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8.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9.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1.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3.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tags/tag10.xml" ContentType="application/vnd.openxmlformats-officedocument.presentationml.tags+xml"/>
  <Override PartName="/ppt/notesSlides/notesSlide22.xml" ContentType="application/vnd.openxmlformats-officedocument.presentationml.notesSlide+xml"/>
  <Override PartName="/ppt/tags/tag1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comments/comment1.xml" ContentType="application/vnd.openxmlformats-officedocument.presentationml.comment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3" r:id="rId5"/>
    <p:sldMasterId id="2147483706" r:id="rId6"/>
    <p:sldMasterId id="2147483729" r:id="rId7"/>
    <p:sldMasterId id="2147483741" r:id="rId8"/>
    <p:sldMasterId id="2147483764" r:id="rId9"/>
    <p:sldMasterId id="2147483787" r:id="rId10"/>
    <p:sldMasterId id="2147483798" r:id="rId11"/>
    <p:sldMasterId id="2147483806" r:id="rId12"/>
    <p:sldMasterId id="2147483814" r:id="rId13"/>
    <p:sldMasterId id="2147483830" r:id="rId14"/>
    <p:sldMasterId id="2147483838" r:id="rId15"/>
    <p:sldMasterId id="2147483861" r:id="rId16"/>
    <p:sldMasterId id="2147483884" r:id="rId17"/>
  </p:sldMasterIdLst>
  <p:notesMasterIdLst>
    <p:notesMasterId r:id="rId119"/>
  </p:notesMasterIdLst>
  <p:sldIdLst>
    <p:sldId id="289" r:id="rId18"/>
    <p:sldId id="290" r:id="rId19"/>
    <p:sldId id="291" r:id="rId20"/>
    <p:sldId id="292" r:id="rId21"/>
    <p:sldId id="293" r:id="rId22"/>
    <p:sldId id="294" r:id="rId23"/>
    <p:sldId id="295" r:id="rId24"/>
    <p:sldId id="296" r:id="rId25"/>
    <p:sldId id="297" r:id="rId26"/>
    <p:sldId id="298" r:id="rId27"/>
    <p:sldId id="299" r:id="rId28"/>
    <p:sldId id="300" r:id="rId29"/>
    <p:sldId id="301" r:id="rId30"/>
    <p:sldId id="302" r:id="rId31"/>
    <p:sldId id="303" r:id="rId32"/>
    <p:sldId id="304" r:id="rId33"/>
    <p:sldId id="305" r:id="rId34"/>
    <p:sldId id="306" r:id="rId35"/>
    <p:sldId id="307" r:id="rId36"/>
    <p:sldId id="308" r:id="rId37"/>
    <p:sldId id="309" r:id="rId38"/>
    <p:sldId id="310" r:id="rId39"/>
    <p:sldId id="311" r:id="rId40"/>
    <p:sldId id="312" r:id="rId41"/>
    <p:sldId id="313" r:id="rId42"/>
    <p:sldId id="314" r:id="rId43"/>
    <p:sldId id="315" r:id="rId44"/>
    <p:sldId id="316" r:id="rId45"/>
    <p:sldId id="317" r:id="rId46"/>
    <p:sldId id="318" r:id="rId47"/>
    <p:sldId id="319" r:id="rId48"/>
    <p:sldId id="320" r:id="rId49"/>
    <p:sldId id="321" r:id="rId50"/>
    <p:sldId id="322" r:id="rId51"/>
    <p:sldId id="323" r:id="rId52"/>
    <p:sldId id="324" r:id="rId53"/>
    <p:sldId id="325" r:id="rId54"/>
    <p:sldId id="326" r:id="rId55"/>
    <p:sldId id="327" r:id="rId56"/>
    <p:sldId id="328" r:id="rId57"/>
    <p:sldId id="329" r:id="rId58"/>
    <p:sldId id="330" r:id="rId59"/>
    <p:sldId id="331" r:id="rId60"/>
    <p:sldId id="332" r:id="rId61"/>
    <p:sldId id="333" r:id="rId62"/>
    <p:sldId id="334" r:id="rId63"/>
    <p:sldId id="335" r:id="rId64"/>
    <p:sldId id="336" r:id="rId65"/>
    <p:sldId id="337" r:id="rId66"/>
    <p:sldId id="338" r:id="rId67"/>
    <p:sldId id="339" r:id="rId68"/>
    <p:sldId id="340" r:id="rId69"/>
    <p:sldId id="341" r:id="rId70"/>
    <p:sldId id="342" r:id="rId71"/>
    <p:sldId id="343" r:id="rId72"/>
    <p:sldId id="344" r:id="rId73"/>
    <p:sldId id="345" r:id="rId74"/>
    <p:sldId id="346" r:id="rId75"/>
    <p:sldId id="347" r:id="rId76"/>
    <p:sldId id="348" r:id="rId77"/>
    <p:sldId id="349" r:id="rId78"/>
    <p:sldId id="350" r:id="rId79"/>
    <p:sldId id="351" r:id="rId80"/>
    <p:sldId id="352" r:id="rId81"/>
    <p:sldId id="353" r:id="rId82"/>
    <p:sldId id="354" r:id="rId83"/>
    <p:sldId id="355" r:id="rId84"/>
    <p:sldId id="356" r:id="rId85"/>
    <p:sldId id="357" r:id="rId86"/>
    <p:sldId id="358" r:id="rId87"/>
    <p:sldId id="359" r:id="rId88"/>
    <p:sldId id="283" r:id="rId89"/>
    <p:sldId id="284" r:id="rId90"/>
    <p:sldId id="288" r:id="rId91"/>
    <p:sldId id="361" r:id="rId92"/>
    <p:sldId id="360" r:id="rId93"/>
    <p:sldId id="257" r:id="rId94"/>
    <p:sldId id="258" r:id="rId95"/>
    <p:sldId id="259" r:id="rId96"/>
    <p:sldId id="260" r:id="rId97"/>
    <p:sldId id="261" r:id="rId98"/>
    <p:sldId id="286" r:id="rId99"/>
    <p:sldId id="263" r:id="rId100"/>
    <p:sldId id="264" r:id="rId101"/>
    <p:sldId id="266" r:id="rId102"/>
    <p:sldId id="267" r:id="rId103"/>
    <p:sldId id="268" r:id="rId104"/>
    <p:sldId id="269" r:id="rId105"/>
    <p:sldId id="270" r:id="rId106"/>
    <p:sldId id="285" r:id="rId107"/>
    <p:sldId id="273" r:id="rId108"/>
    <p:sldId id="274" r:id="rId109"/>
    <p:sldId id="275" r:id="rId110"/>
    <p:sldId id="276" r:id="rId111"/>
    <p:sldId id="287" r:id="rId112"/>
    <p:sldId id="278" r:id="rId113"/>
    <p:sldId id="279" r:id="rId114"/>
    <p:sldId id="280" r:id="rId115"/>
    <p:sldId id="362" r:id="rId116"/>
    <p:sldId id="363" r:id="rId117"/>
    <p:sldId id="364" r:id="rId1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DI: Introduction" id="{4C6EBA55-E668-4B83-87DC-BEDF21FC169F}">
          <p14:sldIdLst>
            <p14:sldId id="289"/>
            <p14:sldId id="290"/>
            <p14:sldId id="291"/>
            <p14:sldId id="292"/>
            <p14:sldId id="293"/>
            <p14:sldId id="294"/>
          </p14:sldIdLst>
        </p14:section>
        <p14:section name="Envision, L100: Cloud Platform" id="{F3CF3FD6-A1EC-44FF-90AB-0952DB26C2BD}">
          <p14:sldIdLst>
            <p14:sldId id="295"/>
            <p14:sldId id="296"/>
            <p14:sldId id="297"/>
            <p14:sldId id="298"/>
            <p14:sldId id="299"/>
            <p14:sldId id="300"/>
            <p14:sldId id="301"/>
            <p14:sldId id="302"/>
            <p14:sldId id="303"/>
            <p14:sldId id="304"/>
            <p14:sldId id="305"/>
            <p14:sldId id="306"/>
            <p14:sldId id="307"/>
            <p14:sldId id="308"/>
            <p14:sldId id="309"/>
            <p14:sldId id="310"/>
            <p14:sldId id="311"/>
            <p14:sldId id="312"/>
            <p14:sldId id="313"/>
            <p14:sldId id="314"/>
            <p14:sldId id="315"/>
            <p14:sldId id="316"/>
            <p14:sldId id="317"/>
            <p14:sldId id="318"/>
            <p14:sldId id="319"/>
            <p14:sldId id="320"/>
            <p14:sldId id="321"/>
            <p14:sldId id="322"/>
          </p14:sldIdLst>
        </p14:section>
        <p14:section name="Evolve, L200: Transform the Datacenter" id="{7FC746DA-DFD4-4185-8896-81BC999764A8}">
          <p14:sldIdLst>
            <p14:sldId id="323"/>
            <p14:sldId id="324"/>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 id="345"/>
            <p14:sldId id="346"/>
            <p14:sldId id="347"/>
            <p14:sldId id="348"/>
            <p14:sldId id="349"/>
            <p14:sldId id="350"/>
            <p14:sldId id="351"/>
            <p14:sldId id="352"/>
            <p14:sldId id="353"/>
            <p14:sldId id="354"/>
            <p14:sldId id="355"/>
            <p14:sldId id="356"/>
            <p14:sldId id="357"/>
            <p14:sldId id="358"/>
          </p14:sldIdLst>
        </p14:section>
        <p14:section name="Experience, L300: Immersion Experience" id="{DFF61567-D953-4BA1-B898-E3EAAB6C12E5}">
          <p14:sldIdLst>
            <p14:sldId id="359"/>
            <p14:sldId id="283"/>
            <p14:sldId id="284"/>
            <p14:sldId id="288"/>
            <p14:sldId id="361"/>
            <p14:sldId id="360"/>
          </p14:sldIdLst>
        </p14:section>
        <p14:section name="E1" id="{F18C3E49-24C6-4989-9B99-86E3699B8528}">
          <p14:sldIdLst>
            <p14:sldId id="257"/>
          </p14:sldIdLst>
        </p14:section>
        <p14:section name="E1A" id="{EB15E3AB-0E59-4E3F-93F5-3328B14D41DA}">
          <p14:sldIdLst>
            <p14:sldId id="258"/>
            <p14:sldId id="259"/>
            <p14:sldId id="260"/>
            <p14:sldId id="261"/>
          </p14:sldIdLst>
        </p14:section>
        <p14:section name="E1B" id="{2E6D5DFF-6585-49AE-83FE-91D1236BC42C}">
          <p14:sldIdLst>
            <p14:sldId id="286"/>
            <p14:sldId id="263"/>
          </p14:sldIdLst>
        </p14:section>
        <p14:section name="E2" id="{5B224579-F5EF-4532-A335-83617A10C054}">
          <p14:sldIdLst>
            <p14:sldId id="264"/>
          </p14:sldIdLst>
        </p14:section>
        <p14:section name="E2A" id="{B1EA80DF-429E-4667-9F21-605CF3ED78C2}">
          <p14:sldIdLst>
            <p14:sldId id="266"/>
            <p14:sldId id="267"/>
          </p14:sldIdLst>
        </p14:section>
        <p14:section name="E2B" id="{BA6871C0-604C-4203-B433-B6E2A197042B}">
          <p14:sldIdLst>
            <p14:sldId id="268"/>
            <p14:sldId id="269"/>
          </p14:sldIdLst>
        </p14:section>
        <p14:section name="E3" id="{FC7BC809-8231-413B-9FE3-83A78FC25CCB}">
          <p14:sldIdLst>
            <p14:sldId id="270"/>
          </p14:sldIdLst>
        </p14:section>
        <p14:section name="E3A" id="{F61CD1EF-0776-47D3-887F-FE5B4E6B3D08}">
          <p14:sldIdLst>
            <p14:sldId id="285"/>
            <p14:sldId id="273"/>
          </p14:sldIdLst>
        </p14:section>
        <p14:section name="E3B" id="{43D2FE27-DB30-4A09-83E8-F17249C30A83}">
          <p14:sldIdLst>
            <p14:sldId id="274"/>
            <p14:sldId id="275"/>
          </p14:sldIdLst>
        </p14:section>
        <p14:section name="E4" id="{FB9EE0AB-9294-4573-A335-A48A8B00537A}">
          <p14:sldIdLst>
            <p14:sldId id="276"/>
          </p14:sldIdLst>
        </p14:section>
        <p14:section name="E4A" id="{80BA7BAB-C27D-4590-A3A2-357DCE5E9C4C}">
          <p14:sldIdLst>
            <p14:sldId id="287"/>
            <p14:sldId id="278"/>
          </p14:sldIdLst>
        </p14:section>
        <p14:section name="E4B" id="{6FA96353-356C-4CD5-96C8-02B7ABDF4390}">
          <p14:sldIdLst>
            <p14:sldId id="279"/>
            <p14:sldId id="280"/>
          </p14:sldIdLst>
        </p14:section>
        <p14:section name="Wrap-up" id="{6C0148A9-DA49-4C3A-93A7-28ACDF4C3B41}">
          <p14:sldIdLst>
            <p14:sldId id="362"/>
            <p14:sldId id="363"/>
            <p14:sldId id="364"/>
          </p14:sldIdLst>
        </p14:section>
      </p14:sectionLst>
    </p:ext>
    <p:ext uri="{EFAFB233-063F-42B5-8137-9DF3F51BA10A}">
      <p15:sldGuideLst xmlns:p15="http://schemas.microsoft.com/office/powerpoint/2012/main">
        <p15:guide id="1" orient="horz" pos="4104"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lene Martin (Synaxis Corporation)" initials="AM(C" lastIdx="5" clrIdx="0">
    <p:extLst>
      <p:ext uri="{19B8F6BF-5375-455C-9EA6-DF929625EA0E}">
        <p15:presenceInfo xmlns:p15="http://schemas.microsoft.com/office/powerpoint/2012/main" userId="S-1-5-21-2127521184-1604012920-1887927527-11364229" providerId="AD"/>
      </p:ext>
    </p:extLst>
  </p:cmAuthor>
  <p:cmAuthor id="2" name="Jenn Cooley" initials="JC" lastIdx="4" clrIdx="1">
    <p:extLst>
      <p:ext uri="{19B8F6BF-5375-455C-9EA6-DF929625EA0E}">
        <p15:presenceInfo xmlns:p15="http://schemas.microsoft.com/office/powerpoint/2012/main" userId="S-1-5-21-383413107-1061881802-891584314-124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78787"/>
    <a:srgbClr val="BAD80A"/>
    <a:srgbClr val="DCEB84"/>
    <a:srgbClr val="00ABEC"/>
    <a:srgbClr val="BFB500"/>
    <a:srgbClr val="00BCF2"/>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031" autoAdjust="0"/>
    <p:restoredTop sz="82733" autoAdjust="0"/>
  </p:normalViewPr>
  <p:slideViewPr>
    <p:cSldViewPr snapToGrid="0">
      <p:cViewPr varScale="1">
        <p:scale>
          <a:sx n="64" d="100"/>
          <a:sy n="64" d="100"/>
        </p:scale>
        <p:origin x="639" y="68"/>
      </p:cViewPr>
      <p:guideLst>
        <p:guide orient="horz" pos="4104"/>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12" Type="http://schemas.openxmlformats.org/officeDocument/2006/relationships/slide" Target="slides/slide95.xml"/><Relationship Id="rId16" Type="http://schemas.openxmlformats.org/officeDocument/2006/relationships/slideMaster" Target="slideMasters/slideMaster13.xml"/><Relationship Id="rId107" Type="http://schemas.openxmlformats.org/officeDocument/2006/relationships/slide" Target="slides/slide90.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4.xml"/><Relationship Id="rId82" Type="http://schemas.openxmlformats.org/officeDocument/2006/relationships/slide" Target="slides/slide65.xml"/><Relationship Id="rId90" Type="http://schemas.openxmlformats.org/officeDocument/2006/relationships/slide" Target="slides/slide73.xml"/><Relationship Id="rId95" Type="http://schemas.openxmlformats.org/officeDocument/2006/relationships/slide" Target="slides/slide78.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13" Type="http://schemas.openxmlformats.org/officeDocument/2006/relationships/slide" Target="slides/slide96.xml"/><Relationship Id="rId118" Type="http://schemas.openxmlformats.org/officeDocument/2006/relationships/slide" Target="slides/slide101.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slide" Target="slides/slide68.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103" Type="http://schemas.openxmlformats.org/officeDocument/2006/relationships/slide" Target="slides/slide86.xml"/><Relationship Id="rId108" Type="http://schemas.openxmlformats.org/officeDocument/2006/relationships/slide" Target="slides/slide91.xml"/><Relationship Id="rId116" Type="http://schemas.openxmlformats.org/officeDocument/2006/relationships/slide" Target="slides/slide99.xml"/><Relationship Id="rId124" Type="http://schemas.openxmlformats.org/officeDocument/2006/relationships/tableStyles" Target="tableStyle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slide" Target="slides/slide71.xml"/><Relationship Id="rId91" Type="http://schemas.openxmlformats.org/officeDocument/2006/relationships/slide" Target="slides/slide74.xml"/><Relationship Id="rId96" Type="http://schemas.openxmlformats.org/officeDocument/2006/relationships/slide" Target="slides/slide79.xml"/><Relationship Id="rId111" Type="http://schemas.openxmlformats.org/officeDocument/2006/relationships/slide" Target="slides/slide9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6" Type="http://schemas.openxmlformats.org/officeDocument/2006/relationships/slide" Target="slides/slide89.xml"/><Relationship Id="rId114" Type="http://schemas.openxmlformats.org/officeDocument/2006/relationships/slide" Target="slides/slide97.xml"/><Relationship Id="rId119"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5-05-22T16:07:28.063" idx="2">
    <p:pos x="10" y="10"/>
    <p:text>E1A was not updated significantly from previous version. Assume this is still correct. Review with David and Rob for sign-off.</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B71146-156A-4439-AD20-E8137FE4350E}" type="datetimeFigureOut">
              <a:rPr lang="en-US" smtClean="0"/>
              <a:t>8/17/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D9C6E-B42E-4E87-ACCD-5F9866373F4B}" type="slidenum">
              <a:rPr lang="en-US" smtClean="0"/>
              <a:t>‹#›</a:t>
            </a:fld>
            <a:endParaRPr lang="en-US"/>
          </a:p>
        </p:txBody>
      </p:sp>
    </p:spTree>
    <p:extLst>
      <p:ext uri="{BB962C8B-B14F-4D97-AF65-F5344CB8AC3E}">
        <p14:creationId xmlns:p14="http://schemas.microsoft.com/office/powerpoint/2010/main" val="3936027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microsoft.com/casestudies/Case_Study_Detail.aspx?CaseStudyID=710000004152"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www.microsoft.com/casestudies/Microsoft-Excel-2010/City-of-Barcelona/City-Deploys-Big-Data-BI-Solution-to-Improve-Lives-and-Create-a-Smart-City-Template/710000003415"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youtube.com/watch?v=hPykptSIiJI&amp;feature=youtu.be"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www.microsoft.com/en-us/server-cloud/cloud-os-network.aspx"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s://www.youtube.com/playlist?action_edit=1&amp;list=PL8nfc9haGeb4cEF6D0EFI5ISbd3U556Mt"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support.microsoft.com/kb/299631" TargetMode="External"/><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1:1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230199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rPr>
              <a:t>Key goal of the slide:</a:t>
            </a:r>
            <a:r>
              <a:rPr lang="en-US" sz="1200" b="1" kern="1200" baseline="0" dirty="0" smtClean="0">
                <a:solidFill>
                  <a:schemeClr val="tx1"/>
                </a:solidFill>
                <a:effectLst/>
              </a:rPr>
              <a:t> </a:t>
            </a:r>
            <a:r>
              <a:rPr lang="en-US" sz="1200" kern="1200" baseline="0" dirty="0" smtClean="0">
                <a:solidFill>
                  <a:schemeClr val="tx1"/>
                </a:solidFill>
                <a:effectLst/>
              </a:rPr>
              <a:t>Get the audience to pause for a moment, engage, and agree on the big trends happening in the business world. </a:t>
            </a:r>
          </a:p>
          <a:p>
            <a:endParaRPr lang="en-US" sz="1200" kern="1200" dirty="0" smtClean="0">
              <a:solidFill>
                <a:schemeClr val="tx1"/>
              </a:solidFill>
              <a:effectLst/>
            </a:endParaRPr>
          </a:p>
          <a:p>
            <a:r>
              <a:rPr lang="en-US" sz="1200" b="1" kern="1200" dirty="0" smtClean="0">
                <a:solidFill>
                  <a:schemeClr val="tx1"/>
                </a:solidFill>
                <a:effectLst/>
              </a:rPr>
              <a:t>Key talking points:</a:t>
            </a:r>
            <a:r>
              <a:rPr lang="en-US" sz="1200" kern="1200" dirty="0" smtClean="0">
                <a:solidFill>
                  <a:schemeClr val="tx1"/>
                </a:solidFill>
                <a:effectLst/>
              </a:rPr>
              <a:t> People, devices and things, apps, data, and all of the</a:t>
            </a:r>
            <a:r>
              <a:rPr lang="en-US" sz="1200" kern="1200" baseline="0" dirty="0" smtClean="0">
                <a:solidFill>
                  <a:schemeClr val="tx1"/>
                </a:solidFill>
                <a:effectLst/>
              </a:rPr>
              <a:t> infrastructure needed to drive this new mobile-first, cloud-first world is changing how technology provides value to the business. </a:t>
            </a:r>
          </a:p>
          <a:p>
            <a:endParaRPr lang="en-US" sz="1200" kern="1200" dirty="0" smtClean="0">
              <a:solidFill>
                <a:schemeClr val="tx1"/>
              </a:solidFill>
              <a:effectLst/>
            </a:endParaRPr>
          </a:p>
          <a:p>
            <a:r>
              <a:rPr lang="en-US" sz="1200" b="1" kern="1200" baseline="0" dirty="0" smtClean="0">
                <a:solidFill>
                  <a:schemeClr val="tx1"/>
                </a:solidFill>
                <a:effectLst/>
              </a:rPr>
              <a:t>Talk track:</a:t>
            </a:r>
            <a:endParaRPr lang="en-US" sz="1200" b="1" kern="1200" dirty="0" smtClean="0">
              <a:solidFill>
                <a:schemeClr val="tx1"/>
              </a:solidFill>
              <a:effectLst/>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Just a few years ago, could you have imagined that there would be 5.2 billion mobile users? </a:t>
            </a:r>
            <a:r>
              <a:rPr lang="en-US" sz="1200" kern="1200" dirty="0" err="1" smtClean="0">
                <a:solidFill>
                  <a:schemeClr val="tx1"/>
                </a:solidFill>
                <a:effectLst/>
                <a:latin typeface="+mn-lt"/>
                <a:ea typeface="ＭＳ Ｐゴシック" charset="0"/>
                <a:cs typeface="ＭＳ Ｐゴシック" charset="0"/>
              </a:rPr>
              <a:t>Kleiner</a:t>
            </a:r>
            <a:r>
              <a:rPr lang="en-US" sz="1200" kern="1200" dirty="0" smtClean="0">
                <a:solidFill>
                  <a:schemeClr val="tx1"/>
                </a:solidFill>
                <a:effectLst/>
                <a:latin typeface="+mn-lt"/>
                <a:ea typeface="ＭＳ Ｐゴシック" charset="0"/>
                <a:cs typeface="ＭＳ Ｐゴシック" charset="0"/>
              </a:rPr>
              <a:t> Perkins’ recent Internet Trends report says that 30 percent of the 5.2 billion mobile users are on smartphones and that number will continue to dramatically grow.</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 When you add “things” to all of those devices then numbers explode. Morgan Stanley estimates the number of connected things could be as high as 75 </a:t>
            </a:r>
            <a:r>
              <a:rPr lang="en-US" sz="1200" i="1" kern="1200" dirty="0" smtClean="0">
                <a:solidFill>
                  <a:schemeClr val="tx1"/>
                </a:solidFill>
                <a:effectLst/>
                <a:latin typeface="+mn-lt"/>
                <a:ea typeface="ＭＳ Ｐゴシック" charset="0"/>
                <a:cs typeface="ＭＳ Ｐゴシック" charset="0"/>
              </a:rPr>
              <a:t>billion</a:t>
            </a:r>
            <a:r>
              <a:rPr lang="en-US" sz="1200" kern="1200" dirty="0" smtClean="0">
                <a:solidFill>
                  <a:schemeClr val="tx1"/>
                </a:solidFill>
                <a:effectLst/>
                <a:latin typeface="+mn-lt"/>
                <a:ea typeface="ＭＳ Ｐゴシック" charset="0"/>
                <a:cs typeface="ＭＳ Ｐゴシック" charset="0"/>
              </a:rPr>
              <a:t> today. IDC estimates that number will grow to 212 </a:t>
            </a:r>
            <a:r>
              <a:rPr lang="en-US" sz="1200" i="1" kern="1200" dirty="0" smtClean="0">
                <a:solidFill>
                  <a:schemeClr val="tx1"/>
                </a:solidFill>
                <a:effectLst/>
                <a:latin typeface="+mn-lt"/>
                <a:ea typeface="ＭＳ Ｐゴシック" charset="0"/>
                <a:cs typeface="ＭＳ Ｐゴシック" charset="0"/>
              </a:rPr>
              <a:t>billion</a:t>
            </a:r>
            <a:r>
              <a:rPr lang="en-US" sz="1200" kern="1200" dirty="0" smtClean="0">
                <a:solidFill>
                  <a:schemeClr val="tx1"/>
                </a:solidFill>
                <a:effectLst/>
                <a:latin typeface="+mn-lt"/>
                <a:ea typeface="ＭＳ Ｐゴシック" charset="0"/>
                <a:cs typeface="ＭＳ Ｐゴシック" charset="0"/>
              </a:rPr>
              <a:t> by the end of 2020.</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ose devices are running…applications.  Apps are king, with App marketplaces delivering over one million apps today, and growing.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nk about how many business applications you use everyday—and the mix of both SaaS, mobile, and on-premises apps. We’re all familiar with the rise of SaaS with the likes of Salesforce, Concur, Workday; Gartner says that 41 percent of CRM systems are now SaaS based.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Data, as we all well know, continues its exponential growth, thanks to all of those devices and apps, and more and more people using all of those “instrumented” things. IDC forecasts that the “data universe” will be 40 zeta bytes by 2020—90 percent of that giant number will be unstructured data…</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IT infrastructure necessary to run all of this is massive.  Take Microsoft as an example: we have over 1,000,000 servers running in our datacenters worldwid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is—data, things, apps, infra—all need cloud.  Without cloud, none of what we’ve talked, today could have happened.</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is is dramatically affecting customer expectations. Customers demand connected engagement across channels including, and most importantly, digital.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competitive landscape has changed: the new competitive mix combines the familiar names with a new breed of technology-powered disruptors. The new generation of competitors can spin a whole business up in weeks using cloud infrastructure and readily-available business and technology resource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is is creating a sense of urgency for all of us to think about technology strategy to stay relevant.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means that most business leaders woke up this morning running technology companies (whether they wanted to or not).</a:t>
            </a:r>
          </a:p>
          <a:p>
            <a:endParaRPr lang="en-US" sz="1200" dirty="0" smtClean="0"/>
          </a:p>
          <a:p>
            <a:endParaRPr lang="en-US" dirty="0" smtClean="0"/>
          </a:p>
          <a:p>
            <a:r>
              <a:rPr lang="en-US" dirty="0" smtClean="0"/>
              <a:t>Sources:</a:t>
            </a:r>
          </a:p>
          <a:p>
            <a:endParaRPr lang="en-US" dirty="0" smtClean="0"/>
          </a:p>
          <a:p>
            <a:r>
              <a:rPr lang="en-US" dirty="0" smtClean="0"/>
              <a:t>1</a:t>
            </a:r>
            <a:r>
              <a:rPr lang="en-US" baseline="0" dirty="0" smtClean="0"/>
              <a:t> – </a:t>
            </a:r>
            <a:r>
              <a:rPr lang="en-US" i="1" baseline="0" dirty="0" smtClean="0"/>
              <a:t>Gartner </a:t>
            </a:r>
            <a:r>
              <a:rPr lang="en-US" sz="1200" i="1" kern="1200" dirty="0" smtClean="0">
                <a:solidFill>
                  <a:schemeClr val="tx1"/>
                </a:solidFill>
                <a:effectLst/>
                <a:latin typeface="+mn-lt"/>
                <a:ea typeface="ＭＳ Ｐゴシック" charset="0"/>
                <a:cs typeface="ＭＳ Ｐゴシック" charset="0"/>
              </a:rPr>
              <a:t>“Forecast: The Internet of Things, Worldwide, 2013,” (G00259115), Peter Middleton, Peter </a:t>
            </a:r>
            <a:r>
              <a:rPr lang="en-US" sz="1200" i="1" kern="1200" dirty="0" err="1" smtClean="0">
                <a:solidFill>
                  <a:schemeClr val="tx1"/>
                </a:solidFill>
                <a:effectLst/>
                <a:latin typeface="+mn-lt"/>
                <a:ea typeface="ＭＳ Ｐゴシック" charset="0"/>
                <a:cs typeface="ＭＳ Ｐゴシック" charset="0"/>
              </a:rPr>
              <a:t>Kjeldsen</a:t>
            </a:r>
            <a:r>
              <a:rPr lang="en-US" sz="1200" i="1" kern="1200" dirty="0" smtClean="0">
                <a:solidFill>
                  <a:schemeClr val="tx1"/>
                </a:solidFill>
                <a:effectLst/>
                <a:latin typeface="+mn-lt"/>
                <a:ea typeface="ＭＳ Ｐゴシック" charset="0"/>
                <a:cs typeface="ＭＳ Ｐゴシック" charset="0"/>
              </a:rPr>
              <a:t>, and Jim Tully,</a:t>
            </a:r>
            <a:r>
              <a:rPr lang="en-US" sz="1200" i="1" kern="1200" baseline="0" dirty="0" smtClean="0">
                <a:solidFill>
                  <a:schemeClr val="tx1"/>
                </a:solidFill>
                <a:effectLst/>
                <a:latin typeface="+mn-lt"/>
                <a:ea typeface="ＭＳ Ｐゴシック" charset="0"/>
                <a:cs typeface="ＭＳ Ｐゴシック" charset="0"/>
              </a:rPr>
              <a:t> N</a:t>
            </a:r>
            <a:r>
              <a:rPr lang="en-US" sz="1200" i="1" kern="1200" dirty="0" smtClean="0">
                <a:solidFill>
                  <a:schemeClr val="tx1"/>
                </a:solidFill>
                <a:effectLst/>
                <a:latin typeface="+mn-lt"/>
                <a:ea typeface="ＭＳ Ｐゴシック" charset="0"/>
                <a:cs typeface="ＭＳ Ｐゴシック" charset="0"/>
              </a:rPr>
              <a:t>ovember 18, 2013</a:t>
            </a:r>
            <a:endParaRPr lang="en-US" i="1" baseline="0" dirty="0" smtClean="0"/>
          </a:p>
          <a:p>
            <a:pPr marL="0" marR="0" indent="0" algn="l" defTabSz="931863" rtl="0" eaLnBrk="1" fontAlgn="base" latinLnBrk="0" hangingPunct="1">
              <a:lnSpc>
                <a:spcPct val="100000"/>
              </a:lnSpc>
              <a:spcBef>
                <a:spcPct val="30000"/>
              </a:spcBef>
              <a:spcAft>
                <a:spcPct val="0"/>
              </a:spcAft>
              <a:buClrTx/>
              <a:buSzTx/>
              <a:buFontTx/>
              <a:buNone/>
              <a:tabLst/>
              <a:defRPr/>
            </a:pPr>
            <a:r>
              <a:rPr lang="en-US" baseline="0" dirty="0" smtClean="0"/>
              <a:t>2 - </a:t>
            </a:r>
            <a:r>
              <a:rPr lang="en-US" i="1" baseline="0" dirty="0" smtClean="0"/>
              <a:t>Gartner Report, “Predicts 2014: Apps, Personal Cloud and Data Analytics Will Drive New Consumer Interactions” Stephanie </a:t>
            </a:r>
            <a:r>
              <a:rPr lang="en-US" i="1" baseline="0" dirty="0" err="1" smtClean="0"/>
              <a:t>Baghdassarian</a:t>
            </a:r>
            <a:r>
              <a:rPr lang="en-US" i="1" baseline="0" dirty="0" smtClean="0"/>
              <a:t>, Brian </a:t>
            </a:r>
            <a:r>
              <a:rPr lang="en-US" i="1" baseline="0" dirty="0" err="1" smtClean="0"/>
              <a:t>Blau</a:t>
            </a:r>
            <a:r>
              <a:rPr lang="en-US" i="1" baseline="0" dirty="0" smtClean="0"/>
              <a:t>, Jessica </a:t>
            </a:r>
            <a:r>
              <a:rPr lang="en-US" i="1" baseline="0" dirty="0" err="1" smtClean="0"/>
              <a:t>Ekholm</a:t>
            </a:r>
            <a:r>
              <a:rPr lang="en-US" i="1" baseline="0" dirty="0" smtClean="0"/>
              <a:t>. Sandy Shen, November 22, 2013.</a:t>
            </a:r>
          </a:p>
          <a:p>
            <a:r>
              <a:rPr lang="en-US" baseline="0" dirty="0" smtClean="0"/>
              <a:t>3 - </a:t>
            </a:r>
            <a:r>
              <a:rPr lang="en-US" sz="1200" i="1" kern="1200" dirty="0" smtClean="0">
                <a:solidFill>
                  <a:schemeClr val="tx1"/>
                </a:solidFill>
                <a:effectLst/>
                <a:latin typeface="+mn-lt"/>
                <a:ea typeface="ＭＳ Ｐゴシック" charset="0"/>
                <a:cs typeface="ＭＳ Ｐゴシック" charset="0"/>
              </a:rPr>
              <a:t>IDC “Capturing the $1.6 Trillion Data Dividend,” Dan </a:t>
            </a:r>
            <a:r>
              <a:rPr lang="en-US" sz="1200" i="1" kern="1200" dirty="0" err="1" smtClean="0">
                <a:solidFill>
                  <a:schemeClr val="tx1"/>
                </a:solidFill>
                <a:effectLst/>
                <a:latin typeface="+mn-lt"/>
                <a:ea typeface="ＭＳ Ｐゴシック" charset="0"/>
                <a:cs typeface="ＭＳ Ｐゴシック" charset="0"/>
              </a:rPr>
              <a:t>Vesset</a:t>
            </a:r>
            <a:r>
              <a:rPr lang="en-US" sz="1200" i="1" kern="1200" dirty="0" smtClean="0">
                <a:solidFill>
                  <a:schemeClr val="tx1"/>
                </a:solidFill>
                <a:effectLst/>
                <a:latin typeface="+mn-lt"/>
                <a:ea typeface="ＭＳ Ｐゴシック" charset="0"/>
                <a:cs typeface="ＭＳ Ｐゴシック" charset="0"/>
              </a:rPr>
              <a:t>, Henry D. Morris, John F. </a:t>
            </a:r>
            <a:r>
              <a:rPr lang="en-US" sz="1200" i="1" kern="1200" dirty="0" err="1" smtClean="0">
                <a:solidFill>
                  <a:schemeClr val="tx1"/>
                </a:solidFill>
                <a:effectLst/>
                <a:latin typeface="+mn-lt"/>
                <a:ea typeface="ＭＳ Ｐゴシック" charset="0"/>
                <a:cs typeface="ＭＳ Ｐゴシック" charset="0"/>
              </a:rPr>
              <a:t>Gantz</a:t>
            </a:r>
            <a:r>
              <a:rPr lang="en-US" sz="1200" i="1" kern="1200" dirty="0" smtClean="0">
                <a:solidFill>
                  <a:schemeClr val="tx1"/>
                </a:solidFill>
                <a:effectLst/>
                <a:latin typeface="+mn-lt"/>
                <a:ea typeface="ＭＳ Ｐゴシック" charset="0"/>
                <a:cs typeface="ＭＳ Ｐゴシック" charset="0"/>
              </a:rPr>
              <a:t>, May 2014</a:t>
            </a:r>
            <a:endParaRPr lang="en-US" baseline="0" dirty="0" smtClean="0"/>
          </a:p>
          <a:p>
            <a:r>
              <a:rPr lang="en-US" baseline="0" dirty="0" smtClean="0"/>
              <a:t>4 – </a:t>
            </a:r>
            <a:r>
              <a:rPr lang="en-US" i="1" baseline="0" dirty="0" smtClean="0"/>
              <a:t>Gartner </a:t>
            </a:r>
            <a:r>
              <a:rPr lang="en-US" sz="1200" i="1" kern="1200" dirty="0" smtClean="0">
                <a:solidFill>
                  <a:schemeClr val="tx1"/>
                </a:solidFill>
                <a:effectLst/>
                <a:latin typeface="+mn-lt"/>
                <a:ea typeface="ＭＳ Ｐゴシック" charset="0"/>
                <a:cs typeface="ＭＳ Ｐゴシック" charset="0"/>
              </a:rPr>
              <a:t>“Hype cycle for cloud computing, 2014”, David Mitchell Smith, July 24, 2014</a:t>
            </a:r>
            <a:endParaRPr lang="en-US" i="1" baseline="0" dirty="0" smtClean="0"/>
          </a:p>
          <a:p>
            <a:endParaRPr lang="en-US" dirty="0"/>
          </a:p>
        </p:txBody>
      </p:sp>
      <p:sp>
        <p:nvSpPr>
          <p:cNvPr id="4" name="Slide Number Placeholder 3"/>
          <p:cNvSpPr>
            <a:spLocks noGrp="1"/>
          </p:cNvSpPr>
          <p:nvPr>
            <p:ph type="sldNum" sz="quarter" idx="10"/>
          </p:nvPr>
        </p:nvSpPr>
        <p:spPr/>
        <p:txBody>
          <a:bodyPr/>
          <a:lstStyle/>
          <a:p>
            <a:pPr>
              <a:defRPr/>
            </a:pPr>
            <a:fld id="{E53C708A-EC5E-A247-94AC-4652F1646F82}" type="slidenum">
              <a:rPr lang="en-US">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24904636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ＭＳ Ｐゴシック" charset="0"/>
                <a:cs typeface="ＭＳ Ｐゴシック" charset="0"/>
              </a:rPr>
              <a:t>Talk track:</a:t>
            </a:r>
            <a:endParaRPr lang="en-US" sz="1200" kern="1200" dirty="0" smtClean="0">
              <a:solidFill>
                <a:schemeClr val="tx1"/>
              </a:solidFill>
              <a:effectLst/>
              <a:latin typeface="+mn-lt"/>
              <a:ea typeface="ＭＳ Ｐゴシック" charset="0"/>
              <a:cs typeface="ＭＳ Ｐゴシック"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n this new mobile-first, cloud-first world, what is Microsoft’s role? What are we doing to support the future of busines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We’ve been working very hard over the years to create all of the critical elements to support your success in busines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Microsoft Cloud is designed to help organizations navigate this era of more—more devices, more apps, more data, more capacity, more innovation…more speed.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ur focus is on building platforms and apps that empower people and organizations to do more and achieve mor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For our business customers and partner ecosystem, the Microsoft Cloud delivers three comprehensive and complementary offerings where the sum of the three are truly greater than the parts: </a:t>
            </a:r>
            <a:r>
              <a:rPr lang="en-US" sz="1200" b="1" kern="1200" dirty="0" smtClean="0">
                <a:solidFill>
                  <a:schemeClr val="tx1"/>
                </a:solidFill>
                <a:effectLst/>
                <a:latin typeface="+mn-lt"/>
                <a:ea typeface="ＭＳ Ｐゴシック" charset="0"/>
                <a:cs typeface="ＭＳ Ｐゴシック" charset="0"/>
              </a:rPr>
              <a:t>Productivity</a:t>
            </a:r>
            <a:r>
              <a:rPr lang="en-US" sz="1200" kern="1200" dirty="0" smtClean="0">
                <a:solidFill>
                  <a:schemeClr val="tx1"/>
                </a:solidFill>
                <a:effectLst/>
                <a:latin typeface="+mn-lt"/>
                <a:ea typeface="ＭＳ Ｐゴシック" charset="0"/>
                <a:cs typeface="ＭＳ Ｐゴシック" charset="0"/>
              </a:rPr>
              <a:t>, </a:t>
            </a:r>
            <a:r>
              <a:rPr lang="en-US" sz="1200" b="1" kern="1200" dirty="0" smtClean="0">
                <a:solidFill>
                  <a:schemeClr val="tx1"/>
                </a:solidFill>
                <a:effectLst/>
                <a:latin typeface="+mn-lt"/>
                <a:ea typeface="ＭＳ Ｐゴシック" charset="0"/>
                <a:cs typeface="ＭＳ Ｐゴシック" charset="0"/>
              </a:rPr>
              <a:t>Business apps</a:t>
            </a:r>
            <a:r>
              <a:rPr lang="en-US" sz="1200" kern="1200" dirty="0" smtClean="0">
                <a:solidFill>
                  <a:schemeClr val="tx1"/>
                </a:solidFill>
                <a:effectLst/>
                <a:latin typeface="+mn-lt"/>
                <a:ea typeface="ＭＳ Ｐゴシック" charset="0"/>
                <a:cs typeface="ＭＳ Ｐゴシック" charset="0"/>
              </a:rPr>
              <a:t>, and </a:t>
            </a:r>
            <a:r>
              <a:rPr lang="en-US" sz="1200" b="1" kern="1200" dirty="0" smtClean="0">
                <a:solidFill>
                  <a:schemeClr val="tx1"/>
                </a:solidFill>
                <a:effectLst/>
                <a:latin typeface="+mn-lt"/>
                <a:ea typeface="ＭＳ Ｐゴシック" charset="0"/>
                <a:cs typeface="ＭＳ Ｐゴシック" charset="0"/>
              </a:rPr>
              <a:t>Cloud platform</a:t>
            </a:r>
            <a:r>
              <a:rPr lang="en-US" sz="1200" kern="1200" dirty="0" smtClean="0">
                <a:solidFill>
                  <a:schemeClr val="tx1"/>
                </a:solidFill>
                <a:effectLst/>
                <a:latin typeface="+mn-lt"/>
                <a:ea typeface="ＭＳ Ｐゴシック" charset="0"/>
                <a:cs typeface="ＭＳ Ｐゴシック" charset="0"/>
              </a:rPr>
              <a:t>.</a:t>
            </a:r>
          </a:p>
          <a:p>
            <a:pPr marL="0" indent="0">
              <a:buFont typeface="Arial" panose="020B0604020202020204" pitchFamily="34" charset="0"/>
              <a:buNone/>
            </a:pPr>
            <a:endParaRPr lang="en-US" sz="1200" kern="1200" dirty="0" smtClean="0">
              <a:solidFill>
                <a:schemeClr val="tx1"/>
              </a:solidFill>
              <a:effectLst/>
              <a:latin typeface="+mn-lt"/>
              <a:ea typeface="ＭＳ Ｐゴシック" charset="0"/>
              <a:cs typeface="ＭＳ Ｐゴシック" charset="0"/>
            </a:endParaRPr>
          </a:p>
          <a:p>
            <a:pPr marL="0" indent="0">
              <a:buFont typeface="Arial" panose="020B0604020202020204" pitchFamily="34" charset="0"/>
              <a:buNone/>
            </a:pPr>
            <a:r>
              <a:rPr lang="en-US" sz="1200" kern="1200" dirty="0" smtClean="0">
                <a:solidFill>
                  <a:schemeClr val="tx1"/>
                </a:solidFill>
                <a:effectLst/>
                <a:latin typeface="+mn-lt"/>
                <a:ea typeface="ＭＳ Ｐゴシック" charset="0"/>
                <a:cs typeface="ＭＳ Ｐゴシック" charset="0"/>
              </a:rPr>
              <a:t>A </a:t>
            </a:r>
            <a:r>
              <a:rPr lang="en-US" sz="1200" b="1" kern="1200" dirty="0" smtClean="0">
                <a:solidFill>
                  <a:schemeClr val="tx1"/>
                </a:solidFill>
                <a:effectLst/>
                <a:latin typeface="+mn-lt"/>
                <a:ea typeface="ＭＳ Ｐゴシック" charset="0"/>
                <a:cs typeface="ＭＳ Ｐゴシック" charset="0"/>
              </a:rPr>
              <a:t>Cloud Productivity</a:t>
            </a:r>
            <a:r>
              <a:rPr lang="en-US" sz="1200" kern="1200" dirty="0" smtClean="0">
                <a:solidFill>
                  <a:schemeClr val="tx1"/>
                </a:solidFill>
                <a:effectLst/>
                <a:latin typeface="+mn-lt"/>
                <a:ea typeface="ＭＳ Ｐゴシック" charset="0"/>
                <a:cs typeface="ＭＳ Ｐゴシック" charset="0"/>
              </a:rPr>
              <a:t> suite in Office 365, which is the gold standard in cloud productivity and social, delivers the tools people need for Digital Work.</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60 percent of Fortune 500 companies have purchased Office 365 in the last 12 months, benefiting from anywhere access to familiar Office tools, plus enterprise-grade email, conferencing, collaboration, and enterprise social capabilities </a:t>
            </a:r>
          </a:p>
          <a:p>
            <a:pPr marL="0" indent="0">
              <a:buFont typeface="Arial" panose="020B0604020202020204" pitchFamily="34" charset="0"/>
              <a:buNone/>
            </a:pPr>
            <a:endParaRPr lang="en-US" sz="1200" b="1" kern="1200" dirty="0" smtClean="0">
              <a:solidFill>
                <a:schemeClr val="tx1"/>
              </a:solidFill>
              <a:effectLst/>
              <a:latin typeface="+mn-lt"/>
              <a:ea typeface="ＭＳ Ｐゴシック" charset="0"/>
              <a:cs typeface="ＭＳ Ｐゴシック" charset="0"/>
            </a:endParaRPr>
          </a:p>
          <a:p>
            <a:pPr marL="0" indent="0">
              <a:buFont typeface="Arial" panose="020B0604020202020204" pitchFamily="34" charset="0"/>
              <a:buNone/>
            </a:pPr>
            <a:r>
              <a:rPr lang="en-US" sz="1200" b="1" kern="1200" dirty="0" smtClean="0">
                <a:solidFill>
                  <a:schemeClr val="tx1"/>
                </a:solidFill>
                <a:effectLst/>
                <a:latin typeface="+mn-lt"/>
                <a:ea typeface="ＭＳ Ｐゴシック" charset="0"/>
                <a:cs typeface="ＭＳ Ｐゴシック" charset="0"/>
              </a:rPr>
              <a:t>Customer: Toyota </a:t>
            </a:r>
            <a:r>
              <a:rPr lang="en-US" sz="1200" kern="1200" dirty="0" smtClean="0">
                <a:solidFill>
                  <a:schemeClr val="tx1"/>
                </a:solidFill>
                <a:effectLst/>
                <a:latin typeface="+mn-lt"/>
                <a:ea typeface="ＭＳ Ｐゴシック" charset="0"/>
                <a:cs typeface="ＭＳ Ｐゴシック" charset="0"/>
              </a:rPr>
              <a:t>wanted to create a workplace of the future by using technology to bring disparate silos of the company together as “One Toyota.” To do this Toyota deployed Office 365, upgraded desktop PCs, as well as provided mobile devices to their employees.  </a:t>
            </a:r>
            <a:r>
              <a:rPr lang="en-US" sz="1200" b="1" kern="1200" dirty="0" smtClean="0">
                <a:solidFill>
                  <a:schemeClr val="tx1"/>
                </a:solidFill>
                <a:effectLst/>
                <a:latin typeface="+mn-lt"/>
                <a:ea typeface="ＭＳ Ｐゴシック" charset="0"/>
                <a:cs typeface="ＭＳ Ｐゴシック" charset="0"/>
              </a:rPr>
              <a:t>Results: </a:t>
            </a:r>
            <a:r>
              <a:rPr lang="en-US" sz="1200" kern="1200" dirty="0" smtClean="0">
                <a:solidFill>
                  <a:schemeClr val="tx1"/>
                </a:solidFill>
                <a:effectLst/>
                <a:latin typeface="+mn-lt"/>
                <a:ea typeface="ＭＳ Ｐゴシック" charset="0"/>
                <a:cs typeface="ＭＳ Ｐゴシック" charset="0"/>
              </a:rPr>
              <a:t>since the deployment of their new collaborative solution and devices Toyota has improved the efficiency and productivity throughout the company with a single platform that provides employees with all the information they need to work in real time.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Customer-centric </a:t>
            </a:r>
            <a:r>
              <a:rPr lang="en-US" sz="1200" b="1" kern="1200" dirty="0" smtClean="0">
                <a:solidFill>
                  <a:schemeClr val="tx1"/>
                </a:solidFill>
                <a:effectLst/>
                <a:latin typeface="+mn-lt"/>
                <a:ea typeface="ＭＳ Ｐゴシック" charset="0"/>
                <a:cs typeface="ＭＳ Ｐゴシック" charset="0"/>
              </a:rPr>
              <a:t>cloud</a:t>
            </a:r>
            <a:r>
              <a:rPr lang="en-US" sz="1200" kern="1200" dirty="0" smtClean="0">
                <a:solidFill>
                  <a:schemeClr val="tx1"/>
                </a:solidFill>
                <a:effectLst/>
                <a:latin typeface="+mn-lt"/>
                <a:ea typeface="ＭＳ Ｐゴシック" charset="0"/>
                <a:cs typeface="ＭＳ Ｐゴシック" charset="0"/>
              </a:rPr>
              <a:t> </a:t>
            </a:r>
            <a:r>
              <a:rPr lang="en-US" sz="1200" b="1" kern="1200" dirty="0" smtClean="0">
                <a:solidFill>
                  <a:schemeClr val="tx1"/>
                </a:solidFill>
                <a:effectLst/>
                <a:latin typeface="+mn-lt"/>
                <a:ea typeface="ＭＳ Ｐゴシック" charset="0"/>
                <a:cs typeface="ＭＳ Ｐゴシック" charset="0"/>
              </a:rPr>
              <a:t>SaaS business apps</a:t>
            </a:r>
            <a:r>
              <a:rPr lang="en-US" sz="1200" kern="1200" dirty="0" smtClean="0">
                <a:solidFill>
                  <a:schemeClr val="tx1"/>
                </a:solidFill>
                <a:effectLst/>
                <a:latin typeface="+mn-lt"/>
                <a:ea typeface="ＭＳ Ｐゴシック" charset="0"/>
                <a:cs typeface="ＭＳ Ｐゴシック" charset="0"/>
              </a:rPr>
              <a:t> in Dynamics CRM Online that enables organizations to better engage with their customers thru smarter marketing, sales productivity, and personalized service across channels.  Business apps are a key component of our unified cloud value prop as well as our vision for digital work.</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oday over 300,000 organizations use Microsoft Dynamics to create better customer experiences, to automate business processes, and gain real-time insights to proactively improve operations to become more customer-centric.  </a:t>
            </a:r>
          </a:p>
          <a:p>
            <a:pPr marL="0" indent="0">
              <a:buFont typeface="Arial" panose="020B0604020202020204" pitchFamily="34" charset="0"/>
              <a:buNone/>
            </a:pPr>
            <a:endParaRPr lang="en-US" sz="1200" b="1" kern="1200" dirty="0" smtClean="0">
              <a:solidFill>
                <a:schemeClr val="tx1"/>
              </a:solidFill>
              <a:effectLst/>
              <a:latin typeface="+mn-lt"/>
              <a:ea typeface="ＭＳ Ｐゴシック" charset="0"/>
              <a:cs typeface="ＭＳ Ｐゴシック" charset="0"/>
            </a:endParaRPr>
          </a:p>
          <a:p>
            <a:pPr marL="0" indent="0">
              <a:buFont typeface="Arial" panose="020B0604020202020204" pitchFamily="34" charset="0"/>
              <a:buNone/>
            </a:pPr>
            <a:r>
              <a:rPr lang="en-US" sz="1200" b="1" kern="1200" dirty="0" smtClean="0">
                <a:solidFill>
                  <a:schemeClr val="tx1"/>
                </a:solidFill>
                <a:effectLst/>
                <a:latin typeface="+mn-lt"/>
                <a:ea typeface="ＭＳ Ｐゴシック" charset="0"/>
                <a:cs typeface="ＭＳ Ｐゴシック" charset="0"/>
              </a:rPr>
              <a:t>Customer: Metro Bank </a:t>
            </a:r>
            <a:r>
              <a:rPr lang="en-US" sz="1200" kern="1200" dirty="0" smtClean="0">
                <a:solidFill>
                  <a:schemeClr val="tx1"/>
                </a:solidFill>
                <a:effectLst/>
                <a:latin typeface="+mn-lt"/>
                <a:ea typeface="ＭＳ Ｐゴシック" charset="0"/>
                <a:cs typeface="ＭＳ Ｐゴシック" charset="0"/>
              </a:rPr>
              <a:t>is using CRM Online, Microsoft Azure, and Office 365 to reimagine the banking industry through better customer service.</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n open and flexible </a:t>
            </a:r>
            <a:r>
              <a:rPr lang="en-US" sz="1200" b="1" kern="1200" dirty="0" smtClean="0">
                <a:solidFill>
                  <a:schemeClr val="tx1"/>
                </a:solidFill>
                <a:effectLst/>
                <a:latin typeface="+mn-lt"/>
                <a:ea typeface="ＭＳ Ｐゴシック" charset="0"/>
                <a:cs typeface="ＭＳ Ｐゴシック" charset="0"/>
              </a:rPr>
              <a:t>cloud platform</a:t>
            </a:r>
            <a:r>
              <a:rPr lang="en-US" sz="1200" kern="1200" dirty="0" smtClean="0">
                <a:solidFill>
                  <a:schemeClr val="tx1"/>
                </a:solidFill>
                <a:effectLst/>
                <a:latin typeface="+mn-lt"/>
                <a:ea typeface="ＭＳ Ｐゴシック" charset="0"/>
                <a:cs typeface="ＭＳ Ｐゴシック" charset="0"/>
              </a:rPr>
              <a:t> in Microsoft Azure that enables applications to be built, managed and deployed quickly along with data services that enable organizations to derive powerful analytics and proactive insight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Microsoft Azure and Windows Server deliver the best cloud platform for hybrid IT implementations so you can integrate the Microsoft cloud platform with your existing IT assets and infrastructur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Microsoft built our platform with a design-for-first-party-but-think-of-third-party mentality. As a result, the core of the Microsoft Azure cloud-computing platform is based on technologies developed to run Bing, as is the Microsoft Azure storage service. </a:t>
            </a:r>
          </a:p>
          <a:p>
            <a:pPr marL="0" indent="0">
              <a:buFont typeface="Arial" panose="020B0604020202020204" pitchFamily="34" charset="0"/>
              <a:buNone/>
            </a:pPr>
            <a:endParaRPr lang="en-US" sz="1200" b="1" kern="1200" dirty="0" smtClean="0">
              <a:solidFill>
                <a:schemeClr val="tx1"/>
              </a:solidFill>
              <a:effectLst/>
              <a:latin typeface="+mn-lt"/>
              <a:ea typeface="ＭＳ Ｐゴシック" charset="0"/>
              <a:cs typeface="ＭＳ Ｐゴシック" charset="0"/>
            </a:endParaRPr>
          </a:p>
          <a:p>
            <a:pPr marL="0" indent="0">
              <a:buFont typeface="Arial" panose="020B0604020202020204" pitchFamily="34" charset="0"/>
              <a:buNone/>
            </a:pPr>
            <a:r>
              <a:rPr lang="en-US" sz="1200" b="1" kern="1200" dirty="0" smtClean="0">
                <a:solidFill>
                  <a:schemeClr val="tx1"/>
                </a:solidFill>
                <a:effectLst/>
                <a:latin typeface="+mn-lt"/>
                <a:ea typeface="ＭＳ Ｐゴシック" charset="0"/>
                <a:cs typeface="ＭＳ Ｐゴシック" charset="0"/>
              </a:rPr>
              <a:t>Customer: Aviva: Fast development time, hybrid and modern app</a:t>
            </a:r>
            <a:r>
              <a:rPr lang="en-US" sz="1200" kern="1200" dirty="0" smtClean="0">
                <a:solidFill>
                  <a:schemeClr val="tx1"/>
                </a:solidFill>
                <a:effectLst/>
                <a:latin typeface="+mn-lt"/>
                <a:ea typeface="ＭＳ Ｐゴシック" charset="0"/>
                <a:cs typeface="ＭＳ Ｐゴシック" charset="0"/>
              </a:rPr>
              <a:t> – UK insurance company app uses telematics data on mobile devices to track customer’s driving safety and provide insurance quotes.  Combines on-premises quote system with Microsoft Azure compute and storage power to handle the demand from mobile devices.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ogether, Azure, Office 365 and Dynamics CRM Online </a:t>
            </a:r>
            <a:r>
              <a:rPr lang="en-US" sz="1200" b="1" kern="1200" dirty="0" smtClean="0">
                <a:solidFill>
                  <a:schemeClr val="tx1"/>
                </a:solidFill>
                <a:effectLst/>
                <a:latin typeface="+mn-lt"/>
                <a:ea typeface="ＭＳ Ｐゴシック" charset="0"/>
                <a:cs typeface="ＭＳ Ｐゴシック" charset="0"/>
              </a:rPr>
              <a:t>embody our vision to deliver cloud experiences users love and businesses can count on</a:t>
            </a:r>
            <a:r>
              <a:rPr lang="en-US" sz="1200" kern="1200" dirty="0" smtClean="0">
                <a:solidFill>
                  <a:schemeClr val="tx1"/>
                </a:solidFill>
                <a:effectLst/>
                <a:latin typeface="+mn-lt"/>
                <a:ea typeface="ＭＳ Ｐゴシック" charset="0"/>
                <a:cs typeface="ＭＳ Ｐゴシック" charset="0"/>
              </a:rPr>
              <a:t>.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se three cloud services are all great in themselves, but together they create more value for customers and ISVs than they do independently.</a:t>
            </a:r>
          </a:p>
          <a:p>
            <a:pPr marL="171450" indent="-171450">
              <a:buFont typeface="Arial" panose="020B0604020202020204" pitchFamily="34" charset="0"/>
              <a:buChar char="•"/>
            </a:pPr>
            <a:r>
              <a:rPr lang="en-US" sz="1200" b="1" kern="1200" dirty="0" smtClean="0">
                <a:solidFill>
                  <a:schemeClr val="tx1"/>
                </a:solidFill>
                <a:effectLst/>
                <a:latin typeface="+mn-lt"/>
                <a:ea typeface="ＭＳ Ｐゴシック" charset="0"/>
                <a:cs typeface="ＭＳ Ｐゴシック" charset="0"/>
              </a:rPr>
              <a:t>For example</a:t>
            </a:r>
            <a:r>
              <a:rPr lang="en-US" sz="1200" kern="1200" dirty="0" smtClean="0">
                <a:solidFill>
                  <a:schemeClr val="tx1"/>
                </a:solidFill>
                <a:effectLst/>
                <a:latin typeface="+mn-lt"/>
                <a:ea typeface="ＭＳ Ｐゴシック" charset="0"/>
                <a:cs typeface="ＭＳ Ｐゴシック" charset="0"/>
              </a:rPr>
              <a:t>, with Microsoft Azure and Office 365 your employees gain powerful business insights that are easily accessible within familiar productivity tools, and by adding CRM Online your employees can take action on those insights to market smarter, sell more effectively, and deliver better customer service. </a:t>
            </a:r>
          </a:p>
          <a:p>
            <a:pPr marL="171450" indent="-171450">
              <a:buFont typeface="Arial" panose="020B0604020202020204" pitchFamily="34" charset="0"/>
              <a:buChar char="•"/>
            </a:pPr>
            <a:r>
              <a:rPr lang="en-US" sz="1200" b="1" kern="1200" dirty="0" smtClean="0">
                <a:solidFill>
                  <a:schemeClr val="tx1"/>
                </a:solidFill>
                <a:effectLst/>
                <a:latin typeface="+mn-lt"/>
                <a:ea typeface="ＭＳ Ｐゴシック" charset="0"/>
                <a:cs typeface="ＭＳ Ｐゴシック" charset="0"/>
              </a:rPr>
              <a:t>Trek Bicycles</a:t>
            </a:r>
            <a:r>
              <a:rPr lang="en-US" sz="1200" kern="1200" dirty="0" smtClean="0">
                <a:solidFill>
                  <a:schemeClr val="tx1"/>
                </a:solidFill>
                <a:effectLst/>
                <a:latin typeface="+mn-lt"/>
                <a:ea typeface="ＭＳ Ｐゴシック" charset="0"/>
                <a:cs typeface="ＭＳ Ｐゴシック" charset="0"/>
              </a:rPr>
              <a:t> </a:t>
            </a:r>
            <a:r>
              <a:rPr lang="en-GB" sz="1200" kern="1200" dirty="0" smtClean="0">
                <a:solidFill>
                  <a:schemeClr val="tx1"/>
                </a:solidFill>
                <a:effectLst/>
                <a:latin typeface="+mn-lt"/>
                <a:ea typeface="ＭＳ Ｐゴシック" charset="0"/>
                <a:cs typeface="ＭＳ Ｐゴシック" charset="0"/>
              </a:rPr>
              <a:t>is running its business in the cloud, using Azure along with </a:t>
            </a:r>
            <a:r>
              <a:rPr lang="en-US" sz="1200" kern="1200" dirty="0" smtClean="0">
                <a:solidFill>
                  <a:schemeClr val="tx1"/>
                </a:solidFill>
                <a:effectLst/>
                <a:latin typeface="+mn-lt"/>
                <a:ea typeface="ＭＳ Ｐゴシック" charset="0"/>
                <a:cs typeface="ＭＳ Ｐゴシック" charset="0"/>
              </a:rPr>
              <a:t>CRM Online and Office 365 including Lync and Yammer to improve the productivity and effectiveness of their extremely collaborative sales team. (insert case study and </a:t>
            </a:r>
            <a:r>
              <a:rPr lang="en-US" sz="1200" u="sng" kern="1200" dirty="0" smtClean="0">
                <a:solidFill>
                  <a:schemeClr val="tx1"/>
                </a:solidFill>
                <a:effectLst/>
                <a:latin typeface="+mn-lt"/>
                <a:ea typeface="ＭＳ Ｐゴシック" charset="0"/>
                <a:cs typeface="ＭＳ Ｐゴシック" charset="0"/>
              </a:rPr>
              <a:t>video link here</a:t>
            </a:r>
            <a:r>
              <a:rPr lang="en-US" sz="1200" kern="1200" dirty="0" smtClean="0">
                <a:solidFill>
                  <a:schemeClr val="tx1"/>
                </a:solidFill>
                <a:effectLst/>
                <a:latin typeface="+mn-lt"/>
                <a:ea typeface="ＭＳ Ｐゴシック" charset="0"/>
                <a:cs typeface="ＭＳ Ｐゴシック" charset="0"/>
              </a:rPr>
              <a:t>)</a:t>
            </a:r>
          </a:p>
          <a:p>
            <a:pPr marL="171450" indent="-171450">
              <a:buFont typeface="Arial" panose="020B0604020202020204" pitchFamily="34" charset="0"/>
              <a:buChar char="•"/>
            </a:pPr>
            <a:r>
              <a:rPr lang="en-US" sz="1200" b="1" kern="1200" dirty="0" smtClean="0">
                <a:solidFill>
                  <a:schemeClr val="tx1"/>
                </a:solidFill>
                <a:effectLst/>
                <a:latin typeface="+mn-lt"/>
                <a:ea typeface="ＭＳ Ｐゴシック" charset="0"/>
                <a:cs typeface="ＭＳ Ｐゴシック" charset="0"/>
              </a:rPr>
              <a:t>** Today, we are going to take a deeper look into what makes up the Microsoft Cloud Platform. What’s makes our approach unique and valuable to companies moving forward in the mobile-first, cloud-first world. Let’s explore… **</a:t>
            </a:r>
            <a:endParaRPr lang="en-US" sz="1200" b="1" kern="1200" dirty="0" smtClean="0">
              <a:solidFill>
                <a:schemeClr val="tx1"/>
              </a:solidFill>
              <a:effectLst/>
              <a:latin typeface="Segoe UI Light" pitchFamily="34"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E53C708A-EC5E-A247-94AC-4652F1646F82}" type="slidenum">
              <a:rPr lang="en-US">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3900121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1" kern="1200" dirty="0" smtClean="0">
                <a:solidFill>
                  <a:schemeClr val="tx1"/>
                </a:solidFill>
                <a:effectLst/>
                <a:latin typeface="Segoe UI Light" pitchFamily="34" charset="0"/>
                <a:ea typeface="ＭＳ Ｐゴシック" charset="0"/>
                <a:cs typeface="ＭＳ Ｐゴシック" charset="0"/>
              </a:rPr>
              <a:t>Key</a:t>
            </a:r>
            <a:r>
              <a:rPr lang="en-US" sz="900" b="1" kern="1200" baseline="0" dirty="0" smtClean="0">
                <a:solidFill>
                  <a:schemeClr val="tx1"/>
                </a:solidFill>
                <a:effectLst/>
                <a:latin typeface="Segoe UI Light" pitchFamily="34" charset="0"/>
                <a:ea typeface="ＭＳ Ｐゴシック" charset="0"/>
                <a:cs typeface="ＭＳ Ｐゴシック" charset="0"/>
              </a:rPr>
              <a:t> goal of slide: </a:t>
            </a:r>
            <a:r>
              <a:rPr lang="en-US" sz="900" kern="1200" baseline="0" dirty="0" smtClean="0">
                <a:solidFill>
                  <a:schemeClr val="tx1"/>
                </a:solidFill>
                <a:effectLst/>
                <a:latin typeface="Segoe UI Light" pitchFamily="34" charset="0"/>
                <a:ea typeface="ＭＳ Ｐゴシック" charset="0"/>
                <a:cs typeface="ＭＳ Ｐゴシック" charset="0"/>
              </a:rPr>
              <a:t>land what makes the Microsoft Cloud Platform different, unique.</a:t>
            </a:r>
          </a:p>
          <a:p>
            <a:pPr lvl="0"/>
            <a:endParaRPr lang="en-US" sz="900" kern="1200" dirty="0" smtClean="0">
              <a:solidFill>
                <a:schemeClr val="tx1"/>
              </a:solidFill>
              <a:effectLst/>
              <a:latin typeface="Segoe UI Light" pitchFamily="34" charset="0"/>
              <a:ea typeface="ＭＳ Ｐゴシック" charset="0"/>
              <a:cs typeface="ＭＳ Ｐゴシック" charset="0"/>
            </a:endParaRPr>
          </a:p>
          <a:p>
            <a:pPr lvl="0"/>
            <a:r>
              <a:rPr lang="en-US" sz="900" b="1" kern="1200" dirty="0" smtClean="0">
                <a:solidFill>
                  <a:schemeClr val="tx1"/>
                </a:solidFill>
                <a:effectLst/>
                <a:latin typeface="Segoe UI Light" pitchFamily="34" charset="0"/>
                <a:ea typeface="ＭＳ Ｐゴシック" charset="0"/>
                <a:cs typeface="ＭＳ Ｐゴシック" charset="0"/>
              </a:rPr>
              <a:t>Talk track:</a:t>
            </a:r>
          </a:p>
          <a:p>
            <a:pPr marL="171450" indent="-171450">
              <a:buFont typeface="Arial" panose="020B0604020202020204" pitchFamily="34" charset="0"/>
              <a:buChar char="•"/>
            </a:pPr>
            <a:r>
              <a:rPr lang="en-US" sz="900" dirty="0" smtClean="0"/>
              <a:t>We understand that there is a lot of competition when you consider all of the productivity, app, and platform players out there.</a:t>
            </a:r>
            <a:r>
              <a:rPr lang="en-US" sz="900" baseline="0" dirty="0" smtClean="0"/>
              <a:t> </a:t>
            </a:r>
          </a:p>
          <a:p>
            <a:pPr marL="171450" indent="-171450">
              <a:buFont typeface="Arial" panose="020B0604020202020204" pitchFamily="34" charset="0"/>
              <a:buChar char="•"/>
            </a:pPr>
            <a:r>
              <a:rPr lang="en-US" sz="900" baseline="0" dirty="0" smtClean="0"/>
              <a:t>We looked hard at what makes Microsoft unique in this space and asked customers, partners, analysts, and our people, “what are our points of differentiation? What helps set us apart from the rest?” Hard questions. Soul-searching questions to find the core of what makes us valuable to you.</a:t>
            </a:r>
          </a:p>
          <a:p>
            <a:pPr marL="171450" indent="-171450">
              <a:buFont typeface="Arial" panose="020B0604020202020204" pitchFamily="34" charset="0"/>
              <a:buChar char="•"/>
            </a:pPr>
            <a:r>
              <a:rPr lang="en-US" sz="900" baseline="0" dirty="0" smtClean="0"/>
              <a:t>The big answer that came back was interesting: no other company has the complete and flexible suite of capabilities like Microsoft and the experience to back it up. Some companies have great productivity capabilities but don’t have business apps or platform experience. Some companies have great platform expertise but no productivity or apps.</a:t>
            </a:r>
          </a:p>
          <a:p>
            <a:pPr marL="171450" indent="-171450">
              <a:buFont typeface="Arial" panose="020B0604020202020204" pitchFamily="34" charset="0"/>
              <a:buChar char="•"/>
            </a:pPr>
            <a:r>
              <a:rPr lang="en-US" sz="900" baseline="0" dirty="0" smtClean="0"/>
              <a:t>A recent IDC report says that 67 percent of customers expect to purchase multiple services from a single cloud vendor. That means that cloud vendors that provide options and multiple services have a decent shot of getting more business. I know you don’t particularly care about that – but it further validated our approach. We want to give you options, choice, flexibility, and back it up with rock-solid performance and security. That’s what Microsoft has been all about since the beginning. </a:t>
            </a:r>
          </a:p>
          <a:p>
            <a:pPr marL="171450" indent="-171450">
              <a:buFont typeface="Arial" panose="020B0604020202020204" pitchFamily="34" charset="0"/>
              <a:buChar char="•"/>
            </a:pPr>
            <a:r>
              <a:rPr lang="en-US" sz="900" baseline="0" dirty="0" smtClean="0"/>
              <a:t>Let’s take a moment to look at the five things that make the Microsoft Cloud different, things you should be considering when you’re selecting a cloud vendor.</a:t>
            </a:r>
          </a:p>
          <a:p>
            <a:pPr marL="171450" indent="-171450">
              <a:buFont typeface="Arial" panose="020B0604020202020204" pitchFamily="34" charset="0"/>
              <a:buChar char="•"/>
            </a:pPr>
            <a:r>
              <a:rPr lang="en-US" sz="900" b="1" baseline="0" dirty="0" smtClean="0"/>
              <a:t>Global scale</a:t>
            </a:r>
            <a:r>
              <a:rPr lang="en-US" sz="900" baseline="0" dirty="0" smtClean="0"/>
              <a:t>: We provide the worldwide reach and </a:t>
            </a:r>
            <a:r>
              <a:rPr lang="en-US" sz="900" baseline="0" dirty="0" err="1" smtClean="0"/>
              <a:t>hyperscale</a:t>
            </a:r>
            <a:r>
              <a:rPr lang="en-US" sz="900" baseline="0" dirty="0" smtClean="0"/>
              <a:t> needed to break the cloud entry barrier giving you better economics, business agility, and availability. This is all of our experience running some of the largest cloud services in the world. You get to benefit from all of that knowledge and our global platform. When you’re ready to scale, we’re ready.</a:t>
            </a:r>
          </a:p>
          <a:p>
            <a:pPr marL="171450" indent="-171450">
              <a:buFont typeface="Arial" panose="020B0604020202020204" pitchFamily="34" charset="0"/>
              <a:buChar char="•"/>
            </a:pPr>
            <a:r>
              <a:rPr lang="en-US" sz="900" b="1" baseline="0" dirty="0" smtClean="0"/>
              <a:t>Enterprise-grade</a:t>
            </a:r>
            <a:r>
              <a:rPr lang="en-US" sz="900" baseline="0" dirty="0" smtClean="0"/>
              <a:t>: We have proven enterprise experience coupled with security and compliance investments, giving you the confidence that your business demands. We’ve been working very hard for decades to become enterprise-grade, a badge of honor that we hold dear.</a:t>
            </a:r>
          </a:p>
          <a:p>
            <a:pPr marL="171450" indent="-171450">
              <a:buFont typeface="Arial" panose="020B0604020202020204" pitchFamily="34" charset="0"/>
              <a:buChar char="•"/>
            </a:pPr>
            <a:r>
              <a:rPr lang="en-US" sz="900" b="1" baseline="0" dirty="0" smtClean="0"/>
              <a:t>Comprehensive</a:t>
            </a:r>
            <a:r>
              <a:rPr lang="en-US" sz="900" baseline="0" dirty="0" smtClean="0"/>
              <a:t>: We offer an unmatched breadth of capabilities that provide IT simplification and the consistency essential for your business transformation. We make it easy to connect things through a unified identity and access management system enabling single-sign on to employees.</a:t>
            </a:r>
          </a:p>
          <a:p>
            <a:pPr marL="171450" indent="-171450">
              <a:buFont typeface="Arial" panose="020B0604020202020204" pitchFamily="34" charset="0"/>
              <a:buChar char="•"/>
            </a:pPr>
            <a:r>
              <a:rPr lang="en-US" sz="900" b="1" baseline="0" dirty="0" smtClean="0"/>
              <a:t>Hybrid cloud: </a:t>
            </a:r>
            <a:r>
              <a:rPr lang="en-US" sz="900" baseline="0" dirty="0" smtClean="0"/>
              <a:t>This is the big one. We believe it’s critical that we provide flexible cloud services, scalability, and capacity that increase the value of existing technology investments to best fit your business needs. We understand that you can’t start over in the cloud overnight. You need flexibility when it comes to managing and making best use of existing on-premises investments, providing a path to the cloud, and for all of your cloud needs.</a:t>
            </a:r>
          </a:p>
          <a:p>
            <a:pPr marL="171450" indent="-171450">
              <a:buFont typeface="Arial" panose="020B0604020202020204" pitchFamily="34" charset="0"/>
              <a:buChar char="•"/>
            </a:pPr>
            <a:r>
              <a:rPr lang="en-US" sz="900" b="1" baseline="0" dirty="0" smtClean="0"/>
              <a:t>People-centered experiences</a:t>
            </a:r>
            <a:r>
              <a:rPr lang="en-US" sz="900" baseline="0" dirty="0" smtClean="0"/>
              <a:t>: We’re committed to providing the experiences that end users want, with the control IT needs, designed to produce higher productivity and extend skillsets to cloud for innovation with minimal training costs. With Office, Dynamics, and Azure all working together, your people will be productive and delighted by the integrated experiences that just work. </a:t>
            </a:r>
          </a:p>
          <a:p>
            <a:pPr marL="0" indent="0">
              <a:buFont typeface="Arial" panose="020B0604020202020204" pitchFamily="34" charset="0"/>
              <a:buNone/>
            </a:pPr>
            <a:endParaRPr lang="en-US" sz="90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B32AF0-5D7B-4E08-85BE-C1C1F1ABCEE0}" type="datetime1">
              <a:rPr lang="en-US">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156739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fontScale="92500" lnSpcReduction="20000"/>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goal of slide: </a:t>
            </a:r>
            <a:r>
              <a:rPr lang="en-US" sz="1200" kern="1200" baseline="0" dirty="0" smtClean="0">
                <a:solidFill>
                  <a:schemeClr val="tx1"/>
                </a:solidFill>
                <a:effectLst/>
                <a:latin typeface="Segoe UI Light" pitchFamily="34" charset="0"/>
                <a:ea typeface="ＭＳ Ｐゴシック" charset="0"/>
                <a:cs typeface="ＭＳ Ｐゴシック" charset="0"/>
              </a:rPr>
              <a:t>highlight our global scale.</a:t>
            </a:r>
          </a:p>
          <a:p>
            <a:pPr lvl="0"/>
            <a:endParaRPr lang="en-US" sz="1200"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Talk track:</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Let’s take a moment to drill into each of the five differentiators. First up is our global scal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ver the last few years we’ve truly delivered a huge infrastructure to enable us to grow our services at scale around the globe. It is really key for us to make smart investments around the world to deliver services in a resilient and reliable fashion.</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Let’s pause for a second to take in the numbers: one million (and growing) servers across over 100 datacenters located in 40 countrie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network powers our first-party applications—we are committed by service level agreements to ensure great experiences and uptim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magine what it would take for your business to have this level of infrastructure. What if you wanted to expand into a new region of the globe? How much work does that represent in terms of building the technology infrastructure to support? We’ve taken away all of the pain and expense through the datacenter investments we’ve mad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is the power of the Microsoft Cloud: you get access to world-class global resources to grow your busines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Example: in just a few years Office 365 became the most subscribed cloud service in the world. It scaled from almost nothing to one of the biggest and continues to grow. This is how we can help you.</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 lot of people ask, “what goes into site selection at Microsoft and how do we decide where to place our datacenter investments?”  There are over 35 factors in our site selection criteria.  But really, the top elements are around proximity to customers and energy and fiber infrastructure, ensuring that we have the capacity and the growth platforms to be able to grow our services.</a:t>
            </a:r>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679140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fontScale="47500" lnSpcReduction="20000"/>
          </a:bodyPr>
          <a:lstStyle/>
          <a:p>
            <a:pPr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sz="1200" dirty="0" smtClean="0">
                <a:latin typeface="Calibri" panose="020F0502020204030204" pitchFamily="34" charset="0"/>
                <a:ea typeface="Times New Roman" panose="02020603050405020304" pitchFamily="18" charset="0"/>
                <a:cs typeface="Times New Roman" panose="02020603050405020304" pitchFamily="18" charset="0"/>
              </a:rPr>
              <a:t>Introduce enterprise-grade platform as incontrovertible (you can also start to talk about hybrid in this slide if you like)</a:t>
            </a:r>
          </a:p>
          <a:p>
            <a:pPr marL="228600"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 </a:t>
            </a:r>
            <a:endParaRPr lang="en-US" sz="120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Talk track:</a:t>
            </a:r>
            <a:endParaRPr lang="en-US" sz="1200" dirty="0" smtClean="0">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We understand your existing IT systems and challenges better than any technology company out ther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DC predicts that 70 percent of CIOs will embrace a cloud-first strategy in 2016. To get there, organizations need to move at their own pace over a number of years, with many living in a hybrid environment for quite some time. That flexibility to live in both worlds—even with a cloud-first strategy—is non-negotiable. (Source:  IDC CIO Agenda webinar).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So we aren’t going to tell you to move everything to the cloud. We’ll help you take what you have, upgrade through our Microsoft Cloud Platform strategy, and take the journey with you.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Some vendors are making this transition more confusing by calling feature-limited apps “cloud-ready,” by forcing you to use different sign-</a:t>
            </a:r>
            <a:r>
              <a:rPr lang="en-US" sz="1200" kern="1200" dirty="0" err="1" smtClean="0">
                <a:solidFill>
                  <a:schemeClr val="tx1"/>
                </a:solidFill>
                <a:effectLst/>
                <a:latin typeface="+mn-lt"/>
                <a:ea typeface="ＭＳ Ｐゴシック" charset="0"/>
                <a:cs typeface="ＭＳ Ｐゴシック" charset="0"/>
              </a:rPr>
              <a:t>ons</a:t>
            </a:r>
            <a:r>
              <a:rPr lang="en-US" sz="1200" kern="1200" dirty="0" smtClean="0">
                <a:solidFill>
                  <a:schemeClr val="tx1"/>
                </a:solidFill>
                <a:effectLst/>
                <a:latin typeface="+mn-lt"/>
                <a:ea typeface="ＭＳ Ｐゴシック" charset="0"/>
                <a:cs typeface="ＭＳ Ｐゴシック" charset="0"/>
              </a:rPr>
              <a:t> for every online experience, or they won’t even guarantee continuous availability.  Cloud shouldn’t mean lowering your expectations or making compromise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Microsoft believes you shouldn’t expect any less from the cloud—you should expect mor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What matters most is working with a company you know with the experience, reach, and footprint you can fully trust.</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 company whose scale can deliver the global reach and advantages no other can. With Microsoft, you not only tap into our cost and resource efficiencies, but you also tap into our engineering IP and experience running production datacenters at global scal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Leading governments, financial services organizations and companies around the world rely on Microsoft because our platform services are global, secure, reliable, and designed for fault toleranc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No other cloud vendor can match Microsoft in our experience running and building services. In addition to running some of the world’s largest public cloud services, we run a more diverse set of cloud services than any company out there and have been doing this since the 90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t Microsoft, we operate more than 200 public cloud services around the world. We’ll talk more about this related to trust in a moment, but you can imagine the massive number of servers in datacenters around the world it takes to do thi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You benefit from our scale—not just scale in terms of our reach and economies of scale—but also from innovation at scale. This tremendous level of experience provides us the ability to learn every day what it's like to deliver cloud services at scale and to run production datacenters (just like our customers, although at a much larger scale). Then we bring those capabilities into our products so that you, our customers, and our partners benefit from this firsthand experienc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ur extensive on-premises experience and the install base of our existing solutions, like Active Directory that's used by over 93 percent of the Fortune 1000, is augmented with Windows Active Directory, for which we have more than 18 billion authentications weekly in our cloud-based version of Active Directory (Microsoft Azure Active Directory).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oday, 67 percent of servers on premises run the Windows Server operating system. And already Microsoft Azure is used by over 57 percent of the Fortune 500.</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n the data platform, SQL Server is the most broadly used database on the planet, with 45 percent share.  And in the cloud, we run more than one million Azure SQL databases for our customer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n the enterprise mobility management side, System Center Configuration Manager is licensed on more than 66 percent of all enterprise desktops.  And in the cloud, already more than 29,000 organizations using our cloud-based device management solution called Microsoft Intune.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So the value of on-premises plus cloud-based services to deliver true hybrid solutions is what allows us to innovate at scale.</a:t>
            </a:r>
            <a:endParaRPr lang="en-US" sz="1200" dirty="0" smtClean="0">
              <a:solidFill>
                <a:srgbClr val="595959"/>
              </a:solidFill>
              <a:latin typeface="Segoe UI" panose="020B0502040204020203" pitchFamily="34" charset="0"/>
              <a:ea typeface="Calibri" panose="020F0502020204030204" pitchFamily="34" charset="0"/>
              <a:cs typeface="Times New Roman" panose="02020603050405020304" pitchFamily="18" charset="0"/>
            </a:endParaRPr>
          </a:p>
          <a:p>
            <a:pPr lvl="0"/>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86124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fontScale="55000" lnSpcReduction="20000"/>
          </a:bodyPr>
          <a:lstStyle/>
          <a:p>
            <a:pPr>
              <a:lnSpc>
                <a:spcPct val="115000"/>
              </a:lnSpc>
              <a:spcBef>
                <a:spcPct val="0"/>
              </a:spcBef>
              <a:spcAft>
                <a:spcPts val="1000"/>
              </a:spcAft>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sz="1200" b="0" dirty="0" smtClean="0">
                <a:latin typeface="Calibri" panose="020F0502020204030204" pitchFamily="34" charset="0"/>
                <a:ea typeface="Times New Roman" panose="02020603050405020304" pitchFamily="18" charset="0"/>
                <a:cs typeface="Times New Roman" panose="02020603050405020304" pitchFamily="18" charset="0"/>
              </a:rPr>
              <a:t>highlight the unique value proposition that Microsoft</a:t>
            </a:r>
            <a:r>
              <a:rPr lang="en-US" sz="1200" b="0" baseline="0" dirty="0" smtClean="0">
                <a:latin typeface="Calibri" panose="020F0502020204030204" pitchFamily="34" charset="0"/>
                <a:ea typeface="Times New Roman" panose="02020603050405020304" pitchFamily="18" charset="0"/>
                <a:cs typeface="Times New Roman" panose="02020603050405020304" pitchFamily="18" charset="0"/>
              </a:rPr>
              <a:t> provides across private, public, and hybrid clouds.</a:t>
            </a:r>
            <a:endParaRPr lang="en-US" sz="1200" b="1" dirty="0" smtClean="0">
              <a:latin typeface="Calibri" charset="0"/>
              <a:cs typeface="Times New Roman" charset="0"/>
            </a:endParaRPr>
          </a:p>
          <a:p>
            <a:pPr>
              <a:lnSpc>
                <a:spcPct val="115000"/>
              </a:lnSpc>
              <a:spcBef>
                <a:spcPct val="0"/>
              </a:spcBef>
              <a:spcAft>
                <a:spcPts val="1000"/>
              </a:spcAft>
            </a:pPr>
            <a:endParaRPr lang="en-US" sz="1200" b="1" dirty="0" smtClean="0">
              <a:latin typeface="Calibri" charset="0"/>
              <a:cs typeface="Times New Roman" charset="0"/>
            </a:endParaRPr>
          </a:p>
          <a:p>
            <a:pPr>
              <a:lnSpc>
                <a:spcPct val="115000"/>
              </a:lnSpc>
              <a:spcBef>
                <a:spcPct val="0"/>
              </a:spcBef>
              <a:spcAft>
                <a:spcPts val="1000"/>
              </a:spcAft>
            </a:pPr>
            <a:r>
              <a:rPr lang="en-US" sz="1200" b="1" dirty="0" smtClean="0">
                <a:latin typeface="Calibri" charset="0"/>
                <a:cs typeface="Times New Roman" charset="0"/>
              </a:rPr>
              <a:t>Talk track:</a:t>
            </a:r>
            <a:endParaRPr lang="en-US" sz="1200" dirty="0" smtClean="0">
              <a:latin typeface="Calibri" charset="0"/>
              <a:cs typeface="Times New Roman"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No other technology vendor can claim to provide a unified approach across private, public, and hybrid clouds like Microsoft doe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We understand the realities of business require options and flexibility when it comes to moving to the cloud. That could be regulatory requirements, or the current place your business is at from a technology infrastructure investment perspectiv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t was important for us to provide a strategy to make it easy for organizations to make the move to the cloud on their own terms, when they are ready. To make the happen, we incorporated common capabilities into our cloud approach to development, management, identity, virtualization, and data—spanning on premises to cloud—your cloud, a service provider cloud, and Microsoft’s cloud.</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is powerful because we will deliver a flexible</a:t>
            </a:r>
            <a:r>
              <a:rPr lang="en-US" sz="1200" b="1" kern="1200" dirty="0" smtClean="0">
                <a:solidFill>
                  <a:schemeClr val="tx1"/>
                </a:solidFill>
                <a:effectLst/>
                <a:latin typeface="+mn-lt"/>
                <a:ea typeface="ＭＳ Ｐゴシック" charset="0"/>
                <a:cs typeface="ＭＳ Ｐゴシック" charset="0"/>
              </a:rPr>
              <a:t> development </a:t>
            </a:r>
            <a:r>
              <a:rPr lang="en-US" sz="1200" kern="1200" dirty="0" smtClean="0">
                <a:solidFill>
                  <a:schemeClr val="tx1"/>
                </a:solidFill>
                <a:effectLst/>
                <a:latin typeface="+mn-lt"/>
                <a:ea typeface="ＭＳ Ｐゴシック" charset="0"/>
                <a:cs typeface="ＭＳ Ｐゴシック" charset="0"/>
              </a:rPr>
              <a:t>environment for the developer so that the code once and deploy in VMs anywhere; deploy on premises, deploy out to a partner cloud, deploy out to Azure cloud. But they only have to write the app once on the power of our .NET framework.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Unified</a:t>
            </a:r>
            <a:r>
              <a:rPr lang="en-US" sz="1200" b="1" kern="1200" dirty="0" smtClean="0">
                <a:solidFill>
                  <a:schemeClr val="tx1"/>
                </a:solidFill>
                <a:effectLst/>
                <a:latin typeface="+mn-lt"/>
                <a:ea typeface="ＭＳ Ｐゴシック" charset="0"/>
                <a:cs typeface="ＭＳ Ｐゴシック" charset="0"/>
              </a:rPr>
              <a:t> management </a:t>
            </a:r>
            <a:r>
              <a:rPr lang="en-US" sz="1200" kern="1200" dirty="0" smtClean="0">
                <a:solidFill>
                  <a:schemeClr val="tx1"/>
                </a:solidFill>
                <a:effectLst/>
                <a:latin typeface="+mn-lt"/>
                <a:ea typeface="ＭＳ Ｐゴシック" charset="0"/>
                <a:cs typeface="ＭＳ Ｐゴシック" charset="0"/>
              </a:rPr>
              <a:t>is our ability to use System Center, sitting in your datacenter to administer all the automation scripts to manage and pool the resources of that datacenter. While you’re looking through that pane of glass, you’re able to provision and move VMs, objects, and data from your datacenter out through a service provider or out to Azure for bottomless storage, for redundancy, for disaster recovery.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Common</a:t>
            </a:r>
            <a:r>
              <a:rPr lang="en-US" sz="1200" b="1" kern="1200" dirty="0" smtClean="0">
                <a:solidFill>
                  <a:schemeClr val="tx1"/>
                </a:solidFill>
                <a:effectLst/>
                <a:latin typeface="+mn-lt"/>
                <a:ea typeface="ＭＳ Ｐゴシック" charset="0"/>
                <a:cs typeface="ＭＳ Ｐゴシック" charset="0"/>
              </a:rPr>
              <a:t> identity </a:t>
            </a:r>
            <a:r>
              <a:rPr lang="en-US" sz="1200" kern="1200" dirty="0" smtClean="0">
                <a:solidFill>
                  <a:schemeClr val="tx1"/>
                </a:solidFill>
                <a:effectLst/>
                <a:latin typeface="+mn-lt"/>
                <a:ea typeface="ＭＳ Ｐゴシック" charset="0"/>
                <a:cs typeface="ＭＳ Ｐゴシック" charset="0"/>
              </a:rPr>
              <a:t>is a third element of our consistent platform, using Active Directory group policies that you’ve already set up in your enterprise. You merely get the benefit of those group policies extended through Active Directory Federation Services and Azure-based Active Directory, so that the group policies you set extend out to the cloud automatically. You don’t have to manage multiple federation common identity across different cloud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ntegrated</a:t>
            </a:r>
            <a:r>
              <a:rPr lang="en-US" sz="1200" b="1" kern="1200" dirty="0" smtClean="0">
                <a:solidFill>
                  <a:schemeClr val="tx1"/>
                </a:solidFill>
                <a:effectLst/>
                <a:latin typeface="+mn-lt"/>
                <a:ea typeface="ＭＳ Ｐゴシック" charset="0"/>
                <a:cs typeface="ＭＳ Ｐゴシック" charset="0"/>
              </a:rPr>
              <a:t> virtualization </a:t>
            </a:r>
            <a:r>
              <a:rPr lang="en-US" sz="1200" kern="1200" dirty="0" smtClean="0">
                <a:solidFill>
                  <a:schemeClr val="tx1"/>
                </a:solidFill>
                <a:effectLst/>
                <a:latin typeface="+mn-lt"/>
                <a:ea typeface="ＭＳ Ｐゴシック" charset="0"/>
                <a:cs typeface="ＭＳ Ｐゴシック" charset="0"/>
              </a:rPr>
              <a:t>is a fourth area. You no longer need a third-party bolt-on to virtualize your compute. Not only are we giving you compute capability, virtualization of your compute capability imbedded in Windows Server, we’re giving that to you around software-defined networking and around virtualization of storage, also.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Lastly, being able to have a</a:t>
            </a:r>
            <a:r>
              <a:rPr lang="en-US" sz="1200" b="1" kern="1200" dirty="0" smtClean="0">
                <a:solidFill>
                  <a:schemeClr val="tx1"/>
                </a:solidFill>
                <a:effectLst/>
                <a:latin typeface="+mn-lt"/>
                <a:ea typeface="ＭＳ Ｐゴシック" charset="0"/>
                <a:cs typeface="ＭＳ Ｐゴシック" charset="0"/>
              </a:rPr>
              <a:t> complete data platform </a:t>
            </a:r>
            <a:r>
              <a:rPr lang="en-US" sz="1200" kern="1200" dirty="0" smtClean="0">
                <a:solidFill>
                  <a:schemeClr val="tx1"/>
                </a:solidFill>
                <a:effectLst/>
                <a:latin typeface="+mn-lt"/>
                <a:ea typeface="ＭＳ Ｐゴシック" charset="0"/>
                <a:cs typeface="ＭＳ Ｐゴシック" charset="0"/>
              </a:rPr>
              <a:t>where your data can reside anywhere across these three clouds in a seamless way is a value proposition that’s huge, as well. You can optimize your storage costs in this dimension. All that capability is integrated into how we think about the complete data platform for a customer across all cloud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ur hybrid design gives you the ability, from one view, to manage apps and data beyond your own private cloud, to a partner cloud, to a public cloud—in a consistent way.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Removes complexity so you can focus on answering those business questions and apps.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Helps you be very flexible in thinking about how you deploy your apps across the three cloud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84177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316" fontAlgn="auto">
              <a:lnSpc>
                <a:spcPct val="115000"/>
              </a:lnSpc>
              <a:spcBef>
                <a:spcPts val="0"/>
              </a:spcBef>
              <a:spcAft>
                <a:spcPts val="1000"/>
              </a:spcAft>
              <a:defRPr/>
            </a:pPr>
            <a:r>
              <a:rPr lang="en-US" sz="1400"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sz="1400" b="0" dirty="0" smtClean="0">
                <a:latin typeface="Calibri" panose="020F0502020204030204" pitchFamily="34" charset="0"/>
                <a:ea typeface="Times New Roman" panose="02020603050405020304" pitchFamily="18" charset="0"/>
                <a:cs typeface="Times New Roman" panose="02020603050405020304" pitchFamily="18" charset="0"/>
              </a:rPr>
              <a:t>Land,</a:t>
            </a:r>
            <a:r>
              <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rPr>
              <a:t> at a </a:t>
            </a:r>
            <a:r>
              <a:rPr lang="en-US" sz="1400" b="0" dirty="0" smtClean="0">
                <a:latin typeface="Calibri" panose="020F0502020204030204" pitchFamily="34" charset="0"/>
                <a:ea typeface="Times New Roman" panose="02020603050405020304" pitchFamily="18" charset="0"/>
                <a:cs typeface="Times New Roman" panose="02020603050405020304" pitchFamily="18" charset="0"/>
              </a:rPr>
              <a:t>Microsoft</a:t>
            </a:r>
            <a:r>
              <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rPr>
              <a:t> level, that we offer the trusted and open platform that you can bet your business on.</a:t>
            </a:r>
          </a:p>
          <a:p>
            <a:pPr defTabSz="932316" fontAlgn="auto">
              <a:lnSpc>
                <a:spcPct val="115000"/>
              </a:lnSpc>
              <a:spcBef>
                <a:spcPts val="0"/>
              </a:spcBef>
              <a:spcAft>
                <a:spcPts val="1000"/>
              </a:spcAft>
              <a:defRPr/>
            </a:pPr>
            <a:endPar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r>
              <a:rPr lang="en-US" sz="1400" b="1" baseline="0" dirty="0" smtClean="0">
                <a:latin typeface="Calibri" panose="020F0502020204030204" pitchFamily="34" charset="0"/>
                <a:ea typeface="Times New Roman" panose="02020603050405020304" pitchFamily="18" charset="0"/>
                <a:cs typeface="Times New Roman" panose="02020603050405020304" pitchFamily="18" charset="0"/>
              </a:rPr>
              <a:t>Talk track:</a:t>
            </a:r>
          </a:p>
          <a:p>
            <a:pPr marL="0" indent="0">
              <a:buFont typeface="Arial" panose="020B0604020202020204" pitchFamily="34" charset="0"/>
              <a:buNone/>
            </a:pPr>
            <a:r>
              <a:rPr lang="en-US" sz="1200" kern="1200" dirty="0" smtClean="0">
                <a:solidFill>
                  <a:schemeClr val="tx1"/>
                </a:solidFill>
                <a:effectLst/>
                <a:latin typeface="+mn-lt"/>
                <a:ea typeface="ＭＳ Ｐゴシック" charset="0"/>
                <a:cs typeface="ＭＳ Ｐゴシック" charset="0"/>
              </a:rPr>
              <a:t>Being a trusted enterprise platform vendor means making a commitment and deep investments both in people and resources across pivotal areas: security, privacy, compliance, and reliability.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Microsoft engineers are trained to deliver an inherently safer platform with built-in controls for access, privacy, and security.  </a:t>
            </a:r>
            <a:r>
              <a:rPr lang="en-US" sz="1200" i="1" kern="1200" dirty="0" smtClean="0">
                <a:solidFill>
                  <a:schemeClr val="tx1"/>
                </a:solidFill>
                <a:effectLst/>
                <a:latin typeface="+mn-lt"/>
                <a:ea typeface="ＭＳ Ｐゴシック" charset="0"/>
                <a:cs typeface="ＭＳ Ｐゴシック" charset="0"/>
              </a:rPr>
              <a:t>-- More than 1 billion customers in 20 million businesses put their trust in Microsoft Cloud</a:t>
            </a:r>
            <a:endParaRPr lang="en-US" sz="1200" kern="1200" dirty="0" smtClean="0">
              <a:solidFill>
                <a:schemeClr val="tx1"/>
              </a:solidFill>
              <a:effectLst/>
              <a:latin typeface="+mn-lt"/>
              <a:ea typeface="ＭＳ Ｐゴシック" charset="0"/>
              <a:cs typeface="ＭＳ Ｐゴシック"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We have a high focus on protecting data, networks, access, and systems.  -- </a:t>
            </a:r>
            <a:r>
              <a:rPr lang="en-US" sz="1200" i="1" kern="1200" dirty="0" smtClean="0">
                <a:solidFill>
                  <a:schemeClr val="tx1"/>
                </a:solidFill>
                <a:effectLst/>
                <a:latin typeface="+mn-lt"/>
                <a:ea typeface="ＭＳ Ｐゴシック" charset="0"/>
                <a:cs typeface="ＭＳ Ｐゴシック" charset="0"/>
              </a:rPr>
              <a:t>By running more than 200 online services all day, every day (ex. previous slide), we’ve learned and built already what customers need around privacy, security, and access.</a:t>
            </a:r>
            <a:endParaRPr lang="en-US" sz="1200" kern="1200" dirty="0" smtClean="0">
              <a:solidFill>
                <a:schemeClr val="tx1"/>
              </a:solidFill>
              <a:effectLst/>
              <a:latin typeface="+mn-lt"/>
              <a:ea typeface="ＭＳ Ｐゴシック" charset="0"/>
              <a:cs typeface="ＭＳ Ｐゴシック" charset="0"/>
            </a:endParaRPr>
          </a:p>
          <a:p>
            <a:pPr marL="171450" lvl="0" indent="-171450">
              <a:buFont typeface="Arial" panose="020B0604020202020204" pitchFamily="34" charset="0"/>
              <a:buChar char="•"/>
            </a:pPr>
            <a:r>
              <a:rPr lang="en-US" sz="1200" i="1" kern="1200" dirty="0" smtClean="0">
                <a:solidFill>
                  <a:schemeClr val="tx1"/>
                </a:solidFill>
                <a:effectLst/>
                <a:latin typeface="+mn-lt"/>
                <a:ea typeface="ＭＳ Ｐゴシック" charset="0"/>
                <a:cs typeface="ＭＳ Ｐゴシック" charset="0"/>
              </a:rPr>
              <a:t>So much so that we both lead and follow privacy and compliance laws—ultimately setting the global standard.</a:t>
            </a:r>
            <a:endParaRPr lang="en-US" sz="1200" kern="1200" dirty="0" smtClean="0">
              <a:solidFill>
                <a:schemeClr val="tx1"/>
              </a:solidFill>
              <a:effectLst/>
              <a:latin typeface="+mn-lt"/>
              <a:ea typeface="ＭＳ Ｐゴシック" charset="0"/>
              <a:cs typeface="ＭＳ Ｐゴシック"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Microsoft is also committed to delivering the best customer experience across software, services, and support.</a:t>
            </a:r>
          </a:p>
          <a:p>
            <a:pPr marL="0" indent="0">
              <a:buFont typeface="Arial" panose="020B0604020202020204" pitchFamily="34" charset="0"/>
              <a:buNone/>
            </a:pPr>
            <a:r>
              <a:rPr lang="en-US" sz="1200" kern="1200" dirty="0" smtClean="0">
                <a:solidFill>
                  <a:schemeClr val="tx1"/>
                </a:solidFill>
                <a:effectLst/>
                <a:latin typeface="+mn-lt"/>
                <a:ea typeface="ＭＳ Ｐゴシック" charset="0"/>
                <a:cs typeface="ＭＳ Ｐゴシック" charset="0"/>
              </a:rPr>
              <a:t>Doing that also means our platform must be open and flexible:</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We realize our customers do business in a heterogeneous world, so they need a platform that supports multiple device types—from management of those devices to building apps that can extend to all of them. We support developers through the entire application lifecycle management process, enabling collaborative working relationships between Development and IT Operations, resulting in the fast flow of planned work (i.e., high deploy rates), while simultaneously increasing the reliability, stability, resilience, and security of the production environment.</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n the world of big data created by </a:t>
            </a:r>
            <a:r>
              <a:rPr lang="en-US" sz="1200" kern="1200" dirty="0" err="1" smtClean="0">
                <a:solidFill>
                  <a:schemeClr val="tx1"/>
                </a:solidFill>
                <a:effectLst/>
                <a:latin typeface="+mn-lt"/>
                <a:ea typeface="ＭＳ Ｐゴシック" charset="0"/>
                <a:cs typeface="ＭＳ Ｐゴシック" charset="0"/>
              </a:rPr>
              <a:t>IoT</a:t>
            </a:r>
            <a:r>
              <a:rPr lang="en-US" sz="1200" kern="1200" dirty="0" smtClean="0">
                <a:solidFill>
                  <a:schemeClr val="tx1"/>
                </a:solidFill>
                <a:effectLst/>
                <a:latin typeface="+mn-lt"/>
                <a:ea typeface="ＭＳ Ｐゴシック" charset="0"/>
                <a:cs typeface="ＭＳ Ｐゴシック" charset="0"/>
              </a:rPr>
              <a:t>, the proliferation of devices, apps, and services isn’t just about more data. It’s about different data and needing a data platform that can deal with all of it in real tim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nd, ultimately, doing all of this with a flexible infrastructure that can support a heterogeneous IT environment.</a:t>
            </a:r>
          </a:p>
          <a:p>
            <a:pPr defTabSz="932316" fontAlgn="auto">
              <a:lnSpc>
                <a:spcPct val="115000"/>
              </a:lnSpc>
              <a:spcBef>
                <a:spcPts val="0"/>
              </a:spcBef>
              <a:spcAft>
                <a:spcPts val="1000"/>
              </a:spcAft>
              <a:defRPr/>
            </a:pPr>
            <a:endPar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endPar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r>
              <a:rPr lang="en-US" sz="1400" b="1" u="sng" baseline="0" dirty="0" smtClean="0">
                <a:latin typeface="Calibri" panose="020F0502020204030204" pitchFamily="34" charset="0"/>
                <a:ea typeface="Times New Roman" panose="02020603050405020304" pitchFamily="18" charset="0"/>
                <a:cs typeface="Times New Roman" panose="02020603050405020304" pitchFamily="18" charset="0"/>
              </a:rPr>
              <a:t>OPTIONAL Technical Capabilities – use to land one or more points for open and flexible</a:t>
            </a:r>
            <a:endParaRPr lang="en-US" sz="1050" b="1" dirty="0" smtClean="0"/>
          </a:p>
          <a:p>
            <a:pPr marL="637605" lvl="1" indent="-171450">
              <a:buFont typeface="Arial" panose="020B0604020202020204" pitchFamily="34" charset="0"/>
              <a:buChar char="•"/>
            </a:pPr>
            <a:r>
              <a:rPr lang="en-US" sz="1050" dirty="0" smtClean="0"/>
              <a:t>Remote desktop apps across platforms, including Windows, iOS, and Android</a:t>
            </a:r>
          </a:p>
          <a:p>
            <a:pPr marL="637605" lvl="1" indent="-171450">
              <a:buFont typeface="Arial" panose="020B0604020202020204" pitchFamily="34" charset="0"/>
              <a:buChar char="•"/>
            </a:pPr>
            <a:r>
              <a:rPr lang="en-US" sz="1050" dirty="0" smtClean="0"/>
              <a:t>Manage new device types with cloud-based client management (Windows Intune)</a:t>
            </a:r>
          </a:p>
          <a:p>
            <a:pPr marL="171450" indent="-171450">
              <a:buFont typeface="Arial" panose="020B0604020202020204" pitchFamily="34" charset="0"/>
              <a:buChar char="•"/>
            </a:pPr>
            <a:r>
              <a:rPr lang="en-US" sz="1050" b="1" dirty="0" smtClean="0"/>
              <a:t>Data</a:t>
            </a:r>
          </a:p>
          <a:p>
            <a:pPr marL="637611" lvl="2" indent="-171450">
              <a:buFont typeface="Arial" panose="020B0604020202020204" pitchFamily="34" charset="0"/>
              <a:buChar char="•"/>
            </a:pPr>
            <a:r>
              <a:rPr lang="en-US" sz="1050" dirty="0" smtClean="0"/>
              <a:t>Access, combine, and analyze any data, big, small, structured, unstructured, streaming (Microsoft data solutions)</a:t>
            </a:r>
          </a:p>
          <a:p>
            <a:pPr marL="637611" lvl="2" indent="-171450">
              <a:buFont typeface="Arial" panose="020B0604020202020204" pitchFamily="34" charset="0"/>
              <a:buChar char="•"/>
            </a:pPr>
            <a:r>
              <a:rPr lang="en-US" sz="1050" dirty="0" smtClean="0"/>
              <a:t>Run big data applications on your choice of platform (deploy Hadoop in Azure VMs with Windows Server or Linux)</a:t>
            </a:r>
          </a:p>
          <a:p>
            <a:pPr marL="171450" indent="-171450">
              <a:buFont typeface="Arial" panose="020B0604020202020204" pitchFamily="34" charset="0"/>
              <a:buChar char="•"/>
            </a:pPr>
            <a:r>
              <a:rPr lang="en-US" sz="1050" b="1" dirty="0" smtClean="0"/>
              <a:t>Apps</a:t>
            </a:r>
          </a:p>
          <a:p>
            <a:pPr marL="637611" lvl="2" indent="-171450">
              <a:buFont typeface="Arial" panose="020B0604020202020204" pitchFamily="34" charset="0"/>
              <a:buChar char="•"/>
            </a:pPr>
            <a:r>
              <a:rPr lang="en-US" sz="1050" dirty="0" smtClean="0"/>
              <a:t>Use the language and framework that works best for you (.NET, </a:t>
            </a:r>
            <a:r>
              <a:rPr lang="en-US" sz="1050" dirty="0" err="1" smtClean="0"/>
              <a:t>php</a:t>
            </a:r>
            <a:r>
              <a:rPr lang="en-US" sz="1050" dirty="0" smtClean="0"/>
              <a:t>, python, java, W, node.JS, Drupal, ASP.NET)</a:t>
            </a:r>
          </a:p>
          <a:p>
            <a:pPr marL="637611" lvl="2" indent="-171450">
              <a:buFont typeface="Arial" panose="020B0604020202020204" pitchFamily="34" charset="0"/>
              <a:buChar char="•"/>
            </a:pPr>
            <a:r>
              <a:rPr lang="en-US" sz="1050" dirty="0" smtClean="0"/>
              <a:t>Choose the cloud services your LOB, data, media, mobility apps need, </a:t>
            </a:r>
            <a:r>
              <a:rPr lang="en-US" sz="1050" dirty="0" err="1" smtClean="0"/>
              <a:t>IaaS</a:t>
            </a:r>
            <a:r>
              <a:rPr lang="en-US" sz="1050" dirty="0" smtClean="0"/>
              <a:t> or </a:t>
            </a:r>
            <a:r>
              <a:rPr lang="en-US" sz="1050" dirty="0" err="1" smtClean="0"/>
              <a:t>PaaS</a:t>
            </a:r>
            <a:endParaRPr lang="en-US" sz="1050" dirty="0" smtClean="0"/>
          </a:p>
          <a:p>
            <a:pPr marL="637611" lvl="2" indent="-171450">
              <a:buFont typeface="Arial" panose="020B0604020202020204" pitchFamily="34" charset="0"/>
              <a:buChar char="•"/>
            </a:pPr>
            <a:r>
              <a:rPr lang="en-US" sz="1050" dirty="0" smtClean="0"/>
              <a:t>Interoperability for REST and XML</a:t>
            </a:r>
          </a:p>
          <a:p>
            <a:pPr marL="171450" indent="-171450">
              <a:buFont typeface="Arial" panose="020B0604020202020204" pitchFamily="34" charset="0"/>
              <a:buChar char="•"/>
            </a:pPr>
            <a:endParaRPr lang="en-US" sz="1050" b="1" dirty="0" smtClean="0"/>
          </a:p>
          <a:p>
            <a:pPr marL="171450" indent="-171450">
              <a:buFont typeface="Arial" panose="020B0604020202020204" pitchFamily="34" charset="0"/>
              <a:buChar char="•"/>
            </a:pPr>
            <a:r>
              <a:rPr lang="en-US" sz="1050" b="1" dirty="0" smtClean="0"/>
              <a:t>Cloud</a:t>
            </a:r>
            <a:r>
              <a:rPr lang="en-US" sz="1050" b="1" baseline="0" dirty="0" smtClean="0"/>
              <a:t> </a:t>
            </a:r>
            <a:r>
              <a:rPr lang="en-US" sz="1050" b="1" dirty="0" smtClean="0"/>
              <a:t>Infra</a:t>
            </a:r>
          </a:p>
          <a:p>
            <a:pPr marL="637605" lvl="1" indent="-171450">
              <a:buFont typeface="Arial" panose="020B0604020202020204" pitchFamily="34" charset="0"/>
              <a:buChar char="•"/>
            </a:pPr>
            <a:r>
              <a:rPr lang="en-US" sz="1050" dirty="0" smtClean="0"/>
              <a:t>Easily run Linux VMs (Microsoft Azure)</a:t>
            </a:r>
          </a:p>
          <a:p>
            <a:pPr marL="637605" lvl="1" indent="-171450">
              <a:buFont typeface="Arial" panose="020B0604020202020204" pitchFamily="34" charset="0"/>
              <a:buChar char="•"/>
            </a:pPr>
            <a:r>
              <a:rPr lang="en-US" sz="1050" dirty="0" smtClean="0"/>
              <a:t>Certified to run both Oracle applications and SAP applications (Microsoft Azure)</a:t>
            </a:r>
          </a:p>
          <a:p>
            <a:pPr marL="637605" lvl="1" indent="-171450">
              <a:buFont typeface="Arial" panose="020B0604020202020204" pitchFamily="34" charset="0"/>
              <a:buChar char="•"/>
            </a:pPr>
            <a:r>
              <a:rPr lang="en-US" sz="1050" dirty="0" smtClean="0"/>
              <a:t>Only third-party hypervisor certified for Oracle applications (Windows Server Hyper-V)</a:t>
            </a:r>
          </a:p>
          <a:p>
            <a:pPr marL="637605" lvl="1" indent="-171450">
              <a:buFont typeface="Arial" panose="020B0604020202020204" pitchFamily="34" charset="0"/>
              <a:buChar char="•"/>
            </a:pPr>
            <a:r>
              <a:rPr lang="en-US" sz="1050" dirty="0" smtClean="0"/>
              <a:t>Run Linux on Windows Server Hyper-V </a:t>
            </a:r>
          </a:p>
          <a:p>
            <a:pPr marL="637605" lvl="1" indent="-171450">
              <a:buFont typeface="Arial" panose="020B0604020202020204" pitchFamily="34" charset="0"/>
              <a:buChar char="•"/>
            </a:pPr>
            <a:r>
              <a:rPr lang="en-US" sz="1050" dirty="0" smtClean="0"/>
              <a:t>Manage across clouds and heterogeneous environments, including Linux and VMware (SC) </a:t>
            </a:r>
          </a:p>
          <a:p>
            <a:pPr defTabSz="932316" fontAlgn="auto">
              <a:lnSpc>
                <a:spcPct val="115000"/>
              </a:lnSpc>
              <a:spcBef>
                <a:spcPts val="0"/>
              </a:spcBef>
              <a:spcAft>
                <a:spcPts val="1000"/>
              </a:spcAft>
              <a:defRPr/>
            </a:pPr>
            <a:endPar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endParaRPr lang="en-US" sz="1050" dirty="0" smtClean="0"/>
          </a:p>
          <a:p>
            <a:pPr defTabSz="932316" fontAlgn="auto">
              <a:lnSpc>
                <a:spcPct val="115000"/>
              </a:lnSpc>
              <a:spcBef>
                <a:spcPts val="0"/>
              </a:spcBef>
              <a:spcAft>
                <a:spcPts val="1000"/>
              </a:spcAft>
              <a:defRPr/>
            </a:pPr>
            <a:endPar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endPar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endPar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endParaRPr lang="en-US" sz="1400" b="0" baseline="0" dirty="0" smtClean="0">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5" name="Footer Placeholder 4"/>
          <p:cNvSpPr>
            <a:spLocks noGrp="1"/>
          </p:cNvSpPr>
          <p:nvPr>
            <p:ph type="ftr" sz="quarter" idx="11"/>
          </p:nvPr>
        </p:nvSpPr>
        <p:spPr/>
        <p:txBody>
          <a:bodyPr/>
          <a:lstStyle/>
          <a:p>
            <a:pPr defTabSz="922682"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874535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lnSpcReduction="10000"/>
          </a:bodyPr>
          <a:lstStyle/>
          <a:p>
            <a:pPr defTabSz="932316" fontAlgn="auto">
              <a:lnSpc>
                <a:spcPct val="115000"/>
              </a:lnSpc>
              <a:spcBef>
                <a:spcPts val="0"/>
              </a:spcBef>
              <a:spcAft>
                <a:spcPts val="1000"/>
              </a:spcAft>
              <a:defRPr/>
            </a:pPr>
            <a:r>
              <a:rPr lang="en-US"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dirty="0" smtClean="0">
                <a:latin typeface="Calibri" panose="020F0502020204030204" pitchFamily="34" charset="0"/>
                <a:ea typeface="Times New Roman" panose="02020603050405020304" pitchFamily="18" charset="0"/>
                <a:cs typeface="Times New Roman" panose="02020603050405020304" pitchFamily="18" charset="0"/>
              </a:rPr>
              <a:t>Land people-focused approach.</a:t>
            </a:r>
          </a:p>
          <a:p>
            <a:pPr defTabSz="932316" fontAlgn="auto">
              <a:lnSpc>
                <a:spcPct val="115000"/>
              </a:lnSpc>
              <a:spcBef>
                <a:spcPts val="0"/>
              </a:spcBef>
              <a:spcAft>
                <a:spcPts val="1000"/>
              </a:spcAft>
              <a:defRPr/>
            </a:pPr>
            <a:endParaRPr lang="en-US"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r>
              <a:rPr lang="en-US" b="1" dirty="0" smtClean="0">
                <a:latin typeface="Calibri" panose="020F0502020204030204" pitchFamily="34" charset="0"/>
                <a:ea typeface="Times New Roman" panose="02020603050405020304" pitchFamily="18" charset="0"/>
                <a:cs typeface="Times New Roman" panose="02020603050405020304" pitchFamily="18" charset="0"/>
              </a:rPr>
              <a:t>Talk</a:t>
            </a:r>
            <a:r>
              <a:rPr lang="en-US" b="1" baseline="0" dirty="0" smtClean="0">
                <a:latin typeface="Calibri" panose="020F0502020204030204" pitchFamily="34" charset="0"/>
                <a:ea typeface="Times New Roman" panose="02020603050405020304" pitchFamily="18" charset="0"/>
                <a:cs typeface="Times New Roman" panose="02020603050405020304" pitchFamily="18" charset="0"/>
              </a:rPr>
              <a:t> track:</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For years, Microsoft has been delivering experiences that appeal to end users driving maximum productivity, regardless of location or devic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Microsoft brings our same focus on people to IT and developers, mirroring the familiarity and ease-of-use from our on-premises products into our cloud service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enables IT professionals to easily increase their impact by bringing cloud capabilities to the enterpris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ur approach enables application innovation for developers so they can develop apps in the language and framework of their choice, faster—with the ultimate goal being to write once deploy everywher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unifying technologies in the Microsoft Cloud Platform enable the flow, management, and governance of data and apps across on premises and devices to keep employees productive and connected, wherever they are (IT professionals, developers and user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all leads to higher satisfaction—from employees to IT—and improved productivity with lower training costs. </a:t>
            </a:r>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592998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fontScale="70000" lnSpcReduction="20000"/>
          </a:bodyPr>
          <a:lstStyle/>
          <a:p>
            <a:pPr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sz="1200" dirty="0" smtClean="0">
                <a:latin typeface="Calibri" panose="020F0502020204030204" pitchFamily="34" charset="0"/>
                <a:ea typeface="Times New Roman" panose="02020603050405020304" pitchFamily="18" charset="0"/>
                <a:cs typeface="Times New Roman" panose="02020603050405020304" pitchFamily="18" charset="0"/>
              </a:rPr>
              <a:t>Land conversations as what the Cloud Platform enables, then quickly transition to next slide and go into detail on each with customer stories to assist.</a:t>
            </a:r>
          </a:p>
          <a:p>
            <a:pPr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 </a:t>
            </a:r>
            <a:endParaRPr lang="en-US" sz="120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Slide talk track:</a:t>
            </a:r>
            <a:endParaRPr lang="en-US" sz="1200" dirty="0" smtClean="0">
              <a:latin typeface="Calibri" panose="020F0502020204030204" pitchFamily="34" charset="0"/>
              <a:ea typeface="Times New Roman" panose="02020603050405020304" pitchFamily="18" charset="0"/>
              <a:cs typeface="Times New Roman" panose="02020603050405020304" pitchFamily="18" charset="0"/>
            </a:endParaRPr>
          </a:p>
          <a:p>
            <a:pPr marL="342900" indent="-342900" defTabSz="932316" fontAlgn="auto">
              <a:lnSpc>
                <a:spcPct val="115000"/>
              </a:lnSpc>
              <a:spcBef>
                <a:spcPts val="0"/>
              </a:spcBef>
              <a:spcAft>
                <a:spcPts val="1000"/>
              </a:spcAft>
              <a:buFont typeface="Arial" panose="020B0604020202020204" pitchFamily="34" charset="0"/>
              <a:buChar char="•"/>
              <a:tabLst>
                <a:tab pos="457200" algn="l"/>
              </a:tabLst>
              <a:defRPr/>
            </a:pPr>
            <a:r>
              <a:rPr lang="en-US" sz="1200" dirty="0" smtClean="0">
                <a:latin typeface="Calibri" panose="020F0502020204030204" pitchFamily="34" charset="0"/>
                <a:ea typeface="Times New Roman" panose="02020603050405020304" pitchFamily="18" charset="0"/>
                <a:cs typeface="Times New Roman" panose="02020603050405020304" pitchFamily="18" charset="0"/>
              </a:rPr>
              <a:t>As you can imagine, Microsoft is truly the only company that can bring all of this together and make the Microsoft Cloud Platform come to life. Through the Cloud Platform we’re helping customers… </a:t>
            </a:r>
          </a:p>
          <a:p>
            <a:pPr marL="342900" marR="0" indent="-342900" algn="l" defTabSz="932316" rtl="0" eaLnBrk="1" fontAlgn="auto" latinLnBrk="0" hangingPunct="1">
              <a:lnSpc>
                <a:spcPct val="115000"/>
              </a:lnSpc>
              <a:spcBef>
                <a:spcPts val="0"/>
              </a:spcBef>
              <a:spcAft>
                <a:spcPts val="1000"/>
              </a:spcAft>
              <a:buClrTx/>
              <a:buSzTx/>
              <a:buFont typeface="Arial" panose="020B0604020202020204" pitchFamily="34" charset="0"/>
              <a:buChar char="•"/>
              <a:tabLst>
                <a:tab pos="457200" algn="l"/>
              </a:tabLs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Empower enterprise</a:t>
            </a:r>
            <a:r>
              <a:rPr lang="en-US" sz="1200" b="1" baseline="0" dirty="0" smtClean="0">
                <a:latin typeface="Calibri" panose="020F0502020204030204" pitchFamily="34" charset="0"/>
                <a:ea typeface="Times New Roman" panose="02020603050405020304" pitchFamily="18" charset="0"/>
                <a:cs typeface="Times New Roman" panose="02020603050405020304" pitchFamily="18" charset="0"/>
              </a:rPr>
              <a:t> mobility </a:t>
            </a:r>
            <a:r>
              <a:rPr lang="en-US" sz="1200" dirty="0" smtClean="0">
                <a:latin typeface="Calibri" panose="020F0502020204030204" pitchFamily="34" charset="0"/>
                <a:ea typeface="Times New Roman" panose="02020603050405020304" pitchFamily="18" charset="0"/>
                <a:cs typeface="Times New Roman" panose="02020603050405020304" pitchFamily="18" charset="0"/>
              </a:rPr>
              <a:t>– Enable your people to work from anywhere on any device, without compromising the integrity of the security of your organization.  </a:t>
            </a:r>
          </a:p>
          <a:p>
            <a:pPr marL="342900" indent="-342900" defTabSz="932316" fontAlgn="auto">
              <a:lnSpc>
                <a:spcPct val="115000"/>
              </a:lnSpc>
              <a:spcBef>
                <a:spcPts val="0"/>
              </a:spcBef>
              <a:spcAft>
                <a:spcPts val="1000"/>
              </a:spcAft>
              <a:buFont typeface="Arial" panose="020B0604020202020204" pitchFamily="34" charset="0"/>
              <a:buChar char="•"/>
              <a:tabLst>
                <a:tab pos="457200" algn="l"/>
              </a:tabLs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Create the internet of your things </a:t>
            </a:r>
            <a:r>
              <a:rPr lang="en-US" sz="1200" dirty="0" smtClean="0">
                <a:latin typeface="Calibri" panose="020F0502020204030204" pitchFamily="34" charset="0"/>
                <a:ea typeface="Times New Roman" panose="02020603050405020304" pitchFamily="18" charset="0"/>
                <a:cs typeface="Times New Roman" panose="02020603050405020304" pitchFamily="18" charset="0"/>
              </a:rPr>
              <a:t>- Start with your things. What matters to your business, matters the most. Connect the line-of-business assets, such as industry devices and sensors that you already have, or add new ones to enhance your business processes. </a:t>
            </a:r>
          </a:p>
          <a:p>
            <a:pPr marL="342900" marR="0" indent="-342900" algn="l" defTabSz="932316" rtl="0" eaLnBrk="1" fontAlgn="auto" latinLnBrk="0" hangingPunct="1">
              <a:lnSpc>
                <a:spcPct val="115000"/>
              </a:lnSpc>
              <a:spcBef>
                <a:spcPts val="0"/>
              </a:spcBef>
              <a:spcAft>
                <a:spcPts val="1000"/>
              </a:spcAft>
              <a:buClrTx/>
              <a:buSzTx/>
              <a:buFont typeface="Arial" panose="020B0604020202020204" pitchFamily="34" charset="0"/>
              <a:buChar char="•"/>
              <a:tabLst>
                <a:tab pos="457200" algn="l"/>
              </a:tabLs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Enable application innovation</a:t>
            </a:r>
            <a:r>
              <a:rPr lang="en-US" sz="1200" b="1" baseline="0" dirty="0" smtClean="0">
                <a:latin typeface="Calibri" panose="020F0502020204030204" pitchFamily="34" charset="0"/>
                <a:ea typeface="Times New Roman" panose="02020603050405020304" pitchFamily="18" charset="0"/>
                <a:cs typeface="Times New Roman" panose="02020603050405020304" pitchFamily="18" charset="0"/>
              </a:rPr>
              <a:t> </a:t>
            </a:r>
            <a:r>
              <a:rPr lang="en-US" sz="1200" dirty="0" smtClean="0">
                <a:latin typeface="Calibri" panose="020F0502020204030204" pitchFamily="34" charset="0"/>
                <a:ea typeface="Times New Roman" panose="02020603050405020304" pitchFamily="18" charset="0"/>
                <a:cs typeface="Times New Roman" panose="02020603050405020304" pitchFamily="18" charset="0"/>
              </a:rPr>
              <a:t>– You can address your customers and your partners in a better way by taking advantage of mobility and all of the device types that your customers are using every day.</a:t>
            </a:r>
          </a:p>
          <a:p>
            <a:pPr marL="342900" marR="0" indent="-342900" algn="l" defTabSz="932316" rtl="0" eaLnBrk="1" fontAlgn="auto" latinLnBrk="0" hangingPunct="1">
              <a:lnSpc>
                <a:spcPct val="115000"/>
              </a:lnSpc>
              <a:spcBef>
                <a:spcPts val="0"/>
              </a:spcBef>
              <a:spcAft>
                <a:spcPts val="1000"/>
              </a:spcAft>
              <a:buClrTx/>
              <a:buSzTx/>
              <a:buFont typeface="Arial" panose="020B0604020202020204" pitchFamily="34" charset="0"/>
              <a:buChar char="•"/>
              <a:tabLst>
                <a:tab pos="457200" algn="l"/>
              </a:tabLs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Unlock insights on any data </a:t>
            </a:r>
            <a:r>
              <a:rPr lang="en-US" sz="1200" dirty="0" smtClean="0">
                <a:latin typeface="Calibri" panose="020F0502020204030204" pitchFamily="34" charset="0"/>
                <a:ea typeface="Times New Roman" panose="02020603050405020304" pitchFamily="18" charset="0"/>
                <a:cs typeface="Times New Roman" panose="02020603050405020304" pitchFamily="18" charset="0"/>
              </a:rPr>
              <a:t>– You and your employees can not only capitalize on all the data your organization is capturing from customers and end users, but also capitalize on the promise of big data – and tap into external data to uncover insights that were previously hidden.  The key here is getting that power in the hands of people who are closest to your customers – the people in your company who need to make decisions about your business on a day-to-day basis.  </a:t>
            </a:r>
          </a:p>
          <a:p>
            <a:pPr marL="342900" marR="0" indent="-342900" algn="l" defTabSz="932316" rtl="0" eaLnBrk="1" fontAlgn="auto" latinLnBrk="0" hangingPunct="1">
              <a:lnSpc>
                <a:spcPct val="115000"/>
              </a:lnSpc>
              <a:spcBef>
                <a:spcPts val="0"/>
              </a:spcBef>
              <a:spcAft>
                <a:spcPts val="1000"/>
              </a:spcAft>
              <a:buClrTx/>
              <a:buSzTx/>
              <a:buFont typeface="Arial" panose="020B0604020202020204" pitchFamily="34" charset="0"/>
              <a:buChar char="•"/>
              <a:tabLst>
                <a:tab pos="457200" algn="l"/>
              </a:tabLst>
              <a:defRPr/>
            </a:pPr>
            <a:r>
              <a:rPr lang="en-US" sz="1200" kern="1200" dirty="0" smtClean="0">
                <a:solidFill>
                  <a:schemeClr val="tx1"/>
                </a:solidFill>
                <a:effectLst/>
                <a:latin typeface="+mn-lt"/>
                <a:ea typeface="ＭＳ Ｐゴシック" charset="0"/>
                <a:cs typeface="ＭＳ Ｐゴシック" charset="0"/>
              </a:rPr>
              <a:t>And last – to </a:t>
            </a:r>
            <a:r>
              <a:rPr lang="en-US" sz="1200" b="1" kern="1200" dirty="0" smtClean="0">
                <a:solidFill>
                  <a:schemeClr val="tx1"/>
                </a:solidFill>
                <a:effectLst/>
                <a:latin typeface="+mn-lt"/>
                <a:ea typeface="ＭＳ Ｐゴシック" charset="0"/>
                <a:cs typeface="ＭＳ Ｐゴシック" charset="0"/>
              </a:rPr>
              <a:t>transform the datacenter </a:t>
            </a:r>
            <a:r>
              <a:rPr lang="en-US" sz="1200" kern="1200" dirty="0" smtClean="0">
                <a:solidFill>
                  <a:schemeClr val="tx1"/>
                </a:solidFill>
                <a:effectLst/>
                <a:latin typeface="+mn-lt"/>
                <a:ea typeface="ＭＳ Ｐゴシック" charset="0"/>
                <a:cs typeface="ＭＳ Ｐゴシック" charset="0"/>
              </a:rPr>
              <a:t>– instead of managing a server at a time, you can manage an entire datacenter full of servers as a single unit of resources and compute – transforming how you deliver IT services to your business in a more agile way.</a:t>
            </a:r>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7317564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b="1" dirty="0" smtClean="0">
                <a:latin typeface="Calibri" charset="0"/>
              </a:rPr>
              <a:t>Objective: </a:t>
            </a:r>
            <a:r>
              <a:rPr lang="en-US" dirty="0" smtClean="0">
                <a:latin typeface="Calibri" charset="0"/>
              </a:rPr>
              <a:t>Land your local customer case study here – replace as desired – or use the links below to access the case study.</a:t>
            </a:r>
          </a:p>
          <a:p>
            <a:pPr>
              <a:spcBef>
                <a:spcPct val="0"/>
              </a:spcBef>
            </a:pPr>
            <a:endParaRPr lang="en-US" dirty="0" smtClean="0">
              <a:latin typeface="Calibri" charset="0"/>
            </a:endParaRPr>
          </a:p>
          <a:p>
            <a:pPr>
              <a:spcBef>
                <a:spcPct val="0"/>
              </a:spcBef>
            </a:pPr>
            <a:r>
              <a:rPr lang="en-US" b="1" dirty="0" smtClean="0">
                <a:latin typeface="Calibri" charset="0"/>
              </a:rPr>
              <a:t>Supporting talk track:</a:t>
            </a:r>
            <a:endParaRPr lang="en-US" dirty="0" smtClean="0">
              <a:latin typeface="Calibri" charset="0"/>
            </a:endParaRPr>
          </a:p>
          <a:p>
            <a:pPr>
              <a:spcBef>
                <a:spcPct val="0"/>
              </a:spcBef>
            </a:pPr>
            <a:r>
              <a:rPr lang="en-US" dirty="0" smtClean="0">
                <a:latin typeface="Calibri" charset="0"/>
              </a:rPr>
              <a:t>Let’s take a look at a customer seeing significant benefits from Microsoft’s investments in our Cloud Platform related to enterprise mobility. </a:t>
            </a:r>
          </a:p>
          <a:p>
            <a:pPr>
              <a:spcBef>
                <a:spcPct val="0"/>
              </a:spcBef>
            </a:pPr>
            <a:endParaRPr lang="en-US" b="1" dirty="0" smtClean="0">
              <a:latin typeface="Calibri" charset="0"/>
            </a:endParaRPr>
          </a:p>
          <a:p>
            <a:pPr>
              <a:spcBef>
                <a:spcPct val="0"/>
              </a:spcBef>
            </a:pPr>
            <a:r>
              <a:rPr lang="en-US" b="1" dirty="0" smtClean="0">
                <a:latin typeface="Calibri" charset="0"/>
              </a:rPr>
              <a:t>Case Study Link: </a:t>
            </a:r>
            <a:r>
              <a:rPr lang="en-US" dirty="0" smtClean="0">
                <a:latin typeface="Calibri" charset="0"/>
                <a:hlinkClick r:id="rId3"/>
              </a:rPr>
              <a:t>http://www.microsoft.com/casestudies/Case_Study_Detail.aspx?CaseStudyID=710000004152</a:t>
            </a:r>
            <a:endParaRPr lang="en-US" dirty="0" smtClean="0">
              <a:latin typeface="Calibri" charset="0"/>
            </a:endParaRPr>
          </a:p>
          <a:p>
            <a:pPr>
              <a:spcBef>
                <a:spcPct val="0"/>
              </a:spcBef>
            </a:pPr>
            <a:endParaRPr lang="en-US" dirty="0" smtClean="0">
              <a:latin typeface="Calibri" charset="0"/>
            </a:endParaRPr>
          </a:p>
          <a:p>
            <a:r>
              <a:rPr lang="en-US" sz="1200" b="1" kern="1200" dirty="0" smtClean="0">
                <a:solidFill>
                  <a:schemeClr val="tx1"/>
                </a:solidFill>
                <a:effectLst/>
                <a:latin typeface="+mn-lt"/>
                <a:ea typeface="ＭＳ Ｐゴシック" charset="0"/>
                <a:cs typeface="ＭＳ Ｐゴシック" charset="0"/>
              </a:rPr>
              <a:t>Customer Overview: </a:t>
            </a:r>
            <a:endParaRPr lang="en-US" sz="1200" kern="1200" dirty="0" smtClean="0">
              <a:solidFill>
                <a:schemeClr val="tx1"/>
              </a:solidFill>
              <a:effectLst/>
              <a:latin typeface="+mn-lt"/>
              <a:ea typeface="ＭＳ Ｐゴシック" charset="0"/>
              <a:cs typeface="ＭＳ Ｐゴシック" charset="0"/>
            </a:endParaRPr>
          </a:p>
          <a:p>
            <a:r>
              <a:rPr lang="en-US" sz="1200" b="1" u="sng" kern="1200" dirty="0" smtClean="0">
                <a:solidFill>
                  <a:schemeClr val="tx1"/>
                </a:solidFill>
                <a:effectLst/>
                <a:latin typeface="+mn-lt"/>
                <a:ea typeface="ＭＳ Ｐゴシック" charset="0"/>
                <a:cs typeface="ＭＳ Ｐゴシック" charset="0"/>
              </a:rPr>
              <a:t>Golf Company Reduces Costs, Improves Scalability by Moving Servers, Services to the Cloud </a:t>
            </a:r>
            <a:endParaRPr lang="en-US" sz="1200" kern="1200" dirty="0" smtClean="0">
              <a:solidFill>
                <a:schemeClr val="tx1"/>
              </a:solidFill>
              <a:effectLst/>
              <a:latin typeface="+mn-lt"/>
              <a:ea typeface="ＭＳ Ｐゴシック" charset="0"/>
              <a:cs typeface="ＭＳ Ｐゴシック" charset="0"/>
            </a:endParaRPr>
          </a:p>
          <a:p>
            <a:r>
              <a:rPr lang="en-US" sz="1200" kern="1200" dirty="0" smtClean="0">
                <a:solidFill>
                  <a:schemeClr val="tx1"/>
                </a:solidFill>
                <a:effectLst/>
                <a:latin typeface="+mn-lt"/>
                <a:ea typeface="ＭＳ Ｐゴシック" charset="0"/>
                <a:cs typeface="ＭＳ Ｐゴシック" charset="0"/>
              </a:rPr>
              <a:t>Like many companies that faced the global recession of 2009, Callaway Golf decided that it had to cut costs. The IT organization moved many web properties and databases to Microsoft Azure, which delivered more than US$300,000 annually to the company’s bottom line. The use of cloud computing also gave Callaway unprecedented flexibility and scalability in responding to the needs of its global business. By using Microsoft Azure, Callaway can deliver servers to remote offices in hours versus months and scale capacity quickly to ensure great reseller and consumer experiences on Callaway websites. It has also eliminated maintenance downtime that used to plague international offices. Callaway uses Microsoft Intune to proactively manage sales computers and keep salespeople productive. The company is also evaluating Microsoft hybrid cloud storage as a way to further reduce costs.</a:t>
            </a:r>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161E9C42-578D-4E51-A764-141251ACB63F}" type="slidenum">
              <a:rPr lang="en-US">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754243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2C91B0-451A-4B33-8CF6-5F449C330BB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4327525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r>
              <a:rPr lang="en-US" sz="1200" b="1" kern="1200" dirty="0" smtClean="0">
                <a:solidFill>
                  <a:schemeClr val="tx1"/>
                </a:solidFill>
                <a:latin typeface="+mn-lt"/>
                <a:ea typeface="ＭＳ Ｐゴシック" charset="0"/>
                <a:cs typeface="ＭＳ Ｐゴシック" charset="0"/>
              </a:rPr>
              <a:t>Objective: </a:t>
            </a:r>
            <a:r>
              <a:rPr lang="en-US" sz="1200" kern="1200" dirty="0" smtClean="0">
                <a:solidFill>
                  <a:schemeClr val="tx1"/>
                </a:solidFill>
                <a:latin typeface="+mn-lt"/>
                <a:ea typeface="ＭＳ Ｐゴシック" charset="0"/>
                <a:cs typeface="ＭＳ Ｐゴシック" charset="0"/>
              </a:rPr>
              <a:t>Land your local customer case study here – replace as desired – or use the links below to access a the</a:t>
            </a:r>
            <a:r>
              <a:rPr lang="en-US" sz="1200" kern="1200" baseline="0" dirty="0" smtClean="0">
                <a:solidFill>
                  <a:schemeClr val="tx1"/>
                </a:solidFill>
                <a:latin typeface="+mn-lt"/>
                <a:ea typeface="ＭＳ Ｐゴシック" charset="0"/>
                <a:cs typeface="ＭＳ Ｐゴシック" charset="0"/>
              </a:rPr>
              <a:t> case study.</a:t>
            </a:r>
            <a:endParaRPr lang="en-US" sz="12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endParaRPr lang="en-US" sz="12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200" b="1" kern="1200" dirty="0" smtClean="0">
                <a:solidFill>
                  <a:schemeClr val="tx1"/>
                </a:solidFill>
                <a:latin typeface="+mn-lt"/>
                <a:ea typeface="ＭＳ Ｐゴシック" charset="0"/>
                <a:cs typeface="ＭＳ Ｐゴシック" charset="0"/>
              </a:rPr>
              <a:t>Supporting talk track:</a:t>
            </a:r>
            <a:endParaRPr lang="en-US" sz="12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200" kern="1200" dirty="0" smtClean="0">
                <a:solidFill>
                  <a:schemeClr val="tx1"/>
                </a:solidFill>
                <a:latin typeface="+mn-lt"/>
                <a:ea typeface="ＭＳ Ｐゴシック" charset="0"/>
                <a:cs typeface="ＭＳ Ｐゴシック" charset="0"/>
              </a:rPr>
              <a:t>Let’s take a look at a customer seeing significant benefits from Microsoft’s investments in our Cloud Platform related to Internet of Your Things. </a:t>
            </a:r>
          </a:p>
          <a:p>
            <a:pPr marL="0" marR="0" indent="0" algn="l" defTabSz="931863" rtl="0" eaLnBrk="1" fontAlgn="base" latinLnBrk="0" hangingPunct="1">
              <a:lnSpc>
                <a:spcPct val="115000"/>
              </a:lnSpc>
              <a:spcBef>
                <a:spcPct val="0"/>
              </a:spcBef>
              <a:spcAft>
                <a:spcPts val="1000"/>
              </a:spcAft>
              <a:buClrTx/>
              <a:buSzTx/>
              <a:buFontTx/>
              <a:buNone/>
              <a:tabLst/>
              <a:defRPr/>
            </a:pPr>
            <a:endParaRPr lang="en-US" sz="1200" b="1" kern="1200" dirty="0" smtClean="0">
              <a:solidFill>
                <a:schemeClr val="tx1"/>
              </a:solidFill>
              <a:latin typeface="+mn-lt"/>
              <a:ea typeface="ＭＳ Ｐゴシック" charset="0"/>
              <a:cs typeface="ＭＳ Ｐゴシック" charset="0"/>
            </a:endParaRPr>
          </a:p>
          <a:p>
            <a:pPr marL="0" marR="0" indent="0" algn="l" defTabSz="931863" rtl="0" eaLnBrk="1" fontAlgn="base" latinLnBrk="0" hangingPunct="1">
              <a:lnSpc>
                <a:spcPct val="115000"/>
              </a:lnSpc>
              <a:spcBef>
                <a:spcPct val="0"/>
              </a:spcBef>
              <a:spcAft>
                <a:spcPts val="1000"/>
              </a:spcAft>
              <a:buClrTx/>
              <a:buSzTx/>
              <a:buFontTx/>
              <a:buNone/>
              <a:tabLst/>
              <a:defRPr/>
            </a:pPr>
            <a:r>
              <a:rPr lang="en-US" sz="1200" b="1" kern="1200" dirty="0" smtClean="0">
                <a:solidFill>
                  <a:schemeClr val="tx1"/>
                </a:solidFill>
                <a:latin typeface="+mn-lt"/>
                <a:ea typeface="ＭＳ Ｐゴシック" charset="0"/>
                <a:cs typeface="ＭＳ Ｐゴシック" charset="0"/>
              </a:rPr>
              <a:t>Case Study Link: </a:t>
            </a:r>
            <a:r>
              <a:rPr lang="en-US" sz="1200" dirty="0" smtClean="0">
                <a:latin typeface="Segoe UI" charset="0"/>
                <a:cs typeface="Segoe UI" charset="0"/>
              </a:rPr>
              <a:t>http://download.microsoft.com/download/B/3/D/B3D96C18-73C5-4353-A579-27B445C318B5/TKE_Microsoft_Internet_of_Things_News_Article.pdf</a:t>
            </a:r>
          </a:p>
          <a:p>
            <a:pPr marL="0" marR="0" indent="0" algn="l" defTabSz="931863" rtl="0" eaLnBrk="1" fontAlgn="base" latinLnBrk="0" hangingPunct="1">
              <a:lnSpc>
                <a:spcPct val="115000"/>
              </a:lnSpc>
              <a:spcBef>
                <a:spcPct val="0"/>
              </a:spcBef>
              <a:spcAft>
                <a:spcPts val="1000"/>
              </a:spcAft>
              <a:buClrTx/>
              <a:buSzTx/>
              <a:buFontTx/>
              <a:buNone/>
              <a:tabLst/>
              <a:defRPr/>
            </a:pPr>
            <a:r>
              <a:rPr lang="en-US" sz="1200" b="1" dirty="0" smtClean="0">
                <a:latin typeface="Segoe UI" charset="0"/>
                <a:cs typeface="Segoe UI" charset="0"/>
              </a:rPr>
              <a:t>Case</a:t>
            </a:r>
            <a:r>
              <a:rPr lang="en-US" sz="1200" b="1" baseline="0" dirty="0" smtClean="0">
                <a:latin typeface="Segoe UI" charset="0"/>
                <a:cs typeface="Segoe UI" charset="0"/>
              </a:rPr>
              <a:t> Study Video</a:t>
            </a:r>
            <a:r>
              <a:rPr lang="en-US" sz="1200" baseline="0" dirty="0" smtClean="0">
                <a:latin typeface="Segoe UI" charset="0"/>
                <a:cs typeface="Segoe UI" charset="0"/>
              </a:rPr>
              <a:t>: http://www.youtube.com/embed/SGXTWLQ76jI?enablejsapi=1;autoplay=1;showinfo=0;theme=dark;color=white;wmode=transparent;rel=0</a:t>
            </a:r>
          </a:p>
          <a:p>
            <a:pPr marL="0" marR="0" indent="0" algn="l" defTabSz="931863" rtl="0" eaLnBrk="1" fontAlgn="base" latinLnBrk="0" hangingPunct="1">
              <a:lnSpc>
                <a:spcPct val="115000"/>
              </a:lnSpc>
              <a:spcBef>
                <a:spcPct val="0"/>
              </a:spcBef>
              <a:spcAft>
                <a:spcPts val="1000"/>
              </a:spcAft>
              <a:buClrTx/>
              <a:buSzTx/>
              <a:buFontTx/>
              <a:buNone/>
              <a:tabLst/>
              <a:defRPr/>
            </a:pPr>
            <a:endParaRPr lang="en-US" sz="1200" dirty="0" smtClean="0">
              <a:latin typeface="Segoe UI" charset="0"/>
              <a:cs typeface="Segoe UI" charset="0"/>
            </a:endParaRPr>
          </a:p>
          <a:p>
            <a:pPr>
              <a:lnSpc>
                <a:spcPct val="115000"/>
              </a:lnSpc>
              <a:spcBef>
                <a:spcPct val="0"/>
              </a:spcBef>
              <a:spcAft>
                <a:spcPts val="1000"/>
              </a:spcAft>
            </a:pPr>
            <a:r>
              <a:rPr lang="en-US" sz="1200" b="1" dirty="0" smtClean="0">
                <a:latin typeface="Segoe UI" charset="0"/>
                <a:ea typeface="Calibri" charset="0"/>
              </a:rPr>
              <a:t>Slide Talk Track:</a:t>
            </a:r>
          </a:p>
          <a:p>
            <a:pPr marL="171450" indent="-171450">
              <a:lnSpc>
                <a:spcPct val="115000"/>
              </a:lnSpc>
              <a:spcBef>
                <a:spcPct val="0"/>
              </a:spcBef>
              <a:spcAft>
                <a:spcPts val="1000"/>
              </a:spcAft>
              <a:buFont typeface="Arial" panose="020B0604020202020204" pitchFamily="34" charset="0"/>
              <a:buChar char="•"/>
            </a:pPr>
            <a:r>
              <a:rPr lang="en-US" sz="1200" b="0" baseline="0" dirty="0" smtClean="0">
                <a:latin typeface="Segoe UI" charset="0"/>
                <a:ea typeface="Calibri" charset="0"/>
              </a:rPr>
              <a:t>By 2050, seven out of 10 people will live in cities—3 billion more than today—and this population explosion will have huge implications for how people move in cities and throughout buildings.</a:t>
            </a:r>
          </a:p>
          <a:p>
            <a:pPr marL="171450" indent="-171450">
              <a:lnSpc>
                <a:spcPct val="115000"/>
              </a:lnSpc>
              <a:spcBef>
                <a:spcPct val="0"/>
              </a:spcBef>
              <a:spcAft>
                <a:spcPts val="1000"/>
              </a:spcAft>
              <a:buFont typeface="Arial" panose="020B0604020202020204" pitchFamily="34" charset="0"/>
              <a:buChar char="•"/>
            </a:pPr>
            <a:r>
              <a:rPr lang="en-US" sz="1200" b="0" baseline="0" dirty="0" smtClean="0">
                <a:latin typeface="Segoe UI" charset="0"/>
                <a:ea typeface="Calibri" charset="0"/>
              </a:rPr>
              <a:t>Keeping elevators running safely and efficiently with all this traffic is key, especially when stairs aren’t an option in very tall skyscrapers. ThyssenKrupp—one of the world’s leading elevator manufacturers and operators—is determined to tackle this challenge and is using the Microsoft Internet of Your Things approach to do it.</a:t>
            </a:r>
          </a:p>
          <a:p>
            <a:pPr marL="171450" indent="-171450">
              <a:lnSpc>
                <a:spcPct val="115000"/>
              </a:lnSpc>
              <a:spcBef>
                <a:spcPct val="0"/>
              </a:spcBef>
              <a:spcAft>
                <a:spcPts val="1000"/>
              </a:spcAft>
              <a:buFont typeface="Arial" panose="020B0604020202020204" pitchFamily="34" charset="0"/>
              <a:buChar char="•"/>
            </a:pPr>
            <a:r>
              <a:rPr lang="en-US" sz="1200" b="0" baseline="0" dirty="0" smtClean="0">
                <a:latin typeface="Segoe UI" charset="0"/>
                <a:ea typeface="Calibri" charset="0"/>
              </a:rPr>
              <a:t>How do you monitor thousands of elevators in some of the most important buildings throughout the world—the One World Trade Center in New York, the CMA Tower in Saudi Arabia, the </a:t>
            </a:r>
            <a:r>
              <a:rPr lang="en-US" sz="1200" b="0" baseline="0" dirty="0" err="1" smtClean="0">
                <a:latin typeface="Segoe UI" charset="0"/>
                <a:ea typeface="Calibri" charset="0"/>
              </a:rPr>
              <a:t>Bayshore</a:t>
            </a:r>
            <a:r>
              <a:rPr lang="en-US" sz="1200" b="0" baseline="0" dirty="0" smtClean="0">
                <a:latin typeface="Segoe UI" charset="0"/>
                <a:ea typeface="Calibri" charset="0"/>
              </a:rPr>
              <a:t> Hotel in Dalian, China, and many more? All of these elevators in such tall structures get a lot of wear and tear. When an elevator stops working, everything from minor holdups to danger can be the result.  TK needed a solution that would give them complete visibility AND actionable methods across all of their systems.</a:t>
            </a:r>
          </a:p>
          <a:p>
            <a:pPr marL="171450" indent="-171450">
              <a:lnSpc>
                <a:spcPct val="115000"/>
              </a:lnSpc>
              <a:spcBef>
                <a:spcPct val="0"/>
              </a:spcBef>
              <a:spcAft>
                <a:spcPts val="1000"/>
              </a:spcAft>
              <a:buFont typeface="Arial" panose="020B0604020202020204" pitchFamily="34" charset="0"/>
              <a:buChar char="•"/>
            </a:pPr>
            <a:r>
              <a:rPr lang="en-US" sz="1200" b="0" baseline="0" dirty="0" smtClean="0">
                <a:latin typeface="Segoe UI" charset="0"/>
                <a:ea typeface="Calibri" charset="0"/>
              </a:rPr>
              <a:t>Using </a:t>
            </a:r>
            <a:r>
              <a:rPr lang="en-US" sz="1200" b="0" baseline="0" dirty="0" err="1" smtClean="0">
                <a:latin typeface="Segoe UI" charset="0"/>
                <a:ea typeface="Calibri" charset="0"/>
              </a:rPr>
              <a:t>IoYT</a:t>
            </a:r>
            <a:r>
              <a:rPr lang="en-US" sz="1200" b="0" baseline="0" dirty="0" smtClean="0">
                <a:latin typeface="Segoe UI" charset="0"/>
                <a:ea typeface="Calibri" charset="0"/>
              </a:rPr>
              <a:t> technology, TK focused on one thing: reliability. They connected their elevators to the cloud and could gather data from sensors and systems and transform that data into valuable business intelligence. How did they do this? They worked with one of our partners, CGI, to develop a solution that connects all of TK’s “things” to monitor everything: temperature in shaft alignments, cab speed, door functions. This data was provided to their on-the-ground workforce of technicians. Analytics and alerts can now get technicians to elevators that need maintenance before they cause problems, hugely reducing downtime while increasing customer satisfaction.</a:t>
            </a:r>
          </a:p>
          <a:p>
            <a:pPr marL="171450" indent="-171450">
              <a:lnSpc>
                <a:spcPct val="115000"/>
              </a:lnSpc>
              <a:spcBef>
                <a:spcPct val="0"/>
              </a:spcBef>
              <a:spcAft>
                <a:spcPts val="1000"/>
              </a:spcAft>
              <a:buFont typeface="Arial" panose="020B0604020202020204" pitchFamily="34" charset="0"/>
              <a:buChar char="•"/>
            </a:pPr>
            <a:r>
              <a:rPr lang="en-US" sz="1200" b="0" baseline="0" dirty="0" smtClean="0">
                <a:latin typeface="Segoe UI" charset="0"/>
                <a:ea typeface="Calibri" charset="0"/>
              </a:rPr>
              <a:t>Just going to repair an elevator can be challenging. The technology is intricate and it’s a substantial edge if you know where to begin. Another advantage CGI built in was taking the guesswork out of the repair. An intelligent information loop continuously updates datasets so that there’s little room for error. It’s sometimes called a “virtual troubleshooter.” Elevators are learning and teaching technicians how to fix them.</a:t>
            </a:r>
          </a:p>
          <a:p>
            <a:pPr marL="171450" indent="-171450">
              <a:lnSpc>
                <a:spcPct val="115000"/>
              </a:lnSpc>
              <a:spcBef>
                <a:spcPct val="0"/>
              </a:spcBef>
              <a:spcAft>
                <a:spcPts val="1000"/>
              </a:spcAft>
              <a:buFont typeface="Arial" panose="020B0604020202020204" pitchFamily="34" charset="0"/>
              <a:buChar char="•"/>
            </a:pPr>
            <a:endParaRPr lang="en-US" sz="1200" b="0" dirty="0" smtClean="0">
              <a:latin typeface="Segoe UI" charset="0"/>
              <a:ea typeface="Calibri" charset="0"/>
            </a:endParaRPr>
          </a:p>
          <a:p>
            <a:pPr>
              <a:lnSpc>
                <a:spcPct val="115000"/>
              </a:lnSpc>
              <a:spcBef>
                <a:spcPct val="0"/>
              </a:spcBef>
              <a:spcAft>
                <a:spcPts val="1000"/>
              </a:spcAft>
            </a:pPr>
            <a:endParaRPr lang="en-US" sz="1200" dirty="0" smtClean="0">
              <a:latin typeface="Segoe UI" charset="0"/>
              <a:ea typeface="Calibri" charset="0"/>
            </a:endParaRPr>
          </a:p>
        </p:txBody>
      </p:sp>
      <p:sp>
        <p:nvSpPr>
          <p:cNvPr id="5" name="Footer Placeholder 4"/>
          <p:cNvSpPr>
            <a:spLocks noGrp="1"/>
          </p:cNvSpPr>
          <p:nvPr>
            <p:ph type="ftr" sz="quarter" idx="4"/>
          </p:nvPr>
        </p:nvSpPr>
        <p:spPr>
          <a:xfrm>
            <a:off x="0" y="8829968"/>
            <a:ext cx="3037840" cy="466433"/>
          </a:xfrm>
        </p:spPr>
        <p:txBody>
          <a:bodyPr/>
          <a:lstStyle/>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5540"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CEF0AA27-47B5-F141-B6E1-A24D30090DEA}"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65541"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77A0585-15A5-934F-8D5D-8936AD31FF52}" type="slidenum">
              <a:rPr lang="en-US">
                <a:solidFill>
                  <a:srgbClr val="000000"/>
                </a:solidFill>
                <a:latin typeface="Calibri" charset="0"/>
              </a:rPr>
              <a:pPr defTabSz="931863" fontAlgn="base">
                <a:spcBef>
                  <a:spcPct val="0"/>
                </a:spcBef>
                <a:spcAft>
                  <a:spcPct val="0"/>
                </a:spcAft>
              </a:pPr>
              <a:t>22</a:t>
            </a:fld>
            <a:endParaRPr lang="en-US">
              <a:solidFill>
                <a:srgbClr val="000000"/>
              </a:solidFill>
              <a:latin typeface="Calibri" charset="0"/>
            </a:endParaRPr>
          </a:p>
        </p:txBody>
      </p:sp>
    </p:spTree>
    <p:extLst>
      <p:ext uri="{BB962C8B-B14F-4D97-AF65-F5344CB8AC3E}">
        <p14:creationId xmlns:p14="http://schemas.microsoft.com/office/powerpoint/2010/main" val="251585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r>
              <a:rPr lang="en-US" sz="1400" b="1" kern="1200" dirty="0" smtClean="0">
                <a:solidFill>
                  <a:schemeClr val="tx1"/>
                </a:solidFill>
                <a:latin typeface="+mn-lt"/>
                <a:ea typeface="ＭＳ Ｐゴシック" charset="0"/>
                <a:cs typeface="ＭＳ Ｐゴシック" charset="0"/>
              </a:rPr>
              <a:t>Objective: </a:t>
            </a:r>
            <a:r>
              <a:rPr lang="en-US" sz="1400" kern="1200" dirty="0" smtClean="0">
                <a:solidFill>
                  <a:schemeClr val="tx1"/>
                </a:solidFill>
                <a:latin typeface="+mn-lt"/>
                <a:ea typeface="ＭＳ Ｐゴシック" charset="0"/>
                <a:cs typeface="ＭＳ Ｐゴシック" charset="0"/>
              </a:rPr>
              <a:t>Land your local customer case study here – replace as desired – or use the links below to access a the</a:t>
            </a:r>
            <a:r>
              <a:rPr lang="en-US" sz="1400" kern="1200" baseline="0" dirty="0" smtClean="0">
                <a:solidFill>
                  <a:schemeClr val="tx1"/>
                </a:solidFill>
                <a:latin typeface="+mn-lt"/>
                <a:ea typeface="ＭＳ Ｐゴシック" charset="0"/>
                <a:cs typeface="ＭＳ Ｐゴシック" charset="0"/>
              </a:rPr>
              <a:t> case study.</a:t>
            </a: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400" b="1" kern="1200" dirty="0" smtClean="0">
                <a:solidFill>
                  <a:schemeClr val="tx1"/>
                </a:solidFill>
                <a:latin typeface="+mn-lt"/>
                <a:ea typeface="ＭＳ Ｐゴシック" charset="0"/>
                <a:cs typeface="ＭＳ Ｐゴシック" charset="0"/>
              </a:rPr>
              <a:t>Supporting talk track:</a:t>
            </a: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400" kern="1200" dirty="0" smtClean="0">
                <a:solidFill>
                  <a:schemeClr val="tx1"/>
                </a:solidFill>
                <a:latin typeface="+mn-lt"/>
                <a:ea typeface="ＭＳ Ｐゴシック" charset="0"/>
                <a:cs typeface="ＭＳ Ｐゴシック" charset="0"/>
              </a:rPr>
              <a:t>Let’s take a look at a customer seeing significant benefits from Microsoft’s investments in our Cloud Platform related to application innovation. </a:t>
            </a:r>
          </a:p>
          <a:p>
            <a:pPr marL="0" marR="0" indent="0" algn="l" defTabSz="931863" rtl="0" eaLnBrk="1" fontAlgn="base" latinLnBrk="0" hangingPunct="1">
              <a:lnSpc>
                <a:spcPct val="115000"/>
              </a:lnSpc>
              <a:spcBef>
                <a:spcPct val="0"/>
              </a:spcBef>
              <a:spcAft>
                <a:spcPts val="1000"/>
              </a:spcAft>
              <a:buClrTx/>
              <a:buSzTx/>
              <a:buFontTx/>
              <a:buNone/>
              <a:tabLst/>
              <a:defRPr/>
            </a:pPr>
            <a:endParaRPr lang="en-US" sz="1400" b="1" kern="1200" dirty="0" smtClean="0">
              <a:solidFill>
                <a:schemeClr val="tx1"/>
              </a:solidFill>
              <a:latin typeface="+mn-lt"/>
              <a:ea typeface="ＭＳ Ｐゴシック" charset="0"/>
              <a:cs typeface="ＭＳ Ｐゴシック" charset="0"/>
            </a:endParaRPr>
          </a:p>
          <a:p>
            <a:pPr marL="0" marR="0" indent="0" algn="l" defTabSz="931863" rtl="0" eaLnBrk="1" fontAlgn="base" latinLnBrk="0" hangingPunct="1">
              <a:lnSpc>
                <a:spcPct val="115000"/>
              </a:lnSpc>
              <a:spcBef>
                <a:spcPct val="0"/>
              </a:spcBef>
              <a:spcAft>
                <a:spcPts val="1000"/>
              </a:spcAft>
              <a:buClrTx/>
              <a:buSzTx/>
              <a:buFontTx/>
              <a:buNone/>
              <a:tabLst/>
              <a:defRPr/>
            </a:pPr>
            <a:r>
              <a:rPr lang="en-US" sz="1400" b="1" kern="1200" dirty="0" smtClean="0">
                <a:solidFill>
                  <a:schemeClr val="tx1"/>
                </a:solidFill>
                <a:latin typeface="+mn-lt"/>
                <a:ea typeface="ＭＳ Ｐゴシック" charset="0"/>
                <a:cs typeface="ＭＳ Ｐゴシック" charset="0"/>
              </a:rPr>
              <a:t>Case Study Link: </a:t>
            </a:r>
            <a:r>
              <a:rPr lang="en-US" sz="1400" dirty="0" smtClean="0">
                <a:latin typeface="Segoe UI" charset="0"/>
                <a:cs typeface="Segoe UI" charset="0"/>
              </a:rPr>
              <a:t>http://www.microsoft.com/casestudies/Case_Study_Detail.aspx?CaseStudyID=710000002635 </a:t>
            </a:r>
          </a:p>
          <a:p>
            <a:pPr>
              <a:lnSpc>
                <a:spcPct val="115000"/>
              </a:lnSpc>
              <a:spcBef>
                <a:spcPct val="0"/>
              </a:spcBef>
              <a:spcAft>
                <a:spcPts val="1000"/>
              </a:spcAft>
            </a:pPr>
            <a:endParaRPr lang="en-US" sz="1400" dirty="0" smtClean="0">
              <a:latin typeface="Segoe UI" charset="0"/>
              <a:ea typeface="Calibri" charset="0"/>
            </a:endParaRPr>
          </a:p>
          <a:p>
            <a:pPr>
              <a:lnSpc>
                <a:spcPct val="115000"/>
              </a:lnSpc>
              <a:spcBef>
                <a:spcPct val="0"/>
              </a:spcBef>
              <a:spcAft>
                <a:spcPts val="1000"/>
              </a:spcAft>
            </a:pPr>
            <a:r>
              <a:rPr lang="en-US" sz="1400" b="1" dirty="0" smtClean="0">
                <a:latin typeface="Segoe UI" charset="0"/>
                <a:ea typeface="Calibri" charset="0"/>
              </a:rPr>
              <a:t>Slide Talk Track:</a:t>
            </a:r>
            <a:endParaRPr lang="en-US" sz="1400" dirty="0" smtClean="0">
              <a:latin typeface="Segoe UI" charset="0"/>
              <a:ea typeface="Calibri"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viva realized technology had moved forward, and advances in consumer mobile devices and cloud computing opened up new opportunities. In 2012 most of the constraints faced by Aviva before had eased as storage and processing costs had gone down, and the power of mobile phones was amazing compared to what was available in 2006.</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viva implemented a hybrid-cloud solution based on the Microsoft Azure platform that connects mobile devices, on-premises applications, and social media, “allowing Aviva to connect to their customers in new ways especially with new and younger driver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company launched the solution in the consumer marketplace only </a:t>
            </a:r>
            <a:r>
              <a:rPr lang="en-US" sz="1200" u="sng" kern="1200" dirty="0" smtClean="0">
                <a:solidFill>
                  <a:schemeClr val="tx1"/>
                </a:solidFill>
                <a:effectLst/>
                <a:latin typeface="+mn-lt"/>
                <a:ea typeface="ＭＳ Ｐゴシック" charset="0"/>
                <a:cs typeface="ＭＳ Ｐゴシック" charset="0"/>
              </a:rPr>
              <a:t>eight months after the first trial project with fleet cars.</a:t>
            </a:r>
            <a:r>
              <a:rPr lang="en-US" sz="1200" kern="1200" dirty="0" smtClean="0">
                <a:solidFill>
                  <a:schemeClr val="tx1"/>
                </a:solidFill>
                <a:effectLst/>
                <a:latin typeface="+mn-lt"/>
                <a:ea typeface="ＭＳ Ｐゴシック" charset="0"/>
                <a:cs typeface="ＭＳ Ｐゴシック" charset="0"/>
              </a:rPr>
              <a:t> UK drivers can download the free app from Google Play or the Aviva website. Running on Android and iPhones smartphones, the software works with the phones’ built-in GPS technology and sensors to collect and send telematics data to Microsoft Azure, including information on braking, cornering, and acceleration behavior. After 200 miles, the app assigns the driver a score that the quote system uses to calculate a personalized quota.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Drivers use social media to share scores and compete with other motorists on leaderboards. The social media integration encourages drivers to use the app and also attracts attention to the project through channels such as Twitter feeds and the Facebook fan page and status updates. </a:t>
            </a:r>
            <a:r>
              <a:rPr lang="en-US" sz="1200" u="sng" kern="1200" dirty="0" smtClean="0">
                <a:solidFill>
                  <a:schemeClr val="tx1"/>
                </a:solidFill>
                <a:effectLst/>
                <a:latin typeface="+mn-lt"/>
                <a:ea typeface="ＭＳ Ｐゴシック" charset="0"/>
                <a:cs typeface="ＭＳ Ｐゴシック" charset="0"/>
              </a:rPr>
              <a:t>Aviva achieved 100Mil Facebook impressions in five months</a:t>
            </a:r>
            <a:r>
              <a:rPr lang="en-US" sz="1200" kern="1200" dirty="0" smtClean="0">
                <a:solidFill>
                  <a:schemeClr val="tx1"/>
                </a:solidFill>
                <a:effectLst/>
                <a:latin typeface="+mn-lt"/>
                <a:ea typeface="ＭＳ Ｐゴシック" charset="0"/>
                <a:cs typeface="ＭＳ Ｐゴシック" charset="0"/>
              </a:rPr>
              <a:t>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nstead of deploying expensive, costly IT infrastructure, the company is using Microsoft cloud services to expand its offerings while taking advantage of consumer trends in social media and mobility. In real-world terms, this means the company can quickly provide exciting new solutions that improve service and help people save money.</a:t>
            </a:r>
            <a:endParaRPr lang="en-US" sz="1400" dirty="0" smtClean="0">
              <a:latin typeface="Segoe UI" charset="0"/>
              <a:cs typeface="Segoe UI" charset="0"/>
            </a:endParaRPr>
          </a:p>
          <a:p>
            <a:pPr defTabSz="932316" fontAlgn="auto">
              <a:spcBef>
                <a:spcPts val="0"/>
              </a:spcBef>
              <a:spcAft>
                <a:spcPts val="0"/>
              </a:spcAft>
              <a:defRPr/>
            </a:pPr>
            <a:endParaRPr lang="en-US" sz="1224" kern="1200" dirty="0">
              <a:solidFill>
                <a:schemeClr val="tx1"/>
              </a:solidFill>
              <a:latin typeface="+mn-lt"/>
              <a:ea typeface="ＭＳ Ｐゴシック" charset="0"/>
              <a:cs typeface="ＭＳ Ｐゴシック" charset="0"/>
            </a:endParaRPr>
          </a:p>
        </p:txBody>
      </p:sp>
      <p:sp>
        <p:nvSpPr>
          <p:cNvPr id="5" name="Footer Placeholder 4"/>
          <p:cNvSpPr>
            <a:spLocks noGrp="1"/>
          </p:cNvSpPr>
          <p:nvPr>
            <p:ph type="ftr" sz="quarter" idx="4"/>
          </p:nvPr>
        </p:nvSpPr>
        <p:spPr>
          <a:xfrm>
            <a:off x="0" y="8829968"/>
            <a:ext cx="3037840" cy="466433"/>
          </a:xfrm>
        </p:spPr>
        <p:txBody>
          <a:bodyPr/>
          <a:lstStyle/>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5540"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CEF0AA27-47B5-F141-B6E1-A24D30090DEA}"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65541"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77A0585-15A5-934F-8D5D-8936AD31FF52}" type="slidenum">
              <a:rPr lang="en-US">
                <a:solidFill>
                  <a:srgbClr val="000000"/>
                </a:solidFill>
                <a:latin typeface="Calibri" charset="0"/>
              </a:rPr>
              <a:pPr defTabSz="931863" fontAlgn="base">
                <a:spcBef>
                  <a:spcPct val="0"/>
                </a:spcBef>
                <a:spcAft>
                  <a:spcPct val="0"/>
                </a:spcAft>
              </a:pPr>
              <a:t>23</a:t>
            </a:fld>
            <a:endParaRPr lang="en-US">
              <a:solidFill>
                <a:srgbClr val="000000"/>
              </a:solidFill>
              <a:latin typeface="Calibri" charset="0"/>
            </a:endParaRPr>
          </a:p>
        </p:txBody>
      </p:sp>
    </p:spTree>
    <p:extLst>
      <p:ext uri="{BB962C8B-B14F-4D97-AF65-F5344CB8AC3E}">
        <p14:creationId xmlns:p14="http://schemas.microsoft.com/office/powerpoint/2010/main" val="3812771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r>
              <a:rPr lang="en-US" sz="1400" b="1" kern="1200" dirty="0" smtClean="0">
                <a:solidFill>
                  <a:schemeClr val="tx1"/>
                </a:solidFill>
                <a:latin typeface="+mn-lt"/>
                <a:ea typeface="ＭＳ Ｐゴシック" charset="0"/>
                <a:cs typeface="ＭＳ Ｐゴシック" charset="0"/>
              </a:rPr>
              <a:t>Objective: </a:t>
            </a:r>
            <a:r>
              <a:rPr lang="en-US" sz="1400" kern="1200" dirty="0" smtClean="0">
                <a:solidFill>
                  <a:schemeClr val="tx1"/>
                </a:solidFill>
                <a:latin typeface="+mn-lt"/>
                <a:ea typeface="ＭＳ Ｐゴシック" charset="0"/>
                <a:cs typeface="ＭＳ Ｐゴシック" charset="0"/>
              </a:rPr>
              <a:t>Land your local customer case study here – replace as desired – or use the links below to access a Video for The City of Barcelona</a:t>
            </a:r>
          </a:p>
          <a:p>
            <a:pPr defTabSz="932316" fontAlgn="auto">
              <a:spcBef>
                <a:spcPts val="0"/>
              </a:spcBef>
              <a:spcAft>
                <a:spcPts val="0"/>
              </a:spcAft>
              <a:defRPr/>
            </a:pP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400" b="1" kern="1200" dirty="0" smtClean="0">
                <a:solidFill>
                  <a:schemeClr val="tx1"/>
                </a:solidFill>
                <a:latin typeface="+mn-lt"/>
                <a:ea typeface="ＭＳ Ｐゴシック" charset="0"/>
                <a:cs typeface="ＭＳ Ｐゴシック" charset="0"/>
              </a:rPr>
              <a:t>Supporting talk track:</a:t>
            </a: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400" kern="1200" dirty="0" smtClean="0">
                <a:solidFill>
                  <a:schemeClr val="tx1"/>
                </a:solidFill>
                <a:latin typeface="+mn-lt"/>
                <a:ea typeface="ＭＳ Ｐゴシック" charset="0"/>
                <a:cs typeface="ＭＳ Ｐゴシック" charset="0"/>
              </a:rPr>
              <a:t>Let’s take a look at a customer seeing significant benefits from Microsoft’s investments in our Cloud Platform related to data. </a:t>
            </a:r>
          </a:p>
          <a:p>
            <a:pPr defTabSz="932316" fontAlgn="auto">
              <a:spcBef>
                <a:spcPts val="0"/>
              </a:spcBef>
              <a:spcAft>
                <a:spcPts val="0"/>
              </a:spcAft>
              <a:defRPr/>
            </a:pPr>
            <a:endParaRPr lang="en-US" sz="1400" b="1"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400" b="1" kern="1200" dirty="0" smtClean="0">
                <a:solidFill>
                  <a:schemeClr val="tx1"/>
                </a:solidFill>
                <a:latin typeface="+mn-lt"/>
                <a:ea typeface="ＭＳ Ｐゴシック" charset="0"/>
                <a:cs typeface="ＭＳ Ｐゴシック" charset="0"/>
              </a:rPr>
              <a:t>Case Study Link: </a:t>
            </a:r>
            <a:r>
              <a:rPr lang="en-US" sz="1400" kern="1200" dirty="0" smtClean="0">
                <a:solidFill>
                  <a:schemeClr val="tx1"/>
                </a:solidFill>
                <a:latin typeface="+mn-lt"/>
                <a:ea typeface="ＭＳ Ｐゴシック" charset="0"/>
                <a:cs typeface="ＭＳ Ｐゴシック" charset="0"/>
                <a:hlinkClick r:id="rId3"/>
              </a:rPr>
              <a:t>http://www.microsoft.com/casestudies/Microsoft-Excel-2010/City-of-Barcelona/City-Deploys-Big-Data-BI-Solution-to-Improve-Lives-and-Create-a-Smart-City-Template/710000003415</a:t>
            </a: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400" b="1" kern="1200" dirty="0" smtClean="0">
                <a:solidFill>
                  <a:schemeClr val="tx1"/>
                </a:solidFill>
                <a:latin typeface="+mn-lt"/>
                <a:ea typeface="ＭＳ Ｐゴシック" charset="0"/>
                <a:cs typeface="ＭＳ Ｐゴシック" charset="0"/>
              </a:rPr>
              <a:t>Video Link: </a:t>
            </a:r>
            <a:r>
              <a:rPr lang="en-US" sz="1400" kern="1200" dirty="0" smtClean="0">
                <a:solidFill>
                  <a:schemeClr val="tx1"/>
                </a:solidFill>
                <a:latin typeface="+mn-lt"/>
                <a:ea typeface="ＭＳ Ｐゴシック" charset="0"/>
                <a:cs typeface="ＭＳ Ｐゴシック" charset="0"/>
                <a:hlinkClick r:id="rId4"/>
              </a:rPr>
              <a:t>https://www.youtube.com/watch?v=hPykptSIiJI&amp;feature=youtu.be</a:t>
            </a: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endParaRPr lang="en-US" sz="1400" b="1"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400" b="1" kern="1200" dirty="0" smtClean="0">
                <a:solidFill>
                  <a:schemeClr val="tx1"/>
                </a:solidFill>
                <a:latin typeface="+mn-lt"/>
                <a:ea typeface="ＭＳ Ｐゴシック" charset="0"/>
                <a:cs typeface="ＭＳ Ｐゴシック" charset="0"/>
              </a:rPr>
              <a:t>Customer Overview: </a:t>
            </a:r>
          </a:p>
          <a:p>
            <a:pPr defTabSz="932316" fontAlgn="auto">
              <a:spcBef>
                <a:spcPts val="0"/>
              </a:spcBef>
              <a:spcAft>
                <a:spcPts val="0"/>
              </a:spcAft>
              <a:defRPr/>
            </a:pPr>
            <a:r>
              <a:rPr lang="en-US" sz="1400" i="1" u="sng" kern="1200" dirty="0" smtClean="0">
                <a:solidFill>
                  <a:schemeClr val="tx1"/>
                </a:solidFill>
                <a:latin typeface="+mn-lt"/>
                <a:ea typeface="ＭＳ Ｐゴシック" charset="0"/>
                <a:cs typeface="ＭＳ Ｐゴシック" charset="0"/>
              </a:rPr>
              <a:t>City Deploys Big Data BI Solution to Improve Lives and Create a Smart-City Template </a:t>
            </a:r>
            <a:r>
              <a:rPr lang="en-US" sz="1400" kern="1200" dirty="0" smtClean="0">
                <a:solidFill>
                  <a:schemeClr val="tx1"/>
                </a:solidFill>
                <a:latin typeface="+mn-lt"/>
                <a:ea typeface="ＭＳ Ｐゴシック" charset="0"/>
                <a:cs typeface="ＭＳ Ｐゴシック" charset="0"/>
              </a:rPr>
              <a:t>Barcelona, Spain, wanted better insight into government effectiveness. To achieve this, it needed a solution that could collect and analyze data from its systems and new public sources such as social media, software log files, and GPS signals. Working with Microsoft partner </a:t>
            </a:r>
            <a:r>
              <a:rPr lang="en-US" sz="1400" kern="1200" dirty="0" err="1" smtClean="0">
                <a:solidFill>
                  <a:schemeClr val="tx1"/>
                </a:solidFill>
                <a:latin typeface="+mn-lt"/>
                <a:ea typeface="ＭＳ Ｐゴシック" charset="0"/>
                <a:cs typeface="ＭＳ Ｐゴシック" charset="0"/>
              </a:rPr>
              <a:t>Bismart</a:t>
            </a:r>
            <a:r>
              <a:rPr lang="en-US" sz="1400" kern="1200" dirty="0" smtClean="0">
                <a:solidFill>
                  <a:schemeClr val="tx1"/>
                </a:solidFill>
                <a:latin typeface="+mn-lt"/>
                <a:ea typeface="ＭＳ Ｐゴシック" charset="0"/>
                <a:cs typeface="ＭＳ Ｐゴシック" charset="0"/>
              </a:rPr>
              <a:t>, the city built a hybrid cloud to store and analyze big data using business intelligence (BI) and data services based on Microsoft Azure, Microsoft Azure </a:t>
            </a:r>
            <a:r>
              <a:rPr lang="en-US" sz="1400" kern="1200" dirty="0" err="1" smtClean="0">
                <a:solidFill>
                  <a:schemeClr val="tx1"/>
                </a:solidFill>
                <a:latin typeface="+mn-lt"/>
                <a:ea typeface="ＭＳ Ｐゴシック" charset="0"/>
                <a:cs typeface="ＭＳ Ｐゴシック" charset="0"/>
              </a:rPr>
              <a:t>HDInsight</a:t>
            </a:r>
            <a:r>
              <a:rPr lang="en-US" sz="1400" kern="1200" dirty="0" smtClean="0">
                <a:solidFill>
                  <a:schemeClr val="tx1"/>
                </a:solidFill>
                <a:latin typeface="+mn-lt"/>
                <a:ea typeface="ＭＳ Ｐゴシック" charset="0"/>
                <a:cs typeface="ＭＳ Ｐゴシック" charset="0"/>
              </a:rPr>
              <a:t>, Microsoft SQL Server 2012, and Microsoft Excel 2010. Still in its pilot phase, the solution provides near-real-time insight into structured and unstructured data, and BI access using any Internet-connected device that can enhance services and business opportunities, improve safety, and boost collaboration between Barcelona, its citizens, and businesses. The solution also provides a smart-city template that might be used by other global cities.</a:t>
            </a:r>
          </a:p>
          <a:p>
            <a:pPr defTabSz="932316" fontAlgn="auto">
              <a:spcBef>
                <a:spcPts val="0"/>
              </a:spcBef>
              <a:spcAft>
                <a:spcPts val="0"/>
              </a:spcAft>
              <a:defRPr/>
            </a:pPr>
            <a:endParaRPr lang="en-US" sz="1400"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endParaRPr lang="en-US" sz="1224" kern="1200" dirty="0">
              <a:solidFill>
                <a:schemeClr val="tx1"/>
              </a:solidFill>
              <a:latin typeface="+mn-lt"/>
              <a:ea typeface="ＭＳ Ｐゴシック" charset="0"/>
              <a:cs typeface="ＭＳ Ｐゴシック" charset="0"/>
            </a:endParaRPr>
          </a:p>
        </p:txBody>
      </p:sp>
      <p:sp>
        <p:nvSpPr>
          <p:cNvPr id="5" name="Footer Placeholder 4"/>
          <p:cNvSpPr>
            <a:spLocks noGrp="1"/>
          </p:cNvSpPr>
          <p:nvPr>
            <p:ph type="ftr" sz="quarter" idx="4"/>
          </p:nvPr>
        </p:nvSpPr>
        <p:spPr>
          <a:xfrm>
            <a:off x="0" y="8829968"/>
            <a:ext cx="3037840" cy="466433"/>
          </a:xfrm>
        </p:spPr>
        <p:txBody>
          <a:bodyPr/>
          <a:lstStyle/>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5540"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CEF0AA27-47B5-F141-B6E1-A24D30090DEA}"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65541"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77A0585-15A5-934F-8D5D-8936AD31FF52}" type="slidenum">
              <a:rPr lang="en-US">
                <a:solidFill>
                  <a:srgbClr val="000000"/>
                </a:solidFill>
                <a:latin typeface="Calibri" charset="0"/>
              </a:rPr>
              <a:pPr defTabSz="931863" fontAlgn="base">
                <a:spcBef>
                  <a:spcPct val="0"/>
                </a:spcBef>
                <a:spcAft>
                  <a:spcPct val="0"/>
                </a:spcAft>
              </a:pPr>
              <a:t>24</a:t>
            </a:fld>
            <a:endParaRPr lang="en-US">
              <a:solidFill>
                <a:srgbClr val="000000"/>
              </a:solidFill>
              <a:latin typeface="Calibri" charset="0"/>
            </a:endParaRPr>
          </a:p>
        </p:txBody>
      </p:sp>
    </p:spTree>
    <p:extLst>
      <p:ext uri="{BB962C8B-B14F-4D97-AF65-F5344CB8AC3E}">
        <p14:creationId xmlns:p14="http://schemas.microsoft.com/office/powerpoint/2010/main" val="17772854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r>
              <a:rPr lang="en-US" sz="1224" kern="1200" dirty="0" smtClean="0">
                <a:solidFill>
                  <a:schemeClr val="tx1"/>
                </a:solidFill>
                <a:latin typeface="+mn-lt"/>
                <a:ea typeface="ＭＳ Ｐゴシック" charset="0"/>
                <a:cs typeface="ＭＳ Ｐゴシック" charset="0"/>
              </a:rPr>
              <a:t>Here’s an example of a fashion retailer setting the trend in business agility by launching a hybrid cloud solution</a:t>
            </a:r>
          </a:p>
          <a:p>
            <a:pPr defTabSz="932316" fontAlgn="auto">
              <a:spcBef>
                <a:spcPts val="0"/>
              </a:spcBef>
              <a:spcAft>
                <a:spcPts val="0"/>
              </a:spcAft>
              <a:defRPr/>
            </a:pPr>
            <a:endParaRPr lang="en-US" sz="1224" b="1" i="1"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224" b="0" i="0" kern="1200" dirty="0" smtClean="0">
                <a:solidFill>
                  <a:schemeClr val="tx1"/>
                </a:solidFill>
                <a:latin typeface="+mn-lt"/>
                <a:ea typeface="ＭＳ Ｐゴシック" charset="0"/>
                <a:cs typeface="ＭＳ Ｐゴシック" charset="0"/>
              </a:rPr>
              <a:t>Six years ago, British fashion designer Paul Smith had a goal to optimize its IT function. It sought a vendor that offered interoperable, foundational technologies with the right combination of innovation and value. Paul Smith embraced the Microsoft cloud operating system vision and built an agile, responsive global IT infrastructure, managed by only 15 people, so IT can provide efficient services to ensure that the business continues to play a leading role in the fashion industry—while keeping costs down. Along the way, Paul Smith used Windows Server, Hyper-V, and Microsoft System Center hybrid cloud and data center technologies to virtualize more than 80 percent of its servers, improve data center density by 200 percent, and save more than £840,000 (US$1.4 million) in IT costs in one year. It also reduced recovery time from 48 hours to 5 minutes for its mission-critical applications.</a:t>
            </a: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224" kern="1200" dirty="0" smtClean="0">
                <a:solidFill>
                  <a:schemeClr val="tx1"/>
                </a:solidFill>
                <a:latin typeface="+mn-lt"/>
                <a:ea typeface="ＭＳ Ｐゴシック" charset="0"/>
                <a:cs typeface="ＭＳ Ｐゴシック" charset="0"/>
              </a:rPr>
              <a:t>“Paul Smith can take operational flexibility a step further by using Microsoft Azure as an additional environment for computing where it only pays for the virtual machines it uses.”</a:t>
            </a: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224" kern="1200" dirty="0" smtClean="0">
                <a:solidFill>
                  <a:schemeClr val="tx1"/>
                </a:solidFill>
                <a:latin typeface="+mn-lt"/>
                <a:ea typeface="ＭＳ Ｐゴシック" charset="0"/>
                <a:cs typeface="ＭＳ Ｐゴシック" charset="0"/>
              </a:rPr>
              <a:t> Richard Proud</a:t>
            </a:r>
          </a:p>
          <a:p>
            <a:pPr defTabSz="932316" fontAlgn="auto">
              <a:spcBef>
                <a:spcPts val="0"/>
              </a:spcBef>
              <a:spcAft>
                <a:spcPts val="0"/>
              </a:spcAft>
              <a:defRPr/>
            </a:pPr>
            <a:r>
              <a:rPr lang="en-US" sz="1224" kern="1200" dirty="0" smtClean="0">
                <a:solidFill>
                  <a:schemeClr val="tx1"/>
                </a:solidFill>
                <a:latin typeface="+mn-lt"/>
                <a:ea typeface="ＭＳ Ｐゴシック" charset="0"/>
                <a:cs typeface="ＭＳ Ｐゴシック" charset="0"/>
              </a:rPr>
              <a:t> Director, </a:t>
            </a:r>
            <a:r>
              <a:rPr lang="en-US" sz="1224" kern="1200" dirty="0" err="1" smtClean="0">
                <a:solidFill>
                  <a:schemeClr val="tx1"/>
                </a:solidFill>
                <a:latin typeface="+mn-lt"/>
                <a:ea typeface="ＭＳ Ｐゴシック" charset="0"/>
                <a:cs typeface="ＭＳ Ｐゴシック" charset="0"/>
              </a:rPr>
              <a:t>risual</a:t>
            </a:r>
            <a:r>
              <a:rPr lang="en-US" sz="1224" kern="1200" dirty="0" smtClean="0">
                <a:solidFill>
                  <a:schemeClr val="tx1"/>
                </a:solidFill>
                <a:latin typeface="+mn-lt"/>
                <a:ea typeface="ＭＳ Ｐゴシック" charset="0"/>
                <a:cs typeface="ＭＳ Ｐゴシック" charset="0"/>
              </a:rPr>
              <a:t> </a:t>
            </a: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r>
              <a:rPr lang="en-US" sz="1200" kern="1200" dirty="0" smtClean="0">
                <a:solidFill>
                  <a:schemeClr val="tx1"/>
                </a:solidFill>
                <a:effectLst/>
                <a:latin typeface="+mn-lt"/>
                <a:ea typeface="ＭＳ Ｐゴシック" charset="0"/>
                <a:cs typeface="ＭＳ Ｐゴシック" charset="0"/>
              </a:rPr>
              <a:t>“With Window Azure, we can scale up our resources on demand, for example, to send out 10 million emails in the single month of December.”</a:t>
            </a: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224" b="1" kern="1200" dirty="0" smtClean="0">
                <a:solidFill>
                  <a:schemeClr val="tx1"/>
                </a:solidFill>
                <a:latin typeface="+mn-lt"/>
                <a:ea typeface="ＭＳ Ｐゴシック" charset="0"/>
                <a:cs typeface="ＭＳ Ｐゴシック" charset="0"/>
              </a:rPr>
              <a:t>Benefits </a:t>
            </a:r>
          </a:p>
          <a:p>
            <a:pPr marL="171450" indent="-171450" defTabSz="932316" fontAlgn="auto">
              <a:spcBef>
                <a:spcPts val="0"/>
              </a:spcBef>
              <a:spcAft>
                <a:spcPts val="0"/>
              </a:spcAft>
              <a:buFont typeface="Arial" panose="020B0604020202020204" pitchFamily="34" charset="0"/>
              <a:buChar char="•"/>
              <a:defRPr/>
            </a:pPr>
            <a:r>
              <a:rPr lang="en-US" sz="1224" kern="1200" dirty="0" smtClean="0">
                <a:solidFill>
                  <a:schemeClr val="tx1"/>
                </a:solidFill>
                <a:latin typeface="+mn-lt"/>
                <a:ea typeface="ＭＳ Ｐゴシック" charset="0"/>
                <a:cs typeface="ＭＳ Ｐゴシック" charset="0"/>
              </a:rPr>
              <a:t>Optimizes the infrastructure </a:t>
            </a:r>
          </a:p>
          <a:p>
            <a:pPr marL="171450" indent="-171450" defTabSz="932316" fontAlgn="auto">
              <a:spcBef>
                <a:spcPts val="0"/>
              </a:spcBef>
              <a:spcAft>
                <a:spcPts val="0"/>
              </a:spcAft>
              <a:buFont typeface="Arial" panose="020B0604020202020204" pitchFamily="34" charset="0"/>
              <a:buChar char="•"/>
              <a:defRPr/>
            </a:pPr>
            <a:r>
              <a:rPr lang="en-US" sz="1224" kern="1200" dirty="0" smtClean="0">
                <a:solidFill>
                  <a:schemeClr val="tx1"/>
                </a:solidFill>
                <a:latin typeface="+mn-lt"/>
                <a:ea typeface="ＭＳ Ｐゴシック" charset="0"/>
                <a:cs typeface="ＭＳ Ｐゴシック" charset="0"/>
              </a:rPr>
              <a:t>Improves business agility, service predictability </a:t>
            </a:r>
          </a:p>
          <a:p>
            <a:pPr marL="171450" indent="-171450" defTabSz="932316" fontAlgn="auto">
              <a:spcBef>
                <a:spcPts val="0"/>
              </a:spcBef>
              <a:spcAft>
                <a:spcPts val="0"/>
              </a:spcAft>
              <a:buFont typeface="Arial" panose="020B0604020202020204" pitchFamily="34" charset="0"/>
              <a:buChar char="•"/>
              <a:defRPr/>
            </a:pPr>
            <a:r>
              <a:rPr lang="en-US" sz="1224" kern="1200" dirty="0" smtClean="0">
                <a:solidFill>
                  <a:schemeClr val="tx1"/>
                </a:solidFill>
                <a:latin typeface="+mn-lt"/>
                <a:ea typeface="ＭＳ Ｐゴシック" charset="0"/>
                <a:cs typeface="ＭＳ Ｐゴシック" charset="0"/>
              </a:rPr>
              <a:t>Reduces costs </a:t>
            </a:r>
          </a:p>
          <a:p>
            <a:pPr marL="171450" indent="-171450" defTabSz="932316" fontAlgn="auto">
              <a:spcBef>
                <a:spcPts val="0"/>
              </a:spcBef>
              <a:spcAft>
                <a:spcPts val="0"/>
              </a:spcAft>
              <a:buFont typeface="Arial" panose="020B0604020202020204" pitchFamily="34" charset="0"/>
              <a:buChar char="•"/>
              <a:defRPr/>
            </a:pPr>
            <a:r>
              <a:rPr lang="en-US" sz="1224" kern="1200" dirty="0" smtClean="0">
                <a:solidFill>
                  <a:schemeClr val="tx1"/>
                </a:solidFill>
                <a:latin typeface="+mn-lt"/>
                <a:ea typeface="ＭＳ Ｐゴシック" charset="0"/>
                <a:cs typeface="ＭＳ Ｐゴシック" charset="0"/>
              </a:rPr>
              <a:t>Enhances disaster recovery capabilities </a:t>
            </a:r>
          </a:p>
          <a:p>
            <a:pPr marL="171450" indent="-171450" defTabSz="932316" fontAlgn="auto">
              <a:spcBef>
                <a:spcPts val="0"/>
              </a:spcBef>
              <a:spcAft>
                <a:spcPts val="0"/>
              </a:spcAft>
              <a:buFont typeface="Arial" panose="020B0604020202020204" pitchFamily="34" charset="0"/>
              <a:buChar char="•"/>
              <a:defRPr/>
            </a:pPr>
            <a:r>
              <a:rPr lang="en-US" sz="1224" kern="1200" dirty="0" smtClean="0">
                <a:solidFill>
                  <a:schemeClr val="tx1"/>
                </a:solidFill>
                <a:latin typeface="+mn-lt"/>
                <a:ea typeface="ＭＳ Ｐゴシック" charset="0"/>
                <a:cs typeface="ＭＳ Ｐゴシック" charset="0"/>
              </a:rPr>
              <a:t>Automates processes and enables self-serve IT </a:t>
            </a: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pPr defTabSz="932316" fontAlgn="auto">
              <a:spcBef>
                <a:spcPts val="0"/>
              </a:spcBef>
              <a:spcAft>
                <a:spcPts val="0"/>
              </a:spcAft>
              <a:defRPr/>
            </a:pPr>
            <a:r>
              <a:rPr lang="en-US" sz="1224" kern="1200" dirty="0" smtClean="0">
                <a:solidFill>
                  <a:schemeClr val="tx1"/>
                </a:solidFill>
                <a:latin typeface="+mn-lt"/>
                <a:ea typeface="ＭＳ Ｐゴシック" charset="0"/>
                <a:cs typeface="ＭＳ Ｐゴシック" charset="0"/>
              </a:rPr>
              <a:t>http://www.microsoft.com/casestudies/Windows-Server-2012-R2/Paul-Smith/Fashion-Retailer-Sets-the-Trend-in-Business-Agility-Launches-Hybrid-Cloud-Solution/710000003939</a:t>
            </a:r>
            <a:endParaRPr lang="en-US" sz="1224" kern="1200" dirty="0">
              <a:solidFill>
                <a:schemeClr val="tx1"/>
              </a:solidFill>
              <a:latin typeface="+mn-lt"/>
              <a:ea typeface="ＭＳ Ｐゴシック" charset="0"/>
              <a:cs typeface="ＭＳ Ｐゴシック" charset="0"/>
            </a:endParaRPr>
          </a:p>
        </p:txBody>
      </p:sp>
      <p:sp>
        <p:nvSpPr>
          <p:cNvPr id="62467"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endParaRPr lang="en-US">
              <a:solidFill>
                <a:srgbClr val="000000"/>
              </a:solidFill>
              <a:latin typeface="Calibri" charset="0"/>
            </a:endParaRPr>
          </a:p>
        </p:txBody>
      </p:sp>
      <p:sp>
        <p:nvSpPr>
          <p:cNvPr id="5" name="Footer Placeholder 4"/>
          <p:cNvSpPr>
            <a:spLocks noGrp="1"/>
          </p:cNvSpPr>
          <p:nvPr>
            <p:ph type="ftr" sz="quarter" idx="4"/>
          </p:nvPr>
        </p:nvSpPr>
        <p:spPr>
          <a:xfrm>
            <a:off x="0" y="8829968"/>
            <a:ext cx="3037840" cy="466433"/>
          </a:xfrm>
        </p:spPr>
        <p:txBody>
          <a:bodyPr/>
          <a:lstStyle/>
          <a:p>
            <a:pPr defTabSz="931433"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3"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2469"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9B333B5D-1EFF-6043-BF1D-19DE47978EE6}"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62470"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313BC5E9-0018-8E49-84B4-D9186AE16044}" type="slidenum">
              <a:rPr lang="en-US">
                <a:solidFill>
                  <a:srgbClr val="000000"/>
                </a:solidFill>
                <a:latin typeface="Calibri" charset="0"/>
              </a:rPr>
              <a:pPr defTabSz="931863" fontAlgn="base">
                <a:spcBef>
                  <a:spcPct val="0"/>
                </a:spcBef>
                <a:spcAft>
                  <a:spcPct val="0"/>
                </a:spcAft>
              </a:pPr>
              <a:t>25</a:t>
            </a:fld>
            <a:endParaRPr lang="en-US">
              <a:solidFill>
                <a:srgbClr val="000000"/>
              </a:solidFill>
              <a:latin typeface="Calibri" charset="0"/>
            </a:endParaRPr>
          </a:p>
        </p:txBody>
      </p:sp>
    </p:spTree>
    <p:extLst>
      <p:ext uri="{BB962C8B-B14F-4D97-AF65-F5344CB8AC3E}">
        <p14:creationId xmlns:p14="http://schemas.microsoft.com/office/powerpoint/2010/main" val="27400866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goal of slide</a:t>
            </a:r>
            <a:r>
              <a:rPr lang="en-US" dirty="0" smtClean="0"/>
              <a:t>: highlight our</a:t>
            </a:r>
            <a:r>
              <a:rPr lang="en-US" baseline="0" dirty="0" smtClean="0"/>
              <a:t> customer momentum.</a:t>
            </a:r>
          </a:p>
          <a:p>
            <a:endParaRPr lang="en-US" baseline="0" dirty="0" smtClean="0"/>
          </a:p>
          <a:p>
            <a:r>
              <a:rPr lang="en-US" b="1" baseline="0" dirty="0" smtClean="0"/>
              <a:t>Talk track:</a:t>
            </a:r>
            <a:endParaRPr lang="en-US" b="0" baseline="0" dirty="0" smtClean="0"/>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s you can see, a number of large organizations are choosing to move forward with the Microsoft Cloud.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ese companies have great stories on how they’re making best use of the technology investments that include Microsoft.</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Innovative companies like 3M, </a:t>
            </a:r>
            <a:r>
              <a:rPr lang="en-US" sz="1200" kern="1200" dirty="0" err="1" smtClean="0">
                <a:solidFill>
                  <a:schemeClr val="tx1"/>
                </a:solidFill>
                <a:effectLst/>
                <a:latin typeface="+mn-lt"/>
                <a:ea typeface="ＭＳ Ｐゴシック" charset="0"/>
                <a:cs typeface="ＭＳ Ｐゴシック" charset="0"/>
              </a:rPr>
              <a:t>easyJet</a:t>
            </a:r>
            <a:r>
              <a:rPr lang="en-US" sz="1200" kern="1200" dirty="0" smtClean="0">
                <a:solidFill>
                  <a:schemeClr val="tx1"/>
                </a:solidFill>
                <a:effectLst/>
                <a:latin typeface="+mn-lt"/>
                <a:ea typeface="ＭＳ Ｐゴシック" charset="0"/>
                <a:cs typeface="ＭＳ Ｐゴシック" charset="0"/>
              </a:rPr>
              <a:t>, Pier 1 Imports are using the cloud to enter new markets, find new customer insight, and to grow.</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We encourage you to learn more about these companies and what they are doing with Microsoft.</a:t>
            </a:r>
          </a:p>
          <a:p>
            <a:endParaRPr lang="en-US" dirty="0" smtClean="0"/>
          </a:p>
          <a:p>
            <a:endParaRPr lang="en-US" dirty="0"/>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34441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r>
              <a:rPr lang="en-US" sz="1200" b="1" kern="1200" dirty="0" smtClean="0">
                <a:solidFill>
                  <a:schemeClr val="tx1"/>
                </a:solidFill>
                <a:latin typeface="+mn-lt"/>
                <a:ea typeface="ＭＳ Ｐゴシック" charset="0"/>
                <a:cs typeface="ＭＳ Ｐゴシック" charset="0"/>
              </a:rPr>
              <a:t>OPTIONAL SLIDE</a:t>
            </a:r>
          </a:p>
          <a:p>
            <a:pPr defTabSz="932316" fontAlgn="auto">
              <a:spcBef>
                <a:spcPts val="0"/>
              </a:spcBef>
              <a:spcAft>
                <a:spcPts val="0"/>
              </a:spcAft>
              <a:defRPr/>
            </a:pPr>
            <a:endParaRPr lang="en-US" sz="1200" b="1" kern="1200" dirty="0" smtClean="0">
              <a:solidFill>
                <a:schemeClr val="tx1"/>
              </a:solidFill>
              <a:latin typeface="+mn-lt"/>
              <a:ea typeface="ＭＳ Ｐゴシック" charset="0"/>
              <a:cs typeface="ＭＳ Ｐゴシック" charset="0"/>
            </a:endParaRPr>
          </a:p>
          <a:p>
            <a:pPr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sz="1200" dirty="0" smtClean="0">
                <a:latin typeface="Calibri" panose="020F0502020204030204" pitchFamily="34" charset="0"/>
                <a:ea typeface="Times New Roman" panose="02020603050405020304" pitchFamily="18" charset="0"/>
                <a:cs typeface="Times New Roman" panose="02020603050405020304" pitchFamily="18" charset="0"/>
              </a:rPr>
              <a:t>Provide</a:t>
            </a: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 </a:t>
            </a:r>
            <a:r>
              <a:rPr lang="en-US" sz="1200" dirty="0" smtClean="0">
                <a:latin typeface="Calibri" panose="020F0502020204030204" pitchFamily="34" charset="0"/>
                <a:ea typeface="Times New Roman" panose="02020603050405020304" pitchFamily="18" charset="0"/>
                <a:cs typeface="Times New Roman" panose="02020603050405020304" pitchFamily="18" charset="0"/>
              </a:rPr>
              <a:t>a moment to land the products if you don’t use the optional single conversation slides. </a:t>
            </a:r>
          </a:p>
          <a:p>
            <a:pPr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 </a:t>
            </a:r>
            <a:endParaRPr lang="en-US" sz="120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r>
              <a:rPr lang="en-US" sz="1200" b="1" dirty="0" smtClean="0">
                <a:latin typeface="Calibri" panose="020F0502020204030204" pitchFamily="34" charset="0"/>
                <a:ea typeface="Times New Roman" panose="02020603050405020304" pitchFamily="18" charset="0"/>
                <a:cs typeface="Times New Roman" panose="02020603050405020304" pitchFamily="18" charset="0"/>
              </a:rPr>
              <a:t>Slide talk track:</a:t>
            </a:r>
            <a:endParaRPr lang="en-US" sz="1200" dirty="0" smtClean="0">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Microsoft Azure and Windows Server are at the core of our strategy.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So when you think about our Cloud Platform, it’s not a product. It’s the vision and the strategy of how we’re framing the overall portfolio of server, cloud and developer tools so that we bring together Microsoft Azure, Windows Server, System Center, SQL Server, and Visual Studio into an actual suit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 solution-set that our customers benefit from, both from cost savings, from agility, and speed—from the ability to transform IT so you can answer the questions we talked about earlier—and address the pressures you’re facing around devices, apps, data, and cloud.</a:t>
            </a:r>
          </a:p>
          <a:p>
            <a:pPr defTabSz="932316" fontAlgn="auto">
              <a:spcBef>
                <a:spcPts val="0"/>
              </a:spcBef>
              <a:spcAft>
                <a:spcPts val="0"/>
              </a:spcAft>
              <a:defRPr/>
            </a:pPr>
            <a:endParaRPr lang="en-US" sz="1200" b="1" kern="1200" dirty="0" smtClean="0">
              <a:solidFill>
                <a:schemeClr val="tx1"/>
              </a:solidFill>
              <a:latin typeface="+mn-lt"/>
              <a:ea typeface="ＭＳ Ｐゴシック" charset="0"/>
              <a:cs typeface="ＭＳ Ｐゴシック" charset="0"/>
            </a:endParaRPr>
          </a:p>
        </p:txBody>
      </p:sp>
      <p:sp>
        <p:nvSpPr>
          <p:cNvPr id="7168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93802ACE-A76D-1E46-A6B1-93F68E7F9817}" type="slidenum">
              <a:rPr lang="en-US">
                <a:solidFill>
                  <a:prstClr val="black"/>
                </a:solidFill>
                <a:latin typeface="Calibri" charset="0"/>
              </a:rPr>
              <a:pPr defTabSz="931863" fontAlgn="base">
                <a:spcBef>
                  <a:spcPct val="0"/>
                </a:spcBef>
                <a:spcAft>
                  <a:spcPct val="0"/>
                </a:spcAft>
              </a:pPr>
              <a:t>27</a:t>
            </a:fld>
            <a:endParaRPr lang="en-US">
              <a:solidFill>
                <a:prstClr val="black"/>
              </a:solidFill>
              <a:latin typeface="Calibri" charset="0"/>
            </a:endParaRPr>
          </a:p>
        </p:txBody>
      </p:sp>
    </p:spTree>
    <p:extLst>
      <p:ext uri="{BB962C8B-B14F-4D97-AF65-F5344CB8AC3E}">
        <p14:creationId xmlns:p14="http://schemas.microsoft.com/office/powerpoint/2010/main" val="10187172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lnSpc>
                <a:spcPct val="115000"/>
              </a:lnSpc>
              <a:spcBef>
                <a:spcPts val="0"/>
              </a:spcBef>
              <a:spcAft>
                <a:spcPts val="1000"/>
              </a:spcAft>
              <a:defRPr/>
            </a:pPr>
            <a:r>
              <a:rPr lang="en-US" sz="1400"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sz="1400" dirty="0" smtClean="0">
                <a:latin typeface="Calibri" panose="020F0502020204030204" pitchFamily="34" charset="0"/>
                <a:ea typeface="Times New Roman" panose="02020603050405020304" pitchFamily="18" charset="0"/>
                <a:cs typeface="Times New Roman" panose="02020603050405020304" pitchFamily="18" charset="0"/>
              </a:rPr>
              <a:t>Land a call to action – customize for your needs </a:t>
            </a:r>
          </a:p>
          <a:p>
            <a:pPr defTabSz="932316" fontAlgn="auto">
              <a:lnSpc>
                <a:spcPct val="115000"/>
              </a:lnSpc>
              <a:spcBef>
                <a:spcPts val="0"/>
              </a:spcBef>
              <a:spcAft>
                <a:spcPts val="1000"/>
              </a:spcAft>
              <a:defRPr/>
            </a:pPr>
            <a:r>
              <a:rPr lang="en-US" sz="1400" b="1" dirty="0" smtClean="0">
                <a:latin typeface="Calibri" panose="020F0502020204030204" pitchFamily="34" charset="0"/>
                <a:ea typeface="Times New Roman" panose="02020603050405020304" pitchFamily="18" charset="0"/>
                <a:cs typeface="Times New Roman" panose="02020603050405020304" pitchFamily="18" charset="0"/>
              </a:rPr>
              <a:t> </a:t>
            </a:r>
            <a:endParaRPr lang="en-US" sz="140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r>
              <a:rPr lang="en-US" sz="1400" b="1" dirty="0" smtClean="0">
                <a:latin typeface="Calibri" panose="020F0502020204030204" pitchFamily="34" charset="0"/>
                <a:ea typeface="Times New Roman" panose="02020603050405020304" pitchFamily="18" charset="0"/>
                <a:cs typeface="Times New Roman" panose="02020603050405020304" pitchFamily="18" charset="0"/>
              </a:rPr>
              <a:t>Slide talk track:</a:t>
            </a:r>
            <a:endParaRPr lang="en-US" sz="1400" dirty="0" smtClean="0">
              <a:latin typeface="Calibri" panose="020F0502020204030204" pitchFamily="34" charset="0"/>
              <a:ea typeface="Times New Roman" panose="02020603050405020304" pitchFamily="18" charset="0"/>
              <a:cs typeface="Times New Roman" panose="02020603050405020304" pitchFamily="18" charset="0"/>
            </a:endParaRPr>
          </a:p>
          <a:p>
            <a:pPr marL="342900" indent="-342900" defTabSz="932316" fontAlgn="auto">
              <a:lnSpc>
                <a:spcPct val="115000"/>
              </a:lnSpc>
              <a:spcBef>
                <a:spcPts val="0"/>
              </a:spcBef>
              <a:spcAft>
                <a:spcPts val="0"/>
              </a:spcAft>
              <a:buFont typeface="Arial" panose="020B0604020202020204" pitchFamily="34" charset="0"/>
              <a:buChar char="•"/>
              <a:tabLst>
                <a:tab pos="457200" algn="l"/>
              </a:tabLst>
              <a:defRPr/>
            </a:pPr>
            <a:r>
              <a:rPr lang="en-US" sz="1400" dirty="0" smtClean="0">
                <a:latin typeface="Calibri" panose="020F0502020204030204" pitchFamily="34" charset="0"/>
                <a:ea typeface="Times New Roman" panose="02020603050405020304" pitchFamily="18" charset="0"/>
                <a:cs typeface="Times New Roman" panose="02020603050405020304" pitchFamily="18" charset="0"/>
              </a:rPr>
              <a:t>Have a deeper conversation with our solution experts </a:t>
            </a:r>
          </a:p>
          <a:p>
            <a:pPr marL="342900" indent="-342900" defTabSz="932316" fontAlgn="auto">
              <a:lnSpc>
                <a:spcPct val="115000"/>
              </a:lnSpc>
              <a:spcBef>
                <a:spcPts val="0"/>
              </a:spcBef>
              <a:spcAft>
                <a:spcPts val="1000"/>
              </a:spcAft>
              <a:buFont typeface="Arial" panose="020B0604020202020204" pitchFamily="34" charset="0"/>
              <a:buChar char="•"/>
              <a:tabLst>
                <a:tab pos="457200" algn="l"/>
              </a:tabLst>
              <a:defRPr/>
            </a:pPr>
            <a:r>
              <a:rPr lang="en-US" sz="1400" dirty="0" smtClean="0">
                <a:latin typeface="Calibri" panose="020F0502020204030204" pitchFamily="34" charset="0"/>
                <a:ea typeface="Times New Roman" panose="02020603050405020304" pitchFamily="18" charset="0"/>
                <a:cs typeface="Times New Roman" panose="02020603050405020304" pitchFamily="18" charset="0"/>
              </a:rPr>
              <a:t>Explore Microsoft’s datacenters (datacenter tour)</a:t>
            </a:r>
          </a:p>
          <a:p>
            <a:pPr marL="342900" indent="-342900" defTabSz="932316" fontAlgn="auto">
              <a:lnSpc>
                <a:spcPct val="115000"/>
              </a:lnSpc>
              <a:spcBef>
                <a:spcPts val="0"/>
              </a:spcBef>
              <a:spcAft>
                <a:spcPts val="1000"/>
              </a:spcAft>
              <a:buFont typeface="Arial" panose="020B0604020202020204" pitchFamily="34" charset="0"/>
              <a:buChar char="•"/>
              <a:tabLst>
                <a:tab pos="457200" algn="l"/>
              </a:tabLst>
              <a:defRPr/>
            </a:pPr>
            <a:r>
              <a:rPr lang="en-US" sz="1400" dirty="0" smtClean="0">
                <a:latin typeface="Calibri" panose="020F0502020204030204" pitchFamily="34" charset="0"/>
                <a:ea typeface="Times New Roman" panose="02020603050405020304" pitchFamily="18" charset="0"/>
                <a:cs typeface="Times New Roman" panose="02020603050405020304" pitchFamily="18" charset="0"/>
              </a:rPr>
              <a:t>Experience our solutions first-hand with our customer Immersion Programs.</a:t>
            </a:r>
            <a:endParaRPr lang="en-US" sz="1224" kern="1200" dirty="0">
              <a:solidFill>
                <a:schemeClr val="tx1"/>
              </a:solidFill>
              <a:latin typeface="+mn-lt"/>
              <a:ea typeface="ＭＳ Ｐゴシック" charset="0"/>
              <a:cs typeface="ＭＳ Ｐゴシック" charset="0"/>
            </a:endParaRPr>
          </a:p>
        </p:txBody>
      </p:sp>
      <p:sp>
        <p:nvSpPr>
          <p:cNvPr id="7270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ADC7B58D-8C5A-FF4A-8EB7-452E1BD4F18E}" type="slidenum">
              <a:rPr lang="en-US">
                <a:solidFill>
                  <a:prstClr val="black"/>
                </a:solidFill>
                <a:latin typeface="Calibri" charset="0"/>
              </a:rPr>
              <a:pPr defTabSz="931863" fontAlgn="base">
                <a:spcBef>
                  <a:spcPct val="0"/>
                </a:spcBef>
                <a:spcAft>
                  <a:spcPct val="0"/>
                </a:spcAft>
              </a:pPr>
              <a:t>28</a:t>
            </a:fld>
            <a:endParaRPr lang="en-US">
              <a:solidFill>
                <a:prstClr val="black"/>
              </a:solidFill>
              <a:latin typeface="Calibri" charset="0"/>
            </a:endParaRPr>
          </a:p>
        </p:txBody>
      </p:sp>
    </p:spTree>
    <p:extLst>
      <p:ext uri="{BB962C8B-B14F-4D97-AF65-F5344CB8AC3E}">
        <p14:creationId xmlns:p14="http://schemas.microsoft.com/office/powerpoint/2010/main" val="6678661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dirty="0">
              <a:ea typeface="+mn-ea"/>
              <a:cs typeface="+mn-cs"/>
            </a:endParaRPr>
          </a:p>
        </p:txBody>
      </p:sp>
      <p:sp>
        <p:nvSpPr>
          <p:cNvPr id="73731"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60EFB8A9-8AD4-9B47-81B0-7D0AC993A1A1}" type="slidenum">
              <a:rPr lang="en-US">
                <a:solidFill>
                  <a:prstClr val="black"/>
                </a:solidFill>
                <a:latin typeface="Calibri" charset="0"/>
              </a:rPr>
              <a:pPr defTabSz="931863" fontAlgn="base">
                <a:spcBef>
                  <a:spcPct val="0"/>
                </a:spcBef>
                <a:spcAft>
                  <a:spcPct val="0"/>
                </a:spcAft>
              </a:pPr>
              <a:t>29</a:t>
            </a:fld>
            <a:endParaRPr lang="en-US">
              <a:solidFill>
                <a:prstClr val="black"/>
              </a:solidFill>
              <a:latin typeface="Calibri" charset="0"/>
            </a:endParaRPr>
          </a:p>
        </p:txBody>
      </p:sp>
    </p:spTree>
    <p:extLst>
      <p:ext uri="{BB962C8B-B14F-4D97-AF65-F5344CB8AC3E}">
        <p14:creationId xmlns:p14="http://schemas.microsoft.com/office/powerpoint/2010/main" val="34633080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fontScale="70000" lnSpcReduction="20000"/>
          </a:bodyPr>
          <a:lstStyle/>
          <a:p>
            <a:pPr defTabSz="932316" fontAlgn="auto">
              <a:spcBef>
                <a:spcPts val="0"/>
              </a:spcBef>
              <a:spcAft>
                <a:spcPts val="0"/>
              </a:spcAft>
              <a:defRPr/>
            </a:pPr>
            <a:r>
              <a:rPr lang="en-US" sz="1224" b="1" kern="1200" dirty="0" smtClean="0">
                <a:solidFill>
                  <a:schemeClr val="tx1"/>
                </a:solidFill>
                <a:latin typeface="+mn-lt"/>
                <a:ea typeface="ＭＳ Ｐゴシック" charset="0"/>
                <a:cs typeface="ＭＳ Ｐゴシック" charset="0"/>
              </a:rPr>
              <a:t>OPTIONAL SLIDE</a:t>
            </a: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pPr defTabSz="932316" fontAlgn="auto">
              <a:lnSpc>
                <a:spcPct val="115000"/>
              </a:lnSpc>
              <a:spcBef>
                <a:spcPts val="0"/>
              </a:spcBef>
              <a:spcAft>
                <a:spcPts val="1000"/>
              </a:spcAft>
              <a:defRPr/>
            </a:pPr>
            <a:r>
              <a:rPr lang="en-US" sz="1400"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sz="1400" dirty="0" smtClean="0">
                <a:latin typeface="Calibri" panose="020F0502020204030204" pitchFamily="34" charset="0"/>
                <a:ea typeface="Times New Roman" panose="02020603050405020304" pitchFamily="18" charset="0"/>
                <a:cs typeface="Times New Roman" panose="02020603050405020304" pitchFamily="18" charset="0"/>
              </a:rPr>
              <a:t>Optional single conversation slide – use to go deeper into the</a:t>
            </a:r>
            <a:r>
              <a:rPr lang="en-US" sz="1400" baseline="0" dirty="0" smtClean="0">
                <a:latin typeface="Calibri" panose="020F0502020204030204" pitchFamily="34" charset="0"/>
                <a:ea typeface="Times New Roman" panose="02020603050405020304" pitchFamily="18" charset="0"/>
                <a:cs typeface="Times New Roman" panose="02020603050405020304" pitchFamily="18" charset="0"/>
              </a:rPr>
              <a:t> Empower enterprise mobility conversation</a:t>
            </a:r>
            <a:r>
              <a:rPr lang="en-US" sz="1400" dirty="0" smtClean="0">
                <a:latin typeface="Calibri" panose="020F0502020204030204" pitchFamily="34" charset="0"/>
                <a:ea typeface="Times New Roman" panose="02020603050405020304" pitchFamily="18" charset="0"/>
                <a:cs typeface="Times New Roman" panose="02020603050405020304" pitchFamily="18" charset="0"/>
              </a:rPr>
              <a:t>/ benefit of the Microsoft Clou</a:t>
            </a:r>
            <a:r>
              <a:rPr lang="en-US" sz="1400" baseline="0" dirty="0" smtClean="0">
                <a:latin typeface="Calibri" panose="020F0502020204030204" pitchFamily="34" charset="0"/>
                <a:ea typeface="Times New Roman" panose="02020603050405020304" pitchFamily="18" charset="0"/>
                <a:cs typeface="Times New Roman" panose="02020603050405020304" pitchFamily="18" charset="0"/>
              </a:rPr>
              <a:t>d Platform.</a:t>
            </a:r>
            <a:endParaRPr lang="en-US" sz="1400" dirty="0" smtClean="0">
              <a:latin typeface="Calibri" panose="020F0502020204030204" pitchFamily="34" charset="0"/>
              <a:ea typeface="Times New Roman" panose="02020603050405020304" pitchFamily="18" charset="0"/>
              <a:cs typeface="Times New Roman" panose="02020603050405020304" pitchFamily="18" charset="0"/>
            </a:endParaRPr>
          </a:p>
          <a:p>
            <a:pPr defTabSz="932316" fontAlgn="auto">
              <a:lnSpc>
                <a:spcPct val="115000"/>
              </a:lnSpc>
              <a:spcBef>
                <a:spcPts val="0"/>
              </a:spcBef>
              <a:spcAft>
                <a:spcPts val="1000"/>
              </a:spcAft>
              <a:defRPr/>
            </a:pPr>
            <a:r>
              <a:rPr lang="en-US" sz="1400" dirty="0" smtClean="0">
                <a:latin typeface="Calibri" panose="020F0502020204030204" pitchFamily="34" charset="0"/>
                <a:ea typeface="Times New Roman" panose="02020603050405020304" pitchFamily="18" charset="0"/>
                <a:cs typeface="Times New Roman" panose="02020603050405020304" pitchFamily="18" charset="0"/>
              </a:rPr>
              <a:t> </a:t>
            </a:r>
          </a:p>
          <a:p>
            <a:pPr defTabSz="932316" fontAlgn="auto">
              <a:lnSpc>
                <a:spcPct val="115000"/>
              </a:lnSpc>
              <a:spcBef>
                <a:spcPts val="0"/>
              </a:spcBef>
              <a:spcAft>
                <a:spcPts val="1000"/>
              </a:spcAft>
              <a:defRPr/>
            </a:pPr>
            <a:r>
              <a:rPr lang="en-US" sz="1400" b="1" dirty="0" smtClean="0">
                <a:latin typeface="Calibri" panose="020F0502020204030204" pitchFamily="34" charset="0"/>
                <a:ea typeface="Times New Roman" panose="02020603050405020304" pitchFamily="18" charset="0"/>
                <a:cs typeface="Times New Roman" panose="02020603050405020304" pitchFamily="18" charset="0"/>
              </a:rPr>
              <a:t>Slide talk track:</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ＭＳ Ｐゴシック" charset="0"/>
                <a:cs typeface="ＭＳ Ｐゴシック" charset="0"/>
              </a:rPr>
              <a:t>Enterprise mobility suite from Microsoft unifies user, data, and device management in a people-centric approach to give employees the freedom to work productively from anywhere on virtually any device—with full, protected access monitored and managed easily and effectively by IT.</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ＭＳ Ｐゴシック" charset="0"/>
                <a:cs typeface="ＭＳ Ｐゴシック" charset="0"/>
              </a:rPr>
              <a:t>Microsoft advocates a people-centric approach to managing enterprise mobility.  We have strong capabilities to manage user identity, devices, and data protection—all to help address three constants: empowering users, protecting data, and controlling costs and resources.</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ＭＳ Ｐゴシック" charset="0"/>
                <a:cs typeface="ＭＳ Ｐゴシック" charset="0"/>
              </a:rPr>
              <a:t>The Microsoft</a:t>
            </a:r>
            <a:r>
              <a:rPr lang="en-US" sz="900" kern="1200" baseline="0" dirty="0" smtClean="0">
                <a:solidFill>
                  <a:schemeClr val="tx1"/>
                </a:solidFill>
                <a:effectLst/>
                <a:latin typeface="Segoe UI Light" pitchFamily="34" charset="0"/>
                <a:ea typeface="ＭＳ Ｐゴシック" charset="0"/>
                <a:cs typeface="ＭＳ Ｐゴシック" charset="0"/>
              </a:rPr>
              <a:t> </a:t>
            </a:r>
            <a:r>
              <a:rPr lang="en-US" sz="900" kern="1200" dirty="0" smtClean="0">
                <a:solidFill>
                  <a:schemeClr val="tx1"/>
                </a:solidFill>
                <a:effectLst/>
                <a:latin typeface="Segoe UI Light" pitchFamily="34" charset="0"/>
                <a:ea typeface="ＭＳ Ｐゴシック" charset="0"/>
                <a:cs typeface="ＭＳ Ｐゴシック" charset="0"/>
              </a:rPr>
              <a:t>people-centric approach builds on existing investments and skills and offers a credible one-vendor solution to customers looking to rationalize their environment.</a:t>
            </a:r>
          </a:p>
          <a:p>
            <a:pPr marL="171450" indent="-171450">
              <a:buFont typeface="Arial" panose="020B0604020202020204" pitchFamily="34" charset="0"/>
              <a:buChar char="•"/>
            </a:pPr>
            <a:r>
              <a:rPr lang="en-US" sz="1200" b="1" kern="1200" dirty="0" smtClean="0">
                <a:solidFill>
                  <a:schemeClr val="tx1"/>
                </a:solidFill>
                <a:effectLst/>
                <a:latin typeface="+mn-lt"/>
                <a:ea typeface="ＭＳ Ｐゴシック" charset="0"/>
                <a:cs typeface="ＭＳ Ｐゴシック" charset="0"/>
              </a:rPr>
              <a:t>Empower your users: </a:t>
            </a:r>
            <a:r>
              <a:rPr lang="en-US" sz="900" kern="1200" dirty="0" smtClean="0">
                <a:solidFill>
                  <a:schemeClr val="tx1"/>
                </a:solidFill>
                <a:effectLst/>
                <a:latin typeface="Segoe UI Light" pitchFamily="34" charset="0"/>
                <a:ea typeface="ＭＳ Ｐゴシック" charset="0"/>
                <a:cs typeface="ＭＳ Ｐゴシック" charset="0"/>
              </a:rPr>
              <a:t>Enable users to be more productive by providing consistent self-service access to corporate apps and data across a wide range of devices</a:t>
            </a:r>
            <a:r>
              <a:rPr lang="en-US" sz="1200" kern="1200" dirty="0" smtClean="0">
                <a:solidFill>
                  <a:schemeClr val="tx1"/>
                </a:solidFill>
                <a:effectLst/>
                <a:latin typeface="+mn-lt"/>
                <a:ea typeface="ＭＳ Ｐゴシック" charset="0"/>
                <a:cs typeface="ＭＳ Ｐゴシック" charset="0"/>
              </a:rPr>
              <a:t>.  </a:t>
            </a: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Enable users to work on the device of their choice. </a:t>
            </a: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Enhance end-user productivity with self-service and SSO experiences.</a:t>
            </a: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ccess company resources consistently across devices.</a:t>
            </a:r>
          </a:p>
          <a:p>
            <a:pPr marL="636588" lvl="1" indent="-171450">
              <a:buFont typeface="Arial" panose="020B0604020202020204" pitchFamily="34" charset="0"/>
              <a:buChar char="•"/>
            </a:pPr>
            <a:r>
              <a:rPr lang="en-US" sz="1400" dirty="0" smtClean="0">
                <a:effectLst/>
              </a:rPr>
              <a:t>Support modern work styles.</a:t>
            </a:r>
          </a:p>
          <a:p>
            <a:pPr marL="171450" indent="-171450">
              <a:buFont typeface="Arial" panose="020B0604020202020204" pitchFamily="34" charset="0"/>
              <a:buChar char="•"/>
            </a:pPr>
            <a:r>
              <a:rPr lang="en-US" sz="1200" b="1" kern="1200" dirty="0" smtClean="0">
                <a:solidFill>
                  <a:schemeClr val="tx1"/>
                </a:solidFill>
                <a:effectLst/>
                <a:latin typeface="+mn-lt"/>
                <a:ea typeface="ＭＳ Ｐゴシック" charset="0"/>
                <a:cs typeface="ＭＳ Ｐゴシック" charset="0"/>
              </a:rPr>
              <a:t>Help IT protect your data:</a:t>
            </a:r>
            <a:r>
              <a:rPr lang="en-US" sz="1200" b="1" kern="1200" baseline="0" dirty="0" smtClean="0">
                <a:solidFill>
                  <a:schemeClr val="tx1"/>
                </a:solidFill>
                <a:effectLst/>
                <a:latin typeface="+mn-lt"/>
                <a:ea typeface="ＭＳ Ｐゴシック" charset="0"/>
                <a:cs typeface="ＭＳ Ｐゴシック" charset="0"/>
              </a:rPr>
              <a:t> </a:t>
            </a:r>
            <a:r>
              <a:rPr lang="en-US" sz="900" kern="1200" dirty="0" smtClean="0">
                <a:solidFill>
                  <a:schemeClr val="tx1"/>
                </a:solidFill>
                <a:effectLst/>
                <a:latin typeface="Segoe UI Light" pitchFamily="34" charset="0"/>
                <a:ea typeface="ＭＳ Ｐゴシック" charset="0"/>
                <a:cs typeface="ＭＳ Ｐゴシック" charset="0"/>
              </a:rPr>
              <a:t>Build on existing technology and skillset investments, extend workloads to the cloud for efficiency and increased functionality, and build a forward-looking approach to managing the technologies your people use to be as productive as possible</a:t>
            </a:r>
            <a:r>
              <a:rPr lang="en-US" sz="1200" kern="1200" dirty="0" smtClean="0">
                <a:solidFill>
                  <a:schemeClr val="tx1"/>
                </a:solidFill>
                <a:effectLst/>
                <a:latin typeface="+mn-lt"/>
                <a:ea typeface="ＭＳ Ｐゴシック" charset="0"/>
                <a:cs typeface="ＭＳ Ｐゴシック" charset="0"/>
              </a:rPr>
              <a:t>.</a:t>
            </a: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Protect corporate information with remote data and application control.</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Deliver policy-based access control to corporate applications and data.</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Enable selective wipe for lost or stolen devices.</a:t>
            </a:r>
          </a:p>
          <a:p>
            <a:pPr marL="171450" indent="-171450">
              <a:buFont typeface="Arial" panose="020B0604020202020204" pitchFamily="34" charset="0"/>
              <a:buChar char="•"/>
            </a:pPr>
            <a:r>
              <a:rPr lang="en-US" sz="1200" b="1" kern="1200" dirty="0" smtClean="0">
                <a:solidFill>
                  <a:schemeClr val="tx1"/>
                </a:solidFill>
                <a:effectLst/>
                <a:latin typeface="Segoe UI Light" pitchFamily="34" charset="0"/>
                <a:ea typeface="ＭＳ Ｐゴシック" charset="0"/>
                <a:cs typeface="ＭＳ Ｐゴシック" charset="0"/>
              </a:rPr>
              <a:t>Unify your environment</a:t>
            </a:r>
            <a:r>
              <a:rPr lang="en-US" sz="1200" b="1" kern="1200" baseline="0" dirty="0" smtClean="0">
                <a:solidFill>
                  <a:schemeClr val="tx1"/>
                </a:solidFill>
                <a:effectLst/>
                <a:latin typeface="Segoe UI Light" pitchFamily="34" charset="0"/>
                <a:ea typeface="ＭＳ Ｐゴシック" charset="0"/>
                <a:cs typeface="ＭＳ Ｐゴシック" charset="0"/>
              </a:rPr>
              <a:t>: </a:t>
            </a:r>
            <a:r>
              <a:rPr lang="en-US" sz="900" kern="1200" dirty="0" smtClean="0">
                <a:solidFill>
                  <a:schemeClr val="tx1"/>
                </a:solidFill>
                <a:effectLst/>
                <a:latin typeface="Segoe UI Light" pitchFamily="34" charset="0"/>
                <a:ea typeface="ＭＳ Ｐゴシック" charset="0"/>
                <a:cs typeface="ＭＳ Ｐゴシック" charset="0"/>
              </a:rPr>
              <a:t>Give IT the tools to protect corporate data, manage devices, and ensure users have approved access on approved devices</a:t>
            </a:r>
            <a:r>
              <a:rPr lang="en-US" sz="1200" kern="1200" dirty="0" smtClean="0">
                <a:solidFill>
                  <a:schemeClr val="tx1"/>
                </a:solidFill>
                <a:effectLst/>
                <a:latin typeface="Segoe UI Light" pitchFamily="34" charset="0"/>
                <a:ea typeface="ＭＳ Ｐゴシック" charset="0"/>
                <a:cs typeface="ＭＳ Ｐゴシック" charset="0"/>
              </a:rPr>
              <a:t>. </a:t>
            </a:r>
          </a:p>
          <a:p>
            <a:pPr marL="636588" lvl="1" indent="-171450">
              <a:buFont typeface="Arial" panose="020B0604020202020204" pitchFamily="34" charset="0"/>
              <a:buChar char="•"/>
            </a:pPr>
            <a:r>
              <a:rPr lang="en-US" sz="1200" kern="1200" dirty="0" smtClean="0">
                <a:solidFill>
                  <a:schemeClr val="tx1"/>
                </a:solidFill>
                <a:effectLst/>
                <a:latin typeface="Segoe UI Light" pitchFamily="34" charset="0"/>
                <a:ea typeface="ＭＳ Ｐゴシック" charset="0"/>
                <a:cs typeface="ＭＳ Ｐゴシック" charset="0"/>
              </a:rPr>
              <a:t>Access on-premises and in the cloud resources with common identity.</a:t>
            </a:r>
          </a:p>
          <a:p>
            <a:pPr marL="636588" lvl="1" indent="-171450">
              <a:buFont typeface="Arial" panose="020B0604020202020204" pitchFamily="34" charset="0"/>
              <a:buChar char="•"/>
            </a:pPr>
            <a:r>
              <a:rPr lang="en-US" sz="1200" kern="1200" dirty="0" smtClean="0">
                <a:solidFill>
                  <a:schemeClr val="tx1"/>
                </a:solidFill>
                <a:effectLst/>
                <a:latin typeface="Segoe UI Light" pitchFamily="34" charset="0"/>
                <a:ea typeface="ＭＳ Ｐゴシック" charset="0"/>
                <a:cs typeface="ＭＳ Ｐゴシック" charset="0"/>
              </a:rPr>
              <a:t>Unify management of on-premises and cloud-based devices.</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Segoe UI Light" pitchFamily="34" charset="0"/>
                <a:ea typeface="ＭＳ Ｐゴシック" charset="0"/>
                <a:cs typeface="ＭＳ Ｐゴシック" charset="0"/>
              </a:rPr>
              <a:t>Provide comprehensive settings management across platforms.</a:t>
            </a:r>
          </a:p>
          <a:p>
            <a:pPr marL="465138" lvl="1" indent="0">
              <a:buFont typeface="Arial" panose="020B0604020202020204" pitchFamily="34" charset="0"/>
              <a:buNone/>
            </a:pPr>
            <a:endParaRPr lang="en-US" sz="1400" dirty="0" smtClean="0">
              <a:effectLst/>
            </a:endParaRPr>
          </a:p>
          <a:p>
            <a:endParaRPr lang="en-US" sz="1400" b="1" dirty="0" smtClean="0">
              <a:latin typeface="Calibri" panose="020F0502020204030204" pitchFamily="34" charset="0"/>
              <a:ea typeface="Times New Roman" panose="02020603050405020304" pitchFamily="18" charset="0"/>
              <a:cs typeface="Times New Roman" panose="02020603050405020304" pitchFamily="18" charset="0"/>
            </a:endParaRPr>
          </a:p>
        </p:txBody>
      </p:sp>
      <p:sp>
        <p:nvSpPr>
          <p:cNvPr id="5" name="Footer Placeholder 4"/>
          <p:cNvSpPr>
            <a:spLocks noGrp="1"/>
          </p:cNvSpPr>
          <p:nvPr>
            <p:ph type="ftr" sz="quarter" idx="4"/>
          </p:nvPr>
        </p:nvSpPr>
        <p:spPr>
          <a:xfrm>
            <a:off x="0" y="8829968"/>
            <a:ext cx="3037840" cy="466433"/>
          </a:xfrm>
        </p:spPr>
        <p:txBody>
          <a:bodyPr/>
          <a:lstStyle/>
          <a:p>
            <a:pPr defTabSz="934538"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4538"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1444"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77B339E5-2C5A-964E-A324-80E05A226C75}"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1A6394F6-822C-1448-96C9-DC8FB41C7165}" type="slidenum">
              <a:rPr lang="en-US">
                <a:solidFill>
                  <a:srgbClr val="000000"/>
                </a:solidFill>
                <a:latin typeface="Calibri" charset="0"/>
              </a:rPr>
              <a:pPr defTabSz="931863" fontAlgn="base">
                <a:spcBef>
                  <a:spcPct val="0"/>
                </a:spcBef>
                <a:spcAft>
                  <a:spcPct val="0"/>
                </a:spcAft>
              </a:pPr>
              <a:t>30</a:t>
            </a:fld>
            <a:endParaRPr lang="en-US">
              <a:solidFill>
                <a:srgbClr val="000000"/>
              </a:solidFill>
              <a:latin typeface="Calibri" charset="0"/>
            </a:endParaRPr>
          </a:p>
        </p:txBody>
      </p:sp>
    </p:spTree>
    <p:extLst>
      <p:ext uri="{BB962C8B-B14F-4D97-AF65-F5344CB8AC3E}">
        <p14:creationId xmlns:p14="http://schemas.microsoft.com/office/powerpoint/2010/main" val="293803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fontScale="77500" lnSpcReduction="20000"/>
          </a:bodyPr>
          <a:lstStyle/>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OPTIONAL SLIDE</a:t>
            </a:r>
          </a:p>
          <a:p>
            <a:pPr marL="0" marR="0">
              <a:lnSpc>
                <a:spcPct val="115000"/>
              </a:lnSpc>
              <a:spcBef>
                <a:spcPts val="0"/>
              </a:spcBef>
              <a:spcAft>
                <a:spcPts val="1000"/>
              </a:spcAft>
            </a:pPr>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Key goal of slide: </a:t>
            </a:r>
            <a:r>
              <a:rPr lang="en-US" sz="900" b="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Optional single conversation slide – use to go deeper</a:t>
            </a:r>
            <a:r>
              <a:rPr lang="en-US" sz="900" b="0" baseline="0"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a:t>
            </a:r>
            <a:r>
              <a:rPr lang="en-US" sz="900" dirty="0" smtClean="0">
                <a:solidFill>
                  <a:srgbClr val="595959"/>
                </a:solidFill>
                <a:effectLst/>
                <a:latin typeface="Segoe UI" panose="020B0502040204020203" pitchFamily="34" charset="0"/>
                <a:ea typeface="Calibri" panose="020F0502020204030204" pitchFamily="34" charset="0"/>
              </a:rPr>
              <a:t>on how Microsoft believes organizations can successfully get started on the Internet of Their Things.</a:t>
            </a:r>
          </a:p>
          <a:p>
            <a:endPar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So how do you get started on the Internet of Your Things?</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900" b="1" dirty="0" smtClean="0">
                <a:solidFill>
                  <a:srgbClr val="595959"/>
                </a:solidFill>
                <a:effectLst/>
                <a:latin typeface="Segoe UI" panose="020B0502040204020203" pitchFamily="34" charset="0"/>
                <a:ea typeface="Calibri" panose="020F0502020204030204" pitchFamily="34" charset="0"/>
                <a:cs typeface="Times New Roman" panose="02020603050405020304" pitchFamily="18" charset="0"/>
              </a:rPr>
              <a:t>Slide talk track:</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Internet of Your Things is about starting small, taking what matters most to you, and making the Internet of Your Things a reality.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Internet of Your Things often starts with simple changes that transform the trajectory of your business.</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So what’s the right approach?</a:t>
            </a:r>
            <a:endParaRPr lang="en-US" sz="1800" kern="1200" dirty="0" smtClean="0">
              <a:solidFill>
                <a:schemeClr val="tx1"/>
              </a:solidFill>
              <a:effectLst/>
              <a:latin typeface="+mn-lt"/>
              <a:ea typeface="ＭＳ Ｐゴシック" charset="0"/>
              <a:cs typeface="ＭＳ Ｐゴシック" charset="0"/>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mn-cs"/>
              </a:rPr>
              <a:t>Start by connecting the devices you already have in place, and add a few new ones (note: Microsoft’s Intelligent System Service can help customers connect and manage devices, even if they’re not Windows Embedded devices).</a:t>
            </a:r>
            <a:endParaRPr lang="en-US" sz="1800" kern="1200" dirty="0" smtClean="0">
              <a:solidFill>
                <a:schemeClr val="tx1"/>
              </a:solidFill>
              <a:effectLst/>
              <a:latin typeface="+mn-lt"/>
              <a:ea typeface="ＭＳ Ｐゴシック" charset="0"/>
              <a:cs typeface="+mn-cs"/>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mn-cs"/>
              </a:rPr>
              <a:t>Utilize services and the cloud to jumpstart your efforts – Microsoft delivers a host of innovative cloud, M2M, and data/BI services to accelerate a customer’s </a:t>
            </a:r>
            <a:r>
              <a:rPr lang="en-US" sz="1200" kern="1200" dirty="0" err="1" smtClean="0">
                <a:solidFill>
                  <a:schemeClr val="tx1"/>
                </a:solidFill>
                <a:effectLst/>
                <a:latin typeface="+mn-lt"/>
                <a:ea typeface="ＭＳ Ｐゴシック" charset="0"/>
                <a:cs typeface="+mn-cs"/>
              </a:rPr>
              <a:t>IoT</a:t>
            </a:r>
            <a:r>
              <a:rPr lang="en-US" sz="1200" kern="1200" dirty="0" smtClean="0">
                <a:solidFill>
                  <a:schemeClr val="tx1"/>
                </a:solidFill>
                <a:effectLst/>
                <a:latin typeface="+mn-lt"/>
                <a:ea typeface="ＭＳ Ｐゴシック" charset="0"/>
                <a:cs typeface="+mn-cs"/>
              </a:rPr>
              <a:t> deployment.</a:t>
            </a:r>
            <a:endParaRPr lang="en-US" sz="1800" kern="1200" dirty="0" smtClean="0">
              <a:solidFill>
                <a:schemeClr val="tx1"/>
              </a:solidFill>
              <a:effectLst/>
              <a:latin typeface="+mn-lt"/>
              <a:ea typeface="ＭＳ Ｐゴシック" charset="0"/>
              <a:cs typeface="+mn-cs"/>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mn-cs"/>
              </a:rPr>
              <a:t>Combine the data you already collect – it’s about starting to merge newly “discovered” device data with existing “back-end” data</a:t>
            </a:r>
            <a:endParaRPr lang="en-US" sz="1800" kern="1200" dirty="0" smtClean="0">
              <a:solidFill>
                <a:schemeClr val="tx1"/>
              </a:solidFill>
              <a:effectLst/>
              <a:latin typeface="+mn-lt"/>
              <a:ea typeface="ＭＳ Ｐゴシック" charset="0"/>
              <a:cs typeface="+mn-cs"/>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mn-cs"/>
              </a:rPr>
              <a:t>Generate new insights from this data…</a:t>
            </a:r>
            <a:endParaRPr lang="en-US" sz="1800" kern="1200" dirty="0" smtClean="0">
              <a:solidFill>
                <a:schemeClr val="tx1"/>
              </a:solidFill>
              <a:effectLst/>
              <a:latin typeface="+mn-lt"/>
              <a:ea typeface="ＭＳ Ｐゴシック" charset="0"/>
              <a:cs typeface="+mn-cs"/>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mn-cs"/>
              </a:rPr>
              <a:t>…to create new business value and build organizational momentum</a:t>
            </a:r>
            <a:endParaRPr lang="en-US" sz="1800" kern="1200" dirty="0" smtClean="0">
              <a:solidFill>
                <a:schemeClr val="tx1"/>
              </a:solidFill>
              <a:effectLst/>
              <a:latin typeface="+mn-lt"/>
              <a:ea typeface="ＭＳ Ｐゴシック" charset="0"/>
              <a:cs typeface="+mn-cs"/>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Customers can then expand their </a:t>
            </a:r>
            <a:r>
              <a:rPr lang="en-US" sz="1200" kern="1200" dirty="0" err="1" smtClean="0">
                <a:solidFill>
                  <a:schemeClr val="tx1"/>
                </a:solidFill>
                <a:effectLst/>
                <a:latin typeface="+mn-lt"/>
                <a:ea typeface="ＭＳ Ｐゴシック" charset="0"/>
                <a:cs typeface="ＭＳ Ｐゴシック" charset="0"/>
              </a:rPr>
              <a:t>IoT</a:t>
            </a:r>
            <a:r>
              <a:rPr lang="en-US" sz="1200" kern="1200" dirty="0" smtClean="0">
                <a:solidFill>
                  <a:schemeClr val="tx1"/>
                </a:solidFill>
                <a:effectLst/>
                <a:latin typeface="+mn-lt"/>
                <a:ea typeface="ＭＳ Ｐゴシック" charset="0"/>
                <a:cs typeface="ＭＳ Ｐゴシック" charset="0"/>
              </a:rPr>
              <a:t> efforts by adding new devices, incorporating new services, finding new data… and generating even more business value.</a:t>
            </a:r>
            <a:endParaRPr lang="en-US" sz="1800" kern="1200" dirty="0" smtClean="0">
              <a:solidFill>
                <a:schemeClr val="tx1"/>
              </a:solidFill>
              <a:effectLst/>
              <a:latin typeface="+mn-lt"/>
              <a:ea typeface="ＭＳ Ｐゴシック" charset="0"/>
              <a:cs typeface="ＭＳ Ｐゴシック" charset="0"/>
            </a:endParaRPr>
          </a:p>
          <a:p>
            <a:endParaRPr lang="en-US" dirty="0"/>
          </a:p>
        </p:txBody>
      </p:sp>
      <p:sp>
        <p:nvSpPr>
          <p:cNvPr id="5" name="Footer Placeholder 4"/>
          <p:cNvSpPr>
            <a:spLocks noGrp="1"/>
          </p:cNvSpPr>
          <p:nvPr>
            <p:ph type="ftr" sz="quarter" idx="4"/>
          </p:nvPr>
        </p:nvSpPr>
        <p:spPr>
          <a:xfrm>
            <a:off x="0" y="8829968"/>
            <a:ext cx="3037840" cy="466433"/>
          </a:xfrm>
        </p:spPr>
        <p:txBody>
          <a:bodyPr/>
          <a:lstStyle/>
          <a:p>
            <a:pPr defTabSz="934538"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4538"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1444"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77B339E5-2C5A-964E-A324-80E05A226C75}"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1A6394F6-822C-1448-96C9-DC8FB41C7165}" type="slidenum">
              <a:rPr lang="en-US">
                <a:solidFill>
                  <a:srgbClr val="000000"/>
                </a:solidFill>
                <a:latin typeface="Calibri" charset="0"/>
              </a:rPr>
              <a:pPr defTabSz="931863" fontAlgn="base">
                <a:spcBef>
                  <a:spcPct val="0"/>
                </a:spcBef>
                <a:spcAft>
                  <a:spcPct val="0"/>
                </a:spcAft>
              </a:pPr>
              <a:t>31</a:t>
            </a:fld>
            <a:endParaRPr lang="en-US">
              <a:solidFill>
                <a:srgbClr val="000000"/>
              </a:solidFill>
              <a:latin typeface="Calibri" charset="0"/>
            </a:endParaRPr>
          </a:p>
        </p:txBody>
      </p:sp>
    </p:spTree>
    <p:extLst>
      <p:ext uri="{BB962C8B-B14F-4D97-AF65-F5344CB8AC3E}">
        <p14:creationId xmlns:p14="http://schemas.microsoft.com/office/powerpoint/2010/main" val="2347553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mplate. Customize as necessary</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1:2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316094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52400" y="152400"/>
            <a:ext cx="6623685" cy="8610600"/>
          </a:xfrm>
        </p:spPr>
        <p:txBody>
          <a:bodyPr>
            <a:noAutofit/>
          </a:bodyPr>
          <a:lstStyle/>
          <a:p>
            <a:pPr defTabSz="932316" fontAlgn="auto">
              <a:lnSpc>
                <a:spcPct val="90000"/>
              </a:lnSpc>
              <a:spcBef>
                <a:spcPts val="0"/>
              </a:spcBef>
              <a:spcAft>
                <a:spcPts val="0"/>
              </a:spcAft>
              <a:defRPr/>
            </a:pPr>
            <a:r>
              <a:rPr lang="en-US" sz="1100" b="1" kern="1200" dirty="0" smtClean="0">
                <a:solidFill>
                  <a:schemeClr val="tx1"/>
                </a:solidFill>
                <a:latin typeface="+mn-lt"/>
                <a:ea typeface="ＭＳ Ｐゴシック" charset="0"/>
                <a:cs typeface="ＭＳ Ｐゴシック" charset="0"/>
              </a:rPr>
              <a:t>OPTIONAL SLIDE</a:t>
            </a:r>
          </a:p>
          <a:p>
            <a:pPr defTabSz="932316" fontAlgn="auto">
              <a:lnSpc>
                <a:spcPct val="90000"/>
              </a:lnSpc>
              <a:spcBef>
                <a:spcPts val="0"/>
              </a:spcBef>
              <a:spcAft>
                <a:spcPts val="0"/>
              </a:spcAft>
              <a:defRPr/>
            </a:pPr>
            <a:endParaRPr lang="en-US" sz="1100" kern="1200" dirty="0" smtClean="0">
              <a:solidFill>
                <a:schemeClr val="tx1"/>
              </a:solidFill>
              <a:latin typeface="+mn-lt"/>
              <a:ea typeface="ＭＳ Ｐゴシック" charset="0"/>
              <a:cs typeface="ＭＳ Ｐゴシック" charset="0"/>
            </a:endParaRPr>
          </a:p>
          <a:p>
            <a:pPr defTabSz="932316" fontAlgn="auto">
              <a:spcBef>
                <a:spcPts val="0"/>
              </a:spcBef>
              <a:spcAft>
                <a:spcPts val="1000"/>
              </a:spcAft>
              <a:defRPr/>
            </a:pPr>
            <a:r>
              <a:rPr lang="en-US" sz="1100" b="1" dirty="0" smtClean="0">
                <a:ea typeface="Times New Roman" panose="02020603050405020304" pitchFamily="18" charset="0"/>
                <a:cs typeface="Times New Roman" panose="02020603050405020304" pitchFamily="18" charset="0"/>
              </a:rPr>
              <a:t>Key goal of slide:  </a:t>
            </a:r>
            <a:r>
              <a:rPr lang="en-US" sz="1100" dirty="0" smtClean="0">
                <a:ea typeface="Times New Roman" panose="02020603050405020304" pitchFamily="18" charset="0"/>
                <a:cs typeface="Times New Roman" panose="02020603050405020304" pitchFamily="18" charset="0"/>
              </a:rPr>
              <a:t>Optional single conversation slide – use to go deeper into enable</a:t>
            </a:r>
            <a:r>
              <a:rPr lang="en-US" sz="1100" baseline="0" dirty="0" smtClean="0">
                <a:ea typeface="Times New Roman" panose="02020603050405020304" pitchFamily="18" charset="0"/>
                <a:cs typeface="Times New Roman" panose="02020603050405020304" pitchFamily="18" charset="0"/>
              </a:rPr>
              <a:t> </a:t>
            </a:r>
            <a:r>
              <a:rPr lang="en-US" sz="1100" dirty="0" smtClean="0">
                <a:ea typeface="Times New Roman" panose="02020603050405020304" pitchFamily="18" charset="0"/>
                <a:cs typeface="Times New Roman" panose="02020603050405020304" pitchFamily="18" charset="0"/>
              </a:rPr>
              <a:t>application innovation conversation / benefit of the Microsoft Cloud Platform.</a:t>
            </a:r>
          </a:p>
          <a:p>
            <a:pPr marL="0" marR="0" indent="0" algn="l" defTabSz="932316" rtl="0" eaLnBrk="1" fontAlgn="auto" latinLnBrk="0" hangingPunct="1">
              <a:spcBef>
                <a:spcPts val="0"/>
              </a:spcBef>
              <a:spcAft>
                <a:spcPts val="1000"/>
              </a:spcAft>
              <a:buClrTx/>
              <a:buSzTx/>
              <a:buFontTx/>
              <a:buNone/>
              <a:tabLst/>
              <a:defRPr/>
            </a:pPr>
            <a:r>
              <a:rPr lang="en-US" sz="1100" b="1" dirty="0" smtClean="0">
                <a:ea typeface="Times New Roman" panose="02020603050405020304" pitchFamily="18" charset="0"/>
                <a:cs typeface="Times New Roman" panose="02020603050405020304" pitchFamily="18" charset="0"/>
              </a:rPr>
              <a:t>Slide talk track:</a:t>
            </a:r>
          </a:p>
          <a:p>
            <a:pPr marL="171450" indent="-171450" defTabSz="932316" fontAlgn="auto">
              <a:spcBef>
                <a:spcPts val="0"/>
              </a:spcBef>
              <a:spcAft>
                <a:spcPts val="0"/>
              </a:spcAft>
              <a:buFont typeface="Arial" panose="020B0604020202020204" pitchFamily="34" charset="0"/>
              <a:buChar char="•"/>
              <a:defRPr/>
            </a:pPr>
            <a:r>
              <a:rPr lang="en-US" sz="1100" kern="1200" dirty="0" smtClean="0">
                <a:solidFill>
                  <a:schemeClr val="tx1"/>
                </a:solidFill>
                <a:effectLst/>
              </a:rPr>
              <a:t>For technology to be the strategic asset of the business, consistently driving positive outcomes, you need more than another quick fix. </a:t>
            </a:r>
          </a:p>
          <a:p>
            <a:pPr marL="171450" indent="-171450" defTabSz="932316" fontAlgn="auto">
              <a:spcBef>
                <a:spcPts val="0"/>
              </a:spcBef>
              <a:spcAft>
                <a:spcPts val="0"/>
              </a:spcAft>
              <a:buFont typeface="Arial" panose="020B0604020202020204" pitchFamily="34" charset="0"/>
              <a:buChar char="•"/>
              <a:defRPr/>
            </a:pPr>
            <a:r>
              <a:rPr lang="en-US" sz="1100" kern="1200" dirty="0" smtClean="0">
                <a:solidFill>
                  <a:schemeClr val="tx1"/>
                </a:solidFill>
                <a:effectLst/>
              </a:rPr>
              <a:t>You need:</a:t>
            </a:r>
          </a:p>
          <a:p>
            <a:pPr marL="636588" lvl="1" indent="-171450" defTabSz="932316" fontAlgn="auto">
              <a:spcBef>
                <a:spcPts val="0"/>
              </a:spcBef>
              <a:spcAft>
                <a:spcPts val="0"/>
              </a:spcAft>
              <a:buFont typeface="Arial"/>
              <a:buChar char="•"/>
              <a:defRPr/>
            </a:pPr>
            <a:r>
              <a:rPr lang="en-US" sz="1100" kern="1200" dirty="0" smtClean="0">
                <a:solidFill>
                  <a:schemeClr val="tx1"/>
                </a:solidFill>
                <a:effectLst/>
              </a:rPr>
              <a:t>to deliver the right applications for the business faster, with higher levels of quality and accountability. </a:t>
            </a:r>
          </a:p>
          <a:p>
            <a:pPr marL="636588" lvl="1" indent="-171450" defTabSz="932316" fontAlgn="auto">
              <a:spcBef>
                <a:spcPts val="0"/>
              </a:spcBef>
              <a:spcAft>
                <a:spcPts val="0"/>
              </a:spcAft>
              <a:buFont typeface="Arial"/>
              <a:buChar char="•"/>
              <a:defRPr/>
            </a:pPr>
            <a:r>
              <a:rPr lang="en-US" sz="1100" kern="1200" dirty="0" smtClean="0">
                <a:solidFill>
                  <a:schemeClr val="tx1"/>
                </a:solidFill>
                <a:effectLst/>
              </a:rPr>
              <a:t>integrated development tools and an approach that drive productivity and agility—across your development teams, your apps, and your release cycles. </a:t>
            </a:r>
          </a:p>
          <a:p>
            <a:pPr marL="636588" lvl="1" indent="-171450" defTabSz="932316" fontAlgn="auto">
              <a:spcBef>
                <a:spcPts val="0"/>
              </a:spcBef>
              <a:spcAft>
                <a:spcPts val="0"/>
              </a:spcAft>
              <a:buFont typeface="Arial"/>
              <a:buChar char="•"/>
              <a:defRPr/>
            </a:pPr>
            <a:r>
              <a:rPr lang="en-US" sz="1100" kern="1200" dirty="0" smtClean="0">
                <a:solidFill>
                  <a:schemeClr val="tx1"/>
                </a:solidFill>
                <a:effectLst/>
              </a:rPr>
              <a:t>a flexible way to connect legacy applications with new—to interoperate, securely—so you can proactively support new business opportunities. </a:t>
            </a:r>
          </a:p>
          <a:p>
            <a:pPr marL="636588" lvl="1" indent="-171450" defTabSz="932316" fontAlgn="auto">
              <a:spcBef>
                <a:spcPts val="0"/>
              </a:spcBef>
              <a:spcAft>
                <a:spcPts val="0"/>
              </a:spcAft>
              <a:buFont typeface="Arial"/>
              <a:buChar char="•"/>
              <a:defRPr/>
            </a:pPr>
            <a:r>
              <a:rPr lang="en-US" sz="1100" kern="1200" dirty="0" smtClean="0">
                <a:solidFill>
                  <a:schemeClr val="tx1"/>
                </a:solidFill>
                <a:effectLst/>
              </a:rPr>
              <a:t>to infuse data into your applications and business so it works for you and doesn’t just pile up. </a:t>
            </a:r>
          </a:p>
          <a:p>
            <a:pPr defTabSz="932316" fontAlgn="auto">
              <a:spcBef>
                <a:spcPts val="0"/>
              </a:spcBef>
              <a:spcAft>
                <a:spcPts val="0"/>
              </a:spcAft>
              <a:defRPr/>
            </a:pPr>
            <a:endParaRPr lang="en-US" sz="1100" dirty="0" smtClean="0"/>
          </a:p>
          <a:p>
            <a:pPr defTabSz="932316" fontAlgn="auto">
              <a:spcBef>
                <a:spcPts val="0"/>
              </a:spcBef>
              <a:spcAft>
                <a:spcPts val="0"/>
              </a:spcAft>
              <a:defRPr/>
            </a:pPr>
            <a:r>
              <a:rPr lang="en-US" sz="1100" b="1" dirty="0" smtClean="0"/>
              <a:t>Microsoft helps you do this by enabling application innovation to deliver: </a:t>
            </a:r>
            <a:r>
              <a:rPr lang="en-US" sz="1100" dirty="0" smtClean="0"/>
              <a:t>(use </a:t>
            </a:r>
            <a:r>
              <a:rPr lang="en-US" sz="1100" i="1" dirty="0" smtClean="0"/>
              <a:t>detailed proof </a:t>
            </a:r>
            <a:r>
              <a:rPr lang="en-US" sz="1100" dirty="0" smtClean="0"/>
              <a:t>as needed)</a:t>
            </a:r>
            <a:endParaRPr lang="en-US" sz="1100" kern="1200" dirty="0" smtClean="0">
              <a:solidFill>
                <a:schemeClr val="tx1"/>
              </a:solidFill>
              <a:effectLst/>
            </a:endParaRPr>
          </a:p>
          <a:p>
            <a:pPr marL="171450" indent="-171450" defTabSz="932316" fontAlgn="auto">
              <a:spcBef>
                <a:spcPts val="0"/>
              </a:spcBef>
              <a:spcAft>
                <a:spcPts val="0"/>
              </a:spcAft>
              <a:buFont typeface="Courier New" panose="02070309020205020404" pitchFamily="49" charset="0"/>
              <a:buChar char="o"/>
              <a:defRPr/>
            </a:pPr>
            <a:r>
              <a:rPr lang="en-US" sz="1100" b="1" dirty="0" smtClean="0"/>
              <a:t>Rapid development cycles </a:t>
            </a:r>
            <a:r>
              <a:rPr lang="en-US" sz="1100" dirty="0" smtClean="0"/>
              <a:t>– and increased responsiveness – delivering more value to the business.</a:t>
            </a:r>
          </a:p>
          <a:p>
            <a:pPr marL="636588" lvl="1" indent="-171450" defTabSz="932316" fontAlgn="auto">
              <a:spcBef>
                <a:spcPts val="0"/>
              </a:spcBef>
              <a:spcAft>
                <a:spcPts val="0"/>
              </a:spcAft>
              <a:buFont typeface="Arial"/>
              <a:buChar char="•"/>
              <a:defRPr/>
            </a:pPr>
            <a:r>
              <a:rPr lang="en-US" sz="1000" i="1" dirty="0" smtClean="0"/>
              <a:t>Reduce time to market of new applications by providing better development tools and services through Visual Studio and Azure.</a:t>
            </a:r>
          </a:p>
          <a:p>
            <a:pPr marL="636588" lvl="1" indent="-171450" defTabSz="932316" fontAlgn="auto">
              <a:spcBef>
                <a:spcPts val="0"/>
              </a:spcBef>
              <a:spcAft>
                <a:spcPts val="0"/>
              </a:spcAft>
              <a:buFont typeface="Arial"/>
              <a:buChar char="•"/>
              <a:defRPr/>
            </a:pPr>
            <a:r>
              <a:rPr lang="en-US" sz="1000" i="1" dirty="0" smtClean="0"/>
              <a:t>Embrace agile with Microsoft’s built-in support for the latest agile business and software development methodologies.</a:t>
            </a:r>
          </a:p>
          <a:p>
            <a:pPr marL="636588" lvl="1" indent="-171450" defTabSz="932316" fontAlgn="auto">
              <a:spcBef>
                <a:spcPts val="0"/>
              </a:spcBef>
              <a:spcAft>
                <a:spcPts val="0"/>
              </a:spcAft>
              <a:buFont typeface="Arial"/>
              <a:buChar char="•"/>
              <a:defRPr/>
            </a:pPr>
            <a:r>
              <a:rPr lang="en-US" sz="1000" i="1" dirty="0" smtClean="0"/>
              <a:t>Plan, build, and ship faster across platforms allowing your teams to get up and running quickly through Visual Studio Online.</a:t>
            </a:r>
          </a:p>
          <a:p>
            <a:pPr marL="636588" lvl="1" indent="-171450" defTabSz="932316" fontAlgn="auto">
              <a:spcBef>
                <a:spcPts val="0"/>
              </a:spcBef>
              <a:spcAft>
                <a:spcPts val="0"/>
              </a:spcAft>
              <a:buFont typeface="Arial"/>
              <a:buChar char="•"/>
              <a:defRPr/>
            </a:pPr>
            <a:r>
              <a:rPr lang="en-US" sz="1000" i="1" dirty="0" smtClean="0"/>
              <a:t>Move your team forward using familiar development tools to accelerate learning of new models.</a:t>
            </a:r>
          </a:p>
          <a:p>
            <a:pPr marL="636588" lvl="1" indent="-171450" defTabSz="932316" fontAlgn="auto">
              <a:spcBef>
                <a:spcPts val="0"/>
              </a:spcBef>
              <a:spcAft>
                <a:spcPts val="0"/>
              </a:spcAft>
              <a:buFont typeface="Arial"/>
              <a:buChar char="•"/>
              <a:defRPr/>
            </a:pPr>
            <a:r>
              <a:rPr lang="en-US" sz="1000" i="1" dirty="0" smtClean="0"/>
              <a:t>Simplify how you manage on-premises and cloud development through Visual Studio Online, the consolidated, cloud-based ecosystem.</a:t>
            </a:r>
          </a:p>
          <a:p>
            <a:pPr marL="636588" lvl="1" indent="-171450" defTabSz="932316" fontAlgn="auto">
              <a:spcBef>
                <a:spcPts val="0"/>
              </a:spcBef>
              <a:spcAft>
                <a:spcPts val="0"/>
              </a:spcAft>
              <a:buFont typeface="Arial"/>
              <a:buChar char="•"/>
              <a:defRPr/>
            </a:pPr>
            <a:r>
              <a:rPr lang="en-US" sz="1000" i="1" dirty="0" smtClean="0"/>
              <a:t>Drive innovation by getting more value from existing resources using Microsoft’s individually tailored, incremental learning programs. </a:t>
            </a:r>
          </a:p>
          <a:p>
            <a:pPr marL="171450" indent="-171450" defTabSz="932316" fontAlgn="auto">
              <a:spcBef>
                <a:spcPts val="0"/>
              </a:spcBef>
              <a:spcAft>
                <a:spcPts val="0"/>
              </a:spcAft>
              <a:buFont typeface="Courier New" panose="02070309020205020404" pitchFamily="49" charset="0"/>
              <a:buChar char="o"/>
              <a:defRPr/>
            </a:pPr>
            <a:r>
              <a:rPr lang="en-US" sz="1100" b="1" dirty="0" smtClean="0"/>
              <a:t>A flexible application platform </a:t>
            </a:r>
            <a:r>
              <a:rPr lang="en-US" sz="1100" dirty="0" smtClean="0"/>
              <a:t>– for today’s applications and those in the future </a:t>
            </a:r>
          </a:p>
          <a:p>
            <a:pPr marL="636588" lvl="1" indent="-171450" defTabSz="932316" fontAlgn="auto">
              <a:spcBef>
                <a:spcPts val="0"/>
              </a:spcBef>
              <a:spcAft>
                <a:spcPts val="0"/>
              </a:spcAft>
              <a:buFont typeface="Arial"/>
              <a:buChar char="•"/>
              <a:defRPr/>
            </a:pPr>
            <a:r>
              <a:rPr lang="en-US" sz="1000" i="1" dirty="0" smtClean="0"/>
              <a:t>Get the most from a single-vendor solution across on-premises and the cloud using Microsoft’s flexible platform.</a:t>
            </a:r>
          </a:p>
          <a:p>
            <a:pPr marL="636588" lvl="1" indent="-171450" defTabSz="932316" fontAlgn="auto">
              <a:spcBef>
                <a:spcPts val="0"/>
              </a:spcBef>
              <a:spcAft>
                <a:spcPts val="0"/>
              </a:spcAft>
              <a:buFont typeface="Arial"/>
              <a:buChar char="•"/>
              <a:defRPr/>
            </a:pPr>
            <a:r>
              <a:rPr lang="en-US" sz="1000" i="1" dirty="0" smtClean="0"/>
              <a:t>Create, use, and deliver insight in context by integrating big, small, and all data across applications and user experiences.</a:t>
            </a:r>
          </a:p>
          <a:p>
            <a:pPr marL="636588" lvl="1" indent="-171450" defTabSz="932316" fontAlgn="auto">
              <a:spcBef>
                <a:spcPts val="0"/>
              </a:spcBef>
              <a:spcAft>
                <a:spcPts val="0"/>
              </a:spcAft>
              <a:buFont typeface="Arial"/>
              <a:buChar char="•"/>
              <a:defRPr/>
            </a:pPr>
            <a:r>
              <a:rPr lang="en-US" sz="1000" i="1" dirty="0" smtClean="0"/>
              <a:t>Integrate new application innovations with existing assets across on-premises and the cloud using Microsoft’s platform.</a:t>
            </a:r>
          </a:p>
          <a:p>
            <a:pPr marL="636588" lvl="1" indent="-171450" defTabSz="932316" fontAlgn="auto">
              <a:spcBef>
                <a:spcPts val="0"/>
              </a:spcBef>
              <a:spcAft>
                <a:spcPts val="0"/>
              </a:spcAft>
              <a:buFont typeface="Arial"/>
              <a:buChar char="•"/>
              <a:defRPr/>
            </a:pPr>
            <a:r>
              <a:rPr lang="en-US" sz="1000" i="1" dirty="0" smtClean="0"/>
              <a:t>Easily integrate non-Microsoft applications and services to create new solutions using Visual Studio 2013 and BizTalk Server.</a:t>
            </a:r>
          </a:p>
          <a:p>
            <a:pPr marL="636588" lvl="1" indent="-171450" defTabSz="932316" fontAlgn="auto">
              <a:spcBef>
                <a:spcPts val="0"/>
              </a:spcBef>
              <a:spcAft>
                <a:spcPts val="0"/>
              </a:spcAft>
              <a:buFont typeface="Arial"/>
              <a:buChar char="•"/>
              <a:defRPr/>
            </a:pPr>
            <a:r>
              <a:rPr lang="en-US" sz="1000" i="1" dirty="0" smtClean="0"/>
              <a:t>Run non-Microsoft applications and operating systems such as Linux in the Microsoft Cloud.</a:t>
            </a:r>
          </a:p>
          <a:p>
            <a:pPr marL="636588" lvl="1" indent="-171450" defTabSz="932316" fontAlgn="auto">
              <a:spcBef>
                <a:spcPts val="0"/>
              </a:spcBef>
              <a:spcAft>
                <a:spcPts val="0"/>
              </a:spcAft>
              <a:buFont typeface="Arial"/>
              <a:buChar char="•"/>
              <a:defRPr/>
            </a:pPr>
            <a:r>
              <a:rPr lang="en-US" sz="1000" i="1" dirty="0" smtClean="0"/>
              <a:t>Deliver new customer experiences targeting any device, including Android, iOS, or Windows, that is standards-based and connected to a unified back-end.</a:t>
            </a:r>
          </a:p>
          <a:p>
            <a:pPr marL="171450" indent="-171450" defTabSz="932316" fontAlgn="auto">
              <a:spcBef>
                <a:spcPts val="0"/>
              </a:spcBef>
              <a:spcAft>
                <a:spcPts val="0"/>
              </a:spcAft>
              <a:buFont typeface="Courier New" panose="02070309020205020404" pitchFamily="49" charset="0"/>
              <a:buChar char="o"/>
              <a:defRPr/>
            </a:pPr>
            <a:r>
              <a:rPr lang="en-US" sz="1100" b="1" dirty="0" smtClean="0"/>
              <a:t>Enterprise-proven capabilities </a:t>
            </a:r>
            <a:r>
              <a:rPr lang="en-US" sz="1100" dirty="0" smtClean="0"/>
              <a:t>– to help you implement change without taking unnecessary risks.</a:t>
            </a:r>
          </a:p>
          <a:p>
            <a:pPr marL="636588" lvl="1" indent="-171450">
              <a:buFont typeface="Arial"/>
              <a:buChar char="•"/>
            </a:pPr>
            <a:r>
              <a:rPr lang="en-US" sz="1200" i="1" kern="1200" dirty="0" smtClean="0">
                <a:solidFill>
                  <a:schemeClr val="tx1"/>
                </a:solidFill>
                <a:effectLst/>
                <a:latin typeface="+mn-lt"/>
                <a:ea typeface="ＭＳ Ｐゴシック" charset="0"/>
                <a:cs typeface="+mn-cs"/>
              </a:rPr>
              <a:t>Build on your existing investments to support opportunities today and tomorrow using Microsoft’s flexible platform.</a:t>
            </a:r>
            <a:endParaRPr lang="en-US" sz="1200" kern="1200" dirty="0" smtClean="0">
              <a:solidFill>
                <a:schemeClr val="tx1"/>
              </a:solidFill>
              <a:effectLst/>
              <a:latin typeface="+mn-lt"/>
              <a:ea typeface="ＭＳ Ｐゴシック" charset="0"/>
              <a:cs typeface="+mn-cs"/>
            </a:endParaRPr>
          </a:p>
          <a:p>
            <a:pPr marL="636588" lvl="1" indent="-171450">
              <a:buFont typeface="Arial"/>
              <a:buChar char="•"/>
            </a:pPr>
            <a:r>
              <a:rPr lang="en-US" sz="1200" i="1" kern="1200" dirty="0" smtClean="0">
                <a:solidFill>
                  <a:schemeClr val="tx1"/>
                </a:solidFill>
                <a:effectLst/>
                <a:latin typeface="+mn-lt"/>
                <a:ea typeface="ＭＳ Ｐゴシック" charset="0"/>
                <a:cs typeface="+mn-cs"/>
              </a:rPr>
              <a:t>Benefit from the 25 years of Microsoft and partners experience of building reliable and scalable enterprise application environments. </a:t>
            </a:r>
            <a:endParaRPr lang="en-US" sz="1200" kern="1200" dirty="0" smtClean="0">
              <a:solidFill>
                <a:schemeClr val="tx1"/>
              </a:solidFill>
              <a:effectLst/>
              <a:latin typeface="+mn-lt"/>
              <a:ea typeface="ＭＳ Ｐゴシック" charset="0"/>
              <a:cs typeface="+mn-cs"/>
            </a:endParaRPr>
          </a:p>
          <a:p>
            <a:pPr marL="636588" lvl="1" indent="-171450">
              <a:buFont typeface="Arial"/>
              <a:buChar char="•"/>
            </a:pPr>
            <a:r>
              <a:rPr lang="en-US" sz="1200" i="1" kern="1200" dirty="0" smtClean="0">
                <a:solidFill>
                  <a:schemeClr val="tx1"/>
                </a:solidFill>
                <a:effectLst/>
                <a:latin typeface="+mn-lt"/>
                <a:ea typeface="ＭＳ Ｐゴシック" charset="0"/>
                <a:cs typeface="+mn-cs"/>
              </a:rPr>
              <a:t>Deliver positive business outcomes, drawing from the largest and most comprehensive enterprise-ready developer ecosystem.</a:t>
            </a:r>
            <a:endParaRPr lang="en-US" sz="1200" kern="1200" dirty="0" smtClean="0">
              <a:solidFill>
                <a:schemeClr val="tx1"/>
              </a:solidFill>
              <a:effectLst/>
              <a:latin typeface="+mn-lt"/>
              <a:ea typeface="ＭＳ Ｐゴシック" charset="0"/>
              <a:cs typeface="+mn-cs"/>
            </a:endParaRPr>
          </a:p>
          <a:p>
            <a:pPr marL="636588" lvl="1" indent="-171450">
              <a:buFont typeface="Arial"/>
              <a:buChar char="•"/>
            </a:pPr>
            <a:r>
              <a:rPr lang="en-US" sz="1200" i="1" kern="1200" dirty="0" smtClean="0">
                <a:solidFill>
                  <a:schemeClr val="tx1"/>
                </a:solidFill>
                <a:effectLst/>
                <a:latin typeface="+mn-lt"/>
                <a:ea typeface="ＭＳ Ｐゴシック" charset="0"/>
                <a:cs typeface="+mn-cs"/>
              </a:rPr>
              <a:t>Reduce exposure to attacks through Microsoft’s best-of-breed threat protection, detection, and removal practices.</a:t>
            </a:r>
            <a:endParaRPr lang="en-US" sz="1200" kern="1200" dirty="0" smtClean="0">
              <a:solidFill>
                <a:schemeClr val="tx1"/>
              </a:solidFill>
              <a:effectLst/>
              <a:latin typeface="+mn-lt"/>
              <a:ea typeface="ＭＳ Ｐゴシック" charset="0"/>
              <a:cs typeface="+mn-cs"/>
            </a:endParaRPr>
          </a:p>
          <a:p>
            <a:pPr marL="636588" lvl="1" indent="-171450">
              <a:buFont typeface="Arial"/>
              <a:buChar char="•"/>
            </a:pPr>
            <a:r>
              <a:rPr lang="en-US" sz="1200" i="1" kern="1200" dirty="0" smtClean="0">
                <a:solidFill>
                  <a:schemeClr val="tx1"/>
                </a:solidFill>
                <a:effectLst/>
                <a:latin typeface="+mn-lt"/>
                <a:ea typeface="ＭＳ Ｐゴシック" charset="0"/>
                <a:cs typeface="+mn-cs"/>
              </a:rPr>
              <a:t>Gain peace of mind with the Microsoft Azure scalable, durable cloud storage, backup, and recovery solutions.</a:t>
            </a:r>
            <a:endParaRPr lang="en-US" sz="1200" kern="1200" dirty="0" smtClean="0">
              <a:solidFill>
                <a:schemeClr val="tx1"/>
              </a:solidFill>
              <a:effectLst/>
              <a:latin typeface="+mn-lt"/>
              <a:ea typeface="ＭＳ Ｐゴシック" charset="0"/>
              <a:cs typeface="+mn-cs"/>
            </a:endParaRPr>
          </a:p>
          <a:p>
            <a:pPr marL="636588" lvl="1" indent="-171450">
              <a:buFont typeface="Arial"/>
              <a:buChar char="•"/>
            </a:pPr>
            <a:r>
              <a:rPr lang="en-US" sz="1200" i="1" kern="1200" dirty="0" smtClean="0">
                <a:solidFill>
                  <a:schemeClr val="tx1"/>
                </a:solidFill>
                <a:effectLst/>
                <a:latin typeface="+mn-lt"/>
                <a:ea typeface="ＭＳ Ｐゴシック" charset="0"/>
                <a:cs typeface="+mn-cs"/>
              </a:rPr>
              <a:t>Get enterprise-grade 24x7 global support and world-class partners to help ensure reliability and security.</a:t>
            </a:r>
            <a:endParaRPr lang="en-US" sz="1200" kern="1200" dirty="0" smtClean="0">
              <a:solidFill>
                <a:schemeClr val="tx1"/>
              </a:solidFill>
              <a:effectLst/>
              <a:latin typeface="+mn-lt"/>
              <a:ea typeface="ＭＳ Ｐゴシック" charset="0"/>
              <a:cs typeface="+mn-cs"/>
            </a:endParaRPr>
          </a:p>
          <a:p>
            <a:pPr marL="171450" indent="-171450" defTabSz="932316" fontAlgn="auto">
              <a:spcBef>
                <a:spcPts val="0"/>
              </a:spcBef>
              <a:spcAft>
                <a:spcPts val="0"/>
              </a:spcAft>
              <a:buFont typeface="Arial"/>
              <a:buChar char="•"/>
              <a:defRPr/>
            </a:pPr>
            <a:endParaRPr lang="en-US" sz="1100" dirty="0"/>
          </a:p>
        </p:txBody>
      </p:sp>
      <p:sp>
        <p:nvSpPr>
          <p:cNvPr id="68613"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316BD12A-EE0B-214B-A6B3-C5A40BA30226}" type="slidenum">
              <a:rPr lang="en-US">
                <a:solidFill>
                  <a:srgbClr val="000000"/>
                </a:solidFill>
                <a:latin typeface="Calibri" charset="0"/>
              </a:rPr>
              <a:pPr defTabSz="931863" fontAlgn="base">
                <a:spcBef>
                  <a:spcPct val="0"/>
                </a:spcBef>
                <a:spcAft>
                  <a:spcPct val="0"/>
                </a:spcAft>
              </a:pPr>
              <a:t>32</a:t>
            </a:fld>
            <a:endParaRPr lang="en-US">
              <a:solidFill>
                <a:srgbClr val="000000"/>
              </a:solidFill>
              <a:latin typeface="Calibri" charset="0"/>
            </a:endParaRPr>
          </a:p>
        </p:txBody>
      </p:sp>
    </p:spTree>
    <p:extLst>
      <p:ext uri="{BB962C8B-B14F-4D97-AF65-F5344CB8AC3E}">
        <p14:creationId xmlns:p14="http://schemas.microsoft.com/office/powerpoint/2010/main" val="42801979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fontScale="32500" lnSpcReduction="20000"/>
          </a:bodyPr>
          <a:lstStyle/>
          <a:p>
            <a:r>
              <a:rPr lang="en-US" sz="1200" b="1" kern="1200" dirty="0" smtClean="0">
                <a:solidFill>
                  <a:schemeClr val="tx1"/>
                </a:solidFill>
                <a:effectLst/>
                <a:latin typeface="+mn-lt"/>
                <a:ea typeface="ＭＳ Ｐゴシック" charset="0"/>
                <a:cs typeface="ＭＳ Ｐゴシック" charset="0"/>
              </a:rPr>
              <a:t>Key goal of slide:  </a:t>
            </a:r>
            <a:r>
              <a:rPr lang="en-US" sz="1200" kern="1200" dirty="0" smtClean="0">
                <a:solidFill>
                  <a:schemeClr val="tx1"/>
                </a:solidFill>
                <a:effectLst/>
                <a:latin typeface="+mn-lt"/>
                <a:ea typeface="ＭＳ Ｐゴシック" charset="0"/>
                <a:cs typeface="ＭＳ Ｐゴシック" charset="0"/>
              </a:rPr>
              <a:t>Optional single conversation slide – use to go deeper into data insights conversation / benefit of the Microsoft Cloud Platform.  Gives you the opportunity to set the stage for the current data problem, illustrate Microsoft’s solution to the data problem through core benefits of our complete data platform, and give the audience next steps.</a:t>
            </a:r>
            <a:endParaRPr lang="en-US" sz="1800" kern="1200" dirty="0" smtClean="0">
              <a:solidFill>
                <a:schemeClr val="tx1"/>
              </a:solidFill>
              <a:effectLst/>
              <a:latin typeface="+mn-lt"/>
              <a:ea typeface="ＭＳ Ｐゴシック" charset="0"/>
              <a:cs typeface="ＭＳ Ｐゴシック" charset="0"/>
            </a:endParaRPr>
          </a:p>
          <a:p>
            <a:r>
              <a:rPr lang="en-US" sz="1200" b="1" kern="1200" dirty="0" smtClean="0">
                <a:solidFill>
                  <a:schemeClr val="tx1"/>
                </a:solidFill>
                <a:effectLst/>
                <a:latin typeface="+mn-lt"/>
                <a:ea typeface="ＭＳ Ｐゴシック" charset="0"/>
                <a:cs typeface="ＭＳ Ｐゴシック" charset="0"/>
              </a:rPr>
              <a:t> </a:t>
            </a:r>
            <a:endParaRPr lang="en-US" sz="1800" kern="1200" dirty="0" smtClean="0">
              <a:solidFill>
                <a:schemeClr val="tx1"/>
              </a:solidFill>
              <a:effectLst/>
              <a:latin typeface="+mn-lt"/>
              <a:ea typeface="ＭＳ Ｐゴシック" charset="0"/>
              <a:cs typeface="ＭＳ Ｐゴシック" charset="0"/>
            </a:endParaRPr>
          </a:p>
          <a:p>
            <a:r>
              <a:rPr lang="en-US" sz="1200" b="1" kern="1200" dirty="0" smtClean="0">
                <a:solidFill>
                  <a:schemeClr val="tx1"/>
                </a:solidFill>
                <a:effectLst/>
                <a:latin typeface="+mn-lt"/>
                <a:ea typeface="ＭＳ Ｐゴシック" charset="0"/>
                <a:cs typeface="ＭＳ Ｐゴシック" charset="0"/>
              </a:rPr>
              <a:t>Slide talk track:</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What asset is most leveraged by today’s thriving companies? Data.</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We believe data will be a key differentiator for businesses today and </a:t>
            </a:r>
            <a:br>
              <a:rPr lang="en-US" sz="1200" kern="1200" dirty="0" smtClean="0">
                <a:solidFill>
                  <a:schemeClr val="tx1"/>
                </a:solidFill>
                <a:effectLst/>
                <a:latin typeface="+mn-lt"/>
                <a:ea typeface="ＭＳ Ｐゴシック" charset="0"/>
                <a:cs typeface="ＭＳ Ｐゴシック" charset="0"/>
              </a:rPr>
            </a:br>
            <a:r>
              <a:rPr lang="en-US" sz="1200" kern="1200" dirty="0" smtClean="0">
                <a:solidFill>
                  <a:schemeClr val="tx1"/>
                </a:solidFill>
                <a:effectLst/>
                <a:latin typeface="+mn-lt"/>
                <a:ea typeface="ＭＳ Ｐゴシック" charset="0"/>
                <a:cs typeface="ＭＳ Ｐゴシック" charset="0"/>
              </a:rPr>
              <a:t>in the future.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You constantly hear in the news about new ways in which businesses are using data as a competitive advantage and how people in those organizations are making fast, informed decisions like never before possible.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The special ingredients to creating a data-driven business are twofold:</a:t>
            </a:r>
            <a:endParaRPr lang="en-US" sz="1800" kern="1200" dirty="0" smtClean="0">
              <a:solidFill>
                <a:schemeClr val="tx1"/>
              </a:solidFill>
              <a:effectLst/>
              <a:latin typeface="+mn-lt"/>
              <a:ea typeface="ＭＳ Ｐゴシック" charset="0"/>
              <a:cs typeface="ＭＳ Ｐゴシック" charset="0"/>
            </a:endParaRPr>
          </a:p>
          <a:p>
            <a:pPr marL="636588" lvl="1" indent="-171450">
              <a:buFont typeface="Arial"/>
              <a:buChar char="•"/>
            </a:pPr>
            <a:r>
              <a:rPr lang="en-US" sz="1200" kern="1200" dirty="0" smtClean="0">
                <a:solidFill>
                  <a:schemeClr val="tx1"/>
                </a:solidFill>
                <a:effectLst/>
                <a:latin typeface="+mn-lt"/>
                <a:ea typeface="ＭＳ Ｐゴシック" charset="0"/>
                <a:cs typeface="+mn-cs"/>
              </a:rPr>
              <a:t>Empower a culture of data: allow everyone in the organization to become data-driven decision makers</a:t>
            </a:r>
            <a:endParaRPr lang="en-US" sz="1800" kern="1200" dirty="0" smtClean="0">
              <a:solidFill>
                <a:schemeClr val="tx1"/>
              </a:solidFill>
              <a:effectLst/>
              <a:latin typeface="+mn-lt"/>
              <a:ea typeface="ＭＳ Ｐゴシック" charset="0"/>
              <a:cs typeface="+mn-cs"/>
            </a:endParaRPr>
          </a:p>
          <a:p>
            <a:pPr marL="636588" lvl="1" indent="-171450">
              <a:buFont typeface="Arial"/>
              <a:buChar char="•"/>
            </a:pPr>
            <a:r>
              <a:rPr lang="en-US" sz="1200" kern="1200" dirty="0" smtClean="0">
                <a:solidFill>
                  <a:schemeClr val="tx1"/>
                </a:solidFill>
                <a:effectLst/>
                <a:latin typeface="+mn-lt"/>
                <a:ea typeface="ＭＳ Ｐゴシック" charset="0"/>
                <a:cs typeface="+mn-cs"/>
              </a:rPr>
              <a:t>Establish a data lifecycle method that accelerates the flow of data across the organization</a:t>
            </a:r>
            <a:endParaRPr lang="en-US" sz="1800" kern="1200" dirty="0" smtClean="0">
              <a:solidFill>
                <a:schemeClr val="tx1"/>
              </a:solidFill>
              <a:effectLst/>
              <a:latin typeface="+mn-lt"/>
              <a:ea typeface="ＭＳ Ｐゴシック" charset="0"/>
              <a:cs typeface="+mn-cs"/>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The data lifecycle can be broken into three important parts:</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First, how do you capture and then manage all of the data coming into the business? Think about the existing velocity and volume of data across a company. Now add new data types such as unstructured and streaming data into the mix. We need to make it easier to store all of this data and prepare it for the next step in the journey.</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Second, when we have data captured and managed, we then need to make it useful to everyone in the organization. Our ability to transform and then analyze all data types more efficiently ensures that data doesn’t lose speed as it moves to the next step.</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Third, now that the data is ready we can visualize that data and make decisions.  Ask a question—and because we have done the good work to capture, manage, transform, and analyze that data—we get a visual, thought-provoking answer to our question.</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When you combine all of this with the Microsoft data platform with an end-to-end approach, that gives you the flexibility you need to derive results.  Results that deliver the data dividends you are looking for.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Microsoft can help you advance along the data spectrum, providing the right levels of innovation and value. </a:t>
            </a:r>
            <a:endParaRPr lang="en-US" sz="1800" kern="1200" dirty="0" smtClean="0">
              <a:solidFill>
                <a:schemeClr val="tx1"/>
              </a:solidFill>
              <a:effectLst/>
              <a:latin typeface="+mn-lt"/>
              <a:ea typeface="ＭＳ Ｐゴシック" charset="0"/>
              <a:cs typeface="ＭＳ Ｐゴシック" charset="0"/>
            </a:endParaRPr>
          </a:p>
          <a:p>
            <a:r>
              <a:rPr lang="en-US" sz="1200" b="1" kern="1200" dirty="0" smtClean="0">
                <a:solidFill>
                  <a:schemeClr val="tx1"/>
                </a:solidFill>
                <a:effectLst/>
                <a:latin typeface="+mn-lt"/>
                <a:ea typeface="ＭＳ Ｐゴシック" charset="0"/>
                <a:cs typeface="ＭＳ Ｐゴシック" charset="0"/>
              </a:rPr>
              <a:t>First, capture, and manage diverse data types with breakthrough speed.</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In order to get the most out of data, you have to eliminate the old data barriers from a storage and processing perspective.</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Microsoft provides the most flexible way to store and manage any data, of any size.</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What if you could have a single place where you can capture and store any kind of data with what we like to call “bottomless storage” capacity that is fast and highly available by design?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The ability to effectively capture and manage any data of any size is dramatically improved when you eliminate constraints through a flexible approach that provides both on-premises and cloud-based storage and management capabilities.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Microsoft delivers this through SQL Server and Microsoft Azure, with such capabilities as in-memory OLTP, our partnership with </a:t>
            </a:r>
            <a:r>
              <a:rPr lang="en-US" sz="1200" kern="1200" dirty="0" err="1" smtClean="0">
                <a:solidFill>
                  <a:schemeClr val="tx1"/>
                </a:solidFill>
                <a:effectLst/>
                <a:latin typeface="+mn-lt"/>
                <a:ea typeface="ＭＳ Ｐゴシック" charset="0"/>
                <a:cs typeface="ＭＳ Ｐゴシック" charset="0"/>
              </a:rPr>
              <a:t>Hortonworks</a:t>
            </a:r>
            <a:r>
              <a:rPr lang="en-US" sz="1200" kern="1200" dirty="0" smtClean="0">
                <a:solidFill>
                  <a:schemeClr val="tx1"/>
                </a:solidFill>
                <a:effectLst/>
                <a:latin typeface="+mn-lt"/>
                <a:ea typeface="ＭＳ Ｐゴシック" charset="0"/>
                <a:cs typeface="ＭＳ Ｐゴシック" charset="0"/>
              </a:rPr>
              <a:t>, and our built-in backup and disaster recovery solutions.</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You can pick the right capabilities, whether they be SQL Server on-premises, hybrid, or Microsoft Azure.</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Now, you have the ability to store and manage any data, of any size, so that the organization can capitalize on the raw potential of this data and quickly move along to the next step in the data journey.</a:t>
            </a:r>
            <a:endParaRPr lang="en-US" sz="1800" kern="1200" dirty="0" smtClean="0">
              <a:solidFill>
                <a:schemeClr val="tx1"/>
              </a:solidFill>
              <a:effectLst/>
              <a:latin typeface="+mn-lt"/>
              <a:ea typeface="ＭＳ Ｐゴシック" charset="0"/>
              <a:cs typeface="ＭＳ Ｐゴシック" charset="0"/>
            </a:endParaRPr>
          </a:p>
          <a:p>
            <a:r>
              <a:rPr lang="en-US" sz="1200" kern="1200" dirty="0" smtClean="0">
                <a:solidFill>
                  <a:schemeClr val="tx1"/>
                </a:solidFill>
                <a:effectLst/>
                <a:latin typeface="+mn-lt"/>
                <a:ea typeface="ＭＳ Ｐゴシック" charset="0"/>
                <a:cs typeface="ＭＳ Ｐゴシック" charset="0"/>
              </a:rPr>
              <a:t> </a:t>
            </a:r>
            <a:endParaRPr lang="en-US" sz="1800" kern="1200" dirty="0" smtClean="0">
              <a:solidFill>
                <a:schemeClr val="tx1"/>
              </a:solidFill>
              <a:effectLst/>
              <a:latin typeface="+mn-lt"/>
              <a:ea typeface="ＭＳ Ｐゴシック" charset="0"/>
              <a:cs typeface="ＭＳ Ｐゴシック" charset="0"/>
            </a:endParaRPr>
          </a:p>
          <a:p>
            <a:r>
              <a:rPr lang="en-US" sz="1200" b="1" kern="1200" dirty="0" smtClean="0">
                <a:solidFill>
                  <a:schemeClr val="tx1"/>
                </a:solidFill>
                <a:effectLst/>
                <a:latin typeface="+mn-lt"/>
                <a:ea typeface="ＭＳ Ｐゴシック" charset="0"/>
                <a:cs typeface="ＭＳ Ｐゴシック" charset="0"/>
              </a:rPr>
              <a:t>Second, transform and analyze data for anyone to access anywhere.</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Now that we have our data captured and well managed, it is time to move to the next step in the data journey and that’s to make it useful for the whole organization.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It is this step of the data lifecycle where the science happens to effectively model, analyze, and prepare data for consumption across the organization.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Reflect on the recent days of the process necessary to transform and prepare relational data in your monolithic data warehouse. By the time the data was ready for consumption, it was already out of date.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Now think about the need to provide near or real-time data to make faster, better, decisions. Then stack on top of that the desire to analyze data to predict what is going on from the many instrumented things. Now you have potentially thousands of people across the company creating new models.  How do you ensure they are both discoverable and well-managed?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Our goal is to enable you to make data accessible and consumable by everyone, anywhere. That is a lofty aspiration that we have been working to realize for a number of years.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We want to make it easier for you to transform and operationalize data through our analytics advancements in SQL Server.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We bring in predictive analytics through Microsoft Azure ML, allowing you to proactively monitor systems and processes.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Finally, the cherry on top is creating a company-wide catalog of models and solutions that allow everyone to discover and use the amazing insights discovered by peers. This provides the trust necessary for developing a data-driven culture.</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All of this helps you reduce the cost of curiosity by developing an environment that fosters self-service and exploration, so that people can independently visualize data, and make well-informed and timely decisions—the next step in the data lifecycle.</a:t>
            </a:r>
            <a:endParaRPr lang="en-US" sz="1800" kern="1200" dirty="0" smtClean="0">
              <a:solidFill>
                <a:schemeClr val="tx1"/>
              </a:solidFill>
              <a:effectLst/>
              <a:latin typeface="+mn-lt"/>
              <a:ea typeface="ＭＳ Ｐゴシック" charset="0"/>
              <a:cs typeface="ＭＳ Ｐゴシック" charset="0"/>
            </a:endParaRPr>
          </a:p>
          <a:p>
            <a:r>
              <a:rPr lang="en-US" sz="1200" b="1" kern="1200" dirty="0" smtClean="0">
                <a:solidFill>
                  <a:schemeClr val="tx1"/>
                </a:solidFill>
                <a:effectLst/>
                <a:latin typeface="+mn-lt"/>
                <a:ea typeface="ＭＳ Ｐゴシック" charset="0"/>
                <a:cs typeface="ＭＳ Ｐゴシック" charset="0"/>
              </a:rPr>
              <a:t>Third, visualize and make decisions based on your data.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This is the big payoff moment: when you have well-managed and curated data, people are capable of mixing, matching, visualizing, refining, and ultimately, making the best decisions possible. All of our hard work surfaces here.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My head spins at the sheer volume of data visualization solutions out in the market. Everyone is claiming that they have the latest, best, most advanced data visualization and decision support tools. The problem is that it represents another thing for people to learn—and for you to manage. If the data is not prepared and ready to consume, those shiny tools will not work as advertised.</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Microsoft’s secret weapon, well not that secret, is Excel. Over a billion people use Excel to make decisions. Over the past years, we have worked hard to build advanced visualization and in-memory capabilities for Excel so that it is the one familiar place everyone can go to visualize and decide.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With Power BI, we’ve overlaid powerful visualization and business intelligence capabilities.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With Q&amp;A, we have the ability to ask simple questions against the prepared data models to return rich charts and graphs. You are not required to retrain people. They are immediately up to speed in Excel and excited about the new ways in which they can interact with data.</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Since Excel works with Office 365 and SharePoint, you can easily share and appropriately scale ideas—anywhere, on any device. </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Imagine all of the ad hoc moments where someone can quickly search, find what they are looking for, and present those insights to a customer or peer?</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That is the power of Microsoft’s complete data platform. Everything works together to support the self-service capabilities that drive the required data culture necessary to extract as much value from your data investments as possible.</a:t>
            </a:r>
            <a:endParaRPr lang="en-US" sz="1800" kern="1200" dirty="0" smtClean="0">
              <a:solidFill>
                <a:schemeClr val="tx1"/>
              </a:solidFill>
              <a:effectLst/>
              <a:latin typeface="+mn-lt"/>
              <a:ea typeface="ＭＳ Ｐゴシック" charset="0"/>
              <a:cs typeface="ＭＳ Ｐゴシック" charset="0"/>
            </a:endParaRPr>
          </a:p>
          <a:p>
            <a:pPr marL="0" indent="0">
              <a:buFont typeface="Arial"/>
              <a:buNone/>
            </a:pPr>
            <a:r>
              <a:rPr lang="en-US" sz="1200" kern="1200" dirty="0" smtClean="0">
                <a:solidFill>
                  <a:schemeClr val="tx1"/>
                </a:solidFill>
                <a:effectLst/>
                <a:latin typeface="+mn-lt"/>
                <a:ea typeface="ＭＳ Ｐゴシック" charset="0"/>
                <a:cs typeface="ＭＳ Ｐゴシック" charset="0"/>
              </a:rPr>
              <a:t>In summary, our Cloud Platform is helping organizations like yourselves unlock insights on any data with tools that facilitate a data journey, providing the ability to:</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Capture and manage diverse data types with breakthrough speed</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Transform and analyze data for anyone to access anywhere</a:t>
            </a:r>
            <a:endParaRPr lang="en-US" sz="1800" kern="1200" dirty="0" smtClean="0">
              <a:solidFill>
                <a:schemeClr val="tx1"/>
              </a:solidFill>
              <a:effectLst/>
              <a:latin typeface="+mn-lt"/>
              <a:ea typeface="ＭＳ Ｐゴシック" charset="0"/>
              <a:cs typeface="ＭＳ Ｐゴシック" charset="0"/>
            </a:endParaRPr>
          </a:p>
          <a:p>
            <a:pPr marL="171450" lvl="0" indent="-171450">
              <a:buFont typeface="Arial"/>
              <a:buChar char="•"/>
            </a:pPr>
            <a:r>
              <a:rPr lang="en-US" sz="1200" kern="1200" dirty="0" smtClean="0">
                <a:solidFill>
                  <a:schemeClr val="tx1"/>
                </a:solidFill>
                <a:effectLst/>
                <a:latin typeface="+mn-lt"/>
                <a:ea typeface="ＭＳ Ｐゴシック" charset="0"/>
                <a:cs typeface="ＭＳ Ｐゴシック" charset="0"/>
              </a:rPr>
              <a:t>Visualize your data and make decisions based on it</a:t>
            </a:r>
            <a:endParaRPr lang="en-US" sz="1800" kern="1200" dirty="0" smtClean="0">
              <a:solidFill>
                <a:schemeClr val="tx1"/>
              </a:solidFill>
              <a:effectLst/>
              <a:latin typeface="+mn-lt"/>
              <a:ea typeface="ＭＳ Ｐゴシック" charset="0"/>
              <a:cs typeface="ＭＳ Ｐゴシック" charset="0"/>
            </a:endParaRPr>
          </a:p>
          <a:p>
            <a:r>
              <a:rPr lang="en-US" sz="1200" kern="1200" dirty="0" smtClean="0">
                <a:solidFill>
                  <a:schemeClr val="tx1"/>
                </a:solidFill>
                <a:effectLst/>
                <a:latin typeface="+mn-lt"/>
                <a:ea typeface="ＭＳ Ｐゴシック" charset="0"/>
                <a:cs typeface="ＭＳ Ｐゴシック" charset="0"/>
              </a:rPr>
              <a:t> </a:t>
            </a:r>
            <a:endParaRPr lang="en-US" sz="1800" kern="1200" dirty="0" smtClean="0">
              <a:solidFill>
                <a:schemeClr val="tx1"/>
              </a:solidFill>
              <a:effectLst/>
              <a:latin typeface="+mn-lt"/>
              <a:ea typeface="ＭＳ Ｐゴシック" charset="0"/>
              <a:cs typeface="ＭＳ Ｐゴシック" charset="0"/>
            </a:endParaRPr>
          </a:p>
          <a:p>
            <a:r>
              <a:rPr lang="en-US" sz="1200" kern="1200" dirty="0" smtClean="0">
                <a:solidFill>
                  <a:schemeClr val="tx1"/>
                </a:solidFill>
                <a:effectLst/>
                <a:latin typeface="+mn-lt"/>
                <a:ea typeface="ＭＳ Ｐゴシック" charset="0"/>
                <a:cs typeface="ＭＳ Ｐゴシック" charset="0"/>
              </a:rPr>
              <a:t>All of this creates a breakthrough differentiated solution that allows you to move much faster from raw data to meaningful insights that can lead to action and business value.</a:t>
            </a:r>
            <a:endParaRPr lang="en-US" sz="3200" dirty="0">
              <a:ea typeface="+mn-ea"/>
              <a:cs typeface="+mn-cs"/>
            </a:endParaRPr>
          </a:p>
        </p:txBody>
      </p:sp>
      <p:sp>
        <p:nvSpPr>
          <p:cNvPr id="63491"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r>
              <a:rPr lang="en-US">
                <a:solidFill>
                  <a:srgbClr val="000000"/>
                </a:solidFill>
                <a:latin typeface="Calibri" charset="0"/>
              </a:rPr>
              <a:t>Build 2012</a:t>
            </a:r>
          </a:p>
        </p:txBody>
      </p:sp>
      <p:sp>
        <p:nvSpPr>
          <p:cNvPr id="5" name="Footer Placeholder 4"/>
          <p:cNvSpPr>
            <a:spLocks noGrp="1"/>
          </p:cNvSpPr>
          <p:nvPr>
            <p:ph type="ftr" sz="quarter" idx="4"/>
          </p:nvPr>
        </p:nvSpPr>
        <p:spPr>
          <a:xfrm>
            <a:off x="0" y="8829968"/>
            <a:ext cx="3037840" cy="466433"/>
          </a:xfrm>
        </p:spPr>
        <p:txBody>
          <a:bodyPr/>
          <a:lstStyle/>
          <a:p>
            <a:pPr defTabSz="934538"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4538"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3493"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467D57E-F849-D34F-86DD-EB02BE13B22C}"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63494"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7211CEF2-6A15-4241-B329-F27331C0CB72}" type="slidenum">
              <a:rPr lang="en-US">
                <a:solidFill>
                  <a:srgbClr val="000000"/>
                </a:solidFill>
                <a:latin typeface="Calibri" charset="0"/>
              </a:rPr>
              <a:pPr defTabSz="931863" fontAlgn="base">
                <a:spcBef>
                  <a:spcPct val="0"/>
                </a:spcBef>
                <a:spcAft>
                  <a:spcPct val="0"/>
                </a:spcAft>
              </a:pPr>
              <a:t>33</a:t>
            </a:fld>
            <a:endParaRPr lang="en-US">
              <a:solidFill>
                <a:srgbClr val="000000"/>
              </a:solidFill>
              <a:latin typeface="Calibri" charset="0"/>
            </a:endParaRPr>
          </a:p>
        </p:txBody>
      </p:sp>
    </p:spTree>
    <p:extLst>
      <p:ext uri="{BB962C8B-B14F-4D97-AF65-F5344CB8AC3E}">
        <p14:creationId xmlns:p14="http://schemas.microsoft.com/office/powerpoint/2010/main" val="18984004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normAutofit fontScale="70000" lnSpcReduction="20000"/>
          </a:bodyPr>
          <a:lstStyle/>
          <a:p>
            <a:pPr defTabSz="932316" fontAlgn="auto">
              <a:spcBef>
                <a:spcPts val="0"/>
              </a:spcBef>
              <a:spcAft>
                <a:spcPts val="0"/>
              </a:spcAft>
              <a:defRPr/>
            </a:pPr>
            <a:r>
              <a:rPr lang="en-US" sz="1224" b="1" kern="1200" dirty="0" smtClean="0">
                <a:solidFill>
                  <a:schemeClr val="tx1"/>
                </a:solidFill>
                <a:latin typeface="+mn-lt"/>
                <a:ea typeface="ＭＳ Ｐゴシック" charset="0"/>
                <a:cs typeface="ＭＳ Ｐゴシック" charset="0"/>
              </a:rPr>
              <a:t>OPTIONAL SLIDE</a:t>
            </a:r>
          </a:p>
          <a:p>
            <a:pPr defTabSz="932316" fontAlgn="auto">
              <a:spcBef>
                <a:spcPts val="0"/>
              </a:spcBef>
              <a:spcAft>
                <a:spcPts val="0"/>
              </a:spcAft>
              <a:defRPr/>
            </a:pPr>
            <a:endParaRPr lang="en-US" sz="1224" kern="1200" dirty="0" smtClean="0">
              <a:solidFill>
                <a:schemeClr val="tx1"/>
              </a:solidFill>
              <a:latin typeface="+mn-lt"/>
              <a:ea typeface="ＭＳ Ｐゴシック" charset="0"/>
              <a:cs typeface="ＭＳ Ｐゴシック" charset="0"/>
            </a:endParaRPr>
          </a:p>
          <a:p>
            <a:pPr defTabSz="932316" fontAlgn="auto">
              <a:lnSpc>
                <a:spcPct val="115000"/>
              </a:lnSpc>
              <a:spcBef>
                <a:spcPts val="0"/>
              </a:spcBef>
              <a:spcAft>
                <a:spcPts val="1000"/>
              </a:spcAft>
              <a:defRPr/>
            </a:pPr>
            <a:r>
              <a:rPr lang="en-US" sz="1400" b="1" dirty="0" smtClean="0">
                <a:latin typeface="Calibri" panose="020F0502020204030204" pitchFamily="34" charset="0"/>
                <a:ea typeface="Times New Roman" panose="02020603050405020304" pitchFamily="18" charset="0"/>
                <a:cs typeface="Times New Roman" panose="02020603050405020304" pitchFamily="18" charset="0"/>
              </a:rPr>
              <a:t>Key goal of slide:  </a:t>
            </a:r>
            <a:r>
              <a:rPr lang="en-US" sz="1400" dirty="0" smtClean="0">
                <a:latin typeface="Calibri" panose="020F0502020204030204" pitchFamily="34" charset="0"/>
                <a:ea typeface="Times New Roman" panose="02020603050405020304" pitchFamily="18" charset="0"/>
                <a:cs typeface="Times New Roman" panose="02020603050405020304" pitchFamily="18" charset="0"/>
              </a:rPr>
              <a:t>Optional single conversation slide – use to go deeper into transform the datacenter conversation / benefit of the Microsoft Cloud Platform.</a:t>
            </a:r>
          </a:p>
          <a:p>
            <a:pPr defTabSz="932316" fontAlgn="auto">
              <a:lnSpc>
                <a:spcPct val="115000"/>
              </a:lnSpc>
              <a:spcBef>
                <a:spcPts val="0"/>
              </a:spcBef>
              <a:spcAft>
                <a:spcPts val="1000"/>
              </a:spcAft>
              <a:defRPr/>
            </a:pPr>
            <a:r>
              <a:rPr lang="en-US" sz="1400" dirty="0" smtClean="0">
                <a:latin typeface="Calibri" panose="020F0502020204030204" pitchFamily="34" charset="0"/>
                <a:ea typeface="Times New Roman" panose="02020603050405020304" pitchFamily="18" charset="0"/>
                <a:cs typeface="Times New Roman" panose="02020603050405020304" pitchFamily="18" charset="0"/>
              </a:rPr>
              <a:t> </a:t>
            </a:r>
          </a:p>
          <a:p>
            <a:pPr defTabSz="932316" fontAlgn="auto">
              <a:lnSpc>
                <a:spcPct val="115000"/>
              </a:lnSpc>
              <a:spcBef>
                <a:spcPts val="0"/>
              </a:spcBef>
              <a:spcAft>
                <a:spcPts val="1000"/>
              </a:spcAft>
              <a:defRPr/>
            </a:pPr>
            <a:r>
              <a:rPr lang="en-US" sz="1400" b="1" dirty="0" smtClean="0">
                <a:latin typeface="Calibri" panose="020F0502020204030204" pitchFamily="34" charset="0"/>
                <a:ea typeface="Times New Roman" panose="02020603050405020304" pitchFamily="18" charset="0"/>
                <a:cs typeface="Times New Roman" panose="02020603050405020304" pitchFamily="18" charset="0"/>
              </a:rPr>
              <a:t>Slide talk track:</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Optimize your datacenter infrastructure by leveraging the innovation and enterprise experience built into the Microsoft cloud platform.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o take on the challenges of big data and mobility, you need resilient, reliable infrastructure that can expand or contract as demand shifts.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power of cloud brings both opportunities and challenges to the enterprise capabilities of Windows Server, Microsoft System Center, and Microsoft Azure, you</a:t>
            </a:r>
            <a:r>
              <a:rPr lang="en-US" sz="1200" kern="1200" baseline="0" dirty="0" smtClean="0">
                <a:solidFill>
                  <a:schemeClr val="tx1"/>
                </a:solidFill>
                <a:effectLst/>
                <a:latin typeface="+mn-lt"/>
                <a:ea typeface="ＭＳ Ｐゴシック" charset="0"/>
                <a:cs typeface="ＭＳ Ｐゴシック" charset="0"/>
              </a:rPr>
              <a:t> </a:t>
            </a:r>
            <a:r>
              <a:rPr lang="en-US" sz="1200" kern="1200" dirty="0" smtClean="0">
                <a:solidFill>
                  <a:schemeClr val="tx1"/>
                </a:solidFill>
                <a:effectLst/>
                <a:latin typeface="+mn-lt"/>
                <a:ea typeface="ＭＳ Ｐゴシック" charset="0"/>
                <a:cs typeface="ＭＳ Ｐゴシック" charset="0"/>
              </a:rPr>
              <a:t>can respond rapidly to changing business requirements.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We deliver</a:t>
            </a:r>
            <a:r>
              <a:rPr lang="en-US" sz="1200" kern="1200" baseline="0" dirty="0" smtClean="0">
                <a:solidFill>
                  <a:schemeClr val="tx1"/>
                </a:solidFill>
                <a:effectLst/>
                <a:latin typeface="+mn-lt"/>
                <a:ea typeface="ＭＳ Ｐゴシック" charset="0"/>
                <a:cs typeface="ＭＳ Ｐゴシック" charset="0"/>
              </a:rPr>
              <a:t> </a:t>
            </a:r>
            <a:r>
              <a:rPr lang="en-US" sz="1200" kern="1200" dirty="0" smtClean="0">
                <a:solidFill>
                  <a:schemeClr val="tx1"/>
                </a:solidFill>
                <a:effectLst/>
                <a:latin typeface="+mn-lt"/>
                <a:ea typeface="ＭＳ Ｐゴシック" charset="0"/>
                <a:cs typeface="ＭＳ Ｐゴシック" charset="0"/>
              </a:rPr>
              <a:t>innovation in the datacenter, allowing you to change your approach to infrastructure. </a:t>
            </a:r>
          </a:p>
          <a:p>
            <a:pPr marL="171450" indent="-171450">
              <a:buFont typeface="Arial" panose="020B0604020202020204" pitchFamily="34" charset="0"/>
              <a:buChar char="•"/>
            </a:pPr>
            <a:r>
              <a:rPr lang="en-US" sz="1200" b="1" kern="1200" dirty="0" smtClean="0">
                <a:solidFill>
                  <a:schemeClr val="tx1"/>
                </a:solidFill>
                <a:effectLst/>
                <a:latin typeface="+mn-lt"/>
                <a:ea typeface="ＭＳ Ｐゴシック" charset="0"/>
                <a:cs typeface="ＭＳ Ｐゴシック" charset="0"/>
              </a:rPr>
              <a:t>Reduced cost &amp; complexity: </a:t>
            </a:r>
            <a:r>
              <a:rPr lang="en-US" sz="1200" kern="1200" dirty="0" smtClean="0">
                <a:solidFill>
                  <a:schemeClr val="tx1"/>
                </a:solidFill>
                <a:effectLst/>
                <a:latin typeface="+mn-lt"/>
                <a:ea typeface="ＭＳ Ｐゴシック" charset="0"/>
                <a:cs typeface="ＭＳ Ｐゴシック" charset="0"/>
              </a:rPr>
              <a:t>By bringing software-defined compute, networking and storage to your datacenter, you can reduce both complexity and cost.  </a:t>
            </a: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ake advantage of enterprise-grade virtualization to increase resilience and agility.</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Rethink storage to reduce cost and increase flexibility.</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Simplify multi-tenancy and connectivity across the cloud with software-defined networking.</a:t>
            </a:r>
            <a:endParaRPr lang="en-US" sz="1400" dirty="0" smtClean="0">
              <a:effectLst/>
            </a:endParaRPr>
          </a:p>
          <a:p>
            <a:pPr marL="171450" indent="-171450">
              <a:buFont typeface="Arial" panose="020B0604020202020204" pitchFamily="34" charset="0"/>
              <a:buChar char="•"/>
            </a:pPr>
            <a:r>
              <a:rPr lang="en-US" sz="1200" b="1" kern="1200" dirty="0" smtClean="0">
                <a:solidFill>
                  <a:schemeClr val="tx1"/>
                </a:solidFill>
                <a:effectLst/>
                <a:latin typeface="+mn-lt"/>
                <a:ea typeface="ＭＳ Ｐゴシック" charset="0"/>
                <a:cs typeface="ＭＳ Ｐゴシック" charset="0"/>
              </a:rPr>
              <a:t>Rapid response</a:t>
            </a:r>
            <a:r>
              <a:rPr lang="en-US" sz="1200" b="1" kern="1200" baseline="0" dirty="0" smtClean="0">
                <a:solidFill>
                  <a:schemeClr val="tx1"/>
                </a:solidFill>
                <a:effectLst/>
                <a:latin typeface="+mn-lt"/>
                <a:ea typeface="ＭＳ Ｐゴシック" charset="0"/>
                <a:cs typeface="ＭＳ Ｐゴシック" charset="0"/>
              </a:rPr>
              <a:t> to the business: </a:t>
            </a:r>
            <a:r>
              <a:rPr lang="en-US" sz="1200" kern="1200" dirty="0" smtClean="0">
                <a:solidFill>
                  <a:schemeClr val="tx1"/>
                </a:solidFill>
                <a:effectLst/>
                <a:latin typeface="+mn-lt"/>
                <a:ea typeface="ＭＳ Ｐゴシック" charset="0"/>
                <a:cs typeface="ＭＳ Ｐゴシック" charset="0"/>
              </a:rPr>
              <a:t>Management and automation are key to improving datacenter operations, speeding delivery of services to the business. </a:t>
            </a: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Provision infrastructure and applications faster with automated processes and end-to-end management.</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Manage and monitor with enough detail to fix problems before they become critical.</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ake advantage of new service delivery options to speed response to the business.</a:t>
            </a:r>
          </a:p>
          <a:p>
            <a:pPr marL="171450" indent="-171450">
              <a:buFont typeface="Arial" panose="020B0604020202020204" pitchFamily="34" charset="0"/>
              <a:buChar char="•"/>
            </a:pPr>
            <a:r>
              <a:rPr lang="en-US" sz="1200" b="1" kern="1200" dirty="0" smtClean="0">
                <a:solidFill>
                  <a:schemeClr val="tx1"/>
                </a:solidFill>
                <a:effectLst/>
                <a:latin typeface="+mn-lt"/>
                <a:ea typeface="ＭＳ Ｐゴシック" charset="0"/>
                <a:cs typeface="ＭＳ Ｐゴシック" charset="0"/>
              </a:rPr>
              <a:t>Cloud options on demand:</a:t>
            </a:r>
            <a:r>
              <a:rPr lang="en-US" sz="1200" b="1" kern="1200" baseline="0" dirty="0" smtClean="0">
                <a:solidFill>
                  <a:schemeClr val="tx1"/>
                </a:solidFill>
                <a:effectLst/>
                <a:latin typeface="+mn-lt"/>
                <a:ea typeface="ＭＳ Ｐゴシック" charset="0"/>
                <a:cs typeface="ＭＳ Ｐゴシック" charset="0"/>
              </a:rPr>
              <a:t> </a:t>
            </a:r>
            <a:r>
              <a:rPr lang="en-US" sz="1200" kern="1200" dirty="0" smtClean="0">
                <a:solidFill>
                  <a:schemeClr val="tx1"/>
                </a:solidFill>
                <a:effectLst/>
                <a:latin typeface="+mn-lt"/>
                <a:ea typeface="ＭＳ Ｐゴシック" charset="0"/>
                <a:cs typeface="ＭＳ Ｐゴシック" charset="0"/>
              </a:rPr>
              <a:t>And,</a:t>
            </a:r>
            <a:r>
              <a:rPr lang="en-US" sz="1200" kern="1200" baseline="0" dirty="0" smtClean="0">
                <a:solidFill>
                  <a:schemeClr val="tx1"/>
                </a:solidFill>
                <a:effectLst/>
                <a:latin typeface="+mn-lt"/>
                <a:ea typeface="ＭＳ Ｐゴシック" charset="0"/>
                <a:cs typeface="ＭＳ Ｐゴシック" charset="0"/>
              </a:rPr>
              <a:t> last, </a:t>
            </a:r>
            <a:r>
              <a:rPr lang="en-US" sz="1200" kern="1200" dirty="0" smtClean="0">
                <a:solidFill>
                  <a:schemeClr val="tx1"/>
                </a:solidFill>
                <a:effectLst/>
                <a:latin typeface="+mn-lt"/>
                <a:ea typeface="ＭＳ Ｐゴシック" charset="0"/>
                <a:cs typeface="ＭＳ Ｐゴシック" charset="0"/>
              </a:rPr>
              <a:t>you can increase agility with access to cloud resources on demand. With datacenter innovation and new hybrid options, the Microsoft cloud platform gives you the right infrastructure for today’s big challenges.</a:t>
            </a: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Scale up, scale down while keeping costs low.</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Use new hybrid options to address ongoing issues and meet specific business needs.</a:t>
            </a:r>
            <a:endParaRPr lang="en-US" sz="1400" dirty="0" smtClean="0">
              <a:effectLst/>
            </a:endParaRPr>
          </a:p>
          <a:p>
            <a:pPr marL="636588" lvl="1"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Simplify hybrid with consistency across clouds.</a:t>
            </a:r>
            <a:endParaRPr lang="en-US" sz="1400" dirty="0" smtClean="0">
              <a:effectLst/>
            </a:endParaRPr>
          </a:p>
          <a:p>
            <a:endParaRPr lang="en-US" sz="1400" b="1" dirty="0" smtClean="0">
              <a:latin typeface="Calibri" panose="020F0502020204030204" pitchFamily="34" charset="0"/>
              <a:ea typeface="Times New Roman" panose="02020603050405020304" pitchFamily="18" charset="0"/>
              <a:cs typeface="Times New Roman" panose="02020603050405020304" pitchFamily="18" charset="0"/>
            </a:endParaRPr>
          </a:p>
        </p:txBody>
      </p:sp>
      <p:sp>
        <p:nvSpPr>
          <p:cNvPr id="5" name="Footer Placeholder 4"/>
          <p:cNvSpPr>
            <a:spLocks noGrp="1"/>
          </p:cNvSpPr>
          <p:nvPr>
            <p:ph type="ftr" sz="quarter" idx="4"/>
          </p:nvPr>
        </p:nvSpPr>
        <p:spPr>
          <a:xfrm>
            <a:off x="0" y="8829968"/>
            <a:ext cx="3037840" cy="466433"/>
          </a:xfrm>
        </p:spPr>
        <p:txBody>
          <a:bodyPr/>
          <a:lstStyle/>
          <a:p>
            <a:pPr defTabSz="934538"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4538"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1444"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77B339E5-2C5A-964E-A324-80E05A226C75}"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6144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1A6394F6-822C-1448-96C9-DC8FB41C7165}" type="slidenum">
              <a:rPr lang="en-US">
                <a:solidFill>
                  <a:srgbClr val="000000"/>
                </a:solidFill>
                <a:latin typeface="Calibri" charset="0"/>
              </a:rPr>
              <a:pPr defTabSz="931863" fontAlgn="base">
                <a:spcBef>
                  <a:spcPct val="0"/>
                </a:spcBef>
                <a:spcAft>
                  <a:spcPct val="0"/>
                </a:spcAft>
              </a:pPr>
              <a:t>34</a:t>
            </a:fld>
            <a:endParaRPr lang="en-US">
              <a:solidFill>
                <a:srgbClr val="000000"/>
              </a:solidFill>
              <a:latin typeface="Calibri" charset="0"/>
            </a:endParaRPr>
          </a:p>
        </p:txBody>
      </p:sp>
    </p:spTree>
    <p:extLst>
      <p:ext uri="{BB962C8B-B14F-4D97-AF65-F5344CB8AC3E}">
        <p14:creationId xmlns:p14="http://schemas.microsoft.com/office/powerpoint/2010/main" val="18675883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1375" y="1239838"/>
            <a:ext cx="5949950" cy="334645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smtClean="0">
                <a:solidFill>
                  <a:schemeClr val="tx1"/>
                </a:solidFill>
                <a:effectLst/>
                <a:latin typeface="Segoe UI Light" pitchFamily="34" charset="0"/>
                <a:ea typeface="+mn-ea"/>
                <a:cs typeface="+mn-cs"/>
              </a:rPr>
              <a:t>Do not show - Slide 1: TDC Conversation Map</a:t>
            </a:r>
            <a:endParaRPr lang="en-US" sz="900" kern="1200" dirty="0" smtClean="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effectLst/>
                <a:latin typeface="+mn-lt"/>
                <a:ea typeface="ＭＳ Ｐゴシック" charset="0"/>
                <a:cs typeface="ＭＳ Ｐゴシック" charset="0"/>
              </a:rPr>
              <a:t>For more information on content messaging and source of slides: http://infopedia/smsg/Pages/Transform-Datacenter.aspx (internal)</a:t>
            </a:r>
            <a:endParaRPr lang="en-US" sz="1200" kern="1200" dirty="0" smtClean="0">
              <a:solidFill>
                <a:schemeClr val="tx1"/>
              </a:solidFill>
              <a:effectLst/>
              <a:latin typeface="+mn-lt"/>
              <a:ea typeface="ＭＳ Ｐゴシック" charset="0"/>
              <a:cs typeface="ＭＳ Ｐゴシック" charset="0"/>
            </a:endParaRPr>
          </a:p>
          <a:p>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5018785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Do not show - Slide 2: C+E Microsoft Cloud Platform Conversation Deck – Transform the datacenter </a:t>
            </a:r>
            <a:r>
              <a:rPr lang="en-US" sz="900" i="1" kern="1200" dirty="0" smtClean="0">
                <a:solidFill>
                  <a:schemeClr val="tx1"/>
                </a:solidFill>
                <a:effectLst/>
                <a:latin typeface="Segoe UI Light" pitchFamily="34" charset="0"/>
                <a:ea typeface="+mn-ea"/>
                <a:cs typeface="+mn-cs"/>
              </a:rPr>
              <a:t>(Deck details)</a:t>
            </a:r>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u="sng" kern="1200" dirty="0" smtClean="0">
                <a:solidFill>
                  <a:schemeClr val="tx1"/>
                </a:solidFill>
                <a:effectLst/>
                <a:latin typeface="Segoe UI Light" pitchFamily="34" charset="0"/>
                <a:ea typeface="+mn-ea"/>
                <a:cs typeface="+mn-cs"/>
              </a:rPr>
              <a:t>Speaker: </a:t>
            </a:r>
            <a:r>
              <a:rPr lang="en-US" sz="900" kern="1200" dirty="0" smtClean="0">
                <a:solidFill>
                  <a:schemeClr val="tx1"/>
                </a:solidFill>
                <a:effectLst/>
                <a:latin typeface="Segoe UI Light" pitchFamily="34" charset="0"/>
                <a:ea typeface="+mn-ea"/>
                <a:cs typeface="+mn-cs"/>
              </a:rPr>
              <a:t>Field Marketer, AM/ATS/Executive EBC presenter</a:t>
            </a:r>
          </a:p>
          <a:p>
            <a:r>
              <a:rPr lang="en-US" sz="900" u="sng" kern="1200" dirty="0" smtClean="0">
                <a:solidFill>
                  <a:schemeClr val="tx1"/>
                </a:solidFill>
                <a:effectLst/>
                <a:latin typeface="Segoe UI Light" pitchFamily="34" charset="0"/>
                <a:ea typeface="+mn-ea"/>
                <a:cs typeface="+mn-cs"/>
              </a:rPr>
              <a:t>Audience: </a:t>
            </a:r>
            <a:r>
              <a:rPr lang="en-US" sz="900" kern="1200" dirty="0" smtClean="0">
                <a:solidFill>
                  <a:schemeClr val="tx1"/>
                </a:solidFill>
                <a:effectLst/>
                <a:latin typeface="Segoe UI Light" pitchFamily="34" charset="0"/>
                <a:ea typeface="+mn-ea"/>
                <a:cs typeface="+mn-cs"/>
              </a:rPr>
              <a:t>CIO, IT Decision Makers, and Hosting Providers</a:t>
            </a:r>
          </a:p>
          <a:p>
            <a:r>
              <a:rPr lang="en-US" sz="900" u="sng" kern="1200" dirty="0" smtClean="0">
                <a:solidFill>
                  <a:schemeClr val="tx1"/>
                </a:solidFill>
                <a:effectLst/>
                <a:latin typeface="Segoe UI Light" pitchFamily="34" charset="0"/>
                <a:ea typeface="+mn-ea"/>
                <a:cs typeface="+mn-cs"/>
              </a:rPr>
              <a:t>Title:</a:t>
            </a:r>
            <a:r>
              <a:rPr lang="en-US" sz="900" kern="1200" dirty="0" smtClean="0">
                <a:solidFill>
                  <a:schemeClr val="tx1"/>
                </a:solidFill>
                <a:effectLst/>
                <a:latin typeface="Segoe UI Light" pitchFamily="34" charset="0"/>
                <a:ea typeface="+mn-ea"/>
                <a:cs typeface="+mn-cs"/>
              </a:rPr>
              <a:t> Transform the datacenter</a:t>
            </a:r>
          </a:p>
          <a:p>
            <a:r>
              <a:rPr lang="en-US" sz="900" u="sng" kern="1200" dirty="0" smtClean="0">
                <a:solidFill>
                  <a:schemeClr val="tx1"/>
                </a:solidFill>
                <a:effectLst/>
                <a:latin typeface="Segoe UI Light" pitchFamily="34" charset="0"/>
                <a:ea typeface="+mn-ea"/>
                <a:cs typeface="+mn-cs"/>
              </a:rPr>
              <a:t>Length: </a:t>
            </a:r>
            <a:r>
              <a:rPr lang="en-US" sz="900" kern="1200" dirty="0" smtClean="0">
                <a:solidFill>
                  <a:schemeClr val="tx1"/>
                </a:solidFill>
                <a:effectLst/>
                <a:latin typeface="Segoe UI Light" pitchFamily="34" charset="0"/>
                <a:ea typeface="+mn-ea"/>
                <a:cs typeface="+mn-cs"/>
              </a:rPr>
              <a:t>30-45 minutes</a:t>
            </a:r>
          </a:p>
          <a:p>
            <a:r>
              <a:rPr lang="en-US" sz="900" u="sng" kern="1200" dirty="0" smtClean="0">
                <a:solidFill>
                  <a:schemeClr val="tx1"/>
                </a:solidFill>
                <a:effectLst/>
                <a:latin typeface="Segoe UI Light" pitchFamily="34" charset="0"/>
                <a:ea typeface="+mn-ea"/>
                <a:cs typeface="+mn-cs"/>
              </a:rPr>
              <a:t>Content Level:</a:t>
            </a:r>
            <a:r>
              <a:rPr lang="en-US" sz="900" kern="1200" dirty="0" smtClean="0">
                <a:solidFill>
                  <a:schemeClr val="tx1"/>
                </a:solidFill>
                <a:effectLst/>
                <a:latin typeface="Segoe UI Light" pitchFamily="34" charset="0"/>
                <a:ea typeface="+mn-ea"/>
                <a:cs typeface="+mn-cs"/>
              </a:rPr>
              <a:t> Level 100 for external and internal use</a:t>
            </a:r>
          </a:p>
          <a:p>
            <a:r>
              <a:rPr lang="en-US" sz="900" u="sng" kern="1200" dirty="0" smtClean="0">
                <a:solidFill>
                  <a:schemeClr val="tx1"/>
                </a:solidFill>
                <a:effectLst/>
                <a:latin typeface="Segoe UI Light" pitchFamily="34" charset="0"/>
                <a:ea typeface="+mn-ea"/>
                <a:cs typeface="+mn-cs"/>
              </a:rPr>
              <a:t>Deck Contacts: </a:t>
            </a:r>
            <a:r>
              <a:rPr lang="en-US" sz="900" kern="1200" dirty="0" smtClean="0">
                <a:solidFill>
                  <a:schemeClr val="tx1"/>
                </a:solidFill>
                <a:effectLst/>
                <a:latin typeface="Segoe UI Light" pitchFamily="34" charset="0"/>
                <a:ea typeface="+mn-ea"/>
                <a:cs typeface="+mn-cs"/>
              </a:rPr>
              <a:t>Transform the datacenter team (alias: </a:t>
            </a:r>
            <a:r>
              <a:rPr lang="en-US" sz="900" kern="1200" dirty="0" err="1" smtClean="0">
                <a:solidFill>
                  <a:schemeClr val="tx1"/>
                </a:solidFill>
                <a:effectLst/>
                <a:latin typeface="Segoe UI Light" pitchFamily="34" charset="0"/>
                <a:ea typeface="+mn-ea"/>
                <a:cs typeface="+mn-cs"/>
              </a:rPr>
              <a:t>liberg</a:t>
            </a:r>
            <a:r>
              <a:rPr lang="en-US" sz="900" kern="1200" dirty="0" smtClean="0">
                <a:solidFill>
                  <a:schemeClr val="tx1"/>
                </a:solidFill>
                <a:effectLst/>
                <a:latin typeface="Segoe UI Light" pitchFamily="34" charset="0"/>
                <a:ea typeface="+mn-ea"/>
                <a:cs typeface="+mn-cs"/>
              </a:rPr>
              <a:t>)</a:t>
            </a:r>
          </a:p>
          <a:p>
            <a:r>
              <a:rPr lang="en-US" sz="900" u="sng" kern="1200" dirty="0" smtClean="0">
                <a:solidFill>
                  <a:schemeClr val="tx1"/>
                </a:solidFill>
                <a:effectLst/>
                <a:latin typeface="Segoe UI Light" pitchFamily="34" charset="0"/>
                <a:ea typeface="+mn-ea"/>
                <a:cs typeface="+mn-cs"/>
              </a:rPr>
              <a:t>Sales Cycle: </a:t>
            </a:r>
            <a:r>
              <a:rPr lang="en-US" sz="900" kern="1200" dirty="0" smtClean="0">
                <a:solidFill>
                  <a:schemeClr val="tx1"/>
                </a:solidFill>
                <a:effectLst/>
                <a:latin typeface="Segoe UI Light" pitchFamily="34" charset="0"/>
                <a:ea typeface="+mn-ea"/>
                <a:cs typeface="+mn-cs"/>
              </a:rPr>
              <a:t>0-20%</a:t>
            </a:r>
          </a:p>
          <a:p>
            <a:r>
              <a:rPr lang="en-US" sz="900" u="sng" kern="1200" dirty="0" smtClean="0">
                <a:solidFill>
                  <a:schemeClr val="tx1"/>
                </a:solidFill>
                <a:effectLst/>
                <a:latin typeface="Segoe UI Light" pitchFamily="34" charset="0"/>
                <a:ea typeface="+mn-ea"/>
                <a:cs typeface="+mn-cs"/>
              </a:rPr>
              <a:t>Desired Outcomes: </a:t>
            </a:r>
            <a:r>
              <a:rPr lang="en-US" sz="900" kern="1200" dirty="0" smtClean="0">
                <a:solidFill>
                  <a:schemeClr val="tx1"/>
                </a:solidFill>
                <a:effectLst/>
                <a:latin typeface="Segoe UI Light" pitchFamily="34" charset="0"/>
                <a:ea typeface="+mn-ea"/>
                <a:cs typeface="+mn-cs"/>
              </a:rPr>
              <a:t>Activity that leads to qualified sales prospect; request for EBC briefing</a:t>
            </a:r>
          </a:p>
          <a:p>
            <a:r>
              <a:rPr lang="en-US" sz="900" u="sng" kern="1200" dirty="0" smtClean="0">
                <a:solidFill>
                  <a:schemeClr val="tx1"/>
                </a:solidFill>
                <a:effectLst/>
                <a:latin typeface="Segoe UI Light" pitchFamily="34" charset="0"/>
                <a:ea typeface="+mn-ea"/>
                <a:cs typeface="+mn-cs"/>
              </a:rPr>
              <a:t>Usage Guide: </a:t>
            </a:r>
            <a:endParaRPr lang="en-US" sz="900" kern="1200" dirty="0" smtClean="0">
              <a:solidFill>
                <a:schemeClr val="tx1"/>
              </a:solidFill>
              <a:effectLst/>
              <a:latin typeface="Segoe UI Light" pitchFamily="34" charset="0"/>
              <a:ea typeface="+mn-ea"/>
              <a:cs typeface="+mn-cs"/>
            </a:endParaRPr>
          </a:p>
          <a:p>
            <a:pPr lvl="0"/>
            <a:r>
              <a:rPr lang="en-US" sz="900" kern="1200" dirty="0" smtClean="0">
                <a:solidFill>
                  <a:schemeClr val="tx1"/>
                </a:solidFill>
                <a:effectLst/>
                <a:latin typeface="Segoe UI Light" pitchFamily="34" charset="0"/>
                <a:ea typeface="+mn-ea"/>
                <a:cs typeface="+mn-cs"/>
              </a:rPr>
              <a:t>DO NOT edit slides or text</a:t>
            </a:r>
          </a:p>
          <a:p>
            <a:pPr lvl="0"/>
            <a:r>
              <a:rPr lang="en-US" sz="900" kern="1200" dirty="0" smtClean="0">
                <a:solidFill>
                  <a:schemeClr val="tx1"/>
                </a:solidFill>
                <a:effectLst/>
                <a:latin typeface="Segoe UI Light" pitchFamily="34" charset="0"/>
                <a:ea typeface="+mn-ea"/>
                <a:cs typeface="+mn-cs"/>
              </a:rPr>
              <a:t>This is a CORE C+E story.  ALL messages &amp; wording on slides have been reviewed &amp; tested by EPG, M&amp;O, CATM &amp; MCS  stakeholders, and approved by C+E marketing leadership.</a:t>
            </a:r>
          </a:p>
          <a:p>
            <a:pPr lvl="0"/>
            <a:r>
              <a:rPr lang="en-US" sz="900" kern="1200" dirty="0" smtClean="0">
                <a:solidFill>
                  <a:schemeClr val="tx1"/>
                </a:solidFill>
                <a:effectLst/>
                <a:latin typeface="Segoe UI Light" pitchFamily="34" charset="0"/>
                <a:ea typeface="+mn-ea"/>
                <a:cs typeface="+mn-cs"/>
              </a:rPr>
              <a:t>Send any suggested edits to deck contact</a:t>
            </a:r>
          </a:p>
          <a:p>
            <a:pPr lvl="0"/>
            <a:r>
              <a:rPr lang="en-US" sz="900" kern="1200" dirty="0" smtClean="0">
                <a:solidFill>
                  <a:schemeClr val="tx1"/>
                </a:solidFill>
                <a:effectLst/>
                <a:latin typeface="Segoe UI Light" pitchFamily="34" charset="0"/>
                <a:ea typeface="+mn-ea"/>
                <a:cs typeface="+mn-cs"/>
              </a:rPr>
              <a:t>Translation of content is allowed</a:t>
            </a:r>
          </a:p>
          <a:p>
            <a:pPr lvl="0"/>
            <a:r>
              <a:rPr lang="en-US" sz="900" kern="1200" dirty="0" smtClean="0">
                <a:solidFill>
                  <a:schemeClr val="tx1"/>
                </a:solidFill>
                <a:effectLst/>
                <a:latin typeface="Segoe UI Light" pitchFamily="34" charset="0"/>
                <a:ea typeface="+mn-ea"/>
                <a:cs typeface="+mn-cs"/>
              </a:rPr>
              <a:t>Augment content with local customer stories</a:t>
            </a:r>
          </a:p>
          <a:p>
            <a:pPr lvl="0"/>
            <a:r>
              <a:rPr lang="en-US" sz="900" kern="1200" dirty="0" smtClean="0">
                <a:solidFill>
                  <a:schemeClr val="tx1"/>
                </a:solidFill>
                <a:effectLst/>
                <a:latin typeface="Segoe UI Light" pitchFamily="34" charset="0"/>
                <a:ea typeface="+mn-ea"/>
                <a:cs typeface="+mn-cs"/>
              </a:rPr>
              <a:t>Content will be reviewed quarterly for updates</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o Enable Modern Business Apps </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59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8596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ED5DD93-A02C-4EF8-A2F1-F148BA000A22}"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1990531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p:cNvSpPr>
          <p:nvPr>
            <p:ph type="sldImg"/>
          </p:nvPr>
        </p:nvSpPr>
        <p:spPr bwMode="auto">
          <a:xfrm>
            <a:off x="717550" y="1162050"/>
            <a:ext cx="5575300" cy="31369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Do not Show - Slide 3: Microsoft Cloud Platform - Mapping the Conversations </a:t>
            </a:r>
            <a:r>
              <a:rPr lang="en-US" sz="900" i="1" kern="1200" dirty="0" smtClean="0">
                <a:solidFill>
                  <a:schemeClr val="tx1"/>
                </a:solidFill>
                <a:effectLst/>
                <a:latin typeface="Segoe UI Light" pitchFamily="34" charset="0"/>
                <a:ea typeface="+mn-ea"/>
                <a:cs typeface="+mn-cs"/>
              </a:rPr>
              <a:t>(Campaign architectur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Displays how the Microsoft Cloud story ladders down to Microsoft Cloud Platform and then ladders again to the five customer conversations:</a:t>
            </a:r>
          </a:p>
          <a:p>
            <a:pPr lvl="0"/>
            <a:r>
              <a:rPr lang="en-US" sz="900" kern="1200" dirty="0" smtClean="0">
                <a:solidFill>
                  <a:schemeClr val="tx1"/>
                </a:solidFill>
                <a:effectLst/>
                <a:latin typeface="Segoe UI Light" pitchFamily="34" charset="0"/>
                <a:ea typeface="+mn-ea"/>
                <a:cs typeface="+mn-cs"/>
              </a:rPr>
              <a:t>Transform the datacenter</a:t>
            </a:r>
          </a:p>
          <a:p>
            <a:pPr lvl="0"/>
            <a:r>
              <a:rPr lang="en-US" sz="900" kern="1200" dirty="0" smtClean="0">
                <a:solidFill>
                  <a:schemeClr val="tx1"/>
                </a:solidFill>
                <a:effectLst/>
                <a:latin typeface="Segoe UI Light" pitchFamily="34" charset="0"/>
                <a:ea typeface="+mn-ea"/>
                <a:cs typeface="+mn-cs"/>
              </a:rPr>
              <a:t>Unlock insights on any data</a:t>
            </a:r>
          </a:p>
          <a:p>
            <a:pPr lvl="0"/>
            <a:r>
              <a:rPr lang="en-US" sz="900" kern="1200" dirty="0" smtClean="0">
                <a:solidFill>
                  <a:schemeClr val="tx1"/>
                </a:solidFill>
                <a:effectLst/>
                <a:latin typeface="Segoe UI Light" pitchFamily="34" charset="0"/>
                <a:ea typeface="+mn-ea"/>
                <a:cs typeface="+mn-cs"/>
              </a:rPr>
              <a:t>Empower enterprise mobility</a:t>
            </a:r>
          </a:p>
          <a:p>
            <a:pPr lvl="0"/>
            <a:r>
              <a:rPr lang="en-US" sz="900" kern="1200" dirty="0" smtClean="0">
                <a:solidFill>
                  <a:schemeClr val="tx1"/>
                </a:solidFill>
                <a:effectLst/>
                <a:latin typeface="Segoe UI Light" pitchFamily="34" charset="0"/>
                <a:ea typeface="+mn-ea"/>
                <a:cs typeface="+mn-cs"/>
              </a:rPr>
              <a:t>Enable application innovation</a:t>
            </a:r>
          </a:p>
          <a:p>
            <a:pPr lvl="0"/>
            <a:r>
              <a:rPr lang="en-US" sz="900" kern="1200" dirty="0" smtClean="0">
                <a:solidFill>
                  <a:schemeClr val="tx1"/>
                </a:solidFill>
                <a:effectLst/>
                <a:latin typeface="Segoe UI Light" pitchFamily="34" charset="0"/>
                <a:ea typeface="+mn-ea"/>
                <a:cs typeface="+mn-cs"/>
              </a:rPr>
              <a:t>Create the Internet of Your Thing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The focus for this deck and the other conversation decks are for ITDMs.</a:t>
            </a:r>
            <a:endParaRPr lang="en-US" sz="900" kern="1200" dirty="0">
              <a:solidFill>
                <a:schemeClr val="tx1"/>
              </a:solidFill>
              <a:effectLst/>
              <a:latin typeface="Segoe UI Light" pitchFamily="34" charset="0"/>
              <a:ea typeface="+mn-ea"/>
              <a:cs typeface="+mn-cs"/>
            </a:endParaRPr>
          </a:p>
        </p:txBody>
      </p:sp>
      <p:sp>
        <p:nvSpPr>
          <p:cNvPr id="4710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9AE08DA1-D388-284E-9B07-BC71B0BCF51B}" type="slidenum">
              <a:rPr lang="en-US">
                <a:solidFill>
                  <a:srgbClr val="000000"/>
                </a:solidFill>
                <a:latin typeface="Calibri" charset="0"/>
              </a:rPr>
              <a:pPr defTabSz="931863" fontAlgn="base">
                <a:spcBef>
                  <a:spcPct val="0"/>
                </a:spcBef>
                <a:spcAft>
                  <a:spcPct val="0"/>
                </a:spcAft>
              </a:pPr>
              <a:t>37</a:t>
            </a:fld>
            <a:endParaRPr lang="en-US">
              <a:solidFill>
                <a:srgbClr val="000000"/>
              </a:solidFill>
              <a:latin typeface="Calibri" charset="0"/>
            </a:endParaRPr>
          </a:p>
        </p:txBody>
      </p:sp>
    </p:spTree>
    <p:extLst>
      <p:ext uri="{BB962C8B-B14F-4D97-AF65-F5344CB8AC3E}">
        <p14:creationId xmlns:p14="http://schemas.microsoft.com/office/powerpoint/2010/main" val="9536449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Do not show – Slide 4: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Transform the datacenter storyline:</a:t>
            </a:r>
          </a:p>
          <a:p>
            <a:pPr lvl="0"/>
            <a:r>
              <a:rPr lang="en-US" sz="900" kern="1200" dirty="0" smtClean="0">
                <a:solidFill>
                  <a:schemeClr val="tx1"/>
                </a:solidFill>
                <a:effectLst/>
                <a:latin typeface="Segoe UI Light" pitchFamily="34" charset="0"/>
                <a:ea typeface="+mn-ea"/>
                <a:cs typeface="+mn-cs"/>
              </a:rPr>
              <a:t>Opening: the challenges facing IT</a:t>
            </a:r>
          </a:p>
          <a:p>
            <a:pPr lvl="0"/>
            <a:r>
              <a:rPr lang="en-US" sz="900" kern="1200" dirty="0" smtClean="0">
                <a:solidFill>
                  <a:schemeClr val="tx1"/>
                </a:solidFill>
                <a:effectLst/>
                <a:latin typeface="Segoe UI Light" pitchFamily="34" charset="0"/>
                <a:ea typeface="+mn-ea"/>
                <a:cs typeface="+mn-cs"/>
              </a:rPr>
              <a:t>The requirements (Goal): what is it that a business requires in a solution</a:t>
            </a:r>
          </a:p>
          <a:p>
            <a:pPr lvl="0"/>
            <a:r>
              <a:rPr lang="en-US" sz="900" kern="1200" dirty="0" smtClean="0">
                <a:solidFill>
                  <a:schemeClr val="tx1"/>
                </a:solidFill>
                <a:effectLst/>
                <a:latin typeface="Segoe UI Light" pitchFamily="34" charset="0"/>
                <a:ea typeface="+mn-ea"/>
                <a:cs typeface="+mn-cs"/>
              </a:rPr>
              <a:t>Microsoft solution (Pillars): How Microsoft delivers on business requirements </a:t>
            </a:r>
          </a:p>
          <a:p>
            <a:pPr lvl="0"/>
            <a:r>
              <a:rPr lang="en-US" sz="900" kern="1200" dirty="0" smtClean="0">
                <a:solidFill>
                  <a:schemeClr val="tx1"/>
                </a:solidFill>
                <a:effectLst/>
                <a:latin typeface="Segoe UI Light" pitchFamily="34" charset="0"/>
                <a:ea typeface="+mn-ea"/>
                <a:cs typeface="+mn-cs"/>
              </a:rPr>
              <a:t>Close: The customer benefits and next steps </a:t>
            </a:r>
          </a:p>
          <a:p>
            <a:r>
              <a:rPr lang="en-US" sz="900" b="1"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3BDB051-1AFF-449E-B7BB-1246BA760374}"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9681516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5: Transform the datacenter </a:t>
            </a:r>
            <a:r>
              <a:rPr lang="en-US" sz="900" i="1" kern="1200" dirty="0" smtClean="0">
                <a:solidFill>
                  <a:schemeClr val="tx1"/>
                </a:solidFill>
                <a:effectLst/>
                <a:latin typeface="Segoe UI Light" pitchFamily="34" charset="0"/>
                <a:ea typeface="+mn-ea"/>
                <a:cs typeface="+mn-cs"/>
              </a:rPr>
              <a:t>(Title Slide)</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lt;&lt; Note: Be sure to welcome and thank the audience, introduce yourself and your role before you get started with presentation&gt;&gt;</a:t>
            </a:r>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Cloud is changing the picture for infrastructure decisions.  In today’s presentation, we’re going to discuss the challenges facing IT today, and how Microsoft is helping address those challenges across the on-premises datacenter and the cloud.</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30038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6: Microsoft Cloud Platform </a:t>
            </a:r>
            <a:r>
              <a:rPr lang="en-US" sz="900" kern="1200" dirty="0" smtClean="0">
                <a:solidFill>
                  <a:schemeClr val="tx1"/>
                </a:solidFill>
                <a:effectLst/>
                <a:latin typeface="Segoe UI Light" pitchFamily="34" charset="0"/>
                <a:ea typeface="+mn-ea"/>
                <a:cs typeface="+mn-cs"/>
              </a:rPr>
              <a:t>(Microsoft Cloud Platform / Conversation alignment)</a:t>
            </a: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lt;&lt;Note – This slide portrays the key messages of the all-up Microsoft Cloud Platform strategy. The notes below are from an executive “elevator pitch” that you can use as a foundation for creating your own personalized Microsoft Cloud Platform elevator pitch&gt;&gt;</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Single Slide Pitch</a:t>
            </a:r>
            <a:endParaRPr lang="en-US" sz="900" kern="1200" dirty="0" smtClean="0">
              <a:solidFill>
                <a:schemeClr val="tx1"/>
              </a:solidFill>
              <a:effectLst/>
              <a:latin typeface="Segoe UI Light" pitchFamily="34" charset="0"/>
              <a:ea typeface="+mn-ea"/>
              <a:cs typeface="+mn-cs"/>
            </a:endParaRPr>
          </a:p>
          <a:p>
            <a:pPr lvl="0"/>
            <a:r>
              <a:rPr lang="en-US" sz="900" kern="1200" dirty="0" smtClean="0">
                <a:solidFill>
                  <a:schemeClr val="tx1"/>
                </a:solidFill>
                <a:effectLst/>
                <a:latin typeface="Segoe UI Light" pitchFamily="34" charset="0"/>
                <a:ea typeface="+mn-ea"/>
                <a:cs typeface="+mn-cs"/>
              </a:rPr>
              <a:t>We understand that there is a lot of competition when you consider all of the productivity, app, and platform players out there. </a:t>
            </a:r>
          </a:p>
          <a:p>
            <a:pPr lvl="0"/>
            <a:r>
              <a:rPr lang="en-US" sz="900" kern="1200" dirty="0" smtClean="0">
                <a:solidFill>
                  <a:schemeClr val="tx1"/>
                </a:solidFill>
                <a:effectLst/>
                <a:latin typeface="Segoe UI Light" pitchFamily="34" charset="0"/>
                <a:ea typeface="+mn-ea"/>
                <a:cs typeface="+mn-cs"/>
              </a:rPr>
              <a:t>We looked hard at what makes Microsoft unique in this space. We asked customers, partners, analysts, and our people. We asked, what are our points of differentiation? What helps set us apart from the rest? Hard questions. Soul-searching questions to find the core of what makes is valuable to you.</a:t>
            </a:r>
          </a:p>
          <a:p>
            <a:pPr lvl="0"/>
            <a:r>
              <a:rPr lang="en-US" sz="900" kern="1200" dirty="0" smtClean="0">
                <a:solidFill>
                  <a:schemeClr val="tx1"/>
                </a:solidFill>
                <a:effectLst/>
                <a:latin typeface="Segoe UI Light" pitchFamily="34" charset="0"/>
                <a:ea typeface="+mn-ea"/>
                <a:cs typeface="+mn-cs"/>
              </a:rPr>
              <a:t>The big answer that came back was interesting: no other company has the complete and flexible suite of capabilities like Microsoft, and the experience to back it up. Some companies have great productivity capabilities, but doesn’t have business apps or platform experience. Some companies have great platform expertise but no productivity or apps. </a:t>
            </a:r>
          </a:p>
          <a:p>
            <a:pPr lvl="0"/>
            <a:r>
              <a:rPr lang="en-US" sz="900" kern="1200" dirty="0" smtClean="0">
                <a:solidFill>
                  <a:schemeClr val="tx1"/>
                </a:solidFill>
                <a:effectLst/>
                <a:latin typeface="Segoe UI Light" pitchFamily="34" charset="0"/>
                <a:ea typeface="+mn-ea"/>
                <a:cs typeface="+mn-cs"/>
              </a:rPr>
              <a:t>We want to give you options, choice, flexibility, and back it up with rock-solid performance and security. That’s what Microsoft has been all about since the beginning. </a:t>
            </a:r>
          </a:p>
          <a:p>
            <a:pPr lvl="0"/>
            <a:r>
              <a:rPr lang="en-US" sz="900" kern="1200" dirty="0" smtClean="0">
                <a:solidFill>
                  <a:schemeClr val="tx1"/>
                </a:solidFill>
                <a:effectLst/>
                <a:latin typeface="Segoe UI Light" pitchFamily="34" charset="0"/>
                <a:ea typeface="+mn-ea"/>
                <a:cs typeface="+mn-cs"/>
              </a:rPr>
              <a:t>Let’s take a moment to look at the five things that make the Microsoft Cloud different—the things you should be considering when you’re selecting a cloud vendor.</a:t>
            </a:r>
          </a:p>
          <a:p>
            <a:pPr lvl="0"/>
            <a:r>
              <a:rPr lang="en-US" sz="900" b="1" kern="1200" dirty="0" smtClean="0">
                <a:solidFill>
                  <a:schemeClr val="tx1"/>
                </a:solidFill>
                <a:effectLst/>
                <a:latin typeface="Segoe UI Light" pitchFamily="34" charset="0"/>
                <a:ea typeface="+mn-ea"/>
                <a:cs typeface="+mn-cs"/>
              </a:rPr>
              <a:t>Global scale</a:t>
            </a:r>
            <a:r>
              <a:rPr lang="en-US" sz="900" kern="1200" dirty="0" smtClean="0">
                <a:solidFill>
                  <a:schemeClr val="tx1"/>
                </a:solidFill>
                <a:effectLst/>
                <a:latin typeface="Segoe UI Light" pitchFamily="34" charset="0"/>
                <a:ea typeface="+mn-ea"/>
                <a:cs typeface="+mn-cs"/>
              </a:rPr>
              <a:t>: We provide the worldwide reach and </a:t>
            </a:r>
            <a:r>
              <a:rPr lang="en-US" sz="900" kern="1200" dirty="0" err="1" smtClean="0">
                <a:solidFill>
                  <a:schemeClr val="tx1"/>
                </a:solidFill>
                <a:effectLst/>
                <a:latin typeface="Segoe UI Light" pitchFamily="34" charset="0"/>
                <a:ea typeface="+mn-ea"/>
                <a:cs typeface="+mn-cs"/>
              </a:rPr>
              <a:t>hyperscale</a:t>
            </a:r>
            <a:r>
              <a:rPr lang="en-US" sz="900" kern="1200" dirty="0" smtClean="0">
                <a:solidFill>
                  <a:schemeClr val="tx1"/>
                </a:solidFill>
                <a:effectLst/>
                <a:latin typeface="Segoe UI Light" pitchFamily="34" charset="0"/>
                <a:ea typeface="+mn-ea"/>
                <a:cs typeface="+mn-cs"/>
              </a:rPr>
              <a:t> needed to break cloud entry barrier giving you better economics, business agility, and availability. This is all of our experience running some of the largest cloud services in the world. You get to benefit from all of that knowledge, and our global platform. When you’re ready to scale—we’re ready.</a:t>
            </a:r>
          </a:p>
          <a:p>
            <a:pPr lvl="0"/>
            <a:r>
              <a:rPr lang="en-US" sz="900" b="1" kern="1200" dirty="0" smtClean="0">
                <a:solidFill>
                  <a:schemeClr val="tx1"/>
                </a:solidFill>
                <a:effectLst/>
                <a:latin typeface="Segoe UI Light" pitchFamily="34" charset="0"/>
                <a:ea typeface="+mn-ea"/>
                <a:cs typeface="+mn-cs"/>
              </a:rPr>
              <a:t>Enterprise-grade</a:t>
            </a:r>
            <a:r>
              <a:rPr lang="en-US" sz="900" kern="1200" dirty="0" smtClean="0">
                <a:solidFill>
                  <a:schemeClr val="tx1"/>
                </a:solidFill>
                <a:effectLst/>
                <a:latin typeface="Segoe UI Light" pitchFamily="34" charset="0"/>
                <a:ea typeface="+mn-ea"/>
                <a:cs typeface="+mn-cs"/>
              </a:rPr>
              <a:t>: We have proven enterprise experience coupled with security and compliance investments giving you the confidence your business demands. We’ve been working very hard for decades to become enterprise-grade—a badge of honor that we hold dear.</a:t>
            </a:r>
          </a:p>
          <a:p>
            <a:pPr lvl="0"/>
            <a:r>
              <a:rPr lang="en-US" sz="900" b="1" kern="1200" dirty="0" smtClean="0">
                <a:solidFill>
                  <a:schemeClr val="tx1"/>
                </a:solidFill>
                <a:effectLst/>
                <a:latin typeface="Segoe UI Light" pitchFamily="34" charset="0"/>
                <a:ea typeface="+mn-ea"/>
                <a:cs typeface="+mn-cs"/>
              </a:rPr>
              <a:t>Comprehensive</a:t>
            </a:r>
            <a:r>
              <a:rPr lang="en-US" sz="900" kern="1200" dirty="0" smtClean="0">
                <a:solidFill>
                  <a:schemeClr val="tx1"/>
                </a:solidFill>
                <a:effectLst/>
                <a:latin typeface="Segoe UI Light" pitchFamily="34" charset="0"/>
                <a:ea typeface="+mn-ea"/>
                <a:cs typeface="+mn-cs"/>
              </a:rPr>
              <a:t>: We provide unmatched breadth of capabilities that provide IT simplification and the consistency essential for your business transformation. We make it easy to connect things, say a unified identity and access management system enabling single-sign on to employees.</a:t>
            </a:r>
          </a:p>
          <a:p>
            <a:pPr lvl="0"/>
            <a:r>
              <a:rPr lang="en-US" sz="900" b="1" kern="1200" dirty="0" smtClean="0">
                <a:solidFill>
                  <a:schemeClr val="tx1"/>
                </a:solidFill>
                <a:effectLst/>
                <a:latin typeface="Segoe UI Light" pitchFamily="34" charset="0"/>
                <a:ea typeface="+mn-ea"/>
                <a:cs typeface="+mn-cs"/>
              </a:rPr>
              <a:t>Private, public, and hybrid cloud</a:t>
            </a:r>
            <a:r>
              <a:rPr lang="en-US" sz="900" kern="1200" dirty="0" smtClean="0">
                <a:solidFill>
                  <a:schemeClr val="tx1"/>
                </a:solidFill>
                <a:effectLst/>
                <a:latin typeface="Segoe UI Light" pitchFamily="34" charset="0"/>
                <a:ea typeface="+mn-ea"/>
                <a:cs typeface="+mn-cs"/>
              </a:rPr>
              <a:t>: This is the big one. We believe it’s critical that we provide flexible cloud services, scalability and capacity that increase the value of existing technology investments to best fit your business needs. We get that you can’t start over in the cloud overnight. You need flexibility when it comes to managing and making best use of existing on-premises investments, providing a path to the cloud, and for all of your cloud needs.</a:t>
            </a:r>
          </a:p>
          <a:p>
            <a:pPr lvl="0"/>
            <a:r>
              <a:rPr lang="en-US" sz="900" b="1" kern="1200" dirty="0" smtClean="0">
                <a:solidFill>
                  <a:schemeClr val="tx1"/>
                </a:solidFill>
                <a:effectLst/>
                <a:latin typeface="Segoe UI Light" pitchFamily="34" charset="0"/>
                <a:ea typeface="+mn-ea"/>
                <a:cs typeface="+mn-cs"/>
              </a:rPr>
              <a:t>People-centered experiences</a:t>
            </a:r>
            <a:r>
              <a:rPr lang="en-US" sz="900" kern="1200" dirty="0" smtClean="0">
                <a:solidFill>
                  <a:schemeClr val="tx1"/>
                </a:solidFill>
                <a:effectLst/>
                <a:latin typeface="Segoe UI Light" pitchFamily="34" charset="0"/>
                <a:ea typeface="+mn-ea"/>
                <a:cs typeface="+mn-cs"/>
              </a:rPr>
              <a:t>: We’re committed to providing the experiences end users want, with the control IT needs—designed to produce higher productivity and extend skillsets to cloud for innovation with minimal training costs. With Office, Dynamics, and Azure all working together, your people will be productive and delighted by the integrated experiences that just work.</a:t>
            </a:r>
          </a:p>
          <a:p>
            <a:r>
              <a:rPr lang="en-US" sz="900" kern="1200" dirty="0" smtClean="0">
                <a:solidFill>
                  <a:schemeClr val="tx1"/>
                </a:solidFill>
                <a:effectLst/>
                <a:latin typeface="Segoe UI Light" pitchFamily="34" charset="0"/>
                <a:ea typeface="+mn-ea"/>
                <a:cs typeface="+mn-cs"/>
              </a:rPr>
              <a:t>There are key steps to taking advantage of these Microsoft Cloud Platform values:</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The first is transforming the datacenter. </a:t>
            </a:r>
            <a:r>
              <a:rPr lang="en-US" sz="900" kern="1200" dirty="0" smtClean="0">
                <a:solidFill>
                  <a:schemeClr val="tx1"/>
                </a:solidFill>
                <a:effectLst/>
                <a:latin typeface="Segoe UI Light" pitchFamily="34" charset="0"/>
                <a:ea typeface="+mn-ea"/>
                <a:cs typeface="+mn-cs"/>
              </a:rPr>
              <a:t>There is so much complexity in how datacenters run today. IT is largely managing it as infrastructure and trying to consolidate servers and do virtualization to save money. Really what we need to do is transform the datacenter by bringing in automation. Actually helping customers think about not just managing servers, but managing the pooled resource of compute, networking, and storage sitting in that datacenter as a shared delivery service for the business. </a:t>
            </a:r>
          </a:p>
          <a:p>
            <a:r>
              <a:rPr lang="en-US" sz="900" b="1" kern="1200" dirty="0" smtClean="0">
                <a:solidFill>
                  <a:schemeClr val="tx1"/>
                </a:solidFill>
                <a:effectLst/>
                <a:latin typeface="Segoe UI Light" pitchFamily="34" charset="0"/>
                <a:ea typeface="+mn-ea"/>
                <a:cs typeface="+mn-cs"/>
              </a:rPr>
              <a:t/>
            </a:r>
            <a:br>
              <a:rPr lang="en-US" sz="900" b="1" kern="1200" dirty="0" smtClean="0">
                <a:solidFill>
                  <a:schemeClr val="tx1"/>
                </a:solidFill>
                <a:effectLst/>
                <a:latin typeface="Segoe UI Light" pitchFamily="34" charset="0"/>
                <a:ea typeface="+mn-ea"/>
                <a:cs typeface="+mn-cs"/>
              </a:rPr>
            </a:br>
            <a:r>
              <a:rPr lang="en-US" sz="900" b="1" kern="1200" dirty="0" smtClean="0">
                <a:solidFill>
                  <a:schemeClr val="tx1"/>
                </a:solidFill>
                <a:effectLst/>
                <a:latin typeface="Segoe UI Light" pitchFamily="34" charset="0"/>
                <a:ea typeface="+mn-ea"/>
                <a:cs typeface="+mn-cs"/>
              </a:rPr>
              <a:t>The second area is unlocking insights on any data. </a:t>
            </a:r>
            <a:r>
              <a:rPr lang="en-US" sz="900" kern="1200" dirty="0" smtClean="0">
                <a:solidFill>
                  <a:schemeClr val="tx1"/>
                </a:solidFill>
                <a:effectLst/>
                <a:latin typeface="Segoe UI Light" pitchFamily="34" charset="0"/>
                <a:ea typeface="+mn-ea"/>
                <a:cs typeface="+mn-cs"/>
              </a:rPr>
              <a:t>This is about helping IT bring together structured relational data inside the enterprise with unstructured non-relational data from the Web. Big Data from the Web, small data in terms of ERP and CRM, and other apps inside the firewalls really mean all data for us—and being able to bring these different data sets together to unlock insights for end users. We deliver the plumbing through SQL and our great capabilities and now we’re bringing new capabilities into SQL to connect that plumbing. But we also deliver it in partnership with the Microsoft Office Division and Excel and SharePoint, where we will democratize the frontend of BI, allowing people to uniquely combine data sets and get insights they’ve never been able to get before—doing so in a way that is easy. One of the biggest issues in data today is actually end-user training and adoption. Excel and SharePoint simply </a:t>
            </a:r>
            <a:r>
              <a:rPr lang="en-US" sz="900" kern="1200" dirty="0" err="1" smtClean="0">
                <a:solidFill>
                  <a:schemeClr val="tx1"/>
                </a:solidFill>
                <a:effectLst/>
                <a:latin typeface="Segoe UI Light" pitchFamily="34" charset="0"/>
                <a:ea typeface="+mn-ea"/>
                <a:cs typeface="+mn-cs"/>
              </a:rPr>
              <a:t>disintermediate</a:t>
            </a:r>
            <a:r>
              <a:rPr lang="en-US" sz="900" kern="1200" dirty="0" smtClean="0">
                <a:solidFill>
                  <a:schemeClr val="tx1"/>
                </a:solidFill>
                <a:effectLst/>
                <a:latin typeface="Segoe UI Light" pitchFamily="34" charset="0"/>
                <a:ea typeface="+mn-ea"/>
                <a:cs typeface="+mn-cs"/>
              </a:rPr>
              <a:t> that cost entirely. </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The third area is empowering enterprise mobility. </a:t>
            </a:r>
            <a:r>
              <a:rPr lang="en-US" sz="900" kern="1200" dirty="0" smtClean="0">
                <a:solidFill>
                  <a:schemeClr val="tx1"/>
                </a:solidFill>
                <a:effectLst/>
                <a:latin typeface="Segoe UI Light" pitchFamily="34" charset="0"/>
                <a:ea typeface="+mn-ea"/>
                <a:cs typeface="+mn-cs"/>
              </a:rPr>
              <a:t>This is about all the different devices that are coming into the environment today and helping IT manage the needs of the end users in their environments with the governance and support around policies for devices, data, and users as those devices come into the enterprise. Being able to do that in a consistent platform, through one pane of glass is a very powerful value proposition and it’s what we provide with </a:t>
            </a:r>
            <a:r>
              <a:rPr lang="en-US" sz="900" kern="1200" dirty="0" err="1" smtClean="0">
                <a:solidFill>
                  <a:schemeClr val="tx1"/>
                </a:solidFill>
                <a:effectLst/>
                <a:latin typeface="Segoe UI Light" pitchFamily="34" charset="0"/>
                <a:ea typeface="+mn-ea"/>
                <a:cs typeface="+mn-cs"/>
              </a:rPr>
              <a:t>Intune</a:t>
            </a:r>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The fourth is enabling application innovation. </a:t>
            </a:r>
            <a:r>
              <a:rPr lang="en-US" sz="900" kern="1200" dirty="0" smtClean="0">
                <a:solidFill>
                  <a:schemeClr val="tx1"/>
                </a:solidFill>
                <a:effectLst/>
                <a:latin typeface="Segoe UI Light" pitchFamily="34" charset="0"/>
                <a:ea typeface="+mn-ea"/>
                <a:cs typeface="+mn-cs"/>
              </a:rPr>
              <a:t>Through the power of our application platform, our vision is to allow customers to code once and deploy to any device. We need modern capabilities that allow you to stand up apps quickly, with fast failure and repeatable iterations vis-à-vis hybrid IT and cloud services, and to bring new types of form factors and new technologies like BI and social into the app itself. </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So, our whole strategy for the Microsoft Cloud Platform is to deliver on these four pillars for IT. </a:t>
            </a:r>
            <a:r>
              <a:rPr lang="en-US" sz="900" kern="1200" dirty="0" smtClean="0">
                <a:solidFill>
                  <a:schemeClr val="tx1"/>
                </a:solidFill>
                <a:effectLst/>
                <a:latin typeface="Segoe UI Light" pitchFamily="34" charset="0"/>
                <a:ea typeface="+mn-ea"/>
                <a:cs typeface="+mn-cs"/>
              </a:rPr>
              <a:t>What makes us truly unique is that we will deliver this across a consistent platform, across development, management, identity, virtualization, and the data platform itself. Our ambition with the Microsoft Cloud Platform is to allow a customer in their private cloud on premises to flex their environment out to a partner cloud or to Azure public cloud.  So that this notion of the Microsoft Cloud Platform delivers consistency and the ability to manage the apps’ environment and the infrastructure of commercial IT in a way that they’re not just managing in their four walls, but they’re able to take advantage of other types of clouds in a seamless way. This capability will give IT agility that they’ve never had before. </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9469C8-B58A-4095-9B93-12EB9196D46F}"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4585875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7:</a:t>
            </a:r>
            <a:r>
              <a:rPr lang="en-US" sz="900" kern="1200" dirty="0" smtClean="0">
                <a:solidFill>
                  <a:schemeClr val="tx1"/>
                </a:solidFill>
                <a:effectLst/>
                <a:latin typeface="Segoe UI Light" pitchFamily="34" charset="0"/>
                <a:ea typeface="+mn-ea"/>
                <a:cs typeface="+mn-cs"/>
              </a:rPr>
              <a:t> </a:t>
            </a:r>
            <a:r>
              <a:rPr lang="en-US" sz="900" b="1" kern="1200" dirty="0" smtClean="0">
                <a:solidFill>
                  <a:schemeClr val="tx1"/>
                </a:solidFill>
                <a:effectLst/>
                <a:latin typeface="Segoe UI Light" pitchFamily="34" charset="0"/>
                <a:ea typeface="+mn-ea"/>
                <a:cs typeface="+mn-cs"/>
              </a:rPr>
              <a:t> What do we know? Cloud is her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We know that the cloud is here.  It doesn’t take data for us to recognize that the world is changing, and that infrastructure options have expanded dramatically. What we don’t yet know is how cloud is going to change IT strategy.  Each individual company still has to look at business needs to make the right choices about when and how to use cloud resources.  We want to talk today about where we think hybrid makes sense.</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83170D1-324A-4830-8D18-C9EA355D3667}"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99643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eaLnBrk="1" fontAlgn="ctr" latinLnBrk="0" hangingPunct="1"/>
            <a:r>
              <a:rPr lang="en-US" sz="900" b="0" i="0" u="none" strike="noStrike" kern="1200" dirty="0" smtClean="0">
                <a:solidFill>
                  <a:schemeClr val="tx1"/>
                </a:solidFill>
                <a:effectLst/>
                <a:latin typeface="Segoe UI" pitchFamily="34" charset="0"/>
                <a:ea typeface="Segoe UI" pitchFamily="34" charset="0"/>
                <a:cs typeface="Segoe UI" pitchFamily="34" charset="0"/>
              </a:rPr>
              <a:t>Sample 1-day agenda. Customize as necessary.</a:t>
            </a:r>
            <a:endParaRPr lang="en-US" sz="900" b="0" i="0" u="none" strike="noStrike" kern="1200" dirty="0" smtClean="0">
              <a:solidFill>
                <a:schemeClr val="tx1"/>
              </a:solidFill>
              <a:effectLst/>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B7E0614F-C456-4093-A2B3-3B9DE60834AC}"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2911891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8: What are we learning from cloud?</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Microsoft offers real-world experience with massive scale deployments that is unmatched.</a:t>
            </a:r>
          </a:p>
          <a:p>
            <a:r>
              <a:rPr lang="en-US" sz="900" u="none" strike="noStrike"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Our Global Foundation Services organization supports over 1B customers and 20 million businesses running on Microsoft’s cloud services in 76 markets worldwide. Just one example of the kind of reach we’re talking about: Office 365 is now used by more than 20% of all enterprise organizations worldwide.</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This is learning that Microsoft uniquely possesses. And the learning we have had from these incredible cloud services, a cloud platform, are constantly being incorporated into the products we deliver for customers. Our real-world experience translates directly into new features both in our datacenter products and in our cloud services. Things like the service templates in System Center 2012 mirror the approach to services in Microsoft Azure.  </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But beyond specific features, we’re also learning from the general problems of deploying at scale. Based on our experience with cloud, we believe that the keys to datacenter transformation are standardization, automation, and resilience.</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Standardization means you aren’t reinventing the wheel. A consistent approach can increase reliability and make it easier to deliver services more rapidly.</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utomation lets you increase speed while reducing the errors that can creep into manual processe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nd resilience and scale are fundamental to building the kind of infrastructure you need to rapidly handle change. So what does that mean for the datacenter?</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7035A3F-1715-4B5F-BBD1-A9B8D765EDA8}"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730478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9: Transform the datacenter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We believe that you can best meet the evolving needs of your business with a hybrid cloud approach. And when you think about moving to a hybrid cloud model, there are three things that you really have to have in order to make hybrid work.</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First of all, you need </a:t>
            </a:r>
            <a:r>
              <a:rPr lang="en-US" sz="900" b="1" kern="1200" dirty="0" smtClean="0">
                <a:solidFill>
                  <a:schemeClr val="tx1"/>
                </a:solidFill>
                <a:effectLst/>
                <a:latin typeface="Segoe UI Light" pitchFamily="34" charset="0"/>
                <a:ea typeface="+mn-ea"/>
                <a:cs typeface="+mn-cs"/>
              </a:rPr>
              <a:t>cloud options on demand</a:t>
            </a:r>
            <a:r>
              <a:rPr lang="en-US" sz="900" kern="1200" dirty="0" smtClean="0">
                <a:solidFill>
                  <a:schemeClr val="tx1"/>
                </a:solidFill>
                <a:effectLst/>
                <a:latin typeface="Segoe UI Light" pitchFamily="34" charset="0"/>
                <a:ea typeface="+mn-ea"/>
                <a:cs typeface="+mn-cs"/>
              </a:rPr>
              <a:t>. You need to be able to extend to the cloud when it makes sense for your business and according to your individual company’s needs. Your datacenter today is configured to meet the specific needs of your business, and your cloud solution should meet that same standard. Think about consistency across clouds, management of heterogeneous resources, and workload mobility.</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Next, you need to </a:t>
            </a:r>
            <a:r>
              <a:rPr lang="en-US" sz="900" b="1" kern="1200" dirty="0" smtClean="0">
                <a:solidFill>
                  <a:schemeClr val="tx1"/>
                </a:solidFill>
                <a:effectLst/>
                <a:latin typeface="Segoe UI Light" pitchFamily="34" charset="0"/>
                <a:ea typeface="+mn-ea"/>
                <a:cs typeface="+mn-cs"/>
              </a:rPr>
              <a:t>reduce cost and complexity</a:t>
            </a:r>
            <a:r>
              <a:rPr lang="en-US" sz="900" kern="1200" dirty="0" smtClean="0">
                <a:solidFill>
                  <a:schemeClr val="tx1"/>
                </a:solidFill>
                <a:effectLst/>
                <a:latin typeface="Segoe UI Light" pitchFamily="34" charset="0"/>
                <a:ea typeface="+mn-ea"/>
                <a:cs typeface="+mn-cs"/>
              </a:rPr>
              <a:t>. There’s a common misperception that moving to hybrid cloud is going to increase the burden on IT. You need to take advantage of innovation in the right way—meaning real-world solutions to old problem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nd then—most importantly—you have to be able to deliver a </a:t>
            </a:r>
            <a:r>
              <a:rPr lang="en-US" sz="900" b="1" kern="1200" dirty="0" smtClean="0">
                <a:solidFill>
                  <a:schemeClr val="tx1"/>
                </a:solidFill>
                <a:effectLst/>
                <a:latin typeface="Segoe UI Light" pitchFamily="34" charset="0"/>
                <a:ea typeface="+mn-ea"/>
                <a:cs typeface="+mn-cs"/>
              </a:rPr>
              <a:t>rapid response to the business</a:t>
            </a:r>
            <a:r>
              <a:rPr lang="en-US" sz="900" kern="1200" dirty="0" smtClean="0">
                <a:solidFill>
                  <a:schemeClr val="tx1"/>
                </a:solidFill>
                <a:effectLst/>
                <a:latin typeface="Segoe UI Light" pitchFamily="34" charset="0"/>
                <a:ea typeface="+mn-ea"/>
                <a:cs typeface="+mn-cs"/>
              </a:rPr>
              <a:t>. Transforming the datacenter has to make you faster. So whatever resources you add, or changes you make, that’s the standard—has it enabled IT to deliver services more rapidly?</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Microsoft allows you to build a cloud platform for your business that includes resources from your datacenter, a service provider’s datacenter, or from Microsoft Azure—based on the specific needs of your individual business. Windows Server, Microsoft System Center, and Microsoft Azure together form an infrastructure foundation that will flex to meet your needs.  </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D8A9398-589B-4F74-9129-C1CFE8817FFC}"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7826082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0: </a:t>
            </a:r>
            <a:r>
              <a:rPr lang="en-US" sz="900" kern="1200" dirty="0" smtClean="0">
                <a:solidFill>
                  <a:schemeClr val="tx1"/>
                </a:solidFill>
                <a:effectLst/>
                <a:latin typeface="Segoe UI Light" pitchFamily="34" charset="0"/>
                <a:ea typeface="+mn-ea"/>
                <a:cs typeface="+mn-cs"/>
              </a:rPr>
              <a:t> </a:t>
            </a:r>
            <a:r>
              <a:rPr lang="en-US" sz="900" b="1" kern="1200" dirty="0" smtClean="0">
                <a:solidFill>
                  <a:schemeClr val="tx1"/>
                </a:solidFill>
                <a:effectLst/>
                <a:latin typeface="Segoe UI Light" pitchFamily="34" charset="0"/>
                <a:ea typeface="+mn-ea"/>
                <a:cs typeface="+mn-cs"/>
              </a:rPr>
              <a:t>Pillars intro</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So how can you optimize your infrastructure? There are three areas where you have the opportunity to make changes that will reduce costs, simplify management, and allow you to access the cloud when it makes sense for your business.</a:t>
            </a:r>
          </a:p>
          <a:p>
            <a:r>
              <a:rPr lang="en-US" sz="900" b="1"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661FB68-3918-4A24-B8EF-2BC81D0F57FE}"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1669282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1: What is Software-defined?</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Software-defined” has become an industry term—but what does it really mean for you? With a software-defined datacenter, you gain the ability to manage diverse hardware as a unified resource pool. You get greater flexibility and more resilience. That’s the big thing we’re learning from cloud—that to respond rapidly to the demands of the business, you have to move away from a highly-customized infrastructure to a standardized, automated infrastructure.</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5E9E2B-27A3-41A5-9FA2-FA920DBF880B}"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160705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2: Reimagine compute </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Microsoft is once again a leader in the Gartner x86 Virtualization Magic Quadrant in 2014. We’re driving innovation in compute with </a:t>
            </a:r>
            <a:r>
              <a:rPr lang="en-US" sz="900" b="1" kern="1200" dirty="0" smtClean="0">
                <a:solidFill>
                  <a:schemeClr val="tx1"/>
                </a:solidFill>
                <a:effectLst/>
                <a:latin typeface="Segoe UI Light" pitchFamily="34" charset="0"/>
                <a:ea typeface="+mn-ea"/>
                <a:cs typeface="+mn-cs"/>
              </a:rPr>
              <a:t>industry-leading scale and performance</a:t>
            </a:r>
            <a:r>
              <a:rPr lang="en-US" sz="900" kern="1200" dirty="0" smtClean="0">
                <a:solidFill>
                  <a:schemeClr val="tx1"/>
                </a:solidFill>
                <a:effectLst/>
                <a:latin typeface="Segoe UI Light" pitchFamily="34" charset="0"/>
                <a:ea typeface="+mn-ea"/>
                <a:cs typeface="+mn-cs"/>
              </a:rPr>
              <a:t>:</a:t>
            </a:r>
          </a:p>
          <a:p>
            <a:pPr lvl="0"/>
            <a:r>
              <a:rPr lang="en-US" sz="900" kern="1200" dirty="0" smtClean="0">
                <a:solidFill>
                  <a:schemeClr val="tx1"/>
                </a:solidFill>
                <a:effectLst/>
                <a:latin typeface="Segoe UI Light" pitchFamily="34" charset="0"/>
                <a:ea typeface="+mn-ea"/>
                <a:cs typeface="+mn-cs"/>
              </a:rPr>
              <a:t>Scale to your largest workloads with </a:t>
            </a:r>
            <a:r>
              <a:rPr lang="en-US" sz="900" b="1" kern="1200" dirty="0" smtClean="0">
                <a:solidFill>
                  <a:schemeClr val="tx1"/>
                </a:solidFill>
                <a:effectLst/>
                <a:latin typeface="Segoe UI Light" pitchFamily="34" charset="0"/>
                <a:ea typeface="+mn-ea"/>
                <a:cs typeface="+mn-cs"/>
              </a:rPr>
              <a:t>64 virtual processors per VM</a:t>
            </a:r>
            <a:r>
              <a:rPr lang="en-US" sz="900" kern="1200" dirty="0" smtClean="0">
                <a:solidFill>
                  <a:schemeClr val="tx1"/>
                </a:solidFill>
                <a:effectLst/>
                <a:latin typeface="Segoe UI Light" pitchFamily="34" charset="0"/>
                <a:ea typeface="+mn-ea"/>
                <a:cs typeface="+mn-cs"/>
              </a:rPr>
              <a:t> and 1TB memory per VM</a:t>
            </a:r>
          </a:p>
          <a:p>
            <a:pPr lvl="0"/>
            <a:r>
              <a:rPr lang="en-US" sz="900" kern="1200" dirty="0" smtClean="0">
                <a:solidFill>
                  <a:schemeClr val="tx1"/>
                </a:solidFill>
                <a:effectLst/>
                <a:latin typeface="Segoe UI Light" pitchFamily="34" charset="0"/>
                <a:ea typeface="+mn-ea"/>
                <a:cs typeface="+mn-cs"/>
              </a:rPr>
              <a:t>Drive up your consolidation ratio with 320 logical processors per host, 4TB physical memory per host and </a:t>
            </a:r>
            <a:r>
              <a:rPr lang="en-US" sz="900" b="1" kern="1200" dirty="0" smtClean="0">
                <a:solidFill>
                  <a:schemeClr val="tx1"/>
                </a:solidFill>
                <a:effectLst/>
                <a:latin typeface="Segoe UI Light" pitchFamily="34" charset="0"/>
                <a:ea typeface="+mn-ea"/>
                <a:cs typeface="+mn-cs"/>
              </a:rPr>
              <a:t>1,024 VMs per host</a:t>
            </a:r>
            <a:endParaRPr lang="en-US" sz="900" kern="1200" dirty="0" smtClean="0">
              <a:solidFill>
                <a:schemeClr val="tx1"/>
              </a:solidFill>
              <a:effectLst/>
              <a:latin typeface="Segoe UI Light" pitchFamily="34" charset="0"/>
              <a:ea typeface="+mn-ea"/>
              <a:cs typeface="+mn-cs"/>
            </a:endParaRPr>
          </a:p>
          <a:p>
            <a:pPr lvl="0"/>
            <a:r>
              <a:rPr lang="en-US" sz="900" kern="1200" dirty="0" smtClean="0">
                <a:solidFill>
                  <a:schemeClr val="tx1"/>
                </a:solidFill>
                <a:effectLst/>
                <a:latin typeface="Segoe UI Light" pitchFamily="34" charset="0"/>
                <a:ea typeface="+mn-ea"/>
                <a:cs typeface="+mn-cs"/>
              </a:rPr>
              <a:t>Increase scale per cluster with</a:t>
            </a:r>
            <a:r>
              <a:rPr lang="en-US" sz="900" b="1" kern="1200" dirty="0" smtClean="0">
                <a:solidFill>
                  <a:schemeClr val="tx1"/>
                </a:solidFill>
                <a:effectLst/>
                <a:latin typeface="Segoe UI Light" pitchFamily="34" charset="0"/>
                <a:ea typeface="+mn-ea"/>
                <a:cs typeface="+mn-cs"/>
              </a:rPr>
              <a:t> 64 physical nodes per cluster, 8,000 VMs </a:t>
            </a:r>
            <a:br>
              <a:rPr lang="en-US" sz="900" b="1" kern="1200" dirty="0" smtClean="0">
                <a:solidFill>
                  <a:schemeClr val="tx1"/>
                </a:solidFill>
                <a:effectLst/>
                <a:latin typeface="Segoe UI Light" pitchFamily="34" charset="0"/>
                <a:ea typeface="+mn-ea"/>
                <a:cs typeface="+mn-cs"/>
              </a:rPr>
            </a:br>
            <a:r>
              <a:rPr lang="en-US" sz="900" b="1" kern="1200" dirty="0" smtClean="0">
                <a:solidFill>
                  <a:schemeClr val="tx1"/>
                </a:solidFill>
                <a:effectLst/>
                <a:latin typeface="Segoe UI Light" pitchFamily="34" charset="0"/>
                <a:ea typeface="+mn-ea"/>
                <a:cs typeface="+mn-cs"/>
              </a:rPr>
              <a:t>per cluster</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Zero-downtime migrations</a:t>
            </a:r>
            <a:r>
              <a:rPr lang="en-US" sz="900" kern="1200" dirty="0" smtClean="0">
                <a:solidFill>
                  <a:schemeClr val="tx1"/>
                </a:solidFill>
                <a:effectLst/>
                <a:latin typeface="Segoe UI Light" pitchFamily="34" charset="0"/>
                <a:ea typeface="+mn-ea"/>
                <a:cs typeface="+mn-cs"/>
              </a:rPr>
              <a:t>: In Windows Server 2012 R2, live migration just gets better.  Live migration is a critical aspect of the software-defined datacenter, because you need the flexibility of moving virtual machines between physical servers with zero downtime. In the latest release of Windows Server, we’ve made it easier to move large numbers of virtual machines—for dynamic load balancing, for example—with the same speed that you expect when moving a single virtual machine.</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Open-source integration</a:t>
            </a:r>
            <a:r>
              <a:rPr lang="en-US" sz="900" kern="1200" dirty="0" smtClean="0">
                <a:solidFill>
                  <a:schemeClr val="tx1"/>
                </a:solidFill>
                <a:effectLst/>
                <a:latin typeface="Segoe UI Light" pitchFamily="34" charset="0"/>
                <a:ea typeface="+mn-ea"/>
                <a:cs typeface="+mn-cs"/>
              </a:rPr>
              <a:t>: Directly in Hyper-V, we have built features to enable live backups for Linux guests, and we have exhaustively tested to ensure that Hyper-V features, like live migration, work for Linux guests just like they do for Windows guests. In Windows Server 2012 R2, our engineering teams worked across the board to ensure Linux is at its best on Hyper-V.</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Infrastructure for hardware-based security:</a:t>
            </a:r>
            <a:r>
              <a:rPr lang="en-US" sz="900" kern="1200" dirty="0" smtClean="0">
                <a:solidFill>
                  <a:schemeClr val="tx1"/>
                </a:solidFill>
                <a:effectLst/>
                <a:latin typeface="Segoe UI Light" pitchFamily="34" charset="0"/>
                <a:ea typeface="+mn-ea"/>
                <a:cs typeface="+mn-cs"/>
              </a:rPr>
              <a:t> Windows Server 2012 R2 also includes multiple features to make it easier to secure data and restrict access. </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Virtualization is the foundation of the software-defined datacenter. Microsoft offers enterprise-grade features and ongoing innovation to allow you to create a flexible, resilient infrastructure fabric.</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31F537-A120-4311-ADD4-65BEE4697499}"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605499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3: Reimagine networking</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When we look at datacenter transformation, networking is an area with huge potential. Today’s networks can be rigid, meaning that they make it difficult to move workloads within the infrastructure, and network operations involve high levels of manual processe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s a result, one of the biggest trends today is software-defined networking. What exactly does that mean?</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 big part of SDN is network virtualization, a capability that we offer today in Windows Server 2012. Network virtualization does for the network what server virtualization did for compute. It allows you to use software to manage a diverse set of hardware as a single, elastic resource pool. If you then add in additional management capabilities through software, you get a very flexible approach.</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nd the benefits are very similar for networking. With compute capacity, we see with the private cloud model how virtualization gives you increased flexibility in moving workloads and allocating capacity. You get greater efficiency when you have this increased ability to balance the load across your existing resource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With Windows Server 2012 R2 and System Center 2012 R2 Virtual Machine Manager, your network becomes a pooled resource that can be defined by software, managed centrally through automation, and extended beyond your datacenter.</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Networking today is complicated because the underlying physical network hardware such as ports, switches, and routers tends to require manual configuration. Network operations are often complex since the management interfaces to configure and provision network devices tend to be proprietary; in many cases, network configuration needs to happen on a per-device basis, making it difficult to maintain an end-to-end operational view of your network. </a:t>
            </a: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With a virtualized network infrastructure, you can control the building of the network, configuration, and traffic-routing using software. You can manage your network infrastructure as a unified whole, and that allows you to do three very important things: you can isolate what you need to isolate, you can move what you need to move, and you can build connections between your datacenter and cloud resources.</a:t>
            </a: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Isolate:</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So let’s first talk about isolation. We’ve talked a lot about the importance of a unified resource pool, but there are many reasons why you might want to create divisions or partitions within that pool. For example, you might want to separate individual departments. As companies increasingly rely on central datacenters to support global operations, you might also want to separate geographical regions. Today, some companies create separate areas for physical servers, designated to particular geos, within the datacenter. But that isn’t a very efficient usage model, and it doesn’t give you many options if that set of servers experiences problems. With network virtualization, or software-defined networking, you can create boundaries within the datacenter to enable multi-tenancy and keep workloads isolated from each other without placing them in separate hardware pool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What else can you do with a virtualized network infrastructure?</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Move:</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In the past, individual workloads were pretty tightly coupled to the underlying physical network infrastructure. That meant that moving workloads within the datacenter required extensive manual reconfiguration. Network virtualization lets you move workloads even from one datacenter to another because the control plane for the network is all handled through software. We have a number of features in Windows Server 2012 and Windows Server 2012 R2 that combine to make that process even easier.</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Connect to clouds:</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nd finally, software-defined networking lets you connect easily to clouds outside your datacenter.  It allows you to treat cloud resources as an extension of your own infrastructure—so in a way, you could say that SDN and network virtualization are the keys to hybrid.  That’s why we continue to invest so heavily in this area, and that’s why we offer all of these features in the box.</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4D4B9CD-BD86-454A-84B5-EA8E99980D0A}"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9343672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4: Reimagine storage</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Companies continue to face storage pain. Although storage cost-per-TB continues to fall, the demand for storage is growing much faster—35-50+percent annually. This only increases the pressure on business as storage spend outpaces server spend—or IT budgets—and introduces a chain of costs, and more pain.</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We want to provide customers with ways to improve their storage infrastructure and how they leverage it, regardless of their current storage environment. We want to create strategic options using cloud technologies that lead to lasting solution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Those include continuing with traditional storage investments and optimizing them, or integrating new options for next-generation on-premises (i.e. private cloud) or hybrid cloud storage.</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Many companies have existing storage and technology investments that they wish to maintain—i.e. direct-attached storage, storage area networks (SAN), network-attached storage (NAS), and data protection infrastructure.  </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Our offerings can improve the utility of these elements across our workloads, including:</a:t>
            </a:r>
          </a:p>
          <a:p>
            <a:pPr lvl="0"/>
            <a:r>
              <a:rPr lang="en-US" sz="900" kern="1200" dirty="0" smtClean="0">
                <a:solidFill>
                  <a:schemeClr val="tx1"/>
                </a:solidFill>
                <a:effectLst/>
                <a:latin typeface="Segoe UI Light" pitchFamily="34" charset="0"/>
                <a:ea typeface="+mn-ea"/>
                <a:cs typeface="+mn-cs"/>
              </a:rPr>
              <a:t>Windows Server integration of off-loaded data support for SAN, providing improved performance</a:t>
            </a:r>
          </a:p>
          <a:p>
            <a:pPr lvl="0"/>
            <a:r>
              <a:rPr lang="en-US" sz="900" kern="1200" dirty="0" smtClean="0">
                <a:solidFill>
                  <a:schemeClr val="tx1"/>
                </a:solidFill>
                <a:effectLst/>
                <a:latin typeface="Segoe UI Light" pitchFamily="34" charset="0"/>
                <a:ea typeface="+mn-ea"/>
                <a:cs typeface="+mn-cs"/>
              </a:rPr>
              <a:t>De-duplicated volumes and backup over SMB 3, offering up to 9x performance improvement</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We don’t want to strand businesses on old technology, nor would we mandate any undesired changes. Companies can continue to use their existing investments in Windows Server and System Center for storage management and disaster recovery needs within their traditional storage environment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But you don’t need a SAN for every purpose.</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Cost-effective storage for private clouds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Today most companies have virtualized compute. As we discussed earlier, whatever your hypervisor, live migration is a key capability and historically, customers have used a SAN to support that. But we’ve introduced new options for customers’ primary storage: </a:t>
            </a:r>
            <a:br>
              <a:rPr lang="en-US" sz="900" kern="1200" dirty="0" smtClean="0">
                <a:solidFill>
                  <a:schemeClr val="tx1"/>
                </a:solidFill>
                <a:effectLst/>
                <a:latin typeface="Segoe UI Light" pitchFamily="34" charset="0"/>
                <a:ea typeface="+mn-ea"/>
                <a:cs typeface="+mn-cs"/>
              </a:rPr>
            </a:br>
            <a:r>
              <a:rPr lang="en-US" sz="900" kern="1200" dirty="0" smtClean="0">
                <a:solidFill>
                  <a:schemeClr val="tx1"/>
                </a:solidFill>
                <a:effectLst/>
                <a:latin typeface="Segoe UI Light" pitchFamily="34" charset="0"/>
                <a:ea typeface="+mn-ea"/>
                <a:cs typeface="+mn-cs"/>
              </a:rPr>
              <a:t>we provide the performance and availability required </a:t>
            </a:r>
            <a:r>
              <a:rPr lang="en-US" sz="900" b="1" kern="1200" dirty="0" smtClean="0">
                <a:solidFill>
                  <a:schemeClr val="tx1"/>
                </a:solidFill>
                <a:effectLst/>
                <a:latin typeface="Segoe UI Light" pitchFamily="34" charset="0"/>
                <a:ea typeface="+mn-ea"/>
                <a:cs typeface="+mn-cs"/>
              </a:rPr>
              <a:t>to use file storage as a back </a:t>
            </a:r>
            <a:br>
              <a:rPr lang="en-US" sz="900" b="1" kern="1200" dirty="0" smtClean="0">
                <a:solidFill>
                  <a:schemeClr val="tx1"/>
                </a:solidFill>
                <a:effectLst/>
                <a:latin typeface="Segoe UI Light" pitchFamily="34" charset="0"/>
                <a:ea typeface="+mn-ea"/>
                <a:cs typeface="+mn-cs"/>
              </a:rPr>
            </a:br>
            <a:r>
              <a:rPr lang="en-US" sz="900" b="1" kern="1200" dirty="0" smtClean="0">
                <a:solidFill>
                  <a:schemeClr val="tx1"/>
                </a:solidFill>
                <a:effectLst/>
                <a:latin typeface="Segoe UI Light" pitchFamily="34" charset="0"/>
                <a:ea typeface="+mn-ea"/>
                <a:cs typeface="+mn-cs"/>
              </a:rPr>
              <a:t>end for virtualization workloads.</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We’ve made this possible through a set of technologies, including:</a:t>
            </a:r>
          </a:p>
          <a:p>
            <a:pPr lvl="0"/>
            <a:r>
              <a:rPr lang="en-US" sz="900" kern="1200" dirty="0" smtClean="0">
                <a:solidFill>
                  <a:schemeClr val="tx1"/>
                </a:solidFill>
                <a:effectLst/>
                <a:latin typeface="Segoe UI Light" pitchFamily="34" charset="0"/>
                <a:ea typeface="+mn-ea"/>
                <a:cs typeface="+mn-cs"/>
              </a:rPr>
              <a:t>SMB 3 protocol updates that improve network file share performance</a:t>
            </a:r>
          </a:p>
          <a:p>
            <a:pPr lvl="0"/>
            <a:r>
              <a:rPr lang="en-US" sz="900" kern="1200" dirty="0" smtClean="0">
                <a:solidFill>
                  <a:schemeClr val="tx1"/>
                </a:solidFill>
                <a:effectLst/>
                <a:latin typeface="Segoe UI Light" pitchFamily="34" charset="0"/>
                <a:ea typeface="+mn-ea"/>
                <a:cs typeface="+mn-cs"/>
              </a:rPr>
              <a:t>New load-balanced active-active file server clusters</a:t>
            </a:r>
          </a:p>
          <a:p>
            <a:pPr lvl="0"/>
            <a:r>
              <a:rPr lang="en-US" sz="900" kern="1200" dirty="0" smtClean="0">
                <a:solidFill>
                  <a:schemeClr val="tx1"/>
                </a:solidFill>
                <a:effectLst/>
                <a:latin typeface="Segoe UI Light" pitchFamily="34" charset="0"/>
                <a:ea typeface="+mn-ea"/>
                <a:cs typeface="+mn-cs"/>
              </a:rPr>
              <a:t>Introducing SMB Transparent Failover for the clusters so that the servers relying on them can run uninterrupted, even in the event that a node fail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Employing and managing file-based storage will be very cost-effective for many private cloud deployments. Our data protection management solution provides support for shared-nothing live migration in these environments. VMs can move freely, remaining protected while using resources efficiently.</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3863C74-1642-41A2-AAB7-493D379E19C0}"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493663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5: Automate and secure your infrastructur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We’ve talked about the infrastructure fabric, and how there are enhancements available in Windows Server 2012 R2. But how do you think about the services that run on top of that infrastructure? How do you ensure that you’re managing effectively and building security into your process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661FB68-3918-4A24-B8EF-2BC81D0F57FE}"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8868515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6: Build and operate</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Building the right platform is only half of what you need to do to support the changing needs of your business. The next big piece is operations (operations fundamental to SDDC, not an add-on layer on top)—the way that you bring new resources in, deliver applications and services to the business, meet demanding SLAs, and ensure that you’re meeting requirements for security and compliance.</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Going back to the </a:t>
            </a:r>
            <a:r>
              <a:rPr lang="en-US" sz="900" kern="1200" dirty="0" err="1" smtClean="0">
                <a:solidFill>
                  <a:schemeClr val="tx1"/>
                </a:solidFill>
                <a:effectLst/>
                <a:latin typeface="Segoe UI Light" pitchFamily="34" charset="0"/>
                <a:ea typeface="+mn-ea"/>
                <a:cs typeface="+mn-cs"/>
              </a:rPr>
              <a:t>learnings</a:t>
            </a:r>
            <a:r>
              <a:rPr lang="en-US" sz="900" kern="1200" dirty="0" smtClean="0">
                <a:solidFill>
                  <a:schemeClr val="tx1"/>
                </a:solidFill>
                <a:effectLst/>
                <a:latin typeface="Segoe UI Light" pitchFamily="34" charset="0"/>
                <a:ea typeface="+mn-ea"/>
                <a:cs typeface="+mn-cs"/>
              </a:rPr>
              <a:t> from cloud that we discussed early, you need to bring standardization and automation to core processes. But you also need to rethink security, because the pooling of resources in a private cloud model creates issues of access control. For on-demand self-service, you have to think about who has the ability to demand, provision, use or request services. In our next section, we’ll talk more about identity as part of your security strategy. The critical thing to note here is that as you transform the datacenter to take advantage of innovation, security should be part of the picture. The security features in Windows Server 2012 R2 are second to none</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Beyond security, how can you be sure that you are operating your infrastructure efficiently, without wasting time or resources? The solution is a unified approach to management.</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DEB4B73-5BF7-4819-A0F7-8506BCA39D22}"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38993700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7: Unified management</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Unified management means a single approach and a single console that lets you provision, deploy, monitor, and manage.</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It’s a key part of a “cloud operations” or “software-defined datacenter” approach: management is the intelligence within the system.</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For provisioning, you’re looking for an approach that lets you avoid repetitive processes—so that you can deploy servers and applications rapidly and without error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You also want a robust set of tools for monitoring and management. Modern applications are often highly distributed and management means tools that can take into account the stack from the metal up. </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nd you want the right tools for service delivery, with a consistent experience across cloud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Let’s look at these areas in more detail.</a:t>
            </a:r>
          </a:p>
          <a:p>
            <a:r>
              <a:rPr lang="en-US" sz="900" b="1"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10330F9-E2EB-4147-B64B-9D534BBFD878}"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487839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marL="0" marR="0" indent="0" algn="l" defTabSz="932316"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ＭＳ Ｐゴシック" charset="0"/>
                <a:cs typeface="ＭＳ Ｐゴシック" charset="0"/>
              </a:rPr>
              <a:t>Do not show – Slide 1: STB Microsoft Cloud Platform strategy deck –  </a:t>
            </a:r>
            <a:r>
              <a:rPr lang="en-US" sz="1200" i="1" kern="1200" dirty="0" smtClean="0">
                <a:solidFill>
                  <a:schemeClr val="tx1"/>
                </a:solidFill>
                <a:effectLst/>
                <a:latin typeface="+mn-lt"/>
                <a:ea typeface="ＭＳ Ｐゴシック" charset="0"/>
                <a:cs typeface="ＭＳ Ｐゴシック" charset="0"/>
              </a:rPr>
              <a:t>(Deck details</a:t>
            </a:r>
            <a:r>
              <a:rPr lang="en-US" sz="1200" i="1" kern="1200" dirty="0" smtClean="0">
                <a:solidFill>
                  <a:schemeClr val="tx1"/>
                </a:solidFill>
                <a:effectLst/>
                <a:latin typeface="+mn-lt"/>
                <a:ea typeface="ＭＳ Ｐゴシック" charset="0"/>
                <a:cs typeface="ＭＳ Ｐゴシック" charset="0"/>
              </a:rPr>
              <a:t>)</a:t>
            </a:r>
          </a:p>
          <a:p>
            <a:pPr marL="0" marR="0" indent="0" algn="l" defTabSz="932316"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effectLst/>
                <a:latin typeface="+mn-lt"/>
                <a:ea typeface="ＭＳ Ｐゴシック" charset="0"/>
                <a:cs typeface="ＭＳ Ｐゴシック" charset="0"/>
              </a:rPr>
              <a:t>For more information on content messaging and source of slides: http://infopedia/SMSG/Pages/Cloud_Platform.aspx (internal)</a:t>
            </a:r>
            <a:endParaRPr lang="en-US" sz="1200" kern="1200" dirty="0" smtClean="0">
              <a:solidFill>
                <a:schemeClr val="tx1"/>
              </a:solidFill>
              <a:effectLst/>
              <a:latin typeface="+mn-lt"/>
              <a:ea typeface="ＭＳ Ｐゴシック" charset="0"/>
              <a:cs typeface="ＭＳ Ｐゴシック" charset="0"/>
            </a:endParaRPr>
          </a:p>
          <a:p>
            <a:pPr defTabSz="932316" fontAlgn="auto">
              <a:spcBef>
                <a:spcPts val="0"/>
              </a:spcBef>
              <a:spcAft>
                <a:spcPts val="0"/>
              </a:spcAft>
              <a:defRPr/>
            </a:pPr>
            <a:endParaRPr lang="en-US" sz="1224" dirty="0">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defTabSz="93135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135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46084"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2D90798-2654-1F4D-AF7F-5BD59530B040}"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4608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44B3129B-E286-A249-B8A1-C5CBF3880587}" type="slidenum">
              <a:rPr lang="en-US">
                <a:solidFill>
                  <a:srgbClr val="000000"/>
                </a:solidFill>
                <a:latin typeface="Calibri" charset="0"/>
              </a:rPr>
              <a:pPr defTabSz="931863" fontAlgn="base">
                <a:spcBef>
                  <a:spcPct val="0"/>
                </a:spcBef>
                <a:spcAft>
                  <a:spcPct val="0"/>
                </a:spcAft>
              </a:pPr>
              <a:t>7</a:t>
            </a:fld>
            <a:endParaRPr lang="en-US">
              <a:solidFill>
                <a:srgbClr val="000000"/>
              </a:solidFill>
              <a:latin typeface="Calibri" charset="0"/>
            </a:endParaRPr>
          </a:p>
        </p:txBody>
      </p:sp>
    </p:spTree>
    <p:extLst>
      <p:ext uri="{BB962C8B-B14F-4D97-AF65-F5344CB8AC3E}">
        <p14:creationId xmlns:p14="http://schemas.microsoft.com/office/powerpoint/2010/main" val="29962829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8: Provisioning</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Infrastructure</a:t>
            </a:r>
          </a:p>
          <a:p>
            <a:r>
              <a:rPr lang="en-US" sz="900" kern="1200" dirty="0" smtClean="0">
                <a:solidFill>
                  <a:schemeClr val="tx1"/>
                </a:solidFill>
                <a:effectLst/>
                <a:latin typeface="Segoe UI Light" pitchFamily="34" charset="0"/>
                <a:ea typeface="+mn-ea"/>
                <a:cs typeface="+mn-cs"/>
              </a:rPr>
              <a:t>With the right processes and technology in place, you can take a new server, rack it, attach a network cable, and within 15 minutes have it be part of the running infrastructure as the system:</a:t>
            </a:r>
          </a:p>
          <a:p>
            <a:pPr lvl="0"/>
            <a:r>
              <a:rPr lang="en-US" sz="900" kern="1200" dirty="0" smtClean="0">
                <a:solidFill>
                  <a:schemeClr val="tx1"/>
                </a:solidFill>
                <a:effectLst/>
                <a:latin typeface="Segoe UI Light" pitchFamily="34" charset="0"/>
                <a:ea typeface="+mn-ea"/>
                <a:cs typeface="+mn-cs"/>
              </a:rPr>
              <a:t>Discovers</a:t>
            </a:r>
          </a:p>
          <a:p>
            <a:pPr lvl="0"/>
            <a:r>
              <a:rPr lang="en-US" sz="900" kern="1200" dirty="0" smtClean="0">
                <a:solidFill>
                  <a:schemeClr val="tx1"/>
                </a:solidFill>
                <a:effectLst/>
                <a:latin typeface="Segoe UI Light" pitchFamily="34" charset="0"/>
                <a:ea typeface="+mn-ea"/>
                <a:cs typeface="+mn-cs"/>
              </a:rPr>
              <a:t>Interrogates</a:t>
            </a:r>
          </a:p>
          <a:p>
            <a:pPr lvl="0"/>
            <a:r>
              <a:rPr lang="en-US" sz="900" kern="1200" dirty="0" smtClean="0">
                <a:solidFill>
                  <a:schemeClr val="tx1"/>
                </a:solidFill>
                <a:effectLst/>
                <a:latin typeface="Segoe UI Light" pitchFamily="34" charset="0"/>
                <a:ea typeface="+mn-ea"/>
                <a:cs typeface="+mn-cs"/>
              </a:rPr>
              <a:t>Deploys the OS</a:t>
            </a:r>
          </a:p>
          <a:p>
            <a:pPr lvl="0"/>
            <a:r>
              <a:rPr lang="en-US" sz="900" kern="1200" dirty="0" smtClean="0">
                <a:solidFill>
                  <a:schemeClr val="tx1"/>
                </a:solidFill>
                <a:effectLst/>
                <a:latin typeface="Segoe UI Light" pitchFamily="34" charset="0"/>
                <a:ea typeface="+mn-ea"/>
                <a:cs typeface="+mn-cs"/>
              </a:rPr>
              <a:t>Configures the server as part of its workload role</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pplications</a:t>
            </a:r>
          </a:p>
          <a:p>
            <a:pPr lvl="0"/>
            <a:r>
              <a:rPr lang="en-US" sz="900" kern="1200" dirty="0" smtClean="0">
                <a:solidFill>
                  <a:schemeClr val="tx1"/>
                </a:solidFill>
                <a:effectLst/>
                <a:latin typeface="Segoe UI Light" pitchFamily="34" charset="0"/>
                <a:ea typeface="+mn-ea"/>
                <a:cs typeface="+mn-cs"/>
              </a:rPr>
              <a:t>For stable, resilient, reliable workloads, you need to focus on the creation of templates for application provisioning. </a:t>
            </a:r>
          </a:p>
          <a:p>
            <a:pPr lvl="0"/>
            <a:r>
              <a:rPr lang="en-US" sz="900" kern="1200" dirty="0" smtClean="0">
                <a:solidFill>
                  <a:schemeClr val="tx1"/>
                </a:solidFill>
                <a:effectLst/>
                <a:latin typeface="Segoe UI Light" pitchFamily="34" charset="0"/>
                <a:ea typeface="+mn-ea"/>
                <a:cs typeface="+mn-cs"/>
              </a:rPr>
              <a:t>You can then automate triggers for scale up or scale down.</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By using templates and automating repetitive processes, you can increase speed without introducing risk into the system.</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04470F1-0A79-4A90-8C30-5C393C36A7C0}"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7855919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19: Management and monitoring</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lvl="0"/>
            <a:r>
              <a:rPr lang="en-US" sz="900" kern="1200" dirty="0" smtClean="0">
                <a:solidFill>
                  <a:schemeClr val="tx1"/>
                </a:solidFill>
                <a:effectLst/>
                <a:latin typeface="Segoe UI Light" pitchFamily="34" charset="0"/>
                <a:ea typeface="+mn-ea"/>
                <a:cs typeface="+mn-cs"/>
              </a:rPr>
              <a:t>You need to monitor from the hardware up to the application—to allow you to determine where a problem really exists. You have to know whether it’s an issue with the SAN or an issue with the server or an issue with the database.</a:t>
            </a:r>
          </a:p>
          <a:p>
            <a:pPr lvl="0"/>
            <a:r>
              <a:rPr lang="en-US" sz="900" kern="1200" dirty="0" smtClean="0">
                <a:solidFill>
                  <a:schemeClr val="tx1"/>
                </a:solidFill>
                <a:effectLst/>
                <a:latin typeface="Segoe UI Light" pitchFamily="34" charset="0"/>
                <a:ea typeface="+mn-ea"/>
                <a:cs typeface="+mn-cs"/>
              </a:rPr>
              <a:t>System Center 2012 R2 lets you monitor your on-premises datacenter and also monitor the health of your subscription services in Azure.</a:t>
            </a:r>
          </a:p>
          <a:p>
            <a:pPr lvl="0"/>
            <a:r>
              <a:rPr lang="en-US" sz="900" kern="1200" dirty="0" smtClean="0">
                <a:solidFill>
                  <a:schemeClr val="tx1"/>
                </a:solidFill>
                <a:effectLst/>
                <a:latin typeface="Segoe UI Light" pitchFamily="34" charset="0"/>
                <a:ea typeface="+mn-ea"/>
                <a:cs typeface="+mn-cs"/>
              </a:rPr>
              <a:t>Microsoft offers distributed application performance monitoring, so you can verify the health, performance, and availability of applications in a hybrid environment.</a:t>
            </a:r>
          </a:p>
          <a:p>
            <a:pPr lvl="0"/>
            <a:r>
              <a:rPr lang="en-US" sz="900" kern="1200" dirty="0" smtClean="0">
                <a:solidFill>
                  <a:schemeClr val="tx1"/>
                </a:solidFill>
                <a:effectLst/>
                <a:latin typeface="Segoe UI Light" pitchFamily="34" charset="0"/>
                <a:ea typeface="+mn-ea"/>
                <a:cs typeface="+mn-cs"/>
              </a:rPr>
              <a:t>Intelligent monitoring means that in a private datacenter, you’ll monitor all the way down the stack, in Azure you would only monitor the service.</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1E1AB4D-05C1-47BD-A649-3F9992782F4D}"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301489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0: Service delivery</a:t>
            </a:r>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The final key element when thinking about the software-defined datacenter is service delivery. How do you get your users the resources they need—whether they are developers or LOB application owners? A great approach to service delivery should allow you add in cloud resources to your infrastructure in a hybrid model, so that you’re automatically drawing capacity. A strong service delivery model also allows you to pre-approve compute/storage/network resources to designated users, so that authorization isn’t a roadblock.</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Microsoft Azure Pack provides a multi-tenant, self-service cloud that works on top of your existing software and hardware investments. Building on the familiar foundation of Windows Server and System Center, Microsoft Azure Pack offers a flexible and familiar solution that your business can take advantage of to deliver self-service provisioning and management of infrastructure—Infrastructure as a service (</a:t>
            </a:r>
            <a:r>
              <a:rPr lang="en-US" sz="900" kern="1200" dirty="0" err="1" smtClean="0">
                <a:solidFill>
                  <a:schemeClr val="tx1"/>
                </a:solidFill>
                <a:effectLst/>
                <a:latin typeface="Segoe UI Light" pitchFamily="34" charset="0"/>
                <a:ea typeface="+mn-ea"/>
                <a:cs typeface="+mn-cs"/>
              </a:rPr>
              <a:t>Iaas</a:t>
            </a:r>
            <a:r>
              <a:rPr lang="en-US" sz="900" kern="1200" dirty="0" smtClean="0">
                <a:solidFill>
                  <a:schemeClr val="tx1"/>
                </a:solidFill>
                <a:effectLst/>
                <a:latin typeface="Segoe UI Light" pitchFamily="34" charset="0"/>
                <a:ea typeface="+mn-ea"/>
                <a:cs typeface="+mn-cs"/>
              </a:rPr>
              <a:t>), and application services—Platform as a Service (</a:t>
            </a:r>
            <a:r>
              <a:rPr lang="en-US" sz="900" kern="1200" dirty="0" err="1" smtClean="0">
                <a:solidFill>
                  <a:schemeClr val="tx1"/>
                </a:solidFill>
                <a:effectLst/>
                <a:latin typeface="Segoe UI Light" pitchFamily="34" charset="0"/>
                <a:ea typeface="+mn-ea"/>
                <a:cs typeface="+mn-cs"/>
              </a:rPr>
              <a:t>PaaS</a:t>
            </a:r>
            <a:r>
              <a:rPr lang="en-US" sz="900" kern="1200" dirty="0" smtClean="0">
                <a:solidFill>
                  <a:schemeClr val="tx1"/>
                </a:solidFill>
                <a:effectLst/>
                <a:latin typeface="Segoe UI Light" pitchFamily="34" charset="0"/>
                <a:ea typeface="+mn-ea"/>
                <a:cs typeface="+mn-cs"/>
              </a:rPr>
              <a:t>), such as Web Sites and Virtual Machines.  </a:t>
            </a:r>
          </a:p>
          <a:p>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r>
              <a:rPr lang="en-US" sz="900" kern="1200" dirty="0" smtClean="0">
                <a:solidFill>
                  <a:schemeClr val="tx1"/>
                </a:solidFill>
                <a:effectLst/>
                <a:latin typeface="Segoe UI Light" pitchFamily="34" charset="0"/>
                <a:ea typeface="+mn-ea"/>
                <a:cs typeface="+mn-cs"/>
              </a:rPr>
              <a:t>With the Azure Pack, you can standardize IT service offerings, empowering users to directly identify, access, and request applications and services published through a centralized configuration management database. Provide a self-service portal with a provisioning and delegation framework, along with chargeback and compliance management and reporting capabilities.</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A3C40E9-6625-4928-9939-A156E1589FE1}"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5764263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1: Microsoft Cloud Platform System</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The Cloud Platform System is a revolutionary new product designed specifically to reduce the complexity and risk of implementing a hybrid cloud—and to get you up and running fast. This appliance includes both the hardware and the software you need to create the agile datacenter of the future—specifically, Windows Server 2012 R2, Microsoft System Center 2012 R2, and Microsoft Azure technologies. Preconfigured hardware and software working together speeds your ability to offer customers the infrastructure as a service (</a:t>
            </a:r>
            <a:r>
              <a:rPr lang="en-US" sz="900" kern="1200" dirty="0" err="1" smtClean="0">
                <a:solidFill>
                  <a:schemeClr val="tx1"/>
                </a:solidFill>
                <a:effectLst/>
                <a:latin typeface="Segoe UI Light" pitchFamily="34" charset="0"/>
                <a:ea typeface="+mn-ea"/>
                <a:cs typeface="+mn-cs"/>
              </a:rPr>
              <a:t>IaaS</a:t>
            </a:r>
            <a:r>
              <a:rPr lang="en-US" sz="900" kern="1200" dirty="0" smtClean="0">
                <a:solidFill>
                  <a:schemeClr val="tx1"/>
                </a:solidFill>
                <a:effectLst/>
                <a:latin typeface="Segoe UI Light" pitchFamily="34" charset="0"/>
                <a:ea typeface="+mn-ea"/>
                <a:cs typeface="+mn-cs"/>
              </a:rPr>
              <a:t>) and platform as a service (</a:t>
            </a:r>
            <a:r>
              <a:rPr lang="en-US" sz="900" kern="1200" dirty="0" err="1" smtClean="0">
                <a:solidFill>
                  <a:schemeClr val="tx1"/>
                </a:solidFill>
                <a:effectLst/>
                <a:latin typeface="Segoe UI Light" pitchFamily="34" charset="0"/>
                <a:ea typeface="+mn-ea"/>
                <a:cs typeface="+mn-cs"/>
              </a:rPr>
              <a:t>PaaS</a:t>
            </a:r>
            <a:r>
              <a:rPr lang="en-US" sz="900" kern="1200" dirty="0" smtClean="0">
                <a:solidFill>
                  <a:schemeClr val="tx1"/>
                </a:solidFill>
                <a:effectLst/>
                <a:latin typeface="Segoe UI Light" pitchFamily="34" charset="0"/>
                <a:ea typeface="+mn-ea"/>
                <a:cs typeface="+mn-cs"/>
              </a:rPr>
              <a:t>) resources they want, whether that means self-provisioned virtual machines, web applications, or other resources. You simply choose the configuration you want.</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0DF778C-5EEC-4E32-AA07-C2620CD1D5EB}" type="slidenum">
              <a:rPr lang="en-US" smtClean="0">
                <a:solidFill>
                  <a:prstClr val="black"/>
                </a:solidFill>
              </a:rPr>
              <a:pPr/>
              <a:t>56</a:t>
            </a:fld>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Header Placeholder 5"/>
          <p:cNvSpPr>
            <a:spLocks noGrp="1"/>
          </p:cNvSpPr>
          <p:nvPr>
            <p:ph type="hdr" sz="quarter" idx="12"/>
          </p:nvPr>
        </p:nvSpPr>
        <p:spPr/>
        <p:txBody>
          <a:bodyPr/>
          <a:lstStyle/>
          <a:p>
            <a:r>
              <a:rPr lang="en-US" dirty="0" smtClean="0">
                <a:solidFill>
                  <a:prstClr val="black"/>
                </a:solidFill>
              </a:rPr>
              <a:t>Microsoft Cloud Platform System</a:t>
            </a:r>
            <a:endParaRPr lang="en-US" dirty="0">
              <a:solidFill>
                <a:prstClr val="black"/>
              </a:solidFill>
            </a:endParaRPr>
          </a:p>
        </p:txBody>
      </p:sp>
      <p:sp>
        <p:nvSpPr>
          <p:cNvPr id="7" name="Date Placeholder 6"/>
          <p:cNvSpPr>
            <a:spLocks noGrp="1"/>
          </p:cNvSpPr>
          <p:nvPr>
            <p:ph type="dt" idx="13"/>
          </p:nvPr>
        </p:nvSpPr>
        <p:spPr/>
        <p:txBody>
          <a:bodyPr/>
          <a:lstStyle/>
          <a:p>
            <a:fld id="{A991B391-66BC-40F2-905F-84EC7213A091}" type="datetime1">
              <a:rPr lang="en-US" smtClean="0">
                <a:solidFill>
                  <a:prstClr val="black"/>
                </a:solidFill>
              </a:rPr>
              <a:pPr/>
              <a:t>8/17/2015</a:t>
            </a:fld>
            <a:endParaRPr lang="en-US" dirty="0">
              <a:solidFill>
                <a:prstClr val="black"/>
              </a:solidFill>
            </a:endParaRPr>
          </a:p>
        </p:txBody>
      </p:sp>
    </p:spTree>
    <p:extLst>
      <p:ext uri="{BB962C8B-B14F-4D97-AF65-F5344CB8AC3E}">
        <p14:creationId xmlns:p14="http://schemas.microsoft.com/office/powerpoint/2010/main" val="206370714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2: Extend to the cloud on demand</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Extend into the cloud to scale on demand while keeping costs low. You can meet unexpected needs or plan ahead for times when your business needs to run at peak demand. Microsoft offers a consistent experience from your datacenter to the cloud and back.  </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661FB68-3918-4A24-B8EF-2BC81D0F57FE}"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22547791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3: Microsoft Azure global footprint</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39387390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4: Microsoft Azure security and trust</a:t>
            </a:r>
            <a:r>
              <a:rPr lang="en-US" sz="900" i="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Security</a:t>
            </a:r>
          </a:p>
          <a:p>
            <a:pPr lvl="0"/>
            <a:r>
              <a:rPr lang="en-US" sz="900" kern="1200" dirty="0" smtClean="0">
                <a:solidFill>
                  <a:schemeClr val="tx1"/>
                </a:solidFill>
                <a:effectLst/>
                <a:latin typeface="Segoe UI Light" pitchFamily="34" charset="0"/>
                <a:ea typeface="+mn-ea"/>
                <a:cs typeface="+mn-cs"/>
              </a:rPr>
              <a:t>Secure development, operations, and threat mitigation practices provide a trusted foundation</a:t>
            </a:r>
          </a:p>
          <a:p>
            <a:pPr lvl="0"/>
            <a:r>
              <a:rPr lang="en-US" sz="900" kern="1200" dirty="0" smtClean="0">
                <a:solidFill>
                  <a:schemeClr val="tx1"/>
                </a:solidFill>
                <a:effectLst/>
                <a:latin typeface="Segoe UI Light" pitchFamily="34" charset="0"/>
                <a:ea typeface="+mn-ea"/>
                <a:cs typeface="+mn-cs"/>
              </a:rPr>
              <a:t>Decades of experience building enterprise software &amp; operating online services around the globe</a:t>
            </a:r>
          </a:p>
          <a:p>
            <a:pPr lvl="0"/>
            <a:r>
              <a:rPr lang="en-US" sz="900" kern="1200" dirty="0" smtClean="0">
                <a:solidFill>
                  <a:schemeClr val="tx1"/>
                </a:solidFill>
                <a:effectLst/>
                <a:latin typeface="Segoe UI Light" pitchFamily="34" charset="0"/>
                <a:ea typeface="+mn-ea"/>
                <a:cs typeface="+mn-cs"/>
              </a:rPr>
              <a:t>Physical and platform security measures including access control, encryption, and network safeguards</a:t>
            </a:r>
          </a:p>
          <a:p>
            <a:pPr lvl="0"/>
            <a:r>
              <a:rPr lang="en-US" sz="900" kern="1200" dirty="0" smtClean="0">
                <a:solidFill>
                  <a:schemeClr val="tx1"/>
                </a:solidFill>
                <a:effectLst/>
                <a:latin typeface="Segoe UI Light" pitchFamily="34" charset="0"/>
                <a:ea typeface="+mn-ea"/>
                <a:cs typeface="+mn-cs"/>
              </a:rPr>
              <a:t>Defense-in-depth and penetration testing help protect against cyber threat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Privacy</a:t>
            </a:r>
          </a:p>
          <a:p>
            <a:pPr lvl="0"/>
            <a:r>
              <a:rPr lang="en-US" sz="900" kern="1200" dirty="0" smtClean="0">
                <a:solidFill>
                  <a:schemeClr val="tx1"/>
                </a:solidFill>
                <a:effectLst/>
                <a:latin typeface="Segoe UI Light" pitchFamily="34" charset="0"/>
                <a:ea typeface="+mn-ea"/>
                <a:cs typeface="+mn-cs"/>
              </a:rPr>
              <a:t>Unmatched legal commitments govern data privacy, access and use</a:t>
            </a:r>
          </a:p>
          <a:p>
            <a:pPr lvl="0"/>
            <a:r>
              <a:rPr lang="en-US" sz="900" kern="1200" dirty="0" smtClean="0">
                <a:solidFill>
                  <a:schemeClr val="tx1"/>
                </a:solidFill>
                <a:effectLst/>
                <a:latin typeface="Segoe UI Light" pitchFamily="34" charset="0"/>
                <a:ea typeface="+mn-ea"/>
                <a:cs typeface="+mn-cs"/>
              </a:rPr>
              <a:t>First to offer privacy protections via Data Processing Agreements, EU Model Clauses, and HIPAA BAA</a:t>
            </a:r>
          </a:p>
          <a:p>
            <a:pPr lvl="0"/>
            <a:r>
              <a:rPr lang="en-US" sz="900" kern="1200" dirty="0" smtClean="0">
                <a:solidFill>
                  <a:schemeClr val="tx1"/>
                </a:solidFill>
                <a:effectLst/>
                <a:latin typeface="Segoe UI Light" pitchFamily="34" charset="0"/>
                <a:ea typeface="+mn-ea"/>
                <a:cs typeface="+mn-cs"/>
              </a:rPr>
              <a:t>No mining of customer data for advertising or other purposes</a:t>
            </a:r>
          </a:p>
          <a:p>
            <a:pPr lvl="0"/>
            <a:r>
              <a:rPr lang="en-US" sz="900" kern="1200" dirty="0" smtClean="0">
                <a:solidFill>
                  <a:schemeClr val="tx1"/>
                </a:solidFill>
                <a:effectLst/>
                <a:latin typeface="Segoe UI Light" pitchFamily="34" charset="0"/>
                <a:ea typeface="+mn-ea"/>
                <a:cs typeface="+mn-cs"/>
              </a:rPr>
              <a:t>Customers control where their data resides and who has access to it</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Compliance</a:t>
            </a:r>
          </a:p>
          <a:p>
            <a:pPr lvl="0"/>
            <a:r>
              <a:rPr lang="en-US" sz="900" kern="1200" dirty="0" smtClean="0">
                <a:solidFill>
                  <a:schemeClr val="tx1"/>
                </a:solidFill>
                <a:effectLst/>
                <a:latin typeface="Segoe UI Light" pitchFamily="34" charset="0"/>
                <a:ea typeface="+mn-ea"/>
                <a:cs typeface="+mn-cs"/>
              </a:rPr>
              <a:t>Independent audits demonstrate compliance with regulatory standards</a:t>
            </a:r>
          </a:p>
          <a:p>
            <a:pPr lvl="0"/>
            <a:r>
              <a:rPr lang="en-US" sz="900" kern="1200" dirty="0" smtClean="0">
                <a:solidFill>
                  <a:schemeClr val="tx1"/>
                </a:solidFill>
                <a:effectLst/>
                <a:latin typeface="Segoe UI Light" pitchFamily="34" charset="0"/>
                <a:ea typeface="+mn-ea"/>
                <a:cs typeface="+mn-cs"/>
              </a:rPr>
              <a:t>Certified for ISO, SSAE 16/SOC 1, and SOC 2 compliance, plus a range of industry and country specific security standards</a:t>
            </a:r>
          </a:p>
          <a:p>
            <a:pPr lvl="0"/>
            <a:r>
              <a:rPr lang="en-US" sz="900" kern="1200" dirty="0" smtClean="0">
                <a:solidFill>
                  <a:schemeClr val="tx1"/>
                </a:solidFill>
                <a:effectLst/>
                <a:latin typeface="Segoe UI Light" pitchFamily="34" charset="0"/>
                <a:ea typeface="+mn-ea"/>
                <a:cs typeface="+mn-cs"/>
              </a:rPr>
              <a:t>Shares audit report findings and compliance packages with customers</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23742630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5: Make hybrid capabilities part of your infrastructure</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When we talk about the concrete benefits of hybrid, there are a number of areas to consider. Customers often ask, “Where should I start,” so we’ve picked some of the places where you can most easily take advantage of cloud resources as an extension of your existing datacenter.</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04470F1-0A79-4A90-8C30-5C393C36A7C0}"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45215406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6: Microsoft Azure Infrastructure as a Service </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Consistent VM format between Hyper-V and Azure </a:t>
            </a:r>
            <a:r>
              <a:rPr lang="en-US" sz="900" kern="1200" dirty="0" err="1" smtClean="0">
                <a:solidFill>
                  <a:schemeClr val="tx1"/>
                </a:solidFill>
                <a:effectLst/>
                <a:latin typeface="Segoe UI Light" pitchFamily="34" charset="0"/>
                <a:ea typeface="+mn-ea"/>
                <a:cs typeface="+mn-cs"/>
              </a:rPr>
              <a:t>IaaS</a:t>
            </a:r>
            <a:r>
              <a:rPr lang="en-US" sz="900" kern="1200" dirty="0" smtClean="0">
                <a:solidFill>
                  <a:schemeClr val="tx1"/>
                </a:solidFill>
                <a:effectLst/>
                <a:latin typeface="Segoe UI Light" pitchFamily="34" charset="0"/>
                <a:ea typeface="+mn-ea"/>
                <a:cs typeface="+mn-cs"/>
              </a:rPr>
              <a:t> makes it easy to move existing applications to the cloud.</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7869050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7: Service provider cloud options</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The Cloud OS Network is a </a:t>
            </a:r>
            <a:r>
              <a:rPr lang="en-US" sz="900" b="1" kern="1200" dirty="0" smtClean="0">
                <a:solidFill>
                  <a:schemeClr val="tx1"/>
                </a:solidFill>
                <a:effectLst/>
                <a:latin typeface="Segoe UI Light" pitchFamily="34" charset="0"/>
                <a:ea typeface="+mn-ea"/>
                <a:cs typeface="+mn-cs"/>
              </a:rPr>
              <a:t>worldwide group of select Service Providers </a:t>
            </a:r>
            <a:r>
              <a:rPr lang="en-US" sz="900" kern="1200" dirty="0" smtClean="0">
                <a:solidFill>
                  <a:schemeClr val="tx1"/>
                </a:solidFill>
                <a:effectLst/>
                <a:latin typeface="Segoe UI Light" pitchFamily="34" charset="0"/>
                <a:ea typeface="+mn-ea"/>
                <a:cs typeface="+mn-cs"/>
              </a:rPr>
              <a:t>that partner closely with Microsoft to offer customers cloud solutions on the Microsoft Cloud Platform (Hyper-V, System Center, Windows Azure Pack) and Azure enabled solutions. </a:t>
            </a:r>
            <a:br>
              <a:rPr lang="en-US" sz="900" kern="1200" dirty="0" smtClean="0">
                <a:solidFill>
                  <a:schemeClr val="tx1"/>
                </a:solidFill>
                <a:effectLst/>
                <a:latin typeface="Segoe UI Light" pitchFamily="34" charset="0"/>
                <a:ea typeface="+mn-ea"/>
                <a:cs typeface="+mn-cs"/>
              </a:rPr>
            </a:br>
            <a:r>
              <a:rPr lang="en-US" sz="900" kern="1200" dirty="0" smtClean="0">
                <a:solidFill>
                  <a:schemeClr val="tx1"/>
                </a:solidFill>
                <a:effectLst/>
                <a:latin typeface="Segoe UI Light" pitchFamily="34" charset="0"/>
                <a:ea typeface="+mn-ea"/>
                <a:cs typeface="+mn-cs"/>
              </a:rPr>
              <a:t>Cloud OS Network members are uniquely combining </a:t>
            </a:r>
            <a:r>
              <a:rPr lang="en-US" sz="900" b="1" kern="1200" dirty="0" smtClean="0">
                <a:solidFill>
                  <a:schemeClr val="tx1"/>
                </a:solidFill>
                <a:effectLst/>
                <a:latin typeface="Segoe UI Light" pitchFamily="34" charset="0"/>
                <a:ea typeface="+mn-ea"/>
                <a:cs typeface="+mn-cs"/>
              </a:rPr>
              <a:t>geo affinity </a:t>
            </a:r>
            <a:r>
              <a:rPr lang="en-US" sz="900" kern="1200" dirty="0" smtClean="0">
                <a:solidFill>
                  <a:schemeClr val="tx1"/>
                </a:solidFill>
                <a:effectLst/>
                <a:latin typeface="Segoe UI Light" pitchFamily="34" charset="0"/>
                <a:ea typeface="+mn-ea"/>
                <a:cs typeface="+mn-cs"/>
              </a:rPr>
              <a:t>(Data Sovereignty, local Datacenters), </a:t>
            </a:r>
            <a:r>
              <a:rPr lang="en-US" sz="900" b="1" kern="1200" dirty="0" smtClean="0">
                <a:solidFill>
                  <a:schemeClr val="tx1"/>
                </a:solidFill>
                <a:effectLst/>
                <a:latin typeface="Segoe UI Light" pitchFamily="34" charset="0"/>
                <a:ea typeface="+mn-ea"/>
                <a:cs typeface="+mn-cs"/>
              </a:rPr>
              <a:t>value added services </a:t>
            </a:r>
            <a:r>
              <a:rPr lang="en-US" sz="900" kern="1200" dirty="0" smtClean="0">
                <a:solidFill>
                  <a:schemeClr val="tx1"/>
                </a:solidFill>
                <a:effectLst/>
                <a:latin typeface="Segoe UI Light" pitchFamily="34" charset="0"/>
                <a:ea typeface="+mn-ea"/>
                <a:cs typeface="+mn-cs"/>
              </a:rPr>
              <a:t>(Customer centric solutions, Azure enabled scenarios) and </a:t>
            </a:r>
            <a:r>
              <a:rPr lang="en-US" sz="900" b="1" kern="1200" dirty="0" smtClean="0">
                <a:solidFill>
                  <a:schemeClr val="tx1"/>
                </a:solidFill>
                <a:effectLst/>
                <a:latin typeface="Segoe UI Light" pitchFamily="34" charset="0"/>
                <a:ea typeface="+mn-ea"/>
                <a:cs typeface="+mn-cs"/>
              </a:rPr>
              <a:t>customer reach/relationship</a:t>
            </a:r>
            <a:r>
              <a:rPr lang="en-US" sz="900" kern="1200" dirty="0" smtClean="0">
                <a:solidFill>
                  <a:schemeClr val="tx1"/>
                </a:solidFill>
                <a:effectLst/>
                <a:latin typeface="Segoe UI Light" pitchFamily="34" charset="0"/>
                <a:ea typeface="+mn-ea"/>
                <a:cs typeface="+mn-cs"/>
              </a:rPr>
              <a:t>. We have now 100+ partners in the network to serve your specific needs, covering over 600 local datacenters and serving over 3.7mio customers. </a:t>
            </a:r>
          </a:p>
          <a:p>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r>
              <a:rPr lang="en-US" sz="900" u="sng" kern="1200" dirty="0" smtClean="0">
                <a:solidFill>
                  <a:schemeClr val="tx1"/>
                </a:solidFill>
                <a:effectLst/>
                <a:latin typeface="Segoe UI Light" pitchFamily="34" charset="0"/>
                <a:ea typeface="+mn-ea"/>
                <a:cs typeface="+mn-cs"/>
                <a:hlinkClick r:id="rId3"/>
              </a:rPr>
              <a:t>Find a COSN partner</a:t>
            </a:r>
            <a:r>
              <a:rPr lang="en-US" sz="900" kern="1200" dirty="0" smtClean="0">
                <a:solidFill>
                  <a:schemeClr val="tx1"/>
                </a:solidFill>
                <a:effectLst/>
                <a:latin typeface="Segoe UI Light" pitchFamily="34" charset="0"/>
                <a:ea typeface="+mn-ea"/>
                <a:cs typeface="+mn-cs"/>
              </a:rPr>
              <a:t> in your region or join the conversation on Twitter @</a:t>
            </a:r>
            <a:r>
              <a:rPr lang="en-US" sz="900" kern="1200" dirty="0" err="1" smtClean="0">
                <a:solidFill>
                  <a:schemeClr val="tx1"/>
                </a:solidFill>
                <a:effectLst/>
                <a:latin typeface="Segoe UI Light" pitchFamily="34" charset="0"/>
                <a:ea typeface="+mn-ea"/>
                <a:cs typeface="+mn-cs"/>
              </a:rPr>
              <a:t>CloudOSNetwork</a:t>
            </a:r>
            <a:r>
              <a:rPr lang="en-US" sz="900" kern="1200" dirty="0" smtClean="0">
                <a:solidFill>
                  <a:schemeClr val="tx1"/>
                </a:solidFill>
                <a:effectLst/>
                <a:latin typeface="Segoe UI Light" pitchFamily="34" charset="0"/>
                <a:ea typeface="+mn-ea"/>
                <a:cs typeface="+mn-cs"/>
              </a:rPr>
              <a:t>. We also have great new </a:t>
            </a:r>
            <a:r>
              <a:rPr lang="en-US" sz="900" u="sng" kern="1200" dirty="0" smtClean="0">
                <a:solidFill>
                  <a:schemeClr val="tx1"/>
                </a:solidFill>
                <a:effectLst/>
                <a:latin typeface="Segoe UI Light" pitchFamily="34" charset="0"/>
                <a:ea typeface="+mn-ea"/>
                <a:cs typeface="+mn-cs"/>
                <a:hlinkClick r:id="rId4"/>
              </a:rPr>
              <a:t>customer evidence</a:t>
            </a:r>
            <a:r>
              <a:rPr lang="en-US" sz="900" kern="1200" dirty="0" smtClean="0">
                <a:solidFill>
                  <a:schemeClr val="tx1"/>
                </a:solidFill>
                <a:effectLst/>
                <a:latin typeface="Segoe UI Light" pitchFamily="34" charset="0"/>
                <a:ea typeface="+mn-ea"/>
                <a:cs typeface="+mn-cs"/>
              </a:rPr>
              <a:t> videos to showcase Hybrid Solutions from our partners.</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1073805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p:cNvSpPr>
          <p:nvPr>
            <p:ph type="sldImg"/>
          </p:nvPr>
        </p:nvSpPr>
        <p:spPr bwMode="auto">
          <a:xfrm>
            <a:off x="717550" y="1162050"/>
            <a:ext cx="5575300" cy="31369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ＭＳ Ｐゴシック" charset="0"/>
                <a:cs typeface="ＭＳ Ｐゴシック" charset="0"/>
              </a:rPr>
              <a:t>Do not show - Slide 2: Microsoft Cloud Platform- Mapping the Conversations </a:t>
            </a:r>
            <a:r>
              <a:rPr lang="en-US" sz="1200" i="1" kern="1200" dirty="0" smtClean="0">
                <a:solidFill>
                  <a:schemeClr val="tx1"/>
                </a:solidFill>
                <a:effectLst/>
                <a:latin typeface="+mn-lt"/>
                <a:ea typeface="ＭＳ Ｐゴシック" charset="0"/>
                <a:cs typeface="ＭＳ Ｐゴシック" charset="0"/>
              </a:rPr>
              <a:t>(Campaign architecture)</a:t>
            </a:r>
            <a:endParaRPr lang="en-US" sz="1200" kern="1200" dirty="0" smtClean="0">
              <a:solidFill>
                <a:schemeClr val="tx1"/>
              </a:solidFill>
              <a:effectLst/>
              <a:latin typeface="+mn-lt"/>
              <a:ea typeface="ＭＳ Ｐゴシック" charset="0"/>
              <a:cs typeface="ＭＳ Ｐゴシック" charset="0"/>
            </a:endParaRPr>
          </a:p>
          <a:p>
            <a:r>
              <a:rPr lang="en-US" sz="1200" kern="1200" dirty="0" smtClean="0">
                <a:solidFill>
                  <a:schemeClr val="tx1"/>
                </a:solidFill>
                <a:effectLst/>
                <a:latin typeface="+mn-lt"/>
                <a:ea typeface="ＭＳ Ｐゴシック" charset="0"/>
                <a:cs typeface="ＭＳ Ｐゴシック" charset="0"/>
              </a:rPr>
              <a:t>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Displays how the Microsoft Cloud story ladders down to Microsoft Cloud Platform and then ladders again to the five customer conversations:</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ransform the datacenter</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Unlock insights on any data</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Empower enterprise mobility</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Enable application innovation</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Create the Internet of Your Things</a:t>
            </a:r>
          </a:p>
          <a:p>
            <a:r>
              <a:rPr lang="en-US" sz="1200" kern="1200" dirty="0" smtClean="0">
                <a:solidFill>
                  <a:schemeClr val="tx1"/>
                </a:solidFill>
                <a:effectLst/>
                <a:latin typeface="+mn-lt"/>
                <a:ea typeface="ＭＳ Ｐゴシック" charset="0"/>
                <a:cs typeface="ＭＳ Ｐゴシック" charset="0"/>
              </a:rPr>
              <a:t> </a:t>
            </a:r>
          </a:p>
          <a:p>
            <a:r>
              <a:rPr lang="en-US" sz="1200" kern="1200" dirty="0" smtClean="0">
                <a:solidFill>
                  <a:schemeClr val="tx1"/>
                </a:solidFill>
                <a:effectLst/>
                <a:latin typeface="+mn-lt"/>
                <a:ea typeface="ＭＳ Ｐゴシック" charset="0"/>
                <a:cs typeface="ＭＳ Ｐゴシック" charset="0"/>
              </a:rPr>
              <a:t>The focus for this deck and the other conversation decks are for ITDMs.</a:t>
            </a:r>
            <a:endParaRPr lang="en-US" sz="1224" dirty="0">
              <a:latin typeface="Segoe UI" panose="020B0502040204020203" pitchFamily="34" charset="0"/>
              <a:ea typeface="+mn-ea"/>
              <a:cs typeface="+mn-cs"/>
            </a:endParaRPr>
          </a:p>
        </p:txBody>
      </p:sp>
      <p:sp>
        <p:nvSpPr>
          <p:cNvPr id="4710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9AE08DA1-D388-284E-9B07-BC71B0BCF51B}" type="slidenum">
              <a:rPr lang="en-US">
                <a:solidFill>
                  <a:srgbClr val="000000"/>
                </a:solidFill>
                <a:latin typeface="Calibri" charset="0"/>
              </a:rPr>
              <a:pPr defTabSz="931863" fontAlgn="base">
                <a:spcBef>
                  <a:spcPct val="0"/>
                </a:spcBef>
                <a:spcAft>
                  <a:spcPct val="0"/>
                </a:spcAft>
              </a:pPr>
              <a:t>8</a:t>
            </a:fld>
            <a:endParaRPr lang="en-US">
              <a:solidFill>
                <a:srgbClr val="000000"/>
              </a:solidFill>
              <a:latin typeface="Calibri" charset="0"/>
            </a:endParaRPr>
          </a:p>
        </p:txBody>
      </p:sp>
    </p:spTree>
    <p:extLst>
      <p:ext uri="{BB962C8B-B14F-4D97-AF65-F5344CB8AC3E}">
        <p14:creationId xmlns:p14="http://schemas.microsoft.com/office/powerpoint/2010/main" val="380864669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8: Hybrid Cloud storag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Cloud storage is the ideal way to handle the exploding demand for storage across industries. By moving data that is less frequently accessed to the cloud, you free up space on-premises while bringing down costs. Microsoft Azure </a:t>
            </a:r>
            <a:r>
              <a:rPr lang="en-US" sz="900" kern="1200" dirty="0" err="1" smtClean="0">
                <a:solidFill>
                  <a:schemeClr val="tx1"/>
                </a:solidFill>
                <a:effectLst/>
                <a:latin typeface="Segoe UI Light" pitchFamily="34" charset="0"/>
                <a:ea typeface="+mn-ea"/>
                <a:cs typeface="+mn-cs"/>
              </a:rPr>
              <a:t>StorSimple</a:t>
            </a:r>
            <a:r>
              <a:rPr lang="en-US" sz="900" kern="1200" dirty="0" smtClean="0">
                <a:solidFill>
                  <a:schemeClr val="tx1"/>
                </a:solidFill>
                <a:effectLst/>
                <a:latin typeface="Segoe UI Light" pitchFamily="34" charset="0"/>
                <a:ea typeface="+mn-ea"/>
                <a:cs typeface="+mn-cs"/>
              </a:rPr>
              <a:t> is a hybrid cloud storage array that you can use to connect to Azure from your on-premises datacenter. A key feature is intelligent storage </a:t>
            </a:r>
            <a:r>
              <a:rPr lang="en-US" sz="900" kern="1200" dirty="0" err="1" smtClean="0">
                <a:solidFill>
                  <a:schemeClr val="tx1"/>
                </a:solidFill>
                <a:effectLst/>
                <a:latin typeface="Segoe UI Light" pitchFamily="34" charset="0"/>
                <a:ea typeface="+mn-ea"/>
                <a:cs typeface="+mn-cs"/>
              </a:rPr>
              <a:t>tiering</a:t>
            </a:r>
            <a:r>
              <a:rPr lang="en-US" sz="900" kern="1200" dirty="0" smtClean="0">
                <a:solidFill>
                  <a:schemeClr val="tx1"/>
                </a:solidFill>
                <a:effectLst/>
                <a:latin typeface="Segoe UI Light" pitchFamily="34" charset="0"/>
                <a:ea typeface="+mn-ea"/>
                <a:cs typeface="+mn-cs"/>
              </a:rPr>
              <a:t>, so that inactive or archival data is automatically moved to the cloud.  </a:t>
            </a:r>
          </a:p>
          <a:p>
            <a:r>
              <a:rPr lang="en-US" sz="900" kern="1200" dirty="0" smtClean="0">
                <a:solidFill>
                  <a:schemeClr val="tx1"/>
                </a:solidFill>
                <a:effectLst/>
                <a:latin typeface="Segoe UI Light" pitchFamily="34" charset="0"/>
                <a:ea typeface="+mn-ea"/>
                <a:cs typeface="+mn-cs"/>
              </a:rPr>
              <a:t> </a:t>
            </a:r>
          </a:p>
          <a:p>
            <a:r>
              <a:rPr lang="en-US" sz="900" kern="1200" dirty="0" err="1" smtClean="0">
                <a:solidFill>
                  <a:schemeClr val="tx1"/>
                </a:solidFill>
                <a:effectLst/>
                <a:latin typeface="Segoe UI Light" pitchFamily="34" charset="0"/>
                <a:ea typeface="+mn-ea"/>
                <a:cs typeface="+mn-cs"/>
              </a:rPr>
              <a:t>StorSimple</a:t>
            </a:r>
            <a:r>
              <a:rPr lang="en-US" sz="900" kern="1200" dirty="0" smtClean="0">
                <a:solidFill>
                  <a:schemeClr val="tx1"/>
                </a:solidFill>
                <a:effectLst/>
                <a:latin typeface="Segoe UI Light" pitchFamily="34" charset="0"/>
                <a:ea typeface="+mn-ea"/>
                <a:cs typeface="+mn-cs"/>
              </a:rPr>
              <a:t> is a great enterprise solution, because it connects seamlessly into your existing storage strategy. With </a:t>
            </a:r>
            <a:r>
              <a:rPr lang="en-US" sz="900" kern="1200" dirty="0" err="1" smtClean="0">
                <a:solidFill>
                  <a:schemeClr val="tx1"/>
                </a:solidFill>
                <a:effectLst/>
                <a:latin typeface="Segoe UI Light" pitchFamily="34" charset="0"/>
                <a:ea typeface="+mn-ea"/>
                <a:cs typeface="+mn-cs"/>
              </a:rPr>
              <a:t>StorSimple</a:t>
            </a:r>
            <a:r>
              <a:rPr lang="en-US" sz="900" kern="1200" dirty="0" smtClean="0">
                <a:solidFill>
                  <a:schemeClr val="tx1"/>
                </a:solidFill>
                <a:effectLst/>
                <a:latin typeface="Segoe UI Light" pitchFamily="34" charset="0"/>
                <a:ea typeface="+mn-ea"/>
                <a:cs typeface="+mn-cs"/>
              </a:rPr>
              <a:t>, you get cloud economics, automated data protection, and increased IT agility.  Let’s look at each of these in more detail:</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Cloud economics: Because cloud storage is dramatically less expensive than traditional storage options, you can easily bring down cost. </a:t>
            </a:r>
            <a:r>
              <a:rPr lang="en-US" sz="900" kern="1200" dirty="0" err="1" smtClean="0">
                <a:solidFill>
                  <a:schemeClr val="tx1"/>
                </a:solidFill>
                <a:effectLst/>
                <a:latin typeface="Segoe UI Light" pitchFamily="34" charset="0"/>
                <a:ea typeface="+mn-ea"/>
                <a:cs typeface="+mn-cs"/>
              </a:rPr>
              <a:t>StorSimple</a:t>
            </a:r>
            <a:r>
              <a:rPr lang="en-US" sz="900" kern="1200" dirty="0" smtClean="0">
                <a:solidFill>
                  <a:schemeClr val="tx1"/>
                </a:solidFill>
                <a:effectLst/>
                <a:latin typeface="Segoe UI Light" pitchFamily="34" charset="0"/>
                <a:ea typeface="+mn-ea"/>
                <a:cs typeface="+mn-cs"/>
              </a:rPr>
              <a:t> lets you:</a:t>
            </a:r>
          </a:p>
          <a:p>
            <a:pPr lvl="0"/>
            <a:r>
              <a:rPr lang="en-US" sz="900" kern="1200" dirty="0" smtClean="0">
                <a:solidFill>
                  <a:schemeClr val="tx1"/>
                </a:solidFill>
                <a:effectLst/>
                <a:latin typeface="Segoe UI Light" pitchFamily="34" charset="0"/>
                <a:ea typeface="+mn-ea"/>
                <a:cs typeface="+mn-cs"/>
              </a:rPr>
              <a:t>Consolidate multiple distinct storage systems into a single hybrid cloud storage system</a:t>
            </a:r>
          </a:p>
          <a:p>
            <a:pPr lvl="0"/>
            <a:r>
              <a:rPr lang="en-US" sz="900" kern="1200" dirty="0" smtClean="0">
                <a:solidFill>
                  <a:schemeClr val="tx1"/>
                </a:solidFill>
                <a:effectLst/>
                <a:latin typeface="Segoe UI Light" pitchFamily="34" charset="0"/>
                <a:ea typeface="+mn-ea"/>
                <a:cs typeface="+mn-cs"/>
              </a:rPr>
              <a:t>Add storage incrementally without having to rebalance application workloads</a:t>
            </a:r>
          </a:p>
          <a:p>
            <a:pPr lvl="0"/>
            <a:r>
              <a:rPr lang="en-US" sz="900" kern="1200" dirty="0" smtClean="0">
                <a:solidFill>
                  <a:schemeClr val="tx1"/>
                </a:solidFill>
                <a:effectLst/>
                <a:latin typeface="Segoe UI Light" pitchFamily="34" charset="0"/>
                <a:ea typeface="+mn-ea"/>
                <a:cs typeface="+mn-cs"/>
              </a:rPr>
              <a:t>Take advantage of the lower cost of cloud storage for inactive and data-protection data</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utomated data protection:  With </a:t>
            </a:r>
            <a:r>
              <a:rPr lang="en-US" sz="900" kern="1200" dirty="0" err="1" smtClean="0">
                <a:solidFill>
                  <a:schemeClr val="tx1"/>
                </a:solidFill>
                <a:effectLst/>
                <a:latin typeface="Segoe UI Light" pitchFamily="34" charset="0"/>
                <a:ea typeface="+mn-ea"/>
                <a:cs typeface="+mn-cs"/>
              </a:rPr>
              <a:t>StorSimple</a:t>
            </a:r>
            <a:r>
              <a:rPr lang="en-US" sz="900" kern="1200" dirty="0" smtClean="0">
                <a:solidFill>
                  <a:schemeClr val="tx1"/>
                </a:solidFill>
                <a:effectLst/>
                <a:latin typeface="Segoe UI Light" pitchFamily="34" charset="0"/>
                <a:ea typeface="+mn-ea"/>
                <a:cs typeface="+mn-cs"/>
              </a:rPr>
              <a:t>, you get a built-in data protection solution, which lets you:</a:t>
            </a:r>
          </a:p>
          <a:p>
            <a:pPr lvl="0"/>
            <a:r>
              <a:rPr lang="en-US" sz="900" kern="1200" dirty="0" smtClean="0">
                <a:solidFill>
                  <a:schemeClr val="tx1"/>
                </a:solidFill>
                <a:effectLst/>
                <a:latin typeface="Segoe UI Light" pitchFamily="34" charset="0"/>
                <a:ea typeface="+mn-ea"/>
                <a:cs typeface="+mn-cs"/>
              </a:rPr>
              <a:t>Eliminate tape and all tape reliability problems and management hassles</a:t>
            </a:r>
          </a:p>
          <a:p>
            <a:pPr lvl="0"/>
            <a:r>
              <a:rPr lang="en-US" sz="900" kern="1200" dirty="0" smtClean="0">
                <a:solidFill>
                  <a:schemeClr val="tx1"/>
                </a:solidFill>
                <a:effectLst/>
                <a:latin typeface="Segoe UI Light" pitchFamily="34" charset="0"/>
                <a:ea typeface="+mn-ea"/>
                <a:cs typeface="+mn-cs"/>
              </a:rPr>
              <a:t>Get very fast data protection at a far lower cost than replication solutions</a:t>
            </a:r>
          </a:p>
          <a:p>
            <a:pPr lvl="0"/>
            <a:r>
              <a:rPr lang="en-US" sz="900" kern="1200" dirty="0" smtClean="0">
                <a:solidFill>
                  <a:schemeClr val="tx1"/>
                </a:solidFill>
                <a:effectLst/>
                <a:latin typeface="Segoe UI Light" pitchFamily="34" charset="0"/>
                <a:ea typeface="+mn-ea"/>
                <a:cs typeface="+mn-cs"/>
              </a:rPr>
              <a:t>Do instant recovery by utilizing synthetic full volume images</a:t>
            </a:r>
          </a:p>
          <a:p>
            <a:pPr lvl="0"/>
            <a:r>
              <a:rPr lang="en-US" sz="900" kern="1200" dirty="0" smtClean="0">
                <a:solidFill>
                  <a:schemeClr val="tx1"/>
                </a:solidFill>
                <a:effectLst/>
                <a:latin typeface="Segoe UI Light" pitchFamily="34" charset="0"/>
                <a:ea typeface="+mn-ea"/>
                <a:cs typeface="+mn-cs"/>
              </a:rPr>
              <a:t>Test DR – something many IT teams can’t do for much of their data</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Increased IT agility: Microsoft Azure </a:t>
            </a:r>
            <a:r>
              <a:rPr lang="en-US" sz="900" kern="1200" dirty="0" err="1" smtClean="0">
                <a:solidFill>
                  <a:schemeClr val="tx1"/>
                </a:solidFill>
                <a:effectLst/>
                <a:latin typeface="Segoe UI Light" pitchFamily="34" charset="0"/>
                <a:ea typeface="+mn-ea"/>
                <a:cs typeface="+mn-cs"/>
              </a:rPr>
              <a:t>StorSimple</a:t>
            </a:r>
            <a:r>
              <a:rPr lang="en-US" sz="900" kern="1200" dirty="0" smtClean="0">
                <a:solidFill>
                  <a:schemeClr val="tx1"/>
                </a:solidFill>
                <a:effectLst/>
                <a:latin typeface="Segoe UI Light" pitchFamily="34" charset="0"/>
                <a:ea typeface="+mn-ea"/>
                <a:cs typeface="+mn-cs"/>
              </a:rPr>
              <a:t> Manager consolidates storage management through an Azure portal. As a result, you save time by managing all storage arrays from a single point. You can now get near real-time status and updates for all </a:t>
            </a:r>
            <a:r>
              <a:rPr lang="en-US" sz="900" kern="1200" dirty="0" err="1" smtClean="0">
                <a:solidFill>
                  <a:schemeClr val="tx1"/>
                </a:solidFill>
                <a:effectLst/>
                <a:latin typeface="Segoe UI Light" pitchFamily="34" charset="0"/>
                <a:ea typeface="+mn-ea"/>
                <a:cs typeface="+mn-cs"/>
              </a:rPr>
              <a:t>StorSimple</a:t>
            </a:r>
            <a:r>
              <a:rPr lang="en-US" sz="900" kern="1200" dirty="0" smtClean="0">
                <a:solidFill>
                  <a:schemeClr val="tx1"/>
                </a:solidFill>
                <a:effectLst/>
                <a:latin typeface="Segoe UI Light" pitchFamily="34" charset="0"/>
                <a:ea typeface="+mn-ea"/>
                <a:cs typeface="+mn-cs"/>
              </a:rPr>
              <a:t> arrays. Overall, IT teams save a lot of administrative time that can be used for business-driven technology instead of storage infrastructure.</a:t>
            </a:r>
          </a:p>
          <a:p>
            <a:r>
              <a:rPr lang="en-US" sz="900" b="1"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E6460D4-D7A6-441F-8006-E03972B1DAE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14668959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29: Business continuity</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Our goals when building a cloud-based disaster recovery solution were to make disaster recovery available to </a:t>
            </a:r>
            <a:r>
              <a:rPr lang="en-US" sz="900" b="1" kern="1200" dirty="0" smtClean="0">
                <a:solidFill>
                  <a:schemeClr val="tx1"/>
                </a:solidFill>
                <a:effectLst/>
                <a:latin typeface="Segoe UI Light" pitchFamily="34" charset="0"/>
                <a:ea typeface="+mn-ea"/>
                <a:cs typeface="+mn-cs"/>
              </a:rPr>
              <a:t>everyone</a:t>
            </a:r>
            <a:r>
              <a:rPr lang="en-US" sz="900" kern="1200" dirty="0" smtClean="0">
                <a:solidFill>
                  <a:schemeClr val="tx1"/>
                </a:solidFill>
                <a:effectLst/>
                <a:latin typeface="Segoe UI Light" pitchFamily="34" charset="0"/>
                <a:ea typeface="+mn-ea"/>
                <a:cs typeface="+mn-cs"/>
              </a:rPr>
              <a:t>, available </a:t>
            </a:r>
            <a:r>
              <a:rPr lang="en-US" sz="900" b="1" kern="1200" dirty="0" smtClean="0">
                <a:solidFill>
                  <a:schemeClr val="tx1"/>
                </a:solidFill>
                <a:effectLst/>
                <a:latin typeface="Segoe UI Light" pitchFamily="34" charset="0"/>
                <a:ea typeface="+mn-ea"/>
                <a:cs typeface="+mn-cs"/>
              </a:rPr>
              <a:t>everywhere</a:t>
            </a:r>
            <a:r>
              <a:rPr lang="en-US" sz="900" kern="1200" dirty="0" smtClean="0">
                <a:solidFill>
                  <a:schemeClr val="tx1"/>
                </a:solidFill>
                <a:effectLst/>
                <a:latin typeface="Segoe UI Light" pitchFamily="34" charset="0"/>
                <a:ea typeface="+mn-ea"/>
                <a:cs typeface="+mn-cs"/>
              </a:rPr>
              <a:t>, and </a:t>
            </a:r>
            <a:r>
              <a:rPr lang="en-US" sz="900" b="1" kern="1200" dirty="0" smtClean="0">
                <a:solidFill>
                  <a:schemeClr val="tx1"/>
                </a:solidFill>
                <a:effectLst/>
                <a:latin typeface="Segoe UI Light" pitchFamily="34" charset="0"/>
                <a:ea typeface="+mn-ea"/>
                <a:cs typeface="+mn-cs"/>
              </a:rPr>
              <a:t>easy to use</a:t>
            </a:r>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Since January 2014, we’ve offered Microsoft Azure Site Recovery, which enabled automated protection, asynchronous ongoing replication, and orchestrated, accurate, and consistent recovery of virtualized workloads between private clouds across enterprise sites with minimal downtime. </a:t>
            </a:r>
          </a:p>
          <a:p>
            <a:r>
              <a:rPr lang="en-US" sz="900" kern="1200" dirty="0" smtClean="0">
                <a:solidFill>
                  <a:schemeClr val="tx1"/>
                </a:solidFill>
                <a:effectLst/>
                <a:latin typeface="Segoe UI Light" pitchFamily="34" charset="0"/>
                <a:ea typeface="+mn-ea"/>
                <a:cs typeface="+mn-cs"/>
              </a:rPr>
              <a:t>But customers asked us to add an additional capability. So you can now also protect, replicate, and failover Virtual Machines directly to Microsoft Azure, thereby increasing the resilience of business-critical applications. The efficiency and availability that come from this resiliency has a direct impact on the bottom line—but that isn’t the only cost savings ASR provides. Using ASR also removes the need to invest in an on-premises standby datacenter. </a:t>
            </a:r>
          </a:p>
          <a:p>
            <a:r>
              <a:rPr lang="en-US" sz="900" kern="1200" dirty="0" smtClean="0">
                <a:solidFill>
                  <a:schemeClr val="tx1"/>
                </a:solidFill>
                <a:effectLst/>
                <a:latin typeface="Segoe UI Light" pitchFamily="34" charset="0"/>
                <a:ea typeface="+mn-ea"/>
                <a:cs typeface="+mn-cs"/>
              </a:rPr>
              <a:t>Customers like United Airlines and Aston Martin are already using Site Recovery. And what we hear from customers is that the ability to initiate failover from anywhere with an internet connection is a huge benefit. Site Recovery also lets you customize your approach, so you can predefine the order in which failover occurs.  </a:t>
            </a:r>
          </a:p>
          <a:p>
            <a:r>
              <a:rPr lang="en-US" sz="900"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Ensure business continuity and service delivery</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9695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1:5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9883539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30: Hybrid networking</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Express Route: connect directly to Azure from your datacenter, without going through the public internet.</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zure </a:t>
            </a:r>
            <a:r>
              <a:rPr lang="en-US" sz="900" kern="1200" dirty="0" err="1" smtClean="0">
                <a:solidFill>
                  <a:schemeClr val="tx1"/>
                </a:solidFill>
                <a:effectLst/>
                <a:latin typeface="Segoe UI Light" pitchFamily="34" charset="0"/>
                <a:ea typeface="+mn-ea"/>
                <a:cs typeface="+mn-cs"/>
              </a:rPr>
              <a:t>ExpressRoute</a:t>
            </a:r>
            <a:r>
              <a:rPr lang="en-US" sz="900" kern="1200" dirty="0" smtClean="0">
                <a:solidFill>
                  <a:schemeClr val="tx1"/>
                </a:solidFill>
                <a:effectLst/>
                <a:latin typeface="Segoe UI Light" pitchFamily="34" charset="0"/>
                <a:ea typeface="+mn-ea"/>
                <a:cs typeface="+mn-cs"/>
              </a:rPr>
              <a:t> enables you to create private connections between Azure datacenters and infrastructure that’s on your premises or in a colocation environment. </a:t>
            </a:r>
            <a:r>
              <a:rPr lang="en-US" sz="900" kern="1200" dirty="0" err="1" smtClean="0">
                <a:solidFill>
                  <a:schemeClr val="tx1"/>
                </a:solidFill>
                <a:effectLst/>
                <a:latin typeface="Segoe UI Light" pitchFamily="34" charset="0"/>
                <a:ea typeface="+mn-ea"/>
                <a:cs typeface="+mn-cs"/>
              </a:rPr>
              <a:t>ExpressRoute</a:t>
            </a:r>
            <a:r>
              <a:rPr lang="en-US" sz="900" kern="1200" dirty="0" smtClean="0">
                <a:solidFill>
                  <a:schemeClr val="tx1"/>
                </a:solidFill>
                <a:effectLst/>
                <a:latin typeface="Segoe UI Light" pitchFamily="34" charset="0"/>
                <a:ea typeface="+mn-ea"/>
                <a:cs typeface="+mn-cs"/>
              </a:rPr>
              <a:t> connections do not go over the public Internet, and offer more reliability, faster speeds, lower latencies and higher security than typical connections over the internet. In some cases, using </a:t>
            </a:r>
            <a:r>
              <a:rPr lang="en-US" sz="900" kern="1200" dirty="0" err="1" smtClean="0">
                <a:solidFill>
                  <a:schemeClr val="tx1"/>
                </a:solidFill>
                <a:effectLst/>
                <a:latin typeface="Segoe UI Light" pitchFamily="34" charset="0"/>
                <a:ea typeface="+mn-ea"/>
                <a:cs typeface="+mn-cs"/>
              </a:rPr>
              <a:t>ExpressRoute</a:t>
            </a:r>
            <a:r>
              <a:rPr lang="en-US" sz="900" kern="1200" dirty="0" smtClean="0">
                <a:solidFill>
                  <a:schemeClr val="tx1"/>
                </a:solidFill>
                <a:effectLst/>
                <a:latin typeface="Segoe UI Light" pitchFamily="34" charset="0"/>
                <a:ea typeface="+mn-ea"/>
                <a:cs typeface="+mn-cs"/>
              </a:rPr>
              <a:t> connections to transfer data between on-premises and Azure can also yield significant cost benefits.</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With </a:t>
            </a:r>
            <a:r>
              <a:rPr lang="en-US" sz="900" kern="1200" dirty="0" err="1" smtClean="0">
                <a:solidFill>
                  <a:schemeClr val="tx1"/>
                </a:solidFill>
                <a:effectLst/>
                <a:latin typeface="Segoe UI Light" pitchFamily="34" charset="0"/>
                <a:ea typeface="+mn-ea"/>
                <a:cs typeface="+mn-cs"/>
              </a:rPr>
              <a:t>ExpressRoute</a:t>
            </a:r>
            <a:r>
              <a:rPr lang="en-US" sz="900" kern="1200" dirty="0" smtClean="0">
                <a:solidFill>
                  <a:schemeClr val="tx1"/>
                </a:solidFill>
                <a:effectLst/>
                <a:latin typeface="Segoe UI Light" pitchFamily="34" charset="0"/>
                <a:ea typeface="+mn-ea"/>
                <a:cs typeface="+mn-cs"/>
              </a:rPr>
              <a:t>, you can establish connections to Azure at an </a:t>
            </a:r>
            <a:r>
              <a:rPr lang="en-US" sz="900" kern="1200" dirty="0" err="1" smtClean="0">
                <a:solidFill>
                  <a:schemeClr val="tx1"/>
                </a:solidFill>
                <a:effectLst/>
                <a:latin typeface="Segoe UI Light" pitchFamily="34" charset="0"/>
                <a:ea typeface="+mn-ea"/>
                <a:cs typeface="+mn-cs"/>
              </a:rPr>
              <a:t>ExpressRoute</a:t>
            </a:r>
            <a:r>
              <a:rPr lang="en-US" sz="900" kern="1200" dirty="0" smtClean="0">
                <a:solidFill>
                  <a:schemeClr val="tx1"/>
                </a:solidFill>
                <a:effectLst/>
                <a:latin typeface="Segoe UI Light" pitchFamily="34" charset="0"/>
                <a:ea typeface="+mn-ea"/>
                <a:cs typeface="+mn-cs"/>
              </a:rPr>
              <a:t> location (Exchange Provider facility) or directly connect to Azure from your existing WAN network (such as a MPLS VPN) provided by a network service provider.</a:t>
            </a:r>
          </a:p>
          <a:p>
            <a:r>
              <a:rPr lang="en-US" sz="900" b="1"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ECB84D2-9B12-41BE-91C9-CF11FE68A879}"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32374311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31: Hybrid identity</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For identity and access, the breakthrough is an increased ability to maintain a single identity across multiple clouds. Continuous services and connected devices present a real challenge, with users expecting more and more from IT in terms of simple and fast access to resources and data. Microsoft offers multiple options in this area, including the advances in identity management in both Windows Server 2012 Active Directory and Microsoft Azure Active Directory. Cloud-based identity that integrates with your existing Active Directory solution will allow tremendous flexibility in building single sign-on capabilities across your cloud deployments. This is the identity platform you know, reinvented for cloud.</a:t>
            </a: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Microsoft is differentiated in this area by our ability to bridge from the on-premises datacenter to the cloud.  We understand that you need to balance security and compliance against ease of access for end users.  And we continue to innovate to make things easier—for example, the most recent updates to Azure Active Directory make it possible to federate identity across </a:t>
            </a:r>
            <a:r>
              <a:rPr lang="en-US" sz="900" kern="1200" dirty="0" err="1" smtClean="0">
                <a:solidFill>
                  <a:schemeClr val="tx1"/>
                </a:solidFill>
                <a:effectLst/>
                <a:latin typeface="Segoe UI Light" pitchFamily="34" charset="0"/>
                <a:ea typeface="+mn-ea"/>
                <a:cs typeface="+mn-cs"/>
              </a:rPr>
              <a:t>SaaS</a:t>
            </a:r>
            <a:r>
              <a:rPr lang="en-US" sz="900" kern="1200" dirty="0" smtClean="0">
                <a:solidFill>
                  <a:schemeClr val="tx1"/>
                </a:solidFill>
                <a:effectLst/>
                <a:latin typeface="Segoe UI Light" pitchFamily="34" charset="0"/>
                <a:ea typeface="+mn-ea"/>
                <a:cs typeface="+mn-cs"/>
              </a:rPr>
              <a:t> applications, such as </a:t>
            </a:r>
            <a:r>
              <a:rPr lang="en-US" sz="900" kern="1200" dirty="0" err="1" smtClean="0">
                <a:solidFill>
                  <a:schemeClr val="tx1"/>
                </a:solidFill>
                <a:effectLst/>
                <a:latin typeface="Segoe UI Light" pitchFamily="34" charset="0"/>
                <a:ea typeface="+mn-ea"/>
                <a:cs typeface="+mn-cs"/>
              </a:rPr>
              <a:t>Salesforce.com</a:t>
            </a:r>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CDB82A0-057F-4670-890A-65BF1AF5AEA1}"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41400335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32: Server and cloud momentum</a:t>
            </a:r>
            <a:endParaRPr lang="en-US" sz="900" kern="1200" dirty="0" smtClean="0">
              <a:solidFill>
                <a:schemeClr val="tx1"/>
              </a:solidFill>
              <a:effectLst/>
              <a:latin typeface="Segoe UI Light" pitchFamily="34" charset="0"/>
              <a:ea typeface="+mn-ea"/>
              <a:cs typeface="+mn-cs"/>
            </a:endParaRPr>
          </a:p>
          <a:p>
            <a:endParaRPr lang="en-US" dirty="0" smtClean="0"/>
          </a:p>
          <a:p>
            <a:r>
              <a:rPr lang="en-US" sz="900" b="1" kern="1200" dirty="0" smtClean="0">
                <a:solidFill>
                  <a:schemeClr val="tx1"/>
                </a:solidFill>
                <a:effectLst/>
                <a:latin typeface="Segoe UI Light" pitchFamily="34" charset="0"/>
                <a:ea typeface="+mn-ea"/>
                <a:cs typeface="+mn-cs"/>
              </a:rPr>
              <a:t>Key Points:</a:t>
            </a:r>
            <a:endParaRPr lang="en-US" sz="900" kern="1200" dirty="0" smtClean="0">
              <a:solidFill>
                <a:schemeClr val="tx1"/>
              </a:solidFill>
              <a:effectLst/>
              <a:latin typeface="Segoe UI Light" pitchFamily="34" charset="0"/>
              <a:ea typeface="+mn-ea"/>
              <a:cs typeface="+mn-cs"/>
            </a:endParaRPr>
          </a:p>
          <a:p>
            <a:pPr lvl="0"/>
            <a:r>
              <a:rPr lang="en-US" sz="900" kern="1200" dirty="0" smtClean="0">
                <a:solidFill>
                  <a:schemeClr val="tx1"/>
                </a:solidFill>
                <a:effectLst/>
                <a:latin typeface="Segoe UI Light" pitchFamily="34" charset="0"/>
                <a:ea typeface="+mn-ea"/>
                <a:cs typeface="+mn-cs"/>
              </a:rPr>
              <a:t>As on slide.</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8118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118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FD8805E-0A80-46CB-ACA2-240ECAC5A627}"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28424002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Slide 33: Cloud is integral to everything you do</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r>
              <a:rPr lang="en-US" sz="900" kern="1200" dirty="0" smtClean="0">
                <a:solidFill>
                  <a:schemeClr val="tx1"/>
                </a:solidFill>
                <a:effectLst/>
                <a:latin typeface="Segoe UI Light" pitchFamily="34" charset="0"/>
                <a:ea typeface="+mn-ea"/>
                <a:cs typeface="+mn-cs"/>
              </a:rPr>
              <a:t>As on slide</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C8DB7D-C950-41DE-8D43-E56D3022315E}"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29078688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r>
              <a:rPr lang="en-US" sz="900" b="1" kern="1200" dirty="0" smtClean="0">
                <a:solidFill>
                  <a:schemeClr val="tx1"/>
                </a:solidFill>
                <a:effectLst/>
                <a:latin typeface="Segoe UI Light" pitchFamily="34" charset="0"/>
                <a:ea typeface="+mn-ea"/>
                <a:cs typeface="+mn-cs"/>
              </a:rPr>
              <a:t>Slide 34: Close</a:t>
            </a:r>
            <a:endParaRPr lang="en-US" sz="900" kern="1200" dirty="0">
              <a:solidFill>
                <a:schemeClr val="tx1"/>
              </a:solidFill>
              <a:effectLst/>
              <a:latin typeface="Segoe UI Light" pitchFamily="34" charset="0"/>
              <a:ea typeface="+mn-ea"/>
              <a:cs typeface="+mn-cs"/>
            </a:endParaRPr>
          </a:p>
        </p:txBody>
      </p:sp>
      <p:sp>
        <p:nvSpPr>
          <p:cNvPr id="110595"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anose="020B0502040204020203" pitchFamily="34" charset="0"/>
                <a:ea typeface="MS PGothic" panose="020B0600070205080204" pitchFamily="34" charset="-128"/>
              </a:defRPr>
            </a:lvl1pPr>
            <a:lvl2pPr marL="770662" indent="-296408" eaLnBrk="0" hangingPunct="0">
              <a:defRPr sz="2500">
                <a:solidFill>
                  <a:schemeClr val="tx1"/>
                </a:solidFill>
                <a:latin typeface="Segoe UI" panose="020B0502040204020203" pitchFamily="34" charset="0"/>
                <a:ea typeface="MS PGothic" panose="020B0600070205080204" pitchFamily="34" charset="-128"/>
              </a:defRPr>
            </a:lvl2pPr>
            <a:lvl3pPr marL="1185634" indent="-237127" eaLnBrk="0" hangingPunct="0">
              <a:defRPr sz="2500">
                <a:solidFill>
                  <a:schemeClr val="tx1"/>
                </a:solidFill>
                <a:latin typeface="Segoe UI" panose="020B0502040204020203" pitchFamily="34" charset="0"/>
                <a:ea typeface="MS PGothic" panose="020B0600070205080204" pitchFamily="34" charset="-128"/>
              </a:defRPr>
            </a:lvl3pPr>
            <a:lvl4pPr marL="1659887" indent="-237127" eaLnBrk="0" hangingPunct="0">
              <a:defRPr sz="2500">
                <a:solidFill>
                  <a:schemeClr val="tx1"/>
                </a:solidFill>
                <a:latin typeface="Segoe UI" panose="020B0502040204020203" pitchFamily="34" charset="0"/>
                <a:ea typeface="MS PGothic" panose="020B0600070205080204" pitchFamily="34" charset="-128"/>
              </a:defRPr>
            </a:lvl4pPr>
            <a:lvl5pPr marL="2134141" indent="-237127" eaLnBrk="0" hangingPunct="0">
              <a:defRPr sz="2500">
                <a:solidFill>
                  <a:schemeClr val="tx1"/>
                </a:solidFill>
                <a:latin typeface="Segoe UI" panose="020B0502040204020203" pitchFamily="34" charset="0"/>
                <a:ea typeface="MS PGothic" panose="020B0600070205080204" pitchFamily="34" charset="-128"/>
              </a:defRPr>
            </a:lvl5pPr>
            <a:lvl6pPr marL="2608395" indent="-237127" defTabSz="966621" eaLnBrk="0" fontAlgn="base" hangingPunct="0">
              <a:spcBef>
                <a:spcPct val="0"/>
              </a:spcBef>
              <a:spcAft>
                <a:spcPct val="0"/>
              </a:spcAft>
              <a:defRPr sz="2500">
                <a:solidFill>
                  <a:schemeClr val="tx1"/>
                </a:solidFill>
                <a:latin typeface="Segoe UI" panose="020B0502040204020203" pitchFamily="34" charset="0"/>
                <a:ea typeface="MS PGothic" panose="020B0600070205080204" pitchFamily="34" charset="-128"/>
              </a:defRPr>
            </a:lvl6pPr>
            <a:lvl7pPr marL="3082648" indent="-237127" defTabSz="966621" eaLnBrk="0" fontAlgn="base" hangingPunct="0">
              <a:spcBef>
                <a:spcPct val="0"/>
              </a:spcBef>
              <a:spcAft>
                <a:spcPct val="0"/>
              </a:spcAft>
              <a:defRPr sz="2500">
                <a:solidFill>
                  <a:schemeClr val="tx1"/>
                </a:solidFill>
                <a:latin typeface="Segoe UI" panose="020B0502040204020203" pitchFamily="34" charset="0"/>
                <a:ea typeface="MS PGothic" panose="020B0600070205080204" pitchFamily="34" charset="-128"/>
              </a:defRPr>
            </a:lvl7pPr>
            <a:lvl8pPr marL="3556902" indent="-237127" defTabSz="966621" eaLnBrk="0" fontAlgn="base" hangingPunct="0">
              <a:spcBef>
                <a:spcPct val="0"/>
              </a:spcBef>
              <a:spcAft>
                <a:spcPct val="0"/>
              </a:spcAft>
              <a:defRPr sz="2500">
                <a:solidFill>
                  <a:schemeClr val="tx1"/>
                </a:solidFill>
                <a:latin typeface="Segoe UI" panose="020B0502040204020203" pitchFamily="34" charset="0"/>
                <a:ea typeface="MS PGothic" panose="020B0600070205080204" pitchFamily="34" charset="-128"/>
              </a:defRPr>
            </a:lvl8pPr>
            <a:lvl9pPr marL="4031155" indent="-237127" defTabSz="966621" eaLnBrk="0" fontAlgn="base" hangingPunct="0">
              <a:spcBef>
                <a:spcPct val="0"/>
              </a:spcBef>
              <a:spcAft>
                <a:spcPct val="0"/>
              </a:spcAft>
              <a:defRPr sz="2500">
                <a:solidFill>
                  <a:schemeClr val="tx1"/>
                </a:solidFill>
                <a:latin typeface="Segoe UI" panose="020B0502040204020203" pitchFamily="34" charset="0"/>
                <a:ea typeface="MS PGothic" panose="020B0600070205080204" pitchFamily="34" charset="-128"/>
              </a:defRPr>
            </a:lvl9pPr>
          </a:lstStyle>
          <a:p>
            <a:pPr eaLnBrk="1" hangingPunct="1"/>
            <a:fld id="{F2208E1B-D0F5-42DB-AE87-4B3BE33A738A}" type="slidenum">
              <a:rPr lang="en-US" sz="1200">
                <a:solidFill>
                  <a:prstClr val="black"/>
                </a:solidFill>
                <a:latin typeface="Calibri" panose="020F0502020204030204" pitchFamily="34" charset="0"/>
              </a:rPr>
              <a:pPr eaLnBrk="1" hangingPunct="1"/>
              <a:t>69</a:t>
            </a:fld>
            <a:endParaRPr lang="en-US" sz="1200">
              <a:solidFill>
                <a:prstClr val="black"/>
              </a:solidFill>
              <a:latin typeface="Calibri" panose="020F0502020204030204" pitchFamily="34" charset="0"/>
            </a:endParaRPr>
          </a:p>
        </p:txBody>
      </p:sp>
    </p:spTree>
    <p:extLst>
      <p:ext uri="{BB962C8B-B14F-4D97-AF65-F5344CB8AC3E}">
        <p14:creationId xmlns:p14="http://schemas.microsoft.com/office/powerpoint/2010/main" val="25280434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188480556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600" b="1" kern="1200" dirty="0" smtClean="0">
                <a:solidFill>
                  <a:schemeClr val="tx1"/>
                </a:solidFill>
                <a:effectLst/>
              </a:rPr>
              <a:t>This slide should drive discussion to uncover the current ‘state of play’ for the customer data center approach(</a:t>
            </a:r>
            <a:r>
              <a:rPr lang="en-US" sz="600" b="1" kern="1200" dirty="0" err="1" smtClean="0">
                <a:solidFill>
                  <a:schemeClr val="tx1"/>
                </a:solidFill>
                <a:effectLst/>
              </a:rPr>
              <a:t>es</a:t>
            </a:r>
            <a:r>
              <a:rPr lang="en-US" sz="600" b="1" kern="1200" dirty="0" smtClean="0">
                <a:solidFill>
                  <a:schemeClr val="tx1"/>
                </a:solidFill>
                <a:effectLst/>
              </a:rPr>
              <a:t>)</a:t>
            </a:r>
            <a:br>
              <a:rPr lang="en-US" sz="600" b="1" kern="1200" dirty="0" smtClean="0">
                <a:solidFill>
                  <a:schemeClr val="tx1"/>
                </a:solidFill>
                <a:effectLst/>
              </a:rPr>
            </a:br>
            <a:r>
              <a:rPr lang="en-US" sz="600" b="1" kern="1200" dirty="0" smtClean="0">
                <a:solidFill>
                  <a:schemeClr val="tx1"/>
                </a:solidFill>
                <a:effectLst/>
              </a:rPr>
              <a:t>It is a slide to encourage the customer to share details of where their workloads run at present, what are the drivers that they are thinking about and what toolsets are they using</a:t>
            </a:r>
          </a:p>
          <a:p>
            <a:r>
              <a:rPr lang="en-US" sz="600" b="1" kern="1200" dirty="0" smtClean="0">
                <a:solidFill>
                  <a:schemeClr val="tx1"/>
                </a:solidFill>
                <a:effectLst/>
              </a:rPr>
              <a:t>Do NOT</a:t>
            </a:r>
            <a:r>
              <a:rPr lang="en-US" sz="600" b="1" kern="1200" baseline="0" dirty="0" smtClean="0">
                <a:solidFill>
                  <a:schemeClr val="tx1"/>
                </a:solidFill>
                <a:effectLst/>
              </a:rPr>
              <a:t> present the issues to your audience – let them tell YOU what their concerns are.  This slide is only here to provoke a response from you attendees.</a:t>
            </a:r>
            <a:r>
              <a:rPr lang="en-US" sz="600" b="1" kern="1200" dirty="0" smtClean="0">
                <a:solidFill>
                  <a:schemeClr val="tx1"/>
                </a:solidFill>
                <a:effectLst/>
              </a:rPr>
              <a:t/>
            </a:r>
            <a:br>
              <a:rPr lang="en-US" sz="600" b="1" kern="1200" dirty="0" smtClean="0">
                <a:solidFill>
                  <a:schemeClr val="tx1"/>
                </a:solidFill>
                <a:effectLst/>
              </a:rPr>
            </a:br>
            <a:endParaRPr lang="en-US" sz="600" b="1" kern="1200" dirty="0" smtClean="0">
              <a:solidFill>
                <a:schemeClr val="tx1"/>
              </a:solidFill>
              <a:effectLst/>
            </a:endParaRPr>
          </a:p>
          <a:p>
            <a:r>
              <a:rPr lang="en-US" sz="600" b="1" kern="1200" dirty="0" smtClean="0">
                <a:solidFill>
                  <a:schemeClr val="tx1"/>
                </a:solidFill>
                <a:effectLst/>
              </a:rPr>
              <a:t>Timing:</a:t>
            </a:r>
            <a:r>
              <a:rPr lang="en-US" sz="600" kern="1200" dirty="0" smtClean="0">
                <a:solidFill>
                  <a:schemeClr val="tx1"/>
                </a:solidFill>
                <a:effectLst/>
              </a:rPr>
              <a:t> 3-5 minutes </a:t>
            </a:r>
            <a:br>
              <a:rPr lang="en-US" sz="600" kern="1200" dirty="0" smtClean="0">
                <a:solidFill>
                  <a:schemeClr val="tx1"/>
                </a:solidFill>
                <a:effectLst/>
              </a:rPr>
            </a:br>
            <a:r>
              <a:rPr lang="en-US" sz="600" b="1" kern="1200" dirty="0" smtClean="0">
                <a:solidFill>
                  <a:schemeClr val="tx1"/>
                </a:solidFill>
                <a:effectLst/>
              </a:rPr>
              <a:t>Key Points:</a:t>
            </a:r>
            <a:endParaRPr lang="en-US" sz="600" kern="1200" dirty="0" smtClean="0">
              <a:solidFill>
                <a:schemeClr val="tx1"/>
              </a:solidFill>
              <a:effectLst/>
            </a:endParaRPr>
          </a:p>
          <a:p>
            <a:pPr marL="171450" lvl="0" indent="-171450">
              <a:buFont typeface="Arial" panose="020B0604020202020204" pitchFamily="34" charset="0"/>
              <a:buChar char="•"/>
            </a:pPr>
            <a:endParaRPr lang="en-US" sz="600" kern="1200" dirty="0" smtClean="0">
              <a:solidFill>
                <a:schemeClr val="tx1"/>
              </a:solidFill>
              <a:effectLst/>
            </a:endParaRPr>
          </a:p>
          <a:p>
            <a:pPr marL="171450" lvl="0" indent="-171450">
              <a:buFont typeface="Arial" panose="020B0604020202020204" pitchFamily="34" charset="0"/>
              <a:buChar char="•"/>
            </a:pPr>
            <a:r>
              <a:rPr lang="en-US" sz="600" kern="1200" dirty="0" smtClean="0">
                <a:solidFill>
                  <a:schemeClr val="tx1"/>
                </a:solidFill>
                <a:effectLst/>
              </a:rPr>
              <a:t>System Center 2012, including Configuration Manager and Operations Manager, can help you greatly automate your datacenter and increase IT productivity.</a:t>
            </a:r>
          </a:p>
          <a:p>
            <a:pPr marL="171450" lvl="0" indent="-171450">
              <a:buFont typeface="Arial" panose="020B0604020202020204" pitchFamily="34" charset="0"/>
              <a:buChar char="•"/>
            </a:pPr>
            <a:r>
              <a:rPr lang="en-US" sz="600" kern="1200" dirty="0" smtClean="0">
                <a:solidFill>
                  <a:schemeClr val="tx1"/>
                </a:solidFill>
                <a:effectLst/>
              </a:rPr>
              <a:t>With new Microsoft Azure </a:t>
            </a:r>
            <a:r>
              <a:rPr lang="en-US" sz="600" kern="1200" dirty="0" err="1" smtClean="0">
                <a:solidFill>
                  <a:schemeClr val="tx1"/>
                </a:solidFill>
                <a:effectLst/>
              </a:rPr>
              <a:t>IaaS</a:t>
            </a:r>
            <a:r>
              <a:rPr lang="en-US" sz="600" kern="1200" dirty="0" smtClean="0">
                <a:solidFill>
                  <a:schemeClr val="tx1"/>
                </a:solidFill>
                <a:effectLst/>
              </a:rPr>
              <a:t> capabilities, you can seamlessly move VMs between your datacenter and the public cloud. And you can develop modern applications and services using Microsoft’s enterprise-grade </a:t>
            </a:r>
            <a:r>
              <a:rPr lang="en-US" sz="600" kern="1200" dirty="0" err="1" smtClean="0">
                <a:solidFill>
                  <a:schemeClr val="tx1"/>
                </a:solidFill>
                <a:effectLst/>
              </a:rPr>
              <a:t>PaaS</a:t>
            </a:r>
            <a:r>
              <a:rPr lang="en-US" sz="600" kern="1200" dirty="0" smtClean="0">
                <a:solidFill>
                  <a:schemeClr val="tx1"/>
                </a:solidFill>
                <a:effectLst/>
              </a:rPr>
              <a:t> capabilities.</a:t>
            </a:r>
          </a:p>
          <a:p>
            <a:r>
              <a:rPr lang="en-US" sz="600" kern="1200" dirty="0" smtClean="0">
                <a:solidFill>
                  <a:schemeClr val="tx1"/>
                </a:solidFill>
                <a:effectLst/>
              </a:rPr>
              <a:t> </a:t>
            </a:r>
          </a:p>
          <a:p>
            <a:r>
              <a:rPr lang="en-US" sz="600" b="1" kern="1200" dirty="0" smtClean="0">
                <a:solidFill>
                  <a:schemeClr val="tx1"/>
                </a:solidFill>
                <a:effectLst/>
              </a:rPr>
              <a:t>Speaker Notes: </a:t>
            </a:r>
            <a:endParaRPr lang="en-US" sz="600" kern="1200" dirty="0" smtClean="0">
              <a:solidFill>
                <a:schemeClr val="tx1"/>
              </a:solidFill>
              <a:effectLst/>
            </a:endParaRPr>
          </a:p>
          <a:p>
            <a:pPr lvl="0"/>
            <a:r>
              <a:rPr lang="en-US" sz="600" b="1" kern="1200" dirty="0" smtClean="0">
                <a:solidFill>
                  <a:schemeClr val="tx1"/>
                </a:solidFill>
                <a:effectLst/>
              </a:rPr>
              <a:t>Before we discuss some of the opportunities presented by the Microsoft private cloud let’s have a bit of a discussion about what your current approach looks like.</a:t>
            </a:r>
          </a:p>
          <a:p>
            <a:pPr lvl="0"/>
            <a:endParaRPr lang="en-US" sz="600" b="1" kern="1200" dirty="0" smtClean="0">
              <a:solidFill>
                <a:schemeClr val="tx1"/>
              </a:solidFill>
              <a:effectLst/>
            </a:endParaRPr>
          </a:p>
          <a:p>
            <a:pPr lvl="0"/>
            <a:r>
              <a:rPr lang="en-US" sz="600" b="1" kern="1200" dirty="0" smtClean="0">
                <a:solidFill>
                  <a:schemeClr val="tx1"/>
                </a:solidFill>
                <a:effectLst/>
              </a:rPr>
              <a:t>&lt;click&gt;</a:t>
            </a:r>
          </a:p>
          <a:p>
            <a:pPr lvl="0"/>
            <a:endParaRPr lang="en-US" sz="600" b="1" kern="1200" dirty="0" smtClean="0">
              <a:solidFill>
                <a:schemeClr val="tx1"/>
              </a:solidFill>
              <a:effectLst/>
            </a:endParaRPr>
          </a:p>
          <a:p>
            <a:pPr lvl="0"/>
            <a:r>
              <a:rPr lang="en-US" sz="600" b="0" kern="1200" dirty="0" smtClean="0">
                <a:solidFill>
                  <a:schemeClr val="tx1"/>
                </a:solidFill>
                <a:effectLst/>
              </a:rPr>
              <a:t>You probably think about application deployment as</a:t>
            </a:r>
            <a:r>
              <a:rPr lang="en-US" sz="600" b="0" kern="1200" baseline="0" dirty="0" smtClean="0">
                <a:solidFill>
                  <a:schemeClr val="tx1"/>
                </a:solidFill>
                <a:effectLst/>
              </a:rPr>
              <a:t> happening across one of these three types of data centers</a:t>
            </a:r>
          </a:p>
          <a:p>
            <a:pPr marL="171450" lvl="0" indent="-171450">
              <a:buFont typeface="Arial" panose="020B0604020202020204" pitchFamily="34" charset="0"/>
              <a:buChar char="•"/>
            </a:pPr>
            <a:r>
              <a:rPr lang="en-US" sz="600" b="0" kern="1200" baseline="0" dirty="0" smtClean="0">
                <a:solidFill>
                  <a:schemeClr val="tx1"/>
                </a:solidFill>
                <a:effectLst/>
              </a:rPr>
              <a:t>A traditional environment. This may be virtualized, non-virtualized or a combination of both. It may be deployed on-premises in your own data center or maybe you’re using co-location space with a service provider.</a:t>
            </a:r>
          </a:p>
          <a:p>
            <a:pPr marL="171450" lvl="0" indent="-171450">
              <a:buFont typeface="Arial" panose="020B0604020202020204" pitchFamily="34" charset="0"/>
              <a:buChar char="•"/>
            </a:pPr>
            <a:r>
              <a:rPr lang="en-US" sz="600" b="0" kern="1200" baseline="0" dirty="0" smtClean="0">
                <a:solidFill>
                  <a:schemeClr val="tx1"/>
                </a:solidFill>
                <a:effectLst/>
              </a:rPr>
              <a:t>A private cloud environment. Are you already deploying some private cloud tooling? This would be characterized by much higher degrees of automation and user self service.</a:t>
            </a:r>
          </a:p>
          <a:p>
            <a:pPr marL="171450" lvl="0" indent="-171450">
              <a:buFont typeface="Arial" panose="020B0604020202020204" pitchFamily="34" charset="0"/>
              <a:buChar char="•"/>
            </a:pPr>
            <a:r>
              <a:rPr lang="en-US" sz="600" b="0" kern="1200" baseline="0" dirty="0" smtClean="0">
                <a:solidFill>
                  <a:schemeClr val="tx1"/>
                </a:solidFill>
                <a:effectLst/>
              </a:rPr>
              <a:t>Are you using public cloud platforms such as Microsoft Azure?</a:t>
            </a:r>
          </a:p>
          <a:p>
            <a:pPr marL="171450" lvl="0" indent="-171450">
              <a:buFont typeface="Arial" panose="020B0604020202020204" pitchFamily="34" charset="0"/>
              <a:buChar char="•"/>
            </a:pPr>
            <a:endParaRPr lang="en-US" sz="600" b="0" kern="1200" baseline="0" dirty="0" smtClean="0">
              <a:solidFill>
                <a:schemeClr val="tx1"/>
              </a:solidFill>
              <a:effectLst/>
            </a:endParaRPr>
          </a:p>
          <a:p>
            <a:pPr marL="0" lvl="0" indent="0">
              <a:buFont typeface="Arial" panose="020B0604020202020204" pitchFamily="34" charset="0"/>
              <a:buNone/>
            </a:pPr>
            <a:r>
              <a:rPr lang="en-US" sz="600" b="1" kern="1200" baseline="0" dirty="0" smtClean="0">
                <a:solidFill>
                  <a:schemeClr val="tx1"/>
                </a:solidFill>
                <a:effectLst/>
              </a:rPr>
              <a:t>Can you talk a bit about how your applications are deployed today?</a:t>
            </a:r>
          </a:p>
          <a:p>
            <a:pPr marL="0" lvl="0" indent="0">
              <a:buFont typeface="Arial" panose="020B0604020202020204" pitchFamily="34" charset="0"/>
              <a:buNone/>
            </a:pPr>
            <a:r>
              <a:rPr lang="en-US" sz="600" b="1" kern="1200" baseline="0" dirty="0" smtClean="0">
                <a:solidFill>
                  <a:schemeClr val="tx1"/>
                </a:solidFill>
                <a:effectLst/>
              </a:rPr>
              <a:t>&lt;customer feedback&gt;</a:t>
            </a:r>
          </a:p>
          <a:p>
            <a:pPr marL="0" lvl="0" indent="0">
              <a:buFont typeface="Arial" panose="020B0604020202020204" pitchFamily="34" charset="0"/>
              <a:buNone/>
            </a:pPr>
            <a:endParaRPr lang="en-US" sz="600" b="1" kern="1200" baseline="0" dirty="0" smtClean="0">
              <a:solidFill>
                <a:schemeClr val="tx1"/>
              </a:solidFill>
              <a:effectLst/>
            </a:endParaRPr>
          </a:p>
          <a:p>
            <a:pPr marL="0" lvl="0" indent="0">
              <a:buFont typeface="Arial" panose="020B0604020202020204" pitchFamily="34" charset="0"/>
              <a:buNone/>
            </a:pPr>
            <a:r>
              <a:rPr lang="en-US" sz="600" b="1" kern="1200" baseline="0" dirty="0" smtClean="0">
                <a:solidFill>
                  <a:schemeClr val="tx1"/>
                </a:solidFill>
                <a:effectLst/>
              </a:rPr>
              <a:t>So next let’s discuss what some of your drivers are in adopting these approaches.</a:t>
            </a:r>
          </a:p>
          <a:p>
            <a:pPr marL="0" lvl="0" indent="0">
              <a:buFont typeface="Arial" panose="020B0604020202020204" pitchFamily="34" charset="0"/>
              <a:buNone/>
            </a:pPr>
            <a:r>
              <a:rPr lang="en-US" sz="600" b="1" kern="1200" baseline="0" dirty="0" smtClean="0">
                <a:solidFill>
                  <a:schemeClr val="tx1"/>
                </a:solidFill>
                <a:effectLst/>
              </a:rPr>
              <a:t>&lt;click&gt;</a:t>
            </a:r>
          </a:p>
          <a:p>
            <a:pPr marL="0" lvl="0" indent="0">
              <a:buFont typeface="Arial" panose="020B0604020202020204" pitchFamily="34" charset="0"/>
              <a:buNone/>
            </a:pPr>
            <a:endParaRPr lang="en-US" sz="600" b="1" kern="1200" baseline="0" dirty="0" smtClean="0">
              <a:solidFill>
                <a:schemeClr val="tx1"/>
              </a:solidFill>
              <a:effectLst/>
            </a:endParaRPr>
          </a:p>
          <a:p>
            <a:pPr marL="171450" lvl="0" indent="-171450">
              <a:buFont typeface="Arial" panose="020B0604020202020204" pitchFamily="34" charset="0"/>
              <a:buChar char="•"/>
            </a:pPr>
            <a:r>
              <a:rPr lang="en-US" sz="600" b="0" kern="1200" dirty="0" smtClean="0">
                <a:solidFill>
                  <a:schemeClr val="tx1"/>
                </a:solidFill>
                <a:effectLst/>
              </a:rPr>
              <a:t>Many customers need to keep applications on-premises and within their control because</a:t>
            </a:r>
            <a:r>
              <a:rPr lang="en-US" sz="600" b="0" kern="1200" baseline="0" dirty="0" smtClean="0">
                <a:solidFill>
                  <a:schemeClr val="tx1"/>
                </a:solidFill>
                <a:effectLst/>
              </a:rPr>
              <a:t> of data sensitivity. One of the things we’ll see with a private cloud is that it’s possible to achieve man of the benefits of cloud computing while still maintaining this control. In fact it’s a key reason that many customers are choosing private cloud solutions. </a:t>
            </a:r>
            <a:r>
              <a:rPr lang="en-US" sz="600" b="1" kern="1200" baseline="0" dirty="0" smtClean="0">
                <a:solidFill>
                  <a:schemeClr val="tx1"/>
                </a:solidFill>
                <a:effectLst/>
              </a:rPr>
              <a:t>Does your organization work with particularly sensitive data?</a:t>
            </a:r>
          </a:p>
          <a:p>
            <a:pPr marL="171450" lvl="0" indent="-171450">
              <a:buFont typeface="Arial" panose="020B0604020202020204" pitchFamily="34" charset="0"/>
              <a:buChar char="•"/>
            </a:pPr>
            <a:r>
              <a:rPr lang="en-US" sz="600" b="1" kern="1200" baseline="0" dirty="0" smtClean="0">
                <a:solidFill>
                  <a:schemeClr val="tx1"/>
                </a:solidFill>
                <a:effectLst/>
              </a:rPr>
              <a:t>Maybe you applications that are just too complex to move?</a:t>
            </a:r>
            <a:r>
              <a:rPr lang="en-US" sz="600" b="0" kern="1200" baseline="0" dirty="0" smtClean="0">
                <a:solidFill>
                  <a:schemeClr val="tx1"/>
                </a:solidFill>
                <a:effectLst/>
              </a:rPr>
              <a:t> Have you got applications that have a lot of moving parts? Applications that you’re reluctant to touch for fear of breaking them?</a:t>
            </a:r>
          </a:p>
          <a:p>
            <a:pPr marL="171450" lvl="0" indent="-171450">
              <a:buFont typeface="Arial" panose="020B0604020202020204" pitchFamily="34" charset="0"/>
              <a:buChar char="•"/>
            </a:pPr>
            <a:r>
              <a:rPr lang="en-US" sz="600" b="1" kern="1200" baseline="0" dirty="0" smtClean="0">
                <a:solidFill>
                  <a:schemeClr val="tx1"/>
                </a:solidFill>
                <a:effectLst/>
              </a:rPr>
              <a:t>Do you have other constraints that keep you from moving apps outside the firewall?</a:t>
            </a:r>
            <a:r>
              <a:rPr lang="en-US" sz="600" b="0" kern="1200" baseline="0" dirty="0" smtClean="0">
                <a:solidFill>
                  <a:schemeClr val="tx1"/>
                </a:solidFill>
                <a:effectLst/>
              </a:rPr>
              <a:t> Most of us take network connectivity for granted but for some organizations in some countries it speed, cost and reliability can present challenges.</a:t>
            </a:r>
          </a:p>
          <a:p>
            <a:pPr marL="0" lvl="0" indent="0">
              <a:buFont typeface="Arial" panose="020B0604020202020204" pitchFamily="34" charset="0"/>
              <a:buNone/>
            </a:pPr>
            <a:endParaRPr lang="en-US" sz="600" b="0" kern="1200" baseline="0" dirty="0" smtClean="0">
              <a:solidFill>
                <a:schemeClr val="tx1"/>
              </a:solidFill>
              <a:effectLst/>
            </a:endParaRPr>
          </a:p>
          <a:p>
            <a:pPr marL="0" lvl="0" indent="0">
              <a:buFont typeface="Arial" panose="020B0604020202020204" pitchFamily="34" charset="0"/>
              <a:buNone/>
            </a:pPr>
            <a:r>
              <a:rPr lang="en-US" sz="600" b="0" kern="1200" baseline="0" dirty="0" smtClean="0">
                <a:solidFill>
                  <a:schemeClr val="tx1"/>
                </a:solidFill>
                <a:effectLst/>
              </a:rPr>
              <a:t>Are there other things that are driving you to keep application hosted in a traditional data center environment?</a:t>
            </a:r>
          </a:p>
          <a:p>
            <a:pPr marL="0" lvl="0" indent="0">
              <a:buFont typeface="Arial" panose="020B0604020202020204" pitchFamily="34" charset="0"/>
              <a:buNone/>
            </a:pPr>
            <a:endParaRPr lang="en-US" sz="600" b="0" kern="1200" baseline="0" dirty="0" smtClean="0">
              <a:solidFill>
                <a:schemeClr val="tx1"/>
              </a:solidFill>
              <a:effectLst/>
            </a:endParaRPr>
          </a:p>
          <a:p>
            <a:pPr marL="0" lvl="0" indent="0">
              <a:buFont typeface="Arial" panose="020B0604020202020204" pitchFamily="34" charset="0"/>
              <a:buNone/>
            </a:pPr>
            <a:r>
              <a:rPr lang="en-US" sz="600" b="1" kern="1200" baseline="0" dirty="0" smtClean="0">
                <a:solidFill>
                  <a:schemeClr val="tx1"/>
                </a:solidFill>
                <a:effectLst/>
              </a:rPr>
              <a:t>What are some of the things you’re thinking about when it comes to cloud delivery of applications?</a:t>
            </a:r>
          </a:p>
          <a:p>
            <a:pPr marL="171450" lvl="0" indent="-171450">
              <a:buFont typeface="Arial" panose="020B0604020202020204" pitchFamily="34" charset="0"/>
              <a:buChar char="•"/>
            </a:pPr>
            <a:r>
              <a:rPr lang="en-US" sz="600" b="0" kern="1200" baseline="0" dirty="0" smtClean="0">
                <a:solidFill>
                  <a:schemeClr val="tx1"/>
                </a:solidFill>
                <a:effectLst/>
              </a:rPr>
              <a:t>One of the key drivers towards cloud computing for many customers is the need to be more efficient and economical. They’ve got limited capital budgets, restricted headcount and in many cases they’re running out of space in their data centers. They’re looking to achieve higher densities of machines within the physical capacity that they’ve got and they’re looking to be able to continue to support business growth without needing to keep growing their IT team to match. </a:t>
            </a:r>
            <a:r>
              <a:rPr lang="en-US" sz="600" b="1" kern="1200" baseline="0" dirty="0" smtClean="0">
                <a:solidFill>
                  <a:schemeClr val="tx1"/>
                </a:solidFill>
                <a:effectLst/>
              </a:rPr>
              <a:t>Are you finding budget, space and staffing constraints are hitting your IT organization?</a:t>
            </a:r>
          </a:p>
          <a:p>
            <a:pPr marL="171450" lvl="0" indent="-171450">
              <a:buFont typeface="Arial" panose="020B0604020202020204" pitchFamily="34" charset="0"/>
              <a:buChar char="•"/>
            </a:pPr>
            <a:r>
              <a:rPr lang="en-US" sz="600" b="0" kern="1200" baseline="0" dirty="0" smtClean="0">
                <a:solidFill>
                  <a:schemeClr val="tx1"/>
                </a:solidFill>
                <a:effectLst/>
              </a:rPr>
              <a:t>Another thing that’s seeing organizations move to the cloud is the need to be ‘always up and always on’ serving customers over the web and on mobile applications. </a:t>
            </a:r>
            <a:r>
              <a:rPr lang="en-US" sz="600" b="1" kern="1200" baseline="0" dirty="0" smtClean="0">
                <a:solidFill>
                  <a:schemeClr val="tx1"/>
                </a:solidFill>
                <a:effectLst/>
              </a:rPr>
              <a:t>Are your business units demanding greater degrees of resilience in their applications? Are you finding that you need to scale applications to meet greater demand or to deal with peak periods?</a:t>
            </a:r>
          </a:p>
          <a:p>
            <a:pPr marL="171450" lvl="0" indent="-171450">
              <a:buFont typeface="Arial" panose="020B0604020202020204" pitchFamily="34" charset="0"/>
              <a:buChar char="•"/>
            </a:pPr>
            <a:r>
              <a:rPr lang="en-US" sz="600" b="0" kern="1200" baseline="0" dirty="0" smtClean="0">
                <a:solidFill>
                  <a:schemeClr val="tx1"/>
                </a:solidFill>
                <a:effectLst/>
              </a:rPr>
              <a:t>A challenge that many customers have is just being able to keep up with the demand for new applications and application updates. One of the big benefits they see in the cloud is a much greater degree of self-service. </a:t>
            </a:r>
            <a:r>
              <a:rPr lang="en-US" sz="600" b="1" kern="1200" baseline="0" dirty="0" smtClean="0">
                <a:solidFill>
                  <a:schemeClr val="tx1"/>
                </a:solidFill>
                <a:effectLst/>
              </a:rPr>
              <a:t>Do you have self service capabilities of some sort already today? Are you finding that your staff are going self-service with external providers; for example are your development teams using Microsoft Azure or other public clouds for development and test purposes?</a:t>
            </a:r>
            <a:endParaRPr lang="en-US" sz="600" b="1" kern="1200" dirty="0" smtClean="0">
              <a:solidFill>
                <a:schemeClr val="tx1"/>
              </a:solidFill>
              <a:effectLst/>
            </a:endParaRPr>
          </a:p>
          <a:p>
            <a:endParaRPr lang="en-US" sz="600" b="1" kern="1200" dirty="0" smtClean="0">
              <a:solidFill>
                <a:schemeClr val="tx1"/>
              </a:solidFill>
              <a:effectLst/>
            </a:endParaRPr>
          </a:p>
          <a:p>
            <a:r>
              <a:rPr lang="en-US" sz="600" b="1" kern="1200" dirty="0" smtClean="0">
                <a:solidFill>
                  <a:schemeClr val="tx1"/>
                </a:solidFill>
                <a:effectLst/>
              </a:rPr>
              <a:t>And now let’s finish this slide by quickly discussing</a:t>
            </a:r>
            <a:r>
              <a:rPr lang="en-US" sz="600" b="1" kern="1200" baseline="0" dirty="0" smtClean="0">
                <a:solidFill>
                  <a:schemeClr val="tx1"/>
                </a:solidFill>
                <a:effectLst/>
              </a:rPr>
              <a:t> some of the toolsets to support your IT?</a:t>
            </a:r>
          </a:p>
          <a:p>
            <a:r>
              <a:rPr lang="en-US" sz="600" b="1" kern="1200" baseline="0" dirty="0" smtClean="0">
                <a:solidFill>
                  <a:schemeClr val="tx1"/>
                </a:solidFill>
                <a:effectLst/>
              </a:rPr>
              <a:t>[Would appreciate </a:t>
            </a:r>
            <a:r>
              <a:rPr lang="en-US" sz="600" b="1" kern="1200" baseline="0" dirty="0" err="1" smtClean="0">
                <a:solidFill>
                  <a:schemeClr val="tx1"/>
                </a:solidFill>
                <a:effectLst/>
              </a:rPr>
              <a:t>KenonO</a:t>
            </a:r>
            <a:r>
              <a:rPr lang="en-US" sz="600" b="1" kern="1200" baseline="0" dirty="0" smtClean="0">
                <a:solidFill>
                  <a:schemeClr val="tx1"/>
                </a:solidFill>
                <a:effectLst/>
              </a:rPr>
              <a:t> to add something to these speaker notes in terms of what toolsets we should be probing]</a:t>
            </a:r>
            <a:endParaRPr lang="en-US" sz="600" b="1" kern="1200" dirty="0" smtClean="0">
              <a:solidFill>
                <a:schemeClr val="tx1"/>
              </a:solidFill>
              <a:effectLs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600" b="1" kern="1200" baseline="0" dirty="0" smtClean="0">
                <a:solidFill>
                  <a:schemeClr val="tx1"/>
                </a:solidFill>
                <a:effectLst/>
              </a:rPr>
              <a:t>&lt;click&g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600" b="1" kern="1200" baseline="0" dirty="0" smtClean="0">
              <a:solidFill>
                <a:schemeClr val="tx1"/>
              </a:solidFill>
              <a:effectLst/>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600" b="0" kern="1200" baseline="0" dirty="0" smtClean="0">
                <a:solidFill>
                  <a:schemeClr val="tx1"/>
                </a:solidFill>
                <a:effectLst/>
              </a:rPr>
              <a:t>What virtualization technologies are you already using?</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600" b="0" kern="1200" baseline="0" dirty="0" smtClean="0">
                <a:solidFill>
                  <a:schemeClr val="tx1"/>
                </a:solidFill>
                <a:effectLst/>
              </a:rPr>
              <a:t>What operating systems do you have deployed?</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600" b="0" kern="1200" baseline="0" dirty="0" smtClean="0">
              <a:solidFill>
                <a:schemeClr val="tx1"/>
              </a:solidFill>
              <a:effectLst/>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600" b="0" kern="1200" baseline="0" dirty="0" smtClean="0">
                <a:solidFill>
                  <a:schemeClr val="tx1"/>
                </a:solidFill>
                <a:effectLst/>
              </a:rPr>
              <a:t>Are you already using systems management and automation tool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600" b="0" kern="1200" baseline="0" dirty="0" smtClean="0">
              <a:solidFill>
                <a:schemeClr val="tx1"/>
              </a:solidFill>
              <a:effectLst/>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600" b="0" kern="1200" baseline="0" dirty="0" smtClean="0">
                <a:solidFill>
                  <a:schemeClr val="tx1"/>
                </a:solidFill>
                <a:effectLst/>
              </a:rPr>
              <a:t>Which 3</a:t>
            </a:r>
            <a:r>
              <a:rPr lang="en-US" sz="600" b="0" kern="1200" baseline="30000" dirty="0" smtClean="0">
                <a:solidFill>
                  <a:schemeClr val="tx1"/>
                </a:solidFill>
                <a:effectLst/>
              </a:rPr>
              <a:t>rd</a:t>
            </a:r>
            <a:r>
              <a:rPr lang="en-US" sz="600" b="0" kern="1200" baseline="0" dirty="0" smtClean="0">
                <a:solidFill>
                  <a:schemeClr val="tx1"/>
                </a:solidFill>
                <a:effectLst/>
              </a:rPr>
              <a:t> party service providers are you using? Cloud vendors? Other outsourced data center services?</a:t>
            </a:r>
          </a:p>
          <a:p>
            <a:endParaRPr lang="en-US" sz="600" b="1" kern="1200" dirty="0" smtClean="0">
              <a:solidFill>
                <a:schemeClr val="tx1"/>
              </a:solidFill>
              <a:effectLst/>
            </a:endParaRPr>
          </a:p>
          <a:p>
            <a:endParaRPr lang="en-US" sz="600" b="1" kern="1200" dirty="0" smtClean="0">
              <a:solidFill>
                <a:schemeClr val="tx1"/>
              </a:solidFill>
              <a:effectLst/>
            </a:endParaRPr>
          </a:p>
          <a:p>
            <a:r>
              <a:rPr lang="en-US" sz="600" b="1" kern="1200" dirty="0" smtClean="0">
                <a:solidFill>
                  <a:schemeClr val="tx1"/>
                </a:solidFill>
                <a:effectLst/>
              </a:rPr>
              <a:t>Transition:</a:t>
            </a:r>
            <a:br>
              <a:rPr lang="en-US" sz="600" b="1" kern="1200" dirty="0" smtClean="0">
                <a:solidFill>
                  <a:schemeClr val="tx1"/>
                </a:solidFill>
                <a:effectLst/>
              </a:rPr>
            </a:br>
            <a:r>
              <a:rPr lang="en-US" sz="600" b="0" kern="1200" dirty="0" smtClean="0">
                <a:solidFill>
                  <a:schemeClr val="tx1"/>
                </a:solidFill>
                <a:effectLst/>
              </a:rPr>
              <a:t>So, with your current approach in mind let’s take a look at what’s driving other organizations to look at private cloud solutions.</a:t>
            </a:r>
            <a:endParaRPr lang="en-US" sz="600" dirty="0" smtClean="0"/>
          </a:p>
          <a:p>
            <a:endParaRPr lang="en-US" sz="600" dirty="0" smtClean="0"/>
          </a:p>
          <a:p>
            <a:endParaRPr lang="en-US" sz="600" dirty="0" smtClean="0"/>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934907-477C-4893-B2D0-50FA0533CC2B}" type="datetime1">
              <a:rPr lang="en-US" smtClean="0">
                <a:solidFill>
                  <a:prstClr val="black"/>
                </a:solidFill>
              </a:rPr>
              <a:pPr/>
              <a:t>8/1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10507981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endParaRPr lang="en-US" dirty="0" smtClean="0"/>
          </a:p>
          <a:p>
            <a:r>
              <a:rPr lang="en-US" b="1" dirty="0" smtClean="0"/>
              <a:t>Goal</a:t>
            </a:r>
            <a:r>
              <a:rPr lang="en-US" b="1" baseline="0" dirty="0" smtClean="0"/>
              <a:t> of the slide</a:t>
            </a:r>
          </a:p>
          <a:p>
            <a:r>
              <a:rPr lang="en-US" b="0" baseline="0" dirty="0" smtClean="0"/>
              <a:t>Set up enterprise stakeholder challenges with data management.</a:t>
            </a:r>
          </a:p>
          <a:p>
            <a:r>
              <a:rPr lang="en-US" dirty="0" smtClean="0"/>
              <a:t>Intro Roles</a:t>
            </a:r>
          </a:p>
          <a:p>
            <a:endParaRPr lang="en-US" dirty="0" smtClean="0"/>
          </a:p>
          <a:p>
            <a:r>
              <a:rPr lang="en-US" dirty="0" smtClean="0"/>
              <a:t>Identify who is in the room – see if your audience</a:t>
            </a:r>
            <a:r>
              <a:rPr lang="en-US" baseline="0" dirty="0" smtClean="0"/>
              <a:t> resonates with these characters.  Inform your audience that these characters will be seen in the Immersion Environment.  </a:t>
            </a:r>
          </a:p>
          <a:p>
            <a:endParaRPr lang="en-US" dirty="0" smtClean="0"/>
          </a:p>
          <a:p>
            <a:r>
              <a:rPr lang="en-US" dirty="0" smtClean="0"/>
              <a:t>During the Experiences you will take on the identities of primary players in this immersion:</a:t>
            </a:r>
          </a:p>
          <a:p>
            <a:endParaRPr lang="en-US" dirty="0" smtClean="0"/>
          </a:p>
          <a:p>
            <a:pPr marL="171450" marR="0" indent="-171450" algn="l" defTabSz="932578" rtl="0" eaLnBrk="1" fontAlgn="auto" latinLnBrk="0" hangingPunct="1">
              <a:lnSpc>
                <a:spcPct val="90000"/>
              </a:lnSpc>
              <a:spcBef>
                <a:spcPts val="0"/>
              </a:spcBef>
              <a:spcAft>
                <a:spcPts val="340"/>
              </a:spcAft>
              <a:buClrTx/>
              <a:buSzTx/>
              <a:buFont typeface="Arial" pitchFamily="34" charset="0"/>
              <a:buChar char="•"/>
              <a:tabLst/>
              <a:defRPr/>
            </a:pPr>
            <a:r>
              <a:rPr lang="en-US" b="1" dirty="0" smtClean="0"/>
              <a:t>KATHY: </a:t>
            </a:r>
            <a:r>
              <a:rPr lang="en-US" b="0" dirty="0" smtClean="0"/>
              <a:t>CIO (Business Owner)</a:t>
            </a:r>
            <a:r>
              <a:rPr lang="en-US" b="0" baseline="0" dirty="0" smtClean="0"/>
              <a:t>. Worried about teams meeting SLAs, business continuity. </a:t>
            </a:r>
            <a:r>
              <a:rPr lang="en-US" dirty="0" smtClean="0"/>
              <a:t>The CIO’s ultimate </a:t>
            </a:r>
            <a:r>
              <a:rPr lang="en-US" baseline="0" dirty="0" smtClean="0"/>
              <a:t>goal is to be a trusted advisor to the business. Given all the hype around cloud computing, your CIO is likely tasked with building the business case for cloud computing in your company, and then showcasing real benefits of adopting cloud computing models. Knowing that applications are what power the business, your CIO is likely thinking about how best to optimize her application portfolio to deliver maximum business value.</a:t>
            </a:r>
          </a:p>
          <a:p>
            <a:pPr marL="0" indent="0">
              <a:buFont typeface="Arial" pitchFamily="34" charset="0"/>
              <a:buNone/>
            </a:pPr>
            <a:endParaRPr lang="en-US" b="0" baseline="0" dirty="0" smtClean="0"/>
          </a:p>
          <a:p>
            <a:pPr marL="171450" indent="-171450">
              <a:buFont typeface="Arial" pitchFamily="34" charset="0"/>
              <a:buChar char="•"/>
            </a:pPr>
            <a:r>
              <a:rPr lang="en-US" b="1" baseline="0" dirty="0" smtClean="0"/>
              <a:t>Hank: </a:t>
            </a:r>
            <a:r>
              <a:rPr lang="en-US" b="0" baseline="0" dirty="0" smtClean="0"/>
              <a:t>CFO Worried about reporting clarity and accuracies to ensure the business is positioned for success.</a:t>
            </a:r>
          </a:p>
          <a:p>
            <a:pPr marL="171450" indent="-171450">
              <a:buFont typeface="Arial" pitchFamily="34" charset="0"/>
              <a:buChar char="•"/>
            </a:pPr>
            <a:endParaRPr lang="en-US" b="0" baseline="0" dirty="0" smtClean="0"/>
          </a:p>
          <a:p>
            <a:pPr marL="171450" indent="-171450">
              <a:buFont typeface="Arial" pitchFamily="34" charset="0"/>
              <a:buChar char="•"/>
            </a:pPr>
            <a:r>
              <a:rPr lang="en-US" b="1" baseline="0" dirty="0" smtClean="0"/>
              <a:t>Hillary:  </a:t>
            </a:r>
            <a:r>
              <a:rPr lang="en-US" b="0" baseline="0" dirty="0" smtClean="0"/>
              <a:t>Data Analyst who worries about having the right types of data and ease of access to quickly interact with that data.</a:t>
            </a:r>
          </a:p>
          <a:p>
            <a:pPr marL="171450" indent="-171450">
              <a:buFont typeface="Arial" pitchFamily="34" charset="0"/>
              <a:buChar char="•"/>
            </a:pPr>
            <a:endParaRPr lang="en-US" b="0" dirty="0" smtClean="0"/>
          </a:p>
          <a:p>
            <a:pPr marL="171450" marR="0" indent="-171450" algn="l" defTabSz="932742" rtl="0" eaLnBrk="1" fontAlgn="auto" latinLnBrk="0" hangingPunct="1">
              <a:lnSpc>
                <a:spcPct val="90000"/>
              </a:lnSpc>
              <a:spcBef>
                <a:spcPts val="0"/>
              </a:spcBef>
              <a:spcAft>
                <a:spcPts val="340"/>
              </a:spcAft>
              <a:buClrTx/>
              <a:buSzTx/>
              <a:buFont typeface="Arial" pitchFamily="34" charset="0"/>
              <a:buChar char="•"/>
              <a:tabLst/>
              <a:defRPr/>
            </a:pPr>
            <a:r>
              <a:rPr lang="en-US" b="1" dirty="0" smtClean="0"/>
              <a:t>LUIS:</a:t>
            </a:r>
            <a:r>
              <a:rPr lang="en-US" dirty="0" smtClean="0"/>
              <a:t> Application Team Lead (IT implementer—Application / </a:t>
            </a:r>
            <a:r>
              <a:rPr lang="en-US" dirty="0" err="1" smtClean="0"/>
              <a:t>LoB</a:t>
            </a:r>
            <a:r>
              <a:rPr lang="en-US" dirty="0" smtClean="0"/>
              <a:t> Specialist). Wants to consume IT services. </a:t>
            </a:r>
            <a:r>
              <a:rPr lang="en-US" baseline="0" dirty="0" smtClean="0"/>
              <a:t>This persona could represent a variety of roles</a:t>
            </a:r>
            <a:r>
              <a:rPr lang="en-US" b="0" dirty="0" smtClean="0"/>
              <a:t>—</a:t>
            </a:r>
            <a:r>
              <a:rPr lang="en-US" baseline="0" dirty="0" smtClean="0"/>
              <a:t>for example, this could be folks who define application requirements or application end users, or even folks who build and operate applications. These folks would ideally like to be in a world where they don’t have to understand the intricacies of IT infrastructure. They’re looking for a simplified way to access and consume infrastructure that meets their application’s requirements. Their goal is to delight their business counterparts by delivering applications at the pace and service levels demanded by today’s fast-changing marketplace.</a:t>
            </a:r>
          </a:p>
          <a:p>
            <a:pPr marL="0" marR="0" indent="0" algn="l" defTabSz="932742" rtl="0" eaLnBrk="1" fontAlgn="auto" latinLnBrk="0" hangingPunct="1">
              <a:lnSpc>
                <a:spcPct val="90000"/>
              </a:lnSpc>
              <a:spcBef>
                <a:spcPts val="0"/>
              </a:spcBef>
              <a:spcAft>
                <a:spcPts val="340"/>
              </a:spcAft>
              <a:buClrTx/>
              <a:buSzTx/>
              <a:buFont typeface="Arial" pitchFamily="34" charset="0"/>
              <a:buNone/>
              <a:tabLst/>
              <a:defRPr/>
            </a:pPr>
            <a:endParaRPr lang="en-US" dirty="0" smtClean="0"/>
          </a:p>
          <a:p>
            <a:pPr marL="171450" marR="0" indent="-171450" algn="l" defTabSz="932742" rtl="0" eaLnBrk="1" fontAlgn="auto" latinLnBrk="0" hangingPunct="1">
              <a:lnSpc>
                <a:spcPct val="90000"/>
              </a:lnSpc>
              <a:spcBef>
                <a:spcPts val="0"/>
              </a:spcBef>
              <a:spcAft>
                <a:spcPts val="340"/>
              </a:spcAft>
              <a:buClrTx/>
              <a:buSzTx/>
              <a:buFont typeface="Arial" pitchFamily="34" charset="0"/>
              <a:buChar char="•"/>
              <a:tabLst/>
              <a:defRPr/>
            </a:pPr>
            <a:r>
              <a:rPr lang="en-US" b="1" dirty="0" smtClean="0"/>
              <a:t>BRAD:</a:t>
            </a:r>
            <a:r>
              <a:rPr lang="en-US" dirty="0" smtClean="0"/>
              <a:t> IT Manager (IT Owner</a:t>
            </a:r>
            <a:r>
              <a:rPr lang="en-US" baseline="0" dirty="0" smtClean="0"/>
              <a:t> – Controls IT Delivery to Business Needs</a:t>
            </a:r>
            <a:r>
              <a:rPr lang="en-US" dirty="0" smtClean="0"/>
              <a:t>). </a:t>
            </a:r>
            <a:r>
              <a:rPr lang="en-US" baseline="0" dirty="0" smtClean="0"/>
              <a:t>This persona represents the owner of the technology in the company. He wants visibility into how the systems are running and he wants to know that the needs of the business are being met. He’s also concerned with staying in the budgets for the IT department. </a:t>
            </a:r>
          </a:p>
          <a:p>
            <a:pPr marL="0" marR="0" indent="0" algn="l" defTabSz="932742" rtl="0" eaLnBrk="1" fontAlgn="auto" latinLnBrk="0" hangingPunct="1">
              <a:lnSpc>
                <a:spcPct val="90000"/>
              </a:lnSpc>
              <a:spcBef>
                <a:spcPts val="0"/>
              </a:spcBef>
              <a:spcAft>
                <a:spcPts val="340"/>
              </a:spcAft>
              <a:buClrTx/>
              <a:buSzTx/>
              <a:buFont typeface="Arial" pitchFamily="34" charset="0"/>
              <a:buNone/>
              <a:tabLst/>
              <a:defRPr/>
            </a:pPr>
            <a:endParaRPr lang="en-US" dirty="0" smtClean="0"/>
          </a:p>
          <a:p>
            <a:pPr marL="171450" marR="0" indent="-171450" algn="l" defTabSz="932578" rtl="0" eaLnBrk="1" fontAlgn="auto" latinLnBrk="0" hangingPunct="1">
              <a:lnSpc>
                <a:spcPct val="90000"/>
              </a:lnSpc>
              <a:spcBef>
                <a:spcPts val="0"/>
              </a:spcBef>
              <a:spcAft>
                <a:spcPts val="340"/>
              </a:spcAft>
              <a:buClrTx/>
              <a:buSzTx/>
              <a:buFont typeface="Arial" pitchFamily="34" charset="0"/>
              <a:buChar char="•"/>
              <a:tabLst/>
              <a:defRPr/>
            </a:pPr>
            <a:r>
              <a:rPr lang="en-US" b="1" dirty="0" smtClean="0"/>
              <a:t>RICHARD:</a:t>
            </a:r>
            <a:r>
              <a:rPr lang="en-US" dirty="0" smtClean="0"/>
              <a:t> Datacenter Administrator (IT implementer—Infrastructure Specialist). Needs to provide those services (efficiently, …) </a:t>
            </a:r>
            <a:r>
              <a:rPr lang="en-US" b="0" dirty="0" smtClean="0"/>
              <a:t>These personas</a:t>
            </a:r>
            <a:r>
              <a:rPr lang="en-US" b="0" baseline="0" dirty="0" smtClean="0"/>
              <a:t> have a key role in supporting their application owner counterparts with highly reliable infrastructure services. At the same time, these folks are expected to be responsible stewards of corporate resources hosted in the datacenters and networks they support. They are looking for a level of centralized control and visibility across enterprise infrastructure. They recognize that centralized oversight over all aspects of the datacenter infrastructure is more important than ever before, due to increasing levels of virtualization and private cloud adoption.</a:t>
            </a:r>
          </a:p>
          <a:p>
            <a:pPr marL="0" indent="0">
              <a:buFont typeface="Arial" pitchFamily="34" charset="0"/>
              <a:buNone/>
            </a:pPr>
            <a:endParaRPr lang="en-US" dirty="0" smtClean="0"/>
          </a:p>
          <a:p>
            <a:pPr marL="171450" indent="-171450">
              <a:spcBef>
                <a:spcPct val="0"/>
              </a:spcBef>
              <a:buFont typeface="Arial" panose="020B0604020202020204" pitchFamily="34" charset="0"/>
              <a:buChar char="•"/>
            </a:pPr>
            <a:r>
              <a:rPr lang="en-US" b="1" dirty="0" smtClean="0"/>
              <a:t>Terry:  </a:t>
            </a:r>
            <a:r>
              <a:rPr lang="en-US" dirty="0" smtClean="0"/>
              <a:t>DBA</a:t>
            </a:r>
            <a:r>
              <a:rPr lang="en-US" baseline="0" dirty="0" smtClean="0"/>
              <a:t> </a:t>
            </a:r>
            <a:r>
              <a:rPr lang="en-US" b="0" dirty="0" smtClean="0"/>
              <a:t>who has </a:t>
            </a:r>
            <a:r>
              <a:rPr lang="en-US" b="0" baseline="0" dirty="0" smtClean="0"/>
              <a:t>a key role in supporting their application owner counterparts with highly reliable infrastructure services. They recognize that centralized oversight over all aspects of the datacenter infrastructure is more important than ever before, due to increasing levels of virtualization and private cloud adoption.</a:t>
            </a:r>
            <a:endParaRPr lang="en-US" b="0" dirty="0" smtClean="0"/>
          </a:p>
          <a:p>
            <a:pPr>
              <a:lnSpc>
                <a:spcPct val="100000"/>
              </a:lnSpc>
            </a:pPr>
            <a:endParaRPr lang="en-US" dirty="0" smtClean="0"/>
          </a:p>
          <a:p>
            <a:endParaRPr lang="en-US" b="1" dirty="0" smtClean="0"/>
          </a:p>
          <a:p>
            <a:pPr>
              <a:spcBef>
                <a:spcPct val="0"/>
              </a:spcBef>
            </a:pPr>
            <a:endParaRPr lang="en-US" baseline="0" dirty="0" smtClean="0"/>
          </a:p>
          <a:p>
            <a:pPr>
              <a:spcBef>
                <a:spcPct val="0"/>
              </a:spcBef>
            </a:pPr>
            <a:endParaRPr lang="en-US" baseline="0" dirty="0" smtClean="0"/>
          </a:p>
          <a:p>
            <a:pPr>
              <a:spcBef>
                <a:spcPct val="0"/>
              </a:spcBef>
            </a:pPr>
            <a:endParaRPr lang="en-US" b="0" dirty="0" smtClean="0"/>
          </a:p>
          <a:p>
            <a:pPr marL="171450" indent="-171450">
              <a:buFont typeface="Arial" pitchFamily="34" charset="0"/>
              <a:buChar char="•"/>
            </a:pPr>
            <a:endParaRPr lang="en-US" dirty="0" smtClean="0"/>
          </a:p>
        </p:txBody>
      </p:sp>
      <p:sp>
        <p:nvSpPr>
          <p:cNvPr id="4" name="Slide Number Placeholder 3"/>
          <p:cNvSpPr>
            <a:spLocks noGrp="1"/>
          </p:cNvSpPr>
          <p:nvPr>
            <p:ph type="sldNum" sz="quarter" idx="10"/>
          </p:nvPr>
        </p:nvSpPr>
        <p:spPr/>
        <p:txBody>
          <a:bodyPr/>
          <a:lstStyle/>
          <a:p>
            <a:fld id="{B7E0614F-C456-4093-A2B3-3B9DE60834AC}" type="slidenum">
              <a:rPr lang="en-US" smtClean="0">
                <a:solidFill>
                  <a:prstClr val="black"/>
                </a:solidFill>
              </a:rPr>
              <a:pPr/>
              <a:t>73</a:t>
            </a:fld>
            <a:endParaRPr lang="en-US" dirty="0">
              <a:solidFill>
                <a:prstClr val="black"/>
              </a:solidFill>
            </a:endParaRPr>
          </a:p>
        </p:txBody>
      </p:sp>
      <p:sp>
        <p:nvSpPr>
          <p:cNvPr id="5" name="Header Placeholder 1"/>
          <p:cNvSpPr>
            <a:spLocks noGrp="1"/>
          </p:cNvSpPr>
          <p:nvPr>
            <p:ph type="hdr" sz="quarter"/>
          </p:nvPr>
        </p:nvSpPr>
        <p:spPr>
          <a:xfrm>
            <a:off x="0" y="0"/>
            <a:ext cx="2971800" cy="594360"/>
          </a:xfrm>
          <a:prstGeom prst="rect">
            <a:avLst/>
          </a:prstGeom>
        </p:spPr>
        <p:txBody>
          <a:bodyPr vert="horz" lIns="91440" tIns="45720" rIns="91440" bIns="45720" rtlCol="0"/>
          <a:lstStyle>
            <a:lvl1pPr algn="l">
              <a:defRPr sz="900">
                <a:latin typeface="Segoe UI" pitchFamily="34" charset="0"/>
                <a:ea typeface="Segoe UI" pitchFamily="34" charset="0"/>
                <a:cs typeface="Segoe UI" pitchFamily="34" charset="0"/>
              </a:defRPr>
            </a:lvl1pPr>
          </a:lstStyle>
          <a:p>
            <a:r>
              <a:rPr lang="en-US" dirty="0" smtClean="0">
                <a:solidFill>
                  <a:prstClr val="black"/>
                </a:solidFill>
              </a:rPr>
              <a:t>Private Cloud Immersion</a:t>
            </a:r>
            <a:endParaRPr lang="en-US" dirty="0">
              <a:solidFill>
                <a:prstClr val="black"/>
              </a:solidFill>
            </a:endParaRPr>
          </a:p>
        </p:txBody>
      </p:sp>
      <p:sp>
        <p:nvSpPr>
          <p:cNvPr id="6" name="Date Placeholder 2"/>
          <p:cNvSpPr>
            <a:spLocks noGrp="1"/>
          </p:cNvSpPr>
          <p:nvPr>
            <p:ph type="dt" idx="1"/>
          </p:nvPr>
        </p:nvSpPr>
        <p:spPr>
          <a:xfrm>
            <a:off x="3884613" y="0"/>
            <a:ext cx="2971800" cy="594360"/>
          </a:xfrm>
          <a:prstGeom prst="rect">
            <a:avLst/>
          </a:prstGeom>
        </p:spPr>
        <p:txBody>
          <a:bodyPr vert="horz" lIns="91440" tIns="45720" rIns="91440" bIns="45720" rtlCol="0"/>
          <a:lstStyle>
            <a:lvl1pPr algn="r">
              <a:defRPr sz="900">
                <a:latin typeface="Segoe UI" pitchFamily="34" charset="0"/>
                <a:ea typeface="Segoe UI" pitchFamily="34" charset="0"/>
                <a:cs typeface="Segoe UI" pitchFamily="34" charset="0"/>
              </a:defRPr>
            </a:lvl1pPr>
          </a:lstStyle>
          <a:p>
            <a:fld id="{A697FD29-47C1-47FA-A884-59C9DEE39B84}" type="datetimeFigureOut">
              <a:rPr lang="en-US" smtClean="0">
                <a:solidFill>
                  <a:prstClr val="black"/>
                </a:solidFill>
              </a:rPr>
              <a:pPr/>
              <a:t>8/17/2015</a:t>
            </a:fld>
            <a:endParaRPr lang="en-US" dirty="0">
              <a:solidFill>
                <a:prstClr val="black"/>
              </a:solidFill>
            </a:endParaRPr>
          </a:p>
        </p:txBody>
      </p:sp>
    </p:spTree>
    <p:extLst>
      <p:ext uri="{BB962C8B-B14F-4D97-AF65-F5344CB8AC3E}">
        <p14:creationId xmlns:p14="http://schemas.microsoft.com/office/powerpoint/2010/main" val="2076800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r>
              <a:rPr lang="en-US" sz="1200" b="1" kern="1200" dirty="0" smtClean="0">
                <a:solidFill>
                  <a:schemeClr val="tx1"/>
                </a:solidFill>
                <a:effectLst/>
                <a:latin typeface="+mn-lt"/>
                <a:ea typeface="ＭＳ Ｐゴシック" charset="0"/>
                <a:cs typeface="ＭＳ Ｐゴシック" charset="0"/>
              </a:rPr>
              <a:t>Do not show – Slide 3: STB Microsoft Cloud Platform strategy overview</a:t>
            </a:r>
            <a:endParaRPr lang="en-US" sz="1224" dirty="0">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defTabSz="94900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01"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48132"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9E9D2744-94FE-CF41-952D-2A0944C2F6DC}" type="datetime1">
              <a:rPr lang="en-US">
                <a:solidFill>
                  <a:srgbClr val="000000"/>
                </a:solidFill>
                <a:latin typeface="Calibri" charset="0"/>
              </a:rPr>
              <a:pPr defTabSz="931863" fontAlgn="base">
                <a:spcBef>
                  <a:spcPct val="0"/>
                </a:spcBef>
                <a:spcAft>
                  <a:spcPct val="0"/>
                </a:spcAft>
              </a:pPr>
              <a:t>8/17/2015</a:t>
            </a:fld>
            <a:endParaRPr lang="en-US">
              <a:solidFill>
                <a:srgbClr val="000000"/>
              </a:solidFill>
              <a:latin typeface="Calibri" charset="0"/>
            </a:endParaRPr>
          </a:p>
        </p:txBody>
      </p:sp>
      <p:sp>
        <p:nvSpPr>
          <p:cNvPr id="48133"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BB8DAFA-8E63-B647-8211-796DCFF88CAC}" type="slidenum">
              <a:rPr lang="en-US">
                <a:solidFill>
                  <a:srgbClr val="000000"/>
                </a:solidFill>
                <a:latin typeface="Calibri" charset="0"/>
              </a:rPr>
              <a:pPr defTabSz="931863" fontAlgn="base">
                <a:spcBef>
                  <a:spcPct val="0"/>
                </a:spcBef>
                <a:spcAft>
                  <a:spcPct val="0"/>
                </a:spcAft>
              </a:pPr>
              <a:t>9</a:t>
            </a:fld>
            <a:endParaRPr lang="en-US">
              <a:solidFill>
                <a:srgbClr val="000000"/>
              </a:solidFill>
              <a:latin typeface="Calibri" charset="0"/>
            </a:endParaRPr>
          </a:p>
        </p:txBody>
      </p:sp>
    </p:spTree>
    <p:extLst>
      <p:ext uri="{BB962C8B-B14F-4D97-AF65-F5344CB8AC3E}">
        <p14:creationId xmlns:p14="http://schemas.microsoft.com/office/powerpoint/2010/main" val="3243833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3.3</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2:0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19532009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mplate and instructions to access Immersion Environment</a:t>
            </a:r>
          </a:p>
          <a:p>
            <a:r>
              <a:rPr lang="en-US" dirty="0" smtClean="0"/>
              <a:t>Enter </a:t>
            </a:r>
            <a:r>
              <a:rPr lang="en-US" dirty="0" smtClean="0"/>
              <a:t>your POD</a:t>
            </a:r>
            <a:r>
              <a:rPr lang="en-US" baseline="0" dirty="0" smtClean="0"/>
              <a:t> information and Password prior to your session. </a:t>
            </a:r>
          </a:p>
          <a:p>
            <a:r>
              <a:rPr lang="en-US" baseline="0" dirty="0" smtClean="0"/>
              <a:t>Ensure that you have provided each user w/ their personal 2 digit user number.</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2:0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150970444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effectLst/>
              </a:rPr>
              <a:t>Providing flexible and cost effective infrastructure through cloud consumption with an integrated and cross platform management toolset.</a:t>
            </a:r>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934907-477C-4893-B2D0-50FA0533CC2B}" type="datetime1">
              <a:rPr lang="en-US" smtClean="0">
                <a:solidFill>
                  <a:prstClr val="black"/>
                </a:solidFill>
              </a:rPr>
              <a:pPr/>
              <a:t>8/1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17370086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t>E1A – Scenarios 1 and 2:  STORAGE and DEDUPLIC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t>Evolution Zoom 1: Adding low cost storage.</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Starts with: Existing setup. Single dedicated Hyper-V server per application connected to several departmental SAN storage nodes.</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Finishes with: Insert windows virtualized storage layer (Storage Spaces). Add additional drives (SAS drives in physical servers, USB attached storage). Project drives into storage spa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Note:  Deduplication is not available in a tiered environmen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351260626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t>E1A – Scenarios 1 and 2:  STORAGE and DEDUPLIC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t>Evolution Zoom 1: Adding low cost storage.</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Starts with: Existing setup. Single dedicated Hyper-V server per application connected to several departmental SAN storage nodes.</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Finishes with: Insert windows virtualized storage layer (Storage Spaces). Add additional drives (SAS drives in physical servers, USB attached storage). Project drives into storage spa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Note:  Deduplication is not available in a tiered environmen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9</a:t>
            </a:fld>
            <a:endParaRPr lang="en-US" dirty="0">
              <a:solidFill>
                <a:prstClr val="black"/>
              </a:solidFill>
            </a:endParaRPr>
          </a:p>
        </p:txBody>
      </p:sp>
    </p:spTree>
    <p:extLst>
      <p:ext uri="{BB962C8B-B14F-4D97-AF65-F5344CB8AC3E}">
        <p14:creationId xmlns:p14="http://schemas.microsoft.com/office/powerpoint/2010/main" val="28696758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eaLnBrk="1" hangingPunct="1">
              <a:defRPr/>
            </a:pPr>
            <a:r>
              <a:rPr lang="en-US" dirty="0" smtClean="0"/>
              <a:t>Network</a:t>
            </a:r>
            <a:r>
              <a:rPr lang="en-US" baseline="0" dirty="0" smtClean="0"/>
              <a:t> Virtualization Background: </a:t>
            </a:r>
            <a:br>
              <a:rPr lang="en-US" baseline="0" dirty="0" smtClean="0"/>
            </a:br>
            <a:r>
              <a:rPr lang="en-US" b="1" dirty="0" smtClean="0">
                <a:solidFill>
                  <a:srgbClr val="000000"/>
                </a:solidFill>
                <a:latin typeface="Arial" pitchFamily="34" charset="0"/>
                <a:cs typeface="Arial" pitchFamily="34" charset="0"/>
              </a:rPr>
              <a:t>Windows Server 2012 R2</a:t>
            </a:r>
          </a:p>
          <a:p>
            <a:pPr eaLnBrk="1" hangingPunct="1">
              <a:defRPr/>
            </a:pPr>
            <a:r>
              <a:rPr lang="en-US" dirty="0" smtClean="0"/>
              <a:t>Hyper-V Network Virtualization extends the concept of server virtualization to allow multiple virtual networks, potentially with overlapping IP addresses, to be deployed on the same physical network. With Hyper-V Network Virtualization, you can set policies that isolate traffic in your dedicated virtual network, independent of the physical infrastructure. </a:t>
            </a:r>
          </a:p>
          <a:p>
            <a:pPr>
              <a:lnSpc>
                <a:spcPts val="1415"/>
              </a:lnSpc>
              <a:spcBef>
                <a:spcPts val="607"/>
              </a:spcBef>
              <a:spcAft>
                <a:spcPts val="607"/>
              </a:spcAft>
              <a:defRPr/>
            </a:pPr>
            <a:endParaRPr lang="en-US" dirty="0" smtClean="0">
              <a:solidFill>
                <a:srgbClr val="595959"/>
              </a:solidFill>
              <a:latin typeface="Segoe UI" pitchFamily="34" charset="0"/>
              <a:ea typeface="MS Mincho" pitchFamily="49" charset="-128"/>
              <a:cs typeface="Times New Roman" pitchFamily="18" charset="0"/>
            </a:endParaRPr>
          </a:p>
          <a:p>
            <a:pPr>
              <a:lnSpc>
                <a:spcPts val="1415"/>
              </a:lnSpc>
              <a:spcBef>
                <a:spcPts val="607"/>
              </a:spcBef>
              <a:spcAft>
                <a:spcPts val="607"/>
              </a:spcAft>
              <a:defRPr/>
            </a:pPr>
            <a:r>
              <a:rPr lang="en-US" dirty="0" smtClean="0">
                <a:solidFill>
                  <a:srgbClr val="595959"/>
                </a:solidFill>
                <a:latin typeface="Segoe UI" pitchFamily="34" charset="0"/>
                <a:ea typeface="MS Mincho" pitchFamily="49" charset="-128"/>
                <a:cs typeface="Times New Roman" pitchFamily="18" charset="0"/>
              </a:rPr>
              <a:t>Isolating the virtual machines of different departments or customers can be a challenge on a shared network. When these departments or customers must isolate entire networks of virtual machines, the challenge becomes even greater. Traditionally, VLANs are used to isolate networks, but VLANs are very complex to manage on a large scale. Some of the complexities are</a:t>
            </a:r>
          </a:p>
          <a:p>
            <a:pPr>
              <a:lnSpc>
                <a:spcPts val="1415"/>
              </a:lnSpc>
              <a:spcBef>
                <a:spcPts val="607"/>
              </a:spcBef>
              <a:spcAft>
                <a:spcPts val="607"/>
              </a:spcAft>
              <a:defRPr/>
            </a:pPr>
            <a:endParaRPr lang="en-US" dirty="0" smtClean="0">
              <a:solidFill>
                <a:srgbClr val="595959"/>
              </a:solidFill>
              <a:latin typeface="Segoe UI" pitchFamily="34" charset="0"/>
              <a:ea typeface="MS Mincho" pitchFamily="49" charset="-128"/>
              <a:cs typeface="Times New Roman" pitchFamily="18" charset="0"/>
            </a:endParaRPr>
          </a:p>
          <a:p>
            <a:pPr marL="184892" indent="-184892">
              <a:lnSpc>
                <a:spcPts val="1415"/>
              </a:lnSpc>
              <a:spcBef>
                <a:spcPct val="0"/>
              </a:spcBef>
              <a:spcAft>
                <a:spcPts val="607"/>
              </a:spcAft>
              <a:buClr>
                <a:srgbClr val="0BA8D7"/>
              </a:buClr>
              <a:buFont typeface="Calibri" pitchFamily="34" charset="0"/>
              <a:buChar char="•"/>
              <a:defRPr/>
            </a:pPr>
            <a:r>
              <a:rPr lang="en-US" dirty="0" smtClean="0">
                <a:solidFill>
                  <a:srgbClr val="595959"/>
                </a:solidFill>
                <a:latin typeface="Segoe UI" pitchFamily="34" charset="0"/>
                <a:ea typeface="MS Mincho" pitchFamily="49" charset="-128"/>
                <a:cs typeface="Times New Roman" pitchFamily="18" charset="0"/>
              </a:rPr>
              <a:t>Cumbersome reconfiguration of production switches is required whenever virtual machines or isolation boundaries must be moved, and the frequent reconfiguration of the physical network to add or modify VLANs increases the risk of an unplanned loss of service.</a:t>
            </a:r>
          </a:p>
          <a:p>
            <a:pPr marL="184892" indent="-184892">
              <a:lnSpc>
                <a:spcPts val="1415"/>
              </a:lnSpc>
              <a:spcBef>
                <a:spcPct val="0"/>
              </a:spcBef>
              <a:spcAft>
                <a:spcPts val="607"/>
              </a:spcAft>
              <a:buClr>
                <a:srgbClr val="0BA8D7"/>
              </a:buClr>
              <a:buFont typeface="Calibri" pitchFamily="34" charset="0"/>
              <a:buChar char="•"/>
              <a:defRPr/>
            </a:pPr>
            <a:r>
              <a:rPr lang="en-US" dirty="0" smtClean="0">
                <a:solidFill>
                  <a:srgbClr val="595959"/>
                </a:solidFill>
                <a:latin typeface="Segoe UI" pitchFamily="34" charset="0"/>
                <a:ea typeface="MS Mincho" pitchFamily="49" charset="-128"/>
                <a:cs typeface="Times New Roman" pitchFamily="18" charset="0"/>
              </a:rPr>
              <a:t>VLANs have limited scalability because typical switches support only 1,000 VLAN IDs (with a maximum of 4,095).</a:t>
            </a:r>
          </a:p>
          <a:p>
            <a:pPr marL="184892" indent="-184892">
              <a:lnSpc>
                <a:spcPts val="1415"/>
              </a:lnSpc>
              <a:spcBef>
                <a:spcPct val="0"/>
              </a:spcBef>
              <a:spcAft>
                <a:spcPts val="607"/>
              </a:spcAft>
              <a:buClr>
                <a:srgbClr val="0BA8D7"/>
              </a:buClr>
              <a:buFont typeface="Calibri" pitchFamily="34" charset="0"/>
              <a:buChar char="•"/>
              <a:defRPr/>
            </a:pPr>
            <a:r>
              <a:rPr lang="en-US" dirty="0" smtClean="0">
                <a:solidFill>
                  <a:srgbClr val="595959"/>
                </a:solidFill>
                <a:latin typeface="Segoe UI" pitchFamily="34" charset="0"/>
                <a:ea typeface="MS Mincho" pitchFamily="49" charset="-128"/>
                <a:cs typeface="Times New Roman" pitchFamily="18" charset="0"/>
              </a:rPr>
              <a:t>VLANs cannot span multiple subnets, which limits the number of nodes in a single VLAN and restricts the placement of virtual machines based on physical location.</a:t>
            </a:r>
          </a:p>
          <a:p>
            <a:pPr>
              <a:lnSpc>
                <a:spcPts val="1415"/>
              </a:lnSpc>
              <a:spcBef>
                <a:spcPts val="607"/>
              </a:spcBef>
              <a:spcAft>
                <a:spcPts val="607"/>
              </a:spcAft>
              <a:defRPr/>
            </a:pPr>
            <a:endParaRPr lang="en-US" dirty="0" smtClean="0">
              <a:solidFill>
                <a:srgbClr val="595959"/>
              </a:solidFill>
              <a:latin typeface="Segoe UI" pitchFamily="34" charset="0"/>
              <a:ea typeface="MS Mincho" pitchFamily="49" charset="-128"/>
              <a:cs typeface="Times New Roman" pitchFamily="18" charset="0"/>
            </a:endParaRPr>
          </a:p>
          <a:p>
            <a:pPr>
              <a:lnSpc>
                <a:spcPts val="1415"/>
              </a:lnSpc>
              <a:spcBef>
                <a:spcPts val="607"/>
              </a:spcBef>
              <a:spcAft>
                <a:spcPts val="607"/>
              </a:spcAft>
              <a:defRPr/>
            </a:pPr>
            <a:r>
              <a:rPr lang="en-US" dirty="0" smtClean="0">
                <a:solidFill>
                  <a:srgbClr val="595959"/>
                </a:solidFill>
                <a:latin typeface="Segoe UI" pitchFamily="34" charset="0"/>
                <a:ea typeface="MS Mincho" pitchFamily="49" charset="-128"/>
                <a:cs typeface="Times New Roman" pitchFamily="18" charset="0"/>
              </a:rPr>
              <a:t>In addition to the drawbacks of VLANs, virtual machine IP address assignment presents other key issues when organizations move to the cloud:</a:t>
            </a:r>
          </a:p>
          <a:p>
            <a:pPr>
              <a:lnSpc>
                <a:spcPts val="1415"/>
              </a:lnSpc>
              <a:spcBef>
                <a:spcPts val="607"/>
              </a:spcBef>
              <a:spcAft>
                <a:spcPts val="607"/>
              </a:spcAft>
              <a:defRPr/>
            </a:pPr>
            <a:endParaRPr lang="en-US" dirty="0" smtClean="0">
              <a:solidFill>
                <a:srgbClr val="595959"/>
              </a:solidFill>
              <a:latin typeface="Segoe UI" pitchFamily="34" charset="0"/>
              <a:ea typeface="MS Mincho" pitchFamily="49" charset="-128"/>
              <a:cs typeface="Times New Roman" pitchFamily="18" charset="0"/>
            </a:endParaRPr>
          </a:p>
          <a:p>
            <a:pPr marL="184892" indent="-184892">
              <a:lnSpc>
                <a:spcPts val="1415"/>
              </a:lnSpc>
              <a:spcBef>
                <a:spcPct val="0"/>
              </a:spcBef>
              <a:spcAft>
                <a:spcPts val="607"/>
              </a:spcAft>
              <a:buClr>
                <a:srgbClr val="0BA8D7"/>
              </a:buClr>
              <a:buFont typeface="Calibri" pitchFamily="34" charset="0"/>
              <a:buChar char="•"/>
              <a:defRPr/>
            </a:pPr>
            <a:r>
              <a:rPr lang="en-US" dirty="0" smtClean="0">
                <a:solidFill>
                  <a:srgbClr val="595959"/>
                </a:solidFill>
                <a:latin typeface="Segoe UI" pitchFamily="34" charset="0"/>
                <a:ea typeface="MS Mincho" pitchFamily="49" charset="-128"/>
                <a:cs typeface="Times New Roman" pitchFamily="18" charset="0"/>
              </a:rPr>
              <a:t>Required renumbering of service workloads.</a:t>
            </a:r>
          </a:p>
          <a:p>
            <a:pPr marL="184892" indent="-184892">
              <a:lnSpc>
                <a:spcPts val="1415"/>
              </a:lnSpc>
              <a:spcBef>
                <a:spcPct val="0"/>
              </a:spcBef>
              <a:spcAft>
                <a:spcPts val="607"/>
              </a:spcAft>
              <a:buClr>
                <a:srgbClr val="0BA8D7"/>
              </a:buClr>
              <a:buFont typeface="Calibri" pitchFamily="34" charset="0"/>
              <a:buChar char="•"/>
              <a:defRPr/>
            </a:pPr>
            <a:r>
              <a:rPr lang="en-US" dirty="0" smtClean="0">
                <a:solidFill>
                  <a:srgbClr val="595959"/>
                </a:solidFill>
                <a:latin typeface="Segoe UI" pitchFamily="34" charset="0"/>
                <a:ea typeface="MS Mincho" pitchFamily="49" charset="-128"/>
                <a:cs typeface="Times New Roman" pitchFamily="18" charset="0"/>
              </a:rPr>
              <a:t>Policies that are tied to IP addresses.</a:t>
            </a:r>
          </a:p>
          <a:p>
            <a:pPr marL="184892" indent="-184892">
              <a:lnSpc>
                <a:spcPts val="1415"/>
              </a:lnSpc>
              <a:spcBef>
                <a:spcPct val="0"/>
              </a:spcBef>
              <a:spcAft>
                <a:spcPts val="607"/>
              </a:spcAft>
              <a:buClr>
                <a:srgbClr val="0BA8D7"/>
              </a:buClr>
              <a:buFont typeface="Calibri" pitchFamily="34" charset="0"/>
              <a:buChar char="•"/>
              <a:defRPr/>
            </a:pPr>
            <a:r>
              <a:rPr lang="en-US" dirty="0" smtClean="0">
                <a:solidFill>
                  <a:srgbClr val="595959"/>
                </a:solidFill>
                <a:latin typeface="Segoe UI" pitchFamily="34" charset="0"/>
                <a:ea typeface="MS Mincho" pitchFamily="49" charset="-128"/>
                <a:cs typeface="Times New Roman" pitchFamily="18" charset="0"/>
              </a:rPr>
              <a:t>Physical locations that determine virtual machine IP addresses.</a:t>
            </a:r>
          </a:p>
          <a:p>
            <a:pPr marL="184892" indent="-184892">
              <a:lnSpc>
                <a:spcPts val="1415"/>
              </a:lnSpc>
              <a:spcBef>
                <a:spcPct val="0"/>
              </a:spcBef>
              <a:spcAft>
                <a:spcPts val="607"/>
              </a:spcAft>
              <a:buClr>
                <a:srgbClr val="0BA8D7"/>
              </a:buClr>
              <a:buFont typeface="Calibri" pitchFamily="34" charset="0"/>
              <a:buChar char="•"/>
              <a:defRPr/>
            </a:pPr>
            <a:r>
              <a:rPr lang="en-US" dirty="0" smtClean="0">
                <a:solidFill>
                  <a:srgbClr val="595959"/>
                </a:solidFill>
                <a:latin typeface="Segoe UI" pitchFamily="34" charset="0"/>
                <a:ea typeface="MS Mincho" pitchFamily="49" charset="-128"/>
                <a:cs typeface="Times New Roman" pitchFamily="18" charset="0"/>
              </a:rPr>
              <a:t>Topological dependency of virtual machine deployment and traffic isolation.</a:t>
            </a:r>
          </a:p>
          <a:p>
            <a:pPr>
              <a:lnSpc>
                <a:spcPts val="1415"/>
              </a:lnSpc>
              <a:spcBef>
                <a:spcPts val="607"/>
              </a:spcBef>
              <a:spcAft>
                <a:spcPts val="607"/>
              </a:spcAft>
              <a:defRPr/>
            </a:pPr>
            <a:endParaRPr lang="en-US" dirty="0" smtClean="0">
              <a:solidFill>
                <a:srgbClr val="595959"/>
              </a:solidFill>
              <a:latin typeface="Segoe UI" pitchFamily="34" charset="0"/>
              <a:ea typeface="MS Mincho" pitchFamily="49" charset="-128"/>
              <a:cs typeface="Times New Roman" pitchFamily="18" charset="0"/>
            </a:endParaRPr>
          </a:p>
          <a:p>
            <a:pPr>
              <a:lnSpc>
                <a:spcPts val="1415"/>
              </a:lnSpc>
              <a:spcBef>
                <a:spcPts val="607"/>
              </a:spcBef>
              <a:spcAft>
                <a:spcPts val="607"/>
              </a:spcAft>
              <a:defRPr/>
            </a:pPr>
            <a:r>
              <a:rPr lang="en-US" dirty="0" smtClean="0">
                <a:solidFill>
                  <a:srgbClr val="595959"/>
                </a:solidFill>
                <a:latin typeface="Segoe UI" pitchFamily="34" charset="0"/>
                <a:ea typeface="MS Mincho" pitchFamily="49" charset="-128"/>
                <a:cs typeface="Times New Roman" pitchFamily="18" charset="0"/>
              </a:rPr>
              <a:t>The IP address is the fundamental address that is used for layer‑3 network communication, because most network traffic is TCP/IP. Unfortunately, when IP addresses are moved to the cloud, the addresses must be changed to accommodate the physical and topological restrictions of the data center. Renumbering IP addresses is cumbersome because the associated policies that are based on the IP addresses must also be updated.</a:t>
            </a:r>
          </a:p>
          <a:p>
            <a:pPr>
              <a:lnSpc>
                <a:spcPts val="1415"/>
              </a:lnSpc>
              <a:spcBef>
                <a:spcPts val="607"/>
              </a:spcBef>
              <a:spcAft>
                <a:spcPts val="607"/>
              </a:spcAft>
              <a:defRPr/>
            </a:pPr>
            <a:endParaRPr lang="en-US" dirty="0" smtClean="0">
              <a:solidFill>
                <a:srgbClr val="595959"/>
              </a:solidFill>
              <a:latin typeface="Segoe UI" pitchFamily="34" charset="0"/>
              <a:ea typeface="MS Mincho" pitchFamily="49" charset="-128"/>
              <a:cs typeface="Times New Roman" pitchFamily="18" charset="0"/>
            </a:endParaRPr>
          </a:p>
          <a:p>
            <a:pPr>
              <a:lnSpc>
                <a:spcPts val="1415"/>
              </a:lnSpc>
              <a:spcBef>
                <a:spcPts val="607"/>
              </a:spcBef>
              <a:spcAft>
                <a:spcPts val="607"/>
              </a:spcAft>
              <a:defRPr/>
            </a:pPr>
            <a:r>
              <a:rPr lang="en-US" dirty="0" smtClean="0">
                <a:solidFill>
                  <a:srgbClr val="595959"/>
                </a:solidFill>
                <a:latin typeface="Segoe UI" pitchFamily="34" charset="0"/>
                <a:ea typeface="MS Mincho" pitchFamily="49" charset="-128"/>
                <a:cs typeface="Times New Roman" pitchFamily="18" charset="0"/>
              </a:rPr>
              <a:t>The physical layout of a data center influences the permissible potential IP addresses for virtual machines that run on a specific server or blade server that is connected to a specific rack in the data center. A virtual machine that is provisioned and placed in the data center must adhere to the choices and restrictions regarding its IP address. </a:t>
            </a:r>
          </a:p>
          <a:p>
            <a:pPr>
              <a:lnSpc>
                <a:spcPts val="1415"/>
              </a:lnSpc>
              <a:spcBef>
                <a:spcPts val="607"/>
              </a:spcBef>
              <a:spcAft>
                <a:spcPts val="607"/>
              </a:spcAft>
              <a:defRPr/>
            </a:pPr>
            <a:r>
              <a:rPr lang="en-US" dirty="0" smtClean="0">
                <a:solidFill>
                  <a:srgbClr val="595959"/>
                </a:solidFill>
                <a:latin typeface="Segoe UI" pitchFamily="34" charset="0"/>
                <a:ea typeface="MS Mincho" pitchFamily="49" charset="-128"/>
                <a:cs typeface="Times New Roman" pitchFamily="18" charset="0"/>
              </a:rPr>
              <a:t>Therefore, the typical result is that data center administrators assign IP addresses to the virtual machines and force virtual machine owners to adjust their policies that were based on the original IP address. This renumbering overhead is so high that many enterprises choose to deploy only new services into the cloud and leave legacy applications unchanged.</a:t>
            </a:r>
          </a:p>
          <a:p>
            <a:pPr>
              <a:lnSpc>
                <a:spcPts val="1415"/>
              </a:lnSpc>
              <a:spcBef>
                <a:spcPts val="607"/>
              </a:spcBef>
              <a:spcAft>
                <a:spcPts val="607"/>
              </a:spcAft>
              <a:defRPr/>
            </a:pPr>
            <a:endParaRPr lang="en-US" sz="2000" dirty="0" smtClean="0">
              <a:solidFill>
                <a:srgbClr val="595959"/>
              </a:solidFill>
              <a:latin typeface="Segoe UI" pitchFamily="34" charset="0"/>
              <a:cs typeface="Times New Roman" pitchFamily="18" charset="0"/>
            </a:endParaRPr>
          </a:p>
          <a:p>
            <a:pPr>
              <a:lnSpc>
                <a:spcPts val="1415"/>
              </a:lnSpc>
              <a:spcBef>
                <a:spcPts val="607"/>
              </a:spcBef>
              <a:spcAft>
                <a:spcPts val="607"/>
              </a:spcAft>
              <a:defRPr/>
            </a:pPr>
            <a:r>
              <a:rPr lang="en-US" sz="2000" b="1" dirty="0" smtClean="0">
                <a:solidFill>
                  <a:srgbClr val="595959"/>
                </a:solidFill>
                <a:latin typeface="Segoe UI" pitchFamily="34" charset="0"/>
                <a:cs typeface="Times New Roman" pitchFamily="18" charset="0"/>
              </a:rPr>
              <a:t>With Windows Server 2012 R2</a:t>
            </a:r>
          </a:p>
          <a:p>
            <a:pPr>
              <a:lnSpc>
                <a:spcPts val="1415"/>
              </a:lnSpc>
              <a:spcBef>
                <a:spcPts val="607"/>
              </a:spcBef>
              <a:spcAft>
                <a:spcPts val="607"/>
              </a:spcAft>
            </a:pPr>
            <a:r>
              <a:rPr lang="en-US" sz="2000" dirty="0" smtClean="0">
                <a:solidFill>
                  <a:srgbClr val="595959"/>
                </a:solidFill>
                <a:latin typeface="Segoe UI"/>
                <a:ea typeface="MS Mincho"/>
                <a:cs typeface="Times New Roman"/>
              </a:rPr>
              <a:t>Hyper‑V Network Virtualization solves these problems. With this feature, you can isolate network traffic from different business units or customers on a shared infrastructure and not be required to use VLANs. Hyper‑V Network Virtualization also lets you move virtual machines as needed within your virtual infrastructure while preserving their virtual network assignments. Finally, you can even use Hyper‑V Network Virtualization to transparently integrate these private networks into a preexisting infrastructure on another site.</a:t>
            </a:r>
          </a:p>
          <a:p>
            <a:pPr>
              <a:lnSpc>
                <a:spcPts val="1415"/>
              </a:lnSpc>
              <a:spcBef>
                <a:spcPts val="607"/>
              </a:spcBef>
              <a:spcAft>
                <a:spcPts val="607"/>
              </a:spcAft>
              <a:defRPr/>
            </a:pPr>
            <a:endParaRPr lang="en-US" sz="2000" dirty="0" smtClean="0">
              <a:solidFill>
                <a:srgbClr val="595959"/>
              </a:solidFill>
              <a:latin typeface="Segoe UI" pitchFamily="34" charset="0"/>
              <a:cs typeface="Times New Roman" pitchFamily="18" charset="0"/>
            </a:endParaRPr>
          </a:p>
          <a:p>
            <a:pPr>
              <a:lnSpc>
                <a:spcPts val="1415"/>
              </a:lnSpc>
              <a:spcBef>
                <a:spcPts val="607"/>
              </a:spcBef>
              <a:spcAft>
                <a:spcPts val="607"/>
              </a:spcAft>
              <a:defRPr/>
            </a:pPr>
            <a:r>
              <a:rPr lang="en-US" sz="2000" dirty="0" smtClean="0">
                <a:solidFill>
                  <a:srgbClr val="595959"/>
                </a:solidFill>
                <a:latin typeface="Segoe UI" pitchFamily="34" charset="0"/>
                <a:cs typeface="Times New Roman" pitchFamily="18" charset="0"/>
              </a:rPr>
              <a:t>Hyper‑V Network Virtualization extends the concept of server virtualization to allow multiple virtual networks, potentially with overlapping IP addresses, to be deployed on the same physical network. With Hyper‑V Network Virtualization, you can set policies that isolate traffic in your dedicated virtual network independently of the physical infrastructure. </a:t>
            </a:r>
          </a:p>
          <a:p>
            <a:pPr>
              <a:lnSpc>
                <a:spcPts val="1415"/>
              </a:lnSpc>
              <a:spcBef>
                <a:spcPts val="607"/>
              </a:spcBef>
              <a:spcAft>
                <a:spcPts val="607"/>
              </a:spcAft>
              <a:defRPr/>
            </a:pPr>
            <a:endParaRPr lang="en-US" sz="2000" dirty="0" smtClean="0">
              <a:solidFill>
                <a:srgbClr val="595959"/>
              </a:solidFill>
              <a:latin typeface="Segoe UI" pitchFamily="34" charset="0"/>
              <a:cs typeface="Times New Roman" pitchFamily="18" charset="0"/>
            </a:endParaRPr>
          </a:p>
          <a:p>
            <a:pPr>
              <a:lnSpc>
                <a:spcPts val="1415"/>
              </a:lnSpc>
              <a:spcBef>
                <a:spcPts val="607"/>
              </a:spcBef>
              <a:spcAft>
                <a:spcPts val="607"/>
              </a:spcAft>
              <a:defRPr/>
            </a:pPr>
            <a:r>
              <a:rPr lang="en-US" sz="2000" dirty="0" smtClean="0">
                <a:solidFill>
                  <a:srgbClr val="595959"/>
                </a:solidFill>
                <a:latin typeface="Segoe UI" pitchFamily="34" charset="0"/>
                <a:cs typeface="Times New Roman" pitchFamily="18" charset="0"/>
              </a:rPr>
              <a:t>The figure illustrates how Hyper‑V Network Virtualization isolates network traffic belonging to two different customers. In it, Blue and Red virtual machines are hosted on a single physical network, or even on the same physical server. However, because they belong to separate Blue and Red virtual networks, the virtual machines can’t communicate with each other even if the customers assign them IP addresses from the same address space. </a:t>
            </a:r>
          </a:p>
          <a:p>
            <a:pPr>
              <a:lnSpc>
                <a:spcPts val="1415"/>
              </a:lnSpc>
              <a:spcBef>
                <a:spcPts val="607"/>
              </a:spcBef>
              <a:spcAft>
                <a:spcPts val="607"/>
              </a:spcAft>
              <a:defRPr/>
            </a:pPr>
            <a:endParaRPr lang="en-US" sz="2000" dirty="0" smtClean="0">
              <a:solidFill>
                <a:srgbClr val="595959"/>
              </a:solidFill>
              <a:latin typeface="Segoe UI" pitchFamily="34" charset="0"/>
              <a:cs typeface="Times New Roman" pitchFamily="18" charset="0"/>
            </a:endParaRPr>
          </a:p>
          <a:p>
            <a:pPr>
              <a:lnSpc>
                <a:spcPct val="115000"/>
              </a:lnSpc>
              <a:spcBef>
                <a:spcPct val="0"/>
              </a:spcBef>
              <a:spcAft>
                <a:spcPts val="1011"/>
              </a:spcAft>
              <a:defRPr/>
            </a:pPr>
            <a:r>
              <a:rPr lang="en-US" sz="2000" b="1" dirty="0" smtClean="0">
                <a:latin typeface="Calibri" pitchFamily="34" charset="0"/>
                <a:cs typeface="Calibri" pitchFamily="34" charset="0"/>
              </a:rPr>
              <a:t>Server Virtualization </a:t>
            </a:r>
            <a:r>
              <a:rPr lang="en-US" sz="2000" dirty="0" smtClean="0">
                <a:latin typeface="Calibri" pitchFamily="34" charset="0"/>
                <a:cs typeface="Calibri" pitchFamily="34" charset="0"/>
              </a:rPr>
              <a:t>is a well-understood concept that allows multiple server instances to run on a single physical host concurrently, but isolated from each other, with each server instance essentially acting as if it’s the only one running on the physical machine. </a:t>
            </a:r>
          </a:p>
          <a:p>
            <a:pPr>
              <a:lnSpc>
                <a:spcPct val="115000"/>
              </a:lnSpc>
              <a:spcBef>
                <a:spcPct val="0"/>
              </a:spcBef>
              <a:spcAft>
                <a:spcPts val="1011"/>
              </a:spcAft>
              <a:defRPr/>
            </a:pPr>
            <a:endParaRPr lang="en-US" sz="2000" dirty="0" smtClean="0">
              <a:latin typeface="Calibri" pitchFamily="34" charset="0"/>
              <a:cs typeface="Calibri" pitchFamily="34" charset="0"/>
            </a:endParaRPr>
          </a:p>
          <a:p>
            <a:pPr>
              <a:lnSpc>
                <a:spcPct val="115000"/>
              </a:lnSpc>
              <a:spcBef>
                <a:spcPct val="0"/>
              </a:spcBef>
              <a:spcAft>
                <a:spcPts val="1011"/>
              </a:spcAft>
              <a:defRPr/>
            </a:pPr>
            <a:r>
              <a:rPr lang="en-US" sz="2000" b="1" dirty="0" smtClean="0">
                <a:latin typeface="Calibri" pitchFamily="34" charset="0"/>
                <a:cs typeface="Calibri" pitchFamily="34" charset="0"/>
              </a:rPr>
              <a:t>Network Virtualization </a:t>
            </a:r>
            <a:r>
              <a:rPr lang="en-US" sz="2000" dirty="0" smtClean="0">
                <a:latin typeface="Calibri" pitchFamily="34" charset="0"/>
                <a:cs typeface="Calibri" pitchFamily="34" charset="0"/>
              </a:rPr>
              <a:t>provides a similar capability. On the same physical network:</a:t>
            </a:r>
          </a:p>
          <a:p>
            <a:pPr marL="184892" indent="-184892">
              <a:lnSpc>
                <a:spcPct val="115000"/>
              </a:lnSpc>
              <a:spcBef>
                <a:spcPct val="0"/>
              </a:spcBef>
              <a:spcAft>
                <a:spcPts val="1011"/>
              </a:spcAft>
              <a:buFontTx/>
              <a:buChar char="•"/>
              <a:defRPr/>
            </a:pPr>
            <a:r>
              <a:rPr lang="en-US" sz="2000" dirty="0" smtClean="0">
                <a:latin typeface="Calibri" pitchFamily="34" charset="0"/>
                <a:cs typeface="Calibri" pitchFamily="34" charset="0"/>
              </a:rPr>
              <a:t>You can run multiple virtual network infrastructures.</a:t>
            </a:r>
          </a:p>
          <a:p>
            <a:pPr marL="184892" indent="-184892">
              <a:lnSpc>
                <a:spcPct val="115000"/>
              </a:lnSpc>
              <a:spcBef>
                <a:spcPct val="0"/>
              </a:spcBef>
              <a:spcAft>
                <a:spcPts val="1011"/>
              </a:spcAft>
              <a:buFontTx/>
              <a:buChar char="•"/>
              <a:defRPr/>
            </a:pPr>
            <a:r>
              <a:rPr lang="en-US" sz="2000" dirty="0" smtClean="0">
                <a:latin typeface="Calibri" pitchFamily="34" charset="0"/>
                <a:cs typeface="Calibri" pitchFamily="34" charset="0"/>
              </a:rPr>
              <a:t>You can have overlapping IP addresses.</a:t>
            </a:r>
          </a:p>
          <a:p>
            <a:pPr marL="184892" indent="-184892">
              <a:lnSpc>
                <a:spcPct val="115000"/>
              </a:lnSpc>
              <a:spcBef>
                <a:spcPct val="0"/>
              </a:spcBef>
              <a:spcAft>
                <a:spcPts val="1011"/>
              </a:spcAft>
              <a:buFontTx/>
              <a:buChar char="•"/>
              <a:defRPr/>
            </a:pPr>
            <a:r>
              <a:rPr lang="en-US" sz="2000" dirty="0" smtClean="0">
                <a:latin typeface="Calibri" pitchFamily="34" charset="0"/>
                <a:cs typeface="Calibri" pitchFamily="34" charset="0"/>
              </a:rPr>
              <a:t>Each virtual network infrastructure acts as if it’s the only one running on the shared physical network infrastructure.</a:t>
            </a:r>
          </a:p>
          <a:p>
            <a:pPr>
              <a:lnSpc>
                <a:spcPct val="115000"/>
              </a:lnSpc>
              <a:spcBef>
                <a:spcPct val="0"/>
              </a:spcBef>
              <a:spcAft>
                <a:spcPts val="1011"/>
              </a:spcAft>
              <a:defRPr/>
            </a:pPr>
            <a:endParaRPr lang="en-US" sz="2000" dirty="0" smtClean="0">
              <a:latin typeface="Calibri" pitchFamily="34" charset="0"/>
              <a:cs typeface="Calibri" pitchFamily="34" charset="0"/>
            </a:endParaRPr>
          </a:p>
          <a:p>
            <a:pPr eaLnBrk="1" hangingPunct="1">
              <a:spcBef>
                <a:spcPct val="0"/>
              </a:spcBef>
              <a:defRPr/>
            </a:pPr>
            <a:r>
              <a:rPr lang="en-US" sz="3600" b="1" dirty="0" smtClean="0">
                <a:solidFill>
                  <a:srgbClr val="11A7D8"/>
                </a:solidFill>
                <a:latin typeface="Segoe UI" pitchFamily="34" charset="0"/>
                <a:cs typeface="Arial" pitchFamily="34" charset="0"/>
              </a:rPr>
              <a:t>How network virtualization works</a:t>
            </a:r>
          </a:p>
          <a:p>
            <a:pPr marL="184892" indent="-184892">
              <a:spcBef>
                <a:spcPct val="0"/>
              </a:spcBef>
              <a:defRPr/>
            </a:pPr>
            <a:endParaRPr lang="en-US" sz="3600" b="1" dirty="0" smtClean="0">
              <a:solidFill>
                <a:srgbClr val="11A7D8"/>
              </a:solidFill>
              <a:latin typeface="Segoe UI" pitchFamily="34" charset="0"/>
              <a:cs typeface="Arial" pitchFamily="34" charset="0"/>
            </a:endParaRPr>
          </a:p>
          <a:p>
            <a:pPr marL="184892" indent="-184892">
              <a:spcBef>
                <a:spcPct val="0"/>
              </a:spcBef>
              <a:buFontTx/>
              <a:buChar char="•"/>
              <a:defRPr/>
            </a:pPr>
            <a:r>
              <a:rPr lang="en-US" sz="3600" b="1" dirty="0" smtClean="0">
                <a:solidFill>
                  <a:srgbClr val="11A7D8"/>
                </a:solidFill>
                <a:latin typeface="Segoe UI" pitchFamily="34" charset="0"/>
                <a:cs typeface="Arial" pitchFamily="34" charset="0"/>
              </a:rPr>
              <a:t>Two IP addresses for each virtual machine. </a:t>
            </a:r>
            <a:r>
              <a:rPr lang="en-US" dirty="0" smtClean="0">
                <a:solidFill>
                  <a:srgbClr val="595959"/>
                </a:solidFill>
                <a:latin typeface="Segoe UI" pitchFamily="34" charset="0"/>
                <a:ea typeface="MS Mincho" pitchFamily="49" charset="-128"/>
                <a:cs typeface="Arial" pitchFamily="34" charset="0"/>
              </a:rPr>
              <a:t>To virtualize the network with Hyper‑V Network Virtualization, each virtual machine is assigned </a:t>
            </a:r>
            <a:r>
              <a:rPr lang="en-US" b="1" dirty="0" smtClean="0">
                <a:solidFill>
                  <a:srgbClr val="595959"/>
                </a:solidFill>
                <a:latin typeface="Segoe UI" pitchFamily="34" charset="0"/>
                <a:ea typeface="MS Mincho" pitchFamily="49" charset="-128"/>
                <a:cs typeface="Arial" pitchFamily="34" charset="0"/>
              </a:rPr>
              <a:t>two IP addresses</a:t>
            </a:r>
            <a:r>
              <a:rPr lang="en-US" dirty="0" smtClean="0">
                <a:solidFill>
                  <a:srgbClr val="595959"/>
                </a:solidFill>
                <a:latin typeface="Segoe UI" pitchFamily="34" charset="0"/>
                <a:ea typeface="MS Mincho" pitchFamily="49" charset="-128"/>
                <a:cs typeface="Arial" pitchFamily="34" charset="0"/>
              </a:rPr>
              <a:t>:</a:t>
            </a:r>
          </a:p>
          <a:p>
            <a:pPr eaLnBrk="1" hangingPunct="1">
              <a:spcBef>
                <a:spcPct val="0"/>
              </a:spcBef>
              <a:buFontTx/>
              <a:buChar char="•"/>
              <a:defRPr/>
            </a:pPr>
            <a:endParaRPr lang="en-US" dirty="0" smtClean="0">
              <a:solidFill>
                <a:srgbClr val="595959"/>
              </a:solidFill>
              <a:latin typeface="Segoe UI" pitchFamily="34" charset="0"/>
              <a:ea typeface="MS Mincho" pitchFamily="49" charset="-128"/>
              <a:cs typeface="Arial" pitchFamily="34" charset="0"/>
            </a:endParaRPr>
          </a:p>
          <a:p>
            <a:pPr marL="462229" lvl="2" indent="-184571">
              <a:lnSpc>
                <a:spcPts val="1415"/>
              </a:lnSpc>
              <a:spcBef>
                <a:spcPct val="0"/>
              </a:spcBef>
              <a:spcAft>
                <a:spcPts val="607"/>
              </a:spcAft>
              <a:buClr>
                <a:srgbClr val="0BA8D7"/>
              </a:buClr>
              <a:buFont typeface="Courier New" pitchFamily="49" charset="0"/>
              <a:buChar char="o"/>
              <a:defRPr/>
            </a:pPr>
            <a:r>
              <a:rPr lang="en-US" dirty="0" smtClean="0">
                <a:solidFill>
                  <a:srgbClr val="595959"/>
                </a:solidFill>
                <a:latin typeface="Segoe UI" pitchFamily="34" charset="0"/>
                <a:ea typeface="MS Mincho" pitchFamily="49" charset="-128"/>
                <a:cs typeface="Arial" pitchFamily="34" charset="0"/>
              </a:rPr>
              <a:t>The </a:t>
            </a:r>
            <a:r>
              <a:rPr lang="en-US" b="1" dirty="0" smtClean="0">
                <a:solidFill>
                  <a:srgbClr val="595959"/>
                </a:solidFill>
                <a:latin typeface="Segoe UI" pitchFamily="34" charset="0"/>
                <a:ea typeface="MS Mincho" pitchFamily="49" charset="-128"/>
                <a:cs typeface="Arial" pitchFamily="34" charset="0"/>
              </a:rPr>
              <a:t>Customer Address </a:t>
            </a:r>
            <a:r>
              <a:rPr lang="en-US" dirty="0" smtClean="0">
                <a:solidFill>
                  <a:srgbClr val="595959"/>
                </a:solidFill>
                <a:latin typeface="Segoe UI" pitchFamily="34" charset="0"/>
                <a:ea typeface="MS Mincho" pitchFamily="49" charset="-128"/>
                <a:cs typeface="Arial" pitchFamily="34" charset="0"/>
              </a:rPr>
              <a:t>(CA) is the IP address that the customer assigns based on the customer’s own intranet infrastructure. This address lets the customer exchange network traffic with the virtual machine as if it had not been moved to a public or private cloud. The CA is visible to the virtual machine and reachable by the customer.</a:t>
            </a:r>
          </a:p>
          <a:p>
            <a:pPr marL="462229" lvl="2" indent="-184571">
              <a:lnSpc>
                <a:spcPts val="1415"/>
              </a:lnSpc>
              <a:spcBef>
                <a:spcPct val="0"/>
              </a:spcBef>
              <a:spcAft>
                <a:spcPts val="607"/>
              </a:spcAft>
              <a:buClr>
                <a:srgbClr val="0BA8D7"/>
              </a:buClr>
              <a:buFont typeface="Courier New" pitchFamily="49" charset="0"/>
              <a:buChar char="o"/>
              <a:defRPr/>
            </a:pPr>
            <a:endParaRPr lang="en-US" dirty="0" smtClean="0">
              <a:solidFill>
                <a:srgbClr val="595959"/>
              </a:solidFill>
              <a:latin typeface="Segoe UI" pitchFamily="34" charset="0"/>
              <a:ea typeface="MS Mincho" pitchFamily="49" charset="-128"/>
              <a:cs typeface="Arial" pitchFamily="34" charset="0"/>
            </a:endParaRPr>
          </a:p>
          <a:p>
            <a:pPr marL="462229" lvl="2" indent="-184571">
              <a:lnSpc>
                <a:spcPts val="1415"/>
              </a:lnSpc>
              <a:spcBef>
                <a:spcPct val="0"/>
              </a:spcBef>
              <a:spcAft>
                <a:spcPts val="607"/>
              </a:spcAft>
              <a:buClr>
                <a:srgbClr val="0BA8D7"/>
              </a:buClr>
              <a:buFont typeface="Courier New" pitchFamily="49" charset="0"/>
              <a:buChar char="o"/>
              <a:defRPr/>
            </a:pPr>
            <a:r>
              <a:rPr lang="en-US" dirty="0" smtClean="0">
                <a:solidFill>
                  <a:srgbClr val="595959"/>
                </a:solidFill>
                <a:latin typeface="Segoe UI" pitchFamily="34" charset="0"/>
                <a:ea typeface="MS Mincho" pitchFamily="49" charset="-128"/>
                <a:cs typeface="Arial" pitchFamily="34" charset="0"/>
              </a:rPr>
              <a:t>The </a:t>
            </a:r>
            <a:r>
              <a:rPr lang="en-US" b="1" dirty="0" smtClean="0">
                <a:solidFill>
                  <a:srgbClr val="595959"/>
                </a:solidFill>
                <a:latin typeface="Segoe UI" pitchFamily="34" charset="0"/>
                <a:ea typeface="MS Mincho" pitchFamily="49" charset="-128"/>
                <a:cs typeface="Arial" pitchFamily="34" charset="0"/>
              </a:rPr>
              <a:t>Provider Address </a:t>
            </a:r>
            <a:r>
              <a:rPr lang="en-US" dirty="0" smtClean="0">
                <a:solidFill>
                  <a:srgbClr val="595959"/>
                </a:solidFill>
                <a:latin typeface="Segoe UI" pitchFamily="34" charset="0"/>
                <a:ea typeface="MS Mincho" pitchFamily="49" charset="-128"/>
                <a:cs typeface="Arial" pitchFamily="34" charset="0"/>
              </a:rPr>
              <a:t>(PA) is the IP address that the host assigns based on the host’s physical network infrastructure. The PA appears in the packets on the wire exchanged with the virtualization server that hosts the virtual machine. The PA is visible on the physical network, but not to the virtual machine.</a:t>
            </a:r>
          </a:p>
          <a:p>
            <a:pPr marL="635565" lvl="1" indent="-173336">
              <a:lnSpc>
                <a:spcPts val="1415"/>
              </a:lnSpc>
              <a:spcBef>
                <a:spcPts val="607"/>
              </a:spcBef>
              <a:spcAft>
                <a:spcPts val="607"/>
              </a:spcAft>
              <a:buFontTx/>
              <a:buChar char="•"/>
              <a:defRPr/>
            </a:pPr>
            <a:endParaRPr lang="en-US" dirty="0" smtClean="0">
              <a:solidFill>
                <a:srgbClr val="595959"/>
              </a:solidFill>
              <a:latin typeface="Segoe UI" pitchFamily="34" charset="0"/>
              <a:cs typeface="Times New Roman" pitchFamily="18" charset="0"/>
            </a:endParaRPr>
          </a:p>
          <a:p>
            <a:pPr lvl="1">
              <a:lnSpc>
                <a:spcPts val="1415"/>
              </a:lnSpc>
              <a:spcBef>
                <a:spcPts val="607"/>
              </a:spcBef>
              <a:spcAft>
                <a:spcPts val="607"/>
              </a:spcAft>
              <a:defRPr/>
            </a:pPr>
            <a:r>
              <a:rPr lang="en-US" dirty="0" smtClean="0">
                <a:solidFill>
                  <a:srgbClr val="595959"/>
                </a:solidFill>
                <a:latin typeface="Segoe UI" pitchFamily="34" charset="0"/>
                <a:ea typeface="MS Mincho" pitchFamily="49" charset="-128"/>
                <a:cs typeface="Arial" pitchFamily="34" charset="0"/>
              </a:rPr>
              <a:t>The layer of CAs is consistent with the customer's network topology, which is virtualized and decoupled from the underlying physical network addresses, as implemented by the layer of PAs. </a:t>
            </a:r>
          </a:p>
          <a:p>
            <a:pPr>
              <a:lnSpc>
                <a:spcPts val="1415"/>
              </a:lnSpc>
              <a:spcBef>
                <a:spcPts val="607"/>
              </a:spcBef>
              <a:spcAft>
                <a:spcPts val="607"/>
              </a:spcAft>
              <a:buFontTx/>
              <a:buChar char="•"/>
              <a:defRPr/>
            </a:pPr>
            <a:endParaRPr lang="en-US" dirty="0" smtClean="0">
              <a:solidFill>
                <a:srgbClr val="595959"/>
              </a:solidFill>
              <a:latin typeface="Segoe UI" pitchFamily="34" charset="0"/>
              <a:ea typeface="MS Mincho" pitchFamily="49" charset="-128"/>
              <a:cs typeface="Arial" pitchFamily="34" charset="0"/>
            </a:endParaRPr>
          </a:p>
          <a:p>
            <a:pPr>
              <a:lnSpc>
                <a:spcPct val="115000"/>
              </a:lnSpc>
              <a:spcBef>
                <a:spcPct val="0"/>
              </a:spcBef>
              <a:spcAft>
                <a:spcPts val="1011"/>
              </a:spcAft>
              <a:defRPr/>
            </a:pPr>
            <a:r>
              <a:rPr lang="en-US" sz="2000" b="1" dirty="0" smtClean="0">
                <a:solidFill>
                  <a:srgbClr val="000000"/>
                </a:solidFill>
                <a:latin typeface="Calibri" pitchFamily="34" charset="0"/>
                <a:cs typeface="Calibri" pitchFamily="34" charset="0"/>
              </a:rPr>
              <a:t>Problems solved</a:t>
            </a:r>
          </a:p>
          <a:p>
            <a:pPr>
              <a:lnSpc>
                <a:spcPct val="115000"/>
              </a:lnSpc>
              <a:spcBef>
                <a:spcPct val="0"/>
              </a:spcBef>
              <a:spcAft>
                <a:spcPts val="1011"/>
              </a:spcAft>
              <a:defRPr/>
            </a:pPr>
            <a:endParaRPr lang="en-US" sz="2000" b="1" dirty="0" smtClean="0">
              <a:solidFill>
                <a:srgbClr val="000000"/>
              </a:solidFill>
              <a:latin typeface="Calibri" pitchFamily="34" charset="0"/>
              <a:cs typeface="Calibri" pitchFamily="34" charset="0"/>
            </a:endParaRPr>
          </a:p>
          <a:p>
            <a:pPr>
              <a:lnSpc>
                <a:spcPct val="115000"/>
              </a:lnSpc>
              <a:spcBef>
                <a:spcPct val="0"/>
              </a:spcBef>
              <a:spcAft>
                <a:spcPts val="1011"/>
              </a:spcAft>
              <a:defRPr/>
            </a:pPr>
            <a:r>
              <a:rPr lang="en-US" sz="2000" dirty="0" smtClean="0">
                <a:solidFill>
                  <a:srgbClr val="000000"/>
                </a:solidFill>
                <a:latin typeface="Calibri" pitchFamily="34" charset="0"/>
                <a:cs typeface="Calibri" pitchFamily="34" charset="0"/>
              </a:rPr>
              <a:t>Network virtualization solves earlier problems by:</a:t>
            </a:r>
          </a:p>
          <a:p>
            <a:pPr>
              <a:lnSpc>
                <a:spcPct val="115000"/>
              </a:lnSpc>
              <a:spcBef>
                <a:spcPct val="0"/>
              </a:spcBef>
              <a:spcAft>
                <a:spcPts val="1011"/>
              </a:spcAft>
              <a:defRPr/>
            </a:pPr>
            <a:endParaRPr lang="en-US" sz="2000" dirty="0" smtClean="0">
              <a:solidFill>
                <a:srgbClr val="000000"/>
              </a:solidFill>
              <a:latin typeface="Calibri" pitchFamily="34" charset="0"/>
              <a:cs typeface="Calibri" pitchFamily="34" charset="0"/>
            </a:endParaRPr>
          </a:p>
          <a:p>
            <a:pPr marL="184892" indent="-184892">
              <a:lnSpc>
                <a:spcPct val="115000"/>
              </a:lnSpc>
              <a:spcBef>
                <a:spcPct val="0"/>
              </a:spcBef>
              <a:spcAft>
                <a:spcPts val="1011"/>
              </a:spcAft>
              <a:buFontTx/>
              <a:buChar char="•"/>
              <a:defRPr/>
            </a:pPr>
            <a:r>
              <a:rPr lang="en-US" sz="2000" dirty="0" smtClean="0">
                <a:solidFill>
                  <a:srgbClr val="000000"/>
                </a:solidFill>
                <a:latin typeface="Calibri" pitchFamily="34" charset="0"/>
                <a:cs typeface="Calibri" pitchFamily="34" charset="0"/>
              </a:rPr>
              <a:t>Removing VLAN constraints.</a:t>
            </a:r>
          </a:p>
          <a:p>
            <a:pPr marL="184892" indent="-184892">
              <a:lnSpc>
                <a:spcPct val="115000"/>
              </a:lnSpc>
              <a:spcBef>
                <a:spcPct val="0"/>
              </a:spcBef>
              <a:spcAft>
                <a:spcPts val="1011"/>
              </a:spcAft>
              <a:buFontTx/>
              <a:buChar char="•"/>
              <a:defRPr/>
            </a:pPr>
            <a:r>
              <a:rPr lang="en-US" sz="2000" dirty="0" smtClean="0">
                <a:solidFill>
                  <a:srgbClr val="000000"/>
                </a:solidFill>
                <a:latin typeface="Calibri" pitchFamily="34" charset="0"/>
                <a:cs typeface="Calibri" pitchFamily="34" charset="0"/>
              </a:rPr>
              <a:t>Eliminating hierarchical IP address assignment for virtual machines.</a:t>
            </a:r>
          </a:p>
          <a:p>
            <a:endParaRPr lang="en-US" dirty="0" smtClean="0"/>
          </a:p>
          <a:p>
            <a:endParaRPr lang="en-US" dirty="0" smtClean="0"/>
          </a:p>
          <a:p>
            <a:r>
              <a:rPr lang="en-US" dirty="0" smtClean="0"/>
              <a:t>Site to Site VPN Background: </a:t>
            </a:r>
          </a:p>
          <a:p>
            <a:endParaRPr lang="en-US" dirty="0" smtClean="0"/>
          </a:p>
          <a:p>
            <a:r>
              <a:rPr lang="en-GB" dirty="0" smtClean="0"/>
              <a:t>Virtual</a:t>
            </a:r>
            <a:r>
              <a:rPr lang="en-GB" baseline="0" dirty="0" smtClean="0"/>
              <a:t> Network in Microsoft Azure enables you to create private, isolated sections in Microsoft Azure that you can treat as an extension of your </a:t>
            </a:r>
            <a:r>
              <a:rPr lang="en-GB" baseline="0" dirty="0" err="1" smtClean="0"/>
              <a:t>datacenter</a:t>
            </a:r>
            <a:r>
              <a:rPr lang="en-GB" baseline="0" dirty="0" smtClean="0"/>
              <a:t>. </a:t>
            </a:r>
            <a:r>
              <a:rPr lang="en-US" sz="900" kern="1200" dirty="0" smtClean="0">
                <a:solidFill>
                  <a:schemeClr val="tx1"/>
                </a:solidFill>
                <a:effectLst/>
                <a:latin typeface="Segoe UI Light" pitchFamily="34" charset="0"/>
                <a:ea typeface="+mn-ea"/>
                <a:cs typeface="+mn-cs"/>
              </a:rPr>
              <a:t>For example, you can assign private IP addresses to virtual machines inside a virtual network, specify DNS settings, and connect this virtual</a:t>
            </a:r>
            <a:r>
              <a:rPr lang="en-US" sz="900" kern="1200" baseline="0" dirty="0" smtClean="0">
                <a:solidFill>
                  <a:schemeClr val="tx1"/>
                </a:solidFill>
                <a:effectLst/>
                <a:latin typeface="Segoe UI Light" pitchFamily="34" charset="0"/>
                <a:ea typeface="+mn-ea"/>
                <a:cs typeface="+mn-cs"/>
              </a:rPr>
              <a:t> environment </a:t>
            </a:r>
            <a:r>
              <a:rPr lang="en-US" sz="900" kern="1200" dirty="0" smtClean="0">
                <a:solidFill>
                  <a:schemeClr val="tx1"/>
                </a:solidFill>
                <a:effectLst/>
                <a:latin typeface="Segoe UI Light" pitchFamily="34" charset="0"/>
                <a:ea typeface="+mn-ea"/>
                <a:cs typeface="+mn-cs"/>
              </a:rPr>
              <a:t>to your on-premises infrastructure using a VPN device over a site-to-site or S2S connection. </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Windows Server 2012 R2 uses the existing S2S VPN connectivity so that you no longer have to invest in a hardware VPN device to connect your on-premises network to Microsoft Azure. Instead, you can just use the</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Routing and Remote Access Service (RRAS) instead</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of a VPN device. </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A new feature in</a:t>
            </a:r>
            <a:r>
              <a:rPr lang="en-US" sz="900" kern="1200" baseline="0" dirty="0" smtClean="0">
                <a:solidFill>
                  <a:schemeClr val="tx1"/>
                </a:solidFill>
                <a:effectLst/>
                <a:latin typeface="Segoe UI Light" pitchFamily="34" charset="0"/>
                <a:ea typeface="+mn-ea"/>
                <a:cs typeface="+mn-cs"/>
              </a:rPr>
              <a:t> Windows Server 2012 R2 </a:t>
            </a:r>
            <a:r>
              <a:rPr lang="en-US" sz="900" kern="1200" dirty="0" smtClean="0">
                <a:solidFill>
                  <a:schemeClr val="tx1"/>
                </a:solidFill>
                <a:effectLst/>
                <a:latin typeface="Segoe UI Light" pitchFamily="34" charset="0"/>
                <a:ea typeface="+mn-ea"/>
                <a:cs typeface="+mn-cs"/>
              </a:rPr>
              <a:t>is</a:t>
            </a:r>
            <a:r>
              <a:rPr lang="en-US" sz="900" kern="1200" baseline="0" dirty="0" smtClean="0">
                <a:solidFill>
                  <a:schemeClr val="tx1"/>
                </a:solidFill>
                <a:effectLst/>
                <a:latin typeface="Segoe UI Light" pitchFamily="34" charset="0"/>
                <a:ea typeface="+mn-ea"/>
                <a:cs typeface="+mn-cs"/>
              </a:rPr>
              <a:t> the </a:t>
            </a:r>
            <a:r>
              <a:rPr lang="en-US" sz="900" i="0" kern="1200" dirty="0" smtClean="0">
                <a:solidFill>
                  <a:schemeClr val="tx1"/>
                </a:solidFill>
                <a:effectLst/>
                <a:latin typeface="Segoe UI Light" pitchFamily="34" charset="0"/>
                <a:ea typeface="+mn-ea"/>
                <a:cs typeface="+mn-cs"/>
              </a:rPr>
              <a:t>Point-to-Site (P2S)</a:t>
            </a:r>
            <a:r>
              <a:rPr lang="en-US" sz="900" i="0" kern="1200" baseline="0" dirty="0" smtClean="0">
                <a:solidFill>
                  <a:schemeClr val="tx1"/>
                </a:solidFill>
                <a:effectLst/>
                <a:latin typeface="Segoe UI Light" pitchFamily="34" charset="0"/>
                <a:ea typeface="+mn-ea"/>
                <a:cs typeface="+mn-cs"/>
              </a:rPr>
              <a:t> </a:t>
            </a:r>
            <a:r>
              <a:rPr lang="en-US" sz="900" i="0" kern="1200" dirty="0" smtClean="0">
                <a:solidFill>
                  <a:schemeClr val="tx1"/>
                </a:solidFill>
                <a:effectLst/>
                <a:latin typeface="Segoe UI Light" pitchFamily="34" charset="0"/>
                <a:ea typeface="+mn-ea"/>
                <a:cs typeface="+mn-cs"/>
              </a:rPr>
              <a:t>VPN, which </a:t>
            </a:r>
            <a:r>
              <a:rPr lang="en-US" sz="900" kern="1200" baseline="0" dirty="0" smtClean="0">
                <a:solidFill>
                  <a:schemeClr val="tx1"/>
                </a:solidFill>
                <a:effectLst/>
                <a:latin typeface="Segoe UI Light" pitchFamily="34" charset="0"/>
                <a:ea typeface="+mn-ea"/>
                <a:cs typeface="+mn-cs"/>
              </a:rPr>
              <a:t>enables you </a:t>
            </a:r>
            <a:r>
              <a:rPr lang="en-US" sz="900" kern="1200" dirty="0" smtClean="0">
                <a:solidFill>
                  <a:schemeClr val="tx1"/>
                </a:solidFill>
                <a:effectLst/>
                <a:latin typeface="Segoe UI Light" pitchFamily="34" charset="0"/>
                <a:ea typeface="+mn-ea"/>
                <a:cs typeface="+mn-cs"/>
              </a:rPr>
              <a:t>to setup VPN connections between individual computers and an Azure virtual network without the need for a VPN device. This feature greatly simplifies setting up secure connections between Azure and client machines, whether from your office environment or from remote locations, and enables you to connect to Microsoft Azure virtual networks in the following ways: </a:t>
            </a:r>
          </a:p>
          <a:p>
            <a:pPr lvl="0"/>
            <a:endParaRPr lang="en-US" sz="900"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Users can securely connect to your Azure environment from any location. For instance, developers can connect their laptops to a test and development environment and continue to code away while sipping coffee at an airport café.</a:t>
            </a:r>
            <a:endParaRPr lang="en-GB" sz="900"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mall businesses (or departments within an enterprise) who don’t have existing VPN devices and/or network expertise to manage VPN devices can rely on the </a:t>
            </a:r>
            <a:r>
              <a:rPr lang="en-US" sz="900" i="0" kern="1200" dirty="0" smtClean="0">
                <a:solidFill>
                  <a:schemeClr val="tx1"/>
                </a:solidFill>
                <a:effectLst/>
                <a:latin typeface="Segoe UI Light" pitchFamily="34" charset="0"/>
                <a:ea typeface="+mn-ea"/>
                <a:cs typeface="+mn-cs"/>
              </a:rPr>
              <a:t>P2S VPN </a:t>
            </a:r>
            <a:r>
              <a:rPr lang="en-US" sz="900" kern="1200" dirty="0" smtClean="0">
                <a:solidFill>
                  <a:schemeClr val="tx1"/>
                </a:solidFill>
                <a:effectLst/>
                <a:latin typeface="Segoe UI Light" pitchFamily="34" charset="0"/>
                <a:ea typeface="+mn-ea"/>
                <a:cs typeface="+mn-cs"/>
              </a:rPr>
              <a:t>feature to connect securely to your Azure deployments. </a:t>
            </a:r>
            <a:endParaRPr lang="en-GB" sz="900"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User can quickly set up secure connections without the involvement from the network administrator, even if their computers are behind a corporate proxy or firewall. </a:t>
            </a:r>
            <a:endParaRPr lang="en-GB" sz="900"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Independent Software Vendors (ISVs) wanting to provide secure access to their cloud apps can use the </a:t>
            </a:r>
            <a:r>
              <a:rPr lang="en-US" sz="900" i="0" kern="1200" dirty="0" smtClean="0">
                <a:solidFill>
                  <a:schemeClr val="tx1"/>
                </a:solidFill>
                <a:effectLst/>
                <a:latin typeface="Segoe UI Light" pitchFamily="34" charset="0"/>
                <a:ea typeface="+mn-ea"/>
                <a:cs typeface="+mn-cs"/>
              </a:rPr>
              <a:t>P2S VPN </a:t>
            </a:r>
            <a:r>
              <a:rPr lang="en-US" sz="900" kern="1200" dirty="0" smtClean="0">
                <a:solidFill>
                  <a:schemeClr val="tx1"/>
                </a:solidFill>
                <a:effectLst/>
                <a:latin typeface="Segoe UI Light" pitchFamily="34" charset="0"/>
                <a:ea typeface="+mn-ea"/>
                <a:cs typeface="+mn-cs"/>
              </a:rPr>
              <a:t>feature to offer a seamless application experience. </a:t>
            </a:r>
          </a:p>
          <a:p>
            <a:pPr marL="171450" lvl="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dirty="0" smtClean="0">
                <a:solidFill>
                  <a:schemeClr val="tx1"/>
                </a:solidFill>
                <a:effectLst/>
                <a:latin typeface="Segoe UI Light" pitchFamily="34" charset="0"/>
                <a:ea typeface="+mn-ea"/>
                <a:cs typeface="+mn-cs"/>
              </a:rPr>
              <a:t>Using the ‘Point-to-Site VPN’ feature reduces the setup time and eliminates hardware requirements so you’re able to connect to Azure securely. Also with this feature, you don’t have to use public RDP endpoints on virtual machines and you can</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rely purely on private IP addresses to connect using a VPN connection.</a:t>
            </a:r>
            <a:endParaRPr lang="en-GB" sz="900" kern="1200" dirty="0" smtClean="0">
              <a:solidFill>
                <a:schemeClr val="tx1"/>
              </a:solidFill>
              <a:effectLst/>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2C91B0-451A-4B33-8CF6-5F449C330BB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23355030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Every environment has different requirements and is built on different infrastructure that has been acquired over time to fill a particular need.  You need to ensure that you can continue to leverage previous investments in infrastructure while moving towards a more efficient and agile platform for your services.  With Windows Server 2012 R2 you can utilize new features to take advantage of low cost storage by pooling your current disks, utilizing SMB shares for storage of Applications and Virtual Machines, and enabling Data Deduplication features to reduce the overall footprint of your data.  Alongside these cost reducing features are the ability to utilize flexible networking  with Windows Server 2012 R2 and System Center 2012 R2 Virtual Machine Manager.  This allows you to more easily manipulate the network layer without investing heavily in hardware, and extend to the Azure more easily than before.</a:t>
            </a:r>
          </a:p>
          <a:p>
            <a:r>
              <a:rPr lang="en-US" dirty="0" smtClean="0">
                <a:effectLst/>
              </a:rPr>
              <a:t> </a:t>
            </a:r>
          </a:p>
          <a:p>
            <a:r>
              <a:rPr lang="en-US" b="1" dirty="0" smtClean="0">
                <a:effectLst/>
              </a:rPr>
              <a:t>The Contoso Story:</a:t>
            </a:r>
            <a:endParaRPr lang="en-US" dirty="0" smtClean="0">
              <a:effectLst/>
            </a:endParaRPr>
          </a:p>
          <a:p>
            <a:r>
              <a:rPr lang="en-US" dirty="0" smtClean="0">
                <a:effectLst/>
              </a:rPr>
              <a:t>Richard has begun to transform his datacenter by moving to Windows Server 2012 R2, System Center 2012 R2, and SQL Server 2012, but has found that large amounts of his storage are at risk of a single point of failure.  He has also noted than much of his on premise storage is comprised of files shared between many business units in document libraries and software repositories.  He has also been informed that there is no current budget to increase the on premise storage capacity.  He needs to reduce the risk of data loss by pooling the disk already on premise, and improve the density of that storage through data deduplication.</a:t>
            </a:r>
          </a:p>
          <a:p>
            <a:r>
              <a:rPr lang="en-US" dirty="0" smtClean="0">
                <a:effectLst/>
              </a:rPr>
              <a:t>Richard also needs to implement Logical networks to better segregate and control the development and test environments hosted on premise and in Microsoft Azure.  He has also recognized the need to manage the bandwidth to a specific application which has been identified to be over utilizing the outbound Internet connection to the detriment of other applications and services.  Richard decides to implement Port Classifications and Network Virtualization to alleviate these issues.</a:t>
            </a:r>
          </a:p>
          <a:p>
            <a:r>
              <a:rPr lang="en-US" dirty="0" smtClean="0">
                <a:effectLst/>
              </a:rPr>
              <a:t> </a:t>
            </a:r>
          </a:p>
          <a:p>
            <a:r>
              <a:rPr lang="en-US" b="1" dirty="0" smtClean="0">
                <a:effectLst/>
              </a:rPr>
              <a:t>Capabilities or Components Used in this Story</a:t>
            </a:r>
            <a:r>
              <a:rPr lang="en-US" dirty="0" smtClean="0">
                <a:effectLst/>
              </a:rPr>
              <a:t>:</a:t>
            </a:r>
          </a:p>
          <a:p>
            <a:r>
              <a:rPr lang="en-US" b="1" dirty="0" smtClean="0">
                <a:effectLst/>
              </a:rPr>
              <a:t>Windows Server 2012 R2</a:t>
            </a:r>
            <a:r>
              <a:rPr lang="en-US" dirty="0" smtClean="0">
                <a:effectLst/>
              </a:rPr>
              <a:t>: Hyper-V Manager, SMB 3.0, Data Deduplication, Storage Pooling, Tiered Storage, NIC Teaming</a:t>
            </a:r>
          </a:p>
          <a:p>
            <a:r>
              <a:rPr lang="en-US" b="1" dirty="0" smtClean="0">
                <a:effectLst/>
              </a:rPr>
              <a:t>System Center 2012 R2</a:t>
            </a:r>
            <a:r>
              <a:rPr lang="en-US" dirty="0" smtClean="0">
                <a:effectLst/>
              </a:rPr>
              <a:t>: Virtual Machine Manager, Network Virtualization, Port Classification</a:t>
            </a:r>
          </a:p>
          <a:p>
            <a:r>
              <a:rPr lang="en-US" b="1" dirty="0" smtClean="0">
                <a:effectLst/>
              </a:rPr>
              <a:t>SQL Server 2012</a:t>
            </a:r>
            <a:r>
              <a:rPr lang="en-US" dirty="0" smtClean="0">
                <a:effectLst/>
              </a:rPr>
              <a:t>: Not Highlighted in this Story</a:t>
            </a:r>
          </a:p>
          <a:p>
            <a:r>
              <a:rPr lang="en-US" b="1" dirty="0" smtClean="0">
                <a:effectLst/>
              </a:rPr>
              <a:t>Microsoft Azure</a:t>
            </a:r>
            <a:r>
              <a:rPr lang="en-US" dirty="0" smtClean="0">
                <a:effectLst/>
              </a:rPr>
              <a:t>: Not highlighted in this Story</a:t>
            </a:r>
          </a:p>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396725679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smtClean="0"/>
              <a:t>Goal of the slide</a:t>
            </a:r>
          </a:p>
          <a:p>
            <a:pPr>
              <a:defRPr/>
            </a:pPr>
            <a:r>
              <a:rPr lang="en-US" dirty="0" smtClean="0"/>
              <a:t>Click down on Server Application Virtualization (SAV), a game-changing technology that is part of System Center 2012 Virtual Machine Manager.</a:t>
            </a:r>
          </a:p>
          <a:p>
            <a:pPr>
              <a:defRPr/>
            </a:pPr>
            <a:endParaRPr lang="en-US" b="1" dirty="0" smtClean="0"/>
          </a:p>
          <a:p>
            <a:pPr>
              <a:defRPr/>
            </a:pPr>
            <a:r>
              <a:rPr lang="en-US" b="1" dirty="0" smtClean="0"/>
              <a:t>Talking points </a:t>
            </a:r>
          </a:p>
          <a:p>
            <a:pPr>
              <a:defRPr/>
            </a:pPr>
            <a:r>
              <a:rPr lang="en-US" dirty="0" smtClean="0"/>
              <a:t>SAV dramatically simplifies maintaining standardized application services in your private cloud. SAV optimizes your applications (including a subset of existing applications) for private-cloud deployments with sequenced state separation between the application and underlying virtual infrastructure. Further, it dramatically simplifies upgrades and maintenance with image-based configuration and management techniques that reduce administrative effort and expense.</a:t>
            </a:r>
          </a:p>
          <a:p>
            <a:pPr>
              <a:defRPr/>
            </a:pPr>
            <a:endParaRPr lang="en-US" dirty="0" smtClean="0"/>
          </a:p>
          <a:p>
            <a:pPr>
              <a:defRPr/>
            </a:pPr>
            <a:r>
              <a:rPr lang="en-US" dirty="0" smtClean="0"/>
              <a:t>It might be good to pick one application and OS combination in your organization that meets the SAV pre-requisites listed below (scroll down).</a:t>
            </a:r>
          </a:p>
          <a:p>
            <a:pPr>
              <a:defRPr/>
            </a:pPr>
            <a:endParaRPr lang="en-US" b="1" dirty="0" smtClean="0"/>
          </a:p>
          <a:p>
            <a:pPr>
              <a:defRPr/>
            </a:pPr>
            <a:r>
              <a:rPr lang="en-US" b="1" dirty="0" smtClean="0"/>
              <a:t>&lt;Click&gt;</a:t>
            </a:r>
            <a:r>
              <a:rPr lang="en-US" dirty="0" smtClean="0"/>
              <a:t> Let’s look at a scenario in which you can update the business logic–tier of a three-tier application using image-based updates to a previously deployed application service. An image-based approach is where one or more new virtual instances (or VMs) are created, typically from an updated virtual image. Virtual Machine Manager moves the running application into these new VMs, and shuts down any VMs that the application was previously running.</a:t>
            </a:r>
          </a:p>
          <a:p>
            <a:pPr>
              <a:defRPr/>
            </a:pPr>
            <a:endParaRPr lang="en-US" b="1" dirty="0" smtClean="0"/>
          </a:p>
          <a:p>
            <a:pPr>
              <a:defRPr/>
            </a:pPr>
            <a:r>
              <a:rPr lang="en-US" b="1" dirty="0" smtClean="0"/>
              <a:t>&lt;Click&gt;</a:t>
            </a:r>
            <a:r>
              <a:rPr lang="en-US" dirty="0" smtClean="0"/>
              <a:t> Let’s say we need to update the middle-tier business logic of a running application, so we must install the application’s code in the new VM. This should be pretty straightforward if the application maintains no state within its VM. But applications often make local changes within their VMs, such as modifying the Windows registry or relying on local configuration files. So moving the application successfully to a new VM might require moving this state as well.</a:t>
            </a:r>
          </a:p>
          <a:p>
            <a:pPr>
              <a:defRPr/>
            </a:pPr>
            <a:endParaRPr lang="en-US" dirty="0" smtClean="0"/>
          </a:p>
          <a:p>
            <a:pPr>
              <a:defRPr/>
            </a:pPr>
            <a:r>
              <a:rPr lang="en-US" dirty="0" smtClean="0"/>
              <a:t>Virtual Machine Manager can accomplish this by wrapping the application code in an SAV package. Through sequencing, SAV can detect and track any local-state changes the application makes. When the running application is moved into a new VM, the SAV package moves its current state as well, including registry changes and configuration files. </a:t>
            </a:r>
          </a:p>
          <a:p>
            <a:pPr>
              <a:defRPr/>
            </a:pPr>
            <a:endParaRPr lang="en-US" dirty="0" smtClean="0"/>
          </a:p>
          <a:p>
            <a:pPr>
              <a:defRPr/>
            </a:pPr>
            <a:r>
              <a:rPr lang="en-US" dirty="0" smtClean="0"/>
              <a:t>Because image-based updates can install a new VM image beneath a running application, it allows a separation of applications and VM images. This eliminates the need to have a separate VM image for each application that uses that image. Instead, an organization might choose to use the same small set of VM images for many applications, combining them as needed with service templates. Managing fewer VM images is simpler, cheaper, and less error-prone.</a:t>
            </a:r>
          </a:p>
          <a:p>
            <a:pPr>
              <a:defRPr/>
            </a:pPr>
            <a:endParaRPr lang="en-US" dirty="0" smtClean="0"/>
          </a:p>
          <a:p>
            <a:pPr>
              <a:defRPr/>
            </a:pPr>
            <a:r>
              <a:rPr lang="en-US" b="1" dirty="0" smtClean="0"/>
              <a:t>&lt;Click&gt; </a:t>
            </a:r>
            <a:r>
              <a:rPr lang="en-US" dirty="0" smtClean="0"/>
              <a:t>SAV supports application components belonging to the .NET and Java application frameworks as long as they meet the pre-requisites. See additional details on what’s supported (and what’s not) in System Center 2012 by scrolling down to the FAQ section below.</a:t>
            </a:r>
          </a:p>
          <a:p>
            <a:pPr>
              <a:defRPr/>
            </a:pPr>
            <a:r>
              <a:rPr lang="en-US" b="1" dirty="0" smtClean="0"/>
              <a:t>_______________________________________________________________________________</a:t>
            </a:r>
          </a:p>
          <a:p>
            <a:pPr>
              <a:defRPr/>
            </a:pPr>
            <a:r>
              <a:rPr lang="en-US" b="1" dirty="0" smtClean="0"/>
              <a:t>Server Application Virtualization FAQ </a:t>
            </a:r>
          </a:p>
          <a:p>
            <a:pPr>
              <a:defRPr/>
            </a:pPr>
            <a:endParaRPr lang="en-US" b="1" dirty="0" smtClean="0"/>
          </a:p>
          <a:p>
            <a:pPr>
              <a:defRPr/>
            </a:pPr>
            <a:r>
              <a:rPr lang="en-US" b="1" dirty="0" smtClean="0"/>
              <a:t>What is Microsoft Server Application Virtualization (SAV)?   </a:t>
            </a:r>
          </a:p>
          <a:p>
            <a:pPr>
              <a:defRPr/>
            </a:pPr>
            <a:r>
              <a:rPr lang="en-US" dirty="0" smtClean="0"/>
              <a:t>SAV is conceptually similar to the Client Application Virtualization solutions that Microsoft’s customers have been using for some time now as part of MDOP. SAV is a packaging technology that helps customers optimize existing data center operations by logically abstracting applications from the underlying infrastructure. SAV enables customers to separate the application configuration and state from the underlying operating system and achieves this abstraction without requiring changes to application code.</a:t>
            </a:r>
          </a:p>
          <a:p>
            <a:pPr>
              <a:defRPr/>
            </a:pPr>
            <a:endParaRPr lang="en-US" b="1" dirty="0" smtClean="0"/>
          </a:p>
          <a:p>
            <a:pPr>
              <a:defRPr/>
            </a:pPr>
            <a:r>
              <a:rPr lang="en-US" b="1" dirty="0" smtClean="0"/>
              <a:t>How does SAV work?</a:t>
            </a:r>
          </a:p>
          <a:p>
            <a:pPr>
              <a:defRPr/>
            </a:pPr>
            <a:r>
              <a:rPr lang="en-US" dirty="0" smtClean="0"/>
              <a:t>SAV packages server applications into “</a:t>
            </a:r>
            <a:r>
              <a:rPr lang="en-US" dirty="0" err="1" smtClean="0"/>
              <a:t>XCopyable</a:t>
            </a:r>
            <a:r>
              <a:rPr lang="en-US" dirty="0" smtClean="0"/>
              <a:t>” images, which can then be easily and efficiently deployed and started using Virtual Machine Manager for System Center 2012 without an installation process. SAV offers a sequencer to abstract the application from the operating system thereby enabling IT organizations to maintain fewer application and OS images resulting in reduced updating and maintenance.</a:t>
            </a:r>
          </a:p>
          <a:p>
            <a:pPr>
              <a:defRPr/>
            </a:pPr>
            <a:endParaRPr lang="en-US" b="1" dirty="0" smtClean="0"/>
          </a:p>
          <a:p>
            <a:pPr>
              <a:defRPr/>
            </a:pPr>
            <a:r>
              <a:rPr lang="en-US" b="1" dirty="0" smtClean="0"/>
              <a:t>Why should you care about SAV?</a:t>
            </a:r>
          </a:p>
          <a:p>
            <a:pPr>
              <a:defRPr/>
            </a:pPr>
            <a:r>
              <a:rPr lang="en-US" dirty="0" smtClean="0"/>
              <a:t>SAV is a crucial piece of technology to enable the private cloud:</a:t>
            </a:r>
          </a:p>
          <a:p>
            <a:pPr>
              <a:defRPr/>
            </a:pPr>
            <a:endParaRPr lang="en-US" b="1" i="1" dirty="0" smtClean="0"/>
          </a:p>
          <a:p>
            <a:pPr marL="228600" indent="-228600">
              <a:buFontTx/>
              <a:buAutoNum type="arabicPeriod"/>
              <a:defRPr/>
            </a:pPr>
            <a:r>
              <a:rPr lang="en-US" b="1" i="1" dirty="0" smtClean="0"/>
              <a:t>Unlocks significant benefits for our customers</a:t>
            </a:r>
            <a:endParaRPr lang="en-US" dirty="0" smtClean="0"/>
          </a:p>
          <a:p>
            <a:pPr marL="685800" lvl="1" indent="-228600">
              <a:buFont typeface="Arial" pitchFamily="34" charset="0"/>
              <a:buChar char="•"/>
              <a:defRPr/>
            </a:pPr>
            <a:r>
              <a:rPr lang="en-US" dirty="0" smtClean="0"/>
              <a:t>Works for existing applications—Customers can deploy a sub-set of existing application components in private-cloud environments without necessarily having to rewrite or </a:t>
            </a:r>
            <a:r>
              <a:rPr lang="en-US" dirty="0" err="1" smtClean="0"/>
              <a:t>rearchitect</a:t>
            </a:r>
            <a:r>
              <a:rPr lang="en-US" dirty="0" smtClean="0"/>
              <a:t> those application components. Since the application is abstracted from the infrastructure, you could think of SAV as a bridge to unlock application mobility across private clouds and public clouds (for example, Microsoft Azure).</a:t>
            </a:r>
          </a:p>
          <a:p>
            <a:pPr marL="685800" lvl="1" indent="-228600">
              <a:buFont typeface="Arial" pitchFamily="34" charset="0"/>
              <a:buChar char="•"/>
              <a:defRPr/>
            </a:pPr>
            <a:r>
              <a:rPr lang="en-US" dirty="0" smtClean="0"/>
              <a:t>Comprehensive application and infrastructure manageability—SAV simplifies provisioning, deployment, and servicing by enabling image-based management techniques.  </a:t>
            </a:r>
          </a:p>
          <a:p>
            <a:pPr marL="685800" lvl="1" indent="-228600">
              <a:buFont typeface="Arial" pitchFamily="34" charset="0"/>
              <a:buChar char="•"/>
              <a:defRPr/>
            </a:pPr>
            <a:r>
              <a:rPr lang="en-US" dirty="0" smtClean="0"/>
              <a:t>Dramatically reduce operational expense—Maintaining fewer application and OS images requires reduced administrative effort.</a:t>
            </a:r>
          </a:p>
          <a:p>
            <a:pPr>
              <a:defRPr/>
            </a:pPr>
            <a:endParaRPr lang="en-US" b="1" i="1" dirty="0" smtClean="0"/>
          </a:p>
          <a:p>
            <a:pPr>
              <a:defRPr/>
            </a:pPr>
            <a:r>
              <a:rPr lang="en-US" b="1" i="1" dirty="0" smtClean="0"/>
              <a:t>2. Strong proof point to our private cloud and System Center 2012 message</a:t>
            </a:r>
            <a:r>
              <a:rPr lang="en-US" dirty="0" smtClean="0"/>
              <a:t> </a:t>
            </a:r>
          </a:p>
          <a:p>
            <a:pPr>
              <a:defRPr/>
            </a:pPr>
            <a:r>
              <a:rPr lang="en-US" dirty="0" smtClean="0"/>
              <a:t>SAV technology is a strong supporting proof point to Microsoft’s “service-centric” approach to private and public cloud management. By providing customers with a bridging technology to deploy and manage applications across private and public clouds, SAV strongly amplifies the message we’re trying to land with the System Center 2012 releases. </a:t>
            </a:r>
          </a:p>
          <a:p>
            <a:pPr>
              <a:defRPr/>
            </a:pPr>
            <a:endParaRPr lang="en-US" b="1" i="1" dirty="0" smtClean="0"/>
          </a:p>
          <a:p>
            <a:pPr>
              <a:defRPr/>
            </a:pPr>
            <a:r>
              <a:rPr lang="en-US" b="1" i="1" dirty="0" smtClean="0"/>
              <a:t>3. Strong VMware differentiation</a:t>
            </a:r>
            <a:r>
              <a:rPr lang="en-US" dirty="0" smtClean="0"/>
              <a:t> </a:t>
            </a:r>
          </a:p>
          <a:p>
            <a:pPr>
              <a:defRPr/>
            </a:pPr>
            <a:r>
              <a:rPr lang="en-US" dirty="0" smtClean="0"/>
              <a:t>VMware does not have equivalent technology as they don’t have the deep understanding of application and service models like Microsoft.</a:t>
            </a:r>
          </a:p>
          <a:p>
            <a:pPr>
              <a:defRPr/>
            </a:pPr>
            <a:endParaRPr lang="en-US" b="1" dirty="0" smtClean="0"/>
          </a:p>
          <a:p>
            <a:pPr>
              <a:defRPr/>
            </a:pPr>
            <a:r>
              <a:rPr lang="en-US" b="1" dirty="0" smtClean="0"/>
              <a:t>Q. What application types and components are supported by SAV in System Center 2012?</a:t>
            </a:r>
          </a:p>
          <a:p>
            <a:pPr>
              <a:defRPr/>
            </a:pPr>
            <a:r>
              <a:rPr lang="en-US" b="1" i="1" dirty="0" smtClean="0"/>
              <a:t>OS support</a:t>
            </a:r>
          </a:p>
          <a:p>
            <a:pPr>
              <a:defRPr/>
            </a:pPr>
            <a:r>
              <a:rPr lang="en-US" dirty="0" smtClean="0"/>
              <a:t>SAV supports server OS platforms only. Both x86 (where applicable) and x64 versions of Windows Server 2003, Windows Server 2008, and Windows Server 2008 R2 are supported. All editions are supported with one exception—the Server Core edition is supported for Windows Server 2008 R2 only.</a:t>
            </a:r>
          </a:p>
          <a:p>
            <a:pPr>
              <a:defRPr/>
            </a:pPr>
            <a:r>
              <a:rPr lang="en-US" dirty="0" smtClean="0"/>
              <a:t> </a:t>
            </a:r>
          </a:p>
          <a:p>
            <a:pPr>
              <a:defRPr/>
            </a:pPr>
            <a:r>
              <a:rPr lang="en-US" b="1" i="1" dirty="0" smtClean="0"/>
              <a:t>Application virtualization support</a:t>
            </a:r>
            <a:r>
              <a:rPr lang="en-US" i="1" dirty="0" smtClean="0"/>
              <a:t> </a:t>
            </a:r>
          </a:p>
          <a:p>
            <a:pPr>
              <a:defRPr/>
            </a:pPr>
            <a:r>
              <a:rPr lang="en-US" b="1" dirty="0" smtClean="0"/>
              <a:t>IIS</a:t>
            </a:r>
            <a:r>
              <a:rPr lang="en-US" dirty="0" smtClean="0"/>
              <a:t>—SAV supports applications that install web sites, virtual directories, and application pools. With SAV, you can easily virtualize applications that create these components on IIS 6.0, IIS 7.0, and IIS 7.5.</a:t>
            </a:r>
          </a:p>
          <a:p>
            <a:pPr>
              <a:defRPr/>
            </a:pPr>
            <a:r>
              <a:rPr lang="en-US" b="1" dirty="0" smtClean="0"/>
              <a:t>Windows Services</a:t>
            </a:r>
            <a:r>
              <a:rPr lang="en-US" dirty="0" smtClean="0"/>
              <a:t>—Many server applications install Windows services. With SAV, you can sequence an application which creates Windows services. When a virtual package is deployed to a server, you will see the same services in the Windows Service Control manager as you would see with a native installation of the application.</a:t>
            </a:r>
          </a:p>
          <a:p>
            <a:pPr>
              <a:defRPr/>
            </a:pPr>
            <a:r>
              <a:rPr lang="en-US" b="1" dirty="0" smtClean="0"/>
              <a:t>COM/DCOM/COM+</a:t>
            </a:r>
            <a:r>
              <a:rPr lang="en-US" dirty="0" smtClean="0"/>
              <a:t>—SAV Sequencer captures COM/DCOM/COM+ components created by the application installer. These components are registered during deployment time so that they can be consumed by other applications or processes. You can also see these components with tools such as </a:t>
            </a:r>
            <a:r>
              <a:rPr lang="en-US" dirty="0" err="1" smtClean="0"/>
              <a:t>dcomcnfg</a:t>
            </a:r>
            <a:r>
              <a:rPr lang="en-US" dirty="0" smtClean="0"/>
              <a:t>.</a:t>
            </a:r>
          </a:p>
          <a:p>
            <a:pPr>
              <a:defRPr/>
            </a:pPr>
            <a:r>
              <a:rPr lang="en-US" b="1" dirty="0" smtClean="0"/>
              <a:t>WMI</a:t>
            </a:r>
            <a:r>
              <a:rPr lang="en-US" dirty="0" smtClean="0"/>
              <a:t>—Many data center applications create WMI components, such as WMI providers or classes during the application installation. With an SAV virtualized package, you won’t miss any of these components when the package is deployed!</a:t>
            </a:r>
          </a:p>
          <a:p>
            <a:pPr>
              <a:defRPr/>
            </a:pPr>
            <a:r>
              <a:rPr lang="en-US" b="1" dirty="0" smtClean="0"/>
              <a:t>Local users and Groups</a:t>
            </a:r>
            <a:r>
              <a:rPr lang="en-US" dirty="0" smtClean="0"/>
              <a:t>—Unlike desktop applications, it is common for data center applications to create local users or groups as part of the installation process. Many files also contain references to user or group security IDs to restrict access to certain users and groups. SAV is capable of capturing local users and groups created during sequencing of the application and recreating them at deployment time. Any references to the SIDs are also maintained automatically.</a:t>
            </a:r>
          </a:p>
          <a:p>
            <a:pPr>
              <a:defRPr/>
            </a:pPr>
            <a:r>
              <a:rPr lang="en-US" b="1" dirty="0" smtClean="0"/>
              <a:t>SSRS</a:t>
            </a:r>
            <a:r>
              <a:rPr lang="en-US" dirty="0" smtClean="0"/>
              <a:t>—In SAV, we built a special component to handle the virtualization of applications that install SQL Services Reporting Services as part of the installation process. Therefore, if your application uses SSRS, you can use SAV to virtualize it!</a:t>
            </a:r>
          </a:p>
          <a:p>
            <a:pPr>
              <a:defRPr/>
            </a:pPr>
            <a:r>
              <a:rPr lang="en-US" dirty="0" smtClean="0"/>
              <a:t> </a:t>
            </a:r>
          </a:p>
          <a:p>
            <a:pPr>
              <a:defRPr/>
            </a:pPr>
            <a:r>
              <a:rPr lang="en-US" b="1" i="1" dirty="0" smtClean="0"/>
              <a:t>Does not support applications that install the following components</a:t>
            </a:r>
            <a:endParaRPr lang="en-US" i="1" dirty="0" smtClean="0"/>
          </a:p>
          <a:p>
            <a:pPr>
              <a:defRPr/>
            </a:pPr>
            <a:r>
              <a:rPr lang="en-US" b="1" dirty="0" smtClean="0"/>
              <a:t>Drivers</a:t>
            </a:r>
            <a:r>
              <a:rPr lang="en-US" dirty="0" smtClean="0"/>
              <a:t>—If your application installs drivers, SAV won’t install the drivers on deployment machines. Some applications have drivers that are installable separately. If this is the case for your application, you can install the driver first and then sequence the application with SAV sequencer. Before you deploy the package, you should also install the driver to the deployment servers.</a:t>
            </a:r>
          </a:p>
          <a:p>
            <a:pPr>
              <a:defRPr/>
            </a:pPr>
            <a:r>
              <a:rPr lang="en-US" b="1" dirty="0" smtClean="0"/>
              <a:t>SharePoint</a:t>
            </a:r>
            <a:r>
              <a:rPr lang="en-US" dirty="0" smtClean="0"/>
              <a:t>—SAV does not support virtualization of SharePoint or virtualization of an application that installs SharePoint as part of the installation process. If your application uses SharePoint, check if it can connect to an external SharePoint server. If so, you can virtualize the application without installing SharePoint during the sequencing process. </a:t>
            </a:r>
          </a:p>
          <a:p>
            <a:pPr>
              <a:defRPr/>
            </a:pPr>
            <a:r>
              <a:rPr lang="en-US" b="1" dirty="0" smtClean="0"/>
              <a:t>SQL Server</a:t>
            </a:r>
            <a:r>
              <a:rPr lang="en-US" dirty="0" smtClean="0"/>
              <a:t>—SAV does not support SQL Server virtualization. If your application requires SQL Server, you will need to point the installer to a previously deployed SQL Server instance on another machine during sequencing time and update the deployment configuration information to point to an appropriate (again, previously deployed) instance at deployment time. </a:t>
            </a:r>
          </a:p>
          <a:p>
            <a:pPr>
              <a:defRPr/>
            </a:pPr>
            <a:endParaRPr lang="en-US" b="1" dirty="0" smtClean="0"/>
          </a:p>
          <a:p>
            <a:pPr>
              <a:defRPr/>
            </a:pPr>
            <a:r>
              <a:rPr lang="en-US" b="1" dirty="0" smtClean="0"/>
              <a:t>Can SAV enable customers to seamlessly migrate applications between their private cloud and public cloud (such as Microsoft Azure)?</a:t>
            </a:r>
          </a:p>
          <a:p>
            <a:pPr>
              <a:defRPr/>
            </a:pPr>
            <a:r>
              <a:rPr lang="en-US" dirty="0" smtClean="0"/>
              <a:t>Not today. Most customers tell us that mobility of applications within their on-premises private cloud is their top priority. We’ve enabled that in a significant way with Virtual Machine Manager for System Center 2012, which has application and service modeling capabilities that take advantage of SAV technology. We will continue to take customer and market feedback to engineer mobility between private and public clouds for a broad set of server applications. To be clear, no company offers seamless mobility across clouds for server applications today—VMware might claim mobility, but they essentially move VMs around (with no understanding of application state or service models as mentioned above). </a:t>
            </a:r>
          </a:p>
          <a:p>
            <a:pPr>
              <a:defRPr/>
            </a:pPr>
            <a:endParaRPr lang="en-US" b="1" dirty="0" smtClean="0"/>
          </a:p>
          <a:p>
            <a:pPr>
              <a:defRPr/>
            </a:pPr>
            <a:r>
              <a:rPr lang="en-US" b="1" dirty="0" smtClean="0"/>
              <a:t>How can customers access SAV? </a:t>
            </a:r>
          </a:p>
          <a:p>
            <a:pPr>
              <a:defRPr/>
            </a:pPr>
            <a:r>
              <a:rPr lang="en-US" dirty="0" smtClean="0"/>
              <a:t>We’re shipping SAV as part of System Center 2012 Virtual Machine Manager. In December 2010, we also announced a private, by-invitation-only SAV CTP for Microsoft Azure. In this way, we’re making the same underlying packaging and sequencing technology available for both private and public cloud scenarios, which is consistent with our “common management” vision. We will update you as soon as additional details are available.</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2C91B0-451A-4B33-8CF6-5F449C330BB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298295386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The datacenter is in a continual state of change. Today </a:t>
            </a:r>
            <a:r>
              <a:rPr lang="en-US" dirty="0" err="1" smtClean="0">
                <a:effectLst/>
              </a:rPr>
              <a:t>organisations</a:t>
            </a:r>
            <a:r>
              <a:rPr lang="en-US" dirty="0" smtClean="0">
                <a:effectLst/>
              </a:rPr>
              <a:t> are transitioning from legacy physical and virtual infrastructure to cloud infrastructure. It is important that during this transition IT can continue to leverage the investment already made, extend the lifespan of legacy hardware while also reducing management tool sprawl. Using Windows Server 2012 R2 and System Center 2012 R2, your </a:t>
            </a:r>
            <a:r>
              <a:rPr lang="en-US" dirty="0" err="1" smtClean="0">
                <a:effectLst/>
              </a:rPr>
              <a:t>organisation</a:t>
            </a:r>
            <a:r>
              <a:rPr lang="en-US" dirty="0" smtClean="0">
                <a:effectLst/>
              </a:rPr>
              <a:t> can continue to operate throughout this transition without compromising the quality of service provided to users and application owners. IT can also leverage a common management platform that provides deep integration into your Legacy, Private Cloud, Azure Infrastructure and Service Provider's Infrastructure. </a:t>
            </a:r>
          </a:p>
          <a:p>
            <a:r>
              <a:rPr lang="en-US" dirty="0" smtClean="0">
                <a:effectLst/>
              </a:rPr>
              <a:t> </a:t>
            </a:r>
          </a:p>
          <a:p>
            <a:r>
              <a:rPr lang="en-US" b="1" dirty="0" smtClean="0">
                <a:effectLst/>
              </a:rPr>
              <a:t>The Contoso Story: </a:t>
            </a:r>
            <a:endParaRPr lang="en-US" dirty="0" smtClean="0">
              <a:effectLst/>
            </a:endParaRPr>
          </a:p>
          <a:p>
            <a:r>
              <a:rPr lang="en-US" dirty="0" smtClean="0">
                <a:effectLst/>
              </a:rPr>
              <a:t>Richard manages a datacenter that is on the transition path to Cloud </a:t>
            </a:r>
            <a:r>
              <a:rPr lang="en-US" sz="900" dirty="0" smtClean="0">
                <a:ea typeface="Times New Roman" panose="02020603050405020304" pitchFamily="18" charset="0"/>
                <a:cs typeface="Times New Roman" panose="02020603050405020304" pitchFamily="18" charset="0"/>
              </a:rPr>
              <a:t>Platform</a:t>
            </a:r>
            <a:r>
              <a:rPr lang="en-US" dirty="0" smtClean="0">
                <a:effectLst/>
              </a:rPr>
              <a:t>. He has new and Legacy Infrastructure side by side. Using Windows Virtual Machine Manager Richard is able to manage multiple Operating Systems, and Hypervisors without the need to use multiple management tools. He is able to configure and deploy both his Windows and Linux servers in much the same way. </a:t>
            </a:r>
          </a:p>
          <a:p>
            <a:r>
              <a:rPr lang="en-US" dirty="0" smtClean="0">
                <a:effectLst/>
              </a:rPr>
              <a:t>In the following scenarios Richard is using Virtual Machine Manager's native support for both Windows and Linux virtual machines. Using the Dynamic Memory feature Richard is able to set minimum and maximum memory thresholds that dynamically scale memory usage as needed, providing high density computing without high cost. Also using Virtual Machine Manager Richard is able to move virtual machine workloads between VMware and Hyper-V hypervisors and by doing so Richard is able to reduce his hypervisor spend. </a:t>
            </a:r>
          </a:p>
          <a:p>
            <a:r>
              <a:rPr lang="en-US" dirty="0" smtClean="0">
                <a:effectLst/>
              </a:rPr>
              <a:t> </a:t>
            </a:r>
          </a:p>
          <a:p>
            <a:r>
              <a:rPr lang="en-US" b="1" dirty="0" smtClean="0">
                <a:effectLst/>
              </a:rPr>
              <a:t>Capabilities or Components Used in this Story</a:t>
            </a:r>
            <a:r>
              <a:rPr lang="en-US" dirty="0" smtClean="0">
                <a:effectLst/>
              </a:rPr>
              <a:t>:</a:t>
            </a:r>
          </a:p>
          <a:p>
            <a:r>
              <a:rPr lang="en-US" b="1" dirty="0" smtClean="0">
                <a:effectLst/>
              </a:rPr>
              <a:t>Windows Server 2012 R2</a:t>
            </a:r>
            <a:r>
              <a:rPr lang="en-US" dirty="0" smtClean="0">
                <a:effectLst/>
              </a:rPr>
              <a:t>: Hyper-V Manager, Dynamic Memory for Windows Guests, Dynamic Memory for Linux Guests</a:t>
            </a:r>
          </a:p>
          <a:p>
            <a:r>
              <a:rPr lang="en-US" b="1" dirty="0" smtClean="0">
                <a:effectLst/>
              </a:rPr>
              <a:t>System Center 2012 R2</a:t>
            </a:r>
            <a:r>
              <a:rPr lang="en-US" dirty="0" smtClean="0">
                <a:effectLst/>
              </a:rPr>
              <a:t>: Virtual Machine Manager, Virtual Machine to Virtual Machine (V2V) Converter, VMware </a:t>
            </a:r>
            <a:r>
              <a:rPr lang="en-US" dirty="0" err="1" smtClean="0">
                <a:effectLst/>
              </a:rPr>
              <a:t>vCenter</a:t>
            </a:r>
            <a:r>
              <a:rPr lang="en-US" dirty="0" smtClean="0">
                <a:effectLst/>
              </a:rPr>
              <a:t> Management</a:t>
            </a:r>
          </a:p>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3</a:t>
            </a:fld>
            <a:endParaRPr lang="en-US" dirty="0">
              <a:solidFill>
                <a:prstClr val="black"/>
              </a:solidFill>
            </a:endParaRPr>
          </a:p>
        </p:txBody>
      </p:sp>
    </p:spTree>
    <p:extLst>
      <p:ext uri="{BB962C8B-B14F-4D97-AF65-F5344CB8AC3E}">
        <p14:creationId xmlns:p14="http://schemas.microsoft.com/office/powerpoint/2010/main" val="427706198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effectLst/>
              </a:rPr>
              <a:t>Reduce cost, increase operational efficiencies and deliver at scale with self-service and automated request </a:t>
            </a:r>
            <a:r>
              <a:rPr lang="en-US" dirty="0" err="1" smtClean="0">
                <a:effectLst/>
              </a:rPr>
              <a:t>fullfilment</a:t>
            </a:r>
            <a:r>
              <a:rPr lang="en-US" dirty="0" smtClean="0">
                <a:effectLst/>
              </a:rPr>
              <a:t> and remediation.</a:t>
            </a:r>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934907-477C-4893-B2D0-50FA0533CC2B}" type="datetime1">
              <a:rPr lang="en-US" smtClean="0">
                <a:solidFill>
                  <a:prstClr val="black"/>
                </a:solidFill>
              </a:rPr>
              <a:pPr/>
              <a:t>8/1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4</a:t>
            </a:fld>
            <a:endParaRPr lang="en-US" dirty="0">
              <a:solidFill>
                <a:prstClr val="black"/>
              </a:solidFill>
            </a:endParaRPr>
          </a:p>
        </p:txBody>
      </p:sp>
    </p:spTree>
    <p:extLst>
      <p:ext uri="{BB962C8B-B14F-4D97-AF65-F5344CB8AC3E}">
        <p14:creationId xmlns:p14="http://schemas.microsoft.com/office/powerpoint/2010/main" val="3211881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r>
              <a:rPr lang="en-US" sz="1224" dirty="0" smtClean="0">
                <a:ea typeface="+mn-ea"/>
                <a:cs typeface="+mn-cs"/>
              </a:rPr>
              <a:t>Land opening comments (i.e., welcome…)</a:t>
            </a:r>
            <a:endParaRPr lang="en-US" sz="1224" dirty="0">
              <a:ea typeface="+mn-ea"/>
              <a:cs typeface="+mn-cs"/>
            </a:endParaRPr>
          </a:p>
        </p:txBody>
      </p:sp>
      <p:sp>
        <p:nvSpPr>
          <p:cNvPr id="50179"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endParaRPr lang="en-US">
              <a:solidFill>
                <a:prstClr val="black"/>
              </a:solidFill>
              <a:latin typeface="Calibri" charset="0"/>
            </a:endParaRPr>
          </a:p>
        </p:txBody>
      </p:sp>
      <p:sp>
        <p:nvSpPr>
          <p:cNvPr id="5" name="Footer Placeholder 4"/>
          <p:cNvSpPr>
            <a:spLocks noGrp="1"/>
          </p:cNvSpPr>
          <p:nvPr>
            <p:ph type="ftr" sz="quarter" idx="4"/>
          </p:nvPr>
        </p:nvSpPr>
        <p:spPr>
          <a:xfrm>
            <a:off x="0" y="8829968"/>
            <a:ext cx="3037840" cy="466433"/>
          </a:xfrm>
        </p:spPr>
        <p:txBody>
          <a:bodyPr/>
          <a:lstStyle/>
          <a:p>
            <a:pPr defTabSz="931433"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3"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0181"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1B9FCD2C-BF89-CE43-B0C5-E338AFF8964B}" type="datetime1">
              <a:rPr lang="en-US">
                <a:solidFill>
                  <a:prstClr val="black"/>
                </a:solidFill>
                <a:latin typeface="Calibri" charset="0"/>
              </a:rPr>
              <a:pPr defTabSz="931863" fontAlgn="base">
                <a:spcBef>
                  <a:spcPct val="0"/>
                </a:spcBef>
                <a:spcAft>
                  <a:spcPct val="0"/>
                </a:spcAft>
              </a:pPr>
              <a:t>8/17/2015</a:t>
            </a:fld>
            <a:endParaRPr lang="en-US">
              <a:solidFill>
                <a:prstClr val="black"/>
              </a:solidFill>
              <a:latin typeface="Calibri" charset="0"/>
            </a:endParaRPr>
          </a:p>
        </p:txBody>
      </p:sp>
      <p:sp>
        <p:nvSpPr>
          <p:cNvPr id="50182"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B73383E0-103D-9C4E-B1C2-631A381FA193}" type="slidenum">
              <a:rPr lang="en-US">
                <a:solidFill>
                  <a:prstClr val="black"/>
                </a:solidFill>
                <a:latin typeface="Calibri" charset="0"/>
              </a:rPr>
              <a:pPr defTabSz="931863" fontAlgn="base">
                <a:spcBef>
                  <a:spcPct val="0"/>
                </a:spcBef>
                <a:spcAft>
                  <a:spcPct val="0"/>
                </a:spcAft>
              </a:pPr>
              <a:t>10</a:t>
            </a:fld>
            <a:endParaRPr lang="en-US">
              <a:solidFill>
                <a:prstClr val="black"/>
              </a:solidFill>
              <a:latin typeface="Calibri" charset="0"/>
            </a:endParaRPr>
          </a:p>
        </p:txBody>
      </p:sp>
    </p:spTree>
    <p:extLst>
      <p:ext uri="{BB962C8B-B14F-4D97-AF65-F5344CB8AC3E}">
        <p14:creationId xmlns:p14="http://schemas.microsoft.com/office/powerpoint/2010/main" val="113650499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2813" rtl="0" eaLnBrk="1" fontAlgn="base" latinLnBrk="0" hangingPunct="1">
              <a:lnSpc>
                <a:spcPct val="70000"/>
              </a:lnSpc>
              <a:spcBef>
                <a:spcPct val="0"/>
              </a:spcBef>
              <a:spcAft>
                <a:spcPts val="338"/>
              </a:spcAft>
              <a:buClrTx/>
              <a:buSzTx/>
              <a:buFontTx/>
              <a:buNone/>
              <a:tabLst/>
              <a:defRPr/>
            </a:pPr>
            <a:r>
              <a:rPr kumimoji="0" lang="en-US" sz="600" b="1" i="0" u="none" strike="noStrike" kern="1200" cap="none" spc="0" normalizeH="0" baseline="0" noProof="0" dirty="0" smtClean="0">
                <a:ln>
                  <a:noFill/>
                </a:ln>
                <a:solidFill>
                  <a:prstClr val="black"/>
                </a:solidFill>
                <a:effectLst/>
                <a:uLnTx/>
                <a:uFillTx/>
                <a:latin typeface="Segoe UI" pitchFamily="34" charset="0"/>
                <a:ea typeface="+mn-ea"/>
                <a:cs typeface="+mn-cs"/>
              </a:rPr>
              <a:t>Goal of this slide: Microsoft Azure </a:t>
            </a:r>
          </a:p>
          <a:p>
            <a:pPr marL="0" marR="0" lvl="0" indent="0" algn="l" defTabSz="912813" rtl="0" eaLnBrk="1" fontAlgn="base" latinLnBrk="0" hangingPunct="1">
              <a:lnSpc>
                <a:spcPct val="70000"/>
              </a:lnSpc>
              <a:spcBef>
                <a:spcPct val="0"/>
              </a:spcBef>
              <a:spcAft>
                <a:spcPts val="338"/>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pitchFamily="34" charset="0"/>
                <a:ea typeface="+mn-ea"/>
                <a:cs typeface="+mn-cs"/>
              </a:rPr>
              <a:t>Provide a high-level overview of strategic Cloud </a:t>
            </a:r>
            <a:r>
              <a:rPr lang="en-US" sz="800" dirty="0" smtClean="0">
                <a:ea typeface="Times New Roman" panose="02020603050405020304" pitchFamily="18" charset="0"/>
                <a:cs typeface="Times New Roman" panose="02020603050405020304" pitchFamily="18" charset="0"/>
              </a:rPr>
              <a:t>Platform</a:t>
            </a:r>
            <a:r>
              <a:rPr kumimoji="0" lang="en-US" sz="600" b="0" i="0" u="none" strike="noStrike" kern="1200" cap="none" spc="0" normalizeH="0" baseline="0" noProof="0" dirty="0" smtClean="0">
                <a:ln>
                  <a:noFill/>
                </a:ln>
                <a:solidFill>
                  <a:prstClr val="black"/>
                </a:solidFill>
                <a:effectLst/>
                <a:uLnTx/>
                <a:uFillTx/>
                <a:latin typeface="Segoe UI" pitchFamily="34" charset="0"/>
                <a:ea typeface="+mn-ea"/>
                <a:cs typeface="+mn-cs"/>
              </a:rPr>
              <a:t> scenarios enabled by System Center Alliance ISVs. Use this slide as needed.</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For the latest information on these partners and customer ready collateral go to http://tool.microsoftsca.co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F5: https://tool.microsoftsca.com/Partner/?id=38</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APC: https://tool.microsoftsca.com/Partner/?id=72</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Veeam: https://tool.microsoftsca.com/Partner/?id=7</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err="1" smtClean="0"/>
              <a:t>Comtrade</a:t>
            </a:r>
            <a:r>
              <a:rPr lang="en-US" sz="800" baseline="0" dirty="0" smtClean="0"/>
              <a:t>: https://tool.microsoftsca.com/Partner/?id=98</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Lieberman: https://tool.microsoftsca.com/Partner/?id=56</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5Nine: https://tool.microsoftsca.com/Partner/?id=587</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Iron Networks: TBD. Temporary: http://www.ironnetworks.com/aboutus/news/Iron-Networks-Announces-Windows-Server-2012-Network-Virtualization-Gateway-Appli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err="1" smtClean="0"/>
              <a:t>Opslogix</a:t>
            </a:r>
            <a:r>
              <a:rPr lang="en-US" sz="800" baseline="0" dirty="0" smtClean="0"/>
              <a:t>: https://tool.microsoftsca.com/Partner/?id=66</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8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8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8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800" dirty="0" smtClean="0"/>
          </a:p>
          <a:p>
            <a:pPr marL="0" marR="0" lvl="0" indent="0" algn="l" defTabSz="912813" rtl="0" eaLnBrk="1" fontAlgn="base" latinLnBrk="0" hangingPunct="1">
              <a:lnSpc>
                <a:spcPct val="70000"/>
              </a:lnSpc>
              <a:spcBef>
                <a:spcPct val="0"/>
              </a:spcBef>
              <a:spcAft>
                <a:spcPts val="338"/>
              </a:spcAft>
              <a:buClrTx/>
              <a:buSzTx/>
              <a:buFontTx/>
              <a:buNone/>
              <a:tabLst/>
              <a:defRPr/>
            </a:pPr>
            <a:endParaRPr kumimoji="0" lang="en-US" sz="6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912813" rtl="0" eaLnBrk="1" fontAlgn="base" latinLnBrk="0" hangingPunct="1">
              <a:lnSpc>
                <a:spcPct val="70000"/>
              </a:lnSpc>
              <a:spcBef>
                <a:spcPct val="0"/>
              </a:spcBef>
              <a:spcAft>
                <a:spcPts val="338"/>
              </a:spcAft>
              <a:buClrTx/>
              <a:buSzTx/>
              <a:buFontTx/>
              <a:buNone/>
              <a:tabLst/>
              <a:defRPr/>
            </a:pPr>
            <a:endParaRPr kumimoji="0" lang="en-US" sz="600" b="1"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912813" rtl="0" eaLnBrk="1" fontAlgn="base" latinLnBrk="0" hangingPunct="1">
              <a:lnSpc>
                <a:spcPct val="70000"/>
              </a:lnSpc>
              <a:spcBef>
                <a:spcPct val="0"/>
              </a:spcBef>
              <a:spcAft>
                <a:spcPts val="338"/>
              </a:spcAft>
              <a:buClrTx/>
              <a:buSzTx/>
              <a:buFontTx/>
              <a:buNone/>
              <a:tabLst/>
              <a:defRPr/>
            </a:pPr>
            <a:endParaRPr kumimoji="0" lang="en-US" sz="600" b="1"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912813" rtl="0" eaLnBrk="1" fontAlgn="base" latinLnBrk="0" hangingPunct="1">
              <a:lnSpc>
                <a:spcPct val="70000"/>
              </a:lnSpc>
              <a:spcBef>
                <a:spcPct val="0"/>
              </a:spcBef>
              <a:spcAft>
                <a:spcPts val="338"/>
              </a:spcAft>
              <a:buClrTx/>
              <a:buSzTx/>
              <a:buFontTx/>
              <a:buNone/>
              <a:tabLst/>
              <a:defRPr/>
            </a:pPr>
            <a:endParaRPr kumimoji="0" lang="en-US" sz="600" b="1"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912813" rtl="0" eaLnBrk="1" fontAlgn="base" latinLnBrk="0" hangingPunct="1">
              <a:lnSpc>
                <a:spcPct val="70000"/>
              </a:lnSpc>
              <a:spcBef>
                <a:spcPct val="0"/>
              </a:spcBef>
              <a:spcAft>
                <a:spcPts val="338"/>
              </a:spcAft>
              <a:buClrTx/>
              <a:buSzTx/>
              <a:buFontTx/>
              <a:buNone/>
              <a:tabLst/>
              <a:defRPr/>
            </a:pPr>
            <a:endParaRPr kumimoji="0" lang="en-US" sz="6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eaLnBrk="1" hangingPunct="1">
              <a:lnSpc>
                <a:spcPct val="70000"/>
              </a:lnSpc>
              <a:spcBef>
                <a:spcPct val="0"/>
              </a:spcBef>
            </a:pPr>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2C91B0-451A-4B33-8CF6-5F449C330BB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5</a:t>
            </a:fld>
            <a:endParaRPr lang="en-US" dirty="0">
              <a:solidFill>
                <a:prstClr val="black"/>
              </a:solidFill>
            </a:endParaRPr>
          </a:p>
        </p:txBody>
      </p:sp>
    </p:spTree>
    <p:extLst>
      <p:ext uri="{BB962C8B-B14F-4D97-AF65-F5344CB8AC3E}">
        <p14:creationId xmlns:p14="http://schemas.microsoft.com/office/powerpoint/2010/main" val="339514128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As you transform your datacenter, you can gain operational efficiencies and reduce costs through the use of self-service and automation.  Modern users demand that IT makes it easier to request resources and expect their requests to be fulfilled quickly and efficiently. You can design a self-service experience where your application owners and users can make requests for cloud resources while the datacenter admins can build automation that speeds up the fulfilment of requests and ensures that IT can maintain control of the environment.</a:t>
            </a:r>
          </a:p>
          <a:p>
            <a:r>
              <a:rPr lang="en-US" dirty="0" smtClean="0">
                <a:effectLst/>
              </a:rPr>
              <a:t> </a:t>
            </a:r>
          </a:p>
          <a:p>
            <a:r>
              <a:rPr lang="en-US" b="1" dirty="0" smtClean="0">
                <a:effectLst/>
              </a:rPr>
              <a:t>The Contoso Story:</a:t>
            </a:r>
            <a:r>
              <a:rPr lang="en-US" dirty="0" smtClean="0">
                <a:effectLst/>
              </a:rPr>
              <a:t/>
            </a:r>
            <a:br>
              <a:rPr lang="en-US" dirty="0" smtClean="0">
                <a:effectLst/>
              </a:rPr>
            </a:br>
            <a:r>
              <a:rPr lang="en-US" dirty="0" smtClean="0">
                <a:effectLst/>
              </a:rPr>
              <a:t>As Luis's team is preparing a new line of business application for global deployment. Richard is tasked with ensuring that his team can quickly assist Luis' team with any requests. Richard has created a self-service experience for Luis which allows Luis to request the desired resources when necessary. Once requested, Richard will use Service Manager Orchestrator to automate approved and request fulfilment on demand.</a:t>
            </a:r>
          </a:p>
          <a:p>
            <a:r>
              <a:rPr lang="en-US" dirty="0" smtClean="0">
                <a:effectLst/>
              </a:rPr>
              <a:t>By using and Microsoft Azure Site to Site VPN, Richard extends the boundary of his datacenter to Microsoft Azure. He is no longer bound by hardware cost and procurement timeframes and is able to quickly meet Luis's cloud resource needs. Richard is also able to seamlessly move Luis's workloads between Microsoft Azure and the Contoso datacenter.</a:t>
            </a:r>
          </a:p>
          <a:p>
            <a:r>
              <a:rPr lang="en-US" dirty="0" smtClean="0">
                <a:effectLst/>
              </a:rPr>
              <a:t> </a:t>
            </a:r>
          </a:p>
          <a:p>
            <a:r>
              <a:rPr lang="en-US" b="1" dirty="0" smtClean="0">
                <a:effectLst/>
              </a:rPr>
              <a:t>Capabilities or Components Used in this Story:</a:t>
            </a:r>
            <a:endParaRPr lang="en-US" dirty="0" smtClean="0">
              <a:effectLst/>
            </a:endParaRPr>
          </a:p>
          <a:p>
            <a:r>
              <a:rPr lang="en-US" b="1" dirty="0" smtClean="0">
                <a:effectLst/>
              </a:rPr>
              <a:t>System Center 2012 R2: </a:t>
            </a:r>
            <a:r>
              <a:rPr lang="en-US" dirty="0" smtClean="0">
                <a:effectLst/>
              </a:rPr>
              <a:t>Service Manager, Self-Service Portal, Service Catalogues, Request Offerings, Reviewer Activities, Workflow, Orchestrator, Runbooks.</a:t>
            </a:r>
          </a:p>
          <a:p>
            <a:r>
              <a:rPr lang="en-US" b="1" dirty="0" smtClean="0">
                <a:effectLst/>
              </a:rPr>
              <a:t>Microsoft Azure:</a:t>
            </a:r>
            <a:r>
              <a:rPr lang="en-US" dirty="0" smtClean="0">
                <a:effectLst/>
              </a:rPr>
              <a:t> Infrastructure as a Service (IaaS), Site to Site VPN.</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6</a:t>
            </a:fld>
            <a:endParaRPr lang="en-US" dirty="0">
              <a:solidFill>
                <a:prstClr val="black"/>
              </a:solidFill>
            </a:endParaRPr>
          </a:p>
        </p:txBody>
      </p:sp>
    </p:spTree>
    <p:extLst>
      <p:ext uri="{BB962C8B-B14F-4D97-AF65-F5344CB8AC3E}">
        <p14:creationId xmlns:p14="http://schemas.microsoft.com/office/powerpoint/2010/main" val="39077714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as I mentioned, that reactive process can also be followed through with a proactive process.  In this case, to ensure that we are improving our SLA support , you can choose to have a proactive activity in place that maybe you can monitor for a potential error within our infrastructure. </a:t>
            </a:r>
          </a:p>
          <a:p>
            <a:r>
              <a:rPr lang="en-US" dirty="0" smtClean="0"/>
              <a:t> </a:t>
            </a:r>
          </a:p>
          <a:p>
            <a:r>
              <a:rPr lang="en-US" dirty="0" smtClean="0"/>
              <a:t>Let’s just say we are monitoring a database for a disk size and whether or not a disk is filling up quickly. We can monitor for that error and see that it is approaching a threshold we have set proactively , initiate a change, that takes that machine into maintenance mode, creates some extra disks, reattaches it, reconfigures the networks updates the CMDB, re-associates that particular server to that service and then close our change. </a:t>
            </a:r>
          </a:p>
          <a:p>
            <a:r>
              <a:rPr lang="en-US" dirty="0" smtClean="0"/>
              <a:t> </a:t>
            </a:r>
          </a:p>
          <a:p>
            <a:r>
              <a:rPr lang="en-US" dirty="0" smtClean="0"/>
              <a:t>The benefit here is having predictive operations.  The key here is that we are proactively supporting our environment  by monitoring for and kicking off the necessary activities, leveraging our integration and processes  and systems  to ensure that we sustain service delivery, to ensure that we have good SLAs, maintain compliance, productivity because we have captured our best practices and again we are improving our operational ROI. </a:t>
            </a:r>
          </a:p>
          <a:p>
            <a:r>
              <a:rPr lang="en-US" dirty="0" smtClean="0"/>
              <a:t> </a:t>
            </a:r>
          </a:p>
          <a:p>
            <a:r>
              <a:rPr lang="en-US" dirty="0" smtClean="0"/>
              <a:t>Because we’ve captured this and have this automated, we’re supporting compliance capabilities. We’re able to show evidence of activities of events that we are monitoring for and the actions that we take.  </a:t>
            </a:r>
          </a:p>
          <a:p>
            <a:r>
              <a:rPr lang="en-US" b="1" dirty="0" smtClean="0"/>
              <a:t> </a:t>
            </a:r>
            <a:endParaRPr lang="en-US" dirty="0" smtClean="0"/>
          </a:p>
          <a:p>
            <a:pPr>
              <a:spcBef>
                <a:spcPct val="0"/>
              </a:spcBef>
            </a:pPr>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2C91B0-451A-4B33-8CF6-5F449C330BB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7</a:t>
            </a:fld>
            <a:endParaRPr lang="en-US" dirty="0">
              <a:solidFill>
                <a:prstClr val="black"/>
              </a:solidFill>
            </a:endParaRPr>
          </a:p>
        </p:txBody>
      </p:sp>
    </p:spTree>
    <p:extLst>
      <p:ext uri="{BB962C8B-B14F-4D97-AF65-F5344CB8AC3E}">
        <p14:creationId xmlns:p14="http://schemas.microsoft.com/office/powerpoint/2010/main" val="83874367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As IT is driven to deliver more with less it is becoming increasingly important to drive efficiencies though task automation. Using deeply integrated tools sets, workflows and integration packs, datacenter admins are able to provide increased levels of service through automated remediation. Through intelligent monitoring that triggers an event when a threshold is breached you are able to capture potential issues before service is degraded. With the benefit of integrated tools and workflows, events can be analyzed and automatically remediated before system failure occurs.</a:t>
            </a:r>
          </a:p>
          <a:p>
            <a:r>
              <a:rPr lang="en-US" dirty="0" smtClean="0">
                <a:effectLst/>
              </a:rPr>
              <a:t> </a:t>
            </a:r>
          </a:p>
          <a:p>
            <a:r>
              <a:rPr lang="en-US" b="1" dirty="0" smtClean="0">
                <a:effectLst/>
              </a:rPr>
              <a:t>The Contoso Story:</a:t>
            </a:r>
            <a:endParaRPr lang="en-US" dirty="0" smtClean="0">
              <a:effectLst/>
            </a:endParaRPr>
          </a:p>
          <a:p>
            <a:r>
              <a:rPr lang="en-US" dirty="0" smtClean="0">
                <a:effectLst/>
              </a:rPr>
              <a:t>Richard has a large number of reoccurring events that cause interruption of service to his users. In many cases Richards know the remediation steps required. To overcome this problem, Richard uses System Center 2012 to proactively detect when thresholds have been breached before system failure, and is able to apply known remediation actions through intelligent automation.  </a:t>
            </a:r>
          </a:p>
          <a:p>
            <a:r>
              <a:rPr lang="en-US" dirty="0" smtClean="0">
                <a:effectLst/>
              </a:rPr>
              <a:t> </a:t>
            </a:r>
          </a:p>
          <a:p>
            <a:r>
              <a:rPr lang="en-US" b="1" dirty="0" smtClean="0">
                <a:effectLst/>
              </a:rPr>
              <a:t>Capabilities or Components Used in this Story:</a:t>
            </a:r>
            <a:endParaRPr lang="en-US" dirty="0" smtClean="0">
              <a:effectLst/>
            </a:endParaRPr>
          </a:p>
          <a:p>
            <a:r>
              <a:rPr lang="en-US" b="1" dirty="0" smtClean="0">
                <a:effectLst/>
              </a:rPr>
              <a:t>System Center 2012 R2</a:t>
            </a:r>
            <a:r>
              <a:rPr lang="en-US" dirty="0" smtClean="0">
                <a:effectLst/>
              </a:rPr>
              <a:t>: Operations Manager, Service Manager, Orchestrator, Virtual Machine Manager, Incident Management, Service Management Workflow, Runbook Automation.</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8</a:t>
            </a:fld>
            <a:endParaRPr lang="en-US" dirty="0">
              <a:solidFill>
                <a:prstClr val="black"/>
              </a:solidFill>
            </a:endParaRPr>
          </a:p>
        </p:txBody>
      </p:sp>
    </p:spTree>
    <p:extLst>
      <p:ext uri="{BB962C8B-B14F-4D97-AF65-F5344CB8AC3E}">
        <p14:creationId xmlns:p14="http://schemas.microsoft.com/office/powerpoint/2010/main" val="54747342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effectLst/>
              </a:rPr>
              <a:t>Deliver predictable SLAs by leveraging deep insight and diagnostics into your applications across datacenter, cloud and service provider infrastructure.</a:t>
            </a:r>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934907-477C-4893-B2D0-50FA0533CC2B}" type="datetime1">
              <a:rPr lang="en-US" smtClean="0">
                <a:solidFill>
                  <a:prstClr val="black"/>
                </a:solidFill>
              </a:rPr>
              <a:pPr/>
              <a:t>8/1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162263956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In</a:t>
            </a:r>
            <a:r>
              <a:rPr lang="en-US" baseline="0" dirty="0" smtClean="0"/>
              <a:t> this slide, the comments by the characters really sum up the speaker notes]</a:t>
            </a:r>
          </a:p>
          <a:p>
            <a:endParaRPr lang="en-US" baseline="0" dirty="0" smtClean="0"/>
          </a:p>
          <a:p>
            <a:r>
              <a:rPr lang="en-US" baseline="0" dirty="0" smtClean="0"/>
              <a:t>The goal of this slide is to emphasize how easy it is for the Application side of the house and the Infrastructure side of the house to be at odds due to “finger pointing”. With System Center 2012 SP1, and capabilities like Global Service Monitor and Application Performance Monitor as well as Infrastructure Monitoring. It is now much easier to find the root cause of an issue. This will allow you to find the problem faster, resolve the problem, and reduce the finger pointing</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2C91B0-451A-4B33-8CF6-5F449C330BB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201869697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While System Center continues to be a market leader for infrastructure monitoring, it has now deepened its ability to monitor applications in a more comprehensive manage. Operation Manager can now view an application from the end users perspective from both internal and global locations. This experience will show you how you can improve datacenter service levels across different Web Application technologies with Application Performance Monitoring to provide deep application insight. Ultimately, you are now be able to improve root-cause analysis processes while reducing the mean time to service restoration.  The ability of identifying the actual line of code causing application performance issues and automatically feeding this information back into the hands of the developer. By delivering intelligent information directly to the developer, they can fix the issues faster and use standard deployment processes to update the application.  In addition, you can now monitor the end-user experience from their actual location - anywhere in the world.  </a:t>
            </a:r>
          </a:p>
          <a:p>
            <a:r>
              <a:rPr lang="en-US" dirty="0" smtClean="0">
                <a:effectLst/>
              </a:rPr>
              <a:t>See how you can extend the monitoring ability of Operations Manager to enable full 360 degree monitoring of applications and infrastructure and reduce mean time to service restoration through a seamless integrated experience. </a:t>
            </a:r>
          </a:p>
          <a:p>
            <a:r>
              <a:rPr lang="en-US" dirty="0" smtClean="0">
                <a:effectLst/>
              </a:rPr>
              <a:t> </a:t>
            </a:r>
          </a:p>
          <a:p>
            <a:r>
              <a:rPr lang="en-US" b="1" dirty="0" smtClean="0">
                <a:effectLst/>
              </a:rPr>
              <a:t>The Contoso Story: </a:t>
            </a:r>
            <a:r>
              <a:rPr lang="en-US" dirty="0" smtClean="0">
                <a:effectLst/>
              </a:rPr>
              <a:t/>
            </a:r>
            <a:br>
              <a:rPr lang="en-US" dirty="0" smtClean="0">
                <a:effectLst/>
              </a:rPr>
            </a:br>
            <a:r>
              <a:rPr lang="en-US" dirty="0" smtClean="0">
                <a:effectLst/>
              </a:rPr>
              <a:t>Luis's development teams have developed a new Sales Web Application and deployed it in to production use. Users and clients are reporting that it runs slowly and sometimes times out when they are trying to purchase items in their cart.</a:t>
            </a:r>
          </a:p>
          <a:p>
            <a:r>
              <a:rPr lang="en-US" dirty="0" smtClean="0">
                <a:effectLst/>
              </a:rPr>
              <a:t>Kathy the CIO </a:t>
            </a:r>
            <a:r>
              <a:rPr lang="en-US" dirty="0" err="1" smtClean="0">
                <a:effectLst/>
              </a:rPr>
              <a:t>askes</a:t>
            </a:r>
            <a:r>
              <a:rPr lang="en-US" dirty="0" smtClean="0">
                <a:effectLst/>
              </a:rPr>
              <a:t> Richard to help the development team diagnose and remediate the performance issues. Richard uses Operations Manager to investigate the response time of the application from the point of view of the users. Using </a:t>
            </a:r>
            <a:r>
              <a:rPr lang="en-US" dirty="0" err="1" smtClean="0">
                <a:effectLst/>
              </a:rPr>
              <a:t>.Net</a:t>
            </a:r>
            <a:r>
              <a:rPr lang="en-US" dirty="0" smtClean="0">
                <a:effectLst/>
              </a:rPr>
              <a:t> and Java Web monitors Richard it able to monitor the Contoso web farm with deep insight and provide detailed performance analysis to help the developers pin point issue quickly and efficiently. </a:t>
            </a:r>
          </a:p>
          <a:p>
            <a:r>
              <a:rPr lang="en-US" dirty="0" smtClean="0">
                <a:effectLst/>
              </a:rPr>
              <a:t>For a full 360 degree view of how the sales application is performing where his users are, Richard uses Visual Studio Web Tests and Global Service Monitoring (GSM) to perform multi step and authenticated synthetic transaction testing. Parameters about the test execution are being measured and compared for correctness with the criteria specified in the recording test.</a:t>
            </a:r>
          </a:p>
          <a:p>
            <a:r>
              <a:rPr lang="en-US" dirty="0" smtClean="0">
                <a:effectLst/>
              </a:rPr>
              <a:t>This experience will show how you can leverage Operations Manager to deliver better application monitoring and performance support. Through features such as </a:t>
            </a:r>
            <a:r>
              <a:rPr lang="en-US" dirty="0" err="1" smtClean="0">
                <a:effectLst/>
              </a:rPr>
              <a:t>.Net</a:t>
            </a:r>
            <a:r>
              <a:rPr lang="en-US" dirty="0" smtClean="0">
                <a:effectLst/>
              </a:rPr>
              <a:t> and Java Application Performance Monitoring, Global Service Monitoring, Visual Studio Web Tests you can utilize synthetic transaction testing of your application via 15 Azure points of presence around the globe, ensuring you can track the experience and performance of your applications where your users actually are.</a:t>
            </a:r>
          </a:p>
          <a:p>
            <a:r>
              <a:rPr lang="en-US" dirty="0" smtClean="0">
                <a:effectLst/>
              </a:rPr>
              <a:t> </a:t>
            </a:r>
          </a:p>
          <a:p>
            <a:r>
              <a:rPr lang="en-US" b="1" dirty="0" smtClean="0">
                <a:effectLst/>
              </a:rPr>
              <a:t>Capabilities or Components Used in this Story:</a:t>
            </a:r>
            <a:endParaRPr lang="en-US" dirty="0" smtClean="0">
              <a:effectLst/>
            </a:endParaRPr>
          </a:p>
          <a:p>
            <a:r>
              <a:rPr lang="en-US" b="1" dirty="0" smtClean="0">
                <a:effectLst/>
              </a:rPr>
              <a:t>Windows Server 2012:</a:t>
            </a:r>
            <a:r>
              <a:rPr lang="en-US" dirty="0" smtClean="0">
                <a:effectLst/>
              </a:rPr>
              <a:t> Web Application Platform</a:t>
            </a:r>
          </a:p>
          <a:p>
            <a:r>
              <a:rPr lang="en-US" b="1" dirty="0" smtClean="0">
                <a:effectLst/>
              </a:rPr>
              <a:t>System Center 2012 R2:</a:t>
            </a:r>
            <a:r>
              <a:rPr lang="en-US" dirty="0" smtClean="0">
                <a:effectLst/>
              </a:rPr>
              <a:t> Operations Manager, Application Performance Monitoring (APM), Global Service Monitor (GSM). Web Transaction Monitors, Visual Studio Web Test Monitoring.</a:t>
            </a:r>
          </a:p>
          <a:p>
            <a:endParaRPr lang="en-US" dirty="0">
              <a:effectLst/>
            </a:endParaRPr>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167404728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defRPr/>
            </a:pPr>
            <a:r>
              <a:rPr lang="en-US" b="1" dirty="0" smtClean="0"/>
              <a:t>Goal of the slide</a:t>
            </a:r>
          </a:p>
          <a:p>
            <a:pPr>
              <a:defRPr/>
            </a:pPr>
            <a:r>
              <a:rPr lang="en-US" dirty="0" smtClean="0"/>
              <a:t>Click down on Server Application Virtualization (SAV), a game-changing technology that is part of System Center 2012 Virtual Machine Manager.</a:t>
            </a:r>
          </a:p>
          <a:p>
            <a:pPr>
              <a:defRPr/>
            </a:pPr>
            <a:endParaRPr lang="en-US" b="1" dirty="0" smtClean="0"/>
          </a:p>
          <a:p>
            <a:pPr>
              <a:defRPr/>
            </a:pPr>
            <a:r>
              <a:rPr lang="en-US" b="1" dirty="0" smtClean="0"/>
              <a:t>Talking points </a:t>
            </a:r>
          </a:p>
          <a:p>
            <a:pPr>
              <a:defRPr/>
            </a:pPr>
            <a:r>
              <a:rPr lang="en-US" dirty="0" smtClean="0"/>
              <a:t>SAV dramatically simplifies maintaining standardized application services in your private cloud. SAV optimizes your applications (including a subset of existing applications) for private-cloud deployments with sequenced state separation between the application and underlying virtual infrastructure. Further, it dramatically simplifies upgrades and maintenance with image-based configuration and management techniques that reduce administrative effort and expense.</a:t>
            </a:r>
          </a:p>
          <a:p>
            <a:pPr>
              <a:defRPr/>
            </a:pPr>
            <a:endParaRPr lang="en-US" dirty="0" smtClean="0"/>
          </a:p>
          <a:p>
            <a:pPr>
              <a:defRPr/>
            </a:pPr>
            <a:r>
              <a:rPr lang="en-US" dirty="0" smtClean="0"/>
              <a:t>It might be good to pick one application and OS combination in your organization that meets the SAV pre-requisites listed below (scroll down).</a:t>
            </a:r>
          </a:p>
          <a:p>
            <a:pPr>
              <a:defRPr/>
            </a:pPr>
            <a:endParaRPr lang="en-US" b="1" dirty="0" smtClean="0"/>
          </a:p>
          <a:p>
            <a:pPr>
              <a:defRPr/>
            </a:pPr>
            <a:r>
              <a:rPr lang="en-US" b="1" dirty="0" smtClean="0"/>
              <a:t>&lt;Click&gt;</a:t>
            </a:r>
            <a:r>
              <a:rPr lang="en-US" dirty="0" smtClean="0"/>
              <a:t> Let’s look at a scenario in which you can update the business logic–tier of a three-tier application using image-based updates to a previously deployed application service. An image-based approach is where one or more new virtual instances (or VMs) are created, typically from an updated virtual image. Virtual Machine Manager moves the running application into these new VMs, and shuts down any VMs that the application was previously running.</a:t>
            </a:r>
          </a:p>
          <a:p>
            <a:pPr>
              <a:defRPr/>
            </a:pPr>
            <a:endParaRPr lang="en-US" b="1" dirty="0" smtClean="0"/>
          </a:p>
          <a:p>
            <a:pPr>
              <a:defRPr/>
            </a:pPr>
            <a:r>
              <a:rPr lang="en-US" b="1" dirty="0" smtClean="0"/>
              <a:t>&lt;Click&gt;</a:t>
            </a:r>
            <a:r>
              <a:rPr lang="en-US" dirty="0" smtClean="0"/>
              <a:t> Let’s say we need to update the middle-tier business logic of a running application, so we must install the application’s code in the new VM. This should be pretty straightforward if the application maintains no state within its VM. But applications often make local changes within their VMs, such as modifying the Windows registry or relying on local configuration files. So moving the application successfully to a new VM might require moving this state as well.</a:t>
            </a:r>
          </a:p>
          <a:p>
            <a:pPr>
              <a:defRPr/>
            </a:pPr>
            <a:endParaRPr lang="en-US" dirty="0" smtClean="0"/>
          </a:p>
          <a:p>
            <a:pPr>
              <a:defRPr/>
            </a:pPr>
            <a:r>
              <a:rPr lang="en-US" dirty="0" smtClean="0"/>
              <a:t>Virtual Machine Manager can accomplish this by wrapping the application code in an SAV package. Through sequencing, SAV can detect and track any local-state changes the application makes. When the running application is moved into a new VM, the SAV package moves its current state as well, including registry changes and configuration files. </a:t>
            </a:r>
          </a:p>
          <a:p>
            <a:pPr>
              <a:defRPr/>
            </a:pPr>
            <a:endParaRPr lang="en-US" dirty="0" smtClean="0"/>
          </a:p>
          <a:p>
            <a:pPr>
              <a:defRPr/>
            </a:pPr>
            <a:r>
              <a:rPr lang="en-US" dirty="0" smtClean="0"/>
              <a:t>Because image-based updates can install a new VM image beneath a running application, it allows a separation of applications and VM images. This eliminates the need to have a separate VM image for each application that uses that image. Instead, an organization might choose to use the same small set of VM images for many applications, combining them as needed with service templates. Managing fewer VM images is simpler, cheaper, and less error-prone.</a:t>
            </a:r>
          </a:p>
          <a:p>
            <a:pPr>
              <a:defRPr/>
            </a:pPr>
            <a:endParaRPr lang="en-US" dirty="0" smtClean="0"/>
          </a:p>
          <a:p>
            <a:pPr>
              <a:defRPr/>
            </a:pPr>
            <a:r>
              <a:rPr lang="en-US" b="1" dirty="0" smtClean="0"/>
              <a:t>&lt;Click&gt; </a:t>
            </a:r>
            <a:r>
              <a:rPr lang="en-US" dirty="0" smtClean="0"/>
              <a:t>SAV supports application components belonging to the .NET and Java application frameworks as long as they meet the pre-requisites. See additional details on what’s supported (and what’s not) in System Center 2012 by scrolling down to the FAQ section below.</a:t>
            </a:r>
          </a:p>
          <a:p>
            <a:pPr>
              <a:defRPr/>
            </a:pPr>
            <a:r>
              <a:rPr lang="en-US" b="1" dirty="0" smtClean="0"/>
              <a:t>_______________________________________________________________________________</a:t>
            </a:r>
          </a:p>
          <a:p>
            <a:pPr>
              <a:defRPr/>
            </a:pPr>
            <a:r>
              <a:rPr lang="en-US" b="1" dirty="0" smtClean="0"/>
              <a:t>Server Application Virtualization FAQ </a:t>
            </a:r>
          </a:p>
          <a:p>
            <a:pPr>
              <a:defRPr/>
            </a:pPr>
            <a:endParaRPr lang="en-US" b="1" dirty="0" smtClean="0"/>
          </a:p>
          <a:p>
            <a:pPr>
              <a:defRPr/>
            </a:pPr>
            <a:r>
              <a:rPr lang="en-US" b="1" dirty="0" smtClean="0"/>
              <a:t>What is Microsoft Server Application Virtualization (SAV)?   </a:t>
            </a:r>
          </a:p>
          <a:p>
            <a:pPr>
              <a:defRPr/>
            </a:pPr>
            <a:r>
              <a:rPr lang="en-US" dirty="0" smtClean="0"/>
              <a:t>SAV is conceptually similar to the Client Application Virtualization solutions that Microsoft’s customers have been using for some time now as part of MDOP. SAV is a packaging technology that helps customers optimize existing data center operations by logically abstracting applications from the underlying infrastructure. SAV enables customers to separate the application configuration and state from the underlying operating system and achieves this abstraction without requiring changes to application code.</a:t>
            </a:r>
          </a:p>
          <a:p>
            <a:pPr>
              <a:defRPr/>
            </a:pPr>
            <a:endParaRPr lang="en-US" b="1" dirty="0" smtClean="0"/>
          </a:p>
          <a:p>
            <a:pPr>
              <a:defRPr/>
            </a:pPr>
            <a:r>
              <a:rPr lang="en-US" b="1" dirty="0" smtClean="0"/>
              <a:t>How does SAV work?</a:t>
            </a:r>
          </a:p>
          <a:p>
            <a:pPr>
              <a:defRPr/>
            </a:pPr>
            <a:r>
              <a:rPr lang="en-US" dirty="0" smtClean="0"/>
              <a:t>SAV packages server applications into “</a:t>
            </a:r>
            <a:r>
              <a:rPr lang="en-US" dirty="0" err="1" smtClean="0"/>
              <a:t>XCopyable</a:t>
            </a:r>
            <a:r>
              <a:rPr lang="en-US" dirty="0" smtClean="0"/>
              <a:t>” images, which can then be easily and efficiently deployed and started using Virtual Machine Manager for System Center 2012 without an installation process. SAV offers a sequencer to abstract the application from the operating system thereby enabling IT organizations to maintain fewer application and OS images resulting in reduced updating and maintenance.</a:t>
            </a:r>
          </a:p>
          <a:p>
            <a:pPr>
              <a:defRPr/>
            </a:pPr>
            <a:endParaRPr lang="en-US" b="1" dirty="0" smtClean="0"/>
          </a:p>
          <a:p>
            <a:pPr>
              <a:defRPr/>
            </a:pPr>
            <a:r>
              <a:rPr lang="en-US" b="1" dirty="0" smtClean="0"/>
              <a:t>Why should you care about SAV?</a:t>
            </a:r>
          </a:p>
          <a:p>
            <a:pPr>
              <a:defRPr/>
            </a:pPr>
            <a:r>
              <a:rPr lang="en-US" dirty="0" smtClean="0"/>
              <a:t>SAV is a crucial piece of technology to enable the private cloud:</a:t>
            </a:r>
          </a:p>
          <a:p>
            <a:pPr>
              <a:defRPr/>
            </a:pPr>
            <a:endParaRPr lang="en-US" b="1" i="1" dirty="0" smtClean="0"/>
          </a:p>
          <a:p>
            <a:pPr marL="232943" indent="-232943">
              <a:buFontTx/>
              <a:buAutoNum type="arabicPeriod"/>
              <a:defRPr/>
            </a:pPr>
            <a:r>
              <a:rPr lang="en-US" b="1" i="1" dirty="0" smtClean="0"/>
              <a:t>Unlocks significant benefits for our customers</a:t>
            </a:r>
            <a:endParaRPr lang="en-US" dirty="0" smtClean="0"/>
          </a:p>
          <a:p>
            <a:pPr marL="698830" lvl="1" indent="-232943">
              <a:defRPr/>
            </a:pPr>
            <a:r>
              <a:rPr lang="en-US" dirty="0" smtClean="0"/>
              <a:t>Works for existing applications—Customers can deploy a sub-set of existing application components in private-cloud environments without necessarily having to rewrite or </a:t>
            </a:r>
            <a:r>
              <a:rPr lang="en-US" dirty="0" err="1" smtClean="0"/>
              <a:t>rearchitect</a:t>
            </a:r>
            <a:r>
              <a:rPr lang="en-US" dirty="0" smtClean="0"/>
              <a:t> those application components. Since the application is abstracted from the infrastructure, you could think of SAV as a bridge to unlock application mobility across private clouds and public clouds (for example, Microsoft Azure).</a:t>
            </a:r>
          </a:p>
          <a:p>
            <a:pPr marL="698830" lvl="1" indent="-232943">
              <a:defRPr/>
            </a:pPr>
            <a:r>
              <a:rPr lang="en-US" dirty="0" smtClean="0"/>
              <a:t>Comprehensive application and infrastructure manageability—SAV simplifies provisioning, deployment, and servicing by enabling image-based management techniques.  </a:t>
            </a:r>
          </a:p>
          <a:p>
            <a:pPr marL="698830" lvl="1" indent="-232943">
              <a:defRPr/>
            </a:pPr>
            <a:r>
              <a:rPr lang="en-US" dirty="0" smtClean="0"/>
              <a:t>Dramatically reduce operational expense—Maintaining fewer application and OS images requires reduced administrative effort.</a:t>
            </a:r>
          </a:p>
          <a:p>
            <a:pPr>
              <a:defRPr/>
            </a:pPr>
            <a:endParaRPr lang="en-US" b="1" i="1" dirty="0" smtClean="0"/>
          </a:p>
          <a:p>
            <a:pPr>
              <a:defRPr/>
            </a:pPr>
            <a:r>
              <a:rPr lang="en-US" b="1" i="1" dirty="0" smtClean="0"/>
              <a:t>2. Strong proof point to our private cloud and System Center 2012 message</a:t>
            </a:r>
            <a:r>
              <a:rPr lang="en-US" dirty="0" smtClean="0"/>
              <a:t> </a:t>
            </a:r>
          </a:p>
          <a:p>
            <a:pPr>
              <a:defRPr/>
            </a:pPr>
            <a:r>
              <a:rPr lang="en-US" dirty="0" smtClean="0"/>
              <a:t>SAV technology is a strong supporting proof point to Microsoft’s “service-centric” approach to private and public cloud management. By providing customers with a bridging technology to deploy and manage applications across private and public clouds, SAV strongly amplifies the message we’re trying to land with the System Center 2012 releases. </a:t>
            </a:r>
          </a:p>
          <a:p>
            <a:pPr>
              <a:defRPr/>
            </a:pPr>
            <a:endParaRPr lang="en-US" b="1" i="1" dirty="0" smtClean="0"/>
          </a:p>
          <a:p>
            <a:pPr>
              <a:defRPr/>
            </a:pPr>
            <a:r>
              <a:rPr lang="en-US" b="1" i="1" dirty="0" smtClean="0"/>
              <a:t>3. Strong VMware differentiation</a:t>
            </a:r>
            <a:r>
              <a:rPr lang="en-US" dirty="0" smtClean="0"/>
              <a:t> </a:t>
            </a:r>
          </a:p>
          <a:p>
            <a:pPr>
              <a:defRPr/>
            </a:pPr>
            <a:r>
              <a:rPr lang="en-US" dirty="0" smtClean="0"/>
              <a:t>VMware does not have equivalent technology as they don’t have the deep understanding of application and service models like Microsoft.</a:t>
            </a:r>
          </a:p>
          <a:p>
            <a:pPr>
              <a:defRPr/>
            </a:pPr>
            <a:endParaRPr lang="en-US" b="1" dirty="0" smtClean="0"/>
          </a:p>
          <a:p>
            <a:pPr>
              <a:defRPr/>
            </a:pPr>
            <a:r>
              <a:rPr lang="en-US" b="1" dirty="0" smtClean="0"/>
              <a:t>Q. What application types and components are supported by SAV in System Center 2012?</a:t>
            </a:r>
          </a:p>
          <a:p>
            <a:pPr>
              <a:defRPr/>
            </a:pPr>
            <a:r>
              <a:rPr lang="en-US" b="1" i="1" dirty="0" smtClean="0"/>
              <a:t>OS support</a:t>
            </a:r>
          </a:p>
          <a:p>
            <a:pPr>
              <a:defRPr/>
            </a:pPr>
            <a:r>
              <a:rPr lang="en-US" dirty="0" smtClean="0"/>
              <a:t>SAV supports server OS platforms only. Both x86 (where applicable) and x64 versions of Windows Server 2003, Windows Server 2008, and Windows Server 2008 R2 are supported. All editions are supported with one exception—the Server Core edition is supported for Windows Server 2008 R2 only.</a:t>
            </a:r>
          </a:p>
          <a:p>
            <a:pPr>
              <a:defRPr/>
            </a:pPr>
            <a:r>
              <a:rPr lang="en-US" dirty="0" smtClean="0"/>
              <a:t> </a:t>
            </a:r>
          </a:p>
          <a:p>
            <a:pPr>
              <a:defRPr/>
            </a:pPr>
            <a:r>
              <a:rPr lang="en-US" b="1" i="1" dirty="0" smtClean="0"/>
              <a:t>Application virtualization support</a:t>
            </a:r>
            <a:r>
              <a:rPr lang="en-US" i="1" dirty="0" smtClean="0"/>
              <a:t> </a:t>
            </a:r>
          </a:p>
          <a:p>
            <a:pPr>
              <a:defRPr/>
            </a:pPr>
            <a:r>
              <a:rPr lang="en-US" b="1" dirty="0" smtClean="0"/>
              <a:t>IIS</a:t>
            </a:r>
            <a:r>
              <a:rPr lang="en-US" dirty="0" smtClean="0"/>
              <a:t>—SAV supports applications that install web sites, virtual directories, and application pools. With SAV, you can easily virtualize applications that create these components on IIS 6.0, IIS 7.0, and IIS 7.5.</a:t>
            </a:r>
          </a:p>
          <a:p>
            <a:pPr>
              <a:defRPr/>
            </a:pPr>
            <a:r>
              <a:rPr lang="en-US" b="1" dirty="0" smtClean="0"/>
              <a:t>Windows Services</a:t>
            </a:r>
            <a:r>
              <a:rPr lang="en-US" dirty="0" smtClean="0"/>
              <a:t>—Many server applications install Windows services. With SAV, you can sequence an application which creates Windows services. When a virtual package is deployed to a server, you will see the same services in the Windows Service Control manager as you would see with a native installation of the application.</a:t>
            </a:r>
          </a:p>
          <a:p>
            <a:pPr>
              <a:defRPr/>
            </a:pPr>
            <a:r>
              <a:rPr lang="en-US" b="1" dirty="0" smtClean="0"/>
              <a:t>COM/DCOM/COM+</a:t>
            </a:r>
            <a:r>
              <a:rPr lang="en-US" dirty="0" smtClean="0"/>
              <a:t>—SAV Sequencer captures COM/DCOM/COM+ components created by the application installer. These components are registered during deployment time so that they can be consumed by other applications or processes. You can also see these components with tools such as </a:t>
            </a:r>
            <a:r>
              <a:rPr lang="en-US" dirty="0" err="1" smtClean="0"/>
              <a:t>dcomcnfg</a:t>
            </a:r>
            <a:r>
              <a:rPr lang="en-US" dirty="0" smtClean="0"/>
              <a:t>.</a:t>
            </a:r>
          </a:p>
          <a:p>
            <a:pPr>
              <a:defRPr/>
            </a:pPr>
            <a:r>
              <a:rPr lang="en-US" b="1" dirty="0" smtClean="0"/>
              <a:t>WMI</a:t>
            </a:r>
            <a:r>
              <a:rPr lang="en-US" dirty="0" smtClean="0"/>
              <a:t>—Many data center applications create WMI components, such as WMI providers or classes during the application installation. With an SAV virtualized package, you won’t miss any of these components when the package is deployed!</a:t>
            </a:r>
          </a:p>
          <a:p>
            <a:pPr>
              <a:defRPr/>
            </a:pPr>
            <a:r>
              <a:rPr lang="en-US" b="1" dirty="0" smtClean="0"/>
              <a:t>Local users and Groups</a:t>
            </a:r>
            <a:r>
              <a:rPr lang="en-US" dirty="0" smtClean="0"/>
              <a:t>—Unlike desktop applications, it is common for data center applications to create local users or groups as part of the installation process. Many files also contain references to user or group security IDs to restrict access to certain users and groups. SAV is capable of capturing local users and groups created during sequencing of the application and recreating them at deployment time. Any references to the SIDs are also maintained automatically.</a:t>
            </a:r>
          </a:p>
          <a:p>
            <a:pPr>
              <a:defRPr/>
            </a:pPr>
            <a:r>
              <a:rPr lang="en-US" b="1" dirty="0" smtClean="0"/>
              <a:t>SSRS</a:t>
            </a:r>
            <a:r>
              <a:rPr lang="en-US" dirty="0" smtClean="0"/>
              <a:t>—In SAV, we built a special component to handle the virtualization of applications that install SQL Services Reporting Services as part of the installation process. Therefore, if your application uses SSRS, you can use SAV to virtualize it!</a:t>
            </a:r>
          </a:p>
          <a:p>
            <a:pPr>
              <a:defRPr/>
            </a:pPr>
            <a:r>
              <a:rPr lang="en-US" dirty="0" smtClean="0"/>
              <a:t> </a:t>
            </a:r>
          </a:p>
          <a:p>
            <a:pPr>
              <a:defRPr/>
            </a:pPr>
            <a:r>
              <a:rPr lang="en-US" b="1" i="1" dirty="0" smtClean="0"/>
              <a:t>Does not support applications that install the following components</a:t>
            </a:r>
            <a:endParaRPr lang="en-US" i="1" dirty="0" smtClean="0"/>
          </a:p>
          <a:p>
            <a:pPr>
              <a:defRPr/>
            </a:pPr>
            <a:r>
              <a:rPr lang="en-US" b="1" dirty="0" smtClean="0"/>
              <a:t>Drivers</a:t>
            </a:r>
            <a:r>
              <a:rPr lang="en-US" dirty="0" smtClean="0"/>
              <a:t>—If your application installs drivers, SAV won’t install the drivers on deployment machines. Some applications have drivers that are installable separately. If this is the case for your application, you can install the driver first and then sequence the application with SAV sequencer. Before you deploy the package, you should also install the driver to the deployment servers.</a:t>
            </a:r>
          </a:p>
          <a:p>
            <a:pPr>
              <a:defRPr/>
            </a:pPr>
            <a:r>
              <a:rPr lang="en-US" b="1" dirty="0" smtClean="0"/>
              <a:t>SharePoint</a:t>
            </a:r>
            <a:r>
              <a:rPr lang="en-US" dirty="0" smtClean="0"/>
              <a:t>—SAV does not support virtualization of SharePoint or virtualization of an application that installs SharePoint as part of the installation process. If your application uses SharePoint, check if it can connect to an external SharePoint server. If so, you can virtualize the application without installing SharePoint during the sequencing process. </a:t>
            </a:r>
          </a:p>
          <a:p>
            <a:pPr>
              <a:defRPr/>
            </a:pPr>
            <a:r>
              <a:rPr lang="en-US" b="1" dirty="0" smtClean="0"/>
              <a:t>SQL Server</a:t>
            </a:r>
            <a:r>
              <a:rPr lang="en-US" dirty="0" smtClean="0"/>
              <a:t>—SAV does not support SQL Server virtualization. If your application requires SQL Server, you will need to point the installer to a previously deployed SQL Server instance on another machine during sequencing time and update the deployment configuration information to point to an appropriate (again, previously deployed) instance at deployment time. </a:t>
            </a:r>
          </a:p>
          <a:p>
            <a:pPr>
              <a:defRPr/>
            </a:pPr>
            <a:endParaRPr lang="en-US" b="1" dirty="0" smtClean="0"/>
          </a:p>
          <a:p>
            <a:pPr>
              <a:defRPr/>
            </a:pPr>
            <a:r>
              <a:rPr lang="en-US" b="1" dirty="0" smtClean="0"/>
              <a:t>Can SAV enable customers to seamlessly migrate applications between their private cloud and public cloud (such as Microsoft Azure)?</a:t>
            </a:r>
          </a:p>
          <a:p>
            <a:pPr>
              <a:defRPr/>
            </a:pPr>
            <a:r>
              <a:rPr lang="en-US" dirty="0" smtClean="0"/>
              <a:t>Not today. Most customers tell us that mobility of applications within their on-premises private cloud is their top priority. We’ve enabled that in a significant way with Virtual Machine Manager for System Center 2012, which has application and service modeling capabilities that take advantage of SAV technology. We will continue to take customer and market feedback to engineer mobility between private and public clouds for a broad set of server applications. To be clear, no company offers seamless mobility across clouds for server applications today—VMware might claim mobility, but they essentially move VMs around (with no understanding of application state or service models as mentioned above). </a:t>
            </a:r>
          </a:p>
          <a:p>
            <a:pPr>
              <a:defRPr/>
            </a:pPr>
            <a:endParaRPr lang="en-US" b="1" dirty="0" smtClean="0"/>
          </a:p>
          <a:p>
            <a:pPr>
              <a:defRPr/>
            </a:pPr>
            <a:r>
              <a:rPr lang="en-US" b="1" dirty="0" smtClean="0"/>
              <a:t>How can customers access SAV? </a:t>
            </a:r>
          </a:p>
          <a:p>
            <a:pPr>
              <a:defRPr/>
            </a:pPr>
            <a:r>
              <a:rPr lang="en-US" dirty="0" smtClean="0"/>
              <a:t>We’re shipping SAV as part of System Center 2012 Virtual Machine Manager. In December 2010, we also announced a private, by-invitation-only SAV CTP for Microsoft Azure. In this way, we’re making the same underlying packaging and sequencing technology available for both private and public cloud scenarios, which is consistent with our “common management” vision. We will update you as soon as additional details are available.</a:t>
            </a:r>
          </a:p>
        </p:txBody>
      </p:sp>
      <p:sp>
        <p:nvSpPr>
          <p:cNvPr id="4" name="Header Placeholder 3"/>
          <p:cNvSpPr>
            <a:spLocks noGrp="1"/>
          </p:cNvSpPr>
          <p:nvPr>
            <p:ph type="hdr" sz="quarter" idx="10"/>
          </p:nvPr>
        </p:nvSpPr>
        <p:spPr/>
        <p:txBody>
          <a:bodyPr/>
          <a:lstStyle/>
          <a:p>
            <a:r>
              <a:rPr lang="en-US" smtClean="0">
                <a:solidFill>
                  <a:prstClr val="black"/>
                </a:solidFill>
              </a:rPr>
              <a:t>Immers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2C91B0-451A-4B33-8CF6-5F449C330BB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2</a:t>
            </a:fld>
            <a:endParaRPr lang="en-US" dirty="0">
              <a:solidFill>
                <a:prstClr val="black"/>
              </a:solidFill>
            </a:endParaRPr>
          </a:p>
        </p:txBody>
      </p:sp>
    </p:spTree>
    <p:extLst>
      <p:ext uri="{BB962C8B-B14F-4D97-AF65-F5344CB8AC3E}">
        <p14:creationId xmlns:p14="http://schemas.microsoft.com/office/powerpoint/2010/main" val="23654816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With the pace of innovation that cloud computing has fuelled, it is critical to support faster application cycles and real-time collaboration between application developers and operations staff.  Using intelligent and connected management tools IT and application owners have the information to quickly diagnose and remediate applications. System Center provides the deep insight necessary to deliver within SLA to application owners and in turn, to business stakeholders.</a:t>
            </a:r>
          </a:p>
          <a:p>
            <a:r>
              <a:rPr lang="en-US" dirty="0" smtClean="0">
                <a:effectLst/>
              </a:rPr>
              <a:t>Applications are what really matter to businesses. As a result, IT strives to ensure that business critical applications are available and performing reliably. System Center 2012 R2 Operations Manager offers deep application diagnostics and insight, including code level issue traceability, for .NET and Java applications. Operations Manager delivers rich performance and availability metrics with the ability for operations staff to drill down deep into application stack traces and performance exceptions to identify the offending line of code.</a:t>
            </a:r>
          </a:p>
          <a:p>
            <a:r>
              <a:rPr lang="en-US" dirty="0" smtClean="0">
                <a:effectLst/>
              </a:rPr>
              <a:t>Operations Manager has an extensive selection of Management Packs that can optimize availability and performance information for Microsoft workloads, such as Exchange, SharePoint, and SQL, as well as third-party enterprise LOB applications such as SAP and industry leading hardware vendors.</a:t>
            </a:r>
          </a:p>
          <a:p>
            <a:r>
              <a:rPr lang="en-US" dirty="0" smtClean="0">
                <a:effectLst/>
              </a:rPr>
              <a:t> </a:t>
            </a:r>
          </a:p>
          <a:p>
            <a:r>
              <a:rPr lang="en-US" b="1" dirty="0" smtClean="0">
                <a:effectLst/>
              </a:rPr>
              <a:t>The Contoso Story:</a:t>
            </a:r>
            <a:endParaRPr lang="en-US" dirty="0" smtClean="0">
              <a:effectLst/>
            </a:endParaRPr>
          </a:p>
          <a:p>
            <a:r>
              <a:rPr lang="en-US" dirty="0" smtClean="0">
                <a:effectLst/>
              </a:rPr>
              <a:t>In this experience Richard uses the Operations Manager SQL management pack to discover his SQL server and database environment. He is presented with comprehensive and in depth data about the configuration, state and performance of his database environment. </a:t>
            </a:r>
          </a:p>
          <a:p>
            <a:r>
              <a:rPr lang="en-US" dirty="0" smtClean="0">
                <a:effectLst/>
              </a:rPr>
              <a:t>Richard also configures the Contoso Sales Application as an Operations Manager Distributed Application. You will see how Distributed Applications allow IT to group, view and manage the disparate components of multi-tiered applications, giving IT the ability to set and achieve the Service Level Objectives agreed with their application owners. Richard then creates SLA dashboards so he can share is SLA data transparently with the Contoso Line of Business managers and executives. </a:t>
            </a:r>
          </a:p>
          <a:p>
            <a:r>
              <a:rPr lang="en-US" dirty="0" smtClean="0">
                <a:effectLst/>
              </a:rPr>
              <a:t>Furthermore to provide quicker resolution and maintain a high level of service, Richard leverages the deep insight that Application Performance Monitoring provides into the Sales Application. Richard is able to quickly identify SQL connection issues at the code layer and pass detailed information of the issue to the application developers.  </a:t>
            </a:r>
          </a:p>
          <a:p>
            <a:r>
              <a:rPr lang="en-US" dirty="0" smtClean="0">
                <a:effectLst/>
              </a:rPr>
              <a:t> </a:t>
            </a:r>
          </a:p>
          <a:p>
            <a:r>
              <a:rPr lang="en-US" b="1" dirty="0" smtClean="0">
                <a:effectLst/>
              </a:rPr>
              <a:t>Capabilities or Components Used in this Story:</a:t>
            </a:r>
            <a:endParaRPr lang="en-US" dirty="0" smtClean="0">
              <a:effectLst/>
            </a:endParaRPr>
          </a:p>
          <a:p>
            <a:r>
              <a:rPr lang="en-US" b="1" dirty="0" smtClean="0">
                <a:effectLst/>
              </a:rPr>
              <a:t>System Center 2012 R2:</a:t>
            </a:r>
            <a:r>
              <a:rPr lang="en-US" dirty="0" smtClean="0">
                <a:effectLst/>
              </a:rPr>
              <a:t> Operations Manager, Management Packs, Distributed Application, Service Level Tracking, Service Level Objective, Dashboards, Reports, Application Performance Monitoring (APM), Virtual Machine Manager, Service Templates.</a:t>
            </a:r>
          </a:p>
          <a:p>
            <a:r>
              <a:rPr lang="en-US" b="1" dirty="0" smtClean="0">
                <a:effectLst/>
              </a:rPr>
              <a:t>SQL Server 2012:</a:t>
            </a:r>
            <a:r>
              <a:rPr lang="en-US" dirty="0" smtClean="0">
                <a:effectLst/>
              </a:rPr>
              <a:t> SQL Server 2012 Database Engine</a:t>
            </a:r>
          </a:p>
          <a:p>
            <a:r>
              <a:rPr lang="en-US" b="1" dirty="0" err="1" smtClean="0">
                <a:effectLst/>
              </a:rPr>
              <a:t>DevOps</a:t>
            </a:r>
            <a:r>
              <a:rPr lang="en-US" b="1" dirty="0" smtClean="0">
                <a:effectLst/>
              </a:rPr>
              <a:t> Tools:</a:t>
            </a:r>
            <a:r>
              <a:rPr lang="en-US" dirty="0" smtClean="0">
                <a:effectLst/>
              </a:rPr>
              <a:t> Team Foundation Server (TFP)</a:t>
            </a:r>
          </a:p>
          <a:p>
            <a:endParaRPr lang="en-US" dirty="0">
              <a:effectLst/>
            </a:endParaRPr>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3</a:t>
            </a:fld>
            <a:endParaRPr lang="en-US" dirty="0">
              <a:solidFill>
                <a:prstClr val="black"/>
              </a:solidFill>
            </a:endParaRPr>
          </a:p>
        </p:txBody>
      </p:sp>
    </p:spTree>
    <p:extLst>
      <p:ext uri="{BB962C8B-B14F-4D97-AF65-F5344CB8AC3E}">
        <p14:creationId xmlns:p14="http://schemas.microsoft.com/office/powerpoint/2010/main" val="267897637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effectLst/>
              </a:rPr>
              <a:t>Deliver continuous services through extraction of applications and replication of data across private and cloud infrastructure to project your organization from failure.</a:t>
            </a:r>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767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934907-477C-4893-B2D0-50FA0533CC2B}" type="datetime1">
              <a:rPr lang="en-US" smtClean="0">
                <a:solidFill>
                  <a:prstClr val="black"/>
                </a:solidFill>
              </a:rPr>
              <a:pPr/>
              <a:t>8/1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4</a:t>
            </a:fld>
            <a:endParaRPr lang="en-US" dirty="0">
              <a:solidFill>
                <a:prstClr val="black"/>
              </a:solidFill>
            </a:endParaRPr>
          </a:p>
        </p:txBody>
      </p:sp>
    </p:spTree>
    <p:extLst>
      <p:ext uri="{BB962C8B-B14F-4D97-AF65-F5344CB8AC3E}">
        <p14:creationId xmlns:p14="http://schemas.microsoft.com/office/powerpoint/2010/main" val="263083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rPr>
              <a:t>OPTIONAL:</a:t>
            </a:r>
            <a:r>
              <a:rPr lang="en-US" sz="1200" b="1" kern="1200" baseline="0" dirty="0" smtClean="0">
                <a:solidFill>
                  <a:schemeClr val="tx1"/>
                </a:solidFill>
                <a:effectLst/>
              </a:rPr>
              <a:t> Use this slide or the next one with facts. </a:t>
            </a:r>
          </a:p>
          <a:p>
            <a:endParaRPr lang="en-US" sz="1200" b="1" kern="1200" dirty="0" smtClean="0">
              <a:solidFill>
                <a:schemeClr val="tx1"/>
              </a:solidFill>
              <a:effectLst/>
            </a:endParaRPr>
          </a:p>
          <a:p>
            <a:r>
              <a:rPr lang="en-US" sz="1200" b="1" kern="1200" dirty="0" smtClean="0">
                <a:solidFill>
                  <a:schemeClr val="tx1"/>
                </a:solidFill>
                <a:effectLst/>
              </a:rPr>
              <a:t>Key goal of the slide:</a:t>
            </a:r>
            <a:r>
              <a:rPr lang="en-US" sz="1200" b="1" kern="1200" baseline="0" dirty="0" smtClean="0">
                <a:solidFill>
                  <a:schemeClr val="tx1"/>
                </a:solidFill>
                <a:effectLst/>
              </a:rPr>
              <a:t> </a:t>
            </a:r>
            <a:r>
              <a:rPr lang="en-US" sz="1200" kern="1200" baseline="0" dirty="0" smtClean="0">
                <a:solidFill>
                  <a:schemeClr val="tx1"/>
                </a:solidFill>
                <a:effectLst/>
              </a:rPr>
              <a:t>Get the audience to pause for a moment, engage, and agree on the big trends happening in the business world. </a:t>
            </a:r>
          </a:p>
          <a:p>
            <a:endParaRPr lang="en-US" sz="1200" kern="1200" dirty="0" smtClean="0">
              <a:solidFill>
                <a:schemeClr val="tx1"/>
              </a:solidFill>
              <a:effectLst/>
            </a:endParaRPr>
          </a:p>
          <a:p>
            <a:r>
              <a:rPr lang="en-US" sz="1200" b="1" kern="1200" dirty="0" smtClean="0">
                <a:solidFill>
                  <a:schemeClr val="tx1"/>
                </a:solidFill>
                <a:effectLst/>
              </a:rPr>
              <a:t>Key talking points:</a:t>
            </a:r>
            <a:r>
              <a:rPr lang="en-US" sz="1200" kern="1200" dirty="0" smtClean="0">
                <a:solidFill>
                  <a:schemeClr val="tx1"/>
                </a:solidFill>
                <a:effectLst/>
              </a:rPr>
              <a:t> People, devices and things, apps, data, and all of the</a:t>
            </a:r>
            <a:r>
              <a:rPr lang="en-US" sz="1200" kern="1200" baseline="0" dirty="0" smtClean="0">
                <a:solidFill>
                  <a:schemeClr val="tx1"/>
                </a:solidFill>
                <a:effectLst/>
              </a:rPr>
              <a:t> infrastructure needed to drive this new mobile-first, cloud-first world is changing how technology provides value to the business. </a:t>
            </a:r>
          </a:p>
          <a:p>
            <a:endParaRPr lang="en-US" sz="1200" kern="1200" dirty="0" smtClean="0">
              <a:solidFill>
                <a:schemeClr val="tx1"/>
              </a:solidFill>
              <a:effectLst/>
            </a:endParaRPr>
          </a:p>
          <a:p>
            <a:r>
              <a:rPr lang="en-US" sz="1200" b="1" kern="1200" baseline="0" dirty="0" smtClean="0">
                <a:solidFill>
                  <a:schemeClr val="tx1"/>
                </a:solidFill>
                <a:effectLst/>
              </a:rPr>
              <a:t>Talk track:</a:t>
            </a:r>
            <a:endParaRPr lang="en-US" sz="1200" b="1" kern="1200" dirty="0" smtClean="0">
              <a:solidFill>
                <a:schemeClr val="tx1"/>
              </a:solidFill>
              <a:effectLst/>
            </a:endParaRP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Just a few years ago, could you have imagined that there would be 5.2 billion mobile users? </a:t>
            </a:r>
            <a:r>
              <a:rPr lang="en-US" sz="1200" kern="1200" dirty="0" err="1" smtClean="0">
                <a:solidFill>
                  <a:schemeClr val="tx1"/>
                </a:solidFill>
                <a:effectLst/>
                <a:latin typeface="+mn-lt"/>
                <a:ea typeface="ＭＳ Ｐゴシック" charset="0"/>
                <a:cs typeface="ＭＳ Ｐゴシック" charset="0"/>
              </a:rPr>
              <a:t>Kleiner</a:t>
            </a:r>
            <a:r>
              <a:rPr lang="en-US" sz="1200" kern="1200" dirty="0" smtClean="0">
                <a:solidFill>
                  <a:schemeClr val="tx1"/>
                </a:solidFill>
                <a:effectLst/>
                <a:latin typeface="+mn-lt"/>
                <a:ea typeface="ＭＳ Ｐゴシック" charset="0"/>
                <a:cs typeface="ＭＳ Ｐゴシック" charset="0"/>
              </a:rPr>
              <a:t> Perkins’ recent Internet Trends report says that 30 percent of the 5.2 billion mobile users are on smartphones and that number will continue to dramatically grow.</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 When you add “things” to all of those devices then numbers explode. Morgan Stanley estimates the number of connected things could be as high as 75 </a:t>
            </a:r>
            <a:r>
              <a:rPr lang="en-US" sz="1200" i="1" kern="1200" dirty="0" smtClean="0">
                <a:solidFill>
                  <a:schemeClr val="tx1"/>
                </a:solidFill>
                <a:effectLst/>
                <a:latin typeface="+mn-lt"/>
                <a:ea typeface="ＭＳ Ｐゴシック" charset="0"/>
                <a:cs typeface="ＭＳ Ｐゴシック" charset="0"/>
              </a:rPr>
              <a:t>billion</a:t>
            </a:r>
            <a:r>
              <a:rPr lang="en-US" sz="1200" kern="1200" dirty="0" smtClean="0">
                <a:solidFill>
                  <a:schemeClr val="tx1"/>
                </a:solidFill>
                <a:effectLst/>
                <a:latin typeface="+mn-lt"/>
                <a:ea typeface="ＭＳ Ｐゴシック" charset="0"/>
                <a:cs typeface="ＭＳ Ｐゴシック" charset="0"/>
              </a:rPr>
              <a:t> today. IDC estimates that number will grow to 212 </a:t>
            </a:r>
            <a:r>
              <a:rPr lang="en-US" sz="1200" i="1" kern="1200" dirty="0" smtClean="0">
                <a:solidFill>
                  <a:schemeClr val="tx1"/>
                </a:solidFill>
                <a:effectLst/>
                <a:latin typeface="+mn-lt"/>
                <a:ea typeface="ＭＳ Ｐゴシック" charset="0"/>
                <a:cs typeface="ＭＳ Ｐゴシック" charset="0"/>
              </a:rPr>
              <a:t>billion</a:t>
            </a:r>
            <a:r>
              <a:rPr lang="en-US" sz="1200" kern="1200" dirty="0" smtClean="0">
                <a:solidFill>
                  <a:schemeClr val="tx1"/>
                </a:solidFill>
                <a:effectLst/>
                <a:latin typeface="+mn-lt"/>
                <a:ea typeface="ＭＳ Ｐゴシック" charset="0"/>
                <a:cs typeface="ＭＳ Ｐゴシック" charset="0"/>
              </a:rPr>
              <a:t> by the end of 2020.</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ose devices are running…applications.  Apps are king, with App marketplaces delivering over one million apps today, and growing.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nk about how many business applications you use everyday—and the mix of both SaaS, mobile, and on-premises apps. We’re all familiar with the rise of SaaS with the likes of Salesforce, Concur, Workday; Gartner says that 41 percent of CRM systems are now SaaS based.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Data, as we all well know, continues its exponential growth, thanks to all of those devices and apps, and more and more people using all of those “instrumented” things. IDC forecasts that the “data universe” will be 40 zeta bytes by 2020—90 percent of that giant number will be unstructured data…</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IT infrastructure necessary to run all of this is massive.  Take Microsoft as an example: we have over 1,000,000 servers running in our datacenters worldwide.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is—data, things, apps, infra—all need cloud.  Without cloud, none of what we’ve talked about today could have happened.</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is is dramatically affecting customer expectations. Customers demand connected engagement across channels including, and most importantly, digital.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e competitive landscape has changed: the new competitive mix combines the familiar names with a new breed of technology-powered disruptors. The new generation of competitors can spin a whole business up in weeks using cloud infrastructure and readily-available business and technology resources. </a:t>
            </a:r>
          </a:p>
          <a:p>
            <a:pPr marL="171450" lvl="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All of this is creating a sense of urgency for all of us to think about technology strategy to stay relevant. </a:t>
            </a:r>
          </a:p>
          <a:p>
            <a:pPr marL="171450" indent="-171450">
              <a:buFont typeface="Arial" panose="020B0604020202020204" pitchFamily="34" charset="0"/>
              <a:buChar char="•"/>
            </a:pPr>
            <a:r>
              <a:rPr lang="en-US" sz="1200" kern="1200" dirty="0" smtClean="0">
                <a:solidFill>
                  <a:schemeClr val="tx1"/>
                </a:solidFill>
                <a:effectLst/>
                <a:latin typeface="+mn-lt"/>
                <a:ea typeface="ＭＳ Ｐゴシック" charset="0"/>
                <a:cs typeface="ＭＳ Ｐゴシック" charset="0"/>
              </a:rPr>
              <a:t>This means that most business leaders woke up this morning running technology companies (whether they wanted to or not).</a:t>
            </a:r>
            <a:endParaRPr lang="en-US" sz="1200" dirty="0" smtClean="0"/>
          </a:p>
          <a:p>
            <a:endParaRPr lang="en-US" sz="1200" dirty="0"/>
          </a:p>
        </p:txBody>
      </p:sp>
      <p:sp>
        <p:nvSpPr>
          <p:cNvPr id="4" name="Slide Number Placeholder 3"/>
          <p:cNvSpPr>
            <a:spLocks noGrp="1"/>
          </p:cNvSpPr>
          <p:nvPr>
            <p:ph type="sldNum" sz="quarter" idx="10"/>
          </p:nvPr>
        </p:nvSpPr>
        <p:spPr/>
        <p:txBody>
          <a:bodyPr/>
          <a:lstStyle/>
          <a:p>
            <a:pPr>
              <a:defRPr/>
            </a:pPr>
            <a:fld id="{E53C708A-EC5E-A247-94AC-4652F1646F82}" type="slidenum">
              <a:rPr lang="en-US">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20997468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900" b="1" u="none" kern="1200" dirty="0" smtClean="0">
                <a:solidFill>
                  <a:schemeClr val="tx1"/>
                </a:solidFill>
                <a:effectLst/>
                <a:latin typeface="Segoe UI Light" pitchFamily="34" charset="0"/>
                <a:ea typeface="+mn-ea"/>
                <a:cs typeface="+mn-cs"/>
              </a:rPr>
              <a:t>Failover Priority, Affinity and Anti-Affinity</a:t>
            </a:r>
          </a:p>
          <a:p>
            <a:endParaRPr lang="en-US" sz="900" b="1"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Priority</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With Windows Server 2012 R2, Failover Clustering provides a new capability that allows the administrator to define the startup order of virtual machines running on that cluster, so that in the event of a failure, with a number of virtual machines needing to restart as quickly as possible, some will be prioritized over others, depending on the settings chosen.</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This capability allows administrators to ensure that when resources are constrained upon failover, the most important VMs will start first and get the resources they need, before starting other, less important VM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In addition, the Cluster service takes offline lower priority virtual machines when high-priority virtual machines do not have the necessary memory and other resources to start after a node failure. The freed-up resources can be assigned to high-priority virtual machines.  When necessary, preemption starts with the lowest priority virtual machines and continues to higher priority virtual machines.  Virtual machines that are preempted are later restarted in priority order.</a:t>
            </a:r>
          </a:p>
          <a:p>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Affinity</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With Windows Server 2012 and Windows Server 2012 R2 Failover Clusters, the administrator can define </a:t>
            </a:r>
            <a:r>
              <a:rPr lang="en-US" sz="900" b="1" kern="1200" dirty="0" smtClean="0">
                <a:solidFill>
                  <a:schemeClr val="tx1"/>
                </a:solidFill>
                <a:effectLst/>
                <a:latin typeface="Segoe UI Light" pitchFamily="34" charset="0"/>
                <a:ea typeface="+mn-ea"/>
                <a:cs typeface="+mn-cs"/>
              </a:rPr>
              <a:t>preferred</a:t>
            </a:r>
            <a:r>
              <a:rPr lang="en-US" sz="900" kern="1200" dirty="0" smtClean="0">
                <a:solidFill>
                  <a:schemeClr val="tx1"/>
                </a:solidFill>
                <a:effectLst/>
                <a:latin typeface="Segoe UI Light" pitchFamily="34" charset="0"/>
                <a:ea typeface="+mn-ea"/>
                <a:cs typeface="+mn-cs"/>
              </a:rPr>
              <a:t> and </a:t>
            </a:r>
            <a:r>
              <a:rPr lang="en-US" sz="900" b="1" kern="1200" dirty="0" smtClean="0">
                <a:solidFill>
                  <a:schemeClr val="tx1"/>
                </a:solidFill>
                <a:effectLst/>
                <a:latin typeface="Segoe UI Light" pitchFamily="34" charset="0"/>
                <a:ea typeface="+mn-ea"/>
                <a:cs typeface="+mn-cs"/>
              </a:rPr>
              <a:t>possible owners</a:t>
            </a:r>
            <a:r>
              <a:rPr lang="en-US" sz="900" kern="1200" dirty="0" smtClean="0">
                <a:solidFill>
                  <a:schemeClr val="tx1"/>
                </a:solidFill>
                <a:effectLst/>
                <a:latin typeface="Segoe UI Light" pitchFamily="34" charset="0"/>
                <a:ea typeface="+mn-ea"/>
                <a:cs typeface="+mn-cs"/>
              </a:rPr>
              <a:t>.</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For a given VM (technically any cluster Group) you can configure the preference for node order on failover.  So let’s say that this VM normally runs on Node A and you always want it next to go to Node C if it is available, then preferred owners is a way for you to define a preference of first go to this node, then next go to this other node, then go to this next node.  It’s a priority list, and clustering will walk that list in where to place the VM.  This will give you more explicit control of where VMs go.  More information about Preferred and Possible Owners: </a:t>
            </a:r>
            <a:r>
              <a:rPr lang="en-US" sz="900" u="sng" kern="1200" dirty="0" smtClean="0">
                <a:solidFill>
                  <a:schemeClr val="tx1"/>
                </a:solidFill>
                <a:effectLst/>
                <a:latin typeface="Segoe UI Light" pitchFamily="34" charset="0"/>
                <a:ea typeface="+mn-ea"/>
                <a:cs typeface="+mn-cs"/>
                <a:hlinkClick r:id="rId3"/>
              </a:rPr>
              <a:t>http://support.microsoft.com/kb/299631</a:t>
            </a:r>
            <a:r>
              <a:rPr lang="en-US" sz="900" kern="1200" dirty="0" smtClean="0">
                <a:solidFill>
                  <a:schemeClr val="tx1"/>
                </a:solidFill>
                <a:effectLst/>
                <a:latin typeface="Segoe UI Light" pitchFamily="34" charset="0"/>
                <a:ea typeface="+mn-ea"/>
                <a:cs typeface="+mn-cs"/>
              </a:rPr>
              <a:t>.</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Possible owners on the other hand, is where, for a given VM (technically any cluster Resource) you can configure the nodes which the VM has the possibility of failing over to.  By default it’s all nodes, but if you have a specific node you never want this VM to failover to you can remove it from being a possible owner and prevent it.</a:t>
            </a:r>
          </a:p>
          <a:p>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Anti-Affinity</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Possible owners is one way to try to ensure that related VMs stay apart on different nodes, with each VM having a different set of possible owners to another, however there is another way.</a:t>
            </a:r>
          </a:p>
          <a:p>
            <a:endParaRPr lang="en-US" sz="900" kern="1200" dirty="0" smtClean="0">
              <a:solidFill>
                <a:schemeClr val="tx1"/>
              </a:solidFill>
              <a:effectLst/>
              <a:latin typeface="Segoe UI Light" pitchFamily="34" charset="0"/>
              <a:ea typeface="+mn-ea"/>
              <a:cs typeface="+mn-cs"/>
            </a:endParaRPr>
          </a:p>
          <a:p>
            <a:r>
              <a:rPr lang="en-US" sz="900" kern="1200" dirty="0" err="1" smtClean="0">
                <a:solidFill>
                  <a:schemeClr val="tx1"/>
                </a:solidFill>
                <a:effectLst/>
                <a:latin typeface="Segoe UI Light" pitchFamily="34" charset="0"/>
                <a:ea typeface="+mn-ea"/>
                <a:cs typeface="+mn-cs"/>
              </a:rPr>
              <a:t>AntiAffinityClassNames</a:t>
            </a:r>
            <a:r>
              <a:rPr lang="en-US" sz="900" kern="1200" dirty="0" smtClean="0">
                <a:solidFill>
                  <a:schemeClr val="tx1"/>
                </a:solidFill>
                <a:effectLst/>
                <a:latin typeface="Segoe UI Light" pitchFamily="34" charset="0"/>
                <a:ea typeface="+mn-ea"/>
                <a:cs typeface="+mn-cs"/>
              </a:rPr>
              <a:t> is a cluster group property in Windows Failover Clustering used to identify cluster groups that should not be hosted on the same node. When working with clustered Hyper-V environments there is a 1:1 relationship between a cluster group and a virtual machine, and thus we can configure Anti-Affinity for virtual machines using the </a:t>
            </a:r>
            <a:r>
              <a:rPr lang="en-US" sz="900" kern="1200" dirty="0" err="1" smtClean="0">
                <a:solidFill>
                  <a:schemeClr val="tx1"/>
                </a:solidFill>
                <a:effectLst/>
                <a:latin typeface="Segoe UI Light" pitchFamily="34" charset="0"/>
                <a:ea typeface="+mn-ea"/>
                <a:cs typeface="+mn-cs"/>
              </a:rPr>
              <a:t>AntiAffinityClassNames</a:t>
            </a:r>
            <a:r>
              <a:rPr lang="en-US" sz="900" kern="1200" dirty="0" smtClean="0">
                <a:solidFill>
                  <a:schemeClr val="tx1"/>
                </a:solidFill>
                <a:effectLst/>
                <a:latin typeface="Segoe UI Light" pitchFamily="34" charset="0"/>
                <a:ea typeface="+mn-ea"/>
                <a:cs typeface="+mn-cs"/>
              </a:rPr>
              <a:t> property.</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Once configured, Failover Clustering will attempt, as much as it can, to keep VMs that are part of the same group, on different nodes in the cluster.  When combined with the failover priority and the preferred and possible ownership, the granular configuration options provided enable precise control and placement for key virtualized workloads</a:t>
            </a:r>
            <a:endParaRPr lang="en-US" sz="900" b="1" kern="1200" dirty="0" smtClean="0">
              <a:solidFill>
                <a:schemeClr val="tx1"/>
              </a:solidFill>
              <a:effectLst/>
              <a:latin typeface="Segoe UI" pitchFamily="34" charset="0"/>
              <a:ea typeface="+mn-ea"/>
              <a:cs typeface="Segoe UI" pitchFamily="34" charset="0"/>
            </a:endParaRPr>
          </a:p>
          <a:p>
            <a:endParaRPr lang="en-US" sz="900" b="1" kern="1200" dirty="0" smtClean="0">
              <a:solidFill>
                <a:schemeClr val="tx1"/>
              </a:solidFill>
              <a:effectLst/>
              <a:latin typeface="Segoe UI" pitchFamily="34" charset="0"/>
              <a:ea typeface="+mn-ea"/>
              <a:cs typeface="Segoe UI" pitchFamily="34" charset="0"/>
            </a:endParaRPr>
          </a:p>
          <a:p>
            <a:r>
              <a:rPr lang="en-US" sz="900" b="1" kern="1200" dirty="0" smtClean="0">
                <a:solidFill>
                  <a:schemeClr val="tx1"/>
                </a:solidFill>
                <a:effectLst/>
                <a:latin typeface="Segoe UI Light" pitchFamily="34" charset="0"/>
                <a:ea typeface="+mn-ea"/>
                <a:cs typeface="+mn-cs"/>
              </a:rPr>
              <a:t>Microsoft Azure Hyper-V Recovery Manager</a:t>
            </a:r>
          </a:p>
          <a:p>
            <a:r>
              <a:rPr lang="en-US" sz="900" kern="1200" dirty="0" smtClean="0">
                <a:solidFill>
                  <a:schemeClr val="tx1"/>
                </a:solidFill>
                <a:effectLst/>
                <a:latin typeface="Segoe UI Light" pitchFamily="34" charset="0"/>
                <a:ea typeface="+mn-ea"/>
                <a:cs typeface="+mn-cs"/>
              </a:rPr>
              <a:t>Hyper-V Replica is a replication engine, to replicate VMs from site to site (and again, to site), and is configured, typically, using Hyper-V Manager, PowerShell, or VMM.  In smaller environments, customers can quickly configure Replica, on a VM by VM basis, and can maintain simple and efficient control of this replicating environment whilst it stays small.  As the environment grows however, and increases in complexity, it becomes more difficult to configure and manage Hyper-V Replica without PowerShell, or automation tools such as System Center Orchestrator, both of which could be used to automate the failover of replicated VMs from site to sit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Microsoft Azure Hyper-V Recovery Manager however, provides another way</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Microsoft Azure Hyper-V Recovery Manager can help you protect important services by coordinating the replication and recovery of System Center managed private clouds at a secondary location.</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System Center Virtual Machine Manager Private Clouds can be protected through automating the replication of the virtual machines that compose them at a secondary location. The ongoing asynchronous replication of each VM is provided by Hyper-V Replica and is monitored and coordinated by Microsoft Azure Hyper-V Recovery Manager.  The replication </a:t>
            </a:r>
            <a:r>
              <a:rPr lang="en-US" sz="900" b="1" kern="1200" dirty="0" smtClean="0">
                <a:solidFill>
                  <a:schemeClr val="tx1"/>
                </a:solidFill>
                <a:effectLst/>
                <a:latin typeface="Segoe UI Light" pitchFamily="34" charset="0"/>
                <a:ea typeface="+mn-ea"/>
                <a:cs typeface="+mn-cs"/>
              </a:rPr>
              <a:t>is not</a:t>
            </a:r>
            <a:r>
              <a:rPr lang="en-US" sz="900" kern="1200" dirty="0" smtClean="0">
                <a:solidFill>
                  <a:schemeClr val="tx1"/>
                </a:solidFill>
                <a:effectLst/>
                <a:latin typeface="Segoe UI Light" pitchFamily="34" charset="0"/>
                <a:ea typeface="+mn-ea"/>
                <a:cs typeface="+mn-cs"/>
              </a:rPr>
              <a:t> </a:t>
            </a:r>
            <a:r>
              <a:rPr lang="en-US" sz="900" b="1" kern="1200" dirty="0" smtClean="0">
                <a:solidFill>
                  <a:schemeClr val="tx1"/>
                </a:solidFill>
                <a:effectLst/>
                <a:latin typeface="Segoe UI Light" pitchFamily="34" charset="0"/>
                <a:ea typeface="+mn-ea"/>
                <a:cs typeface="+mn-cs"/>
              </a:rPr>
              <a:t>to</a:t>
            </a:r>
            <a:r>
              <a:rPr lang="en-US" sz="900" kern="1200" dirty="0" smtClean="0">
                <a:solidFill>
                  <a:schemeClr val="tx1"/>
                </a:solidFill>
                <a:effectLst/>
                <a:latin typeface="Segoe UI Light" pitchFamily="34" charset="0"/>
                <a:ea typeface="+mn-ea"/>
                <a:cs typeface="+mn-cs"/>
              </a:rPr>
              <a:t> Microsoft Azure.  The replication exists only between the source and destination sites.  Microsoft Azure Hyper-V Recovery Manager only has visibility into the metadata of the VMs, in order to fail them over successfully.</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The service helps automate the orderly recovery in the event of a site outage at the primary datacenter. VMs can be brought up in an orchestrated fashion to help restore service quickly.  It can also incorporate specific manual activities, and scripts into the process, to ensure granular control over the failover process.  This process can also be used for testing recovery, or temporarily transferring services.</a:t>
            </a:r>
            <a:endParaRPr lang="en-US" dirty="0" smtClean="0"/>
          </a:p>
          <a:p>
            <a:endParaRPr lang="en-US" dirty="0" smtClean="0"/>
          </a:p>
          <a:p>
            <a:r>
              <a:rPr lang="en-US" sz="900" b="1" kern="1200" dirty="0" smtClean="0">
                <a:solidFill>
                  <a:schemeClr val="tx1"/>
                </a:solidFill>
                <a:effectLst/>
                <a:latin typeface="Segoe UI Light" pitchFamily="34" charset="0"/>
                <a:ea typeface="+mn-ea"/>
                <a:cs typeface="+mn-cs"/>
              </a:rPr>
              <a:t>Extended Replication</a:t>
            </a:r>
          </a:p>
          <a:p>
            <a:r>
              <a:rPr lang="en-US" sz="900" kern="1200" dirty="0" smtClean="0">
                <a:solidFill>
                  <a:schemeClr val="tx1"/>
                </a:solidFill>
                <a:effectLst/>
                <a:latin typeface="Segoe UI Light" pitchFamily="34" charset="0"/>
                <a:ea typeface="+mn-ea"/>
                <a:cs typeface="+mn-cs"/>
              </a:rPr>
              <a:t>In Windows Server 2012, Hyper-V Replica would allow replication every 5 minutes, and only between 2 points.  So, for instance, a customer could replicate their VMs to a Service Provider, but that would be the furthest that the VM could be replicated.  The Service Provider wouldn’t easily be able to replicate your VM on to a DR site of their own, for instanc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With Windows Server 2012 R2 Hyper-V, not only have the replication intervals become configurable by the administrator, with the choice of 30 seconds, 5 minutes, or 15 minutes, but the replication capabilities have been enhanced to allow for replication of a VM to a tertiary location.</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In the figure above, the VMs that were previously replicated to a second site, have now been replicated again, to a third site, providing an extra level of resiliency and peace of mind for the customer.  The replication intervals for the extended replication are either 5 minutes, or 15 minutes.  The data that was replicated from Primary to Secondary, will be the same data that will be replicated from Secondary to Tertiary, however the administrator has granular control over ports, initial replication (from Secondary to Tertiary), and recovery points.  Again, as stated earlier, this provides complete flexibility, agnostic of hardware, with the above figure replicating to a low-cost DR site using DAS storage.</a:t>
            </a:r>
          </a:p>
          <a:p>
            <a:r>
              <a:rPr lang="en-US" sz="900" kern="1200" dirty="0" smtClean="0">
                <a:solidFill>
                  <a:schemeClr val="tx1"/>
                </a:solidFill>
                <a:effectLst/>
                <a:latin typeface="Segoe UI Light" pitchFamily="34" charset="0"/>
                <a:ea typeface="+mn-ea"/>
                <a:cs typeface="+mn-cs"/>
              </a:rPr>
              <a:t>Again, this can be configured through Hyper-V Manager, PowerShell or SCVMM.</a:t>
            </a:r>
            <a:endParaRPr lang="en-US" dirty="0" smtClean="0"/>
          </a:p>
          <a:p>
            <a:endParaRPr lang="en-US" sz="900" b="1" kern="1200" dirty="0" smtClean="0">
              <a:solidFill>
                <a:schemeClr val="tx1"/>
              </a:solidFill>
              <a:effectLst/>
              <a:latin typeface="Segoe UI" pitchFamily="34" charset="0"/>
              <a:ea typeface="+mn-ea"/>
              <a:cs typeface="Segoe UI" pitchFamily="34" charset="0"/>
            </a:endParaRP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92C91B0-451A-4B33-8CF6-5F449C330BB5}" type="datetime1">
              <a:rPr lang="en-US" smtClean="0">
                <a:solidFill>
                  <a:prstClr val="black"/>
                </a:solidFill>
              </a:rPr>
              <a:pPr/>
              <a:t>8/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166580784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While transforming your datacenter, you need to have a resilient infrastructure that can provide the resources necessary for your virtualized environment. You need to ensure that your virtual environments are running on a clustered infrastructure, and on shared storage infrastructure. With Windows Server 2012 R2, you can also place your Virtual Machines SQL Databases on an SMB 3.0 share which can be made continuously available. Another thing you have to consider is ensuring that your infrastructure can handle outages with interruption of service. This means that you should build in recovery services to protect against a datacenter outage. With Hyper-V Replica, you can set up recovery services to be able to get your services back up and running in the case of a datacenter outage. You also need to consider how you backup and store your data while also ensuring you can recover efficiently.</a:t>
            </a:r>
          </a:p>
          <a:p>
            <a:r>
              <a:rPr lang="en-US" dirty="0" smtClean="0">
                <a:effectLst/>
              </a:rPr>
              <a:t> </a:t>
            </a:r>
          </a:p>
          <a:p>
            <a:r>
              <a:rPr lang="en-US" b="1" dirty="0" smtClean="0">
                <a:effectLst/>
              </a:rPr>
              <a:t>The Contoso Story: </a:t>
            </a:r>
            <a:r>
              <a:rPr lang="en-US" dirty="0" smtClean="0">
                <a:effectLst/>
              </a:rPr>
              <a:t/>
            </a:r>
            <a:br>
              <a:rPr lang="en-US" dirty="0" smtClean="0">
                <a:effectLst/>
              </a:rPr>
            </a:br>
            <a:r>
              <a:rPr lang="en-US" dirty="0" smtClean="0">
                <a:effectLst/>
              </a:rPr>
              <a:t>Richard has begun to transform his datacenter by moving to Windows Server 2012 R2, System Center 2012 R2. Richard plans to leverage many of the new capabilities available to build a resilient infrastructure. In the story you will see how Richard will use features such as Storage Pools and Clustered File Servers to provide high availability of his storage locations for virtual machines and application data. You will also see how he uses services and features such as Hyper-V Recovery Manager and Data Protection Manager with Microsoft Azure Backup to ensure he can recover quickly and efficiently from disaster. </a:t>
            </a:r>
          </a:p>
          <a:p>
            <a:r>
              <a:rPr lang="en-US" dirty="0" smtClean="0">
                <a:effectLst/>
              </a:rPr>
              <a:t> </a:t>
            </a:r>
          </a:p>
          <a:p>
            <a:r>
              <a:rPr lang="en-US" b="1" dirty="0" smtClean="0">
                <a:effectLst/>
              </a:rPr>
              <a:t>Capabilities or Components Used in this Story:</a:t>
            </a:r>
            <a:endParaRPr lang="en-US" dirty="0" smtClean="0">
              <a:effectLst/>
            </a:endParaRPr>
          </a:p>
          <a:p>
            <a:r>
              <a:rPr lang="en-US" b="1" dirty="0" smtClean="0">
                <a:effectLst/>
              </a:rPr>
              <a:t>Windows Server 2012:</a:t>
            </a:r>
            <a:r>
              <a:rPr lang="en-US" dirty="0" smtClean="0">
                <a:effectLst/>
              </a:rPr>
              <a:t> Hyper-V Manager, Clustered Storage Spaces, Failover Clustering, SMB3 Storage, Hyper-V Replica</a:t>
            </a:r>
          </a:p>
          <a:p>
            <a:r>
              <a:rPr lang="en-US" b="1" dirty="0" smtClean="0">
                <a:effectLst/>
              </a:rPr>
              <a:t>System Center 2012 R2:</a:t>
            </a:r>
            <a:r>
              <a:rPr lang="en-US" dirty="0" smtClean="0">
                <a:effectLst/>
              </a:rPr>
              <a:t> Virtual Machine Manager, Storage Pools, Storage Arrays, Storage Classifications, Scale-Out File Server Clusters, Hyper-V Recovery Manager, Data Protection Manager</a:t>
            </a:r>
          </a:p>
          <a:p>
            <a:r>
              <a:rPr lang="en-US" b="1" dirty="0" smtClean="0">
                <a:effectLst/>
              </a:rPr>
              <a:t>Microsoft Azure: </a:t>
            </a:r>
            <a:r>
              <a:rPr lang="en-US" dirty="0" smtClean="0">
                <a:effectLst/>
              </a:rPr>
              <a:t>Microsoft Azure Backup</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403163016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u="sng" kern="1200" dirty="0" smtClean="0">
                <a:solidFill>
                  <a:schemeClr val="tx1"/>
                </a:solidFill>
                <a:effectLst/>
                <a:latin typeface="Segoe UI Light" pitchFamily="34" charset="0"/>
                <a:ea typeface="+mn-ea"/>
                <a:cs typeface="+mn-cs"/>
              </a:rPr>
              <a:t>On-demand Cloud Capacity</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The Hybrid Cloud Storage model with StorSimple and Microsoft Azure gives customers the ability to have a single solution for both on-premises and cloud storage.  This approach to storage allows customers to continuously scale their storage infrastructure without actually having to buy additional hardware for the data center. This is ideal for file share environments where data growth grows exponentially and the costs associated with storing, protecting, and archiving becomes too costly. </a:t>
            </a:r>
          </a:p>
          <a:p>
            <a:r>
              <a:rPr lang="en-US" sz="900" kern="1200" dirty="0" smtClean="0">
                <a:solidFill>
                  <a:schemeClr val="tx1"/>
                </a:solidFill>
                <a:effectLst/>
                <a:latin typeface="Segoe UI Light" pitchFamily="34" charset="0"/>
                <a:ea typeface="+mn-ea"/>
                <a:cs typeface="+mn-cs"/>
              </a:rPr>
              <a:t>The StorSimple appliance is physically located in the customer data center and connects to the Microsoft Azure cloud. Microsoft Azure becomes a seamless extension of the </a:t>
            </a:r>
            <a:r>
              <a:rPr lang="en-US" sz="900" kern="1200" dirty="0" err="1" smtClean="0">
                <a:solidFill>
                  <a:schemeClr val="tx1"/>
                </a:solidFill>
                <a:effectLst/>
                <a:latin typeface="Segoe UI Light" pitchFamily="34" charset="0"/>
                <a:ea typeface="+mn-ea"/>
                <a:cs typeface="+mn-cs"/>
              </a:rPr>
              <a:t>on-premise</a:t>
            </a:r>
            <a:r>
              <a:rPr lang="en-US" sz="900" kern="1200" dirty="0" smtClean="0">
                <a:solidFill>
                  <a:schemeClr val="tx1"/>
                </a:solidFill>
                <a:effectLst/>
                <a:latin typeface="Segoe UI Light" pitchFamily="34" charset="0"/>
                <a:ea typeface="+mn-ea"/>
                <a:cs typeface="+mn-cs"/>
              </a:rPr>
              <a:t> StorSimple storage solution. The ability to scale storage capacity to the cloud is the key benefit of the Hybrid Cloud Storage model, while maintaining the performance of enterprise applications running in the on-premises data center. </a:t>
            </a:r>
          </a:p>
          <a:p>
            <a:r>
              <a:rPr lang="en-US" sz="900" kern="1200" dirty="0" smtClean="0">
                <a:solidFill>
                  <a:schemeClr val="tx1"/>
                </a:solidFill>
                <a:effectLst/>
                <a:latin typeface="Segoe UI Light" pitchFamily="34" charset="0"/>
                <a:ea typeface="+mn-ea"/>
                <a:cs typeface="+mn-cs"/>
              </a:rPr>
              <a:t>The StorSimple appliance has SSD and SAS drives and data is stored locally. As data fills the local SSD and SAS capacity, the oldest data will be automatically tiered to the cloud. Data in the cloud is continuously available to end-user application such as file shares or SharePoint. When data is accessed that resides in the cloud the data is pulled back to a local tier of storage, on the appliance, with no impact to the end user. </a:t>
            </a:r>
          </a:p>
          <a:p>
            <a:r>
              <a:rPr lang="en-US" sz="900" kern="1200" dirty="0" smtClean="0">
                <a:solidFill>
                  <a:schemeClr val="tx1"/>
                </a:solidFill>
                <a:effectLst/>
                <a:latin typeface="Segoe UI Light" pitchFamily="34" charset="0"/>
                <a:ea typeface="+mn-ea"/>
                <a:cs typeface="+mn-cs"/>
              </a:rPr>
              <a:t>Data is </a:t>
            </a:r>
            <a:r>
              <a:rPr lang="en-US" sz="900" kern="1200" dirty="0" err="1" smtClean="0">
                <a:solidFill>
                  <a:schemeClr val="tx1"/>
                </a:solidFill>
                <a:effectLst/>
                <a:latin typeface="Segoe UI Light" pitchFamily="34" charset="0"/>
                <a:ea typeface="+mn-ea"/>
                <a:cs typeface="+mn-cs"/>
              </a:rPr>
              <a:t>deduplicated</a:t>
            </a:r>
            <a:r>
              <a:rPr lang="en-US" sz="900" kern="1200" dirty="0" smtClean="0">
                <a:solidFill>
                  <a:schemeClr val="tx1"/>
                </a:solidFill>
                <a:effectLst/>
                <a:latin typeface="Segoe UI Light" pitchFamily="34" charset="0"/>
                <a:ea typeface="+mn-ea"/>
                <a:cs typeface="+mn-cs"/>
              </a:rPr>
              <a:t> and compressed, locally, in SAS storage and then encrypted prior to being tiered to the cloud. </a:t>
            </a:r>
          </a:p>
          <a:p>
            <a:r>
              <a:rPr lang="en-US" sz="900" b="1" u="sng" kern="1200" dirty="0" smtClean="0">
                <a:solidFill>
                  <a:schemeClr val="tx1"/>
                </a:solidFill>
                <a:effectLst/>
                <a:latin typeface="Segoe UI Light" pitchFamily="34" charset="0"/>
                <a:ea typeface="+mn-ea"/>
                <a:cs typeface="+mn-cs"/>
              </a:rPr>
              <a:t>Accelerated Disaster Recovery</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Alternatively, StorSimple also has integrated data protection and disaster recovery. The StorSimple solution has the ability to do both local and cloud snapshots. Cloud snapshots are images of the volume data stored in the cloud. Cloud snapshots allow data to be independently used on a secondary appliance for the purpose of disaster recovery. </a:t>
            </a:r>
          </a:p>
          <a:p>
            <a:r>
              <a:rPr lang="en-US" sz="900" kern="1200" dirty="0" smtClean="0">
                <a:solidFill>
                  <a:schemeClr val="tx1"/>
                </a:solidFill>
                <a:effectLst/>
                <a:latin typeface="Segoe UI Light" pitchFamily="34" charset="0"/>
                <a:ea typeface="+mn-ea"/>
                <a:cs typeface="+mn-cs"/>
              </a:rPr>
              <a:t>When a disaster occurs that takes down the data center or some portion of it a secondary appliance can be brought online in another data center. The cloud snapshot can be cloned onto the secondary appliance. The recovery is accelerated due to the metadata being the only thing that is downloaded. The metadata maps to the data being stored in the cloud, for a cloud snapshots. Applications can be brought online with the secondary appliance, as data is requested the data is pulled from the cloud and stored locally. To the end-user, it seems like normal storage and there is no additional steps required to access the data, even though it resides in the cloud. </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156535050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Many organizations are employing storage technologies that drive efficiency with storage and cloud-based solutions that automate and simplify the management of data and data growth. Modern storage components, solutions and management tools can help organizations build easier-to-manage, more efficient and more available storage infrastructures. Many organizations are employing storage technologies that drive efficiency, such as higher-performing and highly automated storage and cloud-based solutions. </a:t>
            </a:r>
          </a:p>
          <a:p>
            <a:r>
              <a:rPr lang="en-US" dirty="0" smtClean="0">
                <a:effectLst/>
              </a:rPr>
              <a:t>The StorSimple solution is an on-premises based appliance that acts as an iSCSI storage target and integrates with Microsoft Azure.  The on-premises appliance has both SSD and HDD storage and extends to Microsoft Azure for and additional tier of storage (cloud storage). To the end user, the StorSimple solution combines both the on-premises SSD and HDD storage with Microsoft Azure into a single storage resource. With deduplication, encryption, auto </a:t>
            </a:r>
            <a:r>
              <a:rPr lang="en-US" dirty="0" err="1" smtClean="0">
                <a:effectLst/>
              </a:rPr>
              <a:t>tiering</a:t>
            </a:r>
            <a:r>
              <a:rPr lang="en-US" dirty="0" smtClean="0">
                <a:effectLst/>
              </a:rPr>
              <a:t> and local and cloud snapshots the StorSimple solution provides an enterprise class storage platform that provide endless capacity and data resilience.  </a:t>
            </a:r>
          </a:p>
          <a:p>
            <a:r>
              <a:rPr lang="en-US" b="1" dirty="0" smtClean="0">
                <a:effectLst/>
              </a:rPr>
              <a:t> </a:t>
            </a:r>
            <a:endParaRPr lang="en-US" dirty="0" smtClean="0">
              <a:effectLst/>
            </a:endParaRPr>
          </a:p>
          <a:p>
            <a:r>
              <a:rPr lang="en-US" b="1" dirty="0" smtClean="0">
                <a:effectLst/>
              </a:rPr>
              <a:t>The Contoso Story:</a:t>
            </a:r>
            <a:endParaRPr lang="en-US" dirty="0" smtClean="0">
              <a:effectLst/>
            </a:endParaRPr>
          </a:p>
          <a:p>
            <a:r>
              <a:rPr lang="en-US" dirty="0" smtClean="0">
                <a:effectLst/>
              </a:rPr>
              <a:t>Richard has recently purchased a StorSimple solution for his Contoso datacenter. In this story you will see how Richard uses Windows Server 2012 R2 and StorSimple technologies to provide enterprise class storage infrastructure to the Contoso business. </a:t>
            </a:r>
          </a:p>
          <a:p>
            <a:r>
              <a:rPr lang="en-US" dirty="0" smtClean="0">
                <a:effectLst/>
              </a:rPr>
              <a:t>Richard is able to present a highly resilience storage infrastructure that is underpinned with data protection policy to schedule local and cloud stored snapshots and auto tier less frequently used data blocks to cloud storage. This story also shows how Richard can quickly and efficiently leverage his cloud stored data to recover from data loss and catastrophic disaster events.</a:t>
            </a:r>
          </a:p>
          <a:p>
            <a:r>
              <a:rPr lang="en-US" dirty="0" smtClean="0">
                <a:effectLst/>
              </a:rPr>
              <a:t> </a:t>
            </a:r>
          </a:p>
          <a:p>
            <a:r>
              <a:rPr lang="en-US" b="1" dirty="0" smtClean="0">
                <a:effectLst/>
              </a:rPr>
              <a:t>Capabilities or Components Used in this Story:</a:t>
            </a:r>
            <a:endParaRPr lang="en-US" dirty="0" smtClean="0">
              <a:effectLst/>
            </a:endParaRPr>
          </a:p>
          <a:p>
            <a:r>
              <a:rPr lang="en-US" b="1" dirty="0" smtClean="0">
                <a:effectLst/>
              </a:rPr>
              <a:t>System Center 2012 R2:</a:t>
            </a:r>
            <a:r>
              <a:rPr lang="en-US" dirty="0" smtClean="0">
                <a:effectLst/>
              </a:rPr>
              <a:t> ISCSI Initiator, Volume Extensions, </a:t>
            </a:r>
          </a:p>
          <a:p>
            <a:r>
              <a:rPr lang="en-US" b="1" dirty="0" smtClean="0">
                <a:effectLst/>
              </a:rPr>
              <a:t>StorSimple: </a:t>
            </a:r>
            <a:r>
              <a:rPr lang="en-US" dirty="0" smtClean="0">
                <a:effectLst/>
              </a:rPr>
              <a:t>StorSimple Data Protection Polices, Volume Groups, Snapshot, Cloud Snapshot, Snapshot Cloning.</a:t>
            </a:r>
          </a:p>
          <a:p>
            <a:r>
              <a:rPr lang="en-US" b="1" dirty="0" smtClean="0">
                <a:effectLst/>
              </a:rPr>
              <a:t>Microsoft Azure: </a:t>
            </a:r>
            <a:r>
              <a:rPr lang="en-US" dirty="0" smtClean="0">
                <a:effectLst/>
              </a:rPr>
              <a:t>Microsoft Azure Storage</a:t>
            </a:r>
          </a:p>
          <a:p>
            <a:endParaRPr lang="en-US" dirty="0">
              <a:effectLst/>
            </a:endParaRPr>
          </a:p>
        </p:txBody>
      </p:sp>
      <p:sp>
        <p:nvSpPr>
          <p:cNvPr id="4" name="Header Placeholder 3"/>
          <p:cNvSpPr>
            <a:spLocks noGrp="1"/>
          </p:cNvSpPr>
          <p:nvPr>
            <p:ph type="hdr" sz="quarter" idx="10"/>
          </p:nvPr>
        </p:nvSpPr>
        <p:spPr/>
        <p:txBody>
          <a:bodyPr/>
          <a:lstStyle/>
          <a:p>
            <a:r>
              <a:rPr lang="en-US" smtClean="0">
                <a:solidFill>
                  <a:prstClr val="black"/>
                </a:solidFill>
              </a:rPr>
              <a:t>Immersion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8/17/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36410038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294843771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01</a:t>
            </a:fld>
            <a:endParaRPr lang="en-US" dirty="0">
              <a:solidFill>
                <a:prstClr val="black"/>
              </a:solidFill>
            </a:endParaRPr>
          </a:p>
        </p:txBody>
      </p:sp>
      <p:sp>
        <p:nvSpPr>
          <p:cNvPr id="11" name="Date Placeholder 10"/>
          <p:cNvSpPr>
            <a:spLocks noGrp="1"/>
          </p:cNvSpPr>
          <p:nvPr>
            <p:ph type="dt" idx="14"/>
          </p:nvPr>
        </p:nvSpPr>
        <p:spPr/>
        <p:txBody>
          <a:bodyPr/>
          <a:lstStyle/>
          <a:p>
            <a:fld id="{F36D15E8-9E44-475B-B240-50E4F6A7879C}" type="datetime8">
              <a:rPr lang="en-US" smtClean="0">
                <a:solidFill>
                  <a:prstClr val="black"/>
                </a:solidFill>
              </a:rPr>
              <a:pPr/>
              <a:t>8/17/2015 12:08 PM</a:t>
            </a:fld>
            <a:endParaRPr lang="en-US" dirty="0">
              <a:solidFill>
                <a:prstClr val="black"/>
              </a:solidFill>
            </a:endParaRPr>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solidFill>
                <a:prstClr val="black"/>
              </a:solidFill>
            </a:endParaRPr>
          </a:p>
        </p:txBody>
      </p:sp>
    </p:spTree>
    <p:extLst>
      <p:ext uri="{BB962C8B-B14F-4D97-AF65-F5344CB8AC3E}">
        <p14:creationId xmlns:p14="http://schemas.microsoft.com/office/powerpoint/2010/main" val="2532070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9.xml"/><Relationship Id="rId5" Type="http://schemas.openxmlformats.org/officeDocument/2006/relationships/image" Target="../media/image13.png"/><Relationship Id="rId4" Type="http://schemas.openxmlformats.org/officeDocument/2006/relationships/image" Target="../media/image9.pn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Master" Target="../slideMasters/slideMaster10.xml"/><Relationship Id="rId5" Type="http://schemas.openxmlformats.org/officeDocument/2006/relationships/image" Target="../media/image22.pn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352921070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5477752"/>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187"/>
            <a:ext cx="12194111" cy="6856813"/>
          </a:xfrm>
          <a:prstGeom prst="rect">
            <a:avLst/>
          </a:prstGeom>
        </p:spPr>
      </p:pic>
      <p:sp>
        <p:nvSpPr>
          <p:cNvPr id="5" name="Text Placeholder 4"/>
          <p:cNvSpPr>
            <a:spLocks noGrp="1"/>
          </p:cNvSpPr>
          <p:nvPr>
            <p:ph type="body" sz="quarter" idx="12" hasCustomPrompt="1"/>
          </p:nvPr>
        </p:nvSpPr>
        <p:spPr>
          <a:xfrm>
            <a:off x="2958513" y="3877271"/>
            <a:ext cx="8785274"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62089" y="1187620"/>
            <a:ext cx="9618071" cy="2689670"/>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386572372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12116"/>
            <a:ext cx="5838875" cy="6878497"/>
          </a:xfrm>
          <a:prstGeom prst="rect">
            <a:avLst/>
          </a:prstGeom>
        </p:spPr>
      </p:pic>
      <p:sp>
        <p:nvSpPr>
          <p:cNvPr id="2" name="Title 1"/>
          <p:cNvSpPr>
            <a:spLocks noGrp="1"/>
          </p:cNvSpPr>
          <p:nvPr>
            <p:ph type="title" hasCustomPrompt="1"/>
          </p:nvPr>
        </p:nvSpPr>
        <p:spPr>
          <a:xfrm>
            <a:off x="4751364" y="1187622"/>
            <a:ext cx="7171399" cy="2689650"/>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5647788" y="3877271"/>
            <a:ext cx="6274975"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953627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2" name="Title 1"/>
          <p:cNvSpPr>
            <a:spLocks noGrp="1"/>
          </p:cNvSpPr>
          <p:nvPr>
            <p:ph type="title" hasCustomPrompt="1"/>
          </p:nvPr>
        </p:nvSpPr>
        <p:spPr>
          <a:xfrm>
            <a:off x="4751364" y="1179288"/>
            <a:ext cx="7171399"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29529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3" name="Title 1"/>
          <p:cNvSpPr>
            <a:spLocks noGrp="1"/>
          </p:cNvSpPr>
          <p:nvPr>
            <p:ph type="title" hasCustomPrompt="1"/>
          </p:nvPr>
        </p:nvSpPr>
        <p:spPr>
          <a:xfrm>
            <a:off x="4751363" y="118762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776064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51421"/>
          <a:stretch/>
        </p:blipFill>
        <p:spPr>
          <a:xfrm>
            <a:off x="0" y="1187"/>
            <a:ext cx="5923797" cy="6856814"/>
          </a:xfrm>
          <a:prstGeom prst="rect">
            <a:avLst/>
          </a:prstGeom>
        </p:spPr>
      </p:pic>
      <p:sp>
        <p:nvSpPr>
          <p:cNvPr id="3" name="Title 1"/>
          <p:cNvSpPr>
            <a:spLocks noGrp="1"/>
          </p:cNvSpPr>
          <p:nvPr>
            <p:ph type="title" hasCustomPrompt="1"/>
          </p:nvPr>
        </p:nvSpPr>
        <p:spPr>
          <a:xfrm>
            <a:off x="4751363" y="119229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608477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877209"/>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857372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1682830"/>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05138148"/>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85934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136105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7942873"/>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048058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210598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9912212"/>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972907"/>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81864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3194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7127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5777574"/>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216576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4272990"/>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71311031"/>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3" name="Slide Number Placeholder 7"/>
          <p:cNvSpPr>
            <a:spLocks noGrp="1"/>
          </p:cNvSpPr>
          <p:nvPr>
            <p:ph type="sldNum" sz="quarter" idx="10"/>
          </p:nvPr>
        </p:nvSpPr>
        <p:spPr/>
        <p:txBody>
          <a:bodyPr/>
          <a:lstStyle>
            <a:lvl1pPr defTabSz="913949">
              <a:lnSpc>
                <a:spcPct val="90000"/>
              </a:lnSpc>
              <a:defRPr>
                <a:solidFill>
                  <a:srgbClr val="D2D2D2"/>
                </a:solidFill>
              </a:defRPr>
            </a:lvl1pPr>
          </a:lstStyle>
          <a:p>
            <a:pPr>
              <a:defRPr/>
            </a:pPr>
            <a:fld id="{53AF6356-5EF4-8745-A508-1FD5240EDB6A}" type="slidenum">
              <a:rPr/>
              <a:pPr>
                <a:defRPr/>
              </a:pPr>
              <a:t>‹#›</a:t>
            </a:fld>
            <a:endParaRPr dirty="0"/>
          </a:p>
        </p:txBody>
      </p:sp>
    </p:spTree>
    <p:extLst>
      <p:ext uri="{BB962C8B-B14F-4D97-AF65-F5344CB8AC3E}">
        <p14:creationId xmlns:p14="http://schemas.microsoft.com/office/powerpoint/2010/main" val="1669537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4" y="-312"/>
            <a:ext cx="12198848" cy="6858623"/>
          </a:xfrm>
          <a:prstGeom prst="rect">
            <a:avLst/>
          </a:prstGeom>
        </p:spPr>
      </p:pic>
      <p:pic>
        <p:nvPicPr>
          <p:cNvPr id="6" name="Picture 7"/>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
        <p:nvSpPr>
          <p:cNvPr id="14" name="Title 1"/>
          <p:cNvSpPr>
            <a:spLocks noGrp="1"/>
          </p:cNvSpPr>
          <p:nvPr>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6" name="Subtitle 2"/>
          <p:cNvSpPr>
            <a:spLocks noGrp="1"/>
          </p:cNvSpPr>
          <p:nvPr>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407087866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1" y="-4047"/>
            <a:ext cx="12191377" cy="6866094"/>
          </a:xfrm>
          <a:prstGeom prst="rect">
            <a:avLst/>
          </a:prstGeom>
        </p:spPr>
      </p:pic>
      <p:sp>
        <p:nvSpPr>
          <p:cNvPr id="16" name="Rectangle 15"/>
          <p:cNvSpPr/>
          <p:nvPr userDrawn="1"/>
        </p:nvSpPr>
        <p:spPr bwMode="auto">
          <a:xfrm>
            <a:off x="269239" y="291068"/>
            <a:ext cx="6278085" cy="62789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119390125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1" y="-4047"/>
            <a:ext cx="12191377" cy="6866094"/>
          </a:xfrm>
          <a:prstGeom prst="rect">
            <a:avLst/>
          </a:prstGeom>
        </p:spPr>
      </p:pic>
    </p:spTree>
    <p:extLst>
      <p:ext uri="{BB962C8B-B14F-4D97-AF65-F5344CB8AC3E}">
        <p14:creationId xmlns:p14="http://schemas.microsoft.com/office/powerpoint/2010/main" val="3373890247"/>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386721352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2589521165"/>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196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4385022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938018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528939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291070"/>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42692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187">
          <p15:clr>
            <a:srgbClr val="FBAE40"/>
          </p15:clr>
        </p15:guide>
        <p15:guide id="4294967295" pos="17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7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4" y="-312"/>
            <a:ext cx="12198848" cy="6858623"/>
          </a:xfrm>
          <a:prstGeom prst="rect">
            <a:avLst/>
          </a:prstGeom>
        </p:spPr>
      </p:pic>
      <p:pic>
        <p:nvPicPr>
          <p:cNvPr id="6" name="Picture 7"/>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
        <p:nvSpPr>
          <p:cNvPr id="14" name="Title 1"/>
          <p:cNvSpPr>
            <a:spLocks noGrp="1"/>
          </p:cNvSpPr>
          <p:nvPr>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6" name="Subtitle 2"/>
          <p:cNvSpPr>
            <a:spLocks noGrp="1"/>
          </p:cNvSpPr>
          <p:nvPr>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814642462"/>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8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1" y="-4047"/>
            <a:ext cx="12191377" cy="6866094"/>
          </a:xfrm>
          <a:prstGeom prst="rect">
            <a:avLst/>
          </a:prstGeom>
        </p:spPr>
      </p:pic>
      <p:sp>
        <p:nvSpPr>
          <p:cNvPr id="16" name="Rectangle 15"/>
          <p:cNvSpPr/>
          <p:nvPr userDrawn="1"/>
        </p:nvSpPr>
        <p:spPr bwMode="auto">
          <a:xfrm>
            <a:off x="269239" y="291068"/>
            <a:ext cx="6278085" cy="62789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648533143"/>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1" y="-4047"/>
            <a:ext cx="12191377" cy="6866094"/>
          </a:xfrm>
          <a:prstGeom prst="rect">
            <a:avLst/>
          </a:prstGeom>
        </p:spPr>
      </p:pic>
    </p:spTree>
    <p:extLst>
      <p:ext uri="{BB962C8B-B14F-4D97-AF65-F5344CB8AC3E}">
        <p14:creationId xmlns:p14="http://schemas.microsoft.com/office/powerpoint/2010/main" val="1586370491"/>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427420208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6931051"/>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291070"/>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179705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187">
          <p15:clr>
            <a:srgbClr val="FBAE40"/>
          </p15:clr>
        </p15:guide>
        <p15:guide id="4294967295" pos="173">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solidFill>
                  <a:srgbClr val="D2D2D2"/>
                </a:solidFill>
              </a:rPr>
              <a:pPr>
                <a:lnSpc>
                  <a:spcPct val="90000"/>
                </a:lnSpc>
              </a:pPr>
              <a:t>‹#›</a:t>
            </a:fld>
            <a:endParaRPr dirty="0">
              <a:solidFill>
                <a:srgbClr val="D2D2D2"/>
              </a:solidFill>
            </a:endParaRPr>
          </a:p>
        </p:txBody>
      </p:sp>
    </p:spTree>
    <p:extLst>
      <p:ext uri="{BB962C8B-B14F-4D97-AF65-F5344CB8AC3E}">
        <p14:creationId xmlns:p14="http://schemas.microsoft.com/office/powerpoint/2010/main" val="1514710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7_Title Slide Solid">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41"/>
          <a:stretch/>
        </p:blipFill>
        <p:spPr>
          <a:xfrm>
            <a:off x="0" y="-1"/>
            <a:ext cx="12196900" cy="6858001"/>
          </a:xfrm>
          <a:prstGeom prst="rect">
            <a:avLst/>
          </a:prstGeom>
        </p:spPr>
      </p:pic>
      <p:pic>
        <p:nvPicPr>
          <p:cNvPr id="15" name="Picture 14" descr="CloudOS original.pn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8115191" y="1890803"/>
            <a:ext cx="2228605" cy="2290483"/>
          </a:xfrm>
          <a:prstGeom prst="rect">
            <a:avLst/>
          </a:prstGeom>
        </p:spPr>
      </p:pic>
      <p:sp>
        <p:nvSpPr>
          <p:cNvPr id="12" name="Rectangle 11"/>
          <p:cNvSpPr/>
          <p:nvPr userDrawn="1"/>
        </p:nvSpPr>
        <p:spPr>
          <a:xfrm>
            <a:off x="0" y="-35532"/>
            <a:ext cx="7739445" cy="6893533"/>
          </a:xfrm>
          <a:prstGeom prst="rect">
            <a:avLst/>
          </a:prstGeom>
          <a:gradFill>
            <a:gsLst>
              <a:gs pos="16000">
                <a:srgbClr val="002244">
                  <a:alpha val="99000"/>
                </a:srgbClr>
              </a:gs>
              <a:gs pos="100000">
                <a:srgbClr val="022141">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05" fontAlgn="base">
              <a:spcBef>
                <a:spcPct val="0"/>
              </a:spcBef>
              <a:spcAft>
                <a:spcPct val="0"/>
              </a:spcAft>
            </a:pPr>
            <a:endParaRPr lang="en-US" sz="1765">
              <a:solidFill>
                <a:srgbClr val="FFFFFF"/>
              </a:solidFill>
            </a:endParaRPr>
          </a:p>
        </p:txBody>
      </p:sp>
      <p:sp>
        <p:nvSpPr>
          <p:cNvPr id="17" name="Title 1"/>
          <p:cNvSpPr>
            <a:spLocks noGrp="1"/>
          </p:cNvSpPr>
          <p:nvPr userDrawn="1">
            <p:ph type="ctrTitle"/>
          </p:nvPr>
        </p:nvSpPr>
        <p:spPr>
          <a:xfrm>
            <a:off x="375953" y="1413021"/>
            <a:ext cx="5042713" cy="2488894"/>
          </a:xfrm>
        </p:spPr>
        <p:txBody>
          <a:bodyPr/>
          <a:lstStyle>
            <a:lvl1pPr>
              <a:defRPr sz="5098"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6015" y="4229633"/>
            <a:ext cx="7680958" cy="607067"/>
          </a:xfrm>
        </p:spPr>
        <p:txBody>
          <a:bodyPr anchor="ctr"/>
          <a:lstStyle>
            <a:lvl1pPr marL="0" indent="0" algn="l">
              <a:lnSpc>
                <a:spcPts val="2549"/>
              </a:lnSpc>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1362" b="-16"/>
          <a:stretch/>
        </p:blipFill>
        <p:spPr>
          <a:xfrm>
            <a:off x="6768319" y="141642"/>
            <a:ext cx="4663610" cy="5304599"/>
          </a:xfrm>
          <a:prstGeom prst="rect">
            <a:avLst/>
          </a:prstGeom>
          <a:effectLst>
            <a:outerShdw blurRad="114300" dist="38100" dir="2700000" algn="tl" rotWithShape="0">
              <a:prstClr val="black">
                <a:alpha val="40000"/>
              </a:prstClr>
            </a:outerShdw>
          </a:effec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000000"/>
                  </a:gs>
                  <a:gs pos="30000">
                    <a:srgbClr val="000000"/>
                  </a:gs>
                </a:gsLst>
                <a:lin ang="5400000" scaled="0"/>
              </a:gradFill>
              <a:ea typeface="ＭＳ Ｐゴシック"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000000"/>
                  </a:gs>
                  <a:gs pos="30000">
                    <a:srgbClr val="000000"/>
                  </a:gs>
                </a:gsLst>
                <a:lin ang="5400000" scaled="0"/>
              </a:gradFill>
              <a:ea typeface="ＭＳ Ｐゴシック" charset="0"/>
            </a:endParaRPr>
          </a:p>
        </p:txBody>
      </p:sp>
    </p:spTree>
    <p:extLst>
      <p:ext uri="{BB962C8B-B14F-4D97-AF65-F5344CB8AC3E}">
        <p14:creationId xmlns:p14="http://schemas.microsoft.com/office/powerpoint/2010/main" val="2554410466"/>
      </p:ext>
    </p:extLst>
  </p:cSld>
  <p:clrMapOvr>
    <a:masterClrMapping/>
  </p:clrMapOvr>
  <p:transition spd="slow">
    <p:wipe dir="r"/>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Blue Tile Title">
    <p:spTree>
      <p:nvGrpSpPr>
        <p:cNvPr id="1" name=""/>
        <p:cNvGrpSpPr/>
        <p:nvPr/>
      </p:nvGrpSpPr>
      <p:grpSpPr>
        <a:xfrm>
          <a:off x="0" y="0"/>
          <a:ext cx="0" cy="0"/>
          <a:chOff x="0" y="0"/>
          <a:chExt cx="0" cy="0"/>
        </a:xfrm>
      </p:grpSpPr>
      <p:pic>
        <p:nvPicPr>
          <p:cNvPr id="4" name="Picture 3" descr="CloudOS original.png"/>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a:stretch/>
        </p:blipFill>
        <p:spPr>
          <a:xfrm>
            <a:off x="0" y="0"/>
            <a:ext cx="12192001" cy="6858000"/>
          </a:xfrm>
          <a:prstGeom prst="rect">
            <a:avLst/>
          </a:prstGeom>
        </p:spPr>
      </p:pic>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000000"/>
                  </a:gs>
                  <a:gs pos="30000">
                    <a:srgbClr val="00000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000000"/>
                  </a:gs>
                  <a:gs pos="30000">
                    <a:srgbClr val="000000"/>
                  </a:gs>
                </a:gsLst>
                <a:lin ang="5400000" scaled="0"/>
              </a:gradFill>
              <a:ea typeface="ＭＳ Ｐゴシック" charset="0"/>
            </a:endParaRPr>
          </a:p>
        </p:txBody>
      </p:sp>
    </p:spTree>
    <p:extLst>
      <p:ext uri="{BB962C8B-B14F-4D97-AF65-F5344CB8AC3E}">
        <p14:creationId xmlns:p14="http://schemas.microsoft.com/office/powerpoint/2010/main" val="3110865282"/>
      </p:ext>
    </p:extLst>
  </p:cSld>
  <p:clrMapOvr>
    <a:masterClrMapping/>
  </p:clrMapOvr>
  <p:transition spd="slow">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137711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80"/>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27"/>
            </a:lvl1pPr>
            <a:lvl2pPr marL="457157" indent="0" algn="ctr">
              <a:buNone/>
              <a:defRPr sz="1961"/>
            </a:lvl2pPr>
            <a:lvl3pPr marL="914314" indent="0" algn="ctr">
              <a:buNone/>
              <a:defRPr sz="1765"/>
            </a:lvl3pPr>
            <a:lvl4pPr marL="1371471" indent="0" algn="ctr">
              <a:buNone/>
              <a:defRPr sz="1568"/>
            </a:lvl4pPr>
            <a:lvl5pPr marL="1828628" indent="0" algn="ctr">
              <a:buNone/>
              <a:defRPr sz="1568"/>
            </a:lvl5pPr>
            <a:lvl6pPr marL="2285785" indent="0" algn="ctr">
              <a:buNone/>
              <a:defRPr sz="1568"/>
            </a:lvl6pPr>
            <a:lvl7pPr marL="2742942" indent="0" algn="ctr">
              <a:buNone/>
              <a:defRPr sz="1568"/>
            </a:lvl7pPr>
            <a:lvl8pPr marL="3200099" indent="0" algn="ctr">
              <a:buNone/>
              <a:defRPr sz="1568"/>
            </a:lvl8pPr>
            <a:lvl9pPr marL="3657256" indent="0" algn="ctr">
              <a:buNone/>
              <a:defRPr sz="1568"/>
            </a:lvl9pPr>
          </a:lstStyle>
          <a:p>
            <a:r>
              <a:rPr lang="en-US" dirty="0" smtClean="0"/>
              <a:t>Click to edit Master subtitle style</a:t>
            </a:r>
            <a:endParaRPr lang="en-US" dirty="0"/>
          </a:p>
        </p:txBody>
      </p:sp>
    </p:spTree>
    <p:extLst>
      <p:ext uri="{BB962C8B-B14F-4D97-AF65-F5344CB8AC3E}">
        <p14:creationId xmlns:p14="http://schemas.microsoft.com/office/powerpoint/2010/main" val="4293463017"/>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74670"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69241" y="2100816"/>
            <a:ext cx="11007660" cy="879910"/>
          </a:xfrm>
        </p:spPr>
        <p:txBody>
          <a:bodyPr/>
          <a:lstStyle>
            <a:lvl1pPr>
              <a:defRPr sz="5885">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3" name="Subtitle 2"/>
          <p:cNvSpPr>
            <a:spLocks noGrp="1"/>
          </p:cNvSpPr>
          <p:nvPr>
            <p:ph type="subTitle" idx="1"/>
          </p:nvPr>
        </p:nvSpPr>
        <p:spPr>
          <a:xfrm>
            <a:off x="269306" y="3778473"/>
            <a:ext cx="8534710" cy="816265"/>
          </a:xfrm>
        </p:spPr>
        <p:txBody>
          <a:bodyPr/>
          <a:lstStyle>
            <a:lvl1pPr marL="0" indent="0" algn="l">
              <a:lnSpc>
                <a:spcPts val="2645"/>
              </a:lnSpc>
              <a:buNone/>
              <a:defRPr sz="2155">
                <a:gradFill>
                  <a:gsLst>
                    <a:gs pos="0">
                      <a:srgbClr val="FFFFFF"/>
                    </a:gs>
                    <a:gs pos="100000">
                      <a:srgbClr val="FFFFFF"/>
                    </a:gs>
                  </a:gsLst>
                  <a:lin ang="5400000" scaled="0"/>
                </a:gradFill>
                <a:latin typeface="+mj-lt"/>
              </a:defRPr>
            </a:lvl1pPr>
            <a:lvl2pPr marL="448270" indent="0" algn="ctr">
              <a:buNone/>
              <a:defRPr>
                <a:solidFill>
                  <a:schemeClr val="tx1">
                    <a:tint val="75000"/>
                  </a:schemeClr>
                </a:solidFill>
              </a:defRPr>
            </a:lvl2pPr>
            <a:lvl3pPr marL="896538" indent="0" algn="ctr">
              <a:buNone/>
              <a:defRPr>
                <a:solidFill>
                  <a:schemeClr val="tx1">
                    <a:tint val="75000"/>
                  </a:schemeClr>
                </a:solidFill>
              </a:defRPr>
            </a:lvl3pPr>
            <a:lvl4pPr marL="1344808" indent="0" algn="ctr">
              <a:buNone/>
              <a:defRPr>
                <a:solidFill>
                  <a:schemeClr val="tx1">
                    <a:tint val="75000"/>
                  </a:schemeClr>
                </a:solidFill>
              </a:defRPr>
            </a:lvl4pPr>
            <a:lvl5pPr marL="1793077" indent="0" algn="ctr">
              <a:buNone/>
              <a:defRPr>
                <a:solidFill>
                  <a:schemeClr val="tx1">
                    <a:tint val="75000"/>
                  </a:schemeClr>
                </a:solidFill>
              </a:defRPr>
            </a:lvl5pPr>
            <a:lvl6pPr marL="2241346" indent="0" algn="ctr">
              <a:buNone/>
              <a:defRPr>
                <a:solidFill>
                  <a:schemeClr val="tx1">
                    <a:tint val="75000"/>
                  </a:schemeClr>
                </a:solidFill>
              </a:defRPr>
            </a:lvl6pPr>
            <a:lvl7pPr marL="2689616" indent="0" algn="ctr">
              <a:buNone/>
              <a:defRPr>
                <a:solidFill>
                  <a:schemeClr val="tx1">
                    <a:tint val="75000"/>
                  </a:schemeClr>
                </a:solidFill>
              </a:defRPr>
            </a:lvl7pPr>
            <a:lvl8pPr marL="3137880" indent="0" algn="ctr">
              <a:buNone/>
              <a:defRPr>
                <a:solidFill>
                  <a:schemeClr val="tx1">
                    <a:tint val="75000"/>
                  </a:schemeClr>
                </a:solidFill>
              </a:defRPr>
            </a:lvl8pPr>
            <a:lvl9pPr marL="3586149" indent="0" algn="ctr">
              <a:buNone/>
              <a:defRPr>
                <a:solidFill>
                  <a:schemeClr val="tx1">
                    <a:tint val="75000"/>
                  </a:schemeClr>
                </a:solidFill>
              </a:defRPr>
            </a:lvl9pPr>
          </a:lstStyle>
          <a:p>
            <a:r>
              <a:rPr lang="en-US" smtClean="0"/>
              <a:t>Click to edit Master subtitle style</a:t>
            </a:r>
          </a:p>
        </p:txBody>
      </p:sp>
      <p:sp>
        <p:nvSpPr>
          <p:cNvPr id="5" name="Text Placeholder 4"/>
          <p:cNvSpPr>
            <a:spLocks noGrp="1"/>
          </p:cNvSpPr>
          <p:nvPr>
            <p:ph type="body" sz="quarter" idx="10"/>
          </p:nvPr>
        </p:nvSpPr>
        <p:spPr>
          <a:xfrm>
            <a:off x="269243" y="3050958"/>
            <a:ext cx="11051235" cy="535255"/>
          </a:xfrm>
        </p:spPr>
        <p:txBody>
          <a:bodyPr anchor="ctr"/>
          <a:lstStyle>
            <a:lvl1pPr marL="0" indent="0">
              <a:lnSpc>
                <a:spcPts val="4120"/>
              </a:lnSpc>
              <a:spcBef>
                <a:spcPts val="0"/>
              </a:spcBef>
              <a:buNone/>
              <a:defRPr sz="2600" b="0">
                <a:gradFill>
                  <a:gsLst>
                    <a:gs pos="0">
                      <a:srgbClr val="FFFFFF"/>
                    </a:gs>
                    <a:gs pos="100000">
                      <a:srgbClr val="FFFFFF"/>
                    </a:gs>
                  </a:gsLst>
                  <a:lin ang="5400000" scaled="0"/>
                </a:gradFill>
                <a:latin typeface="+mj-lt"/>
              </a:defRPr>
            </a:lvl1pPr>
            <a:lvl2pPr marL="0" indent="0">
              <a:buNone/>
              <a:defRPr sz="3430" b="0">
                <a:solidFill>
                  <a:schemeClr val="bg1"/>
                </a:solidFill>
                <a:latin typeface="+mj-lt"/>
              </a:defRPr>
            </a:lvl2pPr>
            <a:lvl3pPr marL="0" indent="0">
              <a:buNone/>
              <a:defRPr sz="3430" b="0">
                <a:solidFill>
                  <a:schemeClr val="bg1"/>
                </a:solidFill>
                <a:latin typeface="+mj-lt"/>
              </a:defRPr>
            </a:lvl3pPr>
            <a:lvl4pPr marL="0" indent="0">
              <a:buNone/>
              <a:defRPr sz="3430" b="0">
                <a:solidFill>
                  <a:schemeClr val="bg1"/>
                </a:solidFill>
                <a:latin typeface="+mj-lt"/>
              </a:defRPr>
            </a:lvl4pPr>
            <a:lvl5pPr marL="0" indent="0">
              <a:buNone/>
              <a:defRPr sz="3430" b="0">
                <a:solidFill>
                  <a:schemeClr val="bg1"/>
                </a:solidFill>
                <a:latin typeface="+mj-lt"/>
              </a:defRPr>
            </a:lvl5pPr>
          </a:lstStyle>
          <a:p>
            <a:pPr lvl="0"/>
            <a:r>
              <a:rPr lang="en-US" smtClean="0"/>
              <a:t>Click to edit Master text styles</a:t>
            </a:r>
          </a:p>
        </p:txBody>
      </p:sp>
    </p:spTree>
    <p:extLst>
      <p:ext uri="{BB962C8B-B14F-4D97-AF65-F5344CB8AC3E}">
        <p14:creationId xmlns:p14="http://schemas.microsoft.com/office/powerpoint/2010/main" val="3341611392"/>
      </p:ext>
    </p:extLst>
  </p:cSld>
  <p:clrMapOvr>
    <a:masterClrMapping/>
  </p:clrMapOvr>
  <p:transition spd="slow">
    <p:wipe dir="r"/>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Title Slide Solid">
    <p:bg>
      <p:bgPr>
        <a:solidFill>
          <a:schemeClr val="accent1"/>
        </a:solidFill>
        <a:effectLst/>
      </p:bgPr>
    </p:bg>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Box 4"/>
          <p:cNvSpPr txBox="1"/>
          <p:nvPr userDrawn="1"/>
        </p:nvSpPr>
        <p:spPr>
          <a:xfrm>
            <a:off x="-1461360" y="-1626557"/>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000000"/>
                  </a:gs>
                  <a:gs pos="30000">
                    <a:srgbClr val="000000"/>
                  </a:gs>
                </a:gsLst>
                <a:lin ang="5400000" scaled="0"/>
              </a:gradFill>
              <a:ea typeface="ＭＳ Ｐゴシック" charset="0"/>
            </a:endParaRPr>
          </a:p>
        </p:txBody>
      </p:sp>
      <p:sp>
        <p:nvSpPr>
          <p:cNvPr id="17" name="Title 1"/>
          <p:cNvSpPr>
            <a:spLocks noGrp="1"/>
          </p:cNvSpPr>
          <p:nvPr>
            <p:ph type="ctrTitle"/>
          </p:nvPr>
        </p:nvSpPr>
        <p:spPr>
          <a:xfrm>
            <a:off x="375953" y="2084172"/>
            <a:ext cx="7681019" cy="1817742"/>
          </a:xfrm>
        </p:spPr>
        <p:txBody>
          <a:bodyPr/>
          <a:lstStyle>
            <a:lvl1pPr>
              <a:defRPr sz="5098" baseline="0">
                <a:solidFill>
                  <a:schemeClr val="bg1"/>
                </a:solidFill>
              </a:defRPr>
            </a:lvl1pPr>
          </a:lstStyle>
          <a:p>
            <a:r>
              <a:rPr lang="en-US" smtClean="0"/>
              <a:t>Click to edit Master title style</a:t>
            </a:r>
            <a:endParaRPr lang="en-US" dirty="0"/>
          </a:p>
        </p:txBody>
      </p:sp>
      <p:sp>
        <p:nvSpPr>
          <p:cNvPr id="19" name="Subtitle 2"/>
          <p:cNvSpPr>
            <a:spLocks noGrp="1"/>
          </p:cNvSpPr>
          <p:nvPr>
            <p:ph type="subTitle" idx="1"/>
          </p:nvPr>
        </p:nvSpPr>
        <p:spPr>
          <a:xfrm>
            <a:off x="376015" y="4229633"/>
            <a:ext cx="7680958" cy="607067"/>
          </a:xfrm>
        </p:spPr>
        <p:txBody>
          <a:bodyPr anchor="ctr"/>
          <a:lstStyle>
            <a:lvl1pPr marL="0" indent="0" algn="l">
              <a:lnSpc>
                <a:spcPts val="2549"/>
              </a:lnSpc>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4071460525"/>
      </p:ext>
    </p:extLst>
  </p:cSld>
  <p:clrMapOvr>
    <a:masterClrMapping/>
  </p:clrMapOvr>
  <p:transition spd="slow">
    <p:wipe dir="r"/>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000000"/>
                  </a:gs>
                  <a:gs pos="30000">
                    <a:srgbClr val="00000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000000"/>
                  </a:gs>
                  <a:gs pos="30000">
                    <a:srgbClr val="000000"/>
                  </a:gs>
                </a:gsLst>
                <a:lin ang="5400000" scaled="0"/>
              </a:gradFill>
              <a:ea typeface="ＭＳ Ｐゴシック" charset="0"/>
            </a:endParaRPr>
          </a:p>
        </p:txBody>
      </p:sp>
    </p:spTree>
    <p:extLst>
      <p:ext uri="{BB962C8B-B14F-4D97-AF65-F5344CB8AC3E}">
        <p14:creationId xmlns:p14="http://schemas.microsoft.com/office/powerpoint/2010/main" val="1992086052"/>
      </p:ext>
    </p:extLst>
  </p:cSld>
  <p:clrMapOvr>
    <a:masterClrMapping/>
  </p:clrMapOvr>
  <p:transition spd="slow">
    <p:wipe dir="r"/>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98"/>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43" y="1189181"/>
            <a:ext cx="11653525" cy="1985246"/>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72" indent="0">
              <a:buNone/>
              <a:defRPr sz="1960"/>
            </a:lvl3pPr>
            <a:lvl4pPr marL="448139" indent="0">
              <a:buNone/>
              <a:defRPr sz="1765"/>
            </a:lvl4pPr>
            <a:lvl5pPr marL="672206"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6908704"/>
      </p:ext>
    </p:extLst>
  </p:cSld>
  <p:clrMapOvr>
    <a:masterClrMapping/>
  </p:clrMapOvr>
  <p:transition spd="slow">
    <p:wipe dir="r"/>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879910"/>
          </a:xfrm>
        </p:spPr>
        <p:txBody>
          <a:bodyPr/>
          <a:lstStyle>
            <a:lvl1pPr>
              <a:defRPr sz="5882">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69302" y="4353453"/>
            <a:ext cx="8534711" cy="1034782"/>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
        <p:nvSpPr>
          <p:cNvPr id="5" name="Text Placeholder 4"/>
          <p:cNvSpPr>
            <a:spLocks noGrp="1"/>
          </p:cNvSpPr>
          <p:nvPr>
            <p:ph type="body" sz="quarter" idx="10"/>
          </p:nvPr>
        </p:nvSpPr>
        <p:spPr>
          <a:xfrm>
            <a:off x="269240" y="2904861"/>
            <a:ext cx="11051237" cy="1350313"/>
          </a:xfrm>
        </p:spPr>
        <p:txBody>
          <a:bodyPr/>
          <a:lstStyle>
            <a:lvl1pPr marL="0" indent="0">
              <a:lnSpc>
                <a:spcPts val="4117"/>
              </a:lnSpc>
              <a:spcBef>
                <a:spcPts val="0"/>
              </a:spcBef>
              <a:buNone/>
              <a:defRPr sz="3921" b="0">
                <a:solidFill>
                  <a:schemeClr val="bg1"/>
                </a:solidFill>
                <a:latin typeface="+mj-lt"/>
              </a:defRPr>
            </a:lvl1pPr>
            <a:lvl2pPr marL="0" indent="0">
              <a:buNone/>
              <a:defRPr sz="3431" b="0">
                <a:solidFill>
                  <a:schemeClr val="bg1"/>
                </a:solidFill>
                <a:latin typeface="+mj-lt"/>
              </a:defRPr>
            </a:lvl2pPr>
            <a:lvl3pPr marL="0" indent="0">
              <a:buNone/>
              <a:defRPr sz="3431" b="0">
                <a:solidFill>
                  <a:schemeClr val="bg1"/>
                </a:solidFill>
                <a:latin typeface="+mj-lt"/>
              </a:defRPr>
            </a:lvl3pPr>
            <a:lvl4pPr marL="0" indent="0">
              <a:buNone/>
              <a:defRPr sz="3431" b="0">
                <a:solidFill>
                  <a:schemeClr val="bg1"/>
                </a:solidFill>
                <a:latin typeface="+mj-lt"/>
              </a:defRPr>
            </a:lvl4pPr>
            <a:lvl5pPr marL="0" indent="0">
              <a:buNone/>
              <a:defRPr sz="3431" b="0">
                <a:solidFill>
                  <a:schemeClr val="bg1"/>
                </a:solidFill>
                <a:latin typeface="+mj-lt"/>
              </a:defRPr>
            </a:lvl5pPr>
          </a:lstStyle>
          <a:p>
            <a:pPr lvl="0"/>
            <a:r>
              <a:rPr lang="en-US" smtClean="0"/>
              <a:t>Click to edit Master text styles</a:t>
            </a:r>
          </a:p>
        </p:txBody>
      </p:sp>
    </p:spTree>
    <p:extLst>
      <p:ext uri="{BB962C8B-B14F-4D97-AF65-F5344CB8AC3E}">
        <p14:creationId xmlns:p14="http://schemas.microsoft.com/office/powerpoint/2010/main" val="896921363"/>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0" name="Picture 9" descr="hanggliders - secondary.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 t="-134" r="1015" b="1451"/>
          <a:stretch/>
        </p:blipFill>
        <p:spPr>
          <a:xfrm>
            <a:off x="0" y="-9293"/>
            <a:ext cx="12192000" cy="6867293"/>
          </a:xfrm>
          <a:prstGeom prst="rect">
            <a:avLst/>
          </a:prstGeom>
        </p:spPr>
      </p:pic>
      <p:sp>
        <p:nvSpPr>
          <p:cNvPr id="5" name="Rectangle 4"/>
          <p:cNvSpPr/>
          <p:nvPr userDrawn="1"/>
        </p:nvSpPr>
        <p:spPr bwMode="auto">
          <a:xfrm>
            <a:off x="272352" y="291068"/>
            <a:ext cx="6271861" cy="6275864"/>
          </a:xfrm>
          <a:prstGeom prst="rect">
            <a:avLst/>
          </a:prstGeom>
          <a:solidFill>
            <a:srgbClr val="0B3A61">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63776" y="470067"/>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269241" y="1428401"/>
            <a:ext cx="5378548" cy="879910"/>
          </a:xfrm>
        </p:spPr>
        <p:txBody>
          <a:bodyPr/>
          <a:lstStyle>
            <a:lvl1pPr>
              <a:defRPr sz="5098">
                <a:solidFill>
                  <a:schemeClr val="bg1"/>
                </a:solidFill>
              </a:defRPr>
            </a:lvl1pPr>
          </a:lstStyle>
          <a:p>
            <a:r>
              <a:rPr lang="en-US" smtClean="0"/>
              <a:t>Click to edit Master title style</a:t>
            </a:r>
            <a:endParaRPr lang="en-US" dirty="0"/>
          </a:p>
        </p:txBody>
      </p:sp>
      <p:sp>
        <p:nvSpPr>
          <p:cNvPr id="13" name="Subtitle 2"/>
          <p:cNvSpPr>
            <a:spLocks noGrp="1"/>
          </p:cNvSpPr>
          <p:nvPr>
            <p:ph type="subTitle" idx="1"/>
          </p:nvPr>
        </p:nvSpPr>
        <p:spPr>
          <a:xfrm>
            <a:off x="269302" y="4353453"/>
            <a:ext cx="5378486" cy="1034782"/>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3385087264"/>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Blue Tile Title">
    <p:spTree>
      <p:nvGrpSpPr>
        <p:cNvPr id="1" name=""/>
        <p:cNvGrpSpPr/>
        <p:nvPr/>
      </p:nvGrpSpPr>
      <p:grpSpPr>
        <a:xfrm>
          <a:off x="0" y="0"/>
          <a:ext cx="0" cy="0"/>
          <a:chOff x="0" y="0"/>
          <a:chExt cx="0" cy="0"/>
        </a:xfrm>
      </p:grpSpPr>
      <p:sp>
        <p:nvSpPr>
          <p:cNvPr id="3" name="TextBox 2"/>
          <p:cNvSpPr txBox="1"/>
          <p:nvPr userDrawn="1"/>
        </p:nvSpPr>
        <p:spPr>
          <a:xfrm>
            <a:off x="-1783301" y="-448276"/>
            <a:ext cx="896425" cy="896552"/>
          </a:xfrm>
          <a:prstGeom prst="rect">
            <a:avLst/>
          </a:prstGeom>
          <a:noFill/>
        </p:spPr>
        <p:txBody>
          <a:bodyPr wrap="none" lIns="179285" tIns="143428" rIns="179285" bIns="143428" rtlCol="0">
            <a:noAutofit/>
          </a:bodyPr>
          <a:lstStyle/>
          <a:p>
            <a:pPr defTabSz="914367">
              <a:lnSpc>
                <a:spcPct val="90000"/>
              </a:lnSpc>
              <a:spcAft>
                <a:spcPts val="588"/>
              </a:spcAft>
            </a:pPr>
            <a:endParaRPr lang="en-US" sz="2353" dirty="0" smtClean="0">
              <a:gradFill>
                <a:gsLst>
                  <a:gs pos="2917">
                    <a:srgbClr val="000000"/>
                  </a:gs>
                  <a:gs pos="30000">
                    <a:srgbClr val="000000"/>
                  </a:gs>
                </a:gsLst>
                <a:lin ang="5400000" scaled="0"/>
              </a:gradFill>
            </a:endParaRPr>
          </a:p>
        </p:txBody>
      </p:sp>
      <p:sp>
        <p:nvSpPr>
          <p:cNvPr id="2" name="TextBox 1"/>
          <p:cNvSpPr txBox="1"/>
          <p:nvPr userDrawn="1"/>
        </p:nvSpPr>
        <p:spPr>
          <a:xfrm>
            <a:off x="15605760" y="-3195559"/>
            <a:ext cx="896425" cy="896552"/>
          </a:xfrm>
          <a:prstGeom prst="rect">
            <a:avLst/>
          </a:prstGeom>
          <a:noFill/>
        </p:spPr>
        <p:txBody>
          <a:bodyPr wrap="none" lIns="179285" tIns="143428" rIns="179285" bIns="143428" rtlCol="0">
            <a:noAutofit/>
          </a:bodyPr>
          <a:lstStyle/>
          <a:p>
            <a:pPr defTabSz="914367">
              <a:lnSpc>
                <a:spcPct val="90000"/>
              </a:lnSpc>
              <a:spcAft>
                <a:spcPts val="588"/>
              </a:spcAft>
            </a:pPr>
            <a:endParaRPr lang="en-US" sz="2353" dirty="0" smtClean="0">
              <a:gradFill>
                <a:gsLst>
                  <a:gs pos="2917">
                    <a:srgbClr val="000000"/>
                  </a:gs>
                  <a:gs pos="30000">
                    <a:srgbClr val="000000"/>
                  </a:gs>
                </a:gsLst>
                <a:lin ang="5400000" scaled="0"/>
              </a:gradFill>
            </a:endParaRPr>
          </a:p>
        </p:txBody>
      </p:sp>
      <p:pic>
        <p:nvPicPr>
          <p:cNvPr id="7" name="Picture 6" descr="Stocksy_txpdf90e07fcg6000_Medium_152099.jpg"/>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a:stretch/>
        </p:blipFill>
        <p:spPr>
          <a:xfrm>
            <a:off x="0" y="0"/>
            <a:ext cx="12191999" cy="6858000"/>
          </a:xfrm>
          <a:prstGeom prst="rect">
            <a:avLst/>
          </a:prstGeom>
        </p:spPr>
      </p:pic>
    </p:spTree>
    <p:extLst>
      <p:ext uri="{BB962C8B-B14F-4D97-AF65-F5344CB8AC3E}">
        <p14:creationId xmlns:p14="http://schemas.microsoft.com/office/powerpoint/2010/main" val="30891594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6"/>
              </a:spcBef>
              <a:spcAft>
                <a:spcPts val="2353"/>
              </a:spcAft>
              <a:buFontTx/>
              <a:buNone/>
              <a:defRPr lang="en-US" sz="5098" b="0" i="0" kern="1200" spc="0" baseline="0" dirty="0" smtClean="0">
                <a:solidFill>
                  <a:schemeClr val="tx2"/>
                </a:solidFill>
                <a:latin typeface="+mj-lt"/>
                <a:ea typeface="+mn-ea"/>
                <a:cs typeface="+mn-cs"/>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9528546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_1">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6"/>
              </a:spcBef>
              <a:spcAft>
                <a:spcPts val="2353"/>
              </a:spcAft>
              <a:buFontTx/>
              <a:buNone/>
              <a:defRPr lang="en-US" sz="5098" b="0" i="0" kern="1200" spc="0" baseline="0" dirty="0" smtClean="0">
                <a:solidFill>
                  <a:schemeClr val="tx2"/>
                </a:solidFill>
                <a:latin typeface="+mj-lt"/>
                <a:ea typeface="+mn-ea"/>
                <a:cs typeface="+mn-cs"/>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7710988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7908048"/>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6"/>
              </a:spcBef>
              <a:spcAft>
                <a:spcPts val="2353"/>
              </a:spcAft>
              <a:buFontTx/>
              <a:buNone/>
              <a:defRPr lang="en-US" sz="5098" b="0" i="0" kern="1200" spc="0" baseline="0" dirty="0" smtClean="0">
                <a:solidFill>
                  <a:schemeClr val="tx2"/>
                </a:solidFill>
                <a:latin typeface="+mj-lt"/>
                <a:ea typeface="+mn-ea"/>
                <a:cs typeface="+mn-cs"/>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smtClean="0"/>
              <a:t>Click to edit Master text</a:t>
            </a:r>
          </a:p>
        </p:txBody>
      </p:sp>
      <p:sp>
        <p:nvSpPr>
          <p:cNvPr id="6" name="Text Placeholder 5"/>
          <p:cNvSpPr>
            <a:spLocks noGrp="1"/>
          </p:cNvSpPr>
          <p:nvPr>
            <p:ph type="body" sz="quarter" idx="13"/>
          </p:nvPr>
        </p:nvSpPr>
        <p:spPr>
          <a:xfrm>
            <a:off x="269240" y="1117577"/>
            <a:ext cx="10816237" cy="803161"/>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Tree>
    <p:extLst>
      <p:ext uri="{BB962C8B-B14F-4D97-AF65-F5344CB8AC3E}">
        <p14:creationId xmlns:p14="http://schemas.microsoft.com/office/powerpoint/2010/main" val="4073172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tx1"/>
                </a:solidFill>
              </a:defRPr>
            </a:lvl1pPr>
          </a:lstStyle>
          <a:p>
            <a:r>
              <a:rPr dirty="0" smtClean="0">
                <a:solidFill>
                  <a:srgbClr val="000000"/>
                </a:solidFill>
              </a:rPr>
              <a:t>Microsoft Confidential</a:t>
            </a:r>
            <a:endParaRPr dirty="0">
              <a:solidFill>
                <a:srgbClr val="000000"/>
              </a:solidFill>
            </a:endParaRPr>
          </a:p>
        </p:txBody>
      </p:sp>
      <p:sp>
        <p:nvSpPr>
          <p:cNvPr id="3" name="Slide Number Placeholder 2"/>
          <p:cNvSpPr>
            <a:spLocks noGrp="1"/>
          </p:cNvSpPr>
          <p:nvPr>
            <p:ph type="sldNum" sz="quarter" idx="11"/>
          </p:nvPr>
        </p:nvSpPr>
        <p:spPr/>
        <p:txBody>
          <a:bodyPr/>
          <a:lstStyle>
            <a:lvl1pPr>
              <a:defRPr>
                <a:solidFill>
                  <a:schemeClr val="tx1"/>
                </a:solidFill>
              </a:defRPr>
            </a:lvl1pPr>
          </a:lstStyle>
          <a:p>
            <a:fld id="{27258FFF-F925-446B-8502-81C933981705}"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877353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955159"/>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1"/>
            <a:ext cx="11653523" cy="927940"/>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14273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63pt Title +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dirty="0" smtClean="0"/>
              <a:t>Click to edit Master text</a:t>
            </a:r>
          </a:p>
        </p:txBody>
      </p:sp>
      <p:sp>
        <p:nvSpPr>
          <p:cNvPr id="6" name="Text Placeholder 5"/>
          <p:cNvSpPr>
            <a:spLocks noGrp="1"/>
          </p:cNvSpPr>
          <p:nvPr>
            <p:ph type="body" sz="quarter" idx="13"/>
          </p:nvPr>
        </p:nvSpPr>
        <p:spPr>
          <a:xfrm>
            <a:off x="269241" y="1117577"/>
            <a:ext cx="10816237" cy="803161"/>
          </a:xfrm>
          <a:prstGeom prst="rect">
            <a:avLst/>
          </a:prstGeom>
        </p:spPr>
        <p:txBody>
          <a:bodyPr lIns="192024" anchor="ctr"/>
          <a:lstStyle>
            <a:lvl1pPr marL="0" indent="0">
              <a:buNone/>
              <a:defRPr lang="en-US" sz="3108"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Tree>
    <p:extLst>
      <p:ext uri="{BB962C8B-B14F-4D97-AF65-F5344CB8AC3E}">
        <p14:creationId xmlns:p14="http://schemas.microsoft.com/office/powerpoint/2010/main" val="598853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98"/>
            </a:lvl1pPr>
          </a:lstStyle>
          <a:p>
            <a:r>
              <a:rPr lang="en-US" dirty="0" smtClean="0"/>
              <a:t>Click to edit Master title style</a:t>
            </a:r>
            <a:endParaRPr lang="en-US" dirty="0"/>
          </a:p>
        </p:txBody>
      </p:sp>
    </p:spTree>
    <p:extLst>
      <p:ext uri="{BB962C8B-B14F-4D97-AF65-F5344CB8AC3E}">
        <p14:creationId xmlns:p14="http://schemas.microsoft.com/office/powerpoint/2010/main" val="863125063"/>
      </p:ext>
    </p:extLst>
  </p:cSld>
  <p:clrMapOvr>
    <a:masterClrMapping/>
  </p:clrMapOvr>
  <p:transition spd="slow">
    <p:wipe dir="r"/>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50pt Title/30pt Sub/Image BG">
    <p:spTree>
      <p:nvGrpSpPr>
        <p:cNvPr id="1" name=""/>
        <p:cNvGrpSpPr/>
        <p:nvPr/>
      </p:nvGrpSpPr>
      <p:grpSpPr>
        <a:xfrm>
          <a:off x="0" y="0"/>
          <a:ext cx="0" cy="0"/>
          <a:chOff x="0" y="0"/>
          <a:chExt cx="0" cy="0"/>
        </a:xfrm>
      </p:grpSpPr>
      <p:pic>
        <p:nvPicPr>
          <p:cNvPr id="2"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flipH="1">
            <a:off x="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2129480"/>
      </p:ext>
    </p:extLst>
  </p:cSld>
  <p:clrMapOvr>
    <a:masterClrMapping/>
  </p:clrMapOvr>
  <p:transition spd="med">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55" y="259792"/>
            <a:ext cx="8964247" cy="1075884"/>
          </a:xfrm>
        </p:spPr>
        <p:txBody>
          <a:bodyPr lIns="146125" tIns="91329" rIns="146125" bIns="91329"/>
          <a:lstStyle>
            <a:lvl1pPr>
              <a:lnSpc>
                <a:spcPts val="6175"/>
              </a:lnSpc>
              <a:defRPr sz="5097" baseline="0">
                <a:solidFill>
                  <a:schemeClr val="tx2"/>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146661530"/>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10596078"/>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6_Title Slide Solid">
    <p:spTree>
      <p:nvGrpSpPr>
        <p:cNvPr id="1" name=""/>
        <p:cNvGrpSpPr/>
        <p:nvPr/>
      </p:nvGrpSpPr>
      <p:grpSpPr>
        <a:xfrm>
          <a:off x="0" y="0"/>
          <a:ext cx="0" cy="0"/>
          <a:chOff x="0" y="0"/>
          <a:chExt cx="0" cy="0"/>
        </a:xfrm>
      </p:grpSpPr>
      <p:pic>
        <p:nvPicPr>
          <p:cNvPr id="10" name="Picture 9" descr="TDC-quadtone.png"/>
          <p:cNvPicPr>
            <a:picLocks noChangeAspect="1"/>
          </p:cNvPicPr>
          <p:nvPr userDrawn="1"/>
        </p:nvPicPr>
        <p:blipFill rotWithShape="1">
          <a:blip r:embed="rId2" cstate="screen">
            <a:alphaModFix/>
            <a:extLst>
              <a:ext uri="{28A0092B-C50C-407E-A947-70E740481C1C}">
                <a14:useLocalDpi xmlns:a14="http://schemas.microsoft.com/office/drawing/2010/main" val="0"/>
              </a:ext>
            </a:extLst>
          </a:blip>
          <a:srcRect/>
          <a:stretch/>
        </p:blipFill>
        <p:spPr>
          <a:xfrm>
            <a:off x="-12312" y="0"/>
            <a:ext cx="12218208" cy="6870507"/>
          </a:xfrm>
          <a:prstGeom prst="rect">
            <a:avLst/>
          </a:prstGeom>
        </p:spPr>
      </p:pic>
      <p:pic>
        <p:nvPicPr>
          <p:cNvPr id="11" name="Picture 10" descr="Stocksy_txpdf90e07fcg6000_Medium_152099.jpg"/>
          <p:cNvPicPr>
            <a:picLocks noChangeAspect="1"/>
          </p:cNvPicPr>
          <p:nvPr userDrawn="1"/>
        </p:nvPicPr>
        <p:blipFill rotWithShape="1">
          <a:blip r:embed="rId3" cstate="screen">
            <a:alphaModFix/>
            <a:extLst>
              <a:ext uri="{28A0092B-C50C-407E-A947-70E740481C1C}">
                <a14:useLocalDpi xmlns:a14="http://schemas.microsoft.com/office/drawing/2010/main" val="0"/>
              </a:ext>
            </a:extLst>
          </a:blip>
          <a:srcRect l="-228" t="-857"/>
          <a:stretch/>
        </p:blipFill>
        <p:spPr>
          <a:xfrm>
            <a:off x="7813656" y="2388220"/>
            <a:ext cx="2657203" cy="2685586"/>
          </a:xfrm>
          <a:prstGeom prst="rect">
            <a:avLst/>
          </a:prstGeom>
        </p:spPr>
      </p:pic>
      <p:pic>
        <p:nvPicPr>
          <p:cNvPr id="18" name="Picture 17"/>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953" y="1413021"/>
            <a:ext cx="5042713" cy="2488894"/>
          </a:xfrm>
        </p:spPr>
        <p:txBody>
          <a:bodyPr/>
          <a:lstStyle>
            <a:lvl1pPr>
              <a:defRPr sz="5098" baseline="0">
                <a:solidFill>
                  <a:schemeClr val="bg1"/>
                </a:solidFill>
              </a:defRPr>
            </a:lvl1pPr>
          </a:lstStyle>
          <a:p>
            <a:r>
              <a:rPr lang="en-US" smtClean="0"/>
              <a:t>Click to edit Master title style</a:t>
            </a:r>
            <a:endParaRPr lang="en-US" dirty="0"/>
          </a:p>
        </p:txBody>
      </p:sp>
      <p:sp>
        <p:nvSpPr>
          <p:cNvPr id="19" name="Subtitle 2"/>
          <p:cNvSpPr>
            <a:spLocks noGrp="1"/>
          </p:cNvSpPr>
          <p:nvPr>
            <p:ph type="subTitle" idx="1"/>
          </p:nvPr>
        </p:nvSpPr>
        <p:spPr>
          <a:xfrm>
            <a:off x="376015" y="4229633"/>
            <a:ext cx="7680958" cy="607067"/>
          </a:xfrm>
        </p:spPr>
        <p:txBody>
          <a:bodyPr anchor="ctr"/>
          <a:lstStyle>
            <a:lvl1pPr marL="0" indent="0" algn="l">
              <a:lnSpc>
                <a:spcPts val="2549"/>
              </a:lnSpc>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4676660" y="386641"/>
            <a:ext cx="8814844" cy="6231987"/>
          </a:xfrm>
          <a:prstGeom prst="rect">
            <a:avLst/>
          </a:prstGeom>
          <a:effectLst>
            <a:outerShdw blurRad="114300" dist="38100" dir="2700000" algn="tl" rotWithShape="0">
              <a:prstClr val="black">
                <a:alpha val="40000"/>
              </a:prstClr>
            </a:outerShdw>
          </a:effectLst>
        </p:spPr>
      </p:pic>
      <p:sp>
        <p:nvSpPr>
          <p:cNvPr id="2" name="TextBox 1"/>
          <p:cNvSpPr txBox="1"/>
          <p:nvPr userDrawn="1"/>
        </p:nvSpPr>
        <p:spPr>
          <a:xfrm>
            <a:off x="-454918" y="39912"/>
            <a:ext cx="896425" cy="896552"/>
          </a:xfrm>
          <a:prstGeom prst="rect">
            <a:avLst/>
          </a:prstGeom>
          <a:noFill/>
        </p:spPr>
        <p:txBody>
          <a:bodyPr wrap="none" lIns="179285" tIns="143428" rIns="179285" bIns="143428" rtlCol="0">
            <a:noAutofit/>
          </a:bodyPr>
          <a:lstStyle/>
          <a:p>
            <a:pPr defTabSz="914367">
              <a:lnSpc>
                <a:spcPct val="90000"/>
              </a:lnSpc>
              <a:spcAft>
                <a:spcPts val="588"/>
              </a:spcAft>
            </a:pPr>
            <a:endParaRPr lang="en-US" sz="2353" dirty="0" smtClean="0">
              <a:gradFill>
                <a:gsLst>
                  <a:gs pos="2917">
                    <a:srgbClr val="000000"/>
                  </a:gs>
                  <a:gs pos="30000">
                    <a:srgbClr val="000000"/>
                  </a:gs>
                </a:gsLst>
                <a:lin ang="5400000" scaled="0"/>
              </a:gradFill>
            </a:endParaRPr>
          </a:p>
        </p:txBody>
      </p:sp>
      <p:sp>
        <p:nvSpPr>
          <p:cNvPr id="3" name="TextBox 2"/>
          <p:cNvSpPr txBox="1"/>
          <p:nvPr userDrawn="1"/>
        </p:nvSpPr>
        <p:spPr>
          <a:xfrm>
            <a:off x="10173549" y="-650487"/>
            <a:ext cx="896425" cy="896552"/>
          </a:xfrm>
          <a:prstGeom prst="rect">
            <a:avLst/>
          </a:prstGeom>
          <a:noFill/>
        </p:spPr>
        <p:txBody>
          <a:bodyPr wrap="none" lIns="179285" tIns="143428" rIns="179285" bIns="143428" rtlCol="0">
            <a:noAutofit/>
          </a:bodyPr>
          <a:lstStyle/>
          <a:p>
            <a:pPr defTabSz="914367">
              <a:lnSpc>
                <a:spcPct val="90000"/>
              </a:lnSpc>
              <a:spcAft>
                <a:spcPts val="588"/>
              </a:spcAft>
            </a:pPr>
            <a:endParaRPr lang="en-US" sz="2353" dirty="0" smtClean="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2828826446"/>
      </p:ext>
    </p:extLst>
  </p:cSld>
  <p:clrMapOvr>
    <a:masterClrMapping/>
  </p:clrMapOvr>
  <p:transition spd="slow">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300312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424" y="-312"/>
            <a:ext cx="12198848" cy="6858623"/>
          </a:xfrm>
          <a:prstGeom prst="rect">
            <a:avLst/>
          </a:prstGeom>
        </p:spPr>
      </p:pic>
      <p:pic>
        <p:nvPicPr>
          <p:cNvPr id="6" name="Picture 7"/>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
        <p:nvSpPr>
          <p:cNvPr id="14" name="Title 1"/>
          <p:cNvSpPr>
            <a:spLocks noGrp="1"/>
          </p:cNvSpPr>
          <p:nvPr>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6" name="Subtitle 2"/>
          <p:cNvSpPr>
            <a:spLocks noGrp="1"/>
          </p:cNvSpPr>
          <p:nvPr>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3299851733"/>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Slide Soli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11" y="-4047"/>
            <a:ext cx="12191377" cy="6866094"/>
          </a:xfrm>
          <a:prstGeom prst="rect">
            <a:avLst/>
          </a:prstGeom>
        </p:spPr>
      </p:pic>
      <p:sp>
        <p:nvSpPr>
          <p:cNvPr id="16" name="Rectangle 15"/>
          <p:cNvSpPr/>
          <p:nvPr userDrawn="1"/>
        </p:nvSpPr>
        <p:spPr bwMode="auto">
          <a:xfrm>
            <a:off x="269239" y="291068"/>
            <a:ext cx="6278085" cy="62789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p:cNvSpPr>
            <a:spLocks noGrp="1"/>
          </p:cNvSpPr>
          <p:nvPr userDrawn="1">
            <p:ph type="ctrTitle"/>
          </p:nvPr>
        </p:nvSpPr>
        <p:spPr>
          <a:xfrm>
            <a:off x="375953" y="1413021"/>
            <a:ext cx="6171371" cy="2488894"/>
          </a:xfrm>
        </p:spPr>
        <p:txBody>
          <a:bodyPr/>
          <a:lstStyle>
            <a:lvl1pPr>
              <a:defRPr sz="5882" baseline="0">
                <a:solidFill>
                  <a:schemeClr val="bg1"/>
                </a:solidFill>
              </a:defRPr>
            </a:lvl1pPr>
          </a:lstStyle>
          <a:p>
            <a:r>
              <a:rPr lang="en-US" smtClean="0"/>
              <a:t>Click to edit Master title style</a:t>
            </a:r>
            <a:endParaRPr lang="en-US" dirty="0"/>
          </a:p>
        </p:txBody>
      </p:sp>
      <p:sp>
        <p:nvSpPr>
          <p:cNvPr id="19" name="Subtitle 2"/>
          <p:cNvSpPr>
            <a:spLocks noGrp="1"/>
          </p:cNvSpPr>
          <p:nvPr userDrawn="1">
            <p:ph type="subTitle" idx="1"/>
          </p:nvPr>
        </p:nvSpPr>
        <p:spPr>
          <a:xfrm>
            <a:off x="375954" y="5296816"/>
            <a:ext cx="5720046" cy="607067"/>
          </a:xfrm>
        </p:spPr>
        <p:txBody>
          <a:bodyPr anchor="ctr"/>
          <a:lstStyle>
            <a:lvl1pPr marL="0" indent="0" algn="l">
              <a:lnSpc>
                <a:spcPct val="100000"/>
              </a:lnSpc>
              <a:spcBef>
                <a:spcPts val="0"/>
              </a:spcBef>
              <a:buNone/>
              <a:defRPr sz="1568">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15134"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TextBox 9"/>
          <p:cNvSpPr txBox="1"/>
          <p:nvPr userDrawn="1"/>
        </p:nvSpPr>
        <p:spPr>
          <a:xfrm>
            <a:off x="9918212" y="-1023944"/>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
        <p:nvSpPr>
          <p:cNvPr id="13" name="TextBox 12"/>
          <p:cNvSpPr txBox="1"/>
          <p:nvPr userDrawn="1"/>
        </p:nvSpPr>
        <p:spPr>
          <a:xfrm>
            <a:off x="11052512" y="-1674286"/>
            <a:ext cx="896425" cy="896552"/>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endParaRPr lang="en-US" sz="2353" dirty="0" smtClean="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123366224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pic>
        <p:nvPicPr>
          <p:cNvPr id="5" name="Picture 4"/>
          <p:cNvPicPr>
            <a:picLocks noChangeAspect="1"/>
          </p:cNvPicPr>
          <p:nvPr userDrawn="1"/>
        </p:nvPicPr>
        <p:blipFill>
          <a:blip r:embed="rId2"/>
          <a:stretch>
            <a:fillRect/>
          </a:stretch>
        </p:blipFill>
        <p:spPr>
          <a:xfrm>
            <a:off x="311" y="-4047"/>
            <a:ext cx="12191377" cy="6866094"/>
          </a:xfrm>
          <a:prstGeom prst="rect">
            <a:avLst/>
          </a:prstGeom>
        </p:spPr>
      </p:pic>
    </p:spTree>
    <p:extLst>
      <p:ext uri="{BB962C8B-B14F-4D97-AF65-F5344CB8AC3E}">
        <p14:creationId xmlns:p14="http://schemas.microsoft.com/office/powerpoint/2010/main" val="27644152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_Blue Tile Title">
    <p:spTree>
      <p:nvGrpSpPr>
        <p:cNvPr id="1" name=""/>
        <p:cNvGrpSpPr/>
        <p:nvPr/>
      </p:nvGrpSpPr>
      <p:grpSpPr>
        <a:xfrm>
          <a:off x="0" y="0"/>
          <a:ext cx="0" cy="0"/>
          <a:chOff x="0" y="0"/>
          <a:chExt cx="0" cy="0"/>
        </a:xfrm>
      </p:grpSpPr>
      <p:sp>
        <p:nvSpPr>
          <p:cNvPr id="2" name="TextBox 1"/>
          <p:cNvSpPr txBox="1"/>
          <p:nvPr userDrawn="1"/>
        </p:nvSpPr>
        <p:spPr>
          <a:xfrm>
            <a:off x="-1783512" y="-448276"/>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
        <p:nvSpPr>
          <p:cNvPr id="3" name="TextBox 2"/>
          <p:cNvSpPr txBox="1"/>
          <p:nvPr userDrawn="1"/>
        </p:nvSpPr>
        <p:spPr>
          <a:xfrm>
            <a:off x="15606507" y="-3195523"/>
            <a:ext cx="896425" cy="896552"/>
          </a:xfrm>
          <a:prstGeom prst="rect">
            <a:avLst/>
          </a:prstGeom>
          <a:noFill/>
        </p:spPr>
        <p:txBody>
          <a:bodyPr wrap="none" lIns="179285" tIns="143428" rIns="179285" bIns="143428"/>
          <a:lstStyle/>
          <a:p>
            <a:pPr defTabSz="913949">
              <a:lnSpc>
                <a:spcPct val="90000"/>
              </a:lnSpc>
              <a:spcAft>
                <a:spcPts val="588"/>
              </a:spcAft>
              <a:defRPr/>
            </a:pPr>
            <a:endParaRPr lang="en-US" sz="2353" dirty="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400399345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1030804"/>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69239" y="291070"/>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456927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187">
          <p15:clr>
            <a:srgbClr val="FBAE40"/>
          </p15:clr>
        </p15:guide>
        <p15:guide id="4294967295" pos="173">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solidFill>
                  <a:srgbClr val="D2D2D2"/>
                </a:solidFill>
              </a:rPr>
              <a:pPr>
                <a:lnSpc>
                  <a:spcPct val="90000"/>
                </a:lnSpc>
              </a:pPr>
              <a:t>‹#›</a:t>
            </a:fld>
            <a:endParaRPr dirty="0">
              <a:solidFill>
                <a:srgbClr val="D2D2D2"/>
              </a:solidFill>
            </a:endParaRPr>
          </a:p>
        </p:txBody>
      </p:sp>
    </p:spTree>
    <p:extLst>
      <p:ext uri="{BB962C8B-B14F-4D97-AF65-F5344CB8AC3E}">
        <p14:creationId xmlns:p14="http://schemas.microsoft.com/office/powerpoint/2010/main" val="1542565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262462145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187"/>
            <a:ext cx="12194111" cy="6856813"/>
          </a:xfrm>
          <a:prstGeom prst="rect">
            <a:avLst/>
          </a:prstGeom>
        </p:spPr>
      </p:pic>
      <p:sp>
        <p:nvSpPr>
          <p:cNvPr id="5" name="Text Placeholder 4"/>
          <p:cNvSpPr>
            <a:spLocks noGrp="1"/>
          </p:cNvSpPr>
          <p:nvPr>
            <p:ph type="body" sz="quarter" idx="12" hasCustomPrompt="1"/>
          </p:nvPr>
        </p:nvSpPr>
        <p:spPr>
          <a:xfrm>
            <a:off x="2958513" y="3877271"/>
            <a:ext cx="8785274"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62089" y="1187620"/>
            <a:ext cx="9618071" cy="2689670"/>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242257402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12116"/>
            <a:ext cx="5838875" cy="6878497"/>
          </a:xfrm>
          <a:prstGeom prst="rect">
            <a:avLst/>
          </a:prstGeom>
        </p:spPr>
      </p:pic>
      <p:sp>
        <p:nvSpPr>
          <p:cNvPr id="2" name="Title 1"/>
          <p:cNvSpPr>
            <a:spLocks noGrp="1"/>
          </p:cNvSpPr>
          <p:nvPr>
            <p:ph type="title" hasCustomPrompt="1"/>
          </p:nvPr>
        </p:nvSpPr>
        <p:spPr>
          <a:xfrm>
            <a:off x="4751364" y="1187622"/>
            <a:ext cx="7171399" cy="2689650"/>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5647788" y="3877271"/>
            <a:ext cx="6274975"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3274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05364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2" name="Title 1"/>
          <p:cNvSpPr>
            <a:spLocks noGrp="1"/>
          </p:cNvSpPr>
          <p:nvPr>
            <p:ph type="title" hasCustomPrompt="1"/>
          </p:nvPr>
        </p:nvSpPr>
        <p:spPr>
          <a:xfrm>
            <a:off x="4751364" y="1179288"/>
            <a:ext cx="7171399"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740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3" name="Title 1"/>
          <p:cNvSpPr>
            <a:spLocks noGrp="1"/>
          </p:cNvSpPr>
          <p:nvPr>
            <p:ph type="title" hasCustomPrompt="1"/>
          </p:nvPr>
        </p:nvSpPr>
        <p:spPr>
          <a:xfrm>
            <a:off x="4751363" y="118762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019228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51421"/>
          <a:stretch/>
        </p:blipFill>
        <p:spPr>
          <a:xfrm>
            <a:off x="0" y="1187"/>
            <a:ext cx="5923797" cy="6856814"/>
          </a:xfrm>
          <a:prstGeom prst="rect">
            <a:avLst/>
          </a:prstGeom>
        </p:spPr>
      </p:pic>
      <p:sp>
        <p:nvSpPr>
          <p:cNvPr id="3" name="Title 1"/>
          <p:cNvSpPr>
            <a:spLocks noGrp="1"/>
          </p:cNvSpPr>
          <p:nvPr>
            <p:ph type="title" hasCustomPrompt="1"/>
          </p:nvPr>
        </p:nvSpPr>
        <p:spPr>
          <a:xfrm>
            <a:off x="4751363" y="119229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171626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547016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357864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084150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91227210"/>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704126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4670607"/>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57657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2026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521878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61701491"/>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767373"/>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07090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269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4461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8984395"/>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0370970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10088744"/>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32390918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7513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187"/>
            <a:ext cx="12194111" cy="6856813"/>
          </a:xfrm>
          <a:prstGeom prst="rect">
            <a:avLst/>
          </a:prstGeom>
        </p:spPr>
      </p:pic>
      <p:sp>
        <p:nvSpPr>
          <p:cNvPr id="5" name="Text Placeholder 4"/>
          <p:cNvSpPr>
            <a:spLocks noGrp="1"/>
          </p:cNvSpPr>
          <p:nvPr>
            <p:ph type="body" sz="quarter" idx="12" hasCustomPrompt="1"/>
          </p:nvPr>
        </p:nvSpPr>
        <p:spPr>
          <a:xfrm>
            <a:off x="2958513" y="3877271"/>
            <a:ext cx="8785274"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62089" y="1187620"/>
            <a:ext cx="9618071" cy="2689670"/>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396591487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12116"/>
            <a:ext cx="5838875" cy="6878497"/>
          </a:xfrm>
          <a:prstGeom prst="rect">
            <a:avLst/>
          </a:prstGeom>
        </p:spPr>
      </p:pic>
      <p:sp>
        <p:nvSpPr>
          <p:cNvPr id="2" name="Title 1"/>
          <p:cNvSpPr>
            <a:spLocks noGrp="1"/>
          </p:cNvSpPr>
          <p:nvPr>
            <p:ph type="title" hasCustomPrompt="1"/>
          </p:nvPr>
        </p:nvSpPr>
        <p:spPr>
          <a:xfrm>
            <a:off x="4751364" y="1187622"/>
            <a:ext cx="7171399" cy="2689650"/>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5647788" y="3877271"/>
            <a:ext cx="6274975"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1396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2" name="Title 1"/>
          <p:cNvSpPr>
            <a:spLocks noGrp="1"/>
          </p:cNvSpPr>
          <p:nvPr>
            <p:ph type="title" hasCustomPrompt="1"/>
          </p:nvPr>
        </p:nvSpPr>
        <p:spPr>
          <a:xfrm>
            <a:off x="4751364" y="1179288"/>
            <a:ext cx="7171399"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71282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3" name="Title 1"/>
          <p:cNvSpPr>
            <a:spLocks noGrp="1"/>
          </p:cNvSpPr>
          <p:nvPr>
            <p:ph type="title" hasCustomPrompt="1"/>
          </p:nvPr>
        </p:nvSpPr>
        <p:spPr>
          <a:xfrm>
            <a:off x="4751363" y="118762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1696180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51421"/>
          <a:stretch/>
        </p:blipFill>
        <p:spPr>
          <a:xfrm>
            <a:off x="0" y="1187"/>
            <a:ext cx="5923797" cy="6856814"/>
          </a:xfrm>
          <a:prstGeom prst="rect">
            <a:avLst/>
          </a:prstGeom>
        </p:spPr>
      </p:pic>
      <p:sp>
        <p:nvSpPr>
          <p:cNvPr id="3" name="Title 1"/>
          <p:cNvSpPr>
            <a:spLocks noGrp="1"/>
          </p:cNvSpPr>
          <p:nvPr>
            <p:ph type="title" hasCustomPrompt="1"/>
          </p:nvPr>
        </p:nvSpPr>
        <p:spPr>
          <a:xfrm>
            <a:off x="4751363" y="119229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523411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1809429"/>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380147"/>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4769537"/>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57011283"/>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0888064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187"/>
            <a:ext cx="12194111" cy="6856813"/>
          </a:xfrm>
          <a:prstGeom prst="rect">
            <a:avLst/>
          </a:prstGeom>
        </p:spPr>
      </p:pic>
      <p:sp>
        <p:nvSpPr>
          <p:cNvPr id="5" name="Text Placeholder 4"/>
          <p:cNvSpPr>
            <a:spLocks noGrp="1"/>
          </p:cNvSpPr>
          <p:nvPr>
            <p:ph type="body" sz="quarter" idx="12" hasCustomPrompt="1"/>
          </p:nvPr>
        </p:nvSpPr>
        <p:spPr>
          <a:xfrm>
            <a:off x="2958513" y="3877271"/>
            <a:ext cx="8785274"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62089" y="1187620"/>
            <a:ext cx="9618071" cy="2689670"/>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1540103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4984903"/>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3308149"/>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87411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560935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93340721"/>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8561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7742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5797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2865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3050208"/>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544934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09467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47097358"/>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90467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607830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35474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881233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6992451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9907349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114394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18933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07485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125452290"/>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79159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1357604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51421"/>
          <a:stretch/>
        </p:blipFill>
        <p:spPr>
          <a:xfrm>
            <a:off x="1" y="1188"/>
            <a:ext cx="5923798" cy="6856814"/>
          </a:xfrm>
          <a:prstGeom prst="rect">
            <a:avLst/>
          </a:prstGeom>
        </p:spPr>
      </p:pic>
      <p:sp>
        <p:nvSpPr>
          <p:cNvPr id="3" name="Title 1"/>
          <p:cNvSpPr>
            <a:spLocks noGrp="1"/>
          </p:cNvSpPr>
          <p:nvPr>
            <p:ph type="title" hasCustomPrompt="1"/>
          </p:nvPr>
        </p:nvSpPr>
        <p:spPr>
          <a:xfrm>
            <a:off x="4751364" y="1192292"/>
            <a:ext cx="7171399" cy="2689655"/>
          </a:xfrm>
          <a:noFill/>
        </p:spPr>
        <p:txBody>
          <a:bodyPr tIns="91440" bIns="91440" anchor="t" anchorCtr="0"/>
          <a:lstStyle>
            <a:lvl1pPr>
              <a:defRPr sz="6817" spc="-85"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86922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187"/>
            <a:ext cx="12194111" cy="6856813"/>
          </a:xfrm>
          <a:prstGeom prst="rect">
            <a:avLst/>
          </a:prstGeom>
        </p:spPr>
      </p:pic>
      <p:sp>
        <p:nvSpPr>
          <p:cNvPr id="5" name="Text Placeholder 4"/>
          <p:cNvSpPr>
            <a:spLocks noGrp="1"/>
          </p:cNvSpPr>
          <p:nvPr>
            <p:ph type="body" sz="quarter" idx="12" hasCustomPrompt="1"/>
          </p:nvPr>
        </p:nvSpPr>
        <p:spPr>
          <a:xfrm>
            <a:off x="2958513" y="3877271"/>
            <a:ext cx="8785274"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62089" y="1187620"/>
            <a:ext cx="9618071" cy="2689670"/>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3247534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12116"/>
            <a:ext cx="5838875" cy="6878497"/>
          </a:xfrm>
          <a:prstGeom prst="rect">
            <a:avLst/>
          </a:prstGeom>
        </p:spPr>
      </p:pic>
      <p:sp>
        <p:nvSpPr>
          <p:cNvPr id="2" name="Title 1"/>
          <p:cNvSpPr>
            <a:spLocks noGrp="1"/>
          </p:cNvSpPr>
          <p:nvPr>
            <p:ph type="title" hasCustomPrompt="1"/>
          </p:nvPr>
        </p:nvSpPr>
        <p:spPr>
          <a:xfrm>
            <a:off x="4751364" y="1187622"/>
            <a:ext cx="7171399" cy="2689650"/>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5647788" y="3877271"/>
            <a:ext cx="6274975"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34643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2" name="Title 1"/>
          <p:cNvSpPr>
            <a:spLocks noGrp="1"/>
          </p:cNvSpPr>
          <p:nvPr>
            <p:ph type="title" hasCustomPrompt="1"/>
          </p:nvPr>
        </p:nvSpPr>
        <p:spPr>
          <a:xfrm>
            <a:off x="4751364" y="1179288"/>
            <a:ext cx="7171399"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89570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3" name="Title 1"/>
          <p:cNvSpPr>
            <a:spLocks noGrp="1"/>
          </p:cNvSpPr>
          <p:nvPr>
            <p:ph type="title" hasCustomPrompt="1"/>
          </p:nvPr>
        </p:nvSpPr>
        <p:spPr>
          <a:xfrm>
            <a:off x="4751363" y="118762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751402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51421"/>
          <a:stretch/>
        </p:blipFill>
        <p:spPr>
          <a:xfrm>
            <a:off x="0" y="1187"/>
            <a:ext cx="5923797" cy="6856814"/>
          </a:xfrm>
          <a:prstGeom prst="rect">
            <a:avLst/>
          </a:prstGeom>
        </p:spPr>
      </p:pic>
      <p:sp>
        <p:nvSpPr>
          <p:cNvPr id="3" name="Title 1"/>
          <p:cNvSpPr>
            <a:spLocks noGrp="1"/>
          </p:cNvSpPr>
          <p:nvPr>
            <p:ph type="title" hasCustomPrompt="1"/>
          </p:nvPr>
        </p:nvSpPr>
        <p:spPr>
          <a:xfrm>
            <a:off x="4751363" y="119229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434849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060261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102560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12116"/>
            <a:ext cx="5838875" cy="6878497"/>
          </a:xfrm>
          <a:prstGeom prst="rect">
            <a:avLst/>
          </a:prstGeom>
        </p:spPr>
      </p:pic>
      <p:sp>
        <p:nvSpPr>
          <p:cNvPr id="2" name="Title 1"/>
          <p:cNvSpPr>
            <a:spLocks noGrp="1"/>
          </p:cNvSpPr>
          <p:nvPr>
            <p:ph type="title" hasCustomPrompt="1"/>
          </p:nvPr>
        </p:nvSpPr>
        <p:spPr>
          <a:xfrm>
            <a:off x="4751364" y="1187622"/>
            <a:ext cx="7171399" cy="2689650"/>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5647788" y="3877271"/>
            <a:ext cx="6274975"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12440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862039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831245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77553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431508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57989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32631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9744625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382633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9259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50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2" name="Title 1"/>
          <p:cNvSpPr>
            <a:spLocks noGrp="1"/>
          </p:cNvSpPr>
          <p:nvPr>
            <p:ph type="title" hasCustomPrompt="1"/>
          </p:nvPr>
        </p:nvSpPr>
        <p:spPr>
          <a:xfrm>
            <a:off x="4751364" y="1179288"/>
            <a:ext cx="7171399"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282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62783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116211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70429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2350433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7134196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187"/>
            <a:ext cx="12194111" cy="6856813"/>
          </a:xfrm>
          <a:prstGeom prst="rect">
            <a:avLst/>
          </a:prstGeom>
        </p:spPr>
      </p:pic>
      <p:sp>
        <p:nvSpPr>
          <p:cNvPr id="5" name="Text Placeholder 4"/>
          <p:cNvSpPr>
            <a:spLocks noGrp="1"/>
          </p:cNvSpPr>
          <p:nvPr>
            <p:ph type="body" sz="quarter" idx="12" hasCustomPrompt="1"/>
          </p:nvPr>
        </p:nvSpPr>
        <p:spPr>
          <a:xfrm>
            <a:off x="2958513" y="3877271"/>
            <a:ext cx="8785274"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62089" y="1187620"/>
            <a:ext cx="9618071" cy="2689670"/>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971367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12116"/>
            <a:ext cx="5838875" cy="6878497"/>
          </a:xfrm>
          <a:prstGeom prst="rect">
            <a:avLst/>
          </a:prstGeom>
        </p:spPr>
      </p:pic>
      <p:sp>
        <p:nvSpPr>
          <p:cNvPr id="2" name="Title 1"/>
          <p:cNvSpPr>
            <a:spLocks noGrp="1"/>
          </p:cNvSpPr>
          <p:nvPr>
            <p:ph type="title" hasCustomPrompt="1"/>
          </p:nvPr>
        </p:nvSpPr>
        <p:spPr>
          <a:xfrm>
            <a:off x="4751364" y="1187622"/>
            <a:ext cx="7171399" cy="2689650"/>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5647788" y="3877271"/>
            <a:ext cx="6274975"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37946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2" name="Title 1"/>
          <p:cNvSpPr>
            <a:spLocks noGrp="1"/>
          </p:cNvSpPr>
          <p:nvPr>
            <p:ph type="title" hasCustomPrompt="1"/>
          </p:nvPr>
        </p:nvSpPr>
        <p:spPr>
          <a:xfrm>
            <a:off x="4751364" y="1179288"/>
            <a:ext cx="7171399"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11408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3" name="Title 1"/>
          <p:cNvSpPr>
            <a:spLocks noGrp="1"/>
          </p:cNvSpPr>
          <p:nvPr>
            <p:ph type="title" hasCustomPrompt="1"/>
          </p:nvPr>
        </p:nvSpPr>
        <p:spPr>
          <a:xfrm>
            <a:off x="4751363" y="118762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833781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51421"/>
          <a:stretch/>
        </p:blipFill>
        <p:spPr>
          <a:xfrm>
            <a:off x="0" y="1187"/>
            <a:ext cx="5923797" cy="6856814"/>
          </a:xfrm>
          <a:prstGeom prst="rect">
            <a:avLst/>
          </a:prstGeom>
        </p:spPr>
      </p:pic>
      <p:sp>
        <p:nvSpPr>
          <p:cNvPr id="3" name="Title 1"/>
          <p:cNvSpPr>
            <a:spLocks noGrp="1"/>
          </p:cNvSpPr>
          <p:nvPr>
            <p:ph type="title" hasCustomPrompt="1"/>
          </p:nvPr>
        </p:nvSpPr>
        <p:spPr>
          <a:xfrm>
            <a:off x="4751363" y="119229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15406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3" name="Title 1"/>
          <p:cNvSpPr>
            <a:spLocks noGrp="1"/>
          </p:cNvSpPr>
          <p:nvPr>
            <p:ph type="title" hasCustomPrompt="1"/>
          </p:nvPr>
        </p:nvSpPr>
        <p:spPr>
          <a:xfrm>
            <a:off x="4751363" y="118762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42653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679703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131160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662051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9935509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57226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841680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355911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871571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326593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134128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51421"/>
          <a:stretch/>
        </p:blipFill>
        <p:spPr>
          <a:xfrm>
            <a:off x="0" y="1187"/>
            <a:ext cx="5923797" cy="6856814"/>
          </a:xfrm>
          <a:prstGeom prst="rect">
            <a:avLst/>
          </a:prstGeom>
        </p:spPr>
      </p:pic>
      <p:sp>
        <p:nvSpPr>
          <p:cNvPr id="3" name="Title 1"/>
          <p:cNvSpPr>
            <a:spLocks noGrp="1"/>
          </p:cNvSpPr>
          <p:nvPr>
            <p:ph type="title" hasCustomPrompt="1"/>
          </p:nvPr>
        </p:nvSpPr>
        <p:spPr>
          <a:xfrm>
            <a:off x="4751363" y="119229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3667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6539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0786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4463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38374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08540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98586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9663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59680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29294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19675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3446619"/>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3777328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855413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840316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57509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75360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069056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02091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108177371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187"/>
            <a:ext cx="12194111" cy="6856813"/>
          </a:xfrm>
          <a:prstGeom prst="rect">
            <a:avLst/>
          </a:prstGeom>
        </p:spPr>
      </p:pic>
      <p:sp>
        <p:nvSpPr>
          <p:cNvPr id="5" name="Text Placeholder 4"/>
          <p:cNvSpPr>
            <a:spLocks noGrp="1"/>
          </p:cNvSpPr>
          <p:nvPr>
            <p:ph type="body" sz="quarter" idx="12" hasCustomPrompt="1"/>
          </p:nvPr>
        </p:nvSpPr>
        <p:spPr>
          <a:xfrm>
            <a:off x="2958513" y="3877271"/>
            <a:ext cx="8785274"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62089" y="1187620"/>
            <a:ext cx="9618071" cy="2689670"/>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397390935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12116"/>
            <a:ext cx="5838875" cy="6878497"/>
          </a:xfrm>
          <a:prstGeom prst="rect">
            <a:avLst/>
          </a:prstGeom>
        </p:spPr>
      </p:pic>
      <p:sp>
        <p:nvSpPr>
          <p:cNvPr id="2" name="Title 1"/>
          <p:cNvSpPr>
            <a:spLocks noGrp="1"/>
          </p:cNvSpPr>
          <p:nvPr>
            <p:ph type="title" hasCustomPrompt="1"/>
          </p:nvPr>
        </p:nvSpPr>
        <p:spPr>
          <a:xfrm>
            <a:off x="4751364" y="1187622"/>
            <a:ext cx="7171399" cy="2689650"/>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5647788" y="3877271"/>
            <a:ext cx="6274975"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535960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7470700"/>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2" name="Title 1"/>
          <p:cNvSpPr>
            <a:spLocks noGrp="1"/>
          </p:cNvSpPr>
          <p:nvPr>
            <p:ph type="title" hasCustomPrompt="1"/>
          </p:nvPr>
        </p:nvSpPr>
        <p:spPr>
          <a:xfrm>
            <a:off x="4751364" y="1179288"/>
            <a:ext cx="7171399"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70327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sp>
        <p:nvSpPr>
          <p:cNvPr id="3" name="Title 1"/>
          <p:cNvSpPr>
            <a:spLocks noGrp="1"/>
          </p:cNvSpPr>
          <p:nvPr>
            <p:ph type="title" hasCustomPrompt="1"/>
          </p:nvPr>
        </p:nvSpPr>
        <p:spPr>
          <a:xfrm>
            <a:off x="4751363" y="118762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013101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51421"/>
          <a:stretch/>
        </p:blipFill>
        <p:spPr>
          <a:xfrm>
            <a:off x="0" y="1187"/>
            <a:ext cx="5923797" cy="6856814"/>
          </a:xfrm>
          <a:prstGeom prst="rect">
            <a:avLst/>
          </a:prstGeom>
        </p:spPr>
      </p:pic>
      <p:sp>
        <p:nvSpPr>
          <p:cNvPr id="3" name="Title 1"/>
          <p:cNvSpPr>
            <a:spLocks noGrp="1"/>
          </p:cNvSpPr>
          <p:nvPr>
            <p:ph type="title" hasCustomPrompt="1"/>
          </p:nvPr>
        </p:nvSpPr>
        <p:spPr>
          <a:xfrm>
            <a:off x="4751363" y="1192291"/>
            <a:ext cx="7171399" cy="2689656"/>
          </a:xfrm>
          <a:noFill/>
        </p:spPr>
        <p:txBody>
          <a:bodyPr tIns="91440" bIns="91440" anchor="t" anchorCtr="0"/>
          <a:lstStyle>
            <a:lvl1pPr>
              <a:defRPr sz="7842" spc="-98" baseline="0">
                <a:gradFill>
                  <a:gsLst>
                    <a:gs pos="95575">
                      <a:schemeClr val="tx1"/>
                    </a:gs>
                    <a:gs pos="74336">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518292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544893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859946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984257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63799729"/>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213758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6904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1187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6960339"/>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682928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216905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6627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8153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1769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1558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4286453"/>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120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9669453"/>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7"/>
            <a:ext cx="12194113" cy="6856813"/>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372514" y="6139830"/>
            <a:ext cx="1307645" cy="280155"/>
          </a:xfrm>
          <a:prstGeom prst="rect">
            <a:avLst/>
          </a:prstGeom>
        </p:spPr>
      </p:pic>
    </p:spTree>
    <p:extLst>
      <p:ext uri="{BB962C8B-B14F-4D97-AF65-F5344CB8AC3E}">
        <p14:creationId xmlns:p14="http://schemas.microsoft.com/office/powerpoint/2010/main" val="261059603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6" Type="http://schemas.openxmlformats.org/officeDocument/2006/relationships/theme" Target="../theme/theme10.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5" Type="http://schemas.openxmlformats.org/officeDocument/2006/relationships/slideLayout" Target="../slideLayouts/slideLayout164.xml"/><Relationship Id="rId4" Type="http://schemas.openxmlformats.org/officeDocument/2006/relationships/slideLayout" Target="../slideLayouts/slideLayout16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theme" Target="../theme/theme12.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theme" Target="../theme/theme13.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theme" Target="../theme/theme14.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heme" Target="../theme/theme2.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heme" Target="../theme/theme3.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4.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heme" Target="../theme/theme5.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theme" Target="../theme/theme6.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7.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5" Type="http://schemas.openxmlformats.org/officeDocument/2006/relationships/slideLayout" Target="../slideLayouts/slideLayout135.xml"/><Relationship Id="rId4" Type="http://schemas.openxmlformats.org/officeDocument/2006/relationships/slideLayout" Target="../slideLayouts/slideLayout134.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1959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3039609553"/>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098"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523" rtl="0" eaLnBrk="1" fontAlgn="auto" latinLnBrk="0" hangingPunct="1">
              <a:spcBef>
                <a:spcPts val="0"/>
              </a:spcBef>
              <a:spcAft>
                <a:spcPts val="0"/>
              </a:spcAft>
              <a:defRPr lang="en-US" sz="88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523" fontAlgn="auto">
              <a:spcBef>
                <a:spcPts val="0"/>
              </a:spcBef>
              <a:spcAft>
                <a:spcPts val="0"/>
              </a:spcAft>
              <a:defRPr lang="en-US" sz="880" b="0" kern="1200" smtClean="0">
                <a:solidFill>
                  <a:srgbClr val="505050"/>
                </a:solidFill>
                <a:latin typeface="+mn-lt"/>
                <a:ea typeface="+mn-ea"/>
                <a:cs typeface="+mn-cs"/>
              </a:defRPr>
            </a:lvl1pPr>
          </a:lstStyle>
          <a:p>
            <a:pPr>
              <a:defRPr/>
            </a:pPr>
            <a:fld id="{3C3C22D5-B802-F942-861B-B7FDB582DA6C}" type="slidenum">
              <a:rPr/>
              <a:pPr>
                <a:defRPr/>
              </a:pPr>
              <a:t>‹#›</a:t>
            </a:fld>
            <a:endParaRPr dirty="0"/>
          </a:p>
        </p:txBody>
      </p:sp>
    </p:spTree>
    <p:extLst>
      <p:ext uri="{BB962C8B-B14F-4D97-AF65-F5344CB8AC3E}">
        <p14:creationId xmlns:p14="http://schemas.microsoft.com/office/powerpoint/2010/main" val="150429207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Lst>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823"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863"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523" rtl="0" eaLnBrk="1" latinLnBrk="0" hangingPunct="1">
        <a:defRPr sz="1765" kern="1200">
          <a:solidFill>
            <a:schemeClr val="tx1"/>
          </a:solidFill>
          <a:latin typeface="+mn-lt"/>
          <a:ea typeface="+mn-ea"/>
          <a:cs typeface="+mn-cs"/>
        </a:defRPr>
      </a:lvl1pPr>
      <a:lvl2pPr marL="457259" algn="l" defTabSz="914523" rtl="0" eaLnBrk="1" latinLnBrk="0" hangingPunct="1">
        <a:defRPr sz="1765" kern="1200">
          <a:solidFill>
            <a:schemeClr val="tx1"/>
          </a:solidFill>
          <a:latin typeface="+mn-lt"/>
          <a:ea typeface="+mn-ea"/>
          <a:cs typeface="+mn-cs"/>
        </a:defRPr>
      </a:lvl2pPr>
      <a:lvl3pPr marL="914523" algn="l" defTabSz="914523" rtl="0" eaLnBrk="1" latinLnBrk="0" hangingPunct="1">
        <a:defRPr sz="1765" kern="1200">
          <a:solidFill>
            <a:schemeClr val="tx1"/>
          </a:solidFill>
          <a:latin typeface="+mn-lt"/>
          <a:ea typeface="+mn-ea"/>
          <a:cs typeface="+mn-cs"/>
        </a:defRPr>
      </a:lvl3pPr>
      <a:lvl4pPr marL="1371782" algn="l" defTabSz="914523" rtl="0" eaLnBrk="1" latinLnBrk="0" hangingPunct="1">
        <a:defRPr sz="1765" kern="1200">
          <a:solidFill>
            <a:schemeClr val="tx1"/>
          </a:solidFill>
          <a:latin typeface="+mn-lt"/>
          <a:ea typeface="+mn-ea"/>
          <a:cs typeface="+mn-cs"/>
        </a:defRPr>
      </a:lvl4pPr>
      <a:lvl5pPr marL="1829041" algn="l" defTabSz="914523" rtl="0" eaLnBrk="1" latinLnBrk="0" hangingPunct="1">
        <a:defRPr sz="1765" kern="1200">
          <a:solidFill>
            <a:schemeClr val="tx1"/>
          </a:solidFill>
          <a:latin typeface="+mn-lt"/>
          <a:ea typeface="+mn-ea"/>
          <a:cs typeface="+mn-cs"/>
        </a:defRPr>
      </a:lvl5pPr>
      <a:lvl6pPr marL="2286305" algn="l" defTabSz="914523" rtl="0" eaLnBrk="1" latinLnBrk="0" hangingPunct="1">
        <a:defRPr sz="1765" kern="1200">
          <a:solidFill>
            <a:schemeClr val="tx1"/>
          </a:solidFill>
          <a:latin typeface="+mn-lt"/>
          <a:ea typeface="+mn-ea"/>
          <a:cs typeface="+mn-cs"/>
        </a:defRPr>
      </a:lvl6pPr>
      <a:lvl7pPr marL="2743564" algn="l" defTabSz="914523" rtl="0" eaLnBrk="1" latinLnBrk="0" hangingPunct="1">
        <a:defRPr sz="1765" kern="1200">
          <a:solidFill>
            <a:schemeClr val="tx1"/>
          </a:solidFill>
          <a:latin typeface="+mn-lt"/>
          <a:ea typeface="+mn-ea"/>
          <a:cs typeface="+mn-cs"/>
        </a:defRPr>
      </a:lvl7pPr>
      <a:lvl8pPr marL="3200823" algn="l" defTabSz="914523" rtl="0" eaLnBrk="1" latinLnBrk="0" hangingPunct="1">
        <a:defRPr sz="1765" kern="1200">
          <a:solidFill>
            <a:schemeClr val="tx1"/>
          </a:solidFill>
          <a:latin typeface="+mn-lt"/>
          <a:ea typeface="+mn-ea"/>
          <a:cs typeface="+mn-cs"/>
        </a:defRPr>
      </a:lvl8pPr>
      <a:lvl9pPr marL="3658086" algn="l" defTabSz="914523" rtl="0" eaLnBrk="1" latinLnBrk="0" hangingPunct="1">
        <a:defRPr sz="176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0019262"/>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5">
          <p15:clr>
            <a:srgbClr val="A4A3A4"/>
          </p15:clr>
        </p15:guide>
        <p15:guide id="4294967295" pos="4781">
          <p15:clr>
            <a:srgbClr val="A4A3A4"/>
          </p15:clr>
        </p15:guide>
        <p15:guide id="4294967295" pos="5357">
          <p15:clr>
            <a:srgbClr val="A4A3A4"/>
          </p15:clr>
        </p15:guide>
        <p15:guide id="4294967295" pos="5933">
          <p15:clr>
            <a:srgbClr val="A4A3A4"/>
          </p15:clr>
        </p15:guide>
        <p15:guide id="4294967295" pos="6509">
          <p15:clr>
            <a:srgbClr val="A4A3A4"/>
          </p15:clr>
        </p15:guide>
        <p15:guide id="4294967295" pos="7085">
          <p15:clr>
            <a:srgbClr val="A4A3A4"/>
          </p15:clr>
        </p15:guide>
        <p15:guide id="4294967295"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4268778"/>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5">
          <p15:clr>
            <a:srgbClr val="A4A3A4"/>
          </p15:clr>
        </p15:guide>
        <p15:guide id="4294967295" pos="4781">
          <p15:clr>
            <a:srgbClr val="A4A3A4"/>
          </p15:clr>
        </p15:guide>
        <p15:guide id="4294967295" pos="5357">
          <p15:clr>
            <a:srgbClr val="A4A3A4"/>
          </p15:clr>
        </p15:guide>
        <p15:guide id="4294967295" pos="5933">
          <p15:clr>
            <a:srgbClr val="A4A3A4"/>
          </p15:clr>
        </p15:guide>
        <p15:guide id="4294967295" pos="6509">
          <p15:clr>
            <a:srgbClr val="A4A3A4"/>
          </p15:clr>
        </p15:guide>
        <p15:guide id="4294967295" pos="7085">
          <p15:clr>
            <a:srgbClr val="A4A3A4"/>
          </p15:clr>
        </p15:guide>
        <p15:guide id="4294967295" pos="7661">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2D0933-0F05-450D-8A6B-8EFB8F07E1E6}"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B09BCB-B2D6-43F8-9325-145A2376CF6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8359587"/>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061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694095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A8D11F-E4EA-4359-91D4-DBD3716335BF}" type="datetimeFigureOut">
              <a:rPr lang="en-US" smtClean="0">
                <a:solidFill>
                  <a:prstClr val="black">
                    <a:tint val="75000"/>
                  </a:prstClr>
                </a:solidFill>
              </a:rPr>
              <a:pPr/>
              <a:t>8/17/201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CD0F47-24AC-4144-A01C-770C277144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65573503"/>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065289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5">
          <p15:clr>
            <a:srgbClr val="A4A3A4"/>
          </p15:clr>
        </p15:guide>
        <p15:guide id="4294967295" pos="4781">
          <p15:clr>
            <a:srgbClr val="A4A3A4"/>
          </p15:clr>
        </p15:guide>
        <p15:guide id="4294967295" pos="5357">
          <p15:clr>
            <a:srgbClr val="A4A3A4"/>
          </p15:clr>
        </p15:guide>
        <p15:guide id="4294967295" pos="5933">
          <p15:clr>
            <a:srgbClr val="A4A3A4"/>
          </p15:clr>
        </p15:guide>
        <p15:guide id="4294967295" pos="6509">
          <p15:clr>
            <a:srgbClr val="A4A3A4"/>
          </p15:clr>
        </p15:guide>
        <p15:guide id="4294967295" pos="7085">
          <p15:clr>
            <a:srgbClr val="A4A3A4"/>
          </p15:clr>
        </p15:guide>
        <p15:guide id="4294967295"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621259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5">
          <p15:clr>
            <a:srgbClr val="A4A3A4"/>
          </p15:clr>
        </p15:guide>
        <p15:guide id="4294967295" pos="4781">
          <p15:clr>
            <a:srgbClr val="A4A3A4"/>
          </p15:clr>
        </p15:guide>
        <p15:guide id="4294967295" pos="5357">
          <p15:clr>
            <a:srgbClr val="A4A3A4"/>
          </p15:clr>
        </p15:guide>
        <p15:guide id="4294967295" pos="5933">
          <p15:clr>
            <a:srgbClr val="A4A3A4"/>
          </p15:clr>
        </p15:guide>
        <p15:guide id="4294967295" pos="6509">
          <p15:clr>
            <a:srgbClr val="A4A3A4"/>
          </p15:clr>
        </p15:guide>
        <p15:guide id="4294967295" pos="7085">
          <p15:clr>
            <a:srgbClr val="A4A3A4"/>
          </p15:clr>
        </p15:guide>
        <p15:guide id="4294967295"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523" rtl="0" eaLnBrk="1" fontAlgn="auto" latinLnBrk="0" hangingPunct="1">
              <a:spcBef>
                <a:spcPts val="0"/>
              </a:spcBef>
              <a:spcAft>
                <a:spcPts val="0"/>
              </a:spcAft>
              <a:defRPr lang="en-US" sz="88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523" fontAlgn="auto">
              <a:spcBef>
                <a:spcPts val="0"/>
              </a:spcBef>
              <a:spcAft>
                <a:spcPts val="0"/>
              </a:spcAft>
              <a:defRPr lang="en-US" sz="880" b="0" kern="1200" smtClean="0">
                <a:solidFill>
                  <a:srgbClr val="505050"/>
                </a:solidFill>
                <a:latin typeface="+mn-lt"/>
                <a:ea typeface="+mn-ea"/>
                <a:cs typeface="+mn-cs"/>
              </a:defRPr>
            </a:lvl1pPr>
          </a:lstStyle>
          <a:p>
            <a:pPr>
              <a:defRPr/>
            </a:pPr>
            <a:fld id="{3C3C22D5-B802-F942-861B-B7FDB582DA6C}" type="slidenum">
              <a:rPr/>
              <a:pPr>
                <a:defRPr/>
              </a:pPr>
              <a:t>‹#›</a:t>
            </a:fld>
            <a:endParaRPr dirty="0"/>
          </a:p>
        </p:txBody>
      </p:sp>
    </p:spTree>
    <p:extLst>
      <p:ext uri="{BB962C8B-B14F-4D97-AF65-F5344CB8AC3E}">
        <p14:creationId xmlns:p14="http://schemas.microsoft.com/office/powerpoint/2010/main" val="277734855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Lst>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823"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863"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523" rtl="0" eaLnBrk="1" latinLnBrk="0" hangingPunct="1">
        <a:defRPr sz="1765" kern="1200">
          <a:solidFill>
            <a:schemeClr val="tx1"/>
          </a:solidFill>
          <a:latin typeface="+mn-lt"/>
          <a:ea typeface="+mn-ea"/>
          <a:cs typeface="+mn-cs"/>
        </a:defRPr>
      </a:lvl1pPr>
      <a:lvl2pPr marL="457259" algn="l" defTabSz="914523" rtl="0" eaLnBrk="1" latinLnBrk="0" hangingPunct="1">
        <a:defRPr sz="1765" kern="1200">
          <a:solidFill>
            <a:schemeClr val="tx1"/>
          </a:solidFill>
          <a:latin typeface="+mn-lt"/>
          <a:ea typeface="+mn-ea"/>
          <a:cs typeface="+mn-cs"/>
        </a:defRPr>
      </a:lvl2pPr>
      <a:lvl3pPr marL="914523" algn="l" defTabSz="914523" rtl="0" eaLnBrk="1" latinLnBrk="0" hangingPunct="1">
        <a:defRPr sz="1765" kern="1200">
          <a:solidFill>
            <a:schemeClr val="tx1"/>
          </a:solidFill>
          <a:latin typeface="+mn-lt"/>
          <a:ea typeface="+mn-ea"/>
          <a:cs typeface="+mn-cs"/>
        </a:defRPr>
      </a:lvl3pPr>
      <a:lvl4pPr marL="1371782" algn="l" defTabSz="914523" rtl="0" eaLnBrk="1" latinLnBrk="0" hangingPunct="1">
        <a:defRPr sz="1765" kern="1200">
          <a:solidFill>
            <a:schemeClr val="tx1"/>
          </a:solidFill>
          <a:latin typeface="+mn-lt"/>
          <a:ea typeface="+mn-ea"/>
          <a:cs typeface="+mn-cs"/>
        </a:defRPr>
      </a:lvl4pPr>
      <a:lvl5pPr marL="1829041" algn="l" defTabSz="914523" rtl="0" eaLnBrk="1" latinLnBrk="0" hangingPunct="1">
        <a:defRPr sz="1765" kern="1200">
          <a:solidFill>
            <a:schemeClr val="tx1"/>
          </a:solidFill>
          <a:latin typeface="+mn-lt"/>
          <a:ea typeface="+mn-ea"/>
          <a:cs typeface="+mn-cs"/>
        </a:defRPr>
      </a:lvl5pPr>
      <a:lvl6pPr marL="2286305" algn="l" defTabSz="914523" rtl="0" eaLnBrk="1" latinLnBrk="0" hangingPunct="1">
        <a:defRPr sz="1765" kern="1200">
          <a:solidFill>
            <a:schemeClr val="tx1"/>
          </a:solidFill>
          <a:latin typeface="+mn-lt"/>
          <a:ea typeface="+mn-ea"/>
          <a:cs typeface="+mn-cs"/>
        </a:defRPr>
      </a:lvl6pPr>
      <a:lvl7pPr marL="2743564" algn="l" defTabSz="914523" rtl="0" eaLnBrk="1" latinLnBrk="0" hangingPunct="1">
        <a:defRPr sz="1765" kern="1200">
          <a:solidFill>
            <a:schemeClr val="tx1"/>
          </a:solidFill>
          <a:latin typeface="+mn-lt"/>
          <a:ea typeface="+mn-ea"/>
          <a:cs typeface="+mn-cs"/>
        </a:defRPr>
      </a:lvl7pPr>
      <a:lvl8pPr marL="3200823" algn="l" defTabSz="914523" rtl="0" eaLnBrk="1" latinLnBrk="0" hangingPunct="1">
        <a:defRPr sz="1765" kern="1200">
          <a:solidFill>
            <a:schemeClr val="tx1"/>
          </a:solidFill>
          <a:latin typeface="+mn-lt"/>
          <a:ea typeface="+mn-ea"/>
          <a:cs typeface="+mn-cs"/>
        </a:defRPr>
      </a:lvl8pPr>
      <a:lvl9pPr marL="3658086" algn="l" defTabSz="914523"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523" rtl="0" eaLnBrk="1" fontAlgn="auto" latinLnBrk="0" hangingPunct="1">
              <a:spcBef>
                <a:spcPts val="0"/>
              </a:spcBef>
              <a:spcAft>
                <a:spcPts val="0"/>
              </a:spcAft>
              <a:defRPr lang="en-US" sz="88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523" fontAlgn="auto">
              <a:spcBef>
                <a:spcPts val="0"/>
              </a:spcBef>
              <a:spcAft>
                <a:spcPts val="0"/>
              </a:spcAft>
              <a:defRPr lang="en-US" sz="880" b="0" kern="1200" smtClean="0">
                <a:solidFill>
                  <a:srgbClr val="505050"/>
                </a:solidFill>
                <a:latin typeface="+mn-lt"/>
                <a:ea typeface="+mn-ea"/>
                <a:cs typeface="+mn-cs"/>
              </a:defRPr>
            </a:lvl1pPr>
          </a:lstStyle>
          <a:p>
            <a:pPr>
              <a:defRPr/>
            </a:pPr>
            <a:fld id="{3C3C22D5-B802-F942-861B-B7FDB582DA6C}" type="slidenum">
              <a:rPr/>
              <a:pPr>
                <a:defRPr/>
              </a:pPr>
              <a:t>‹#›</a:t>
            </a:fld>
            <a:endParaRPr dirty="0"/>
          </a:p>
        </p:txBody>
      </p:sp>
    </p:spTree>
    <p:extLst>
      <p:ext uri="{BB962C8B-B14F-4D97-AF65-F5344CB8AC3E}">
        <p14:creationId xmlns:p14="http://schemas.microsoft.com/office/powerpoint/2010/main" val="2338097860"/>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Lst>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823"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863"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523" rtl="0" eaLnBrk="1" latinLnBrk="0" hangingPunct="1">
        <a:defRPr sz="1765" kern="1200">
          <a:solidFill>
            <a:schemeClr val="tx1"/>
          </a:solidFill>
          <a:latin typeface="+mn-lt"/>
          <a:ea typeface="+mn-ea"/>
          <a:cs typeface="+mn-cs"/>
        </a:defRPr>
      </a:lvl1pPr>
      <a:lvl2pPr marL="457259" algn="l" defTabSz="914523" rtl="0" eaLnBrk="1" latinLnBrk="0" hangingPunct="1">
        <a:defRPr sz="1765" kern="1200">
          <a:solidFill>
            <a:schemeClr val="tx1"/>
          </a:solidFill>
          <a:latin typeface="+mn-lt"/>
          <a:ea typeface="+mn-ea"/>
          <a:cs typeface="+mn-cs"/>
        </a:defRPr>
      </a:lvl2pPr>
      <a:lvl3pPr marL="914523" algn="l" defTabSz="914523" rtl="0" eaLnBrk="1" latinLnBrk="0" hangingPunct="1">
        <a:defRPr sz="1765" kern="1200">
          <a:solidFill>
            <a:schemeClr val="tx1"/>
          </a:solidFill>
          <a:latin typeface="+mn-lt"/>
          <a:ea typeface="+mn-ea"/>
          <a:cs typeface="+mn-cs"/>
        </a:defRPr>
      </a:lvl3pPr>
      <a:lvl4pPr marL="1371782" algn="l" defTabSz="914523" rtl="0" eaLnBrk="1" latinLnBrk="0" hangingPunct="1">
        <a:defRPr sz="1765" kern="1200">
          <a:solidFill>
            <a:schemeClr val="tx1"/>
          </a:solidFill>
          <a:latin typeface="+mn-lt"/>
          <a:ea typeface="+mn-ea"/>
          <a:cs typeface="+mn-cs"/>
        </a:defRPr>
      </a:lvl4pPr>
      <a:lvl5pPr marL="1829041" algn="l" defTabSz="914523" rtl="0" eaLnBrk="1" latinLnBrk="0" hangingPunct="1">
        <a:defRPr sz="1765" kern="1200">
          <a:solidFill>
            <a:schemeClr val="tx1"/>
          </a:solidFill>
          <a:latin typeface="+mn-lt"/>
          <a:ea typeface="+mn-ea"/>
          <a:cs typeface="+mn-cs"/>
        </a:defRPr>
      </a:lvl5pPr>
      <a:lvl6pPr marL="2286305" algn="l" defTabSz="914523" rtl="0" eaLnBrk="1" latinLnBrk="0" hangingPunct="1">
        <a:defRPr sz="1765" kern="1200">
          <a:solidFill>
            <a:schemeClr val="tx1"/>
          </a:solidFill>
          <a:latin typeface="+mn-lt"/>
          <a:ea typeface="+mn-ea"/>
          <a:cs typeface="+mn-cs"/>
        </a:defRPr>
      </a:lvl6pPr>
      <a:lvl7pPr marL="2743564" algn="l" defTabSz="914523" rtl="0" eaLnBrk="1" latinLnBrk="0" hangingPunct="1">
        <a:defRPr sz="1765" kern="1200">
          <a:solidFill>
            <a:schemeClr val="tx1"/>
          </a:solidFill>
          <a:latin typeface="+mn-lt"/>
          <a:ea typeface="+mn-ea"/>
          <a:cs typeface="+mn-cs"/>
        </a:defRPr>
      </a:lvl7pPr>
      <a:lvl8pPr marL="3200823" algn="l" defTabSz="914523" rtl="0" eaLnBrk="1" latinLnBrk="0" hangingPunct="1">
        <a:defRPr sz="1765" kern="1200">
          <a:solidFill>
            <a:schemeClr val="tx1"/>
          </a:solidFill>
          <a:latin typeface="+mn-lt"/>
          <a:ea typeface="+mn-ea"/>
          <a:cs typeface="+mn-cs"/>
        </a:defRPr>
      </a:lvl8pPr>
      <a:lvl9pPr marL="3658086" algn="l" defTabSz="914523"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523" rtl="0" eaLnBrk="1" fontAlgn="auto" latinLnBrk="0" hangingPunct="1">
              <a:spcBef>
                <a:spcPts val="0"/>
              </a:spcBef>
              <a:spcAft>
                <a:spcPts val="0"/>
              </a:spcAft>
              <a:defRPr lang="en-US" sz="880"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523" fontAlgn="auto">
              <a:spcBef>
                <a:spcPts val="0"/>
              </a:spcBef>
              <a:spcAft>
                <a:spcPts val="0"/>
              </a:spcAft>
              <a:defRPr lang="en-US" sz="880" b="0" kern="1200" smtClean="0">
                <a:solidFill>
                  <a:srgbClr val="505050"/>
                </a:solidFill>
                <a:latin typeface="+mn-lt"/>
                <a:ea typeface="+mn-ea"/>
                <a:cs typeface="+mn-cs"/>
              </a:defRPr>
            </a:lvl1pPr>
          </a:lstStyle>
          <a:p>
            <a:pPr>
              <a:defRPr/>
            </a:pPr>
            <a:fld id="{3C3C22D5-B802-F942-861B-B7FDB582DA6C}" type="slidenum">
              <a:rPr/>
              <a:pPr>
                <a:defRPr/>
              </a:pPr>
              <a:t>‹#›</a:t>
            </a:fld>
            <a:endParaRPr dirty="0"/>
          </a:p>
        </p:txBody>
      </p:sp>
    </p:spTree>
    <p:extLst>
      <p:ext uri="{BB962C8B-B14F-4D97-AF65-F5344CB8AC3E}">
        <p14:creationId xmlns:p14="http://schemas.microsoft.com/office/powerpoint/2010/main" val="710061892"/>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Lst>
  <p:transition spd="slow">
    <p:wipe dir="r"/>
  </p:transition>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823"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863"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931"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2195"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9454"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718" indent="-228632" algn="l" defTabSz="91452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523" rtl="0" eaLnBrk="1" latinLnBrk="0" hangingPunct="1">
        <a:defRPr sz="1765" kern="1200">
          <a:solidFill>
            <a:schemeClr val="tx1"/>
          </a:solidFill>
          <a:latin typeface="+mn-lt"/>
          <a:ea typeface="+mn-ea"/>
          <a:cs typeface="+mn-cs"/>
        </a:defRPr>
      </a:lvl1pPr>
      <a:lvl2pPr marL="457259" algn="l" defTabSz="914523" rtl="0" eaLnBrk="1" latinLnBrk="0" hangingPunct="1">
        <a:defRPr sz="1765" kern="1200">
          <a:solidFill>
            <a:schemeClr val="tx1"/>
          </a:solidFill>
          <a:latin typeface="+mn-lt"/>
          <a:ea typeface="+mn-ea"/>
          <a:cs typeface="+mn-cs"/>
        </a:defRPr>
      </a:lvl2pPr>
      <a:lvl3pPr marL="914523" algn="l" defTabSz="914523" rtl="0" eaLnBrk="1" latinLnBrk="0" hangingPunct="1">
        <a:defRPr sz="1765" kern="1200">
          <a:solidFill>
            <a:schemeClr val="tx1"/>
          </a:solidFill>
          <a:latin typeface="+mn-lt"/>
          <a:ea typeface="+mn-ea"/>
          <a:cs typeface="+mn-cs"/>
        </a:defRPr>
      </a:lvl3pPr>
      <a:lvl4pPr marL="1371782" algn="l" defTabSz="914523" rtl="0" eaLnBrk="1" latinLnBrk="0" hangingPunct="1">
        <a:defRPr sz="1765" kern="1200">
          <a:solidFill>
            <a:schemeClr val="tx1"/>
          </a:solidFill>
          <a:latin typeface="+mn-lt"/>
          <a:ea typeface="+mn-ea"/>
          <a:cs typeface="+mn-cs"/>
        </a:defRPr>
      </a:lvl4pPr>
      <a:lvl5pPr marL="1829041" algn="l" defTabSz="914523" rtl="0" eaLnBrk="1" latinLnBrk="0" hangingPunct="1">
        <a:defRPr sz="1765" kern="1200">
          <a:solidFill>
            <a:schemeClr val="tx1"/>
          </a:solidFill>
          <a:latin typeface="+mn-lt"/>
          <a:ea typeface="+mn-ea"/>
          <a:cs typeface="+mn-cs"/>
        </a:defRPr>
      </a:lvl5pPr>
      <a:lvl6pPr marL="2286305" algn="l" defTabSz="914523" rtl="0" eaLnBrk="1" latinLnBrk="0" hangingPunct="1">
        <a:defRPr sz="1765" kern="1200">
          <a:solidFill>
            <a:schemeClr val="tx1"/>
          </a:solidFill>
          <a:latin typeface="+mn-lt"/>
          <a:ea typeface="+mn-ea"/>
          <a:cs typeface="+mn-cs"/>
        </a:defRPr>
      </a:lvl6pPr>
      <a:lvl7pPr marL="2743564" algn="l" defTabSz="914523" rtl="0" eaLnBrk="1" latinLnBrk="0" hangingPunct="1">
        <a:defRPr sz="1765" kern="1200">
          <a:solidFill>
            <a:schemeClr val="tx1"/>
          </a:solidFill>
          <a:latin typeface="+mn-lt"/>
          <a:ea typeface="+mn-ea"/>
          <a:cs typeface="+mn-cs"/>
        </a:defRPr>
      </a:lvl7pPr>
      <a:lvl8pPr marL="3200823" algn="l" defTabSz="914523" rtl="0" eaLnBrk="1" latinLnBrk="0" hangingPunct="1">
        <a:defRPr sz="1765" kern="1200">
          <a:solidFill>
            <a:schemeClr val="tx1"/>
          </a:solidFill>
          <a:latin typeface="+mn-lt"/>
          <a:ea typeface="+mn-ea"/>
          <a:cs typeface="+mn-cs"/>
        </a:defRPr>
      </a:lvl8pPr>
      <a:lvl9pPr marL="3658086" algn="l" defTabSz="914523"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3.xml"/></Relationships>
</file>

<file path=ppt/slides/_rels/slide100.xml.rels><?xml version="1.0" encoding="UTF-8" standalone="yes"?>
<Relationships xmlns="http://schemas.openxmlformats.org/package/2006/relationships"><Relationship Id="rId8" Type="http://schemas.openxmlformats.org/officeDocument/2006/relationships/hyperlink" Target="http://technet.microsoft.com/en-US/sqlserver/" TargetMode="External"/><Relationship Id="rId3" Type="http://schemas.openxmlformats.org/officeDocument/2006/relationships/image" Target="../media/image174.png"/><Relationship Id="rId7" Type="http://schemas.openxmlformats.org/officeDocument/2006/relationships/hyperlink" Target="http://www.microsoft.com/en-us/server-cloud/windows-azure.aspx" TargetMode="External"/><Relationship Id="rId2" Type="http://schemas.openxmlformats.org/officeDocument/2006/relationships/notesSlide" Target="../notesSlides/notesSlide94.xml"/><Relationship Id="rId1" Type="http://schemas.openxmlformats.org/officeDocument/2006/relationships/slideLayout" Target="../slideLayouts/slideLayout15.xml"/><Relationship Id="rId6" Type="http://schemas.openxmlformats.org/officeDocument/2006/relationships/hyperlink" Target="http://technet.microsoft.com/en-us/evalcenter/hh505660.aspx?wt.mc_id=TEC_103_1_33" TargetMode="External"/><Relationship Id="rId5" Type="http://schemas.openxmlformats.org/officeDocument/2006/relationships/hyperlink" Target="http://technet.microsoft.com/en-US/evalcenter/hh670538.aspx?ocid=&amp;wt.mc_id=TEC_108_1_33" TargetMode="External"/><Relationship Id="rId4" Type="http://schemas.openxmlformats.org/officeDocument/2006/relationships/image" Target="../media/image175.jpeg"/></Relationships>
</file>

<file path=ppt/slides/_rels/slide10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95.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8.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128.xml"/><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6.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7.xml"/><Relationship Id="rId1" Type="http://schemas.openxmlformats.org/officeDocument/2006/relationships/slideLayout" Target="../slideLayouts/slideLayout128.xml"/></Relationships>
</file>

<file path=ppt/slides/_rels/slide2.xml.rels><?xml version="1.0" encoding="UTF-8" standalone="yes"?>
<Relationships xmlns="http://schemas.openxmlformats.org/package/2006/relationships"><Relationship Id="rId3" Type="http://schemas.openxmlformats.org/officeDocument/2006/relationships/hyperlink" Target="http://immersion/" TargetMode="External"/><Relationship Id="rId2" Type="http://schemas.openxmlformats.org/officeDocument/2006/relationships/notesSlide" Target="../notesSlides/notesSlide2.xml"/><Relationship Id="rId1" Type="http://schemas.openxmlformats.org/officeDocument/2006/relationships/slideLayout" Target="../slideLayouts/slideLayout119.xml"/><Relationship Id="rId4" Type="http://schemas.openxmlformats.org/officeDocument/2006/relationships/hyperlink" Target="http://www.microsoftpartnerandcloud.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tags" Target="../tags/tag4.xml"/><Relationship Id="rId7" Type="http://schemas.openxmlformats.org/officeDocument/2006/relationships/notesSlide" Target="../notesSlides/notesSlide1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28.xml"/><Relationship Id="rId5" Type="http://schemas.openxmlformats.org/officeDocument/2006/relationships/tags" Target="../tags/tag6.xml"/><Relationship Id="rId4" Type="http://schemas.openxmlformats.org/officeDocument/2006/relationships/tags" Target="../tags/tag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9.xml"/><Relationship Id="rId1" Type="http://schemas.openxmlformats.org/officeDocument/2006/relationships/tags" Target="../tags/tag7.xml"/><Relationship Id="rId4" Type="http://schemas.openxmlformats.org/officeDocument/2006/relationships/image" Target="../media/image50.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9.xml"/><Relationship Id="rId1" Type="http://schemas.openxmlformats.org/officeDocument/2006/relationships/tags" Target="../tags/tag8.xml"/><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9.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3.png"/><Relationship Id="rId4" Type="http://schemas.openxmlformats.org/officeDocument/2006/relationships/image" Target="../media/image5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9.xml"/><Relationship Id="rId1" Type="http://schemas.openxmlformats.org/officeDocument/2006/relationships/tags" Target="../tags/tag10.xml"/><Relationship Id="rId5" Type="http://schemas.openxmlformats.org/officeDocument/2006/relationships/image" Target="../media/image55.png"/><Relationship Id="rId4" Type="http://schemas.openxmlformats.org/officeDocument/2006/relationships/image" Target="../media/image54.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9.xml"/><Relationship Id="rId1" Type="http://schemas.openxmlformats.org/officeDocument/2006/relationships/tags" Target="../tags/tag11.xml"/><Relationship Id="rId5" Type="http://schemas.openxmlformats.org/officeDocument/2006/relationships/image" Target="../media/image57.png"/><Relationship Id="rId4" Type="http://schemas.openxmlformats.org/officeDocument/2006/relationships/image" Target="../media/image56.jpeg"/></Relationships>
</file>

<file path=ppt/slides/_rels/slide26.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68.png"/><Relationship Id="rId18" Type="http://schemas.openxmlformats.org/officeDocument/2006/relationships/image" Target="../media/image73.jpeg"/><Relationship Id="rId26" Type="http://schemas.openxmlformats.org/officeDocument/2006/relationships/image" Target="../media/image81.jpeg"/><Relationship Id="rId39" Type="http://schemas.openxmlformats.org/officeDocument/2006/relationships/image" Target="../media/image94.png"/><Relationship Id="rId3" Type="http://schemas.openxmlformats.org/officeDocument/2006/relationships/image" Target="../media/image58.jpeg"/><Relationship Id="rId21" Type="http://schemas.openxmlformats.org/officeDocument/2006/relationships/image" Target="../media/image76.jpeg"/><Relationship Id="rId34" Type="http://schemas.openxmlformats.org/officeDocument/2006/relationships/image" Target="../media/image89.gif"/><Relationship Id="rId42" Type="http://schemas.openxmlformats.org/officeDocument/2006/relationships/image" Target="../media/image97.jpeg"/><Relationship Id="rId7" Type="http://schemas.openxmlformats.org/officeDocument/2006/relationships/image" Target="../media/image62.gif"/><Relationship Id="rId12" Type="http://schemas.openxmlformats.org/officeDocument/2006/relationships/image" Target="../media/image67.png"/><Relationship Id="rId17" Type="http://schemas.openxmlformats.org/officeDocument/2006/relationships/image" Target="../media/image72.jpeg"/><Relationship Id="rId25" Type="http://schemas.openxmlformats.org/officeDocument/2006/relationships/image" Target="../media/image80.jpeg"/><Relationship Id="rId33" Type="http://schemas.openxmlformats.org/officeDocument/2006/relationships/image" Target="../media/image88.jpeg"/><Relationship Id="rId38" Type="http://schemas.openxmlformats.org/officeDocument/2006/relationships/image" Target="../media/image93.jpg"/><Relationship Id="rId2" Type="http://schemas.openxmlformats.org/officeDocument/2006/relationships/notesSlide" Target="../notesSlides/notesSlide24.xml"/><Relationship Id="rId16" Type="http://schemas.openxmlformats.org/officeDocument/2006/relationships/image" Target="../media/image71.jpeg"/><Relationship Id="rId20" Type="http://schemas.openxmlformats.org/officeDocument/2006/relationships/image" Target="../media/image75.png"/><Relationship Id="rId29" Type="http://schemas.openxmlformats.org/officeDocument/2006/relationships/image" Target="../media/image84.jpeg"/><Relationship Id="rId41" Type="http://schemas.openxmlformats.org/officeDocument/2006/relationships/image" Target="../media/image96.png"/><Relationship Id="rId1" Type="http://schemas.openxmlformats.org/officeDocument/2006/relationships/slideLayout" Target="../slideLayouts/slideLayout127.xml"/><Relationship Id="rId6" Type="http://schemas.openxmlformats.org/officeDocument/2006/relationships/image" Target="../media/image61.jpeg"/><Relationship Id="rId11" Type="http://schemas.openxmlformats.org/officeDocument/2006/relationships/image" Target="../media/image66.png"/><Relationship Id="rId24" Type="http://schemas.openxmlformats.org/officeDocument/2006/relationships/image" Target="../media/image79.jpeg"/><Relationship Id="rId32" Type="http://schemas.openxmlformats.org/officeDocument/2006/relationships/image" Target="../media/image87.jpeg"/><Relationship Id="rId37" Type="http://schemas.openxmlformats.org/officeDocument/2006/relationships/image" Target="../media/image92.jpeg"/><Relationship Id="rId40" Type="http://schemas.openxmlformats.org/officeDocument/2006/relationships/image" Target="../media/image95.jpeg"/><Relationship Id="rId45" Type="http://schemas.openxmlformats.org/officeDocument/2006/relationships/image" Target="../media/image100.jpeg"/><Relationship Id="rId5" Type="http://schemas.openxmlformats.org/officeDocument/2006/relationships/image" Target="../media/image60.jpeg"/><Relationship Id="rId15" Type="http://schemas.openxmlformats.org/officeDocument/2006/relationships/image" Target="../media/image70.jpeg"/><Relationship Id="rId23" Type="http://schemas.openxmlformats.org/officeDocument/2006/relationships/image" Target="../media/image78.jpeg"/><Relationship Id="rId28" Type="http://schemas.openxmlformats.org/officeDocument/2006/relationships/image" Target="../media/image83.jpeg"/><Relationship Id="rId36" Type="http://schemas.openxmlformats.org/officeDocument/2006/relationships/image" Target="../media/image91.jpeg"/><Relationship Id="rId10" Type="http://schemas.openxmlformats.org/officeDocument/2006/relationships/image" Target="../media/image65.jpeg"/><Relationship Id="rId19" Type="http://schemas.openxmlformats.org/officeDocument/2006/relationships/image" Target="../media/image74.png"/><Relationship Id="rId31" Type="http://schemas.openxmlformats.org/officeDocument/2006/relationships/image" Target="../media/image86.jpeg"/><Relationship Id="rId44" Type="http://schemas.openxmlformats.org/officeDocument/2006/relationships/image" Target="../media/image99.jpeg"/><Relationship Id="rId4" Type="http://schemas.openxmlformats.org/officeDocument/2006/relationships/image" Target="../media/image59.jpeg"/><Relationship Id="rId9" Type="http://schemas.openxmlformats.org/officeDocument/2006/relationships/image" Target="../media/image64.jpeg"/><Relationship Id="rId14" Type="http://schemas.openxmlformats.org/officeDocument/2006/relationships/image" Target="../media/image69.jpeg"/><Relationship Id="rId22" Type="http://schemas.openxmlformats.org/officeDocument/2006/relationships/image" Target="../media/image77.jpeg"/><Relationship Id="rId27" Type="http://schemas.openxmlformats.org/officeDocument/2006/relationships/image" Target="../media/image82.png"/><Relationship Id="rId30" Type="http://schemas.openxmlformats.org/officeDocument/2006/relationships/image" Target="../media/image85.jpeg"/><Relationship Id="rId35" Type="http://schemas.openxmlformats.org/officeDocument/2006/relationships/image" Target="../media/image90.png"/><Relationship Id="rId43" Type="http://schemas.openxmlformats.org/officeDocument/2006/relationships/image" Target="../media/image98.jpeg"/></Relationships>
</file>

<file path=ppt/slides/_rels/slide27.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5.xml"/><Relationship Id="rId1" Type="http://schemas.openxmlformats.org/officeDocument/2006/relationships/slideLayout" Target="../slideLayouts/slideLayout126.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124.xml"/></Relationships>
</file>

<file path=ppt/slides/_rels/slide2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7.xml"/><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3" Type="http://schemas.openxmlformats.org/officeDocument/2006/relationships/hyperlink" Target="http://infopedia/smsg/Pages/Transform-Datacenter.aspx" TargetMode="External"/><Relationship Id="rId2" Type="http://schemas.openxmlformats.org/officeDocument/2006/relationships/hyperlink" Target="http://infopedia/SMSG/Pages/Cloud_Platform.aspx?SourceURL=http://infopedia/Pages/Cloud-OS.aspx" TargetMode="External"/><Relationship Id="rId1" Type="http://schemas.openxmlformats.org/officeDocument/2006/relationships/slideLayout" Target="../slideLayouts/slideLayout1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29.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53.xml"/><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notesSlide" Target="../notesSlides/notesSlide3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66.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notesSlide" Target="../notesSlides/notesSlide35.xml"/></Relationships>
</file>

<file path=ppt/slides/_rels/slide38.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36.xml"/><Relationship Id="rId1" Type="http://schemas.openxmlformats.org/officeDocument/2006/relationships/slideLayout" Target="../slideLayouts/slideLayout153.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 Id="rId9" Type="http://schemas.openxmlformats.org/officeDocument/2006/relationships/image" Target="../media/image110.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4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notesSlide" Target="../notesSlides/notesSlide38.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147.xml"/><Relationship Id="rId5" Type="http://schemas.openxmlformats.org/officeDocument/2006/relationships/tags" Target="../tags/tag18.xml"/><Relationship Id="rId4" Type="http://schemas.openxmlformats.org/officeDocument/2006/relationships/tags" Target="../tags/tag17.xml"/></Relationships>
</file>

<file path=ppt/slides/_rels/slide4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9.xml"/><Relationship Id="rId1" Type="http://schemas.openxmlformats.org/officeDocument/2006/relationships/slideLayout" Target="../slideLayouts/slideLayout150.xml"/><Relationship Id="rId4" Type="http://schemas.openxmlformats.org/officeDocument/2006/relationships/image" Target="../media/image11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8.xml"/></Relationships>
</file>

<file path=ppt/slides/_rels/slide45.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42.xml"/><Relationship Id="rId1" Type="http://schemas.openxmlformats.org/officeDocument/2006/relationships/slideLayout" Target="../slideLayouts/slideLayout14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5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0.xml"/></Relationships>
</file>

<file path=ppt/slides/_rels/slide5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7.xml"/><Relationship Id="rId1" Type="http://schemas.openxmlformats.org/officeDocument/2006/relationships/slideLayout" Target="../slideLayouts/slideLayout149.xml"/></Relationships>
</file>

<file path=ppt/slides/_rels/slide5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8.xml"/><Relationship Id="rId1" Type="http://schemas.openxmlformats.org/officeDocument/2006/relationships/slideLayout" Target="../slideLayouts/slideLayout155.xml"/></Relationships>
</file>

<file path=ppt/slides/_rels/slide52.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notesSlide" Target="../notesSlides/notesSlide49.xml"/><Relationship Id="rId1" Type="http://schemas.openxmlformats.org/officeDocument/2006/relationships/slideLayout" Target="../slideLayouts/slideLayout155.xml"/></Relationships>
</file>

<file path=ppt/slides/_rels/slide5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15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55.xml"/></Relationships>
</file>

<file path=ppt/slides/_rels/slide5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2.xml"/><Relationship Id="rId1" Type="http://schemas.openxmlformats.org/officeDocument/2006/relationships/slideLayout" Target="../slideLayouts/slideLayout155.xml"/></Relationships>
</file>

<file path=ppt/slides/_rels/slide5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3.xml"/><Relationship Id="rId1" Type="http://schemas.openxmlformats.org/officeDocument/2006/relationships/slideLayout" Target="../slideLayouts/slideLayout15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58.xml"/></Relationships>
</file>

<file path=ppt/slides/_rels/slide5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6.xml"/><Relationship Id="rId1" Type="http://schemas.openxmlformats.org/officeDocument/2006/relationships/slideLayout" Target="../slideLayouts/slideLayout1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5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5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51.xml"/></Relationships>
</file>

<file path=ppt/slides/_rels/slide6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0.xml"/><Relationship Id="rId1" Type="http://schemas.openxmlformats.org/officeDocument/2006/relationships/slideLayout" Target="../slideLayouts/slideLayout148.xml"/><Relationship Id="rId4" Type="http://schemas.openxmlformats.org/officeDocument/2006/relationships/image" Target="../media/image122.png"/></Relationships>
</file>

<file path=ppt/slides/_rels/slide6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1.xml"/><Relationship Id="rId1" Type="http://schemas.openxmlformats.org/officeDocument/2006/relationships/slideLayout" Target="../slideLayouts/slideLayout15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50.xml"/></Relationships>
</file>

<file path=ppt/slides/_rels/slide67.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64.xml"/><Relationship Id="rId1" Type="http://schemas.openxmlformats.org/officeDocument/2006/relationships/slideLayout" Target="../slideLayouts/slideLayout154.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 Id="rId9" Type="http://schemas.openxmlformats.org/officeDocument/2006/relationships/image" Target="../media/image130.png"/></Relationships>
</file>

<file path=ppt/slides/_rels/slide68.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65.xml"/><Relationship Id="rId1" Type="http://schemas.openxmlformats.org/officeDocument/2006/relationships/slideLayout" Target="../slideLayouts/slideLayout151.xml"/><Relationship Id="rId4" Type="http://schemas.openxmlformats.org/officeDocument/2006/relationships/image" Target="../media/image132.png"/></Relationships>
</file>

<file path=ppt/slides/_rels/slide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6.xml"/><Relationship Id="rId1" Type="http://schemas.openxmlformats.org/officeDocument/2006/relationships/slideLayout" Target="../slideLayouts/slideLayout14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1.xml"/></Relationships>
</file>

<file path=ppt/slides/_rels/slide7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7.xml"/><Relationship Id="rId1" Type="http://schemas.openxmlformats.org/officeDocument/2006/relationships/slideLayout" Target="../slideLayouts/slideLayout15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8.xml"/></Relationships>
</file>

<file path=ppt/slides/_rels/slide73.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jpeg"/><Relationship Id="rId7" Type="http://schemas.openxmlformats.org/officeDocument/2006/relationships/image" Target="../media/image138.png"/><Relationship Id="rId2" Type="http://schemas.openxmlformats.org/officeDocument/2006/relationships/notesSlide" Target="../notesSlides/notesSlide69.xml"/><Relationship Id="rId1" Type="http://schemas.openxmlformats.org/officeDocument/2006/relationships/slideLayout" Target="../slideLayouts/slideLayout58.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7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72.xml"/><Relationship Id="rId5" Type="http://schemas.openxmlformats.org/officeDocument/2006/relationships/image" Target="../media/image143.png"/><Relationship Id="rId4" Type="http://schemas.openxmlformats.org/officeDocument/2006/relationships/image" Target="../media/image142.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22.xml"/></Relationships>
</file>

<file path=ppt/slides/_rels/slide76.xml.rels><?xml version="1.0" encoding="UTF-8" standalone="yes"?>
<Relationships xmlns="http://schemas.openxmlformats.org/package/2006/relationships"><Relationship Id="rId3" Type="http://schemas.openxmlformats.org/officeDocument/2006/relationships/image" Target="../media/image144.tmp"/><Relationship Id="rId2" Type="http://schemas.openxmlformats.org/officeDocument/2006/relationships/notesSlide" Target="../notesSlides/notesSlide71.xml"/><Relationship Id="rId1" Type="http://schemas.openxmlformats.org/officeDocument/2006/relationships/slideLayout" Target="../slideLayouts/slideLayout194.xml"/><Relationship Id="rId4" Type="http://schemas.openxmlformats.org/officeDocument/2006/relationships/image" Target="../media/image145.tmp"/></Relationships>
</file>

<file path=ppt/slides/_rels/slide7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2.xml"/><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3.xml"/><Relationship Id="rId1" Type="http://schemas.openxmlformats.org/officeDocument/2006/relationships/slideLayout" Target="../slideLayouts/slideLayout16.xml"/><Relationship Id="rId4" Type="http://schemas.openxmlformats.org/officeDocument/2006/relationships/comments" Target="../comments/comment1.xml"/></Relationships>
</file>

<file path=ppt/slides/_rels/slide7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8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7.png"/><Relationship Id="rId7" Type="http://schemas.openxmlformats.org/officeDocument/2006/relationships/image" Target="../media/image150.png"/><Relationship Id="rId2" Type="http://schemas.openxmlformats.org/officeDocument/2006/relationships/notesSlide" Target="../notesSlides/notesSlide75.xml"/><Relationship Id="rId1" Type="http://schemas.openxmlformats.org/officeDocument/2006/relationships/slideLayout" Target="../slideLayouts/slideLayout16.xml"/><Relationship Id="rId6" Type="http://schemas.microsoft.com/office/2007/relationships/hdphoto" Target="../media/hdphoto2.wdp"/><Relationship Id="rId5" Type="http://schemas.openxmlformats.org/officeDocument/2006/relationships/image" Target="../media/image149.png"/><Relationship Id="rId4" Type="http://schemas.openxmlformats.org/officeDocument/2006/relationships/image" Target="../media/image148.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6.xml"/></Relationships>
</file>

<file path=ppt/slides/_rels/slide82.xml.rels><?xml version="1.0" encoding="UTF-8" standalone="yes"?>
<Relationships xmlns="http://schemas.openxmlformats.org/package/2006/relationships"><Relationship Id="rId8" Type="http://schemas.openxmlformats.org/officeDocument/2006/relationships/image" Target="../media/image153.emf"/><Relationship Id="rId3" Type="http://schemas.openxmlformats.org/officeDocument/2006/relationships/image" Target="../media/image137.png"/><Relationship Id="rId7" Type="http://schemas.microsoft.com/office/2007/relationships/hdphoto" Target="../media/hdphoto4.wdp"/><Relationship Id="rId2" Type="http://schemas.openxmlformats.org/officeDocument/2006/relationships/notesSlide" Target="../notesSlides/notesSlide77.xml"/><Relationship Id="rId1" Type="http://schemas.openxmlformats.org/officeDocument/2006/relationships/slideLayout" Target="../slideLayouts/slideLayout16.xml"/><Relationship Id="rId6" Type="http://schemas.openxmlformats.org/officeDocument/2006/relationships/image" Target="../media/image152.png"/><Relationship Id="rId5" Type="http://schemas.openxmlformats.org/officeDocument/2006/relationships/image" Target="../media/image151.emf"/><Relationship Id="rId4" Type="http://schemas.openxmlformats.org/officeDocument/2006/relationships/image" Target="../media/image147.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6.xml"/></Relationships>
</file>

<file path=ppt/slides/_rels/slide8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79.xml"/><Relationship Id="rId1" Type="http://schemas.openxmlformats.org/officeDocument/2006/relationships/slideLayout" Target="../slideLayouts/slideLayout16.xml"/></Relationships>
</file>

<file path=ppt/slides/_rels/slide85.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3.png"/><Relationship Id="rId18" Type="http://schemas.openxmlformats.org/officeDocument/2006/relationships/image" Target="../media/image168.jpeg"/><Relationship Id="rId3" Type="http://schemas.openxmlformats.org/officeDocument/2006/relationships/image" Target="../media/image147.png"/><Relationship Id="rId7" Type="http://schemas.openxmlformats.org/officeDocument/2006/relationships/image" Target="../media/image157.png"/><Relationship Id="rId12" Type="http://schemas.openxmlformats.org/officeDocument/2006/relationships/image" Target="../media/image162.png"/><Relationship Id="rId17" Type="http://schemas.openxmlformats.org/officeDocument/2006/relationships/image" Target="../media/image167.png"/><Relationship Id="rId2" Type="http://schemas.openxmlformats.org/officeDocument/2006/relationships/notesSlide" Target="../notesSlides/notesSlide80.xml"/><Relationship Id="rId16" Type="http://schemas.openxmlformats.org/officeDocument/2006/relationships/image" Target="../media/image166.png"/><Relationship Id="rId1" Type="http://schemas.openxmlformats.org/officeDocument/2006/relationships/slideLayout" Target="../slideLayouts/slideLayout16.xml"/><Relationship Id="rId6" Type="http://schemas.openxmlformats.org/officeDocument/2006/relationships/image" Target="../media/image156.png"/><Relationship Id="rId11" Type="http://schemas.openxmlformats.org/officeDocument/2006/relationships/image" Target="../media/image161.png"/><Relationship Id="rId5" Type="http://schemas.openxmlformats.org/officeDocument/2006/relationships/image" Target="../media/image155.png"/><Relationship Id="rId15" Type="http://schemas.openxmlformats.org/officeDocument/2006/relationships/image" Target="../media/image165.png"/><Relationship Id="rId10" Type="http://schemas.openxmlformats.org/officeDocument/2006/relationships/image" Target="../media/image160.png"/><Relationship Id="rId19" Type="http://schemas.openxmlformats.org/officeDocument/2006/relationships/image" Target="../media/image169.tmp"/><Relationship Id="rId4" Type="http://schemas.openxmlformats.org/officeDocument/2006/relationships/image" Target="../media/image154.png"/><Relationship Id="rId9" Type="http://schemas.openxmlformats.org/officeDocument/2006/relationships/image" Target="../media/image159.png"/><Relationship Id="rId14" Type="http://schemas.openxmlformats.org/officeDocument/2006/relationships/image" Target="../media/image164.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6.xml"/></Relationships>
</file>

<file path=ppt/slides/_rels/slide87.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82.xml"/><Relationship Id="rId1" Type="http://schemas.openxmlformats.org/officeDocument/2006/relationships/slideLayout" Target="../slideLayouts/slideLayout16.xml"/><Relationship Id="rId4" Type="http://schemas.openxmlformats.org/officeDocument/2006/relationships/image" Target="../media/image147.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9.pn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notesSlide" Target="../notesSlides/notesSlide7.xml"/><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slideLayout" Target="../slideLayouts/slideLayout121.xml"/><Relationship Id="rId6" Type="http://schemas.openxmlformats.org/officeDocument/2006/relationships/image" Target="../media/image27.png"/><Relationship Id="rId11" Type="http://schemas.openxmlformats.org/officeDocument/2006/relationships/image" Target="../media/image32.png"/><Relationship Id="rId24" Type="http://schemas.openxmlformats.org/officeDocument/2006/relationships/image" Target="../media/image45.pn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png"/><Relationship Id="rId10" Type="http://schemas.openxmlformats.org/officeDocument/2006/relationships/image" Target="../media/image31.png"/><Relationship Id="rId19" Type="http://schemas.openxmlformats.org/officeDocument/2006/relationships/image" Target="../media/image40.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s>
</file>

<file path=ppt/slides/_rels/slide9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85.xml"/><Relationship Id="rId1" Type="http://schemas.openxmlformats.org/officeDocument/2006/relationships/slideLayout" Target="../slideLayouts/slideLayout16.xml"/><Relationship Id="rId5" Type="http://schemas.openxmlformats.org/officeDocument/2006/relationships/image" Target="../media/image147.png"/><Relationship Id="rId4" Type="http://schemas.openxmlformats.org/officeDocument/2006/relationships/image" Target="../media/image154.pn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7.xml"/><Relationship Id="rId1" Type="http://schemas.openxmlformats.org/officeDocument/2006/relationships/slideLayout" Target="../slideLayouts/slideLayout1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6.xml"/></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9.xml"/><Relationship Id="rId1" Type="http://schemas.openxmlformats.org/officeDocument/2006/relationships/slideLayout" Target="../slideLayouts/slideLayout16.xml"/></Relationships>
</file>

<file path=ppt/slides/_rels/slide95.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70.png"/><Relationship Id="rId7" Type="http://schemas.microsoft.com/office/2007/relationships/hdphoto" Target="../media/hdphoto4.wdp"/><Relationship Id="rId2" Type="http://schemas.openxmlformats.org/officeDocument/2006/relationships/notesSlide" Target="../notesSlides/notesSlide90.xml"/><Relationship Id="rId1" Type="http://schemas.openxmlformats.org/officeDocument/2006/relationships/slideLayout" Target="../slideLayouts/slideLayout16.xml"/><Relationship Id="rId6" Type="http://schemas.openxmlformats.org/officeDocument/2006/relationships/image" Target="../media/image152.png"/><Relationship Id="rId5" Type="http://schemas.microsoft.com/office/2007/relationships/hdphoto" Target="../media/hdphoto5.wdp"/><Relationship Id="rId4" Type="http://schemas.openxmlformats.org/officeDocument/2006/relationships/image" Target="../media/image172.png"/><Relationship Id="rId9" Type="http://schemas.openxmlformats.org/officeDocument/2006/relationships/image" Target="../media/image173.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2.xml"/><Relationship Id="rId1" Type="http://schemas.openxmlformats.org/officeDocument/2006/relationships/slideLayout" Target="../slideLayouts/slideLayout1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6.xml"/></Relationships>
</file>

<file path=ppt/slides/_rels/slide9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16.xml"/><Relationship Id="rId5" Type="http://schemas.openxmlformats.org/officeDocument/2006/relationships/image" Target="../media/image143.png"/><Relationship Id="rId4" Type="http://schemas.openxmlformats.org/officeDocument/2006/relationships/image" Target="../media/image1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50751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Microsoft </a:t>
            </a:r>
            <a:br>
              <a:rPr lang="en-US" dirty="0" smtClean="0"/>
            </a:br>
            <a:r>
              <a:rPr lang="en-US" dirty="0" smtClean="0"/>
              <a:t>Cloud Platform</a:t>
            </a:r>
            <a:endParaRPr lang="en-US" dirty="0"/>
          </a:p>
        </p:txBody>
      </p:sp>
      <p:sp>
        <p:nvSpPr>
          <p:cNvPr id="5" name="Subtitle 4"/>
          <p:cNvSpPr>
            <a:spLocks noGrp="1"/>
          </p:cNvSpPr>
          <p:nvPr>
            <p:ph type="subTitle" idx="1"/>
          </p:nvPr>
        </p:nvSpPr>
        <p:spPr/>
        <p:txBody>
          <a:bodyPr/>
          <a:lstStyle/>
          <a:p>
            <a:r>
              <a:rPr lang="en-US" smtClean="0"/>
              <a:t>Speaker name</a:t>
            </a:r>
          </a:p>
          <a:p>
            <a:r>
              <a:rPr lang="en-US" smtClean="0"/>
              <a:t>Date</a:t>
            </a:r>
            <a:endParaRPr lang="en-US" dirty="0"/>
          </a:p>
        </p:txBody>
      </p:sp>
    </p:spTree>
    <p:extLst>
      <p:ext uri="{BB962C8B-B14F-4D97-AF65-F5344CB8AC3E}">
        <p14:creationId xmlns:p14="http://schemas.microsoft.com/office/powerpoint/2010/main" val="2021284544"/>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tabLst>
                <a:tab pos="2576658" algn="l"/>
              </a:tabLst>
            </a:pPr>
            <a:r>
              <a:rPr lang="en-US" dirty="0"/>
              <a:t>Next steps…Engage</a:t>
            </a:r>
          </a:p>
        </p:txBody>
      </p:sp>
      <p:sp>
        <p:nvSpPr>
          <p:cNvPr id="22" name="Content Placeholder 4"/>
          <p:cNvSpPr txBox="1">
            <a:spLocks/>
          </p:cNvSpPr>
          <p:nvPr/>
        </p:nvSpPr>
        <p:spPr>
          <a:xfrm>
            <a:off x="3854943" y="4140349"/>
            <a:ext cx="3809805" cy="2140501"/>
          </a:xfrm>
          <a:prstGeom prst="rect">
            <a:avLst/>
          </a:prstGeom>
          <a:solidFill>
            <a:schemeClr val="accent2"/>
          </a:solidFill>
        </p:spPr>
        <p:txBody>
          <a:bodyPr lIns="179253" tIns="143402" rIns="179253" bIns="143402" anchor="t" anchorCtr="0"/>
          <a:lstStyle>
            <a:lvl1pPr marL="231775" indent="-231775" algn="l" defTabSz="914400" rtl="0" eaLnBrk="1" latinLnBrk="0" hangingPunct="1">
              <a:spcBef>
                <a:spcPct val="20000"/>
              </a:spcBef>
              <a:buClr>
                <a:srgbClr val="397FBB"/>
              </a:buClr>
              <a:buSzPct val="105000"/>
              <a:buFontTx/>
              <a:buBlip>
                <a:blip r:embed="rId3"/>
              </a:buBlip>
              <a:defRPr sz="1800" kern="1200">
                <a:solidFill>
                  <a:srgbClr val="397FBB"/>
                </a:solidFill>
                <a:latin typeface="Verdana" pitchFamily="34" charset="0"/>
                <a:ea typeface="Verdana" pitchFamily="34" charset="0"/>
                <a:cs typeface="Verdana" pitchFamily="34" charset="0"/>
              </a:defRPr>
            </a:lvl1pPr>
            <a:lvl2pPr marL="457200" indent="-230188" algn="l" defTabSz="914400" rtl="0" eaLnBrk="1" latinLnBrk="0" hangingPunct="1">
              <a:spcBef>
                <a:spcPct val="20000"/>
              </a:spcBef>
              <a:buClr>
                <a:srgbClr val="F1AB3C"/>
              </a:buClr>
              <a:buFont typeface="Arial" pitchFamily="34" charset="0"/>
              <a:buChar char="–"/>
              <a:defRPr sz="1600" kern="1200">
                <a:solidFill>
                  <a:srgbClr val="626161"/>
                </a:solidFill>
                <a:latin typeface="Verdana" pitchFamily="34" charset="0"/>
                <a:ea typeface="Verdana" pitchFamily="34" charset="0"/>
                <a:cs typeface="Verdana" pitchFamily="34" charset="0"/>
              </a:defRPr>
            </a:lvl2pPr>
            <a:lvl3pPr marL="795338" indent="-228600" algn="l" defTabSz="914400" rtl="0" eaLnBrk="1" latinLnBrk="0" hangingPunct="1">
              <a:spcBef>
                <a:spcPct val="20000"/>
              </a:spcBef>
              <a:buClr>
                <a:srgbClr val="F1AB3C"/>
              </a:buClr>
              <a:buFont typeface="Arial" pitchFamily="34" charset="0"/>
              <a:buChar char="•"/>
              <a:defRPr sz="1400" kern="1200">
                <a:solidFill>
                  <a:srgbClr val="626161"/>
                </a:solidFill>
                <a:latin typeface="Verdana" pitchFamily="34" charset="0"/>
                <a:ea typeface="Verdana" pitchFamily="34" charset="0"/>
                <a:cs typeface="Verdana" pitchFamily="34" charset="0"/>
              </a:defRPr>
            </a:lvl3pPr>
            <a:lvl4pPr marL="1143000" indent="-228600" algn="l" defTabSz="914400" rtl="0" eaLnBrk="1" latinLnBrk="0" hangingPunct="1">
              <a:spcBef>
                <a:spcPct val="20000"/>
              </a:spcBef>
              <a:buClr>
                <a:srgbClr val="F1AB3C"/>
              </a:buClr>
              <a:buFont typeface="Arial" pitchFamily="34" charset="0"/>
              <a:buChar char="–"/>
              <a:defRPr sz="1200" kern="1200">
                <a:solidFill>
                  <a:srgbClr val="626161"/>
                </a:solidFill>
                <a:latin typeface="Verdana" pitchFamily="34" charset="0"/>
                <a:ea typeface="Verdana" pitchFamily="34" charset="0"/>
                <a:cs typeface="Verdana" pitchFamily="34" charset="0"/>
              </a:defRPr>
            </a:lvl4pPr>
            <a:lvl5pPr marL="1484313" indent="-228600" algn="l" defTabSz="914400" rtl="0" eaLnBrk="1" latinLnBrk="0" hangingPunct="1">
              <a:spcBef>
                <a:spcPct val="20000"/>
              </a:spcBef>
              <a:buClr>
                <a:srgbClr val="F1AB3C"/>
              </a:buClr>
              <a:buFont typeface="Arial" pitchFamily="34" charset="0"/>
              <a:buChar char="»"/>
              <a:defRPr sz="1200" kern="1200">
                <a:solidFill>
                  <a:srgbClr val="62616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087384">
              <a:lnSpc>
                <a:spcPct val="90000"/>
              </a:lnSpc>
              <a:spcBef>
                <a:spcPts val="1198"/>
              </a:spcBef>
              <a:buNone/>
            </a:pPr>
            <a:r>
              <a:rPr lang="en-US" sz="3529" spc="-49" dirty="0">
                <a:gradFill>
                  <a:gsLst>
                    <a:gs pos="35762">
                      <a:srgbClr val="191919"/>
                    </a:gs>
                    <a:gs pos="84071">
                      <a:srgbClr val="191919"/>
                    </a:gs>
                  </a:gsLst>
                  <a:lin ang="5400000" scaled="0"/>
                </a:gradFill>
                <a:latin typeface="Segoe UI Light" pitchFamily="34" charset="0"/>
                <a:ea typeface="Segoe UI" pitchFamily="34" charset="0"/>
                <a:cs typeface="Segoe UI" pitchFamily="34" charset="0"/>
              </a:rPr>
              <a:t>Questions? </a:t>
            </a:r>
          </a:p>
          <a:p>
            <a:pPr marL="0" indent="0" defTabSz="913794">
              <a:lnSpc>
                <a:spcPct val="90000"/>
              </a:lnSpc>
              <a:spcBef>
                <a:spcPts val="1176"/>
              </a:spcBef>
              <a:buNone/>
            </a:pPr>
            <a:r>
              <a:rPr lang="en-US" sz="1961" spc="-29" dirty="0">
                <a:gradFill>
                  <a:gsLst>
                    <a:gs pos="35762">
                      <a:srgbClr val="191919"/>
                    </a:gs>
                    <a:gs pos="84071">
                      <a:srgbClr val="191919"/>
                    </a:gs>
                  </a:gsLst>
                  <a:lin ang="5400000" scaled="0"/>
                </a:gradFill>
                <a:latin typeface="Segoe UI"/>
                <a:ea typeface="Segoe UI" pitchFamily="34" charset="0"/>
                <a:cs typeface="Segoe UI" pitchFamily="34" charset="0"/>
              </a:rPr>
              <a:t>Your account representative </a:t>
            </a:r>
            <a:br>
              <a:rPr lang="en-US" sz="1961" spc="-29" dirty="0">
                <a:gradFill>
                  <a:gsLst>
                    <a:gs pos="35762">
                      <a:srgbClr val="191919"/>
                    </a:gs>
                    <a:gs pos="84071">
                      <a:srgbClr val="191919"/>
                    </a:gs>
                  </a:gsLst>
                  <a:lin ang="5400000" scaled="0"/>
                </a:gradFill>
                <a:latin typeface="Segoe UI"/>
                <a:ea typeface="Segoe UI" pitchFamily="34" charset="0"/>
                <a:cs typeface="Segoe UI" pitchFamily="34" charset="0"/>
              </a:rPr>
            </a:br>
            <a:r>
              <a:rPr lang="en-US" sz="1961" spc="-29" dirty="0">
                <a:gradFill>
                  <a:gsLst>
                    <a:gs pos="35762">
                      <a:srgbClr val="191919"/>
                    </a:gs>
                    <a:gs pos="84071">
                      <a:srgbClr val="191919"/>
                    </a:gs>
                  </a:gsLst>
                  <a:lin ang="5400000" scaled="0"/>
                </a:gradFill>
                <a:latin typeface="Segoe UI"/>
                <a:ea typeface="Segoe UI" pitchFamily="34" charset="0"/>
                <a:cs typeface="Segoe UI" pitchFamily="34" charset="0"/>
              </a:rPr>
              <a:t>can provide more information on anything you’ve seen </a:t>
            </a:r>
            <a:br>
              <a:rPr lang="en-US" sz="1961" spc="-29" dirty="0">
                <a:gradFill>
                  <a:gsLst>
                    <a:gs pos="35762">
                      <a:srgbClr val="191919"/>
                    </a:gs>
                    <a:gs pos="84071">
                      <a:srgbClr val="191919"/>
                    </a:gs>
                  </a:gsLst>
                  <a:lin ang="5400000" scaled="0"/>
                </a:gradFill>
                <a:latin typeface="Segoe UI"/>
                <a:ea typeface="Segoe UI" pitchFamily="34" charset="0"/>
                <a:cs typeface="Segoe UI" pitchFamily="34" charset="0"/>
              </a:rPr>
            </a:br>
            <a:r>
              <a:rPr lang="en-US" sz="1961" spc="-29" dirty="0">
                <a:gradFill>
                  <a:gsLst>
                    <a:gs pos="35762">
                      <a:srgbClr val="191919"/>
                    </a:gs>
                    <a:gs pos="84071">
                      <a:srgbClr val="191919"/>
                    </a:gs>
                  </a:gsLst>
                  <a:lin ang="5400000" scaled="0"/>
                </a:gradFill>
                <a:latin typeface="Segoe UI"/>
                <a:ea typeface="Segoe UI" pitchFamily="34" charset="0"/>
                <a:cs typeface="Segoe UI" pitchFamily="34" charset="0"/>
              </a:rPr>
              <a:t>here today</a:t>
            </a:r>
          </a:p>
        </p:txBody>
      </p:sp>
      <p:pic>
        <p:nvPicPr>
          <p:cNvPr id="13" name="Picture 12"/>
          <p:cNvPicPr>
            <a:picLocks noChangeAspect="1"/>
          </p:cNvPicPr>
          <p:nvPr/>
        </p:nvPicPr>
        <p:blipFill rotWithShape="1">
          <a:blip r:embed="rId4" cstate="email">
            <a:extLst>
              <a:ext uri="{28A0092B-C50C-407E-A947-70E740481C1C}">
                <a14:useLocalDpi xmlns:a14="http://schemas.microsoft.com/office/drawing/2010/main" val="0"/>
              </a:ext>
            </a:extLst>
          </a:blip>
          <a:srcRect l="2298" t="27108" r="33026" b="13495"/>
          <a:stretch/>
        </p:blipFill>
        <p:spPr>
          <a:xfrm>
            <a:off x="3854944" y="1762468"/>
            <a:ext cx="3809805" cy="2330705"/>
          </a:xfrm>
          <a:prstGeom prst="rect">
            <a:avLst/>
          </a:prstGeom>
        </p:spPr>
      </p:pic>
      <p:sp>
        <p:nvSpPr>
          <p:cNvPr id="25" name="white gradient"/>
          <p:cNvSpPr/>
          <p:nvPr/>
        </p:nvSpPr>
        <p:spPr>
          <a:xfrm>
            <a:off x="269239" y="1762469"/>
            <a:ext cx="3540878" cy="4521198"/>
          </a:xfrm>
          <a:prstGeom prst="rect">
            <a:avLst/>
          </a:prstGeom>
          <a:solidFill>
            <a:schemeClr val="accent3"/>
          </a:solidFill>
          <a:ln w="3175">
            <a:noFill/>
          </a:ln>
          <a:effectLst/>
        </p:spPr>
        <p:txBody>
          <a:bodyPr vert="horz" wrap="square" lIns="179285" tIns="143428" rIns="179285" bIns="143428" rtlCol="0" anchor="t" anchorCtr="0">
            <a:noAutofit/>
          </a:bodyPr>
          <a:lstStyle/>
          <a:p>
            <a:pPr defTabSz="1087384">
              <a:lnSpc>
                <a:spcPct val="90000"/>
              </a:lnSpc>
              <a:spcBef>
                <a:spcPts val="1198"/>
              </a:spcBef>
              <a:buClr>
                <a:srgbClr val="397FBB"/>
              </a:buClr>
              <a:buSzPct val="105000"/>
            </a:pPr>
            <a:r>
              <a:rPr lang="en-US" sz="3529" spc="-69" dirty="0">
                <a:gradFill>
                  <a:gsLst>
                    <a:gs pos="84071">
                      <a:srgbClr val="FFFFFF"/>
                    </a:gs>
                    <a:gs pos="96460">
                      <a:srgbClr val="FFFFFF"/>
                    </a:gs>
                  </a:gsLst>
                  <a:lin ang="5400000" scaled="0"/>
                </a:gradFill>
                <a:latin typeface="Segoe UI Light" pitchFamily="34" charset="0"/>
                <a:ea typeface="Segoe UI" pitchFamily="34" charset="0"/>
                <a:cs typeface="Segoe UI" pitchFamily="34" charset="0"/>
              </a:rPr>
              <a:t>Engage the cloud on your terms…</a:t>
            </a:r>
            <a:endParaRPr lang="en-US" sz="1765" b="1" spc="-49" dirty="0">
              <a:gradFill>
                <a:gsLst>
                  <a:gs pos="84071">
                    <a:srgbClr val="FFFFFF"/>
                  </a:gs>
                  <a:gs pos="96460">
                    <a:srgbClr val="FFFFFF"/>
                  </a:gs>
                </a:gsLst>
                <a:lin ang="5400000" scaled="0"/>
              </a:gradFill>
              <a:latin typeface="Segoe UI Light" pitchFamily="34" charset="0"/>
              <a:ea typeface="Segoe UI" pitchFamily="34" charset="0"/>
              <a:cs typeface="Segoe UI" pitchFamily="34" charset="0"/>
            </a:endParaRPr>
          </a:p>
          <a:p>
            <a:pPr defTabSz="913794">
              <a:lnSpc>
                <a:spcPct val="90000"/>
              </a:lnSpc>
              <a:spcBef>
                <a:spcPts val="1176"/>
              </a:spcBef>
              <a:buClr>
                <a:srgbClr val="397FBB"/>
              </a:buClr>
              <a:buSzPct val="105000"/>
            </a:pPr>
            <a:r>
              <a:rPr lang="en-US" sz="1961" spc="-29" dirty="0">
                <a:gradFill>
                  <a:gsLst>
                    <a:gs pos="84071">
                      <a:srgbClr val="FFFFFF"/>
                    </a:gs>
                    <a:gs pos="96460">
                      <a:srgbClr val="FFFFFF"/>
                    </a:gs>
                  </a:gsLst>
                  <a:lin ang="5400000" scaled="0"/>
                </a:gradFill>
                <a:ea typeface="Segoe UI" pitchFamily="34" charset="0"/>
                <a:cs typeface="Segoe UI" pitchFamily="34" charset="0"/>
              </a:rPr>
              <a:t>Ask your </a:t>
            </a:r>
            <a:r>
              <a:rPr lang="en-US" sz="1961" b="1" spc="-29" dirty="0">
                <a:gradFill>
                  <a:gsLst>
                    <a:gs pos="84071">
                      <a:srgbClr val="FFFFFF"/>
                    </a:gs>
                    <a:gs pos="96460">
                      <a:srgbClr val="FFFFFF"/>
                    </a:gs>
                  </a:gsLst>
                  <a:lin ang="5400000" scaled="0"/>
                </a:gradFill>
                <a:ea typeface="Segoe UI" pitchFamily="34" charset="0"/>
                <a:cs typeface="Segoe UI" pitchFamily="34" charset="0"/>
              </a:rPr>
              <a:t>account representative </a:t>
            </a:r>
            <a:r>
              <a:rPr lang="en-US" sz="1961" spc="-29">
                <a:gradFill>
                  <a:gsLst>
                    <a:gs pos="84071">
                      <a:srgbClr val="FFFFFF"/>
                    </a:gs>
                    <a:gs pos="96460">
                      <a:srgbClr val="FFFFFF"/>
                    </a:gs>
                  </a:gsLst>
                  <a:lin ang="5400000" scaled="0"/>
                </a:gradFill>
                <a:ea typeface="Segoe UI" pitchFamily="34" charset="0"/>
                <a:cs typeface="Segoe UI" pitchFamily="34" charset="0"/>
              </a:rPr>
              <a:t>about </a:t>
            </a:r>
            <a:r>
              <a:rPr lang="en-US" sz="1961" spc="-29">
                <a:gradFill>
                  <a:gsLst>
                    <a:gs pos="84071">
                      <a:srgbClr val="FFFFFF"/>
                    </a:gs>
                    <a:gs pos="96460">
                      <a:srgbClr val="FFFFFF"/>
                    </a:gs>
                  </a:gsLst>
                  <a:lin ang="5400000" scaled="0"/>
                </a:gradFill>
                <a:ea typeface="Segoe UI" pitchFamily="34" charset="0"/>
                <a:cs typeface="Segoe UI" pitchFamily="34" charset="0"/>
              </a:rPr>
              <a:t/>
            </a:r>
            <a:br>
              <a:rPr lang="en-US" sz="1961" spc="-29">
                <a:gradFill>
                  <a:gsLst>
                    <a:gs pos="84071">
                      <a:srgbClr val="FFFFFF"/>
                    </a:gs>
                    <a:gs pos="96460">
                      <a:srgbClr val="FFFFFF"/>
                    </a:gs>
                  </a:gsLst>
                  <a:lin ang="5400000" scaled="0"/>
                </a:gradFill>
                <a:ea typeface="Segoe UI" pitchFamily="34" charset="0"/>
                <a:cs typeface="Segoe UI" pitchFamily="34" charset="0"/>
              </a:rPr>
            </a:br>
            <a:r>
              <a:rPr lang="en-US" sz="1961" b="1" spc="-29">
                <a:gradFill>
                  <a:gsLst>
                    <a:gs pos="84071">
                      <a:srgbClr val="FFFFFF"/>
                    </a:gs>
                    <a:gs pos="96460">
                      <a:srgbClr val="FFFFFF"/>
                    </a:gs>
                  </a:gsLst>
                  <a:lin ang="5400000" scaled="0"/>
                </a:gradFill>
                <a:ea typeface="Segoe UI" pitchFamily="34" charset="0"/>
                <a:cs typeface="Segoe UI" pitchFamily="34" charset="0"/>
              </a:rPr>
              <a:t>next </a:t>
            </a:r>
            <a:r>
              <a:rPr lang="en-US" sz="1961" b="1" spc="-29" dirty="0">
                <a:gradFill>
                  <a:gsLst>
                    <a:gs pos="84071">
                      <a:srgbClr val="FFFFFF"/>
                    </a:gs>
                    <a:gs pos="96460">
                      <a:srgbClr val="FFFFFF"/>
                    </a:gs>
                  </a:gsLst>
                  <a:lin ang="5400000" scaled="0"/>
                </a:gradFill>
                <a:ea typeface="Segoe UI" pitchFamily="34" charset="0"/>
                <a:cs typeface="Segoe UI" pitchFamily="34" charset="0"/>
              </a:rPr>
              <a:t>steps</a:t>
            </a:r>
            <a:r>
              <a:rPr lang="en-US" sz="1961" spc="-29" dirty="0">
                <a:gradFill>
                  <a:gsLst>
                    <a:gs pos="84071">
                      <a:srgbClr val="FFFFFF"/>
                    </a:gs>
                    <a:gs pos="96460">
                      <a:srgbClr val="FFFFFF"/>
                    </a:gs>
                  </a:gsLst>
                  <a:lin ang="5400000" scaled="0"/>
                </a:gradFill>
                <a:ea typeface="Segoe UI" pitchFamily="34" charset="0"/>
                <a:cs typeface="Segoe UI" pitchFamily="34" charset="0"/>
              </a:rPr>
              <a:t>  </a:t>
            </a:r>
          </a:p>
          <a:p>
            <a:pPr marL="227209" indent="-227209" defTabSz="913794">
              <a:lnSpc>
                <a:spcPct val="90000"/>
              </a:lnSpc>
              <a:spcBef>
                <a:spcPts val="1176"/>
              </a:spcBef>
              <a:buClr>
                <a:srgbClr val="397FBB"/>
              </a:buClr>
              <a:buSzPct val="105000"/>
              <a:buFont typeface="Arial" pitchFamily="34" charset="0"/>
              <a:buChar char="•"/>
            </a:pPr>
            <a:r>
              <a:rPr lang="en-US" sz="1961" spc="-29" dirty="0">
                <a:gradFill>
                  <a:gsLst>
                    <a:gs pos="84071">
                      <a:srgbClr val="FFFFFF"/>
                    </a:gs>
                    <a:gs pos="96460">
                      <a:srgbClr val="FFFFFF"/>
                    </a:gs>
                  </a:gsLst>
                  <a:lin ang="5400000" scaled="0"/>
                </a:gradFill>
                <a:ea typeface="Segoe UI" pitchFamily="34" charset="0"/>
                <a:cs typeface="Segoe UI" pitchFamily="34" charset="0"/>
              </a:rPr>
              <a:t>Proof of Concept</a:t>
            </a:r>
          </a:p>
          <a:p>
            <a:pPr marL="227209" indent="-227209" defTabSz="913794">
              <a:lnSpc>
                <a:spcPct val="90000"/>
              </a:lnSpc>
              <a:spcBef>
                <a:spcPts val="1176"/>
              </a:spcBef>
              <a:buClr>
                <a:srgbClr val="397FBB"/>
              </a:buClr>
              <a:buSzPct val="105000"/>
              <a:buFont typeface="Arial" pitchFamily="34" charset="0"/>
              <a:buChar char="•"/>
            </a:pPr>
            <a:r>
              <a:rPr lang="en-US" sz="1961" spc="-29" dirty="0">
                <a:gradFill>
                  <a:gsLst>
                    <a:gs pos="84071">
                      <a:srgbClr val="FFFFFF"/>
                    </a:gs>
                    <a:gs pos="96460">
                      <a:srgbClr val="FFFFFF"/>
                    </a:gs>
                  </a:gsLst>
                  <a:lin ang="5400000" scaled="0"/>
                </a:gradFill>
                <a:ea typeface="Segoe UI" pitchFamily="34" charset="0"/>
                <a:cs typeface="Segoe UI" pitchFamily="34" charset="0"/>
              </a:rPr>
              <a:t>Architectural Design </a:t>
            </a:r>
            <a:r>
              <a:rPr lang="en-US" sz="1961" spc="-29" dirty="0">
                <a:gradFill>
                  <a:gsLst>
                    <a:gs pos="84071">
                      <a:srgbClr val="FFFFFF"/>
                    </a:gs>
                    <a:gs pos="96460">
                      <a:srgbClr val="FFFFFF"/>
                    </a:gs>
                  </a:gsLst>
                  <a:lin ang="5400000" scaled="0"/>
                </a:gradFill>
                <a:ea typeface="Segoe UI" pitchFamily="34" charset="0"/>
                <a:cs typeface="Segoe UI" pitchFamily="34" charset="0"/>
              </a:rPr>
              <a:t>Session</a:t>
            </a:r>
          </a:p>
          <a:p>
            <a:pPr marL="227209" indent="-227209" defTabSz="913794">
              <a:lnSpc>
                <a:spcPct val="90000"/>
              </a:lnSpc>
              <a:spcBef>
                <a:spcPts val="1176"/>
              </a:spcBef>
              <a:buClr>
                <a:srgbClr val="397FBB"/>
              </a:buClr>
              <a:buSzPct val="105000"/>
              <a:buFont typeface="Arial" pitchFamily="34" charset="0"/>
              <a:buChar char="•"/>
            </a:pPr>
            <a:r>
              <a:rPr lang="en-US" sz="1961" spc="-29" dirty="0">
                <a:gradFill>
                  <a:gsLst>
                    <a:gs pos="84071">
                      <a:srgbClr val="FFFFFF"/>
                    </a:gs>
                    <a:gs pos="96460">
                      <a:srgbClr val="FFFFFF"/>
                    </a:gs>
                  </a:gsLst>
                  <a:lin ang="5400000" scaled="0"/>
                </a:gradFill>
                <a:ea typeface="Segoe UI" pitchFamily="34" charset="0"/>
                <a:cs typeface="Segoe UI" pitchFamily="34" charset="0"/>
              </a:rPr>
              <a:t>Fast Track</a:t>
            </a:r>
          </a:p>
          <a:p>
            <a:pPr marL="227209" indent="-227209" defTabSz="913794">
              <a:lnSpc>
                <a:spcPct val="90000"/>
              </a:lnSpc>
              <a:spcBef>
                <a:spcPts val="1176"/>
              </a:spcBef>
              <a:buClr>
                <a:srgbClr val="397FBB"/>
              </a:buClr>
              <a:buSzPct val="105000"/>
              <a:buFont typeface="Arial" pitchFamily="34" charset="0"/>
              <a:buChar char="•"/>
            </a:pPr>
            <a:r>
              <a:rPr lang="en-US" sz="1961" spc="-29" dirty="0">
                <a:gradFill>
                  <a:gsLst>
                    <a:gs pos="84071">
                      <a:srgbClr val="FFFFFF"/>
                    </a:gs>
                    <a:gs pos="96460">
                      <a:srgbClr val="FFFFFF"/>
                    </a:gs>
                  </a:gsLst>
                  <a:lin ang="5400000" scaled="0"/>
                </a:gradFill>
                <a:ea typeface="Segoe UI" pitchFamily="34" charset="0"/>
                <a:cs typeface="Segoe UI" pitchFamily="34" charset="0"/>
              </a:rPr>
              <a:t>Microsoft Learning</a:t>
            </a:r>
            <a:endParaRPr lang="en-US" sz="1961" dirty="0">
              <a:gradFill>
                <a:gsLst>
                  <a:gs pos="84071">
                    <a:srgbClr val="FFFFFF"/>
                  </a:gs>
                  <a:gs pos="96460">
                    <a:srgbClr val="FFFFFF"/>
                  </a:gs>
                </a:gsLst>
                <a:lin ang="5400000" scaled="0"/>
              </a:gradFill>
              <a:ea typeface="Segoe UI" pitchFamily="34" charset="0"/>
              <a:cs typeface="Segoe UI" pitchFamily="34" charset="0"/>
            </a:endParaRPr>
          </a:p>
        </p:txBody>
      </p:sp>
      <p:grpSp>
        <p:nvGrpSpPr>
          <p:cNvPr id="23" name="Group 22"/>
          <p:cNvGrpSpPr/>
          <p:nvPr/>
        </p:nvGrpSpPr>
        <p:grpSpPr>
          <a:xfrm>
            <a:off x="7711571" y="1747458"/>
            <a:ext cx="4213197" cy="4521199"/>
            <a:chOff x="7864159" y="1797309"/>
            <a:chExt cx="4297680" cy="4611858"/>
          </a:xfrm>
        </p:grpSpPr>
        <p:sp>
          <p:nvSpPr>
            <p:cNvPr id="24" name="white gradient"/>
            <p:cNvSpPr/>
            <p:nvPr/>
          </p:nvSpPr>
          <p:spPr>
            <a:xfrm>
              <a:off x="7864159" y="1797309"/>
              <a:ext cx="4297680" cy="4611858"/>
            </a:xfrm>
            <a:prstGeom prst="rect">
              <a:avLst/>
            </a:prstGeom>
            <a:solidFill>
              <a:schemeClr val="accent5"/>
            </a:solidFill>
            <a:ln w="3175">
              <a:noFill/>
            </a:ln>
            <a:effectLst/>
          </p:spPr>
          <p:txBody>
            <a:bodyPr vert="horz" wrap="square" lIns="179285" tIns="143428" rIns="179285" bIns="143428" rtlCol="0" anchor="t" anchorCtr="0">
              <a:noAutofit/>
            </a:bodyPr>
            <a:lstStyle/>
            <a:p>
              <a:pPr defTabSz="1087384">
                <a:lnSpc>
                  <a:spcPct val="90000"/>
                </a:lnSpc>
                <a:spcBef>
                  <a:spcPts val="1198"/>
                </a:spcBef>
                <a:buClr>
                  <a:srgbClr val="397FBB"/>
                </a:buClr>
                <a:buSzPct val="105000"/>
              </a:pPr>
              <a:r>
                <a:rPr lang="en-US" sz="3529" spc="-69" dirty="0">
                  <a:gradFill>
                    <a:gsLst>
                      <a:gs pos="84071">
                        <a:srgbClr val="FFFFFF"/>
                      </a:gs>
                      <a:gs pos="96460">
                        <a:srgbClr val="FFFFFF"/>
                      </a:gs>
                    </a:gsLst>
                    <a:lin ang="5400000" scaled="0"/>
                  </a:gradFill>
                  <a:latin typeface="Segoe UI Light" pitchFamily="34" charset="0"/>
                  <a:ea typeface="Segoe UI" pitchFamily="34" charset="0"/>
                  <a:cs typeface="Segoe UI" pitchFamily="34" charset="0"/>
                </a:rPr>
                <a:t>Evaluate trial versions in your datacenter… </a:t>
              </a:r>
            </a:p>
            <a:p>
              <a:pPr defTabSz="1087384">
                <a:lnSpc>
                  <a:spcPct val="90000"/>
                </a:lnSpc>
                <a:buClr>
                  <a:srgbClr val="397FBB"/>
                </a:buClr>
                <a:buSzPct val="105000"/>
              </a:pPr>
              <a:r>
                <a:rPr lang="en-US" sz="1961" dirty="0">
                  <a:gradFill>
                    <a:gsLst>
                      <a:gs pos="84071">
                        <a:srgbClr val="FFFFFF"/>
                      </a:gs>
                      <a:gs pos="96460">
                        <a:srgbClr val="FFFFFF"/>
                      </a:gs>
                    </a:gsLst>
                    <a:lin ang="5400000" scaled="0"/>
                  </a:gradFill>
                  <a:ea typeface="Segoe UI" pitchFamily="34" charset="0"/>
                  <a:cs typeface="Segoe UI" pitchFamily="34" charset="0"/>
                </a:rPr>
                <a:t/>
              </a:r>
              <a:br>
                <a:rPr lang="en-US" sz="1961" dirty="0">
                  <a:gradFill>
                    <a:gsLst>
                      <a:gs pos="84071">
                        <a:srgbClr val="FFFFFF"/>
                      </a:gs>
                      <a:gs pos="96460">
                        <a:srgbClr val="FFFFFF"/>
                      </a:gs>
                    </a:gsLst>
                    <a:lin ang="5400000" scaled="0"/>
                  </a:gradFill>
                  <a:ea typeface="Segoe UI" pitchFamily="34" charset="0"/>
                  <a:cs typeface="Segoe UI" pitchFamily="34" charset="0"/>
                </a:rPr>
              </a:br>
              <a:endParaRPr lang="en-US" sz="1961" dirty="0">
                <a:gradFill>
                  <a:gsLst>
                    <a:gs pos="84071">
                      <a:srgbClr val="FFFFFF"/>
                    </a:gs>
                    <a:gs pos="96460">
                      <a:srgbClr val="FFFFFF"/>
                    </a:gs>
                  </a:gsLst>
                  <a:lin ang="5400000" scaled="0"/>
                </a:gradFill>
                <a:ea typeface="Segoe UI" pitchFamily="34" charset="0"/>
                <a:cs typeface="Segoe UI" pitchFamily="34" charset="0"/>
              </a:endParaRPr>
            </a:p>
          </p:txBody>
        </p:sp>
        <p:sp>
          <p:nvSpPr>
            <p:cNvPr id="26" name="Rectangle 25">
              <a:hlinkClick r:id="rId5"/>
            </p:cNvPr>
            <p:cNvSpPr/>
            <p:nvPr/>
          </p:nvSpPr>
          <p:spPr bwMode="auto">
            <a:xfrm>
              <a:off x="8066062" y="3200624"/>
              <a:ext cx="3893874" cy="72237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3942" fontAlgn="base">
                <a:lnSpc>
                  <a:spcPct val="90000"/>
                </a:lnSpc>
                <a:spcBef>
                  <a:spcPct val="0"/>
                </a:spcBef>
                <a:spcAft>
                  <a:spcPct val="0"/>
                </a:spcAft>
              </a:pPr>
              <a:r>
                <a:rPr lang="en-US" sz="1961" dirty="0">
                  <a:gradFill>
                    <a:gsLst>
                      <a:gs pos="84071">
                        <a:srgbClr val="191919"/>
                      </a:gs>
                      <a:gs pos="57000">
                        <a:srgbClr val="191919"/>
                      </a:gs>
                    </a:gsLst>
                    <a:lin ang="5400000" scaled="0"/>
                  </a:gradFill>
                </a:rPr>
                <a:t>Windows Server 2012 R2</a:t>
              </a:r>
              <a:endParaRPr lang="en-US" sz="1961" dirty="0">
                <a:gradFill>
                  <a:gsLst>
                    <a:gs pos="84071">
                      <a:srgbClr val="191919"/>
                    </a:gs>
                    <a:gs pos="57000">
                      <a:srgbClr val="191919"/>
                    </a:gs>
                  </a:gsLst>
                  <a:lin ang="5400000" scaled="0"/>
                </a:gradFill>
              </a:endParaRPr>
            </a:p>
          </p:txBody>
        </p:sp>
        <p:sp>
          <p:nvSpPr>
            <p:cNvPr id="27" name="Rectangle 26">
              <a:hlinkClick r:id="rId6"/>
            </p:cNvPr>
            <p:cNvSpPr/>
            <p:nvPr/>
          </p:nvSpPr>
          <p:spPr bwMode="auto">
            <a:xfrm>
              <a:off x="8066062" y="3967579"/>
              <a:ext cx="3893874" cy="72237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3942" fontAlgn="base">
                <a:lnSpc>
                  <a:spcPct val="90000"/>
                </a:lnSpc>
                <a:spcBef>
                  <a:spcPct val="0"/>
                </a:spcBef>
                <a:spcAft>
                  <a:spcPct val="0"/>
                </a:spcAft>
              </a:pPr>
              <a:r>
                <a:rPr lang="en-US" sz="1961" dirty="0">
                  <a:gradFill>
                    <a:gsLst>
                      <a:gs pos="84071">
                        <a:srgbClr val="191919"/>
                      </a:gs>
                      <a:gs pos="57000">
                        <a:srgbClr val="191919"/>
                      </a:gs>
                    </a:gsLst>
                    <a:lin ang="5400000" scaled="0"/>
                  </a:gradFill>
                </a:rPr>
                <a:t>Microsoft Azure</a:t>
              </a:r>
              <a:endParaRPr lang="en-US" sz="1961" dirty="0">
                <a:gradFill>
                  <a:gsLst>
                    <a:gs pos="84071">
                      <a:srgbClr val="191919"/>
                    </a:gs>
                    <a:gs pos="57000">
                      <a:srgbClr val="191919"/>
                    </a:gs>
                  </a:gsLst>
                  <a:lin ang="5400000" scaled="0"/>
                </a:gradFill>
              </a:endParaRPr>
            </a:p>
          </p:txBody>
        </p:sp>
        <p:sp>
          <p:nvSpPr>
            <p:cNvPr id="34" name="Rectangle 33">
              <a:hlinkClick r:id="rId7"/>
            </p:cNvPr>
            <p:cNvSpPr/>
            <p:nvPr/>
          </p:nvSpPr>
          <p:spPr bwMode="auto">
            <a:xfrm>
              <a:off x="8066062" y="4734534"/>
              <a:ext cx="3893874" cy="72237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3942" fontAlgn="base">
                <a:lnSpc>
                  <a:spcPct val="90000"/>
                </a:lnSpc>
                <a:spcBef>
                  <a:spcPct val="0"/>
                </a:spcBef>
                <a:spcAft>
                  <a:spcPct val="0"/>
                </a:spcAft>
              </a:pPr>
              <a:r>
                <a:rPr lang="en-US" sz="1961" dirty="0">
                  <a:gradFill>
                    <a:gsLst>
                      <a:gs pos="84071">
                        <a:srgbClr val="191919"/>
                      </a:gs>
                      <a:gs pos="57000">
                        <a:srgbClr val="191919"/>
                      </a:gs>
                    </a:gsLst>
                    <a:lin ang="5400000" scaled="0"/>
                  </a:gradFill>
                </a:rPr>
                <a:t>System Center 2012 R2</a:t>
              </a:r>
              <a:endParaRPr lang="en-US" sz="1961" dirty="0">
                <a:gradFill>
                  <a:gsLst>
                    <a:gs pos="84071">
                      <a:srgbClr val="191919"/>
                    </a:gs>
                    <a:gs pos="57000">
                      <a:srgbClr val="191919"/>
                    </a:gs>
                  </a:gsLst>
                  <a:lin ang="5400000" scaled="0"/>
                </a:gradFill>
              </a:endParaRPr>
            </a:p>
          </p:txBody>
        </p:sp>
        <p:sp>
          <p:nvSpPr>
            <p:cNvPr id="35" name="Freeform 9">
              <a:hlinkClick r:id="rId5"/>
            </p:cNvPr>
            <p:cNvSpPr>
              <a:spLocks noEditPoints="1"/>
            </p:cNvSpPr>
            <p:nvPr/>
          </p:nvSpPr>
          <p:spPr bwMode="auto">
            <a:xfrm>
              <a:off x="11442698" y="3383580"/>
              <a:ext cx="355023" cy="356465"/>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pPr defTabSz="896191"/>
              <a:endParaRPr lang="en-US" sz="1765">
                <a:solidFill>
                  <a:srgbClr val="FFFFFF"/>
                </a:solidFill>
              </a:endParaRPr>
            </a:p>
          </p:txBody>
        </p:sp>
        <p:sp>
          <p:nvSpPr>
            <p:cNvPr id="36" name="Freeform 9">
              <a:hlinkClick r:id="rId6"/>
            </p:cNvPr>
            <p:cNvSpPr>
              <a:spLocks noEditPoints="1"/>
            </p:cNvSpPr>
            <p:nvPr/>
          </p:nvSpPr>
          <p:spPr bwMode="auto">
            <a:xfrm>
              <a:off x="11442698" y="4150535"/>
              <a:ext cx="355023" cy="356465"/>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pPr defTabSz="896191"/>
              <a:endParaRPr lang="en-US" sz="1765">
                <a:solidFill>
                  <a:srgbClr val="FFFFFF"/>
                </a:solidFill>
              </a:endParaRPr>
            </a:p>
          </p:txBody>
        </p:sp>
        <p:sp>
          <p:nvSpPr>
            <p:cNvPr id="40" name="Freeform 9">
              <a:hlinkClick r:id="rId7"/>
            </p:cNvPr>
            <p:cNvSpPr>
              <a:spLocks noEditPoints="1"/>
            </p:cNvSpPr>
            <p:nvPr/>
          </p:nvSpPr>
          <p:spPr bwMode="auto">
            <a:xfrm>
              <a:off x="11442698" y="4917490"/>
              <a:ext cx="355023" cy="356465"/>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pPr defTabSz="896191"/>
              <a:endParaRPr lang="en-US" sz="1765">
                <a:solidFill>
                  <a:srgbClr val="FFFFFF"/>
                </a:solidFill>
              </a:endParaRPr>
            </a:p>
          </p:txBody>
        </p:sp>
        <p:sp>
          <p:nvSpPr>
            <p:cNvPr id="41" name="Rectangle 40">
              <a:hlinkClick r:id="rId8"/>
            </p:cNvPr>
            <p:cNvSpPr/>
            <p:nvPr/>
          </p:nvSpPr>
          <p:spPr bwMode="auto">
            <a:xfrm>
              <a:off x="8066062" y="5501488"/>
              <a:ext cx="3893874" cy="72237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3942" fontAlgn="base">
                <a:lnSpc>
                  <a:spcPct val="90000"/>
                </a:lnSpc>
                <a:spcBef>
                  <a:spcPct val="0"/>
                </a:spcBef>
                <a:spcAft>
                  <a:spcPct val="0"/>
                </a:spcAft>
              </a:pPr>
              <a:r>
                <a:rPr lang="en-US" sz="1961" dirty="0">
                  <a:gradFill>
                    <a:gsLst>
                      <a:gs pos="84071">
                        <a:srgbClr val="191919"/>
                      </a:gs>
                      <a:gs pos="57000">
                        <a:srgbClr val="191919"/>
                      </a:gs>
                    </a:gsLst>
                    <a:lin ang="5400000" scaled="0"/>
                  </a:gradFill>
                </a:rPr>
                <a:t>SQL Server </a:t>
              </a:r>
              <a:endParaRPr lang="en-US" sz="1961" dirty="0">
                <a:gradFill>
                  <a:gsLst>
                    <a:gs pos="84071">
                      <a:srgbClr val="191919"/>
                    </a:gs>
                    <a:gs pos="57000">
                      <a:srgbClr val="191919"/>
                    </a:gs>
                  </a:gsLst>
                  <a:lin ang="5400000" scaled="0"/>
                </a:gradFill>
              </a:endParaRPr>
            </a:p>
          </p:txBody>
        </p:sp>
        <p:sp>
          <p:nvSpPr>
            <p:cNvPr id="42" name="Freeform 9">
              <a:hlinkClick r:id="rId8"/>
            </p:cNvPr>
            <p:cNvSpPr>
              <a:spLocks noEditPoints="1"/>
            </p:cNvSpPr>
            <p:nvPr/>
          </p:nvSpPr>
          <p:spPr bwMode="auto">
            <a:xfrm>
              <a:off x="11442698" y="5684444"/>
              <a:ext cx="355023" cy="356465"/>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pPr defTabSz="896191"/>
              <a:endParaRPr lang="en-US" sz="1765">
                <a:solidFill>
                  <a:srgbClr val="FFFFFF"/>
                </a:solidFill>
              </a:endParaRPr>
            </a:p>
          </p:txBody>
        </p:sp>
      </p:grpSp>
    </p:spTree>
    <p:extLst>
      <p:ext uri="{BB962C8B-B14F-4D97-AF65-F5344CB8AC3E}">
        <p14:creationId xmlns:p14="http://schemas.microsoft.com/office/powerpoint/2010/main" val="80304037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0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1+#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30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1000" fill="hold"/>
                                        <p:tgtEl>
                                          <p:spTgt spid="22"/>
                                        </p:tgtEl>
                                        <p:attrNameLst>
                                          <p:attrName>ppt_x</p:attrName>
                                        </p:attrNameLst>
                                      </p:cBhvr>
                                      <p:tavLst>
                                        <p:tav tm="0">
                                          <p:val>
                                            <p:strVal val="1+#ppt_w/2"/>
                                          </p:val>
                                        </p:tav>
                                        <p:tav tm="100000">
                                          <p:val>
                                            <p:strVal val="#ppt_x"/>
                                          </p:val>
                                        </p:tav>
                                      </p:tavLst>
                                    </p:anim>
                                    <p:anim calcmode="lin" valueType="num">
                                      <p:cBhvr additive="base">
                                        <p:cTn id="12" dur="10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6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1000" fill="hold"/>
                                        <p:tgtEl>
                                          <p:spTgt spid="23"/>
                                        </p:tgtEl>
                                        <p:attrNameLst>
                                          <p:attrName>ppt_x</p:attrName>
                                        </p:attrNameLst>
                                      </p:cBhvr>
                                      <p:tavLst>
                                        <p:tav tm="0">
                                          <p:val>
                                            <p:strVal val="1+#ppt_w/2"/>
                                          </p:val>
                                        </p:tav>
                                        <p:tav tm="100000">
                                          <p:val>
                                            <p:strVal val="#ppt_x"/>
                                          </p:val>
                                        </p:tav>
                                      </p:tavLst>
                                    </p:anim>
                                    <p:anim calcmode="lin" valueType="num">
                                      <p:cBhvr additive="base">
                                        <p:cTn id="16" dur="10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69597"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282828"/>
                    </a:gs>
                    <a:gs pos="100000">
                      <a:srgbClr val="282828"/>
                    </a:gs>
                  </a:gsLst>
                  <a:lin ang="5400000" scaled="0"/>
                </a:gradFill>
                <a:cs typeface="Segoe UI" pitchFamily="34" charset="0"/>
              </a:rPr>
              <a:t>© </a:t>
            </a:r>
            <a:r>
              <a:rPr lang="en-US" sz="686" dirty="0">
                <a:gradFill>
                  <a:gsLst>
                    <a:gs pos="0">
                      <a:srgbClr val="282828"/>
                    </a:gs>
                    <a:gs pos="100000">
                      <a:srgbClr val="282828"/>
                    </a:gs>
                  </a:gsLst>
                  <a:lin ang="5400000" scaled="0"/>
                </a:gradFill>
                <a:cs typeface="Segoe UI" pitchFamily="34" charset="0"/>
              </a:rPr>
              <a:t>2014 </a:t>
            </a:r>
            <a:r>
              <a:rPr lang="en-US" sz="686" dirty="0">
                <a:gradFill>
                  <a:gsLst>
                    <a:gs pos="0">
                      <a:srgbClr val="282828"/>
                    </a:gs>
                    <a:gs pos="100000">
                      <a:srgbClr val="282828"/>
                    </a:gs>
                  </a:gsLst>
                  <a:lin ang="5400000" scaled="0"/>
                </a:gradFill>
                <a:cs typeface="Segoe UI" pitchFamily="34" charset="0"/>
              </a:rPr>
              <a:t>Microsoft Corporation. All rights reserved. Microsoft, Windows and other product names are or may be registered trademarks and/or trademarks in the U.S. and/or other countries.</a:t>
            </a:r>
          </a:p>
          <a:p>
            <a:pPr defTabSz="913924" eaLnBrk="0" hangingPunct="0"/>
            <a:r>
              <a:rPr lang="en-US" sz="686" dirty="0">
                <a:gradFill>
                  <a:gsLst>
                    <a:gs pos="0">
                      <a:srgbClr val="282828"/>
                    </a:gs>
                    <a:gs pos="100000">
                      <a:srgbClr val="282828"/>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0203" y="3083702"/>
            <a:ext cx="3223861" cy="690596"/>
          </a:xfrm>
          <a:prstGeom prst="rect">
            <a:avLst/>
          </a:prstGeom>
        </p:spPr>
      </p:pic>
    </p:spTree>
    <p:extLst>
      <p:ext uri="{BB962C8B-B14F-4D97-AF65-F5344CB8AC3E}">
        <p14:creationId xmlns:p14="http://schemas.microsoft.com/office/powerpoint/2010/main" val="22512579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832" name="TextBox 831"/>
          <p:cNvSpPr txBox="1"/>
          <p:nvPr/>
        </p:nvSpPr>
        <p:spPr>
          <a:xfrm>
            <a:off x="270795" y="3730921"/>
            <a:ext cx="2642586" cy="624127"/>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8272"/>
                </a:solidFill>
                <a:latin typeface="Segoe UI Light" panose="020B0502040204020203" pitchFamily="34" charset="0"/>
                <a:ea typeface="ＭＳ Ｐゴシック" charset="0"/>
                <a:cs typeface="Segoe UI Light" panose="020B0502040204020203" pitchFamily="34" charset="0"/>
              </a:rPr>
              <a:t>Things + devices</a:t>
            </a:r>
          </a:p>
        </p:txBody>
      </p:sp>
      <p:sp>
        <p:nvSpPr>
          <p:cNvPr id="833" name="TextBox 832"/>
          <p:cNvSpPr txBox="1"/>
          <p:nvPr/>
        </p:nvSpPr>
        <p:spPr>
          <a:xfrm>
            <a:off x="2967073" y="3726252"/>
            <a:ext cx="2644076" cy="625630"/>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68217A"/>
                </a:solidFill>
                <a:latin typeface="Segoe UI Light" panose="020B0502040204020203" pitchFamily="34" charset="0"/>
                <a:ea typeface="ＭＳ Ｐゴシック" charset="0"/>
                <a:cs typeface="Segoe UI Light" panose="020B0502040204020203" pitchFamily="34" charset="0"/>
              </a:rPr>
              <a:t>Applications</a:t>
            </a:r>
          </a:p>
        </p:txBody>
      </p:sp>
      <p:sp>
        <p:nvSpPr>
          <p:cNvPr id="834" name="TextBox 833"/>
          <p:cNvSpPr txBox="1"/>
          <p:nvPr/>
        </p:nvSpPr>
        <p:spPr>
          <a:xfrm>
            <a:off x="5654636" y="3730921"/>
            <a:ext cx="2642675" cy="624127"/>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DC3C00"/>
                </a:solidFill>
                <a:latin typeface="Segoe UI Light" panose="020B0502040204020203" pitchFamily="34" charset="0"/>
                <a:ea typeface="ＭＳ Ｐゴシック" charset="0"/>
                <a:cs typeface="Segoe UI Light" panose="020B0502040204020203" pitchFamily="34" charset="0"/>
              </a:rPr>
              <a:t>Data</a:t>
            </a:r>
          </a:p>
        </p:txBody>
      </p:sp>
      <p:sp>
        <p:nvSpPr>
          <p:cNvPr id="835" name="TextBox 834"/>
          <p:cNvSpPr txBox="1"/>
          <p:nvPr/>
        </p:nvSpPr>
        <p:spPr>
          <a:xfrm>
            <a:off x="8335907" y="3739812"/>
            <a:ext cx="3856093" cy="621265"/>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72C6"/>
                </a:solidFill>
                <a:latin typeface="Segoe UI Light" panose="020B0502040204020203" pitchFamily="34" charset="0"/>
                <a:ea typeface="ＭＳ Ｐゴシック" charset="0"/>
                <a:cs typeface="Segoe UI Light" panose="020B0502040204020203" pitchFamily="34" charset="0"/>
              </a:rPr>
              <a:t>Infrastructure</a:t>
            </a:r>
          </a:p>
        </p:txBody>
      </p:sp>
      <p:sp>
        <p:nvSpPr>
          <p:cNvPr id="2" name="Rectangle 1"/>
          <p:cNvSpPr/>
          <p:nvPr/>
        </p:nvSpPr>
        <p:spPr bwMode="auto">
          <a:xfrm>
            <a:off x="1" y="487"/>
            <a:ext cx="12192000" cy="37347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ight Triangle 240"/>
          <p:cNvSpPr/>
          <p:nvPr/>
        </p:nvSpPr>
        <p:spPr bwMode="auto">
          <a:xfrm flipH="1">
            <a:off x="276708" y="291514"/>
            <a:ext cx="11646053" cy="3359832"/>
          </a:xfrm>
          <a:prstGeom prst="r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6" name="Rectangle 835"/>
          <p:cNvSpPr/>
          <p:nvPr/>
        </p:nvSpPr>
        <p:spPr bwMode="auto">
          <a:xfrm>
            <a:off x="269240" y="3690456"/>
            <a:ext cx="2644453" cy="448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7" name="Rectangle 836"/>
          <p:cNvSpPr/>
          <p:nvPr/>
        </p:nvSpPr>
        <p:spPr bwMode="auto">
          <a:xfrm>
            <a:off x="2966696" y="3690456"/>
            <a:ext cx="2644453" cy="44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8" name="Rectangle 837"/>
          <p:cNvSpPr/>
          <p:nvPr/>
        </p:nvSpPr>
        <p:spPr bwMode="auto">
          <a:xfrm>
            <a:off x="5652858" y="3690456"/>
            <a:ext cx="2644453" cy="4482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9" name="Rectangle 838"/>
          <p:cNvSpPr/>
          <p:nvPr/>
        </p:nvSpPr>
        <p:spPr bwMode="auto">
          <a:xfrm>
            <a:off x="8335907" y="3690457"/>
            <a:ext cx="2697768" cy="505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3537518" y="1857676"/>
            <a:ext cx="1502811" cy="1502811"/>
            <a:chOff x="3500942" y="2046830"/>
            <a:chExt cx="1532945" cy="1532945"/>
          </a:xfrm>
        </p:grpSpPr>
        <p:sp>
          <p:nvSpPr>
            <p:cNvPr id="172" name="Oval 171"/>
            <p:cNvSpPr/>
            <p:nvPr/>
          </p:nvSpPr>
          <p:spPr bwMode="auto">
            <a:xfrm>
              <a:off x="3500942" y="2046830"/>
              <a:ext cx="1532945" cy="1532945"/>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3939306" y="2443166"/>
              <a:ext cx="656218" cy="742121"/>
              <a:chOff x="3709783" y="2493168"/>
              <a:chExt cx="567056" cy="641288"/>
            </a:xfrm>
          </p:grpSpPr>
          <p:sp>
            <p:nvSpPr>
              <p:cNvPr id="457" name="Freeform 32"/>
              <p:cNvSpPr>
                <a:spLocks/>
              </p:cNvSpPr>
              <p:nvPr/>
            </p:nvSpPr>
            <p:spPr bwMode="auto">
              <a:xfrm flipH="1">
                <a:off x="4006465" y="2671835"/>
                <a:ext cx="270374" cy="462620"/>
              </a:xfrm>
              <a:custGeom>
                <a:avLst/>
                <a:gdLst>
                  <a:gd name="T0" fmla="*/ 706 w 706"/>
                  <a:gd name="T1" fmla="*/ 400 h 1208"/>
                  <a:gd name="T2" fmla="*/ 698 w 706"/>
                  <a:gd name="T3" fmla="*/ 1208 h 1208"/>
                  <a:gd name="T4" fmla="*/ 0 w 706"/>
                  <a:gd name="T5" fmla="*/ 805 h 1208"/>
                  <a:gd name="T6" fmla="*/ 0 w 706"/>
                  <a:gd name="T7" fmla="*/ 0 h 1208"/>
                  <a:gd name="T8" fmla="*/ 706 w 706"/>
                  <a:gd name="T9" fmla="*/ 400 h 1208"/>
                  <a:gd name="T10" fmla="*/ 706 w 706"/>
                  <a:gd name="T11" fmla="*/ 400 h 1208"/>
                  <a:gd name="T12" fmla="*/ 706 w 706"/>
                  <a:gd name="T13" fmla="*/ 400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0"/>
                    </a:moveTo>
                    <a:lnTo>
                      <a:pt x="698" y="1208"/>
                    </a:lnTo>
                    <a:lnTo>
                      <a:pt x="0" y="805"/>
                    </a:lnTo>
                    <a:lnTo>
                      <a:pt x="0" y="0"/>
                    </a:lnTo>
                    <a:lnTo>
                      <a:pt x="706" y="400"/>
                    </a:lnTo>
                    <a:lnTo>
                      <a:pt x="706" y="400"/>
                    </a:lnTo>
                    <a:lnTo>
                      <a:pt x="706" y="4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8" name="Freeform 33"/>
              <p:cNvSpPr>
                <a:spLocks/>
              </p:cNvSpPr>
              <p:nvPr/>
            </p:nvSpPr>
            <p:spPr bwMode="auto">
              <a:xfrm flipH="1">
                <a:off x="3709783" y="2671836"/>
                <a:ext cx="270373" cy="462620"/>
              </a:xfrm>
              <a:custGeom>
                <a:avLst/>
                <a:gdLst>
                  <a:gd name="T0" fmla="*/ 7 w 706"/>
                  <a:gd name="T1" fmla="*/ 400 h 1208"/>
                  <a:gd name="T2" fmla="*/ 0 w 706"/>
                  <a:gd name="T3" fmla="*/ 1208 h 1208"/>
                  <a:gd name="T4" fmla="*/ 701 w 706"/>
                  <a:gd name="T5" fmla="*/ 805 h 1208"/>
                  <a:gd name="T6" fmla="*/ 706 w 706"/>
                  <a:gd name="T7" fmla="*/ 0 h 1208"/>
                  <a:gd name="T8" fmla="*/ 7 w 706"/>
                  <a:gd name="T9" fmla="*/ 400 h 1208"/>
                  <a:gd name="T10" fmla="*/ 7 w 706"/>
                  <a:gd name="T11" fmla="*/ 400 h 1208"/>
                  <a:gd name="T12" fmla="*/ 7 w 706"/>
                  <a:gd name="T13" fmla="*/ 400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0"/>
                    </a:moveTo>
                    <a:lnTo>
                      <a:pt x="0" y="1208"/>
                    </a:lnTo>
                    <a:lnTo>
                      <a:pt x="701" y="805"/>
                    </a:lnTo>
                    <a:lnTo>
                      <a:pt x="706" y="0"/>
                    </a:lnTo>
                    <a:lnTo>
                      <a:pt x="7" y="400"/>
                    </a:lnTo>
                    <a:lnTo>
                      <a:pt x="7" y="400"/>
                    </a:lnTo>
                    <a:lnTo>
                      <a:pt x="7" y="4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9" name="Freeform 34"/>
              <p:cNvSpPr>
                <a:spLocks/>
              </p:cNvSpPr>
              <p:nvPr/>
            </p:nvSpPr>
            <p:spPr bwMode="auto">
              <a:xfrm flipH="1">
                <a:off x="3723894" y="2493168"/>
                <a:ext cx="538828" cy="308283"/>
              </a:xfrm>
              <a:custGeom>
                <a:avLst/>
                <a:gdLst>
                  <a:gd name="T0" fmla="*/ 708 w 1407"/>
                  <a:gd name="T1" fmla="*/ 805 h 805"/>
                  <a:gd name="T2" fmla="*/ 0 w 1407"/>
                  <a:gd name="T3" fmla="*/ 398 h 805"/>
                  <a:gd name="T4" fmla="*/ 701 w 1407"/>
                  <a:gd name="T5" fmla="*/ 0 h 805"/>
                  <a:gd name="T6" fmla="*/ 1407 w 1407"/>
                  <a:gd name="T7" fmla="*/ 398 h 805"/>
                  <a:gd name="T8" fmla="*/ 708 w 1407"/>
                  <a:gd name="T9" fmla="*/ 805 h 805"/>
                  <a:gd name="T10" fmla="*/ 708 w 1407"/>
                  <a:gd name="T11" fmla="*/ 805 h 805"/>
                  <a:gd name="T12" fmla="*/ 708 w 1407"/>
                  <a:gd name="T13" fmla="*/ 805 h 805"/>
                </a:gdLst>
                <a:ahLst/>
                <a:cxnLst>
                  <a:cxn ang="0">
                    <a:pos x="T0" y="T1"/>
                  </a:cxn>
                  <a:cxn ang="0">
                    <a:pos x="T2" y="T3"/>
                  </a:cxn>
                  <a:cxn ang="0">
                    <a:pos x="T4" y="T5"/>
                  </a:cxn>
                  <a:cxn ang="0">
                    <a:pos x="T6" y="T7"/>
                  </a:cxn>
                  <a:cxn ang="0">
                    <a:pos x="T8" y="T9"/>
                  </a:cxn>
                  <a:cxn ang="0">
                    <a:pos x="T10" y="T11"/>
                  </a:cxn>
                  <a:cxn ang="0">
                    <a:pos x="T12" y="T13"/>
                  </a:cxn>
                </a:cxnLst>
                <a:rect l="0" t="0" r="r" b="b"/>
                <a:pathLst>
                  <a:path w="1407" h="805">
                    <a:moveTo>
                      <a:pt x="708" y="805"/>
                    </a:moveTo>
                    <a:lnTo>
                      <a:pt x="0" y="398"/>
                    </a:lnTo>
                    <a:lnTo>
                      <a:pt x="701" y="0"/>
                    </a:lnTo>
                    <a:lnTo>
                      <a:pt x="1407" y="398"/>
                    </a:lnTo>
                    <a:lnTo>
                      <a:pt x="708" y="805"/>
                    </a:lnTo>
                    <a:lnTo>
                      <a:pt x="708" y="805"/>
                    </a:lnTo>
                    <a:lnTo>
                      <a:pt x="708" y="805"/>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4" name="Group 3"/>
          <p:cNvGrpSpPr/>
          <p:nvPr/>
        </p:nvGrpSpPr>
        <p:grpSpPr>
          <a:xfrm>
            <a:off x="6047108" y="1490505"/>
            <a:ext cx="1857734" cy="1857734"/>
            <a:chOff x="6181133" y="1519896"/>
            <a:chExt cx="1894985" cy="1894985"/>
          </a:xfrm>
        </p:grpSpPr>
        <p:sp>
          <p:nvSpPr>
            <p:cNvPr id="194" name="Oval 193"/>
            <p:cNvSpPr/>
            <p:nvPr/>
          </p:nvSpPr>
          <p:spPr bwMode="auto">
            <a:xfrm>
              <a:off x="6181133" y="1519896"/>
              <a:ext cx="1894985" cy="1894985"/>
            </a:xfrm>
            <a:prstGeom prst="ellipse">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4" name="Group 453"/>
            <p:cNvGrpSpPr/>
            <p:nvPr/>
          </p:nvGrpSpPr>
          <p:grpSpPr>
            <a:xfrm>
              <a:off x="6714554" y="2079443"/>
              <a:ext cx="828143" cy="775890"/>
              <a:chOff x="-5364163" y="-2738437"/>
              <a:chExt cx="4327525" cy="4054475"/>
            </a:xfrm>
            <a:solidFill>
              <a:schemeClr val="bg1">
                <a:lumMod val="95000"/>
              </a:schemeClr>
            </a:solidFill>
          </p:grpSpPr>
          <p:sp>
            <p:nvSpPr>
              <p:cNvPr id="18"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9"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2"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7"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0"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48"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49"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0"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1"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2"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3"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17" name="Group 16"/>
          <p:cNvGrpSpPr/>
          <p:nvPr/>
        </p:nvGrpSpPr>
        <p:grpSpPr>
          <a:xfrm>
            <a:off x="8489640" y="957935"/>
            <a:ext cx="2390304" cy="2390304"/>
            <a:chOff x="8657337" y="1129047"/>
            <a:chExt cx="2438235" cy="2438235"/>
          </a:xfrm>
        </p:grpSpPr>
        <p:sp>
          <p:nvSpPr>
            <p:cNvPr id="270" name="Oval 269"/>
            <p:cNvSpPr/>
            <p:nvPr/>
          </p:nvSpPr>
          <p:spPr bwMode="auto">
            <a:xfrm>
              <a:off x="8657337" y="1129047"/>
              <a:ext cx="2438235" cy="24382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7" name="Group 466"/>
            <p:cNvGrpSpPr/>
            <p:nvPr/>
          </p:nvGrpSpPr>
          <p:grpSpPr>
            <a:xfrm>
              <a:off x="9469892" y="1771514"/>
              <a:ext cx="813124" cy="1153299"/>
              <a:chOff x="8426080" y="-127649"/>
              <a:chExt cx="720508" cy="1021936"/>
            </a:xfrm>
          </p:grpSpPr>
          <p:sp>
            <p:nvSpPr>
              <p:cNvPr id="614" name="AutoShape 97"/>
              <p:cNvSpPr>
                <a:spLocks noChangeAspect="1" noChangeArrowheads="1" noTextEdit="1"/>
              </p:cNvSpPr>
              <p:nvPr/>
            </p:nvSpPr>
            <p:spPr bwMode="auto">
              <a:xfrm>
                <a:off x="8426080" y="-127649"/>
                <a:ext cx="718790" cy="10219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15" name="Rectangle 99"/>
              <p:cNvSpPr>
                <a:spLocks noChangeArrowheads="1"/>
              </p:cNvSpPr>
              <p:nvPr/>
            </p:nvSpPr>
            <p:spPr bwMode="auto">
              <a:xfrm>
                <a:off x="8426080" y="-127649"/>
                <a:ext cx="720508" cy="1020218"/>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16" name="Freeform 100"/>
              <p:cNvSpPr>
                <a:spLocks/>
              </p:cNvSpPr>
              <p:nvPr/>
            </p:nvSpPr>
            <p:spPr bwMode="auto">
              <a:xfrm>
                <a:off x="8504228" y="-11715"/>
                <a:ext cx="565070" cy="97900"/>
              </a:xfrm>
              <a:custGeom>
                <a:avLst/>
                <a:gdLst>
                  <a:gd name="T0" fmla="*/ 23 w 276"/>
                  <a:gd name="T1" fmla="*/ 0 h 48"/>
                  <a:gd name="T2" fmla="*/ 0 w 276"/>
                  <a:gd name="T3" fmla="*/ 22 h 48"/>
                  <a:gd name="T4" fmla="*/ 0 w 276"/>
                  <a:gd name="T5" fmla="*/ 26 h 48"/>
                  <a:gd name="T6" fmla="*/ 23 w 276"/>
                  <a:gd name="T7" fmla="*/ 48 h 48"/>
                  <a:gd name="T8" fmla="*/ 253 w 276"/>
                  <a:gd name="T9" fmla="*/ 48 h 48"/>
                  <a:gd name="T10" fmla="*/ 276 w 276"/>
                  <a:gd name="T11" fmla="*/ 26 h 48"/>
                  <a:gd name="T12" fmla="*/ 276 w 276"/>
                  <a:gd name="T13" fmla="*/ 22 h 48"/>
                  <a:gd name="T14" fmla="*/ 253 w 276"/>
                  <a:gd name="T15" fmla="*/ 0 h 48"/>
                  <a:gd name="T16" fmla="*/ 147 w 276"/>
                  <a:gd name="T17" fmla="*/ 0 h 48"/>
                  <a:gd name="T18" fmla="*/ 23 w 276"/>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8">
                    <a:moveTo>
                      <a:pt x="23" y="0"/>
                    </a:moveTo>
                    <a:cubicBezTo>
                      <a:pt x="23" y="0"/>
                      <a:pt x="0" y="0"/>
                      <a:pt x="0" y="22"/>
                    </a:cubicBezTo>
                    <a:cubicBezTo>
                      <a:pt x="0" y="26"/>
                      <a:pt x="0" y="26"/>
                      <a:pt x="0" y="26"/>
                    </a:cubicBezTo>
                    <a:cubicBezTo>
                      <a:pt x="0" y="26"/>
                      <a:pt x="0" y="48"/>
                      <a:pt x="23" y="48"/>
                    </a:cubicBezTo>
                    <a:cubicBezTo>
                      <a:pt x="253" y="48"/>
                      <a:pt x="253" y="48"/>
                      <a:pt x="253" y="48"/>
                    </a:cubicBezTo>
                    <a:cubicBezTo>
                      <a:pt x="253" y="48"/>
                      <a:pt x="276" y="48"/>
                      <a:pt x="276" y="26"/>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17" name="Freeform 101"/>
              <p:cNvSpPr>
                <a:spLocks/>
              </p:cNvSpPr>
              <p:nvPr/>
            </p:nvSpPr>
            <p:spPr bwMode="auto">
              <a:xfrm>
                <a:off x="8504228" y="164333"/>
                <a:ext cx="565070" cy="97900"/>
              </a:xfrm>
              <a:custGeom>
                <a:avLst/>
                <a:gdLst>
                  <a:gd name="T0" fmla="*/ 23 w 276"/>
                  <a:gd name="T1" fmla="*/ 0 h 48"/>
                  <a:gd name="T2" fmla="*/ 0 w 276"/>
                  <a:gd name="T3" fmla="*/ 22 h 48"/>
                  <a:gd name="T4" fmla="*/ 0 w 276"/>
                  <a:gd name="T5" fmla="*/ 26 h 48"/>
                  <a:gd name="T6" fmla="*/ 23 w 276"/>
                  <a:gd name="T7" fmla="*/ 48 h 48"/>
                  <a:gd name="T8" fmla="*/ 253 w 276"/>
                  <a:gd name="T9" fmla="*/ 48 h 48"/>
                  <a:gd name="T10" fmla="*/ 276 w 276"/>
                  <a:gd name="T11" fmla="*/ 26 h 48"/>
                  <a:gd name="T12" fmla="*/ 276 w 276"/>
                  <a:gd name="T13" fmla="*/ 22 h 48"/>
                  <a:gd name="T14" fmla="*/ 253 w 276"/>
                  <a:gd name="T15" fmla="*/ 0 h 48"/>
                  <a:gd name="T16" fmla="*/ 147 w 276"/>
                  <a:gd name="T17" fmla="*/ 0 h 48"/>
                  <a:gd name="T18" fmla="*/ 23 w 276"/>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8">
                    <a:moveTo>
                      <a:pt x="23" y="0"/>
                    </a:moveTo>
                    <a:cubicBezTo>
                      <a:pt x="23" y="0"/>
                      <a:pt x="0" y="0"/>
                      <a:pt x="0" y="22"/>
                    </a:cubicBezTo>
                    <a:cubicBezTo>
                      <a:pt x="0" y="26"/>
                      <a:pt x="0" y="26"/>
                      <a:pt x="0" y="26"/>
                    </a:cubicBezTo>
                    <a:cubicBezTo>
                      <a:pt x="0" y="26"/>
                      <a:pt x="0" y="48"/>
                      <a:pt x="23" y="48"/>
                    </a:cubicBezTo>
                    <a:cubicBezTo>
                      <a:pt x="253" y="48"/>
                      <a:pt x="253" y="48"/>
                      <a:pt x="253" y="48"/>
                    </a:cubicBezTo>
                    <a:cubicBezTo>
                      <a:pt x="253" y="48"/>
                      <a:pt x="276" y="48"/>
                      <a:pt x="276" y="26"/>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18" name="Freeform 102"/>
              <p:cNvSpPr>
                <a:spLocks/>
              </p:cNvSpPr>
              <p:nvPr/>
            </p:nvSpPr>
            <p:spPr bwMode="auto">
              <a:xfrm>
                <a:off x="8504228" y="339522"/>
                <a:ext cx="565070" cy="99617"/>
              </a:xfrm>
              <a:custGeom>
                <a:avLst/>
                <a:gdLst>
                  <a:gd name="T0" fmla="*/ 23 w 276"/>
                  <a:gd name="T1" fmla="*/ 0 h 49"/>
                  <a:gd name="T2" fmla="*/ 0 w 276"/>
                  <a:gd name="T3" fmla="*/ 22 h 49"/>
                  <a:gd name="T4" fmla="*/ 0 w 276"/>
                  <a:gd name="T5" fmla="*/ 27 h 49"/>
                  <a:gd name="T6" fmla="*/ 23 w 276"/>
                  <a:gd name="T7" fmla="*/ 49 h 49"/>
                  <a:gd name="T8" fmla="*/ 253 w 276"/>
                  <a:gd name="T9" fmla="*/ 49 h 49"/>
                  <a:gd name="T10" fmla="*/ 276 w 276"/>
                  <a:gd name="T11" fmla="*/ 27 h 49"/>
                  <a:gd name="T12" fmla="*/ 276 w 276"/>
                  <a:gd name="T13" fmla="*/ 22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2"/>
                    </a:cubicBezTo>
                    <a:cubicBezTo>
                      <a:pt x="0" y="27"/>
                      <a:pt x="0" y="27"/>
                      <a:pt x="0" y="27"/>
                    </a:cubicBezTo>
                    <a:cubicBezTo>
                      <a:pt x="0" y="27"/>
                      <a:pt x="0" y="49"/>
                      <a:pt x="23" y="49"/>
                    </a:cubicBezTo>
                    <a:cubicBezTo>
                      <a:pt x="253" y="49"/>
                      <a:pt x="253" y="49"/>
                      <a:pt x="253" y="49"/>
                    </a:cubicBezTo>
                    <a:cubicBezTo>
                      <a:pt x="253" y="49"/>
                      <a:pt x="276" y="49"/>
                      <a:pt x="276" y="27"/>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19" name="Freeform 103"/>
              <p:cNvSpPr>
                <a:spLocks/>
              </p:cNvSpPr>
              <p:nvPr/>
            </p:nvSpPr>
            <p:spPr bwMode="auto">
              <a:xfrm>
                <a:off x="8504228" y="514711"/>
                <a:ext cx="565070" cy="100476"/>
              </a:xfrm>
              <a:custGeom>
                <a:avLst/>
                <a:gdLst>
                  <a:gd name="T0" fmla="*/ 23 w 276"/>
                  <a:gd name="T1" fmla="*/ 0 h 49"/>
                  <a:gd name="T2" fmla="*/ 0 w 276"/>
                  <a:gd name="T3" fmla="*/ 22 h 49"/>
                  <a:gd name="T4" fmla="*/ 0 w 276"/>
                  <a:gd name="T5" fmla="*/ 27 h 49"/>
                  <a:gd name="T6" fmla="*/ 23 w 276"/>
                  <a:gd name="T7" fmla="*/ 49 h 49"/>
                  <a:gd name="T8" fmla="*/ 253 w 276"/>
                  <a:gd name="T9" fmla="*/ 49 h 49"/>
                  <a:gd name="T10" fmla="*/ 276 w 276"/>
                  <a:gd name="T11" fmla="*/ 27 h 49"/>
                  <a:gd name="T12" fmla="*/ 276 w 276"/>
                  <a:gd name="T13" fmla="*/ 22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2"/>
                    </a:cubicBezTo>
                    <a:cubicBezTo>
                      <a:pt x="0" y="27"/>
                      <a:pt x="0" y="27"/>
                      <a:pt x="0" y="27"/>
                    </a:cubicBezTo>
                    <a:cubicBezTo>
                      <a:pt x="0" y="27"/>
                      <a:pt x="0" y="49"/>
                      <a:pt x="23" y="49"/>
                    </a:cubicBezTo>
                    <a:cubicBezTo>
                      <a:pt x="253" y="49"/>
                      <a:pt x="253" y="49"/>
                      <a:pt x="253" y="49"/>
                    </a:cubicBezTo>
                    <a:cubicBezTo>
                      <a:pt x="253" y="49"/>
                      <a:pt x="276" y="49"/>
                      <a:pt x="276" y="27"/>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20" name="Freeform 104"/>
              <p:cNvSpPr>
                <a:spLocks/>
              </p:cNvSpPr>
              <p:nvPr/>
            </p:nvSpPr>
            <p:spPr bwMode="auto">
              <a:xfrm>
                <a:off x="8504228" y="690759"/>
                <a:ext cx="565070" cy="99617"/>
              </a:xfrm>
              <a:custGeom>
                <a:avLst/>
                <a:gdLst>
                  <a:gd name="T0" fmla="*/ 23 w 276"/>
                  <a:gd name="T1" fmla="*/ 0 h 49"/>
                  <a:gd name="T2" fmla="*/ 0 w 276"/>
                  <a:gd name="T3" fmla="*/ 23 h 49"/>
                  <a:gd name="T4" fmla="*/ 0 w 276"/>
                  <a:gd name="T5" fmla="*/ 27 h 49"/>
                  <a:gd name="T6" fmla="*/ 23 w 276"/>
                  <a:gd name="T7" fmla="*/ 49 h 49"/>
                  <a:gd name="T8" fmla="*/ 253 w 276"/>
                  <a:gd name="T9" fmla="*/ 49 h 49"/>
                  <a:gd name="T10" fmla="*/ 276 w 276"/>
                  <a:gd name="T11" fmla="*/ 27 h 49"/>
                  <a:gd name="T12" fmla="*/ 276 w 276"/>
                  <a:gd name="T13" fmla="*/ 23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3"/>
                    </a:cubicBezTo>
                    <a:cubicBezTo>
                      <a:pt x="0" y="27"/>
                      <a:pt x="0" y="27"/>
                      <a:pt x="0" y="27"/>
                    </a:cubicBezTo>
                    <a:cubicBezTo>
                      <a:pt x="0" y="27"/>
                      <a:pt x="0" y="49"/>
                      <a:pt x="23" y="49"/>
                    </a:cubicBezTo>
                    <a:cubicBezTo>
                      <a:pt x="253" y="49"/>
                      <a:pt x="253" y="49"/>
                      <a:pt x="253" y="49"/>
                    </a:cubicBezTo>
                    <a:cubicBezTo>
                      <a:pt x="253" y="49"/>
                      <a:pt x="276" y="49"/>
                      <a:pt x="276" y="27"/>
                    </a:cubicBezTo>
                    <a:cubicBezTo>
                      <a:pt x="276" y="23"/>
                      <a:pt x="276" y="23"/>
                      <a:pt x="276" y="23"/>
                    </a:cubicBezTo>
                    <a:cubicBezTo>
                      <a:pt x="276" y="23"/>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21" name="Oval 105"/>
              <p:cNvSpPr>
                <a:spLocks noChangeArrowheads="1"/>
              </p:cNvSpPr>
              <p:nvPr/>
            </p:nvSpPr>
            <p:spPr bwMode="auto">
              <a:xfrm>
                <a:off x="8962811" y="8896"/>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22" name="Oval 106"/>
              <p:cNvSpPr>
                <a:spLocks noChangeArrowheads="1"/>
              </p:cNvSpPr>
              <p:nvPr/>
            </p:nvSpPr>
            <p:spPr bwMode="auto">
              <a:xfrm>
                <a:off x="8962811" y="184085"/>
                <a:ext cx="54961" cy="558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23" name="Oval 107"/>
              <p:cNvSpPr>
                <a:spLocks noChangeArrowheads="1"/>
              </p:cNvSpPr>
              <p:nvPr/>
            </p:nvSpPr>
            <p:spPr bwMode="auto">
              <a:xfrm>
                <a:off x="8962811" y="361850"/>
                <a:ext cx="54961" cy="532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24" name="Oval 108"/>
              <p:cNvSpPr>
                <a:spLocks noChangeArrowheads="1"/>
              </p:cNvSpPr>
              <p:nvPr/>
            </p:nvSpPr>
            <p:spPr bwMode="auto">
              <a:xfrm>
                <a:off x="8962811" y="537039"/>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25" name="Oval 109"/>
              <p:cNvSpPr>
                <a:spLocks noChangeArrowheads="1"/>
              </p:cNvSpPr>
              <p:nvPr/>
            </p:nvSpPr>
            <p:spPr bwMode="auto">
              <a:xfrm>
                <a:off x="8962811" y="713087"/>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5" name="Group 4"/>
          <p:cNvGrpSpPr/>
          <p:nvPr/>
        </p:nvGrpSpPr>
        <p:grpSpPr>
          <a:xfrm>
            <a:off x="4732019" y="4547991"/>
            <a:ext cx="2732853" cy="2732853"/>
            <a:chOff x="4870448" y="4638691"/>
            <a:chExt cx="2787652" cy="2787652"/>
          </a:xfrm>
        </p:grpSpPr>
        <p:sp>
          <p:nvSpPr>
            <p:cNvPr id="59" name="Oval 58"/>
            <p:cNvSpPr/>
            <p:nvPr/>
          </p:nvSpPr>
          <p:spPr bwMode="auto">
            <a:xfrm>
              <a:off x="4870448" y="4638691"/>
              <a:ext cx="2787652" cy="2787652"/>
            </a:xfrm>
            <a:prstGeom prst="ellipse">
              <a:avLst/>
            </a:prstGeom>
            <a:solidFill>
              <a:schemeClr val="tx2"/>
            </a:solidFill>
            <a:ln>
              <a:noFill/>
              <a:headEnd type="none" w="med" len="med"/>
              <a:tailEnd type="none" w="med" len="med"/>
            </a:ln>
            <a:effectLst>
              <a:outerShdw dist="1524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59"/>
            <p:cNvSpPr>
              <a:spLocks/>
            </p:cNvSpPr>
            <p:nvPr/>
          </p:nvSpPr>
          <p:spPr bwMode="auto">
            <a:xfrm>
              <a:off x="5437427" y="5387942"/>
              <a:ext cx="1653693" cy="1087818"/>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524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grpSp>
      <p:grpSp>
        <p:nvGrpSpPr>
          <p:cNvPr id="16" name="Group 15"/>
          <p:cNvGrpSpPr/>
          <p:nvPr/>
        </p:nvGrpSpPr>
        <p:grpSpPr>
          <a:xfrm>
            <a:off x="1003456" y="2166191"/>
            <a:ext cx="1176023" cy="1176023"/>
            <a:chOff x="1023576" y="2361531"/>
            <a:chExt cx="1199605" cy="1199605"/>
          </a:xfrm>
        </p:grpSpPr>
        <p:sp>
          <p:nvSpPr>
            <p:cNvPr id="70" name="Oval 69"/>
            <p:cNvSpPr/>
            <p:nvPr/>
          </p:nvSpPr>
          <p:spPr bwMode="auto">
            <a:xfrm>
              <a:off x="1023576" y="2361531"/>
              <a:ext cx="1199605" cy="119960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5"/>
            <p:cNvSpPr>
              <a:spLocks noEditPoints="1"/>
            </p:cNvSpPr>
            <p:nvPr/>
          </p:nvSpPr>
          <p:spPr bwMode="auto">
            <a:xfrm>
              <a:off x="1220322" y="2737187"/>
              <a:ext cx="437439" cy="448291"/>
            </a:xfrm>
            <a:custGeom>
              <a:avLst/>
              <a:gdLst>
                <a:gd name="T0" fmla="*/ 0 w 492"/>
                <a:gd name="T1" fmla="*/ 19 h 504"/>
                <a:gd name="T2" fmla="*/ 474 w 492"/>
                <a:gd name="T3" fmla="*/ 504 h 504"/>
                <a:gd name="T4" fmla="*/ 474 w 492"/>
                <a:gd name="T5" fmla="*/ 0 h 504"/>
                <a:gd name="T6" fmla="*/ 388 w 492"/>
                <a:gd name="T7" fmla="*/ 252 h 504"/>
                <a:gd name="T8" fmla="*/ 25 w 492"/>
                <a:gd name="T9" fmla="*/ 56 h 504"/>
                <a:gd name="T10" fmla="*/ 73 w 492"/>
                <a:gd name="T11" fmla="*/ 56 h 504"/>
                <a:gd name="T12" fmla="*/ 66 w 492"/>
                <a:gd name="T13" fmla="*/ 90 h 504"/>
                <a:gd name="T14" fmla="*/ 25 w 492"/>
                <a:gd name="T15" fmla="*/ 56 h 504"/>
                <a:gd name="T16" fmla="*/ 66 w 492"/>
                <a:gd name="T17" fmla="*/ 128 h 504"/>
                <a:gd name="T18" fmla="*/ 73 w 492"/>
                <a:gd name="T19" fmla="*/ 162 h 504"/>
                <a:gd name="T20" fmla="*/ 25 w 492"/>
                <a:gd name="T21" fmla="*/ 162 h 504"/>
                <a:gd name="T22" fmla="*/ 58 w 492"/>
                <a:gd name="T23" fmla="*/ 467 h 504"/>
                <a:gd name="T24" fmla="*/ 25 w 492"/>
                <a:gd name="T25" fmla="*/ 434 h 504"/>
                <a:gd name="T26" fmla="*/ 68 w 492"/>
                <a:gd name="T27" fmla="*/ 434 h 504"/>
                <a:gd name="T28" fmla="*/ 58 w 492"/>
                <a:gd name="T29" fmla="*/ 408 h 504"/>
                <a:gd name="T30" fmla="*/ 25 w 492"/>
                <a:gd name="T31" fmla="*/ 374 h 504"/>
                <a:gd name="T32" fmla="*/ 68 w 492"/>
                <a:gd name="T33" fmla="*/ 374 h 504"/>
                <a:gd name="T34" fmla="*/ 58 w 492"/>
                <a:gd name="T35" fmla="*/ 348 h 504"/>
                <a:gd name="T36" fmla="*/ 25 w 492"/>
                <a:gd name="T37" fmla="*/ 315 h 504"/>
                <a:gd name="T38" fmla="*/ 68 w 492"/>
                <a:gd name="T39" fmla="*/ 315 h 504"/>
                <a:gd name="T40" fmla="*/ 59 w 492"/>
                <a:gd name="T41" fmla="*/ 234 h 504"/>
                <a:gd name="T42" fmla="*/ 59 w 492"/>
                <a:gd name="T43" fmla="*/ 201 h 504"/>
                <a:gd name="T44" fmla="*/ 90 w 492"/>
                <a:gd name="T45" fmla="*/ 217 h 504"/>
                <a:gd name="T46" fmla="*/ 125 w 492"/>
                <a:gd name="T47" fmla="*/ 458 h 504"/>
                <a:gd name="T48" fmla="*/ 83 w 492"/>
                <a:gd name="T49" fmla="*/ 458 h 504"/>
                <a:gd name="T50" fmla="*/ 116 w 492"/>
                <a:gd name="T51" fmla="*/ 424 h 504"/>
                <a:gd name="T52" fmla="*/ 125 w 492"/>
                <a:gd name="T53" fmla="*/ 398 h 504"/>
                <a:gd name="T54" fmla="*/ 83 w 492"/>
                <a:gd name="T55" fmla="*/ 398 h 504"/>
                <a:gd name="T56" fmla="*/ 116 w 492"/>
                <a:gd name="T57" fmla="*/ 365 h 504"/>
                <a:gd name="T58" fmla="*/ 125 w 492"/>
                <a:gd name="T59" fmla="*/ 339 h 504"/>
                <a:gd name="T60" fmla="*/ 83 w 492"/>
                <a:gd name="T61" fmla="*/ 339 h 504"/>
                <a:gd name="T62" fmla="*/ 116 w 492"/>
                <a:gd name="T63" fmla="*/ 305 h 504"/>
                <a:gd name="T64" fmla="*/ 183 w 492"/>
                <a:gd name="T65" fmla="*/ 458 h 504"/>
                <a:gd name="T66" fmla="*/ 140 w 492"/>
                <a:gd name="T67" fmla="*/ 458 h 504"/>
                <a:gd name="T68" fmla="*/ 174 w 492"/>
                <a:gd name="T69" fmla="*/ 424 h 504"/>
                <a:gd name="T70" fmla="*/ 183 w 492"/>
                <a:gd name="T71" fmla="*/ 398 h 504"/>
                <a:gd name="T72" fmla="*/ 140 w 492"/>
                <a:gd name="T73" fmla="*/ 398 h 504"/>
                <a:gd name="T74" fmla="*/ 174 w 492"/>
                <a:gd name="T75" fmla="*/ 365 h 504"/>
                <a:gd name="T76" fmla="*/ 183 w 492"/>
                <a:gd name="T77" fmla="*/ 339 h 504"/>
                <a:gd name="T78" fmla="*/ 140 w 492"/>
                <a:gd name="T79" fmla="*/ 339 h 504"/>
                <a:gd name="T80" fmla="*/ 174 w 492"/>
                <a:gd name="T81" fmla="*/ 305 h 504"/>
                <a:gd name="T82" fmla="*/ 465 w 492"/>
                <a:gd name="T83" fmla="*/ 394 h 504"/>
                <a:gd name="T84" fmla="*/ 300 w 492"/>
                <a:gd name="T85" fmla="*/ 405 h 504"/>
                <a:gd name="T86" fmla="*/ 229 w 492"/>
                <a:gd name="T87" fmla="*/ 378 h 504"/>
                <a:gd name="T88" fmla="*/ 394 w 492"/>
                <a:gd name="T89" fmla="*/ 368 h 504"/>
                <a:gd name="T90" fmla="*/ 465 w 492"/>
                <a:gd name="T91" fmla="*/ 394 h 504"/>
                <a:gd name="T92" fmla="*/ 424 w 492"/>
                <a:gd name="T93" fmla="*/ 234 h 504"/>
                <a:gd name="T94" fmla="*/ 417 w 492"/>
                <a:gd name="T95" fmla="*/ 201 h 504"/>
                <a:gd name="T96" fmla="*/ 465 w 492"/>
                <a:gd name="T97" fmla="*/ 201 h 504"/>
                <a:gd name="T98" fmla="*/ 431 w 492"/>
                <a:gd name="T99" fmla="*/ 162 h 504"/>
                <a:gd name="T100" fmla="*/ 400 w 492"/>
                <a:gd name="T101" fmla="*/ 145 h 504"/>
                <a:gd name="T102" fmla="*/ 431 w 492"/>
                <a:gd name="T103" fmla="*/ 128 h 504"/>
                <a:gd name="T104" fmla="*/ 465 w 492"/>
                <a:gd name="T105" fmla="*/ 90 h 504"/>
                <a:gd name="T106" fmla="*/ 417 w 492"/>
                <a:gd name="T107" fmla="*/ 90 h 504"/>
                <a:gd name="T108" fmla="*/ 424 w 492"/>
                <a:gd name="T109" fmla="*/ 56 h 504"/>
                <a:gd name="T110" fmla="*/ 465 w 492"/>
                <a:gd name="T111" fmla="*/ 9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504">
                  <a:moveTo>
                    <a:pt x="474" y="0"/>
                  </a:moveTo>
                  <a:cubicBezTo>
                    <a:pt x="18" y="0"/>
                    <a:pt x="18" y="0"/>
                    <a:pt x="18" y="0"/>
                  </a:cubicBezTo>
                  <a:cubicBezTo>
                    <a:pt x="8" y="0"/>
                    <a:pt x="0" y="9"/>
                    <a:pt x="0" y="19"/>
                  </a:cubicBezTo>
                  <a:cubicBezTo>
                    <a:pt x="0" y="486"/>
                    <a:pt x="0" y="486"/>
                    <a:pt x="0" y="486"/>
                  </a:cubicBezTo>
                  <a:cubicBezTo>
                    <a:pt x="0" y="496"/>
                    <a:pt x="8" y="504"/>
                    <a:pt x="18" y="504"/>
                  </a:cubicBezTo>
                  <a:cubicBezTo>
                    <a:pt x="474" y="504"/>
                    <a:pt x="474" y="504"/>
                    <a:pt x="474" y="504"/>
                  </a:cubicBezTo>
                  <a:cubicBezTo>
                    <a:pt x="484" y="504"/>
                    <a:pt x="492" y="496"/>
                    <a:pt x="492" y="486"/>
                  </a:cubicBezTo>
                  <a:cubicBezTo>
                    <a:pt x="492" y="19"/>
                    <a:pt x="492" y="19"/>
                    <a:pt x="492" y="19"/>
                  </a:cubicBezTo>
                  <a:cubicBezTo>
                    <a:pt x="492" y="9"/>
                    <a:pt x="484" y="0"/>
                    <a:pt x="474" y="0"/>
                  </a:cubicBezTo>
                  <a:close/>
                  <a:moveTo>
                    <a:pt x="104" y="38"/>
                  </a:moveTo>
                  <a:cubicBezTo>
                    <a:pt x="388" y="38"/>
                    <a:pt x="388" y="38"/>
                    <a:pt x="388" y="38"/>
                  </a:cubicBezTo>
                  <a:cubicBezTo>
                    <a:pt x="388" y="252"/>
                    <a:pt x="388" y="252"/>
                    <a:pt x="388" y="252"/>
                  </a:cubicBezTo>
                  <a:cubicBezTo>
                    <a:pt x="104" y="252"/>
                    <a:pt x="104" y="252"/>
                    <a:pt x="104" y="252"/>
                  </a:cubicBezTo>
                  <a:lnTo>
                    <a:pt x="104" y="38"/>
                  </a:lnTo>
                  <a:close/>
                  <a:moveTo>
                    <a:pt x="25" y="56"/>
                  </a:moveTo>
                  <a:cubicBezTo>
                    <a:pt x="59" y="56"/>
                    <a:pt x="59" y="56"/>
                    <a:pt x="59" y="56"/>
                  </a:cubicBezTo>
                  <a:cubicBezTo>
                    <a:pt x="66" y="56"/>
                    <a:pt x="66" y="56"/>
                    <a:pt x="66" y="56"/>
                  </a:cubicBezTo>
                  <a:cubicBezTo>
                    <a:pt x="73" y="56"/>
                    <a:pt x="73" y="56"/>
                    <a:pt x="73" y="56"/>
                  </a:cubicBezTo>
                  <a:cubicBezTo>
                    <a:pt x="90" y="73"/>
                    <a:pt x="90" y="73"/>
                    <a:pt x="90" y="73"/>
                  </a:cubicBezTo>
                  <a:cubicBezTo>
                    <a:pt x="73" y="90"/>
                    <a:pt x="73" y="90"/>
                    <a:pt x="73" y="90"/>
                  </a:cubicBezTo>
                  <a:cubicBezTo>
                    <a:pt x="66" y="90"/>
                    <a:pt x="66" y="90"/>
                    <a:pt x="66" y="90"/>
                  </a:cubicBezTo>
                  <a:cubicBezTo>
                    <a:pt x="59" y="90"/>
                    <a:pt x="59" y="90"/>
                    <a:pt x="59" y="90"/>
                  </a:cubicBezTo>
                  <a:cubicBezTo>
                    <a:pt x="25" y="90"/>
                    <a:pt x="25" y="90"/>
                    <a:pt x="25" y="90"/>
                  </a:cubicBezTo>
                  <a:lnTo>
                    <a:pt x="25" y="56"/>
                  </a:lnTo>
                  <a:close/>
                  <a:moveTo>
                    <a:pt x="25" y="128"/>
                  </a:moveTo>
                  <a:cubicBezTo>
                    <a:pt x="59" y="128"/>
                    <a:pt x="59" y="128"/>
                    <a:pt x="59" y="128"/>
                  </a:cubicBezTo>
                  <a:cubicBezTo>
                    <a:pt x="66" y="128"/>
                    <a:pt x="66" y="128"/>
                    <a:pt x="66" y="128"/>
                  </a:cubicBezTo>
                  <a:cubicBezTo>
                    <a:pt x="73" y="128"/>
                    <a:pt x="73" y="128"/>
                    <a:pt x="73" y="128"/>
                  </a:cubicBezTo>
                  <a:cubicBezTo>
                    <a:pt x="90" y="145"/>
                    <a:pt x="90" y="145"/>
                    <a:pt x="90" y="145"/>
                  </a:cubicBezTo>
                  <a:cubicBezTo>
                    <a:pt x="73" y="162"/>
                    <a:pt x="73" y="162"/>
                    <a:pt x="73" y="162"/>
                  </a:cubicBezTo>
                  <a:cubicBezTo>
                    <a:pt x="66" y="162"/>
                    <a:pt x="66" y="162"/>
                    <a:pt x="66" y="162"/>
                  </a:cubicBezTo>
                  <a:cubicBezTo>
                    <a:pt x="59" y="162"/>
                    <a:pt x="59" y="162"/>
                    <a:pt x="59" y="162"/>
                  </a:cubicBezTo>
                  <a:cubicBezTo>
                    <a:pt x="25" y="162"/>
                    <a:pt x="25" y="162"/>
                    <a:pt x="25" y="162"/>
                  </a:cubicBezTo>
                  <a:lnTo>
                    <a:pt x="25" y="128"/>
                  </a:lnTo>
                  <a:close/>
                  <a:moveTo>
                    <a:pt x="68" y="458"/>
                  </a:moveTo>
                  <a:cubicBezTo>
                    <a:pt x="68" y="463"/>
                    <a:pt x="64" y="467"/>
                    <a:pt x="58" y="467"/>
                  </a:cubicBezTo>
                  <a:cubicBezTo>
                    <a:pt x="34" y="467"/>
                    <a:pt x="34" y="467"/>
                    <a:pt x="34" y="467"/>
                  </a:cubicBezTo>
                  <a:cubicBezTo>
                    <a:pt x="29" y="467"/>
                    <a:pt x="25" y="463"/>
                    <a:pt x="25" y="458"/>
                  </a:cubicBezTo>
                  <a:cubicBezTo>
                    <a:pt x="25" y="434"/>
                    <a:pt x="25" y="434"/>
                    <a:pt x="25" y="434"/>
                  </a:cubicBezTo>
                  <a:cubicBezTo>
                    <a:pt x="25" y="429"/>
                    <a:pt x="29" y="424"/>
                    <a:pt x="34" y="424"/>
                  </a:cubicBezTo>
                  <a:cubicBezTo>
                    <a:pt x="58" y="424"/>
                    <a:pt x="58" y="424"/>
                    <a:pt x="58" y="424"/>
                  </a:cubicBezTo>
                  <a:cubicBezTo>
                    <a:pt x="64" y="424"/>
                    <a:pt x="68" y="429"/>
                    <a:pt x="68" y="434"/>
                  </a:cubicBezTo>
                  <a:lnTo>
                    <a:pt x="68" y="458"/>
                  </a:lnTo>
                  <a:close/>
                  <a:moveTo>
                    <a:pt x="68" y="398"/>
                  </a:moveTo>
                  <a:cubicBezTo>
                    <a:pt x="68" y="403"/>
                    <a:pt x="64" y="408"/>
                    <a:pt x="58" y="408"/>
                  </a:cubicBezTo>
                  <a:cubicBezTo>
                    <a:pt x="34" y="408"/>
                    <a:pt x="34" y="408"/>
                    <a:pt x="34" y="408"/>
                  </a:cubicBezTo>
                  <a:cubicBezTo>
                    <a:pt x="29" y="408"/>
                    <a:pt x="25" y="403"/>
                    <a:pt x="25" y="398"/>
                  </a:cubicBezTo>
                  <a:cubicBezTo>
                    <a:pt x="25" y="374"/>
                    <a:pt x="25" y="374"/>
                    <a:pt x="25" y="374"/>
                  </a:cubicBezTo>
                  <a:cubicBezTo>
                    <a:pt x="25" y="369"/>
                    <a:pt x="29" y="365"/>
                    <a:pt x="34" y="365"/>
                  </a:cubicBezTo>
                  <a:cubicBezTo>
                    <a:pt x="58" y="365"/>
                    <a:pt x="58" y="365"/>
                    <a:pt x="58" y="365"/>
                  </a:cubicBezTo>
                  <a:cubicBezTo>
                    <a:pt x="64" y="365"/>
                    <a:pt x="68" y="369"/>
                    <a:pt x="68" y="374"/>
                  </a:cubicBezTo>
                  <a:lnTo>
                    <a:pt x="68" y="398"/>
                  </a:lnTo>
                  <a:close/>
                  <a:moveTo>
                    <a:pt x="68" y="339"/>
                  </a:moveTo>
                  <a:cubicBezTo>
                    <a:pt x="68" y="344"/>
                    <a:pt x="64" y="348"/>
                    <a:pt x="58" y="348"/>
                  </a:cubicBezTo>
                  <a:cubicBezTo>
                    <a:pt x="34" y="348"/>
                    <a:pt x="34" y="348"/>
                    <a:pt x="34" y="348"/>
                  </a:cubicBezTo>
                  <a:cubicBezTo>
                    <a:pt x="29" y="348"/>
                    <a:pt x="25" y="344"/>
                    <a:pt x="25" y="339"/>
                  </a:cubicBezTo>
                  <a:cubicBezTo>
                    <a:pt x="25" y="315"/>
                    <a:pt x="25" y="315"/>
                    <a:pt x="25" y="315"/>
                  </a:cubicBezTo>
                  <a:cubicBezTo>
                    <a:pt x="25" y="310"/>
                    <a:pt x="29" y="305"/>
                    <a:pt x="34" y="305"/>
                  </a:cubicBezTo>
                  <a:cubicBezTo>
                    <a:pt x="58" y="305"/>
                    <a:pt x="58" y="305"/>
                    <a:pt x="58" y="305"/>
                  </a:cubicBezTo>
                  <a:cubicBezTo>
                    <a:pt x="64" y="305"/>
                    <a:pt x="68" y="310"/>
                    <a:pt x="68" y="315"/>
                  </a:cubicBezTo>
                  <a:lnTo>
                    <a:pt x="68" y="339"/>
                  </a:lnTo>
                  <a:close/>
                  <a:moveTo>
                    <a:pt x="66" y="234"/>
                  </a:moveTo>
                  <a:cubicBezTo>
                    <a:pt x="59" y="234"/>
                    <a:pt x="59" y="234"/>
                    <a:pt x="59" y="234"/>
                  </a:cubicBezTo>
                  <a:cubicBezTo>
                    <a:pt x="25" y="234"/>
                    <a:pt x="25" y="234"/>
                    <a:pt x="25" y="234"/>
                  </a:cubicBezTo>
                  <a:cubicBezTo>
                    <a:pt x="25" y="201"/>
                    <a:pt x="25" y="201"/>
                    <a:pt x="25" y="201"/>
                  </a:cubicBezTo>
                  <a:cubicBezTo>
                    <a:pt x="59" y="201"/>
                    <a:pt x="59" y="201"/>
                    <a:pt x="59" y="201"/>
                  </a:cubicBezTo>
                  <a:cubicBezTo>
                    <a:pt x="66" y="201"/>
                    <a:pt x="66" y="201"/>
                    <a:pt x="66" y="201"/>
                  </a:cubicBezTo>
                  <a:cubicBezTo>
                    <a:pt x="73" y="201"/>
                    <a:pt x="73" y="201"/>
                    <a:pt x="73" y="201"/>
                  </a:cubicBezTo>
                  <a:cubicBezTo>
                    <a:pt x="90" y="217"/>
                    <a:pt x="90" y="217"/>
                    <a:pt x="90" y="217"/>
                  </a:cubicBezTo>
                  <a:cubicBezTo>
                    <a:pt x="73" y="234"/>
                    <a:pt x="73" y="234"/>
                    <a:pt x="73" y="234"/>
                  </a:cubicBezTo>
                  <a:lnTo>
                    <a:pt x="66" y="234"/>
                  </a:lnTo>
                  <a:close/>
                  <a:moveTo>
                    <a:pt x="125" y="458"/>
                  </a:moveTo>
                  <a:cubicBezTo>
                    <a:pt x="125" y="463"/>
                    <a:pt x="121" y="467"/>
                    <a:pt x="116" y="467"/>
                  </a:cubicBezTo>
                  <a:cubicBezTo>
                    <a:pt x="92" y="467"/>
                    <a:pt x="92" y="467"/>
                    <a:pt x="92" y="467"/>
                  </a:cubicBezTo>
                  <a:cubicBezTo>
                    <a:pt x="87" y="467"/>
                    <a:pt x="83" y="463"/>
                    <a:pt x="83" y="458"/>
                  </a:cubicBezTo>
                  <a:cubicBezTo>
                    <a:pt x="83" y="434"/>
                    <a:pt x="83" y="434"/>
                    <a:pt x="83" y="434"/>
                  </a:cubicBezTo>
                  <a:cubicBezTo>
                    <a:pt x="83" y="429"/>
                    <a:pt x="87" y="424"/>
                    <a:pt x="92" y="424"/>
                  </a:cubicBezTo>
                  <a:cubicBezTo>
                    <a:pt x="116" y="424"/>
                    <a:pt x="116" y="424"/>
                    <a:pt x="116" y="424"/>
                  </a:cubicBezTo>
                  <a:cubicBezTo>
                    <a:pt x="121" y="424"/>
                    <a:pt x="125" y="429"/>
                    <a:pt x="125" y="434"/>
                  </a:cubicBezTo>
                  <a:lnTo>
                    <a:pt x="125" y="458"/>
                  </a:lnTo>
                  <a:close/>
                  <a:moveTo>
                    <a:pt x="125" y="398"/>
                  </a:moveTo>
                  <a:cubicBezTo>
                    <a:pt x="125" y="403"/>
                    <a:pt x="121" y="408"/>
                    <a:pt x="116" y="408"/>
                  </a:cubicBezTo>
                  <a:cubicBezTo>
                    <a:pt x="92" y="408"/>
                    <a:pt x="92" y="408"/>
                    <a:pt x="92" y="408"/>
                  </a:cubicBezTo>
                  <a:cubicBezTo>
                    <a:pt x="87" y="408"/>
                    <a:pt x="83" y="403"/>
                    <a:pt x="83" y="398"/>
                  </a:cubicBezTo>
                  <a:cubicBezTo>
                    <a:pt x="83" y="374"/>
                    <a:pt x="83" y="374"/>
                    <a:pt x="83" y="374"/>
                  </a:cubicBezTo>
                  <a:cubicBezTo>
                    <a:pt x="83" y="369"/>
                    <a:pt x="87" y="365"/>
                    <a:pt x="92" y="365"/>
                  </a:cubicBezTo>
                  <a:cubicBezTo>
                    <a:pt x="116" y="365"/>
                    <a:pt x="116" y="365"/>
                    <a:pt x="116" y="365"/>
                  </a:cubicBezTo>
                  <a:cubicBezTo>
                    <a:pt x="121" y="365"/>
                    <a:pt x="125" y="369"/>
                    <a:pt x="125" y="374"/>
                  </a:cubicBezTo>
                  <a:lnTo>
                    <a:pt x="125" y="398"/>
                  </a:lnTo>
                  <a:close/>
                  <a:moveTo>
                    <a:pt x="125" y="339"/>
                  </a:moveTo>
                  <a:cubicBezTo>
                    <a:pt x="125" y="344"/>
                    <a:pt x="121" y="348"/>
                    <a:pt x="116" y="348"/>
                  </a:cubicBezTo>
                  <a:cubicBezTo>
                    <a:pt x="92" y="348"/>
                    <a:pt x="92" y="348"/>
                    <a:pt x="92" y="348"/>
                  </a:cubicBezTo>
                  <a:cubicBezTo>
                    <a:pt x="87" y="348"/>
                    <a:pt x="83" y="344"/>
                    <a:pt x="83" y="339"/>
                  </a:cubicBezTo>
                  <a:cubicBezTo>
                    <a:pt x="83" y="315"/>
                    <a:pt x="83" y="315"/>
                    <a:pt x="83" y="315"/>
                  </a:cubicBezTo>
                  <a:cubicBezTo>
                    <a:pt x="83" y="310"/>
                    <a:pt x="87" y="305"/>
                    <a:pt x="92" y="305"/>
                  </a:cubicBezTo>
                  <a:cubicBezTo>
                    <a:pt x="116" y="305"/>
                    <a:pt x="116" y="305"/>
                    <a:pt x="116" y="305"/>
                  </a:cubicBezTo>
                  <a:cubicBezTo>
                    <a:pt x="121" y="305"/>
                    <a:pt x="125" y="310"/>
                    <a:pt x="125" y="315"/>
                  </a:cubicBezTo>
                  <a:lnTo>
                    <a:pt x="125" y="339"/>
                  </a:lnTo>
                  <a:close/>
                  <a:moveTo>
                    <a:pt x="183" y="458"/>
                  </a:moveTo>
                  <a:cubicBezTo>
                    <a:pt x="183" y="463"/>
                    <a:pt x="179" y="467"/>
                    <a:pt x="174" y="467"/>
                  </a:cubicBezTo>
                  <a:cubicBezTo>
                    <a:pt x="150" y="467"/>
                    <a:pt x="150" y="467"/>
                    <a:pt x="150" y="467"/>
                  </a:cubicBezTo>
                  <a:cubicBezTo>
                    <a:pt x="145" y="467"/>
                    <a:pt x="140" y="463"/>
                    <a:pt x="140" y="458"/>
                  </a:cubicBezTo>
                  <a:cubicBezTo>
                    <a:pt x="140" y="434"/>
                    <a:pt x="140" y="434"/>
                    <a:pt x="140" y="434"/>
                  </a:cubicBezTo>
                  <a:cubicBezTo>
                    <a:pt x="140" y="429"/>
                    <a:pt x="145" y="424"/>
                    <a:pt x="150" y="424"/>
                  </a:cubicBezTo>
                  <a:cubicBezTo>
                    <a:pt x="174" y="424"/>
                    <a:pt x="174" y="424"/>
                    <a:pt x="174" y="424"/>
                  </a:cubicBezTo>
                  <a:cubicBezTo>
                    <a:pt x="179" y="424"/>
                    <a:pt x="183" y="429"/>
                    <a:pt x="183" y="434"/>
                  </a:cubicBezTo>
                  <a:lnTo>
                    <a:pt x="183" y="458"/>
                  </a:lnTo>
                  <a:close/>
                  <a:moveTo>
                    <a:pt x="183" y="398"/>
                  </a:moveTo>
                  <a:cubicBezTo>
                    <a:pt x="183" y="403"/>
                    <a:pt x="179" y="408"/>
                    <a:pt x="174" y="408"/>
                  </a:cubicBezTo>
                  <a:cubicBezTo>
                    <a:pt x="150" y="408"/>
                    <a:pt x="150" y="408"/>
                    <a:pt x="150" y="408"/>
                  </a:cubicBezTo>
                  <a:cubicBezTo>
                    <a:pt x="145" y="408"/>
                    <a:pt x="140" y="403"/>
                    <a:pt x="140" y="398"/>
                  </a:cubicBezTo>
                  <a:cubicBezTo>
                    <a:pt x="140" y="374"/>
                    <a:pt x="140" y="374"/>
                    <a:pt x="140" y="374"/>
                  </a:cubicBezTo>
                  <a:cubicBezTo>
                    <a:pt x="140" y="369"/>
                    <a:pt x="145" y="365"/>
                    <a:pt x="150" y="365"/>
                  </a:cubicBezTo>
                  <a:cubicBezTo>
                    <a:pt x="174" y="365"/>
                    <a:pt x="174" y="365"/>
                    <a:pt x="174" y="365"/>
                  </a:cubicBezTo>
                  <a:cubicBezTo>
                    <a:pt x="179" y="365"/>
                    <a:pt x="183" y="369"/>
                    <a:pt x="183" y="374"/>
                  </a:cubicBezTo>
                  <a:lnTo>
                    <a:pt x="183" y="398"/>
                  </a:lnTo>
                  <a:close/>
                  <a:moveTo>
                    <a:pt x="183" y="339"/>
                  </a:moveTo>
                  <a:cubicBezTo>
                    <a:pt x="183" y="344"/>
                    <a:pt x="179" y="348"/>
                    <a:pt x="174" y="348"/>
                  </a:cubicBezTo>
                  <a:cubicBezTo>
                    <a:pt x="150" y="348"/>
                    <a:pt x="150" y="348"/>
                    <a:pt x="150" y="348"/>
                  </a:cubicBezTo>
                  <a:cubicBezTo>
                    <a:pt x="145" y="348"/>
                    <a:pt x="140" y="344"/>
                    <a:pt x="140" y="339"/>
                  </a:cubicBezTo>
                  <a:cubicBezTo>
                    <a:pt x="140" y="315"/>
                    <a:pt x="140" y="315"/>
                    <a:pt x="140" y="315"/>
                  </a:cubicBezTo>
                  <a:cubicBezTo>
                    <a:pt x="140" y="310"/>
                    <a:pt x="145" y="305"/>
                    <a:pt x="150" y="305"/>
                  </a:cubicBezTo>
                  <a:cubicBezTo>
                    <a:pt x="174" y="305"/>
                    <a:pt x="174" y="305"/>
                    <a:pt x="174" y="305"/>
                  </a:cubicBezTo>
                  <a:cubicBezTo>
                    <a:pt x="179" y="305"/>
                    <a:pt x="183" y="310"/>
                    <a:pt x="183" y="315"/>
                  </a:cubicBezTo>
                  <a:lnTo>
                    <a:pt x="183" y="339"/>
                  </a:lnTo>
                  <a:close/>
                  <a:moveTo>
                    <a:pt x="465" y="394"/>
                  </a:moveTo>
                  <a:cubicBezTo>
                    <a:pt x="394" y="394"/>
                    <a:pt x="394" y="394"/>
                    <a:pt x="394" y="394"/>
                  </a:cubicBezTo>
                  <a:cubicBezTo>
                    <a:pt x="394" y="405"/>
                    <a:pt x="394" y="405"/>
                    <a:pt x="394" y="405"/>
                  </a:cubicBezTo>
                  <a:cubicBezTo>
                    <a:pt x="300" y="405"/>
                    <a:pt x="300" y="405"/>
                    <a:pt x="300" y="405"/>
                  </a:cubicBezTo>
                  <a:cubicBezTo>
                    <a:pt x="300" y="394"/>
                    <a:pt x="300" y="394"/>
                    <a:pt x="300" y="394"/>
                  </a:cubicBezTo>
                  <a:cubicBezTo>
                    <a:pt x="229" y="394"/>
                    <a:pt x="229" y="394"/>
                    <a:pt x="229" y="394"/>
                  </a:cubicBezTo>
                  <a:cubicBezTo>
                    <a:pt x="229" y="378"/>
                    <a:pt x="229" y="378"/>
                    <a:pt x="229" y="378"/>
                  </a:cubicBezTo>
                  <a:cubicBezTo>
                    <a:pt x="300" y="378"/>
                    <a:pt x="300" y="378"/>
                    <a:pt x="300" y="378"/>
                  </a:cubicBezTo>
                  <a:cubicBezTo>
                    <a:pt x="300" y="368"/>
                    <a:pt x="300" y="368"/>
                    <a:pt x="300" y="368"/>
                  </a:cubicBezTo>
                  <a:cubicBezTo>
                    <a:pt x="394" y="368"/>
                    <a:pt x="394" y="368"/>
                    <a:pt x="394" y="368"/>
                  </a:cubicBezTo>
                  <a:cubicBezTo>
                    <a:pt x="394" y="378"/>
                    <a:pt x="394" y="378"/>
                    <a:pt x="394" y="378"/>
                  </a:cubicBezTo>
                  <a:cubicBezTo>
                    <a:pt x="465" y="378"/>
                    <a:pt x="465" y="378"/>
                    <a:pt x="465" y="378"/>
                  </a:cubicBezTo>
                  <a:lnTo>
                    <a:pt x="465" y="394"/>
                  </a:lnTo>
                  <a:close/>
                  <a:moveTo>
                    <a:pt x="465" y="234"/>
                  </a:moveTo>
                  <a:cubicBezTo>
                    <a:pt x="431" y="234"/>
                    <a:pt x="431" y="234"/>
                    <a:pt x="431" y="234"/>
                  </a:cubicBezTo>
                  <a:cubicBezTo>
                    <a:pt x="424" y="234"/>
                    <a:pt x="424" y="234"/>
                    <a:pt x="424" y="234"/>
                  </a:cubicBezTo>
                  <a:cubicBezTo>
                    <a:pt x="417" y="234"/>
                    <a:pt x="417" y="234"/>
                    <a:pt x="417" y="234"/>
                  </a:cubicBezTo>
                  <a:cubicBezTo>
                    <a:pt x="400" y="217"/>
                    <a:pt x="400" y="217"/>
                    <a:pt x="400" y="217"/>
                  </a:cubicBezTo>
                  <a:cubicBezTo>
                    <a:pt x="417" y="201"/>
                    <a:pt x="417" y="201"/>
                    <a:pt x="417" y="201"/>
                  </a:cubicBezTo>
                  <a:cubicBezTo>
                    <a:pt x="424" y="201"/>
                    <a:pt x="424" y="201"/>
                    <a:pt x="424" y="201"/>
                  </a:cubicBezTo>
                  <a:cubicBezTo>
                    <a:pt x="431" y="201"/>
                    <a:pt x="431" y="201"/>
                    <a:pt x="431" y="201"/>
                  </a:cubicBezTo>
                  <a:cubicBezTo>
                    <a:pt x="465" y="201"/>
                    <a:pt x="465" y="201"/>
                    <a:pt x="465" y="201"/>
                  </a:cubicBezTo>
                  <a:lnTo>
                    <a:pt x="465" y="234"/>
                  </a:lnTo>
                  <a:close/>
                  <a:moveTo>
                    <a:pt x="465" y="162"/>
                  </a:moveTo>
                  <a:cubicBezTo>
                    <a:pt x="431" y="162"/>
                    <a:pt x="431" y="162"/>
                    <a:pt x="431" y="162"/>
                  </a:cubicBezTo>
                  <a:cubicBezTo>
                    <a:pt x="424" y="162"/>
                    <a:pt x="424" y="162"/>
                    <a:pt x="424" y="162"/>
                  </a:cubicBezTo>
                  <a:cubicBezTo>
                    <a:pt x="417" y="162"/>
                    <a:pt x="417" y="162"/>
                    <a:pt x="417" y="162"/>
                  </a:cubicBezTo>
                  <a:cubicBezTo>
                    <a:pt x="400" y="145"/>
                    <a:pt x="400" y="145"/>
                    <a:pt x="400" y="145"/>
                  </a:cubicBezTo>
                  <a:cubicBezTo>
                    <a:pt x="417" y="128"/>
                    <a:pt x="417" y="128"/>
                    <a:pt x="417" y="128"/>
                  </a:cubicBezTo>
                  <a:cubicBezTo>
                    <a:pt x="424" y="128"/>
                    <a:pt x="424" y="128"/>
                    <a:pt x="424" y="128"/>
                  </a:cubicBezTo>
                  <a:cubicBezTo>
                    <a:pt x="431" y="128"/>
                    <a:pt x="431" y="128"/>
                    <a:pt x="431" y="128"/>
                  </a:cubicBezTo>
                  <a:cubicBezTo>
                    <a:pt x="465" y="128"/>
                    <a:pt x="465" y="128"/>
                    <a:pt x="465" y="128"/>
                  </a:cubicBezTo>
                  <a:lnTo>
                    <a:pt x="465" y="162"/>
                  </a:lnTo>
                  <a:close/>
                  <a:moveTo>
                    <a:pt x="465" y="90"/>
                  </a:moveTo>
                  <a:cubicBezTo>
                    <a:pt x="431" y="90"/>
                    <a:pt x="431" y="90"/>
                    <a:pt x="431" y="90"/>
                  </a:cubicBezTo>
                  <a:cubicBezTo>
                    <a:pt x="424" y="90"/>
                    <a:pt x="424" y="90"/>
                    <a:pt x="424" y="90"/>
                  </a:cubicBezTo>
                  <a:cubicBezTo>
                    <a:pt x="417" y="90"/>
                    <a:pt x="417" y="90"/>
                    <a:pt x="417" y="90"/>
                  </a:cubicBezTo>
                  <a:cubicBezTo>
                    <a:pt x="400" y="73"/>
                    <a:pt x="400" y="73"/>
                    <a:pt x="400" y="73"/>
                  </a:cubicBezTo>
                  <a:cubicBezTo>
                    <a:pt x="417" y="56"/>
                    <a:pt x="417" y="56"/>
                    <a:pt x="417" y="56"/>
                  </a:cubicBezTo>
                  <a:cubicBezTo>
                    <a:pt x="424" y="56"/>
                    <a:pt x="424" y="56"/>
                    <a:pt x="424" y="56"/>
                  </a:cubicBezTo>
                  <a:cubicBezTo>
                    <a:pt x="431" y="56"/>
                    <a:pt x="431" y="56"/>
                    <a:pt x="431" y="56"/>
                  </a:cubicBezTo>
                  <a:cubicBezTo>
                    <a:pt x="465" y="56"/>
                    <a:pt x="465" y="56"/>
                    <a:pt x="465" y="56"/>
                  </a:cubicBezTo>
                  <a:lnTo>
                    <a:pt x="465" y="9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4" name="Freeform 10"/>
            <p:cNvSpPr>
              <a:spLocks noEditPoints="1"/>
            </p:cNvSpPr>
            <p:nvPr/>
          </p:nvSpPr>
          <p:spPr bwMode="auto">
            <a:xfrm>
              <a:off x="1745954" y="2737187"/>
              <a:ext cx="262252" cy="448291"/>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Tree>
    <p:extLst>
      <p:ext uri="{BB962C8B-B14F-4D97-AF65-F5344CB8AC3E}">
        <p14:creationId xmlns:p14="http://schemas.microsoft.com/office/powerpoint/2010/main" val="2150265074"/>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41"/>
                                        </p:tgtEl>
                                        <p:attrNameLst>
                                          <p:attrName>style.visibility</p:attrName>
                                        </p:attrNameLst>
                                      </p:cBhvr>
                                      <p:to>
                                        <p:strVal val="visible"/>
                                      </p:to>
                                    </p:set>
                                    <p:animEffect transition="in" filter="wipe(left)">
                                      <p:cBhvr>
                                        <p:cTn id="7" dur="750"/>
                                        <p:tgtEl>
                                          <p:spTgt spid="24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750"/>
                                        <p:tgtEl>
                                          <p:spTgt spid="16"/>
                                        </p:tgtEl>
                                      </p:cBhvr>
                                    </p:animEffect>
                                  </p:childTnLst>
                                </p:cTn>
                              </p:par>
                              <p:par>
                                <p:cTn id="11" presetID="35" presetClass="path" presetSubtype="0" accel="50000" decel="50000" fill="hold" nodeType="withEffect">
                                  <p:stCondLst>
                                    <p:cond delay="0"/>
                                  </p:stCondLst>
                                  <p:childTnLst>
                                    <p:animMotion origin="layout" path="M 3.01762E-6 2.04267E-6 L -0.09612 2.04267E-6 " pathEditMode="relative" rAng="0" ptsTypes="AA">
                                      <p:cBhvr>
                                        <p:cTn id="12" dur="1250" spd="-100000" fill="hold"/>
                                        <p:tgtEl>
                                          <p:spTgt spid="16"/>
                                        </p:tgtEl>
                                        <p:attrNameLst>
                                          <p:attrName>ppt_x</p:attrName>
                                          <p:attrName>ppt_y</p:attrName>
                                        </p:attrNameLst>
                                      </p:cBhvr>
                                      <p:rCtr x="-4812" y="0"/>
                                    </p:animMotion>
                                  </p:childTnLst>
                                </p:cTn>
                              </p:par>
                              <p:par>
                                <p:cTn id="13" presetID="22" presetClass="entr" presetSubtype="8" fill="hold" grpId="0" nodeType="withEffect">
                                  <p:stCondLst>
                                    <p:cond delay="500"/>
                                  </p:stCondLst>
                                  <p:childTnLst>
                                    <p:set>
                                      <p:cBhvr>
                                        <p:cTn id="14" dur="1" fill="hold">
                                          <p:stCondLst>
                                            <p:cond delay="0"/>
                                          </p:stCondLst>
                                        </p:cTn>
                                        <p:tgtEl>
                                          <p:spTgt spid="836"/>
                                        </p:tgtEl>
                                        <p:attrNameLst>
                                          <p:attrName>style.visibility</p:attrName>
                                        </p:attrNameLst>
                                      </p:cBhvr>
                                      <p:to>
                                        <p:strVal val="visible"/>
                                      </p:to>
                                    </p:set>
                                    <p:animEffect transition="in" filter="wipe(left)">
                                      <p:cBhvr>
                                        <p:cTn id="15" dur="750"/>
                                        <p:tgtEl>
                                          <p:spTgt spid="836"/>
                                        </p:tgtEl>
                                      </p:cBhvr>
                                    </p:animEffect>
                                  </p:childTnLst>
                                </p:cTn>
                              </p:par>
                              <p:par>
                                <p:cTn id="16" presetID="2" presetClass="entr" presetSubtype="1" decel="100000" fill="hold" grpId="0" nodeType="withEffect">
                                  <p:stCondLst>
                                    <p:cond delay="250"/>
                                  </p:stCondLst>
                                  <p:childTnLst>
                                    <p:set>
                                      <p:cBhvr>
                                        <p:cTn id="17" dur="1" fill="hold">
                                          <p:stCondLst>
                                            <p:cond delay="0"/>
                                          </p:stCondLst>
                                        </p:cTn>
                                        <p:tgtEl>
                                          <p:spTgt spid="832"/>
                                        </p:tgtEl>
                                        <p:attrNameLst>
                                          <p:attrName>style.visibility</p:attrName>
                                        </p:attrNameLst>
                                      </p:cBhvr>
                                      <p:to>
                                        <p:strVal val="visible"/>
                                      </p:to>
                                    </p:set>
                                    <p:anim calcmode="lin" valueType="num">
                                      <p:cBhvr additive="base">
                                        <p:cTn id="18" dur="1000" fill="hold"/>
                                        <p:tgtEl>
                                          <p:spTgt spid="832"/>
                                        </p:tgtEl>
                                        <p:attrNameLst>
                                          <p:attrName>ppt_x</p:attrName>
                                        </p:attrNameLst>
                                      </p:cBhvr>
                                      <p:tavLst>
                                        <p:tav tm="0">
                                          <p:val>
                                            <p:strVal val="#ppt_x"/>
                                          </p:val>
                                        </p:tav>
                                        <p:tav tm="100000">
                                          <p:val>
                                            <p:strVal val="#ppt_x"/>
                                          </p:val>
                                        </p:tav>
                                      </p:tavLst>
                                    </p:anim>
                                    <p:anim calcmode="lin" valueType="num">
                                      <p:cBhvr additive="base">
                                        <p:cTn id="19" dur="1000" fill="hold"/>
                                        <p:tgtEl>
                                          <p:spTgt spid="832"/>
                                        </p:tgtEl>
                                        <p:attrNameLst>
                                          <p:attrName>ppt_y</p:attrName>
                                        </p:attrNameLst>
                                      </p:cBhvr>
                                      <p:tavLst>
                                        <p:tav tm="0">
                                          <p:val>
                                            <p:strVal val="0-#ppt_h/2"/>
                                          </p:val>
                                        </p:tav>
                                        <p:tav tm="100000">
                                          <p:val>
                                            <p:strVal val="#ppt_y"/>
                                          </p:val>
                                        </p:tav>
                                      </p:tavLst>
                                    </p:anim>
                                  </p:childTnLst>
                                </p:cTn>
                              </p:par>
                            </p:childTnLst>
                          </p:cTn>
                        </p:par>
                        <p:par>
                          <p:cTn id="20" fill="hold">
                            <p:stCondLst>
                              <p:cond delay="1250"/>
                            </p:stCondLst>
                            <p:childTnLst>
                              <p:par>
                                <p:cTn id="21" presetID="10" presetClass="entr" presetSubtype="0" fill="hold" nodeType="afterEffect">
                                  <p:stCondLst>
                                    <p:cond delay="50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750"/>
                                        <p:tgtEl>
                                          <p:spTgt spid="3"/>
                                        </p:tgtEl>
                                      </p:cBhvr>
                                    </p:animEffect>
                                  </p:childTnLst>
                                </p:cTn>
                              </p:par>
                              <p:par>
                                <p:cTn id="24" presetID="35" presetClass="path" presetSubtype="0" accel="50000" decel="50000" fill="hold" nodeType="withEffect">
                                  <p:stCondLst>
                                    <p:cond delay="0"/>
                                  </p:stCondLst>
                                  <p:childTnLst>
                                    <p:animMotion origin="layout" path="M 3.01762E-6 2.04267E-6 L -0.09612 2.04267E-6 " pathEditMode="relative" rAng="0" ptsTypes="AA">
                                      <p:cBhvr>
                                        <p:cTn id="25" dur="1250" spd="-100000" fill="hold"/>
                                        <p:tgtEl>
                                          <p:spTgt spid="3"/>
                                        </p:tgtEl>
                                        <p:attrNameLst>
                                          <p:attrName>ppt_x</p:attrName>
                                          <p:attrName>ppt_y</p:attrName>
                                        </p:attrNameLst>
                                      </p:cBhvr>
                                      <p:rCtr x="-4812" y="0"/>
                                    </p:animMotion>
                                  </p:childTnLst>
                                </p:cTn>
                              </p:par>
                              <p:par>
                                <p:cTn id="26" presetID="22" presetClass="entr" presetSubtype="8" fill="hold" grpId="0" nodeType="withEffect">
                                  <p:stCondLst>
                                    <p:cond delay="500"/>
                                  </p:stCondLst>
                                  <p:childTnLst>
                                    <p:set>
                                      <p:cBhvr>
                                        <p:cTn id="27" dur="1" fill="hold">
                                          <p:stCondLst>
                                            <p:cond delay="0"/>
                                          </p:stCondLst>
                                        </p:cTn>
                                        <p:tgtEl>
                                          <p:spTgt spid="837"/>
                                        </p:tgtEl>
                                        <p:attrNameLst>
                                          <p:attrName>style.visibility</p:attrName>
                                        </p:attrNameLst>
                                      </p:cBhvr>
                                      <p:to>
                                        <p:strVal val="visible"/>
                                      </p:to>
                                    </p:set>
                                    <p:animEffect transition="in" filter="wipe(left)">
                                      <p:cBhvr>
                                        <p:cTn id="28" dur="750"/>
                                        <p:tgtEl>
                                          <p:spTgt spid="837"/>
                                        </p:tgtEl>
                                      </p:cBhvr>
                                    </p:animEffect>
                                  </p:childTnLst>
                                </p:cTn>
                              </p:par>
                              <p:par>
                                <p:cTn id="29" presetID="2" presetClass="entr" presetSubtype="1" decel="100000" fill="hold" grpId="0" nodeType="withEffect">
                                  <p:stCondLst>
                                    <p:cond delay="250"/>
                                  </p:stCondLst>
                                  <p:childTnLst>
                                    <p:set>
                                      <p:cBhvr>
                                        <p:cTn id="30" dur="1" fill="hold">
                                          <p:stCondLst>
                                            <p:cond delay="0"/>
                                          </p:stCondLst>
                                        </p:cTn>
                                        <p:tgtEl>
                                          <p:spTgt spid="833"/>
                                        </p:tgtEl>
                                        <p:attrNameLst>
                                          <p:attrName>style.visibility</p:attrName>
                                        </p:attrNameLst>
                                      </p:cBhvr>
                                      <p:to>
                                        <p:strVal val="visible"/>
                                      </p:to>
                                    </p:set>
                                    <p:anim calcmode="lin" valueType="num">
                                      <p:cBhvr additive="base">
                                        <p:cTn id="31" dur="1000" fill="hold"/>
                                        <p:tgtEl>
                                          <p:spTgt spid="833"/>
                                        </p:tgtEl>
                                        <p:attrNameLst>
                                          <p:attrName>ppt_x</p:attrName>
                                        </p:attrNameLst>
                                      </p:cBhvr>
                                      <p:tavLst>
                                        <p:tav tm="0">
                                          <p:val>
                                            <p:strVal val="#ppt_x"/>
                                          </p:val>
                                        </p:tav>
                                        <p:tav tm="100000">
                                          <p:val>
                                            <p:strVal val="#ppt_x"/>
                                          </p:val>
                                        </p:tav>
                                      </p:tavLst>
                                    </p:anim>
                                    <p:anim calcmode="lin" valueType="num">
                                      <p:cBhvr additive="base">
                                        <p:cTn id="32" dur="1000" fill="hold"/>
                                        <p:tgtEl>
                                          <p:spTgt spid="833"/>
                                        </p:tgtEl>
                                        <p:attrNameLst>
                                          <p:attrName>ppt_y</p:attrName>
                                        </p:attrNameLst>
                                      </p:cBhvr>
                                      <p:tavLst>
                                        <p:tav tm="0">
                                          <p:val>
                                            <p:strVal val="0-#ppt_h/2"/>
                                          </p:val>
                                        </p:tav>
                                        <p:tav tm="100000">
                                          <p:val>
                                            <p:strVal val="#ppt_y"/>
                                          </p:val>
                                        </p:tav>
                                      </p:tavLst>
                                    </p:anim>
                                  </p:childTnLst>
                                </p:cTn>
                              </p:par>
                            </p:childTnLst>
                          </p:cTn>
                        </p:par>
                        <p:par>
                          <p:cTn id="33" fill="hold">
                            <p:stCondLst>
                              <p:cond delay="2500"/>
                            </p:stCondLst>
                            <p:childTnLst>
                              <p:par>
                                <p:cTn id="34" presetID="10" presetClass="entr" presetSubtype="0" fill="hold" nodeType="afterEffect">
                                  <p:stCondLst>
                                    <p:cond delay="50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750"/>
                                        <p:tgtEl>
                                          <p:spTgt spid="4"/>
                                        </p:tgtEl>
                                      </p:cBhvr>
                                    </p:animEffect>
                                  </p:childTnLst>
                                </p:cTn>
                              </p:par>
                              <p:par>
                                <p:cTn id="37" presetID="35" presetClass="path" presetSubtype="0" accel="50000" decel="50000" fill="hold" nodeType="withEffect">
                                  <p:stCondLst>
                                    <p:cond delay="0"/>
                                  </p:stCondLst>
                                  <p:childTnLst>
                                    <p:animMotion origin="layout" path="M 3.01762E-6 2.04267E-6 L -0.09612 2.04267E-6 " pathEditMode="relative" rAng="0" ptsTypes="AA">
                                      <p:cBhvr>
                                        <p:cTn id="38" dur="1250" spd="-100000" fill="hold"/>
                                        <p:tgtEl>
                                          <p:spTgt spid="4"/>
                                        </p:tgtEl>
                                        <p:attrNameLst>
                                          <p:attrName>ppt_x</p:attrName>
                                          <p:attrName>ppt_y</p:attrName>
                                        </p:attrNameLst>
                                      </p:cBhvr>
                                      <p:rCtr x="-4812" y="0"/>
                                    </p:animMotion>
                                  </p:childTnLst>
                                </p:cTn>
                              </p:par>
                              <p:par>
                                <p:cTn id="39" presetID="22" presetClass="entr" presetSubtype="8" fill="hold" grpId="0" nodeType="withEffect">
                                  <p:stCondLst>
                                    <p:cond delay="500"/>
                                  </p:stCondLst>
                                  <p:childTnLst>
                                    <p:set>
                                      <p:cBhvr>
                                        <p:cTn id="40" dur="1" fill="hold">
                                          <p:stCondLst>
                                            <p:cond delay="0"/>
                                          </p:stCondLst>
                                        </p:cTn>
                                        <p:tgtEl>
                                          <p:spTgt spid="838"/>
                                        </p:tgtEl>
                                        <p:attrNameLst>
                                          <p:attrName>style.visibility</p:attrName>
                                        </p:attrNameLst>
                                      </p:cBhvr>
                                      <p:to>
                                        <p:strVal val="visible"/>
                                      </p:to>
                                    </p:set>
                                    <p:animEffect transition="in" filter="wipe(left)">
                                      <p:cBhvr>
                                        <p:cTn id="41" dur="750"/>
                                        <p:tgtEl>
                                          <p:spTgt spid="838"/>
                                        </p:tgtEl>
                                      </p:cBhvr>
                                    </p:animEffect>
                                  </p:childTnLst>
                                </p:cTn>
                              </p:par>
                              <p:par>
                                <p:cTn id="42" presetID="2" presetClass="entr" presetSubtype="1" decel="100000" fill="hold" grpId="0" nodeType="withEffect">
                                  <p:stCondLst>
                                    <p:cond delay="250"/>
                                  </p:stCondLst>
                                  <p:childTnLst>
                                    <p:set>
                                      <p:cBhvr>
                                        <p:cTn id="43" dur="1" fill="hold">
                                          <p:stCondLst>
                                            <p:cond delay="0"/>
                                          </p:stCondLst>
                                        </p:cTn>
                                        <p:tgtEl>
                                          <p:spTgt spid="834"/>
                                        </p:tgtEl>
                                        <p:attrNameLst>
                                          <p:attrName>style.visibility</p:attrName>
                                        </p:attrNameLst>
                                      </p:cBhvr>
                                      <p:to>
                                        <p:strVal val="visible"/>
                                      </p:to>
                                    </p:set>
                                    <p:anim calcmode="lin" valueType="num">
                                      <p:cBhvr additive="base">
                                        <p:cTn id="44" dur="1000" fill="hold"/>
                                        <p:tgtEl>
                                          <p:spTgt spid="834"/>
                                        </p:tgtEl>
                                        <p:attrNameLst>
                                          <p:attrName>ppt_x</p:attrName>
                                        </p:attrNameLst>
                                      </p:cBhvr>
                                      <p:tavLst>
                                        <p:tav tm="0">
                                          <p:val>
                                            <p:strVal val="#ppt_x"/>
                                          </p:val>
                                        </p:tav>
                                        <p:tav tm="100000">
                                          <p:val>
                                            <p:strVal val="#ppt_x"/>
                                          </p:val>
                                        </p:tav>
                                      </p:tavLst>
                                    </p:anim>
                                    <p:anim calcmode="lin" valueType="num">
                                      <p:cBhvr additive="base">
                                        <p:cTn id="45" dur="1000" fill="hold"/>
                                        <p:tgtEl>
                                          <p:spTgt spid="834"/>
                                        </p:tgtEl>
                                        <p:attrNameLst>
                                          <p:attrName>ppt_y</p:attrName>
                                        </p:attrNameLst>
                                      </p:cBhvr>
                                      <p:tavLst>
                                        <p:tav tm="0">
                                          <p:val>
                                            <p:strVal val="0-#ppt_h/2"/>
                                          </p:val>
                                        </p:tav>
                                        <p:tav tm="100000">
                                          <p:val>
                                            <p:strVal val="#ppt_y"/>
                                          </p:val>
                                        </p:tav>
                                      </p:tavLst>
                                    </p:anim>
                                  </p:childTnLst>
                                </p:cTn>
                              </p:par>
                            </p:childTnLst>
                          </p:cTn>
                        </p:par>
                        <p:par>
                          <p:cTn id="46" fill="hold">
                            <p:stCondLst>
                              <p:cond delay="3750"/>
                            </p:stCondLst>
                            <p:childTnLst>
                              <p:par>
                                <p:cTn id="47" presetID="10" presetClass="entr" presetSubtype="0" fill="hold" nodeType="afterEffect">
                                  <p:stCondLst>
                                    <p:cond delay="50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750"/>
                                        <p:tgtEl>
                                          <p:spTgt spid="17"/>
                                        </p:tgtEl>
                                      </p:cBhvr>
                                    </p:animEffect>
                                  </p:childTnLst>
                                </p:cTn>
                              </p:par>
                              <p:par>
                                <p:cTn id="50" presetID="35" presetClass="path" presetSubtype="0" accel="50000" decel="50000" fill="hold" nodeType="withEffect">
                                  <p:stCondLst>
                                    <p:cond delay="0"/>
                                  </p:stCondLst>
                                  <p:childTnLst>
                                    <p:animMotion origin="layout" path="M 3.01762E-6 2.04267E-6 L -0.09612 2.04267E-6 " pathEditMode="relative" rAng="0" ptsTypes="AA">
                                      <p:cBhvr>
                                        <p:cTn id="51" dur="1250" spd="-100000" fill="hold"/>
                                        <p:tgtEl>
                                          <p:spTgt spid="17"/>
                                        </p:tgtEl>
                                        <p:attrNameLst>
                                          <p:attrName>ppt_x</p:attrName>
                                          <p:attrName>ppt_y</p:attrName>
                                        </p:attrNameLst>
                                      </p:cBhvr>
                                      <p:rCtr x="-4812" y="0"/>
                                    </p:animMotion>
                                  </p:childTnLst>
                                </p:cTn>
                              </p:par>
                              <p:par>
                                <p:cTn id="52" presetID="22" presetClass="entr" presetSubtype="8" fill="hold" grpId="0" nodeType="withEffect">
                                  <p:stCondLst>
                                    <p:cond delay="500"/>
                                  </p:stCondLst>
                                  <p:childTnLst>
                                    <p:set>
                                      <p:cBhvr>
                                        <p:cTn id="53" dur="1" fill="hold">
                                          <p:stCondLst>
                                            <p:cond delay="0"/>
                                          </p:stCondLst>
                                        </p:cTn>
                                        <p:tgtEl>
                                          <p:spTgt spid="839"/>
                                        </p:tgtEl>
                                        <p:attrNameLst>
                                          <p:attrName>style.visibility</p:attrName>
                                        </p:attrNameLst>
                                      </p:cBhvr>
                                      <p:to>
                                        <p:strVal val="visible"/>
                                      </p:to>
                                    </p:set>
                                    <p:animEffect transition="in" filter="wipe(left)">
                                      <p:cBhvr>
                                        <p:cTn id="54" dur="750"/>
                                        <p:tgtEl>
                                          <p:spTgt spid="839"/>
                                        </p:tgtEl>
                                      </p:cBhvr>
                                    </p:animEffect>
                                  </p:childTnLst>
                                </p:cTn>
                              </p:par>
                              <p:par>
                                <p:cTn id="55" presetID="2" presetClass="entr" presetSubtype="1" decel="100000" fill="hold" grpId="0" nodeType="withEffect">
                                  <p:stCondLst>
                                    <p:cond delay="250"/>
                                  </p:stCondLst>
                                  <p:childTnLst>
                                    <p:set>
                                      <p:cBhvr>
                                        <p:cTn id="56" dur="1" fill="hold">
                                          <p:stCondLst>
                                            <p:cond delay="0"/>
                                          </p:stCondLst>
                                        </p:cTn>
                                        <p:tgtEl>
                                          <p:spTgt spid="835"/>
                                        </p:tgtEl>
                                        <p:attrNameLst>
                                          <p:attrName>style.visibility</p:attrName>
                                        </p:attrNameLst>
                                      </p:cBhvr>
                                      <p:to>
                                        <p:strVal val="visible"/>
                                      </p:to>
                                    </p:set>
                                    <p:anim calcmode="lin" valueType="num">
                                      <p:cBhvr additive="base">
                                        <p:cTn id="57" dur="1000" fill="hold"/>
                                        <p:tgtEl>
                                          <p:spTgt spid="835"/>
                                        </p:tgtEl>
                                        <p:attrNameLst>
                                          <p:attrName>ppt_x</p:attrName>
                                        </p:attrNameLst>
                                      </p:cBhvr>
                                      <p:tavLst>
                                        <p:tav tm="0">
                                          <p:val>
                                            <p:strVal val="#ppt_x"/>
                                          </p:val>
                                        </p:tav>
                                        <p:tav tm="100000">
                                          <p:val>
                                            <p:strVal val="#ppt_x"/>
                                          </p:val>
                                        </p:tav>
                                      </p:tavLst>
                                    </p:anim>
                                    <p:anim calcmode="lin" valueType="num">
                                      <p:cBhvr additive="base">
                                        <p:cTn id="58" dur="1000" fill="hold"/>
                                        <p:tgtEl>
                                          <p:spTgt spid="835"/>
                                        </p:tgtEl>
                                        <p:attrNameLst>
                                          <p:attrName>ppt_y</p:attrName>
                                        </p:attrNameLst>
                                      </p:cBhvr>
                                      <p:tavLst>
                                        <p:tav tm="0">
                                          <p:val>
                                            <p:strVal val="0-#ppt_h/2"/>
                                          </p:val>
                                        </p:tav>
                                        <p:tav tm="100000">
                                          <p:val>
                                            <p:strVal val="#ppt_y"/>
                                          </p:val>
                                        </p:tav>
                                      </p:tavLst>
                                    </p:anim>
                                  </p:childTnLst>
                                </p:cTn>
                              </p:par>
                            </p:childTnLst>
                          </p:cTn>
                        </p:par>
                        <p:par>
                          <p:cTn id="59" fill="hold">
                            <p:stCondLst>
                              <p:cond delay="5000"/>
                            </p:stCondLst>
                            <p:childTnLst>
                              <p:par>
                                <p:cTn id="60" presetID="10" presetClass="entr" presetSubtype="0" fill="hold" nodeType="afterEffect">
                                  <p:stCondLst>
                                    <p:cond delay="500"/>
                                  </p:stCondLst>
                                  <p:childTnLst>
                                    <p:set>
                                      <p:cBhvr>
                                        <p:cTn id="61" dur="1" fill="hold">
                                          <p:stCondLst>
                                            <p:cond delay="0"/>
                                          </p:stCondLst>
                                        </p:cTn>
                                        <p:tgtEl>
                                          <p:spTgt spid="5"/>
                                        </p:tgtEl>
                                        <p:attrNameLst>
                                          <p:attrName>style.visibility</p:attrName>
                                        </p:attrNameLst>
                                      </p:cBhvr>
                                      <p:to>
                                        <p:strVal val="visible"/>
                                      </p:to>
                                    </p:set>
                                    <p:animEffect transition="in" filter="fade">
                                      <p:cBhvr>
                                        <p:cTn id="62" dur="750"/>
                                        <p:tgtEl>
                                          <p:spTgt spid="5"/>
                                        </p:tgtEl>
                                      </p:cBhvr>
                                    </p:animEffect>
                                  </p:childTnLst>
                                </p:cTn>
                              </p:par>
                              <p:par>
                                <p:cTn id="63" presetID="42" presetClass="path" presetSubtype="0" accel="50000" decel="50000" fill="hold" nodeType="withEffect">
                                  <p:stCondLst>
                                    <p:cond delay="0"/>
                                  </p:stCondLst>
                                  <p:childTnLst>
                                    <p:animMotion origin="layout" path="M 4.70258E-6 -2.81434E-7 L 4.70258E-6 0.25011 " pathEditMode="relative" rAng="0" ptsTypes="AA">
                                      <p:cBhvr>
                                        <p:cTn id="64" dur="2000" spd="-100000" fill="hold"/>
                                        <p:tgtEl>
                                          <p:spTgt spid="5"/>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2" grpId="0"/>
      <p:bldP spid="833" grpId="0"/>
      <p:bldP spid="834" grpId="0"/>
      <p:bldP spid="835" grpId="0"/>
      <p:bldP spid="241" grpId="0" animBg="1" autoUpdateAnimBg="0"/>
      <p:bldP spid="836" grpId="0" animBg="1"/>
      <p:bldP spid="837" grpId="0" animBg="1"/>
      <p:bldP spid="838" grpId="0" animBg="1"/>
      <p:bldP spid="83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70" name="Group 69"/>
          <p:cNvGrpSpPr/>
          <p:nvPr/>
        </p:nvGrpSpPr>
        <p:grpSpPr>
          <a:xfrm>
            <a:off x="4732019" y="4547991"/>
            <a:ext cx="2732853" cy="2732853"/>
            <a:chOff x="4870448" y="4638691"/>
            <a:chExt cx="2787652" cy="2787652"/>
          </a:xfrm>
        </p:grpSpPr>
        <p:sp>
          <p:nvSpPr>
            <p:cNvPr id="122" name="Oval 121"/>
            <p:cNvSpPr/>
            <p:nvPr/>
          </p:nvSpPr>
          <p:spPr bwMode="auto">
            <a:xfrm>
              <a:off x="4870448" y="4638691"/>
              <a:ext cx="2787652" cy="2787652"/>
            </a:xfrm>
            <a:prstGeom prst="ellipse">
              <a:avLst/>
            </a:prstGeom>
            <a:solidFill>
              <a:schemeClr val="tx2"/>
            </a:solidFill>
            <a:ln>
              <a:noFill/>
              <a:headEnd type="none" w="med" len="med"/>
              <a:tailEnd type="none" w="med" len="med"/>
            </a:ln>
            <a:effectLst>
              <a:outerShdw dist="1524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122"/>
            <p:cNvSpPr>
              <a:spLocks/>
            </p:cNvSpPr>
            <p:nvPr/>
          </p:nvSpPr>
          <p:spPr bwMode="auto">
            <a:xfrm>
              <a:off x="5437427" y="5387942"/>
              <a:ext cx="1653693" cy="1087818"/>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524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grpSp>
      <p:sp>
        <p:nvSpPr>
          <p:cNvPr id="129" name="Rectangle 128"/>
          <p:cNvSpPr/>
          <p:nvPr/>
        </p:nvSpPr>
        <p:spPr bwMode="auto">
          <a:xfrm>
            <a:off x="3877069" y="4351881"/>
            <a:ext cx="4459994" cy="25056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267683" y="4205325"/>
            <a:ext cx="2501566" cy="1613565"/>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89642" rIns="17928" bIns="89640"/>
          <a:lstStyle/>
          <a:p>
            <a:pPr defTabSz="672451" fontAlgn="base">
              <a:lnSpc>
                <a:spcPct val="90000"/>
              </a:lnSpc>
              <a:spcBef>
                <a:spcPct val="0"/>
              </a:spcBef>
              <a:spcAft>
                <a:spcPts val="294"/>
              </a:spcAft>
              <a:defRPr/>
            </a:pPr>
            <a:r>
              <a:rPr lang="en-US" sz="3529" dirty="0">
                <a:solidFill>
                  <a:srgbClr val="008272"/>
                </a:solidFill>
                <a:latin typeface="Segoe UI Light"/>
              </a:rPr>
              <a:t>$1.9T</a:t>
            </a:r>
          </a:p>
          <a:p>
            <a:pPr defTabSz="672451" fontAlgn="base">
              <a:lnSpc>
                <a:spcPct val="90000"/>
              </a:lnSpc>
              <a:spcBef>
                <a:spcPct val="0"/>
              </a:spcBef>
              <a:spcAft>
                <a:spcPct val="0"/>
              </a:spcAft>
              <a:defRPr/>
            </a:pPr>
            <a:r>
              <a:rPr lang="en-US" sz="1372" dirty="0">
                <a:solidFill>
                  <a:srgbClr val="008272"/>
                </a:solidFill>
              </a:rPr>
              <a:t>Gartner estimates the total economic value-add from the Internet of Things across industries will reach US$1.9 trillion worldwide in 2020</a:t>
            </a:r>
            <a:r>
              <a:rPr lang="en-US" sz="1372" baseline="30000" dirty="0">
                <a:solidFill>
                  <a:srgbClr val="008272"/>
                </a:solidFill>
              </a:rPr>
              <a:t>1</a:t>
            </a:r>
          </a:p>
        </p:txBody>
      </p:sp>
      <p:sp>
        <p:nvSpPr>
          <p:cNvPr id="61" name="Rectangle 60"/>
          <p:cNvSpPr/>
          <p:nvPr/>
        </p:nvSpPr>
        <p:spPr bwMode="auto">
          <a:xfrm>
            <a:off x="2966695" y="4205324"/>
            <a:ext cx="2321158" cy="1613565"/>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89642" rIns="17928" bIns="89640"/>
          <a:lstStyle/>
          <a:p>
            <a:pPr defTabSz="672451" fontAlgn="base">
              <a:lnSpc>
                <a:spcPct val="90000"/>
              </a:lnSpc>
              <a:spcBef>
                <a:spcPct val="0"/>
              </a:spcBef>
              <a:spcAft>
                <a:spcPts val="294"/>
              </a:spcAft>
              <a:defRPr/>
            </a:pPr>
            <a:r>
              <a:rPr lang="en-US" sz="3529" dirty="0">
                <a:solidFill>
                  <a:srgbClr val="68217A"/>
                </a:solidFill>
                <a:latin typeface="Segoe UI Light"/>
              </a:rPr>
              <a:t>$77B</a:t>
            </a:r>
          </a:p>
          <a:p>
            <a:pPr defTabSz="672451" fontAlgn="base">
              <a:lnSpc>
                <a:spcPct val="90000"/>
              </a:lnSpc>
              <a:spcBef>
                <a:spcPct val="0"/>
              </a:spcBef>
              <a:spcAft>
                <a:spcPct val="0"/>
              </a:spcAft>
              <a:defRPr/>
            </a:pPr>
            <a:r>
              <a:rPr lang="en-US" sz="1372" dirty="0">
                <a:solidFill>
                  <a:srgbClr val="68217A"/>
                </a:solidFill>
              </a:rPr>
              <a:t>By 2017, mobile apps will be downloaded more than 268 billion times, generating revenue of more than US$77 billion</a:t>
            </a:r>
            <a:r>
              <a:rPr lang="en-US" sz="1372" baseline="30000" dirty="0">
                <a:solidFill>
                  <a:srgbClr val="68217A"/>
                </a:solidFill>
              </a:rPr>
              <a:t>2</a:t>
            </a:r>
          </a:p>
        </p:txBody>
      </p:sp>
      <p:sp>
        <p:nvSpPr>
          <p:cNvPr id="62" name="Rectangle 61"/>
          <p:cNvSpPr/>
          <p:nvPr/>
        </p:nvSpPr>
        <p:spPr bwMode="auto">
          <a:xfrm>
            <a:off x="5652845" y="4205324"/>
            <a:ext cx="2500353" cy="1613565"/>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89642" rIns="17928" bIns="89640"/>
          <a:lstStyle/>
          <a:p>
            <a:pPr defTabSz="672451" fontAlgn="base">
              <a:lnSpc>
                <a:spcPct val="90000"/>
              </a:lnSpc>
              <a:spcBef>
                <a:spcPct val="0"/>
              </a:spcBef>
              <a:spcAft>
                <a:spcPts val="294"/>
              </a:spcAft>
              <a:defRPr/>
            </a:pPr>
            <a:r>
              <a:rPr lang="en-US" sz="3529" dirty="0">
                <a:solidFill>
                  <a:srgbClr val="DC3C00"/>
                </a:solidFill>
                <a:latin typeface="Segoe UI Light"/>
              </a:rPr>
              <a:t>$1.6T</a:t>
            </a:r>
          </a:p>
          <a:p>
            <a:pPr defTabSz="672451" fontAlgn="base">
              <a:lnSpc>
                <a:spcPct val="90000"/>
              </a:lnSpc>
              <a:spcBef>
                <a:spcPct val="0"/>
              </a:spcBef>
              <a:spcAft>
                <a:spcPct val="0"/>
              </a:spcAft>
              <a:defRPr/>
            </a:pPr>
            <a:r>
              <a:rPr lang="en-US" sz="1372" dirty="0">
                <a:solidFill>
                  <a:srgbClr val="DC3C00"/>
                </a:solidFill>
              </a:rPr>
              <a:t>Dividend available to businesses that put new data types and analytics in the hands of more employees over the next four years</a:t>
            </a:r>
            <a:r>
              <a:rPr lang="en-US" sz="1372" baseline="30000" dirty="0">
                <a:solidFill>
                  <a:srgbClr val="DC3C00"/>
                </a:solidFill>
              </a:rPr>
              <a:t>3</a:t>
            </a:r>
            <a:endParaRPr lang="en-US" sz="1568" baseline="30000" dirty="0">
              <a:solidFill>
                <a:srgbClr val="DC3C00"/>
              </a:solidFill>
            </a:endParaRPr>
          </a:p>
        </p:txBody>
      </p:sp>
      <p:sp>
        <p:nvSpPr>
          <p:cNvPr id="63" name="Rectangle 62"/>
          <p:cNvSpPr/>
          <p:nvPr/>
        </p:nvSpPr>
        <p:spPr bwMode="auto">
          <a:xfrm>
            <a:off x="8364428" y="4205324"/>
            <a:ext cx="2567651" cy="1613565"/>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89642" rIns="17928" bIns="89640"/>
          <a:lstStyle/>
          <a:p>
            <a:pPr defTabSz="672451" fontAlgn="base">
              <a:lnSpc>
                <a:spcPct val="90000"/>
              </a:lnSpc>
              <a:spcBef>
                <a:spcPct val="0"/>
              </a:spcBef>
              <a:spcAft>
                <a:spcPts val="294"/>
              </a:spcAft>
              <a:defRPr/>
            </a:pPr>
            <a:r>
              <a:rPr lang="en-US" sz="3529" dirty="0">
                <a:solidFill>
                  <a:srgbClr val="0072C6"/>
                </a:solidFill>
                <a:latin typeface="Segoe UI Light"/>
              </a:rPr>
              <a:t>~50%</a:t>
            </a:r>
          </a:p>
          <a:p>
            <a:pPr defTabSz="672451" fontAlgn="base">
              <a:lnSpc>
                <a:spcPct val="90000"/>
              </a:lnSpc>
              <a:spcBef>
                <a:spcPct val="0"/>
              </a:spcBef>
              <a:spcAft>
                <a:spcPct val="0"/>
              </a:spcAft>
              <a:defRPr/>
            </a:pPr>
            <a:r>
              <a:rPr lang="en-US" sz="1372" dirty="0">
                <a:solidFill>
                  <a:srgbClr val="0072C6"/>
                </a:solidFill>
              </a:rPr>
              <a:t>Agility accounts for 50 percent of the reasons for going to the cloud, versus 14 percent for cost savings</a:t>
            </a:r>
            <a:r>
              <a:rPr lang="en-US" sz="1372" baseline="30000" dirty="0">
                <a:solidFill>
                  <a:srgbClr val="0072C6"/>
                </a:solidFill>
              </a:rPr>
              <a:t>4</a:t>
            </a:r>
          </a:p>
        </p:txBody>
      </p:sp>
      <p:sp>
        <p:nvSpPr>
          <p:cNvPr id="65" name="TextBox 64"/>
          <p:cNvSpPr txBox="1"/>
          <p:nvPr/>
        </p:nvSpPr>
        <p:spPr>
          <a:xfrm>
            <a:off x="270795" y="3730921"/>
            <a:ext cx="2642586" cy="624127"/>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8272"/>
                </a:solidFill>
                <a:latin typeface="Segoe UI Light" panose="020B0502040204020203" pitchFamily="34" charset="0"/>
                <a:ea typeface="ＭＳ Ｐゴシック" charset="0"/>
                <a:cs typeface="Segoe UI Light" panose="020B0502040204020203" pitchFamily="34" charset="0"/>
              </a:rPr>
              <a:t>Things + devices</a:t>
            </a:r>
          </a:p>
        </p:txBody>
      </p:sp>
      <p:sp>
        <p:nvSpPr>
          <p:cNvPr id="66" name="TextBox 65"/>
          <p:cNvSpPr txBox="1"/>
          <p:nvPr/>
        </p:nvSpPr>
        <p:spPr>
          <a:xfrm>
            <a:off x="2967073" y="3726252"/>
            <a:ext cx="2644076" cy="625630"/>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68217A"/>
                </a:solidFill>
                <a:latin typeface="Segoe UI Light" panose="020B0502040204020203" pitchFamily="34" charset="0"/>
                <a:ea typeface="ＭＳ Ｐゴシック" charset="0"/>
                <a:cs typeface="Segoe UI Light" panose="020B0502040204020203" pitchFamily="34" charset="0"/>
              </a:rPr>
              <a:t>Applications</a:t>
            </a:r>
          </a:p>
        </p:txBody>
      </p:sp>
      <p:sp>
        <p:nvSpPr>
          <p:cNvPr id="71" name="TextBox 70"/>
          <p:cNvSpPr txBox="1"/>
          <p:nvPr/>
        </p:nvSpPr>
        <p:spPr>
          <a:xfrm>
            <a:off x="5654636" y="3730921"/>
            <a:ext cx="2642675" cy="624127"/>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DC3C00"/>
                </a:solidFill>
                <a:latin typeface="Segoe UI Light" panose="020B0502040204020203" pitchFamily="34" charset="0"/>
                <a:ea typeface="ＭＳ Ｐゴシック" charset="0"/>
                <a:cs typeface="Segoe UI Light" panose="020B0502040204020203" pitchFamily="34" charset="0"/>
              </a:rPr>
              <a:t>Data</a:t>
            </a:r>
          </a:p>
        </p:txBody>
      </p:sp>
      <p:sp>
        <p:nvSpPr>
          <p:cNvPr id="72" name="TextBox 71"/>
          <p:cNvSpPr txBox="1"/>
          <p:nvPr/>
        </p:nvSpPr>
        <p:spPr>
          <a:xfrm>
            <a:off x="8335907" y="3739812"/>
            <a:ext cx="3856093" cy="621265"/>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72C6"/>
                </a:solidFill>
                <a:latin typeface="Segoe UI Light" panose="020B0502040204020203" pitchFamily="34" charset="0"/>
                <a:ea typeface="ＭＳ Ｐゴシック" charset="0"/>
                <a:cs typeface="Segoe UI Light" panose="020B0502040204020203" pitchFamily="34" charset="0"/>
              </a:rPr>
              <a:t>Infrastructure</a:t>
            </a:r>
          </a:p>
        </p:txBody>
      </p:sp>
      <p:sp>
        <p:nvSpPr>
          <p:cNvPr id="73" name="Rectangle 72"/>
          <p:cNvSpPr/>
          <p:nvPr/>
        </p:nvSpPr>
        <p:spPr bwMode="auto">
          <a:xfrm>
            <a:off x="1" y="487"/>
            <a:ext cx="12192000" cy="37347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ight Triangle 73"/>
          <p:cNvSpPr/>
          <p:nvPr/>
        </p:nvSpPr>
        <p:spPr bwMode="auto">
          <a:xfrm flipH="1">
            <a:off x="276708" y="291514"/>
            <a:ext cx="11646053" cy="3359832"/>
          </a:xfrm>
          <a:prstGeom prst="r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269240" y="3690456"/>
            <a:ext cx="2644453" cy="448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2966696" y="3690456"/>
            <a:ext cx="2644453" cy="448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5652858" y="3690456"/>
            <a:ext cx="2644453" cy="4482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8335907" y="3690457"/>
            <a:ext cx="2697768" cy="505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9" name="Group 78"/>
          <p:cNvGrpSpPr/>
          <p:nvPr/>
        </p:nvGrpSpPr>
        <p:grpSpPr>
          <a:xfrm>
            <a:off x="3537518" y="1857676"/>
            <a:ext cx="1502811" cy="1502811"/>
            <a:chOff x="3500942" y="2046830"/>
            <a:chExt cx="1532945" cy="1532945"/>
          </a:xfrm>
        </p:grpSpPr>
        <p:sp>
          <p:nvSpPr>
            <p:cNvPr id="80" name="Oval 79"/>
            <p:cNvSpPr/>
            <p:nvPr/>
          </p:nvSpPr>
          <p:spPr bwMode="auto">
            <a:xfrm>
              <a:off x="3500942" y="2046830"/>
              <a:ext cx="1532945" cy="1532945"/>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1" name="Group 80"/>
            <p:cNvGrpSpPr/>
            <p:nvPr/>
          </p:nvGrpSpPr>
          <p:grpSpPr>
            <a:xfrm>
              <a:off x="3939306" y="2443166"/>
              <a:ext cx="656218" cy="742121"/>
              <a:chOff x="3709783" y="2493168"/>
              <a:chExt cx="567056" cy="641288"/>
            </a:xfrm>
          </p:grpSpPr>
          <p:sp>
            <p:nvSpPr>
              <p:cNvPr id="82" name="Freeform 32"/>
              <p:cNvSpPr>
                <a:spLocks/>
              </p:cNvSpPr>
              <p:nvPr/>
            </p:nvSpPr>
            <p:spPr bwMode="auto">
              <a:xfrm flipH="1">
                <a:off x="4006465" y="2671835"/>
                <a:ext cx="270374" cy="462620"/>
              </a:xfrm>
              <a:custGeom>
                <a:avLst/>
                <a:gdLst>
                  <a:gd name="T0" fmla="*/ 706 w 706"/>
                  <a:gd name="T1" fmla="*/ 400 h 1208"/>
                  <a:gd name="T2" fmla="*/ 698 w 706"/>
                  <a:gd name="T3" fmla="*/ 1208 h 1208"/>
                  <a:gd name="T4" fmla="*/ 0 w 706"/>
                  <a:gd name="T5" fmla="*/ 805 h 1208"/>
                  <a:gd name="T6" fmla="*/ 0 w 706"/>
                  <a:gd name="T7" fmla="*/ 0 h 1208"/>
                  <a:gd name="T8" fmla="*/ 706 w 706"/>
                  <a:gd name="T9" fmla="*/ 400 h 1208"/>
                  <a:gd name="T10" fmla="*/ 706 w 706"/>
                  <a:gd name="T11" fmla="*/ 400 h 1208"/>
                  <a:gd name="T12" fmla="*/ 706 w 706"/>
                  <a:gd name="T13" fmla="*/ 400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0"/>
                    </a:moveTo>
                    <a:lnTo>
                      <a:pt x="698" y="1208"/>
                    </a:lnTo>
                    <a:lnTo>
                      <a:pt x="0" y="805"/>
                    </a:lnTo>
                    <a:lnTo>
                      <a:pt x="0" y="0"/>
                    </a:lnTo>
                    <a:lnTo>
                      <a:pt x="706" y="400"/>
                    </a:lnTo>
                    <a:lnTo>
                      <a:pt x="706" y="400"/>
                    </a:lnTo>
                    <a:lnTo>
                      <a:pt x="706" y="4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3" name="Freeform 33"/>
              <p:cNvSpPr>
                <a:spLocks/>
              </p:cNvSpPr>
              <p:nvPr/>
            </p:nvSpPr>
            <p:spPr bwMode="auto">
              <a:xfrm flipH="1">
                <a:off x="3709783" y="2671836"/>
                <a:ext cx="270373" cy="462620"/>
              </a:xfrm>
              <a:custGeom>
                <a:avLst/>
                <a:gdLst>
                  <a:gd name="T0" fmla="*/ 7 w 706"/>
                  <a:gd name="T1" fmla="*/ 400 h 1208"/>
                  <a:gd name="T2" fmla="*/ 0 w 706"/>
                  <a:gd name="T3" fmla="*/ 1208 h 1208"/>
                  <a:gd name="T4" fmla="*/ 701 w 706"/>
                  <a:gd name="T5" fmla="*/ 805 h 1208"/>
                  <a:gd name="T6" fmla="*/ 706 w 706"/>
                  <a:gd name="T7" fmla="*/ 0 h 1208"/>
                  <a:gd name="T8" fmla="*/ 7 w 706"/>
                  <a:gd name="T9" fmla="*/ 400 h 1208"/>
                  <a:gd name="T10" fmla="*/ 7 w 706"/>
                  <a:gd name="T11" fmla="*/ 400 h 1208"/>
                  <a:gd name="T12" fmla="*/ 7 w 706"/>
                  <a:gd name="T13" fmla="*/ 400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0"/>
                    </a:moveTo>
                    <a:lnTo>
                      <a:pt x="0" y="1208"/>
                    </a:lnTo>
                    <a:lnTo>
                      <a:pt x="701" y="805"/>
                    </a:lnTo>
                    <a:lnTo>
                      <a:pt x="706" y="0"/>
                    </a:lnTo>
                    <a:lnTo>
                      <a:pt x="7" y="400"/>
                    </a:lnTo>
                    <a:lnTo>
                      <a:pt x="7" y="400"/>
                    </a:lnTo>
                    <a:lnTo>
                      <a:pt x="7" y="4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4" name="Freeform 34"/>
              <p:cNvSpPr>
                <a:spLocks/>
              </p:cNvSpPr>
              <p:nvPr/>
            </p:nvSpPr>
            <p:spPr bwMode="auto">
              <a:xfrm flipH="1">
                <a:off x="3723894" y="2493168"/>
                <a:ext cx="538828" cy="308283"/>
              </a:xfrm>
              <a:custGeom>
                <a:avLst/>
                <a:gdLst>
                  <a:gd name="T0" fmla="*/ 708 w 1407"/>
                  <a:gd name="T1" fmla="*/ 805 h 805"/>
                  <a:gd name="T2" fmla="*/ 0 w 1407"/>
                  <a:gd name="T3" fmla="*/ 398 h 805"/>
                  <a:gd name="T4" fmla="*/ 701 w 1407"/>
                  <a:gd name="T5" fmla="*/ 0 h 805"/>
                  <a:gd name="T6" fmla="*/ 1407 w 1407"/>
                  <a:gd name="T7" fmla="*/ 398 h 805"/>
                  <a:gd name="T8" fmla="*/ 708 w 1407"/>
                  <a:gd name="T9" fmla="*/ 805 h 805"/>
                  <a:gd name="T10" fmla="*/ 708 w 1407"/>
                  <a:gd name="T11" fmla="*/ 805 h 805"/>
                  <a:gd name="T12" fmla="*/ 708 w 1407"/>
                  <a:gd name="T13" fmla="*/ 805 h 805"/>
                </a:gdLst>
                <a:ahLst/>
                <a:cxnLst>
                  <a:cxn ang="0">
                    <a:pos x="T0" y="T1"/>
                  </a:cxn>
                  <a:cxn ang="0">
                    <a:pos x="T2" y="T3"/>
                  </a:cxn>
                  <a:cxn ang="0">
                    <a:pos x="T4" y="T5"/>
                  </a:cxn>
                  <a:cxn ang="0">
                    <a:pos x="T6" y="T7"/>
                  </a:cxn>
                  <a:cxn ang="0">
                    <a:pos x="T8" y="T9"/>
                  </a:cxn>
                  <a:cxn ang="0">
                    <a:pos x="T10" y="T11"/>
                  </a:cxn>
                  <a:cxn ang="0">
                    <a:pos x="T12" y="T13"/>
                  </a:cxn>
                </a:cxnLst>
                <a:rect l="0" t="0" r="r" b="b"/>
                <a:pathLst>
                  <a:path w="1407" h="805">
                    <a:moveTo>
                      <a:pt x="708" y="805"/>
                    </a:moveTo>
                    <a:lnTo>
                      <a:pt x="0" y="398"/>
                    </a:lnTo>
                    <a:lnTo>
                      <a:pt x="701" y="0"/>
                    </a:lnTo>
                    <a:lnTo>
                      <a:pt x="1407" y="398"/>
                    </a:lnTo>
                    <a:lnTo>
                      <a:pt x="708" y="805"/>
                    </a:lnTo>
                    <a:lnTo>
                      <a:pt x="708" y="805"/>
                    </a:lnTo>
                    <a:lnTo>
                      <a:pt x="708" y="805"/>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85" name="Group 84"/>
          <p:cNvGrpSpPr/>
          <p:nvPr/>
        </p:nvGrpSpPr>
        <p:grpSpPr>
          <a:xfrm>
            <a:off x="6047108" y="1490505"/>
            <a:ext cx="1857734" cy="1857734"/>
            <a:chOff x="6181133" y="1519896"/>
            <a:chExt cx="1894985" cy="1894985"/>
          </a:xfrm>
        </p:grpSpPr>
        <p:sp>
          <p:nvSpPr>
            <p:cNvPr id="86" name="Oval 85"/>
            <p:cNvSpPr/>
            <p:nvPr/>
          </p:nvSpPr>
          <p:spPr bwMode="auto">
            <a:xfrm>
              <a:off x="6181133" y="1519896"/>
              <a:ext cx="1894985" cy="1894985"/>
            </a:xfrm>
            <a:prstGeom prst="ellipse">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86"/>
            <p:cNvGrpSpPr/>
            <p:nvPr/>
          </p:nvGrpSpPr>
          <p:grpSpPr>
            <a:xfrm>
              <a:off x="6714554" y="2079443"/>
              <a:ext cx="828143" cy="775890"/>
              <a:chOff x="-5364163" y="-2738437"/>
              <a:chExt cx="4327525" cy="4054475"/>
            </a:xfrm>
            <a:solidFill>
              <a:schemeClr val="bg1">
                <a:lumMod val="95000"/>
              </a:schemeClr>
            </a:solidFill>
          </p:grpSpPr>
          <p:sp>
            <p:nvSpPr>
              <p:cNvPr id="88"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9"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0"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1"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2"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3"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4"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5"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6"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7"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8"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9"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2"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103" name="Group 102"/>
          <p:cNvGrpSpPr/>
          <p:nvPr/>
        </p:nvGrpSpPr>
        <p:grpSpPr>
          <a:xfrm>
            <a:off x="8489640" y="957935"/>
            <a:ext cx="2390304" cy="2390304"/>
            <a:chOff x="8657337" y="1129047"/>
            <a:chExt cx="2438235" cy="2438235"/>
          </a:xfrm>
        </p:grpSpPr>
        <p:sp>
          <p:nvSpPr>
            <p:cNvPr id="104" name="Oval 103"/>
            <p:cNvSpPr/>
            <p:nvPr/>
          </p:nvSpPr>
          <p:spPr bwMode="auto">
            <a:xfrm>
              <a:off x="8657337" y="1129047"/>
              <a:ext cx="2438235" cy="243823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5" name="Group 104"/>
            <p:cNvGrpSpPr/>
            <p:nvPr/>
          </p:nvGrpSpPr>
          <p:grpSpPr>
            <a:xfrm>
              <a:off x="9469892" y="1771514"/>
              <a:ext cx="813124" cy="1153299"/>
              <a:chOff x="8426080" y="-127649"/>
              <a:chExt cx="720508" cy="1021936"/>
            </a:xfrm>
          </p:grpSpPr>
          <p:sp>
            <p:nvSpPr>
              <p:cNvPr id="106" name="AutoShape 97"/>
              <p:cNvSpPr>
                <a:spLocks noChangeAspect="1" noChangeArrowheads="1" noTextEdit="1"/>
              </p:cNvSpPr>
              <p:nvPr/>
            </p:nvSpPr>
            <p:spPr bwMode="auto">
              <a:xfrm>
                <a:off x="8426080" y="-127649"/>
                <a:ext cx="718790" cy="10219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7" name="Rectangle 99"/>
              <p:cNvSpPr>
                <a:spLocks noChangeArrowheads="1"/>
              </p:cNvSpPr>
              <p:nvPr/>
            </p:nvSpPr>
            <p:spPr bwMode="auto">
              <a:xfrm>
                <a:off x="8426080" y="-127649"/>
                <a:ext cx="720508" cy="1020218"/>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 name="Freeform 100"/>
              <p:cNvSpPr>
                <a:spLocks/>
              </p:cNvSpPr>
              <p:nvPr/>
            </p:nvSpPr>
            <p:spPr bwMode="auto">
              <a:xfrm>
                <a:off x="8504228" y="-11715"/>
                <a:ext cx="565070" cy="97900"/>
              </a:xfrm>
              <a:custGeom>
                <a:avLst/>
                <a:gdLst>
                  <a:gd name="T0" fmla="*/ 23 w 276"/>
                  <a:gd name="T1" fmla="*/ 0 h 48"/>
                  <a:gd name="T2" fmla="*/ 0 w 276"/>
                  <a:gd name="T3" fmla="*/ 22 h 48"/>
                  <a:gd name="T4" fmla="*/ 0 w 276"/>
                  <a:gd name="T5" fmla="*/ 26 h 48"/>
                  <a:gd name="T6" fmla="*/ 23 w 276"/>
                  <a:gd name="T7" fmla="*/ 48 h 48"/>
                  <a:gd name="T8" fmla="*/ 253 w 276"/>
                  <a:gd name="T9" fmla="*/ 48 h 48"/>
                  <a:gd name="T10" fmla="*/ 276 w 276"/>
                  <a:gd name="T11" fmla="*/ 26 h 48"/>
                  <a:gd name="T12" fmla="*/ 276 w 276"/>
                  <a:gd name="T13" fmla="*/ 22 h 48"/>
                  <a:gd name="T14" fmla="*/ 253 w 276"/>
                  <a:gd name="T15" fmla="*/ 0 h 48"/>
                  <a:gd name="T16" fmla="*/ 147 w 276"/>
                  <a:gd name="T17" fmla="*/ 0 h 48"/>
                  <a:gd name="T18" fmla="*/ 23 w 276"/>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8">
                    <a:moveTo>
                      <a:pt x="23" y="0"/>
                    </a:moveTo>
                    <a:cubicBezTo>
                      <a:pt x="23" y="0"/>
                      <a:pt x="0" y="0"/>
                      <a:pt x="0" y="22"/>
                    </a:cubicBezTo>
                    <a:cubicBezTo>
                      <a:pt x="0" y="26"/>
                      <a:pt x="0" y="26"/>
                      <a:pt x="0" y="26"/>
                    </a:cubicBezTo>
                    <a:cubicBezTo>
                      <a:pt x="0" y="26"/>
                      <a:pt x="0" y="48"/>
                      <a:pt x="23" y="48"/>
                    </a:cubicBezTo>
                    <a:cubicBezTo>
                      <a:pt x="253" y="48"/>
                      <a:pt x="253" y="48"/>
                      <a:pt x="253" y="48"/>
                    </a:cubicBezTo>
                    <a:cubicBezTo>
                      <a:pt x="253" y="48"/>
                      <a:pt x="276" y="48"/>
                      <a:pt x="276" y="26"/>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 name="Freeform 101"/>
              <p:cNvSpPr>
                <a:spLocks/>
              </p:cNvSpPr>
              <p:nvPr/>
            </p:nvSpPr>
            <p:spPr bwMode="auto">
              <a:xfrm>
                <a:off x="8504228" y="164333"/>
                <a:ext cx="565070" cy="97900"/>
              </a:xfrm>
              <a:custGeom>
                <a:avLst/>
                <a:gdLst>
                  <a:gd name="T0" fmla="*/ 23 w 276"/>
                  <a:gd name="T1" fmla="*/ 0 h 48"/>
                  <a:gd name="T2" fmla="*/ 0 w 276"/>
                  <a:gd name="T3" fmla="*/ 22 h 48"/>
                  <a:gd name="T4" fmla="*/ 0 w 276"/>
                  <a:gd name="T5" fmla="*/ 26 h 48"/>
                  <a:gd name="T6" fmla="*/ 23 w 276"/>
                  <a:gd name="T7" fmla="*/ 48 h 48"/>
                  <a:gd name="T8" fmla="*/ 253 w 276"/>
                  <a:gd name="T9" fmla="*/ 48 h 48"/>
                  <a:gd name="T10" fmla="*/ 276 w 276"/>
                  <a:gd name="T11" fmla="*/ 26 h 48"/>
                  <a:gd name="T12" fmla="*/ 276 w 276"/>
                  <a:gd name="T13" fmla="*/ 22 h 48"/>
                  <a:gd name="T14" fmla="*/ 253 w 276"/>
                  <a:gd name="T15" fmla="*/ 0 h 48"/>
                  <a:gd name="T16" fmla="*/ 147 w 276"/>
                  <a:gd name="T17" fmla="*/ 0 h 48"/>
                  <a:gd name="T18" fmla="*/ 23 w 276"/>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8">
                    <a:moveTo>
                      <a:pt x="23" y="0"/>
                    </a:moveTo>
                    <a:cubicBezTo>
                      <a:pt x="23" y="0"/>
                      <a:pt x="0" y="0"/>
                      <a:pt x="0" y="22"/>
                    </a:cubicBezTo>
                    <a:cubicBezTo>
                      <a:pt x="0" y="26"/>
                      <a:pt x="0" y="26"/>
                      <a:pt x="0" y="26"/>
                    </a:cubicBezTo>
                    <a:cubicBezTo>
                      <a:pt x="0" y="26"/>
                      <a:pt x="0" y="48"/>
                      <a:pt x="23" y="48"/>
                    </a:cubicBezTo>
                    <a:cubicBezTo>
                      <a:pt x="253" y="48"/>
                      <a:pt x="253" y="48"/>
                      <a:pt x="253" y="48"/>
                    </a:cubicBezTo>
                    <a:cubicBezTo>
                      <a:pt x="253" y="48"/>
                      <a:pt x="276" y="48"/>
                      <a:pt x="276" y="26"/>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 name="Freeform 102"/>
              <p:cNvSpPr>
                <a:spLocks/>
              </p:cNvSpPr>
              <p:nvPr/>
            </p:nvSpPr>
            <p:spPr bwMode="auto">
              <a:xfrm>
                <a:off x="8504228" y="339522"/>
                <a:ext cx="565070" cy="99617"/>
              </a:xfrm>
              <a:custGeom>
                <a:avLst/>
                <a:gdLst>
                  <a:gd name="T0" fmla="*/ 23 w 276"/>
                  <a:gd name="T1" fmla="*/ 0 h 49"/>
                  <a:gd name="T2" fmla="*/ 0 w 276"/>
                  <a:gd name="T3" fmla="*/ 22 h 49"/>
                  <a:gd name="T4" fmla="*/ 0 w 276"/>
                  <a:gd name="T5" fmla="*/ 27 h 49"/>
                  <a:gd name="T6" fmla="*/ 23 w 276"/>
                  <a:gd name="T7" fmla="*/ 49 h 49"/>
                  <a:gd name="T8" fmla="*/ 253 w 276"/>
                  <a:gd name="T9" fmla="*/ 49 h 49"/>
                  <a:gd name="T10" fmla="*/ 276 w 276"/>
                  <a:gd name="T11" fmla="*/ 27 h 49"/>
                  <a:gd name="T12" fmla="*/ 276 w 276"/>
                  <a:gd name="T13" fmla="*/ 22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2"/>
                    </a:cubicBezTo>
                    <a:cubicBezTo>
                      <a:pt x="0" y="27"/>
                      <a:pt x="0" y="27"/>
                      <a:pt x="0" y="27"/>
                    </a:cubicBezTo>
                    <a:cubicBezTo>
                      <a:pt x="0" y="27"/>
                      <a:pt x="0" y="49"/>
                      <a:pt x="23" y="49"/>
                    </a:cubicBezTo>
                    <a:cubicBezTo>
                      <a:pt x="253" y="49"/>
                      <a:pt x="253" y="49"/>
                      <a:pt x="253" y="49"/>
                    </a:cubicBezTo>
                    <a:cubicBezTo>
                      <a:pt x="253" y="49"/>
                      <a:pt x="276" y="49"/>
                      <a:pt x="276" y="27"/>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1" name="Freeform 103"/>
              <p:cNvSpPr>
                <a:spLocks/>
              </p:cNvSpPr>
              <p:nvPr/>
            </p:nvSpPr>
            <p:spPr bwMode="auto">
              <a:xfrm>
                <a:off x="8504228" y="514711"/>
                <a:ext cx="565070" cy="100476"/>
              </a:xfrm>
              <a:custGeom>
                <a:avLst/>
                <a:gdLst>
                  <a:gd name="T0" fmla="*/ 23 w 276"/>
                  <a:gd name="T1" fmla="*/ 0 h 49"/>
                  <a:gd name="T2" fmla="*/ 0 w 276"/>
                  <a:gd name="T3" fmla="*/ 22 h 49"/>
                  <a:gd name="T4" fmla="*/ 0 w 276"/>
                  <a:gd name="T5" fmla="*/ 27 h 49"/>
                  <a:gd name="T6" fmla="*/ 23 w 276"/>
                  <a:gd name="T7" fmla="*/ 49 h 49"/>
                  <a:gd name="T8" fmla="*/ 253 w 276"/>
                  <a:gd name="T9" fmla="*/ 49 h 49"/>
                  <a:gd name="T10" fmla="*/ 276 w 276"/>
                  <a:gd name="T11" fmla="*/ 27 h 49"/>
                  <a:gd name="T12" fmla="*/ 276 w 276"/>
                  <a:gd name="T13" fmla="*/ 22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2"/>
                    </a:cubicBezTo>
                    <a:cubicBezTo>
                      <a:pt x="0" y="27"/>
                      <a:pt x="0" y="27"/>
                      <a:pt x="0" y="27"/>
                    </a:cubicBezTo>
                    <a:cubicBezTo>
                      <a:pt x="0" y="27"/>
                      <a:pt x="0" y="49"/>
                      <a:pt x="23" y="49"/>
                    </a:cubicBezTo>
                    <a:cubicBezTo>
                      <a:pt x="253" y="49"/>
                      <a:pt x="253" y="49"/>
                      <a:pt x="253" y="49"/>
                    </a:cubicBezTo>
                    <a:cubicBezTo>
                      <a:pt x="253" y="49"/>
                      <a:pt x="276" y="49"/>
                      <a:pt x="276" y="27"/>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2" name="Freeform 104"/>
              <p:cNvSpPr>
                <a:spLocks/>
              </p:cNvSpPr>
              <p:nvPr/>
            </p:nvSpPr>
            <p:spPr bwMode="auto">
              <a:xfrm>
                <a:off x="8504228" y="690759"/>
                <a:ext cx="565070" cy="99617"/>
              </a:xfrm>
              <a:custGeom>
                <a:avLst/>
                <a:gdLst>
                  <a:gd name="T0" fmla="*/ 23 w 276"/>
                  <a:gd name="T1" fmla="*/ 0 h 49"/>
                  <a:gd name="T2" fmla="*/ 0 w 276"/>
                  <a:gd name="T3" fmla="*/ 23 h 49"/>
                  <a:gd name="T4" fmla="*/ 0 w 276"/>
                  <a:gd name="T5" fmla="*/ 27 h 49"/>
                  <a:gd name="T6" fmla="*/ 23 w 276"/>
                  <a:gd name="T7" fmla="*/ 49 h 49"/>
                  <a:gd name="T8" fmla="*/ 253 w 276"/>
                  <a:gd name="T9" fmla="*/ 49 h 49"/>
                  <a:gd name="T10" fmla="*/ 276 w 276"/>
                  <a:gd name="T11" fmla="*/ 27 h 49"/>
                  <a:gd name="T12" fmla="*/ 276 w 276"/>
                  <a:gd name="T13" fmla="*/ 23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3"/>
                    </a:cubicBezTo>
                    <a:cubicBezTo>
                      <a:pt x="0" y="27"/>
                      <a:pt x="0" y="27"/>
                      <a:pt x="0" y="27"/>
                    </a:cubicBezTo>
                    <a:cubicBezTo>
                      <a:pt x="0" y="27"/>
                      <a:pt x="0" y="49"/>
                      <a:pt x="23" y="49"/>
                    </a:cubicBezTo>
                    <a:cubicBezTo>
                      <a:pt x="253" y="49"/>
                      <a:pt x="253" y="49"/>
                      <a:pt x="253" y="49"/>
                    </a:cubicBezTo>
                    <a:cubicBezTo>
                      <a:pt x="253" y="49"/>
                      <a:pt x="276" y="49"/>
                      <a:pt x="276" y="27"/>
                    </a:cubicBezTo>
                    <a:cubicBezTo>
                      <a:pt x="276" y="23"/>
                      <a:pt x="276" y="23"/>
                      <a:pt x="276" y="23"/>
                    </a:cubicBezTo>
                    <a:cubicBezTo>
                      <a:pt x="276" y="23"/>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3" name="Oval 105"/>
              <p:cNvSpPr>
                <a:spLocks noChangeArrowheads="1"/>
              </p:cNvSpPr>
              <p:nvPr/>
            </p:nvSpPr>
            <p:spPr bwMode="auto">
              <a:xfrm>
                <a:off x="8962811" y="8896"/>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4" name="Oval 106"/>
              <p:cNvSpPr>
                <a:spLocks noChangeArrowheads="1"/>
              </p:cNvSpPr>
              <p:nvPr/>
            </p:nvSpPr>
            <p:spPr bwMode="auto">
              <a:xfrm>
                <a:off x="8962811" y="184085"/>
                <a:ext cx="54961" cy="558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5" name="Oval 107"/>
              <p:cNvSpPr>
                <a:spLocks noChangeArrowheads="1"/>
              </p:cNvSpPr>
              <p:nvPr/>
            </p:nvSpPr>
            <p:spPr bwMode="auto">
              <a:xfrm>
                <a:off x="8962811" y="361850"/>
                <a:ext cx="54961" cy="532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6" name="Oval 108"/>
              <p:cNvSpPr>
                <a:spLocks noChangeArrowheads="1"/>
              </p:cNvSpPr>
              <p:nvPr/>
            </p:nvSpPr>
            <p:spPr bwMode="auto">
              <a:xfrm>
                <a:off x="8962811" y="537039"/>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7" name="Oval 109"/>
              <p:cNvSpPr>
                <a:spLocks noChangeArrowheads="1"/>
              </p:cNvSpPr>
              <p:nvPr/>
            </p:nvSpPr>
            <p:spPr bwMode="auto">
              <a:xfrm>
                <a:off x="8962811" y="713087"/>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118" name="Group 117"/>
          <p:cNvGrpSpPr/>
          <p:nvPr/>
        </p:nvGrpSpPr>
        <p:grpSpPr>
          <a:xfrm>
            <a:off x="1003456" y="2166191"/>
            <a:ext cx="1176023" cy="1176023"/>
            <a:chOff x="1023576" y="2361531"/>
            <a:chExt cx="1199605" cy="1199605"/>
          </a:xfrm>
        </p:grpSpPr>
        <p:sp>
          <p:nvSpPr>
            <p:cNvPr id="119" name="Oval 118"/>
            <p:cNvSpPr/>
            <p:nvPr/>
          </p:nvSpPr>
          <p:spPr bwMode="auto">
            <a:xfrm>
              <a:off x="1023576" y="2361531"/>
              <a:ext cx="1199605" cy="119960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5"/>
            <p:cNvSpPr>
              <a:spLocks noEditPoints="1"/>
            </p:cNvSpPr>
            <p:nvPr/>
          </p:nvSpPr>
          <p:spPr bwMode="auto">
            <a:xfrm>
              <a:off x="1220322" y="2737187"/>
              <a:ext cx="437439" cy="448291"/>
            </a:xfrm>
            <a:custGeom>
              <a:avLst/>
              <a:gdLst>
                <a:gd name="T0" fmla="*/ 0 w 492"/>
                <a:gd name="T1" fmla="*/ 19 h 504"/>
                <a:gd name="T2" fmla="*/ 474 w 492"/>
                <a:gd name="T3" fmla="*/ 504 h 504"/>
                <a:gd name="T4" fmla="*/ 474 w 492"/>
                <a:gd name="T5" fmla="*/ 0 h 504"/>
                <a:gd name="T6" fmla="*/ 388 w 492"/>
                <a:gd name="T7" fmla="*/ 252 h 504"/>
                <a:gd name="T8" fmla="*/ 25 w 492"/>
                <a:gd name="T9" fmla="*/ 56 h 504"/>
                <a:gd name="T10" fmla="*/ 73 w 492"/>
                <a:gd name="T11" fmla="*/ 56 h 504"/>
                <a:gd name="T12" fmla="*/ 66 w 492"/>
                <a:gd name="T13" fmla="*/ 90 h 504"/>
                <a:gd name="T14" fmla="*/ 25 w 492"/>
                <a:gd name="T15" fmla="*/ 56 h 504"/>
                <a:gd name="T16" fmla="*/ 66 w 492"/>
                <a:gd name="T17" fmla="*/ 128 h 504"/>
                <a:gd name="T18" fmla="*/ 73 w 492"/>
                <a:gd name="T19" fmla="*/ 162 h 504"/>
                <a:gd name="T20" fmla="*/ 25 w 492"/>
                <a:gd name="T21" fmla="*/ 162 h 504"/>
                <a:gd name="T22" fmla="*/ 58 w 492"/>
                <a:gd name="T23" fmla="*/ 467 h 504"/>
                <a:gd name="T24" fmla="*/ 25 w 492"/>
                <a:gd name="T25" fmla="*/ 434 h 504"/>
                <a:gd name="T26" fmla="*/ 68 w 492"/>
                <a:gd name="T27" fmla="*/ 434 h 504"/>
                <a:gd name="T28" fmla="*/ 58 w 492"/>
                <a:gd name="T29" fmla="*/ 408 h 504"/>
                <a:gd name="T30" fmla="*/ 25 w 492"/>
                <a:gd name="T31" fmla="*/ 374 h 504"/>
                <a:gd name="T32" fmla="*/ 68 w 492"/>
                <a:gd name="T33" fmla="*/ 374 h 504"/>
                <a:gd name="T34" fmla="*/ 58 w 492"/>
                <a:gd name="T35" fmla="*/ 348 h 504"/>
                <a:gd name="T36" fmla="*/ 25 w 492"/>
                <a:gd name="T37" fmla="*/ 315 h 504"/>
                <a:gd name="T38" fmla="*/ 68 w 492"/>
                <a:gd name="T39" fmla="*/ 315 h 504"/>
                <a:gd name="T40" fmla="*/ 59 w 492"/>
                <a:gd name="T41" fmla="*/ 234 h 504"/>
                <a:gd name="T42" fmla="*/ 59 w 492"/>
                <a:gd name="T43" fmla="*/ 201 h 504"/>
                <a:gd name="T44" fmla="*/ 90 w 492"/>
                <a:gd name="T45" fmla="*/ 217 h 504"/>
                <a:gd name="T46" fmla="*/ 125 w 492"/>
                <a:gd name="T47" fmla="*/ 458 h 504"/>
                <a:gd name="T48" fmla="*/ 83 w 492"/>
                <a:gd name="T49" fmla="*/ 458 h 504"/>
                <a:gd name="T50" fmla="*/ 116 w 492"/>
                <a:gd name="T51" fmla="*/ 424 h 504"/>
                <a:gd name="T52" fmla="*/ 125 w 492"/>
                <a:gd name="T53" fmla="*/ 398 h 504"/>
                <a:gd name="T54" fmla="*/ 83 w 492"/>
                <a:gd name="T55" fmla="*/ 398 h 504"/>
                <a:gd name="T56" fmla="*/ 116 w 492"/>
                <a:gd name="T57" fmla="*/ 365 h 504"/>
                <a:gd name="T58" fmla="*/ 125 w 492"/>
                <a:gd name="T59" fmla="*/ 339 h 504"/>
                <a:gd name="T60" fmla="*/ 83 w 492"/>
                <a:gd name="T61" fmla="*/ 339 h 504"/>
                <a:gd name="T62" fmla="*/ 116 w 492"/>
                <a:gd name="T63" fmla="*/ 305 h 504"/>
                <a:gd name="T64" fmla="*/ 183 w 492"/>
                <a:gd name="T65" fmla="*/ 458 h 504"/>
                <a:gd name="T66" fmla="*/ 140 w 492"/>
                <a:gd name="T67" fmla="*/ 458 h 504"/>
                <a:gd name="T68" fmla="*/ 174 w 492"/>
                <a:gd name="T69" fmla="*/ 424 h 504"/>
                <a:gd name="T70" fmla="*/ 183 w 492"/>
                <a:gd name="T71" fmla="*/ 398 h 504"/>
                <a:gd name="T72" fmla="*/ 140 w 492"/>
                <a:gd name="T73" fmla="*/ 398 h 504"/>
                <a:gd name="T74" fmla="*/ 174 w 492"/>
                <a:gd name="T75" fmla="*/ 365 h 504"/>
                <a:gd name="T76" fmla="*/ 183 w 492"/>
                <a:gd name="T77" fmla="*/ 339 h 504"/>
                <a:gd name="T78" fmla="*/ 140 w 492"/>
                <a:gd name="T79" fmla="*/ 339 h 504"/>
                <a:gd name="T80" fmla="*/ 174 w 492"/>
                <a:gd name="T81" fmla="*/ 305 h 504"/>
                <a:gd name="T82" fmla="*/ 465 w 492"/>
                <a:gd name="T83" fmla="*/ 394 h 504"/>
                <a:gd name="T84" fmla="*/ 300 w 492"/>
                <a:gd name="T85" fmla="*/ 405 h 504"/>
                <a:gd name="T86" fmla="*/ 229 w 492"/>
                <a:gd name="T87" fmla="*/ 378 h 504"/>
                <a:gd name="T88" fmla="*/ 394 w 492"/>
                <a:gd name="T89" fmla="*/ 368 h 504"/>
                <a:gd name="T90" fmla="*/ 465 w 492"/>
                <a:gd name="T91" fmla="*/ 394 h 504"/>
                <a:gd name="T92" fmla="*/ 424 w 492"/>
                <a:gd name="T93" fmla="*/ 234 h 504"/>
                <a:gd name="T94" fmla="*/ 417 w 492"/>
                <a:gd name="T95" fmla="*/ 201 h 504"/>
                <a:gd name="T96" fmla="*/ 465 w 492"/>
                <a:gd name="T97" fmla="*/ 201 h 504"/>
                <a:gd name="T98" fmla="*/ 431 w 492"/>
                <a:gd name="T99" fmla="*/ 162 h 504"/>
                <a:gd name="T100" fmla="*/ 400 w 492"/>
                <a:gd name="T101" fmla="*/ 145 h 504"/>
                <a:gd name="T102" fmla="*/ 431 w 492"/>
                <a:gd name="T103" fmla="*/ 128 h 504"/>
                <a:gd name="T104" fmla="*/ 465 w 492"/>
                <a:gd name="T105" fmla="*/ 90 h 504"/>
                <a:gd name="T106" fmla="*/ 417 w 492"/>
                <a:gd name="T107" fmla="*/ 90 h 504"/>
                <a:gd name="T108" fmla="*/ 424 w 492"/>
                <a:gd name="T109" fmla="*/ 56 h 504"/>
                <a:gd name="T110" fmla="*/ 465 w 492"/>
                <a:gd name="T111" fmla="*/ 9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504">
                  <a:moveTo>
                    <a:pt x="474" y="0"/>
                  </a:moveTo>
                  <a:cubicBezTo>
                    <a:pt x="18" y="0"/>
                    <a:pt x="18" y="0"/>
                    <a:pt x="18" y="0"/>
                  </a:cubicBezTo>
                  <a:cubicBezTo>
                    <a:pt x="8" y="0"/>
                    <a:pt x="0" y="9"/>
                    <a:pt x="0" y="19"/>
                  </a:cubicBezTo>
                  <a:cubicBezTo>
                    <a:pt x="0" y="486"/>
                    <a:pt x="0" y="486"/>
                    <a:pt x="0" y="486"/>
                  </a:cubicBezTo>
                  <a:cubicBezTo>
                    <a:pt x="0" y="496"/>
                    <a:pt x="8" y="504"/>
                    <a:pt x="18" y="504"/>
                  </a:cubicBezTo>
                  <a:cubicBezTo>
                    <a:pt x="474" y="504"/>
                    <a:pt x="474" y="504"/>
                    <a:pt x="474" y="504"/>
                  </a:cubicBezTo>
                  <a:cubicBezTo>
                    <a:pt x="484" y="504"/>
                    <a:pt x="492" y="496"/>
                    <a:pt x="492" y="486"/>
                  </a:cubicBezTo>
                  <a:cubicBezTo>
                    <a:pt x="492" y="19"/>
                    <a:pt x="492" y="19"/>
                    <a:pt x="492" y="19"/>
                  </a:cubicBezTo>
                  <a:cubicBezTo>
                    <a:pt x="492" y="9"/>
                    <a:pt x="484" y="0"/>
                    <a:pt x="474" y="0"/>
                  </a:cubicBezTo>
                  <a:close/>
                  <a:moveTo>
                    <a:pt x="104" y="38"/>
                  </a:moveTo>
                  <a:cubicBezTo>
                    <a:pt x="388" y="38"/>
                    <a:pt x="388" y="38"/>
                    <a:pt x="388" y="38"/>
                  </a:cubicBezTo>
                  <a:cubicBezTo>
                    <a:pt x="388" y="252"/>
                    <a:pt x="388" y="252"/>
                    <a:pt x="388" y="252"/>
                  </a:cubicBezTo>
                  <a:cubicBezTo>
                    <a:pt x="104" y="252"/>
                    <a:pt x="104" y="252"/>
                    <a:pt x="104" y="252"/>
                  </a:cubicBezTo>
                  <a:lnTo>
                    <a:pt x="104" y="38"/>
                  </a:lnTo>
                  <a:close/>
                  <a:moveTo>
                    <a:pt x="25" y="56"/>
                  </a:moveTo>
                  <a:cubicBezTo>
                    <a:pt x="59" y="56"/>
                    <a:pt x="59" y="56"/>
                    <a:pt x="59" y="56"/>
                  </a:cubicBezTo>
                  <a:cubicBezTo>
                    <a:pt x="66" y="56"/>
                    <a:pt x="66" y="56"/>
                    <a:pt x="66" y="56"/>
                  </a:cubicBezTo>
                  <a:cubicBezTo>
                    <a:pt x="73" y="56"/>
                    <a:pt x="73" y="56"/>
                    <a:pt x="73" y="56"/>
                  </a:cubicBezTo>
                  <a:cubicBezTo>
                    <a:pt x="90" y="73"/>
                    <a:pt x="90" y="73"/>
                    <a:pt x="90" y="73"/>
                  </a:cubicBezTo>
                  <a:cubicBezTo>
                    <a:pt x="73" y="90"/>
                    <a:pt x="73" y="90"/>
                    <a:pt x="73" y="90"/>
                  </a:cubicBezTo>
                  <a:cubicBezTo>
                    <a:pt x="66" y="90"/>
                    <a:pt x="66" y="90"/>
                    <a:pt x="66" y="90"/>
                  </a:cubicBezTo>
                  <a:cubicBezTo>
                    <a:pt x="59" y="90"/>
                    <a:pt x="59" y="90"/>
                    <a:pt x="59" y="90"/>
                  </a:cubicBezTo>
                  <a:cubicBezTo>
                    <a:pt x="25" y="90"/>
                    <a:pt x="25" y="90"/>
                    <a:pt x="25" y="90"/>
                  </a:cubicBezTo>
                  <a:lnTo>
                    <a:pt x="25" y="56"/>
                  </a:lnTo>
                  <a:close/>
                  <a:moveTo>
                    <a:pt x="25" y="128"/>
                  </a:moveTo>
                  <a:cubicBezTo>
                    <a:pt x="59" y="128"/>
                    <a:pt x="59" y="128"/>
                    <a:pt x="59" y="128"/>
                  </a:cubicBezTo>
                  <a:cubicBezTo>
                    <a:pt x="66" y="128"/>
                    <a:pt x="66" y="128"/>
                    <a:pt x="66" y="128"/>
                  </a:cubicBezTo>
                  <a:cubicBezTo>
                    <a:pt x="73" y="128"/>
                    <a:pt x="73" y="128"/>
                    <a:pt x="73" y="128"/>
                  </a:cubicBezTo>
                  <a:cubicBezTo>
                    <a:pt x="90" y="145"/>
                    <a:pt x="90" y="145"/>
                    <a:pt x="90" y="145"/>
                  </a:cubicBezTo>
                  <a:cubicBezTo>
                    <a:pt x="73" y="162"/>
                    <a:pt x="73" y="162"/>
                    <a:pt x="73" y="162"/>
                  </a:cubicBezTo>
                  <a:cubicBezTo>
                    <a:pt x="66" y="162"/>
                    <a:pt x="66" y="162"/>
                    <a:pt x="66" y="162"/>
                  </a:cubicBezTo>
                  <a:cubicBezTo>
                    <a:pt x="59" y="162"/>
                    <a:pt x="59" y="162"/>
                    <a:pt x="59" y="162"/>
                  </a:cubicBezTo>
                  <a:cubicBezTo>
                    <a:pt x="25" y="162"/>
                    <a:pt x="25" y="162"/>
                    <a:pt x="25" y="162"/>
                  </a:cubicBezTo>
                  <a:lnTo>
                    <a:pt x="25" y="128"/>
                  </a:lnTo>
                  <a:close/>
                  <a:moveTo>
                    <a:pt x="68" y="458"/>
                  </a:moveTo>
                  <a:cubicBezTo>
                    <a:pt x="68" y="463"/>
                    <a:pt x="64" y="467"/>
                    <a:pt x="58" y="467"/>
                  </a:cubicBezTo>
                  <a:cubicBezTo>
                    <a:pt x="34" y="467"/>
                    <a:pt x="34" y="467"/>
                    <a:pt x="34" y="467"/>
                  </a:cubicBezTo>
                  <a:cubicBezTo>
                    <a:pt x="29" y="467"/>
                    <a:pt x="25" y="463"/>
                    <a:pt x="25" y="458"/>
                  </a:cubicBezTo>
                  <a:cubicBezTo>
                    <a:pt x="25" y="434"/>
                    <a:pt x="25" y="434"/>
                    <a:pt x="25" y="434"/>
                  </a:cubicBezTo>
                  <a:cubicBezTo>
                    <a:pt x="25" y="429"/>
                    <a:pt x="29" y="424"/>
                    <a:pt x="34" y="424"/>
                  </a:cubicBezTo>
                  <a:cubicBezTo>
                    <a:pt x="58" y="424"/>
                    <a:pt x="58" y="424"/>
                    <a:pt x="58" y="424"/>
                  </a:cubicBezTo>
                  <a:cubicBezTo>
                    <a:pt x="64" y="424"/>
                    <a:pt x="68" y="429"/>
                    <a:pt x="68" y="434"/>
                  </a:cubicBezTo>
                  <a:lnTo>
                    <a:pt x="68" y="458"/>
                  </a:lnTo>
                  <a:close/>
                  <a:moveTo>
                    <a:pt x="68" y="398"/>
                  </a:moveTo>
                  <a:cubicBezTo>
                    <a:pt x="68" y="403"/>
                    <a:pt x="64" y="408"/>
                    <a:pt x="58" y="408"/>
                  </a:cubicBezTo>
                  <a:cubicBezTo>
                    <a:pt x="34" y="408"/>
                    <a:pt x="34" y="408"/>
                    <a:pt x="34" y="408"/>
                  </a:cubicBezTo>
                  <a:cubicBezTo>
                    <a:pt x="29" y="408"/>
                    <a:pt x="25" y="403"/>
                    <a:pt x="25" y="398"/>
                  </a:cubicBezTo>
                  <a:cubicBezTo>
                    <a:pt x="25" y="374"/>
                    <a:pt x="25" y="374"/>
                    <a:pt x="25" y="374"/>
                  </a:cubicBezTo>
                  <a:cubicBezTo>
                    <a:pt x="25" y="369"/>
                    <a:pt x="29" y="365"/>
                    <a:pt x="34" y="365"/>
                  </a:cubicBezTo>
                  <a:cubicBezTo>
                    <a:pt x="58" y="365"/>
                    <a:pt x="58" y="365"/>
                    <a:pt x="58" y="365"/>
                  </a:cubicBezTo>
                  <a:cubicBezTo>
                    <a:pt x="64" y="365"/>
                    <a:pt x="68" y="369"/>
                    <a:pt x="68" y="374"/>
                  </a:cubicBezTo>
                  <a:lnTo>
                    <a:pt x="68" y="398"/>
                  </a:lnTo>
                  <a:close/>
                  <a:moveTo>
                    <a:pt x="68" y="339"/>
                  </a:moveTo>
                  <a:cubicBezTo>
                    <a:pt x="68" y="344"/>
                    <a:pt x="64" y="348"/>
                    <a:pt x="58" y="348"/>
                  </a:cubicBezTo>
                  <a:cubicBezTo>
                    <a:pt x="34" y="348"/>
                    <a:pt x="34" y="348"/>
                    <a:pt x="34" y="348"/>
                  </a:cubicBezTo>
                  <a:cubicBezTo>
                    <a:pt x="29" y="348"/>
                    <a:pt x="25" y="344"/>
                    <a:pt x="25" y="339"/>
                  </a:cubicBezTo>
                  <a:cubicBezTo>
                    <a:pt x="25" y="315"/>
                    <a:pt x="25" y="315"/>
                    <a:pt x="25" y="315"/>
                  </a:cubicBezTo>
                  <a:cubicBezTo>
                    <a:pt x="25" y="310"/>
                    <a:pt x="29" y="305"/>
                    <a:pt x="34" y="305"/>
                  </a:cubicBezTo>
                  <a:cubicBezTo>
                    <a:pt x="58" y="305"/>
                    <a:pt x="58" y="305"/>
                    <a:pt x="58" y="305"/>
                  </a:cubicBezTo>
                  <a:cubicBezTo>
                    <a:pt x="64" y="305"/>
                    <a:pt x="68" y="310"/>
                    <a:pt x="68" y="315"/>
                  </a:cubicBezTo>
                  <a:lnTo>
                    <a:pt x="68" y="339"/>
                  </a:lnTo>
                  <a:close/>
                  <a:moveTo>
                    <a:pt x="66" y="234"/>
                  </a:moveTo>
                  <a:cubicBezTo>
                    <a:pt x="59" y="234"/>
                    <a:pt x="59" y="234"/>
                    <a:pt x="59" y="234"/>
                  </a:cubicBezTo>
                  <a:cubicBezTo>
                    <a:pt x="25" y="234"/>
                    <a:pt x="25" y="234"/>
                    <a:pt x="25" y="234"/>
                  </a:cubicBezTo>
                  <a:cubicBezTo>
                    <a:pt x="25" y="201"/>
                    <a:pt x="25" y="201"/>
                    <a:pt x="25" y="201"/>
                  </a:cubicBezTo>
                  <a:cubicBezTo>
                    <a:pt x="59" y="201"/>
                    <a:pt x="59" y="201"/>
                    <a:pt x="59" y="201"/>
                  </a:cubicBezTo>
                  <a:cubicBezTo>
                    <a:pt x="66" y="201"/>
                    <a:pt x="66" y="201"/>
                    <a:pt x="66" y="201"/>
                  </a:cubicBezTo>
                  <a:cubicBezTo>
                    <a:pt x="73" y="201"/>
                    <a:pt x="73" y="201"/>
                    <a:pt x="73" y="201"/>
                  </a:cubicBezTo>
                  <a:cubicBezTo>
                    <a:pt x="90" y="217"/>
                    <a:pt x="90" y="217"/>
                    <a:pt x="90" y="217"/>
                  </a:cubicBezTo>
                  <a:cubicBezTo>
                    <a:pt x="73" y="234"/>
                    <a:pt x="73" y="234"/>
                    <a:pt x="73" y="234"/>
                  </a:cubicBezTo>
                  <a:lnTo>
                    <a:pt x="66" y="234"/>
                  </a:lnTo>
                  <a:close/>
                  <a:moveTo>
                    <a:pt x="125" y="458"/>
                  </a:moveTo>
                  <a:cubicBezTo>
                    <a:pt x="125" y="463"/>
                    <a:pt x="121" y="467"/>
                    <a:pt x="116" y="467"/>
                  </a:cubicBezTo>
                  <a:cubicBezTo>
                    <a:pt x="92" y="467"/>
                    <a:pt x="92" y="467"/>
                    <a:pt x="92" y="467"/>
                  </a:cubicBezTo>
                  <a:cubicBezTo>
                    <a:pt x="87" y="467"/>
                    <a:pt x="83" y="463"/>
                    <a:pt x="83" y="458"/>
                  </a:cubicBezTo>
                  <a:cubicBezTo>
                    <a:pt x="83" y="434"/>
                    <a:pt x="83" y="434"/>
                    <a:pt x="83" y="434"/>
                  </a:cubicBezTo>
                  <a:cubicBezTo>
                    <a:pt x="83" y="429"/>
                    <a:pt x="87" y="424"/>
                    <a:pt x="92" y="424"/>
                  </a:cubicBezTo>
                  <a:cubicBezTo>
                    <a:pt x="116" y="424"/>
                    <a:pt x="116" y="424"/>
                    <a:pt x="116" y="424"/>
                  </a:cubicBezTo>
                  <a:cubicBezTo>
                    <a:pt x="121" y="424"/>
                    <a:pt x="125" y="429"/>
                    <a:pt x="125" y="434"/>
                  </a:cubicBezTo>
                  <a:lnTo>
                    <a:pt x="125" y="458"/>
                  </a:lnTo>
                  <a:close/>
                  <a:moveTo>
                    <a:pt x="125" y="398"/>
                  </a:moveTo>
                  <a:cubicBezTo>
                    <a:pt x="125" y="403"/>
                    <a:pt x="121" y="408"/>
                    <a:pt x="116" y="408"/>
                  </a:cubicBezTo>
                  <a:cubicBezTo>
                    <a:pt x="92" y="408"/>
                    <a:pt x="92" y="408"/>
                    <a:pt x="92" y="408"/>
                  </a:cubicBezTo>
                  <a:cubicBezTo>
                    <a:pt x="87" y="408"/>
                    <a:pt x="83" y="403"/>
                    <a:pt x="83" y="398"/>
                  </a:cubicBezTo>
                  <a:cubicBezTo>
                    <a:pt x="83" y="374"/>
                    <a:pt x="83" y="374"/>
                    <a:pt x="83" y="374"/>
                  </a:cubicBezTo>
                  <a:cubicBezTo>
                    <a:pt x="83" y="369"/>
                    <a:pt x="87" y="365"/>
                    <a:pt x="92" y="365"/>
                  </a:cubicBezTo>
                  <a:cubicBezTo>
                    <a:pt x="116" y="365"/>
                    <a:pt x="116" y="365"/>
                    <a:pt x="116" y="365"/>
                  </a:cubicBezTo>
                  <a:cubicBezTo>
                    <a:pt x="121" y="365"/>
                    <a:pt x="125" y="369"/>
                    <a:pt x="125" y="374"/>
                  </a:cubicBezTo>
                  <a:lnTo>
                    <a:pt x="125" y="398"/>
                  </a:lnTo>
                  <a:close/>
                  <a:moveTo>
                    <a:pt x="125" y="339"/>
                  </a:moveTo>
                  <a:cubicBezTo>
                    <a:pt x="125" y="344"/>
                    <a:pt x="121" y="348"/>
                    <a:pt x="116" y="348"/>
                  </a:cubicBezTo>
                  <a:cubicBezTo>
                    <a:pt x="92" y="348"/>
                    <a:pt x="92" y="348"/>
                    <a:pt x="92" y="348"/>
                  </a:cubicBezTo>
                  <a:cubicBezTo>
                    <a:pt x="87" y="348"/>
                    <a:pt x="83" y="344"/>
                    <a:pt x="83" y="339"/>
                  </a:cubicBezTo>
                  <a:cubicBezTo>
                    <a:pt x="83" y="315"/>
                    <a:pt x="83" y="315"/>
                    <a:pt x="83" y="315"/>
                  </a:cubicBezTo>
                  <a:cubicBezTo>
                    <a:pt x="83" y="310"/>
                    <a:pt x="87" y="305"/>
                    <a:pt x="92" y="305"/>
                  </a:cubicBezTo>
                  <a:cubicBezTo>
                    <a:pt x="116" y="305"/>
                    <a:pt x="116" y="305"/>
                    <a:pt x="116" y="305"/>
                  </a:cubicBezTo>
                  <a:cubicBezTo>
                    <a:pt x="121" y="305"/>
                    <a:pt x="125" y="310"/>
                    <a:pt x="125" y="315"/>
                  </a:cubicBezTo>
                  <a:lnTo>
                    <a:pt x="125" y="339"/>
                  </a:lnTo>
                  <a:close/>
                  <a:moveTo>
                    <a:pt x="183" y="458"/>
                  </a:moveTo>
                  <a:cubicBezTo>
                    <a:pt x="183" y="463"/>
                    <a:pt x="179" y="467"/>
                    <a:pt x="174" y="467"/>
                  </a:cubicBezTo>
                  <a:cubicBezTo>
                    <a:pt x="150" y="467"/>
                    <a:pt x="150" y="467"/>
                    <a:pt x="150" y="467"/>
                  </a:cubicBezTo>
                  <a:cubicBezTo>
                    <a:pt x="145" y="467"/>
                    <a:pt x="140" y="463"/>
                    <a:pt x="140" y="458"/>
                  </a:cubicBezTo>
                  <a:cubicBezTo>
                    <a:pt x="140" y="434"/>
                    <a:pt x="140" y="434"/>
                    <a:pt x="140" y="434"/>
                  </a:cubicBezTo>
                  <a:cubicBezTo>
                    <a:pt x="140" y="429"/>
                    <a:pt x="145" y="424"/>
                    <a:pt x="150" y="424"/>
                  </a:cubicBezTo>
                  <a:cubicBezTo>
                    <a:pt x="174" y="424"/>
                    <a:pt x="174" y="424"/>
                    <a:pt x="174" y="424"/>
                  </a:cubicBezTo>
                  <a:cubicBezTo>
                    <a:pt x="179" y="424"/>
                    <a:pt x="183" y="429"/>
                    <a:pt x="183" y="434"/>
                  </a:cubicBezTo>
                  <a:lnTo>
                    <a:pt x="183" y="458"/>
                  </a:lnTo>
                  <a:close/>
                  <a:moveTo>
                    <a:pt x="183" y="398"/>
                  </a:moveTo>
                  <a:cubicBezTo>
                    <a:pt x="183" y="403"/>
                    <a:pt x="179" y="408"/>
                    <a:pt x="174" y="408"/>
                  </a:cubicBezTo>
                  <a:cubicBezTo>
                    <a:pt x="150" y="408"/>
                    <a:pt x="150" y="408"/>
                    <a:pt x="150" y="408"/>
                  </a:cubicBezTo>
                  <a:cubicBezTo>
                    <a:pt x="145" y="408"/>
                    <a:pt x="140" y="403"/>
                    <a:pt x="140" y="398"/>
                  </a:cubicBezTo>
                  <a:cubicBezTo>
                    <a:pt x="140" y="374"/>
                    <a:pt x="140" y="374"/>
                    <a:pt x="140" y="374"/>
                  </a:cubicBezTo>
                  <a:cubicBezTo>
                    <a:pt x="140" y="369"/>
                    <a:pt x="145" y="365"/>
                    <a:pt x="150" y="365"/>
                  </a:cubicBezTo>
                  <a:cubicBezTo>
                    <a:pt x="174" y="365"/>
                    <a:pt x="174" y="365"/>
                    <a:pt x="174" y="365"/>
                  </a:cubicBezTo>
                  <a:cubicBezTo>
                    <a:pt x="179" y="365"/>
                    <a:pt x="183" y="369"/>
                    <a:pt x="183" y="374"/>
                  </a:cubicBezTo>
                  <a:lnTo>
                    <a:pt x="183" y="398"/>
                  </a:lnTo>
                  <a:close/>
                  <a:moveTo>
                    <a:pt x="183" y="339"/>
                  </a:moveTo>
                  <a:cubicBezTo>
                    <a:pt x="183" y="344"/>
                    <a:pt x="179" y="348"/>
                    <a:pt x="174" y="348"/>
                  </a:cubicBezTo>
                  <a:cubicBezTo>
                    <a:pt x="150" y="348"/>
                    <a:pt x="150" y="348"/>
                    <a:pt x="150" y="348"/>
                  </a:cubicBezTo>
                  <a:cubicBezTo>
                    <a:pt x="145" y="348"/>
                    <a:pt x="140" y="344"/>
                    <a:pt x="140" y="339"/>
                  </a:cubicBezTo>
                  <a:cubicBezTo>
                    <a:pt x="140" y="315"/>
                    <a:pt x="140" y="315"/>
                    <a:pt x="140" y="315"/>
                  </a:cubicBezTo>
                  <a:cubicBezTo>
                    <a:pt x="140" y="310"/>
                    <a:pt x="145" y="305"/>
                    <a:pt x="150" y="305"/>
                  </a:cubicBezTo>
                  <a:cubicBezTo>
                    <a:pt x="174" y="305"/>
                    <a:pt x="174" y="305"/>
                    <a:pt x="174" y="305"/>
                  </a:cubicBezTo>
                  <a:cubicBezTo>
                    <a:pt x="179" y="305"/>
                    <a:pt x="183" y="310"/>
                    <a:pt x="183" y="315"/>
                  </a:cubicBezTo>
                  <a:lnTo>
                    <a:pt x="183" y="339"/>
                  </a:lnTo>
                  <a:close/>
                  <a:moveTo>
                    <a:pt x="465" y="394"/>
                  </a:moveTo>
                  <a:cubicBezTo>
                    <a:pt x="394" y="394"/>
                    <a:pt x="394" y="394"/>
                    <a:pt x="394" y="394"/>
                  </a:cubicBezTo>
                  <a:cubicBezTo>
                    <a:pt x="394" y="405"/>
                    <a:pt x="394" y="405"/>
                    <a:pt x="394" y="405"/>
                  </a:cubicBezTo>
                  <a:cubicBezTo>
                    <a:pt x="300" y="405"/>
                    <a:pt x="300" y="405"/>
                    <a:pt x="300" y="405"/>
                  </a:cubicBezTo>
                  <a:cubicBezTo>
                    <a:pt x="300" y="394"/>
                    <a:pt x="300" y="394"/>
                    <a:pt x="300" y="394"/>
                  </a:cubicBezTo>
                  <a:cubicBezTo>
                    <a:pt x="229" y="394"/>
                    <a:pt x="229" y="394"/>
                    <a:pt x="229" y="394"/>
                  </a:cubicBezTo>
                  <a:cubicBezTo>
                    <a:pt x="229" y="378"/>
                    <a:pt x="229" y="378"/>
                    <a:pt x="229" y="378"/>
                  </a:cubicBezTo>
                  <a:cubicBezTo>
                    <a:pt x="300" y="378"/>
                    <a:pt x="300" y="378"/>
                    <a:pt x="300" y="378"/>
                  </a:cubicBezTo>
                  <a:cubicBezTo>
                    <a:pt x="300" y="368"/>
                    <a:pt x="300" y="368"/>
                    <a:pt x="300" y="368"/>
                  </a:cubicBezTo>
                  <a:cubicBezTo>
                    <a:pt x="394" y="368"/>
                    <a:pt x="394" y="368"/>
                    <a:pt x="394" y="368"/>
                  </a:cubicBezTo>
                  <a:cubicBezTo>
                    <a:pt x="394" y="378"/>
                    <a:pt x="394" y="378"/>
                    <a:pt x="394" y="378"/>
                  </a:cubicBezTo>
                  <a:cubicBezTo>
                    <a:pt x="465" y="378"/>
                    <a:pt x="465" y="378"/>
                    <a:pt x="465" y="378"/>
                  </a:cubicBezTo>
                  <a:lnTo>
                    <a:pt x="465" y="394"/>
                  </a:lnTo>
                  <a:close/>
                  <a:moveTo>
                    <a:pt x="465" y="234"/>
                  </a:moveTo>
                  <a:cubicBezTo>
                    <a:pt x="431" y="234"/>
                    <a:pt x="431" y="234"/>
                    <a:pt x="431" y="234"/>
                  </a:cubicBezTo>
                  <a:cubicBezTo>
                    <a:pt x="424" y="234"/>
                    <a:pt x="424" y="234"/>
                    <a:pt x="424" y="234"/>
                  </a:cubicBezTo>
                  <a:cubicBezTo>
                    <a:pt x="417" y="234"/>
                    <a:pt x="417" y="234"/>
                    <a:pt x="417" y="234"/>
                  </a:cubicBezTo>
                  <a:cubicBezTo>
                    <a:pt x="400" y="217"/>
                    <a:pt x="400" y="217"/>
                    <a:pt x="400" y="217"/>
                  </a:cubicBezTo>
                  <a:cubicBezTo>
                    <a:pt x="417" y="201"/>
                    <a:pt x="417" y="201"/>
                    <a:pt x="417" y="201"/>
                  </a:cubicBezTo>
                  <a:cubicBezTo>
                    <a:pt x="424" y="201"/>
                    <a:pt x="424" y="201"/>
                    <a:pt x="424" y="201"/>
                  </a:cubicBezTo>
                  <a:cubicBezTo>
                    <a:pt x="431" y="201"/>
                    <a:pt x="431" y="201"/>
                    <a:pt x="431" y="201"/>
                  </a:cubicBezTo>
                  <a:cubicBezTo>
                    <a:pt x="465" y="201"/>
                    <a:pt x="465" y="201"/>
                    <a:pt x="465" y="201"/>
                  </a:cubicBezTo>
                  <a:lnTo>
                    <a:pt x="465" y="234"/>
                  </a:lnTo>
                  <a:close/>
                  <a:moveTo>
                    <a:pt x="465" y="162"/>
                  </a:moveTo>
                  <a:cubicBezTo>
                    <a:pt x="431" y="162"/>
                    <a:pt x="431" y="162"/>
                    <a:pt x="431" y="162"/>
                  </a:cubicBezTo>
                  <a:cubicBezTo>
                    <a:pt x="424" y="162"/>
                    <a:pt x="424" y="162"/>
                    <a:pt x="424" y="162"/>
                  </a:cubicBezTo>
                  <a:cubicBezTo>
                    <a:pt x="417" y="162"/>
                    <a:pt x="417" y="162"/>
                    <a:pt x="417" y="162"/>
                  </a:cubicBezTo>
                  <a:cubicBezTo>
                    <a:pt x="400" y="145"/>
                    <a:pt x="400" y="145"/>
                    <a:pt x="400" y="145"/>
                  </a:cubicBezTo>
                  <a:cubicBezTo>
                    <a:pt x="417" y="128"/>
                    <a:pt x="417" y="128"/>
                    <a:pt x="417" y="128"/>
                  </a:cubicBezTo>
                  <a:cubicBezTo>
                    <a:pt x="424" y="128"/>
                    <a:pt x="424" y="128"/>
                    <a:pt x="424" y="128"/>
                  </a:cubicBezTo>
                  <a:cubicBezTo>
                    <a:pt x="431" y="128"/>
                    <a:pt x="431" y="128"/>
                    <a:pt x="431" y="128"/>
                  </a:cubicBezTo>
                  <a:cubicBezTo>
                    <a:pt x="465" y="128"/>
                    <a:pt x="465" y="128"/>
                    <a:pt x="465" y="128"/>
                  </a:cubicBezTo>
                  <a:lnTo>
                    <a:pt x="465" y="162"/>
                  </a:lnTo>
                  <a:close/>
                  <a:moveTo>
                    <a:pt x="465" y="90"/>
                  </a:moveTo>
                  <a:cubicBezTo>
                    <a:pt x="431" y="90"/>
                    <a:pt x="431" y="90"/>
                    <a:pt x="431" y="90"/>
                  </a:cubicBezTo>
                  <a:cubicBezTo>
                    <a:pt x="424" y="90"/>
                    <a:pt x="424" y="90"/>
                    <a:pt x="424" y="90"/>
                  </a:cubicBezTo>
                  <a:cubicBezTo>
                    <a:pt x="417" y="90"/>
                    <a:pt x="417" y="90"/>
                    <a:pt x="417" y="90"/>
                  </a:cubicBezTo>
                  <a:cubicBezTo>
                    <a:pt x="400" y="73"/>
                    <a:pt x="400" y="73"/>
                    <a:pt x="400" y="73"/>
                  </a:cubicBezTo>
                  <a:cubicBezTo>
                    <a:pt x="417" y="56"/>
                    <a:pt x="417" y="56"/>
                    <a:pt x="417" y="56"/>
                  </a:cubicBezTo>
                  <a:cubicBezTo>
                    <a:pt x="424" y="56"/>
                    <a:pt x="424" y="56"/>
                    <a:pt x="424" y="56"/>
                  </a:cubicBezTo>
                  <a:cubicBezTo>
                    <a:pt x="431" y="56"/>
                    <a:pt x="431" y="56"/>
                    <a:pt x="431" y="56"/>
                  </a:cubicBezTo>
                  <a:cubicBezTo>
                    <a:pt x="465" y="56"/>
                    <a:pt x="465" y="56"/>
                    <a:pt x="465" y="56"/>
                  </a:cubicBezTo>
                  <a:lnTo>
                    <a:pt x="465" y="9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21" name="Freeform 10"/>
            <p:cNvSpPr>
              <a:spLocks noEditPoints="1"/>
            </p:cNvSpPr>
            <p:nvPr/>
          </p:nvSpPr>
          <p:spPr bwMode="auto">
            <a:xfrm>
              <a:off x="1745954" y="2737187"/>
              <a:ext cx="262252" cy="448291"/>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3" name="TextBox 2"/>
          <p:cNvSpPr txBox="1"/>
          <p:nvPr/>
        </p:nvSpPr>
        <p:spPr>
          <a:xfrm>
            <a:off x="269240" y="5911710"/>
            <a:ext cx="2513590" cy="654777"/>
          </a:xfrm>
          <a:prstGeom prst="rect">
            <a:avLst/>
          </a:prstGeom>
          <a:noFill/>
        </p:spPr>
        <p:txBody>
          <a:bodyPr wrap="square" lIns="179285" tIns="143428" rIns="179285" bIns="143428" rtlCol="0">
            <a:noAutofit/>
          </a:bodyPr>
          <a:lstStyle/>
          <a:p>
            <a:pPr defTabSz="913505" fontAlgn="base">
              <a:spcBef>
                <a:spcPct val="0"/>
              </a:spcBef>
              <a:spcAft>
                <a:spcPct val="0"/>
              </a:spcAft>
            </a:pPr>
            <a:r>
              <a:rPr lang="en-US" sz="784" i="1" dirty="0">
                <a:solidFill>
                  <a:srgbClr val="505050"/>
                </a:solidFill>
                <a:ea typeface="ＭＳ Ｐゴシック" charset="0"/>
              </a:rPr>
              <a:t>Gartner “Forecast: The Internet of Things, Worldwide, 2013,” (G00259115), Peter Middleton, Peter </a:t>
            </a:r>
            <a:r>
              <a:rPr lang="en-US" sz="784" i="1" dirty="0" err="1">
                <a:solidFill>
                  <a:srgbClr val="505050"/>
                </a:solidFill>
                <a:ea typeface="ＭＳ Ｐゴシック" charset="0"/>
              </a:rPr>
              <a:t>Kjeldsen</a:t>
            </a:r>
            <a:r>
              <a:rPr lang="en-US" sz="784" i="1" dirty="0">
                <a:solidFill>
                  <a:srgbClr val="505050"/>
                </a:solidFill>
                <a:ea typeface="ＭＳ Ｐゴシック" charset="0"/>
              </a:rPr>
              <a:t>, and Jim Tully, November 18, 2013</a:t>
            </a:r>
          </a:p>
        </p:txBody>
      </p:sp>
      <p:sp>
        <p:nvSpPr>
          <p:cNvPr id="124" name="TextBox 123"/>
          <p:cNvSpPr txBox="1"/>
          <p:nvPr/>
        </p:nvSpPr>
        <p:spPr>
          <a:xfrm>
            <a:off x="2958515" y="5911710"/>
            <a:ext cx="2652634" cy="654777"/>
          </a:xfrm>
          <a:prstGeom prst="rect">
            <a:avLst/>
          </a:prstGeom>
          <a:noFill/>
        </p:spPr>
        <p:txBody>
          <a:bodyPr wrap="square" lIns="179285" tIns="143428" rIns="179285" bIns="143428" rtlCol="0">
            <a:noAutofit/>
          </a:bodyPr>
          <a:lstStyle/>
          <a:p>
            <a:pPr defTabSz="913505" fontAlgn="base">
              <a:spcBef>
                <a:spcPct val="0"/>
              </a:spcBef>
              <a:spcAft>
                <a:spcPct val="0"/>
              </a:spcAft>
            </a:pPr>
            <a:r>
              <a:rPr lang="en-US" sz="784" i="1" dirty="0">
                <a:solidFill>
                  <a:srgbClr val="505050"/>
                </a:solidFill>
                <a:ea typeface="ＭＳ Ｐゴシック" charset="0"/>
              </a:rPr>
              <a:t>Gartner Report, “Predicts 2014: Apps, Personal Cloud and Data Analytics Will Drive New Consumer Interactions” Stephanie </a:t>
            </a:r>
            <a:r>
              <a:rPr lang="en-US" sz="784" i="1" dirty="0" err="1">
                <a:solidFill>
                  <a:srgbClr val="505050"/>
                </a:solidFill>
                <a:ea typeface="ＭＳ Ｐゴシック" charset="0"/>
              </a:rPr>
              <a:t>Baghdassarian</a:t>
            </a:r>
            <a:r>
              <a:rPr lang="en-US" sz="784" i="1" dirty="0">
                <a:solidFill>
                  <a:srgbClr val="505050"/>
                </a:solidFill>
                <a:ea typeface="ＭＳ Ｐゴシック" charset="0"/>
              </a:rPr>
              <a:t>, Brian </a:t>
            </a:r>
            <a:r>
              <a:rPr lang="en-US" sz="784" i="1" dirty="0" err="1">
                <a:solidFill>
                  <a:srgbClr val="505050"/>
                </a:solidFill>
                <a:ea typeface="ＭＳ Ｐゴシック" charset="0"/>
              </a:rPr>
              <a:t>Blau</a:t>
            </a:r>
            <a:r>
              <a:rPr lang="en-US" sz="784" i="1" dirty="0">
                <a:solidFill>
                  <a:srgbClr val="505050"/>
                </a:solidFill>
                <a:ea typeface="ＭＳ Ｐゴシック" charset="0"/>
              </a:rPr>
              <a:t>, Jessica </a:t>
            </a:r>
            <a:r>
              <a:rPr lang="en-US" sz="784" i="1" dirty="0" err="1">
                <a:solidFill>
                  <a:srgbClr val="505050"/>
                </a:solidFill>
                <a:ea typeface="ＭＳ Ｐゴシック" charset="0"/>
              </a:rPr>
              <a:t>Ekholm</a:t>
            </a:r>
            <a:r>
              <a:rPr lang="en-US" sz="784" i="1" dirty="0">
                <a:solidFill>
                  <a:srgbClr val="505050"/>
                </a:solidFill>
                <a:ea typeface="ＭＳ Ｐゴシック" charset="0"/>
              </a:rPr>
              <a:t>. Sandy Shen, November 22, 2013.</a:t>
            </a:r>
          </a:p>
        </p:txBody>
      </p:sp>
      <p:sp>
        <p:nvSpPr>
          <p:cNvPr id="125" name="TextBox 124"/>
          <p:cNvSpPr txBox="1"/>
          <p:nvPr/>
        </p:nvSpPr>
        <p:spPr>
          <a:xfrm>
            <a:off x="5647789" y="5911710"/>
            <a:ext cx="2513590" cy="654777"/>
          </a:xfrm>
          <a:prstGeom prst="rect">
            <a:avLst/>
          </a:prstGeom>
          <a:noFill/>
        </p:spPr>
        <p:txBody>
          <a:bodyPr wrap="square" lIns="179285" tIns="143428" rIns="179285" bIns="143428" rtlCol="0">
            <a:noAutofit/>
          </a:bodyPr>
          <a:lstStyle/>
          <a:p>
            <a:pPr defTabSz="913505" fontAlgn="base">
              <a:spcBef>
                <a:spcPct val="0"/>
              </a:spcBef>
              <a:spcAft>
                <a:spcPct val="0"/>
              </a:spcAft>
            </a:pPr>
            <a:r>
              <a:rPr lang="en-US" sz="784" i="1" dirty="0">
                <a:solidFill>
                  <a:srgbClr val="505050"/>
                </a:solidFill>
                <a:ea typeface="ＭＳ Ｐゴシック" charset="0"/>
              </a:rPr>
              <a:t>IDC “Capturing the $1.6 Trillion Data Dividend,” Dan </a:t>
            </a:r>
            <a:r>
              <a:rPr lang="en-US" sz="784" i="1" dirty="0" err="1">
                <a:solidFill>
                  <a:srgbClr val="505050"/>
                </a:solidFill>
                <a:ea typeface="ＭＳ Ｐゴシック" charset="0"/>
              </a:rPr>
              <a:t>Vesset</a:t>
            </a:r>
            <a:r>
              <a:rPr lang="en-US" sz="784" i="1" dirty="0">
                <a:solidFill>
                  <a:srgbClr val="505050"/>
                </a:solidFill>
                <a:ea typeface="ＭＳ Ｐゴシック" charset="0"/>
              </a:rPr>
              <a:t>, Henry D. Morris, John F. </a:t>
            </a:r>
            <a:r>
              <a:rPr lang="en-US" sz="784" i="1" dirty="0" err="1">
                <a:solidFill>
                  <a:srgbClr val="505050"/>
                </a:solidFill>
                <a:ea typeface="ＭＳ Ｐゴシック" charset="0"/>
              </a:rPr>
              <a:t>Gantz</a:t>
            </a:r>
            <a:r>
              <a:rPr lang="en-US" sz="784" i="1" dirty="0">
                <a:solidFill>
                  <a:srgbClr val="505050"/>
                </a:solidFill>
                <a:ea typeface="ＭＳ Ｐゴシック" charset="0"/>
              </a:rPr>
              <a:t>, May 2014</a:t>
            </a:r>
          </a:p>
        </p:txBody>
      </p:sp>
      <p:sp>
        <p:nvSpPr>
          <p:cNvPr id="126" name="TextBox 125"/>
          <p:cNvSpPr txBox="1"/>
          <p:nvPr/>
        </p:nvSpPr>
        <p:spPr>
          <a:xfrm>
            <a:off x="8337064" y="5911710"/>
            <a:ext cx="2513590" cy="654777"/>
          </a:xfrm>
          <a:prstGeom prst="rect">
            <a:avLst/>
          </a:prstGeom>
          <a:noFill/>
        </p:spPr>
        <p:txBody>
          <a:bodyPr wrap="square" lIns="179285" tIns="143428" rIns="179285" bIns="143428" rtlCol="0">
            <a:noAutofit/>
          </a:bodyPr>
          <a:lstStyle/>
          <a:p>
            <a:pPr defTabSz="913505" fontAlgn="base">
              <a:spcBef>
                <a:spcPct val="0"/>
              </a:spcBef>
              <a:spcAft>
                <a:spcPct val="0"/>
              </a:spcAft>
            </a:pPr>
            <a:r>
              <a:rPr lang="en-US" sz="784" i="1" dirty="0">
                <a:solidFill>
                  <a:srgbClr val="505050"/>
                </a:solidFill>
                <a:ea typeface="ＭＳ Ｐゴシック" charset="0"/>
              </a:rPr>
              <a:t>Gartner “Hype cycle for cloud computing, 2014”, David Mitchell Smith, July 24, 2014</a:t>
            </a:r>
          </a:p>
        </p:txBody>
      </p:sp>
      <p:grpSp>
        <p:nvGrpSpPr>
          <p:cNvPr id="5" name="Group 4"/>
          <p:cNvGrpSpPr/>
          <p:nvPr/>
        </p:nvGrpSpPr>
        <p:grpSpPr>
          <a:xfrm>
            <a:off x="243757" y="5908544"/>
            <a:ext cx="11692121" cy="655346"/>
            <a:chOff x="248645" y="6178927"/>
            <a:chExt cx="11926572" cy="668487"/>
          </a:xfrm>
        </p:grpSpPr>
        <p:sp>
          <p:nvSpPr>
            <p:cNvPr id="2" name="Rectangle 1"/>
            <p:cNvSpPr/>
            <p:nvPr/>
          </p:nvSpPr>
          <p:spPr bwMode="auto">
            <a:xfrm>
              <a:off x="579437" y="6178927"/>
              <a:ext cx="11277600" cy="6684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745"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Cloud</a:t>
              </a:r>
            </a:p>
          </p:txBody>
        </p:sp>
        <p:sp>
          <p:nvSpPr>
            <p:cNvPr id="64" name="Oval 63"/>
            <p:cNvSpPr/>
            <p:nvPr/>
          </p:nvSpPr>
          <p:spPr bwMode="auto">
            <a:xfrm>
              <a:off x="248645" y="6178927"/>
              <a:ext cx="668487" cy="66848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66"/>
            <p:cNvSpPr>
              <a:spLocks/>
            </p:cNvSpPr>
            <p:nvPr/>
          </p:nvSpPr>
          <p:spPr bwMode="auto">
            <a:xfrm>
              <a:off x="384608" y="6358599"/>
              <a:ext cx="396560" cy="260862"/>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635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sp>
          <p:nvSpPr>
            <p:cNvPr id="68" name="Oval 67"/>
            <p:cNvSpPr/>
            <p:nvPr/>
          </p:nvSpPr>
          <p:spPr bwMode="auto">
            <a:xfrm>
              <a:off x="11506730" y="6178927"/>
              <a:ext cx="668487" cy="66848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a:spLocks/>
            </p:cNvSpPr>
            <p:nvPr/>
          </p:nvSpPr>
          <p:spPr bwMode="auto">
            <a:xfrm>
              <a:off x="11642693" y="6358599"/>
              <a:ext cx="396560" cy="260862"/>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635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grpSp>
    </p:spTree>
    <p:extLst>
      <p:ext uri="{BB962C8B-B14F-4D97-AF65-F5344CB8AC3E}">
        <p14:creationId xmlns:p14="http://schemas.microsoft.com/office/powerpoint/2010/main" val="1607309061"/>
      </p:ext>
    </p:extLst>
  </p:cSld>
  <p:clrMapOvr>
    <a:masterClrMapping/>
  </p:clrMapOvr>
  <mc:AlternateContent xmlns:mc="http://schemas.openxmlformats.org/markup-compatibility/2006">
    <mc:Choice xmlns:p14="http://schemas.microsoft.com/office/powerpoint/2010/main" Requires="p14">
      <p:transition spd="med" p14:dur="700" advClick="0">
        <p:wipe dir="r"/>
      </p:transition>
    </mc:Choice>
    <mc:Fallback>
      <p:transition spd="med" advClick="0">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left)">
                                      <p:cBhvr>
                                        <p:cTn id="7" dur="750"/>
                                        <p:tgtEl>
                                          <p:spTgt spid="74"/>
                                        </p:tgtEl>
                                      </p:cBhvr>
                                    </p:animEffect>
                                  </p:childTnLst>
                                </p:cTn>
                              </p:par>
                              <p:par>
                                <p:cTn id="8" presetID="10" presetClass="entr" presetSubtype="0" fill="hold" nodeType="withEffect">
                                  <p:stCondLst>
                                    <p:cond delay="500"/>
                                  </p:stCondLst>
                                  <p:childTnLst>
                                    <p:set>
                                      <p:cBhvr>
                                        <p:cTn id="9" dur="1" fill="hold">
                                          <p:stCondLst>
                                            <p:cond delay="0"/>
                                          </p:stCondLst>
                                        </p:cTn>
                                        <p:tgtEl>
                                          <p:spTgt spid="118"/>
                                        </p:tgtEl>
                                        <p:attrNameLst>
                                          <p:attrName>style.visibility</p:attrName>
                                        </p:attrNameLst>
                                      </p:cBhvr>
                                      <p:to>
                                        <p:strVal val="visible"/>
                                      </p:to>
                                    </p:set>
                                    <p:animEffect transition="in" filter="fade">
                                      <p:cBhvr>
                                        <p:cTn id="10" dur="750"/>
                                        <p:tgtEl>
                                          <p:spTgt spid="118"/>
                                        </p:tgtEl>
                                      </p:cBhvr>
                                    </p:animEffect>
                                  </p:childTnLst>
                                </p:cTn>
                              </p:par>
                              <p:par>
                                <p:cTn id="11" presetID="35" presetClass="path" presetSubtype="0" accel="50000" decel="50000" fill="hold" nodeType="withEffect">
                                  <p:stCondLst>
                                    <p:cond delay="0"/>
                                  </p:stCondLst>
                                  <p:childTnLst>
                                    <p:animMotion origin="layout" path="M 3.01762E-6 2.04267E-6 L -0.09612 2.04267E-6 " pathEditMode="relative" rAng="0" ptsTypes="AA">
                                      <p:cBhvr>
                                        <p:cTn id="12" dur="1250" spd="-100000" fill="hold"/>
                                        <p:tgtEl>
                                          <p:spTgt spid="118"/>
                                        </p:tgtEl>
                                        <p:attrNameLst>
                                          <p:attrName>ppt_x</p:attrName>
                                          <p:attrName>ppt_y</p:attrName>
                                        </p:attrNameLst>
                                      </p:cBhvr>
                                      <p:rCtr x="-4812" y="0"/>
                                    </p:animMotion>
                                  </p:childTnLst>
                                </p:cTn>
                              </p:par>
                              <p:par>
                                <p:cTn id="13" presetID="22" presetClass="entr" presetSubtype="8" fill="hold" grpId="0" nodeType="withEffect">
                                  <p:stCondLst>
                                    <p:cond delay="500"/>
                                  </p:stCondLst>
                                  <p:childTnLst>
                                    <p:set>
                                      <p:cBhvr>
                                        <p:cTn id="14" dur="1" fill="hold">
                                          <p:stCondLst>
                                            <p:cond delay="0"/>
                                          </p:stCondLst>
                                        </p:cTn>
                                        <p:tgtEl>
                                          <p:spTgt spid="75"/>
                                        </p:tgtEl>
                                        <p:attrNameLst>
                                          <p:attrName>style.visibility</p:attrName>
                                        </p:attrNameLst>
                                      </p:cBhvr>
                                      <p:to>
                                        <p:strVal val="visible"/>
                                      </p:to>
                                    </p:set>
                                    <p:animEffect transition="in" filter="wipe(left)">
                                      <p:cBhvr>
                                        <p:cTn id="15" dur="1250"/>
                                        <p:tgtEl>
                                          <p:spTgt spid="75"/>
                                        </p:tgtEl>
                                      </p:cBhvr>
                                    </p:animEffect>
                                  </p:childTnLst>
                                </p:cTn>
                              </p:par>
                              <p:par>
                                <p:cTn id="16" presetID="2" presetClass="entr" presetSubtype="1" decel="100000" fill="hold" grpId="0" nodeType="withEffect">
                                  <p:stCondLst>
                                    <p:cond delay="500"/>
                                  </p:stCondLst>
                                  <p:childTnLst>
                                    <p:set>
                                      <p:cBhvr>
                                        <p:cTn id="17" dur="1" fill="hold">
                                          <p:stCondLst>
                                            <p:cond delay="0"/>
                                          </p:stCondLst>
                                        </p:cTn>
                                        <p:tgtEl>
                                          <p:spTgt spid="65"/>
                                        </p:tgtEl>
                                        <p:attrNameLst>
                                          <p:attrName>style.visibility</p:attrName>
                                        </p:attrNameLst>
                                      </p:cBhvr>
                                      <p:to>
                                        <p:strVal val="visible"/>
                                      </p:to>
                                    </p:set>
                                    <p:anim calcmode="lin" valueType="num">
                                      <p:cBhvr additive="base">
                                        <p:cTn id="18" dur="1250" fill="hold"/>
                                        <p:tgtEl>
                                          <p:spTgt spid="65"/>
                                        </p:tgtEl>
                                        <p:attrNameLst>
                                          <p:attrName>ppt_x</p:attrName>
                                        </p:attrNameLst>
                                      </p:cBhvr>
                                      <p:tavLst>
                                        <p:tav tm="0">
                                          <p:val>
                                            <p:strVal val="#ppt_x"/>
                                          </p:val>
                                        </p:tav>
                                        <p:tav tm="100000">
                                          <p:val>
                                            <p:strVal val="#ppt_x"/>
                                          </p:val>
                                        </p:tav>
                                      </p:tavLst>
                                    </p:anim>
                                    <p:anim calcmode="lin" valueType="num">
                                      <p:cBhvr additive="base">
                                        <p:cTn id="19" dur="1250" fill="hold"/>
                                        <p:tgtEl>
                                          <p:spTgt spid="65"/>
                                        </p:tgtEl>
                                        <p:attrNameLst>
                                          <p:attrName>ppt_y</p:attrName>
                                        </p:attrNameLst>
                                      </p:cBhvr>
                                      <p:tavLst>
                                        <p:tav tm="0">
                                          <p:val>
                                            <p:strVal val="0-#ppt_h/2"/>
                                          </p:val>
                                        </p:tav>
                                        <p:tav tm="100000">
                                          <p:val>
                                            <p:strVal val="#ppt_y"/>
                                          </p:val>
                                        </p:tav>
                                      </p:tavLst>
                                    </p:anim>
                                  </p:childTnLst>
                                </p:cTn>
                              </p:par>
                              <p:par>
                                <p:cTn id="20" presetID="10" presetClass="entr" presetSubtype="0" fill="hold" grpId="0" nodeType="withEffect">
                                  <p:stCondLst>
                                    <p:cond delay="150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par>
                                <p:cTn id="23" presetID="64" presetClass="path" presetSubtype="0" accel="50000" decel="50000" fill="hold" grpId="1" nodeType="withEffect">
                                  <p:stCondLst>
                                    <p:cond delay="1000"/>
                                  </p:stCondLst>
                                  <p:childTnLst>
                                    <p:animMotion origin="layout" path="M 2.50702E-6 -1.6069E-6 L 2.50702E-6 -0.05787 " pathEditMode="relative" rAng="0" ptsTypes="AA">
                                      <p:cBhvr>
                                        <p:cTn id="24" dur="1000" spd="-100000" fill="hold"/>
                                        <p:tgtEl>
                                          <p:spTgt spid="58"/>
                                        </p:tgtEl>
                                        <p:attrNameLst>
                                          <p:attrName>ppt_x</p:attrName>
                                          <p:attrName>ppt_y</p:attrName>
                                        </p:attrNameLst>
                                      </p:cBhvr>
                                      <p:rCtr x="0" y="-2905"/>
                                    </p:animMotion>
                                  </p:childTnLst>
                                </p:cTn>
                              </p:par>
                              <p:par>
                                <p:cTn id="25" presetID="10" presetClass="entr" presetSubtype="0" fill="hold" grpId="0" nodeType="withEffect">
                                  <p:stCondLst>
                                    <p:cond delay="175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64" presetClass="path" presetSubtype="0" accel="50000" decel="50000" fill="hold" grpId="1" nodeType="withEffect">
                                  <p:stCondLst>
                                    <p:cond delay="1250"/>
                                  </p:stCondLst>
                                  <p:childTnLst>
                                    <p:animMotion origin="layout" path="M 2.50702E-6 -1.6069E-6 L 2.50702E-6 -0.05787 " pathEditMode="relative" rAng="0" ptsTypes="AA">
                                      <p:cBhvr>
                                        <p:cTn id="29" dur="1000" spd="-100000" fill="hold"/>
                                        <p:tgtEl>
                                          <p:spTgt spid="3"/>
                                        </p:tgtEl>
                                        <p:attrNameLst>
                                          <p:attrName>ppt_x</p:attrName>
                                          <p:attrName>ppt_y</p:attrName>
                                        </p:attrNameLst>
                                      </p:cBhvr>
                                      <p:rCtr x="0" y="-2905"/>
                                    </p:animMotion>
                                  </p:childTnLst>
                                </p:cTn>
                              </p:par>
                            </p:childTnLst>
                          </p:cTn>
                        </p:par>
                        <p:par>
                          <p:cTn id="30" fill="hold">
                            <p:stCondLst>
                              <p:cond delay="2250"/>
                            </p:stCondLst>
                            <p:childTnLst>
                              <p:par>
                                <p:cTn id="31" presetID="10" presetClass="entr" presetSubtype="0" fill="hold" nodeType="afterEffect">
                                  <p:stCondLst>
                                    <p:cond delay="500"/>
                                  </p:stCondLst>
                                  <p:childTnLst>
                                    <p:set>
                                      <p:cBhvr>
                                        <p:cTn id="32" dur="1" fill="hold">
                                          <p:stCondLst>
                                            <p:cond delay="0"/>
                                          </p:stCondLst>
                                        </p:cTn>
                                        <p:tgtEl>
                                          <p:spTgt spid="79"/>
                                        </p:tgtEl>
                                        <p:attrNameLst>
                                          <p:attrName>style.visibility</p:attrName>
                                        </p:attrNameLst>
                                      </p:cBhvr>
                                      <p:to>
                                        <p:strVal val="visible"/>
                                      </p:to>
                                    </p:set>
                                    <p:animEffect transition="in" filter="fade">
                                      <p:cBhvr>
                                        <p:cTn id="33" dur="750"/>
                                        <p:tgtEl>
                                          <p:spTgt spid="79"/>
                                        </p:tgtEl>
                                      </p:cBhvr>
                                    </p:animEffect>
                                  </p:childTnLst>
                                </p:cTn>
                              </p:par>
                              <p:par>
                                <p:cTn id="34" presetID="35" presetClass="path" presetSubtype="0" accel="50000" decel="50000" fill="hold" nodeType="withEffect">
                                  <p:stCondLst>
                                    <p:cond delay="0"/>
                                  </p:stCondLst>
                                  <p:childTnLst>
                                    <p:animMotion origin="layout" path="M 3.01762E-6 2.04267E-6 L -0.09612 2.04267E-6 " pathEditMode="relative" rAng="0" ptsTypes="AA">
                                      <p:cBhvr>
                                        <p:cTn id="35" dur="1250" spd="-100000" fill="hold"/>
                                        <p:tgtEl>
                                          <p:spTgt spid="79"/>
                                        </p:tgtEl>
                                        <p:attrNameLst>
                                          <p:attrName>ppt_x</p:attrName>
                                          <p:attrName>ppt_y</p:attrName>
                                        </p:attrNameLst>
                                      </p:cBhvr>
                                      <p:rCtr x="-4812" y="0"/>
                                    </p:animMotion>
                                  </p:childTnLst>
                                </p:cTn>
                              </p:par>
                              <p:par>
                                <p:cTn id="36" presetID="22" presetClass="entr" presetSubtype="8" fill="hold" grpId="0"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wipe(left)">
                                      <p:cBhvr>
                                        <p:cTn id="38" dur="1250"/>
                                        <p:tgtEl>
                                          <p:spTgt spid="76"/>
                                        </p:tgtEl>
                                      </p:cBhvr>
                                    </p:animEffect>
                                  </p:childTnLst>
                                </p:cTn>
                              </p:par>
                              <p:par>
                                <p:cTn id="39" presetID="2" presetClass="entr" presetSubtype="1" decel="100000" fill="hold" grpId="0" nodeType="withEffect">
                                  <p:stCondLst>
                                    <p:cond delay="500"/>
                                  </p:stCondLst>
                                  <p:childTnLst>
                                    <p:set>
                                      <p:cBhvr>
                                        <p:cTn id="40" dur="1" fill="hold">
                                          <p:stCondLst>
                                            <p:cond delay="0"/>
                                          </p:stCondLst>
                                        </p:cTn>
                                        <p:tgtEl>
                                          <p:spTgt spid="66"/>
                                        </p:tgtEl>
                                        <p:attrNameLst>
                                          <p:attrName>style.visibility</p:attrName>
                                        </p:attrNameLst>
                                      </p:cBhvr>
                                      <p:to>
                                        <p:strVal val="visible"/>
                                      </p:to>
                                    </p:set>
                                    <p:anim calcmode="lin" valueType="num">
                                      <p:cBhvr additive="base">
                                        <p:cTn id="41" dur="1250" fill="hold"/>
                                        <p:tgtEl>
                                          <p:spTgt spid="66"/>
                                        </p:tgtEl>
                                        <p:attrNameLst>
                                          <p:attrName>ppt_x</p:attrName>
                                        </p:attrNameLst>
                                      </p:cBhvr>
                                      <p:tavLst>
                                        <p:tav tm="0">
                                          <p:val>
                                            <p:strVal val="#ppt_x"/>
                                          </p:val>
                                        </p:tav>
                                        <p:tav tm="100000">
                                          <p:val>
                                            <p:strVal val="#ppt_x"/>
                                          </p:val>
                                        </p:tav>
                                      </p:tavLst>
                                    </p:anim>
                                    <p:anim calcmode="lin" valueType="num">
                                      <p:cBhvr additive="base">
                                        <p:cTn id="42" dur="1250" fill="hold"/>
                                        <p:tgtEl>
                                          <p:spTgt spid="66"/>
                                        </p:tgtEl>
                                        <p:attrNameLst>
                                          <p:attrName>ppt_y</p:attrName>
                                        </p:attrNameLst>
                                      </p:cBhvr>
                                      <p:tavLst>
                                        <p:tav tm="0">
                                          <p:val>
                                            <p:strVal val="0-#ppt_h/2"/>
                                          </p:val>
                                        </p:tav>
                                        <p:tav tm="100000">
                                          <p:val>
                                            <p:strVal val="#ppt_y"/>
                                          </p:val>
                                        </p:tav>
                                      </p:tavLst>
                                    </p:anim>
                                  </p:childTnLst>
                                </p:cTn>
                              </p:par>
                              <p:par>
                                <p:cTn id="43" presetID="10" presetClass="entr" presetSubtype="0" fill="hold" grpId="0" nodeType="withEffect">
                                  <p:stCondLst>
                                    <p:cond delay="150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par>
                                <p:cTn id="46" presetID="64" presetClass="path" presetSubtype="0" accel="50000" decel="50000" fill="hold" grpId="1" nodeType="withEffect">
                                  <p:stCondLst>
                                    <p:cond delay="1000"/>
                                  </p:stCondLst>
                                  <p:childTnLst>
                                    <p:animMotion origin="layout" path="M -2.19811E-6 -1.6069E-6 L -2.19811E-6 -0.05878 " pathEditMode="relative" rAng="0" ptsTypes="AA">
                                      <p:cBhvr>
                                        <p:cTn id="47" dur="1000" spd="-100000" fill="hold"/>
                                        <p:tgtEl>
                                          <p:spTgt spid="61"/>
                                        </p:tgtEl>
                                        <p:attrNameLst>
                                          <p:attrName>ppt_x</p:attrName>
                                          <p:attrName>ppt_y</p:attrName>
                                        </p:attrNameLst>
                                      </p:cBhvr>
                                      <p:rCtr x="0" y="-2951"/>
                                    </p:animMotion>
                                  </p:childTnLst>
                                </p:cTn>
                              </p:par>
                              <p:par>
                                <p:cTn id="48" presetID="10" presetClass="entr" presetSubtype="0" fill="hold" grpId="0" nodeType="withEffect">
                                  <p:stCondLst>
                                    <p:cond delay="1750"/>
                                  </p:stCondLst>
                                  <p:childTnLst>
                                    <p:set>
                                      <p:cBhvr>
                                        <p:cTn id="49" dur="1" fill="hold">
                                          <p:stCondLst>
                                            <p:cond delay="0"/>
                                          </p:stCondLst>
                                        </p:cTn>
                                        <p:tgtEl>
                                          <p:spTgt spid="124"/>
                                        </p:tgtEl>
                                        <p:attrNameLst>
                                          <p:attrName>style.visibility</p:attrName>
                                        </p:attrNameLst>
                                      </p:cBhvr>
                                      <p:to>
                                        <p:strVal val="visible"/>
                                      </p:to>
                                    </p:set>
                                    <p:animEffect transition="in" filter="fade">
                                      <p:cBhvr>
                                        <p:cTn id="50" dur="500"/>
                                        <p:tgtEl>
                                          <p:spTgt spid="124"/>
                                        </p:tgtEl>
                                      </p:cBhvr>
                                    </p:animEffect>
                                  </p:childTnLst>
                                </p:cTn>
                              </p:par>
                              <p:par>
                                <p:cTn id="51" presetID="64" presetClass="path" presetSubtype="0" accel="50000" decel="50000" fill="hold" grpId="1" nodeType="withEffect">
                                  <p:stCondLst>
                                    <p:cond delay="1250"/>
                                  </p:stCondLst>
                                  <p:childTnLst>
                                    <p:animMotion origin="layout" path="M 3.09931E-6 1.36632E-6 L 3.09931E-6 -0.05878 " pathEditMode="relative" rAng="0" ptsTypes="AA">
                                      <p:cBhvr>
                                        <p:cTn id="52" dur="1000" spd="-100000" fill="hold"/>
                                        <p:tgtEl>
                                          <p:spTgt spid="124"/>
                                        </p:tgtEl>
                                        <p:attrNameLst>
                                          <p:attrName>ppt_x</p:attrName>
                                          <p:attrName>ppt_y</p:attrName>
                                        </p:attrNameLst>
                                      </p:cBhvr>
                                      <p:rCtr x="0" y="-2951"/>
                                    </p:animMotion>
                                  </p:childTnLst>
                                </p:cTn>
                              </p:par>
                            </p:childTnLst>
                          </p:cTn>
                        </p:par>
                        <p:par>
                          <p:cTn id="53" fill="hold">
                            <p:stCondLst>
                              <p:cond delay="4500"/>
                            </p:stCondLst>
                            <p:childTnLst>
                              <p:par>
                                <p:cTn id="54" presetID="10" presetClass="entr" presetSubtype="0" fill="hold" nodeType="afterEffect">
                                  <p:stCondLst>
                                    <p:cond delay="500"/>
                                  </p:stCondLst>
                                  <p:childTnLst>
                                    <p:set>
                                      <p:cBhvr>
                                        <p:cTn id="55" dur="1" fill="hold">
                                          <p:stCondLst>
                                            <p:cond delay="0"/>
                                          </p:stCondLst>
                                        </p:cTn>
                                        <p:tgtEl>
                                          <p:spTgt spid="85"/>
                                        </p:tgtEl>
                                        <p:attrNameLst>
                                          <p:attrName>style.visibility</p:attrName>
                                        </p:attrNameLst>
                                      </p:cBhvr>
                                      <p:to>
                                        <p:strVal val="visible"/>
                                      </p:to>
                                    </p:set>
                                    <p:animEffect transition="in" filter="fade">
                                      <p:cBhvr>
                                        <p:cTn id="56" dur="750"/>
                                        <p:tgtEl>
                                          <p:spTgt spid="85"/>
                                        </p:tgtEl>
                                      </p:cBhvr>
                                    </p:animEffect>
                                  </p:childTnLst>
                                </p:cTn>
                              </p:par>
                              <p:par>
                                <p:cTn id="57" presetID="35" presetClass="path" presetSubtype="0" accel="50000" decel="50000" fill="hold" nodeType="withEffect">
                                  <p:stCondLst>
                                    <p:cond delay="0"/>
                                  </p:stCondLst>
                                  <p:childTnLst>
                                    <p:animMotion origin="layout" path="M 3.01762E-6 2.04267E-6 L -0.09612 2.04267E-6 " pathEditMode="relative" rAng="0" ptsTypes="AA">
                                      <p:cBhvr>
                                        <p:cTn id="58" dur="1250" spd="-100000" fill="hold"/>
                                        <p:tgtEl>
                                          <p:spTgt spid="85"/>
                                        </p:tgtEl>
                                        <p:attrNameLst>
                                          <p:attrName>ppt_x</p:attrName>
                                          <p:attrName>ppt_y</p:attrName>
                                        </p:attrNameLst>
                                      </p:cBhvr>
                                      <p:rCtr x="-4812" y="0"/>
                                    </p:animMotion>
                                  </p:childTnLst>
                                </p:cTn>
                              </p:par>
                              <p:par>
                                <p:cTn id="59" presetID="22" presetClass="entr" presetSubtype="8" fill="hold" grpId="0" nodeType="withEffect">
                                  <p:stCondLst>
                                    <p:cond delay="500"/>
                                  </p:stCondLst>
                                  <p:childTnLst>
                                    <p:set>
                                      <p:cBhvr>
                                        <p:cTn id="60" dur="1" fill="hold">
                                          <p:stCondLst>
                                            <p:cond delay="0"/>
                                          </p:stCondLst>
                                        </p:cTn>
                                        <p:tgtEl>
                                          <p:spTgt spid="77"/>
                                        </p:tgtEl>
                                        <p:attrNameLst>
                                          <p:attrName>style.visibility</p:attrName>
                                        </p:attrNameLst>
                                      </p:cBhvr>
                                      <p:to>
                                        <p:strVal val="visible"/>
                                      </p:to>
                                    </p:set>
                                    <p:animEffect transition="in" filter="wipe(left)">
                                      <p:cBhvr>
                                        <p:cTn id="61" dur="1250"/>
                                        <p:tgtEl>
                                          <p:spTgt spid="77"/>
                                        </p:tgtEl>
                                      </p:cBhvr>
                                    </p:animEffect>
                                  </p:childTnLst>
                                </p:cTn>
                              </p:par>
                              <p:par>
                                <p:cTn id="62" presetID="2" presetClass="entr" presetSubtype="1" decel="100000" fill="hold" grpId="0" nodeType="withEffect">
                                  <p:stCondLst>
                                    <p:cond delay="500"/>
                                  </p:stCondLst>
                                  <p:childTnLst>
                                    <p:set>
                                      <p:cBhvr>
                                        <p:cTn id="63" dur="1" fill="hold">
                                          <p:stCondLst>
                                            <p:cond delay="0"/>
                                          </p:stCondLst>
                                        </p:cTn>
                                        <p:tgtEl>
                                          <p:spTgt spid="71"/>
                                        </p:tgtEl>
                                        <p:attrNameLst>
                                          <p:attrName>style.visibility</p:attrName>
                                        </p:attrNameLst>
                                      </p:cBhvr>
                                      <p:to>
                                        <p:strVal val="visible"/>
                                      </p:to>
                                    </p:set>
                                    <p:anim calcmode="lin" valueType="num">
                                      <p:cBhvr additive="base">
                                        <p:cTn id="64" dur="1250" fill="hold"/>
                                        <p:tgtEl>
                                          <p:spTgt spid="71"/>
                                        </p:tgtEl>
                                        <p:attrNameLst>
                                          <p:attrName>ppt_x</p:attrName>
                                        </p:attrNameLst>
                                      </p:cBhvr>
                                      <p:tavLst>
                                        <p:tav tm="0">
                                          <p:val>
                                            <p:strVal val="#ppt_x"/>
                                          </p:val>
                                        </p:tav>
                                        <p:tav tm="100000">
                                          <p:val>
                                            <p:strVal val="#ppt_x"/>
                                          </p:val>
                                        </p:tav>
                                      </p:tavLst>
                                    </p:anim>
                                    <p:anim calcmode="lin" valueType="num">
                                      <p:cBhvr additive="base">
                                        <p:cTn id="65" dur="1250" fill="hold"/>
                                        <p:tgtEl>
                                          <p:spTgt spid="71"/>
                                        </p:tgtEl>
                                        <p:attrNameLst>
                                          <p:attrName>ppt_y</p:attrName>
                                        </p:attrNameLst>
                                      </p:cBhvr>
                                      <p:tavLst>
                                        <p:tav tm="0">
                                          <p:val>
                                            <p:strVal val="0-#ppt_h/2"/>
                                          </p:val>
                                        </p:tav>
                                        <p:tav tm="100000">
                                          <p:val>
                                            <p:strVal val="#ppt_y"/>
                                          </p:val>
                                        </p:tav>
                                      </p:tavLst>
                                    </p:anim>
                                  </p:childTnLst>
                                </p:cTn>
                              </p:par>
                              <p:par>
                                <p:cTn id="66" presetID="10" presetClass="entr" presetSubtype="0" fill="hold" grpId="0" nodeType="withEffect">
                                  <p:stCondLst>
                                    <p:cond delay="1500"/>
                                  </p:stCondLst>
                                  <p:childTnLst>
                                    <p:set>
                                      <p:cBhvr>
                                        <p:cTn id="67" dur="1" fill="hold">
                                          <p:stCondLst>
                                            <p:cond delay="0"/>
                                          </p:stCondLst>
                                        </p:cTn>
                                        <p:tgtEl>
                                          <p:spTgt spid="62"/>
                                        </p:tgtEl>
                                        <p:attrNameLst>
                                          <p:attrName>style.visibility</p:attrName>
                                        </p:attrNameLst>
                                      </p:cBhvr>
                                      <p:to>
                                        <p:strVal val="visible"/>
                                      </p:to>
                                    </p:set>
                                    <p:animEffect transition="in" filter="fade">
                                      <p:cBhvr>
                                        <p:cTn id="68" dur="500"/>
                                        <p:tgtEl>
                                          <p:spTgt spid="62"/>
                                        </p:tgtEl>
                                      </p:cBhvr>
                                    </p:animEffect>
                                  </p:childTnLst>
                                </p:cTn>
                              </p:par>
                              <p:par>
                                <p:cTn id="69" presetID="64" presetClass="path" presetSubtype="0" accel="50000" decel="50000" fill="hold" grpId="1" nodeType="withEffect">
                                  <p:stCondLst>
                                    <p:cond delay="1000"/>
                                  </p:stCondLst>
                                  <p:childTnLst>
                                    <p:animMotion origin="layout" path="M -2.03217E-6 -1.6069E-6 L -2.03217E-6 -0.05787 " pathEditMode="relative" rAng="0" ptsTypes="AA">
                                      <p:cBhvr>
                                        <p:cTn id="70" dur="1000" spd="-100000" fill="hold"/>
                                        <p:tgtEl>
                                          <p:spTgt spid="62"/>
                                        </p:tgtEl>
                                        <p:attrNameLst>
                                          <p:attrName>ppt_x</p:attrName>
                                          <p:attrName>ppt_y</p:attrName>
                                        </p:attrNameLst>
                                      </p:cBhvr>
                                      <p:rCtr x="0" y="-2905"/>
                                    </p:animMotion>
                                  </p:childTnLst>
                                </p:cTn>
                              </p:par>
                              <p:par>
                                <p:cTn id="71" presetID="10" presetClass="entr" presetSubtype="0" fill="hold" grpId="0" nodeType="withEffect">
                                  <p:stCondLst>
                                    <p:cond delay="1750"/>
                                  </p:stCondLst>
                                  <p:childTnLst>
                                    <p:set>
                                      <p:cBhvr>
                                        <p:cTn id="72" dur="1" fill="hold">
                                          <p:stCondLst>
                                            <p:cond delay="0"/>
                                          </p:stCondLst>
                                        </p:cTn>
                                        <p:tgtEl>
                                          <p:spTgt spid="125"/>
                                        </p:tgtEl>
                                        <p:attrNameLst>
                                          <p:attrName>style.visibility</p:attrName>
                                        </p:attrNameLst>
                                      </p:cBhvr>
                                      <p:to>
                                        <p:strVal val="visible"/>
                                      </p:to>
                                    </p:set>
                                    <p:animEffect transition="in" filter="fade">
                                      <p:cBhvr>
                                        <p:cTn id="73" dur="500"/>
                                        <p:tgtEl>
                                          <p:spTgt spid="125"/>
                                        </p:tgtEl>
                                      </p:cBhvr>
                                    </p:animEffect>
                                  </p:childTnLst>
                                </p:cTn>
                              </p:par>
                              <p:par>
                                <p:cTn id="74" presetID="64" presetClass="path" presetSubtype="0" accel="50000" decel="50000" fill="hold" grpId="1" nodeType="withEffect">
                                  <p:stCondLst>
                                    <p:cond delay="1250"/>
                                  </p:stCondLst>
                                  <p:childTnLst>
                                    <p:animMotion origin="layout" path="M -2.03217E-6 -1.6069E-6 L -2.03217E-6 -0.05787 " pathEditMode="relative" rAng="0" ptsTypes="AA">
                                      <p:cBhvr>
                                        <p:cTn id="75" dur="1000" spd="-100000" fill="hold"/>
                                        <p:tgtEl>
                                          <p:spTgt spid="125"/>
                                        </p:tgtEl>
                                        <p:attrNameLst>
                                          <p:attrName>ppt_x</p:attrName>
                                          <p:attrName>ppt_y</p:attrName>
                                        </p:attrNameLst>
                                      </p:cBhvr>
                                      <p:rCtr x="0" y="-2905"/>
                                    </p:animMotion>
                                  </p:childTnLst>
                                </p:cTn>
                              </p:par>
                            </p:childTnLst>
                          </p:cTn>
                        </p:par>
                        <p:par>
                          <p:cTn id="76" fill="hold">
                            <p:stCondLst>
                              <p:cond delay="6750"/>
                            </p:stCondLst>
                            <p:childTnLst>
                              <p:par>
                                <p:cTn id="77" presetID="10" presetClass="entr" presetSubtype="0" fill="hold" nodeType="afterEffect">
                                  <p:stCondLst>
                                    <p:cond delay="500"/>
                                  </p:stCondLst>
                                  <p:childTnLst>
                                    <p:set>
                                      <p:cBhvr>
                                        <p:cTn id="78" dur="1" fill="hold">
                                          <p:stCondLst>
                                            <p:cond delay="0"/>
                                          </p:stCondLst>
                                        </p:cTn>
                                        <p:tgtEl>
                                          <p:spTgt spid="103"/>
                                        </p:tgtEl>
                                        <p:attrNameLst>
                                          <p:attrName>style.visibility</p:attrName>
                                        </p:attrNameLst>
                                      </p:cBhvr>
                                      <p:to>
                                        <p:strVal val="visible"/>
                                      </p:to>
                                    </p:set>
                                    <p:animEffect transition="in" filter="fade">
                                      <p:cBhvr>
                                        <p:cTn id="79" dur="750"/>
                                        <p:tgtEl>
                                          <p:spTgt spid="103"/>
                                        </p:tgtEl>
                                      </p:cBhvr>
                                    </p:animEffect>
                                  </p:childTnLst>
                                </p:cTn>
                              </p:par>
                              <p:par>
                                <p:cTn id="80" presetID="35" presetClass="path" presetSubtype="0" accel="50000" decel="50000" fill="hold" nodeType="withEffect">
                                  <p:stCondLst>
                                    <p:cond delay="0"/>
                                  </p:stCondLst>
                                  <p:childTnLst>
                                    <p:animMotion origin="layout" path="M 3.01762E-6 2.04267E-6 L -0.09612 2.04267E-6 " pathEditMode="relative" rAng="0" ptsTypes="AA">
                                      <p:cBhvr>
                                        <p:cTn id="81" dur="1250" spd="-100000" fill="hold"/>
                                        <p:tgtEl>
                                          <p:spTgt spid="103"/>
                                        </p:tgtEl>
                                        <p:attrNameLst>
                                          <p:attrName>ppt_x</p:attrName>
                                          <p:attrName>ppt_y</p:attrName>
                                        </p:attrNameLst>
                                      </p:cBhvr>
                                      <p:rCtr x="-4812" y="0"/>
                                    </p:animMotion>
                                  </p:childTnLst>
                                </p:cTn>
                              </p:par>
                              <p:par>
                                <p:cTn id="82" presetID="22" presetClass="entr" presetSubtype="8" fill="hold" grpId="0" nodeType="withEffect">
                                  <p:stCondLst>
                                    <p:cond delay="500"/>
                                  </p:stCondLst>
                                  <p:childTnLst>
                                    <p:set>
                                      <p:cBhvr>
                                        <p:cTn id="83" dur="1" fill="hold">
                                          <p:stCondLst>
                                            <p:cond delay="0"/>
                                          </p:stCondLst>
                                        </p:cTn>
                                        <p:tgtEl>
                                          <p:spTgt spid="78"/>
                                        </p:tgtEl>
                                        <p:attrNameLst>
                                          <p:attrName>style.visibility</p:attrName>
                                        </p:attrNameLst>
                                      </p:cBhvr>
                                      <p:to>
                                        <p:strVal val="visible"/>
                                      </p:to>
                                    </p:set>
                                    <p:animEffect transition="in" filter="wipe(left)">
                                      <p:cBhvr>
                                        <p:cTn id="84" dur="1250"/>
                                        <p:tgtEl>
                                          <p:spTgt spid="78"/>
                                        </p:tgtEl>
                                      </p:cBhvr>
                                    </p:animEffect>
                                  </p:childTnLst>
                                </p:cTn>
                              </p:par>
                              <p:par>
                                <p:cTn id="85" presetID="2" presetClass="entr" presetSubtype="1" decel="100000" fill="hold" grpId="0" nodeType="withEffect">
                                  <p:stCondLst>
                                    <p:cond delay="500"/>
                                  </p:stCondLst>
                                  <p:childTnLst>
                                    <p:set>
                                      <p:cBhvr>
                                        <p:cTn id="86" dur="1" fill="hold">
                                          <p:stCondLst>
                                            <p:cond delay="0"/>
                                          </p:stCondLst>
                                        </p:cTn>
                                        <p:tgtEl>
                                          <p:spTgt spid="72"/>
                                        </p:tgtEl>
                                        <p:attrNameLst>
                                          <p:attrName>style.visibility</p:attrName>
                                        </p:attrNameLst>
                                      </p:cBhvr>
                                      <p:to>
                                        <p:strVal val="visible"/>
                                      </p:to>
                                    </p:set>
                                    <p:anim calcmode="lin" valueType="num">
                                      <p:cBhvr additive="base">
                                        <p:cTn id="87" dur="1250" fill="hold"/>
                                        <p:tgtEl>
                                          <p:spTgt spid="72"/>
                                        </p:tgtEl>
                                        <p:attrNameLst>
                                          <p:attrName>ppt_x</p:attrName>
                                        </p:attrNameLst>
                                      </p:cBhvr>
                                      <p:tavLst>
                                        <p:tav tm="0">
                                          <p:val>
                                            <p:strVal val="#ppt_x"/>
                                          </p:val>
                                        </p:tav>
                                        <p:tav tm="100000">
                                          <p:val>
                                            <p:strVal val="#ppt_x"/>
                                          </p:val>
                                        </p:tav>
                                      </p:tavLst>
                                    </p:anim>
                                    <p:anim calcmode="lin" valueType="num">
                                      <p:cBhvr additive="base">
                                        <p:cTn id="88" dur="1250" fill="hold"/>
                                        <p:tgtEl>
                                          <p:spTgt spid="72"/>
                                        </p:tgtEl>
                                        <p:attrNameLst>
                                          <p:attrName>ppt_y</p:attrName>
                                        </p:attrNameLst>
                                      </p:cBhvr>
                                      <p:tavLst>
                                        <p:tav tm="0">
                                          <p:val>
                                            <p:strVal val="0-#ppt_h/2"/>
                                          </p:val>
                                        </p:tav>
                                        <p:tav tm="100000">
                                          <p:val>
                                            <p:strVal val="#ppt_y"/>
                                          </p:val>
                                        </p:tav>
                                      </p:tavLst>
                                    </p:anim>
                                  </p:childTnLst>
                                </p:cTn>
                              </p:par>
                              <p:par>
                                <p:cTn id="89" presetID="10" presetClass="entr" presetSubtype="0" fill="hold" grpId="0" nodeType="withEffect">
                                  <p:stCondLst>
                                    <p:cond delay="1500"/>
                                  </p:stCondLst>
                                  <p:childTnLst>
                                    <p:set>
                                      <p:cBhvr>
                                        <p:cTn id="90" dur="1" fill="hold">
                                          <p:stCondLst>
                                            <p:cond delay="0"/>
                                          </p:stCondLst>
                                        </p:cTn>
                                        <p:tgtEl>
                                          <p:spTgt spid="63"/>
                                        </p:tgtEl>
                                        <p:attrNameLst>
                                          <p:attrName>style.visibility</p:attrName>
                                        </p:attrNameLst>
                                      </p:cBhvr>
                                      <p:to>
                                        <p:strVal val="visible"/>
                                      </p:to>
                                    </p:set>
                                    <p:animEffect transition="in" filter="fade">
                                      <p:cBhvr>
                                        <p:cTn id="91" dur="500"/>
                                        <p:tgtEl>
                                          <p:spTgt spid="63"/>
                                        </p:tgtEl>
                                      </p:cBhvr>
                                    </p:animEffect>
                                  </p:childTnLst>
                                </p:cTn>
                              </p:par>
                              <p:par>
                                <p:cTn id="92" presetID="64" presetClass="path" presetSubtype="0" accel="50000" decel="50000" fill="hold" grpId="1" nodeType="withEffect">
                                  <p:stCondLst>
                                    <p:cond delay="1000"/>
                                  </p:stCondLst>
                                  <p:childTnLst>
                                    <p:animMotion origin="layout" path="M -4.35793E-6 -1.6069E-6 L -4.35793E-6 -0.05697 " pathEditMode="relative" rAng="0" ptsTypes="AA">
                                      <p:cBhvr>
                                        <p:cTn id="93" dur="1000" spd="-100000" fill="hold"/>
                                        <p:tgtEl>
                                          <p:spTgt spid="63"/>
                                        </p:tgtEl>
                                        <p:attrNameLst>
                                          <p:attrName>ppt_x</p:attrName>
                                          <p:attrName>ppt_y</p:attrName>
                                        </p:attrNameLst>
                                      </p:cBhvr>
                                      <p:rCtr x="0" y="-2860"/>
                                    </p:animMotion>
                                  </p:childTnLst>
                                </p:cTn>
                              </p:par>
                              <p:par>
                                <p:cTn id="94" presetID="10" presetClass="entr" presetSubtype="0" fill="hold" grpId="0" nodeType="withEffect">
                                  <p:stCondLst>
                                    <p:cond delay="1750"/>
                                  </p:stCondLst>
                                  <p:childTnLst>
                                    <p:set>
                                      <p:cBhvr>
                                        <p:cTn id="95" dur="1" fill="hold">
                                          <p:stCondLst>
                                            <p:cond delay="0"/>
                                          </p:stCondLst>
                                        </p:cTn>
                                        <p:tgtEl>
                                          <p:spTgt spid="126"/>
                                        </p:tgtEl>
                                        <p:attrNameLst>
                                          <p:attrName>style.visibility</p:attrName>
                                        </p:attrNameLst>
                                      </p:cBhvr>
                                      <p:to>
                                        <p:strVal val="visible"/>
                                      </p:to>
                                    </p:set>
                                    <p:animEffect transition="in" filter="fade">
                                      <p:cBhvr>
                                        <p:cTn id="96" dur="500"/>
                                        <p:tgtEl>
                                          <p:spTgt spid="126"/>
                                        </p:tgtEl>
                                      </p:cBhvr>
                                    </p:animEffect>
                                  </p:childTnLst>
                                </p:cTn>
                              </p:par>
                              <p:par>
                                <p:cTn id="97" presetID="64" presetClass="path" presetSubtype="0" accel="50000" decel="50000" fill="hold" grpId="1" nodeType="withEffect">
                                  <p:stCondLst>
                                    <p:cond delay="1250"/>
                                  </p:stCondLst>
                                  <p:childTnLst>
                                    <p:animMotion origin="layout" path="M -4.35793E-6 -1.6069E-6 L -4.35793E-6 -0.05697 " pathEditMode="relative" rAng="0" ptsTypes="AA">
                                      <p:cBhvr>
                                        <p:cTn id="98" dur="1000" spd="-100000" fill="hold"/>
                                        <p:tgtEl>
                                          <p:spTgt spid="126"/>
                                        </p:tgtEl>
                                        <p:attrNameLst>
                                          <p:attrName>ppt_x</p:attrName>
                                          <p:attrName>ppt_y</p:attrName>
                                        </p:attrNameLst>
                                      </p:cBhvr>
                                      <p:rCtr x="0" y="-2860"/>
                                    </p:animMotion>
                                  </p:childTnLst>
                                </p:cTn>
                              </p:par>
                              <p:par>
                                <p:cTn id="99" presetID="10" presetClass="exit" presetSubtype="0" fill="hold" grpId="2" nodeType="withEffect">
                                  <p:stCondLst>
                                    <p:cond delay="3000"/>
                                  </p:stCondLst>
                                  <p:childTnLst>
                                    <p:animEffect transition="out" filter="fade">
                                      <p:cBhvr>
                                        <p:cTn id="100" dur="500"/>
                                        <p:tgtEl>
                                          <p:spTgt spid="3"/>
                                        </p:tgtEl>
                                      </p:cBhvr>
                                    </p:animEffect>
                                    <p:set>
                                      <p:cBhvr>
                                        <p:cTn id="101" dur="1" fill="hold">
                                          <p:stCondLst>
                                            <p:cond delay="499"/>
                                          </p:stCondLst>
                                        </p:cTn>
                                        <p:tgtEl>
                                          <p:spTgt spid="3"/>
                                        </p:tgtEl>
                                        <p:attrNameLst>
                                          <p:attrName>style.visibility</p:attrName>
                                        </p:attrNameLst>
                                      </p:cBhvr>
                                      <p:to>
                                        <p:strVal val="hidden"/>
                                      </p:to>
                                    </p:set>
                                  </p:childTnLst>
                                </p:cTn>
                              </p:par>
                              <p:par>
                                <p:cTn id="102" presetID="10" presetClass="exit" presetSubtype="0" fill="hold" grpId="2" nodeType="withEffect">
                                  <p:stCondLst>
                                    <p:cond delay="3000"/>
                                  </p:stCondLst>
                                  <p:childTnLst>
                                    <p:animEffect transition="out" filter="fade">
                                      <p:cBhvr>
                                        <p:cTn id="103" dur="500"/>
                                        <p:tgtEl>
                                          <p:spTgt spid="124"/>
                                        </p:tgtEl>
                                      </p:cBhvr>
                                    </p:animEffect>
                                    <p:set>
                                      <p:cBhvr>
                                        <p:cTn id="104" dur="1" fill="hold">
                                          <p:stCondLst>
                                            <p:cond delay="499"/>
                                          </p:stCondLst>
                                        </p:cTn>
                                        <p:tgtEl>
                                          <p:spTgt spid="124"/>
                                        </p:tgtEl>
                                        <p:attrNameLst>
                                          <p:attrName>style.visibility</p:attrName>
                                        </p:attrNameLst>
                                      </p:cBhvr>
                                      <p:to>
                                        <p:strVal val="hidden"/>
                                      </p:to>
                                    </p:set>
                                  </p:childTnLst>
                                </p:cTn>
                              </p:par>
                              <p:par>
                                <p:cTn id="105" presetID="10" presetClass="exit" presetSubtype="0" fill="hold" grpId="2" nodeType="withEffect">
                                  <p:stCondLst>
                                    <p:cond delay="3000"/>
                                  </p:stCondLst>
                                  <p:childTnLst>
                                    <p:animEffect transition="out" filter="fade">
                                      <p:cBhvr>
                                        <p:cTn id="106" dur="500"/>
                                        <p:tgtEl>
                                          <p:spTgt spid="125"/>
                                        </p:tgtEl>
                                      </p:cBhvr>
                                    </p:animEffect>
                                    <p:set>
                                      <p:cBhvr>
                                        <p:cTn id="107" dur="1" fill="hold">
                                          <p:stCondLst>
                                            <p:cond delay="499"/>
                                          </p:stCondLst>
                                        </p:cTn>
                                        <p:tgtEl>
                                          <p:spTgt spid="125"/>
                                        </p:tgtEl>
                                        <p:attrNameLst>
                                          <p:attrName>style.visibility</p:attrName>
                                        </p:attrNameLst>
                                      </p:cBhvr>
                                      <p:to>
                                        <p:strVal val="hidden"/>
                                      </p:to>
                                    </p:set>
                                  </p:childTnLst>
                                </p:cTn>
                              </p:par>
                              <p:par>
                                <p:cTn id="108" presetID="10" presetClass="exit" presetSubtype="0" fill="hold" grpId="2" nodeType="withEffect">
                                  <p:stCondLst>
                                    <p:cond delay="3000"/>
                                  </p:stCondLst>
                                  <p:childTnLst>
                                    <p:animEffect transition="out" filter="fade">
                                      <p:cBhvr>
                                        <p:cTn id="109" dur="500"/>
                                        <p:tgtEl>
                                          <p:spTgt spid="126"/>
                                        </p:tgtEl>
                                      </p:cBhvr>
                                    </p:animEffect>
                                    <p:set>
                                      <p:cBhvr>
                                        <p:cTn id="110" dur="1" fill="hold">
                                          <p:stCondLst>
                                            <p:cond delay="499"/>
                                          </p:stCondLst>
                                        </p:cTn>
                                        <p:tgtEl>
                                          <p:spTgt spid="126"/>
                                        </p:tgtEl>
                                        <p:attrNameLst>
                                          <p:attrName>style.visibility</p:attrName>
                                        </p:attrNameLst>
                                      </p:cBhvr>
                                      <p:to>
                                        <p:strVal val="hidden"/>
                                      </p:to>
                                    </p:set>
                                  </p:childTnLst>
                                </p:cTn>
                              </p:par>
                            </p:childTnLst>
                          </p:cTn>
                        </p:par>
                        <p:par>
                          <p:cTn id="111" fill="hold">
                            <p:stCondLst>
                              <p:cond delay="10250"/>
                            </p:stCondLst>
                            <p:childTnLst>
                              <p:par>
                                <p:cTn id="112" presetID="10" presetClass="entr" presetSubtype="0" fill="hold" nodeType="afterEffect">
                                  <p:stCondLst>
                                    <p:cond delay="500"/>
                                  </p:stCondLst>
                                  <p:childTnLst>
                                    <p:set>
                                      <p:cBhvr>
                                        <p:cTn id="113" dur="1" fill="hold">
                                          <p:stCondLst>
                                            <p:cond delay="0"/>
                                          </p:stCondLst>
                                        </p:cTn>
                                        <p:tgtEl>
                                          <p:spTgt spid="5"/>
                                        </p:tgtEl>
                                        <p:attrNameLst>
                                          <p:attrName>style.visibility</p:attrName>
                                        </p:attrNameLst>
                                      </p:cBhvr>
                                      <p:to>
                                        <p:strVal val="visible"/>
                                      </p:to>
                                    </p:set>
                                    <p:animEffect transition="in" filter="fade">
                                      <p:cBhvr>
                                        <p:cTn id="114" dur="750"/>
                                        <p:tgtEl>
                                          <p:spTgt spid="5"/>
                                        </p:tgtEl>
                                      </p:cBhvr>
                                    </p:animEffect>
                                  </p:childTnLst>
                                </p:cTn>
                              </p:par>
                              <p:par>
                                <p:cTn id="115" presetID="42" presetClass="path" presetSubtype="0" accel="50000" decel="50000" fill="hold" nodeType="withEffect">
                                  <p:stCondLst>
                                    <p:cond delay="0"/>
                                  </p:stCondLst>
                                  <p:childTnLst>
                                    <p:animMotion origin="layout" path="M 0 0 L 0 0.25 E" pathEditMode="relative" ptsTypes="">
                                      <p:cBhvr>
                                        <p:cTn id="116" dur="1250" spd="-100000" fill="hold"/>
                                        <p:tgtEl>
                                          <p:spTgt spid="5"/>
                                        </p:tgtEl>
                                        <p:attrNameLst>
                                          <p:attrName>ppt_x</p:attrName>
                                          <p:attrName>ppt_y</p:attrName>
                                        </p:attrNameLst>
                                      </p:cBhvr>
                                    </p:animMotion>
                                  </p:childTnLst>
                                </p:cTn>
                              </p:par>
                            </p:childTnLst>
                          </p:cTn>
                        </p:par>
                      </p:childTnLst>
                    </p:cTn>
                  </p:par>
                  <p:par>
                    <p:cTn id="117" fill="hold">
                      <p:stCondLst>
                        <p:cond delay="indefinite"/>
                      </p:stCondLst>
                      <p:childTnLst>
                        <p:par>
                          <p:cTn id="118" fill="hold">
                            <p:stCondLst>
                              <p:cond delay="0"/>
                            </p:stCondLst>
                            <p:childTnLst>
                              <p:par>
                                <p:cTn id="119" presetID="10" presetClass="exit" presetSubtype="0" fill="hold" grpId="1" nodeType="clickEffect">
                                  <p:stCondLst>
                                    <p:cond delay="0"/>
                                  </p:stCondLst>
                                  <p:childTnLst>
                                    <p:animEffect transition="out" filter="fade">
                                      <p:cBhvr>
                                        <p:cTn id="120" dur="500"/>
                                        <p:tgtEl>
                                          <p:spTgt spid="65"/>
                                        </p:tgtEl>
                                      </p:cBhvr>
                                    </p:animEffect>
                                    <p:set>
                                      <p:cBhvr>
                                        <p:cTn id="121" dur="1" fill="hold">
                                          <p:stCondLst>
                                            <p:cond delay="499"/>
                                          </p:stCondLst>
                                        </p:cTn>
                                        <p:tgtEl>
                                          <p:spTgt spid="65"/>
                                        </p:tgtEl>
                                        <p:attrNameLst>
                                          <p:attrName>style.visibility</p:attrName>
                                        </p:attrNameLst>
                                      </p:cBhvr>
                                      <p:to>
                                        <p:strVal val="hidden"/>
                                      </p:to>
                                    </p:set>
                                  </p:childTnLst>
                                </p:cTn>
                              </p:par>
                              <p:par>
                                <p:cTn id="122" presetID="10" presetClass="exit" presetSubtype="0" fill="hold" grpId="2" nodeType="withEffect">
                                  <p:stCondLst>
                                    <p:cond delay="0"/>
                                  </p:stCondLst>
                                  <p:childTnLst>
                                    <p:animEffect transition="out" filter="fade">
                                      <p:cBhvr>
                                        <p:cTn id="123" dur="500"/>
                                        <p:tgtEl>
                                          <p:spTgt spid="58"/>
                                        </p:tgtEl>
                                      </p:cBhvr>
                                    </p:animEffect>
                                    <p:set>
                                      <p:cBhvr>
                                        <p:cTn id="124" dur="1" fill="hold">
                                          <p:stCondLst>
                                            <p:cond delay="499"/>
                                          </p:stCondLst>
                                        </p:cTn>
                                        <p:tgtEl>
                                          <p:spTgt spid="58"/>
                                        </p:tgtEl>
                                        <p:attrNameLst>
                                          <p:attrName>style.visibility</p:attrName>
                                        </p:attrNameLst>
                                      </p:cBhvr>
                                      <p:to>
                                        <p:strVal val="hidden"/>
                                      </p:to>
                                    </p:set>
                                  </p:childTnLst>
                                </p:cTn>
                              </p:par>
                              <p:par>
                                <p:cTn id="125" presetID="10" presetClass="exit" presetSubtype="0" fill="hold" grpId="1" nodeType="withEffect">
                                  <p:stCondLst>
                                    <p:cond delay="0"/>
                                  </p:stCondLst>
                                  <p:childTnLst>
                                    <p:animEffect transition="out" filter="fade">
                                      <p:cBhvr>
                                        <p:cTn id="126" dur="500"/>
                                        <p:tgtEl>
                                          <p:spTgt spid="66"/>
                                        </p:tgtEl>
                                      </p:cBhvr>
                                    </p:animEffect>
                                    <p:set>
                                      <p:cBhvr>
                                        <p:cTn id="127" dur="1" fill="hold">
                                          <p:stCondLst>
                                            <p:cond delay="499"/>
                                          </p:stCondLst>
                                        </p:cTn>
                                        <p:tgtEl>
                                          <p:spTgt spid="66"/>
                                        </p:tgtEl>
                                        <p:attrNameLst>
                                          <p:attrName>style.visibility</p:attrName>
                                        </p:attrNameLst>
                                      </p:cBhvr>
                                      <p:to>
                                        <p:strVal val="hidden"/>
                                      </p:to>
                                    </p:set>
                                  </p:childTnLst>
                                </p:cTn>
                              </p:par>
                              <p:par>
                                <p:cTn id="128" presetID="10" presetClass="exit" presetSubtype="0" fill="hold" grpId="2" nodeType="withEffect">
                                  <p:stCondLst>
                                    <p:cond delay="0"/>
                                  </p:stCondLst>
                                  <p:childTnLst>
                                    <p:animEffect transition="out" filter="fade">
                                      <p:cBhvr>
                                        <p:cTn id="129" dur="500"/>
                                        <p:tgtEl>
                                          <p:spTgt spid="61"/>
                                        </p:tgtEl>
                                      </p:cBhvr>
                                    </p:animEffect>
                                    <p:set>
                                      <p:cBhvr>
                                        <p:cTn id="130" dur="1" fill="hold">
                                          <p:stCondLst>
                                            <p:cond delay="499"/>
                                          </p:stCondLst>
                                        </p:cTn>
                                        <p:tgtEl>
                                          <p:spTgt spid="61"/>
                                        </p:tgtEl>
                                        <p:attrNameLst>
                                          <p:attrName>style.visibility</p:attrName>
                                        </p:attrNameLst>
                                      </p:cBhvr>
                                      <p:to>
                                        <p:strVal val="hidden"/>
                                      </p:to>
                                    </p:set>
                                  </p:childTnLst>
                                </p:cTn>
                              </p:par>
                              <p:par>
                                <p:cTn id="131" presetID="10" presetClass="exit" presetSubtype="0" fill="hold" grpId="1" nodeType="withEffect">
                                  <p:stCondLst>
                                    <p:cond delay="0"/>
                                  </p:stCondLst>
                                  <p:childTnLst>
                                    <p:animEffect transition="out" filter="fade">
                                      <p:cBhvr>
                                        <p:cTn id="132" dur="500"/>
                                        <p:tgtEl>
                                          <p:spTgt spid="71"/>
                                        </p:tgtEl>
                                      </p:cBhvr>
                                    </p:animEffect>
                                    <p:set>
                                      <p:cBhvr>
                                        <p:cTn id="133" dur="1" fill="hold">
                                          <p:stCondLst>
                                            <p:cond delay="499"/>
                                          </p:stCondLst>
                                        </p:cTn>
                                        <p:tgtEl>
                                          <p:spTgt spid="71"/>
                                        </p:tgtEl>
                                        <p:attrNameLst>
                                          <p:attrName>style.visibility</p:attrName>
                                        </p:attrNameLst>
                                      </p:cBhvr>
                                      <p:to>
                                        <p:strVal val="hidden"/>
                                      </p:to>
                                    </p:set>
                                  </p:childTnLst>
                                </p:cTn>
                              </p:par>
                              <p:par>
                                <p:cTn id="134" presetID="10" presetClass="exit" presetSubtype="0" fill="hold" grpId="2" nodeType="withEffect">
                                  <p:stCondLst>
                                    <p:cond delay="0"/>
                                  </p:stCondLst>
                                  <p:childTnLst>
                                    <p:animEffect transition="out" filter="fade">
                                      <p:cBhvr>
                                        <p:cTn id="135" dur="500"/>
                                        <p:tgtEl>
                                          <p:spTgt spid="62"/>
                                        </p:tgtEl>
                                      </p:cBhvr>
                                    </p:animEffect>
                                    <p:set>
                                      <p:cBhvr>
                                        <p:cTn id="136" dur="1" fill="hold">
                                          <p:stCondLst>
                                            <p:cond delay="499"/>
                                          </p:stCondLst>
                                        </p:cTn>
                                        <p:tgtEl>
                                          <p:spTgt spid="62"/>
                                        </p:tgtEl>
                                        <p:attrNameLst>
                                          <p:attrName>style.visibility</p:attrName>
                                        </p:attrNameLst>
                                      </p:cBhvr>
                                      <p:to>
                                        <p:strVal val="hidden"/>
                                      </p:to>
                                    </p:set>
                                  </p:childTnLst>
                                </p:cTn>
                              </p:par>
                              <p:par>
                                <p:cTn id="137" presetID="10" presetClass="exit" presetSubtype="0" fill="hold" grpId="1" nodeType="withEffect">
                                  <p:stCondLst>
                                    <p:cond delay="0"/>
                                  </p:stCondLst>
                                  <p:childTnLst>
                                    <p:animEffect transition="out" filter="fade">
                                      <p:cBhvr>
                                        <p:cTn id="138" dur="500"/>
                                        <p:tgtEl>
                                          <p:spTgt spid="72"/>
                                        </p:tgtEl>
                                      </p:cBhvr>
                                    </p:animEffect>
                                    <p:set>
                                      <p:cBhvr>
                                        <p:cTn id="139" dur="1" fill="hold">
                                          <p:stCondLst>
                                            <p:cond delay="499"/>
                                          </p:stCondLst>
                                        </p:cTn>
                                        <p:tgtEl>
                                          <p:spTgt spid="72"/>
                                        </p:tgtEl>
                                        <p:attrNameLst>
                                          <p:attrName>style.visibility</p:attrName>
                                        </p:attrNameLst>
                                      </p:cBhvr>
                                      <p:to>
                                        <p:strVal val="hidden"/>
                                      </p:to>
                                    </p:set>
                                  </p:childTnLst>
                                </p:cTn>
                              </p:par>
                              <p:par>
                                <p:cTn id="140" presetID="10" presetClass="exit" presetSubtype="0" fill="hold" grpId="2" nodeType="withEffect">
                                  <p:stCondLst>
                                    <p:cond delay="0"/>
                                  </p:stCondLst>
                                  <p:childTnLst>
                                    <p:animEffect transition="out" filter="fade">
                                      <p:cBhvr>
                                        <p:cTn id="141" dur="500"/>
                                        <p:tgtEl>
                                          <p:spTgt spid="63"/>
                                        </p:tgtEl>
                                      </p:cBhvr>
                                    </p:animEffect>
                                    <p:set>
                                      <p:cBhvr>
                                        <p:cTn id="142" dur="1" fill="hold">
                                          <p:stCondLst>
                                            <p:cond delay="499"/>
                                          </p:stCondLst>
                                        </p:cTn>
                                        <p:tgtEl>
                                          <p:spTgt spid="63"/>
                                        </p:tgtEl>
                                        <p:attrNameLst>
                                          <p:attrName>style.visibility</p:attrName>
                                        </p:attrNameLst>
                                      </p:cBhvr>
                                      <p:to>
                                        <p:strVal val="hidden"/>
                                      </p:to>
                                    </p:set>
                                  </p:childTnLst>
                                </p:cTn>
                              </p:par>
                              <p:par>
                                <p:cTn id="143" presetID="16" presetClass="exit" presetSubtype="21" fill="hold" nodeType="withEffect">
                                  <p:stCondLst>
                                    <p:cond delay="0"/>
                                  </p:stCondLst>
                                  <p:childTnLst>
                                    <p:animEffect transition="out" filter="barn(inVertical)">
                                      <p:cBhvr>
                                        <p:cTn id="144" dur="500"/>
                                        <p:tgtEl>
                                          <p:spTgt spid="5"/>
                                        </p:tgtEl>
                                      </p:cBhvr>
                                    </p:animEffect>
                                    <p:set>
                                      <p:cBhvr>
                                        <p:cTn id="145" dur="1" fill="hold">
                                          <p:stCondLst>
                                            <p:cond delay="499"/>
                                          </p:stCondLst>
                                        </p:cTn>
                                        <p:tgtEl>
                                          <p:spTgt spid="5"/>
                                        </p:tgtEl>
                                        <p:attrNameLst>
                                          <p:attrName>style.visibility</p:attrName>
                                        </p:attrNameLst>
                                      </p:cBhvr>
                                      <p:to>
                                        <p:strVal val="hidden"/>
                                      </p:to>
                                    </p:set>
                                  </p:childTnLst>
                                </p:cTn>
                              </p:par>
                              <p:par>
                                <p:cTn id="146" presetID="53" presetClass="entr" presetSubtype="16" fill="hold" nodeType="withEffect">
                                  <p:stCondLst>
                                    <p:cond delay="500"/>
                                  </p:stCondLst>
                                  <p:childTnLst>
                                    <p:set>
                                      <p:cBhvr>
                                        <p:cTn id="147" dur="1" fill="hold">
                                          <p:stCondLst>
                                            <p:cond delay="0"/>
                                          </p:stCondLst>
                                        </p:cTn>
                                        <p:tgtEl>
                                          <p:spTgt spid="70"/>
                                        </p:tgtEl>
                                        <p:attrNameLst>
                                          <p:attrName>style.visibility</p:attrName>
                                        </p:attrNameLst>
                                      </p:cBhvr>
                                      <p:to>
                                        <p:strVal val="visible"/>
                                      </p:to>
                                    </p:set>
                                    <p:anim calcmode="lin" valueType="num">
                                      <p:cBhvr>
                                        <p:cTn id="148" dur="500" fill="hold"/>
                                        <p:tgtEl>
                                          <p:spTgt spid="70"/>
                                        </p:tgtEl>
                                        <p:attrNameLst>
                                          <p:attrName>ppt_w</p:attrName>
                                        </p:attrNameLst>
                                      </p:cBhvr>
                                      <p:tavLst>
                                        <p:tav tm="0">
                                          <p:val>
                                            <p:fltVal val="0"/>
                                          </p:val>
                                        </p:tav>
                                        <p:tav tm="100000">
                                          <p:val>
                                            <p:strVal val="#ppt_w"/>
                                          </p:val>
                                        </p:tav>
                                      </p:tavLst>
                                    </p:anim>
                                    <p:anim calcmode="lin" valueType="num">
                                      <p:cBhvr>
                                        <p:cTn id="149" dur="500" fill="hold"/>
                                        <p:tgtEl>
                                          <p:spTgt spid="70"/>
                                        </p:tgtEl>
                                        <p:attrNameLst>
                                          <p:attrName>ppt_h</p:attrName>
                                        </p:attrNameLst>
                                      </p:cBhvr>
                                      <p:tavLst>
                                        <p:tav tm="0">
                                          <p:val>
                                            <p:fltVal val="0"/>
                                          </p:val>
                                        </p:tav>
                                        <p:tav tm="100000">
                                          <p:val>
                                            <p:strVal val="#ppt_h"/>
                                          </p:val>
                                        </p:tav>
                                      </p:tavLst>
                                    </p:anim>
                                    <p:animEffect transition="in" filter="fade">
                                      <p:cBhvr>
                                        <p:cTn id="150" dur="500"/>
                                        <p:tgtEl>
                                          <p:spTgt spid="70"/>
                                        </p:tgtEl>
                                      </p:cBhvr>
                                    </p:animEffect>
                                  </p:childTnLst>
                                </p:cTn>
                              </p:par>
                              <p:par>
                                <p:cTn id="151" presetID="1" presetClass="exit" presetSubtype="0" fill="hold" grpId="0" nodeType="withEffect">
                                  <p:stCondLst>
                                    <p:cond delay="500"/>
                                  </p:stCondLst>
                                  <p:childTnLst>
                                    <p:set>
                                      <p:cBhvr>
                                        <p:cTn id="152" dur="1" fill="hold">
                                          <p:stCondLst>
                                            <p:cond delay="0"/>
                                          </p:stCondLst>
                                        </p:cTn>
                                        <p:tgtEl>
                                          <p:spTgt spid="129"/>
                                        </p:tgtEl>
                                        <p:attrNameLst>
                                          <p:attrName>style.visibility</p:attrName>
                                        </p:attrNameLst>
                                      </p:cBhvr>
                                      <p:to>
                                        <p:strVal val="hidden"/>
                                      </p:to>
                                    </p:set>
                                  </p:childTnLst>
                                </p:cTn>
                              </p:par>
                              <p:par>
                                <p:cTn id="153" presetID="6" presetClass="emph" presetSubtype="0" accel="52000" decel="48000" autoRev="1" fill="hold" nodeType="withEffect">
                                  <p:stCondLst>
                                    <p:cond delay="750"/>
                                  </p:stCondLst>
                                  <p:childTnLst>
                                    <p:animScale>
                                      <p:cBhvr>
                                        <p:cTn id="154" dur="250" fill="hold"/>
                                        <p:tgtEl>
                                          <p:spTgt spid="7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P spid="58" grpId="0"/>
      <p:bldP spid="58" grpId="1"/>
      <p:bldP spid="58" grpId="2"/>
      <p:bldP spid="61" grpId="0"/>
      <p:bldP spid="61" grpId="1"/>
      <p:bldP spid="61" grpId="2"/>
      <p:bldP spid="62" grpId="0"/>
      <p:bldP spid="62" grpId="1"/>
      <p:bldP spid="62" grpId="2"/>
      <p:bldP spid="63" grpId="0"/>
      <p:bldP spid="63" grpId="1"/>
      <p:bldP spid="63" grpId="2"/>
      <p:bldP spid="65" grpId="0"/>
      <p:bldP spid="65" grpId="1"/>
      <p:bldP spid="66" grpId="0"/>
      <p:bldP spid="66" grpId="1"/>
      <p:bldP spid="71" grpId="0"/>
      <p:bldP spid="71" grpId="1"/>
      <p:bldP spid="72" grpId="0"/>
      <p:bldP spid="72" grpId="1"/>
      <p:bldP spid="74" grpId="0" animBg="1" autoUpdateAnimBg="0"/>
      <p:bldP spid="75" grpId="0" animBg="1"/>
      <p:bldP spid="76" grpId="0" animBg="1"/>
      <p:bldP spid="77" grpId="0" animBg="1"/>
      <p:bldP spid="78" grpId="0" animBg="1"/>
      <p:bldP spid="3" grpId="0"/>
      <p:bldP spid="3" grpId="1"/>
      <p:bldP spid="3" grpId="2"/>
      <p:bldP spid="124" grpId="0"/>
      <p:bldP spid="124" grpId="1"/>
      <p:bldP spid="124" grpId="2"/>
      <p:bldP spid="125" grpId="0"/>
      <p:bldP spid="125" grpId="1"/>
      <p:bldP spid="125" grpId="2"/>
      <p:bldP spid="126" grpId="0"/>
      <p:bldP spid="126" grpId="1"/>
      <p:bldP spid="126" grpId="2"/>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4725688" y="4547991"/>
            <a:ext cx="2732853" cy="2732853"/>
            <a:chOff x="4870448" y="4638691"/>
            <a:chExt cx="2787652" cy="2787652"/>
          </a:xfrm>
        </p:grpSpPr>
        <p:sp>
          <p:nvSpPr>
            <p:cNvPr id="376" name="Oval 375"/>
            <p:cNvSpPr/>
            <p:nvPr/>
          </p:nvSpPr>
          <p:spPr bwMode="auto">
            <a:xfrm>
              <a:off x="4870448" y="4638691"/>
              <a:ext cx="2787652" cy="2787652"/>
            </a:xfrm>
            <a:prstGeom prst="ellipse">
              <a:avLst/>
            </a:prstGeom>
            <a:solidFill>
              <a:schemeClr val="tx2"/>
            </a:solidFill>
            <a:ln>
              <a:noFill/>
              <a:headEnd type="none" w="med" len="med"/>
              <a:tailEnd type="none" w="med" len="med"/>
            </a:ln>
            <a:effectLst>
              <a:outerShdw dist="1524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77" name="Freeform 376"/>
            <p:cNvSpPr>
              <a:spLocks/>
            </p:cNvSpPr>
            <p:nvPr/>
          </p:nvSpPr>
          <p:spPr bwMode="auto">
            <a:xfrm>
              <a:off x="5437427" y="5387942"/>
              <a:ext cx="1653693" cy="1087818"/>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524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grpSp>
      <p:sp>
        <p:nvSpPr>
          <p:cNvPr id="13" name="Rectangle 12"/>
          <p:cNvSpPr/>
          <p:nvPr/>
        </p:nvSpPr>
        <p:spPr bwMode="auto">
          <a:xfrm>
            <a:off x="3877069" y="4573776"/>
            <a:ext cx="4459994" cy="22837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a:off x="4117180" y="1824464"/>
            <a:ext cx="3944268" cy="3991231"/>
            <a:chOff x="4199737" y="1860551"/>
            <a:chExt cx="4023359" cy="4071264"/>
          </a:xfrm>
        </p:grpSpPr>
        <p:sp>
          <p:nvSpPr>
            <p:cNvPr id="20" name="Freeform 7"/>
            <p:cNvSpPr>
              <a:spLocks/>
            </p:cNvSpPr>
            <p:nvPr/>
          </p:nvSpPr>
          <p:spPr bwMode="auto">
            <a:xfrm>
              <a:off x="4569816" y="3000079"/>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 name="Freeform 8"/>
            <p:cNvSpPr>
              <a:spLocks/>
            </p:cNvSpPr>
            <p:nvPr/>
          </p:nvSpPr>
          <p:spPr bwMode="auto">
            <a:xfrm>
              <a:off x="4691092" y="3000079"/>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2" name="Freeform 14"/>
            <p:cNvSpPr>
              <a:spLocks/>
            </p:cNvSpPr>
            <p:nvPr/>
          </p:nvSpPr>
          <p:spPr bwMode="auto">
            <a:xfrm>
              <a:off x="5646280"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 name="Freeform 22"/>
            <p:cNvSpPr>
              <a:spLocks/>
            </p:cNvSpPr>
            <p:nvPr/>
          </p:nvSpPr>
          <p:spPr bwMode="auto">
            <a:xfrm>
              <a:off x="6098538" y="3000079"/>
              <a:ext cx="78768"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 name="Freeform 23"/>
            <p:cNvSpPr>
              <a:spLocks noEditPoints="1"/>
            </p:cNvSpPr>
            <p:nvPr/>
          </p:nvSpPr>
          <p:spPr bwMode="auto">
            <a:xfrm>
              <a:off x="6222314" y="300007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 name="Freeform 23"/>
            <p:cNvSpPr>
              <a:spLocks noEditPoints="1"/>
            </p:cNvSpPr>
            <p:nvPr/>
          </p:nvSpPr>
          <p:spPr bwMode="auto">
            <a:xfrm>
              <a:off x="6837800" y="3000079"/>
              <a:ext cx="132528" cy="190348"/>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 name="Freeform 24"/>
            <p:cNvSpPr>
              <a:spLocks noEditPoints="1"/>
            </p:cNvSpPr>
            <p:nvPr/>
          </p:nvSpPr>
          <p:spPr bwMode="auto">
            <a:xfrm>
              <a:off x="7011588" y="3000079"/>
              <a:ext cx="133778" cy="190348"/>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7" name="Freeform 25"/>
            <p:cNvSpPr>
              <a:spLocks/>
            </p:cNvSpPr>
            <p:nvPr/>
          </p:nvSpPr>
          <p:spPr bwMode="auto">
            <a:xfrm>
              <a:off x="7186625" y="3000079"/>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8" name="Freeform 29"/>
            <p:cNvSpPr>
              <a:spLocks noEditPoints="1"/>
            </p:cNvSpPr>
            <p:nvPr/>
          </p:nvSpPr>
          <p:spPr bwMode="auto">
            <a:xfrm>
              <a:off x="7781753" y="3000079"/>
              <a:ext cx="130027" cy="190348"/>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9" name="Freeform 30"/>
            <p:cNvSpPr>
              <a:spLocks/>
            </p:cNvSpPr>
            <p:nvPr/>
          </p:nvSpPr>
          <p:spPr bwMode="auto">
            <a:xfrm>
              <a:off x="7956790" y="3000079"/>
              <a:ext cx="78768" cy="18659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0" name="Freeform 31"/>
            <p:cNvSpPr>
              <a:spLocks/>
            </p:cNvSpPr>
            <p:nvPr/>
          </p:nvSpPr>
          <p:spPr bwMode="auto">
            <a:xfrm>
              <a:off x="8080565" y="3127813"/>
              <a:ext cx="15003" cy="43831"/>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1" name="Freeform 35"/>
            <p:cNvSpPr>
              <a:spLocks noEditPoints="1"/>
            </p:cNvSpPr>
            <p:nvPr/>
          </p:nvSpPr>
          <p:spPr bwMode="auto">
            <a:xfrm>
              <a:off x="4608574" y="322549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2" name="Freeform 41"/>
            <p:cNvSpPr>
              <a:spLocks noEditPoints="1"/>
            </p:cNvSpPr>
            <p:nvPr/>
          </p:nvSpPr>
          <p:spPr bwMode="auto">
            <a:xfrm>
              <a:off x="5552526"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3" name="Freeform 42"/>
            <p:cNvSpPr>
              <a:spLocks/>
            </p:cNvSpPr>
            <p:nvPr/>
          </p:nvSpPr>
          <p:spPr bwMode="auto">
            <a:xfrm>
              <a:off x="5727563" y="3225491"/>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4" name="Freeform 43"/>
            <p:cNvSpPr>
              <a:spLocks noEditPoints="1"/>
            </p:cNvSpPr>
            <p:nvPr/>
          </p:nvSpPr>
          <p:spPr bwMode="auto">
            <a:xfrm>
              <a:off x="5848840" y="3225491"/>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5" name="Freeform 44"/>
            <p:cNvSpPr>
              <a:spLocks/>
            </p:cNvSpPr>
            <p:nvPr/>
          </p:nvSpPr>
          <p:spPr bwMode="auto">
            <a:xfrm>
              <a:off x="6022627"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 name="Freeform 45"/>
            <p:cNvSpPr>
              <a:spLocks noEditPoints="1"/>
            </p:cNvSpPr>
            <p:nvPr/>
          </p:nvSpPr>
          <p:spPr bwMode="auto">
            <a:xfrm>
              <a:off x="6145153" y="3225491"/>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7" name="Freeform 46"/>
            <p:cNvSpPr>
              <a:spLocks/>
            </p:cNvSpPr>
            <p:nvPr/>
          </p:nvSpPr>
          <p:spPr bwMode="auto">
            <a:xfrm>
              <a:off x="6318939" y="3225491"/>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8" name="Freeform 47"/>
            <p:cNvSpPr>
              <a:spLocks noEditPoints="1"/>
            </p:cNvSpPr>
            <p:nvPr/>
          </p:nvSpPr>
          <p:spPr bwMode="auto">
            <a:xfrm>
              <a:off x="6440215" y="3225491"/>
              <a:ext cx="133778" cy="189096"/>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9" name="Freeform 48"/>
            <p:cNvSpPr>
              <a:spLocks noEditPoints="1"/>
            </p:cNvSpPr>
            <p:nvPr/>
          </p:nvSpPr>
          <p:spPr bwMode="auto">
            <a:xfrm>
              <a:off x="6615252" y="322549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0" name="Freeform 49"/>
            <p:cNvSpPr>
              <a:spLocks/>
            </p:cNvSpPr>
            <p:nvPr/>
          </p:nvSpPr>
          <p:spPr bwMode="auto">
            <a:xfrm>
              <a:off x="6790291" y="3225491"/>
              <a:ext cx="76267" cy="18659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 name="Freeform 50"/>
            <p:cNvSpPr>
              <a:spLocks/>
            </p:cNvSpPr>
            <p:nvPr/>
          </p:nvSpPr>
          <p:spPr bwMode="auto">
            <a:xfrm>
              <a:off x="6911566" y="3225491"/>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 name="Freeform 51"/>
            <p:cNvSpPr>
              <a:spLocks/>
            </p:cNvSpPr>
            <p:nvPr/>
          </p:nvSpPr>
          <p:spPr bwMode="auto">
            <a:xfrm>
              <a:off x="7035343"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 name="Freeform 52"/>
            <p:cNvSpPr>
              <a:spLocks noEditPoints="1"/>
            </p:cNvSpPr>
            <p:nvPr/>
          </p:nvSpPr>
          <p:spPr bwMode="auto">
            <a:xfrm>
              <a:off x="7156618" y="3225491"/>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 name="Freeform 56"/>
            <p:cNvSpPr>
              <a:spLocks/>
            </p:cNvSpPr>
            <p:nvPr/>
          </p:nvSpPr>
          <p:spPr bwMode="auto">
            <a:xfrm>
              <a:off x="7751746"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 name="Freeform 57"/>
            <p:cNvSpPr>
              <a:spLocks noEditPoints="1"/>
            </p:cNvSpPr>
            <p:nvPr/>
          </p:nvSpPr>
          <p:spPr bwMode="auto">
            <a:xfrm>
              <a:off x="7873022"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 name="Freeform 58"/>
            <p:cNvSpPr>
              <a:spLocks/>
            </p:cNvSpPr>
            <p:nvPr/>
          </p:nvSpPr>
          <p:spPr bwMode="auto">
            <a:xfrm>
              <a:off x="8048059" y="322549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 name="Freeform 59"/>
            <p:cNvSpPr>
              <a:spLocks/>
            </p:cNvSpPr>
            <p:nvPr/>
          </p:nvSpPr>
          <p:spPr bwMode="auto">
            <a:xfrm>
              <a:off x="4253498" y="3450903"/>
              <a:ext cx="76267" cy="184087"/>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 name="Freeform 60"/>
            <p:cNvSpPr>
              <a:spLocks/>
            </p:cNvSpPr>
            <p:nvPr/>
          </p:nvSpPr>
          <p:spPr bwMode="auto">
            <a:xfrm>
              <a:off x="4374774" y="3450903"/>
              <a:ext cx="76267"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 name="Freeform 61"/>
            <p:cNvSpPr>
              <a:spLocks/>
            </p:cNvSpPr>
            <p:nvPr/>
          </p:nvSpPr>
          <p:spPr bwMode="auto">
            <a:xfrm>
              <a:off x="4496051" y="3450903"/>
              <a:ext cx="80017" cy="184087"/>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 name="Freeform 62"/>
            <p:cNvSpPr>
              <a:spLocks noEditPoints="1"/>
            </p:cNvSpPr>
            <p:nvPr/>
          </p:nvSpPr>
          <p:spPr bwMode="auto">
            <a:xfrm>
              <a:off x="4619826" y="3450903"/>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 name="Freeform 63"/>
            <p:cNvSpPr>
              <a:spLocks noEditPoints="1"/>
            </p:cNvSpPr>
            <p:nvPr/>
          </p:nvSpPr>
          <p:spPr bwMode="auto">
            <a:xfrm>
              <a:off x="4791114" y="3450903"/>
              <a:ext cx="133778" cy="189096"/>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 name="Freeform 64"/>
            <p:cNvSpPr>
              <a:spLocks/>
            </p:cNvSpPr>
            <p:nvPr/>
          </p:nvSpPr>
          <p:spPr bwMode="auto">
            <a:xfrm>
              <a:off x="4966151" y="3450903"/>
              <a:ext cx="80017" cy="184087"/>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 name="Freeform 65"/>
            <p:cNvSpPr>
              <a:spLocks noEditPoints="1"/>
            </p:cNvSpPr>
            <p:nvPr/>
          </p:nvSpPr>
          <p:spPr bwMode="auto">
            <a:xfrm>
              <a:off x="5091178" y="345090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 name="Freeform 66"/>
            <p:cNvSpPr>
              <a:spLocks/>
            </p:cNvSpPr>
            <p:nvPr/>
          </p:nvSpPr>
          <p:spPr bwMode="auto">
            <a:xfrm>
              <a:off x="5264964" y="3450903"/>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 name="Freeform 67"/>
            <p:cNvSpPr>
              <a:spLocks noEditPoints="1"/>
            </p:cNvSpPr>
            <p:nvPr/>
          </p:nvSpPr>
          <p:spPr bwMode="auto">
            <a:xfrm>
              <a:off x="5386241" y="3450903"/>
              <a:ext cx="131279"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 name="Freeform 68"/>
            <p:cNvSpPr>
              <a:spLocks noEditPoints="1"/>
            </p:cNvSpPr>
            <p:nvPr/>
          </p:nvSpPr>
          <p:spPr bwMode="auto">
            <a:xfrm>
              <a:off x="5561278"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 name="Freeform 72"/>
            <p:cNvSpPr>
              <a:spLocks/>
            </p:cNvSpPr>
            <p:nvPr/>
          </p:nvSpPr>
          <p:spPr bwMode="auto">
            <a:xfrm>
              <a:off x="6156405" y="3450903"/>
              <a:ext cx="77516" cy="184087"/>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 name="Freeform 73"/>
            <p:cNvSpPr>
              <a:spLocks noEditPoints="1"/>
            </p:cNvSpPr>
            <p:nvPr/>
          </p:nvSpPr>
          <p:spPr bwMode="auto">
            <a:xfrm>
              <a:off x="6277680" y="3450903"/>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 name="Freeform 76"/>
            <p:cNvSpPr>
              <a:spLocks/>
            </p:cNvSpPr>
            <p:nvPr/>
          </p:nvSpPr>
          <p:spPr bwMode="auto">
            <a:xfrm>
              <a:off x="6749032" y="3450903"/>
              <a:ext cx="78768" cy="184087"/>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 name="Freeform 77"/>
            <p:cNvSpPr>
              <a:spLocks/>
            </p:cNvSpPr>
            <p:nvPr/>
          </p:nvSpPr>
          <p:spPr bwMode="auto">
            <a:xfrm>
              <a:off x="6870307" y="3450903"/>
              <a:ext cx="80017" cy="184087"/>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 name="Freeform 78"/>
            <p:cNvSpPr>
              <a:spLocks/>
            </p:cNvSpPr>
            <p:nvPr/>
          </p:nvSpPr>
          <p:spPr bwMode="auto">
            <a:xfrm>
              <a:off x="6991583" y="3450903"/>
              <a:ext cx="80017" cy="184087"/>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 name="Freeform 79"/>
            <p:cNvSpPr>
              <a:spLocks noEditPoints="1"/>
            </p:cNvSpPr>
            <p:nvPr/>
          </p:nvSpPr>
          <p:spPr bwMode="auto">
            <a:xfrm>
              <a:off x="7115360"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 name="Freeform 84"/>
            <p:cNvSpPr>
              <a:spLocks/>
            </p:cNvSpPr>
            <p:nvPr/>
          </p:nvSpPr>
          <p:spPr bwMode="auto">
            <a:xfrm>
              <a:off x="7881773" y="3450903"/>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4" name="Freeform 85"/>
            <p:cNvSpPr>
              <a:spLocks noEditPoints="1"/>
            </p:cNvSpPr>
            <p:nvPr/>
          </p:nvSpPr>
          <p:spPr bwMode="auto">
            <a:xfrm>
              <a:off x="8003049" y="3450903"/>
              <a:ext cx="133778" cy="189096"/>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5" name="Freeform 86"/>
            <p:cNvSpPr>
              <a:spLocks/>
            </p:cNvSpPr>
            <p:nvPr/>
          </p:nvSpPr>
          <p:spPr bwMode="auto">
            <a:xfrm>
              <a:off x="8180587" y="3494732"/>
              <a:ext cx="27506" cy="133995"/>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6" name="Freeform 87"/>
            <p:cNvSpPr>
              <a:spLocks/>
            </p:cNvSpPr>
            <p:nvPr/>
          </p:nvSpPr>
          <p:spPr bwMode="auto">
            <a:xfrm>
              <a:off x="4199737" y="3672557"/>
              <a:ext cx="80017" cy="18659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7" name="Freeform 88"/>
            <p:cNvSpPr>
              <a:spLocks noEditPoints="1"/>
            </p:cNvSpPr>
            <p:nvPr/>
          </p:nvSpPr>
          <p:spPr bwMode="auto">
            <a:xfrm>
              <a:off x="4321013" y="367631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8" name="Freeform 89"/>
            <p:cNvSpPr>
              <a:spLocks noEditPoints="1"/>
            </p:cNvSpPr>
            <p:nvPr/>
          </p:nvSpPr>
          <p:spPr bwMode="auto">
            <a:xfrm>
              <a:off x="4496051" y="3676314"/>
              <a:ext cx="13252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9" name="Freeform 90"/>
            <p:cNvSpPr>
              <a:spLocks/>
            </p:cNvSpPr>
            <p:nvPr/>
          </p:nvSpPr>
          <p:spPr bwMode="auto">
            <a:xfrm>
              <a:off x="4669838" y="3672557"/>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0" name="Freeform 96"/>
            <p:cNvSpPr>
              <a:spLocks/>
            </p:cNvSpPr>
            <p:nvPr/>
          </p:nvSpPr>
          <p:spPr bwMode="auto">
            <a:xfrm>
              <a:off x="5511267" y="3672557"/>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1" name="Freeform 97"/>
            <p:cNvSpPr>
              <a:spLocks/>
            </p:cNvSpPr>
            <p:nvPr/>
          </p:nvSpPr>
          <p:spPr bwMode="auto">
            <a:xfrm>
              <a:off x="5632542" y="3672557"/>
              <a:ext cx="76267" cy="18659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2" name="Freeform 101"/>
            <p:cNvSpPr>
              <a:spLocks/>
            </p:cNvSpPr>
            <p:nvPr/>
          </p:nvSpPr>
          <p:spPr bwMode="auto">
            <a:xfrm>
              <a:off x="6300565" y="3672557"/>
              <a:ext cx="80017" cy="18659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3" name="Freeform 105"/>
            <p:cNvSpPr>
              <a:spLocks noEditPoints="1"/>
            </p:cNvSpPr>
            <p:nvPr/>
          </p:nvSpPr>
          <p:spPr bwMode="auto">
            <a:xfrm>
              <a:off x="6870307" y="3676314"/>
              <a:ext cx="132528" cy="189096"/>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4" name="Freeform 106"/>
            <p:cNvSpPr>
              <a:spLocks/>
            </p:cNvSpPr>
            <p:nvPr/>
          </p:nvSpPr>
          <p:spPr bwMode="auto">
            <a:xfrm>
              <a:off x="7044094" y="3672557"/>
              <a:ext cx="80017" cy="18659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5" name="Freeform 107"/>
            <p:cNvSpPr>
              <a:spLocks noEditPoints="1"/>
            </p:cNvSpPr>
            <p:nvPr/>
          </p:nvSpPr>
          <p:spPr bwMode="auto">
            <a:xfrm>
              <a:off x="7169121"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 name="Freeform 108"/>
            <p:cNvSpPr>
              <a:spLocks noEditPoints="1"/>
            </p:cNvSpPr>
            <p:nvPr/>
          </p:nvSpPr>
          <p:spPr bwMode="auto">
            <a:xfrm>
              <a:off x="7342908" y="3676314"/>
              <a:ext cx="131279"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 name="Freeform 109"/>
            <p:cNvSpPr>
              <a:spLocks noEditPoints="1"/>
            </p:cNvSpPr>
            <p:nvPr/>
          </p:nvSpPr>
          <p:spPr bwMode="auto">
            <a:xfrm>
              <a:off x="7517946"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 name="Freeform 110"/>
            <p:cNvSpPr>
              <a:spLocks/>
            </p:cNvSpPr>
            <p:nvPr/>
          </p:nvSpPr>
          <p:spPr bwMode="auto">
            <a:xfrm>
              <a:off x="7689232" y="3672557"/>
              <a:ext cx="80017" cy="18659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 name="Freeform 111"/>
            <p:cNvSpPr>
              <a:spLocks noEditPoints="1"/>
            </p:cNvSpPr>
            <p:nvPr/>
          </p:nvSpPr>
          <p:spPr bwMode="auto">
            <a:xfrm>
              <a:off x="7814259" y="3676314"/>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 name="Freeform 112"/>
            <p:cNvSpPr>
              <a:spLocks/>
            </p:cNvSpPr>
            <p:nvPr/>
          </p:nvSpPr>
          <p:spPr bwMode="auto">
            <a:xfrm>
              <a:off x="7989296" y="3672557"/>
              <a:ext cx="78768"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 name="Freeform 113"/>
            <p:cNvSpPr>
              <a:spLocks noEditPoints="1"/>
            </p:cNvSpPr>
            <p:nvPr/>
          </p:nvSpPr>
          <p:spPr bwMode="auto">
            <a:xfrm>
              <a:off x="8110572" y="3676314"/>
              <a:ext cx="112524" cy="189096"/>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 name="Freeform 81"/>
            <p:cNvSpPr>
              <a:spLocks noEditPoints="1"/>
            </p:cNvSpPr>
            <p:nvPr/>
          </p:nvSpPr>
          <p:spPr bwMode="auto">
            <a:xfrm>
              <a:off x="4661087"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 name="Freeform 123"/>
            <p:cNvSpPr>
              <a:spLocks noEditPoints="1"/>
            </p:cNvSpPr>
            <p:nvPr/>
          </p:nvSpPr>
          <p:spPr bwMode="auto">
            <a:xfrm>
              <a:off x="5481262" y="3897969"/>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 name="Freeform 124"/>
            <p:cNvSpPr>
              <a:spLocks/>
            </p:cNvSpPr>
            <p:nvPr/>
          </p:nvSpPr>
          <p:spPr bwMode="auto">
            <a:xfrm>
              <a:off x="5656299" y="3897969"/>
              <a:ext cx="76267" cy="18659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 name="Freeform 125"/>
            <p:cNvSpPr>
              <a:spLocks noEditPoints="1"/>
            </p:cNvSpPr>
            <p:nvPr/>
          </p:nvSpPr>
          <p:spPr bwMode="auto">
            <a:xfrm>
              <a:off x="5777574" y="3897969"/>
              <a:ext cx="130027" cy="19285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 name="Freeform 126"/>
            <p:cNvSpPr>
              <a:spLocks noEditPoints="1"/>
            </p:cNvSpPr>
            <p:nvPr/>
          </p:nvSpPr>
          <p:spPr bwMode="auto">
            <a:xfrm>
              <a:off x="5952611" y="389796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 name="Freeform 127"/>
            <p:cNvSpPr>
              <a:spLocks noEditPoints="1"/>
            </p:cNvSpPr>
            <p:nvPr/>
          </p:nvSpPr>
          <p:spPr bwMode="auto">
            <a:xfrm>
              <a:off x="6126398" y="389796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 name="Freeform 128"/>
            <p:cNvSpPr>
              <a:spLocks/>
            </p:cNvSpPr>
            <p:nvPr/>
          </p:nvSpPr>
          <p:spPr bwMode="auto">
            <a:xfrm>
              <a:off x="6301437" y="389796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 name="Freeform 129"/>
            <p:cNvSpPr>
              <a:spLocks noEditPoints="1"/>
            </p:cNvSpPr>
            <p:nvPr/>
          </p:nvSpPr>
          <p:spPr bwMode="auto">
            <a:xfrm>
              <a:off x="6422712" y="3897969"/>
              <a:ext cx="130027" cy="19285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 name="Freeform 130"/>
            <p:cNvSpPr>
              <a:spLocks/>
            </p:cNvSpPr>
            <p:nvPr/>
          </p:nvSpPr>
          <p:spPr bwMode="auto">
            <a:xfrm>
              <a:off x="6597749"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 name="Freeform 136"/>
            <p:cNvSpPr>
              <a:spLocks/>
            </p:cNvSpPr>
            <p:nvPr/>
          </p:nvSpPr>
          <p:spPr bwMode="auto">
            <a:xfrm>
              <a:off x="7487939" y="3897969"/>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 name="Freeform 137"/>
            <p:cNvSpPr>
              <a:spLocks noEditPoints="1"/>
            </p:cNvSpPr>
            <p:nvPr/>
          </p:nvSpPr>
          <p:spPr bwMode="auto">
            <a:xfrm>
              <a:off x="7612966" y="3897969"/>
              <a:ext cx="130027" cy="19285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 name="Freeform 138"/>
            <p:cNvSpPr>
              <a:spLocks/>
            </p:cNvSpPr>
            <p:nvPr/>
          </p:nvSpPr>
          <p:spPr bwMode="auto">
            <a:xfrm>
              <a:off x="7788003" y="3897969"/>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 name="Freeform 139"/>
            <p:cNvSpPr>
              <a:spLocks noEditPoints="1"/>
            </p:cNvSpPr>
            <p:nvPr/>
          </p:nvSpPr>
          <p:spPr bwMode="auto">
            <a:xfrm>
              <a:off x="7909279"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 name="Freeform 140"/>
            <p:cNvSpPr>
              <a:spLocks/>
            </p:cNvSpPr>
            <p:nvPr/>
          </p:nvSpPr>
          <p:spPr bwMode="auto">
            <a:xfrm>
              <a:off x="8080565" y="3897969"/>
              <a:ext cx="80017"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 name="Freeform 141"/>
            <p:cNvSpPr>
              <a:spLocks/>
            </p:cNvSpPr>
            <p:nvPr/>
          </p:nvSpPr>
          <p:spPr bwMode="auto">
            <a:xfrm>
              <a:off x="4439788" y="2798460"/>
              <a:ext cx="41259" cy="162797"/>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 name="Freeform 142"/>
            <p:cNvSpPr>
              <a:spLocks noEditPoints="1"/>
            </p:cNvSpPr>
            <p:nvPr/>
          </p:nvSpPr>
          <p:spPr bwMode="auto">
            <a:xfrm>
              <a:off x="4522305" y="2774668"/>
              <a:ext cx="133778" cy="19285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 name="Freeform 143"/>
            <p:cNvSpPr>
              <a:spLocks/>
            </p:cNvSpPr>
            <p:nvPr/>
          </p:nvSpPr>
          <p:spPr bwMode="auto">
            <a:xfrm>
              <a:off x="4699843"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 name="Freeform 148"/>
            <p:cNvSpPr>
              <a:spLocks noEditPoints="1"/>
            </p:cNvSpPr>
            <p:nvPr/>
          </p:nvSpPr>
          <p:spPr bwMode="auto">
            <a:xfrm>
              <a:off x="5413747" y="2774668"/>
              <a:ext cx="132528" cy="19285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0" name="Freeform 152"/>
            <p:cNvSpPr>
              <a:spLocks noEditPoints="1"/>
            </p:cNvSpPr>
            <p:nvPr/>
          </p:nvSpPr>
          <p:spPr bwMode="auto">
            <a:xfrm>
              <a:off x="6061385" y="2774668"/>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1" name="Freeform 153"/>
            <p:cNvSpPr>
              <a:spLocks/>
            </p:cNvSpPr>
            <p:nvPr/>
          </p:nvSpPr>
          <p:spPr bwMode="auto">
            <a:xfrm>
              <a:off x="6233922"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2" name="Freeform 157"/>
            <p:cNvSpPr>
              <a:spLocks/>
            </p:cNvSpPr>
            <p:nvPr/>
          </p:nvSpPr>
          <p:spPr bwMode="auto">
            <a:xfrm>
              <a:off x="6827798"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3" name="Freeform 158"/>
            <p:cNvSpPr>
              <a:spLocks noEditPoints="1"/>
            </p:cNvSpPr>
            <p:nvPr/>
          </p:nvSpPr>
          <p:spPr bwMode="auto">
            <a:xfrm>
              <a:off x="6950324" y="2774668"/>
              <a:ext cx="130027"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4" name="Freeform 159"/>
            <p:cNvSpPr>
              <a:spLocks noEditPoints="1"/>
            </p:cNvSpPr>
            <p:nvPr/>
          </p:nvSpPr>
          <p:spPr bwMode="auto">
            <a:xfrm>
              <a:off x="7124112" y="2774668"/>
              <a:ext cx="133778" cy="19285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5" name="Freeform 160"/>
            <p:cNvSpPr>
              <a:spLocks/>
            </p:cNvSpPr>
            <p:nvPr/>
          </p:nvSpPr>
          <p:spPr bwMode="auto">
            <a:xfrm>
              <a:off x="7299149" y="277466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6" name="Freeform 161"/>
            <p:cNvSpPr>
              <a:spLocks/>
            </p:cNvSpPr>
            <p:nvPr/>
          </p:nvSpPr>
          <p:spPr bwMode="auto">
            <a:xfrm>
              <a:off x="7422924"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7" name="Freeform 162"/>
            <p:cNvSpPr>
              <a:spLocks/>
            </p:cNvSpPr>
            <p:nvPr/>
          </p:nvSpPr>
          <p:spPr bwMode="auto">
            <a:xfrm>
              <a:off x="7544202"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8" name="Freeform 163"/>
            <p:cNvSpPr>
              <a:spLocks noEditPoints="1"/>
            </p:cNvSpPr>
            <p:nvPr/>
          </p:nvSpPr>
          <p:spPr bwMode="auto">
            <a:xfrm>
              <a:off x="7665477" y="2774668"/>
              <a:ext cx="131279"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9" name="Freeform 164"/>
            <p:cNvSpPr>
              <a:spLocks noEditPoints="1"/>
            </p:cNvSpPr>
            <p:nvPr/>
          </p:nvSpPr>
          <p:spPr bwMode="auto">
            <a:xfrm>
              <a:off x="7840514" y="277842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0" name="Freeform 169"/>
            <p:cNvSpPr>
              <a:spLocks/>
            </p:cNvSpPr>
            <p:nvPr/>
          </p:nvSpPr>
          <p:spPr bwMode="auto">
            <a:xfrm>
              <a:off x="4736102" y="4123381"/>
              <a:ext cx="78768" cy="18659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1" name="Freeform 170"/>
            <p:cNvSpPr>
              <a:spLocks/>
            </p:cNvSpPr>
            <p:nvPr/>
          </p:nvSpPr>
          <p:spPr bwMode="auto">
            <a:xfrm>
              <a:off x="4859878"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2" name="Freeform 171"/>
            <p:cNvSpPr>
              <a:spLocks/>
            </p:cNvSpPr>
            <p:nvPr/>
          </p:nvSpPr>
          <p:spPr bwMode="auto">
            <a:xfrm>
              <a:off x="4981154"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3" name="Freeform 172"/>
            <p:cNvSpPr>
              <a:spLocks noEditPoints="1"/>
            </p:cNvSpPr>
            <p:nvPr/>
          </p:nvSpPr>
          <p:spPr bwMode="auto">
            <a:xfrm>
              <a:off x="5102430" y="4123381"/>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4" name="Freeform 173"/>
            <p:cNvSpPr>
              <a:spLocks/>
            </p:cNvSpPr>
            <p:nvPr/>
          </p:nvSpPr>
          <p:spPr bwMode="auto">
            <a:xfrm>
              <a:off x="5277467" y="4123381"/>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5" name="Freeform 174"/>
            <p:cNvSpPr>
              <a:spLocks noEditPoints="1"/>
            </p:cNvSpPr>
            <p:nvPr/>
          </p:nvSpPr>
          <p:spPr bwMode="auto">
            <a:xfrm>
              <a:off x="5401243" y="4123381"/>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6" name="Freeform 178"/>
            <p:cNvSpPr>
              <a:spLocks noEditPoints="1"/>
            </p:cNvSpPr>
            <p:nvPr/>
          </p:nvSpPr>
          <p:spPr bwMode="auto">
            <a:xfrm>
              <a:off x="6046381" y="4123381"/>
              <a:ext cx="131279"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7" name="Freeform 179"/>
            <p:cNvSpPr>
              <a:spLocks noEditPoints="1"/>
            </p:cNvSpPr>
            <p:nvPr/>
          </p:nvSpPr>
          <p:spPr bwMode="auto">
            <a:xfrm>
              <a:off x="6221420"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chemeClr val="tx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8" name="Freeform 180"/>
            <p:cNvSpPr>
              <a:spLocks/>
            </p:cNvSpPr>
            <p:nvPr/>
          </p:nvSpPr>
          <p:spPr bwMode="auto">
            <a:xfrm>
              <a:off x="6396457" y="4123381"/>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chemeClr val="tx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19" name="Freeform 188"/>
            <p:cNvSpPr>
              <a:spLocks/>
            </p:cNvSpPr>
            <p:nvPr/>
          </p:nvSpPr>
          <p:spPr bwMode="auto">
            <a:xfrm>
              <a:off x="7636721"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0" name="Freeform 189"/>
            <p:cNvSpPr>
              <a:spLocks noEditPoints="1"/>
            </p:cNvSpPr>
            <p:nvPr/>
          </p:nvSpPr>
          <p:spPr bwMode="auto">
            <a:xfrm>
              <a:off x="7757997"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1" name="Freeform 190"/>
            <p:cNvSpPr>
              <a:spLocks/>
            </p:cNvSpPr>
            <p:nvPr/>
          </p:nvSpPr>
          <p:spPr bwMode="auto">
            <a:xfrm>
              <a:off x="7933034"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2" name="Freeform 191"/>
            <p:cNvSpPr>
              <a:spLocks noEditPoints="1"/>
            </p:cNvSpPr>
            <p:nvPr/>
          </p:nvSpPr>
          <p:spPr bwMode="auto">
            <a:xfrm>
              <a:off x="8054311" y="4123381"/>
              <a:ext cx="130027"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3" name="Freeform 192"/>
            <p:cNvSpPr>
              <a:spLocks/>
            </p:cNvSpPr>
            <p:nvPr/>
          </p:nvSpPr>
          <p:spPr bwMode="auto">
            <a:xfrm>
              <a:off x="4552312" y="2638167"/>
              <a:ext cx="41259" cy="101435"/>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4" name="Freeform 193"/>
            <p:cNvSpPr>
              <a:spLocks noEditPoints="1"/>
            </p:cNvSpPr>
            <p:nvPr/>
          </p:nvSpPr>
          <p:spPr bwMode="auto">
            <a:xfrm>
              <a:off x="4637330" y="2553012"/>
              <a:ext cx="131279"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5" name="Freeform 194"/>
            <p:cNvSpPr>
              <a:spLocks/>
            </p:cNvSpPr>
            <p:nvPr/>
          </p:nvSpPr>
          <p:spPr bwMode="auto">
            <a:xfrm>
              <a:off x="4812367" y="2553012"/>
              <a:ext cx="77516" cy="18659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6" name="Freeform 195"/>
            <p:cNvSpPr>
              <a:spLocks noEditPoints="1"/>
            </p:cNvSpPr>
            <p:nvPr/>
          </p:nvSpPr>
          <p:spPr bwMode="auto">
            <a:xfrm>
              <a:off x="4933645" y="2553012"/>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7" name="Freeform 196"/>
            <p:cNvSpPr>
              <a:spLocks/>
            </p:cNvSpPr>
            <p:nvPr/>
          </p:nvSpPr>
          <p:spPr bwMode="auto">
            <a:xfrm>
              <a:off x="5108682" y="2553012"/>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28" name="Freeform 197"/>
            <p:cNvSpPr>
              <a:spLocks/>
            </p:cNvSpPr>
            <p:nvPr/>
          </p:nvSpPr>
          <p:spPr bwMode="auto">
            <a:xfrm>
              <a:off x="5232458" y="2553012"/>
              <a:ext cx="77516" cy="18659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0" name="Freeform 202"/>
            <p:cNvSpPr>
              <a:spLocks/>
            </p:cNvSpPr>
            <p:nvPr/>
          </p:nvSpPr>
          <p:spPr bwMode="auto">
            <a:xfrm>
              <a:off x="5952711"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1" name="Freeform 203"/>
            <p:cNvSpPr>
              <a:spLocks noEditPoints="1"/>
            </p:cNvSpPr>
            <p:nvPr/>
          </p:nvSpPr>
          <p:spPr bwMode="auto">
            <a:xfrm>
              <a:off x="6079661" y="2553012"/>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2" name="Freeform 204"/>
            <p:cNvSpPr>
              <a:spLocks/>
            </p:cNvSpPr>
            <p:nvPr/>
          </p:nvSpPr>
          <p:spPr bwMode="auto">
            <a:xfrm>
              <a:off x="6242674"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3" name="Freeform 209"/>
            <p:cNvSpPr>
              <a:spLocks noEditPoints="1"/>
            </p:cNvSpPr>
            <p:nvPr/>
          </p:nvSpPr>
          <p:spPr bwMode="auto">
            <a:xfrm>
              <a:off x="6822560" y="2553012"/>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4" name="Freeform 213"/>
            <p:cNvSpPr>
              <a:spLocks/>
            </p:cNvSpPr>
            <p:nvPr/>
          </p:nvSpPr>
          <p:spPr bwMode="auto">
            <a:xfrm>
              <a:off x="7482938" y="2553012"/>
              <a:ext cx="80017" cy="18659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5" name="Freeform 214"/>
            <p:cNvSpPr>
              <a:spLocks noEditPoints="1"/>
            </p:cNvSpPr>
            <p:nvPr/>
          </p:nvSpPr>
          <p:spPr bwMode="auto">
            <a:xfrm>
              <a:off x="7606714" y="2553012"/>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6" name="Freeform 215"/>
            <p:cNvSpPr>
              <a:spLocks/>
            </p:cNvSpPr>
            <p:nvPr/>
          </p:nvSpPr>
          <p:spPr bwMode="auto">
            <a:xfrm>
              <a:off x="7816760" y="2661961"/>
              <a:ext cx="41259" cy="77641"/>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7" name="Freeform 216"/>
            <p:cNvSpPr>
              <a:spLocks/>
            </p:cNvSpPr>
            <p:nvPr/>
          </p:nvSpPr>
          <p:spPr bwMode="auto">
            <a:xfrm>
              <a:off x="4693593" y="2466606"/>
              <a:ext cx="47511" cy="50092"/>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8" name="Freeform 217"/>
            <p:cNvSpPr>
              <a:spLocks/>
            </p:cNvSpPr>
            <p:nvPr/>
          </p:nvSpPr>
          <p:spPr bwMode="auto">
            <a:xfrm>
              <a:off x="4827371" y="2345132"/>
              <a:ext cx="41259" cy="169060"/>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39" name="Freeform 218"/>
            <p:cNvSpPr>
              <a:spLocks noEditPoints="1"/>
            </p:cNvSpPr>
            <p:nvPr/>
          </p:nvSpPr>
          <p:spPr bwMode="auto">
            <a:xfrm>
              <a:off x="4913640"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0" name="Freeform 219"/>
            <p:cNvSpPr>
              <a:spLocks noEditPoints="1"/>
            </p:cNvSpPr>
            <p:nvPr/>
          </p:nvSpPr>
          <p:spPr bwMode="auto">
            <a:xfrm>
              <a:off x="5087426"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1" name="Freeform 220"/>
            <p:cNvSpPr>
              <a:spLocks/>
            </p:cNvSpPr>
            <p:nvPr/>
          </p:nvSpPr>
          <p:spPr bwMode="auto">
            <a:xfrm>
              <a:off x="5262463" y="2327601"/>
              <a:ext cx="77516" cy="18659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2" name="Freeform 224"/>
            <p:cNvSpPr>
              <a:spLocks noEditPoints="1"/>
            </p:cNvSpPr>
            <p:nvPr/>
          </p:nvSpPr>
          <p:spPr bwMode="auto">
            <a:xfrm>
              <a:off x="5803830" y="2327601"/>
              <a:ext cx="130027"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3" name="Freeform 225"/>
            <p:cNvSpPr>
              <a:spLocks/>
            </p:cNvSpPr>
            <p:nvPr/>
          </p:nvSpPr>
          <p:spPr bwMode="auto">
            <a:xfrm>
              <a:off x="5978867" y="232760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4" name="Freeform 226"/>
            <p:cNvSpPr>
              <a:spLocks noEditPoints="1"/>
            </p:cNvSpPr>
            <p:nvPr/>
          </p:nvSpPr>
          <p:spPr bwMode="auto">
            <a:xfrm>
              <a:off x="6100143" y="232760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5" name="Freeform 227"/>
            <p:cNvSpPr>
              <a:spLocks/>
            </p:cNvSpPr>
            <p:nvPr/>
          </p:nvSpPr>
          <p:spPr bwMode="auto">
            <a:xfrm>
              <a:off x="6275180" y="2327601"/>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6" name="Freeform 228"/>
            <p:cNvSpPr>
              <a:spLocks/>
            </p:cNvSpPr>
            <p:nvPr/>
          </p:nvSpPr>
          <p:spPr bwMode="auto">
            <a:xfrm>
              <a:off x="6396457" y="2327601"/>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7" name="Freeform 229"/>
            <p:cNvSpPr>
              <a:spLocks/>
            </p:cNvSpPr>
            <p:nvPr/>
          </p:nvSpPr>
          <p:spPr bwMode="auto">
            <a:xfrm>
              <a:off x="6517732" y="2327601"/>
              <a:ext cx="80017" cy="18659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8" name="Freeform 230"/>
            <p:cNvSpPr>
              <a:spLocks noEditPoints="1"/>
            </p:cNvSpPr>
            <p:nvPr/>
          </p:nvSpPr>
          <p:spPr bwMode="auto">
            <a:xfrm>
              <a:off x="6641509" y="232760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49" name="Freeform 231"/>
            <p:cNvSpPr>
              <a:spLocks/>
            </p:cNvSpPr>
            <p:nvPr/>
          </p:nvSpPr>
          <p:spPr bwMode="auto">
            <a:xfrm>
              <a:off x="6816546" y="2327601"/>
              <a:ext cx="80017" cy="18659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0" name="Freeform 235"/>
            <p:cNvSpPr>
              <a:spLocks/>
            </p:cNvSpPr>
            <p:nvPr/>
          </p:nvSpPr>
          <p:spPr bwMode="auto">
            <a:xfrm>
              <a:off x="7407923" y="2327601"/>
              <a:ext cx="80017" cy="18659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1" name="Freeform 236"/>
            <p:cNvSpPr>
              <a:spLocks/>
            </p:cNvSpPr>
            <p:nvPr/>
          </p:nvSpPr>
          <p:spPr bwMode="auto">
            <a:xfrm>
              <a:off x="7532948" y="2362665"/>
              <a:ext cx="123776" cy="154032"/>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2" name="Freeform 237"/>
            <p:cNvSpPr>
              <a:spLocks/>
            </p:cNvSpPr>
            <p:nvPr/>
          </p:nvSpPr>
          <p:spPr bwMode="auto">
            <a:xfrm>
              <a:off x="4937394" y="2286276"/>
              <a:ext cx="5002" cy="2504"/>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3" name="Freeform 238"/>
            <p:cNvSpPr>
              <a:spLocks/>
            </p:cNvSpPr>
            <p:nvPr/>
          </p:nvSpPr>
          <p:spPr bwMode="auto">
            <a:xfrm>
              <a:off x="4989905" y="2164804"/>
              <a:ext cx="127528" cy="130238"/>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4" name="Freeform 239"/>
            <p:cNvSpPr>
              <a:spLocks/>
            </p:cNvSpPr>
            <p:nvPr/>
          </p:nvSpPr>
          <p:spPr bwMode="auto">
            <a:xfrm>
              <a:off x="5161193" y="2102189"/>
              <a:ext cx="77516" cy="18659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5" name="Freeform 240"/>
            <p:cNvSpPr>
              <a:spLocks noEditPoints="1"/>
            </p:cNvSpPr>
            <p:nvPr/>
          </p:nvSpPr>
          <p:spPr bwMode="auto">
            <a:xfrm>
              <a:off x="5283719" y="2102189"/>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6" name="Freeform 241"/>
            <p:cNvSpPr>
              <a:spLocks/>
            </p:cNvSpPr>
            <p:nvPr/>
          </p:nvSpPr>
          <p:spPr bwMode="auto">
            <a:xfrm>
              <a:off x="5457505" y="2102189"/>
              <a:ext cx="77516" cy="18659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7" name="Freeform 242"/>
            <p:cNvSpPr>
              <a:spLocks/>
            </p:cNvSpPr>
            <p:nvPr/>
          </p:nvSpPr>
          <p:spPr bwMode="auto">
            <a:xfrm>
              <a:off x="5578781" y="2102189"/>
              <a:ext cx="80017" cy="18659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8" name="Freeform 243"/>
            <p:cNvSpPr>
              <a:spLocks/>
            </p:cNvSpPr>
            <p:nvPr/>
          </p:nvSpPr>
          <p:spPr bwMode="auto">
            <a:xfrm>
              <a:off x="5700057"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59" name="Freeform 247"/>
            <p:cNvSpPr>
              <a:spLocks/>
            </p:cNvSpPr>
            <p:nvPr/>
          </p:nvSpPr>
          <p:spPr bwMode="auto">
            <a:xfrm>
              <a:off x="6295185" y="2102189"/>
              <a:ext cx="77516" cy="18659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0" name="Freeform 248"/>
            <p:cNvSpPr>
              <a:spLocks noEditPoints="1"/>
            </p:cNvSpPr>
            <p:nvPr/>
          </p:nvSpPr>
          <p:spPr bwMode="auto">
            <a:xfrm>
              <a:off x="6416460" y="2102189"/>
              <a:ext cx="131279" cy="19285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1" name="Freeform 251"/>
            <p:cNvSpPr>
              <a:spLocks noEditPoints="1"/>
            </p:cNvSpPr>
            <p:nvPr/>
          </p:nvSpPr>
          <p:spPr bwMode="auto">
            <a:xfrm>
              <a:off x="6887812" y="2102189"/>
              <a:ext cx="130027" cy="19285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2" name="Freeform 252"/>
            <p:cNvSpPr>
              <a:spLocks/>
            </p:cNvSpPr>
            <p:nvPr/>
          </p:nvSpPr>
          <p:spPr bwMode="auto">
            <a:xfrm>
              <a:off x="7061598"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3" name="Freeform 253"/>
            <p:cNvSpPr>
              <a:spLocks/>
            </p:cNvSpPr>
            <p:nvPr/>
          </p:nvSpPr>
          <p:spPr bwMode="auto">
            <a:xfrm>
              <a:off x="7186625" y="2119722"/>
              <a:ext cx="130027" cy="175321"/>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4" name="Freeform 254"/>
            <p:cNvSpPr>
              <a:spLocks/>
            </p:cNvSpPr>
            <p:nvPr/>
          </p:nvSpPr>
          <p:spPr bwMode="auto">
            <a:xfrm>
              <a:off x="7361662" y="2217400"/>
              <a:ext cx="93770" cy="77641"/>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5" name="Freeform 255"/>
            <p:cNvSpPr>
              <a:spLocks/>
            </p:cNvSpPr>
            <p:nvPr/>
          </p:nvSpPr>
          <p:spPr bwMode="auto">
            <a:xfrm>
              <a:off x="5392492" y="1998250"/>
              <a:ext cx="41259" cy="65119"/>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6" name="Freeform 256"/>
            <p:cNvSpPr>
              <a:spLocks/>
            </p:cNvSpPr>
            <p:nvPr/>
          </p:nvSpPr>
          <p:spPr bwMode="auto">
            <a:xfrm>
              <a:off x="5478761" y="1935635"/>
              <a:ext cx="130027" cy="133995"/>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7" name="Freeform 257"/>
            <p:cNvSpPr>
              <a:spLocks noEditPoints="1"/>
            </p:cNvSpPr>
            <p:nvPr/>
          </p:nvSpPr>
          <p:spPr bwMode="auto">
            <a:xfrm>
              <a:off x="5650047" y="1894309"/>
              <a:ext cx="133778" cy="175321"/>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8" name="Freeform 262"/>
            <p:cNvSpPr>
              <a:spLocks noEditPoints="1"/>
            </p:cNvSpPr>
            <p:nvPr/>
          </p:nvSpPr>
          <p:spPr bwMode="auto">
            <a:xfrm>
              <a:off x="6366450"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69" name="Freeform 263"/>
            <p:cNvSpPr>
              <a:spLocks/>
            </p:cNvSpPr>
            <p:nvPr/>
          </p:nvSpPr>
          <p:spPr bwMode="auto">
            <a:xfrm>
              <a:off x="6541487" y="1885543"/>
              <a:ext cx="76267" cy="177824"/>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0" name="Freeform 265"/>
            <p:cNvSpPr>
              <a:spLocks/>
            </p:cNvSpPr>
            <p:nvPr/>
          </p:nvSpPr>
          <p:spPr bwMode="auto">
            <a:xfrm>
              <a:off x="6786539" y="1935635"/>
              <a:ext cx="8753" cy="3757"/>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1" name="Freeform 266"/>
            <p:cNvSpPr>
              <a:spLocks/>
            </p:cNvSpPr>
            <p:nvPr/>
          </p:nvSpPr>
          <p:spPr bwMode="auto">
            <a:xfrm>
              <a:off x="6822797" y="1948158"/>
              <a:ext cx="41259" cy="115211"/>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2" name="Freeform 267"/>
            <p:cNvSpPr>
              <a:spLocks/>
            </p:cNvSpPr>
            <p:nvPr/>
          </p:nvSpPr>
          <p:spPr bwMode="auto">
            <a:xfrm>
              <a:off x="6907815" y="1976960"/>
              <a:ext cx="121276" cy="92669"/>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3" name="Freeform 268"/>
            <p:cNvSpPr>
              <a:spLocks/>
            </p:cNvSpPr>
            <p:nvPr/>
          </p:nvSpPr>
          <p:spPr bwMode="auto">
            <a:xfrm>
              <a:off x="4229744" y="4348792"/>
              <a:ext cx="58763" cy="184087"/>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4" name="Freeform 269"/>
            <p:cNvSpPr>
              <a:spLocks noEditPoints="1"/>
            </p:cNvSpPr>
            <p:nvPr/>
          </p:nvSpPr>
          <p:spPr bwMode="auto">
            <a:xfrm>
              <a:off x="4333515" y="4348792"/>
              <a:ext cx="130027" cy="189096"/>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5" name="Freeform 270"/>
            <p:cNvSpPr>
              <a:spLocks/>
            </p:cNvSpPr>
            <p:nvPr/>
          </p:nvSpPr>
          <p:spPr bwMode="auto">
            <a:xfrm>
              <a:off x="4507303" y="4348792"/>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6" name="Freeform 271"/>
            <p:cNvSpPr>
              <a:spLocks noEditPoints="1"/>
            </p:cNvSpPr>
            <p:nvPr/>
          </p:nvSpPr>
          <p:spPr bwMode="auto">
            <a:xfrm>
              <a:off x="4628579" y="4348792"/>
              <a:ext cx="133778" cy="189096"/>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7" name="Freeform 272"/>
            <p:cNvSpPr>
              <a:spLocks/>
            </p:cNvSpPr>
            <p:nvPr/>
          </p:nvSpPr>
          <p:spPr bwMode="auto">
            <a:xfrm>
              <a:off x="4806117"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8" name="Freeform 273"/>
            <p:cNvSpPr>
              <a:spLocks/>
            </p:cNvSpPr>
            <p:nvPr/>
          </p:nvSpPr>
          <p:spPr bwMode="auto">
            <a:xfrm>
              <a:off x="4927393"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79" name="Freeform 274"/>
            <p:cNvSpPr>
              <a:spLocks/>
            </p:cNvSpPr>
            <p:nvPr/>
          </p:nvSpPr>
          <p:spPr bwMode="auto">
            <a:xfrm>
              <a:off x="5048668"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0" name="Freeform 275"/>
            <p:cNvSpPr>
              <a:spLocks noEditPoints="1"/>
            </p:cNvSpPr>
            <p:nvPr/>
          </p:nvSpPr>
          <p:spPr bwMode="auto">
            <a:xfrm>
              <a:off x="5171194"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2" name="Freeform 281"/>
            <p:cNvSpPr>
              <a:spLocks noEditPoints="1"/>
            </p:cNvSpPr>
            <p:nvPr/>
          </p:nvSpPr>
          <p:spPr bwMode="auto">
            <a:xfrm>
              <a:off x="6061385" y="4348792"/>
              <a:ext cx="130027"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3" name="Freeform 282"/>
            <p:cNvSpPr>
              <a:spLocks noEditPoints="1"/>
            </p:cNvSpPr>
            <p:nvPr/>
          </p:nvSpPr>
          <p:spPr bwMode="auto">
            <a:xfrm>
              <a:off x="6236422"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4" name="Freeform 283"/>
            <p:cNvSpPr>
              <a:spLocks/>
            </p:cNvSpPr>
            <p:nvPr/>
          </p:nvSpPr>
          <p:spPr bwMode="auto">
            <a:xfrm>
              <a:off x="6411460" y="4348792"/>
              <a:ext cx="76267"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5" name="Freeform 291"/>
            <p:cNvSpPr>
              <a:spLocks noEditPoints="1"/>
            </p:cNvSpPr>
            <p:nvPr/>
          </p:nvSpPr>
          <p:spPr bwMode="auto">
            <a:xfrm>
              <a:off x="7597963"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6" name="Freeform 295"/>
            <p:cNvSpPr>
              <a:spLocks/>
            </p:cNvSpPr>
            <p:nvPr/>
          </p:nvSpPr>
          <p:spPr bwMode="auto">
            <a:xfrm>
              <a:off x="4294757" y="4571698"/>
              <a:ext cx="82518" cy="165302"/>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7" name="Freeform 296"/>
            <p:cNvSpPr>
              <a:spLocks noEditPoints="1"/>
            </p:cNvSpPr>
            <p:nvPr/>
          </p:nvSpPr>
          <p:spPr bwMode="auto">
            <a:xfrm>
              <a:off x="4422285"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8" name="Freeform 297"/>
            <p:cNvSpPr>
              <a:spLocks/>
            </p:cNvSpPr>
            <p:nvPr/>
          </p:nvSpPr>
          <p:spPr bwMode="auto">
            <a:xfrm>
              <a:off x="4596072" y="457169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89" name="Freeform 298"/>
            <p:cNvSpPr>
              <a:spLocks noEditPoints="1"/>
            </p:cNvSpPr>
            <p:nvPr/>
          </p:nvSpPr>
          <p:spPr bwMode="auto">
            <a:xfrm>
              <a:off x="4728071" y="4571698"/>
              <a:ext cx="130027" cy="191600"/>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0" name="Freeform 299"/>
            <p:cNvSpPr>
              <a:spLocks/>
            </p:cNvSpPr>
            <p:nvPr/>
          </p:nvSpPr>
          <p:spPr bwMode="auto">
            <a:xfrm>
              <a:off x="4905692" y="457169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1" name="Freeform 303"/>
            <p:cNvSpPr>
              <a:spLocks noEditPoints="1"/>
            </p:cNvSpPr>
            <p:nvPr/>
          </p:nvSpPr>
          <p:spPr bwMode="auto">
            <a:xfrm>
              <a:off x="5477510"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2" name="Freeform 304"/>
            <p:cNvSpPr>
              <a:spLocks/>
            </p:cNvSpPr>
            <p:nvPr/>
          </p:nvSpPr>
          <p:spPr bwMode="auto">
            <a:xfrm>
              <a:off x="5658799"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3" name="Freeform 305"/>
            <p:cNvSpPr>
              <a:spLocks/>
            </p:cNvSpPr>
            <p:nvPr/>
          </p:nvSpPr>
          <p:spPr bwMode="auto">
            <a:xfrm>
              <a:off x="5783826"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4" name="Freeform 306"/>
            <p:cNvSpPr>
              <a:spLocks/>
            </p:cNvSpPr>
            <p:nvPr/>
          </p:nvSpPr>
          <p:spPr bwMode="auto">
            <a:xfrm>
              <a:off x="59051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5" name="Freeform 307"/>
            <p:cNvSpPr>
              <a:spLocks noEditPoints="1"/>
            </p:cNvSpPr>
            <p:nvPr/>
          </p:nvSpPr>
          <p:spPr bwMode="auto">
            <a:xfrm>
              <a:off x="6026378" y="4571698"/>
              <a:ext cx="130027" cy="191600"/>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6" name="Freeform 308"/>
            <p:cNvSpPr>
              <a:spLocks noEditPoints="1"/>
            </p:cNvSpPr>
            <p:nvPr/>
          </p:nvSpPr>
          <p:spPr bwMode="auto">
            <a:xfrm>
              <a:off x="6200164" y="4571698"/>
              <a:ext cx="133778" cy="191600"/>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7" name="Freeform 309"/>
            <p:cNvSpPr>
              <a:spLocks/>
            </p:cNvSpPr>
            <p:nvPr/>
          </p:nvSpPr>
          <p:spPr bwMode="auto">
            <a:xfrm>
              <a:off x="63752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8" name="Freeform 310"/>
            <p:cNvSpPr>
              <a:spLocks/>
            </p:cNvSpPr>
            <p:nvPr/>
          </p:nvSpPr>
          <p:spPr bwMode="auto">
            <a:xfrm>
              <a:off x="6500228"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99" name="Freeform 311"/>
            <p:cNvSpPr>
              <a:spLocks/>
            </p:cNvSpPr>
            <p:nvPr/>
          </p:nvSpPr>
          <p:spPr bwMode="auto">
            <a:xfrm>
              <a:off x="6621504"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0" name="Freeform 312"/>
            <p:cNvSpPr>
              <a:spLocks noEditPoints="1"/>
            </p:cNvSpPr>
            <p:nvPr/>
          </p:nvSpPr>
          <p:spPr bwMode="auto">
            <a:xfrm>
              <a:off x="6742780" y="4571698"/>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1" name="Freeform 313"/>
            <p:cNvSpPr>
              <a:spLocks/>
            </p:cNvSpPr>
            <p:nvPr/>
          </p:nvSpPr>
          <p:spPr bwMode="auto">
            <a:xfrm>
              <a:off x="6916568"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2" name="Freeform 314"/>
            <p:cNvSpPr>
              <a:spLocks noEditPoints="1"/>
            </p:cNvSpPr>
            <p:nvPr/>
          </p:nvSpPr>
          <p:spPr bwMode="auto">
            <a:xfrm>
              <a:off x="7041595" y="4571698"/>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3" name="Freeform 315"/>
            <p:cNvSpPr>
              <a:spLocks/>
            </p:cNvSpPr>
            <p:nvPr/>
          </p:nvSpPr>
          <p:spPr bwMode="auto">
            <a:xfrm>
              <a:off x="7216632" y="4571698"/>
              <a:ext cx="76267" cy="18659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4" name="Freeform 316"/>
            <p:cNvSpPr>
              <a:spLocks noEditPoints="1"/>
            </p:cNvSpPr>
            <p:nvPr/>
          </p:nvSpPr>
          <p:spPr bwMode="auto">
            <a:xfrm>
              <a:off x="7337907"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5" name="Freeform 317"/>
            <p:cNvSpPr>
              <a:spLocks noEditPoints="1"/>
            </p:cNvSpPr>
            <p:nvPr/>
          </p:nvSpPr>
          <p:spPr bwMode="auto">
            <a:xfrm>
              <a:off x="7511694" y="4571698"/>
              <a:ext cx="131279" cy="191600"/>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6" name="Freeform 318"/>
            <p:cNvSpPr>
              <a:spLocks noEditPoints="1"/>
            </p:cNvSpPr>
            <p:nvPr/>
          </p:nvSpPr>
          <p:spPr bwMode="auto">
            <a:xfrm>
              <a:off x="7684232"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7" name="Freeform 321"/>
            <p:cNvSpPr>
              <a:spLocks/>
            </p:cNvSpPr>
            <p:nvPr/>
          </p:nvSpPr>
          <p:spPr bwMode="auto">
            <a:xfrm>
              <a:off x="4401031" y="4795859"/>
              <a:ext cx="58763" cy="131490"/>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8" name="Freeform 322"/>
            <p:cNvSpPr>
              <a:spLocks noEditPoints="1"/>
            </p:cNvSpPr>
            <p:nvPr/>
          </p:nvSpPr>
          <p:spPr bwMode="auto">
            <a:xfrm>
              <a:off x="4504803" y="479585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09" name="Freeform 323"/>
            <p:cNvSpPr>
              <a:spLocks noEditPoints="1"/>
            </p:cNvSpPr>
            <p:nvPr/>
          </p:nvSpPr>
          <p:spPr bwMode="auto">
            <a:xfrm>
              <a:off x="4679840"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0" name="Freeform 324"/>
            <p:cNvSpPr>
              <a:spLocks/>
            </p:cNvSpPr>
            <p:nvPr/>
          </p:nvSpPr>
          <p:spPr bwMode="auto">
            <a:xfrm>
              <a:off x="4853626"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2" name="Freeform 329"/>
            <p:cNvSpPr>
              <a:spLocks/>
            </p:cNvSpPr>
            <p:nvPr/>
          </p:nvSpPr>
          <p:spPr bwMode="auto">
            <a:xfrm>
              <a:off x="5623791"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3" name="Freeform 330"/>
            <p:cNvSpPr>
              <a:spLocks/>
            </p:cNvSpPr>
            <p:nvPr/>
          </p:nvSpPr>
          <p:spPr bwMode="auto">
            <a:xfrm>
              <a:off x="5745067" y="4795859"/>
              <a:ext cx="76267" cy="187843"/>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4" name="Freeform 331"/>
            <p:cNvSpPr>
              <a:spLocks noEditPoints="1"/>
            </p:cNvSpPr>
            <p:nvPr/>
          </p:nvSpPr>
          <p:spPr bwMode="auto">
            <a:xfrm>
              <a:off x="5866342" y="4795859"/>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5" name="Freeform 332"/>
            <p:cNvSpPr>
              <a:spLocks/>
            </p:cNvSpPr>
            <p:nvPr/>
          </p:nvSpPr>
          <p:spPr bwMode="auto">
            <a:xfrm>
              <a:off x="6041381"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6" name="Freeform 336"/>
            <p:cNvSpPr>
              <a:spLocks/>
            </p:cNvSpPr>
            <p:nvPr/>
          </p:nvSpPr>
          <p:spPr bwMode="auto">
            <a:xfrm>
              <a:off x="6632756" y="4795859"/>
              <a:ext cx="80017" cy="187843"/>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8" name="Freeform 337"/>
            <p:cNvSpPr>
              <a:spLocks/>
            </p:cNvSpPr>
            <p:nvPr/>
          </p:nvSpPr>
          <p:spPr bwMode="auto">
            <a:xfrm>
              <a:off x="6757783"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19" name="Freeform 340"/>
            <p:cNvSpPr>
              <a:spLocks/>
            </p:cNvSpPr>
            <p:nvPr/>
          </p:nvSpPr>
          <p:spPr bwMode="auto">
            <a:xfrm>
              <a:off x="7174123"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20" name="Freeform 341"/>
            <p:cNvSpPr>
              <a:spLocks noEditPoints="1"/>
            </p:cNvSpPr>
            <p:nvPr/>
          </p:nvSpPr>
          <p:spPr bwMode="auto">
            <a:xfrm>
              <a:off x="7296649" y="4795859"/>
              <a:ext cx="132528" cy="190348"/>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21" name="Freeform 342"/>
            <p:cNvSpPr>
              <a:spLocks/>
            </p:cNvSpPr>
            <p:nvPr/>
          </p:nvSpPr>
          <p:spPr bwMode="auto">
            <a:xfrm>
              <a:off x="7470435" y="4795859"/>
              <a:ext cx="80017" cy="187843"/>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22" name="Freeform 343"/>
            <p:cNvSpPr>
              <a:spLocks noEditPoints="1"/>
            </p:cNvSpPr>
            <p:nvPr/>
          </p:nvSpPr>
          <p:spPr bwMode="auto">
            <a:xfrm>
              <a:off x="7595462"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23" name="Freeform 344"/>
            <p:cNvSpPr>
              <a:spLocks/>
            </p:cNvSpPr>
            <p:nvPr/>
          </p:nvSpPr>
          <p:spPr bwMode="auto">
            <a:xfrm>
              <a:off x="7769249"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0" name="Freeform 345"/>
            <p:cNvSpPr>
              <a:spLocks/>
            </p:cNvSpPr>
            <p:nvPr/>
          </p:nvSpPr>
          <p:spPr bwMode="auto">
            <a:xfrm>
              <a:off x="7890525" y="4795859"/>
              <a:ext cx="107523" cy="169060"/>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1" name="Freeform 346"/>
            <p:cNvSpPr>
              <a:spLocks/>
            </p:cNvSpPr>
            <p:nvPr/>
          </p:nvSpPr>
          <p:spPr bwMode="auto">
            <a:xfrm>
              <a:off x="4524806" y="5021271"/>
              <a:ext cx="92519" cy="125229"/>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2" name="Freeform 355"/>
            <p:cNvSpPr>
              <a:spLocks/>
            </p:cNvSpPr>
            <p:nvPr/>
          </p:nvSpPr>
          <p:spPr bwMode="auto">
            <a:xfrm>
              <a:off x="5914529" y="5021271"/>
              <a:ext cx="76267" cy="184087"/>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5" name="Freeform 365"/>
            <p:cNvSpPr>
              <a:spLocks noEditPoints="1"/>
            </p:cNvSpPr>
            <p:nvPr/>
          </p:nvSpPr>
          <p:spPr bwMode="auto">
            <a:xfrm>
              <a:off x="7331655"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6" name="Freeform 366"/>
            <p:cNvSpPr>
              <a:spLocks/>
            </p:cNvSpPr>
            <p:nvPr/>
          </p:nvSpPr>
          <p:spPr bwMode="auto">
            <a:xfrm>
              <a:off x="7506694" y="5021271"/>
              <a:ext cx="76267" cy="184087"/>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7" name="Freeform 367"/>
            <p:cNvSpPr>
              <a:spLocks noEditPoints="1"/>
            </p:cNvSpPr>
            <p:nvPr/>
          </p:nvSpPr>
          <p:spPr bwMode="auto">
            <a:xfrm>
              <a:off x="7627968" y="5021271"/>
              <a:ext cx="130027" cy="190348"/>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8" name="Freeform 368"/>
            <p:cNvSpPr>
              <a:spLocks/>
            </p:cNvSpPr>
            <p:nvPr/>
          </p:nvSpPr>
          <p:spPr bwMode="auto">
            <a:xfrm>
              <a:off x="7801756" y="5021271"/>
              <a:ext cx="68765" cy="92669"/>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39" name="Freeform 371"/>
            <p:cNvSpPr>
              <a:spLocks noEditPoints="1"/>
            </p:cNvSpPr>
            <p:nvPr/>
          </p:nvSpPr>
          <p:spPr bwMode="auto">
            <a:xfrm>
              <a:off x="4939895" y="5244178"/>
              <a:ext cx="132528" cy="19285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0" name="Freeform 372"/>
            <p:cNvSpPr>
              <a:spLocks/>
            </p:cNvSpPr>
            <p:nvPr/>
          </p:nvSpPr>
          <p:spPr bwMode="auto">
            <a:xfrm>
              <a:off x="5114932" y="5244178"/>
              <a:ext cx="78768"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1" name="Freeform 373"/>
            <p:cNvSpPr>
              <a:spLocks noEditPoints="1"/>
            </p:cNvSpPr>
            <p:nvPr/>
          </p:nvSpPr>
          <p:spPr bwMode="auto">
            <a:xfrm>
              <a:off x="5236209" y="5244178"/>
              <a:ext cx="132528" cy="19285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2" name="Freeform 374"/>
            <p:cNvSpPr>
              <a:spLocks/>
            </p:cNvSpPr>
            <p:nvPr/>
          </p:nvSpPr>
          <p:spPr bwMode="auto">
            <a:xfrm>
              <a:off x="5409996" y="524417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3" name="Freeform 377"/>
            <p:cNvSpPr>
              <a:spLocks/>
            </p:cNvSpPr>
            <p:nvPr/>
          </p:nvSpPr>
          <p:spPr bwMode="auto">
            <a:xfrm>
              <a:off x="5883847" y="524417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4" name="Freeform 378"/>
            <p:cNvSpPr>
              <a:spLocks noEditPoints="1"/>
            </p:cNvSpPr>
            <p:nvPr/>
          </p:nvSpPr>
          <p:spPr bwMode="auto">
            <a:xfrm>
              <a:off x="6005122"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5" name="Freeform 379"/>
            <p:cNvSpPr>
              <a:spLocks noEditPoints="1"/>
            </p:cNvSpPr>
            <p:nvPr/>
          </p:nvSpPr>
          <p:spPr bwMode="auto">
            <a:xfrm>
              <a:off x="6180159"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6" name="Freeform 380"/>
            <p:cNvSpPr>
              <a:spLocks/>
            </p:cNvSpPr>
            <p:nvPr/>
          </p:nvSpPr>
          <p:spPr bwMode="auto">
            <a:xfrm>
              <a:off x="6355196" y="524417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7" name="Freeform 381"/>
            <p:cNvSpPr>
              <a:spLocks noEditPoints="1"/>
            </p:cNvSpPr>
            <p:nvPr/>
          </p:nvSpPr>
          <p:spPr bwMode="auto">
            <a:xfrm>
              <a:off x="6476474" y="5244178"/>
              <a:ext cx="132528" cy="19285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8" name="Freeform 382"/>
            <p:cNvSpPr>
              <a:spLocks/>
            </p:cNvSpPr>
            <p:nvPr/>
          </p:nvSpPr>
          <p:spPr bwMode="auto">
            <a:xfrm>
              <a:off x="6650260" y="5244178"/>
              <a:ext cx="80017" cy="18659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49" name="Freeform 383"/>
            <p:cNvSpPr>
              <a:spLocks noEditPoints="1"/>
            </p:cNvSpPr>
            <p:nvPr/>
          </p:nvSpPr>
          <p:spPr bwMode="auto">
            <a:xfrm>
              <a:off x="6771536" y="5244178"/>
              <a:ext cx="133778" cy="19285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0" name="Freeform 384"/>
            <p:cNvSpPr>
              <a:spLocks/>
            </p:cNvSpPr>
            <p:nvPr/>
          </p:nvSpPr>
          <p:spPr bwMode="auto">
            <a:xfrm>
              <a:off x="6946575"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1" name="Freeform 385"/>
            <p:cNvSpPr>
              <a:spLocks noEditPoints="1"/>
            </p:cNvSpPr>
            <p:nvPr/>
          </p:nvSpPr>
          <p:spPr bwMode="auto">
            <a:xfrm>
              <a:off x="7071600"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2" name="Freeform 388"/>
            <p:cNvSpPr>
              <a:spLocks/>
            </p:cNvSpPr>
            <p:nvPr/>
          </p:nvSpPr>
          <p:spPr bwMode="auto">
            <a:xfrm>
              <a:off x="7541701" y="5244178"/>
              <a:ext cx="77516" cy="117714"/>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3" name="Freeform 389"/>
            <p:cNvSpPr>
              <a:spLocks/>
            </p:cNvSpPr>
            <p:nvPr/>
          </p:nvSpPr>
          <p:spPr bwMode="auto">
            <a:xfrm>
              <a:off x="7662977" y="5270475"/>
              <a:ext cx="8753" cy="626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6" name="Freeform 392"/>
            <p:cNvSpPr>
              <a:spLocks/>
            </p:cNvSpPr>
            <p:nvPr/>
          </p:nvSpPr>
          <p:spPr bwMode="auto">
            <a:xfrm>
              <a:off x="5232458" y="5469590"/>
              <a:ext cx="77516"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7" name="Freeform 393"/>
            <p:cNvSpPr>
              <a:spLocks noEditPoints="1"/>
            </p:cNvSpPr>
            <p:nvPr/>
          </p:nvSpPr>
          <p:spPr bwMode="auto">
            <a:xfrm>
              <a:off x="5353734" y="5469590"/>
              <a:ext cx="131279"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8" name="Freeform 394"/>
            <p:cNvSpPr>
              <a:spLocks/>
            </p:cNvSpPr>
            <p:nvPr/>
          </p:nvSpPr>
          <p:spPr bwMode="auto">
            <a:xfrm>
              <a:off x="5528771" y="5469590"/>
              <a:ext cx="80017" cy="18659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59" name="Freeform 395"/>
            <p:cNvSpPr>
              <a:spLocks noEditPoints="1"/>
            </p:cNvSpPr>
            <p:nvPr/>
          </p:nvSpPr>
          <p:spPr bwMode="auto">
            <a:xfrm>
              <a:off x="5650047" y="5469590"/>
              <a:ext cx="13377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0" name="Freeform 396"/>
            <p:cNvSpPr>
              <a:spLocks/>
            </p:cNvSpPr>
            <p:nvPr/>
          </p:nvSpPr>
          <p:spPr bwMode="auto">
            <a:xfrm>
              <a:off x="5825084" y="5469590"/>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1" name="Freeform 400"/>
            <p:cNvSpPr>
              <a:spLocks/>
            </p:cNvSpPr>
            <p:nvPr/>
          </p:nvSpPr>
          <p:spPr bwMode="auto">
            <a:xfrm>
              <a:off x="6420211" y="5469590"/>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2" name="Freeform 401"/>
            <p:cNvSpPr>
              <a:spLocks/>
            </p:cNvSpPr>
            <p:nvPr/>
          </p:nvSpPr>
          <p:spPr bwMode="auto">
            <a:xfrm>
              <a:off x="6541487" y="5469590"/>
              <a:ext cx="76267"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5" name="Freeform 409"/>
            <p:cNvSpPr>
              <a:spLocks/>
            </p:cNvSpPr>
            <p:nvPr/>
          </p:nvSpPr>
          <p:spPr bwMode="auto">
            <a:xfrm>
              <a:off x="5344981" y="5695000"/>
              <a:ext cx="73766" cy="58858"/>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6" name="Freeform 410"/>
            <p:cNvSpPr>
              <a:spLocks/>
            </p:cNvSpPr>
            <p:nvPr/>
          </p:nvSpPr>
          <p:spPr bwMode="auto">
            <a:xfrm>
              <a:off x="5463757" y="5695000"/>
              <a:ext cx="77516" cy="102687"/>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7" name="Freeform 411"/>
            <p:cNvSpPr>
              <a:spLocks/>
            </p:cNvSpPr>
            <p:nvPr/>
          </p:nvSpPr>
          <p:spPr bwMode="auto">
            <a:xfrm>
              <a:off x="5585033" y="5695000"/>
              <a:ext cx="130027" cy="154032"/>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8" name="Freeform 412"/>
            <p:cNvSpPr>
              <a:spLocks/>
            </p:cNvSpPr>
            <p:nvPr/>
          </p:nvSpPr>
          <p:spPr bwMode="auto">
            <a:xfrm>
              <a:off x="5760070" y="5695000"/>
              <a:ext cx="76267" cy="18033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69" name="Freeform 417"/>
            <p:cNvSpPr>
              <a:spLocks/>
            </p:cNvSpPr>
            <p:nvPr/>
          </p:nvSpPr>
          <p:spPr bwMode="auto">
            <a:xfrm>
              <a:off x="6476474" y="5695000"/>
              <a:ext cx="76267" cy="182834"/>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70" name="Freeform 418"/>
            <p:cNvSpPr>
              <a:spLocks/>
            </p:cNvSpPr>
            <p:nvPr/>
          </p:nvSpPr>
          <p:spPr bwMode="auto">
            <a:xfrm>
              <a:off x="6597749" y="5695000"/>
              <a:ext cx="80017" cy="165302"/>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75" name="Freeform 425"/>
            <p:cNvSpPr>
              <a:spLocks noEditPoints="1"/>
            </p:cNvSpPr>
            <p:nvPr/>
          </p:nvSpPr>
          <p:spPr bwMode="auto">
            <a:xfrm>
              <a:off x="6592796" y="2013434"/>
              <a:ext cx="245684" cy="213512"/>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79" name="Freeform 99"/>
            <p:cNvSpPr>
              <a:spLocks noEditPoints="1"/>
            </p:cNvSpPr>
            <p:nvPr/>
          </p:nvSpPr>
          <p:spPr bwMode="auto">
            <a:xfrm>
              <a:off x="4834755" y="3680129"/>
              <a:ext cx="592394" cy="412818"/>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80" name="Freeform 279"/>
            <p:cNvSpPr>
              <a:spLocks noChangeAspect="1"/>
            </p:cNvSpPr>
            <p:nvPr/>
          </p:nvSpPr>
          <p:spPr bwMode="auto">
            <a:xfrm>
              <a:off x="4201431" y="3908865"/>
              <a:ext cx="408889" cy="4094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dirty="0">
                <a:gradFill>
                  <a:gsLst>
                    <a:gs pos="0">
                      <a:srgbClr val="FFFFFF"/>
                    </a:gs>
                    <a:gs pos="100000">
                      <a:srgbClr val="FFFFFF"/>
                    </a:gs>
                  </a:gsLst>
                  <a:lin ang="5400000" scaled="0"/>
                </a:gradFill>
                <a:ea typeface="Segoe UI" pitchFamily="34" charset="0"/>
                <a:cs typeface="Segoe UI" pitchFamily="34" charset="0"/>
              </a:endParaRPr>
            </a:p>
          </p:txBody>
        </p:sp>
        <p:sp>
          <p:nvSpPr>
            <p:cNvPr id="289" name="Freeform 340"/>
            <p:cNvSpPr>
              <a:spLocks/>
            </p:cNvSpPr>
            <p:nvPr/>
          </p:nvSpPr>
          <p:spPr bwMode="auto">
            <a:xfrm>
              <a:off x="7190870"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95" name="Freeform 262"/>
            <p:cNvSpPr>
              <a:spLocks noEditPoints="1"/>
            </p:cNvSpPr>
            <p:nvPr/>
          </p:nvSpPr>
          <p:spPr bwMode="auto">
            <a:xfrm>
              <a:off x="5822118"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296" name="Freeform 243"/>
            <p:cNvSpPr>
              <a:spLocks/>
            </p:cNvSpPr>
            <p:nvPr/>
          </p:nvSpPr>
          <p:spPr bwMode="auto">
            <a:xfrm>
              <a:off x="5808831"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 name="Freeform 6"/>
            <p:cNvSpPr>
              <a:spLocks noEditPoints="1"/>
            </p:cNvSpPr>
            <p:nvPr/>
          </p:nvSpPr>
          <p:spPr bwMode="auto">
            <a:xfrm>
              <a:off x="6403659" y="2568270"/>
              <a:ext cx="353645" cy="604939"/>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nvGrpSpPr>
            <p:cNvPr id="997" name="Group 996"/>
            <p:cNvGrpSpPr/>
            <p:nvPr/>
          </p:nvGrpSpPr>
          <p:grpSpPr>
            <a:xfrm>
              <a:off x="6438832" y="3515513"/>
              <a:ext cx="306572" cy="343958"/>
              <a:chOff x="6495975" y="3510751"/>
              <a:chExt cx="306572" cy="343958"/>
            </a:xfrm>
          </p:grpSpPr>
          <p:sp>
            <p:nvSpPr>
              <p:cNvPr id="317"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18"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19"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996" name="Freeform 20"/>
            <p:cNvSpPr>
              <a:spLocks noEditPoints="1"/>
            </p:cNvSpPr>
            <p:nvPr/>
          </p:nvSpPr>
          <p:spPr bwMode="auto">
            <a:xfrm>
              <a:off x="4874681" y="2796699"/>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26" name="Freeform 20"/>
            <p:cNvSpPr>
              <a:spLocks noEditPoints="1"/>
            </p:cNvSpPr>
            <p:nvPr/>
          </p:nvSpPr>
          <p:spPr bwMode="auto">
            <a:xfrm>
              <a:off x="4874681"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27" name="Freeform 20"/>
            <p:cNvSpPr>
              <a:spLocks noEditPoints="1"/>
            </p:cNvSpPr>
            <p:nvPr/>
          </p:nvSpPr>
          <p:spPr bwMode="auto">
            <a:xfrm>
              <a:off x="5180502"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28" name="Freeform 153"/>
            <p:cNvSpPr>
              <a:spLocks/>
            </p:cNvSpPr>
            <p:nvPr/>
          </p:nvSpPr>
          <p:spPr bwMode="auto">
            <a:xfrm>
              <a:off x="5267523"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1020" name="Group 1019"/>
            <p:cNvGrpSpPr/>
            <p:nvPr/>
          </p:nvGrpSpPr>
          <p:grpSpPr>
            <a:xfrm>
              <a:off x="5404053" y="2355851"/>
              <a:ext cx="365054" cy="356934"/>
              <a:chOff x="-6292850" y="812800"/>
              <a:chExt cx="5283200" cy="5165725"/>
            </a:xfrm>
            <a:solidFill>
              <a:schemeClr val="tx1"/>
            </a:solidFill>
          </p:grpSpPr>
          <p:sp>
            <p:nvSpPr>
              <p:cNvPr id="1001" name="Freeform 24"/>
              <p:cNvSpPr>
                <a:spLocks noEditPoints="1"/>
              </p:cNvSpPr>
              <p:nvPr/>
            </p:nvSpPr>
            <p:spPr bwMode="auto">
              <a:xfrm>
                <a:off x="-6292850" y="812800"/>
                <a:ext cx="5283200" cy="5165725"/>
              </a:xfrm>
              <a:custGeom>
                <a:avLst/>
                <a:gdLst>
                  <a:gd name="T0" fmla="*/ 0 w 3328"/>
                  <a:gd name="T1" fmla="*/ 3254 h 3254"/>
                  <a:gd name="T2" fmla="*/ 0 w 3328"/>
                  <a:gd name="T3" fmla="*/ 0 h 3254"/>
                  <a:gd name="T4" fmla="*/ 3328 w 3328"/>
                  <a:gd name="T5" fmla="*/ 0 h 3254"/>
                  <a:gd name="T6" fmla="*/ 3328 w 3328"/>
                  <a:gd name="T7" fmla="*/ 3254 h 3254"/>
                  <a:gd name="T8" fmla="*/ 0 w 3328"/>
                  <a:gd name="T9" fmla="*/ 3254 h 3254"/>
                  <a:gd name="T10" fmla="*/ 173 w 3328"/>
                  <a:gd name="T11" fmla="*/ 3086 h 3254"/>
                  <a:gd name="T12" fmla="*/ 3155 w 3328"/>
                  <a:gd name="T13" fmla="*/ 3086 h 3254"/>
                  <a:gd name="T14" fmla="*/ 3155 w 3328"/>
                  <a:gd name="T15" fmla="*/ 667 h 3254"/>
                  <a:gd name="T16" fmla="*/ 173 w 3328"/>
                  <a:gd name="T17" fmla="*/ 667 h 3254"/>
                  <a:gd name="T18" fmla="*/ 173 w 3328"/>
                  <a:gd name="T19" fmla="*/ 3086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8" h="3254">
                    <a:moveTo>
                      <a:pt x="0" y="3254"/>
                    </a:moveTo>
                    <a:lnTo>
                      <a:pt x="0" y="0"/>
                    </a:lnTo>
                    <a:lnTo>
                      <a:pt x="3328" y="0"/>
                    </a:lnTo>
                    <a:lnTo>
                      <a:pt x="3328" y="3254"/>
                    </a:lnTo>
                    <a:lnTo>
                      <a:pt x="0" y="3254"/>
                    </a:lnTo>
                    <a:close/>
                    <a:moveTo>
                      <a:pt x="173" y="3086"/>
                    </a:moveTo>
                    <a:lnTo>
                      <a:pt x="3155" y="3086"/>
                    </a:lnTo>
                    <a:lnTo>
                      <a:pt x="3155" y="667"/>
                    </a:lnTo>
                    <a:lnTo>
                      <a:pt x="173" y="667"/>
                    </a:lnTo>
                    <a:lnTo>
                      <a:pt x="173" y="30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2" name="Rectangle 25"/>
              <p:cNvSpPr>
                <a:spLocks noChangeArrowheads="1"/>
              </p:cNvSpPr>
              <p:nvPr/>
            </p:nvSpPr>
            <p:spPr bwMode="auto">
              <a:xfrm>
                <a:off x="-4876800"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3" name="Rectangle 26"/>
              <p:cNvSpPr>
                <a:spLocks noChangeArrowheads="1"/>
              </p:cNvSpPr>
              <p:nvPr/>
            </p:nvSpPr>
            <p:spPr bwMode="auto">
              <a:xfrm>
                <a:off x="-3970338" y="2132013"/>
                <a:ext cx="641350"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4" name="Rectangle 27"/>
              <p:cNvSpPr>
                <a:spLocks noChangeArrowheads="1"/>
              </p:cNvSpPr>
              <p:nvPr/>
            </p:nvSpPr>
            <p:spPr bwMode="auto">
              <a:xfrm>
                <a:off x="-3084513"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5" name="Rectangle 28"/>
              <p:cNvSpPr>
                <a:spLocks noChangeArrowheads="1"/>
              </p:cNvSpPr>
              <p:nvPr/>
            </p:nvSpPr>
            <p:spPr bwMode="auto">
              <a:xfrm>
                <a:off x="-2197100"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6" name="Rectangle 29"/>
              <p:cNvSpPr>
                <a:spLocks noChangeArrowheads="1"/>
              </p:cNvSpPr>
              <p:nvPr/>
            </p:nvSpPr>
            <p:spPr bwMode="auto">
              <a:xfrm>
                <a:off x="-5759450" y="3017838"/>
                <a:ext cx="638175"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7" name="Rectangle 30"/>
              <p:cNvSpPr>
                <a:spLocks noChangeArrowheads="1"/>
              </p:cNvSpPr>
              <p:nvPr/>
            </p:nvSpPr>
            <p:spPr bwMode="auto">
              <a:xfrm>
                <a:off x="-4876800"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8" name="Rectangle 31"/>
              <p:cNvSpPr>
                <a:spLocks noChangeArrowheads="1"/>
              </p:cNvSpPr>
              <p:nvPr/>
            </p:nvSpPr>
            <p:spPr bwMode="auto">
              <a:xfrm>
                <a:off x="-3970338" y="3017838"/>
                <a:ext cx="641350"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9" name="Rectangle 32"/>
              <p:cNvSpPr>
                <a:spLocks noChangeArrowheads="1"/>
              </p:cNvSpPr>
              <p:nvPr/>
            </p:nvSpPr>
            <p:spPr bwMode="auto">
              <a:xfrm>
                <a:off x="-3084513"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0" name="Rectangle 33"/>
              <p:cNvSpPr>
                <a:spLocks noChangeArrowheads="1"/>
              </p:cNvSpPr>
              <p:nvPr/>
            </p:nvSpPr>
            <p:spPr bwMode="auto">
              <a:xfrm>
                <a:off x="-2197100"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1" name="Rectangle 34"/>
              <p:cNvSpPr>
                <a:spLocks noChangeArrowheads="1"/>
              </p:cNvSpPr>
              <p:nvPr/>
            </p:nvSpPr>
            <p:spPr bwMode="auto">
              <a:xfrm>
                <a:off x="-5759450" y="3902075"/>
                <a:ext cx="638175"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2" name="Rectangle 35"/>
              <p:cNvSpPr>
                <a:spLocks noChangeArrowheads="1"/>
              </p:cNvSpPr>
              <p:nvPr/>
            </p:nvSpPr>
            <p:spPr bwMode="auto">
              <a:xfrm>
                <a:off x="-4876800"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3" name="Rectangle 36"/>
              <p:cNvSpPr>
                <a:spLocks noChangeArrowheads="1"/>
              </p:cNvSpPr>
              <p:nvPr/>
            </p:nvSpPr>
            <p:spPr bwMode="auto">
              <a:xfrm>
                <a:off x="-3970338" y="3902075"/>
                <a:ext cx="641350"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4" name="Rectangle 37"/>
              <p:cNvSpPr>
                <a:spLocks noChangeArrowheads="1"/>
              </p:cNvSpPr>
              <p:nvPr/>
            </p:nvSpPr>
            <p:spPr bwMode="auto">
              <a:xfrm>
                <a:off x="-3084513"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5" name="Rectangle 38"/>
              <p:cNvSpPr>
                <a:spLocks noChangeArrowheads="1"/>
              </p:cNvSpPr>
              <p:nvPr/>
            </p:nvSpPr>
            <p:spPr bwMode="auto">
              <a:xfrm>
                <a:off x="-2197100"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6" name="Rectangle 39"/>
              <p:cNvSpPr>
                <a:spLocks noChangeArrowheads="1"/>
              </p:cNvSpPr>
              <p:nvPr/>
            </p:nvSpPr>
            <p:spPr bwMode="auto">
              <a:xfrm>
                <a:off x="-5759450" y="4787900"/>
                <a:ext cx="638175"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7" name="Rectangle 40"/>
              <p:cNvSpPr>
                <a:spLocks noChangeArrowheads="1"/>
              </p:cNvSpPr>
              <p:nvPr/>
            </p:nvSpPr>
            <p:spPr bwMode="auto">
              <a:xfrm>
                <a:off x="-4876800" y="4787900"/>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8" name="Rectangle 41"/>
              <p:cNvSpPr>
                <a:spLocks noChangeArrowheads="1"/>
              </p:cNvSpPr>
              <p:nvPr/>
            </p:nvSpPr>
            <p:spPr bwMode="auto">
              <a:xfrm>
                <a:off x="-3970338" y="4787900"/>
                <a:ext cx="641350"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9" name="Rectangle 42"/>
              <p:cNvSpPr>
                <a:spLocks noChangeArrowheads="1"/>
              </p:cNvSpPr>
              <p:nvPr/>
            </p:nvSpPr>
            <p:spPr bwMode="auto">
              <a:xfrm>
                <a:off x="-3084513" y="4787900"/>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354" name="Freeform 202"/>
            <p:cNvSpPr>
              <a:spLocks/>
            </p:cNvSpPr>
            <p:nvPr/>
          </p:nvSpPr>
          <p:spPr bwMode="auto">
            <a:xfrm>
              <a:off x="5816330"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21" name="Freeform 46"/>
            <p:cNvSpPr>
              <a:spLocks noEditPoints="1"/>
            </p:cNvSpPr>
            <p:nvPr/>
          </p:nvSpPr>
          <p:spPr bwMode="auto">
            <a:xfrm>
              <a:off x="5823032" y="3473270"/>
              <a:ext cx="231491" cy="373636"/>
            </a:xfrm>
            <a:custGeom>
              <a:avLst/>
              <a:gdLst>
                <a:gd name="T0" fmla="*/ 1219 w 1330"/>
                <a:gd name="T1" fmla="*/ 298 h 2148"/>
                <a:gd name="T2" fmla="*/ 665 w 1330"/>
                <a:gd name="T3" fmla="*/ 0 h 2148"/>
                <a:gd name="T4" fmla="*/ 0 w 1330"/>
                <a:gd name="T5" fmla="*/ 665 h 2148"/>
                <a:gd name="T6" fmla="*/ 18 w 1330"/>
                <a:gd name="T7" fmla="*/ 818 h 2148"/>
                <a:gd name="T8" fmla="*/ 49 w 1330"/>
                <a:gd name="T9" fmla="*/ 917 h 2148"/>
                <a:gd name="T10" fmla="*/ 95 w 1330"/>
                <a:gd name="T11" fmla="*/ 1008 h 2148"/>
                <a:gd name="T12" fmla="*/ 233 w 1330"/>
                <a:gd name="T13" fmla="*/ 1284 h 2148"/>
                <a:gd name="T14" fmla="*/ 665 w 1330"/>
                <a:gd name="T15" fmla="*/ 2148 h 2148"/>
                <a:gd name="T16" fmla="*/ 1235 w 1330"/>
                <a:gd name="T17" fmla="*/ 1008 h 2148"/>
                <a:gd name="T18" fmla="*/ 1281 w 1330"/>
                <a:gd name="T19" fmla="*/ 917 h 2148"/>
                <a:gd name="T20" fmla="*/ 1312 w 1330"/>
                <a:gd name="T21" fmla="*/ 818 h 2148"/>
                <a:gd name="T22" fmla="*/ 1330 w 1330"/>
                <a:gd name="T23" fmla="*/ 665 h 2148"/>
                <a:gd name="T24" fmla="*/ 1219 w 1330"/>
                <a:gd name="T25" fmla="*/ 298 h 2148"/>
                <a:gd name="T26" fmla="*/ 933 w 1330"/>
                <a:gd name="T27" fmla="*/ 729 h 2148"/>
                <a:gd name="T28" fmla="*/ 920 w 1330"/>
                <a:gd name="T29" fmla="*/ 769 h 2148"/>
                <a:gd name="T30" fmla="*/ 901 w 1330"/>
                <a:gd name="T31" fmla="*/ 807 h 2148"/>
                <a:gd name="T32" fmla="*/ 665 w 1330"/>
                <a:gd name="T33" fmla="*/ 940 h 2148"/>
                <a:gd name="T34" fmla="*/ 588 w 1330"/>
                <a:gd name="T35" fmla="*/ 929 h 2148"/>
                <a:gd name="T36" fmla="*/ 429 w 1330"/>
                <a:gd name="T37" fmla="*/ 807 h 2148"/>
                <a:gd name="T38" fmla="*/ 411 w 1330"/>
                <a:gd name="T39" fmla="*/ 769 h 2148"/>
                <a:gd name="T40" fmla="*/ 398 w 1330"/>
                <a:gd name="T41" fmla="*/ 729 h 2148"/>
                <a:gd name="T42" fmla="*/ 390 w 1330"/>
                <a:gd name="T43" fmla="*/ 665 h 2148"/>
                <a:gd name="T44" fmla="*/ 665 w 1330"/>
                <a:gd name="T45" fmla="*/ 391 h 2148"/>
                <a:gd name="T46" fmla="*/ 929 w 1330"/>
                <a:gd name="T47" fmla="*/ 588 h 2148"/>
                <a:gd name="T48" fmla="*/ 940 w 1330"/>
                <a:gd name="T49" fmla="*/ 665 h 2148"/>
                <a:gd name="T50" fmla="*/ 933 w 1330"/>
                <a:gd name="T51" fmla="*/ 729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0" h="2148">
                  <a:moveTo>
                    <a:pt x="1219" y="298"/>
                  </a:moveTo>
                  <a:cubicBezTo>
                    <a:pt x="1100" y="119"/>
                    <a:pt x="896" y="0"/>
                    <a:pt x="665" y="0"/>
                  </a:cubicBezTo>
                  <a:cubicBezTo>
                    <a:pt x="298" y="0"/>
                    <a:pt x="0" y="298"/>
                    <a:pt x="0" y="665"/>
                  </a:cubicBezTo>
                  <a:cubicBezTo>
                    <a:pt x="0" y="718"/>
                    <a:pt x="6" y="769"/>
                    <a:pt x="18" y="818"/>
                  </a:cubicBezTo>
                  <a:cubicBezTo>
                    <a:pt x="26" y="852"/>
                    <a:pt x="36" y="885"/>
                    <a:pt x="49" y="917"/>
                  </a:cubicBezTo>
                  <a:cubicBezTo>
                    <a:pt x="62" y="948"/>
                    <a:pt x="77" y="979"/>
                    <a:pt x="95" y="1008"/>
                  </a:cubicBezTo>
                  <a:cubicBezTo>
                    <a:pt x="233" y="1284"/>
                    <a:pt x="233" y="1284"/>
                    <a:pt x="233" y="1284"/>
                  </a:cubicBezTo>
                  <a:cubicBezTo>
                    <a:pt x="665" y="2148"/>
                    <a:pt x="665" y="2148"/>
                    <a:pt x="665" y="2148"/>
                  </a:cubicBezTo>
                  <a:cubicBezTo>
                    <a:pt x="1235" y="1008"/>
                    <a:pt x="1235" y="1008"/>
                    <a:pt x="1235" y="1008"/>
                  </a:cubicBezTo>
                  <a:cubicBezTo>
                    <a:pt x="1253" y="979"/>
                    <a:pt x="1268" y="948"/>
                    <a:pt x="1281" y="917"/>
                  </a:cubicBezTo>
                  <a:cubicBezTo>
                    <a:pt x="1294" y="885"/>
                    <a:pt x="1304" y="852"/>
                    <a:pt x="1312" y="818"/>
                  </a:cubicBezTo>
                  <a:cubicBezTo>
                    <a:pt x="1324" y="769"/>
                    <a:pt x="1330" y="718"/>
                    <a:pt x="1330" y="665"/>
                  </a:cubicBezTo>
                  <a:cubicBezTo>
                    <a:pt x="1330" y="530"/>
                    <a:pt x="1289" y="403"/>
                    <a:pt x="1219" y="298"/>
                  </a:cubicBezTo>
                  <a:close/>
                  <a:moveTo>
                    <a:pt x="933" y="729"/>
                  </a:moveTo>
                  <a:cubicBezTo>
                    <a:pt x="929" y="743"/>
                    <a:pt x="925" y="756"/>
                    <a:pt x="920" y="769"/>
                  </a:cubicBezTo>
                  <a:cubicBezTo>
                    <a:pt x="901" y="807"/>
                    <a:pt x="901" y="807"/>
                    <a:pt x="901" y="807"/>
                  </a:cubicBezTo>
                  <a:cubicBezTo>
                    <a:pt x="853" y="887"/>
                    <a:pt x="765" y="940"/>
                    <a:pt x="665" y="940"/>
                  </a:cubicBezTo>
                  <a:cubicBezTo>
                    <a:pt x="638" y="940"/>
                    <a:pt x="612" y="936"/>
                    <a:pt x="588" y="929"/>
                  </a:cubicBezTo>
                  <a:cubicBezTo>
                    <a:pt x="521" y="910"/>
                    <a:pt x="465" y="865"/>
                    <a:pt x="429" y="807"/>
                  </a:cubicBezTo>
                  <a:cubicBezTo>
                    <a:pt x="411" y="769"/>
                    <a:pt x="411" y="769"/>
                    <a:pt x="411" y="769"/>
                  </a:cubicBezTo>
                  <a:cubicBezTo>
                    <a:pt x="405" y="756"/>
                    <a:pt x="401" y="743"/>
                    <a:pt x="398" y="729"/>
                  </a:cubicBezTo>
                  <a:cubicBezTo>
                    <a:pt x="393" y="708"/>
                    <a:pt x="390" y="687"/>
                    <a:pt x="390" y="665"/>
                  </a:cubicBezTo>
                  <a:cubicBezTo>
                    <a:pt x="390" y="514"/>
                    <a:pt x="513" y="391"/>
                    <a:pt x="665" y="391"/>
                  </a:cubicBezTo>
                  <a:cubicBezTo>
                    <a:pt x="790" y="391"/>
                    <a:pt x="896" y="474"/>
                    <a:pt x="929" y="588"/>
                  </a:cubicBezTo>
                  <a:cubicBezTo>
                    <a:pt x="936" y="613"/>
                    <a:pt x="940" y="639"/>
                    <a:pt x="940" y="665"/>
                  </a:cubicBezTo>
                  <a:cubicBezTo>
                    <a:pt x="940" y="687"/>
                    <a:pt x="937" y="708"/>
                    <a:pt x="933" y="72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60" name="Freeform 127"/>
            <p:cNvSpPr>
              <a:spLocks noEditPoints="1"/>
            </p:cNvSpPr>
            <p:nvPr/>
          </p:nvSpPr>
          <p:spPr bwMode="auto">
            <a:xfrm>
              <a:off x="6126398" y="3666482"/>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33" name="Freeform 54"/>
            <p:cNvSpPr>
              <a:spLocks noEditPoints="1"/>
            </p:cNvSpPr>
            <p:nvPr/>
          </p:nvSpPr>
          <p:spPr bwMode="auto">
            <a:xfrm>
              <a:off x="6181353" y="4827891"/>
              <a:ext cx="417706" cy="365815"/>
            </a:xfrm>
            <a:custGeom>
              <a:avLst/>
              <a:gdLst>
                <a:gd name="T0" fmla="*/ 4722 w 5146"/>
                <a:gd name="T1" fmla="*/ 0 h 4506"/>
                <a:gd name="T2" fmla="*/ 424 w 5146"/>
                <a:gd name="T3" fmla="*/ 0 h 4506"/>
                <a:gd name="T4" fmla="*/ 0 w 5146"/>
                <a:gd name="T5" fmla="*/ 430 h 4506"/>
                <a:gd name="T6" fmla="*/ 0 w 5146"/>
                <a:gd name="T7" fmla="*/ 2968 h 4506"/>
                <a:gd name="T8" fmla="*/ 424 w 5146"/>
                <a:gd name="T9" fmla="*/ 3398 h 4506"/>
                <a:gd name="T10" fmla="*/ 1515 w 5146"/>
                <a:gd name="T11" fmla="*/ 3398 h 4506"/>
                <a:gd name="T12" fmla="*/ 3849 w 5146"/>
                <a:gd name="T13" fmla="*/ 4506 h 4506"/>
                <a:gd name="T14" fmla="*/ 3142 w 5146"/>
                <a:gd name="T15" fmla="*/ 3398 h 4506"/>
                <a:gd name="T16" fmla="*/ 4722 w 5146"/>
                <a:gd name="T17" fmla="*/ 3398 h 4506"/>
                <a:gd name="T18" fmla="*/ 5146 w 5146"/>
                <a:gd name="T19" fmla="*/ 2968 h 4506"/>
                <a:gd name="T20" fmla="*/ 5146 w 5146"/>
                <a:gd name="T21" fmla="*/ 430 h 4506"/>
                <a:gd name="T22" fmla="*/ 4722 w 5146"/>
                <a:gd name="T23" fmla="*/ 0 h 4506"/>
                <a:gd name="T24" fmla="*/ 3771 w 5146"/>
                <a:gd name="T25" fmla="*/ 1314 h 4506"/>
                <a:gd name="T26" fmla="*/ 3772 w 5146"/>
                <a:gd name="T27" fmla="*/ 1375 h 4506"/>
                <a:gd name="T28" fmla="*/ 2418 w 5146"/>
                <a:gd name="T29" fmla="*/ 2729 h 4506"/>
                <a:gd name="T30" fmla="*/ 1689 w 5146"/>
                <a:gd name="T31" fmla="*/ 2515 h 4506"/>
                <a:gd name="T32" fmla="*/ 1802 w 5146"/>
                <a:gd name="T33" fmla="*/ 2522 h 4506"/>
                <a:gd name="T34" fmla="*/ 2393 w 5146"/>
                <a:gd name="T35" fmla="*/ 2318 h 4506"/>
                <a:gd name="T36" fmla="*/ 1949 w 5146"/>
                <a:gd name="T37" fmla="*/ 1988 h 4506"/>
                <a:gd name="T38" fmla="*/ 2038 w 5146"/>
                <a:gd name="T39" fmla="*/ 1997 h 4506"/>
                <a:gd name="T40" fmla="*/ 2164 w 5146"/>
                <a:gd name="T41" fmla="*/ 1980 h 4506"/>
                <a:gd name="T42" fmla="*/ 1782 w 5146"/>
                <a:gd name="T43" fmla="*/ 1513 h 4506"/>
                <a:gd name="T44" fmla="*/ 1782 w 5146"/>
                <a:gd name="T45" fmla="*/ 1507 h 4506"/>
                <a:gd name="T46" fmla="*/ 1998 w 5146"/>
                <a:gd name="T47" fmla="*/ 1567 h 4506"/>
                <a:gd name="T48" fmla="*/ 1786 w 5146"/>
                <a:gd name="T49" fmla="*/ 1171 h 4506"/>
                <a:gd name="T50" fmla="*/ 1850 w 5146"/>
                <a:gd name="T51" fmla="*/ 932 h 4506"/>
                <a:gd name="T52" fmla="*/ 2831 w 5146"/>
                <a:gd name="T53" fmla="*/ 1429 h 4506"/>
                <a:gd name="T54" fmla="*/ 2819 w 5146"/>
                <a:gd name="T55" fmla="*/ 1320 h 4506"/>
                <a:gd name="T56" fmla="*/ 3294 w 5146"/>
                <a:gd name="T57" fmla="*/ 844 h 4506"/>
                <a:gd name="T58" fmla="*/ 3642 w 5146"/>
                <a:gd name="T59" fmla="*/ 995 h 4506"/>
                <a:gd name="T60" fmla="*/ 3944 w 5146"/>
                <a:gd name="T61" fmla="*/ 879 h 4506"/>
                <a:gd name="T62" fmla="*/ 3735 w 5146"/>
                <a:gd name="T63" fmla="*/ 1142 h 4506"/>
                <a:gd name="T64" fmla="*/ 4008 w 5146"/>
                <a:gd name="T65" fmla="*/ 1068 h 4506"/>
                <a:gd name="T66" fmla="*/ 3771 w 5146"/>
                <a:gd name="T67" fmla="*/ 1314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6" h="4506">
                  <a:moveTo>
                    <a:pt x="4722" y="0"/>
                  </a:moveTo>
                  <a:cubicBezTo>
                    <a:pt x="424" y="0"/>
                    <a:pt x="424" y="0"/>
                    <a:pt x="424" y="0"/>
                  </a:cubicBezTo>
                  <a:cubicBezTo>
                    <a:pt x="190" y="0"/>
                    <a:pt x="0" y="192"/>
                    <a:pt x="0" y="430"/>
                  </a:cubicBezTo>
                  <a:cubicBezTo>
                    <a:pt x="0" y="2968"/>
                    <a:pt x="0" y="2968"/>
                    <a:pt x="0" y="2968"/>
                  </a:cubicBezTo>
                  <a:cubicBezTo>
                    <a:pt x="0" y="3205"/>
                    <a:pt x="190" y="3398"/>
                    <a:pt x="424" y="3398"/>
                  </a:cubicBezTo>
                  <a:cubicBezTo>
                    <a:pt x="1515" y="3398"/>
                    <a:pt x="1515" y="3398"/>
                    <a:pt x="1515" y="3398"/>
                  </a:cubicBezTo>
                  <a:cubicBezTo>
                    <a:pt x="3849" y="4506"/>
                    <a:pt x="3849" y="4506"/>
                    <a:pt x="3849" y="4506"/>
                  </a:cubicBezTo>
                  <a:cubicBezTo>
                    <a:pt x="3142" y="3398"/>
                    <a:pt x="3142" y="3398"/>
                    <a:pt x="3142" y="3398"/>
                  </a:cubicBezTo>
                  <a:cubicBezTo>
                    <a:pt x="4722" y="3398"/>
                    <a:pt x="4722" y="3398"/>
                    <a:pt x="4722" y="3398"/>
                  </a:cubicBezTo>
                  <a:cubicBezTo>
                    <a:pt x="4956" y="3398"/>
                    <a:pt x="5146" y="3205"/>
                    <a:pt x="5146" y="2968"/>
                  </a:cubicBezTo>
                  <a:cubicBezTo>
                    <a:pt x="5146" y="430"/>
                    <a:pt x="5146" y="430"/>
                    <a:pt x="5146" y="430"/>
                  </a:cubicBezTo>
                  <a:cubicBezTo>
                    <a:pt x="5146" y="192"/>
                    <a:pt x="4956" y="0"/>
                    <a:pt x="4722" y="0"/>
                  </a:cubicBezTo>
                  <a:close/>
                  <a:moveTo>
                    <a:pt x="3771" y="1314"/>
                  </a:moveTo>
                  <a:cubicBezTo>
                    <a:pt x="3771" y="1334"/>
                    <a:pt x="3772" y="1355"/>
                    <a:pt x="3772" y="1375"/>
                  </a:cubicBezTo>
                  <a:cubicBezTo>
                    <a:pt x="3772" y="2004"/>
                    <a:pt x="3293" y="2729"/>
                    <a:pt x="2418" y="2729"/>
                  </a:cubicBezTo>
                  <a:cubicBezTo>
                    <a:pt x="2149" y="2729"/>
                    <a:pt x="1899" y="2650"/>
                    <a:pt x="1689" y="2515"/>
                  </a:cubicBezTo>
                  <a:cubicBezTo>
                    <a:pt x="1726" y="2520"/>
                    <a:pt x="1764" y="2522"/>
                    <a:pt x="1802" y="2522"/>
                  </a:cubicBezTo>
                  <a:cubicBezTo>
                    <a:pt x="2025" y="2522"/>
                    <a:pt x="2230" y="2446"/>
                    <a:pt x="2393" y="2318"/>
                  </a:cubicBezTo>
                  <a:cubicBezTo>
                    <a:pt x="2185" y="2315"/>
                    <a:pt x="2009" y="2177"/>
                    <a:pt x="1949" y="1988"/>
                  </a:cubicBezTo>
                  <a:cubicBezTo>
                    <a:pt x="1978" y="1994"/>
                    <a:pt x="2008" y="1997"/>
                    <a:pt x="2038" y="1997"/>
                  </a:cubicBezTo>
                  <a:cubicBezTo>
                    <a:pt x="2082" y="1997"/>
                    <a:pt x="2124" y="1991"/>
                    <a:pt x="2164" y="1980"/>
                  </a:cubicBezTo>
                  <a:cubicBezTo>
                    <a:pt x="1946" y="1936"/>
                    <a:pt x="1782" y="1744"/>
                    <a:pt x="1782" y="1513"/>
                  </a:cubicBezTo>
                  <a:cubicBezTo>
                    <a:pt x="1782" y="1511"/>
                    <a:pt x="1782" y="1509"/>
                    <a:pt x="1782" y="1507"/>
                  </a:cubicBezTo>
                  <a:cubicBezTo>
                    <a:pt x="1846" y="1543"/>
                    <a:pt x="1920" y="1564"/>
                    <a:pt x="1998" y="1567"/>
                  </a:cubicBezTo>
                  <a:cubicBezTo>
                    <a:pt x="1870" y="1481"/>
                    <a:pt x="1786" y="1336"/>
                    <a:pt x="1786" y="1171"/>
                  </a:cubicBezTo>
                  <a:cubicBezTo>
                    <a:pt x="1786" y="1084"/>
                    <a:pt x="1809" y="1002"/>
                    <a:pt x="1850" y="932"/>
                  </a:cubicBezTo>
                  <a:cubicBezTo>
                    <a:pt x="2085" y="1219"/>
                    <a:pt x="2436" y="1409"/>
                    <a:pt x="2831" y="1429"/>
                  </a:cubicBezTo>
                  <a:cubicBezTo>
                    <a:pt x="2823" y="1394"/>
                    <a:pt x="2819" y="1358"/>
                    <a:pt x="2819" y="1320"/>
                  </a:cubicBezTo>
                  <a:cubicBezTo>
                    <a:pt x="2819" y="1057"/>
                    <a:pt x="3032" y="844"/>
                    <a:pt x="3294" y="844"/>
                  </a:cubicBezTo>
                  <a:cubicBezTo>
                    <a:pt x="3431" y="844"/>
                    <a:pt x="3555" y="902"/>
                    <a:pt x="3642" y="995"/>
                  </a:cubicBezTo>
                  <a:cubicBezTo>
                    <a:pt x="3750" y="973"/>
                    <a:pt x="3852" y="934"/>
                    <a:pt x="3944" y="879"/>
                  </a:cubicBezTo>
                  <a:cubicBezTo>
                    <a:pt x="3908" y="990"/>
                    <a:pt x="3833" y="1084"/>
                    <a:pt x="3735" y="1142"/>
                  </a:cubicBezTo>
                  <a:cubicBezTo>
                    <a:pt x="3831" y="1131"/>
                    <a:pt x="3923" y="1105"/>
                    <a:pt x="4008" y="1068"/>
                  </a:cubicBezTo>
                  <a:cubicBezTo>
                    <a:pt x="3944" y="1163"/>
                    <a:pt x="3864" y="1247"/>
                    <a:pt x="3771" y="13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69" name="Freeform 356"/>
            <p:cNvSpPr>
              <a:spLocks/>
            </p:cNvSpPr>
            <p:nvPr/>
          </p:nvSpPr>
          <p:spPr bwMode="auto">
            <a:xfrm>
              <a:off x="6048738" y="5021271"/>
              <a:ext cx="80017" cy="184087"/>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37" name="Freeform 58"/>
            <p:cNvSpPr>
              <a:spLocks noEditPoints="1"/>
            </p:cNvSpPr>
            <p:nvPr/>
          </p:nvSpPr>
          <p:spPr bwMode="auto">
            <a:xfrm>
              <a:off x="5963450" y="5489939"/>
              <a:ext cx="441325" cy="441876"/>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nvGrpSpPr>
            <p:cNvPr id="384" name="Group 383"/>
            <p:cNvGrpSpPr/>
            <p:nvPr/>
          </p:nvGrpSpPr>
          <p:grpSpPr>
            <a:xfrm>
              <a:off x="7337085" y="3061031"/>
              <a:ext cx="377629" cy="540546"/>
              <a:chOff x="-1824038" y="1800225"/>
              <a:chExt cx="2546351" cy="3644900"/>
            </a:xfrm>
            <a:solidFill>
              <a:schemeClr val="tx1"/>
            </a:solidFill>
          </p:grpSpPr>
          <p:sp>
            <p:nvSpPr>
              <p:cNvPr id="385" name="Freeform 62"/>
              <p:cNvSpPr>
                <a:spLocks/>
              </p:cNvSpPr>
              <p:nvPr/>
            </p:nvSpPr>
            <p:spPr bwMode="auto">
              <a:xfrm>
                <a:off x="341313" y="1800225"/>
                <a:ext cx="381000" cy="3644900"/>
              </a:xfrm>
              <a:custGeom>
                <a:avLst/>
                <a:gdLst>
                  <a:gd name="T0" fmla="*/ 0 w 240"/>
                  <a:gd name="T1" fmla="*/ 0 h 2296"/>
                  <a:gd name="T2" fmla="*/ 240 w 240"/>
                  <a:gd name="T3" fmla="*/ 0 h 2296"/>
                  <a:gd name="T4" fmla="*/ 240 w 240"/>
                  <a:gd name="T5" fmla="*/ 2296 h 2296"/>
                  <a:gd name="T6" fmla="*/ 0 w 240"/>
                  <a:gd name="T7" fmla="*/ 2296 h 2296"/>
                  <a:gd name="T8" fmla="*/ 0 w 240"/>
                  <a:gd name="T9" fmla="*/ 0 h 2296"/>
                  <a:gd name="T10" fmla="*/ 0 w 240"/>
                  <a:gd name="T11" fmla="*/ 0 h 2296"/>
                </a:gdLst>
                <a:ahLst/>
                <a:cxnLst>
                  <a:cxn ang="0">
                    <a:pos x="T0" y="T1"/>
                  </a:cxn>
                  <a:cxn ang="0">
                    <a:pos x="T2" y="T3"/>
                  </a:cxn>
                  <a:cxn ang="0">
                    <a:pos x="T4" y="T5"/>
                  </a:cxn>
                  <a:cxn ang="0">
                    <a:pos x="T6" y="T7"/>
                  </a:cxn>
                  <a:cxn ang="0">
                    <a:pos x="T8" y="T9"/>
                  </a:cxn>
                  <a:cxn ang="0">
                    <a:pos x="T10" y="T11"/>
                  </a:cxn>
                </a:cxnLst>
                <a:rect l="0" t="0" r="r" b="b"/>
                <a:pathLst>
                  <a:path w="240" h="2296">
                    <a:moveTo>
                      <a:pt x="0" y="0"/>
                    </a:moveTo>
                    <a:lnTo>
                      <a:pt x="240" y="0"/>
                    </a:lnTo>
                    <a:lnTo>
                      <a:pt x="240" y="2296"/>
                    </a:lnTo>
                    <a:lnTo>
                      <a:pt x="0" y="2296"/>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86" name="Freeform 63"/>
              <p:cNvSpPr>
                <a:spLocks/>
              </p:cNvSpPr>
              <p:nvPr/>
            </p:nvSpPr>
            <p:spPr bwMode="auto">
              <a:xfrm>
                <a:off x="-196850" y="4511675"/>
                <a:ext cx="381000" cy="933450"/>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87" name="Freeform 64"/>
              <p:cNvSpPr>
                <a:spLocks/>
              </p:cNvSpPr>
              <p:nvPr/>
            </p:nvSpPr>
            <p:spPr bwMode="auto">
              <a:xfrm>
                <a:off x="-731838" y="2924175"/>
                <a:ext cx="376238" cy="2520950"/>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88" name="Freeform 65"/>
              <p:cNvSpPr>
                <a:spLocks/>
              </p:cNvSpPr>
              <p:nvPr/>
            </p:nvSpPr>
            <p:spPr bwMode="auto">
              <a:xfrm>
                <a:off x="-1284288" y="2270125"/>
                <a:ext cx="379413" cy="3175000"/>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89" name="Freeform 66"/>
              <p:cNvSpPr>
                <a:spLocks/>
              </p:cNvSpPr>
              <p:nvPr/>
            </p:nvSpPr>
            <p:spPr bwMode="auto">
              <a:xfrm>
                <a:off x="-1824038" y="3470275"/>
                <a:ext cx="381000" cy="1974850"/>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390" name="Freeform 42"/>
            <p:cNvSpPr>
              <a:spLocks/>
            </p:cNvSpPr>
            <p:nvPr/>
          </p:nvSpPr>
          <p:spPr bwMode="auto">
            <a:xfrm>
              <a:off x="5606262" y="277851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91" name="Freeform 43"/>
            <p:cNvSpPr>
              <a:spLocks noEditPoints="1"/>
            </p:cNvSpPr>
            <p:nvPr/>
          </p:nvSpPr>
          <p:spPr bwMode="auto">
            <a:xfrm>
              <a:off x="5743964" y="277851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92" name="Freeform 44"/>
            <p:cNvSpPr>
              <a:spLocks/>
            </p:cNvSpPr>
            <p:nvPr/>
          </p:nvSpPr>
          <p:spPr bwMode="auto">
            <a:xfrm>
              <a:off x="5917751" y="2778513"/>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94" name="Freeform 42"/>
            <p:cNvSpPr>
              <a:spLocks/>
            </p:cNvSpPr>
            <p:nvPr/>
          </p:nvSpPr>
          <p:spPr bwMode="auto">
            <a:xfrm>
              <a:off x="5794206" y="299995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95" name="Freeform 43"/>
            <p:cNvSpPr>
              <a:spLocks noEditPoints="1"/>
            </p:cNvSpPr>
            <p:nvPr/>
          </p:nvSpPr>
          <p:spPr bwMode="auto">
            <a:xfrm>
              <a:off x="5931664" y="299995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96" name="Freeform 14"/>
            <p:cNvSpPr>
              <a:spLocks/>
            </p:cNvSpPr>
            <p:nvPr/>
          </p:nvSpPr>
          <p:spPr bwMode="auto">
            <a:xfrm>
              <a:off x="5499197"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50" name="Freeform 70"/>
            <p:cNvSpPr>
              <a:spLocks noEditPoints="1"/>
            </p:cNvSpPr>
            <p:nvPr/>
          </p:nvSpPr>
          <p:spPr bwMode="auto">
            <a:xfrm>
              <a:off x="5017897" y="4810126"/>
              <a:ext cx="450325" cy="383380"/>
            </a:xfrm>
            <a:custGeom>
              <a:avLst/>
              <a:gdLst>
                <a:gd name="T0" fmla="*/ 25 w 518"/>
                <a:gd name="T1" fmla="*/ 104 h 441"/>
                <a:gd name="T2" fmla="*/ 25 w 518"/>
                <a:gd name="T3" fmla="*/ 415 h 441"/>
                <a:gd name="T4" fmla="*/ 492 w 518"/>
                <a:gd name="T5" fmla="*/ 415 h 441"/>
                <a:gd name="T6" fmla="*/ 492 w 518"/>
                <a:gd name="T7" fmla="*/ 104 h 441"/>
                <a:gd name="T8" fmla="*/ 25 w 518"/>
                <a:gd name="T9" fmla="*/ 104 h 441"/>
                <a:gd name="T10" fmla="*/ 0 w 518"/>
                <a:gd name="T11" fmla="*/ 78 h 441"/>
                <a:gd name="T12" fmla="*/ 518 w 518"/>
                <a:gd name="T13" fmla="*/ 78 h 441"/>
                <a:gd name="T14" fmla="*/ 518 w 518"/>
                <a:gd name="T15" fmla="*/ 441 h 441"/>
                <a:gd name="T16" fmla="*/ 0 w 518"/>
                <a:gd name="T17" fmla="*/ 441 h 441"/>
                <a:gd name="T18" fmla="*/ 0 w 518"/>
                <a:gd name="T19" fmla="*/ 78 h 441"/>
                <a:gd name="T20" fmla="*/ 0 w 518"/>
                <a:gd name="T21" fmla="*/ 0 h 441"/>
                <a:gd name="T22" fmla="*/ 518 w 518"/>
                <a:gd name="T23" fmla="*/ 0 h 441"/>
                <a:gd name="T24" fmla="*/ 518 w 518"/>
                <a:gd name="T25" fmla="*/ 52 h 441"/>
                <a:gd name="T26" fmla="*/ 0 w 518"/>
                <a:gd name="T27" fmla="*/ 52 h 441"/>
                <a:gd name="T28" fmla="*/ 0 w 518"/>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8" h="441">
                  <a:moveTo>
                    <a:pt x="25" y="104"/>
                  </a:moveTo>
                  <a:cubicBezTo>
                    <a:pt x="25" y="415"/>
                    <a:pt x="25" y="415"/>
                    <a:pt x="25" y="415"/>
                  </a:cubicBezTo>
                  <a:cubicBezTo>
                    <a:pt x="492" y="415"/>
                    <a:pt x="492" y="415"/>
                    <a:pt x="492" y="415"/>
                  </a:cubicBezTo>
                  <a:cubicBezTo>
                    <a:pt x="492" y="104"/>
                    <a:pt x="492" y="104"/>
                    <a:pt x="492" y="104"/>
                  </a:cubicBezTo>
                  <a:cubicBezTo>
                    <a:pt x="25" y="104"/>
                    <a:pt x="25" y="104"/>
                    <a:pt x="25" y="104"/>
                  </a:cubicBezTo>
                  <a:close/>
                  <a:moveTo>
                    <a:pt x="0" y="78"/>
                  </a:moveTo>
                  <a:cubicBezTo>
                    <a:pt x="518" y="78"/>
                    <a:pt x="518" y="78"/>
                    <a:pt x="518" y="78"/>
                  </a:cubicBezTo>
                  <a:cubicBezTo>
                    <a:pt x="518" y="441"/>
                    <a:pt x="518" y="441"/>
                    <a:pt x="518" y="441"/>
                  </a:cubicBezTo>
                  <a:cubicBezTo>
                    <a:pt x="0" y="441"/>
                    <a:pt x="0" y="441"/>
                    <a:pt x="0" y="441"/>
                  </a:cubicBezTo>
                  <a:cubicBezTo>
                    <a:pt x="0" y="78"/>
                    <a:pt x="0" y="78"/>
                    <a:pt x="0" y="78"/>
                  </a:cubicBezTo>
                  <a:close/>
                  <a:moveTo>
                    <a:pt x="0" y="0"/>
                  </a:moveTo>
                  <a:cubicBezTo>
                    <a:pt x="518" y="0"/>
                    <a:pt x="518" y="0"/>
                    <a:pt x="518" y="0"/>
                  </a:cubicBezTo>
                  <a:cubicBezTo>
                    <a:pt x="518" y="52"/>
                    <a:pt x="518" y="52"/>
                    <a:pt x="518" y="52"/>
                  </a:cubicBezTo>
                  <a:cubicBezTo>
                    <a:pt x="0" y="52"/>
                    <a:pt x="0" y="52"/>
                    <a:pt x="0" y="52"/>
                  </a:cubicBezTo>
                  <a:cubicBezTo>
                    <a:pt x="0" y="0"/>
                    <a:pt x="0" y="0"/>
                    <a:pt x="0" y="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01" name="Freeform 304"/>
            <p:cNvSpPr>
              <a:spLocks/>
            </p:cNvSpPr>
            <p:nvPr/>
          </p:nvSpPr>
          <p:spPr bwMode="auto">
            <a:xfrm>
              <a:off x="5051675"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02" name="Freeform 305"/>
            <p:cNvSpPr>
              <a:spLocks/>
            </p:cNvSpPr>
            <p:nvPr/>
          </p:nvSpPr>
          <p:spPr bwMode="auto">
            <a:xfrm>
              <a:off x="5193879"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03" name="Freeform 306"/>
            <p:cNvSpPr>
              <a:spLocks/>
            </p:cNvSpPr>
            <p:nvPr/>
          </p:nvSpPr>
          <p:spPr bwMode="auto">
            <a:xfrm>
              <a:off x="5327199"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351" name="Group 350"/>
            <p:cNvGrpSpPr/>
            <p:nvPr/>
          </p:nvGrpSpPr>
          <p:grpSpPr>
            <a:xfrm flipH="1">
              <a:off x="4259896" y="3063240"/>
              <a:ext cx="285916" cy="306479"/>
              <a:chOff x="2556535" y="3145652"/>
              <a:chExt cx="297818" cy="470859"/>
            </a:xfrm>
            <a:solidFill>
              <a:schemeClr val="tx1"/>
            </a:solidFill>
          </p:grpSpPr>
          <p:sp>
            <p:nvSpPr>
              <p:cNvPr id="407"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08"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09"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10"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412" name="Group 411"/>
            <p:cNvGrpSpPr/>
            <p:nvPr/>
          </p:nvGrpSpPr>
          <p:grpSpPr>
            <a:xfrm>
              <a:off x="7863211" y="4370354"/>
              <a:ext cx="264848" cy="297146"/>
              <a:chOff x="6495975" y="3510751"/>
              <a:chExt cx="306572" cy="343958"/>
            </a:xfrm>
            <a:solidFill>
              <a:schemeClr val="tx1"/>
            </a:solidFill>
          </p:grpSpPr>
          <p:sp>
            <p:nvSpPr>
              <p:cNvPr id="41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1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1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430" name="Group 429"/>
            <p:cNvGrpSpPr/>
            <p:nvPr/>
          </p:nvGrpSpPr>
          <p:grpSpPr>
            <a:xfrm>
              <a:off x="5663256" y="4156345"/>
              <a:ext cx="306572" cy="343958"/>
              <a:chOff x="6495975" y="3510751"/>
              <a:chExt cx="306572" cy="343958"/>
            </a:xfrm>
          </p:grpSpPr>
          <p:sp>
            <p:nvSpPr>
              <p:cNvPr id="431"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32"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33"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434" name="Freeform 274"/>
            <p:cNvSpPr>
              <a:spLocks/>
            </p:cNvSpPr>
            <p:nvPr/>
          </p:nvSpPr>
          <p:spPr bwMode="auto">
            <a:xfrm>
              <a:off x="5339245"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5" name="Freeform 275"/>
            <p:cNvSpPr>
              <a:spLocks noEditPoints="1"/>
            </p:cNvSpPr>
            <p:nvPr/>
          </p:nvSpPr>
          <p:spPr bwMode="auto">
            <a:xfrm>
              <a:off x="5461771"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436" name="Group 435"/>
            <p:cNvGrpSpPr/>
            <p:nvPr/>
          </p:nvGrpSpPr>
          <p:grpSpPr>
            <a:xfrm flipH="1">
              <a:off x="5961768" y="1860551"/>
              <a:ext cx="285916" cy="409910"/>
              <a:chOff x="2556535" y="3145652"/>
              <a:chExt cx="297818" cy="470859"/>
            </a:xfrm>
            <a:solidFill>
              <a:schemeClr val="tx1"/>
            </a:solidFill>
          </p:grpSpPr>
          <p:sp>
            <p:nvSpPr>
              <p:cNvPr id="437"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38"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39"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40"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358" name="Freeform 74"/>
            <p:cNvSpPr>
              <a:spLocks noEditPoints="1"/>
            </p:cNvSpPr>
            <p:nvPr/>
          </p:nvSpPr>
          <p:spPr bwMode="auto">
            <a:xfrm rot="721847">
              <a:off x="6749556" y="5442121"/>
              <a:ext cx="437890" cy="355566"/>
            </a:xfrm>
            <a:custGeom>
              <a:avLst/>
              <a:gdLst>
                <a:gd name="T0" fmla="*/ 752 w 1049"/>
                <a:gd name="T1" fmla="*/ 377 h 851"/>
                <a:gd name="T2" fmla="*/ 628 w 1049"/>
                <a:gd name="T3" fmla="*/ 359 h 851"/>
                <a:gd name="T4" fmla="*/ 664 w 1049"/>
                <a:gd name="T5" fmla="*/ 235 h 851"/>
                <a:gd name="T6" fmla="*/ 602 w 1049"/>
                <a:gd name="T7" fmla="*/ 168 h 851"/>
                <a:gd name="T8" fmla="*/ 491 w 1049"/>
                <a:gd name="T9" fmla="*/ 230 h 851"/>
                <a:gd name="T10" fmla="*/ 438 w 1049"/>
                <a:gd name="T11" fmla="*/ 97 h 851"/>
                <a:gd name="T12" fmla="*/ 350 w 1049"/>
                <a:gd name="T13" fmla="*/ 84 h 851"/>
                <a:gd name="T14" fmla="*/ 305 w 1049"/>
                <a:gd name="T15" fmla="*/ 221 h 851"/>
                <a:gd name="T16" fmla="*/ 190 w 1049"/>
                <a:gd name="T17" fmla="*/ 164 h 851"/>
                <a:gd name="T18" fmla="*/ 111 w 1049"/>
                <a:gd name="T19" fmla="*/ 213 h 851"/>
                <a:gd name="T20" fmla="*/ 155 w 1049"/>
                <a:gd name="T21" fmla="*/ 333 h 851"/>
                <a:gd name="T22" fmla="*/ 35 w 1049"/>
                <a:gd name="T23" fmla="*/ 363 h 851"/>
                <a:gd name="T24" fmla="*/ 0 w 1049"/>
                <a:gd name="T25" fmla="*/ 448 h 851"/>
                <a:gd name="T26" fmla="*/ 115 w 1049"/>
                <a:gd name="T27" fmla="*/ 514 h 851"/>
                <a:gd name="T28" fmla="*/ 40 w 1049"/>
                <a:gd name="T29" fmla="*/ 616 h 851"/>
                <a:gd name="T30" fmla="*/ 71 w 1049"/>
                <a:gd name="T31" fmla="*/ 705 h 851"/>
                <a:gd name="T32" fmla="*/ 199 w 1049"/>
                <a:gd name="T33" fmla="*/ 678 h 851"/>
                <a:gd name="T34" fmla="*/ 208 w 1049"/>
                <a:gd name="T35" fmla="*/ 807 h 851"/>
                <a:gd name="T36" fmla="*/ 288 w 1049"/>
                <a:gd name="T37" fmla="*/ 851 h 851"/>
                <a:gd name="T38" fmla="*/ 367 w 1049"/>
                <a:gd name="T39" fmla="*/ 749 h 851"/>
                <a:gd name="T40" fmla="*/ 398 w 1049"/>
                <a:gd name="T41" fmla="*/ 749 h 851"/>
                <a:gd name="T42" fmla="*/ 482 w 1049"/>
                <a:gd name="T43" fmla="*/ 851 h 851"/>
                <a:gd name="T44" fmla="*/ 562 w 1049"/>
                <a:gd name="T45" fmla="*/ 807 h 851"/>
                <a:gd name="T46" fmla="*/ 571 w 1049"/>
                <a:gd name="T47" fmla="*/ 678 h 851"/>
                <a:gd name="T48" fmla="*/ 695 w 1049"/>
                <a:gd name="T49" fmla="*/ 705 h 851"/>
                <a:gd name="T50" fmla="*/ 730 w 1049"/>
                <a:gd name="T51" fmla="*/ 616 h 851"/>
                <a:gd name="T52" fmla="*/ 655 w 1049"/>
                <a:gd name="T53" fmla="*/ 514 h 851"/>
                <a:gd name="T54" fmla="*/ 765 w 1049"/>
                <a:gd name="T55" fmla="*/ 448 h 851"/>
                <a:gd name="T56" fmla="*/ 491 w 1049"/>
                <a:gd name="T57" fmla="*/ 590 h 851"/>
                <a:gd name="T58" fmla="*/ 279 w 1049"/>
                <a:gd name="T59" fmla="*/ 590 h 851"/>
                <a:gd name="T60" fmla="*/ 279 w 1049"/>
                <a:gd name="T61" fmla="*/ 372 h 851"/>
                <a:gd name="T62" fmla="*/ 491 w 1049"/>
                <a:gd name="T63" fmla="*/ 372 h 851"/>
                <a:gd name="T64" fmla="*/ 314 w 1049"/>
                <a:gd name="T65" fmla="*/ 479 h 851"/>
                <a:gd name="T66" fmla="*/ 456 w 1049"/>
                <a:gd name="T67" fmla="*/ 479 h 851"/>
                <a:gd name="T68" fmla="*/ 314 w 1049"/>
                <a:gd name="T69" fmla="*/ 479 h 851"/>
                <a:gd name="T70" fmla="*/ 1005 w 1049"/>
                <a:gd name="T71" fmla="*/ 208 h 851"/>
                <a:gd name="T72" fmla="*/ 1040 w 1049"/>
                <a:gd name="T73" fmla="*/ 142 h 851"/>
                <a:gd name="T74" fmla="*/ 1049 w 1049"/>
                <a:gd name="T75" fmla="*/ 119 h 851"/>
                <a:gd name="T76" fmla="*/ 1009 w 1049"/>
                <a:gd name="T77" fmla="*/ 80 h 851"/>
                <a:gd name="T78" fmla="*/ 951 w 1049"/>
                <a:gd name="T79" fmla="*/ 97 h 851"/>
                <a:gd name="T80" fmla="*/ 889 w 1049"/>
                <a:gd name="T81" fmla="*/ 13 h 851"/>
                <a:gd name="T82" fmla="*/ 837 w 1049"/>
                <a:gd name="T83" fmla="*/ 0 h 851"/>
                <a:gd name="T84" fmla="*/ 806 w 1049"/>
                <a:gd name="T85" fmla="*/ 71 h 851"/>
                <a:gd name="T86" fmla="*/ 704 w 1049"/>
                <a:gd name="T87" fmla="*/ 80 h 851"/>
                <a:gd name="T88" fmla="*/ 682 w 1049"/>
                <a:gd name="T89" fmla="*/ 89 h 851"/>
                <a:gd name="T90" fmla="*/ 659 w 1049"/>
                <a:gd name="T91" fmla="*/ 128 h 851"/>
                <a:gd name="T92" fmla="*/ 712 w 1049"/>
                <a:gd name="T93" fmla="*/ 182 h 851"/>
                <a:gd name="T94" fmla="*/ 712 w 1049"/>
                <a:gd name="T95" fmla="*/ 235 h 851"/>
                <a:gd name="T96" fmla="*/ 659 w 1049"/>
                <a:gd name="T97" fmla="*/ 288 h 851"/>
                <a:gd name="T98" fmla="*/ 682 w 1049"/>
                <a:gd name="T99" fmla="*/ 328 h 851"/>
                <a:gd name="T100" fmla="*/ 704 w 1049"/>
                <a:gd name="T101" fmla="*/ 337 h 851"/>
                <a:gd name="T102" fmla="*/ 806 w 1049"/>
                <a:gd name="T103" fmla="*/ 346 h 851"/>
                <a:gd name="T104" fmla="*/ 837 w 1049"/>
                <a:gd name="T105" fmla="*/ 417 h 851"/>
                <a:gd name="T106" fmla="*/ 889 w 1049"/>
                <a:gd name="T107" fmla="*/ 403 h 851"/>
                <a:gd name="T108" fmla="*/ 951 w 1049"/>
                <a:gd name="T109" fmla="*/ 319 h 851"/>
                <a:gd name="T110" fmla="*/ 1009 w 1049"/>
                <a:gd name="T111" fmla="*/ 337 h 851"/>
                <a:gd name="T112" fmla="*/ 1049 w 1049"/>
                <a:gd name="T113" fmla="*/ 297 h 851"/>
                <a:gd name="T114" fmla="*/ 1040 w 1049"/>
                <a:gd name="T115" fmla="*/ 275 h 851"/>
                <a:gd name="T116" fmla="*/ 1000 w 1049"/>
                <a:gd name="T117" fmla="*/ 235 h 851"/>
                <a:gd name="T118" fmla="*/ 854 w 1049"/>
                <a:gd name="T119" fmla="*/ 266 h 851"/>
                <a:gd name="T120" fmla="*/ 854 w 1049"/>
                <a:gd name="T121" fmla="*/ 1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9" h="851">
                  <a:moveTo>
                    <a:pt x="765" y="448"/>
                  </a:moveTo>
                  <a:cubicBezTo>
                    <a:pt x="752" y="377"/>
                    <a:pt x="752" y="377"/>
                    <a:pt x="752" y="377"/>
                  </a:cubicBezTo>
                  <a:cubicBezTo>
                    <a:pt x="752" y="372"/>
                    <a:pt x="748" y="363"/>
                    <a:pt x="735" y="363"/>
                  </a:cubicBezTo>
                  <a:cubicBezTo>
                    <a:pt x="628" y="359"/>
                    <a:pt x="628" y="359"/>
                    <a:pt x="628" y="359"/>
                  </a:cubicBezTo>
                  <a:cubicBezTo>
                    <a:pt x="624" y="350"/>
                    <a:pt x="620" y="341"/>
                    <a:pt x="611" y="333"/>
                  </a:cubicBezTo>
                  <a:cubicBezTo>
                    <a:pt x="664" y="235"/>
                    <a:pt x="664" y="235"/>
                    <a:pt x="664" y="235"/>
                  </a:cubicBezTo>
                  <a:cubicBezTo>
                    <a:pt x="668" y="226"/>
                    <a:pt x="664" y="217"/>
                    <a:pt x="655" y="213"/>
                  </a:cubicBezTo>
                  <a:cubicBezTo>
                    <a:pt x="602" y="168"/>
                    <a:pt x="602" y="168"/>
                    <a:pt x="602" y="168"/>
                  </a:cubicBezTo>
                  <a:cubicBezTo>
                    <a:pt x="598" y="159"/>
                    <a:pt x="584" y="159"/>
                    <a:pt x="580" y="164"/>
                  </a:cubicBezTo>
                  <a:cubicBezTo>
                    <a:pt x="491" y="230"/>
                    <a:pt x="491" y="230"/>
                    <a:pt x="491" y="230"/>
                  </a:cubicBezTo>
                  <a:cubicBezTo>
                    <a:pt x="482" y="226"/>
                    <a:pt x="478" y="226"/>
                    <a:pt x="465" y="221"/>
                  </a:cubicBezTo>
                  <a:cubicBezTo>
                    <a:pt x="438" y="97"/>
                    <a:pt x="438" y="97"/>
                    <a:pt x="438" y="97"/>
                  </a:cubicBezTo>
                  <a:cubicBezTo>
                    <a:pt x="438" y="89"/>
                    <a:pt x="429" y="84"/>
                    <a:pt x="420" y="84"/>
                  </a:cubicBezTo>
                  <a:cubicBezTo>
                    <a:pt x="350" y="84"/>
                    <a:pt x="350" y="84"/>
                    <a:pt x="350" y="84"/>
                  </a:cubicBezTo>
                  <a:cubicBezTo>
                    <a:pt x="341" y="84"/>
                    <a:pt x="332" y="89"/>
                    <a:pt x="328" y="97"/>
                  </a:cubicBezTo>
                  <a:cubicBezTo>
                    <a:pt x="305" y="221"/>
                    <a:pt x="305" y="221"/>
                    <a:pt x="305" y="221"/>
                  </a:cubicBezTo>
                  <a:cubicBezTo>
                    <a:pt x="292" y="226"/>
                    <a:pt x="283" y="226"/>
                    <a:pt x="279" y="230"/>
                  </a:cubicBezTo>
                  <a:cubicBezTo>
                    <a:pt x="190" y="164"/>
                    <a:pt x="190" y="164"/>
                    <a:pt x="190" y="164"/>
                  </a:cubicBezTo>
                  <a:cubicBezTo>
                    <a:pt x="182" y="159"/>
                    <a:pt x="173" y="159"/>
                    <a:pt x="168" y="164"/>
                  </a:cubicBezTo>
                  <a:cubicBezTo>
                    <a:pt x="111" y="213"/>
                    <a:pt x="111" y="213"/>
                    <a:pt x="111" y="213"/>
                  </a:cubicBezTo>
                  <a:cubicBezTo>
                    <a:pt x="106" y="217"/>
                    <a:pt x="106" y="226"/>
                    <a:pt x="106" y="235"/>
                  </a:cubicBezTo>
                  <a:cubicBezTo>
                    <a:pt x="155" y="333"/>
                    <a:pt x="155" y="333"/>
                    <a:pt x="155" y="333"/>
                  </a:cubicBezTo>
                  <a:cubicBezTo>
                    <a:pt x="151" y="341"/>
                    <a:pt x="146" y="350"/>
                    <a:pt x="142" y="359"/>
                  </a:cubicBezTo>
                  <a:cubicBezTo>
                    <a:pt x="35" y="363"/>
                    <a:pt x="35" y="363"/>
                    <a:pt x="35" y="363"/>
                  </a:cubicBezTo>
                  <a:cubicBezTo>
                    <a:pt x="22" y="363"/>
                    <a:pt x="18" y="372"/>
                    <a:pt x="13" y="377"/>
                  </a:cubicBezTo>
                  <a:cubicBezTo>
                    <a:pt x="0" y="448"/>
                    <a:pt x="0" y="448"/>
                    <a:pt x="0" y="448"/>
                  </a:cubicBezTo>
                  <a:cubicBezTo>
                    <a:pt x="0" y="457"/>
                    <a:pt x="4" y="465"/>
                    <a:pt x="13" y="470"/>
                  </a:cubicBezTo>
                  <a:cubicBezTo>
                    <a:pt x="115" y="514"/>
                    <a:pt x="115" y="514"/>
                    <a:pt x="115" y="514"/>
                  </a:cubicBezTo>
                  <a:cubicBezTo>
                    <a:pt x="115" y="523"/>
                    <a:pt x="115" y="532"/>
                    <a:pt x="120" y="545"/>
                  </a:cubicBezTo>
                  <a:cubicBezTo>
                    <a:pt x="40" y="616"/>
                    <a:pt x="40" y="616"/>
                    <a:pt x="40" y="616"/>
                  </a:cubicBezTo>
                  <a:cubicBezTo>
                    <a:pt x="35" y="621"/>
                    <a:pt x="31" y="634"/>
                    <a:pt x="35" y="643"/>
                  </a:cubicBezTo>
                  <a:cubicBezTo>
                    <a:pt x="71" y="705"/>
                    <a:pt x="71" y="705"/>
                    <a:pt x="71" y="705"/>
                  </a:cubicBezTo>
                  <a:cubicBezTo>
                    <a:pt x="75" y="709"/>
                    <a:pt x="84" y="714"/>
                    <a:pt x="93" y="709"/>
                  </a:cubicBezTo>
                  <a:cubicBezTo>
                    <a:pt x="199" y="678"/>
                    <a:pt x="199" y="678"/>
                    <a:pt x="199" y="678"/>
                  </a:cubicBezTo>
                  <a:cubicBezTo>
                    <a:pt x="208" y="687"/>
                    <a:pt x="213" y="692"/>
                    <a:pt x="221" y="700"/>
                  </a:cubicBezTo>
                  <a:cubicBezTo>
                    <a:pt x="208" y="807"/>
                    <a:pt x="208" y="807"/>
                    <a:pt x="208" y="807"/>
                  </a:cubicBezTo>
                  <a:cubicBezTo>
                    <a:pt x="208" y="816"/>
                    <a:pt x="213" y="825"/>
                    <a:pt x="221" y="825"/>
                  </a:cubicBezTo>
                  <a:cubicBezTo>
                    <a:pt x="288" y="851"/>
                    <a:pt x="288" y="851"/>
                    <a:pt x="288" y="851"/>
                  </a:cubicBezTo>
                  <a:cubicBezTo>
                    <a:pt x="297" y="851"/>
                    <a:pt x="305" y="851"/>
                    <a:pt x="310" y="847"/>
                  </a:cubicBezTo>
                  <a:cubicBezTo>
                    <a:pt x="367" y="749"/>
                    <a:pt x="367" y="749"/>
                    <a:pt x="367" y="749"/>
                  </a:cubicBezTo>
                  <a:cubicBezTo>
                    <a:pt x="372" y="749"/>
                    <a:pt x="381" y="754"/>
                    <a:pt x="385" y="754"/>
                  </a:cubicBezTo>
                  <a:cubicBezTo>
                    <a:pt x="389" y="754"/>
                    <a:pt x="394" y="749"/>
                    <a:pt x="398" y="749"/>
                  </a:cubicBezTo>
                  <a:cubicBezTo>
                    <a:pt x="456" y="847"/>
                    <a:pt x="456" y="847"/>
                    <a:pt x="456" y="847"/>
                  </a:cubicBezTo>
                  <a:cubicBezTo>
                    <a:pt x="465" y="851"/>
                    <a:pt x="474" y="851"/>
                    <a:pt x="482" y="851"/>
                  </a:cubicBezTo>
                  <a:cubicBezTo>
                    <a:pt x="549" y="825"/>
                    <a:pt x="549" y="825"/>
                    <a:pt x="549" y="825"/>
                  </a:cubicBezTo>
                  <a:cubicBezTo>
                    <a:pt x="558" y="825"/>
                    <a:pt x="562" y="816"/>
                    <a:pt x="562" y="807"/>
                  </a:cubicBezTo>
                  <a:cubicBezTo>
                    <a:pt x="549" y="700"/>
                    <a:pt x="549" y="700"/>
                    <a:pt x="549" y="700"/>
                  </a:cubicBezTo>
                  <a:cubicBezTo>
                    <a:pt x="553" y="692"/>
                    <a:pt x="562" y="687"/>
                    <a:pt x="571" y="678"/>
                  </a:cubicBezTo>
                  <a:cubicBezTo>
                    <a:pt x="677" y="709"/>
                    <a:pt x="677" y="709"/>
                    <a:pt x="677" y="709"/>
                  </a:cubicBezTo>
                  <a:cubicBezTo>
                    <a:pt x="682" y="714"/>
                    <a:pt x="695" y="709"/>
                    <a:pt x="695" y="705"/>
                  </a:cubicBezTo>
                  <a:cubicBezTo>
                    <a:pt x="735" y="643"/>
                    <a:pt x="735" y="643"/>
                    <a:pt x="735" y="643"/>
                  </a:cubicBezTo>
                  <a:cubicBezTo>
                    <a:pt x="739" y="634"/>
                    <a:pt x="735" y="621"/>
                    <a:pt x="730" y="616"/>
                  </a:cubicBezTo>
                  <a:cubicBezTo>
                    <a:pt x="651" y="545"/>
                    <a:pt x="651" y="545"/>
                    <a:pt x="651" y="545"/>
                  </a:cubicBezTo>
                  <a:cubicBezTo>
                    <a:pt x="651" y="532"/>
                    <a:pt x="651" y="523"/>
                    <a:pt x="655" y="514"/>
                  </a:cubicBezTo>
                  <a:cubicBezTo>
                    <a:pt x="757" y="470"/>
                    <a:pt x="757" y="470"/>
                    <a:pt x="757" y="470"/>
                  </a:cubicBezTo>
                  <a:cubicBezTo>
                    <a:pt x="765" y="465"/>
                    <a:pt x="765" y="461"/>
                    <a:pt x="765" y="448"/>
                  </a:cubicBezTo>
                  <a:close/>
                  <a:moveTo>
                    <a:pt x="535" y="479"/>
                  </a:moveTo>
                  <a:cubicBezTo>
                    <a:pt x="535" y="523"/>
                    <a:pt x="518" y="559"/>
                    <a:pt x="491" y="590"/>
                  </a:cubicBezTo>
                  <a:cubicBezTo>
                    <a:pt x="465" y="616"/>
                    <a:pt x="425" y="634"/>
                    <a:pt x="385" y="634"/>
                  </a:cubicBezTo>
                  <a:cubicBezTo>
                    <a:pt x="341" y="634"/>
                    <a:pt x="305" y="616"/>
                    <a:pt x="279" y="590"/>
                  </a:cubicBezTo>
                  <a:cubicBezTo>
                    <a:pt x="252" y="559"/>
                    <a:pt x="235" y="523"/>
                    <a:pt x="235" y="479"/>
                  </a:cubicBezTo>
                  <a:cubicBezTo>
                    <a:pt x="235" y="439"/>
                    <a:pt x="252" y="399"/>
                    <a:pt x="279" y="372"/>
                  </a:cubicBezTo>
                  <a:cubicBezTo>
                    <a:pt x="305" y="346"/>
                    <a:pt x="341" y="328"/>
                    <a:pt x="385" y="328"/>
                  </a:cubicBezTo>
                  <a:cubicBezTo>
                    <a:pt x="425" y="328"/>
                    <a:pt x="465" y="346"/>
                    <a:pt x="491" y="372"/>
                  </a:cubicBezTo>
                  <a:cubicBezTo>
                    <a:pt x="518" y="399"/>
                    <a:pt x="535" y="439"/>
                    <a:pt x="535" y="479"/>
                  </a:cubicBezTo>
                  <a:close/>
                  <a:moveTo>
                    <a:pt x="314" y="479"/>
                  </a:moveTo>
                  <a:cubicBezTo>
                    <a:pt x="314" y="443"/>
                    <a:pt x="345" y="412"/>
                    <a:pt x="385" y="412"/>
                  </a:cubicBezTo>
                  <a:cubicBezTo>
                    <a:pt x="425" y="412"/>
                    <a:pt x="456" y="443"/>
                    <a:pt x="456" y="479"/>
                  </a:cubicBezTo>
                  <a:cubicBezTo>
                    <a:pt x="456" y="519"/>
                    <a:pt x="425" y="550"/>
                    <a:pt x="385" y="550"/>
                  </a:cubicBezTo>
                  <a:cubicBezTo>
                    <a:pt x="345" y="550"/>
                    <a:pt x="314" y="519"/>
                    <a:pt x="314" y="479"/>
                  </a:cubicBezTo>
                  <a:close/>
                  <a:moveTo>
                    <a:pt x="1000" y="235"/>
                  </a:moveTo>
                  <a:cubicBezTo>
                    <a:pt x="1000" y="230"/>
                    <a:pt x="1005" y="217"/>
                    <a:pt x="1005" y="208"/>
                  </a:cubicBezTo>
                  <a:cubicBezTo>
                    <a:pt x="1005" y="199"/>
                    <a:pt x="1000" y="191"/>
                    <a:pt x="1000" y="182"/>
                  </a:cubicBezTo>
                  <a:cubicBezTo>
                    <a:pt x="1040" y="142"/>
                    <a:pt x="1040" y="142"/>
                    <a:pt x="1040" y="142"/>
                  </a:cubicBezTo>
                  <a:cubicBezTo>
                    <a:pt x="1049" y="142"/>
                    <a:pt x="1049" y="133"/>
                    <a:pt x="1049" y="128"/>
                  </a:cubicBezTo>
                  <a:cubicBezTo>
                    <a:pt x="1049" y="128"/>
                    <a:pt x="1049" y="124"/>
                    <a:pt x="1049" y="119"/>
                  </a:cubicBezTo>
                  <a:cubicBezTo>
                    <a:pt x="1027" y="89"/>
                    <a:pt x="1027" y="89"/>
                    <a:pt x="1027" y="89"/>
                  </a:cubicBezTo>
                  <a:cubicBezTo>
                    <a:pt x="1022" y="84"/>
                    <a:pt x="1018" y="80"/>
                    <a:pt x="1009" y="80"/>
                  </a:cubicBezTo>
                  <a:cubicBezTo>
                    <a:pt x="1009" y="80"/>
                    <a:pt x="1009" y="80"/>
                    <a:pt x="1005" y="80"/>
                  </a:cubicBezTo>
                  <a:cubicBezTo>
                    <a:pt x="951" y="97"/>
                    <a:pt x="951" y="97"/>
                    <a:pt x="951" y="97"/>
                  </a:cubicBezTo>
                  <a:cubicBezTo>
                    <a:pt x="938" y="84"/>
                    <a:pt x="921" y="75"/>
                    <a:pt x="903" y="71"/>
                  </a:cubicBezTo>
                  <a:cubicBezTo>
                    <a:pt x="889" y="13"/>
                    <a:pt x="889" y="13"/>
                    <a:pt x="889" y="13"/>
                  </a:cubicBezTo>
                  <a:cubicBezTo>
                    <a:pt x="889" y="9"/>
                    <a:pt x="881" y="0"/>
                    <a:pt x="872" y="0"/>
                  </a:cubicBezTo>
                  <a:cubicBezTo>
                    <a:pt x="837" y="0"/>
                    <a:pt x="837" y="0"/>
                    <a:pt x="837" y="0"/>
                  </a:cubicBezTo>
                  <a:cubicBezTo>
                    <a:pt x="828" y="0"/>
                    <a:pt x="819" y="9"/>
                    <a:pt x="819" y="13"/>
                  </a:cubicBezTo>
                  <a:cubicBezTo>
                    <a:pt x="806" y="71"/>
                    <a:pt x="806" y="71"/>
                    <a:pt x="806" y="71"/>
                  </a:cubicBezTo>
                  <a:cubicBezTo>
                    <a:pt x="788" y="75"/>
                    <a:pt x="770" y="84"/>
                    <a:pt x="757" y="97"/>
                  </a:cubicBezTo>
                  <a:cubicBezTo>
                    <a:pt x="704" y="80"/>
                    <a:pt x="704" y="80"/>
                    <a:pt x="704" y="80"/>
                  </a:cubicBezTo>
                  <a:cubicBezTo>
                    <a:pt x="699" y="80"/>
                    <a:pt x="699" y="80"/>
                    <a:pt x="699" y="80"/>
                  </a:cubicBezTo>
                  <a:cubicBezTo>
                    <a:pt x="690" y="80"/>
                    <a:pt x="686" y="84"/>
                    <a:pt x="682" y="89"/>
                  </a:cubicBezTo>
                  <a:cubicBezTo>
                    <a:pt x="664" y="119"/>
                    <a:pt x="664" y="119"/>
                    <a:pt x="664" y="119"/>
                  </a:cubicBezTo>
                  <a:cubicBezTo>
                    <a:pt x="659" y="124"/>
                    <a:pt x="659" y="128"/>
                    <a:pt x="659" y="128"/>
                  </a:cubicBezTo>
                  <a:cubicBezTo>
                    <a:pt x="659" y="133"/>
                    <a:pt x="664" y="142"/>
                    <a:pt x="664" y="142"/>
                  </a:cubicBezTo>
                  <a:cubicBezTo>
                    <a:pt x="712" y="182"/>
                    <a:pt x="712" y="182"/>
                    <a:pt x="712" y="182"/>
                  </a:cubicBezTo>
                  <a:cubicBezTo>
                    <a:pt x="708" y="191"/>
                    <a:pt x="704" y="199"/>
                    <a:pt x="704" y="208"/>
                  </a:cubicBezTo>
                  <a:cubicBezTo>
                    <a:pt x="704" y="217"/>
                    <a:pt x="708" y="226"/>
                    <a:pt x="712" y="235"/>
                  </a:cubicBezTo>
                  <a:cubicBezTo>
                    <a:pt x="664" y="275"/>
                    <a:pt x="664" y="275"/>
                    <a:pt x="664" y="275"/>
                  </a:cubicBezTo>
                  <a:cubicBezTo>
                    <a:pt x="664" y="279"/>
                    <a:pt x="659" y="284"/>
                    <a:pt x="659" y="288"/>
                  </a:cubicBezTo>
                  <a:cubicBezTo>
                    <a:pt x="659" y="292"/>
                    <a:pt x="659" y="292"/>
                    <a:pt x="664" y="297"/>
                  </a:cubicBezTo>
                  <a:cubicBezTo>
                    <a:pt x="682" y="328"/>
                    <a:pt x="682" y="328"/>
                    <a:pt x="682" y="328"/>
                  </a:cubicBezTo>
                  <a:cubicBezTo>
                    <a:pt x="686" y="337"/>
                    <a:pt x="690" y="337"/>
                    <a:pt x="699" y="337"/>
                  </a:cubicBezTo>
                  <a:cubicBezTo>
                    <a:pt x="699" y="337"/>
                    <a:pt x="699" y="337"/>
                    <a:pt x="704" y="337"/>
                  </a:cubicBezTo>
                  <a:cubicBezTo>
                    <a:pt x="757" y="319"/>
                    <a:pt x="757" y="319"/>
                    <a:pt x="757" y="319"/>
                  </a:cubicBezTo>
                  <a:cubicBezTo>
                    <a:pt x="770" y="333"/>
                    <a:pt x="788" y="341"/>
                    <a:pt x="806" y="346"/>
                  </a:cubicBezTo>
                  <a:cubicBezTo>
                    <a:pt x="819" y="403"/>
                    <a:pt x="819" y="403"/>
                    <a:pt x="819" y="403"/>
                  </a:cubicBezTo>
                  <a:cubicBezTo>
                    <a:pt x="819" y="412"/>
                    <a:pt x="828" y="417"/>
                    <a:pt x="837" y="417"/>
                  </a:cubicBezTo>
                  <a:cubicBezTo>
                    <a:pt x="872" y="417"/>
                    <a:pt x="872" y="417"/>
                    <a:pt x="872" y="417"/>
                  </a:cubicBezTo>
                  <a:cubicBezTo>
                    <a:pt x="881" y="417"/>
                    <a:pt x="889" y="412"/>
                    <a:pt x="889" y="403"/>
                  </a:cubicBezTo>
                  <a:cubicBezTo>
                    <a:pt x="903" y="350"/>
                    <a:pt x="903" y="350"/>
                    <a:pt x="903" y="350"/>
                  </a:cubicBezTo>
                  <a:cubicBezTo>
                    <a:pt x="921" y="341"/>
                    <a:pt x="938" y="333"/>
                    <a:pt x="951" y="319"/>
                  </a:cubicBezTo>
                  <a:cubicBezTo>
                    <a:pt x="1005" y="337"/>
                    <a:pt x="1005" y="337"/>
                    <a:pt x="1005" y="337"/>
                  </a:cubicBezTo>
                  <a:cubicBezTo>
                    <a:pt x="1009" y="337"/>
                    <a:pt x="1009" y="337"/>
                    <a:pt x="1009" y="337"/>
                  </a:cubicBezTo>
                  <a:cubicBezTo>
                    <a:pt x="1018" y="337"/>
                    <a:pt x="1022" y="337"/>
                    <a:pt x="1027" y="328"/>
                  </a:cubicBezTo>
                  <a:cubicBezTo>
                    <a:pt x="1049" y="297"/>
                    <a:pt x="1049" y="297"/>
                    <a:pt x="1049" y="297"/>
                  </a:cubicBezTo>
                  <a:cubicBezTo>
                    <a:pt x="1049" y="292"/>
                    <a:pt x="1049" y="292"/>
                    <a:pt x="1049" y="288"/>
                  </a:cubicBezTo>
                  <a:cubicBezTo>
                    <a:pt x="1049" y="284"/>
                    <a:pt x="1049" y="279"/>
                    <a:pt x="1040" y="275"/>
                  </a:cubicBezTo>
                  <a:cubicBezTo>
                    <a:pt x="1000" y="235"/>
                    <a:pt x="1000" y="235"/>
                    <a:pt x="1000" y="235"/>
                  </a:cubicBezTo>
                  <a:cubicBezTo>
                    <a:pt x="1000" y="235"/>
                    <a:pt x="1000" y="235"/>
                    <a:pt x="1000" y="235"/>
                  </a:cubicBezTo>
                  <a:close/>
                  <a:moveTo>
                    <a:pt x="912" y="208"/>
                  </a:moveTo>
                  <a:cubicBezTo>
                    <a:pt x="912" y="239"/>
                    <a:pt x="885" y="266"/>
                    <a:pt x="854" y="266"/>
                  </a:cubicBezTo>
                  <a:cubicBezTo>
                    <a:pt x="823" y="266"/>
                    <a:pt x="797" y="239"/>
                    <a:pt x="797" y="208"/>
                  </a:cubicBezTo>
                  <a:cubicBezTo>
                    <a:pt x="797" y="177"/>
                    <a:pt x="823" y="151"/>
                    <a:pt x="854" y="151"/>
                  </a:cubicBezTo>
                  <a:cubicBezTo>
                    <a:pt x="885" y="151"/>
                    <a:pt x="912" y="177"/>
                    <a:pt x="912" y="20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47" name="Freeform 384"/>
            <p:cNvSpPr>
              <a:spLocks/>
            </p:cNvSpPr>
            <p:nvPr/>
          </p:nvSpPr>
          <p:spPr bwMode="auto">
            <a:xfrm>
              <a:off x="7239138"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8" name="Freeform 385"/>
            <p:cNvSpPr>
              <a:spLocks noEditPoints="1"/>
            </p:cNvSpPr>
            <p:nvPr/>
          </p:nvSpPr>
          <p:spPr bwMode="auto">
            <a:xfrm>
              <a:off x="7364163"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449" name="Group 448"/>
            <p:cNvGrpSpPr/>
            <p:nvPr/>
          </p:nvGrpSpPr>
          <p:grpSpPr>
            <a:xfrm>
              <a:off x="5570818" y="5061791"/>
              <a:ext cx="264848" cy="297146"/>
              <a:chOff x="6495975" y="3510751"/>
              <a:chExt cx="306572" cy="343958"/>
            </a:xfrm>
            <a:solidFill>
              <a:schemeClr val="tx1"/>
            </a:solidFill>
          </p:grpSpPr>
          <p:sp>
            <p:nvSpPr>
              <p:cNvPr id="450"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1"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2"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453" name="Freeform 365"/>
            <p:cNvSpPr>
              <a:spLocks noEditPoints="1"/>
            </p:cNvSpPr>
            <p:nvPr/>
          </p:nvSpPr>
          <p:spPr bwMode="auto">
            <a:xfrm>
              <a:off x="7013463"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4" name="Freeform 365"/>
            <p:cNvSpPr>
              <a:spLocks noEditPoints="1"/>
            </p:cNvSpPr>
            <p:nvPr/>
          </p:nvSpPr>
          <p:spPr bwMode="auto">
            <a:xfrm>
              <a:off x="6836056"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5" name="Freeform 365"/>
            <p:cNvSpPr>
              <a:spLocks noEditPoints="1"/>
            </p:cNvSpPr>
            <p:nvPr/>
          </p:nvSpPr>
          <p:spPr bwMode="auto">
            <a:xfrm>
              <a:off x="6659952"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6" name="Freeform 365"/>
            <p:cNvSpPr>
              <a:spLocks noEditPoints="1"/>
            </p:cNvSpPr>
            <p:nvPr/>
          </p:nvSpPr>
          <p:spPr bwMode="auto">
            <a:xfrm>
              <a:off x="4829870"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8" name="Freeform 340"/>
            <p:cNvSpPr>
              <a:spLocks/>
            </p:cNvSpPr>
            <p:nvPr/>
          </p:nvSpPr>
          <p:spPr bwMode="auto">
            <a:xfrm>
              <a:off x="4689085"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45" name="Freeform 73"/>
            <p:cNvSpPr>
              <a:spLocks noEditPoints="1"/>
            </p:cNvSpPr>
            <p:nvPr/>
          </p:nvSpPr>
          <p:spPr bwMode="auto">
            <a:xfrm>
              <a:off x="7020024" y="2352676"/>
              <a:ext cx="378526" cy="378514"/>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1"/>
            </a:solidFill>
            <a:ln w="9525" cap="flat" cmpd="sng" algn="ctr">
              <a:noFill/>
              <a:prstDash val="solid"/>
              <a:headEnd type="none" w="med" len="med"/>
              <a:tailEnd type="none" w="med" len="med"/>
            </a:ln>
            <a:effectLst/>
            <a:extLst/>
          </p:spPr>
          <p:txBody>
            <a:bodyPr rot="0" spcFirstLastPara="0" vertOverflow="overflow" horzOverflow="overflow" vert="horz" wrap="square" lIns="91203" tIns="72963" rIns="91203" bIns="72963" numCol="1" spcCol="0" rtlCol="0" fromWordArt="0" anchor="t" anchorCtr="0" forceAA="0" compatLnSpc="1">
              <a:prstTxWarp prst="textNoShape">
                <a:avLst/>
              </a:prstTxWarp>
              <a:noAutofit/>
            </a:bodyPr>
            <a:lstStyle/>
            <a:p>
              <a:pPr algn="ctr" defTabSz="464955" fontAlgn="base">
                <a:lnSpc>
                  <a:spcPct val="90000"/>
                </a:lnSpc>
                <a:spcBef>
                  <a:spcPct val="0"/>
                </a:spcBef>
                <a:spcAft>
                  <a:spcPct val="0"/>
                </a:spcAft>
                <a:defRPr/>
              </a:pPr>
              <a:endParaRPr lang="en-US" sz="1197" kern="0">
                <a:gradFill>
                  <a:gsLst>
                    <a:gs pos="0">
                      <a:srgbClr val="FFFFFF"/>
                    </a:gs>
                    <a:gs pos="100000">
                      <a:srgbClr val="FFFFFF"/>
                    </a:gs>
                  </a:gsLst>
                  <a:lin ang="5400000" scaled="0"/>
                </a:gradFill>
                <a:ea typeface="Segoe UI" pitchFamily="34" charset="0"/>
                <a:cs typeface="Segoe UI" pitchFamily="34" charset="0"/>
              </a:endParaRPr>
            </a:p>
          </p:txBody>
        </p:sp>
        <p:sp>
          <p:nvSpPr>
            <p:cNvPr id="356" name="Freeform 113"/>
            <p:cNvSpPr>
              <a:spLocks noEditPoints="1"/>
            </p:cNvSpPr>
            <p:nvPr/>
          </p:nvSpPr>
          <p:spPr bwMode="auto">
            <a:xfrm>
              <a:off x="7038552" y="3956943"/>
              <a:ext cx="417862" cy="505626"/>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87867" tIns="43934" rIns="87867" bIns="43934" numCol="1" anchor="t" anchorCtr="0" compatLnSpc="1">
              <a:prstTxWarp prst="textNoShape">
                <a:avLst/>
              </a:prstTxWarp>
            </a:bodyPr>
            <a:lstStyle/>
            <a:p>
              <a:pPr defTabSz="896214" fontAlgn="base">
                <a:spcBef>
                  <a:spcPct val="0"/>
                </a:spcBef>
                <a:spcAft>
                  <a:spcPct val="0"/>
                </a:spcAft>
                <a:defRPr/>
              </a:pPr>
              <a:endParaRPr lang="en-US" sz="1729" kern="0">
                <a:solidFill>
                  <a:srgbClr val="505050"/>
                </a:solidFill>
                <a:ea typeface="ＭＳ Ｐゴシック" charset="0"/>
              </a:endParaRPr>
            </a:p>
          </p:txBody>
        </p:sp>
        <p:sp>
          <p:nvSpPr>
            <p:cNvPr id="357" name="Freeform 188"/>
            <p:cNvSpPr>
              <a:spLocks/>
            </p:cNvSpPr>
            <p:nvPr/>
          </p:nvSpPr>
          <p:spPr bwMode="auto">
            <a:xfrm>
              <a:off x="7505577"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1" name="Freeform 130"/>
            <p:cNvSpPr>
              <a:spLocks/>
            </p:cNvSpPr>
            <p:nvPr/>
          </p:nvSpPr>
          <p:spPr bwMode="auto">
            <a:xfrm>
              <a:off x="6894962"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2" name="Freeform 130"/>
            <p:cNvSpPr>
              <a:spLocks/>
            </p:cNvSpPr>
            <p:nvPr/>
          </p:nvSpPr>
          <p:spPr bwMode="auto">
            <a:xfrm>
              <a:off x="6746117"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3" name="Freeform 126"/>
            <p:cNvSpPr>
              <a:spLocks noEditPoints="1"/>
            </p:cNvSpPr>
            <p:nvPr/>
          </p:nvSpPr>
          <p:spPr bwMode="auto">
            <a:xfrm>
              <a:off x="6542904" y="412011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4" name="Freeform 127"/>
            <p:cNvSpPr>
              <a:spLocks noEditPoints="1"/>
            </p:cNvSpPr>
            <p:nvPr/>
          </p:nvSpPr>
          <p:spPr bwMode="auto">
            <a:xfrm>
              <a:off x="6716691" y="412011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5" name="Freeform 128"/>
            <p:cNvSpPr>
              <a:spLocks/>
            </p:cNvSpPr>
            <p:nvPr/>
          </p:nvSpPr>
          <p:spPr bwMode="auto">
            <a:xfrm>
              <a:off x="6891730" y="412011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6" name="Freeform 311"/>
            <p:cNvSpPr>
              <a:spLocks/>
            </p:cNvSpPr>
            <p:nvPr/>
          </p:nvSpPr>
          <p:spPr bwMode="auto">
            <a:xfrm>
              <a:off x="6551709"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7" name="Freeform 312"/>
            <p:cNvSpPr>
              <a:spLocks noEditPoints="1"/>
            </p:cNvSpPr>
            <p:nvPr/>
          </p:nvSpPr>
          <p:spPr bwMode="auto">
            <a:xfrm>
              <a:off x="6704812" y="4345591"/>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68" name="Freeform 311"/>
            <p:cNvSpPr>
              <a:spLocks/>
            </p:cNvSpPr>
            <p:nvPr/>
          </p:nvSpPr>
          <p:spPr bwMode="auto">
            <a:xfrm>
              <a:off x="6891510"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72" name="Freeform 313"/>
            <p:cNvSpPr>
              <a:spLocks/>
            </p:cNvSpPr>
            <p:nvPr/>
          </p:nvSpPr>
          <p:spPr bwMode="auto">
            <a:xfrm>
              <a:off x="6878581" y="4797111"/>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373" name="Freeform 314"/>
            <p:cNvSpPr>
              <a:spLocks noEditPoints="1"/>
            </p:cNvSpPr>
            <p:nvPr/>
          </p:nvSpPr>
          <p:spPr bwMode="auto">
            <a:xfrm>
              <a:off x="7003610" y="4791160"/>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sp>
        <p:nvSpPr>
          <p:cNvPr id="226" name="Rectangle 225"/>
          <p:cNvSpPr/>
          <p:nvPr/>
        </p:nvSpPr>
        <p:spPr bwMode="auto">
          <a:xfrm>
            <a:off x="1984324" y="5135164"/>
            <a:ext cx="3785491" cy="4827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89642" numCol="1" spcCol="0" rtlCol="0" fromWordArt="0" anchor="ctr" anchorCtr="0" forceAA="0" compatLnSpc="1">
            <a:prstTxWarp prst="textNoShape">
              <a:avLst/>
            </a:prstTxWarp>
            <a:spAutoFit/>
          </a:bodyPr>
          <a:lstStyle/>
          <a:p>
            <a:pPr defTabSz="914102" fontAlgn="base">
              <a:spcBef>
                <a:spcPct val="0"/>
              </a:spcBef>
              <a:spcAft>
                <a:spcPct val="0"/>
              </a:spcAft>
            </a:pPr>
            <a:r>
              <a:rPr lang="en-US" sz="1961" dirty="0">
                <a:solidFill>
                  <a:srgbClr val="0072C6"/>
                </a:solidFill>
                <a:ea typeface="Segoe UI" pitchFamily="34" charset="0"/>
                <a:cs typeface="Segoe UI" pitchFamily="34" charset="0"/>
              </a:rPr>
              <a:t>Microsoft Azure</a:t>
            </a:r>
          </a:p>
        </p:txBody>
      </p:sp>
      <p:sp>
        <p:nvSpPr>
          <p:cNvPr id="227" name="TextBox 226"/>
          <p:cNvSpPr txBox="1"/>
          <p:nvPr/>
        </p:nvSpPr>
        <p:spPr>
          <a:xfrm>
            <a:off x="1984324" y="4512457"/>
            <a:ext cx="3040835" cy="887415"/>
          </a:xfrm>
          <a:prstGeom prst="rect">
            <a:avLst/>
          </a:prstGeom>
          <a:noFill/>
        </p:spPr>
        <p:txBody>
          <a:bodyPr wrap="square" lIns="175761" tIns="140609" rIns="175761" bIns="140609" rtlCol="0">
            <a:spAutoFit/>
          </a:bodyPr>
          <a:lstStyle>
            <a:defPPr>
              <a:defRPr lang="en-US"/>
            </a:defPPr>
            <a:lvl1pPr marR="0" lvl="0" indent="0" defTabSz="914400" fontAlgn="auto">
              <a:lnSpc>
                <a:spcPct val="90000"/>
              </a:lnSpc>
              <a:spcBef>
                <a:spcPts val="0"/>
              </a:spcBef>
              <a:spcAft>
                <a:spcPts val="588"/>
              </a:spcAft>
              <a:buClrTx/>
              <a:buSzTx/>
              <a:buFontTx/>
              <a:buNone/>
              <a:tabLst/>
              <a:defRPr kumimoji="0" sz="3200" b="1" i="0" u="none" strike="noStrike" kern="0" cap="none" spc="0" normalizeH="0" baseline="0">
                <a:ln>
                  <a:noFill/>
                </a:ln>
                <a:solidFill>
                  <a:schemeClr val="tx2"/>
                </a:solidFill>
                <a:effectLst/>
                <a:uLnTx/>
                <a:uFillTx/>
                <a:latin typeface="Segoe UI Light"/>
              </a:defRPr>
            </a:lvl1pPr>
          </a:lstStyle>
          <a:p>
            <a:pPr>
              <a:lnSpc>
                <a:spcPct val="100000"/>
              </a:lnSpc>
              <a:spcAft>
                <a:spcPts val="0"/>
              </a:spcAft>
            </a:pPr>
            <a:r>
              <a:rPr lang="en-US" sz="3921" b="0" dirty="0">
                <a:solidFill>
                  <a:srgbClr val="0072C6">
                    <a:lumMod val="50000"/>
                  </a:srgbClr>
                </a:solidFill>
                <a:ea typeface="ＭＳ Ｐゴシック" charset="0"/>
              </a:rPr>
              <a:t>Platform</a:t>
            </a:r>
          </a:p>
        </p:txBody>
      </p:sp>
      <p:sp>
        <p:nvSpPr>
          <p:cNvPr id="224" name="Rectangle 223"/>
          <p:cNvSpPr/>
          <p:nvPr/>
        </p:nvSpPr>
        <p:spPr bwMode="auto">
          <a:xfrm>
            <a:off x="8570308" y="2959222"/>
            <a:ext cx="3785491" cy="4827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89642" numCol="1" spcCol="0" rtlCol="0" fromWordArt="0" anchor="ctr" anchorCtr="0" forceAA="0" compatLnSpc="1">
            <a:prstTxWarp prst="textNoShape">
              <a:avLst/>
            </a:prstTxWarp>
            <a:spAutoFit/>
          </a:bodyPr>
          <a:lstStyle/>
          <a:p>
            <a:pPr defTabSz="914102" fontAlgn="base">
              <a:spcBef>
                <a:spcPct val="0"/>
              </a:spcBef>
              <a:spcAft>
                <a:spcPct val="0"/>
              </a:spcAft>
            </a:pPr>
            <a:r>
              <a:rPr lang="en-US" sz="1961" dirty="0">
                <a:solidFill>
                  <a:srgbClr val="0072C6"/>
                </a:solidFill>
                <a:ea typeface="Segoe UI" pitchFamily="34" charset="0"/>
                <a:cs typeface="Segoe UI" pitchFamily="34" charset="0"/>
              </a:rPr>
              <a:t>Microsoft Dynamics</a:t>
            </a:r>
          </a:p>
        </p:txBody>
      </p:sp>
      <p:sp>
        <p:nvSpPr>
          <p:cNvPr id="225" name="TextBox 224"/>
          <p:cNvSpPr txBox="1"/>
          <p:nvPr/>
        </p:nvSpPr>
        <p:spPr>
          <a:xfrm>
            <a:off x="8570308" y="2336515"/>
            <a:ext cx="3705938" cy="887415"/>
          </a:xfrm>
          <a:prstGeom prst="rect">
            <a:avLst/>
          </a:prstGeom>
          <a:noFill/>
        </p:spPr>
        <p:txBody>
          <a:bodyPr wrap="square" lIns="175761" tIns="140609" rIns="175761" bIns="140609" rtlCol="0">
            <a:spAutoFit/>
          </a:bodyPr>
          <a:lstStyle>
            <a:defPPr>
              <a:defRPr lang="en-US"/>
            </a:defPPr>
            <a:lvl1pPr marR="0" lvl="0" indent="0" defTabSz="914400" fontAlgn="auto">
              <a:lnSpc>
                <a:spcPct val="90000"/>
              </a:lnSpc>
              <a:spcBef>
                <a:spcPts val="0"/>
              </a:spcBef>
              <a:spcAft>
                <a:spcPts val="588"/>
              </a:spcAft>
              <a:buClrTx/>
              <a:buSzTx/>
              <a:buFontTx/>
              <a:buNone/>
              <a:tabLst/>
              <a:defRPr kumimoji="0" sz="3200" b="1" i="0" u="none" strike="noStrike" kern="0" cap="none" spc="0" normalizeH="0" baseline="0">
                <a:ln>
                  <a:noFill/>
                </a:ln>
                <a:solidFill>
                  <a:schemeClr val="tx2"/>
                </a:solidFill>
                <a:effectLst/>
                <a:uLnTx/>
                <a:uFillTx/>
                <a:latin typeface="Segoe UI Light"/>
              </a:defRPr>
            </a:lvl1pPr>
          </a:lstStyle>
          <a:p>
            <a:pPr>
              <a:lnSpc>
                <a:spcPct val="100000"/>
              </a:lnSpc>
              <a:spcAft>
                <a:spcPts val="0"/>
              </a:spcAft>
            </a:pPr>
            <a:r>
              <a:rPr lang="en-US" sz="3921" b="0" dirty="0">
                <a:solidFill>
                  <a:srgbClr val="0072C6">
                    <a:lumMod val="50000"/>
                  </a:srgbClr>
                </a:solidFill>
                <a:ea typeface="ＭＳ Ｐゴシック" charset="0"/>
              </a:rPr>
              <a:t>Business apps</a:t>
            </a:r>
          </a:p>
        </p:txBody>
      </p:sp>
      <p:sp>
        <p:nvSpPr>
          <p:cNvPr id="228" name="Rectangle 227"/>
          <p:cNvSpPr/>
          <p:nvPr/>
        </p:nvSpPr>
        <p:spPr bwMode="auto">
          <a:xfrm>
            <a:off x="1815729" y="1913421"/>
            <a:ext cx="3785491" cy="4827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89642" numCol="1" spcCol="0" rtlCol="0" fromWordArt="0" anchor="ctr" anchorCtr="0" forceAA="0" compatLnSpc="1">
            <a:prstTxWarp prst="textNoShape">
              <a:avLst/>
            </a:prstTxWarp>
            <a:spAutoFit/>
          </a:bodyPr>
          <a:lstStyle/>
          <a:p>
            <a:pPr defTabSz="914102" fontAlgn="base">
              <a:spcBef>
                <a:spcPct val="0"/>
              </a:spcBef>
              <a:spcAft>
                <a:spcPct val="0"/>
              </a:spcAft>
            </a:pPr>
            <a:r>
              <a:rPr lang="en-US" sz="1961" dirty="0">
                <a:solidFill>
                  <a:srgbClr val="0072C6"/>
                </a:solidFill>
                <a:ea typeface="Segoe UI" pitchFamily="34" charset="0"/>
                <a:cs typeface="Segoe UI" pitchFamily="34" charset="0"/>
              </a:rPr>
              <a:t>Office 365</a:t>
            </a:r>
          </a:p>
        </p:txBody>
      </p:sp>
      <p:sp>
        <p:nvSpPr>
          <p:cNvPr id="229" name="TextBox 228"/>
          <p:cNvSpPr txBox="1"/>
          <p:nvPr/>
        </p:nvSpPr>
        <p:spPr>
          <a:xfrm>
            <a:off x="1815729" y="1290713"/>
            <a:ext cx="3040835" cy="887415"/>
          </a:xfrm>
          <a:prstGeom prst="rect">
            <a:avLst/>
          </a:prstGeom>
          <a:noFill/>
        </p:spPr>
        <p:txBody>
          <a:bodyPr wrap="square" lIns="175761" tIns="140609" rIns="175761" bIns="140609" rtlCol="0">
            <a:spAutoFit/>
          </a:bodyPr>
          <a:lstStyle>
            <a:defPPr>
              <a:defRPr lang="en-US"/>
            </a:defPPr>
            <a:lvl1pPr marR="0" lvl="0" indent="0" defTabSz="914400" fontAlgn="auto">
              <a:lnSpc>
                <a:spcPct val="90000"/>
              </a:lnSpc>
              <a:spcBef>
                <a:spcPts val="0"/>
              </a:spcBef>
              <a:spcAft>
                <a:spcPts val="588"/>
              </a:spcAft>
              <a:buClrTx/>
              <a:buSzTx/>
              <a:buFontTx/>
              <a:buNone/>
              <a:tabLst/>
              <a:defRPr kumimoji="0" sz="3200" b="1" i="0" u="none" strike="noStrike" kern="0" cap="none" spc="0" normalizeH="0" baseline="0">
                <a:ln>
                  <a:noFill/>
                </a:ln>
                <a:solidFill>
                  <a:schemeClr val="tx2"/>
                </a:solidFill>
                <a:effectLst/>
                <a:uLnTx/>
                <a:uFillTx/>
                <a:latin typeface="Segoe UI Light"/>
              </a:defRPr>
            </a:lvl1pPr>
          </a:lstStyle>
          <a:p>
            <a:pPr>
              <a:lnSpc>
                <a:spcPct val="100000"/>
              </a:lnSpc>
              <a:spcAft>
                <a:spcPts val="0"/>
              </a:spcAft>
            </a:pPr>
            <a:r>
              <a:rPr lang="en-US" sz="3921" b="0" dirty="0">
                <a:solidFill>
                  <a:srgbClr val="0072C6">
                    <a:lumMod val="50000"/>
                  </a:srgbClr>
                </a:solidFill>
                <a:ea typeface="ＭＳ Ｐゴシック" charset="0"/>
              </a:rPr>
              <a:t>Productivity</a:t>
            </a:r>
          </a:p>
        </p:txBody>
      </p:sp>
      <p:sp>
        <p:nvSpPr>
          <p:cNvPr id="2" name="Title 1"/>
          <p:cNvSpPr>
            <a:spLocks noGrp="1"/>
          </p:cNvSpPr>
          <p:nvPr>
            <p:ph type="title"/>
          </p:nvPr>
        </p:nvSpPr>
        <p:spPr/>
        <p:txBody>
          <a:bodyPr/>
          <a:lstStyle/>
          <a:p>
            <a:r>
              <a:rPr lang="en-US" dirty="0" smtClean="0"/>
              <a:t>Microsoft Cloud for your </a:t>
            </a:r>
            <a:r>
              <a:rPr lang="en-US" dirty="0"/>
              <a:t>b</a:t>
            </a:r>
            <a:r>
              <a:rPr lang="en-US" dirty="0" smtClean="0"/>
              <a:t>usiness</a:t>
            </a:r>
            <a:endParaRPr lang="en-US" dirty="0"/>
          </a:p>
        </p:txBody>
      </p:sp>
      <p:grpSp>
        <p:nvGrpSpPr>
          <p:cNvPr id="378" name="Group 377"/>
          <p:cNvGrpSpPr/>
          <p:nvPr/>
        </p:nvGrpSpPr>
        <p:grpSpPr>
          <a:xfrm>
            <a:off x="5180903" y="2866650"/>
            <a:ext cx="1836428" cy="1836428"/>
            <a:chOff x="5327648" y="2926017"/>
            <a:chExt cx="1873252" cy="1873252"/>
          </a:xfrm>
        </p:grpSpPr>
        <p:sp>
          <p:nvSpPr>
            <p:cNvPr id="379" name="Oval 378"/>
            <p:cNvSpPr/>
            <p:nvPr/>
          </p:nvSpPr>
          <p:spPr bwMode="auto">
            <a:xfrm>
              <a:off x="5327648" y="2926017"/>
              <a:ext cx="1873252" cy="1873252"/>
            </a:xfrm>
            <a:prstGeom prst="ellipse">
              <a:avLst/>
            </a:prstGeom>
            <a:solidFill>
              <a:schemeClr val="tx2"/>
            </a:solidFill>
            <a:ln>
              <a:noFill/>
              <a:headEnd type="none" w="med" len="med"/>
              <a:tailEnd type="none" w="med" len="med"/>
            </a:ln>
            <a:effectLst>
              <a:outerShdw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0" name="Freeform 379"/>
            <p:cNvSpPr>
              <a:spLocks/>
            </p:cNvSpPr>
            <p:nvPr/>
          </p:nvSpPr>
          <p:spPr bwMode="auto">
            <a:xfrm>
              <a:off x="5708648" y="3429500"/>
              <a:ext cx="1111252" cy="730994"/>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016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grpSp>
      <p:sp>
        <p:nvSpPr>
          <p:cNvPr id="9" name="Oval 8"/>
          <p:cNvSpPr/>
          <p:nvPr/>
        </p:nvSpPr>
        <p:spPr bwMode="auto">
          <a:xfrm>
            <a:off x="3910193" y="1643932"/>
            <a:ext cx="4308025" cy="4308025"/>
          </a:xfrm>
          <a:prstGeom prst="ellipse">
            <a:avLst/>
          </a:prstGeom>
          <a:no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4820215" y="1373206"/>
            <a:ext cx="890756" cy="896425"/>
            <a:chOff x="4916870" y="1400245"/>
            <a:chExt cx="908618" cy="914400"/>
          </a:xfrm>
        </p:grpSpPr>
        <p:sp>
          <p:nvSpPr>
            <p:cNvPr id="460" name="Oval 459"/>
            <p:cNvSpPr/>
            <p:nvPr/>
          </p:nvSpPr>
          <p:spPr bwMode="auto">
            <a:xfrm>
              <a:off x="4916870" y="1400245"/>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8" name="Freeform 5"/>
            <p:cNvSpPr>
              <a:spLocks noEditPoints="1"/>
            </p:cNvSpPr>
            <p:nvPr/>
          </p:nvSpPr>
          <p:spPr bwMode="auto">
            <a:xfrm>
              <a:off x="5146805" y="1672735"/>
              <a:ext cx="457635" cy="330426"/>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defTabSz="896214" fontAlgn="base">
                <a:spcBef>
                  <a:spcPct val="0"/>
                </a:spcBef>
                <a:spcAft>
                  <a:spcPct val="0"/>
                </a:spcAft>
                <a:defRPr/>
              </a:pPr>
              <a:endParaRPr lang="en-US" sz="1729" kern="0">
                <a:solidFill>
                  <a:srgbClr val="505050"/>
                </a:solidFill>
                <a:ea typeface="ＭＳ Ｐゴシック" charset="0"/>
              </a:endParaRPr>
            </a:p>
          </p:txBody>
        </p:sp>
      </p:grpSp>
      <p:grpSp>
        <p:nvGrpSpPr>
          <p:cNvPr id="11" name="Group 10"/>
          <p:cNvGrpSpPr/>
          <p:nvPr/>
        </p:nvGrpSpPr>
        <p:grpSpPr>
          <a:xfrm>
            <a:off x="4361474" y="5042018"/>
            <a:ext cx="890756" cy="896425"/>
            <a:chOff x="4448930" y="5142624"/>
            <a:chExt cx="908618" cy="914400"/>
          </a:xfrm>
        </p:grpSpPr>
        <p:sp>
          <p:nvSpPr>
            <p:cNvPr id="461" name="Oval 460"/>
            <p:cNvSpPr/>
            <p:nvPr/>
          </p:nvSpPr>
          <p:spPr bwMode="auto">
            <a:xfrm>
              <a:off x="4448930" y="5142624"/>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95" name="Group 994"/>
            <p:cNvGrpSpPr/>
            <p:nvPr/>
          </p:nvGrpSpPr>
          <p:grpSpPr>
            <a:xfrm>
              <a:off x="4725684" y="5395419"/>
              <a:ext cx="403531" cy="429676"/>
              <a:chOff x="-8720138" y="412750"/>
              <a:chExt cx="4459288" cy="4748213"/>
            </a:xfrm>
            <a:solidFill>
              <a:schemeClr val="bg1"/>
            </a:solidFill>
          </p:grpSpPr>
          <p:sp>
            <p:nvSpPr>
              <p:cNvPr id="19" name="Oval 14"/>
              <p:cNvSpPr>
                <a:spLocks noChangeArrowheads="1"/>
              </p:cNvSpPr>
              <p:nvPr/>
            </p:nvSpPr>
            <p:spPr bwMode="auto">
              <a:xfrm>
                <a:off x="-6581775" y="957263"/>
                <a:ext cx="219075" cy="217488"/>
              </a:xfrm>
              <a:prstGeom prst="ellipse">
                <a:avLst/>
              </a:pr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92" name="Oval 15"/>
              <p:cNvSpPr>
                <a:spLocks noChangeArrowheads="1"/>
              </p:cNvSpPr>
              <p:nvPr/>
            </p:nvSpPr>
            <p:spPr bwMode="auto">
              <a:xfrm>
                <a:off x="-6581775" y="1660525"/>
                <a:ext cx="219075" cy="222250"/>
              </a:xfrm>
              <a:prstGeom prst="ellipse">
                <a:avLst/>
              </a:pr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93" name="Freeform 16"/>
              <p:cNvSpPr>
                <a:spLocks noEditPoints="1"/>
              </p:cNvSpPr>
              <p:nvPr/>
            </p:nvSpPr>
            <p:spPr bwMode="auto">
              <a:xfrm>
                <a:off x="-8720138" y="412750"/>
                <a:ext cx="2876550" cy="4078288"/>
              </a:xfrm>
              <a:custGeom>
                <a:avLst/>
                <a:gdLst>
                  <a:gd name="T0" fmla="*/ 489 w 765"/>
                  <a:gd name="T1" fmla="*/ 977 h 1085"/>
                  <a:gd name="T2" fmla="*/ 133 w 765"/>
                  <a:gd name="T3" fmla="*/ 977 h 1085"/>
                  <a:gd name="T4" fmla="*/ 82 w 765"/>
                  <a:gd name="T5" fmla="*/ 929 h 1085"/>
                  <a:gd name="T6" fmla="*/ 82 w 765"/>
                  <a:gd name="T7" fmla="*/ 919 h 1085"/>
                  <a:gd name="T8" fmla="*/ 133 w 765"/>
                  <a:gd name="T9" fmla="*/ 871 h 1085"/>
                  <a:gd name="T10" fmla="*/ 402 w 765"/>
                  <a:gd name="T11" fmla="*/ 871 h 1085"/>
                  <a:gd name="T12" fmla="*/ 489 w 765"/>
                  <a:gd name="T13" fmla="*/ 871 h 1085"/>
                  <a:gd name="T14" fmla="*/ 489 w 765"/>
                  <a:gd name="T15" fmla="*/ 790 h 1085"/>
                  <a:gd name="T16" fmla="*/ 133 w 765"/>
                  <a:gd name="T17" fmla="*/ 790 h 1085"/>
                  <a:gd name="T18" fmla="*/ 82 w 765"/>
                  <a:gd name="T19" fmla="*/ 742 h 1085"/>
                  <a:gd name="T20" fmla="*/ 82 w 765"/>
                  <a:gd name="T21" fmla="*/ 732 h 1085"/>
                  <a:gd name="T22" fmla="*/ 133 w 765"/>
                  <a:gd name="T23" fmla="*/ 684 h 1085"/>
                  <a:gd name="T24" fmla="*/ 402 w 765"/>
                  <a:gd name="T25" fmla="*/ 684 h 1085"/>
                  <a:gd name="T26" fmla="*/ 489 w 765"/>
                  <a:gd name="T27" fmla="*/ 684 h 1085"/>
                  <a:gd name="T28" fmla="*/ 489 w 765"/>
                  <a:gd name="T29" fmla="*/ 649 h 1085"/>
                  <a:gd name="T30" fmla="*/ 497 w 765"/>
                  <a:gd name="T31" fmla="*/ 602 h 1085"/>
                  <a:gd name="T32" fmla="*/ 133 w 765"/>
                  <a:gd name="T33" fmla="*/ 602 h 1085"/>
                  <a:gd name="T34" fmla="*/ 82 w 765"/>
                  <a:gd name="T35" fmla="*/ 555 h 1085"/>
                  <a:gd name="T36" fmla="*/ 82 w 765"/>
                  <a:gd name="T37" fmla="*/ 545 h 1085"/>
                  <a:gd name="T38" fmla="*/ 133 w 765"/>
                  <a:gd name="T39" fmla="*/ 497 h 1085"/>
                  <a:gd name="T40" fmla="*/ 402 w 765"/>
                  <a:gd name="T41" fmla="*/ 497 h 1085"/>
                  <a:gd name="T42" fmla="*/ 609 w 765"/>
                  <a:gd name="T43" fmla="*/ 497 h 1085"/>
                  <a:gd name="T44" fmla="*/ 631 w 765"/>
                  <a:gd name="T45" fmla="*/ 488 h 1085"/>
                  <a:gd name="T46" fmla="*/ 650 w 765"/>
                  <a:gd name="T47" fmla="*/ 480 h 1085"/>
                  <a:gd name="T48" fmla="*/ 746 w 765"/>
                  <a:gd name="T49" fmla="*/ 457 h 1085"/>
                  <a:gd name="T50" fmla="*/ 765 w 765"/>
                  <a:gd name="T51" fmla="*/ 454 h 1085"/>
                  <a:gd name="T52" fmla="*/ 765 w 765"/>
                  <a:gd name="T53" fmla="*/ 0 h 1085"/>
                  <a:gd name="T54" fmla="*/ 0 w 765"/>
                  <a:gd name="T55" fmla="*/ 0 h 1085"/>
                  <a:gd name="T56" fmla="*/ 0 w 765"/>
                  <a:gd name="T57" fmla="*/ 1085 h 1085"/>
                  <a:gd name="T58" fmla="*/ 489 w 765"/>
                  <a:gd name="T59" fmla="*/ 1085 h 1085"/>
                  <a:gd name="T60" fmla="*/ 489 w 765"/>
                  <a:gd name="T61" fmla="*/ 977 h 1085"/>
                  <a:gd name="T62" fmla="*/ 82 w 765"/>
                  <a:gd name="T63" fmla="*/ 171 h 1085"/>
                  <a:gd name="T64" fmla="*/ 133 w 765"/>
                  <a:gd name="T65" fmla="*/ 123 h 1085"/>
                  <a:gd name="T66" fmla="*/ 402 w 765"/>
                  <a:gd name="T67" fmla="*/ 123 h 1085"/>
                  <a:gd name="T68" fmla="*/ 632 w 765"/>
                  <a:gd name="T69" fmla="*/ 123 h 1085"/>
                  <a:gd name="T70" fmla="*/ 683 w 765"/>
                  <a:gd name="T71" fmla="*/ 171 h 1085"/>
                  <a:gd name="T72" fmla="*/ 683 w 765"/>
                  <a:gd name="T73" fmla="*/ 180 h 1085"/>
                  <a:gd name="T74" fmla="*/ 632 w 765"/>
                  <a:gd name="T75" fmla="*/ 228 h 1085"/>
                  <a:gd name="T76" fmla="*/ 133 w 765"/>
                  <a:gd name="T77" fmla="*/ 228 h 1085"/>
                  <a:gd name="T78" fmla="*/ 82 w 765"/>
                  <a:gd name="T79" fmla="*/ 180 h 1085"/>
                  <a:gd name="T80" fmla="*/ 82 w 765"/>
                  <a:gd name="T81" fmla="*/ 171 h 1085"/>
                  <a:gd name="T82" fmla="*/ 82 w 765"/>
                  <a:gd name="T83" fmla="*/ 358 h 1085"/>
                  <a:gd name="T84" fmla="*/ 133 w 765"/>
                  <a:gd name="T85" fmla="*/ 310 h 1085"/>
                  <a:gd name="T86" fmla="*/ 402 w 765"/>
                  <a:gd name="T87" fmla="*/ 310 h 1085"/>
                  <a:gd name="T88" fmla="*/ 632 w 765"/>
                  <a:gd name="T89" fmla="*/ 310 h 1085"/>
                  <a:gd name="T90" fmla="*/ 683 w 765"/>
                  <a:gd name="T91" fmla="*/ 358 h 1085"/>
                  <a:gd name="T92" fmla="*/ 683 w 765"/>
                  <a:gd name="T93" fmla="*/ 367 h 1085"/>
                  <a:gd name="T94" fmla="*/ 632 w 765"/>
                  <a:gd name="T95" fmla="*/ 415 h 1085"/>
                  <a:gd name="T96" fmla="*/ 133 w 765"/>
                  <a:gd name="T97" fmla="*/ 415 h 1085"/>
                  <a:gd name="T98" fmla="*/ 82 w 765"/>
                  <a:gd name="T99" fmla="*/ 367 h 1085"/>
                  <a:gd name="T100" fmla="*/ 82 w 765"/>
                  <a:gd name="T101" fmla="*/ 358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1085">
                    <a:moveTo>
                      <a:pt x="489" y="977"/>
                    </a:moveTo>
                    <a:cubicBezTo>
                      <a:pt x="133" y="977"/>
                      <a:pt x="133" y="977"/>
                      <a:pt x="133" y="977"/>
                    </a:cubicBezTo>
                    <a:cubicBezTo>
                      <a:pt x="82" y="977"/>
                      <a:pt x="82" y="929"/>
                      <a:pt x="82" y="929"/>
                    </a:cubicBezTo>
                    <a:cubicBezTo>
                      <a:pt x="82" y="919"/>
                      <a:pt x="82" y="919"/>
                      <a:pt x="82" y="919"/>
                    </a:cubicBezTo>
                    <a:cubicBezTo>
                      <a:pt x="82" y="871"/>
                      <a:pt x="133" y="871"/>
                      <a:pt x="133" y="871"/>
                    </a:cubicBezTo>
                    <a:cubicBezTo>
                      <a:pt x="402" y="871"/>
                      <a:pt x="402" y="871"/>
                      <a:pt x="402" y="871"/>
                    </a:cubicBezTo>
                    <a:cubicBezTo>
                      <a:pt x="489" y="871"/>
                      <a:pt x="489" y="871"/>
                      <a:pt x="489" y="871"/>
                    </a:cubicBezTo>
                    <a:cubicBezTo>
                      <a:pt x="489" y="790"/>
                      <a:pt x="489" y="790"/>
                      <a:pt x="489" y="790"/>
                    </a:cubicBezTo>
                    <a:cubicBezTo>
                      <a:pt x="133" y="790"/>
                      <a:pt x="133" y="790"/>
                      <a:pt x="133" y="790"/>
                    </a:cubicBezTo>
                    <a:cubicBezTo>
                      <a:pt x="82" y="790"/>
                      <a:pt x="82" y="742"/>
                      <a:pt x="82" y="742"/>
                    </a:cubicBezTo>
                    <a:cubicBezTo>
                      <a:pt x="82" y="732"/>
                      <a:pt x="82" y="732"/>
                      <a:pt x="82" y="732"/>
                    </a:cubicBezTo>
                    <a:cubicBezTo>
                      <a:pt x="82" y="684"/>
                      <a:pt x="133" y="684"/>
                      <a:pt x="133" y="684"/>
                    </a:cubicBezTo>
                    <a:cubicBezTo>
                      <a:pt x="402" y="684"/>
                      <a:pt x="402" y="684"/>
                      <a:pt x="402" y="684"/>
                    </a:cubicBezTo>
                    <a:cubicBezTo>
                      <a:pt x="489" y="684"/>
                      <a:pt x="489" y="684"/>
                      <a:pt x="489" y="684"/>
                    </a:cubicBezTo>
                    <a:cubicBezTo>
                      <a:pt x="489" y="649"/>
                      <a:pt x="489" y="649"/>
                      <a:pt x="489" y="649"/>
                    </a:cubicBezTo>
                    <a:cubicBezTo>
                      <a:pt x="489" y="636"/>
                      <a:pt x="491" y="620"/>
                      <a:pt x="497" y="602"/>
                    </a:cubicBezTo>
                    <a:cubicBezTo>
                      <a:pt x="133" y="602"/>
                      <a:pt x="133" y="602"/>
                      <a:pt x="133" y="602"/>
                    </a:cubicBezTo>
                    <a:cubicBezTo>
                      <a:pt x="82" y="602"/>
                      <a:pt x="82" y="555"/>
                      <a:pt x="82" y="555"/>
                    </a:cubicBezTo>
                    <a:cubicBezTo>
                      <a:pt x="82" y="545"/>
                      <a:pt x="82" y="545"/>
                      <a:pt x="82" y="545"/>
                    </a:cubicBezTo>
                    <a:cubicBezTo>
                      <a:pt x="82" y="497"/>
                      <a:pt x="133" y="497"/>
                      <a:pt x="133" y="497"/>
                    </a:cubicBezTo>
                    <a:cubicBezTo>
                      <a:pt x="402" y="497"/>
                      <a:pt x="402" y="497"/>
                      <a:pt x="402" y="497"/>
                    </a:cubicBezTo>
                    <a:cubicBezTo>
                      <a:pt x="609" y="497"/>
                      <a:pt x="609" y="497"/>
                      <a:pt x="609" y="497"/>
                    </a:cubicBezTo>
                    <a:cubicBezTo>
                      <a:pt x="616" y="494"/>
                      <a:pt x="623" y="490"/>
                      <a:pt x="631" y="488"/>
                    </a:cubicBezTo>
                    <a:cubicBezTo>
                      <a:pt x="637" y="485"/>
                      <a:pt x="643" y="483"/>
                      <a:pt x="650" y="480"/>
                    </a:cubicBezTo>
                    <a:cubicBezTo>
                      <a:pt x="679" y="470"/>
                      <a:pt x="712" y="462"/>
                      <a:pt x="746" y="457"/>
                    </a:cubicBezTo>
                    <a:cubicBezTo>
                      <a:pt x="752" y="456"/>
                      <a:pt x="759" y="455"/>
                      <a:pt x="765" y="454"/>
                    </a:cubicBezTo>
                    <a:cubicBezTo>
                      <a:pt x="765" y="0"/>
                      <a:pt x="765" y="0"/>
                      <a:pt x="765" y="0"/>
                    </a:cubicBezTo>
                    <a:cubicBezTo>
                      <a:pt x="0" y="0"/>
                      <a:pt x="0" y="0"/>
                      <a:pt x="0" y="0"/>
                    </a:cubicBezTo>
                    <a:cubicBezTo>
                      <a:pt x="0" y="1085"/>
                      <a:pt x="0" y="1085"/>
                      <a:pt x="0" y="1085"/>
                    </a:cubicBezTo>
                    <a:cubicBezTo>
                      <a:pt x="489" y="1085"/>
                      <a:pt x="489" y="1085"/>
                      <a:pt x="489" y="1085"/>
                    </a:cubicBezTo>
                    <a:lnTo>
                      <a:pt x="489" y="977"/>
                    </a:lnTo>
                    <a:close/>
                    <a:moveTo>
                      <a:pt x="82" y="171"/>
                    </a:moveTo>
                    <a:cubicBezTo>
                      <a:pt x="82" y="123"/>
                      <a:pt x="133" y="123"/>
                      <a:pt x="133" y="123"/>
                    </a:cubicBezTo>
                    <a:cubicBezTo>
                      <a:pt x="402" y="123"/>
                      <a:pt x="402" y="123"/>
                      <a:pt x="402" y="123"/>
                    </a:cubicBezTo>
                    <a:cubicBezTo>
                      <a:pt x="632" y="123"/>
                      <a:pt x="632" y="123"/>
                      <a:pt x="632" y="123"/>
                    </a:cubicBezTo>
                    <a:cubicBezTo>
                      <a:pt x="683" y="123"/>
                      <a:pt x="683" y="171"/>
                      <a:pt x="683" y="171"/>
                    </a:cubicBezTo>
                    <a:cubicBezTo>
                      <a:pt x="683" y="180"/>
                      <a:pt x="683" y="180"/>
                      <a:pt x="683" y="180"/>
                    </a:cubicBezTo>
                    <a:cubicBezTo>
                      <a:pt x="683" y="228"/>
                      <a:pt x="632" y="228"/>
                      <a:pt x="632" y="228"/>
                    </a:cubicBezTo>
                    <a:cubicBezTo>
                      <a:pt x="133" y="228"/>
                      <a:pt x="133" y="228"/>
                      <a:pt x="133" y="228"/>
                    </a:cubicBezTo>
                    <a:cubicBezTo>
                      <a:pt x="82" y="228"/>
                      <a:pt x="82" y="180"/>
                      <a:pt x="82" y="180"/>
                    </a:cubicBezTo>
                    <a:lnTo>
                      <a:pt x="82" y="171"/>
                    </a:lnTo>
                    <a:close/>
                    <a:moveTo>
                      <a:pt x="82" y="358"/>
                    </a:moveTo>
                    <a:cubicBezTo>
                      <a:pt x="82" y="310"/>
                      <a:pt x="133" y="310"/>
                      <a:pt x="133" y="310"/>
                    </a:cubicBezTo>
                    <a:cubicBezTo>
                      <a:pt x="402" y="310"/>
                      <a:pt x="402" y="310"/>
                      <a:pt x="402" y="310"/>
                    </a:cubicBezTo>
                    <a:cubicBezTo>
                      <a:pt x="632" y="310"/>
                      <a:pt x="632" y="310"/>
                      <a:pt x="632" y="310"/>
                    </a:cubicBezTo>
                    <a:cubicBezTo>
                      <a:pt x="683" y="310"/>
                      <a:pt x="683" y="358"/>
                      <a:pt x="683" y="358"/>
                    </a:cubicBezTo>
                    <a:cubicBezTo>
                      <a:pt x="683" y="367"/>
                      <a:pt x="683" y="367"/>
                      <a:pt x="683" y="367"/>
                    </a:cubicBezTo>
                    <a:cubicBezTo>
                      <a:pt x="683" y="415"/>
                      <a:pt x="632" y="415"/>
                      <a:pt x="632" y="415"/>
                    </a:cubicBezTo>
                    <a:cubicBezTo>
                      <a:pt x="133" y="415"/>
                      <a:pt x="133" y="415"/>
                      <a:pt x="133" y="415"/>
                    </a:cubicBezTo>
                    <a:cubicBezTo>
                      <a:pt x="82" y="415"/>
                      <a:pt x="82" y="367"/>
                      <a:pt x="82" y="367"/>
                    </a:cubicBezTo>
                    <a:lnTo>
                      <a:pt x="82" y="358"/>
                    </a:lnTo>
                    <a:close/>
                  </a:path>
                </a:pathLst>
              </a:cu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94" name="Freeform 17"/>
              <p:cNvSpPr>
                <a:spLocks noEditPoints="1"/>
              </p:cNvSpPr>
              <p:nvPr/>
            </p:nvSpPr>
            <p:spPr bwMode="auto">
              <a:xfrm>
                <a:off x="-6581775" y="2389188"/>
                <a:ext cx="2320925" cy="2771775"/>
              </a:xfrm>
              <a:custGeom>
                <a:avLst/>
                <a:gdLst>
                  <a:gd name="T0" fmla="*/ 593 w 617"/>
                  <a:gd name="T1" fmla="*/ 75 h 737"/>
                  <a:gd name="T2" fmla="*/ 533 w 617"/>
                  <a:gd name="T3" fmla="*/ 39 h 737"/>
                  <a:gd name="T4" fmla="*/ 533 w 617"/>
                  <a:gd name="T5" fmla="*/ 39 h 737"/>
                  <a:gd name="T6" fmla="*/ 526 w 617"/>
                  <a:gd name="T7" fmla="*/ 36 h 737"/>
                  <a:gd name="T8" fmla="*/ 427 w 617"/>
                  <a:gd name="T9" fmla="*/ 10 h 737"/>
                  <a:gd name="T10" fmla="*/ 309 w 617"/>
                  <a:gd name="T11" fmla="*/ 0 h 737"/>
                  <a:gd name="T12" fmla="*/ 190 w 617"/>
                  <a:gd name="T13" fmla="*/ 10 h 737"/>
                  <a:gd name="T14" fmla="*/ 107 w 617"/>
                  <a:gd name="T15" fmla="*/ 30 h 737"/>
                  <a:gd name="T16" fmla="*/ 91 w 617"/>
                  <a:gd name="T17" fmla="*/ 36 h 737"/>
                  <a:gd name="T18" fmla="*/ 24 w 617"/>
                  <a:gd name="T19" fmla="*/ 75 h 737"/>
                  <a:gd name="T20" fmla="*/ 0 w 617"/>
                  <a:gd name="T21" fmla="*/ 123 h 737"/>
                  <a:gd name="T22" fmla="*/ 0 w 617"/>
                  <a:gd name="T23" fmla="*/ 614 h 737"/>
                  <a:gd name="T24" fmla="*/ 6 w 617"/>
                  <a:gd name="T25" fmla="*/ 639 h 737"/>
                  <a:gd name="T26" fmla="*/ 24 w 617"/>
                  <a:gd name="T27" fmla="*/ 662 h 737"/>
                  <a:gd name="T28" fmla="*/ 91 w 617"/>
                  <a:gd name="T29" fmla="*/ 701 h 737"/>
                  <a:gd name="T30" fmla="*/ 107 w 617"/>
                  <a:gd name="T31" fmla="*/ 707 h 737"/>
                  <a:gd name="T32" fmla="*/ 309 w 617"/>
                  <a:gd name="T33" fmla="*/ 737 h 737"/>
                  <a:gd name="T34" fmla="*/ 526 w 617"/>
                  <a:gd name="T35" fmla="*/ 701 h 737"/>
                  <a:gd name="T36" fmla="*/ 533 w 617"/>
                  <a:gd name="T37" fmla="*/ 698 h 737"/>
                  <a:gd name="T38" fmla="*/ 533 w 617"/>
                  <a:gd name="T39" fmla="*/ 698 h 737"/>
                  <a:gd name="T40" fmla="*/ 593 w 617"/>
                  <a:gd name="T41" fmla="*/ 662 h 737"/>
                  <a:gd name="T42" fmla="*/ 611 w 617"/>
                  <a:gd name="T43" fmla="*/ 639 h 737"/>
                  <a:gd name="T44" fmla="*/ 617 w 617"/>
                  <a:gd name="T45" fmla="*/ 614 h 737"/>
                  <a:gd name="T46" fmla="*/ 617 w 617"/>
                  <a:gd name="T47" fmla="*/ 123 h 737"/>
                  <a:gd name="T48" fmla="*/ 593 w 617"/>
                  <a:gd name="T49" fmla="*/ 75 h 737"/>
                  <a:gd name="T50" fmla="*/ 532 w 617"/>
                  <a:gd name="T51" fmla="*/ 145 h 737"/>
                  <a:gd name="T52" fmla="*/ 532 w 617"/>
                  <a:gd name="T53" fmla="*/ 145 h 737"/>
                  <a:gd name="T54" fmla="*/ 309 w 617"/>
                  <a:gd name="T55" fmla="*/ 184 h 737"/>
                  <a:gd name="T56" fmla="*/ 107 w 617"/>
                  <a:gd name="T57" fmla="*/ 155 h 737"/>
                  <a:gd name="T58" fmla="*/ 54 w 617"/>
                  <a:gd name="T59" fmla="*/ 111 h 737"/>
                  <a:gd name="T60" fmla="*/ 107 w 617"/>
                  <a:gd name="T61" fmla="*/ 64 h 737"/>
                  <a:gd name="T62" fmla="*/ 309 w 617"/>
                  <a:gd name="T63" fmla="*/ 32 h 737"/>
                  <a:gd name="T64" fmla="*/ 309 w 617"/>
                  <a:gd name="T65" fmla="*/ 32 h 737"/>
                  <a:gd name="T66" fmla="*/ 309 w 617"/>
                  <a:gd name="T67" fmla="*/ 32 h 737"/>
                  <a:gd name="T68" fmla="*/ 532 w 617"/>
                  <a:gd name="T69" fmla="*/ 74 h 737"/>
                  <a:gd name="T70" fmla="*/ 532 w 617"/>
                  <a:gd name="T71" fmla="*/ 74 h 737"/>
                  <a:gd name="T72" fmla="*/ 562 w 617"/>
                  <a:gd name="T73" fmla="*/ 111 h 737"/>
                  <a:gd name="T74" fmla="*/ 532 w 617"/>
                  <a:gd name="T75" fmla="*/ 145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7" h="737">
                    <a:moveTo>
                      <a:pt x="593" y="75"/>
                    </a:moveTo>
                    <a:cubicBezTo>
                      <a:pt x="578" y="62"/>
                      <a:pt x="558" y="49"/>
                      <a:pt x="533" y="39"/>
                    </a:cubicBezTo>
                    <a:cubicBezTo>
                      <a:pt x="533" y="39"/>
                      <a:pt x="533" y="39"/>
                      <a:pt x="533" y="39"/>
                    </a:cubicBezTo>
                    <a:cubicBezTo>
                      <a:pt x="531" y="38"/>
                      <a:pt x="528" y="37"/>
                      <a:pt x="526" y="36"/>
                    </a:cubicBezTo>
                    <a:cubicBezTo>
                      <a:pt x="498" y="25"/>
                      <a:pt x="464" y="16"/>
                      <a:pt x="427" y="10"/>
                    </a:cubicBezTo>
                    <a:cubicBezTo>
                      <a:pt x="391" y="4"/>
                      <a:pt x="351" y="0"/>
                      <a:pt x="309" y="0"/>
                    </a:cubicBezTo>
                    <a:cubicBezTo>
                      <a:pt x="267" y="0"/>
                      <a:pt x="227" y="4"/>
                      <a:pt x="190" y="10"/>
                    </a:cubicBezTo>
                    <a:cubicBezTo>
                      <a:pt x="160" y="15"/>
                      <a:pt x="132" y="22"/>
                      <a:pt x="107" y="30"/>
                    </a:cubicBezTo>
                    <a:cubicBezTo>
                      <a:pt x="102" y="32"/>
                      <a:pt x="96" y="34"/>
                      <a:pt x="91" y="36"/>
                    </a:cubicBezTo>
                    <a:cubicBezTo>
                      <a:pt x="63" y="47"/>
                      <a:pt x="40" y="60"/>
                      <a:pt x="24" y="75"/>
                    </a:cubicBezTo>
                    <a:cubicBezTo>
                      <a:pt x="8" y="90"/>
                      <a:pt x="0" y="106"/>
                      <a:pt x="0" y="123"/>
                    </a:cubicBezTo>
                    <a:cubicBezTo>
                      <a:pt x="0" y="614"/>
                      <a:pt x="0" y="614"/>
                      <a:pt x="0" y="614"/>
                    </a:cubicBezTo>
                    <a:cubicBezTo>
                      <a:pt x="0" y="622"/>
                      <a:pt x="2" y="631"/>
                      <a:pt x="6" y="639"/>
                    </a:cubicBezTo>
                    <a:cubicBezTo>
                      <a:pt x="10" y="647"/>
                      <a:pt x="16" y="654"/>
                      <a:pt x="24" y="662"/>
                    </a:cubicBezTo>
                    <a:cubicBezTo>
                      <a:pt x="40" y="676"/>
                      <a:pt x="63" y="690"/>
                      <a:pt x="91" y="701"/>
                    </a:cubicBezTo>
                    <a:cubicBezTo>
                      <a:pt x="96" y="703"/>
                      <a:pt x="102" y="705"/>
                      <a:pt x="107" y="707"/>
                    </a:cubicBezTo>
                    <a:cubicBezTo>
                      <a:pt x="161" y="725"/>
                      <a:pt x="232" y="736"/>
                      <a:pt x="309" y="737"/>
                    </a:cubicBezTo>
                    <a:cubicBezTo>
                      <a:pt x="394" y="736"/>
                      <a:pt x="470" y="723"/>
                      <a:pt x="526" y="701"/>
                    </a:cubicBezTo>
                    <a:cubicBezTo>
                      <a:pt x="528" y="700"/>
                      <a:pt x="531" y="699"/>
                      <a:pt x="533" y="698"/>
                    </a:cubicBezTo>
                    <a:cubicBezTo>
                      <a:pt x="533" y="698"/>
                      <a:pt x="533" y="698"/>
                      <a:pt x="533" y="698"/>
                    </a:cubicBezTo>
                    <a:cubicBezTo>
                      <a:pt x="558" y="687"/>
                      <a:pt x="578" y="675"/>
                      <a:pt x="593" y="662"/>
                    </a:cubicBezTo>
                    <a:cubicBezTo>
                      <a:pt x="601" y="654"/>
                      <a:pt x="607" y="647"/>
                      <a:pt x="611" y="639"/>
                    </a:cubicBezTo>
                    <a:cubicBezTo>
                      <a:pt x="615" y="631"/>
                      <a:pt x="617" y="622"/>
                      <a:pt x="617" y="614"/>
                    </a:cubicBezTo>
                    <a:cubicBezTo>
                      <a:pt x="617" y="123"/>
                      <a:pt x="617" y="123"/>
                      <a:pt x="617" y="123"/>
                    </a:cubicBezTo>
                    <a:cubicBezTo>
                      <a:pt x="617" y="106"/>
                      <a:pt x="608" y="90"/>
                      <a:pt x="593" y="75"/>
                    </a:cubicBezTo>
                    <a:close/>
                    <a:moveTo>
                      <a:pt x="532" y="145"/>
                    </a:moveTo>
                    <a:cubicBezTo>
                      <a:pt x="532" y="145"/>
                      <a:pt x="532" y="145"/>
                      <a:pt x="532" y="145"/>
                    </a:cubicBezTo>
                    <a:cubicBezTo>
                      <a:pt x="489" y="168"/>
                      <a:pt x="406" y="184"/>
                      <a:pt x="309" y="184"/>
                    </a:cubicBezTo>
                    <a:cubicBezTo>
                      <a:pt x="226" y="184"/>
                      <a:pt x="154" y="172"/>
                      <a:pt x="107" y="155"/>
                    </a:cubicBezTo>
                    <a:cubicBezTo>
                      <a:pt x="74" y="143"/>
                      <a:pt x="54" y="127"/>
                      <a:pt x="54" y="111"/>
                    </a:cubicBezTo>
                    <a:cubicBezTo>
                      <a:pt x="54" y="93"/>
                      <a:pt x="74" y="77"/>
                      <a:pt x="107" y="64"/>
                    </a:cubicBezTo>
                    <a:cubicBezTo>
                      <a:pt x="153" y="45"/>
                      <a:pt x="225" y="32"/>
                      <a:pt x="309" y="32"/>
                    </a:cubicBezTo>
                    <a:cubicBezTo>
                      <a:pt x="309" y="32"/>
                      <a:pt x="309" y="32"/>
                      <a:pt x="309" y="32"/>
                    </a:cubicBezTo>
                    <a:cubicBezTo>
                      <a:pt x="309" y="32"/>
                      <a:pt x="309" y="32"/>
                      <a:pt x="309" y="32"/>
                    </a:cubicBezTo>
                    <a:cubicBezTo>
                      <a:pt x="407" y="32"/>
                      <a:pt x="490" y="50"/>
                      <a:pt x="532" y="74"/>
                    </a:cubicBezTo>
                    <a:cubicBezTo>
                      <a:pt x="532" y="74"/>
                      <a:pt x="532" y="74"/>
                      <a:pt x="532" y="74"/>
                    </a:cubicBezTo>
                    <a:cubicBezTo>
                      <a:pt x="552" y="85"/>
                      <a:pt x="562" y="98"/>
                      <a:pt x="562" y="111"/>
                    </a:cubicBezTo>
                    <a:cubicBezTo>
                      <a:pt x="562" y="123"/>
                      <a:pt x="552" y="135"/>
                      <a:pt x="532" y="145"/>
                    </a:cubicBezTo>
                    <a:close/>
                  </a:path>
                </a:pathLst>
              </a:cu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10" name="Group 9"/>
          <p:cNvGrpSpPr/>
          <p:nvPr/>
        </p:nvGrpSpPr>
        <p:grpSpPr>
          <a:xfrm>
            <a:off x="7802077" y="3565426"/>
            <a:ext cx="896425" cy="896425"/>
            <a:chOff x="7958525" y="3636424"/>
            <a:chExt cx="914400" cy="914400"/>
          </a:xfrm>
        </p:grpSpPr>
        <p:sp>
          <p:nvSpPr>
            <p:cNvPr id="462" name="Oval 461"/>
            <p:cNvSpPr/>
            <p:nvPr/>
          </p:nvSpPr>
          <p:spPr bwMode="auto">
            <a:xfrm>
              <a:off x="7958525" y="3636424"/>
              <a:ext cx="914400"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p:nvPr/>
          </p:nvGrpSpPr>
          <p:grpSpPr>
            <a:xfrm>
              <a:off x="8229347" y="3865160"/>
              <a:ext cx="332167" cy="443262"/>
              <a:chOff x="-9759950" y="-1301750"/>
              <a:chExt cx="7062787" cy="9424988"/>
            </a:xfrm>
            <a:solidFill>
              <a:schemeClr val="bg1"/>
            </a:solidFill>
          </p:grpSpPr>
          <p:sp>
            <p:nvSpPr>
              <p:cNvPr id="1022" name="Freeform 21"/>
              <p:cNvSpPr>
                <a:spLocks noEditPoints="1"/>
              </p:cNvSpPr>
              <p:nvPr/>
            </p:nvSpPr>
            <p:spPr bwMode="auto">
              <a:xfrm>
                <a:off x="-9759950" y="2674938"/>
                <a:ext cx="4425950" cy="5448300"/>
              </a:xfrm>
              <a:custGeom>
                <a:avLst/>
                <a:gdLst>
                  <a:gd name="T0" fmla="*/ 0 w 2788"/>
                  <a:gd name="T1" fmla="*/ 0 h 3432"/>
                  <a:gd name="T2" fmla="*/ 0 w 2788"/>
                  <a:gd name="T3" fmla="*/ 3432 h 3432"/>
                  <a:gd name="T4" fmla="*/ 904 w 2788"/>
                  <a:gd name="T5" fmla="*/ 3432 h 3432"/>
                  <a:gd name="T6" fmla="*/ 904 w 2788"/>
                  <a:gd name="T7" fmla="*/ 2729 h 3432"/>
                  <a:gd name="T8" fmla="*/ 1266 w 2788"/>
                  <a:gd name="T9" fmla="*/ 2729 h 3432"/>
                  <a:gd name="T10" fmla="*/ 1266 w 2788"/>
                  <a:gd name="T11" fmla="*/ 3432 h 3432"/>
                  <a:gd name="T12" fmla="*/ 1531 w 2788"/>
                  <a:gd name="T13" fmla="*/ 3432 h 3432"/>
                  <a:gd name="T14" fmla="*/ 1531 w 2788"/>
                  <a:gd name="T15" fmla="*/ 2729 h 3432"/>
                  <a:gd name="T16" fmla="*/ 1896 w 2788"/>
                  <a:gd name="T17" fmla="*/ 2729 h 3432"/>
                  <a:gd name="T18" fmla="*/ 1896 w 2788"/>
                  <a:gd name="T19" fmla="*/ 3432 h 3432"/>
                  <a:gd name="T20" fmla="*/ 2788 w 2788"/>
                  <a:gd name="T21" fmla="*/ 3432 h 3432"/>
                  <a:gd name="T22" fmla="*/ 2788 w 2788"/>
                  <a:gd name="T23" fmla="*/ 0 h 3432"/>
                  <a:gd name="T24" fmla="*/ 0 w 2788"/>
                  <a:gd name="T25" fmla="*/ 0 h 3432"/>
                  <a:gd name="T26" fmla="*/ 2525 w 2788"/>
                  <a:gd name="T27" fmla="*/ 2504 h 3432"/>
                  <a:gd name="T28" fmla="*/ 275 w 2788"/>
                  <a:gd name="T29" fmla="*/ 2504 h 3432"/>
                  <a:gd name="T30" fmla="*/ 275 w 2788"/>
                  <a:gd name="T31" fmla="*/ 2145 h 3432"/>
                  <a:gd name="T32" fmla="*/ 2525 w 2788"/>
                  <a:gd name="T33" fmla="*/ 2145 h 3432"/>
                  <a:gd name="T34" fmla="*/ 2525 w 2788"/>
                  <a:gd name="T35" fmla="*/ 2504 h 3432"/>
                  <a:gd name="T36" fmla="*/ 2525 w 2788"/>
                  <a:gd name="T37" fmla="*/ 1880 h 3432"/>
                  <a:gd name="T38" fmla="*/ 275 w 2788"/>
                  <a:gd name="T39" fmla="*/ 1880 h 3432"/>
                  <a:gd name="T40" fmla="*/ 275 w 2788"/>
                  <a:gd name="T41" fmla="*/ 1518 h 3432"/>
                  <a:gd name="T42" fmla="*/ 2525 w 2788"/>
                  <a:gd name="T43" fmla="*/ 1518 h 3432"/>
                  <a:gd name="T44" fmla="*/ 2525 w 2788"/>
                  <a:gd name="T45" fmla="*/ 1880 h 3432"/>
                  <a:gd name="T46" fmla="*/ 2525 w 2788"/>
                  <a:gd name="T47" fmla="*/ 1253 h 3432"/>
                  <a:gd name="T48" fmla="*/ 275 w 2788"/>
                  <a:gd name="T49" fmla="*/ 1253 h 3432"/>
                  <a:gd name="T50" fmla="*/ 275 w 2788"/>
                  <a:gd name="T51" fmla="*/ 894 h 3432"/>
                  <a:gd name="T52" fmla="*/ 2525 w 2788"/>
                  <a:gd name="T53" fmla="*/ 894 h 3432"/>
                  <a:gd name="T54" fmla="*/ 2525 w 2788"/>
                  <a:gd name="T55" fmla="*/ 1253 h 3432"/>
                  <a:gd name="T56" fmla="*/ 2525 w 2788"/>
                  <a:gd name="T57" fmla="*/ 629 h 3432"/>
                  <a:gd name="T58" fmla="*/ 275 w 2788"/>
                  <a:gd name="T59" fmla="*/ 629 h 3432"/>
                  <a:gd name="T60" fmla="*/ 275 w 2788"/>
                  <a:gd name="T61" fmla="*/ 267 h 3432"/>
                  <a:gd name="T62" fmla="*/ 2525 w 2788"/>
                  <a:gd name="T63" fmla="*/ 267 h 3432"/>
                  <a:gd name="T64" fmla="*/ 2525 w 2788"/>
                  <a:gd name="T65" fmla="*/ 62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8" h="3432">
                    <a:moveTo>
                      <a:pt x="0" y="0"/>
                    </a:moveTo>
                    <a:lnTo>
                      <a:pt x="0" y="3432"/>
                    </a:lnTo>
                    <a:lnTo>
                      <a:pt x="904" y="3432"/>
                    </a:lnTo>
                    <a:lnTo>
                      <a:pt x="904" y="2729"/>
                    </a:lnTo>
                    <a:lnTo>
                      <a:pt x="1266" y="2729"/>
                    </a:lnTo>
                    <a:lnTo>
                      <a:pt x="1266" y="3432"/>
                    </a:lnTo>
                    <a:lnTo>
                      <a:pt x="1531" y="3432"/>
                    </a:lnTo>
                    <a:lnTo>
                      <a:pt x="1531" y="2729"/>
                    </a:lnTo>
                    <a:lnTo>
                      <a:pt x="1896" y="2729"/>
                    </a:lnTo>
                    <a:lnTo>
                      <a:pt x="1896" y="3432"/>
                    </a:lnTo>
                    <a:lnTo>
                      <a:pt x="2788" y="3432"/>
                    </a:lnTo>
                    <a:lnTo>
                      <a:pt x="2788" y="0"/>
                    </a:lnTo>
                    <a:lnTo>
                      <a:pt x="0" y="0"/>
                    </a:lnTo>
                    <a:close/>
                    <a:moveTo>
                      <a:pt x="2525" y="2504"/>
                    </a:moveTo>
                    <a:lnTo>
                      <a:pt x="275" y="2504"/>
                    </a:lnTo>
                    <a:lnTo>
                      <a:pt x="275" y="2145"/>
                    </a:lnTo>
                    <a:lnTo>
                      <a:pt x="2525" y="2145"/>
                    </a:lnTo>
                    <a:lnTo>
                      <a:pt x="2525" y="2504"/>
                    </a:lnTo>
                    <a:close/>
                    <a:moveTo>
                      <a:pt x="2525" y="1880"/>
                    </a:moveTo>
                    <a:lnTo>
                      <a:pt x="275" y="1880"/>
                    </a:lnTo>
                    <a:lnTo>
                      <a:pt x="275" y="1518"/>
                    </a:lnTo>
                    <a:lnTo>
                      <a:pt x="2525" y="1518"/>
                    </a:lnTo>
                    <a:lnTo>
                      <a:pt x="2525" y="1880"/>
                    </a:lnTo>
                    <a:close/>
                    <a:moveTo>
                      <a:pt x="2525" y="1253"/>
                    </a:moveTo>
                    <a:lnTo>
                      <a:pt x="275" y="1253"/>
                    </a:lnTo>
                    <a:lnTo>
                      <a:pt x="275" y="894"/>
                    </a:lnTo>
                    <a:lnTo>
                      <a:pt x="2525" y="894"/>
                    </a:lnTo>
                    <a:lnTo>
                      <a:pt x="2525" y="1253"/>
                    </a:lnTo>
                    <a:close/>
                    <a:moveTo>
                      <a:pt x="2525" y="629"/>
                    </a:moveTo>
                    <a:lnTo>
                      <a:pt x="275" y="629"/>
                    </a:lnTo>
                    <a:lnTo>
                      <a:pt x="275" y="267"/>
                    </a:lnTo>
                    <a:lnTo>
                      <a:pt x="2525" y="267"/>
                    </a:lnTo>
                    <a:lnTo>
                      <a:pt x="2525" y="6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23" name="Freeform 22"/>
              <p:cNvSpPr>
                <a:spLocks noEditPoints="1"/>
              </p:cNvSpPr>
              <p:nvPr/>
            </p:nvSpPr>
            <p:spPr bwMode="auto">
              <a:xfrm>
                <a:off x="-7123113" y="-1301750"/>
                <a:ext cx="4425950" cy="9424988"/>
              </a:xfrm>
              <a:custGeom>
                <a:avLst/>
                <a:gdLst>
                  <a:gd name="T0" fmla="*/ 0 w 2788"/>
                  <a:gd name="T1" fmla="*/ 0 h 5937"/>
                  <a:gd name="T2" fmla="*/ 0 w 2788"/>
                  <a:gd name="T3" fmla="*/ 2318 h 5937"/>
                  <a:gd name="T4" fmla="*/ 275 w 2788"/>
                  <a:gd name="T5" fmla="*/ 2318 h 5937"/>
                  <a:gd name="T6" fmla="*/ 275 w 2788"/>
                  <a:gd name="T7" fmla="*/ 2148 h 5937"/>
                  <a:gd name="T8" fmla="*/ 2525 w 2788"/>
                  <a:gd name="T9" fmla="*/ 2148 h 5937"/>
                  <a:gd name="T10" fmla="*/ 2525 w 2788"/>
                  <a:gd name="T11" fmla="*/ 2509 h 5937"/>
                  <a:gd name="T12" fmla="*/ 1394 w 2788"/>
                  <a:gd name="T13" fmla="*/ 2509 h 5937"/>
                  <a:gd name="T14" fmla="*/ 1394 w 2788"/>
                  <a:gd name="T15" fmla="*/ 2772 h 5937"/>
                  <a:gd name="T16" fmla="*/ 2525 w 2788"/>
                  <a:gd name="T17" fmla="*/ 2772 h 5937"/>
                  <a:gd name="T18" fmla="*/ 2525 w 2788"/>
                  <a:gd name="T19" fmla="*/ 3134 h 5937"/>
                  <a:gd name="T20" fmla="*/ 1394 w 2788"/>
                  <a:gd name="T21" fmla="*/ 3134 h 5937"/>
                  <a:gd name="T22" fmla="*/ 1394 w 2788"/>
                  <a:gd name="T23" fmla="*/ 3399 h 5937"/>
                  <a:gd name="T24" fmla="*/ 2525 w 2788"/>
                  <a:gd name="T25" fmla="*/ 3399 h 5937"/>
                  <a:gd name="T26" fmla="*/ 2525 w 2788"/>
                  <a:gd name="T27" fmla="*/ 3758 h 5937"/>
                  <a:gd name="T28" fmla="*/ 1394 w 2788"/>
                  <a:gd name="T29" fmla="*/ 3758 h 5937"/>
                  <a:gd name="T30" fmla="*/ 1394 w 2788"/>
                  <a:gd name="T31" fmla="*/ 4023 h 5937"/>
                  <a:gd name="T32" fmla="*/ 2525 w 2788"/>
                  <a:gd name="T33" fmla="*/ 4023 h 5937"/>
                  <a:gd name="T34" fmla="*/ 2525 w 2788"/>
                  <a:gd name="T35" fmla="*/ 4385 h 5937"/>
                  <a:gd name="T36" fmla="*/ 1394 w 2788"/>
                  <a:gd name="T37" fmla="*/ 4385 h 5937"/>
                  <a:gd name="T38" fmla="*/ 1394 w 2788"/>
                  <a:gd name="T39" fmla="*/ 4650 h 5937"/>
                  <a:gd name="T40" fmla="*/ 2525 w 2788"/>
                  <a:gd name="T41" fmla="*/ 4650 h 5937"/>
                  <a:gd name="T42" fmla="*/ 2525 w 2788"/>
                  <a:gd name="T43" fmla="*/ 5009 h 5937"/>
                  <a:gd name="T44" fmla="*/ 1394 w 2788"/>
                  <a:gd name="T45" fmla="*/ 5009 h 5937"/>
                  <a:gd name="T46" fmla="*/ 1394 w 2788"/>
                  <a:gd name="T47" fmla="*/ 5937 h 5937"/>
                  <a:gd name="T48" fmla="*/ 1534 w 2788"/>
                  <a:gd name="T49" fmla="*/ 5937 h 5937"/>
                  <a:gd name="T50" fmla="*/ 1534 w 2788"/>
                  <a:gd name="T51" fmla="*/ 5234 h 5937"/>
                  <a:gd name="T52" fmla="*/ 1896 w 2788"/>
                  <a:gd name="T53" fmla="*/ 5234 h 5937"/>
                  <a:gd name="T54" fmla="*/ 1896 w 2788"/>
                  <a:gd name="T55" fmla="*/ 5937 h 5937"/>
                  <a:gd name="T56" fmla="*/ 2788 w 2788"/>
                  <a:gd name="T57" fmla="*/ 5937 h 5937"/>
                  <a:gd name="T58" fmla="*/ 2788 w 2788"/>
                  <a:gd name="T59" fmla="*/ 0 h 5937"/>
                  <a:gd name="T60" fmla="*/ 0 w 2788"/>
                  <a:gd name="T61" fmla="*/ 0 h 5937"/>
                  <a:gd name="T62" fmla="*/ 2525 w 2788"/>
                  <a:gd name="T63" fmla="*/ 1883 h 5937"/>
                  <a:gd name="T64" fmla="*/ 275 w 2788"/>
                  <a:gd name="T65" fmla="*/ 1883 h 5937"/>
                  <a:gd name="T66" fmla="*/ 275 w 2788"/>
                  <a:gd name="T67" fmla="*/ 1521 h 5937"/>
                  <a:gd name="T68" fmla="*/ 2525 w 2788"/>
                  <a:gd name="T69" fmla="*/ 1521 h 5937"/>
                  <a:gd name="T70" fmla="*/ 2525 w 2788"/>
                  <a:gd name="T71" fmla="*/ 1883 h 5937"/>
                  <a:gd name="T72" fmla="*/ 2525 w 2788"/>
                  <a:gd name="T73" fmla="*/ 1263 h 5937"/>
                  <a:gd name="T74" fmla="*/ 275 w 2788"/>
                  <a:gd name="T75" fmla="*/ 1263 h 5937"/>
                  <a:gd name="T76" fmla="*/ 275 w 2788"/>
                  <a:gd name="T77" fmla="*/ 901 h 5937"/>
                  <a:gd name="T78" fmla="*/ 2525 w 2788"/>
                  <a:gd name="T79" fmla="*/ 901 h 5937"/>
                  <a:gd name="T80" fmla="*/ 2525 w 2788"/>
                  <a:gd name="T81" fmla="*/ 1263 h 5937"/>
                  <a:gd name="T82" fmla="*/ 2525 w 2788"/>
                  <a:gd name="T83" fmla="*/ 639 h 5937"/>
                  <a:gd name="T84" fmla="*/ 275 w 2788"/>
                  <a:gd name="T85" fmla="*/ 639 h 5937"/>
                  <a:gd name="T86" fmla="*/ 275 w 2788"/>
                  <a:gd name="T87" fmla="*/ 277 h 5937"/>
                  <a:gd name="T88" fmla="*/ 2525 w 2788"/>
                  <a:gd name="T89" fmla="*/ 277 h 5937"/>
                  <a:gd name="T90" fmla="*/ 2525 w 2788"/>
                  <a:gd name="T91" fmla="*/ 639 h 5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8" h="5937">
                    <a:moveTo>
                      <a:pt x="0" y="0"/>
                    </a:moveTo>
                    <a:lnTo>
                      <a:pt x="0" y="2318"/>
                    </a:lnTo>
                    <a:lnTo>
                      <a:pt x="275" y="2318"/>
                    </a:lnTo>
                    <a:lnTo>
                      <a:pt x="275" y="2148"/>
                    </a:lnTo>
                    <a:lnTo>
                      <a:pt x="2525" y="2148"/>
                    </a:lnTo>
                    <a:lnTo>
                      <a:pt x="2525" y="2509"/>
                    </a:lnTo>
                    <a:lnTo>
                      <a:pt x="1394" y="2509"/>
                    </a:lnTo>
                    <a:lnTo>
                      <a:pt x="1394" y="2772"/>
                    </a:lnTo>
                    <a:lnTo>
                      <a:pt x="2525" y="2772"/>
                    </a:lnTo>
                    <a:lnTo>
                      <a:pt x="2525" y="3134"/>
                    </a:lnTo>
                    <a:lnTo>
                      <a:pt x="1394" y="3134"/>
                    </a:lnTo>
                    <a:lnTo>
                      <a:pt x="1394" y="3399"/>
                    </a:lnTo>
                    <a:lnTo>
                      <a:pt x="2525" y="3399"/>
                    </a:lnTo>
                    <a:lnTo>
                      <a:pt x="2525" y="3758"/>
                    </a:lnTo>
                    <a:lnTo>
                      <a:pt x="1394" y="3758"/>
                    </a:lnTo>
                    <a:lnTo>
                      <a:pt x="1394" y="4023"/>
                    </a:lnTo>
                    <a:lnTo>
                      <a:pt x="2525" y="4023"/>
                    </a:lnTo>
                    <a:lnTo>
                      <a:pt x="2525" y="4385"/>
                    </a:lnTo>
                    <a:lnTo>
                      <a:pt x="1394" y="4385"/>
                    </a:lnTo>
                    <a:lnTo>
                      <a:pt x="1394" y="4650"/>
                    </a:lnTo>
                    <a:lnTo>
                      <a:pt x="2525" y="4650"/>
                    </a:lnTo>
                    <a:lnTo>
                      <a:pt x="2525" y="5009"/>
                    </a:lnTo>
                    <a:lnTo>
                      <a:pt x="1394" y="5009"/>
                    </a:lnTo>
                    <a:lnTo>
                      <a:pt x="1394" y="5937"/>
                    </a:lnTo>
                    <a:lnTo>
                      <a:pt x="1534" y="5937"/>
                    </a:lnTo>
                    <a:lnTo>
                      <a:pt x="1534" y="5234"/>
                    </a:lnTo>
                    <a:lnTo>
                      <a:pt x="1896" y="5234"/>
                    </a:lnTo>
                    <a:lnTo>
                      <a:pt x="1896" y="5937"/>
                    </a:lnTo>
                    <a:lnTo>
                      <a:pt x="2788" y="5937"/>
                    </a:lnTo>
                    <a:lnTo>
                      <a:pt x="2788" y="0"/>
                    </a:lnTo>
                    <a:lnTo>
                      <a:pt x="0" y="0"/>
                    </a:lnTo>
                    <a:close/>
                    <a:moveTo>
                      <a:pt x="2525" y="1883"/>
                    </a:moveTo>
                    <a:lnTo>
                      <a:pt x="275" y="1883"/>
                    </a:lnTo>
                    <a:lnTo>
                      <a:pt x="275" y="1521"/>
                    </a:lnTo>
                    <a:lnTo>
                      <a:pt x="2525" y="1521"/>
                    </a:lnTo>
                    <a:lnTo>
                      <a:pt x="2525" y="1883"/>
                    </a:lnTo>
                    <a:close/>
                    <a:moveTo>
                      <a:pt x="2525" y="1263"/>
                    </a:moveTo>
                    <a:lnTo>
                      <a:pt x="275" y="1263"/>
                    </a:lnTo>
                    <a:lnTo>
                      <a:pt x="275" y="901"/>
                    </a:lnTo>
                    <a:lnTo>
                      <a:pt x="2525" y="901"/>
                    </a:lnTo>
                    <a:lnTo>
                      <a:pt x="2525" y="1263"/>
                    </a:lnTo>
                    <a:close/>
                    <a:moveTo>
                      <a:pt x="2525" y="639"/>
                    </a:moveTo>
                    <a:lnTo>
                      <a:pt x="275" y="639"/>
                    </a:lnTo>
                    <a:lnTo>
                      <a:pt x="275" y="277"/>
                    </a:lnTo>
                    <a:lnTo>
                      <a:pt x="2525" y="277"/>
                    </a:lnTo>
                    <a:lnTo>
                      <a:pt x="2525" y="63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spTree>
    <p:extLst>
      <p:ext uri="{BB962C8B-B14F-4D97-AF65-F5344CB8AC3E}">
        <p14:creationId xmlns:p14="http://schemas.microsoft.com/office/powerpoint/2010/main" val="422633202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nodeType="withEffect">
                                  <p:stCondLst>
                                    <p:cond delay="0"/>
                                  </p:stCondLst>
                                  <p:childTnLst>
                                    <p:animScale>
                                      <p:cBhvr>
                                        <p:cTn id="6" dur="2000" fill="hold"/>
                                        <p:tgtEl>
                                          <p:spTgt spid="6"/>
                                        </p:tgtEl>
                                      </p:cBhvr>
                                      <p:by x="67000" y="67000"/>
                                    </p:animScale>
                                  </p:childTnLst>
                                </p:cTn>
                              </p:par>
                              <p:par>
                                <p:cTn id="7" presetID="64" presetClass="path" presetSubtype="0" accel="50000" decel="50000" fill="hold" nodeType="withEffect">
                                  <p:stCondLst>
                                    <p:cond delay="0"/>
                                  </p:stCondLst>
                                  <p:childTnLst>
                                    <p:animMotion origin="layout" path="M -4.70258E-6 -2.81434E-7 L -0.00076 -0.31276 " pathEditMode="relative" rAng="0" ptsTypes="AA">
                                      <p:cBhvr>
                                        <p:cTn id="8" dur="2000" fill="hold"/>
                                        <p:tgtEl>
                                          <p:spTgt spid="6"/>
                                        </p:tgtEl>
                                        <p:attrNameLst>
                                          <p:attrName>ppt_x</p:attrName>
                                          <p:attrName>ppt_y</p:attrName>
                                        </p:attrNameLst>
                                      </p:cBhvr>
                                      <p:rCtr x="-38" y="-15638"/>
                                    </p:animMotion>
                                  </p:childTnLst>
                                </p:cTn>
                              </p:par>
                            </p:childTnLst>
                          </p:cTn>
                        </p:par>
                        <p:par>
                          <p:cTn id="9" fill="hold">
                            <p:stCondLst>
                              <p:cond delay="2000"/>
                            </p:stCondLst>
                            <p:childTnLst>
                              <p:par>
                                <p:cTn id="10" presetID="1" presetClass="exit" presetSubtype="0" fill="hold" nodeType="afterEffect">
                                  <p:stCondLst>
                                    <p:cond delay="0"/>
                                  </p:stCondLst>
                                  <p:childTnLst>
                                    <p:set>
                                      <p:cBhvr>
                                        <p:cTn id="11" dur="1" fill="hold">
                                          <p:stCondLst>
                                            <p:cond delay="0"/>
                                          </p:stCondLst>
                                        </p:cTn>
                                        <p:tgtEl>
                                          <p:spTgt spid="6"/>
                                        </p:tgtEl>
                                        <p:attrNameLst>
                                          <p:attrName>style.visibility</p:attrName>
                                        </p:attrNameLst>
                                      </p:cBhvr>
                                      <p:to>
                                        <p:strVal val="hidden"/>
                                      </p:to>
                                    </p:set>
                                  </p:childTnLst>
                                </p:cTn>
                              </p:par>
                              <p:par>
                                <p:cTn id="12" presetID="1" presetClass="entr" presetSubtype="0" fill="hold" nodeType="withEffect">
                                  <p:stCondLst>
                                    <p:cond delay="0"/>
                                  </p:stCondLst>
                                  <p:childTnLst>
                                    <p:set>
                                      <p:cBhvr>
                                        <p:cTn id="13" dur="1" fill="hold">
                                          <p:stCondLst>
                                            <p:cond delay="0"/>
                                          </p:stCondLst>
                                        </p:cTn>
                                        <p:tgtEl>
                                          <p:spTgt spid="378"/>
                                        </p:tgtEl>
                                        <p:attrNameLst>
                                          <p:attrName>style.visibility</p:attrName>
                                        </p:attrNameLst>
                                      </p:cBhvr>
                                      <p:to>
                                        <p:strVal val="visible"/>
                                      </p:to>
                                    </p:set>
                                  </p:childTnLst>
                                </p:cTn>
                              </p:par>
                            </p:childTnLst>
                          </p:cTn>
                        </p:par>
                        <p:par>
                          <p:cTn id="14" fill="hold">
                            <p:stCondLst>
                              <p:cond delay="2000"/>
                            </p:stCondLst>
                            <p:childTnLst>
                              <p:par>
                                <p:cTn id="15" presetID="18" presetClass="entr" presetSubtype="12"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strips(downLeft)">
                                      <p:cBhvr>
                                        <p:cTn id="17" dur="500"/>
                                        <p:tgtEl>
                                          <p:spTgt spid="12"/>
                                        </p:tgtEl>
                                      </p:cBhvr>
                                    </p:animEffect>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childTnLst>
                                </p:cTn>
                              </p:par>
                              <p:par>
                                <p:cTn id="22" presetID="53" presetClass="entr" presetSubtype="16"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w</p:attrName>
                                        </p:attrNameLst>
                                      </p:cBhvr>
                                      <p:tavLst>
                                        <p:tav tm="0">
                                          <p:val>
                                            <p:fltVal val="0"/>
                                          </p:val>
                                        </p:tav>
                                        <p:tav tm="100000">
                                          <p:val>
                                            <p:strVal val="#ppt_w"/>
                                          </p:val>
                                        </p:tav>
                                      </p:tavLst>
                                    </p:anim>
                                    <p:anim calcmode="lin" valueType="num">
                                      <p:cBhvr>
                                        <p:cTn id="25" dur="500" fill="hold"/>
                                        <p:tgtEl>
                                          <p:spTgt spid="11"/>
                                        </p:tgtEl>
                                        <p:attrNameLst>
                                          <p:attrName>ppt_h</p:attrName>
                                        </p:attrNameLst>
                                      </p:cBhvr>
                                      <p:tavLst>
                                        <p:tav tm="0">
                                          <p:val>
                                            <p:fltVal val="0"/>
                                          </p:val>
                                        </p:tav>
                                        <p:tav tm="100000">
                                          <p:val>
                                            <p:strVal val="#ppt_h"/>
                                          </p:val>
                                        </p:tav>
                                      </p:tavLst>
                                    </p:anim>
                                    <p:animEffect transition="in" filter="fade">
                                      <p:cBhvr>
                                        <p:cTn id="26" dur="500"/>
                                        <p:tgtEl>
                                          <p:spTgt spid="11"/>
                                        </p:tgtEl>
                                      </p:cBhvr>
                                    </p:animEffect>
                                  </p:childTnLst>
                                </p:cTn>
                              </p:par>
                              <p:par>
                                <p:cTn id="27" presetID="6" presetClass="emph" presetSubtype="0" accel="52000" decel="48000" autoRev="1" fill="hold" nodeType="withEffect">
                                  <p:stCondLst>
                                    <p:cond delay="250"/>
                                  </p:stCondLst>
                                  <p:childTnLst>
                                    <p:animScale>
                                      <p:cBhvr>
                                        <p:cTn id="28" dur="250" fill="hold"/>
                                        <p:tgtEl>
                                          <p:spTgt spid="11"/>
                                        </p:tgtEl>
                                      </p:cBhvr>
                                      <p:by x="115000" y="115000"/>
                                    </p:animScale>
                                  </p:childTnLst>
                                </p:cTn>
                              </p:par>
                              <p:par>
                                <p:cTn id="29" presetID="10" presetClass="entr" presetSubtype="0" fill="hold" grpId="0" nodeType="withEffect">
                                  <p:stCondLst>
                                    <p:cond delay="500"/>
                                  </p:stCondLst>
                                  <p:childTnLst>
                                    <p:set>
                                      <p:cBhvr>
                                        <p:cTn id="30" dur="1" fill="hold">
                                          <p:stCondLst>
                                            <p:cond delay="0"/>
                                          </p:stCondLst>
                                        </p:cTn>
                                        <p:tgtEl>
                                          <p:spTgt spid="227"/>
                                        </p:tgtEl>
                                        <p:attrNameLst>
                                          <p:attrName>style.visibility</p:attrName>
                                        </p:attrNameLst>
                                      </p:cBhvr>
                                      <p:to>
                                        <p:strVal val="visible"/>
                                      </p:to>
                                    </p:set>
                                    <p:animEffect transition="in" filter="fade">
                                      <p:cBhvr>
                                        <p:cTn id="31" dur="500"/>
                                        <p:tgtEl>
                                          <p:spTgt spid="227"/>
                                        </p:tgtEl>
                                      </p:cBhvr>
                                    </p:animEffect>
                                  </p:childTnLst>
                                </p:cTn>
                              </p:par>
                              <p:par>
                                <p:cTn id="32" presetID="10" presetClass="entr" presetSubtype="0" fill="hold" grpId="0" nodeType="withEffect">
                                  <p:stCondLst>
                                    <p:cond delay="750"/>
                                  </p:stCondLst>
                                  <p:childTnLst>
                                    <p:set>
                                      <p:cBhvr>
                                        <p:cTn id="33" dur="1" fill="hold">
                                          <p:stCondLst>
                                            <p:cond delay="0"/>
                                          </p:stCondLst>
                                        </p:cTn>
                                        <p:tgtEl>
                                          <p:spTgt spid="226"/>
                                        </p:tgtEl>
                                        <p:attrNameLst>
                                          <p:attrName>style.visibility</p:attrName>
                                        </p:attrNameLst>
                                      </p:cBhvr>
                                      <p:to>
                                        <p:strVal val="visible"/>
                                      </p:to>
                                    </p:set>
                                    <p:animEffect transition="in" filter="fade">
                                      <p:cBhvr>
                                        <p:cTn id="34" dur="500"/>
                                        <p:tgtEl>
                                          <p:spTgt spid="226"/>
                                        </p:tgtEl>
                                      </p:cBhvr>
                                    </p:animEffect>
                                  </p:childTnLst>
                                </p:cTn>
                              </p:par>
                              <p:par>
                                <p:cTn id="35" presetID="53" presetClass="entr" presetSubtype="16" fill="hold" nodeType="withEffect">
                                  <p:stCondLst>
                                    <p:cond delay="750"/>
                                  </p:stCondLst>
                                  <p:childTnLst>
                                    <p:set>
                                      <p:cBhvr>
                                        <p:cTn id="36" dur="1" fill="hold">
                                          <p:stCondLst>
                                            <p:cond delay="0"/>
                                          </p:stCondLst>
                                        </p:cTn>
                                        <p:tgtEl>
                                          <p:spTgt spid="7"/>
                                        </p:tgtEl>
                                        <p:attrNameLst>
                                          <p:attrName>style.visibility</p:attrName>
                                        </p:attrNameLst>
                                      </p:cBhvr>
                                      <p:to>
                                        <p:strVal val="visible"/>
                                      </p:to>
                                    </p:set>
                                    <p:anim calcmode="lin" valueType="num">
                                      <p:cBhvr>
                                        <p:cTn id="37" dur="500" fill="hold"/>
                                        <p:tgtEl>
                                          <p:spTgt spid="7"/>
                                        </p:tgtEl>
                                        <p:attrNameLst>
                                          <p:attrName>ppt_w</p:attrName>
                                        </p:attrNameLst>
                                      </p:cBhvr>
                                      <p:tavLst>
                                        <p:tav tm="0">
                                          <p:val>
                                            <p:fltVal val="0"/>
                                          </p:val>
                                        </p:tav>
                                        <p:tav tm="100000">
                                          <p:val>
                                            <p:strVal val="#ppt_w"/>
                                          </p:val>
                                        </p:tav>
                                      </p:tavLst>
                                    </p:anim>
                                    <p:anim calcmode="lin" valueType="num">
                                      <p:cBhvr>
                                        <p:cTn id="38" dur="500" fill="hold"/>
                                        <p:tgtEl>
                                          <p:spTgt spid="7"/>
                                        </p:tgtEl>
                                        <p:attrNameLst>
                                          <p:attrName>ppt_h</p:attrName>
                                        </p:attrNameLst>
                                      </p:cBhvr>
                                      <p:tavLst>
                                        <p:tav tm="0">
                                          <p:val>
                                            <p:fltVal val="0"/>
                                          </p:val>
                                        </p:tav>
                                        <p:tav tm="100000">
                                          <p:val>
                                            <p:strVal val="#ppt_h"/>
                                          </p:val>
                                        </p:tav>
                                      </p:tavLst>
                                    </p:anim>
                                    <p:animEffect transition="in" filter="fade">
                                      <p:cBhvr>
                                        <p:cTn id="39" dur="500"/>
                                        <p:tgtEl>
                                          <p:spTgt spid="7"/>
                                        </p:tgtEl>
                                      </p:cBhvr>
                                    </p:animEffect>
                                  </p:childTnLst>
                                </p:cTn>
                              </p:par>
                              <p:par>
                                <p:cTn id="40" presetID="6" presetClass="emph" presetSubtype="0" accel="52000" decel="48000" autoRev="1" fill="hold" nodeType="withEffect">
                                  <p:stCondLst>
                                    <p:cond delay="1000"/>
                                  </p:stCondLst>
                                  <p:childTnLst>
                                    <p:animScale>
                                      <p:cBhvr>
                                        <p:cTn id="41" dur="250" fill="hold"/>
                                        <p:tgtEl>
                                          <p:spTgt spid="7"/>
                                        </p:tgtEl>
                                      </p:cBhvr>
                                      <p:by x="115000" y="115000"/>
                                    </p:animScale>
                                  </p:childTnLst>
                                </p:cTn>
                              </p:par>
                              <p:par>
                                <p:cTn id="42" presetID="10" presetClass="entr" presetSubtype="0" fill="hold" grpId="0" nodeType="withEffect">
                                  <p:stCondLst>
                                    <p:cond delay="1000"/>
                                  </p:stCondLst>
                                  <p:childTnLst>
                                    <p:set>
                                      <p:cBhvr>
                                        <p:cTn id="43" dur="1" fill="hold">
                                          <p:stCondLst>
                                            <p:cond delay="0"/>
                                          </p:stCondLst>
                                        </p:cTn>
                                        <p:tgtEl>
                                          <p:spTgt spid="229"/>
                                        </p:tgtEl>
                                        <p:attrNameLst>
                                          <p:attrName>style.visibility</p:attrName>
                                        </p:attrNameLst>
                                      </p:cBhvr>
                                      <p:to>
                                        <p:strVal val="visible"/>
                                      </p:to>
                                    </p:set>
                                    <p:animEffect transition="in" filter="fade">
                                      <p:cBhvr>
                                        <p:cTn id="44" dur="500"/>
                                        <p:tgtEl>
                                          <p:spTgt spid="229"/>
                                        </p:tgtEl>
                                      </p:cBhvr>
                                    </p:animEffect>
                                  </p:childTnLst>
                                </p:cTn>
                              </p:par>
                              <p:par>
                                <p:cTn id="45" presetID="10" presetClass="entr" presetSubtype="0" fill="hold" grpId="0" nodeType="withEffect">
                                  <p:stCondLst>
                                    <p:cond delay="1250"/>
                                  </p:stCondLst>
                                  <p:childTnLst>
                                    <p:set>
                                      <p:cBhvr>
                                        <p:cTn id="46" dur="1" fill="hold">
                                          <p:stCondLst>
                                            <p:cond delay="0"/>
                                          </p:stCondLst>
                                        </p:cTn>
                                        <p:tgtEl>
                                          <p:spTgt spid="228"/>
                                        </p:tgtEl>
                                        <p:attrNameLst>
                                          <p:attrName>style.visibility</p:attrName>
                                        </p:attrNameLst>
                                      </p:cBhvr>
                                      <p:to>
                                        <p:strVal val="visible"/>
                                      </p:to>
                                    </p:set>
                                    <p:animEffect transition="in" filter="fade">
                                      <p:cBhvr>
                                        <p:cTn id="47" dur="500"/>
                                        <p:tgtEl>
                                          <p:spTgt spid="228"/>
                                        </p:tgtEl>
                                      </p:cBhvr>
                                    </p:animEffect>
                                  </p:childTnLst>
                                </p:cTn>
                              </p:par>
                              <p:par>
                                <p:cTn id="48" presetID="53" presetClass="entr" presetSubtype="16" fill="hold" nodeType="withEffect">
                                  <p:stCondLst>
                                    <p:cond delay="1250"/>
                                  </p:stCondLst>
                                  <p:childTnLst>
                                    <p:set>
                                      <p:cBhvr>
                                        <p:cTn id="49" dur="1" fill="hold">
                                          <p:stCondLst>
                                            <p:cond delay="0"/>
                                          </p:stCondLst>
                                        </p:cTn>
                                        <p:tgtEl>
                                          <p:spTgt spid="10"/>
                                        </p:tgtEl>
                                        <p:attrNameLst>
                                          <p:attrName>style.visibility</p:attrName>
                                        </p:attrNameLst>
                                      </p:cBhvr>
                                      <p:to>
                                        <p:strVal val="visible"/>
                                      </p:to>
                                    </p:set>
                                    <p:anim calcmode="lin" valueType="num">
                                      <p:cBhvr>
                                        <p:cTn id="50" dur="500" fill="hold"/>
                                        <p:tgtEl>
                                          <p:spTgt spid="10"/>
                                        </p:tgtEl>
                                        <p:attrNameLst>
                                          <p:attrName>ppt_w</p:attrName>
                                        </p:attrNameLst>
                                      </p:cBhvr>
                                      <p:tavLst>
                                        <p:tav tm="0">
                                          <p:val>
                                            <p:fltVal val="0"/>
                                          </p:val>
                                        </p:tav>
                                        <p:tav tm="100000">
                                          <p:val>
                                            <p:strVal val="#ppt_w"/>
                                          </p:val>
                                        </p:tav>
                                      </p:tavLst>
                                    </p:anim>
                                    <p:anim calcmode="lin" valueType="num">
                                      <p:cBhvr>
                                        <p:cTn id="51" dur="500" fill="hold"/>
                                        <p:tgtEl>
                                          <p:spTgt spid="10"/>
                                        </p:tgtEl>
                                        <p:attrNameLst>
                                          <p:attrName>ppt_h</p:attrName>
                                        </p:attrNameLst>
                                      </p:cBhvr>
                                      <p:tavLst>
                                        <p:tav tm="0">
                                          <p:val>
                                            <p:fltVal val="0"/>
                                          </p:val>
                                        </p:tav>
                                        <p:tav tm="100000">
                                          <p:val>
                                            <p:strVal val="#ppt_h"/>
                                          </p:val>
                                        </p:tav>
                                      </p:tavLst>
                                    </p:anim>
                                    <p:animEffect transition="in" filter="fade">
                                      <p:cBhvr>
                                        <p:cTn id="52" dur="500"/>
                                        <p:tgtEl>
                                          <p:spTgt spid="10"/>
                                        </p:tgtEl>
                                      </p:cBhvr>
                                    </p:animEffect>
                                  </p:childTnLst>
                                </p:cTn>
                              </p:par>
                              <p:par>
                                <p:cTn id="53" presetID="6" presetClass="emph" presetSubtype="0" accel="52000" decel="48000" autoRev="1" fill="hold" nodeType="withEffect">
                                  <p:stCondLst>
                                    <p:cond delay="1500"/>
                                  </p:stCondLst>
                                  <p:childTnLst>
                                    <p:animScale>
                                      <p:cBhvr>
                                        <p:cTn id="54" dur="250" fill="hold"/>
                                        <p:tgtEl>
                                          <p:spTgt spid="10"/>
                                        </p:tgtEl>
                                      </p:cBhvr>
                                      <p:by x="115000" y="115000"/>
                                    </p:animScale>
                                  </p:childTnLst>
                                </p:cTn>
                              </p:par>
                              <p:par>
                                <p:cTn id="55" presetID="10" presetClass="entr" presetSubtype="0" fill="hold" grpId="0" nodeType="withEffect">
                                  <p:stCondLst>
                                    <p:cond delay="1750"/>
                                  </p:stCondLst>
                                  <p:childTnLst>
                                    <p:set>
                                      <p:cBhvr>
                                        <p:cTn id="56" dur="1" fill="hold">
                                          <p:stCondLst>
                                            <p:cond delay="0"/>
                                          </p:stCondLst>
                                        </p:cTn>
                                        <p:tgtEl>
                                          <p:spTgt spid="225"/>
                                        </p:tgtEl>
                                        <p:attrNameLst>
                                          <p:attrName>style.visibility</p:attrName>
                                        </p:attrNameLst>
                                      </p:cBhvr>
                                      <p:to>
                                        <p:strVal val="visible"/>
                                      </p:to>
                                    </p:set>
                                    <p:animEffect transition="in" filter="fade">
                                      <p:cBhvr>
                                        <p:cTn id="57" dur="500"/>
                                        <p:tgtEl>
                                          <p:spTgt spid="225"/>
                                        </p:tgtEl>
                                      </p:cBhvr>
                                    </p:animEffect>
                                  </p:childTnLst>
                                </p:cTn>
                              </p:par>
                              <p:par>
                                <p:cTn id="58" presetID="10" presetClass="entr" presetSubtype="0" fill="hold" grpId="0" nodeType="withEffect">
                                  <p:stCondLst>
                                    <p:cond delay="1750"/>
                                  </p:stCondLst>
                                  <p:childTnLst>
                                    <p:set>
                                      <p:cBhvr>
                                        <p:cTn id="59" dur="1" fill="hold">
                                          <p:stCondLst>
                                            <p:cond delay="0"/>
                                          </p:stCondLst>
                                        </p:cTn>
                                        <p:tgtEl>
                                          <p:spTgt spid="224"/>
                                        </p:tgtEl>
                                        <p:attrNameLst>
                                          <p:attrName>style.visibility</p:attrName>
                                        </p:attrNameLst>
                                      </p:cBhvr>
                                      <p:to>
                                        <p:strVal val="visible"/>
                                      </p:to>
                                    </p:set>
                                    <p:animEffect transition="in" filter="fade">
                                      <p:cBhvr>
                                        <p:cTn id="60" dur="500"/>
                                        <p:tgtEl>
                                          <p:spTgt spid="224"/>
                                        </p:tgtEl>
                                      </p:cBhvr>
                                    </p:animEffect>
                                  </p:childTnLst>
                                </p:cTn>
                              </p:par>
                            </p:childTnLst>
                          </p:cTn>
                        </p:par>
                        <p:par>
                          <p:cTn id="61" fill="hold">
                            <p:stCondLst>
                              <p:cond delay="4750"/>
                            </p:stCondLst>
                            <p:childTnLst>
                              <p:par>
                                <p:cTn id="62" presetID="1" presetClass="entr" presetSubtype="0" fill="hold" grpId="0" nodeType="afterEffect">
                                  <p:stCondLst>
                                    <p:cond delay="0"/>
                                  </p:stCondLst>
                                  <p:childTnLst>
                                    <p:set>
                                      <p:cBhvr>
                                        <p:cTn id="6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26" grpId="0"/>
      <p:bldP spid="227" grpId="0"/>
      <p:bldP spid="224" grpId="0"/>
      <p:bldP spid="225" grpId="0"/>
      <p:bldP spid="228" grpId="0"/>
      <p:bldP spid="229" grpId="0"/>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4" name="Group 403"/>
          <p:cNvGrpSpPr/>
          <p:nvPr/>
        </p:nvGrpSpPr>
        <p:grpSpPr>
          <a:xfrm>
            <a:off x="3909855" y="1373207"/>
            <a:ext cx="4788309" cy="4578751"/>
            <a:chOff x="4038600" y="1400245"/>
            <a:chExt cx="4884325" cy="4670565"/>
          </a:xfrm>
        </p:grpSpPr>
        <p:sp>
          <p:nvSpPr>
            <p:cNvPr id="405" name="Oval 404"/>
            <p:cNvSpPr/>
            <p:nvPr/>
          </p:nvSpPr>
          <p:spPr bwMode="auto">
            <a:xfrm>
              <a:off x="4038600" y="1676400"/>
              <a:ext cx="4394410" cy="4394410"/>
            </a:xfrm>
            <a:prstGeom prst="ellipse">
              <a:avLst/>
            </a:prstGeom>
            <a:solidFill>
              <a:schemeClr val="bg1"/>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6" name="Freeform 7"/>
            <p:cNvSpPr>
              <a:spLocks/>
            </p:cNvSpPr>
            <p:nvPr/>
          </p:nvSpPr>
          <p:spPr bwMode="auto">
            <a:xfrm>
              <a:off x="4619816" y="3000079"/>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07" name="Freeform 8"/>
            <p:cNvSpPr>
              <a:spLocks/>
            </p:cNvSpPr>
            <p:nvPr/>
          </p:nvSpPr>
          <p:spPr bwMode="auto">
            <a:xfrm>
              <a:off x="4741092" y="3000079"/>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08" name="Freeform 14"/>
            <p:cNvSpPr>
              <a:spLocks/>
            </p:cNvSpPr>
            <p:nvPr/>
          </p:nvSpPr>
          <p:spPr bwMode="auto">
            <a:xfrm>
              <a:off x="5696280"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09" name="Freeform 408"/>
            <p:cNvSpPr>
              <a:spLocks/>
            </p:cNvSpPr>
            <p:nvPr/>
          </p:nvSpPr>
          <p:spPr bwMode="auto">
            <a:xfrm>
              <a:off x="6148538" y="3000079"/>
              <a:ext cx="78768"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0" name="Freeform 409"/>
            <p:cNvSpPr>
              <a:spLocks noEditPoints="1"/>
            </p:cNvSpPr>
            <p:nvPr/>
          </p:nvSpPr>
          <p:spPr bwMode="auto">
            <a:xfrm>
              <a:off x="6272314" y="300007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1" name="Freeform 23"/>
            <p:cNvSpPr>
              <a:spLocks noEditPoints="1"/>
            </p:cNvSpPr>
            <p:nvPr/>
          </p:nvSpPr>
          <p:spPr bwMode="auto">
            <a:xfrm>
              <a:off x="6887800" y="3000079"/>
              <a:ext cx="132528" cy="190348"/>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2" name="Freeform 24"/>
            <p:cNvSpPr>
              <a:spLocks noEditPoints="1"/>
            </p:cNvSpPr>
            <p:nvPr/>
          </p:nvSpPr>
          <p:spPr bwMode="auto">
            <a:xfrm>
              <a:off x="7061588" y="3000079"/>
              <a:ext cx="133778" cy="190348"/>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3" name="Freeform 25"/>
            <p:cNvSpPr>
              <a:spLocks/>
            </p:cNvSpPr>
            <p:nvPr/>
          </p:nvSpPr>
          <p:spPr bwMode="auto">
            <a:xfrm>
              <a:off x="7236625" y="3000079"/>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4" name="Freeform 29"/>
            <p:cNvSpPr>
              <a:spLocks noEditPoints="1"/>
            </p:cNvSpPr>
            <p:nvPr/>
          </p:nvSpPr>
          <p:spPr bwMode="auto">
            <a:xfrm>
              <a:off x="7831753" y="3000079"/>
              <a:ext cx="130027" cy="190348"/>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5" name="Freeform 30"/>
            <p:cNvSpPr>
              <a:spLocks/>
            </p:cNvSpPr>
            <p:nvPr/>
          </p:nvSpPr>
          <p:spPr bwMode="auto">
            <a:xfrm>
              <a:off x="8006790" y="3000079"/>
              <a:ext cx="78768" cy="18659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6" name="Freeform 31"/>
            <p:cNvSpPr>
              <a:spLocks/>
            </p:cNvSpPr>
            <p:nvPr/>
          </p:nvSpPr>
          <p:spPr bwMode="auto">
            <a:xfrm>
              <a:off x="8130565" y="3127813"/>
              <a:ext cx="15003" cy="43831"/>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7" name="Freeform 35"/>
            <p:cNvSpPr>
              <a:spLocks noEditPoints="1"/>
            </p:cNvSpPr>
            <p:nvPr/>
          </p:nvSpPr>
          <p:spPr bwMode="auto">
            <a:xfrm>
              <a:off x="4658574" y="322549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8" name="Freeform 41"/>
            <p:cNvSpPr>
              <a:spLocks noEditPoints="1"/>
            </p:cNvSpPr>
            <p:nvPr/>
          </p:nvSpPr>
          <p:spPr bwMode="auto">
            <a:xfrm>
              <a:off x="5602526"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19" name="Freeform 42"/>
            <p:cNvSpPr>
              <a:spLocks/>
            </p:cNvSpPr>
            <p:nvPr/>
          </p:nvSpPr>
          <p:spPr bwMode="auto">
            <a:xfrm>
              <a:off x="5777563" y="3225491"/>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0" name="Freeform 43"/>
            <p:cNvSpPr>
              <a:spLocks noEditPoints="1"/>
            </p:cNvSpPr>
            <p:nvPr/>
          </p:nvSpPr>
          <p:spPr bwMode="auto">
            <a:xfrm>
              <a:off x="5898840" y="3225491"/>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1" name="Freeform 44"/>
            <p:cNvSpPr>
              <a:spLocks/>
            </p:cNvSpPr>
            <p:nvPr/>
          </p:nvSpPr>
          <p:spPr bwMode="auto">
            <a:xfrm>
              <a:off x="6072627"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2" name="Freeform 45"/>
            <p:cNvSpPr>
              <a:spLocks noEditPoints="1"/>
            </p:cNvSpPr>
            <p:nvPr/>
          </p:nvSpPr>
          <p:spPr bwMode="auto">
            <a:xfrm>
              <a:off x="6195153" y="3225491"/>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3" name="Freeform 46"/>
            <p:cNvSpPr>
              <a:spLocks/>
            </p:cNvSpPr>
            <p:nvPr/>
          </p:nvSpPr>
          <p:spPr bwMode="auto">
            <a:xfrm>
              <a:off x="6368939" y="3225491"/>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4" name="Freeform 47"/>
            <p:cNvSpPr>
              <a:spLocks noEditPoints="1"/>
            </p:cNvSpPr>
            <p:nvPr/>
          </p:nvSpPr>
          <p:spPr bwMode="auto">
            <a:xfrm>
              <a:off x="6490215" y="3225491"/>
              <a:ext cx="133778" cy="189096"/>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5" name="Freeform 48"/>
            <p:cNvSpPr>
              <a:spLocks noEditPoints="1"/>
            </p:cNvSpPr>
            <p:nvPr/>
          </p:nvSpPr>
          <p:spPr bwMode="auto">
            <a:xfrm>
              <a:off x="6665252" y="322549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6" name="Freeform 49"/>
            <p:cNvSpPr>
              <a:spLocks/>
            </p:cNvSpPr>
            <p:nvPr/>
          </p:nvSpPr>
          <p:spPr bwMode="auto">
            <a:xfrm>
              <a:off x="6840291" y="3225491"/>
              <a:ext cx="76267" cy="18659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7" name="Freeform 50"/>
            <p:cNvSpPr>
              <a:spLocks/>
            </p:cNvSpPr>
            <p:nvPr/>
          </p:nvSpPr>
          <p:spPr bwMode="auto">
            <a:xfrm>
              <a:off x="6961566" y="3225491"/>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8" name="Freeform 51"/>
            <p:cNvSpPr>
              <a:spLocks/>
            </p:cNvSpPr>
            <p:nvPr/>
          </p:nvSpPr>
          <p:spPr bwMode="auto">
            <a:xfrm>
              <a:off x="7085343"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29" name="Freeform 52"/>
            <p:cNvSpPr>
              <a:spLocks noEditPoints="1"/>
            </p:cNvSpPr>
            <p:nvPr/>
          </p:nvSpPr>
          <p:spPr bwMode="auto">
            <a:xfrm>
              <a:off x="7206618" y="3225491"/>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0" name="Freeform 56"/>
            <p:cNvSpPr>
              <a:spLocks/>
            </p:cNvSpPr>
            <p:nvPr/>
          </p:nvSpPr>
          <p:spPr bwMode="auto">
            <a:xfrm>
              <a:off x="7801746"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1" name="Freeform 57"/>
            <p:cNvSpPr>
              <a:spLocks noEditPoints="1"/>
            </p:cNvSpPr>
            <p:nvPr/>
          </p:nvSpPr>
          <p:spPr bwMode="auto">
            <a:xfrm>
              <a:off x="7923022"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2" name="Freeform 58"/>
            <p:cNvSpPr>
              <a:spLocks/>
            </p:cNvSpPr>
            <p:nvPr/>
          </p:nvSpPr>
          <p:spPr bwMode="auto">
            <a:xfrm>
              <a:off x="8098059" y="322549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3" name="Freeform 59"/>
            <p:cNvSpPr>
              <a:spLocks/>
            </p:cNvSpPr>
            <p:nvPr/>
          </p:nvSpPr>
          <p:spPr bwMode="auto">
            <a:xfrm>
              <a:off x="4303498" y="3450903"/>
              <a:ext cx="76267" cy="184087"/>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4" name="Freeform 60"/>
            <p:cNvSpPr>
              <a:spLocks/>
            </p:cNvSpPr>
            <p:nvPr/>
          </p:nvSpPr>
          <p:spPr bwMode="auto">
            <a:xfrm>
              <a:off x="4424774" y="3450903"/>
              <a:ext cx="76267"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5" name="Freeform 61"/>
            <p:cNvSpPr>
              <a:spLocks/>
            </p:cNvSpPr>
            <p:nvPr/>
          </p:nvSpPr>
          <p:spPr bwMode="auto">
            <a:xfrm>
              <a:off x="4546051" y="3450903"/>
              <a:ext cx="80017" cy="184087"/>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6" name="Freeform 62"/>
            <p:cNvSpPr>
              <a:spLocks noEditPoints="1"/>
            </p:cNvSpPr>
            <p:nvPr/>
          </p:nvSpPr>
          <p:spPr bwMode="auto">
            <a:xfrm>
              <a:off x="4669826" y="3450903"/>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7" name="Freeform 63"/>
            <p:cNvSpPr>
              <a:spLocks noEditPoints="1"/>
            </p:cNvSpPr>
            <p:nvPr/>
          </p:nvSpPr>
          <p:spPr bwMode="auto">
            <a:xfrm>
              <a:off x="4841114" y="3450903"/>
              <a:ext cx="133778" cy="189096"/>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8" name="Freeform 64"/>
            <p:cNvSpPr>
              <a:spLocks/>
            </p:cNvSpPr>
            <p:nvPr/>
          </p:nvSpPr>
          <p:spPr bwMode="auto">
            <a:xfrm>
              <a:off x="5016151" y="3450903"/>
              <a:ext cx="80017" cy="184087"/>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39" name="Freeform 65"/>
            <p:cNvSpPr>
              <a:spLocks noEditPoints="1"/>
            </p:cNvSpPr>
            <p:nvPr/>
          </p:nvSpPr>
          <p:spPr bwMode="auto">
            <a:xfrm>
              <a:off x="5141178" y="345090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0" name="Freeform 66"/>
            <p:cNvSpPr>
              <a:spLocks/>
            </p:cNvSpPr>
            <p:nvPr/>
          </p:nvSpPr>
          <p:spPr bwMode="auto">
            <a:xfrm>
              <a:off x="5314964" y="3450903"/>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1" name="Freeform 67"/>
            <p:cNvSpPr>
              <a:spLocks noEditPoints="1"/>
            </p:cNvSpPr>
            <p:nvPr/>
          </p:nvSpPr>
          <p:spPr bwMode="auto">
            <a:xfrm>
              <a:off x="5436241" y="3450903"/>
              <a:ext cx="131279"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2" name="Freeform 68"/>
            <p:cNvSpPr>
              <a:spLocks noEditPoints="1"/>
            </p:cNvSpPr>
            <p:nvPr/>
          </p:nvSpPr>
          <p:spPr bwMode="auto">
            <a:xfrm>
              <a:off x="5611278"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3" name="Freeform 72"/>
            <p:cNvSpPr>
              <a:spLocks/>
            </p:cNvSpPr>
            <p:nvPr/>
          </p:nvSpPr>
          <p:spPr bwMode="auto">
            <a:xfrm>
              <a:off x="6206405" y="3450903"/>
              <a:ext cx="77516" cy="184087"/>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4" name="Freeform 73"/>
            <p:cNvSpPr>
              <a:spLocks noEditPoints="1"/>
            </p:cNvSpPr>
            <p:nvPr/>
          </p:nvSpPr>
          <p:spPr bwMode="auto">
            <a:xfrm>
              <a:off x="6327680" y="3450903"/>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5" name="Freeform 76"/>
            <p:cNvSpPr>
              <a:spLocks/>
            </p:cNvSpPr>
            <p:nvPr/>
          </p:nvSpPr>
          <p:spPr bwMode="auto">
            <a:xfrm>
              <a:off x="6799032" y="3450903"/>
              <a:ext cx="78768" cy="184087"/>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6" name="Freeform 77"/>
            <p:cNvSpPr>
              <a:spLocks/>
            </p:cNvSpPr>
            <p:nvPr/>
          </p:nvSpPr>
          <p:spPr bwMode="auto">
            <a:xfrm>
              <a:off x="6920307" y="3450903"/>
              <a:ext cx="80017" cy="184087"/>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7" name="Freeform 78"/>
            <p:cNvSpPr>
              <a:spLocks/>
            </p:cNvSpPr>
            <p:nvPr/>
          </p:nvSpPr>
          <p:spPr bwMode="auto">
            <a:xfrm>
              <a:off x="7041583" y="3450903"/>
              <a:ext cx="80017" cy="184087"/>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8" name="Freeform 79"/>
            <p:cNvSpPr>
              <a:spLocks noEditPoints="1"/>
            </p:cNvSpPr>
            <p:nvPr/>
          </p:nvSpPr>
          <p:spPr bwMode="auto">
            <a:xfrm>
              <a:off x="7165360"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49" name="Freeform 84"/>
            <p:cNvSpPr>
              <a:spLocks/>
            </p:cNvSpPr>
            <p:nvPr/>
          </p:nvSpPr>
          <p:spPr bwMode="auto">
            <a:xfrm>
              <a:off x="7931773" y="3450903"/>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0" name="Freeform 85"/>
            <p:cNvSpPr>
              <a:spLocks noEditPoints="1"/>
            </p:cNvSpPr>
            <p:nvPr/>
          </p:nvSpPr>
          <p:spPr bwMode="auto">
            <a:xfrm>
              <a:off x="8053049" y="3450903"/>
              <a:ext cx="133778" cy="189096"/>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1" name="Freeform 86"/>
            <p:cNvSpPr>
              <a:spLocks/>
            </p:cNvSpPr>
            <p:nvPr/>
          </p:nvSpPr>
          <p:spPr bwMode="auto">
            <a:xfrm>
              <a:off x="8230587" y="3494732"/>
              <a:ext cx="27506" cy="133995"/>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2" name="Freeform 87"/>
            <p:cNvSpPr>
              <a:spLocks/>
            </p:cNvSpPr>
            <p:nvPr/>
          </p:nvSpPr>
          <p:spPr bwMode="auto">
            <a:xfrm>
              <a:off x="4249737" y="3672557"/>
              <a:ext cx="80017" cy="18659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3" name="Freeform 88"/>
            <p:cNvSpPr>
              <a:spLocks noEditPoints="1"/>
            </p:cNvSpPr>
            <p:nvPr/>
          </p:nvSpPr>
          <p:spPr bwMode="auto">
            <a:xfrm>
              <a:off x="4371013" y="367631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4" name="Freeform 89"/>
            <p:cNvSpPr>
              <a:spLocks noEditPoints="1"/>
            </p:cNvSpPr>
            <p:nvPr/>
          </p:nvSpPr>
          <p:spPr bwMode="auto">
            <a:xfrm>
              <a:off x="4546051" y="3676314"/>
              <a:ext cx="13252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5" name="Freeform 90"/>
            <p:cNvSpPr>
              <a:spLocks/>
            </p:cNvSpPr>
            <p:nvPr/>
          </p:nvSpPr>
          <p:spPr bwMode="auto">
            <a:xfrm>
              <a:off x="4719838" y="3672557"/>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6" name="Freeform 96"/>
            <p:cNvSpPr>
              <a:spLocks/>
            </p:cNvSpPr>
            <p:nvPr/>
          </p:nvSpPr>
          <p:spPr bwMode="auto">
            <a:xfrm>
              <a:off x="5561267" y="3672557"/>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7" name="Freeform 97"/>
            <p:cNvSpPr>
              <a:spLocks/>
            </p:cNvSpPr>
            <p:nvPr/>
          </p:nvSpPr>
          <p:spPr bwMode="auto">
            <a:xfrm>
              <a:off x="5682542" y="3672557"/>
              <a:ext cx="76267" cy="18659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8" name="Freeform 101"/>
            <p:cNvSpPr>
              <a:spLocks/>
            </p:cNvSpPr>
            <p:nvPr/>
          </p:nvSpPr>
          <p:spPr bwMode="auto">
            <a:xfrm>
              <a:off x="6350565" y="3672557"/>
              <a:ext cx="80017" cy="18659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59" name="Freeform 105"/>
            <p:cNvSpPr>
              <a:spLocks noEditPoints="1"/>
            </p:cNvSpPr>
            <p:nvPr/>
          </p:nvSpPr>
          <p:spPr bwMode="auto">
            <a:xfrm>
              <a:off x="6920307" y="3676314"/>
              <a:ext cx="132528" cy="189096"/>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0" name="Freeform 106"/>
            <p:cNvSpPr>
              <a:spLocks/>
            </p:cNvSpPr>
            <p:nvPr/>
          </p:nvSpPr>
          <p:spPr bwMode="auto">
            <a:xfrm>
              <a:off x="7094094" y="3672557"/>
              <a:ext cx="80017" cy="18659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1" name="Freeform 107"/>
            <p:cNvSpPr>
              <a:spLocks noEditPoints="1"/>
            </p:cNvSpPr>
            <p:nvPr/>
          </p:nvSpPr>
          <p:spPr bwMode="auto">
            <a:xfrm>
              <a:off x="7219121"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2" name="Freeform 108"/>
            <p:cNvSpPr>
              <a:spLocks noEditPoints="1"/>
            </p:cNvSpPr>
            <p:nvPr/>
          </p:nvSpPr>
          <p:spPr bwMode="auto">
            <a:xfrm>
              <a:off x="7392908" y="3676314"/>
              <a:ext cx="131279"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3" name="Freeform 109"/>
            <p:cNvSpPr>
              <a:spLocks noEditPoints="1"/>
            </p:cNvSpPr>
            <p:nvPr/>
          </p:nvSpPr>
          <p:spPr bwMode="auto">
            <a:xfrm>
              <a:off x="7567946"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4" name="Freeform 110"/>
            <p:cNvSpPr>
              <a:spLocks/>
            </p:cNvSpPr>
            <p:nvPr/>
          </p:nvSpPr>
          <p:spPr bwMode="auto">
            <a:xfrm>
              <a:off x="7739232" y="3672557"/>
              <a:ext cx="80017" cy="18659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5" name="Freeform 111"/>
            <p:cNvSpPr>
              <a:spLocks noEditPoints="1"/>
            </p:cNvSpPr>
            <p:nvPr/>
          </p:nvSpPr>
          <p:spPr bwMode="auto">
            <a:xfrm>
              <a:off x="7864259" y="3676314"/>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6" name="Freeform 112"/>
            <p:cNvSpPr>
              <a:spLocks/>
            </p:cNvSpPr>
            <p:nvPr/>
          </p:nvSpPr>
          <p:spPr bwMode="auto">
            <a:xfrm>
              <a:off x="8039296" y="3672557"/>
              <a:ext cx="78768"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7" name="Freeform 113"/>
            <p:cNvSpPr>
              <a:spLocks noEditPoints="1"/>
            </p:cNvSpPr>
            <p:nvPr/>
          </p:nvSpPr>
          <p:spPr bwMode="auto">
            <a:xfrm>
              <a:off x="8160572" y="3676314"/>
              <a:ext cx="112524" cy="189096"/>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8" name="Freeform 467"/>
            <p:cNvSpPr>
              <a:spLocks noEditPoints="1"/>
            </p:cNvSpPr>
            <p:nvPr/>
          </p:nvSpPr>
          <p:spPr bwMode="auto">
            <a:xfrm>
              <a:off x="4711087"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69" name="Freeform 123"/>
            <p:cNvSpPr>
              <a:spLocks noEditPoints="1"/>
            </p:cNvSpPr>
            <p:nvPr/>
          </p:nvSpPr>
          <p:spPr bwMode="auto">
            <a:xfrm>
              <a:off x="5531262" y="3897969"/>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0" name="Freeform 124"/>
            <p:cNvSpPr>
              <a:spLocks/>
            </p:cNvSpPr>
            <p:nvPr/>
          </p:nvSpPr>
          <p:spPr bwMode="auto">
            <a:xfrm>
              <a:off x="5706299" y="3897969"/>
              <a:ext cx="76267" cy="18659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1" name="Freeform 125"/>
            <p:cNvSpPr>
              <a:spLocks noEditPoints="1"/>
            </p:cNvSpPr>
            <p:nvPr/>
          </p:nvSpPr>
          <p:spPr bwMode="auto">
            <a:xfrm>
              <a:off x="5827574" y="3897969"/>
              <a:ext cx="130027" cy="19285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2" name="Freeform 126"/>
            <p:cNvSpPr>
              <a:spLocks noEditPoints="1"/>
            </p:cNvSpPr>
            <p:nvPr/>
          </p:nvSpPr>
          <p:spPr bwMode="auto">
            <a:xfrm>
              <a:off x="6002611" y="389796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3" name="Freeform 127"/>
            <p:cNvSpPr>
              <a:spLocks noEditPoints="1"/>
            </p:cNvSpPr>
            <p:nvPr/>
          </p:nvSpPr>
          <p:spPr bwMode="auto">
            <a:xfrm>
              <a:off x="6176398" y="389796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4" name="Freeform 128"/>
            <p:cNvSpPr>
              <a:spLocks/>
            </p:cNvSpPr>
            <p:nvPr/>
          </p:nvSpPr>
          <p:spPr bwMode="auto">
            <a:xfrm>
              <a:off x="6351437" y="389796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5" name="Freeform 129"/>
            <p:cNvSpPr>
              <a:spLocks noEditPoints="1"/>
            </p:cNvSpPr>
            <p:nvPr/>
          </p:nvSpPr>
          <p:spPr bwMode="auto">
            <a:xfrm>
              <a:off x="6472712" y="3897969"/>
              <a:ext cx="130027" cy="19285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6" name="Freeform 130"/>
            <p:cNvSpPr>
              <a:spLocks/>
            </p:cNvSpPr>
            <p:nvPr/>
          </p:nvSpPr>
          <p:spPr bwMode="auto">
            <a:xfrm>
              <a:off x="6647749"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7" name="Freeform 136"/>
            <p:cNvSpPr>
              <a:spLocks/>
            </p:cNvSpPr>
            <p:nvPr/>
          </p:nvSpPr>
          <p:spPr bwMode="auto">
            <a:xfrm>
              <a:off x="7537939" y="3897969"/>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8" name="Freeform 137"/>
            <p:cNvSpPr>
              <a:spLocks noEditPoints="1"/>
            </p:cNvSpPr>
            <p:nvPr/>
          </p:nvSpPr>
          <p:spPr bwMode="auto">
            <a:xfrm>
              <a:off x="7662966" y="3897969"/>
              <a:ext cx="130027" cy="19285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79" name="Freeform 138"/>
            <p:cNvSpPr>
              <a:spLocks/>
            </p:cNvSpPr>
            <p:nvPr/>
          </p:nvSpPr>
          <p:spPr bwMode="auto">
            <a:xfrm>
              <a:off x="7838003" y="3897969"/>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0" name="Freeform 139"/>
            <p:cNvSpPr>
              <a:spLocks noEditPoints="1"/>
            </p:cNvSpPr>
            <p:nvPr/>
          </p:nvSpPr>
          <p:spPr bwMode="auto">
            <a:xfrm>
              <a:off x="7959279"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1" name="Freeform 140"/>
            <p:cNvSpPr>
              <a:spLocks/>
            </p:cNvSpPr>
            <p:nvPr/>
          </p:nvSpPr>
          <p:spPr bwMode="auto">
            <a:xfrm>
              <a:off x="8130565" y="3897969"/>
              <a:ext cx="80017"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2" name="Freeform 141"/>
            <p:cNvSpPr>
              <a:spLocks/>
            </p:cNvSpPr>
            <p:nvPr/>
          </p:nvSpPr>
          <p:spPr bwMode="auto">
            <a:xfrm>
              <a:off x="4489788" y="2798460"/>
              <a:ext cx="41259" cy="162797"/>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3" name="Freeform 142"/>
            <p:cNvSpPr>
              <a:spLocks noEditPoints="1"/>
            </p:cNvSpPr>
            <p:nvPr/>
          </p:nvSpPr>
          <p:spPr bwMode="auto">
            <a:xfrm>
              <a:off x="4572305" y="2774668"/>
              <a:ext cx="133778" cy="19285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4" name="Freeform 143"/>
            <p:cNvSpPr>
              <a:spLocks/>
            </p:cNvSpPr>
            <p:nvPr/>
          </p:nvSpPr>
          <p:spPr bwMode="auto">
            <a:xfrm>
              <a:off x="4749843"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5" name="Freeform 148"/>
            <p:cNvSpPr>
              <a:spLocks noEditPoints="1"/>
            </p:cNvSpPr>
            <p:nvPr/>
          </p:nvSpPr>
          <p:spPr bwMode="auto">
            <a:xfrm>
              <a:off x="5463747" y="2774668"/>
              <a:ext cx="132528" cy="19285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6" name="Freeform 152"/>
            <p:cNvSpPr>
              <a:spLocks noEditPoints="1"/>
            </p:cNvSpPr>
            <p:nvPr/>
          </p:nvSpPr>
          <p:spPr bwMode="auto">
            <a:xfrm>
              <a:off x="6111385" y="2774668"/>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7" name="Freeform 153"/>
            <p:cNvSpPr>
              <a:spLocks/>
            </p:cNvSpPr>
            <p:nvPr/>
          </p:nvSpPr>
          <p:spPr bwMode="auto">
            <a:xfrm>
              <a:off x="6283922"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8" name="Freeform 157"/>
            <p:cNvSpPr>
              <a:spLocks/>
            </p:cNvSpPr>
            <p:nvPr/>
          </p:nvSpPr>
          <p:spPr bwMode="auto">
            <a:xfrm>
              <a:off x="6877798"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89" name="Freeform 158"/>
            <p:cNvSpPr>
              <a:spLocks noEditPoints="1"/>
            </p:cNvSpPr>
            <p:nvPr/>
          </p:nvSpPr>
          <p:spPr bwMode="auto">
            <a:xfrm>
              <a:off x="7000324" y="2774668"/>
              <a:ext cx="130027"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0" name="Freeform 159"/>
            <p:cNvSpPr>
              <a:spLocks noEditPoints="1"/>
            </p:cNvSpPr>
            <p:nvPr/>
          </p:nvSpPr>
          <p:spPr bwMode="auto">
            <a:xfrm>
              <a:off x="7174112" y="2774668"/>
              <a:ext cx="133778" cy="19285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1" name="Freeform 160"/>
            <p:cNvSpPr>
              <a:spLocks/>
            </p:cNvSpPr>
            <p:nvPr/>
          </p:nvSpPr>
          <p:spPr bwMode="auto">
            <a:xfrm>
              <a:off x="7349149" y="277466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2" name="Freeform 161"/>
            <p:cNvSpPr>
              <a:spLocks/>
            </p:cNvSpPr>
            <p:nvPr/>
          </p:nvSpPr>
          <p:spPr bwMode="auto">
            <a:xfrm>
              <a:off x="7472924"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3" name="Freeform 162"/>
            <p:cNvSpPr>
              <a:spLocks/>
            </p:cNvSpPr>
            <p:nvPr/>
          </p:nvSpPr>
          <p:spPr bwMode="auto">
            <a:xfrm>
              <a:off x="7594202"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4" name="Freeform 163"/>
            <p:cNvSpPr>
              <a:spLocks noEditPoints="1"/>
            </p:cNvSpPr>
            <p:nvPr/>
          </p:nvSpPr>
          <p:spPr bwMode="auto">
            <a:xfrm>
              <a:off x="7715477" y="2774668"/>
              <a:ext cx="131279"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5" name="Freeform 164"/>
            <p:cNvSpPr>
              <a:spLocks noEditPoints="1"/>
            </p:cNvSpPr>
            <p:nvPr/>
          </p:nvSpPr>
          <p:spPr bwMode="auto">
            <a:xfrm>
              <a:off x="7890514" y="277842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6" name="Freeform 169"/>
            <p:cNvSpPr>
              <a:spLocks/>
            </p:cNvSpPr>
            <p:nvPr/>
          </p:nvSpPr>
          <p:spPr bwMode="auto">
            <a:xfrm>
              <a:off x="4786102" y="4123381"/>
              <a:ext cx="78768" cy="18659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7" name="Freeform 170"/>
            <p:cNvSpPr>
              <a:spLocks/>
            </p:cNvSpPr>
            <p:nvPr/>
          </p:nvSpPr>
          <p:spPr bwMode="auto">
            <a:xfrm>
              <a:off x="4909878"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8" name="Freeform 171"/>
            <p:cNvSpPr>
              <a:spLocks/>
            </p:cNvSpPr>
            <p:nvPr/>
          </p:nvSpPr>
          <p:spPr bwMode="auto">
            <a:xfrm>
              <a:off x="5031154"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499" name="Freeform 172"/>
            <p:cNvSpPr>
              <a:spLocks noEditPoints="1"/>
            </p:cNvSpPr>
            <p:nvPr/>
          </p:nvSpPr>
          <p:spPr bwMode="auto">
            <a:xfrm>
              <a:off x="5152430" y="4123381"/>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0" name="Freeform 173"/>
            <p:cNvSpPr>
              <a:spLocks/>
            </p:cNvSpPr>
            <p:nvPr/>
          </p:nvSpPr>
          <p:spPr bwMode="auto">
            <a:xfrm>
              <a:off x="5327467" y="4123381"/>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1" name="Freeform 174"/>
            <p:cNvSpPr>
              <a:spLocks noEditPoints="1"/>
            </p:cNvSpPr>
            <p:nvPr/>
          </p:nvSpPr>
          <p:spPr bwMode="auto">
            <a:xfrm>
              <a:off x="5451243" y="4123381"/>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2" name="Freeform 178"/>
            <p:cNvSpPr>
              <a:spLocks noEditPoints="1"/>
            </p:cNvSpPr>
            <p:nvPr/>
          </p:nvSpPr>
          <p:spPr bwMode="auto">
            <a:xfrm>
              <a:off x="6096381" y="4123381"/>
              <a:ext cx="131279"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3" name="Freeform 179"/>
            <p:cNvSpPr>
              <a:spLocks noEditPoints="1"/>
            </p:cNvSpPr>
            <p:nvPr/>
          </p:nvSpPr>
          <p:spPr bwMode="auto">
            <a:xfrm>
              <a:off x="6271420"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4" name="Freeform 180"/>
            <p:cNvSpPr>
              <a:spLocks/>
            </p:cNvSpPr>
            <p:nvPr/>
          </p:nvSpPr>
          <p:spPr bwMode="auto">
            <a:xfrm>
              <a:off x="6446457" y="4123381"/>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5" name="Freeform 188"/>
            <p:cNvSpPr>
              <a:spLocks/>
            </p:cNvSpPr>
            <p:nvPr/>
          </p:nvSpPr>
          <p:spPr bwMode="auto">
            <a:xfrm>
              <a:off x="7686721"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6" name="Freeform 189"/>
            <p:cNvSpPr>
              <a:spLocks noEditPoints="1"/>
            </p:cNvSpPr>
            <p:nvPr/>
          </p:nvSpPr>
          <p:spPr bwMode="auto">
            <a:xfrm>
              <a:off x="7807997"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7" name="Freeform 190"/>
            <p:cNvSpPr>
              <a:spLocks/>
            </p:cNvSpPr>
            <p:nvPr/>
          </p:nvSpPr>
          <p:spPr bwMode="auto">
            <a:xfrm>
              <a:off x="7983034"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8" name="Freeform 191"/>
            <p:cNvSpPr>
              <a:spLocks noEditPoints="1"/>
            </p:cNvSpPr>
            <p:nvPr/>
          </p:nvSpPr>
          <p:spPr bwMode="auto">
            <a:xfrm>
              <a:off x="8104311" y="4123381"/>
              <a:ext cx="130027"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09" name="Freeform 192"/>
            <p:cNvSpPr>
              <a:spLocks/>
            </p:cNvSpPr>
            <p:nvPr/>
          </p:nvSpPr>
          <p:spPr bwMode="auto">
            <a:xfrm>
              <a:off x="4602312" y="2638167"/>
              <a:ext cx="41259" cy="101435"/>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0" name="Freeform 193"/>
            <p:cNvSpPr>
              <a:spLocks noEditPoints="1"/>
            </p:cNvSpPr>
            <p:nvPr/>
          </p:nvSpPr>
          <p:spPr bwMode="auto">
            <a:xfrm>
              <a:off x="4687330" y="2553012"/>
              <a:ext cx="131279"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1" name="Freeform 194"/>
            <p:cNvSpPr>
              <a:spLocks/>
            </p:cNvSpPr>
            <p:nvPr/>
          </p:nvSpPr>
          <p:spPr bwMode="auto">
            <a:xfrm>
              <a:off x="4862367" y="2553012"/>
              <a:ext cx="77516" cy="18659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2" name="Freeform 195"/>
            <p:cNvSpPr>
              <a:spLocks noEditPoints="1"/>
            </p:cNvSpPr>
            <p:nvPr/>
          </p:nvSpPr>
          <p:spPr bwMode="auto">
            <a:xfrm>
              <a:off x="4983645" y="2553012"/>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3" name="Freeform 196"/>
            <p:cNvSpPr>
              <a:spLocks/>
            </p:cNvSpPr>
            <p:nvPr/>
          </p:nvSpPr>
          <p:spPr bwMode="auto">
            <a:xfrm>
              <a:off x="5158682" y="2553012"/>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4" name="Freeform 197"/>
            <p:cNvSpPr>
              <a:spLocks/>
            </p:cNvSpPr>
            <p:nvPr/>
          </p:nvSpPr>
          <p:spPr bwMode="auto">
            <a:xfrm>
              <a:off x="5282458" y="2553012"/>
              <a:ext cx="77516" cy="18659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5" name="Freeform 202"/>
            <p:cNvSpPr>
              <a:spLocks/>
            </p:cNvSpPr>
            <p:nvPr/>
          </p:nvSpPr>
          <p:spPr bwMode="auto">
            <a:xfrm>
              <a:off x="6002711"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6" name="Freeform 203"/>
            <p:cNvSpPr>
              <a:spLocks noEditPoints="1"/>
            </p:cNvSpPr>
            <p:nvPr/>
          </p:nvSpPr>
          <p:spPr bwMode="auto">
            <a:xfrm>
              <a:off x="6129661" y="2553012"/>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7" name="Freeform 204"/>
            <p:cNvSpPr>
              <a:spLocks/>
            </p:cNvSpPr>
            <p:nvPr/>
          </p:nvSpPr>
          <p:spPr bwMode="auto">
            <a:xfrm>
              <a:off x="6292674"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8" name="Freeform 209"/>
            <p:cNvSpPr>
              <a:spLocks noEditPoints="1"/>
            </p:cNvSpPr>
            <p:nvPr/>
          </p:nvSpPr>
          <p:spPr bwMode="auto">
            <a:xfrm>
              <a:off x="6872560" y="2553012"/>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19" name="Freeform 213"/>
            <p:cNvSpPr>
              <a:spLocks/>
            </p:cNvSpPr>
            <p:nvPr/>
          </p:nvSpPr>
          <p:spPr bwMode="auto">
            <a:xfrm>
              <a:off x="7532938" y="2553012"/>
              <a:ext cx="80017" cy="18659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0" name="Freeform 214"/>
            <p:cNvSpPr>
              <a:spLocks noEditPoints="1"/>
            </p:cNvSpPr>
            <p:nvPr/>
          </p:nvSpPr>
          <p:spPr bwMode="auto">
            <a:xfrm>
              <a:off x="7656714" y="2553012"/>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1" name="Freeform 215"/>
            <p:cNvSpPr>
              <a:spLocks/>
            </p:cNvSpPr>
            <p:nvPr/>
          </p:nvSpPr>
          <p:spPr bwMode="auto">
            <a:xfrm>
              <a:off x="7866760" y="2661961"/>
              <a:ext cx="41259" cy="77641"/>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2" name="Freeform 216"/>
            <p:cNvSpPr>
              <a:spLocks/>
            </p:cNvSpPr>
            <p:nvPr/>
          </p:nvSpPr>
          <p:spPr bwMode="auto">
            <a:xfrm>
              <a:off x="4743593" y="2466606"/>
              <a:ext cx="47511" cy="50092"/>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3" name="Freeform 217"/>
            <p:cNvSpPr>
              <a:spLocks/>
            </p:cNvSpPr>
            <p:nvPr/>
          </p:nvSpPr>
          <p:spPr bwMode="auto">
            <a:xfrm>
              <a:off x="4877371" y="2345132"/>
              <a:ext cx="41259" cy="169060"/>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4" name="Freeform 218"/>
            <p:cNvSpPr>
              <a:spLocks noEditPoints="1"/>
            </p:cNvSpPr>
            <p:nvPr/>
          </p:nvSpPr>
          <p:spPr bwMode="auto">
            <a:xfrm>
              <a:off x="4963640"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5" name="Freeform 219"/>
            <p:cNvSpPr>
              <a:spLocks noEditPoints="1"/>
            </p:cNvSpPr>
            <p:nvPr/>
          </p:nvSpPr>
          <p:spPr bwMode="auto">
            <a:xfrm>
              <a:off x="5137426"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6" name="Freeform 220"/>
            <p:cNvSpPr>
              <a:spLocks/>
            </p:cNvSpPr>
            <p:nvPr/>
          </p:nvSpPr>
          <p:spPr bwMode="auto">
            <a:xfrm>
              <a:off x="5312463" y="2327601"/>
              <a:ext cx="77516" cy="18659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7" name="Freeform 224"/>
            <p:cNvSpPr>
              <a:spLocks noEditPoints="1"/>
            </p:cNvSpPr>
            <p:nvPr/>
          </p:nvSpPr>
          <p:spPr bwMode="auto">
            <a:xfrm>
              <a:off x="5853830" y="2327601"/>
              <a:ext cx="130027"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8" name="Freeform 225"/>
            <p:cNvSpPr>
              <a:spLocks/>
            </p:cNvSpPr>
            <p:nvPr/>
          </p:nvSpPr>
          <p:spPr bwMode="auto">
            <a:xfrm>
              <a:off x="6028867" y="232760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29" name="Freeform 226"/>
            <p:cNvSpPr>
              <a:spLocks noEditPoints="1"/>
            </p:cNvSpPr>
            <p:nvPr/>
          </p:nvSpPr>
          <p:spPr bwMode="auto">
            <a:xfrm>
              <a:off x="6150143" y="232760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0" name="Freeform 227"/>
            <p:cNvSpPr>
              <a:spLocks/>
            </p:cNvSpPr>
            <p:nvPr/>
          </p:nvSpPr>
          <p:spPr bwMode="auto">
            <a:xfrm>
              <a:off x="6325180" y="2327601"/>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1" name="Freeform 228"/>
            <p:cNvSpPr>
              <a:spLocks/>
            </p:cNvSpPr>
            <p:nvPr/>
          </p:nvSpPr>
          <p:spPr bwMode="auto">
            <a:xfrm>
              <a:off x="6446457" y="2327601"/>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2" name="Freeform 229"/>
            <p:cNvSpPr>
              <a:spLocks/>
            </p:cNvSpPr>
            <p:nvPr/>
          </p:nvSpPr>
          <p:spPr bwMode="auto">
            <a:xfrm>
              <a:off x="6567732" y="2327601"/>
              <a:ext cx="80017" cy="18659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3" name="Freeform 230"/>
            <p:cNvSpPr>
              <a:spLocks noEditPoints="1"/>
            </p:cNvSpPr>
            <p:nvPr/>
          </p:nvSpPr>
          <p:spPr bwMode="auto">
            <a:xfrm>
              <a:off x="6691509" y="232760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4" name="Freeform 231"/>
            <p:cNvSpPr>
              <a:spLocks/>
            </p:cNvSpPr>
            <p:nvPr/>
          </p:nvSpPr>
          <p:spPr bwMode="auto">
            <a:xfrm>
              <a:off x="6866546" y="2327601"/>
              <a:ext cx="80017" cy="18659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5" name="Freeform 235"/>
            <p:cNvSpPr>
              <a:spLocks/>
            </p:cNvSpPr>
            <p:nvPr/>
          </p:nvSpPr>
          <p:spPr bwMode="auto">
            <a:xfrm>
              <a:off x="7457923" y="2327601"/>
              <a:ext cx="80017" cy="18659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6" name="Freeform 236"/>
            <p:cNvSpPr>
              <a:spLocks/>
            </p:cNvSpPr>
            <p:nvPr/>
          </p:nvSpPr>
          <p:spPr bwMode="auto">
            <a:xfrm>
              <a:off x="7582948" y="2362665"/>
              <a:ext cx="123776" cy="154032"/>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7" name="Freeform 237"/>
            <p:cNvSpPr>
              <a:spLocks/>
            </p:cNvSpPr>
            <p:nvPr/>
          </p:nvSpPr>
          <p:spPr bwMode="auto">
            <a:xfrm>
              <a:off x="4987394" y="2286276"/>
              <a:ext cx="5002" cy="2504"/>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8" name="Freeform 238"/>
            <p:cNvSpPr>
              <a:spLocks/>
            </p:cNvSpPr>
            <p:nvPr/>
          </p:nvSpPr>
          <p:spPr bwMode="auto">
            <a:xfrm>
              <a:off x="5039905" y="2164804"/>
              <a:ext cx="127528" cy="130238"/>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39" name="Freeform 239"/>
            <p:cNvSpPr>
              <a:spLocks/>
            </p:cNvSpPr>
            <p:nvPr/>
          </p:nvSpPr>
          <p:spPr bwMode="auto">
            <a:xfrm>
              <a:off x="5211193" y="2102189"/>
              <a:ext cx="77516" cy="18659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0" name="Freeform 240"/>
            <p:cNvSpPr>
              <a:spLocks noEditPoints="1"/>
            </p:cNvSpPr>
            <p:nvPr/>
          </p:nvSpPr>
          <p:spPr bwMode="auto">
            <a:xfrm>
              <a:off x="5333719" y="2102189"/>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1" name="Freeform 241"/>
            <p:cNvSpPr>
              <a:spLocks/>
            </p:cNvSpPr>
            <p:nvPr/>
          </p:nvSpPr>
          <p:spPr bwMode="auto">
            <a:xfrm>
              <a:off x="5507505" y="2102189"/>
              <a:ext cx="77516" cy="18659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2" name="Freeform 242"/>
            <p:cNvSpPr>
              <a:spLocks/>
            </p:cNvSpPr>
            <p:nvPr/>
          </p:nvSpPr>
          <p:spPr bwMode="auto">
            <a:xfrm>
              <a:off x="5628781" y="2102189"/>
              <a:ext cx="80017" cy="18659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3" name="Freeform 243"/>
            <p:cNvSpPr>
              <a:spLocks/>
            </p:cNvSpPr>
            <p:nvPr/>
          </p:nvSpPr>
          <p:spPr bwMode="auto">
            <a:xfrm>
              <a:off x="5750057"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4" name="Freeform 247"/>
            <p:cNvSpPr>
              <a:spLocks/>
            </p:cNvSpPr>
            <p:nvPr/>
          </p:nvSpPr>
          <p:spPr bwMode="auto">
            <a:xfrm>
              <a:off x="6345185" y="2102189"/>
              <a:ext cx="77516" cy="18659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5" name="Freeform 248"/>
            <p:cNvSpPr>
              <a:spLocks noEditPoints="1"/>
            </p:cNvSpPr>
            <p:nvPr/>
          </p:nvSpPr>
          <p:spPr bwMode="auto">
            <a:xfrm>
              <a:off x="6466460" y="2102189"/>
              <a:ext cx="131279" cy="19285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6" name="Freeform 251"/>
            <p:cNvSpPr>
              <a:spLocks noEditPoints="1"/>
            </p:cNvSpPr>
            <p:nvPr/>
          </p:nvSpPr>
          <p:spPr bwMode="auto">
            <a:xfrm>
              <a:off x="6937812" y="2102189"/>
              <a:ext cx="130027" cy="19285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7" name="Freeform 252"/>
            <p:cNvSpPr>
              <a:spLocks/>
            </p:cNvSpPr>
            <p:nvPr/>
          </p:nvSpPr>
          <p:spPr bwMode="auto">
            <a:xfrm>
              <a:off x="7111598"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8" name="Freeform 253"/>
            <p:cNvSpPr>
              <a:spLocks/>
            </p:cNvSpPr>
            <p:nvPr/>
          </p:nvSpPr>
          <p:spPr bwMode="auto">
            <a:xfrm>
              <a:off x="7236625" y="2119722"/>
              <a:ext cx="130027" cy="175321"/>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49" name="Freeform 254"/>
            <p:cNvSpPr>
              <a:spLocks/>
            </p:cNvSpPr>
            <p:nvPr/>
          </p:nvSpPr>
          <p:spPr bwMode="auto">
            <a:xfrm>
              <a:off x="7411662" y="2217400"/>
              <a:ext cx="93770" cy="77641"/>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0" name="Freeform 255"/>
            <p:cNvSpPr>
              <a:spLocks/>
            </p:cNvSpPr>
            <p:nvPr/>
          </p:nvSpPr>
          <p:spPr bwMode="auto">
            <a:xfrm>
              <a:off x="5442492" y="1998250"/>
              <a:ext cx="41259" cy="65119"/>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1" name="Freeform 256"/>
            <p:cNvSpPr>
              <a:spLocks/>
            </p:cNvSpPr>
            <p:nvPr/>
          </p:nvSpPr>
          <p:spPr bwMode="auto">
            <a:xfrm>
              <a:off x="5528761" y="1935635"/>
              <a:ext cx="130027" cy="133995"/>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2" name="Freeform 257"/>
            <p:cNvSpPr>
              <a:spLocks noEditPoints="1"/>
            </p:cNvSpPr>
            <p:nvPr/>
          </p:nvSpPr>
          <p:spPr bwMode="auto">
            <a:xfrm>
              <a:off x="5700047" y="1894309"/>
              <a:ext cx="133778" cy="175321"/>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3" name="Freeform 262"/>
            <p:cNvSpPr>
              <a:spLocks noEditPoints="1"/>
            </p:cNvSpPr>
            <p:nvPr/>
          </p:nvSpPr>
          <p:spPr bwMode="auto">
            <a:xfrm>
              <a:off x="6416450"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4" name="Freeform 263"/>
            <p:cNvSpPr>
              <a:spLocks/>
            </p:cNvSpPr>
            <p:nvPr/>
          </p:nvSpPr>
          <p:spPr bwMode="auto">
            <a:xfrm>
              <a:off x="6591487" y="1885543"/>
              <a:ext cx="76267" cy="177824"/>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5" name="Freeform 265"/>
            <p:cNvSpPr>
              <a:spLocks/>
            </p:cNvSpPr>
            <p:nvPr/>
          </p:nvSpPr>
          <p:spPr bwMode="auto">
            <a:xfrm>
              <a:off x="6836539" y="1935635"/>
              <a:ext cx="8753" cy="3757"/>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6" name="Freeform 266"/>
            <p:cNvSpPr>
              <a:spLocks/>
            </p:cNvSpPr>
            <p:nvPr/>
          </p:nvSpPr>
          <p:spPr bwMode="auto">
            <a:xfrm>
              <a:off x="6872797" y="1948158"/>
              <a:ext cx="41259" cy="115211"/>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7" name="Freeform 267"/>
            <p:cNvSpPr>
              <a:spLocks/>
            </p:cNvSpPr>
            <p:nvPr/>
          </p:nvSpPr>
          <p:spPr bwMode="auto">
            <a:xfrm>
              <a:off x="6957815" y="1976960"/>
              <a:ext cx="121276" cy="92669"/>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8" name="Freeform 268"/>
            <p:cNvSpPr>
              <a:spLocks/>
            </p:cNvSpPr>
            <p:nvPr/>
          </p:nvSpPr>
          <p:spPr bwMode="auto">
            <a:xfrm>
              <a:off x="4279744" y="4348792"/>
              <a:ext cx="58763" cy="184087"/>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59" name="Freeform 269"/>
            <p:cNvSpPr>
              <a:spLocks noEditPoints="1"/>
            </p:cNvSpPr>
            <p:nvPr/>
          </p:nvSpPr>
          <p:spPr bwMode="auto">
            <a:xfrm>
              <a:off x="4383515" y="4348792"/>
              <a:ext cx="130027" cy="189096"/>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0" name="Freeform 270"/>
            <p:cNvSpPr>
              <a:spLocks/>
            </p:cNvSpPr>
            <p:nvPr/>
          </p:nvSpPr>
          <p:spPr bwMode="auto">
            <a:xfrm>
              <a:off x="4557303" y="4348792"/>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1" name="Freeform 271"/>
            <p:cNvSpPr>
              <a:spLocks noEditPoints="1"/>
            </p:cNvSpPr>
            <p:nvPr/>
          </p:nvSpPr>
          <p:spPr bwMode="auto">
            <a:xfrm>
              <a:off x="4678579" y="4348792"/>
              <a:ext cx="133778" cy="189096"/>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2" name="Freeform 272"/>
            <p:cNvSpPr>
              <a:spLocks/>
            </p:cNvSpPr>
            <p:nvPr/>
          </p:nvSpPr>
          <p:spPr bwMode="auto">
            <a:xfrm>
              <a:off x="4856117"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3" name="Freeform 273"/>
            <p:cNvSpPr>
              <a:spLocks/>
            </p:cNvSpPr>
            <p:nvPr/>
          </p:nvSpPr>
          <p:spPr bwMode="auto">
            <a:xfrm>
              <a:off x="4977393"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4" name="Freeform 274"/>
            <p:cNvSpPr>
              <a:spLocks/>
            </p:cNvSpPr>
            <p:nvPr/>
          </p:nvSpPr>
          <p:spPr bwMode="auto">
            <a:xfrm>
              <a:off x="5098668"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5" name="Freeform 275"/>
            <p:cNvSpPr>
              <a:spLocks noEditPoints="1"/>
            </p:cNvSpPr>
            <p:nvPr/>
          </p:nvSpPr>
          <p:spPr bwMode="auto">
            <a:xfrm>
              <a:off x="5221194"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6" name="Freeform 281"/>
            <p:cNvSpPr>
              <a:spLocks noEditPoints="1"/>
            </p:cNvSpPr>
            <p:nvPr/>
          </p:nvSpPr>
          <p:spPr bwMode="auto">
            <a:xfrm>
              <a:off x="6111385" y="4348792"/>
              <a:ext cx="130027"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7" name="Freeform 282"/>
            <p:cNvSpPr>
              <a:spLocks noEditPoints="1"/>
            </p:cNvSpPr>
            <p:nvPr/>
          </p:nvSpPr>
          <p:spPr bwMode="auto">
            <a:xfrm>
              <a:off x="6286422"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8" name="Freeform 283"/>
            <p:cNvSpPr>
              <a:spLocks/>
            </p:cNvSpPr>
            <p:nvPr/>
          </p:nvSpPr>
          <p:spPr bwMode="auto">
            <a:xfrm>
              <a:off x="6461460" y="4348792"/>
              <a:ext cx="76267"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69" name="Freeform 291"/>
            <p:cNvSpPr>
              <a:spLocks noEditPoints="1"/>
            </p:cNvSpPr>
            <p:nvPr/>
          </p:nvSpPr>
          <p:spPr bwMode="auto">
            <a:xfrm>
              <a:off x="7647963"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0" name="Freeform 295"/>
            <p:cNvSpPr>
              <a:spLocks/>
            </p:cNvSpPr>
            <p:nvPr/>
          </p:nvSpPr>
          <p:spPr bwMode="auto">
            <a:xfrm>
              <a:off x="4344757" y="4571698"/>
              <a:ext cx="82518" cy="165302"/>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1" name="Freeform 296"/>
            <p:cNvSpPr>
              <a:spLocks noEditPoints="1"/>
            </p:cNvSpPr>
            <p:nvPr/>
          </p:nvSpPr>
          <p:spPr bwMode="auto">
            <a:xfrm>
              <a:off x="4472285"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2" name="Freeform 297"/>
            <p:cNvSpPr>
              <a:spLocks/>
            </p:cNvSpPr>
            <p:nvPr/>
          </p:nvSpPr>
          <p:spPr bwMode="auto">
            <a:xfrm>
              <a:off x="4646072" y="457169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3" name="Freeform 298"/>
            <p:cNvSpPr>
              <a:spLocks noEditPoints="1"/>
            </p:cNvSpPr>
            <p:nvPr/>
          </p:nvSpPr>
          <p:spPr bwMode="auto">
            <a:xfrm>
              <a:off x="4778071" y="4571698"/>
              <a:ext cx="130027" cy="191600"/>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4" name="Freeform 299"/>
            <p:cNvSpPr>
              <a:spLocks/>
            </p:cNvSpPr>
            <p:nvPr/>
          </p:nvSpPr>
          <p:spPr bwMode="auto">
            <a:xfrm>
              <a:off x="4955692" y="457169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5" name="Freeform 303"/>
            <p:cNvSpPr>
              <a:spLocks noEditPoints="1"/>
            </p:cNvSpPr>
            <p:nvPr/>
          </p:nvSpPr>
          <p:spPr bwMode="auto">
            <a:xfrm>
              <a:off x="5527510"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6" name="Freeform 304"/>
            <p:cNvSpPr>
              <a:spLocks/>
            </p:cNvSpPr>
            <p:nvPr/>
          </p:nvSpPr>
          <p:spPr bwMode="auto">
            <a:xfrm>
              <a:off x="5708799"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7" name="Freeform 305"/>
            <p:cNvSpPr>
              <a:spLocks/>
            </p:cNvSpPr>
            <p:nvPr/>
          </p:nvSpPr>
          <p:spPr bwMode="auto">
            <a:xfrm>
              <a:off x="5833826"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8" name="Freeform 306"/>
            <p:cNvSpPr>
              <a:spLocks/>
            </p:cNvSpPr>
            <p:nvPr/>
          </p:nvSpPr>
          <p:spPr bwMode="auto">
            <a:xfrm>
              <a:off x="59551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79" name="Freeform 307"/>
            <p:cNvSpPr>
              <a:spLocks noEditPoints="1"/>
            </p:cNvSpPr>
            <p:nvPr/>
          </p:nvSpPr>
          <p:spPr bwMode="auto">
            <a:xfrm>
              <a:off x="6076378" y="4571698"/>
              <a:ext cx="130027" cy="191600"/>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0" name="Freeform 308"/>
            <p:cNvSpPr>
              <a:spLocks noEditPoints="1"/>
            </p:cNvSpPr>
            <p:nvPr/>
          </p:nvSpPr>
          <p:spPr bwMode="auto">
            <a:xfrm>
              <a:off x="6250164" y="4571698"/>
              <a:ext cx="133778" cy="191600"/>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1" name="Freeform 309"/>
            <p:cNvSpPr>
              <a:spLocks/>
            </p:cNvSpPr>
            <p:nvPr/>
          </p:nvSpPr>
          <p:spPr bwMode="auto">
            <a:xfrm>
              <a:off x="64252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2" name="Freeform 310"/>
            <p:cNvSpPr>
              <a:spLocks/>
            </p:cNvSpPr>
            <p:nvPr/>
          </p:nvSpPr>
          <p:spPr bwMode="auto">
            <a:xfrm>
              <a:off x="6550228"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3" name="Freeform 311"/>
            <p:cNvSpPr>
              <a:spLocks/>
            </p:cNvSpPr>
            <p:nvPr/>
          </p:nvSpPr>
          <p:spPr bwMode="auto">
            <a:xfrm>
              <a:off x="6671504"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4" name="Freeform 312"/>
            <p:cNvSpPr>
              <a:spLocks noEditPoints="1"/>
            </p:cNvSpPr>
            <p:nvPr/>
          </p:nvSpPr>
          <p:spPr bwMode="auto">
            <a:xfrm>
              <a:off x="6792780" y="4571698"/>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5" name="Freeform 313"/>
            <p:cNvSpPr>
              <a:spLocks/>
            </p:cNvSpPr>
            <p:nvPr/>
          </p:nvSpPr>
          <p:spPr bwMode="auto">
            <a:xfrm>
              <a:off x="6966568"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6" name="Freeform 314"/>
            <p:cNvSpPr>
              <a:spLocks noEditPoints="1"/>
            </p:cNvSpPr>
            <p:nvPr/>
          </p:nvSpPr>
          <p:spPr bwMode="auto">
            <a:xfrm>
              <a:off x="7091595" y="4571698"/>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7" name="Freeform 315"/>
            <p:cNvSpPr>
              <a:spLocks/>
            </p:cNvSpPr>
            <p:nvPr/>
          </p:nvSpPr>
          <p:spPr bwMode="auto">
            <a:xfrm>
              <a:off x="7266632" y="4571698"/>
              <a:ext cx="76267" cy="18659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8" name="Freeform 316"/>
            <p:cNvSpPr>
              <a:spLocks noEditPoints="1"/>
            </p:cNvSpPr>
            <p:nvPr/>
          </p:nvSpPr>
          <p:spPr bwMode="auto">
            <a:xfrm>
              <a:off x="7387907"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89" name="Freeform 317"/>
            <p:cNvSpPr>
              <a:spLocks noEditPoints="1"/>
            </p:cNvSpPr>
            <p:nvPr/>
          </p:nvSpPr>
          <p:spPr bwMode="auto">
            <a:xfrm>
              <a:off x="7561694" y="4571698"/>
              <a:ext cx="131279" cy="191600"/>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0" name="Freeform 318"/>
            <p:cNvSpPr>
              <a:spLocks noEditPoints="1"/>
            </p:cNvSpPr>
            <p:nvPr/>
          </p:nvSpPr>
          <p:spPr bwMode="auto">
            <a:xfrm>
              <a:off x="7734232"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1" name="Freeform 321"/>
            <p:cNvSpPr>
              <a:spLocks/>
            </p:cNvSpPr>
            <p:nvPr/>
          </p:nvSpPr>
          <p:spPr bwMode="auto">
            <a:xfrm>
              <a:off x="4451031" y="4795859"/>
              <a:ext cx="58763" cy="131490"/>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2" name="Freeform 322"/>
            <p:cNvSpPr>
              <a:spLocks noEditPoints="1"/>
            </p:cNvSpPr>
            <p:nvPr/>
          </p:nvSpPr>
          <p:spPr bwMode="auto">
            <a:xfrm>
              <a:off x="4554803" y="479585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3" name="Freeform 323"/>
            <p:cNvSpPr>
              <a:spLocks noEditPoints="1"/>
            </p:cNvSpPr>
            <p:nvPr/>
          </p:nvSpPr>
          <p:spPr bwMode="auto">
            <a:xfrm>
              <a:off x="4729840"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4" name="Freeform 324"/>
            <p:cNvSpPr>
              <a:spLocks/>
            </p:cNvSpPr>
            <p:nvPr/>
          </p:nvSpPr>
          <p:spPr bwMode="auto">
            <a:xfrm>
              <a:off x="4903626"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5" name="Freeform 329"/>
            <p:cNvSpPr>
              <a:spLocks/>
            </p:cNvSpPr>
            <p:nvPr/>
          </p:nvSpPr>
          <p:spPr bwMode="auto">
            <a:xfrm>
              <a:off x="5673791"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6" name="Freeform 330"/>
            <p:cNvSpPr>
              <a:spLocks/>
            </p:cNvSpPr>
            <p:nvPr/>
          </p:nvSpPr>
          <p:spPr bwMode="auto">
            <a:xfrm>
              <a:off x="5795067" y="4795859"/>
              <a:ext cx="76267" cy="187843"/>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7" name="Freeform 331"/>
            <p:cNvSpPr>
              <a:spLocks noEditPoints="1"/>
            </p:cNvSpPr>
            <p:nvPr/>
          </p:nvSpPr>
          <p:spPr bwMode="auto">
            <a:xfrm>
              <a:off x="5916342" y="4795859"/>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8" name="Freeform 332"/>
            <p:cNvSpPr>
              <a:spLocks/>
            </p:cNvSpPr>
            <p:nvPr/>
          </p:nvSpPr>
          <p:spPr bwMode="auto">
            <a:xfrm>
              <a:off x="6091381"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599" name="Freeform 336"/>
            <p:cNvSpPr>
              <a:spLocks/>
            </p:cNvSpPr>
            <p:nvPr/>
          </p:nvSpPr>
          <p:spPr bwMode="auto">
            <a:xfrm>
              <a:off x="6682756" y="4795859"/>
              <a:ext cx="80017" cy="187843"/>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0" name="Freeform 337"/>
            <p:cNvSpPr>
              <a:spLocks/>
            </p:cNvSpPr>
            <p:nvPr/>
          </p:nvSpPr>
          <p:spPr bwMode="auto">
            <a:xfrm>
              <a:off x="6807783"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1" name="Freeform 340"/>
            <p:cNvSpPr>
              <a:spLocks/>
            </p:cNvSpPr>
            <p:nvPr/>
          </p:nvSpPr>
          <p:spPr bwMode="auto">
            <a:xfrm>
              <a:off x="7224123"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2" name="Freeform 341"/>
            <p:cNvSpPr>
              <a:spLocks noEditPoints="1"/>
            </p:cNvSpPr>
            <p:nvPr/>
          </p:nvSpPr>
          <p:spPr bwMode="auto">
            <a:xfrm>
              <a:off x="7346649" y="4795859"/>
              <a:ext cx="132528" cy="190348"/>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3" name="Freeform 342"/>
            <p:cNvSpPr>
              <a:spLocks/>
            </p:cNvSpPr>
            <p:nvPr/>
          </p:nvSpPr>
          <p:spPr bwMode="auto">
            <a:xfrm>
              <a:off x="7520435" y="4795859"/>
              <a:ext cx="80017" cy="187843"/>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4" name="Freeform 343"/>
            <p:cNvSpPr>
              <a:spLocks noEditPoints="1"/>
            </p:cNvSpPr>
            <p:nvPr/>
          </p:nvSpPr>
          <p:spPr bwMode="auto">
            <a:xfrm>
              <a:off x="7645462"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5" name="Freeform 344"/>
            <p:cNvSpPr>
              <a:spLocks/>
            </p:cNvSpPr>
            <p:nvPr/>
          </p:nvSpPr>
          <p:spPr bwMode="auto">
            <a:xfrm>
              <a:off x="7819249"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6" name="Freeform 345"/>
            <p:cNvSpPr>
              <a:spLocks/>
            </p:cNvSpPr>
            <p:nvPr/>
          </p:nvSpPr>
          <p:spPr bwMode="auto">
            <a:xfrm>
              <a:off x="7940525" y="4795859"/>
              <a:ext cx="107523" cy="169060"/>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7" name="Freeform 346"/>
            <p:cNvSpPr>
              <a:spLocks/>
            </p:cNvSpPr>
            <p:nvPr/>
          </p:nvSpPr>
          <p:spPr bwMode="auto">
            <a:xfrm>
              <a:off x="4574806" y="5021271"/>
              <a:ext cx="92519" cy="125229"/>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8" name="Freeform 355"/>
            <p:cNvSpPr>
              <a:spLocks/>
            </p:cNvSpPr>
            <p:nvPr/>
          </p:nvSpPr>
          <p:spPr bwMode="auto">
            <a:xfrm>
              <a:off x="5964529" y="5021271"/>
              <a:ext cx="76267" cy="184087"/>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09" name="Freeform 365"/>
            <p:cNvSpPr>
              <a:spLocks noEditPoints="1"/>
            </p:cNvSpPr>
            <p:nvPr/>
          </p:nvSpPr>
          <p:spPr bwMode="auto">
            <a:xfrm>
              <a:off x="7381655"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0" name="Freeform 366"/>
            <p:cNvSpPr>
              <a:spLocks/>
            </p:cNvSpPr>
            <p:nvPr/>
          </p:nvSpPr>
          <p:spPr bwMode="auto">
            <a:xfrm>
              <a:off x="7556694" y="5021271"/>
              <a:ext cx="76267" cy="184087"/>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1" name="Freeform 367"/>
            <p:cNvSpPr>
              <a:spLocks noEditPoints="1"/>
            </p:cNvSpPr>
            <p:nvPr/>
          </p:nvSpPr>
          <p:spPr bwMode="auto">
            <a:xfrm>
              <a:off x="7677968" y="5021271"/>
              <a:ext cx="130027" cy="190348"/>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2" name="Freeform 368"/>
            <p:cNvSpPr>
              <a:spLocks/>
            </p:cNvSpPr>
            <p:nvPr/>
          </p:nvSpPr>
          <p:spPr bwMode="auto">
            <a:xfrm>
              <a:off x="7851756" y="5021271"/>
              <a:ext cx="68765" cy="92669"/>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3" name="Freeform 371"/>
            <p:cNvSpPr>
              <a:spLocks noEditPoints="1"/>
            </p:cNvSpPr>
            <p:nvPr/>
          </p:nvSpPr>
          <p:spPr bwMode="auto">
            <a:xfrm>
              <a:off x="4989895" y="5244178"/>
              <a:ext cx="132528" cy="19285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4" name="Freeform 372"/>
            <p:cNvSpPr>
              <a:spLocks/>
            </p:cNvSpPr>
            <p:nvPr/>
          </p:nvSpPr>
          <p:spPr bwMode="auto">
            <a:xfrm>
              <a:off x="5164932" y="5244178"/>
              <a:ext cx="78768"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5" name="Freeform 373"/>
            <p:cNvSpPr>
              <a:spLocks noEditPoints="1"/>
            </p:cNvSpPr>
            <p:nvPr/>
          </p:nvSpPr>
          <p:spPr bwMode="auto">
            <a:xfrm>
              <a:off x="5286209" y="5244178"/>
              <a:ext cx="132528" cy="19285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6" name="Freeform 374"/>
            <p:cNvSpPr>
              <a:spLocks/>
            </p:cNvSpPr>
            <p:nvPr/>
          </p:nvSpPr>
          <p:spPr bwMode="auto">
            <a:xfrm>
              <a:off x="5459996" y="524417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7" name="Freeform 377"/>
            <p:cNvSpPr>
              <a:spLocks/>
            </p:cNvSpPr>
            <p:nvPr/>
          </p:nvSpPr>
          <p:spPr bwMode="auto">
            <a:xfrm>
              <a:off x="5933847" y="524417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8" name="Freeform 378"/>
            <p:cNvSpPr>
              <a:spLocks noEditPoints="1"/>
            </p:cNvSpPr>
            <p:nvPr/>
          </p:nvSpPr>
          <p:spPr bwMode="auto">
            <a:xfrm>
              <a:off x="6055122"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19" name="Freeform 379"/>
            <p:cNvSpPr>
              <a:spLocks noEditPoints="1"/>
            </p:cNvSpPr>
            <p:nvPr/>
          </p:nvSpPr>
          <p:spPr bwMode="auto">
            <a:xfrm>
              <a:off x="6230159"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0" name="Freeform 380"/>
            <p:cNvSpPr>
              <a:spLocks/>
            </p:cNvSpPr>
            <p:nvPr/>
          </p:nvSpPr>
          <p:spPr bwMode="auto">
            <a:xfrm>
              <a:off x="6405196" y="524417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1" name="Freeform 381"/>
            <p:cNvSpPr>
              <a:spLocks noEditPoints="1"/>
            </p:cNvSpPr>
            <p:nvPr/>
          </p:nvSpPr>
          <p:spPr bwMode="auto">
            <a:xfrm>
              <a:off x="6526474" y="5244178"/>
              <a:ext cx="132528" cy="19285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2" name="Freeform 382"/>
            <p:cNvSpPr>
              <a:spLocks/>
            </p:cNvSpPr>
            <p:nvPr/>
          </p:nvSpPr>
          <p:spPr bwMode="auto">
            <a:xfrm>
              <a:off x="6700260" y="5244178"/>
              <a:ext cx="80017" cy="18659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3" name="Freeform 383"/>
            <p:cNvSpPr>
              <a:spLocks noEditPoints="1"/>
            </p:cNvSpPr>
            <p:nvPr/>
          </p:nvSpPr>
          <p:spPr bwMode="auto">
            <a:xfrm>
              <a:off x="6821536" y="5244178"/>
              <a:ext cx="133778" cy="19285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4" name="Freeform 384"/>
            <p:cNvSpPr>
              <a:spLocks/>
            </p:cNvSpPr>
            <p:nvPr/>
          </p:nvSpPr>
          <p:spPr bwMode="auto">
            <a:xfrm>
              <a:off x="6996575"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5" name="Freeform 385"/>
            <p:cNvSpPr>
              <a:spLocks noEditPoints="1"/>
            </p:cNvSpPr>
            <p:nvPr/>
          </p:nvSpPr>
          <p:spPr bwMode="auto">
            <a:xfrm>
              <a:off x="7121600"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6" name="Freeform 388"/>
            <p:cNvSpPr>
              <a:spLocks/>
            </p:cNvSpPr>
            <p:nvPr/>
          </p:nvSpPr>
          <p:spPr bwMode="auto">
            <a:xfrm>
              <a:off x="7591701" y="5244178"/>
              <a:ext cx="77516" cy="117714"/>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7" name="Freeform 389"/>
            <p:cNvSpPr>
              <a:spLocks/>
            </p:cNvSpPr>
            <p:nvPr/>
          </p:nvSpPr>
          <p:spPr bwMode="auto">
            <a:xfrm>
              <a:off x="7712977" y="5270475"/>
              <a:ext cx="8753" cy="626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8" name="Freeform 392"/>
            <p:cNvSpPr>
              <a:spLocks/>
            </p:cNvSpPr>
            <p:nvPr/>
          </p:nvSpPr>
          <p:spPr bwMode="auto">
            <a:xfrm>
              <a:off x="5282458" y="5469590"/>
              <a:ext cx="77516"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29" name="Freeform 393"/>
            <p:cNvSpPr>
              <a:spLocks noEditPoints="1"/>
            </p:cNvSpPr>
            <p:nvPr/>
          </p:nvSpPr>
          <p:spPr bwMode="auto">
            <a:xfrm>
              <a:off x="5403734" y="5469590"/>
              <a:ext cx="131279"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0" name="Freeform 394"/>
            <p:cNvSpPr>
              <a:spLocks/>
            </p:cNvSpPr>
            <p:nvPr/>
          </p:nvSpPr>
          <p:spPr bwMode="auto">
            <a:xfrm>
              <a:off x="5578771" y="5469590"/>
              <a:ext cx="80017" cy="18659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1" name="Freeform 395"/>
            <p:cNvSpPr>
              <a:spLocks noEditPoints="1"/>
            </p:cNvSpPr>
            <p:nvPr/>
          </p:nvSpPr>
          <p:spPr bwMode="auto">
            <a:xfrm>
              <a:off x="5700047" y="5469590"/>
              <a:ext cx="13377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2" name="Freeform 396"/>
            <p:cNvSpPr>
              <a:spLocks/>
            </p:cNvSpPr>
            <p:nvPr/>
          </p:nvSpPr>
          <p:spPr bwMode="auto">
            <a:xfrm>
              <a:off x="5875084" y="5469590"/>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3" name="Freeform 400"/>
            <p:cNvSpPr>
              <a:spLocks/>
            </p:cNvSpPr>
            <p:nvPr/>
          </p:nvSpPr>
          <p:spPr bwMode="auto">
            <a:xfrm>
              <a:off x="6470211" y="5469590"/>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4" name="Freeform 401"/>
            <p:cNvSpPr>
              <a:spLocks/>
            </p:cNvSpPr>
            <p:nvPr/>
          </p:nvSpPr>
          <p:spPr bwMode="auto">
            <a:xfrm>
              <a:off x="6591487" y="5469590"/>
              <a:ext cx="76267"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5" name="Freeform 409"/>
            <p:cNvSpPr>
              <a:spLocks/>
            </p:cNvSpPr>
            <p:nvPr/>
          </p:nvSpPr>
          <p:spPr bwMode="auto">
            <a:xfrm>
              <a:off x="5394981" y="5695000"/>
              <a:ext cx="73766" cy="58858"/>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6" name="Freeform 410"/>
            <p:cNvSpPr>
              <a:spLocks/>
            </p:cNvSpPr>
            <p:nvPr/>
          </p:nvSpPr>
          <p:spPr bwMode="auto">
            <a:xfrm>
              <a:off x="5513757" y="5695000"/>
              <a:ext cx="77516" cy="102687"/>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7" name="Freeform 411"/>
            <p:cNvSpPr>
              <a:spLocks/>
            </p:cNvSpPr>
            <p:nvPr/>
          </p:nvSpPr>
          <p:spPr bwMode="auto">
            <a:xfrm>
              <a:off x="5635033" y="5695000"/>
              <a:ext cx="130027" cy="154032"/>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8" name="Freeform 412"/>
            <p:cNvSpPr>
              <a:spLocks/>
            </p:cNvSpPr>
            <p:nvPr/>
          </p:nvSpPr>
          <p:spPr bwMode="auto">
            <a:xfrm>
              <a:off x="5810070" y="5695000"/>
              <a:ext cx="76267" cy="18033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39" name="Freeform 417"/>
            <p:cNvSpPr>
              <a:spLocks/>
            </p:cNvSpPr>
            <p:nvPr/>
          </p:nvSpPr>
          <p:spPr bwMode="auto">
            <a:xfrm>
              <a:off x="6526474" y="5695000"/>
              <a:ext cx="76267" cy="182834"/>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40" name="Freeform 418"/>
            <p:cNvSpPr>
              <a:spLocks/>
            </p:cNvSpPr>
            <p:nvPr/>
          </p:nvSpPr>
          <p:spPr bwMode="auto">
            <a:xfrm>
              <a:off x="6647749" y="5695000"/>
              <a:ext cx="80017" cy="165302"/>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41" name="Freeform 425"/>
            <p:cNvSpPr>
              <a:spLocks noEditPoints="1"/>
            </p:cNvSpPr>
            <p:nvPr/>
          </p:nvSpPr>
          <p:spPr bwMode="auto">
            <a:xfrm>
              <a:off x="6642796" y="2013434"/>
              <a:ext cx="245684" cy="213512"/>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42" name="Freeform 99"/>
            <p:cNvSpPr>
              <a:spLocks noEditPoints="1"/>
            </p:cNvSpPr>
            <p:nvPr/>
          </p:nvSpPr>
          <p:spPr bwMode="auto">
            <a:xfrm>
              <a:off x="4884755" y="3680129"/>
              <a:ext cx="592394" cy="412818"/>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43" name="Freeform 642"/>
            <p:cNvSpPr>
              <a:spLocks noChangeAspect="1"/>
            </p:cNvSpPr>
            <p:nvPr/>
          </p:nvSpPr>
          <p:spPr bwMode="auto">
            <a:xfrm>
              <a:off x="4251431" y="3908865"/>
              <a:ext cx="408889" cy="4094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dirty="0">
                <a:gradFill>
                  <a:gsLst>
                    <a:gs pos="0">
                      <a:srgbClr val="FFFFFF"/>
                    </a:gs>
                    <a:gs pos="100000">
                      <a:srgbClr val="FFFFFF"/>
                    </a:gs>
                  </a:gsLst>
                  <a:lin ang="5400000" scaled="0"/>
                </a:gradFill>
                <a:ea typeface="Segoe UI" pitchFamily="34" charset="0"/>
                <a:cs typeface="Segoe UI" pitchFamily="34" charset="0"/>
              </a:endParaRPr>
            </a:p>
          </p:txBody>
        </p:sp>
        <p:sp>
          <p:nvSpPr>
            <p:cNvPr id="644" name="Freeform 340"/>
            <p:cNvSpPr>
              <a:spLocks/>
            </p:cNvSpPr>
            <p:nvPr/>
          </p:nvSpPr>
          <p:spPr bwMode="auto">
            <a:xfrm>
              <a:off x="7240870"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45" name="Freeform 262"/>
            <p:cNvSpPr>
              <a:spLocks noEditPoints="1"/>
            </p:cNvSpPr>
            <p:nvPr/>
          </p:nvSpPr>
          <p:spPr bwMode="auto">
            <a:xfrm>
              <a:off x="5872118"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46" name="Freeform 243"/>
            <p:cNvSpPr>
              <a:spLocks/>
            </p:cNvSpPr>
            <p:nvPr/>
          </p:nvSpPr>
          <p:spPr bwMode="auto">
            <a:xfrm>
              <a:off x="5858831"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47" name="Freeform 6"/>
            <p:cNvSpPr>
              <a:spLocks noEditPoints="1"/>
            </p:cNvSpPr>
            <p:nvPr/>
          </p:nvSpPr>
          <p:spPr bwMode="auto">
            <a:xfrm>
              <a:off x="6453659" y="2568270"/>
              <a:ext cx="353645" cy="604939"/>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nvGrpSpPr>
            <p:cNvPr id="648" name="Group 647"/>
            <p:cNvGrpSpPr/>
            <p:nvPr/>
          </p:nvGrpSpPr>
          <p:grpSpPr>
            <a:xfrm>
              <a:off x="6488832" y="3515513"/>
              <a:ext cx="306572" cy="343958"/>
              <a:chOff x="6495975" y="3510751"/>
              <a:chExt cx="306572" cy="343958"/>
            </a:xfrm>
          </p:grpSpPr>
          <p:sp>
            <p:nvSpPr>
              <p:cNvPr id="754"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55"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56"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649" name="Freeform 20"/>
            <p:cNvSpPr>
              <a:spLocks noEditPoints="1"/>
            </p:cNvSpPr>
            <p:nvPr/>
          </p:nvSpPr>
          <p:spPr bwMode="auto">
            <a:xfrm>
              <a:off x="4924681" y="2796699"/>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50" name="Freeform 20"/>
            <p:cNvSpPr>
              <a:spLocks noEditPoints="1"/>
            </p:cNvSpPr>
            <p:nvPr/>
          </p:nvSpPr>
          <p:spPr bwMode="auto">
            <a:xfrm>
              <a:off x="4924681"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51" name="Freeform 20"/>
            <p:cNvSpPr>
              <a:spLocks noEditPoints="1"/>
            </p:cNvSpPr>
            <p:nvPr/>
          </p:nvSpPr>
          <p:spPr bwMode="auto">
            <a:xfrm>
              <a:off x="5230502"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52" name="Freeform 153"/>
            <p:cNvSpPr>
              <a:spLocks/>
            </p:cNvSpPr>
            <p:nvPr/>
          </p:nvSpPr>
          <p:spPr bwMode="auto">
            <a:xfrm>
              <a:off x="5317523"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653" name="Group 652"/>
            <p:cNvGrpSpPr/>
            <p:nvPr/>
          </p:nvGrpSpPr>
          <p:grpSpPr>
            <a:xfrm>
              <a:off x="5454053" y="2355851"/>
              <a:ext cx="365054" cy="356934"/>
              <a:chOff x="-6292850" y="812800"/>
              <a:chExt cx="5283200" cy="5165725"/>
            </a:xfrm>
            <a:solidFill>
              <a:schemeClr val="tx1"/>
            </a:solidFill>
          </p:grpSpPr>
          <p:sp>
            <p:nvSpPr>
              <p:cNvPr id="735" name="Freeform 24"/>
              <p:cNvSpPr>
                <a:spLocks noEditPoints="1"/>
              </p:cNvSpPr>
              <p:nvPr/>
            </p:nvSpPr>
            <p:spPr bwMode="auto">
              <a:xfrm>
                <a:off x="-6292850" y="812800"/>
                <a:ext cx="5283200" cy="5165725"/>
              </a:xfrm>
              <a:custGeom>
                <a:avLst/>
                <a:gdLst>
                  <a:gd name="T0" fmla="*/ 0 w 3328"/>
                  <a:gd name="T1" fmla="*/ 3254 h 3254"/>
                  <a:gd name="T2" fmla="*/ 0 w 3328"/>
                  <a:gd name="T3" fmla="*/ 0 h 3254"/>
                  <a:gd name="T4" fmla="*/ 3328 w 3328"/>
                  <a:gd name="T5" fmla="*/ 0 h 3254"/>
                  <a:gd name="T6" fmla="*/ 3328 w 3328"/>
                  <a:gd name="T7" fmla="*/ 3254 h 3254"/>
                  <a:gd name="T8" fmla="*/ 0 w 3328"/>
                  <a:gd name="T9" fmla="*/ 3254 h 3254"/>
                  <a:gd name="T10" fmla="*/ 173 w 3328"/>
                  <a:gd name="T11" fmla="*/ 3086 h 3254"/>
                  <a:gd name="T12" fmla="*/ 3155 w 3328"/>
                  <a:gd name="T13" fmla="*/ 3086 h 3254"/>
                  <a:gd name="T14" fmla="*/ 3155 w 3328"/>
                  <a:gd name="T15" fmla="*/ 667 h 3254"/>
                  <a:gd name="T16" fmla="*/ 173 w 3328"/>
                  <a:gd name="T17" fmla="*/ 667 h 3254"/>
                  <a:gd name="T18" fmla="*/ 173 w 3328"/>
                  <a:gd name="T19" fmla="*/ 3086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8" h="3254">
                    <a:moveTo>
                      <a:pt x="0" y="3254"/>
                    </a:moveTo>
                    <a:lnTo>
                      <a:pt x="0" y="0"/>
                    </a:lnTo>
                    <a:lnTo>
                      <a:pt x="3328" y="0"/>
                    </a:lnTo>
                    <a:lnTo>
                      <a:pt x="3328" y="3254"/>
                    </a:lnTo>
                    <a:lnTo>
                      <a:pt x="0" y="3254"/>
                    </a:lnTo>
                    <a:close/>
                    <a:moveTo>
                      <a:pt x="173" y="3086"/>
                    </a:moveTo>
                    <a:lnTo>
                      <a:pt x="3155" y="3086"/>
                    </a:lnTo>
                    <a:lnTo>
                      <a:pt x="3155" y="667"/>
                    </a:lnTo>
                    <a:lnTo>
                      <a:pt x="173" y="667"/>
                    </a:lnTo>
                    <a:lnTo>
                      <a:pt x="173" y="30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6" name="Rectangle 25"/>
              <p:cNvSpPr>
                <a:spLocks noChangeArrowheads="1"/>
              </p:cNvSpPr>
              <p:nvPr/>
            </p:nvSpPr>
            <p:spPr bwMode="auto">
              <a:xfrm>
                <a:off x="-4876800"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7" name="Rectangle 26"/>
              <p:cNvSpPr>
                <a:spLocks noChangeArrowheads="1"/>
              </p:cNvSpPr>
              <p:nvPr/>
            </p:nvSpPr>
            <p:spPr bwMode="auto">
              <a:xfrm>
                <a:off x="-3970338" y="2132013"/>
                <a:ext cx="641350"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8" name="Rectangle 27"/>
              <p:cNvSpPr>
                <a:spLocks noChangeArrowheads="1"/>
              </p:cNvSpPr>
              <p:nvPr/>
            </p:nvSpPr>
            <p:spPr bwMode="auto">
              <a:xfrm>
                <a:off x="-3084513"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9" name="Rectangle 28"/>
              <p:cNvSpPr>
                <a:spLocks noChangeArrowheads="1"/>
              </p:cNvSpPr>
              <p:nvPr/>
            </p:nvSpPr>
            <p:spPr bwMode="auto">
              <a:xfrm>
                <a:off x="-2197100"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0" name="Rectangle 29"/>
              <p:cNvSpPr>
                <a:spLocks noChangeArrowheads="1"/>
              </p:cNvSpPr>
              <p:nvPr/>
            </p:nvSpPr>
            <p:spPr bwMode="auto">
              <a:xfrm>
                <a:off x="-5759450" y="3017838"/>
                <a:ext cx="638175"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1" name="Rectangle 30"/>
              <p:cNvSpPr>
                <a:spLocks noChangeArrowheads="1"/>
              </p:cNvSpPr>
              <p:nvPr/>
            </p:nvSpPr>
            <p:spPr bwMode="auto">
              <a:xfrm>
                <a:off x="-4876800"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2" name="Rectangle 31"/>
              <p:cNvSpPr>
                <a:spLocks noChangeArrowheads="1"/>
              </p:cNvSpPr>
              <p:nvPr/>
            </p:nvSpPr>
            <p:spPr bwMode="auto">
              <a:xfrm>
                <a:off x="-3970338" y="3017838"/>
                <a:ext cx="641350"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3" name="Rectangle 32"/>
              <p:cNvSpPr>
                <a:spLocks noChangeArrowheads="1"/>
              </p:cNvSpPr>
              <p:nvPr/>
            </p:nvSpPr>
            <p:spPr bwMode="auto">
              <a:xfrm>
                <a:off x="-3084513"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4" name="Rectangle 33"/>
              <p:cNvSpPr>
                <a:spLocks noChangeArrowheads="1"/>
              </p:cNvSpPr>
              <p:nvPr/>
            </p:nvSpPr>
            <p:spPr bwMode="auto">
              <a:xfrm>
                <a:off x="-2197100"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5" name="Rectangle 34"/>
              <p:cNvSpPr>
                <a:spLocks noChangeArrowheads="1"/>
              </p:cNvSpPr>
              <p:nvPr/>
            </p:nvSpPr>
            <p:spPr bwMode="auto">
              <a:xfrm>
                <a:off x="-5759450" y="3902075"/>
                <a:ext cx="638175"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6" name="Rectangle 35"/>
              <p:cNvSpPr>
                <a:spLocks noChangeArrowheads="1"/>
              </p:cNvSpPr>
              <p:nvPr/>
            </p:nvSpPr>
            <p:spPr bwMode="auto">
              <a:xfrm>
                <a:off x="-4876800"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7" name="Rectangle 36"/>
              <p:cNvSpPr>
                <a:spLocks noChangeArrowheads="1"/>
              </p:cNvSpPr>
              <p:nvPr/>
            </p:nvSpPr>
            <p:spPr bwMode="auto">
              <a:xfrm>
                <a:off x="-3970338" y="3902075"/>
                <a:ext cx="641350"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8" name="Rectangle 37"/>
              <p:cNvSpPr>
                <a:spLocks noChangeArrowheads="1"/>
              </p:cNvSpPr>
              <p:nvPr/>
            </p:nvSpPr>
            <p:spPr bwMode="auto">
              <a:xfrm>
                <a:off x="-3084513"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9" name="Rectangle 38"/>
              <p:cNvSpPr>
                <a:spLocks noChangeArrowheads="1"/>
              </p:cNvSpPr>
              <p:nvPr/>
            </p:nvSpPr>
            <p:spPr bwMode="auto">
              <a:xfrm>
                <a:off x="-2197100"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50" name="Rectangle 39"/>
              <p:cNvSpPr>
                <a:spLocks noChangeArrowheads="1"/>
              </p:cNvSpPr>
              <p:nvPr/>
            </p:nvSpPr>
            <p:spPr bwMode="auto">
              <a:xfrm>
                <a:off x="-5759450" y="4787900"/>
                <a:ext cx="638175"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51" name="Rectangle 40"/>
              <p:cNvSpPr>
                <a:spLocks noChangeArrowheads="1"/>
              </p:cNvSpPr>
              <p:nvPr/>
            </p:nvSpPr>
            <p:spPr bwMode="auto">
              <a:xfrm>
                <a:off x="-4876800" y="4787900"/>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52" name="Rectangle 41"/>
              <p:cNvSpPr>
                <a:spLocks noChangeArrowheads="1"/>
              </p:cNvSpPr>
              <p:nvPr/>
            </p:nvSpPr>
            <p:spPr bwMode="auto">
              <a:xfrm>
                <a:off x="-3970338" y="4787900"/>
                <a:ext cx="641350"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53" name="Rectangle 42"/>
              <p:cNvSpPr>
                <a:spLocks noChangeArrowheads="1"/>
              </p:cNvSpPr>
              <p:nvPr/>
            </p:nvSpPr>
            <p:spPr bwMode="auto">
              <a:xfrm>
                <a:off x="-3084513" y="4787900"/>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654" name="Freeform 202"/>
            <p:cNvSpPr>
              <a:spLocks/>
            </p:cNvSpPr>
            <p:nvPr/>
          </p:nvSpPr>
          <p:spPr bwMode="auto">
            <a:xfrm>
              <a:off x="5866330"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55" name="Freeform 46"/>
            <p:cNvSpPr>
              <a:spLocks noEditPoints="1"/>
            </p:cNvSpPr>
            <p:nvPr/>
          </p:nvSpPr>
          <p:spPr bwMode="auto">
            <a:xfrm>
              <a:off x="5873032" y="3473270"/>
              <a:ext cx="231491" cy="373636"/>
            </a:xfrm>
            <a:custGeom>
              <a:avLst/>
              <a:gdLst>
                <a:gd name="T0" fmla="*/ 1219 w 1330"/>
                <a:gd name="T1" fmla="*/ 298 h 2148"/>
                <a:gd name="T2" fmla="*/ 665 w 1330"/>
                <a:gd name="T3" fmla="*/ 0 h 2148"/>
                <a:gd name="T4" fmla="*/ 0 w 1330"/>
                <a:gd name="T5" fmla="*/ 665 h 2148"/>
                <a:gd name="T6" fmla="*/ 18 w 1330"/>
                <a:gd name="T7" fmla="*/ 818 h 2148"/>
                <a:gd name="T8" fmla="*/ 49 w 1330"/>
                <a:gd name="T9" fmla="*/ 917 h 2148"/>
                <a:gd name="T10" fmla="*/ 95 w 1330"/>
                <a:gd name="T11" fmla="*/ 1008 h 2148"/>
                <a:gd name="T12" fmla="*/ 233 w 1330"/>
                <a:gd name="T13" fmla="*/ 1284 h 2148"/>
                <a:gd name="T14" fmla="*/ 665 w 1330"/>
                <a:gd name="T15" fmla="*/ 2148 h 2148"/>
                <a:gd name="T16" fmla="*/ 1235 w 1330"/>
                <a:gd name="T17" fmla="*/ 1008 h 2148"/>
                <a:gd name="T18" fmla="*/ 1281 w 1330"/>
                <a:gd name="T19" fmla="*/ 917 h 2148"/>
                <a:gd name="T20" fmla="*/ 1312 w 1330"/>
                <a:gd name="T21" fmla="*/ 818 h 2148"/>
                <a:gd name="T22" fmla="*/ 1330 w 1330"/>
                <a:gd name="T23" fmla="*/ 665 h 2148"/>
                <a:gd name="T24" fmla="*/ 1219 w 1330"/>
                <a:gd name="T25" fmla="*/ 298 h 2148"/>
                <a:gd name="T26" fmla="*/ 933 w 1330"/>
                <a:gd name="T27" fmla="*/ 729 h 2148"/>
                <a:gd name="T28" fmla="*/ 920 w 1330"/>
                <a:gd name="T29" fmla="*/ 769 h 2148"/>
                <a:gd name="T30" fmla="*/ 901 w 1330"/>
                <a:gd name="T31" fmla="*/ 807 h 2148"/>
                <a:gd name="T32" fmla="*/ 665 w 1330"/>
                <a:gd name="T33" fmla="*/ 940 h 2148"/>
                <a:gd name="T34" fmla="*/ 588 w 1330"/>
                <a:gd name="T35" fmla="*/ 929 h 2148"/>
                <a:gd name="T36" fmla="*/ 429 w 1330"/>
                <a:gd name="T37" fmla="*/ 807 h 2148"/>
                <a:gd name="T38" fmla="*/ 411 w 1330"/>
                <a:gd name="T39" fmla="*/ 769 h 2148"/>
                <a:gd name="T40" fmla="*/ 398 w 1330"/>
                <a:gd name="T41" fmla="*/ 729 h 2148"/>
                <a:gd name="T42" fmla="*/ 390 w 1330"/>
                <a:gd name="T43" fmla="*/ 665 h 2148"/>
                <a:gd name="T44" fmla="*/ 665 w 1330"/>
                <a:gd name="T45" fmla="*/ 391 h 2148"/>
                <a:gd name="T46" fmla="*/ 929 w 1330"/>
                <a:gd name="T47" fmla="*/ 588 h 2148"/>
                <a:gd name="T48" fmla="*/ 940 w 1330"/>
                <a:gd name="T49" fmla="*/ 665 h 2148"/>
                <a:gd name="T50" fmla="*/ 933 w 1330"/>
                <a:gd name="T51" fmla="*/ 729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0" h="2148">
                  <a:moveTo>
                    <a:pt x="1219" y="298"/>
                  </a:moveTo>
                  <a:cubicBezTo>
                    <a:pt x="1100" y="119"/>
                    <a:pt x="896" y="0"/>
                    <a:pt x="665" y="0"/>
                  </a:cubicBezTo>
                  <a:cubicBezTo>
                    <a:pt x="298" y="0"/>
                    <a:pt x="0" y="298"/>
                    <a:pt x="0" y="665"/>
                  </a:cubicBezTo>
                  <a:cubicBezTo>
                    <a:pt x="0" y="718"/>
                    <a:pt x="6" y="769"/>
                    <a:pt x="18" y="818"/>
                  </a:cubicBezTo>
                  <a:cubicBezTo>
                    <a:pt x="26" y="852"/>
                    <a:pt x="36" y="885"/>
                    <a:pt x="49" y="917"/>
                  </a:cubicBezTo>
                  <a:cubicBezTo>
                    <a:pt x="62" y="948"/>
                    <a:pt x="77" y="979"/>
                    <a:pt x="95" y="1008"/>
                  </a:cubicBezTo>
                  <a:cubicBezTo>
                    <a:pt x="233" y="1284"/>
                    <a:pt x="233" y="1284"/>
                    <a:pt x="233" y="1284"/>
                  </a:cubicBezTo>
                  <a:cubicBezTo>
                    <a:pt x="665" y="2148"/>
                    <a:pt x="665" y="2148"/>
                    <a:pt x="665" y="2148"/>
                  </a:cubicBezTo>
                  <a:cubicBezTo>
                    <a:pt x="1235" y="1008"/>
                    <a:pt x="1235" y="1008"/>
                    <a:pt x="1235" y="1008"/>
                  </a:cubicBezTo>
                  <a:cubicBezTo>
                    <a:pt x="1253" y="979"/>
                    <a:pt x="1268" y="948"/>
                    <a:pt x="1281" y="917"/>
                  </a:cubicBezTo>
                  <a:cubicBezTo>
                    <a:pt x="1294" y="885"/>
                    <a:pt x="1304" y="852"/>
                    <a:pt x="1312" y="818"/>
                  </a:cubicBezTo>
                  <a:cubicBezTo>
                    <a:pt x="1324" y="769"/>
                    <a:pt x="1330" y="718"/>
                    <a:pt x="1330" y="665"/>
                  </a:cubicBezTo>
                  <a:cubicBezTo>
                    <a:pt x="1330" y="530"/>
                    <a:pt x="1289" y="403"/>
                    <a:pt x="1219" y="298"/>
                  </a:cubicBezTo>
                  <a:close/>
                  <a:moveTo>
                    <a:pt x="933" y="729"/>
                  </a:moveTo>
                  <a:cubicBezTo>
                    <a:pt x="929" y="743"/>
                    <a:pt x="925" y="756"/>
                    <a:pt x="920" y="769"/>
                  </a:cubicBezTo>
                  <a:cubicBezTo>
                    <a:pt x="901" y="807"/>
                    <a:pt x="901" y="807"/>
                    <a:pt x="901" y="807"/>
                  </a:cubicBezTo>
                  <a:cubicBezTo>
                    <a:pt x="853" y="887"/>
                    <a:pt x="765" y="940"/>
                    <a:pt x="665" y="940"/>
                  </a:cubicBezTo>
                  <a:cubicBezTo>
                    <a:pt x="638" y="940"/>
                    <a:pt x="612" y="936"/>
                    <a:pt x="588" y="929"/>
                  </a:cubicBezTo>
                  <a:cubicBezTo>
                    <a:pt x="521" y="910"/>
                    <a:pt x="465" y="865"/>
                    <a:pt x="429" y="807"/>
                  </a:cubicBezTo>
                  <a:cubicBezTo>
                    <a:pt x="411" y="769"/>
                    <a:pt x="411" y="769"/>
                    <a:pt x="411" y="769"/>
                  </a:cubicBezTo>
                  <a:cubicBezTo>
                    <a:pt x="405" y="756"/>
                    <a:pt x="401" y="743"/>
                    <a:pt x="398" y="729"/>
                  </a:cubicBezTo>
                  <a:cubicBezTo>
                    <a:pt x="393" y="708"/>
                    <a:pt x="390" y="687"/>
                    <a:pt x="390" y="665"/>
                  </a:cubicBezTo>
                  <a:cubicBezTo>
                    <a:pt x="390" y="514"/>
                    <a:pt x="513" y="391"/>
                    <a:pt x="665" y="391"/>
                  </a:cubicBezTo>
                  <a:cubicBezTo>
                    <a:pt x="790" y="391"/>
                    <a:pt x="896" y="474"/>
                    <a:pt x="929" y="588"/>
                  </a:cubicBezTo>
                  <a:cubicBezTo>
                    <a:pt x="936" y="613"/>
                    <a:pt x="940" y="639"/>
                    <a:pt x="940" y="665"/>
                  </a:cubicBezTo>
                  <a:cubicBezTo>
                    <a:pt x="940" y="687"/>
                    <a:pt x="937" y="708"/>
                    <a:pt x="933" y="72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56" name="Freeform 127"/>
            <p:cNvSpPr>
              <a:spLocks noEditPoints="1"/>
            </p:cNvSpPr>
            <p:nvPr/>
          </p:nvSpPr>
          <p:spPr bwMode="auto">
            <a:xfrm>
              <a:off x="6176398" y="3666482"/>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57" name="Freeform 54"/>
            <p:cNvSpPr>
              <a:spLocks noEditPoints="1"/>
            </p:cNvSpPr>
            <p:nvPr/>
          </p:nvSpPr>
          <p:spPr bwMode="auto">
            <a:xfrm>
              <a:off x="6231353" y="4827891"/>
              <a:ext cx="417706" cy="365815"/>
            </a:xfrm>
            <a:custGeom>
              <a:avLst/>
              <a:gdLst>
                <a:gd name="T0" fmla="*/ 4722 w 5146"/>
                <a:gd name="T1" fmla="*/ 0 h 4506"/>
                <a:gd name="T2" fmla="*/ 424 w 5146"/>
                <a:gd name="T3" fmla="*/ 0 h 4506"/>
                <a:gd name="T4" fmla="*/ 0 w 5146"/>
                <a:gd name="T5" fmla="*/ 430 h 4506"/>
                <a:gd name="T6" fmla="*/ 0 w 5146"/>
                <a:gd name="T7" fmla="*/ 2968 h 4506"/>
                <a:gd name="T8" fmla="*/ 424 w 5146"/>
                <a:gd name="T9" fmla="*/ 3398 h 4506"/>
                <a:gd name="T10" fmla="*/ 1515 w 5146"/>
                <a:gd name="T11" fmla="*/ 3398 h 4506"/>
                <a:gd name="T12" fmla="*/ 3849 w 5146"/>
                <a:gd name="T13" fmla="*/ 4506 h 4506"/>
                <a:gd name="T14" fmla="*/ 3142 w 5146"/>
                <a:gd name="T15" fmla="*/ 3398 h 4506"/>
                <a:gd name="T16" fmla="*/ 4722 w 5146"/>
                <a:gd name="T17" fmla="*/ 3398 h 4506"/>
                <a:gd name="T18" fmla="*/ 5146 w 5146"/>
                <a:gd name="T19" fmla="*/ 2968 h 4506"/>
                <a:gd name="T20" fmla="*/ 5146 w 5146"/>
                <a:gd name="T21" fmla="*/ 430 h 4506"/>
                <a:gd name="T22" fmla="*/ 4722 w 5146"/>
                <a:gd name="T23" fmla="*/ 0 h 4506"/>
                <a:gd name="T24" fmla="*/ 3771 w 5146"/>
                <a:gd name="T25" fmla="*/ 1314 h 4506"/>
                <a:gd name="T26" fmla="*/ 3772 w 5146"/>
                <a:gd name="T27" fmla="*/ 1375 h 4506"/>
                <a:gd name="T28" fmla="*/ 2418 w 5146"/>
                <a:gd name="T29" fmla="*/ 2729 h 4506"/>
                <a:gd name="T30" fmla="*/ 1689 w 5146"/>
                <a:gd name="T31" fmla="*/ 2515 h 4506"/>
                <a:gd name="T32" fmla="*/ 1802 w 5146"/>
                <a:gd name="T33" fmla="*/ 2522 h 4506"/>
                <a:gd name="T34" fmla="*/ 2393 w 5146"/>
                <a:gd name="T35" fmla="*/ 2318 h 4506"/>
                <a:gd name="T36" fmla="*/ 1949 w 5146"/>
                <a:gd name="T37" fmla="*/ 1988 h 4506"/>
                <a:gd name="T38" fmla="*/ 2038 w 5146"/>
                <a:gd name="T39" fmla="*/ 1997 h 4506"/>
                <a:gd name="T40" fmla="*/ 2164 w 5146"/>
                <a:gd name="T41" fmla="*/ 1980 h 4506"/>
                <a:gd name="T42" fmla="*/ 1782 w 5146"/>
                <a:gd name="T43" fmla="*/ 1513 h 4506"/>
                <a:gd name="T44" fmla="*/ 1782 w 5146"/>
                <a:gd name="T45" fmla="*/ 1507 h 4506"/>
                <a:gd name="T46" fmla="*/ 1998 w 5146"/>
                <a:gd name="T47" fmla="*/ 1567 h 4506"/>
                <a:gd name="T48" fmla="*/ 1786 w 5146"/>
                <a:gd name="T49" fmla="*/ 1171 h 4506"/>
                <a:gd name="T50" fmla="*/ 1850 w 5146"/>
                <a:gd name="T51" fmla="*/ 932 h 4506"/>
                <a:gd name="T52" fmla="*/ 2831 w 5146"/>
                <a:gd name="T53" fmla="*/ 1429 h 4506"/>
                <a:gd name="T54" fmla="*/ 2819 w 5146"/>
                <a:gd name="T55" fmla="*/ 1320 h 4506"/>
                <a:gd name="T56" fmla="*/ 3294 w 5146"/>
                <a:gd name="T57" fmla="*/ 844 h 4506"/>
                <a:gd name="T58" fmla="*/ 3642 w 5146"/>
                <a:gd name="T59" fmla="*/ 995 h 4506"/>
                <a:gd name="T60" fmla="*/ 3944 w 5146"/>
                <a:gd name="T61" fmla="*/ 879 h 4506"/>
                <a:gd name="T62" fmla="*/ 3735 w 5146"/>
                <a:gd name="T63" fmla="*/ 1142 h 4506"/>
                <a:gd name="T64" fmla="*/ 4008 w 5146"/>
                <a:gd name="T65" fmla="*/ 1068 h 4506"/>
                <a:gd name="T66" fmla="*/ 3771 w 5146"/>
                <a:gd name="T67" fmla="*/ 1314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6" h="4506">
                  <a:moveTo>
                    <a:pt x="4722" y="0"/>
                  </a:moveTo>
                  <a:cubicBezTo>
                    <a:pt x="424" y="0"/>
                    <a:pt x="424" y="0"/>
                    <a:pt x="424" y="0"/>
                  </a:cubicBezTo>
                  <a:cubicBezTo>
                    <a:pt x="190" y="0"/>
                    <a:pt x="0" y="192"/>
                    <a:pt x="0" y="430"/>
                  </a:cubicBezTo>
                  <a:cubicBezTo>
                    <a:pt x="0" y="2968"/>
                    <a:pt x="0" y="2968"/>
                    <a:pt x="0" y="2968"/>
                  </a:cubicBezTo>
                  <a:cubicBezTo>
                    <a:pt x="0" y="3205"/>
                    <a:pt x="190" y="3398"/>
                    <a:pt x="424" y="3398"/>
                  </a:cubicBezTo>
                  <a:cubicBezTo>
                    <a:pt x="1515" y="3398"/>
                    <a:pt x="1515" y="3398"/>
                    <a:pt x="1515" y="3398"/>
                  </a:cubicBezTo>
                  <a:cubicBezTo>
                    <a:pt x="3849" y="4506"/>
                    <a:pt x="3849" y="4506"/>
                    <a:pt x="3849" y="4506"/>
                  </a:cubicBezTo>
                  <a:cubicBezTo>
                    <a:pt x="3142" y="3398"/>
                    <a:pt x="3142" y="3398"/>
                    <a:pt x="3142" y="3398"/>
                  </a:cubicBezTo>
                  <a:cubicBezTo>
                    <a:pt x="4722" y="3398"/>
                    <a:pt x="4722" y="3398"/>
                    <a:pt x="4722" y="3398"/>
                  </a:cubicBezTo>
                  <a:cubicBezTo>
                    <a:pt x="4956" y="3398"/>
                    <a:pt x="5146" y="3205"/>
                    <a:pt x="5146" y="2968"/>
                  </a:cubicBezTo>
                  <a:cubicBezTo>
                    <a:pt x="5146" y="430"/>
                    <a:pt x="5146" y="430"/>
                    <a:pt x="5146" y="430"/>
                  </a:cubicBezTo>
                  <a:cubicBezTo>
                    <a:pt x="5146" y="192"/>
                    <a:pt x="4956" y="0"/>
                    <a:pt x="4722" y="0"/>
                  </a:cubicBezTo>
                  <a:close/>
                  <a:moveTo>
                    <a:pt x="3771" y="1314"/>
                  </a:moveTo>
                  <a:cubicBezTo>
                    <a:pt x="3771" y="1334"/>
                    <a:pt x="3772" y="1355"/>
                    <a:pt x="3772" y="1375"/>
                  </a:cubicBezTo>
                  <a:cubicBezTo>
                    <a:pt x="3772" y="2004"/>
                    <a:pt x="3293" y="2729"/>
                    <a:pt x="2418" y="2729"/>
                  </a:cubicBezTo>
                  <a:cubicBezTo>
                    <a:pt x="2149" y="2729"/>
                    <a:pt x="1899" y="2650"/>
                    <a:pt x="1689" y="2515"/>
                  </a:cubicBezTo>
                  <a:cubicBezTo>
                    <a:pt x="1726" y="2520"/>
                    <a:pt x="1764" y="2522"/>
                    <a:pt x="1802" y="2522"/>
                  </a:cubicBezTo>
                  <a:cubicBezTo>
                    <a:pt x="2025" y="2522"/>
                    <a:pt x="2230" y="2446"/>
                    <a:pt x="2393" y="2318"/>
                  </a:cubicBezTo>
                  <a:cubicBezTo>
                    <a:pt x="2185" y="2315"/>
                    <a:pt x="2009" y="2177"/>
                    <a:pt x="1949" y="1988"/>
                  </a:cubicBezTo>
                  <a:cubicBezTo>
                    <a:pt x="1978" y="1994"/>
                    <a:pt x="2008" y="1997"/>
                    <a:pt x="2038" y="1997"/>
                  </a:cubicBezTo>
                  <a:cubicBezTo>
                    <a:pt x="2082" y="1997"/>
                    <a:pt x="2124" y="1991"/>
                    <a:pt x="2164" y="1980"/>
                  </a:cubicBezTo>
                  <a:cubicBezTo>
                    <a:pt x="1946" y="1936"/>
                    <a:pt x="1782" y="1744"/>
                    <a:pt x="1782" y="1513"/>
                  </a:cubicBezTo>
                  <a:cubicBezTo>
                    <a:pt x="1782" y="1511"/>
                    <a:pt x="1782" y="1509"/>
                    <a:pt x="1782" y="1507"/>
                  </a:cubicBezTo>
                  <a:cubicBezTo>
                    <a:pt x="1846" y="1543"/>
                    <a:pt x="1920" y="1564"/>
                    <a:pt x="1998" y="1567"/>
                  </a:cubicBezTo>
                  <a:cubicBezTo>
                    <a:pt x="1870" y="1481"/>
                    <a:pt x="1786" y="1336"/>
                    <a:pt x="1786" y="1171"/>
                  </a:cubicBezTo>
                  <a:cubicBezTo>
                    <a:pt x="1786" y="1084"/>
                    <a:pt x="1809" y="1002"/>
                    <a:pt x="1850" y="932"/>
                  </a:cubicBezTo>
                  <a:cubicBezTo>
                    <a:pt x="2085" y="1219"/>
                    <a:pt x="2436" y="1409"/>
                    <a:pt x="2831" y="1429"/>
                  </a:cubicBezTo>
                  <a:cubicBezTo>
                    <a:pt x="2823" y="1394"/>
                    <a:pt x="2819" y="1358"/>
                    <a:pt x="2819" y="1320"/>
                  </a:cubicBezTo>
                  <a:cubicBezTo>
                    <a:pt x="2819" y="1057"/>
                    <a:pt x="3032" y="844"/>
                    <a:pt x="3294" y="844"/>
                  </a:cubicBezTo>
                  <a:cubicBezTo>
                    <a:pt x="3431" y="844"/>
                    <a:pt x="3555" y="902"/>
                    <a:pt x="3642" y="995"/>
                  </a:cubicBezTo>
                  <a:cubicBezTo>
                    <a:pt x="3750" y="973"/>
                    <a:pt x="3852" y="934"/>
                    <a:pt x="3944" y="879"/>
                  </a:cubicBezTo>
                  <a:cubicBezTo>
                    <a:pt x="3908" y="990"/>
                    <a:pt x="3833" y="1084"/>
                    <a:pt x="3735" y="1142"/>
                  </a:cubicBezTo>
                  <a:cubicBezTo>
                    <a:pt x="3831" y="1131"/>
                    <a:pt x="3923" y="1105"/>
                    <a:pt x="4008" y="1068"/>
                  </a:cubicBezTo>
                  <a:cubicBezTo>
                    <a:pt x="3944" y="1163"/>
                    <a:pt x="3864" y="1247"/>
                    <a:pt x="3771" y="13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58" name="Freeform 356"/>
            <p:cNvSpPr>
              <a:spLocks/>
            </p:cNvSpPr>
            <p:nvPr/>
          </p:nvSpPr>
          <p:spPr bwMode="auto">
            <a:xfrm>
              <a:off x="6098738" y="5021271"/>
              <a:ext cx="80017" cy="184087"/>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59" name="Freeform 58"/>
            <p:cNvSpPr>
              <a:spLocks noEditPoints="1"/>
            </p:cNvSpPr>
            <p:nvPr/>
          </p:nvSpPr>
          <p:spPr bwMode="auto">
            <a:xfrm>
              <a:off x="6013450" y="5489939"/>
              <a:ext cx="441325" cy="441876"/>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nvGrpSpPr>
            <p:cNvPr id="660" name="Group 659"/>
            <p:cNvGrpSpPr/>
            <p:nvPr/>
          </p:nvGrpSpPr>
          <p:grpSpPr>
            <a:xfrm>
              <a:off x="7387085" y="3061031"/>
              <a:ext cx="377629" cy="540546"/>
              <a:chOff x="-1824038" y="1800225"/>
              <a:chExt cx="2546351" cy="3644900"/>
            </a:xfrm>
            <a:solidFill>
              <a:schemeClr val="tx1"/>
            </a:solidFill>
          </p:grpSpPr>
          <p:sp>
            <p:nvSpPr>
              <p:cNvPr id="730" name="Freeform 62"/>
              <p:cNvSpPr>
                <a:spLocks/>
              </p:cNvSpPr>
              <p:nvPr/>
            </p:nvSpPr>
            <p:spPr bwMode="auto">
              <a:xfrm>
                <a:off x="341313" y="1800225"/>
                <a:ext cx="381000" cy="3644900"/>
              </a:xfrm>
              <a:custGeom>
                <a:avLst/>
                <a:gdLst>
                  <a:gd name="T0" fmla="*/ 0 w 240"/>
                  <a:gd name="T1" fmla="*/ 0 h 2296"/>
                  <a:gd name="T2" fmla="*/ 240 w 240"/>
                  <a:gd name="T3" fmla="*/ 0 h 2296"/>
                  <a:gd name="T4" fmla="*/ 240 w 240"/>
                  <a:gd name="T5" fmla="*/ 2296 h 2296"/>
                  <a:gd name="T6" fmla="*/ 0 w 240"/>
                  <a:gd name="T7" fmla="*/ 2296 h 2296"/>
                  <a:gd name="T8" fmla="*/ 0 w 240"/>
                  <a:gd name="T9" fmla="*/ 0 h 2296"/>
                  <a:gd name="T10" fmla="*/ 0 w 240"/>
                  <a:gd name="T11" fmla="*/ 0 h 2296"/>
                </a:gdLst>
                <a:ahLst/>
                <a:cxnLst>
                  <a:cxn ang="0">
                    <a:pos x="T0" y="T1"/>
                  </a:cxn>
                  <a:cxn ang="0">
                    <a:pos x="T2" y="T3"/>
                  </a:cxn>
                  <a:cxn ang="0">
                    <a:pos x="T4" y="T5"/>
                  </a:cxn>
                  <a:cxn ang="0">
                    <a:pos x="T6" y="T7"/>
                  </a:cxn>
                  <a:cxn ang="0">
                    <a:pos x="T8" y="T9"/>
                  </a:cxn>
                  <a:cxn ang="0">
                    <a:pos x="T10" y="T11"/>
                  </a:cxn>
                </a:cxnLst>
                <a:rect l="0" t="0" r="r" b="b"/>
                <a:pathLst>
                  <a:path w="240" h="2296">
                    <a:moveTo>
                      <a:pt x="0" y="0"/>
                    </a:moveTo>
                    <a:lnTo>
                      <a:pt x="240" y="0"/>
                    </a:lnTo>
                    <a:lnTo>
                      <a:pt x="240" y="2296"/>
                    </a:lnTo>
                    <a:lnTo>
                      <a:pt x="0" y="2296"/>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1" name="Freeform 63"/>
              <p:cNvSpPr>
                <a:spLocks/>
              </p:cNvSpPr>
              <p:nvPr/>
            </p:nvSpPr>
            <p:spPr bwMode="auto">
              <a:xfrm>
                <a:off x="-196850" y="4511675"/>
                <a:ext cx="381000" cy="933450"/>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2" name="Freeform 64"/>
              <p:cNvSpPr>
                <a:spLocks/>
              </p:cNvSpPr>
              <p:nvPr/>
            </p:nvSpPr>
            <p:spPr bwMode="auto">
              <a:xfrm>
                <a:off x="-731838" y="2924175"/>
                <a:ext cx="376238" cy="2520950"/>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3" name="Freeform 65"/>
              <p:cNvSpPr>
                <a:spLocks/>
              </p:cNvSpPr>
              <p:nvPr/>
            </p:nvSpPr>
            <p:spPr bwMode="auto">
              <a:xfrm>
                <a:off x="-1284288" y="2270125"/>
                <a:ext cx="379413" cy="3175000"/>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4" name="Freeform 66"/>
              <p:cNvSpPr>
                <a:spLocks/>
              </p:cNvSpPr>
              <p:nvPr/>
            </p:nvSpPr>
            <p:spPr bwMode="auto">
              <a:xfrm>
                <a:off x="-1824038" y="3470275"/>
                <a:ext cx="381000" cy="1974850"/>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661" name="Freeform 42"/>
            <p:cNvSpPr>
              <a:spLocks/>
            </p:cNvSpPr>
            <p:nvPr/>
          </p:nvSpPr>
          <p:spPr bwMode="auto">
            <a:xfrm>
              <a:off x="5656262" y="277851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62" name="Freeform 43"/>
            <p:cNvSpPr>
              <a:spLocks noEditPoints="1"/>
            </p:cNvSpPr>
            <p:nvPr/>
          </p:nvSpPr>
          <p:spPr bwMode="auto">
            <a:xfrm>
              <a:off x="5793964" y="277851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63" name="Freeform 44"/>
            <p:cNvSpPr>
              <a:spLocks/>
            </p:cNvSpPr>
            <p:nvPr/>
          </p:nvSpPr>
          <p:spPr bwMode="auto">
            <a:xfrm>
              <a:off x="5967751" y="2778513"/>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64" name="Freeform 42"/>
            <p:cNvSpPr>
              <a:spLocks/>
            </p:cNvSpPr>
            <p:nvPr/>
          </p:nvSpPr>
          <p:spPr bwMode="auto">
            <a:xfrm>
              <a:off x="5844206" y="299995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65" name="Freeform 43"/>
            <p:cNvSpPr>
              <a:spLocks noEditPoints="1"/>
            </p:cNvSpPr>
            <p:nvPr/>
          </p:nvSpPr>
          <p:spPr bwMode="auto">
            <a:xfrm>
              <a:off x="5981664" y="299995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66" name="Freeform 14"/>
            <p:cNvSpPr>
              <a:spLocks/>
            </p:cNvSpPr>
            <p:nvPr/>
          </p:nvSpPr>
          <p:spPr bwMode="auto">
            <a:xfrm>
              <a:off x="5549197"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67" name="Freeform 70"/>
            <p:cNvSpPr>
              <a:spLocks noEditPoints="1"/>
            </p:cNvSpPr>
            <p:nvPr/>
          </p:nvSpPr>
          <p:spPr bwMode="auto">
            <a:xfrm>
              <a:off x="5067897" y="4810126"/>
              <a:ext cx="450325" cy="383380"/>
            </a:xfrm>
            <a:custGeom>
              <a:avLst/>
              <a:gdLst>
                <a:gd name="T0" fmla="*/ 25 w 518"/>
                <a:gd name="T1" fmla="*/ 104 h 441"/>
                <a:gd name="T2" fmla="*/ 25 w 518"/>
                <a:gd name="T3" fmla="*/ 415 h 441"/>
                <a:gd name="T4" fmla="*/ 492 w 518"/>
                <a:gd name="T5" fmla="*/ 415 h 441"/>
                <a:gd name="T6" fmla="*/ 492 w 518"/>
                <a:gd name="T7" fmla="*/ 104 h 441"/>
                <a:gd name="T8" fmla="*/ 25 w 518"/>
                <a:gd name="T9" fmla="*/ 104 h 441"/>
                <a:gd name="T10" fmla="*/ 0 w 518"/>
                <a:gd name="T11" fmla="*/ 78 h 441"/>
                <a:gd name="T12" fmla="*/ 518 w 518"/>
                <a:gd name="T13" fmla="*/ 78 h 441"/>
                <a:gd name="T14" fmla="*/ 518 w 518"/>
                <a:gd name="T15" fmla="*/ 441 h 441"/>
                <a:gd name="T16" fmla="*/ 0 w 518"/>
                <a:gd name="T17" fmla="*/ 441 h 441"/>
                <a:gd name="T18" fmla="*/ 0 w 518"/>
                <a:gd name="T19" fmla="*/ 78 h 441"/>
                <a:gd name="T20" fmla="*/ 0 w 518"/>
                <a:gd name="T21" fmla="*/ 0 h 441"/>
                <a:gd name="T22" fmla="*/ 518 w 518"/>
                <a:gd name="T23" fmla="*/ 0 h 441"/>
                <a:gd name="T24" fmla="*/ 518 w 518"/>
                <a:gd name="T25" fmla="*/ 52 h 441"/>
                <a:gd name="T26" fmla="*/ 0 w 518"/>
                <a:gd name="T27" fmla="*/ 52 h 441"/>
                <a:gd name="T28" fmla="*/ 0 w 518"/>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8" h="441">
                  <a:moveTo>
                    <a:pt x="25" y="104"/>
                  </a:moveTo>
                  <a:cubicBezTo>
                    <a:pt x="25" y="415"/>
                    <a:pt x="25" y="415"/>
                    <a:pt x="25" y="415"/>
                  </a:cubicBezTo>
                  <a:cubicBezTo>
                    <a:pt x="492" y="415"/>
                    <a:pt x="492" y="415"/>
                    <a:pt x="492" y="415"/>
                  </a:cubicBezTo>
                  <a:cubicBezTo>
                    <a:pt x="492" y="104"/>
                    <a:pt x="492" y="104"/>
                    <a:pt x="492" y="104"/>
                  </a:cubicBezTo>
                  <a:cubicBezTo>
                    <a:pt x="25" y="104"/>
                    <a:pt x="25" y="104"/>
                    <a:pt x="25" y="104"/>
                  </a:cubicBezTo>
                  <a:close/>
                  <a:moveTo>
                    <a:pt x="0" y="78"/>
                  </a:moveTo>
                  <a:cubicBezTo>
                    <a:pt x="518" y="78"/>
                    <a:pt x="518" y="78"/>
                    <a:pt x="518" y="78"/>
                  </a:cubicBezTo>
                  <a:cubicBezTo>
                    <a:pt x="518" y="441"/>
                    <a:pt x="518" y="441"/>
                    <a:pt x="518" y="441"/>
                  </a:cubicBezTo>
                  <a:cubicBezTo>
                    <a:pt x="0" y="441"/>
                    <a:pt x="0" y="441"/>
                    <a:pt x="0" y="441"/>
                  </a:cubicBezTo>
                  <a:cubicBezTo>
                    <a:pt x="0" y="78"/>
                    <a:pt x="0" y="78"/>
                    <a:pt x="0" y="78"/>
                  </a:cubicBezTo>
                  <a:close/>
                  <a:moveTo>
                    <a:pt x="0" y="0"/>
                  </a:moveTo>
                  <a:cubicBezTo>
                    <a:pt x="518" y="0"/>
                    <a:pt x="518" y="0"/>
                    <a:pt x="518" y="0"/>
                  </a:cubicBezTo>
                  <a:cubicBezTo>
                    <a:pt x="518" y="52"/>
                    <a:pt x="518" y="52"/>
                    <a:pt x="518" y="52"/>
                  </a:cubicBezTo>
                  <a:cubicBezTo>
                    <a:pt x="0" y="52"/>
                    <a:pt x="0" y="52"/>
                    <a:pt x="0" y="52"/>
                  </a:cubicBezTo>
                  <a:cubicBezTo>
                    <a:pt x="0" y="0"/>
                    <a:pt x="0" y="0"/>
                    <a:pt x="0" y="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68" name="Freeform 304"/>
            <p:cNvSpPr>
              <a:spLocks/>
            </p:cNvSpPr>
            <p:nvPr/>
          </p:nvSpPr>
          <p:spPr bwMode="auto">
            <a:xfrm>
              <a:off x="5101675"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69" name="Freeform 305"/>
            <p:cNvSpPr>
              <a:spLocks/>
            </p:cNvSpPr>
            <p:nvPr/>
          </p:nvSpPr>
          <p:spPr bwMode="auto">
            <a:xfrm>
              <a:off x="5243879"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70" name="Freeform 306"/>
            <p:cNvSpPr>
              <a:spLocks/>
            </p:cNvSpPr>
            <p:nvPr/>
          </p:nvSpPr>
          <p:spPr bwMode="auto">
            <a:xfrm>
              <a:off x="5377199"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671" name="Group 670"/>
            <p:cNvGrpSpPr/>
            <p:nvPr/>
          </p:nvGrpSpPr>
          <p:grpSpPr>
            <a:xfrm flipH="1">
              <a:off x="4309896" y="3063240"/>
              <a:ext cx="285916" cy="306479"/>
              <a:chOff x="2556535" y="3145652"/>
              <a:chExt cx="297818" cy="470859"/>
            </a:xfrm>
            <a:solidFill>
              <a:schemeClr val="tx1"/>
            </a:solidFill>
          </p:grpSpPr>
          <p:sp>
            <p:nvSpPr>
              <p:cNvPr id="726"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27"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28"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29"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672" name="Group 671"/>
            <p:cNvGrpSpPr/>
            <p:nvPr/>
          </p:nvGrpSpPr>
          <p:grpSpPr>
            <a:xfrm>
              <a:off x="7913211" y="4370354"/>
              <a:ext cx="264848" cy="297146"/>
              <a:chOff x="6495975" y="3510751"/>
              <a:chExt cx="306572" cy="343958"/>
            </a:xfrm>
            <a:solidFill>
              <a:schemeClr val="tx1"/>
            </a:solidFill>
          </p:grpSpPr>
          <p:sp>
            <p:nvSpPr>
              <p:cNvPr id="72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2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2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673" name="Group 672"/>
            <p:cNvGrpSpPr/>
            <p:nvPr/>
          </p:nvGrpSpPr>
          <p:grpSpPr>
            <a:xfrm>
              <a:off x="5713256" y="4156345"/>
              <a:ext cx="306572" cy="343958"/>
              <a:chOff x="6495975" y="3510751"/>
              <a:chExt cx="306572" cy="343958"/>
            </a:xfrm>
          </p:grpSpPr>
          <p:sp>
            <p:nvSpPr>
              <p:cNvPr id="720"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21"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22"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674" name="Freeform 274"/>
            <p:cNvSpPr>
              <a:spLocks/>
            </p:cNvSpPr>
            <p:nvPr/>
          </p:nvSpPr>
          <p:spPr bwMode="auto">
            <a:xfrm>
              <a:off x="5389245"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75" name="Freeform 275"/>
            <p:cNvSpPr>
              <a:spLocks noEditPoints="1"/>
            </p:cNvSpPr>
            <p:nvPr/>
          </p:nvSpPr>
          <p:spPr bwMode="auto">
            <a:xfrm>
              <a:off x="5511771"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676" name="Group 675"/>
            <p:cNvGrpSpPr/>
            <p:nvPr/>
          </p:nvGrpSpPr>
          <p:grpSpPr>
            <a:xfrm flipH="1">
              <a:off x="6011768" y="1860551"/>
              <a:ext cx="285916" cy="409910"/>
              <a:chOff x="2556535" y="3145652"/>
              <a:chExt cx="297818" cy="470859"/>
            </a:xfrm>
            <a:solidFill>
              <a:schemeClr val="tx1"/>
            </a:solidFill>
          </p:grpSpPr>
          <p:sp>
            <p:nvSpPr>
              <p:cNvPr id="716"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7"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8"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9"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677" name="Freeform 74"/>
            <p:cNvSpPr>
              <a:spLocks noEditPoints="1"/>
            </p:cNvSpPr>
            <p:nvPr/>
          </p:nvSpPr>
          <p:spPr bwMode="auto">
            <a:xfrm rot="721847">
              <a:off x="6799556" y="5442121"/>
              <a:ext cx="437890" cy="355566"/>
            </a:xfrm>
            <a:custGeom>
              <a:avLst/>
              <a:gdLst>
                <a:gd name="T0" fmla="*/ 752 w 1049"/>
                <a:gd name="T1" fmla="*/ 377 h 851"/>
                <a:gd name="T2" fmla="*/ 628 w 1049"/>
                <a:gd name="T3" fmla="*/ 359 h 851"/>
                <a:gd name="T4" fmla="*/ 664 w 1049"/>
                <a:gd name="T5" fmla="*/ 235 h 851"/>
                <a:gd name="T6" fmla="*/ 602 w 1049"/>
                <a:gd name="T7" fmla="*/ 168 h 851"/>
                <a:gd name="T8" fmla="*/ 491 w 1049"/>
                <a:gd name="T9" fmla="*/ 230 h 851"/>
                <a:gd name="T10" fmla="*/ 438 w 1049"/>
                <a:gd name="T11" fmla="*/ 97 h 851"/>
                <a:gd name="T12" fmla="*/ 350 w 1049"/>
                <a:gd name="T13" fmla="*/ 84 h 851"/>
                <a:gd name="T14" fmla="*/ 305 w 1049"/>
                <a:gd name="T15" fmla="*/ 221 h 851"/>
                <a:gd name="T16" fmla="*/ 190 w 1049"/>
                <a:gd name="T17" fmla="*/ 164 h 851"/>
                <a:gd name="T18" fmla="*/ 111 w 1049"/>
                <a:gd name="T19" fmla="*/ 213 h 851"/>
                <a:gd name="T20" fmla="*/ 155 w 1049"/>
                <a:gd name="T21" fmla="*/ 333 h 851"/>
                <a:gd name="T22" fmla="*/ 35 w 1049"/>
                <a:gd name="T23" fmla="*/ 363 h 851"/>
                <a:gd name="T24" fmla="*/ 0 w 1049"/>
                <a:gd name="T25" fmla="*/ 448 h 851"/>
                <a:gd name="T26" fmla="*/ 115 w 1049"/>
                <a:gd name="T27" fmla="*/ 514 h 851"/>
                <a:gd name="T28" fmla="*/ 40 w 1049"/>
                <a:gd name="T29" fmla="*/ 616 h 851"/>
                <a:gd name="T30" fmla="*/ 71 w 1049"/>
                <a:gd name="T31" fmla="*/ 705 h 851"/>
                <a:gd name="T32" fmla="*/ 199 w 1049"/>
                <a:gd name="T33" fmla="*/ 678 h 851"/>
                <a:gd name="T34" fmla="*/ 208 w 1049"/>
                <a:gd name="T35" fmla="*/ 807 h 851"/>
                <a:gd name="T36" fmla="*/ 288 w 1049"/>
                <a:gd name="T37" fmla="*/ 851 h 851"/>
                <a:gd name="T38" fmla="*/ 367 w 1049"/>
                <a:gd name="T39" fmla="*/ 749 h 851"/>
                <a:gd name="T40" fmla="*/ 398 w 1049"/>
                <a:gd name="T41" fmla="*/ 749 h 851"/>
                <a:gd name="T42" fmla="*/ 482 w 1049"/>
                <a:gd name="T43" fmla="*/ 851 h 851"/>
                <a:gd name="T44" fmla="*/ 562 w 1049"/>
                <a:gd name="T45" fmla="*/ 807 h 851"/>
                <a:gd name="T46" fmla="*/ 571 w 1049"/>
                <a:gd name="T47" fmla="*/ 678 h 851"/>
                <a:gd name="T48" fmla="*/ 695 w 1049"/>
                <a:gd name="T49" fmla="*/ 705 h 851"/>
                <a:gd name="T50" fmla="*/ 730 w 1049"/>
                <a:gd name="T51" fmla="*/ 616 h 851"/>
                <a:gd name="T52" fmla="*/ 655 w 1049"/>
                <a:gd name="T53" fmla="*/ 514 h 851"/>
                <a:gd name="T54" fmla="*/ 765 w 1049"/>
                <a:gd name="T55" fmla="*/ 448 h 851"/>
                <a:gd name="T56" fmla="*/ 491 w 1049"/>
                <a:gd name="T57" fmla="*/ 590 h 851"/>
                <a:gd name="T58" fmla="*/ 279 w 1049"/>
                <a:gd name="T59" fmla="*/ 590 h 851"/>
                <a:gd name="T60" fmla="*/ 279 w 1049"/>
                <a:gd name="T61" fmla="*/ 372 h 851"/>
                <a:gd name="T62" fmla="*/ 491 w 1049"/>
                <a:gd name="T63" fmla="*/ 372 h 851"/>
                <a:gd name="T64" fmla="*/ 314 w 1049"/>
                <a:gd name="T65" fmla="*/ 479 h 851"/>
                <a:gd name="T66" fmla="*/ 456 w 1049"/>
                <a:gd name="T67" fmla="*/ 479 h 851"/>
                <a:gd name="T68" fmla="*/ 314 w 1049"/>
                <a:gd name="T69" fmla="*/ 479 h 851"/>
                <a:gd name="T70" fmla="*/ 1005 w 1049"/>
                <a:gd name="T71" fmla="*/ 208 h 851"/>
                <a:gd name="T72" fmla="*/ 1040 w 1049"/>
                <a:gd name="T73" fmla="*/ 142 h 851"/>
                <a:gd name="T74" fmla="*/ 1049 w 1049"/>
                <a:gd name="T75" fmla="*/ 119 h 851"/>
                <a:gd name="T76" fmla="*/ 1009 w 1049"/>
                <a:gd name="T77" fmla="*/ 80 h 851"/>
                <a:gd name="T78" fmla="*/ 951 w 1049"/>
                <a:gd name="T79" fmla="*/ 97 h 851"/>
                <a:gd name="T80" fmla="*/ 889 w 1049"/>
                <a:gd name="T81" fmla="*/ 13 h 851"/>
                <a:gd name="T82" fmla="*/ 837 w 1049"/>
                <a:gd name="T83" fmla="*/ 0 h 851"/>
                <a:gd name="T84" fmla="*/ 806 w 1049"/>
                <a:gd name="T85" fmla="*/ 71 h 851"/>
                <a:gd name="T86" fmla="*/ 704 w 1049"/>
                <a:gd name="T87" fmla="*/ 80 h 851"/>
                <a:gd name="T88" fmla="*/ 682 w 1049"/>
                <a:gd name="T89" fmla="*/ 89 h 851"/>
                <a:gd name="T90" fmla="*/ 659 w 1049"/>
                <a:gd name="T91" fmla="*/ 128 h 851"/>
                <a:gd name="T92" fmla="*/ 712 w 1049"/>
                <a:gd name="T93" fmla="*/ 182 h 851"/>
                <a:gd name="T94" fmla="*/ 712 w 1049"/>
                <a:gd name="T95" fmla="*/ 235 h 851"/>
                <a:gd name="T96" fmla="*/ 659 w 1049"/>
                <a:gd name="T97" fmla="*/ 288 h 851"/>
                <a:gd name="T98" fmla="*/ 682 w 1049"/>
                <a:gd name="T99" fmla="*/ 328 h 851"/>
                <a:gd name="T100" fmla="*/ 704 w 1049"/>
                <a:gd name="T101" fmla="*/ 337 h 851"/>
                <a:gd name="T102" fmla="*/ 806 w 1049"/>
                <a:gd name="T103" fmla="*/ 346 h 851"/>
                <a:gd name="T104" fmla="*/ 837 w 1049"/>
                <a:gd name="T105" fmla="*/ 417 h 851"/>
                <a:gd name="T106" fmla="*/ 889 w 1049"/>
                <a:gd name="T107" fmla="*/ 403 h 851"/>
                <a:gd name="T108" fmla="*/ 951 w 1049"/>
                <a:gd name="T109" fmla="*/ 319 h 851"/>
                <a:gd name="T110" fmla="*/ 1009 w 1049"/>
                <a:gd name="T111" fmla="*/ 337 h 851"/>
                <a:gd name="T112" fmla="*/ 1049 w 1049"/>
                <a:gd name="T113" fmla="*/ 297 h 851"/>
                <a:gd name="T114" fmla="*/ 1040 w 1049"/>
                <a:gd name="T115" fmla="*/ 275 h 851"/>
                <a:gd name="T116" fmla="*/ 1000 w 1049"/>
                <a:gd name="T117" fmla="*/ 235 h 851"/>
                <a:gd name="T118" fmla="*/ 854 w 1049"/>
                <a:gd name="T119" fmla="*/ 266 h 851"/>
                <a:gd name="T120" fmla="*/ 854 w 1049"/>
                <a:gd name="T121" fmla="*/ 1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9" h="851">
                  <a:moveTo>
                    <a:pt x="765" y="448"/>
                  </a:moveTo>
                  <a:cubicBezTo>
                    <a:pt x="752" y="377"/>
                    <a:pt x="752" y="377"/>
                    <a:pt x="752" y="377"/>
                  </a:cubicBezTo>
                  <a:cubicBezTo>
                    <a:pt x="752" y="372"/>
                    <a:pt x="748" y="363"/>
                    <a:pt x="735" y="363"/>
                  </a:cubicBezTo>
                  <a:cubicBezTo>
                    <a:pt x="628" y="359"/>
                    <a:pt x="628" y="359"/>
                    <a:pt x="628" y="359"/>
                  </a:cubicBezTo>
                  <a:cubicBezTo>
                    <a:pt x="624" y="350"/>
                    <a:pt x="620" y="341"/>
                    <a:pt x="611" y="333"/>
                  </a:cubicBezTo>
                  <a:cubicBezTo>
                    <a:pt x="664" y="235"/>
                    <a:pt x="664" y="235"/>
                    <a:pt x="664" y="235"/>
                  </a:cubicBezTo>
                  <a:cubicBezTo>
                    <a:pt x="668" y="226"/>
                    <a:pt x="664" y="217"/>
                    <a:pt x="655" y="213"/>
                  </a:cubicBezTo>
                  <a:cubicBezTo>
                    <a:pt x="602" y="168"/>
                    <a:pt x="602" y="168"/>
                    <a:pt x="602" y="168"/>
                  </a:cubicBezTo>
                  <a:cubicBezTo>
                    <a:pt x="598" y="159"/>
                    <a:pt x="584" y="159"/>
                    <a:pt x="580" y="164"/>
                  </a:cubicBezTo>
                  <a:cubicBezTo>
                    <a:pt x="491" y="230"/>
                    <a:pt x="491" y="230"/>
                    <a:pt x="491" y="230"/>
                  </a:cubicBezTo>
                  <a:cubicBezTo>
                    <a:pt x="482" y="226"/>
                    <a:pt x="478" y="226"/>
                    <a:pt x="465" y="221"/>
                  </a:cubicBezTo>
                  <a:cubicBezTo>
                    <a:pt x="438" y="97"/>
                    <a:pt x="438" y="97"/>
                    <a:pt x="438" y="97"/>
                  </a:cubicBezTo>
                  <a:cubicBezTo>
                    <a:pt x="438" y="89"/>
                    <a:pt x="429" y="84"/>
                    <a:pt x="420" y="84"/>
                  </a:cubicBezTo>
                  <a:cubicBezTo>
                    <a:pt x="350" y="84"/>
                    <a:pt x="350" y="84"/>
                    <a:pt x="350" y="84"/>
                  </a:cubicBezTo>
                  <a:cubicBezTo>
                    <a:pt x="341" y="84"/>
                    <a:pt x="332" y="89"/>
                    <a:pt x="328" y="97"/>
                  </a:cubicBezTo>
                  <a:cubicBezTo>
                    <a:pt x="305" y="221"/>
                    <a:pt x="305" y="221"/>
                    <a:pt x="305" y="221"/>
                  </a:cubicBezTo>
                  <a:cubicBezTo>
                    <a:pt x="292" y="226"/>
                    <a:pt x="283" y="226"/>
                    <a:pt x="279" y="230"/>
                  </a:cubicBezTo>
                  <a:cubicBezTo>
                    <a:pt x="190" y="164"/>
                    <a:pt x="190" y="164"/>
                    <a:pt x="190" y="164"/>
                  </a:cubicBezTo>
                  <a:cubicBezTo>
                    <a:pt x="182" y="159"/>
                    <a:pt x="173" y="159"/>
                    <a:pt x="168" y="164"/>
                  </a:cubicBezTo>
                  <a:cubicBezTo>
                    <a:pt x="111" y="213"/>
                    <a:pt x="111" y="213"/>
                    <a:pt x="111" y="213"/>
                  </a:cubicBezTo>
                  <a:cubicBezTo>
                    <a:pt x="106" y="217"/>
                    <a:pt x="106" y="226"/>
                    <a:pt x="106" y="235"/>
                  </a:cubicBezTo>
                  <a:cubicBezTo>
                    <a:pt x="155" y="333"/>
                    <a:pt x="155" y="333"/>
                    <a:pt x="155" y="333"/>
                  </a:cubicBezTo>
                  <a:cubicBezTo>
                    <a:pt x="151" y="341"/>
                    <a:pt x="146" y="350"/>
                    <a:pt x="142" y="359"/>
                  </a:cubicBezTo>
                  <a:cubicBezTo>
                    <a:pt x="35" y="363"/>
                    <a:pt x="35" y="363"/>
                    <a:pt x="35" y="363"/>
                  </a:cubicBezTo>
                  <a:cubicBezTo>
                    <a:pt x="22" y="363"/>
                    <a:pt x="18" y="372"/>
                    <a:pt x="13" y="377"/>
                  </a:cubicBezTo>
                  <a:cubicBezTo>
                    <a:pt x="0" y="448"/>
                    <a:pt x="0" y="448"/>
                    <a:pt x="0" y="448"/>
                  </a:cubicBezTo>
                  <a:cubicBezTo>
                    <a:pt x="0" y="457"/>
                    <a:pt x="4" y="465"/>
                    <a:pt x="13" y="470"/>
                  </a:cubicBezTo>
                  <a:cubicBezTo>
                    <a:pt x="115" y="514"/>
                    <a:pt x="115" y="514"/>
                    <a:pt x="115" y="514"/>
                  </a:cubicBezTo>
                  <a:cubicBezTo>
                    <a:pt x="115" y="523"/>
                    <a:pt x="115" y="532"/>
                    <a:pt x="120" y="545"/>
                  </a:cubicBezTo>
                  <a:cubicBezTo>
                    <a:pt x="40" y="616"/>
                    <a:pt x="40" y="616"/>
                    <a:pt x="40" y="616"/>
                  </a:cubicBezTo>
                  <a:cubicBezTo>
                    <a:pt x="35" y="621"/>
                    <a:pt x="31" y="634"/>
                    <a:pt x="35" y="643"/>
                  </a:cubicBezTo>
                  <a:cubicBezTo>
                    <a:pt x="71" y="705"/>
                    <a:pt x="71" y="705"/>
                    <a:pt x="71" y="705"/>
                  </a:cubicBezTo>
                  <a:cubicBezTo>
                    <a:pt x="75" y="709"/>
                    <a:pt x="84" y="714"/>
                    <a:pt x="93" y="709"/>
                  </a:cubicBezTo>
                  <a:cubicBezTo>
                    <a:pt x="199" y="678"/>
                    <a:pt x="199" y="678"/>
                    <a:pt x="199" y="678"/>
                  </a:cubicBezTo>
                  <a:cubicBezTo>
                    <a:pt x="208" y="687"/>
                    <a:pt x="213" y="692"/>
                    <a:pt x="221" y="700"/>
                  </a:cubicBezTo>
                  <a:cubicBezTo>
                    <a:pt x="208" y="807"/>
                    <a:pt x="208" y="807"/>
                    <a:pt x="208" y="807"/>
                  </a:cubicBezTo>
                  <a:cubicBezTo>
                    <a:pt x="208" y="816"/>
                    <a:pt x="213" y="825"/>
                    <a:pt x="221" y="825"/>
                  </a:cubicBezTo>
                  <a:cubicBezTo>
                    <a:pt x="288" y="851"/>
                    <a:pt x="288" y="851"/>
                    <a:pt x="288" y="851"/>
                  </a:cubicBezTo>
                  <a:cubicBezTo>
                    <a:pt x="297" y="851"/>
                    <a:pt x="305" y="851"/>
                    <a:pt x="310" y="847"/>
                  </a:cubicBezTo>
                  <a:cubicBezTo>
                    <a:pt x="367" y="749"/>
                    <a:pt x="367" y="749"/>
                    <a:pt x="367" y="749"/>
                  </a:cubicBezTo>
                  <a:cubicBezTo>
                    <a:pt x="372" y="749"/>
                    <a:pt x="381" y="754"/>
                    <a:pt x="385" y="754"/>
                  </a:cubicBezTo>
                  <a:cubicBezTo>
                    <a:pt x="389" y="754"/>
                    <a:pt x="394" y="749"/>
                    <a:pt x="398" y="749"/>
                  </a:cubicBezTo>
                  <a:cubicBezTo>
                    <a:pt x="456" y="847"/>
                    <a:pt x="456" y="847"/>
                    <a:pt x="456" y="847"/>
                  </a:cubicBezTo>
                  <a:cubicBezTo>
                    <a:pt x="465" y="851"/>
                    <a:pt x="474" y="851"/>
                    <a:pt x="482" y="851"/>
                  </a:cubicBezTo>
                  <a:cubicBezTo>
                    <a:pt x="549" y="825"/>
                    <a:pt x="549" y="825"/>
                    <a:pt x="549" y="825"/>
                  </a:cubicBezTo>
                  <a:cubicBezTo>
                    <a:pt x="558" y="825"/>
                    <a:pt x="562" y="816"/>
                    <a:pt x="562" y="807"/>
                  </a:cubicBezTo>
                  <a:cubicBezTo>
                    <a:pt x="549" y="700"/>
                    <a:pt x="549" y="700"/>
                    <a:pt x="549" y="700"/>
                  </a:cubicBezTo>
                  <a:cubicBezTo>
                    <a:pt x="553" y="692"/>
                    <a:pt x="562" y="687"/>
                    <a:pt x="571" y="678"/>
                  </a:cubicBezTo>
                  <a:cubicBezTo>
                    <a:pt x="677" y="709"/>
                    <a:pt x="677" y="709"/>
                    <a:pt x="677" y="709"/>
                  </a:cubicBezTo>
                  <a:cubicBezTo>
                    <a:pt x="682" y="714"/>
                    <a:pt x="695" y="709"/>
                    <a:pt x="695" y="705"/>
                  </a:cubicBezTo>
                  <a:cubicBezTo>
                    <a:pt x="735" y="643"/>
                    <a:pt x="735" y="643"/>
                    <a:pt x="735" y="643"/>
                  </a:cubicBezTo>
                  <a:cubicBezTo>
                    <a:pt x="739" y="634"/>
                    <a:pt x="735" y="621"/>
                    <a:pt x="730" y="616"/>
                  </a:cubicBezTo>
                  <a:cubicBezTo>
                    <a:pt x="651" y="545"/>
                    <a:pt x="651" y="545"/>
                    <a:pt x="651" y="545"/>
                  </a:cubicBezTo>
                  <a:cubicBezTo>
                    <a:pt x="651" y="532"/>
                    <a:pt x="651" y="523"/>
                    <a:pt x="655" y="514"/>
                  </a:cubicBezTo>
                  <a:cubicBezTo>
                    <a:pt x="757" y="470"/>
                    <a:pt x="757" y="470"/>
                    <a:pt x="757" y="470"/>
                  </a:cubicBezTo>
                  <a:cubicBezTo>
                    <a:pt x="765" y="465"/>
                    <a:pt x="765" y="461"/>
                    <a:pt x="765" y="448"/>
                  </a:cubicBezTo>
                  <a:close/>
                  <a:moveTo>
                    <a:pt x="535" y="479"/>
                  </a:moveTo>
                  <a:cubicBezTo>
                    <a:pt x="535" y="523"/>
                    <a:pt x="518" y="559"/>
                    <a:pt x="491" y="590"/>
                  </a:cubicBezTo>
                  <a:cubicBezTo>
                    <a:pt x="465" y="616"/>
                    <a:pt x="425" y="634"/>
                    <a:pt x="385" y="634"/>
                  </a:cubicBezTo>
                  <a:cubicBezTo>
                    <a:pt x="341" y="634"/>
                    <a:pt x="305" y="616"/>
                    <a:pt x="279" y="590"/>
                  </a:cubicBezTo>
                  <a:cubicBezTo>
                    <a:pt x="252" y="559"/>
                    <a:pt x="235" y="523"/>
                    <a:pt x="235" y="479"/>
                  </a:cubicBezTo>
                  <a:cubicBezTo>
                    <a:pt x="235" y="439"/>
                    <a:pt x="252" y="399"/>
                    <a:pt x="279" y="372"/>
                  </a:cubicBezTo>
                  <a:cubicBezTo>
                    <a:pt x="305" y="346"/>
                    <a:pt x="341" y="328"/>
                    <a:pt x="385" y="328"/>
                  </a:cubicBezTo>
                  <a:cubicBezTo>
                    <a:pt x="425" y="328"/>
                    <a:pt x="465" y="346"/>
                    <a:pt x="491" y="372"/>
                  </a:cubicBezTo>
                  <a:cubicBezTo>
                    <a:pt x="518" y="399"/>
                    <a:pt x="535" y="439"/>
                    <a:pt x="535" y="479"/>
                  </a:cubicBezTo>
                  <a:close/>
                  <a:moveTo>
                    <a:pt x="314" y="479"/>
                  </a:moveTo>
                  <a:cubicBezTo>
                    <a:pt x="314" y="443"/>
                    <a:pt x="345" y="412"/>
                    <a:pt x="385" y="412"/>
                  </a:cubicBezTo>
                  <a:cubicBezTo>
                    <a:pt x="425" y="412"/>
                    <a:pt x="456" y="443"/>
                    <a:pt x="456" y="479"/>
                  </a:cubicBezTo>
                  <a:cubicBezTo>
                    <a:pt x="456" y="519"/>
                    <a:pt x="425" y="550"/>
                    <a:pt x="385" y="550"/>
                  </a:cubicBezTo>
                  <a:cubicBezTo>
                    <a:pt x="345" y="550"/>
                    <a:pt x="314" y="519"/>
                    <a:pt x="314" y="479"/>
                  </a:cubicBezTo>
                  <a:close/>
                  <a:moveTo>
                    <a:pt x="1000" y="235"/>
                  </a:moveTo>
                  <a:cubicBezTo>
                    <a:pt x="1000" y="230"/>
                    <a:pt x="1005" y="217"/>
                    <a:pt x="1005" y="208"/>
                  </a:cubicBezTo>
                  <a:cubicBezTo>
                    <a:pt x="1005" y="199"/>
                    <a:pt x="1000" y="191"/>
                    <a:pt x="1000" y="182"/>
                  </a:cubicBezTo>
                  <a:cubicBezTo>
                    <a:pt x="1040" y="142"/>
                    <a:pt x="1040" y="142"/>
                    <a:pt x="1040" y="142"/>
                  </a:cubicBezTo>
                  <a:cubicBezTo>
                    <a:pt x="1049" y="142"/>
                    <a:pt x="1049" y="133"/>
                    <a:pt x="1049" y="128"/>
                  </a:cubicBezTo>
                  <a:cubicBezTo>
                    <a:pt x="1049" y="128"/>
                    <a:pt x="1049" y="124"/>
                    <a:pt x="1049" y="119"/>
                  </a:cubicBezTo>
                  <a:cubicBezTo>
                    <a:pt x="1027" y="89"/>
                    <a:pt x="1027" y="89"/>
                    <a:pt x="1027" y="89"/>
                  </a:cubicBezTo>
                  <a:cubicBezTo>
                    <a:pt x="1022" y="84"/>
                    <a:pt x="1018" y="80"/>
                    <a:pt x="1009" y="80"/>
                  </a:cubicBezTo>
                  <a:cubicBezTo>
                    <a:pt x="1009" y="80"/>
                    <a:pt x="1009" y="80"/>
                    <a:pt x="1005" y="80"/>
                  </a:cubicBezTo>
                  <a:cubicBezTo>
                    <a:pt x="951" y="97"/>
                    <a:pt x="951" y="97"/>
                    <a:pt x="951" y="97"/>
                  </a:cubicBezTo>
                  <a:cubicBezTo>
                    <a:pt x="938" y="84"/>
                    <a:pt x="921" y="75"/>
                    <a:pt x="903" y="71"/>
                  </a:cubicBezTo>
                  <a:cubicBezTo>
                    <a:pt x="889" y="13"/>
                    <a:pt x="889" y="13"/>
                    <a:pt x="889" y="13"/>
                  </a:cubicBezTo>
                  <a:cubicBezTo>
                    <a:pt x="889" y="9"/>
                    <a:pt x="881" y="0"/>
                    <a:pt x="872" y="0"/>
                  </a:cubicBezTo>
                  <a:cubicBezTo>
                    <a:pt x="837" y="0"/>
                    <a:pt x="837" y="0"/>
                    <a:pt x="837" y="0"/>
                  </a:cubicBezTo>
                  <a:cubicBezTo>
                    <a:pt x="828" y="0"/>
                    <a:pt x="819" y="9"/>
                    <a:pt x="819" y="13"/>
                  </a:cubicBezTo>
                  <a:cubicBezTo>
                    <a:pt x="806" y="71"/>
                    <a:pt x="806" y="71"/>
                    <a:pt x="806" y="71"/>
                  </a:cubicBezTo>
                  <a:cubicBezTo>
                    <a:pt x="788" y="75"/>
                    <a:pt x="770" y="84"/>
                    <a:pt x="757" y="97"/>
                  </a:cubicBezTo>
                  <a:cubicBezTo>
                    <a:pt x="704" y="80"/>
                    <a:pt x="704" y="80"/>
                    <a:pt x="704" y="80"/>
                  </a:cubicBezTo>
                  <a:cubicBezTo>
                    <a:pt x="699" y="80"/>
                    <a:pt x="699" y="80"/>
                    <a:pt x="699" y="80"/>
                  </a:cubicBezTo>
                  <a:cubicBezTo>
                    <a:pt x="690" y="80"/>
                    <a:pt x="686" y="84"/>
                    <a:pt x="682" y="89"/>
                  </a:cubicBezTo>
                  <a:cubicBezTo>
                    <a:pt x="664" y="119"/>
                    <a:pt x="664" y="119"/>
                    <a:pt x="664" y="119"/>
                  </a:cubicBezTo>
                  <a:cubicBezTo>
                    <a:pt x="659" y="124"/>
                    <a:pt x="659" y="128"/>
                    <a:pt x="659" y="128"/>
                  </a:cubicBezTo>
                  <a:cubicBezTo>
                    <a:pt x="659" y="133"/>
                    <a:pt x="664" y="142"/>
                    <a:pt x="664" y="142"/>
                  </a:cubicBezTo>
                  <a:cubicBezTo>
                    <a:pt x="712" y="182"/>
                    <a:pt x="712" y="182"/>
                    <a:pt x="712" y="182"/>
                  </a:cubicBezTo>
                  <a:cubicBezTo>
                    <a:pt x="708" y="191"/>
                    <a:pt x="704" y="199"/>
                    <a:pt x="704" y="208"/>
                  </a:cubicBezTo>
                  <a:cubicBezTo>
                    <a:pt x="704" y="217"/>
                    <a:pt x="708" y="226"/>
                    <a:pt x="712" y="235"/>
                  </a:cubicBezTo>
                  <a:cubicBezTo>
                    <a:pt x="664" y="275"/>
                    <a:pt x="664" y="275"/>
                    <a:pt x="664" y="275"/>
                  </a:cubicBezTo>
                  <a:cubicBezTo>
                    <a:pt x="664" y="279"/>
                    <a:pt x="659" y="284"/>
                    <a:pt x="659" y="288"/>
                  </a:cubicBezTo>
                  <a:cubicBezTo>
                    <a:pt x="659" y="292"/>
                    <a:pt x="659" y="292"/>
                    <a:pt x="664" y="297"/>
                  </a:cubicBezTo>
                  <a:cubicBezTo>
                    <a:pt x="682" y="328"/>
                    <a:pt x="682" y="328"/>
                    <a:pt x="682" y="328"/>
                  </a:cubicBezTo>
                  <a:cubicBezTo>
                    <a:pt x="686" y="337"/>
                    <a:pt x="690" y="337"/>
                    <a:pt x="699" y="337"/>
                  </a:cubicBezTo>
                  <a:cubicBezTo>
                    <a:pt x="699" y="337"/>
                    <a:pt x="699" y="337"/>
                    <a:pt x="704" y="337"/>
                  </a:cubicBezTo>
                  <a:cubicBezTo>
                    <a:pt x="757" y="319"/>
                    <a:pt x="757" y="319"/>
                    <a:pt x="757" y="319"/>
                  </a:cubicBezTo>
                  <a:cubicBezTo>
                    <a:pt x="770" y="333"/>
                    <a:pt x="788" y="341"/>
                    <a:pt x="806" y="346"/>
                  </a:cubicBezTo>
                  <a:cubicBezTo>
                    <a:pt x="819" y="403"/>
                    <a:pt x="819" y="403"/>
                    <a:pt x="819" y="403"/>
                  </a:cubicBezTo>
                  <a:cubicBezTo>
                    <a:pt x="819" y="412"/>
                    <a:pt x="828" y="417"/>
                    <a:pt x="837" y="417"/>
                  </a:cubicBezTo>
                  <a:cubicBezTo>
                    <a:pt x="872" y="417"/>
                    <a:pt x="872" y="417"/>
                    <a:pt x="872" y="417"/>
                  </a:cubicBezTo>
                  <a:cubicBezTo>
                    <a:pt x="881" y="417"/>
                    <a:pt x="889" y="412"/>
                    <a:pt x="889" y="403"/>
                  </a:cubicBezTo>
                  <a:cubicBezTo>
                    <a:pt x="903" y="350"/>
                    <a:pt x="903" y="350"/>
                    <a:pt x="903" y="350"/>
                  </a:cubicBezTo>
                  <a:cubicBezTo>
                    <a:pt x="921" y="341"/>
                    <a:pt x="938" y="333"/>
                    <a:pt x="951" y="319"/>
                  </a:cubicBezTo>
                  <a:cubicBezTo>
                    <a:pt x="1005" y="337"/>
                    <a:pt x="1005" y="337"/>
                    <a:pt x="1005" y="337"/>
                  </a:cubicBezTo>
                  <a:cubicBezTo>
                    <a:pt x="1009" y="337"/>
                    <a:pt x="1009" y="337"/>
                    <a:pt x="1009" y="337"/>
                  </a:cubicBezTo>
                  <a:cubicBezTo>
                    <a:pt x="1018" y="337"/>
                    <a:pt x="1022" y="337"/>
                    <a:pt x="1027" y="328"/>
                  </a:cubicBezTo>
                  <a:cubicBezTo>
                    <a:pt x="1049" y="297"/>
                    <a:pt x="1049" y="297"/>
                    <a:pt x="1049" y="297"/>
                  </a:cubicBezTo>
                  <a:cubicBezTo>
                    <a:pt x="1049" y="292"/>
                    <a:pt x="1049" y="292"/>
                    <a:pt x="1049" y="288"/>
                  </a:cubicBezTo>
                  <a:cubicBezTo>
                    <a:pt x="1049" y="284"/>
                    <a:pt x="1049" y="279"/>
                    <a:pt x="1040" y="275"/>
                  </a:cubicBezTo>
                  <a:cubicBezTo>
                    <a:pt x="1000" y="235"/>
                    <a:pt x="1000" y="235"/>
                    <a:pt x="1000" y="235"/>
                  </a:cubicBezTo>
                  <a:cubicBezTo>
                    <a:pt x="1000" y="235"/>
                    <a:pt x="1000" y="235"/>
                    <a:pt x="1000" y="235"/>
                  </a:cubicBezTo>
                  <a:close/>
                  <a:moveTo>
                    <a:pt x="912" y="208"/>
                  </a:moveTo>
                  <a:cubicBezTo>
                    <a:pt x="912" y="239"/>
                    <a:pt x="885" y="266"/>
                    <a:pt x="854" y="266"/>
                  </a:cubicBezTo>
                  <a:cubicBezTo>
                    <a:pt x="823" y="266"/>
                    <a:pt x="797" y="239"/>
                    <a:pt x="797" y="208"/>
                  </a:cubicBezTo>
                  <a:cubicBezTo>
                    <a:pt x="797" y="177"/>
                    <a:pt x="823" y="151"/>
                    <a:pt x="854" y="151"/>
                  </a:cubicBezTo>
                  <a:cubicBezTo>
                    <a:pt x="885" y="151"/>
                    <a:pt x="912" y="177"/>
                    <a:pt x="912" y="20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78" name="Freeform 384"/>
            <p:cNvSpPr>
              <a:spLocks/>
            </p:cNvSpPr>
            <p:nvPr/>
          </p:nvSpPr>
          <p:spPr bwMode="auto">
            <a:xfrm>
              <a:off x="7289138"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79" name="Freeform 385"/>
            <p:cNvSpPr>
              <a:spLocks noEditPoints="1"/>
            </p:cNvSpPr>
            <p:nvPr/>
          </p:nvSpPr>
          <p:spPr bwMode="auto">
            <a:xfrm>
              <a:off x="7414163"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680" name="Group 679"/>
            <p:cNvGrpSpPr/>
            <p:nvPr/>
          </p:nvGrpSpPr>
          <p:grpSpPr>
            <a:xfrm>
              <a:off x="5620818" y="5061791"/>
              <a:ext cx="264848" cy="297146"/>
              <a:chOff x="6495975" y="3510751"/>
              <a:chExt cx="306572" cy="343958"/>
            </a:xfrm>
            <a:solidFill>
              <a:schemeClr val="tx1"/>
            </a:solidFill>
          </p:grpSpPr>
          <p:sp>
            <p:nvSpPr>
              <p:cNvPr id="71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681" name="Freeform 365"/>
            <p:cNvSpPr>
              <a:spLocks noEditPoints="1"/>
            </p:cNvSpPr>
            <p:nvPr/>
          </p:nvSpPr>
          <p:spPr bwMode="auto">
            <a:xfrm>
              <a:off x="7063463"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82" name="Freeform 365"/>
            <p:cNvSpPr>
              <a:spLocks noEditPoints="1"/>
            </p:cNvSpPr>
            <p:nvPr/>
          </p:nvSpPr>
          <p:spPr bwMode="auto">
            <a:xfrm>
              <a:off x="6886056"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83" name="Freeform 365"/>
            <p:cNvSpPr>
              <a:spLocks noEditPoints="1"/>
            </p:cNvSpPr>
            <p:nvPr/>
          </p:nvSpPr>
          <p:spPr bwMode="auto">
            <a:xfrm>
              <a:off x="6709952"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84" name="Freeform 365"/>
            <p:cNvSpPr>
              <a:spLocks noEditPoints="1"/>
            </p:cNvSpPr>
            <p:nvPr/>
          </p:nvSpPr>
          <p:spPr bwMode="auto">
            <a:xfrm>
              <a:off x="4879870"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85" name="Freeform 340"/>
            <p:cNvSpPr>
              <a:spLocks/>
            </p:cNvSpPr>
            <p:nvPr/>
          </p:nvSpPr>
          <p:spPr bwMode="auto">
            <a:xfrm>
              <a:off x="4739085"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86" name="Oval 685"/>
            <p:cNvSpPr/>
            <p:nvPr/>
          </p:nvSpPr>
          <p:spPr bwMode="auto">
            <a:xfrm>
              <a:off x="4966870" y="1400245"/>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87" name="Oval 686"/>
            <p:cNvSpPr/>
            <p:nvPr/>
          </p:nvSpPr>
          <p:spPr bwMode="auto">
            <a:xfrm>
              <a:off x="4498930" y="5142624"/>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88" name="Oval 687"/>
            <p:cNvSpPr/>
            <p:nvPr/>
          </p:nvSpPr>
          <p:spPr bwMode="auto">
            <a:xfrm>
              <a:off x="8008525" y="3636424"/>
              <a:ext cx="914400"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89" name="Freeform 73"/>
            <p:cNvSpPr>
              <a:spLocks noEditPoints="1"/>
            </p:cNvSpPr>
            <p:nvPr/>
          </p:nvSpPr>
          <p:spPr bwMode="auto">
            <a:xfrm>
              <a:off x="7070024" y="2352676"/>
              <a:ext cx="378526" cy="378514"/>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1"/>
            </a:solidFill>
            <a:ln w="9525" cap="flat" cmpd="sng" algn="ctr">
              <a:noFill/>
              <a:prstDash val="solid"/>
              <a:headEnd type="none" w="med" len="med"/>
              <a:tailEnd type="none" w="med" len="med"/>
            </a:ln>
            <a:effectLst/>
            <a:extLst/>
          </p:spPr>
          <p:txBody>
            <a:bodyPr rot="0" spcFirstLastPara="0" vertOverflow="overflow" horzOverflow="overflow" vert="horz" wrap="square" lIns="91203" tIns="72963" rIns="91203" bIns="72963" numCol="1" spcCol="0" rtlCol="0" fromWordArt="0" anchor="t" anchorCtr="0" forceAA="0" compatLnSpc="1">
              <a:prstTxWarp prst="textNoShape">
                <a:avLst/>
              </a:prstTxWarp>
              <a:noAutofit/>
            </a:bodyPr>
            <a:lstStyle/>
            <a:p>
              <a:pPr algn="ctr" defTabSz="464955" fontAlgn="base">
                <a:lnSpc>
                  <a:spcPct val="90000"/>
                </a:lnSpc>
                <a:spcBef>
                  <a:spcPct val="0"/>
                </a:spcBef>
                <a:spcAft>
                  <a:spcPct val="0"/>
                </a:spcAft>
                <a:defRPr/>
              </a:pPr>
              <a:endParaRPr lang="en-US" sz="1197" kern="0">
                <a:gradFill>
                  <a:gsLst>
                    <a:gs pos="0">
                      <a:srgbClr val="FFFFFF"/>
                    </a:gs>
                    <a:gs pos="100000">
                      <a:srgbClr val="FFFFFF"/>
                    </a:gs>
                  </a:gsLst>
                  <a:lin ang="5400000" scaled="0"/>
                </a:gradFill>
                <a:ea typeface="Segoe UI" pitchFamily="34" charset="0"/>
                <a:cs typeface="Segoe UI" pitchFamily="34" charset="0"/>
              </a:endParaRPr>
            </a:p>
          </p:txBody>
        </p:sp>
        <p:sp>
          <p:nvSpPr>
            <p:cNvPr id="690" name="Freeform 5"/>
            <p:cNvSpPr>
              <a:spLocks noEditPoints="1"/>
            </p:cNvSpPr>
            <p:nvPr/>
          </p:nvSpPr>
          <p:spPr bwMode="auto">
            <a:xfrm>
              <a:off x="5196805" y="1672735"/>
              <a:ext cx="457635" cy="330426"/>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defTabSz="896214" fontAlgn="base">
                <a:spcBef>
                  <a:spcPct val="0"/>
                </a:spcBef>
                <a:spcAft>
                  <a:spcPct val="0"/>
                </a:spcAft>
                <a:defRPr/>
              </a:pPr>
              <a:endParaRPr lang="en-US" sz="1729" kern="0">
                <a:solidFill>
                  <a:srgbClr val="505050"/>
                </a:solidFill>
                <a:ea typeface="ＭＳ Ｐゴシック" charset="0"/>
              </a:endParaRPr>
            </a:p>
          </p:txBody>
        </p:sp>
        <p:sp>
          <p:nvSpPr>
            <p:cNvPr id="691" name="Freeform 113"/>
            <p:cNvSpPr>
              <a:spLocks noEditPoints="1"/>
            </p:cNvSpPr>
            <p:nvPr/>
          </p:nvSpPr>
          <p:spPr bwMode="auto">
            <a:xfrm>
              <a:off x="7088552" y="3956943"/>
              <a:ext cx="417862" cy="505626"/>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87867" tIns="43934" rIns="87867" bIns="43934" numCol="1" anchor="t" anchorCtr="0" compatLnSpc="1">
              <a:prstTxWarp prst="textNoShape">
                <a:avLst/>
              </a:prstTxWarp>
            </a:bodyPr>
            <a:lstStyle/>
            <a:p>
              <a:pPr defTabSz="896214" fontAlgn="base">
                <a:spcBef>
                  <a:spcPct val="0"/>
                </a:spcBef>
                <a:spcAft>
                  <a:spcPct val="0"/>
                </a:spcAft>
                <a:defRPr/>
              </a:pPr>
              <a:endParaRPr lang="en-US" sz="1729" kern="0">
                <a:solidFill>
                  <a:srgbClr val="505050"/>
                </a:solidFill>
                <a:ea typeface="ＭＳ Ｐゴシック" charset="0"/>
              </a:endParaRPr>
            </a:p>
          </p:txBody>
        </p:sp>
        <p:sp>
          <p:nvSpPr>
            <p:cNvPr id="692" name="Freeform 188"/>
            <p:cNvSpPr>
              <a:spLocks/>
            </p:cNvSpPr>
            <p:nvPr/>
          </p:nvSpPr>
          <p:spPr bwMode="auto">
            <a:xfrm>
              <a:off x="7555577"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93" name="Freeform 130"/>
            <p:cNvSpPr>
              <a:spLocks/>
            </p:cNvSpPr>
            <p:nvPr/>
          </p:nvSpPr>
          <p:spPr bwMode="auto">
            <a:xfrm>
              <a:off x="6944962"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94" name="Freeform 130"/>
            <p:cNvSpPr>
              <a:spLocks/>
            </p:cNvSpPr>
            <p:nvPr/>
          </p:nvSpPr>
          <p:spPr bwMode="auto">
            <a:xfrm>
              <a:off x="6796117"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95" name="Freeform 126"/>
            <p:cNvSpPr>
              <a:spLocks noEditPoints="1"/>
            </p:cNvSpPr>
            <p:nvPr/>
          </p:nvSpPr>
          <p:spPr bwMode="auto">
            <a:xfrm>
              <a:off x="6592904" y="412011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96" name="Freeform 127"/>
            <p:cNvSpPr>
              <a:spLocks noEditPoints="1"/>
            </p:cNvSpPr>
            <p:nvPr/>
          </p:nvSpPr>
          <p:spPr bwMode="auto">
            <a:xfrm>
              <a:off x="6766691" y="412011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97" name="Freeform 128"/>
            <p:cNvSpPr>
              <a:spLocks/>
            </p:cNvSpPr>
            <p:nvPr/>
          </p:nvSpPr>
          <p:spPr bwMode="auto">
            <a:xfrm>
              <a:off x="6941730" y="412011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98" name="Freeform 311"/>
            <p:cNvSpPr>
              <a:spLocks/>
            </p:cNvSpPr>
            <p:nvPr/>
          </p:nvSpPr>
          <p:spPr bwMode="auto">
            <a:xfrm>
              <a:off x="6601709"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699" name="Freeform 312"/>
            <p:cNvSpPr>
              <a:spLocks noEditPoints="1"/>
            </p:cNvSpPr>
            <p:nvPr/>
          </p:nvSpPr>
          <p:spPr bwMode="auto">
            <a:xfrm>
              <a:off x="6754812" y="4345591"/>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00" name="Freeform 311"/>
            <p:cNvSpPr>
              <a:spLocks/>
            </p:cNvSpPr>
            <p:nvPr/>
          </p:nvSpPr>
          <p:spPr bwMode="auto">
            <a:xfrm>
              <a:off x="6941510"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01" name="Oval 700"/>
            <p:cNvSpPr/>
            <p:nvPr/>
          </p:nvSpPr>
          <p:spPr bwMode="auto">
            <a:xfrm>
              <a:off x="5327648" y="2926017"/>
              <a:ext cx="1873252" cy="1873252"/>
            </a:xfrm>
            <a:prstGeom prst="ellipse">
              <a:avLst/>
            </a:prstGeom>
            <a:solidFill>
              <a:schemeClr val="accent1"/>
            </a:solidFill>
            <a:ln>
              <a:noFill/>
              <a:headEnd type="none" w="med" len="med"/>
              <a:tailEnd type="none" w="med" len="med"/>
            </a:ln>
            <a:effectLst>
              <a:outerShdw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02" name="Freeform 701"/>
            <p:cNvSpPr>
              <a:spLocks/>
            </p:cNvSpPr>
            <p:nvPr/>
          </p:nvSpPr>
          <p:spPr bwMode="auto">
            <a:xfrm>
              <a:off x="5708648" y="3429500"/>
              <a:ext cx="1111252" cy="730994"/>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016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sp>
          <p:nvSpPr>
            <p:cNvPr id="703" name="Freeform 313"/>
            <p:cNvSpPr>
              <a:spLocks/>
            </p:cNvSpPr>
            <p:nvPr/>
          </p:nvSpPr>
          <p:spPr bwMode="auto">
            <a:xfrm>
              <a:off x="6928581" y="4797111"/>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04" name="Freeform 314"/>
            <p:cNvSpPr>
              <a:spLocks noEditPoints="1"/>
            </p:cNvSpPr>
            <p:nvPr/>
          </p:nvSpPr>
          <p:spPr bwMode="auto">
            <a:xfrm>
              <a:off x="7053610" y="4791160"/>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705" name="Group 704"/>
            <p:cNvGrpSpPr/>
            <p:nvPr/>
          </p:nvGrpSpPr>
          <p:grpSpPr>
            <a:xfrm>
              <a:off x="4775684" y="5395419"/>
              <a:ext cx="403531" cy="429676"/>
              <a:chOff x="-8720138" y="412750"/>
              <a:chExt cx="4459288" cy="4748213"/>
            </a:xfrm>
            <a:solidFill>
              <a:schemeClr val="bg1"/>
            </a:solidFill>
          </p:grpSpPr>
          <p:sp>
            <p:nvSpPr>
              <p:cNvPr id="709" name="Oval 14"/>
              <p:cNvSpPr>
                <a:spLocks noChangeArrowheads="1"/>
              </p:cNvSpPr>
              <p:nvPr/>
            </p:nvSpPr>
            <p:spPr bwMode="auto">
              <a:xfrm>
                <a:off x="-6581775" y="957263"/>
                <a:ext cx="219075" cy="217488"/>
              </a:xfrm>
              <a:prstGeom prst="ellipse">
                <a:avLst/>
              </a:pr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0" name="Oval 15"/>
              <p:cNvSpPr>
                <a:spLocks noChangeArrowheads="1"/>
              </p:cNvSpPr>
              <p:nvPr/>
            </p:nvSpPr>
            <p:spPr bwMode="auto">
              <a:xfrm>
                <a:off x="-6581775" y="1660525"/>
                <a:ext cx="219075" cy="222250"/>
              </a:xfrm>
              <a:prstGeom prst="ellipse">
                <a:avLst/>
              </a:pr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1" name="Freeform 16"/>
              <p:cNvSpPr>
                <a:spLocks noEditPoints="1"/>
              </p:cNvSpPr>
              <p:nvPr/>
            </p:nvSpPr>
            <p:spPr bwMode="auto">
              <a:xfrm>
                <a:off x="-8720138" y="412750"/>
                <a:ext cx="2876550" cy="4078288"/>
              </a:xfrm>
              <a:custGeom>
                <a:avLst/>
                <a:gdLst>
                  <a:gd name="T0" fmla="*/ 489 w 765"/>
                  <a:gd name="T1" fmla="*/ 977 h 1085"/>
                  <a:gd name="T2" fmla="*/ 133 w 765"/>
                  <a:gd name="T3" fmla="*/ 977 h 1085"/>
                  <a:gd name="T4" fmla="*/ 82 w 765"/>
                  <a:gd name="T5" fmla="*/ 929 h 1085"/>
                  <a:gd name="T6" fmla="*/ 82 w 765"/>
                  <a:gd name="T7" fmla="*/ 919 h 1085"/>
                  <a:gd name="T8" fmla="*/ 133 w 765"/>
                  <a:gd name="T9" fmla="*/ 871 h 1085"/>
                  <a:gd name="T10" fmla="*/ 402 w 765"/>
                  <a:gd name="T11" fmla="*/ 871 h 1085"/>
                  <a:gd name="T12" fmla="*/ 489 w 765"/>
                  <a:gd name="T13" fmla="*/ 871 h 1085"/>
                  <a:gd name="T14" fmla="*/ 489 w 765"/>
                  <a:gd name="T15" fmla="*/ 790 h 1085"/>
                  <a:gd name="T16" fmla="*/ 133 w 765"/>
                  <a:gd name="T17" fmla="*/ 790 h 1085"/>
                  <a:gd name="T18" fmla="*/ 82 w 765"/>
                  <a:gd name="T19" fmla="*/ 742 h 1085"/>
                  <a:gd name="T20" fmla="*/ 82 w 765"/>
                  <a:gd name="T21" fmla="*/ 732 h 1085"/>
                  <a:gd name="T22" fmla="*/ 133 w 765"/>
                  <a:gd name="T23" fmla="*/ 684 h 1085"/>
                  <a:gd name="T24" fmla="*/ 402 w 765"/>
                  <a:gd name="T25" fmla="*/ 684 h 1085"/>
                  <a:gd name="T26" fmla="*/ 489 w 765"/>
                  <a:gd name="T27" fmla="*/ 684 h 1085"/>
                  <a:gd name="T28" fmla="*/ 489 w 765"/>
                  <a:gd name="T29" fmla="*/ 649 h 1085"/>
                  <a:gd name="T30" fmla="*/ 497 w 765"/>
                  <a:gd name="T31" fmla="*/ 602 h 1085"/>
                  <a:gd name="T32" fmla="*/ 133 w 765"/>
                  <a:gd name="T33" fmla="*/ 602 h 1085"/>
                  <a:gd name="T34" fmla="*/ 82 w 765"/>
                  <a:gd name="T35" fmla="*/ 555 h 1085"/>
                  <a:gd name="T36" fmla="*/ 82 w 765"/>
                  <a:gd name="T37" fmla="*/ 545 h 1085"/>
                  <a:gd name="T38" fmla="*/ 133 w 765"/>
                  <a:gd name="T39" fmla="*/ 497 h 1085"/>
                  <a:gd name="T40" fmla="*/ 402 w 765"/>
                  <a:gd name="T41" fmla="*/ 497 h 1085"/>
                  <a:gd name="T42" fmla="*/ 609 w 765"/>
                  <a:gd name="T43" fmla="*/ 497 h 1085"/>
                  <a:gd name="T44" fmla="*/ 631 w 765"/>
                  <a:gd name="T45" fmla="*/ 488 h 1085"/>
                  <a:gd name="T46" fmla="*/ 650 w 765"/>
                  <a:gd name="T47" fmla="*/ 480 h 1085"/>
                  <a:gd name="T48" fmla="*/ 746 w 765"/>
                  <a:gd name="T49" fmla="*/ 457 h 1085"/>
                  <a:gd name="T50" fmla="*/ 765 w 765"/>
                  <a:gd name="T51" fmla="*/ 454 h 1085"/>
                  <a:gd name="T52" fmla="*/ 765 w 765"/>
                  <a:gd name="T53" fmla="*/ 0 h 1085"/>
                  <a:gd name="T54" fmla="*/ 0 w 765"/>
                  <a:gd name="T55" fmla="*/ 0 h 1085"/>
                  <a:gd name="T56" fmla="*/ 0 w 765"/>
                  <a:gd name="T57" fmla="*/ 1085 h 1085"/>
                  <a:gd name="T58" fmla="*/ 489 w 765"/>
                  <a:gd name="T59" fmla="*/ 1085 h 1085"/>
                  <a:gd name="T60" fmla="*/ 489 w 765"/>
                  <a:gd name="T61" fmla="*/ 977 h 1085"/>
                  <a:gd name="T62" fmla="*/ 82 w 765"/>
                  <a:gd name="T63" fmla="*/ 171 h 1085"/>
                  <a:gd name="T64" fmla="*/ 133 w 765"/>
                  <a:gd name="T65" fmla="*/ 123 h 1085"/>
                  <a:gd name="T66" fmla="*/ 402 w 765"/>
                  <a:gd name="T67" fmla="*/ 123 h 1085"/>
                  <a:gd name="T68" fmla="*/ 632 w 765"/>
                  <a:gd name="T69" fmla="*/ 123 h 1085"/>
                  <a:gd name="T70" fmla="*/ 683 w 765"/>
                  <a:gd name="T71" fmla="*/ 171 h 1085"/>
                  <a:gd name="T72" fmla="*/ 683 w 765"/>
                  <a:gd name="T73" fmla="*/ 180 h 1085"/>
                  <a:gd name="T74" fmla="*/ 632 w 765"/>
                  <a:gd name="T75" fmla="*/ 228 h 1085"/>
                  <a:gd name="T76" fmla="*/ 133 w 765"/>
                  <a:gd name="T77" fmla="*/ 228 h 1085"/>
                  <a:gd name="T78" fmla="*/ 82 w 765"/>
                  <a:gd name="T79" fmla="*/ 180 h 1085"/>
                  <a:gd name="T80" fmla="*/ 82 w 765"/>
                  <a:gd name="T81" fmla="*/ 171 h 1085"/>
                  <a:gd name="T82" fmla="*/ 82 w 765"/>
                  <a:gd name="T83" fmla="*/ 358 h 1085"/>
                  <a:gd name="T84" fmla="*/ 133 w 765"/>
                  <a:gd name="T85" fmla="*/ 310 h 1085"/>
                  <a:gd name="T86" fmla="*/ 402 w 765"/>
                  <a:gd name="T87" fmla="*/ 310 h 1085"/>
                  <a:gd name="T88" fmla="*/ 632 w 765"/>
                  <a:gd name="T89" fmla="*/ 310 h 1085"/>
                  <a:gd name="T90" fmla="*/ 683 w 765"/>
                  <a:gd name="T91" fmla="*/ 358 h 1085"/>
                  <a:gd name="T92" fmla="*/ 683 w 765"/>
                  <a:gd name="T93" fmla="*/ 367 h 1085"/>
                  <a:gd name="T94" fmla="*/ 632 w 765"/>
                  <a:gd name="T95" fmla="*/ 415 h 1085"/>
                  <a:gd name="T96" fmla="*/ 133 w 765"/>
                  <a:gd name="T97" fmla="*/ 415 h 1085"/>
                  <a:gd name="T98" fmla="*/ 82 w 765"/>
                  <a:gd name="T99" fmla="*/ 367 h 1085"/>
                  <a:gd name="T100" fmla="*/ 82 w 765"/>
                  <a:gd name="T101" fmla="*/ 358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1085">
                    <a:moveTo>
                      <a:pt x="489" y="977"/>
                    </a:moveTo>
                    <a:cubicBezTo>
                      <a:pt x="133" y="977"/>
                      <a:pt x="133" y="977"/>
                      <a:pt x="133" y="977"/>
                    </a:cubicBezTo>
                    <a:cubicBezTo>
                      <a:pt x="82" y="977"/>
                      <a:pt x="82" y="929"/>
                      <a:pt x="82" y="929"/>
                    </a:cubicBezTo>
                    <a:cubicBezTo>
                      <a:pt x="82" y="919"/>
                      <a:pt x="82" y="919"/>
                      <a:pt x="82" y="919"/>
                    </a:cubicBezTo>
                    <a:cubicBezTo>
                      <a:pt x="82" y="871"/>
                      <a:pt x="133" y="871"/>
                      <a:pt x="133" y="871"/>
                    </a:cubicBezTo>
                    <a:cubicBezTo>
                      <a:pt x="402" y="871"/>
                      <a:pt x="402" y="871"/>
                      <a:pt x="402" y="871"/>
                    </a:cubicBezTo>
                    <a:cubicBezTo>
                      <a:pt x="489" y="871"/>
                      <a:pt x="489" y="871"/>
                      <a:pt x="489" y="871"/>
                    </a:cubicBezTo>
                    <a:cubicBezTo>
                      <a:pt x="489" y="790"/>
                      <a:pt x="489" y="790"/>
                      <a:pt x="489" y="790"/>
                    </a:cubicBezTo>
                    <a:cubicBezTo>
                      <a:pt x="133" y="790"/>
                      <a:pt x="133" y="790"/>
                      <a:pt x="133" y="790"/>
                    </a:cubicBezTo>
                    <a:cubicBezTo>
                      <a:pt x="82" y="790"/>
                      <a:pt x="82" y="742"/>
                      <a:pt x="82" y="742"/>
                    </a:cubicBezTo>
                    <a:cubicBezTo>
                      <a:pt x="82" y="732"/>
                      <a:pt x="82" y="732"/>
                      <a:pt x="82" y="732"/>
                    </a:cubicBezTo>
                    <a:cubicBezTo>
                      <a:pt x="82" y="684"/>
                      <a:pt x="133" y="684"/>
                      <a:pt x="133" y="684"/>
                    </a:cubicBezTo>
                    <a:cubicBezTo>
                      <a:pt x="402" y="684"/>
                      <a:pt x="402" y="684"/>
                      <a:pt x="402" y="684"/>
                    </a:cubicBezTo>
                    <a:cubicBezTo>
                      <a:pt x="489" y="684"/>
                      <a:pt x="489" y="684"/>
                      <a:pt x="489" y="684"/>
                    </a:cubicBezTo>
                    <a:cubicBezTo>
                      <a:pt x="489" y="649"/>
                      <a:pt x="489" y="649"/>
                      <a:pt x="489" y="649"/>
                    </a:cubicBezTo>
                    <a:cubicBezTo>
                      <a:pt x="489" y="636"/>
                      <a:pt x="491" y="620"/>
                      <a:pt x="497" y="602"/>
                    </a:cubicBezTo>
                    <a:cubicBezTo>
                      <a:pt x="133" y="602"/>
                      <a:pt x="133" y="602"/>
                      <a:pt x="133" y="602"/>
                    </a:cubicBezTo>
                    <a:cubicBezTo>
                      <a:pt x="82" y="602"/>
                      <a:pt x="82" y="555"/>
                      <a:pt x="82" y="555"/>
                    </a:cubicBezTo>
                    <a:cubicBezTo>
                      <a:pt x="82" y="545"/>
                      <a:pt x="82" y="545"/>
                      <a:pt x="82" y="545"/>
                    </a:cubicBezTo>
                    <a:cubicBezTo>
                      <a:pt x="82" y="497"/>
                      <a:pt x="133" y="497"/>
                      <a:pt x="133" y="497"/>
                    </a:cubicBezTo>
                    <a:cubicBezTo>
                      <a:pt x="402" y="497"/>
                      <a:pt x="402" y="497"/>
                      <a:pt x="402" y="497"/>
                    </a:cubicBezTo>
                    <a:cubicBezTo>
                      <a:pt x="609" y="497"/>
                      <a:pt x="609" y="497"/>
                      <a:pt x="609" y="497"/>
                    </a:cubicBezTo>
                    <a:cubicBezTo>
                      <a:pt x="616" y="494"/>
                      <a:pt x="623" y="490"/>
                      <a:pt x="631" y="488"/>
                    </a:cubicBezTo>
                    <a:cubicBezTo>
                      <a:pt x="637" y="485"/>
                      <a:pt x="643" y="483"/>
                      <a:pt x="650" y="480"/>
                    </a:cubicBezTo>
                    <a:cubicBezTo>
                      <a:pt x="679" y="470"/>
                      <a:pt x="712" y="462"/>
                      <a:pt x="746" y="457"/>
                    </a:cubicBezTo>
                    <a:cubicBezTo>
                      <a:pt x="752" y="456"/>
                      <a:pt x="759" y="455"/>
                      <a:pt x="765" y="454"/>
                    </a:cubicBezTo>
                    <a:cubicBezTo>
                      <a:pt x="765" y="0"/>
                      <a:pt x="765" y="0"/>
                      <a:pt x="765" y="0"/>
                    </a:cubicBezTo>
                    <a:cubicBezTo>
                      <a:pt x="0" y="0"/>
                      <a:pt x="0" y="0"/>
                      <a:pt x="0" y="0"/>
                    </a:cubicBezTo>
                    <a:cubicBezTo>
                      <a:pt x="0" y="1085"/>
                      <a:pt x="0" y="1085"/>
                      <a:pt x="0" y="1085"/>
                    </a:cubicBezTo>
                    <a:cubicBezTo>
                      <a:pt x="489" y="1085"/>
                      <a:pt x="489" y="1085"/>
                      <a:pt x="489" y="1085"/>
                    </a:cubicBezTo>
                    <a:lnTo>
                      <a:pt x="489" y="977"/>
                    </a:lnTo>
                    <a:close/>
                    <a:moveTo>
                      <a:pt x="82" y="171"/>
                    </a:moveTo>
                    <a:cubicBezTo>
                      <a:pt x="82" y="123"/>
                      <a:pt x="133" y="123"/>
                      <a:pt x="133" y="123"/>
                    </a:cubicBezTo>
                    <a:cubicBezTo>
                      <a:pt x="402" y="123"/>
                      <a:pt x="402" y="123"/>
                      <a:pt x="402" y="123"/>
                    </a:cubicBezTo>
                    <a:cubicBezTo>
                      <a:pt x="632" y="123"/>
                      <a:pt x="632" y="123"/>
                      <a:pt x="632" y="123"/>
                    </a:cubicBezTo>
                    <a:cubicBezTo>
                      <a:pt x="683" y="123"/>
                      <a:pt x="683" y="171"/>
                      <a:pt x="683" y="171"/>
                    </a:cubicBezTo>
                    <a:cubicBezTo>
                      <a:pt x="683" y="180"/>
                      <a:pt x="683" y="180"/>
                      <a:pt x="683" y="180"/>
                    </a:cubicBezTo>
                    <a:cubicBezTo>
                      <a:pt x="683" y="228"/>
                      <a:pt x="632" y="228"/>
                      <a:pt x="632" y="228"/>
                    </a:cubicBezTo>
                    <a:cubicBezTo>
                      <a:pt x="133" y="228"/>
                      <a:pt x="133" y="228"/>
                      <a:pt x="133" y="228"/>
                    </a:cubicBezTo>
                    <a:cubicBezTo>
                      <a:pt x="82" y="228"/>
                      <a:pt x="82" y="180"/>
                      <a:pt x="82" y="180"/>
                    </a:cubicBezTo>
                    <a:lnTo>
                      <a:pt x="82" y="171"/>
                    </a:lnTo>
                    <a:close/>
                    <a:moveTo>
                      <a:pt x="82" y="358"/>
                    </a:moveTo>
                    <a:cubicBezTo>
                      <a:pt x="82" y="310"/>
                      <a:pt x="133" y="310"/>
                      <a:pt x="133" y="310"/>
                    </a:cubicBezTo>
                    <a:cubicBezTo>
                      <a:pt x="402" y="310"/>
                      <a:pt x="402" y="310"/>
                      <a:pt x="402" y="310"/>
                    </a:cubicBezTo>
                    <a:cubicBezTo>
                      <a:pt x="632" y="310"/>
                      <a:pt x="632" y="310"/>
                      <a:pt x="632" y="310"/>
                    </a:cubicBezTo>
                    <a:cubicBezTo>
                      <a:pt x="683" y="310"/>
                      <a:pt x="683" y="358"/>
                      <a:pt x="683" y="358"/>
                    </a:cubicBezTo>
                    <a:cubicBezTo>
                      <a:pt x="683" y="367"/>
                      <a:pt x="683" y="367"/>
                      <a:pt x="683" y="367"/>
                    </a:cubicBezTo>
                    <a:cubicBezTo>
                      <a:pt x="683" y="415"/>
                      <a:pt x="632" y="415"/>
                      <a:pt x="632" y="415"/>
                    </a:cubicBezTo>
                    <a:cubicBezTo>
                      <a:pt x="133" y="415"/>
                      <a:pt x="133" y="415"/>
                      <a:pt x="133" y="415"/>
                    </a:cubicBezTo>
                    <a:cubicBezTo>
                      <a:pt x="82" y="415"/>
                      <a:pt x="82" y="367"/>
                      <a:pt x="82" y="367"/>
                    </a:cubicBezTo>
                    <a:lnTo>
                      <a:pt x="82" y="358"/>
                    </a:lnTo>
                    <a:close/>
                  </a:path>
                </a:pathLst>
              </a:cu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2" name="Freeform 17"/>
              <p:cNvSpPr>
                <a:spLocks noEditPoints="1"/>
              </p:cNvSpPr>
              <p:nvPr/>
            </p:nvSpPr>
            <p:spPr bwMode="auto">
              <a:xfrm>
                <a:off x="-6581775" y="2389188"/>
                <a:ext cx="2320925" cy="2771775"/>
              </a:xfrm>
              <a:custGeom>
                <a:avLst/>
                <a:gdLst>
                  <a:gd name="T0" fmla="*/ 593 w 617"/>
                  <a:gd name="T1" fmla="*/ 75 h 737"/>
                  <a:gd name="T2" fmla="*/ 533 w 617"/>
                  <a:gd name="T3" fmla="*/ 39 h 737"/>
                  <a:gd name="T4" fmla="*/ 533 w 617"/>
                  <a:gd name="T5" fmla="*/ 39 h 737"/>
                  <a:gd name="T6" fmla="*/ 526 w 617"/>
                  <a:gd name="T7" fmla="*/ 36 h 737"/>
                  <a:gd name="T8" fmla="*/ 427 w 617"/>
                  <a:gd name="T9" fmla="*/ 10 h 737"/>
                  <a:gd name="T10" fmla="*/ 309 w 617"/>
                  <a:gd name="T11" fmla="*/ 0 h 737"/>
                  <a:gd name="T12" fmla="*/ 190 w 617"/>
                  <a:gd name="T13" fmla="*/ 10 h 737"/>
                  <a:gd name="T14" fmla="*/ 107 w 617"/>
                  <a:gd name="T15" fmla="*/ 30 h 737"/>
                  <a:gd name="T16" fmla="*/ 91 w 617"/>
                  <a:gd name="T17" fmla="*/ 36 h 737"/>
                  <a:gd name="T18" fmla="*/ 24 w 617"/>
                  <a:gd name="T19" fmla="*/ 75 h 737"/>
                  <a:gd name="T20" fmla="*/ 0 w 617"/>
                  <a:gd name="T21" fmla="*/ 123 h 737"/>
                  <a:gd name="T22" fmla="*/ 0 w 617"/>
                  <a:gd name="T23" fmla="*/ 614 h 737"/>
                  <a:gd name="T24" fmla="*/ 6 w 617"/>
                  <a:gd name="T25" fmla="*/ 639 h 737"/>
                  <a:gd name="T26" fmla="*/ 24 w 617"/>
                  <a:gd name="T27" fmla="*/ 662 h 737"/>
                  <a:gd name="T28" fmla="*/ 91 w 617"/>
                  <a:gd name="T29" fmla="*/ 701 h 737"/>
                  <a:gd name="T30" fmla="*/ 107 w 617"/>
                  <a:gd name="T31" fmla="*/ 707 h 737"/>
                  <a:gd name="T32" fmla="*/ 309 w 617"/>
                  <a:gd name="T33" fmla="*/ 737 h 737"/>
                  <a:gd name="T34" fmla="*/ 526 w 617"/>
                  <a:gd name="T35" fmla="*/ 701 h 737"/>
                  <a:gd name="T36" fmla="*/ 533 w 617"/>
                  <a:gd name="T37" fmla="*/ 698 h 737"/>
                  <a:gd name="T38" fmla="*/ 533 w 617"/>
                  <a:gd name="T39" fmla="*/ 698 h 737"/>
                  <a:gd name="T40" fmla="*/ 593 w 617"/>
                  <a:gd name="T41" fmla="*/ 662 h 737"/>
                  <a:gd name="T42" fmla="*/ 611 w 617"/>
                  <a:gd name="T43" fmla="*/ 639 h 737"/>
                  <a:gd name="T44" fmla="*/ 617 w 617"/>
                  <a:gd name="T45" fmla="*/ 614 h 737"/>
                  <a:gd name="T46" fmla="*/ 617 w 617"/>
                  <a:gd name="T47" fmla="*/ 123 h 737"/>
                  <a:gd name="T48" fmla="*/ 593 w 617"/>
                  <a:gd name="T49" fmla="*/ 75 h 737"/>
                  <a:gd name="T50" fmla="*/ 532 w 617"/>
                  <a:gd name="T51" fmla="*/ 145 h 737"/>
                  <a:gd name="T52" fmla="*/ 532 w 617"/>
                  <a:gd name="T53" fmla="*/ 145 h 737"/>
                  <a:gd name="T54" fmla="*/ 309 w 617"/>
                  <a:gd name="T55" fmla="*/ 184 h 737"/>
                  <a:gd name="T56" fmla="*/ 107 w 617"/>
                  <a:gd name="T57" fmla="*/ 155 h 737"/>
                  <a:gd name="T58" fmla="*/ 54 w 617"/>
                  <a:gd name="T59" fmla="*/ 111 h 737"/>
                  <a:gd name="T60" fmla="*/ 107 w 617"/>
                  <a:gd name="T61" fmla="*/ 64 h 737"/>
                  <a:gd name="T62" fmla="*/ 309 w 617"/>
                  <a:gd name="T63" fmla="*/ 32 h 737"/>
                  <a:gd name="T64" fmla="*/ 309 w 617"/>
                  <a:gd name="T65" fmla="*/ 32 h 737"/>
                  <a:gd name="T66" fmla="*/ 309 w 617"/>
                  <a:gd name="T67" fmla="*/ 32 h 737"/>
                  <a:gd name="T68" fmla="*/ 532 w 617"/>
                  <a:gd name="T69" fmla="*/ 74 h 737"/>
                  <a:gd name="T70" fmla="*/ 532 w 617"/>
                  <a:gd name="T71" fmla="*/ 74 h 737"/>
                  <a:gd name="T72" fmla="*/ 562 w 617"/>
                  <a:gd name="T73" fmla="*/ 111 h 737"/>
                  <a:gd name="T74" fmla="*/ 532 w 617"/>
                  <a:gd name="T75" fmla="*/ 145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7" h="737">
                    <a:moveTo>
                      <a:pt x="593" y="75"/>
                    </a:moveTo>
                    <a:cubicBezTo>
                      <a:pt x="578" y="62"/>
                      <a:pt x="558" y="49"/>
                      <a:pt x="533" y="39"/>
                    </a:cubicBezTo>
                    <a:cubicBezTo>
                      <a:pt x="533" y="39"/>
                      <a:pt x="533" y="39"/>
                      <a:pt x="533" y="39"/>
                    </a:cubicBezTo>
                    <a:cubicBezTo>
                      <a:pt x="531" y="38"/>
                      <a:pt x="528" y="37"/>
                      <a:pt x="526" y="36"/>
                    </a:cubicBezTo>
                    <a:cubicBezTo>
                      <a:pt x="498" y="25"/>
                      <a:pt x="464" y="16"/>
                      <a:pt x="427" y="10"/>
                    </a:cubicBezTo>
                    <a:cubicBezTo>
                      <a:pt x="391" y="4"/>
                      <a:pt x="351" y="0"/>
                      <a:pt x="309" y="0"/>
                    </a:cubicBezTo>
                    <a:cubicBezTo>
                      <a:pt x="267" y="0"/>
                      <a:pt x="227" y="4"/>
                      <a:pt x="190" y="10"/>
                    </a:cubicBezTo>
                    <a:cubicBezTo>
                      <a:pt x="160" y="15"/>
                      <a:pt x="132" y="22"/>
                      <a:pt x="107" y="30"/>
                    </a:cubicBezTo>
                    <a:cubicBezTo>
                      <a:pt x="102" y="32"/>
                      <a:pt x="96" y="34"/>
                      <a:pt x="91" y="36"/>
                    </a:cubicBezTo>
                    <a:cubicBezTo>
                      <a:pt x="63" y="47"/>
                      <a:pt x="40" y="60"/>
                      <a:pt x="24" y="75"/>
                    </a:cubicBezTo>
                    <a:cubicBezTo>
                      <a:pt x="8" y="90"/>
                      <a:pt x="0" y="106"/>
                      <a:pt x="0" y="123"/>
                    </a:cubicBezTo>
                    <a:cubicBezTo>
                      <a:pt x="0" y="614"/>
                      <a:pt x="0" y="614"/>
                      <a:pt x="0" y="614"/>
                    </a:cubicBezTo>
                    <a:cubicBezTo>
                      <a:pt x="0" y="622"/>
                      <a:pt x="2" y="631"/>
                      <a:pt x="6" y="639"/>
                    </a:cubicBezTo>
                    <a:cubicBezTo>
                      <a:pt x="10" y="647"/>
                      <a:pt x="16" y="654"/>
                      <a:pt x="24" y="662"/>
                    </a:cubicBezTo>
                    <a:cubicBezTo>
                      <a:pt x="40" y="676"/>
                      <a:pt x="63" y="690"/>
                      <a:pt x="91" y="701"/>
                    </a:cubicBezTo>
                    <a:cubicBezTo>
                      <a:pt x="96" y="703"/>
                      <a:pt x="102" y="705"/>
                      <a:pt x="107" y="707"/>
                    </a:cubicBezTo>
                    <a:cubicBezTo>
                      <a:pt x="161" y="725"/>
                      <a:pt x="232" y="736"/>
                      <a:pt x="309" y="737"/>
                    </a:cubicBezTo>
                    <a:cubicBezTo>
                      <a:pt x="394" y="736"/>
                      <a:pt x="470" y="723"/>
                      <a:pt x="526" y="701"/>
                    </a:cubicBezTo>
                    <a:cubicBezTo>
                      <a:pt x="528" y="700"/>
                      <a:pt x="531" y="699"/>
                      <a:pt x="533" y="698"/>
                    </a:cubicBezTo>
                    <a:cubicBezTo>
                      <a:pt x="533" y="698"/>
                      <a:pt x="533" y="698"/>
                      <a:pt x="533" y="698"/>
                    </a:cubicBezTo>
                    <a:cubicBezTo>
                      <a:pt x="558" y="687"/>
                      <a:pt x="578" y="675"/>
                      <a:pt x="593" y="662"/>
                    </a:cubicBezTo>
                    <a:cubicBezTo>
                      <a:pt x="601" y="654"/>
                      <a:pt x="607" y="647"/>
                      <a:pt x="611" y="639"/>
                    </a:cubicBezTo>
                    <a:cubicBezTo>
                      <a:pt x="615" y="631"/>
                      <a:pt x="617" y="622"/>
                      <a:pt x="617" y="614"/>
                    </a:cubicBezTo>
                    <a:cubicBezTo>
                      <a:pt x="617" y="123"/>
                      <a:pt x="617" y="123"/>
                      <a:pt x="617" y="123"/>
                    </a:cubicBezTo>
                    <a:cubicBezTo>
                      <a:pt x="617" y="106"/>
                      <a:pt x="608" y="90"/>
                      <a:pt x="593" y="75"/>
                    </a:cubicBezTo>
                    <a:close/>
                    <a:moveTo>
                      <a:pt x="532" y="145"/>
                    </a:moveTo>
                    <a:cubicBezTo>
                      <a:pt x="532" y="145"/>
                      <a:pt x="532" y="145"/>
                      <a:pt x="532" y="145"/>
                    </a:cubicBezTo>
                    <a:cubicBezTo>
                      <a:pt x="489" y="168"/>
                      <a:pt x="406" y="184"/>
                      <a:pt x="309" y="184"/>
                    </a:cubicBezTo>
                    <a:cubicBezTo>
                      <a:pt x="226" y="184"/>
                      <a:pt x="154" y="172"/>
                      <a:pt x="107" y="155"/>
                    </a:cubicBezTo>
                    <a:cubicBezTo>
                      <a:pt x="74" y="143"/>
                      <a:pt x="54" y="127"/>
                      <a:pt x="54" y="111"/>
                    </a:cubicBezTo>
                    <a:cubicBezTo>
                      <a:pt x="54" y="93"/>
                      <a:pt x="74" y="77"/>
                      <a:pt x="107" y="64"/>
                    </a:cubicBezTo>
                    <a:cubicBezTo>
                      <a:pt x="153" y="45"/>
                      <a:pt x="225" y="32"/>
                      <a:pt x="309" y="32"/>
                    </a:cubicBezTo>
                    <a:cubicBezTo>
                      <a:pt x="309" y="32"/>
                      <a:pt x="309" y="32"/>
                      <a:pt x="309" y="32"/>
                    </a:cubicBezTo>
                    <a:cubicBezTo>
                      <a:pt x="309" y="32"/>
                      <a:pt x="309" y="32"/>
                      <a:pt x="309" y="32"/>
                    </a:cubicBezTo>
                    <a:cubicBezTo>
                      <a:pt x="407" y="32"/>
                      <a:pt x="490" y="50"/>
                      <a:pt x="532" y="74"/>
                    </a:cubicBezTo>
                    <a:cubicBezTo>
                      <a:pt x="532" y="74"/>
                      <a:pt x="532" y="74"/>
                      <a:pt x="532" y="74"/>
                    </a:cubicBezTo>
                    <a:cubicBezTo>
                      <a:pt x="552" y="85"/>
                      <a:pt x="562" y="98"/>
                      <a:pt x="562" y="111"/>
                    </a:cubicBezTo>
                    <a:cubicBezTo>
                      <a:pt x="562" y="123"/>
                      <a:pt x="552" y="135"/>
                      <a:pt x="532" y="145"/>
                    </a:cubicBezTo>
                    <a:close/>
                  </a:path>
                </a:pathLst>
              </a:cu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706" name="Group 705"/>
            <p:cNvGrpSpPr/>
            <p:nvPr/>
          </p:nvGrpSpPr>
          <p:grpSpPr>
            <a:xfrm>
              <a:off x="8279347" y="3865160"/>
              <a:ext cx="332167" cy="443262"/>
              <a:chOff x="-9759950" y="-1301750"/>
              <a:chExt cx="7062787" cy="9424988"/>
            </a:xfrm>
            <a:solidFill>
              <a:schemeClr val="bg1"/>
            </a:solidFill>
          </p:grpSpPr>
          <p:sp>
            <p:nvSpPr>
              <p:cNvPr id="707" name="Freeform 21"/>
              <p:cNvSpPr>
                <a:spLocks noEditPoints="1"/>
              </p:cNvSpPr>
              <p:nvPr/>
            </p:nvSpPr>
            <p:spPr bwMode="auto">
              <a:xfrm>
                <a:off x="-9759950" y="2674938"/>
                <a:ext cx="4425950" cy="5448300"/>
              </a:xfrm>
              <a:custGeom>
                <a:avLst/>
                <a:gdLst>
                  <a:gd name="T0" fmla="*/ 0 w 2788"/>
                  <a:gd name="T1" fmla="*/ 0 h 3432"/>
                  <a:gd name="T2" fmla="*/ 0 w 2788"/>
                  <a:gd name="T3" fmla="*/ 3432 h 3432"/>
                  <a:gd name="T4" fmla="*/ 904 w 2788"/>
                  <a:gd name="T5" fmla="*/ 3432 h 3432"/>
                  <a:gd name="T6" fmla="*/ 904 w 2788"/>
                  <a:gd name="T7" fmla="*/ 2729 h 3432"/>
                  <a:gd name="T8" fmla="*/ 1266 w 2788"/>
                  <a:gd name="T9" fmla="*/ 2729 h 3432"/>
                  <a:gd name="T10" fmla="*/ 1266 w 2788"/>
                  <a:gd name="T11" fmla="*/ 3432 h 3432"/>
                  <a:gd name="T12" fmla="*/ 1531 w 2788"/>
                  <a:gd name="T13" fmla="*/ 3432 h 3432"/>
                  <a:gd name="T14" fmla="*/ 1531 w 2788"/>
                  <a:gd name="T15" fmla="*/ 2729 h 3432"/>
                  <a:gd name="T16" fmla="*/ 1896 w 2788"/>
                  <a:gd name="T17" fmla="*/ 2729 h 3432"/>
                  <a:gd name="T18" fmla="*/ 1896 w 2788"/>
                  <a:gd name="T19" fmla="*/ 3432 h 3432"/>
                  <a:gd name="T20" fmla="*/ 2788 w 2788"/>
                  <a:gd name="T21" fmla="*/ 3432 h 3432"/>
                  <a:gd name="T22" fmla="*/ 2788 w 2788"/>
                  <a:gd name="T23" fmla="*/ 0 h 3432"/>
                  <a:gd name="T24" fmla="*/ 0 w 2788"/>
                  <a:gd name="T25" fmla="*/ 0 h 3432"/>
                  <a:gd name="T26" fmla="*/ 2525 w 2788"/>
                  <a:gd name="T27" fmla="*/ 2504 h 3432"/>
                  <a:gd name="T28" fmla="*/ 275 w 2788"/>
                  <a:gd name="T29" fmla="*/ 2504 h 3432"/>
                  <a:gd name="T30" fmla="*/ 275 w 2788"/>
                  <a:gd name="T31" fmla="*/ 2145 h 3432"/>
                  <a:gd name="T32" fmla="*/ 2525 w 2788"/>
                  <a:gd name="T33" fmla="*/ 2145 h 3432"/>
                  <a:gd name="T34" fmla="*/ 2525 w 2788"/>
                  <a:gd name="T35" fmla="*/ 2504 h 3432"/>
                  <a:gd name="T36" fmla="*/ 2525 w 2788"/>
                  <a:gd name="T37" fmla="*/ 1880 h 3432"/>
                  <a:gd name="T38" fmla="*/ 275 w 2788"/>
                  <a:gd name="T39" fmla="*/ 1880 h 3432"/>
                  <a:gd name="T40" fmla="*/ 275 w 2788"/>
                  <a:gd name="T41" fmla="*/ 1518 h 3432"/>
                  <a:gd name="T42" fmla="*/ 2525 w 2788"/>
                  <a:gd name="T43" fmla="*/ 1518 h 3432"/>
                  <a:gd name="T44" fmla="*/ 2525 w 2788"/>
                  <a:gd name="T45" fmla="*/ 1880 h 3432"/>
                  <a:gd name="T46" fmla="*/ 2525 w 2788"/>
                  <a:gd name="T47" fmla="*/ 1253 h 3432"/>
                  <a:gd name="T48" fmla="*/ 275 w 2788"/>
                  <a:gd name="T49" fmla="*/ 1253 h 3432"/>
                  <a:gd name="T50" fmla="*/ 275 w 2788"/>
                  <a:gd name="T51" fmla="*/ 894 h 3432"/>
                  <a:gd name="T52" fmla="*/ 2525 w 2788"/>
                  <a:gd name="T53" fmla="*/ 894 h 3432"/>
                  <a:gd name="T54" fmla="*/ 2525 w 2788"/>
                  <a:gd name="T55" fmla="*/ 1253 h 3432"/>
                  <a:gd name="T56" fmla="*/ 2525 w 2788"/>
                  <a:gd name="T57" fmla="*/ 629 h 3432"/>
                  <a:gd name="T58" fmla="*/ 275 w 2788"/>
                  <a:gd name="T59" fmla="*/ 629 h 3432"/>
                  <a:gd name="T60" fmla="*/ 275 w 2788"/>
                  <a:gd name="T61" fmla="*/ 267 h 3432"/>
                  <a:gd name="T62" fmla="*/ 2525 w 2788"/>
                  <a:gd name="T63" fmla="*/ 267 h 3432"/>
                  <a:gd name="T64" fmla="*/ 2525 w 2788"/>
                  <a:gd name="T65" fmla="*/ 62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8" h="3432">
                    <a:moveTo>
                      <a:pt x="0" y="0"/>
                    </a:moveTo>
                    <a:lnTo>
                      <a:pt x="0" y="3432"/>
                    </a:lnTo>
                    <a:lnTo>
                      <a:pt x="904" y="3432"/>
                    </a:lnTo>
                    <a:lnTo>
                      <a:pt x="904" y="2729"/>
                    </a:lnTo>
                    <a:lnTo>
                      <a:pt x="1266" y="2729"/>
                    </a:lnTo>
                    <a:lnTo>
                      <a:pt x="1266" y="3432"/>
                    </a:lnTo>
                    <a:lnTo>
                      <a:pt x="1531" y="3432"/>
                    </a:lnTo>
                    <a:lnTo>
                      <a:pt x="1531" y="2729"/>
                    </a:lnTo>
                    <a:lnTo>
                      <a:pt x="1896" y="2729"/>
                    </a:lnTo>
                    <a:lnTo>
                      <a:pt x="1896" y="3432"/>
                    </a:lnTo>
                    <a:lnTo>
                      <a:pt x="2788" y="3432"/>
                    </a:lnTo>
                    <a:lnTo>
                      <a:pt x="2788" y="0"/>
                    </a:lnTo>
                    <a:lnTo>
                      <a:pt x="0" y="0"/>
                    </a:lnTo>
                    <a:close/>
                    <a:moveTo>
                      <a:pt x="2525" y="2504"/>
                    </a:moveTo>
                    <a:lnTo>
                      <a:pt x="275" y="2504"/>
                    </a:lnTo>
                    <a:lnTo>
                      <a:pt x="275" y="2145"/>
                    </a:lnTo>
                    <a:lnTo>
                      <a:pt x="2525" y="2145"/>
                    </a:lnTo>
                    <a:lnTo>
                      <a:pt x="2525" y="2504"/>
                    </a:lnTo>
                    <a:close/>
                    <a:moveTo>
                      <a:pt x="2525" y="1880"/>
                    </a:moveTo>
                    <a:lnTo>
                      <a:pt x="275" y="1880"/>
                    </a:lnTo>
                    <a:lnTo>
                      <a:pt x="275" y="1518"/>
                    </a:lnTo>
                    <a:lnTo>
                      <a:pt x="2525" y="1518"/>
                    </a:lnTo>
                    <a:lnTo>
                      <a:pt x="2525" y="1880"/>
                    </a:lnTo>
                    <a:close/>
                    <a:moveTo>
                      <a:pt x="2525" y="1253"/>
                    </a:moveTo>
                    <a:lnTo>
                      <a:pt x="275" y="1253"/>
                    </a:lnTo>
                    <a:lnTo>
                      <a:pt x="275" y="894"/>
                    </a:lnTo>
                    <a:lnTo>
                      <a:pt x="2525" y="894"/>
                    </a:lnTo>
                    <a:lnTo>
                      <a:pt x="2525" y="1253"/>
                    </a:lnTo>
                    <a:close/>
                    <a:moveTo>
                      <a:pt x="2525" y="629"/>
                    </a:moveTo>
                    <a:lnTo>
                      <a:pt x="275" y="629"/>
                    </a:lnTo>
                    <a:lnTo>
                      <a:pt x="275" y="267"/>
                    </a:lnTo>
                    <a:lnTo>
                      <a:pt x="2525" y="267"/>
                    </a:lnTo>
                    <a:lnTo>
                      <a:pt x="2525" y="6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08" name="Freeform 22"/>
              <p:cNvSpPr>
                <a:spLocks noEditPoints="1"/>
              </p:cNvSpPr>
              <p:nvPr/>
            </p:nvSpPr>
            <p:spPr bwMode="auto">
              <a:xfrm>
                <a:off x="-7123113" y="-1301750"/>
                <a:ext cx="4425950" cy="9424988"/>
              </a:xfrm>
              <a:custGeom>
                <a:avLst/>
                <a:gdLst>
                  <a:gd name="T0" fmla="*/ 0 w 2788"/>
                  <a:gd name="T1" fmla="*/ 0 h 5937"/>
                  <a:gd name="T2" fmla="*/ 0 w 2788"/>
                  <a:gd name="T3" fmla="*/ 2318 h 5937"/>
                  <a:gd name="T4" fmla="*/ 275 w 2788"/>
                  <a:gd name="T5" fmla="*/ 2318 h 5937"/>
                  <a:gd name="T6" fmla="*/ 275 w 2788"/>
                  <a:gd name="T7" fmla="*/ 2148 h 5937"/>
                  <a:gd name="T8" fmla="*/ 2525 w 2788"/>
                  <a:gd name="T9" fmla="*/ 2148 h 5937"/>
                  <a:gd name="T10" fmla="*/ 2525 w 2788"/>
                  <a:gd name="T11" fmla="*/ 2509 h 5937"/>
                  <a:gd name="T12" fmla="*/ 1394 w 2788"/>
                  <a:gd name="T13" fmla="*/ 2509 h 5937"/>
                  <a:gd name="T14" fmla="*/ 1394 w 2788"/>
                  <a:gd name="T15" fmla="*/ 2772 h 5937"/>
                  <a:gd name="T16" fmla="*/ 2525 w 2788"/>
                  <a:gd name="T17" fmla="*/ 2772 h 5937"/>
                  <a:gd name="T18" fmla="*/ 2525 w 2788"/>
                  <a:gd name="T19" fmla="*/ 3134 h 5937"/>
                  <a:gd name="T20" fmla="*/ 1394 w 2788"/>
                  <a:gd name="T21" fmla="*/ 3134 h 5937"/>
                  <a:gd name="T22" fmla="*/ 1394 w 2788"/>
                  <a:gd name="T23" fmla="*/ 3399 h 5937"/>
                  <a:gd name="T24" fmla="*/ 2525 w 2788"/>
                  <a:gd name="T25" fmla="*/ 3399 h 5937"/>
                  <a:gd name="T26" fmla="*/ 2525 w 2788"/>
                  <a:gd name="T27" fmla="*/ 3758 h 5937"/>
                  <a:gd name="T28" fmla="*/ 1394 w 2788"/>
                  <a:gd name="T29" fmla="*/ 3758 h 5937"/>
                  <a:gd name="T30" fmla="*/ 1394 w 2788"/>
                  <a:gd name="T31" fmla="*/ 4023 h 5937"/>
                  <a:gd name="T32" fmla="*/ 2525 w 2788"/>
                  <a:gd name="T33" fmla="*/ 4023 h 5937"/>
                  <a:gd name="T34" fmla="*/ 2525 w 2788"/>
                  <a:gd name="T35" fmla="*/ 4385 h 5937"/>
                  <a:gd name="T36" fmla="*/ 1394 w 2788"/>
                  <a:gd name="T37" fmla="*/ 4385 h 5937"/>
                  <a:gd name="T38" fmla="*/ 1394 w 2788"/>
                  <a:gd name="T39" fmla="*/ 4650 h 5937"/>
                  <a:gd name="T40" fmla="*/ 2525 w 2788"/>
                  <a:gd name="T41" fmla="*/ 4650 h 5937"/>
                  <a:gd name="T42" fmla="*/ 2525 w 2788"/>
                  <a:gd name="T43" fmla="*/ 5009 h 5937"/>
                  <a:gd name="T44" fmla="*/ 1394 w 2788"/>
                  <a:gd name="T45" fmla="*/ 5009 h 5937"/>
                  <a:gd name="T46" fmla="*/ 1394 w 2788"/>
                  <a:gd name="T47" fmla="*/ 5937 h 5937"/>
                  <a:gd name="T48" fmla="*/ 1534 w 2788"/>
                  <a:gd name="T49" fmla="*/ 5937 h 5937"/>
                  <a:gd name="T50" fmla="*/ 1534 w 2788"/>
                  <a:gd name="T51" fmla="*/ 5234 h 5937"/>
                  <a:gd name="T52" fmla="*/ 1896 w 2788"/>
                  <a:gd name="T53" fmla="*/ 5234 h 5937"/>
                  <a:gd name="T54" fmla="*/ 1896 w 2788"/>
                  <a:gd name="T55" fmla="*/ 5937 h 5937"/>
                  <a:gd name="T56" fmla="*/ 2788 w 2788"/>
                  <a:gd name="T57" fmla="*/ 5937 h 5937"/>
                  <a:gd name="T58" fmla="*/ 2788 w 2788"/>
                  <a:gd name="T59" fmla="*/ 0 h 5937"/>
                  <a:gd name="T60" fmla="*/ 0 w 2788"/>
                  <a:gd name="T61" fmla="*/ 0 h 5937"/>
                  <a:gd name="T62" fmla="*/ 2525 w 2788"/>
                  <a:gd name="T63" fmla="*/ 1883 h 5937"/>
                  <a:gd name="T64" fmla="*/ 275 w 2788"/>
                  <a:gd name="T65" fmla="*/ 1883 h 5937"/>
                  <a:gd name="T66" fmla="*/ 275 w 2788"/>
                  <a:gd name="T67" fmla="*/ 1521 h 5937"/>
                  <a:gd name="T68" fmla="*/ 2525 w 2788"/>
                  <a:gd name="T69" fmla="*/ 1521 h 5937"/>
                  <a:gd name="T70" fmla="*/ 2525 w 2788"/>
                  <a:gd name="T71" fmla="*/ 1883 h 5937"/>
                  <a:gd name="T72" fmla="*/ 2525 w 2788"/>
                  <a:gd name="T73" fmla="*/ 1263 h 5937"/>
                  <a:gd name="T74" fmla="*/ 275 w 2788"/>
                  <a:gd name="T75" fmla="*/ 1263 h 5937"/>
                  <a:gd name="T76" fmla="*/ 275 w 2788"/>
                  <a:gd name="T77" fmla="*/ 901 h 5937"/>
                  <a:gd name="T78" fmla="*/ 2525 w 2788"/>
                  <a:gd name="T79" fmla="*/ 901 h 5937"/>
                  <a:gd name="T80" fmla="*/ 2525 w 2788"/>
                  <a:gd name="T81" fmla="*/ 1263 h 5937"/>
                  <a:gd name="T82" fmla="*/ 2525 w 2788"/>
                  <a:gd name="T83" fmla="*/ 639 h 5937"/>
                  <a:gd name="T84" fmla="*/ 275 w 2788"/>
                  <a:gd name="T85" fmla="*/ 639 h 5937"/>
                  <a:gd name="T86" fmla="*/ 275 w 2788"/>
                  <a:gd name="T87" fmla="*/ 277 h 5937"/>
                  <a:gd name="T88" fmla="*/ 2525 w 2788"/>
                  <a:gd name="T89" fmla="*/ 277 h 5937"/>
                  <a:gd name="T90" fmla="*/ 2525 w 2788"/>
                  <a:gd name="T91" fmla="*/ 639 h 5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8" h="5937">
                    <a:moveTo>
                      <a:pt x="0" y="0"/>
                    </a:moveTo>
                    <a:lnTo>
                      <a:pt x="0" y="2318"/>
                    </a:lnTo>
                    <a:lnTo>
                      <a:pt x="275" y="2318"/>
                    </a:lnTo>
                    <a:lnTo>
                      <a:pt x="275" y="2148"/>
                    </a:lnTo>
                    <a:lnTo>
                      <a:pt x="2525" y="2148"/>
                    </a:lnTo>
                    <a:lnTo>
                      <a:pt x="2525" y="2509"/>
                    </a:lnTo>
                    <a:lnTo>
                      <a:pt x="1394" y="2509"/>
                    </a:lnTo>
                    <a:lnTo>
                      <a:pt x="1394" y="2772"/>
                    </a:lnTo>
                    <a:lnTo>
                      <a:pt x="2525" y="2772"/>
                    </a:lnTo>
                    <a:lnTo>
                      <a:pt x="2525" y="3134"/>
                    </a:lnTo>
                    <a:lnTo>
                      <a:pt x="1394" y="3134"/>
                    </a:lnTo>
                    <a:lnTo>
                      <a:pt x="1394" y="3399"/>
                    </a:lnTo>
                    <a:lnTo>
                      <a:pt x="2525" y="3399"/>
                    </a:lnTo>
                    <a:lnTo>
                      <a:pt x="2525" y="3758"/>
                    </a:lnTo>
                    <a:lnTo>
                      <a:pt x="1394" y="3758"/>
                    </a:lnTo>
                    <a:lnTo>
                      <a:pt x="1394" y="4023"/>
                    </a:lnTo>
                    <a:lnTo>
                      <a:pt x="2525" y="4023"/>
                    </a:lnTo>
                    <a:lnTo>
                      <a:pt x="2525" y="4385"/>
                    </a:lnTo>
                    <a:lnTo>
                      <a:pt x="1394" y="4385"/>
                    </a:lnTo>
                    <a:lnTo>
                      <a:pt x="1394" y="4650"/>
                    </a:lnTo>
                    <a:lnTo>
                      <a:pt x="2525" y="4650"/>
                    </a:lnTo>
                    <a:lnTo>
                      <a:pt x="2525" y="5009"/>
                    </a:lnTo>
                    <a:lnTo>
                      <a:pt x="1394" y="5009"/>
                    </a:lnTo>
                    <a:lnTo>
                      <a:pt x="1394" y="5937"/>
                    </a:lnTo>
                    <a:lnTo>
                      <a:pt x="1534" y="5937"/>
                    </a:lnTo>
                    <a:lnTo>
                      <a:pt x="1534" y="5234"/>
                    </a:lnTo>
                    <a:lnTo>
                      <a:pt x="1896" y="5234"/>
                    </a:lnTo>
                    <a:lnTo>
                      <a:pt x="1896" y="5937"/>
                    </a:lnTo>
                    <a:lnTo>
                      <a:pt x="2788" y="5937"/>
                    </a:lnTo>
                    <a:lnTo>
                      <a:pt x="2788" y="0"/>
                    </a:lnTo>
                    <a:lnTo>
                      <a:pt x="0" y="0"/>
                    </a:lnTo>
                    <a:close/>
                    <a:moveTo>
                      <a:pt x="2525" y="1883"/>
                    </a:moveTo>
                    <a:lnTo>
                      <a:pt x="275" y="1883"/>
                    </a:lnTo>
                    <a:lnTo>
                      <a:pt x="275" y="1521"/>
                    </a:lnTo>
                    <a:lnTo>
                      <a:pt x="2525" y="1521"/>
                    </a:lnTo>
                    <a:lnTo>
                      <a:pt x="2525" y="1883"/>
                    </a:lnTo>
                    <a:close/>
                    <a:moveTo>
                      <a:pt x="2525" y="1263"/>
                    </a:moveTo>
                    <a:lnTo>
                      <a:pt x="275" y="1263"/>
                    </a:lnTo>
                    <a:lnTo>
                      <a:pt x="275" y="901"/>
                    </a:lnTo>
                    <a:lnTo>
                      <a:pt x="2525" y="901"/>
                    </a:lnTo>
                    <a:lnTo>
                      <a:pt x="2525" y="1263"/>
                    </a:lnTo>
                    <a:close/>
                    <a:moveTo>
                      <a:pt x="2525" y="639"/>
                    </a:moveTo>
                    <a:lnTo>
                      <a:pt x="275" y="639"/>
                    </a:lnTo>
                    <a:lnTo>
                      <a:pt x="275" y="277"/>
                    </a:lnTo>
                    <a:lnTo>
                      <a:pt x="2525" y="277"/>
                    </a:lnTo>
                    <a:lnTo>
                      <a:pt x="2525" y="63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757" name="Group 756"/>
          <p:cNvGrpSpPr/>
          <p:nvPr/>
        </p:nvGrpSpPr>
        <p:grpSpPr>
          <a:xfrm>
            <a:off x="7646758" y="1373207"/>
            <a:ext cx="4788309" cy="4578751"/>
            <a:chOff x="4038600" y="1400245"/>
            <a:chExt cx="4884325" cy="4670565"/>
          </a:xfrm>
        </p:grpSpPr>
        <p:sp>
          <p:nvSpPr>
            <p:cNvPr id="758" name="Oval 757"/>
            <p:cNvSpPr/>
            <p:nvPr/>
          </p:nvSpPr>
          <p:spPr bwMode="auto">
            <a:xfrm>
              <a:off x="4038600" y="1676400"/>
              <a:ext cx="4394410" cy="4394410"/>
            </a:xfrm>
            <a:prstGeom prst="ellipse">
              <a:avLst/>
            </a:prstGeom>
            <a:solidFill>
              <a:schemeClr val="bg1"/>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59" name="Freeform 7"/>
            <p:cNvSpPr>
              <a:spLocks/>
            </p:cNvSpPr>
            <p:nvPr/>
          </p:nvSpPr>
          <p:spPr bwMode="auto">
            <a:xfrm>
              <a:off x="4619816" y="3000079"/>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0" name="Freeform 8"/>
            <p:cNvSpPr>
              <a:spLocks/>
            </p:cNvSpPr>
            <p:nvPr/>
          </p:nvSpPr>
          <p:spPr bwMode="auto">
            <a:xfrm>
              <a:off x="4741092" y="3000079"/>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1" name="Freeform 14"/>
            <p:cNvSpPr>
              <a:spLocks/>
            </p:cNvSpPr>
            <p:nvPr/>
          </p:nvSpPr>
          <p:spPr bwMode="auto">
            <a:xfrm>
              <a:off x="5696280"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2" name="Freeform 761"/>
            <p:cNvSpPr>
              <a:spLocks/>
            </p:cNvSpPr>
            <p:nvPr/>
          </p:nvSpPr>
          <p:spPr bwMode="auto">
            <a:xfrm>
              <a:off x="6148538" y="3000079"/>
              <a:ext cx="78768"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3" name="Freeform 762"/>
            <p:cNvSpPr>
              <a:spLocks noEditPoints="1"/>
            </p:cNvSpPr>
            <p:nvPr/>
          </p:nvSpPr>
          <p:spPr bwMode="auto">
            <a:xfrm>
              <a:off x="6272314" y="300007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4" name="Freeform 23"/>
            <p:cNvSpPr>
              <a:spLocks noEditPoints="1"/>
            </p:cNvSpPr>
            <p:nvPr/>
          </p:nvSpPr>
          <p:spPr bwMode="auto">
            <a:xfrm>
              <a:off x="6887800" y="3000079"/>
              <a:ext cx="132528" cy="190348"/>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5" name="Freeform 24"/>
            <p:cNvSpPr>
              <a:spLocks noEditPoints="1"/>
            </p:cNvSpPr>
            <p:nvPr/>
          </p:nvSpPr>
          <p:spPr bwMode="auto">
            <a:xfrm>
              <a:off x="7061588" y="3000079"/>
              <a:ext cx="133778" cy="190348"/>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6" name="Freeform 25"/>
            <p:cNvSpPr>
              <a:spLocks/>
            </p:cNvSpPr>
            <p:nvPr/>
          </p:nvSpPr>
          <p:spPr bwMode="auto">
            <a:xfrm>
              <a:off x="7236625" y="3000079"/>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7" name="Freeform 29"/>
            <p:cNvSpPr>
              <a:spLocks noEditPoints="1"/>
            </p:cNvSpPr>
            <p:nvPr/>
          </p:nvSpPr>
          <p:spPr bwMode="auto">
            <a:xfrm>
              <a:off x="7831753" y="3000079"/>
              <a:ext cx="130027" cy="190348"/>
            </a:xfrm>
            <a:custGeom>
              <a:avLst/>
              <a:gdLst>
                <a:gd name="T0" fmla="*/ 0 w 44"/>
                <a:gd name="T1" fmla="*/ 33 h 64"/>
                <a:gd name="T2" fmla="*/ 22 w 44"/>
                <a:gd name="T3" fmla="*/ 64 h 64"/>
                <a:gd name="T4" fmla="*/ 39 w 44"/>
                <a:gd name="T5" fmla="*/ 56 h 64"/>
                <a:gd name="T6" fmla="*/ 44 w 44"/>
                <a:gd name="T7" fmla="*/ 32 h 64"/>
                <a:gd name="T8" fmla="*/ 23 w 44"/>
                <a:gd name="T9" fmla="*/ 0 h 64"/>
                <a:gd name="T10" fmla="*/ 5 w 44"/>
                <a:gd name="T11" fmla="*/ 8 h 64"/>
                <a:gd name="T12" fmla="*/ 0 w 44"/>
                <a:gd name="T13" fmla="*/ 33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0" y="33"/>
                  </a:move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ubicBezTo>
                    <a:pt x="2" y="15"/>
                    <a:pt x="0" y="22"/>
                    <a:pt x="0" y="33"/>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8" name="Freeform 30"/>
            <p:cNvSpPr>
              <a:spLocks/>
            </p:cNvSpPr>
            <p:nvPr/>
          </p:nvSpPr>
          <p:spPr bwMode="auto">
            <a:xfrm>
              <a:off x="8006790" y="3000079"/>
              <a:ext cx="78768" cy="186591"/>
            </a:xfrm>
            <a:custGeom>
              <a:avLst/>
              <a:gdLst>
                <a:gd name="T0" fmla="*/ 10 w 27"/>
                <a:gd name="T1" fmla="*/ 5 h 63"/>
                <a:gd name="T2" fmla="*/ 0 w 27"/>
                <a:gd name="T3" fmla="*/ 9 h 63"/>
                <a:gd name="T4" fmla="*/ 0 w 27"/>
                <a:gd name="T5" fmla="*/ 20 h 63"/>
                <a:gd name="T6" fmla="*/ 3 w 27"/>
                <a:gd name="T7" fmla="*/ 20 h 63"/>
                <a:gd name="T8" fmla="*/ 7 w 27"/>
                <a:gd name="T9" fmla="*/ 18 h 63"/>
                <a:gd name="T10" fmla="*/ 10 w 27"/>
                <a:gd name="T11" fmla="*/ 17 h 63"/>
                <a:gd name="T12" fmla="*/ 13 w 27"/>
                <a:gd name="T13" fmla="*/ 15 h 63"/>
                <a:gd name="T14" fmla="*/ 13 w 27"/>
                <a:gd name="T15" fmla="*/ 63 h 63"/>
                <a:gd name="T16" fmla="*/ 27 w 27"/>
                <a:gd name="T17" fmla="*/ 63 h 63"/>
                <a:gd name="T18" fmla="*/ 27 w 27"/>
                <a:gd name="T19" fmla="*/ 8 h 63"/>
                <a:gd name="T20" fmla="*/ 23 w 27"/>
                <a:gd name="T21" fmla="*/ 0 h 63"/>
                <a:gd name="T22" fmla="*/ 18 w 27"/>
                <a:gd name="T23" fmla="*/ 0 h 63"/>
                <a:gd name="T24" fmla="*/ 10 w 27"/>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63">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8"/>
                  </a:cubicBezTo>
                  <a:cubicBezTo>
                    <a:pt x="25" y="5"/>
                    <a:pt x="24" y="2"/>
                    <a:pt x="23"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69" name="Freeform 31"/>
            <p:cNvSpPr>
              <a:spLocks/>
            </p:cNvSpPr>
            <p:nvPr/>
          </p:nvSpPr>
          <p:spPr bwMode="auto">
            <a:xfrm>
              <a:off x="8130565" y="3127813"/>
              <a:ext cx="15003" cy="43831"/>
            </a:xfrm>
            <a:custGeom>
              <a:avLst/>
              <a:gdLst>
                <a:gd name="T0" fmla="*/ 0 w 5"/>
                <a:gd name="T1" fmla="*/ 0 h 15"/>
                <a:gd name="T2" fmla="*/ 5 w 5"/>
                <a:gd name="T3" fmla="*/ 15 h 15"/>
                <a:gd name="T4" fmla="*/ 0 w 5"/>
                <a:gd name="T5" fmla="*/ 0 h 15"/>
              </a:gdLst>
              <a:ahLst/>
              <a:cxnLst>
                <a:cxn ang="0">
                  <a:pos x="T0" y="T1"/>
                </a:cxn>
                <a:cxn ang="0">
                  <a:pos x="T2" y="T3"/>
                </a:cxn>
                <a:cxn ang="0">
                  <a:pos x="T4" y="T5"/>
                </a:cxn>
              </a:cxnLst>
              <a:rect l="0" t="0" r="r" b="b"/>
              <a:pathLst>
                <a:path w="5" h="15">
                  <a:moveTo>
                    <a:pt x="0" y="0"/>
                  </a:moveTo>
                  <a:cubicBezTo>
                    <a:pt x="1" y="6"/>
                    <a:pt x="2" y="11"/>
                    <a:pt x="5" y="15"/>
                  </a:cubicBezTo>
                  <a:cubicBezTo>
                    <a:pt x="4" y="10"/>
                    <a:pt x="2" y="5"/>
                    <a:pt x="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0" name="Freeform 35"/>
            <p:cNvSpPr>
              <a:spLocks noEditPoints="1"/>
            </p:cNvSpPr>
            <p:nvPr/>
          </p:nvSpPr>
          <p:spPr bwMode="auto">
            <a:xfrm>
              <a:off x="4658574" y="322549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30" y="64"/>
                    <a:pt x="35" y="61"/>
                    <a:pt x="39" y="56"/>
                  </a:cubicBezTo>
                  <a:cubicBezTo>
                    <a:pt x="43" y="50"/>
                    <a:pt x="44" y="42"/>
                    <a:pt x="44" y="32"/>
                  </a:cubicBezTo>
                  <a:cubicBezTo>
                    <a:pt x="44" y="11"/>
                    <a:pt x="38" y="0"/>
                    <a:pt x="23" y="0"/>
                  </a:cubicBezTo>
                  <a:cubicBezTo>
                    <a:pt x="16" y="0"/>
                    <a:pt x="9" y="2"/>
                    <a:pt x="5"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1" name="Freeform 41"/>
            <p:cNvSpPr>
              <a:spLocks noEditPoints="1"/>
            </p:cNvSpPr>
            <p:nvPr/>
          </p:nvSpPr>
          <p:spPr bwMode="auto">
            <a:xfrm>
              <a:off x="5602526"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2" name="Freeform 42"/>
            <p:cNvSpPr>
              <a:spLocks/>
            </p:cNvSpPr>
            <p:nvPr/>
          </p:nvSpPr>
          <p:spPr bwMode="auto">
            <a:xfrm>
              <a:off x="5777563" y="3225491"/>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3" name="Freeform 43"/>
            <p:cNvSpPr>
              <a:spLocks noEditPoints="1"/>
            </p:cNvSpPr>
            <p:nvPr/>
          </p:nvSpPr>
          <p:spPr bwMode="auto">
            <a:xfrm>
              <a:off x="5898840" y="3225491"/>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4" name="Freeform 44"/>
            <p:cNvSpPr>
              <a:spLocks/>
            </p:cNvSpPr>
            <p:nvPr/>
          </p:nvSpPr>
          <p:spPr bwMode="auto">
            <a:xfrm>
              <a:off x="6072627"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5" name="Freeform 45"/>
            <p:cNvSpPr>
              <a:spLocks noEditPoints="1"/>
            </p:cNvSpPr>
            <p:nvPr/>
          </p:nvSpPr>
          <p:spPr bwMode="auto">
            <a:xfrm>
              <a:off x="6195153" y="3225491"/>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2" y="50"/>
                    <a:pt x="44" y="42"/>
                    <a:pt x="44" y="32"/>
                  </a:cubicBezTo>
                  <a:cubicBezTo>
                    <a:pt x="44"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6" name="Freeform 46"/>
            <p:cNvSpPr>
              <a:spLocks/>
            </p:cNvSpPr>
            <p:nvPr/>
          </p:nvSpPr>
          <p:spPr bwMode="auto">
            <a:xfrm>
              <a:off x="6368939" y="3225491"/>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3"/>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7" name="Freeform 47"/>
            <p:cNvSpPr>
              <a:spLocks noEditPoints="1"/>
            </p:cNvSpPr>
            <p:nvPr/>
          </p:nvSpPr>
          <p:spPr bwMode="auto">
            <a:xfrm>
              <a:off x="6490215" y="3225491"/>
              <a:ext cx="133778" cy="189096"/>
            </a:xfrm>
            <a:custGeom>
              <a:avLst/>
              <a:gdLst>
                <a:gd name="T0" fmla="*/ 6 w 45"/>
                <a:gd name="T1" fmla="*/ 8 h 64"/>
                <a:gd name="T2" fmla="*/ 0 w 45"/>
                <a:gd name="T3" fmla="*/ 33 h 64"/>
                <a:gd name="T4" fmla="*/ 22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2 w 45"/>
                <a:gd name="T17" fmla="*/ 53 h 64"/>
                <a:gd name="T18" fmla="*/ 14 w 45"/>
                <a:gd name="T19" fmla="*/ 33 h 64"/>
                <a:gd name="T20" fmla="*/ 22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7" y="64"/>
                    <a:pt x="22" y="64"/>
                  </a:cubicBezTo>
                  <a:cubicBezTo>
                    <a:pt x="30" y="64"/>
                    <a:pt x="35" y="61"/>
                    <a:pt x="39" y="56"/>
                  </a:cubicBezTo>
                  <a:cubicBezTo>
                    <a:pt x="43" y="50"/>
                    <a:pt x="45" y="42"/>
                    <a:pt x="45" y="32"/>
                  </a:cubicBezTo>
                  <a:cubicBezTo>
                    <a:pt x="45" y="11"/>
                    <a:pt x="38" y="0"/>
                    <a:pt x="23" y="0"/>
                  </a:cubicBezTo>
                  <a:cubicBezTo>
                    <a:pt x="16" y="0"/>
                    <a:pt x="9" y="2"/>
                    <a:pt x="6" y="8"/>
                  </a:cubicBezTo>
                  <a:close/>
                  <a:moveTo>
                    <a:pt x="31" y="32"/>
                  </a:moveTo>
                  <a:cubicBezTo>
                    <a:pt x="31" y="47"/>
                    <a:pt x="28" y="53"/>
                    <a:pt x="22" y="53"/>
                  </a:cubicBezTo>
                  <a:cubicBezTo>
                    <a:pt x="17" y="53"/>
                    <a:pt x="14" y="47"/>
                    <a:pt x="14" y="33"/>
                  </a:cubicBezTo>
                  <a:cubicBezTo>
                    <a:pt x="14" y="18"/>
                    <a:pt x="17" y="11"/>
                    <a:pt x="22"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8" name="Freeform 48"/>
            <p:cNvSpPr>
              <a:spLocks noEditPoints="1"/>
            </p:cNvSpPr>
            <p:nvPr/>
          </p:nvSpPr>
          <p:spPr bwMode="auto">
            <a:xfrm>
              <a:off x="6665252" y="322549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79" name="Freeform 49"/>
            <p:cNvSpPr>
              <a:spLocks/>
            </p:cNvSpPr>
            <p:nvPr/>
          </p:nvSpPr>
          <p:spPr bwMode="auto">
            <a:xfrm>
              <a:off x="6840291" y="3225491"/>
              <a:ext cx="76267" cy="186591"/>
            </a:xfrm>
            <a:custGeom>
              <a:avLst/>
              <a:gdLst>
                <a:gd name="T0" fmla="*/ 0 w 26"/>
                <a:gd name="T1" fmla="*/ 9 h 63"/>
                <a:gd name="T2" fmla="*/ 0 w 26"/>
                <a:gd name="T3" fmla="*/ 20 h 63"/>
                <a:gd name="T4" fmla="*/ 4 w 26"/>
                <a:gd name="T5" fmla="*/ 20 h 63"/>
                <a:gd name="T6" fmla="*/ 7 w 26"/>
                <a:gd name="T7" fmla="*/ 18 h 63"/>
                <a:gd name="T8" fmla="*/ 10 w 26"/>
                <a:gd name="T9" fmla="*/ 16 h 63"/>
                <a:gd name="T10" fmla="*/ 13 w 26"/>
                <a:gd name="T11" fmla="*/ 14 h 63"/>
                <a:gd name="T12" fmla="*/ 13 w 26"/>
                <a:gd name="T13" fmla="*/ 63 h 63"/>
                <a:gd name="T14" fmla="*/ 26 w 26"/>
                <a:gd name="T15" fmla="*/ 63 h 63"/>
                <a:gd name="T16" fmla="*/ 26 w 26"/>
                <a:gd name="T17" fmla="*/ 0 h 63"/>
                <a:gd name="T18" fmla="*/ 18 w 26"/>
                <a:gd name="T19" fmla="*/ 0 h 63"/>
                <a:gd name="T20" fmla="*/ 10 w 26"/>
                <a:gd name="T21" fmla="*/ 5 h 63"/>
                <a:gd name="T22" fmla="*/ 0 w 26"/>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9"/>
                  </a:move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6" y="2"/>
                    <a:pt x="13" y="3"/>
                    <a:pt x="10" y="5"/>
                  </a:cubicBezTo>
                  <a:cubicBezTo>
                    <a:pt x="6"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0" name="Freeform 50"/>
            <p:cNvSpPr>
              <a:spLocks/>
            </p:cNvSpPr>
            <p:nvPr/>
          </p:nvSpPr>
          <p:spPr bwMode="auto">
            <a:xfrm>
              <a:off x="6961566" y="3225491"/>
              <a:ext cx="80017" cy="186591"/>
            </a:xfrm>
            <a:custGeom>
              <a:avLst/>
              <a:gdLst>
                <a:gd name="T0" fmla="*/ 10 w 27"/>
                <a:gd name="T1" fmla="*/ 5 h 63"/>
                <a:gd name="T2" fmla="*/ 0 w 27"/>
                <a:gd name="T3" fmla="*/ 9 h 63"/>
                <a:gd name="T4" fmla="*/ 0 w 27"/>
                <a:gd name="T5" fmla="*/ 20 h 63"/>
                <a:gd name="T6" fmla="*/ 4 w 27"/>
                <a:gd name="T7" fmla="*/ 20 h 63"/>
                <a:gd name="T8" fmla="*/ 8 w 27"/>
                <a:gd name="T9" fmla="*/ 18 h 63"/>
                <a:gd name="T10" fmla="*/ 10 w 27"/>
                <a:gd name="T11" fmla="*/ 16 h 63"/>
                <a:gd name="T12" fmla="*/ 13 w 27"/>
                <a:gd name="T13" fmla="*/ 14 h 63"/>
                <a:gd name="T14" fmla="*/ 13 w 27"/>
                <a:gd name="T15" fmla="*/ 63 h 63"/>
                <a:gd name="T16" fmla="*/ 27 w 27"/>
                <a:gd name="T17" fmla="*/ 63 h 63"/>
                <a:gd name="T18" fmla="*/ 27 w 27"/>
                <a:gd name="T19" fmla="*/ 0 h 63"/>
                <a:gd name="T20" fmla="*/ 19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1" name="Freeform 51"/>
            <p:cNvSpPr>
              <a:spLocks/>
            </p:cNvSpPr>
            <p:nvPr/>
          </p:nvSpPr>
          <p:spPr bwMode="auto">
            <a:xfrm>
              <a:off x="7085343"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6"/>
                  </a:cubicBezTo>
                  <a:cubicBezTo>
                    <a:pt x="11"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2" name="Freeform 52"/>
            <p:cNvSpPr>
              <a:spLocks noEditPoints="1"/>
            </p:cNvSpPr>
            <p:nvPr/>
          </p:nvSpPr>
          <p:spPr bwMode="auto">
            <a:xfrm>
              <a:off x="7206618" y="3225491"/>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3" name="Freeform 56"/>
            <p:cNvSpPr>
              <a:spLocks/>
            </p:cNvSpPr>
            <p:nvPr/>
          </p:nvSpPr>
          <p:spPr bwMode="auto">
            <a:xfrm>
              <a:off x="7801746" y="3225491"/>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6 h 63"/>
                <a:gd name="T18" fmla="*/ 12 w 26"/>
                <a:gd name="T19" fmla="*/ 14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4" name="Freeform 57"/>
            <p:cNvSpPr>
              <a:spLocks noEditPoints="1"/>
            </p:cNvSpPr>
            <p:nvPr/>
          </p:nvSpPr>
          <p:spPr bwMode="auto">
            <a:xfrm>
              <a:off x="7923022" y="3225491"/>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5" name="Freeform 58"/>
            <p:cNvSpPr>
              <a:spLocks/>
            </p:cNvSpPr>
            <p:nvPr/>
          </p:nvSpPr>
          <p:spPr bwMode="auto">
            <a:xfrm>
              <a:off x="8098059" y="322549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4 h 63"/>
                <a:gd name="T14" fmla="*/ 13 w 26"/>
                <a:gd name="T15" fmla="*/ 63 h 63"/>
                <a:gd name="T16" fmla="*/ 26 w 26"/>
                <a:gd name="T17" fmla="*/ 63 h 63"/>
                <a:gd name="T18" fmla="*/ 26 w 26"/>
                <a:gd name="T19" fmla="*/ 10 h 63"/>
                <a:gd name="T20" fmla="*/ 23 w 26"/>
                <a:gd name="T21" fmla="*/ 0 h 63"/>
                <a:gd name="T22" fmla="*/ 18 w 26"/>
                <a:gd name="T23" fmla="*/ 0 h 63"/>
                <a:gd name="T24" fmla="*/ 10 w 26"/>
                <a:gd name="T25"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10"/>
                  </a:cubicBezTo>
                  <a:cubicBezTo>
                    <a:pt x="25" y="7"/>
                    <a:pt x="24" y="3"/>
                    <a:pt x="23" y="0"/>
                  </a:cubicBezTo>
                  <a:cubicBezTo>
                    <a:pt x="18" y="0"/>
                    <a:pt x="18" y="0"/>
                    <a:pt x="18" y="0"/>
                  </a:cubicBezTo>
                  <a:cubicBezTo>
                    <a:pt x="15" y="2"/>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6" name="Freeform 59"/>
            <p:cNvSpPr>
              <a:spLocks/>
            </p:cNvSpPr>
            <p:nvPr/>
          </p:nvSpPr>
          <p:spPr bwMode="auto">
            <a:xfrm>
              <a:off x="4303498" y="3450903"/>
              <a:ext cx="76267" cy="184087"/>
            </a:xfrm>
            <a:custGeom>
              <a:avLst/>
              <a:gdLst>
                <a:gd name="T0" fmla="*/ 7 w 26"/>
                <a:gd name="T1" fmla="*/ 18 h 62"/>
                <a:gd name="T2" fmla="*/ 10 w 26"/>
                <a:gd name="T3" fmla="*/ 16 h 62"/>
                <a:gd name="T4" fmla="*/ 13 w 26"/>
                <a:gd name="T5" fmla="*/ 14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5"/>
                    <a:pt x="13" y="14"/>
                  </a:cubicBezTo>
                  <a:cubicBezTo>
                    <a:pt x="13" y="14"/>
                    <a:pt x="13" y="14"/>
                    <a:pt x="13" y="62"/>
                  </a:cubicBezTo>
                  <a:cubicBezTo>
                    <a:pt x="13" y="62"/>
                    <a:pt x="13" y="62"/>
                    <a:pt x="26" y="62"/>
                  </a:cubicBezTo>
                  <a:cubicBezTo>
                    <a:pt x="26" y="62"/>
                    <a:pt x="26" y="62"/>
                    <a:pt x="26" y="0"/>
                  </a:cubicBezTo>
                  <a:cubicBezTo>
                    <a:pt x="18" y="0"/>
                    <a:pt x="18" y="0"/>
                    <a:pt x="18" y="0"/>
                  </a:cubicBezTo>
                  <a:cubicBezTo>
                    <a:pt x="15" y="1"/>
                    <a:pt x="13" y="3"/>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7" name="Freeform 60"/>
            <p:cNvSpPr>
              <a:spLocks/>
            </p:cNvSpPr>
            <p:nvPr/>
          </p:nvSpPr>
          <p:spPr bwMode="auto">
            <a:xfrm>
              <a:off x="4424774" y="3450903"/>
              <a:ext cx="76267"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4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8" name="Freeform 61"/>
            <p:cNvSpPr>
              <a:spLocks/>
            </p:cNvSpPr>
            <p:nvPr/>
          </p:nvSpPr>
          <p:spPr bwMode="auto">
            <a:xfrm>
              <a:off x="4546051" y="3450903"/>
              <a:ext cx="80017" cy="184087"/>
            </a:xfrm>
            <a:custGeom>
              <a:avLst/>
              <a:gdLst>
                <a:gd name="T0" fmla="*/ 10 w 27"/>
                <a:gd name="T1" fmla="*/ 5 h 62"/>
                <a:gd name="T2" fmla="*/ 0 w 27"/>
                <a:gd name="T3" fmla="*/ 9 h 62"/>
                <a:gd name="T4" fmla="*/ 0 w 27"/>
                <a:gd name="T5" fmla="*/ 20 h 62"/>
                <a:gd name="T6" fmla="*/ 4 w 27"/>
                <a:gd name="T7" fmla="*/ 20 h 62"/>
                <a:gd name="T8" fmla="*/ 8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9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7" y="6"/>
                    <a:pt x="4" y="8"/>
                    <a:pt x="0" y="9"/>
                  </a:cubicBezTo>
                  <a:cubicBezTo>
                    <a:pt x="0" y="9"/>
                    <a:pt x="0" y="9"/>
                    <a:pt x="0" y="20"/>
                  </a:cubicBez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89" name="Freeform 62"/>
            <p:cNvSpPr>
              <a:spLocks noEditPoints="1"/>
            </p:cNvSpPr>
            <p:nvPr/>
          </p:nvSpPr>
          <p:spPr bwMode="auto">
            <a:xfrm>
              <a:off x="4669826" y="3450903"/>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6"/>
                    <a:pt x="27" y="53"/>
                    <a:pt x="22" y="53"/>
                  </a:cubicBezTo>
                  <a:cubicBezTo>
                    <a:pt x="16" y="53"/>
                    <a:pt x="13" y="46"/>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0" name="Freeform 63"/>
            <p:cNvSpPr>
              <a:spLocks noEditPoints="1"/>
            </p:cNvSpPr>
            <p:nvPr/>
          </p:nvSpPr>
          <p:spPr bwMode="auto">
            <a:xfrm>
              <a:off x="4841114" y="3450903"/>
              <a:ext cx="133778" cy="189096"/>
            </a:xfrm>
            <a:custGeom>
              <a:avLst/>
              <a:gdLst>
                <a:gd name="T0" fmla="*/ 6 w 45"/>
                <a:gd name="T1" fmla="*/ 8 h 64"/>
                <a:gd name="T2" fmla="*/ 0 w 45"/>
                <a:gd name="T3" fmla="*/ 33 h 64"/>
                <a:gd name="T4" fmla="*/ 23 w 45"/>
                <a:gd name="T5" fmla="*/ 64 h 64"/>
                <a:gd name="T6" fmla="*/ 39 w 45"/>
                <a:gd name="T7" fmla="*/ 56 h 64"/>
                <a:gd name="T8" fmla="*/ 45 w 45"/>
                <a:gd name="T9" fmla="*/ 32 h 64"/>
                <a:gd name="T10" fmla="*/ 23 w 45"/>
                <a:gd name="T11" fmla="*/ 0 h 64"/>
                <a:gd name="T12" fmla="*/ 6 w 45"/>
                <a:gd name="T13" fmla="*/ 8 h 64"/>
                <a:gd name="T14" fmla="*/ 31 w 45"/>
                <a:gd name="T15" fmla="*/ 32 h 64"/>
                <a:gd name="T16" fmla="*/ 23 w 45"/>
                <a:gd name="T17" fmla="*/ 53 h 64"/>
                <a:gd name="T18" fmla="*/ 14 w 45"/>
                <a:gd name="T19" fmla="*/ 33 h 64"/>
                <a:gd name="T20" fmla="*/ 23 w 45"/>
                <a:gd name="T21" fmla="*/ 11 h 64"/>
                <a:gd name="T22" fmla="*/ 31 w 45"/>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6" y="8"/>
                  </a:moveTo>
                  <a:cubicBezTo>
                    <a:pt x="2" y="14"/>
                    <a:pt x="0" y="22"/>
                    <a:pt x="0" y="33"/>
                  </a:cubicBezTo>
                  <a:cubicBezTo>
                    <a:pt x="0" y="54"/>
                    <a:pt x="8" y="64"/>
                    <a:pt x="23" y="64"/>
                  </a:cubicBezTo>
                  <a:cubicBezTo>
                    <a:pt x="30" y="64"/>
                    <a:pt x="36" y="61"/>
                    <a:pt x="39" y="56"/>
                  </a:cubicBezTo>
                  <a:cubicBezTo>
                    <a:pt x="43" y="50"/>
                    <a:pt x="45" y="42"/>
                    <a:pt x="45" y="32"/>
                  </a:cubicBezTo>
                  <a:cubicBezTo>
                    <a:pt x="45" y="11"/>
                    <a:pt x="38" y="0"/>
                    <a:pt x="23" y="0"/>
                  </a:cubicBezTo>
                  <a:cubicBezTo>
                    <a:pt x="16" y="0"/>
                    <a:pt x="10" y="2"/>
                    <a:pt x="6" y="8"/>
                  </a:cubicBezTo>
                  <a:close/>
                  <a:moveTo>
                    <a:pt x="31" y="32"/>
                  </a:moveTo>
                  <a:cubicBezTo>
                    <a:pt x="31" y="46"/>
                    <a:pt x="28" y="53"/>
                    <a:pt x="23" y="53"/>
                  </a:cubicBezTo>
                  <a:cubicBezTo>
                    <a:pt x="17" y="53"/>
                    <a:pt x="14" y="46"/>
                    <a:pt x="14" y="33"/>
                  </a:cubicBezTo>
                  <a:cubicBezTo>
                    <a:pt x="14" y="18"/>
                    <a:pt x="17" y="11"/>
                    <a:pt x="23" y="11"/>
                  </a:cubicBezTo>
                  <a:cubicBezTo>
                    <a:pt x="28" y="11"/>
                    <a:pt x="31" y="17"/>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1" name="Freeform 64"/>
            <p:cNvSpPr>
              <a:spLocks/>
            </p:cNvSpPr>
            <p:nvPr/>
          </p:nvSpPr>
          <p:spPr bwMode="auto">
            <a:xfrm>
              <a:off x="5016151" y="3450903"/>
              <a:ext cx="80017" cy="184087"/>
            </a:xfrm>
            <a:custGeom>
              <a:avLst/>
              <a:gdLst>
                <a:gd name="T0" fmla="*/ 27 w 27"/>
                <a:gd name="T1" fmla="*/ 62 h 62"/>
                <a:gd name="T2" fmla="*/ 27 w 27"/>
                <a:gd name="T3" fmla="*/ 0 h 62"/>
                <a:gd name="T4" fmla="*/ 19 w 27"/>
                <a:gd name="T5" fmla="*/ 0 h 62"/>
                <a:gd name="T6" fmla="*/ 10 w 27"/>
                <a:gd name="T7" fmla="*/ 5 h 62"/>
                <a:gd name="T8" fmla="*/ 0 w 27"/>
                <a:gd name="T9" fmla="*/ 9 h 62"/>
                <a:gd name="T10" fmla="*/ 0 w 27"/>
                <a:gd name="T11" fmla="*/ 20 h 62"/>
                <a:gd name="T12" fmla="*/ 4 w 27"/>
                <a:gd name="T13" fmla="*/ 20 h 62"/>
                <a:gd name="T14" fmla="*/ 8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2" name="Freeform 65"/>
            <p:cNvSpPr>
              <a:spLocks noEditPoints="1"/>
            </p:cNvSpPr>
            <p:nvPr/>
          </p:nvSpPr>
          <p:spPr bwMode="auto">
            <a:xfrm>
              <a:off x="5141178" y="345090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3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1" y="14"/>
                    <a:pt x="0" y="22"/>
                    <a:pt x="0" y="33"/>
                  </a:cubicBezTo>
                  <a:cubicBezTo>
                    <a:pt x="0" y="54"/>
                    <a:pt x="7" y="64"/>
                    <a:pt x="22" y="64"/>
                  </a:cubicBezTo>
                  <a:cubicBezTo>
                    <a:pt x="29" y="64"/>
                    <a:pt x="34" y="61"/>
                    <a:pt x="38" y="56"/>
                  </a:cubicBezTo>
                  <a:cubicBezTo>
                    <a:pt x="42" y="50"/>
                    <a:pt x="44" y="42"/>
                    <a:pt x="44" y="32"/>
                  </a:cubicBezTo>
                  <a:cubicBezTo>
                    <a:pt x="44" y="11"/>
                    <a:pt x="37" y="0"/>
                    <a:pt x="23" y="0"/>
                  </a:cubicBezTo>
                  <a:close/>
                  <a:moveTo>
                    <a:pt x="22" y="53"/>
                  </a:moveTo>
                  <a:cubicBezTo>
                    <a:pt x="16" y="53"/>
                    <a:pt x="13" y="46"/>
                    <a:pt x="13" y="33"/>
                  </a:cubicBezTo>
                  <a:cubicBezTo>
                    <a:pt x="13"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3" name="Freeform 66"/>
            <p:cNvSpPr>
              <a:spLocks/>
            </p:cNvSpPr>
            <p:nvPr/>
          </p:nvSpPr>
          <p:spPr bwMode="auto">
            <a:xfrm>
              <a:off x="5314964" y="3450903"/>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3 w 26"/>
                <a:gd name="T13" fmla="*/ 20 h 62"/>
                <a:gd name="T14" fmla="*/ 7 w 26"/>
                <a:gd name="T15" fmla="*/ 18 h 62"/>
                <a:gd name="T16" fmla="*/ 10 w 26"/>
                <a:gd name="T17" fmla="*/ 16 h 62"/>
                <a:gd name="T18" fmla="*/ 12 w 26"/>
                <a:gd name="T19" fmla="*/ 14 h 62"/>
                <a:gd name="T20" fmla="*/ 12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5" y="1"/>
                    <a:pt x="12" y="3"/>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4" name="Freeform 67"/>
            <p:cNvSpPr>
              <a:spLocks noEditPoints="1"/>
            </p:cNvSpPr>
            <p:nvPr/>
          </p:nvSpPr>
          <p:spPr bwMode="auto">
            <a:xfrm>
              <a:off x="5436241" y="3450903"/>
              <a:ext cx="131279"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2"/>
                    <a:pt x="5" y="8"/>
                  </a:cubicBezTo>
                  <a:cubicBezTo>
                    <a:pt x="2" y="14"/>
                    <a:pt x="0" y="22"/>
                    <a:pt x="0" y="33"/>
                  </a:cubicBezTo>
                  <a:cubicBezTo>
                    <a:pt x="0" y="54"/>
                    <a:pt x="7" y="64"/>
                    <a:pt x="22" y="64"/>
                  </a:cubicBezTo>
                  <a:cubicBezTo>
                    <a:pt x="29" y="64"/>
                    <a:pt x="35" y="61"/>
                    <a:pt x="38" y="56"/>
                  </a:cubicBezTo>
                  <a:close/>
                  <a:moveTo>
                    <a:pt x="22" y="53"/>
                  </a:moveTo>
                  <a:cubicBezTo>
                    <a:pt x="16" y="53"/>
                    <a:pt x="14" y="46"/>
                    <a:pt x="14" y="33"/>
                  </a:cubicBezTo>
                  <a:cubicBezTo>
                    <a:pt x="14" y="18"/>
                    <a:pt x="16" y="11"/>
                    <a:pt x="22" y="11"/>
                  </a:cubicBezTo>
                  <a:cubicBezTo>
                    <a:pt x="27" y="11"/>
                    <a:pt x="30" y="17"/>
                    <a:pt x="30" y="32"/>
                  </a:cubicBezTo>
                  <a:cubicBezTo>
                    <a:pt x="30" y="46"/>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5" name="Freeform 68"/>
            <p:cNvSpPr>
              <a:spLocks noEditPoints="1"/>
            </p:cNvSpPr>
            <p:nvPr/>
          </p:nvSpPr>
          <p:spPr bwMode="auto">
            <a:xfrm>
              <a:off x="5611278"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ubicBezTo>
                    <a:pt x="29" y="64"/>
                    <a:pt x="35" y="61"/>
                    <a:pt x="39" y="56"/>
                  </a:cubicBezTo>
                  <a:close/>
                  <a:moveTo>
                    <a:pt x="14" y="33"/>
                  </a:moveTo>
                  <a:cubicBezTo>
                    <a:pt x="14" y="18"/>
                    <a:pt x="16" y="11"/>
                    <a:pt x="22" y="11"/>
                  </a:cubicBezTo>
                  <a:cubicBezTo>
                    <a:pt x="27" y="11"/>
                    <a:pt x="30" y="17"/>
                    <a:pt x="30" y="32"/>
                  </a:cubicBezTo>
                  <a:cubicBezTo>
                    <a:pt x="30" y="46"/>
                    <a:pt x="27" y="53"/>
                    <a:pt x="22" y="53"/>
                  </a:cubicBezTo>
                  <a:cubicBezTo>
                    <a:pt x="16" y="53"/>
                    <a:pt x="14" y="46"/>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6" name="Freeform 72"/>
            <p:cNvSpPr>
              <a:spLocks/>
            </p:cNvSpPr>
            <p:nvPr/>
          </p:nvSpPr>
          <p:spPr bwMode="auto">
            <a:xfrm>
              <a:off x="6206405" y="3450903"/>
              <a:ext cx="77516" cy="184087"/>
            </a:xfrm>
            <a:custGeom>
              <a:avLst/>
              <a:gdLst>
                <a:gd name="T0" fmla="*/ 10 w 26"/>
                <a:gd name="T1" fmla="*/ 5 h 62"/>
                <a:gd name="T2" fmla="*/ 0 w 26"/>
                <a:gd name="T3" fmla="*/ 9 h 62"/>
                <a:gd name="T4" fmla="*/ 0 w 26"/>
                <a:gd name="T5" fmla="*/ 20 h 62"/>
                <a:gd name="T6" fmla="*/ 3 w 26"/>
                <a:gd name="T7" fmla="*/ 20 h 62"/>
                <a:gd name="T8" fmla="*/ 7 w 26"/>
                <a:gd name="T9" fmla="*/ 18 h 62"/>
                <a:gd name="T10" fmla="*/ 10 w 26"/>
                <a:gd name="T11" fmla="*/ 16 h 62"/>
                <a:gd name="T12" fmla="*/ 12 w 26"/>
                <a:gd name="T13" fmla="*/ 14 h 62"/>
                <a:gd name="T14" fmla="*/ 12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2"/>
                  </a:cubicBezTo>
                  <a:cubicBezTo>
                    <a:pt x="12" y="62"/>
                    <a:pt x="12" y="62"/>
                    <a:pt x="26" y="62"/>
                  </a:cubicBezTo>
                  <a:cubicBezTo>
                    <a:pt x="26" y="62"/>
                    <a:pt x="26" y="62"/>
                    <a:pt x="26" y="0"/>
                  </a:cubicBezTo>
                  <a:cubicBezTo>
                    <a:pt x="18" y="0"/>
                    <a:pt x="18" y="0"/>
                    <a:pt x="18" y="0"/>
                  </a:cubicBezTo>
                  <a:cubicBezTo>
                    <a:pt x="15" y="1"/>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7" name="Freeform 73"/>
            <p:cNvSpPr>
              <a:spLocks noEditPoints="1"/>
            </p:cNvSpPr>
            <p:nvPr/>
          </p:nvSpPr>
          <p:spPr bwMode="auto">
            <a:xfrm>
              <a:off x="6327680" y="3450903"/>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2"/>
                    <a:pt x="5" y="8"/>
                  </a:cubicBezTo>
                  <a:close/>
                  <a:moveTo>
                    <a:pt x="22" y="11"/>
                  </a:moveTo>
                  <a:cubicBezTo>
                    <a:pt x="27" y="11"/>
                    <a:pt x="30" y="17"/>
                    <a:pt x="30" y="32"/>
                  </a:cubicBezTo>
                  <a:cubicBezTo>
                    <a:pt x="30" y="46"/>
                    <a:pt x="27" y="53"/>
                    <a:pt x="22" y="53"/>
                  </a:cubicBezTo>
                  <a:cubicBezTo>
                    <a:pt x="16" y="53"/>
                    <a:pt x="14" y="46"/>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8" name="Freeform 76"/>
            <p:cNvSpPr>
              <a:spLocks/>
            </p:cNvSpPr>
            <p:nvPr/>
          </p:nvSpPr>
          <p:spPr bwMode="auto">
            <a:xfrm>
              <a:off x="6799032" y="3450903"/>
              <a:ext cx="78768" cy="184087"/>
            </a:xfrm>
            <a:custGeom>
              <a:avLst/>
              <a:gdLst>
                <a:gd name="T0" fmla="*/ 10 w 27"/>
                <a:gd name="T1" fmla="*/ 5 h 62"/>
                <a:gd name="T2" fmla="*/ 0 w 27"/>
                <a:gd name="T3" fmla="*/ 9 h 62"/>
                <a:gd name="T4" fmla="*/ 0 w 27"/>
                <a:gd name="T5" fmla="*/ 20 h 62"/>
                <a:gd name="T6" fmla="*/ 3 w 27"/>
                <a:gd name="T7" fmla="*/ 20 h 62"/>
                <a:gd name="T8" fmla="*/ 7 w 27"/>
                <a:gd name="T9" fmla="*/ 18 h 62"/>
                <a:gd name="T10" fmla="*/ 10 w 27"/>
                <a:gd name="T11" fmla="*/ 16 h 62"/>
                <a:gd name="T12" fmla="*/ 13 w 27"/>
                <a:gd name="T13" fmla="*/ 14 h 62"/>
                <a:gd name="T14" fmla="*/ 13 w 27"/>
                <a:gd name="T15" fmla="*/ 62 h 62"/>
                <a:gd name="T16" fmla="*/ 27 w 27"/>
                <a:gd name="T17" fmla="*/ 62 h 62"/>
                <a:gd name="T18" fmla="*/ 27 w 27"/>
                <a:gd name="T19" fmla="*/ 0 h 62"/>
                <a:gd name="T20" fmla="*/ 18 w 27"/>
                <a:gd name="T21" fmla="*/ 0 h 62"/>
                <a:gd name="T22" fmla="*/ 10 w 27"/>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10" y="5"/>
                  </a:move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8" y="0"/>
                    <a:pt x="18" y="0"/>
                    <a:pt x="18" y="0"/>
                  </a:cubicBezTo>
                  <a:cubicBezTo>
                    <a:pt x="15" y="1"/>
                    <a:pt x="13"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799" name="Freeform 77"/>
            <p:cNvSpPr>
              <a:spLocks/>
            </p:cNvSpPr>
            <p:nvPr/>
          </p:nvSpPr>
          <p:spPr bwMode="auto">
            <a:xfrm>
              <a:off x="6920307" y="3450903"/>
              <a:ext cx="80017" cy="184087"/>
            </a:xfrm>
            <a:custGeom>
              <a:avLst/>
              <a:gdLst>
                <a:gd name="T0" fmla="*/ 7 w 27"/>
                <a:gd name="T1" fmla="*/ 18 h 62"/>
                <a:gd name="T2" fmla="*/ 10 w 27"/>
                <a:gd name="T3" fmla="*/ 16 h 62"/>
                <a:gd name="T4" fmla="*/ 13 w 27"/>
                <a:gd name="T5" fmla="*/ 14 h 62"/>
                <a:gd name="T6" fmla="*/ 13 w 27"/>
                <a:gd name="T7" fmla="*/ 62 h 62"/>
                <a:gd name="T8" fmla="*/ 27 w 27"/>
                <a:gd name="T9" fmla="*/ 62 h 62"/>
                <a:gd name="T10" fmla="*/ 27 w 27"/>
                <a:gd name="T11" fmla="*/ 0 h 62"/>
                <a:gd name="T12" fmla="*/ 19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0" name="Freeform 78"/>
            <p:cNvSpPr>
              <a:spLocks/>
            </p:cNvSpPr>
            <p:nvPr/>
          </p:nvSpPr>
          <p:spPr bwMode="auto">
            <a:xfrm>
              <a:off x="7041583" y="3450903"/>
              <a:ext cx="80017" cy="184087"/>
            </a:xfrm>
            <a:custGeom>
              <a:avLst/>
              <a:gdLst>
                <a:gd name="T0" fmla="*/ 0 w 27"/>
                <a:gd name="T1" fmla="*/ 20 h 62"/>
                <a:gd name="T2" fmla="*/ 4 w 27"/>
                <a:gd name="T3" fmla="*/ 20 h 62"/>
                <a:gd name="T4" fmla="*/ 8 w 27"/>
                <a:gd name="T5" fmla="*/ 18 h 62"/>
                <a:gd name="T6" fmla="*/ 10 w 27"/>
                <a:gd name="T7" fmla="*/ 16 h 62"/>
                <a:gd name="T8" fmla="*/ 13 w 27"/>
                <a:gd name="T9" fmla="*/ 14 h 62"/>
                <a:gd name="T10" fmla="*/ 13 w 27"/>
                <a:gd name="T11" fmla="*/ 62 h 62"/>
                <a:gd name="T12" fmla="*/ 27 w 27"/>
                <a:gd name="T13" fmla="*/ 62 h 62"/>
                <a:gd name="T14" fmla="*/ 27 w 27"/>
                <a:gd name="T15" fmla="*/ 0 h 62"/>
                <a:gd name="T16" fmla="*/ 19 w 27"/>
                <a:gd name="T17" fmla="*/ 0 h 62"/>
                <a:gd name="T18" fmla="*/ 10 w 27"/>
                <a:gd name="T19" fmla="*/ 5 h 62"/>
                <a:gd name="T20" fmla="*/ 0 w 27"/>
                <a:gd name="T21" fmla="*/ 9 h 62"/>
                <a:gd name="T22" fmla="*/ 0 w 27"/>
                <a:gd name="T23"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0" y="20"/>
                  </a:move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2"/>
                  </a:cubicBezTo>
                  <a:cubicBezTo>
                    <a:pt x="13" y="62"/>
                    <a:pt x="13" y="62"/>
                    <a:pt x="27" y="62"/>
                  </a:cubicBezTo>
                  <a:cubicBezTo>
                    <a:pt x="27" y="62"/>
                    <a:pt x="27" y="62"/>
                    <a:pt x="27" y="0"/>
                  </a:cubicBezTo>
                  <a:cubicBezTo>
                    <a:pt x="19" y="0"/>
                    <a:pt x="19" y="0"/>
                    <a:pt x="19" y="0"/>
                  </a:cubicBezTo>
                  <a:cubicBezTo>
                    <a:pt x="16" y="1"/>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1" name="Freeform 79"/>
            <p:cNvSpPr>
              <a:spLocks noEditPoints="1"/>
            </p:cNvSpPr>
            <p:nvPr/>
          </p:nvSpPr>
          <p:spPr bwMode="auto">
            <a:xfrm>
              <a:off x="7165360" y="3450903"/>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5" y="0"/>
                    <a:pt x="9" y="2"/>
                    <a:pt x="5" y="8"/>
                  </a:cubicBezTo>
                  <a:cubicBezTo>
                    <a:pt x="1" y="14"/>
                    <a:pt x="0" y="22"/>
                    <a:pt x="0" y="33"/>
                  </a:cubicBezTo>
                  <a:cubicBezTo>
                    <a:pt x="0" y="54"/>
                    <a:pt x="7" y="64"/>
                    <a:pt x="22" y="64"/>
                  </a:cubicBezTo>
                  <a:cubicBezTo>
                    <a:pt x="29" y="64"/>
                    <a:pt x="35" y="61"/>
                    <a:pt x="39" y="56"/>
                  </a:cubicBezTo>
                  <a:close/>
                  <a:moveTo>
                    <a:pt x="13" y="33"/>
                  </a:moveTo>
                  <a:cubicBezTo>
                    <a:pt x="13" y="18"/>
                    <a:pt x="16" y="11"/>
                    <a:pt x="22" y="11"/>
                  </a:cubicBezTo>
                  <a:cubicBezTo>
                    <a:pt x="27" y="11"/>
                    <a:pt x="30" y="17"/>
                    <a:pt x="30" y="32"/>
                  </a:cubicBezTo>
                  <a:cubicBezTo>
                    <a:pt x="30" y="46"/>
                    <a:pt x="27" y="53"/>
                    <a:pt x="22" y="53"/>
                  </a:cubicBezTo>
                  <a:cubicBezTo>
                    <a:pt x="16" y="53"/>
                    <a:pt x="13" y="46"/>
                    <a:pt x="13"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2" name="Freeform 84"/>
            <p:cNvSpPr>
              <a:spLocks/>
            </p:cNvSpPr>
            <p:nvPr/>
          </p:nvSpPr>
          <p:spPr bwMode="auto">
            <a:xfrm>
              <a:off x="7931773" y="3450903"/>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4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1"/>
                    <a:pt x="13" y="3"/>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4"/>
                  </a:cubicBezTo>
                  <a:cubicBezTo>
                    <a:pt x="13" y="14"/>
                    <a:pt x="13" y="14"/>
                    <a:pt x="13" y="62"/>
                  </a:cubicBezTo>
                  <a:cubicBezTo>
                    <a:pt x="13" y="62"/>
                    <a:pt x="13" y="62"/>
                    <a:pt x="27"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3" name="Freeform 85"/>
            <p:cNvSpPr>
              <a:spLocks noEditPoints="1"/>
            </p:cNvSpPr>
            <p:nvPr/>
          </p:nvSpPr>
          <p:spPr bwMode="auto">
            <a:xfrm>
              <a:off x="8053049" y="3450903"/>
              <a:ext cx="133778" cy="189096"/>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1"/>
                    <a:pt x="39" y="56"/>
                  </a:cubicBezTo>
                  <a:cubicBezTo>
                    <a:pt x="43" y="50"/>
                    <a:pt x="45" y="42"/>
                    <a:pt x="45" y="32"/>
                  </a:cubicBezTo>
                  <a:cubicBezTo>
                    <a:pt x="45" y="11"/>
                    <a:pt x="38" y="0"/>
                    <a:pt x="23" y="0"/>
                  </a:cubicBezTo>
                  <a:cubicBezTo>
                    <a:pt x="16" y="0"/>
                    <a:pt x="10" y="2"/>
                    <a:pt x="6" y="8"/>
                  </a:cubicBezTo>
                  <a:cubicBezTo>
                    <a:pt x="2" y="14"/>
                    <a:pt x="0" y="22"/>
                    <a:pt x="0" y="33"/>
                  </a:cubicBezTo>
                  <a:cubicBezTo>
                    <a:pt x="0" y="54"/>
                    <a:pt x="8" y="64"/>
                    <a:pt x="23" y="64"/>
                  </a:cubicBezTo>
                  <a:close/>
                  <a:moveTo>
                    <a:pt x="23" y="11"/>
                  </a:moveTo>
                  <a:cubicBezTo>
                    <a:pt x="28" y="11"/>
                    <a:pt x="31" y="17"/>
                    <a:pt x="31" y="32"/>
                  </a:cubicBezTo>
                  <a:cubicBezTo>
                    <a:pt x="31" y="46"/>
                    <a:pt x="28" y="53"/>
                    <a:pt x="23" y="53"/>
                  </a:cubicBezTo>
                  <a:cubicBezTo>
                    <a:pt x="17" y="53"/>
                    <a:pt x="14" y="46"/>
                    <a:pt x="14" y="33"/>
                  </a:cubicBezTo>
                  <a:cubicBezTo>
                    <a:pt x="14" y="18"/>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4" name="Freeform 86"/>
            <p:cNvSpPr>
              <a:spLocks/>
            </p:cNvSpPr>
            <p:nvPr/>
          </p:nvSpPr>
          <p:spPr bwMode="auto">
            <a:xfrm>
              <a:off x="8230587" y="3494732"/>
              <a:ext cx="27506" cy="133995"/>
            </a:xfrm>
            <a:custGeom>
              <a:avLst/>
              <a:gdLst>
                <a:gd name="T0" fmla="*/ 9 w 9"/>
                <a:gd name="T1" fmla="*/ 45 h 45"/>
                <a:gd name="T2" fmla="*/ 2 w 9"/>
                <a:gd name="T3" fmla="*/ 0 h 45"/>
                <a:gd name="T4" fmla="*/ 0 w 9"/>
                <a:gd name="T5" fmla="*/ 18 h 45"/>
                <a:gd name="T6" fmla="*/ 9 w 9"/>
                <a:gd name="T7" fmla="*/ 45 h 45"/>
              </a:gdLst>
              <a:ahLst/>
              <a:cxnLst>
                <a:cxn ang="0">
                  <a:pos x="T0" y="T1"/>
                </a:cxn>
                <a:cxn ang="0">
                  <a:pos x="T2" y="T3"/>
                </a:cxn>
                <a:cxn ang="0">
                  <a:pos x="T4" y="T5"/>
                </a:cxn>
                <a:cxn ang="0">
                  <a:pos x="T6" y="T7"/>
                </a:cxn>
              </a:cxnLst>
              <a:rect l="0" t="0" r="r" b="b"/>
              <a:pathLst>
                <a:path w="9" h="45">
                  <a:moveTo>
                    <a:pt x="9" y="45"/>
                  </a:moveTo>
                  <a:cubicBezTo>
                    <a:pt x="7" y="30"/>
                    <a:pt x="5" y="15"/>
                    <a:pt x="2" y="0"/>
                  </a:cubicBezTo>
                  <a:cubicBezTo>
                    <a:pt x="0" y="5"/>
                    <a:pt x="0" y="10"/>
                    <a:pt x="0" y="18"/>
                  </a:cubicBezTo>
                  <a:cubicBezTo>
                    <a:pt x="0" y="31"/>
                    <a:pt x="3" y="41"/>
                    <a:pt x="9" y="4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5" name="Freeform 87"/>
            <p:cNvSpPr>
              <a:spLocks/>
            </p:cNvSpPr>
            <p:nvPr/>
          </p:nvSpPr>
          <p:spPr bwMode="auto">
            <a:xfrm>
              <a:off x="4249737" y="3672557"/>
              <a:ext cx="80017" cy="186591"/>
            </a:xfrm>
            <a:custGeom>
              <a:avLst/>
              <a:gdLst>
                <a:gd name="T0" fmla="*/ 27 w 27"/>
                <a:gd name="T1" fmla="*/ 0 h 63"/>
                <a:gd name="T2" fmla="*/ 19 w 27"/>
                <a:gd name="T3" fmla="*/ 0 h 63"/>
                <a:gd name="T4" fmla="*/ 10 w 27"/>
                <a:gd name="T5" fmla="*/ 5 h 63"/>
                <a:gd name="T6" fmla="*/ 0 w 27"/>
                <a:gd name="T7" fmla="*/ 9 h 63"/>
                <a:gd name="T8" fmla="*/ 0 w 27"/>
                <a:gd name="T9" fmla="*/ 20 h 63"/>
                <a:gd name="T10" fmla="*/ 4 w 27"/>
                <a:gd name="T11" fmla="*/ 20 h 63"/>
                <a:gd name="T12" fmla="*/ 7 w 27"/>
                <a:gd name="T13" fmla="*/ 18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6" name="Freeform 88"/>
            <p:cNvSpPr>
              <a:spLocks noEditPoints="1"/>
            </p:cNvSpPr>
            <p:nvPr/>
          </p:nvSpPr>
          <p:spPr bwMode="auto">
            <a:xfrm>
              <a:off x="4371013" y="367631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ubicBezTo>
                    <a:pt x="16" y="0"/>
                    <a:pt x="10" y="3"/>
                    <a:pt x="6" y="8"/>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7" name="Freeform 89"/>
            <p:cNvSpPr>
              <a:spLocks noEditPoints="1"/>
            </p:cNvSpPr>
            <p:nvPr/>
          </p:nvSpPr>
          <p:spPr bwMode="auto">
            <a:xfrm>
              <a:off x="4546051" y="3676314"/>
              <a:ext cx="13252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2" y="64"/>
                  </a:cubicBezTo>
                  <a:cubicBezTo>
                    <a:pt x="30" y="64"/>
                    <a:pt x="35" y="61"/>
                    <a:pt x="39" y="56"/>
                  </a:cubicBezTo>
                  <a:cubicBezTo>
                    <a:pt x="43" y="50"/>
                    <a:pt x="45" y="42"/>
                    <a:pt x="45" y="32"/>
                  </a:cubicBezTo>
                  <a:cubicBezTo>
                    <a:pt x="45"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8" name="Freeform 90"/>
            <p:cNvSpPr>
              <a:spLocks/>
            </p:cNvSpPr>
            <p:nvPr/>
          </p:nvSpPr>
          <p:spPr bwMode="auto">
            <a:xfrm>
              <a:off x="4719838" y="3672557"/>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09" name="Freeform 96"/>
            <p:cNvSpPr>
              <a:spLocks/>
            </p:cNvSpPr>
            <p:nvPr/>
          </p:nvSpPr>
          <p:spPr bwMode="auto">
            <a:xfrm>
              <a:off x="5561267" y="3672557"/>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1" y="16"/>
                    <a:pt x="12" y="15"/>
                  </a:cubicBezTo>
                  <a:cubicBezTo>
                    <a:pt x="12" y="15"/>
                    <a:pt x="12" y="15"/>
                    <a:pt x="12" y="63"/>
                  </a:cubicBezTo>
                  <a:cubicBezTo>
                    <a:pt x="12" y="63"/>
                    <a:pt x="12" y="63"/>
                    <a:pt x="26"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0" name="Freeform 97"/>
            <p:cNvSpPr>
              <a:spLocks/>
            </p:cNvSpPr>
            <p:nvPr/>
          </p:nvSpPr>
          <p:spPr bwMode="auto">
            <a:xfrm>
              <a:off x="5682542" y="3672557"/>
              <a:ext cx="76267" cy="186591"/>
            </a:xfrm>
            <a:custGeom>
              <a:avLst/>
              <a:gdLst>
                <a:gd name="T0" fmla="*/ 7 w 26"/>
                <a:gd name="T1" fmla="*/ 18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1" name="Freeform 101"/>
            <p:cNvSpPr>
              <a:spLocks/>
            </p:cNvSpPr>
            <p:nvPr/>
          </p:nvSpPr>
          <p:spPr bwMode="auto">
            <a:xfrm>
              <a:off x="6350565" y="3672557"/>
              <a:ext cx="80017" cy="186591"/>
            </a:xfrm>
            <a:custGeom>
              <a:avLst/>
              <a:gdLst>
                <a:gd name="T0" fmla="*/ 0 w 27"/>
                <a:gd name="T1" fmla="*/ 9 h 63"/>
                <a:gd name="T2" fmla="*/ 0 w 27"/>
                <a:gd name="T3" fmla="*/ 20 h 63"/>
                <a:gd name="T4" fmla="*/ 4 w 27"/>
                <a:gd name="T5" fmla="*/ 20 h 63"/>
                <a:gd name="T6" fmla="*/ 7 w 27"/>
                <a:gd name="T7" fmla="*/ 18 h 63"/>
                <a:gd name="T8" fmla="*/ 10 w 27"/>
                <a:gd name="T9" fmla="*/ 17 h 63"/>
                <a:gd name="T10" fmla="*/ 13 w 27"/>
                <a:gd name="T11" fmla="*/ 15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7" y="18"/>
                  </a:cubicBezTo>
                  <a:cubicBezTo>
                    <a:pt x="8" y="18"/>
                    <a:pt x="9"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2" name="Freeform 105"/>
            <p:cNvSpPr>
              <a:spLocks noEditPoints="1"/>
            </p:cNvSpPr>
            <p:nvPr/>
          </p:nvSpPr>
          <p:spPr bwMode="auto">
            <a:xfrm>
              <a:off x="6920307" y="3676314"/>
              <a:ext cx="132528" cy="189096"/>
            </a:xfrm>
            <a:custGeom>
              <a:avLst/>
              <a:gdLst>
                <a:gd name="T0" fmla="*/ 23 w 45"/>
                <a:gd name="T1" fmla="*/ 0 h 64"/>
                <a:gd name="T2" fmla="*/ 6 w 45"/>
                <a:gd name="T3" fmla="*/ 8 h 64"/>
                <a:gd name="T4" fmla="*/ 0 w 45"/>
                <a:gd name="T5" fmla="*/ 33 h 64"/>
                <a:gd name="T6" fmla="*/ 23 w 45"/>
                <a:gd name="T7" fmla="*/ 64 h 64"/>
                <a:gd name="T8" fmla="*/ 39 w 45"/>
                <a:gd name="T9" fmla="*/ 56 h 64"/>
                <a:gd name="T10" fmla="*/ 45 w 45"/>
                <a:gd name="T11" fmla="*/ 32 h 64"/>
                <a:gd name="T12" fmla="*/ 23 w 45"/>
                <a:gd name="T13" fmla="*/ 0 h 64"/>
                <a:gd name="T14" fmla="*/ 23 w 45"/>
                <a:gd name="T15" fmla="*/ 53 h 64"/>
                <a:gd name="T16" fmla="*/ 14 w 45"/>
                <a:gd name="T17" fmla="*/ 33 h 64"/>
                <a:gd name="T18" fmla="*/ 23 w 45"/>
                <a:gd name="T19" fmla="*/ 11 h 64"/>
                <a:gd name="T20" fmla="*/ 31 w 45"/>
                <a:gd name="T21" fmla="*/ 32 h 64"/>
                <a:gd name="T22" fmla="*/ 23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10" y="3"/>
                    <a:pt x="6" y="8"/>
                  </a:cubicBezTo>
                  <a:cubicBezTo>
                    <a:pt x="2" y="15"/>
                    <a:pt x="0" y="22"/>
                    <a:pt x="0" y="33"/>
                  </a:cubicBezTo>
                  <a:cubicBezTo>
                    <a:pt x="0" y="54"/>
                    <a:pt x="8" y="64"/>
                    <a:pt x="23" y="64"/>
                  </a:cubicBezTo>
                  <a:cubicBezTo>
                    <a:pt x="30" y="64"/>
                    <a:pt x="35" y="61"/>
                    <a:pt x="39" y="56"/>
                  </a:cubicBezTo>
                  <a:cubicBezTo>
                    <a:pt x="43" y="50"/>
                    <a:pt x="45" y="42"/>
                    <a:pt x="45" y="32"/>
                  </a:cubicBezTo>
                  <a:cubicBezTo>
                    <a:pt x="45" y="11"/>
                    <a:pt x="38" y="0"/>
                    <a:pt x="23" y="0"/>
                  </a:cubicBezTo>
                  <a:close/>
                  <a:moveTo>
                    <a:pt x="23" y="53"/>
                  </a:moveTo>
                  <a:cubicBezTo>
                    <a:pt x="17" y="53"/>
                    <a:pt x="14" y="47"/>
                    <a:pt x="14" y="33"/>
                  </a:cubicBezTo>
                  <a:cubicBezTo>
                    <a:pt x="14" y="18"/>
                    <a:pt x="17" y="11"/>
                    <a:pt x="23" y="11"/>
                  </a:cubicBezTo>
                  <a:cubicBezTo>
                    <a:pt x="28" y="11"/>
                    <a:pt x="31" y="17"/>
                    <a:pt x="31" y="32"/>
                  </a:cubicBezTo>
                  <a:cubicBezTo>
                    <a:pt x="31" y="47"/>
                    <a:pt x="28" y="53"/>
                    <a:pt x="23"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3" name="Freeform 106"/>
            <p:cNvSpPr>
              <a:spLocks/>
            </p:cNvSpPr>
            <p:nvPr/>
          </p:nvSpPr>
          <p:spPr bwMode="auto">
            <a:xfrm>
              <a:off x="7094094" y="3672557"/>
              <a:ext cx="80017" cy="186591"/>
            </a:xfrm>
            <a:custGeom>
              <a:avLst/>
              <a:gdLst>
                <a:gd name="T0" fmla="*/ 0 w 27"/>
                <a:gd name="T1" fmla="*/ 20 h 63"/>
                <a:gd name="T2" fmla="*/ 4 w 27"/>
                <a:gd name="T3" fmla="*/ 20 h 63"/>
                <a:gd name="T4" fmla="*/ 8 w 27"/>
                <a:gd name="T5" fmla="*/ 18 h 63"/>
                <a:gd name="T6" fmla="*/ 10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4" name="Freeform 107"/>
            <p:cNvSpPr>
              <a:spLocks noEditPoints="1"/>
            </p:cNvSpPr>
            <p:nvPr/>
          </p:nvSpPr>
          <p:spPr bwMode="auto">
            <a:xfrm>
              <a:off x="7219121"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5" name="Freeform 108"/>
            <p:cNvSpPr>
              <a:spLocks noEditPoints="1"/>
            </p:cNvSpPr>
            <p:nvPr/>
          </p:nvSpPr>
          <p:spPr bwMode="auto">
            <a:xfrm>
              <a:off x="7392908" y="3676314"/>
              <a:ext cx="131279"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ubicBezTo>
                    <a:pt x="15" y="0"/>
                    <a:pt x="9" y="3"/>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6" name="Freeform 109"/>
            <p:cNvSpPr>
              <a:spLocks noEditPoints="1"/>
            </p:cNvSpPr>
            <p:nvPr/>
          </p:nvSpPr>
          <p:spPr bwMode="auto">
            <a:xfrm>
              <a:off x="7567946" y="3676314"/>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7" name="Freeform 110"/>
            <p:cNvSpPr>
              <a:spLocks/>
            </p:cNvSpPr>
            <p:nvPr/>
          </p:nvSpPr>
          <p:spPr bwMode="auto">
            <a:xfrm>
              <a:off x="7739232" y="3672557"/>
              <a:ext cx="80017" cy="186591"/>
            </a:xfrm>
            <a:custGeom>
              <a:avLst/>
              <a:gdLst>
                <a:gd name="T0" fmla="*/ 11 w 27"/>
                <a:gd name="T1" fmla="*/ 5 h 63"/>
                <a:gd name="T2" fmla="*/ 0 w 27"/>
                <a:gd name="T3" fmla="*/ 9 h 63"/>
                <a:gd name="T4" fmla="*/ 0 w 27"/>
                <a:gd name="T5" fmla="*/ 20 h 63"/>
                <a:gd name="T6" fmla="*/ 4 w 27"/>
                <a:gd name="T7" fmla="*/ 20 h 63"/>
                <a:gd name="T8" fmla="*/ 8 w 27"/>
                <a:gd name="T9" fmla="*/ 18 h 63"/>
                <a:gd name="T10" fmla="*/ 11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1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1" y="5"/>
                  </a:moveTo>
                  <a:cubicBezTo>
                    <a:pt x="7" y="6"/>
                    <a:pt x="4" y="8"/>
                    <a:pt x="0" y="9"/>
                  </a:cubicBezTo>
                  <a:cubicBezTo>
                    <a:pt x="0" y="9"/>
                    <a:pt x="0" y="9"/>
                    <a:pt x="0" y="20"/>
                  </a:cubicBezTo>
                  <a:cubicBezTo>
                    <a:pt x="1" y="20"/>
                    <a:pt x="2" y="20"/>
                    <a:pt x="4" y="20"/>
                  </a:cubicBezTo>
                  <a:cubicBezTo>
                    <a:pt x="5" y="19"/>
                    <a:pt x="6" y="19"/>
                    <a:pt x="8" y="18"/>
                  </a:cubicBezTo>
                  <a:cubicBezTo>
                    <a:pt x="9" y="18"/>
                    <a:pt x="10" y="17"/>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8" name="Freeform 111"/>
            <p:cNvSpPr>
              <a:spLocks noEditPoints="1"/>
            </p:cNvSpPr>
            <p:nvPr/>
          </p:nvSpPr>
          <p:spPr bwMode="auto">
            <a:xfrm>
              <a:off x="7864259" y="3676314"/>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30 w 44"/>
                <a:gd name="T15" fmla="*/ 32 h 64"/>
                <a:gd name="T16" fmla="*/ 22 w 44"/>
                <a:gd name="T17" fmla="*/ 53 h 64"/>
                <a:gd name="T18" fmla="*/ 14 w 44"/>
                <a:gd name="T19" fmla="*/ 33 h 64"/>
                <a:gd name="T20" fmla="*/ 22 w 44"/>
                <a:gd name="T21" fmla="*/ 11 h 64"/>
                <a:gd name="T22" fmla="*/ 30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30" y="32"/>
                  </a:moveTo>
                  <a:cubicBezTo>
                    <a:pt x="30" y="47"/>
                    <a:pt x="28" y="53"/>
                    <a:pt x="22" y="53"/>
                  </a:cubicBezTo>
                  <a:cubicBezTo>
                    <a:pt x="16" y="53"/>
                    <a:pt x="14" y="47"/>
                    <a:pt x="14" y="33"/>
                  </a:cubicBezTo>
                  <a:cubicBezTo>
                    <a:pt x="14" y="18"/>
                    <a:pt x="16" y="11"/>
                    <a:pt x="22" y="11"/>
                  </a:cubicBezTo>
                  <a:cubicBezTo>
                    <a:pt x="28" y="11"/>
                    <a:pt x="30" y="17"/>
                    <a:pt x="30" y="3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19" name="Freeform 112"/>
            <p:cNvSpPr>
              <a:spLocks/>
            </p:cNvSpPr>
            <p:nvPr/>
          </p:nvSpPr>
          <p:spPr bwMode="auto">
            <a:xfrm>
              <a:off x="8039296" y="3672557"/>
              <a:ext cx="78768"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3 w 27"/>
                <a:gd name="T13" fmla="*/ 20 h 63"/>
                <a:gd name="T14" fmla="*/ 7 w 27"/>
                <a:gd name="T15" fmla="*/ 18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0" name="Freeform 113"/>
            <p:cNvSpPr>
              <a:spLocks noEditPoints="1"/>
            </p:cNvSpPr>
            <p:nvPr/>
          </p:nvSpPr>
          <p:spPr bwMode="auto">
            <a:xfrm>
              <a:off x="8160572" y="3676314"/>
              <a:ext cx="112524" cy="189096"/>
            </a:xfrm>
            <a:custGeom>
              <a:avLst/>
              <a:gdLst>
                <a:gd name="T0" fmla="*/ 6 w 38"/>
                <a:gd name="T1" fmla="*/ 8 h 64"/>
                <a:gd name="T2" fmla="*/ 0 w 38"/>
                <a:gd name="T3" fmla="*/ 33 h 64"/>
                <a:gd name="T4" fmla="*/ 22 w 38"/>
                <a:gd name="T5" fmla="*/ 64 h 64"/>
                <a:gd name="T6" fmla="*/ 38 w 38"/>
                <a:gd name="T7" fmla="*/ 57 h 64"/>
                <a:gd name="T8" fmla="*/ 35 w 38"/>
                <a:gd name="T9" fmla="*/ 4 h 64"/>
                <a:gd name="T10" fmla="*/ 23 w 38"/>
                <a:gd name="T11" fmla="*/ 0 h 64"/>
                <a:gd name="T12" fmla="*/ 6 w 38"/>
                <a:gd name="T13" fmla="*/ 8 h 64"/>
                <a:gd name="T14" fmla="*/ 30 w 38"/>
                <a:gd name="T15" fmla="*/ 32 h 64"/>
                <a:gd name="T16" fmla="*/ 22 w 38"/>
                <a:gd name="T17" fmla="*/ 53 h 64"/>
                <a:gd name="T18" fmla="*/ 14 w 38"/>
                <a:gd name="T19" fmla="*/ 33 h 64"/>
                <a:gd name="T20" fmla="*/ 22 w 38"/>
                <a:gd name="T21" fmla="*/ 11 h 64"/>
                <a:gd name="T22" fmla="*/ 30 w 38"/>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4">
                  <a:moveTo>
                    <a:pt x="6" y="8"/>
                  </a:moveTo>
                  <a:cubicBezTo>
                    <a:pt x="2" y="15"/>
                    <a:pt x="0" y="22"/>
                    <a:pt x="0" y="33"/>
                  </a:cubicBezTo>
                  <a:cubicBezTo>
                    <a:pt x="0" y="54"/>
                    <a:pt x="7" y="64"/>
                    <a:pt x="22" y="64"/>
                  </a:cubicBezTo>
                  <a:cubicBezTo>
                    <a:pt x="29" y="64"/>
                    <a:pt x="34" y="62"/>
                    <a:pt x="38" y="57"/>
                  </a:cubicBezTo>
                  <a:cubicBezTo>
                    <a:pt x="38" y="39"/>
                    <a:pt x="37" y="21"/>
                    <a:pt x="35" y="4"/>
                  </a:cubicBezTo>
                  <a:cubicBezTo>
                    <a:pt x="32" y="1"/>
                    <a:pt x="28" y="0"/>
                    <a:pt x="23" y="0"/>
                  </a:cubicBezTo>
                  <a:cubicBezTo>
                    <a:pt x="16" y="0"/>
                    <a:pt x="9" y="3"/>
                    <a:pt x="6" y="8"/>
                  </a:cubicBezTo>
                  <a:close/>
                  <a:moveTo>
                    <a:pt x="30" y="32"/>
                  </a:moveTo>
                  <a:cubicBezTo>
                    <a:pt x="30" y="47"/>
                    <a:pt x="28" y="53"/>
                    <a:pt x="22" y="53"/>
                  </a:cubicBezTo>
                  <a:cubicBezTo>
                    <a:pt x="17" y="53"/>
                    <a:pt x="14" y="47"/>
                    <a:pt x="14" y="33"/>
                  </a:cubicBezTo>
                  <a:cubicBezTo>
                    <a:pt x="14" y="18"/>
                    <a:pt x="17" y="11"/>
                    <a:pt x="22" y="11"/>
                  </a:cubicBezTo>
                  <a:cubicBezTo>
                    <a:pt x="28" y="11"/>
                    <a:pt x="30" y="17"/>
                    <a:pt x="30" y="3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1" name="Freeform 820"/>
            <p:cNvSpPr>
              <a:spLocks noEditPoints="1"/>
            </p:cNvSpPr>
            <p:nvPr/>
          </p:nvSpPr>
          <p:spPr bwMode="auto">
            <a:xfrm>
              <a:off x="4711087"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1" y="15"/>
                    <a:pt x="0" y="22"/>
                    <a:pt x="0" y="33"/>
                  </a:cubicBezTo>
                  <a:cubicBezTo>
                    <a:pt x="0" y="54"/>
                    <a:pt x="7" y="65"/>
                    <a:pt x="22" y="65"/>
                  </a:cubicBezTo>
                  <a:cubicBezTo>
                    <a:pt x="29" y="65"/>
                    <a:pt x="35" y="62"/>
                    <a:pt x="38" y="56"/>
                  </a:cubicBezTo>
                  <a:cubicBezTo>
                    <a:pt x="42" y="51"/>
                    <a:pt x="44" y="42"/>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2" name="Freeform 123"/>
            <p:cNvSpPr>
              <a:spLocks noEditPoints="1"/>
            </p:cNvSpPr>
            <p:nvPr/>
          </p:nvSpPr>
          <p:spPr bwMode="auto">
            <a:xfrm>
              <a:off x="5531262" y="3897969"/>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8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2"/>
                    <a:pt x="44" y="32"/>
                  </a:cubicBezTo>
                  <a:cubicBezTo>
                    <a:pt x="44" y="11"/>
                    <a:pt x="38" y="0"/>
                    <a:pt x="23" y="0"/>
                  </a:cubicBezTo>
                  <a:cubicBezTo>
                    <a:pt x="16" y="0"/>
                    <a:pt x="9" y="3"/>
                    <a:pt x="6" y="8"/>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3" name="Freeform 124"/>
            <p:cNvSpPr>
              <a:spLocks/>
            </p:cNvSpPr>
            <p:nvPr/>
          </p:nvSpPr>
          <p:spPr bwMode="auto">
            <a:xfrm>
              <a:off x="5706299" y="3897969"/>
              <a:ext cx="76267" cy="186591"/>
            </a:xfrm>
            <a:custGeom>
              <a:avLst/>
              <a:gdLst>
                <a:gd name="T0" fmla="*/ 10 w 26"/>
                <a:gd name="T1" fmla="*/ 6 h 63"/>
                <a:gd name="T2" fmla="*/ 0 w 26"/>
                <a:gd name="T3" fmla="*/ 9 h 63"/>
                <a:gd name="T4" fmla="*/ 0 w 26"/>
                <a:gd name="T5" fmla="*/ 21 h 63"/>
                <a:gd name="T6" fmla="*/ 4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4" name="Freeform 125"/>
            <p:cNvSpPr>
              <a:spLocks noEditPoints="1"/>
            </p:cNvSpPr>
            <p:nvPr/>
          </p:nvSpPr>
          <p:spPr bwMode="auto">
            <a:xfrm>
              <a:off x="5827574" y="3897969"/>
              <a:ext cx="130027" cy="192852"/>
            </a:xfrm>
            <a:custGeom>
              <a:avLst/>
              <a:gdLst>
                <a:gd name="T0" fmla="*/ 23 w 44"/>
                <a:gd name="T1" fmla="*/ 0 h 65"/>
                <a:gd name="T2" fmla="*/ 6 w 44"/>
                <a:gd name="T3" fmla="*/ 8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10" y="3"/>
                    <a:pt x="6" y="8"/>
                  </a:cubicBezTo>
                  <a:cubicBezTo>
                    <a:pt x="2" y="15"/>
                    <a:pt x="0" y="22"/>
                    <a:pt x="0" y="33"/>
                  </a:cubicBezTo>
                  <a:cubicBezTo>
                    <a:pt x="0" y="54"/>
                    <a:pt x="8" y="65"/>
                    <a:pt x="22" y="65"/>
                  </a:cubicBezTo>
                  <a:cubicBezTo>
                    <a:pt x="30" y="65"/>
                    <a:pt x="35" y="62"/>
                    <a:pt x="39" y="56"/>
                  </a:cubicBezTo>
                  <a:cubicBezTo>
                    <a:pt x="43" y="51"/>
                    <a:pt x="44" y="42"/>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5" name="Freeform 126"/>
            <p:cNvSpPr>
              <a:spLocks noEditPoints="1"/>
            </p:cNvSpPr>
            <p:nvPr/>
          </p:nvSpPr>
          <p:spPr bwMode="auto">
            <a:xfrm>
              <a:off x="6002611" y="389796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6" name="Freeform 127"/>
            <p:cNvSpPr>
              <a:spLocks noEditPoints="1"/>
            </p:cNvSpPr>
            <p:nvPr/>
          </p:nvSpPr>
          <p:spPr bwMode="auto">
            <a:xfrm>
              <a:off x="6176398" y="389796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7" name="Freeform 128"/>
            <p:cNvSpPr>
              <a:spLocks/>
            </p:cNvSpPr>
            <p:nvPr/>
          </p:nvSpPr>
          <p:spPr bwMode="auto">
            <a:xfrm>
              <a:off x="6351437" y="389796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8" name="Freeform 129"/>
            <p:cNvSpPr>
              <a:spLocks noEditPoints="1"/>
            </p:cNvSpPr>
            <p:nvPr/>
          </p:nvSpPr>
          <p:spPr bwMode="auto">
            <a:xfrm>
              <a:off x="6472712" y="3897969"/>
              <a:ext cx="130027" cy="192852"/>
            </a:xfrm>
            <a:custGeom>
              <a:avLst/>
              <a:gdLst>
                <a:gd name="T0" fmla="*/ 39 w 44"/>
                <a:gd name="T1" fmla="*/ 56 h 65"/>
                <a:gd name="T2" fmla="*/ 44 w 44"/>
                <a:gd name="T3" fmla="*/ 32 h 65"/>
                <a:gd name="T4" fmla="*/ 23 w 44"/>
                <a:gd name="T5" fmla="*/ 0 h 65"/>
                <a:gd name="T6" fmla="*/ 6 w 44"/>
                <a:gd name="T7" fmla="*/ 8 h 65"/>
                <a:gd name="T8" fmla="*/ 0 w 44"/>
                <a:gd name="T9" fmla="*/ 33 h 65"/>
                <a:gd name="T10" fmla="*/ 22 w 44"/>
                <a:gd name="T11" fmla="*/ 65 h 65"/>
                <a:gd name="T12" fmla="*/ 39 w 44"/>
                <a:gd name="T13" fmla="*/ 56 h 65"/>
                <a:gd name="T14" fmla="*/ 14 w 44"/>
                <a:gd name="T15" fmla="*/ 33 h 65"/>
                <a:gd name="T16" fmla="*/ 22 w 44"/>
                <a:gd name="T17" fmla="*/ 11 h 65"/>
                <a:gd name="T18" fmla="*/ 31 w 44"/>
                <a:gd name="T19" fmla="*/ 32 h 65"/>
                <a:gd name="T20" fmla="*/ 22 w 44"/>
                <a:gd name="T21" fmla="*/ 54 h 65"/>
                <a:gd name="T22" fmla="*/ 14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2"/>
                    <a:pt x="44" y="32"/>
                  </a:cubicBezTo>
                  <a:cubicBezTo>
                    <a:pt x="44" y="11"/>
                    <a:pt x="38" y="0"/>
                    <a:pt x="23" y="0"/>
                  </a:cubicBezTo>
                  <a:cubicBezTo>
                    <a:pt x="16" y="0"/>
                    <a:pt x="9" y="3"/>
                    <a:pt x="6" y="8"/>
                  </a:cubicBezTo>
                  <a:cubicBezTo>
                    <a:pt x="2" y="15"/>
                    <a:pt x="0" y="22"/>
                    <a:pt x="0" y="33"/>
                  </a:cubicBezTo>
                  <a:cubicBezTo>
                    <a:pt x="0" y="54"/>
                    <a:pt x="8"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29" name="Freeform 130"/>
            <p:cNvSpPr>
              <a:spLocks/>
            </p:cNvSpPr>
            <p:nvPr/>
          </p:nvSpPr>
          <p:spPr bwMode="auto">
            <a:xfrm>
              <a:off x="6647749"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0" name="Freeform 136"/>
            <p:cNvSpPr>
              <a:spLocks/>
            </p:cNvSpPr>
            <p:nvPr/>
          </p:nvSpPr>
          <p:spPr bwMode="auto">
            <a:xfrm>
              <a:off x="7537939" y="3897969"/>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1" name="Freeform 137"/>
            <p:cNvSpPr>
              <a:spLocks noEditPoints="1"/>
            </p:cNvSpPr>
            <p:nvPr/>
          </p:nvSpPr>
          <p:spPr bwMode="auto">
            <a:xfrm>
              <a:off x="7662966" y="3897969"/>
              <a:ext cx="130027" cy="192852"/>
            </a:xfrm>
            <a:custGeom>
              <a:avLst/>
              <a:gdLst>
                <a:gd name="T0" fmla="*/ 5 w 44"/>
                <a:gd name="T1" fmla="*/ 8 h 65"/>
                <a:gd name="T2" fmla="*/ 0 w 44"/>
                <a:gd name="T3" fmla="*/ 33 h 65"/>
                <a:gd name="T4" fmla="*/ 22 w 44"/>
                <a:gd name="T5" fmla="*/ 65 h 65"/>
                <a:gd name="T6" fmla="*/ 38 w 44"/>
                <a:gd name="T7" fmla="*/ 56 h 65"/>
                <a:gd name="T8" fmla="*/ 44 w 44"/>
                <a:gd name="T9" fmla="*/ 32 h 65"/>
                <a:gd name="T10" fmla="*/ 23 w 44"/>
                <a:gd name="T11" fmla="*/ 0 h 65"/>
                <a:gd name="T12" fmla="*/ 5 w 44"/>
                <a:gd name="T13" fmla="*/ 8 h 65"/>
                <a:gd name="T14" fmla="*/ 30 w 44"/>
                <a:gd name="T15" fmla="*/ 32 h 65"/>
                <a:gd name="T16" fmla="*/ 22 w 44"/>
                <a:gd name="T17" fmla="*/ 54 h 65"/>
                <a:gd name="T18" fmla="*/ 13 w 44"/>
                <a:gd name="T19" fmla="*/ 33 h 65"/>
                <a:gd name="T20" fmla="*/ 22 w 44"/>
                <a:gd name="T21" fmla="*/ 11 h 65"/>
                <a:gd name="T22" fmla="*/ 30 w 44"/>
                <a:gd name="T23"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8"/>
                  </a:moveTo>
                  <a:cubicBezTo>
                    <a:pt x="1" y="15"/>
                    <a:pt x="0" y="22"/>
                    <a:pt x="0" y="33"/>
                  </a:cubicBezTo>
                  <a:cubicBezTo>
                    <a:pt x="0" y="54"/>
                    <a:pt x="7" y="65"/>
                    <a:pt x="22" y="65"/>
                  </a:cubicBezTo>
                  <a:cubicBezTo>
                    <a:pt x="29" y="65"/>
                    <a:pt x="34" y="62"/>
                    <a:pt x="38" y="56"/>
                  </a:cubicBezTo>
                  <a:cubicBezTo>
                    <a:pt x="42" y="51"/>
                    <a:pt x="44" y="42"/>
                    <a:pt x="44" y="32"/>
                  </a:cubicBezTo>
                  <a:cubicBezTo>
                    <a:pt x="44" y="11"/>
                    <a:pt x="37" y="0"/>
                    <a:pt x="23" y="0"/>
                  </a:cubicBezTo>
                  <a:cubicBezTo>
                    <a:pt x="15" y="0"/>
                    <a:pt x="9" y="3"/>
                    <a:pt x="5" y="8"/>
                  </a:cubicBezTo>
                  <a:close/>
                  <a:moveTo>
                    <a:pt x="30" y="32"/>
                  </a:moveTo>
                  <a:cubicBezTo>
                    <a:pt x="30" y="47"/>
                    <a:pt x="27" y="54"/>
                    <a:pt x="22" y="54"/>
                  </a:cubicBezTo>
                  <a:cubicBezTo>
                    <a:pt x="16" y="54"/>
                    <a:pt x="13" y="47"/>
                    <a:pt x="13" y="33"/>
                  </a:cubicBezTo>
                  <a:cubicBezTo>
                    <a:pt x="13" y="19"/>
                    <a:pt x="16" y="11"/>
                    <a:pt x="22" y="11"/>
                  </a:cubicBezTo>
                  <a:cubicBezTo>
                    <a:pt x="27" y="11"/>
                    <a:pt x="30" y="18"/>
                    <a:pt x="30"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2" name="Freeform 138"/>
            <p:cNvSpPr>
              <a:spLocks/>
            </p:cNvSpPr>
            <p:nvPr/>
          </p:nvSpPr>
          <p:spPr bwMode="auto">
            <a:xfrm>
              <a:off x="7838003" y="3897969"/>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9"/>
                  </a:cubicBezTo>
                  <a:cubicBezTo>
                    <a:pt x="0" y="9"/>
                    <a:pt x="0" y="9"/>
                    <a:pt x="0" y="21"/>
                  </a:cubicBezTo>
                  <a:cubicBezTo>
                    <a:pt x="0" y="21"/>
                    <a:pt x="1" y="21"/>
                    <a:pt x="3" y="21"/>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3" name="Freeform 139"/>
            <p:cNvSpPr>
              <a:spLocks noEditPoints="1"/>
            </p:cNvSpPr>
            <p:nvPr/>
          </p:nvSpPr>
          <p:spPr bwMode="auto">
            <a:xfrm>
              <a:off x="7959279" y="3897969"/>
              <a:ext cx="130027" cy="192852"/>
            </a:xfrm>
            <a:custGeom>
              <a:avLst/>
              <a:gdLst>
                <a:gd name="T0" fmla="*/ 23 w 44"/>
                <a:gd name="T1" fmla="*/ 0 h 65"/>
                <a:gd name="T2" fmla="*/ 5 w 44"/>
                <a:gd name="T3" fmla="*/ 8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8"/>
                  </a:cubicBezTo>
                  <a:cubicBezTo>
                    <a:pt x="2" y="15"/>
                    <a:pt x="0" y="22"/>
                    <a:pt x="0" y="33"/>
                  </a:cubicBezTo>
                  <a:cubicBezTo>
                    <a:pt x="0" y="54"/>
                    <a:pt x="7" y="65"/>
                    <a:pt x="22" y="65"/>
                  </a:cubicBezTo>
                  <a:cubicBezTo>
                    <a:pt x="29" y="65"/>
                    <a:pt x="35" y="62"/>
                    <a:pt x="38" y="56"/>
                  </a:cubicBezTo>
                  <a:cubicBezTo>
                    <a:pt x="42" y="51"/>
                    <a:pt x="44" y="42"/>
                    <a:pt x="44" y="32"/>
                  </a:cubicBezTo>
                  <a:cubicBezTo>
                    <a:pt x="44" y="11"/>
                    <a:pt x="38" y="0"/>
                    <a:pt x="23" y="0"/>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4" name="Freeform 140"/>
            <p:cNvSpPr>
              <a:spLocks/>
            </p:cNvSpPr>
            <p:nvPr/>
          </p:nvSpPr>
          <p:spPr bwMode="auto">
            <a:xfrm>
              <a:off x="8130565" y="3897969"/>
              <a:ext cx="80017"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9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9"/>
                  </a:cubicBezTo>
                  <a:cubicBezTo>
                    <a:pt x="0" y="9"/>
                    <a:pt x="0" y="9"/>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5" name="Freeform 141"/>
            <p:cNvSpPr>
              <a:spLocks/>
            </p:cNvSpPr>
            <p:nvPr/>
          </p:nvSpPr>
          <p:spPr bwMode="auto">
            <a:xfrm>
              <a:off x="4489788" y="2798460"/>
              <a:ext cx="41259" cy="162797"/>
            </a:xfrm>
            <a:custGeom>
              <a:avLst/>
              <a:gdLst>
                <a:gd name="T0" fmla="*/ 14 w 14"/>
                <a:gd name="T1" fmla="*/ 55 h 55"/>
                <a:gd name="T2" fmla="*/ 14 w 14"/>
                <a:gd name="T3" fmla="*/ 0 h 55"/>
                <a:gd name="T4" fmla="*/ 0 w 14"/>
                <a:gd name="T5" fmla="*/ 23 h 55"/>
                <a:gd name="T6" fmla="*/ 0 w 14"/>
                <a:gd name="T7" fmla="*/ 55 h 55"/>
                <a:gd name="T8" fmla="*/ 14 w 14"/>
                <a:gd name="T9" fmla="*/ 55 h 55"/>
              </a:gdLst>
              <a:ahLst/>
              <a:cxnLst>
                <a:cxn ang="0">
                  <a:pos x="T0" y="T1"/>
                </a:cxn>
                <a:cxn ang="0">
                  <a:pos x="T2" y="T3"/>
                </a:cxn>
                <a:cxn ang="0">
                  <a:pos x="T4" y="T5"/>
                </a:cxn>
                <a:cxn ang="0">
                  <a:pos x="T6" y="T7"/>
                </a:cxn>
                <a:cxn ang="0">
                  <a:pos x="T8" y="T9"/>
                </a:cxn>
              </a:cxnLst>
              <a:rect l="0" t="0" r="r" b="b"/>
              <a:pathLst>
                <a:path w="14" h="55">
                  <a:moveTo>
                    <a:pt x="14" y="55"/>
                  </a:moveTo>
                  <a:cubicBezTo>
                    <a:pt x="14" y="55"/>
                    <a:pt x="14" y="55"/>
                    <a:pt x="14" y="0"/>
                  </a:cubicBezTo>
                  <a:cubicBezTo>
                    <a:pt x="9" y="7"/>
                    <a:pt x="5" y="15"/>
                    <a:pt x="0" y="23"/>
                  </a:cubicBezTo>
                  <a:cubicBezTo>
                    <a:pt x="0" y="30"/>
                    <a:pt x="0" y="40"/>
                    <a:pt x="0" y="55"/>
                  </a:cubicBezTo>
                  <a:cubicBezTo>
                    <a:pt x="0" y="55"/>
                    <a:pt x="0" y="55"/>
                    <a:pt x="14" y="5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6" name="Freeform 142"/>
            <p:cNvSpPr>
              <a:spLocks noEditPoints="1"/>
            </p:cNvSpPr>
            <p:nvPr/>
          </p:nvSpPr>
          <p:spPr bwMode="auto">
            <a:xfrm>
              <a:off x="4572305" y="2774668"/>
              <a:ext cx="133778" cy="192852"/>
            </a:xfrm>
            <a:custGeom>
              <a:avLst/>
              <a:gdLst>
                <a:gd name="T0" fmla="*/ 23 w 45"/>
                <a:gd name="T1" fmla="*/ 65 h 65"/>
                <a:gd name="T2" fmla="*/ 40 w 45"/>
                <a:gd name="T3" fmla="*/ 57 h 65"/>
                <a:gd name="T4" fmla="*/ 45 w 45"/>
                <a:gd name="T5" fmla="*/ 33 h 65"/>
                <a:gd name="T6" fmla="*/ 24 w 45"/>
                <a:gd name="T7" fmla="*/ 0 h 65"/>
                <a:gd name="T8" fmla="*/ 6 w 45"/>
                <a:gd name="T9" fmla="*/ 9 h 65"/>
                <a:gd name="T10" fmla="*/ 0 w 45"/>
                <a:gd name="T11" fmla="*/ 34 h 65"/>
                <a:gd name="T12" fmla="*/ 23 w 45"/>
                <a:gd name="T13" fmla="*/ 65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7"/>
                  </a:cubicBezTo>
                  <a:cubicBezTo>
                    <a:pt x="43" y="51"/>
                    <a:pt x="45" y="43"/>
                    <a:pt x="45" y="33"/>
                  </a:cubicBezTo>
                  <a:cubicBezTo>
                    <a:pt x="45" y="12"/>
                    <a:pt x="39" y="0"/>
                    <a:pt x="24" y="0"/>
                  </a:cubicBezTo>
                  <a:cubicBezTo>
                    <a:pt x="16" y="0"/>
                    <a:pt x="10" y="3"/>
                    <a:pt x="6" y="9"/>
                  </a:cubicBezTo>
                  <a:cubicBezTo>
                    <a:pt x="2" y="15"/>
                    <a:pt x="0" y="23"/>
                    <a:pt x="0" y="34"/>
                  </a:cubicBezTo>
                  <a:cubicBezTo>
                    <a:pt x="0" y="55"/>
                    <a:pt x="8" y="65"/>
                    <a:pt x="23" y="65"/>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7" name="Freeform 143"/>
            <p:cNvSpPr>
              <a:spLocks/>
            </p:cNvSpPr>
            <p:nvPr/>
          </p:nvSpPr>
          <p:spPr bwMode="auto">
            <a:xfrm>
              <a:off x="4749843"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8" name="Freeform 148"/>
            <p:cNvSpPr>
              <a:spLocks noEditPoints="1"/>
            </p:cNvSpPr>
            <p:nvPr/>
          </p:nvSpPr>
          <p:spPr bwMode="auto">
            <a:xfrm>
              <a:off x="5463747" y="2774668"/>
              <a:ext cx="132528" cy="192852"/>
            </a:xfrm>
            <a:custGeom>
              <a:avLst/>
              <a:gdLst>
                <a:gd name="T0" fmla="*/ 6 w 45"/>
                <a:gd name="T1" fmla="*/ 9 h 65"/>
                <a:gd name="T2" fmla="*/ 0 w 45"/>
                <a:gd name="T3" fmla="*/ 34 h 65"/>
                <a:gd name="T4" fmla="*/ 23 w 45"/>
                <a:gd name="T5" fmla="*/ 65 h 65"/>
                <a:gd name="T6" fmla="*/ 39 w 45"/>
                <a:gd name="T7" fmla="*/ 57 h 65"/>
                <a:gd name="T8" fmla="*/ 45 w 45"/>
                <a:gd name="T9" fmla="*/ 33 h 65"/>
                <a:gd name="T10" fmla="*/ 23 w 45"/>
                <a:gd name="T11" fmla="*/ 0 h 65"/>
                <a:gd name="T12" fmla="*/ 6 w 45"/>
                <a:gd name="T13" fmla="*/ 9 h 65"/>
                <a:gd name="T14" fmla="*/ 23 w 45"/>
                <a:gd name="T15" fmla="*/ 12 h 65"/>
                <a:gd name="T16" fmla="*/ 31 w 45"/>
                <a:gd name="T17" fmla="*/ 33 h 65"/>
                <a:gd name="T18" fmla="*/ 23 w 45"/>
                <a:gd name="T19" fmla="*/ 54 h 65"/>
                <a:gd name="T20" fmla="*/ 14 w 45"/>
                <a:gd name="T21" fmla="*/ 34 h 65"/>
                <a:gd name="T22" fmla="*/ 23 w 45"/>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6" y="9"/>
                  </a:moveTo>
                  <a:cubicBezTo>
                    <a:pt x="2" y="15"/>
                    <a:pt x="0" y="23"/>
                    <a:pt x="0" y="34"/>
                  </a:cubicBezTo>
                  <a:cubicBezTo>
                    <a:pt x="0" y="55"/>
                    <a:pt x="8" y="65"/>
                    <a:pt x="23" y="65"/>
                  </a:cubicBezTo>
                  <a:cubicBezTo>
                    <a:pt x="30" y="65"/>
                    <a:pt x="35" y="62"/>
                    <a:pt x="39" y="57"/>
                  </a:cubicBezTo>
                  <a:cubicBezTo>
                    <a:pt x="43" y="51"/>
                    <a:pt x="45" y="43"/>
                    <a:pt x="45" y="33"/>
                  </a:cubicBezTo>
                  <a:cubicBezTo>
                    <a:pt x="45" y="12"/>
                    <a:pt x="38" y="0"/>
                    <a:pt x="23" y="0"/>
                  </a:cubicBezTo>
                  <a:cubicBezTo>
                    <a:pt x="16" y="0"/>
                    <a:pt x="10" y="3"/>
                    <a:pt x="6" y="9"/>
                  </a:cubicBezTo>
                  <a:close/>
                  <a:moveTo>
                    <a:pt x="23" y="12"/>
                  </a:moveTo>
                  <a:cubicBezTo>
                    <a:pt x="28" y="12"/>
                    <a:pt x="31" y="18"/>
                    <a:pt x="31" y="33"/>
                  </a:cubicBezTo>
                  <a:cubicBezTo>
                    <a:pt x="31" y="47"/>
                    <a:pt x="28" y="54"/>
                    <a:pt x="23" y="54"/>
                  </a:cubicBezTo>
                  <a:cubicBezTo>
                    <a:pt x="17" y="54"/>
                    <a:pt x="14" y="47"/>
                    <a:pt x="14" y="34"/>
                  </a:cubicBezTo>
                  <a:cubicBezTo>
                    <a:pt x="14" y="19"/>
                    <a:pt x="17" y="12"/>
                    <a:pt x="23"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39" name="Freeform 152"/>
            <p:cNvSpPr>
              <a:spLocks noEditPoints="1"/>
            </p:cNvSpPr>
            <p:nvPr/>
          </p:nvSpPr>
          <p:spPr bwMode="auto">
            <a:xfrm>
              <a:off x="6111385" y="2774668"/>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2 h 65"/>
                <a:gd name="T16" fmla="*/ 30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2"/>
                    <a:pt x="38" y="0"/>
                    <a:pt x="23" y="0"/>
                  </a:cubicBezTo>
                  <a:cubicBezTo>
                    <a:pt x="15" y="0"/>
                    <a:pt x="9" y="3"/>
                    <a:pt x="5" y="9"/>
                  </a:cubicBezTo>
                  <a:cubicBezTo>
                    <a:pt x="2" y="15"/>
                    <a:pt x="0" y="23"/>
                    <a:pt x="0" y="34"/>
                  </a:cubicBezTo>
                  <a:cubicBezTo>
                    <a:pt x="0" y="55"/>
                    <a:pt x="7" y="65"/>
                    <a:pt x="22" y="65"/>
                  </a:cubicBezTo>
                  <a:close/>
                  <a:moveTo>
                    <a:pt x="22" y="12"/>
                  </a:moveTo>
                  <a:cubicBezTo>
                    <a:pt x="27" y="12"/>
                    <a:pt x="30" y="18"/>
                    <a:pt x="30" y="33"/>
                  </a:cubicBezTo>
                  <a:cubicBezTo>
                    <a:pt x="30" y="47"/>
                    <a:pt x="27" y="54"/>
                    <a:pt x="22" y="54"/>
                  </a:cubicBezTo>
                  <a:cubicBezTo>
                    <a:pt x="16" y="54"/>
                    <a:pt x="14" y="47"/>
                    <a:pt x="14" y="34"/>
                  </a:cubicBezTo>
                  <a:cubicBezTo>
                    <a:pt x="14" y="19"/>
                    <a:pt x="16" y="12"/>
                    <a:pt x="22"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0" name="Freeform 153"/>
            <p:cNvSpPr>
              <a:spLocks/>
            </p:cNvSpPr>
            <p:nvPr/>
          </p:nvSpPr>
          <p:spPr bwMode="auto">
            <a:xfrm>
              <a:off x="6283922"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1" name="Freeform 157"/>
            <p:cNvSpPr>
              <a:spLocks/>
            </p:cNvSpPr>
            <p:nvPr/>
          </p:nvSpPr>
          <p:spPr bwMode="auto">
            <a:xfrm>
              <a:off x="6877798"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2" name="Freeform 158"/>
            <p:cNvSpPr>
              <a:spLocks noEditPoints="1"/>
            </p:cNvSpPr>
            <p:nvPr/>
          </p:nvSpPr>
          <p:spPr bwMode="auto">
            <a:xfrm>
              <a:off x="7000324" y="2774668"/>
              <a:ext cx="130027"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22 w 44"/>
                <a:gd name="T15" fmla="*/ 12 h 65"/>
                <a:gd name="T16" fmla="*/ 31 w 44"/>
                <a:gd name="T17" fmla="*/ 33 h 65"/>
                <a:gd name="T18" fmla="*/ 22 w 44"/>
                <a:gd name="T19" fmla="*/ 54 h 65"/>
                <a:gd name="T20" fmla="*/ 14 w 44"/>
                <a:gd name="T21" fmla="*/ 34 h 65"/>
                <a:gd name="T22" fmla="*/ 22 w 44"/>
                <a:gd name="T23" fmla="*/ 1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10" y="3"/>
                    <a:pt x="6" y="9"/>
                  </a:cubicBezTo>
                  <a:close/>
                  <a:moveTo>
                    <a:pt x="22" y="12"/>
                  </a:moveTo>
                  <a:cubicBezTo>
                    <a:pt x="28" y="12"/>
                    <a:pt x="31" y="18"/>
                    <a:pt x="31" y="33"/>
                  </a:cubicBezTo>
                  <a:cubicBezTo>
                    <a:pt x="31" y="47"/>
                    <a:pt x="28" y="54"/>
                    <a:pt x="22" y="54"/>
                  </a:cubicBezTo>
                  <a:cubicBezTo>
                    <a:pt x="17" y="54"/>
                    <a:pt x="14" y="47"/>
                    <a:pt x="14" y="34"/>
                  </a:cubicBezTo>
                  <a:cubicBezTo>
                    <a:pt x="14" y="19"/>
                    <a:pt x="17" y="12"/>
                    <a:pt x="22" y="1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3" name="Freeform 159"/>
            <p:cNvSpPr>
              <a:spLocks noEditPoints="1"/>
            </p:cNvSpPr>
            <p:nvPr/>
          </p:nvSpPr>
          <p:spPr bwMode="auto">
            <a:xfrm>
              <a:off x="7174112" y="2774668"/>
              <a:ext cx="133778" cy="192852"/>
            </a:xfrm>
            <a:custGeom>
              <a:avLst/>
              <a:gdLst>
                <a:gd name="T0" fmla="*/ 23 w 45"/>
                <a:gd name="T1" fmla="*/ 0 h 65"/>
                <a:gd name="T2" fmla="*/ 6 w 45"/>
                <a:gd name="T3" fmla="*/ 9 h 65"/>
                <a:gd name="T4" fmla="*/ 0 w 45"/>
                <a:gd name="T5" fmla="*/ 34 h 65"/>
                <a:gd name="T6" fmla="*/ 22 w 45"/>
                <a:gd name="T7" fmla="*/ 65 h 65"/>
                <a:gd name="T8" fmla="*/ 39 w 45"/>
                <a:gd name="T9" fmla="*/ 57 h 65"/>
                <a:gd name="T10" fmla="*/ 45 w 45"/>
                <a:gd name="T11" fmla="*/ 33 h 65"/>
                <a:gd name="T12" fmla="*/ 23 w 45"/>
                <a:gd name="T13" fmla="*/ 0 h 65"/>
                <a:gd name="T14" fmla="*/ 22 w 45"/>
                <a:gd name="T15" fmla="*/ 54 h 65"/>
                <a:gd name="T16" fmla="*/ 14 w 45"/>
                <a:gd name="T17" fmla="*/ 34 h 65"/>
                <a:gd name="T18" fmla="*/ 22 w 45"/>
                <a:gd name="T19" fmla="*/ 12 h 65"/>
                <a:gd name="T20" fmla="*/ 31 w 45"/>
                <a:gd name="T21" fmla="*/ 33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3"/>
                    <a:pt x="0" y="34"/>
                  </a:cubicBezTo>
                  <a:cubicBezTo>
                    <a:pt x="0" y="55"/>
                    <a:pt x="8" y="65"/>
                    <a:pt x="22" y="65"/>
                  </a:cubicBezTo>
                  <a:cubicBezTo>
                    <a:pt x="30" y="65"/>
                    <a:pt x="35" y="62"/>
                    <a:pt x="39" y="57"/>
                  </a:cubicBezTo>
                  <a:cubicBezTo>
                    <a:pt x="43" y="51"/>
                    <a:pt x="45" y="43"/>
                    <a:pt x="45" y="33"/>
                  </a:cubicBezTo>
                  <a:cubicBezTo>
                    <a:pt x="45" y="12"/>
                    <a:pt x="38" y="0"/>
                    <a:pt x="23" y="0"/>
                  </a:cubicBezTo>
                  <a:close/>
                  <a:moveTo>
                    <a:pt x="22" y="54"/>
                  </a:moveTo>
                  <a:cubicBezTo>
                    <a:pt x="17" y="54"/>
                    <a:pt x="14" y="47"/>
                    <a:pt x="14" y="34"/>
                  </a:cubicBezTo>
                  <a:cubicBezTo>
                    <a:pt x="14" y="19"/>
                    <a:pt x="17" y="12"/>
                    <a:pt x="22" y="12"/>
                  </a:cubicBezTo>
                  <a:cubicBezTo>
                    <a:pt x="28" y="12"/>
                    <a:pt x="31" y="18"/>
                    <a:pt x="31" y="33"/>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4" name="Freeform 160"/>
            <p:cNvSpPr>
              <a:spLocks/>
            </p:cNvSpPr>
            <p:nvPr/>
          </p:nvSpPr>
          <p:spPr bwMode="auto">
            <a:xfrm>
              <a:off x="7349149" y="277466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5" name="Freeform 161"/>
            <p:cNvSpPr>
              <a:spLocks/>
            </p:cNvSpPr>
            <p:nvPr/>
          </p:nvSpPr>
          <p:spPr bwMode="auto">
            <a:xfrm>
              <a:off x="7472924" y="2774668"/>
              <a:ext cx="77516" cy="186591"/>
            </a:xfrm>
            <a:custGeom>
              <a:avLst/>
              <a:gdLst>
                <a:gd name="T0" fmla="*/ 10 w 26"/>
                <a:gd name="T1" fmla="*/ 6 h 63"/>
                <a:gd name="T2" fmla="*/ 0 w 26"/>
                <a:gd name="T3" fmla="*/ 10 h 63"/>
                <a:gd name="T4" fmla="*/ 0 w 26"/>
                <a:gd name="T5" fmla="*/ 21 h 63"/>
                <a:gd name="T6" fmla="*/ 3 w 26"/>
                <a:gd name="T7" fmla="*/ 21 h 63"/>
                <a:gd name="T8" fmla="*/ 7 w 26"/>
                <a:gd name="T9" fmla="*/ 19 h 63"/>
                <a:gd name="T10" fmla="*/ 10 w 26"/>
                <a:gd name="T11" fmla="*/ 17 h 63"/>
                <a:gd name="T12" fmla="*/ 12 w 26"/>
                <a:gd name="T13" fmla="*/ 15 h 63"/>
                <a:gd name="T14" fmla="*/ 12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6" name="Freeform 162"/>
            <p:cNvSpPr>
              <a:spLocks/>
            </p:cNvSpPr>
            <p:nvPr/>
          </p:nvSpPr>
          <p:spPr bwMode="auto">
            <a:xfrm>
              <a:off x="7594202" y="2774668"/>
              <a:ext cx="77516" cy="186591"/>
            </a:xfrm>
            <a:custGeom>
              <a:avLst/>
              <a:gdLst>
                <a:gd name="T0" fmla="*/ 0 w 26"/>
                <a:gd name="T1" fmla="*/ 21 h 63"/>
                <a:gd name="T2" fmla="*/ 4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7" name="Freeform 163"/>
            <p:cNvSpPr>
              <a:spLocks noEditPoints="1"/>
            </p:cNvSpPr>
            <p:nvPr/>
          </p:nvSpPr>
          <p:spPr bwMode="auto">
            <a:xfrm>
              <a:off x="7715477" y="2774668"/>
              <a:ext cx="131279" cy="192852"/>
            </a:xfrm>
            <a:custGeom>
              <a:avLst/>
              <a:gdLst>
                <a:gd name="T0" fmla="*/ 6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6 w 44"/>
                <a:gd name="T13" fmla="*/ 9 h 65"/>
                <a:gd name="T14" fmla="*/ 31 w 44"/>
                <a:gd name="T15" fmla="*/ 33 h 65"/>
                <a:gd name="T16" fmla="*/ 22 w 44"/>
                <a:gd name="T17" fmla="*/ 54 h 65"/>
                <a:gd name="T18" fmla="*/ 14 w 44"/>
                <a:gd name="T19" fmla="*/ 34 h 65"/>
                <a:gd name="T20" fmla="*/ 22 w 44"/>
                <a:gd name="T21" fmla="*/ 12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6" y="9"/>
                  </a:moveTo>
                  <a:cubicBezTo>
                    <a:pt x="2" y="15"/>
                    <a:pt x="0" y="23"/>
                    <a:pt x="0" y="34"/>
                  </a:cubicBezTo>
                  <a:cubicBezTo>
                    <a:pt x="0" y="55"/>
                    <a:pt x="8" y="65"/>
                    <a:pt x="22" y="65"/>
                  </a:cubicBezTo>
                  <a:cubicBezTo>
                    <a:pt x="30" y="65"/>
                    <a:pt x="35" y="62"/>
                    <a:pt x="39" y="57"/>
                  </a:cubicBezTo>
                  <a:cubicBezTo>
                    <a:pt x="43" y="51"/>
                    <a:pt x="44" y="43"/>
                    <a:pt x="44" y="33"/>
                  </a:cubicBezTo>
                  <a:cubicBezTo>
                    <a:pt x="44" y="12"/>
                    <a:pt x="38" y="0"/>
                    <a:pt x="23" y="0"/>
                  </a:cubicBezTo>
                  <a:cubicBezTo>
                    <a:pt x="16" y="0"/>
                    <a:pt x="9" y="3"/>
                    <a:pt x="6" y="9"/>
                  </a:cubicBezTo>
                  <a:close/>
                  <a:moveTo>
                    <a:pt x="31" y="33"/>
                  </a:moveTo>
                  <a:cubicBezTo>
                    <a:pt x="31" y="47"/>
                    <a:pt x="28" y="54"/>
                    <a:pt x="22" y="54"/>
                  </a:cubicBezTo>
                  <a:cubicBezTo>
                    <a:pt x="17" y="54"/>
                    <a:pt x="14" y="47"/>
                    <a:pt x="14" y="34"/>
                  </a:cubicBezTo>
                  <a:cubicBezTo>
                    <a:pt x="14" y="19"/>
                    <a:pt x="17" y="12"/>
                    <a:pt x="22" y="12"/>
                  </a:cubicBezTo>
                  <a:cubicBezTo>
                    <a:pt x="28" y="12"/>
                    <a:pt x="31" y="18"/>
                    <a:pt x="31"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8" name="Freeform 164"/>
            <p:cNvSpPr>
              <a:spLocks noEditPoints="1"/>
            </p:cNvSpPr>
            <p:nvPr/>
          </p:nvSpPr>
          <p:spPr bwMode="auto">
            <a:xfrm>
              <a:off x="7890514" y="2778424"/>
              <a:ext cx="130027" cy="189096"/>
            </a:xfrm>
            <a:custGeom>
              <a:avLst/>
              <a:gdLst>
                <a:gd name="T0" fmla="*/ 6 w 44"/>
                <a:gd name="T1" fmla="*/ 8 h 64"/>
                <a:gd name="T2" fmla="*/ 0 w 44"/>
                <a:gd name="T3" fmla="*/ 33 h 64"/>
                <a:gd name="T4" fmla="*/ 22 w 44"/>
                <a:gd name="T5" fmla="*/ 64 h 64"/>
                <a:gd name="T6" fmla="*/ 39 w 44"/>
                <a:gd name="T7" fmla="*/ 56 h 64"/>
                <a:gd name="T8" fmla="*/ 44 w 44"/>
                <a:gd name="T9" fmla="*/ 40 h 64"/>
                <a:gd name="T10" fmla="*/ 20 w 44"/>
                <a:gd name="T11" fmla="*/ 0 h 64"/>
                <a:gd name="T12" fmla="*/ 6 w 44"/>
                <a:gd name="T13" fmla="*/ 8 h 64"/>
                <a:gd name="T14" fmla="*/ 22 w 44"/>
                <a:gd name="T15" fmla="*/ 11 h 64"/>
                <a:gd name="T16" fmla="*/ 31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4"/>
                    <a:pt x="0" y="22"/>
                    <a:pt x="0" y="33"/>
                  </a:cubicBezTo>
                  <a:cubicBezTo>
                    <a:pt x="0" y="54"/>
                    <a:pt x="8" y="64"/>
                    <a:pt x="22" y="64"/>
                  </a:cubicBezTo>
                  <a:cubicBezTo>
                    <a:pt x="30" y="64"/>
                    <a:pt x="35" y="61"/>
                    <a:pt x="39" y="56"/>
                  </a:cubicBezTo>
                  <a:cubicBezTo>
                    <a:pt x="41" y="52"/>
                    <a:pt x="43" y="46"/>
                    <a:pt x="44" y="40"/>
                  </a:cubicBezTo>
                  <a:cubicBezTo>
                    <a:pt x="36" y="26"/>
                    <a:pt x="28" y="13"/>
                    <a:pt x="20" y="0"/>
                  </a:cubicBezTo>
                  <a:cubicBezTo>
                    <a:pt x="14" y="1"/>
                    <a:pt x="9" y="3"/>
                    <a:pt x="6" y="8"/>
                  </a:cubicBezTo>
                  <a:close/>
                  <a:moveTo>
                    <a:pt x="22" y="11"/>
                  </a:moveTo>
                  <a:cubicBezTo>
                    <a:pt x="28" y="11"/>
                    <a:pt x="31" y="17"/>
                    <a:pt x="31" y="32"/>
                  </a:cubicBezTo>
                  <a:cubicBezTo>
                    <a:pt x="31"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49" name="Freeform 169"/>
            <p:cNvSpPr>
              <a:spLocks/>
            </p:cNvSpPr>
            <p:nvPr/>
          </p:nvSpPr>
          <p:spPr bwMode="auto">
            <a:xfrm>
              <a:off x="4786102" y="4123381"/>
              <a:ext cx="78768" cy="186591"/>
            </a:xfrm>
            <a:custGeom>
              <a:avLst/>
              <a:gdLst>
                <a:gd name="T0" fmla="*/ 10 w 27"/>
                <a:gd name="T1" fmla="*/ 6 h 63"/>
                <a:gd name="T2" fmla="*/ 0 w 27"/>
                <a:gd name="T3" fmla="*/ 9 h 63"/>
                <a:gd name="T4" fmla="*/ 0 w 27"/>
                <a:gd name="T5" fmla="*/ 20 h 63"/>
                <a:gd name="T6" fmla="*/ 4 w 27"/>
                <a:gd name="T7" fmla="*/ 20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8"/>
                    <a:pt x="0" y="9"/>
                  </a:cubicBezTo>
                  <a:cubicBezTo>
                    <a:pt x="0" y="9"/>
                    <a:pt x="0" y="9"/>
                    <a:pt x="0" y="20"/>
                  </a:cubicBezTo>
                  <a:cubicBezTo>
                    <a:pt x="1" y="20"/>
                    <a:pt x="2" y="20"/>
                    <a:pt x="4" y="20"/>
                  </a:cubicBezTo>
                  <a:cubicBezTo>
                    <a:pt x="5" y="19"/>
                    <a:pt x="6" y="19"/>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0" name="Freeform 170"/>
            <p:cNvSpPr>
              <a:spLocks/>
            </p:cNvSpPr>
            <p:nvPr/>
          </p:nvSpPr>
          <p:spPr bwMode="auto">
            <a:xfrm>
              <a:off x="4909878"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3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1" name="Freeform 171"/>
            <p:cNvSpPr>
              <a:spLocks/>
            </p:cNvSpPr>
            <p:nvPr/>
          </p:nvSpPr>
          <p:spPr bwMode="auto">
            <a:xfrm>
              <a:off x="5031154" y="4123381"/>
              <a:ext cx="77516" cy="186591"/>
            </a:xfrm>
            <a:custGeom>
              <a:avLst/>
              <a:gdLst>
                <a:gd name="T0" fmla="*/ 13 w 26"/>
                <a:gd name="T1" fmla="*/ 15 h 63"/>
                <a:gd name="T2" fmla="*/ 13 w 26"/>
                <a:gd name="T3" fmla="*/ 63 h 63"/>
                <a:gd name="T4" fmla="*/ 26 w 26"/>
                <a:gd name="T5" fmla="*/ 63 h 63"/>
                <a:gd name="T6" fmla="*/ 26 w 26"/>
                <a:gd name="T7" fmla="*/ 0 h 63"/>
                <a:gd name="T8" fmla="*/ 18 w 26"/>
                <a:gd name="T9" fmla="*/ 0 h 63"/>
                <a:gd name="T10" fmla="*/ 10 w 26"/>
                <a:gd name="T11" fmla="*/ 6 h 63"/>
                <a:gd name="T12" fmla="*/ 0 w 26"/>
                <a:gd name="T13" fmla="*/ 9 h 63"/>
                <a:gd name="T14" fmla="*/ 0 w 26"/>
                <a:gd name="T15" fmla="*/ 20 h 63"/>
                <a:gd name="T16" fmla="*/ 4 w 26"/>
                <a:gd name="T17" fmla="*/ 20 h 63"/>
                <a:gd name="T18" fmla="*/ 7 w 26"/>
                <a:gd name="T19" fmla="*/ 19 h 63"/>
                <a:gd name="T20" fmla="*/ 10 w 26"/>
                <a:gd name="T21" fmla="*/ 17 h 63"/>
                <a:gd name="T22" fmla="*/ 13 w 26"/>
                <a:gd name="T23"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3" y="15"/>
                  </a:move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ubicBezTo>
                    <a:pt x="6" y="7"/>
                    <a:pt x="4" y="8"/>
                    <a:pt x="0" y="9"/>
                  </a:cubicBezTo>
                  <a:cubicBezTo>
                    <a:pt x="0" y="9"/>
                    <a:pt x="0" y="9"/>
                    <a:pt x="0" y="20"/>
                  </a:cubicBezTo>
                  <a:cubicBezTo>
                    <a:pt x="1" y="20"/>
                    <a:pt x="2" y="20"/>
                    <a:pt x="4" y="20"/>
                  </a:cubicBezTo>
                  <a:cubicBezTo>
                    <a:pt x="5" y="19"/>
                    <a:pt x="6" y="19"/>
                    <a:pt x="7" y="19"/>
                  </a:cubicBezTo>
                  <a:cubicBezTo>
                    <a:pt x="8" y="19"/>
                    <a:pt x="9" y="18"/>
                    <a:pt x="10" y="17"/>
                  </a:cubicBezTo>
                  <a:cubicBezTo>
                    <a:pt x="11" y="17"/>
                    <a:pt x="12" y="16"/>
                    <a:pt x="13" y="1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2" name="Freeform 172"/>
            <p:cNvSpPr>
              <a:spLocks noEditPoints="1"/>
            </p:cNvSpPr>
            <p:nvPr/>
          </p:nvSpPr>
          <p:spPr bwMode="auto">
            <a:xfrm>
              <a:off x="5152430" y="4123381"/>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1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1"/>
                    <a:pt x="44" y="42"/>
                    <a:pt x="44" y="32"/>
                  </a:cubicBezTo>
                  <a:cubicBezTo>
                    <a:pt x="44" y="11"/>
                    <a:pt x="38" y="0"/>
                    <a:pt x="23" y="0"/>
                  </a:cubicBezTo>
                  <a:cubicBezTo>
                    <a:pt x="16" y="0"/>
                    <a:pt x="10" y="3"/>
                    <a:pt x="6" y="8"/>
                  </a:cubicBezTo>
                  <a:cubicBezTo>
                    <a:pt x="2" y="15"/>
                    <a:pt x="0" y="22"/>
                    <a:pt x="0" y="33"/>
                  </a:cubicBezTo>
                  <a:cubicBezTo>
                    <a:pt x="0" y="54"/>
                    <a:pt x="8" y="64"/>
                    <a:pt x="22" y="64"/>
                  </a:cubicBezTo>
                  <a:cubicBezTo>
                    <a:pt x="30" y="64"/>
                    <a:pt x="35" y="62"/>
                    <a:pt x="39" y="56"/>
                  </a:cubicBezTo>
                  <a:close/>
                  <a:moveTo>
                    <a:pt x="14" y="33"/>
                  </a:moveTo>
                  <a:cubicBezTo>
                    <a:pt x="14" y="18"/>
                    <a:pt x="17" y="11"/>
                    <a:pt x="22" y="11"/>
                  </a:cubicBezTo>
                  <a:cubicBezTo>
                    <a:pt x="28" y="11"/>
                    <a:pt x="31" y="18"/>
                    <a:pt x="31" y="32"/>
                  </a:cubicBezTo>
                  <a:cubicBezTo>
                    <a:pt x="31" y="47"/>
                    <a:pt x="28" y="53"/>
                    <a:pt x="22" y="53"/>
                  </a:cubicBezTo>
                  <a:cubicBezTo>
                    <a:pt x="17" y="53"/>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3" name="Freeform 173"/>
            <p:cNvSpPr>
              <a:spLocks/>
            </p:cNvSpPr>
            <p:nvPr/>
          </p:nvSpPr>
          <p:spPr bwMode="auto">
            <a:xfrm>
              <a:off x="5327467" y="4123381"/>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19"/>
                    <a:pt x="6" y="19"/>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4" name="Freeform 174"/>
            <p:cNvSpPr>
              <a:spLocks noEditPoints="1"/>
            </p:cNvSpPr>
            <p:nvPr/>
          </p:nvSpPr>
          <p:spPr bwMode="auto">
            <a:xfrm>
              <a:off x="5451243" y="4123381"/>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3 w 44"/>
                <a:gd name="T15" fmla="*/ 33 h 64"/>
                <a:gd name="T16" fmla="*/ 22 w 44"/>
                <a:gd name="T17" fmla="*/ 11 h 64"/>
                <a:gd name="T18" fmla="*/ 30 w 44"/>
                <a:gd name="T19" fmla="*/ 32 h 64"/>
                <a:gd name="T20" fmla="*/ 22 w 44"/>
                <a:gd name="T21" fmla="*/ 53 h 64"/>
                <a:gd name="T22" fmla="*/ 13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1" y="15"/>
                    <a:pt x="0" y="22"/>
                    <a:pt x="0" y="33"/>
                  </a:cubicBezTo>
                  <a:cubicBezTo>
                    <a:pt x="0" y="54"/>
                    <a:pt x="7" y="64"/>
                    <a:pt x="22" y="64"/>
                  </a:cubicBezTo>
                  <a:cubicBezTo>
                    <a:pt x="29" y="64"/>
                    <a:pt x="35" y="62"/>
                    <a:pt x="38" y="56"/>
                  </a:cubicBezTo>
                  <a:close/>
                  <a:moveTo>
                    <a:pt x="13" y="33"/>
                  </a:moveTo>
                  <a:cubicBezTo>
                    <a:pt x="13" y="18"/>
                    <a:pt x="16" y="11"/>
                    <a:pt x="22" y="11"/>
                  </a:cubicBezTo>
                  <a:cubicBezTo>
                    <a:pt x="27" y="11"/>
                    <a:pt x="30" y="18"/>
                    <a:pt x="30" y="32"/>
                  </a:cubicBezTo>
                  <a:cubicBezTo>
                    <a:pt x="30" y="47"/>
                    <a:pt x="27" y="53"/>
                    <a:pt x="22" y="53"/>
                  </a:cubicBezTo>
                  <a:cubicBezTo>
                    <a:pt x="16" y="53"/>
                    <a:pt x="13" y="47"/>
                    <a:pt x="13"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5" name="Freeform 178"/>
            <p:cNvSpPr>
              <a:spLocks noEditPoints="1"/>
            </p:cNvSpPr>
            <p:nvPr/>
          </p:nvSpPr>
          <p:spPr bwMode="auto">
            <a:xfrm>
              <a:off x="6096381" y="4123381"/>
              <a:ext cx="131279"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6"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6" name="Freeform 179"/>
            <p:cNvSpPr>
              <a:spLocks noEditPoints="1"/>
            </p:cNvSpPr>
            <p:nvPr/>
          </p:nvSpPr>
          <p:spPr bwMode="auto">
            <a:xfrm>
              <a:off x="6271420"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1"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5" y="0"/>
                    <a:pt x="9" y="3"/>
                    <a:pt x="5" y="8"/>
                  </a:cubicBezTo>
                  <a:close/>
                  <a:moveTo>
                    <a:pt x="22" y="11"/>
                  </a:moveTo>
                  <a:cubicBezTo>
                    <a:pt x="28" y="11"/>
                    <a:pt x="30" y="18"/>
                    <a:pt x="30" y="32"/>
                  </a:cubicBezTo>
                  <a:cubicBezTo>
                    <a:pt x="30" y="47"/>
                    <a:pt x="28" y="53"/>
                    <a:pt x="22" y="53"/>
                  </a:cubicBezTo>
                  <a:cubicBezTo>
                    <a:pt x="16" y="53"/>
                    <a:pt x="14" y="47"/>
                    <a:pt x="14" y="33"/>
                  </a:cubicBezTo>
                  <a:cubicBezTo>
                    <a:pt x="14" y="18"/>
                    <a:pt x="16" y="11"/>
                    <a:pt x="22" y="11"/>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7" name="Freeform 180"/>
            <p:cNvSpPr>
              <a:spLocks/>
            </p:cNvSpPr>
            <p:nvPr/>
          </p:nvSpPr>
          <p:spPr bwMode="auto">
            <a:xfrm>
              <a:off x="6446457" y="4123381"/>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19"/>
                    <a:pt x="5" y="19"/>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8" name="Freeform 188"/>
            <p:cNvSpPr>
              <a:spLocks/>
            </p:cNvSpPr>
            <p:nvPr/>
          </p:nvSpPr>
          <p:spPr bwMode="auto">
            <a:xfrm>
              <a:off x="7686721"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59" name="Freeform 189"/>
            <p:cNvSpPr>
              <a:spLocks noEditPoints="1"/>
            </p:cNvSpPr>
            <p:nvPr/>
          </p:nvSpPr>
          <p:spPr bwMode="auto">
            <a:xfrm>
              <a:off x="7807997" y="4123381"/>
              <a:ext cx="130027" cy="190348"/>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2"/>
                    <a:pt x="39" y="56"/>
                  </a:cubicBezTo>
                  <a:cubicBezTo>
                    <a:pt x="42" y="51"/>
                    <a:pt x="44" y="42"/>
                    <a:pt x="44" y="32"/>
                  </a:cubicBezTo>
                  <a:cubicBezTo>
                    <a:pt x="44" y="11"/>
                    <a:pt x="38" y="0"/>
                    <a:pt x="23" y="0"/>
                  </a:cubicBezTo>
                  <a:cubicBezTo>
                    <a:pt x="16" y="0"/>
                    <a:pt x="9" y="3"/>
                    <a:pt x="5" y="8"/>
                  </a:cubicBezTo>
                  <a:close/>
                  <a:moveTo>
                    <a:pt x="22" y="11"/>
                  </a:moveTo>
                  <a:cubicBezTo>
                    <a:pt x="28" y="11"/>
                    <a:pt x="30" y="18"/>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0" name="Freeform 190"/>
            <p:cNvSpPr>
              <a:spLocks/>
            </p:cNvSpPr>
            <p:nvPr/>
          </p:nvSpPr>
          <p:spPr bwMode="auto">
            <a:xfrm>
              <a:off x="7983034"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4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8"/>
                    <a:pt x="0" y="9"/>
                  </a:cubicBezTo>
                  <a:cubicBezTo>
                    <a:pt x="0" y="9"/>
                    <a:pt x="0" y="9"/>
                    <a:pt x="0" y="20"/>
                  </a:cubicBezTo>
                  <a:cubicBezTo>
                    <a:pt x="1" y="20"/>
                    <a:pt x="2" y="20"/>
                    <a:pt x="4" y="20"/>
                  </a:cubicBezTo>
                  <a:cubicBezTo>
                    <a:pt x="5" y="19"/>
                    <a:pt x="5" y="19"/>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1" name="Freeform 191"/>
            <p:cNvSpPr>
              <a:spLocks noEditPoints="1"/>
            </p:cNvSpPr>
            <p:nvPr/>
          </p:nvSpPr>
          <p:spPr bwMode="auto">
            <a:xfrm>
              <a:off x="8104311" y="4123381"/>
              <a:ext cx="130027" cy="190348"/>
            </a:xfrm>
            <a:custGeom>
              <a:avLst/>
              <a:gdLst>
                <a:gd name="T0" fmla="*/ 6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6 w 44"/>
                <a:gd name="T13" fmla="*/ 8 h 64"/>
                <a:gd name="T14" fmla="*/ 31 w 44"/>
                <a:gd name="T15" fmla="*/ 32 h 64"/>
                <a:gd name="T16" fmla="*/ 22 w 44"/>
                <a:gd name="T17" fmla="*/ 53 h 64"/>
                <a:gd name="T18" fmla="*/ 14 w 44"/>
                <a:gd name="T19" fmla="*/ 33 h 64"/>
                <a:gd name="T20" fmla="*/ 22 w 44"/>
                <a:gd name="T21" fmla="*/ 11 h 64"/>
                <a:gd name="T22" fmla="*/ 31 w 44"/>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6" y="8"/>
                  </a:move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ubicBezTo>
                    <a:pt x="16" y="0"/>
                    <a:pt x="9" y="3"/>
                    <a:pt x="6" y="8"/>
                  </a:cubicBezTo>
                  <a:close/>
                  <a:moveTo>
                    <a:pt x="31" y="32"/>
                  </a:moveTo>
                  <a:cubicBezTo>
                    <a:pt x="31" y="47"/>
                    <a:pt x="28" y="53"/>
                    <a:pt x="22" y="53"/>
                  </a:cubicBezTo>
                  <a:cubicBezTo>
                    <a:pt x="17" y="53"/>
                    <a:pt x="14" y="47"/>
                    <a:pt x="14" y="33"/>
                  </a:cubicBezTo>
                  <a:cubicBezTo>
                    <a:pt x="14" y="18"/>
                    <a:pt x="17" y="11"/>
                    <a:pt x="22" y="11"/>
                  </a:cubicBezTo>
                  <a:cubicBezTo>
                    <a:pt x="28" y="11"/>
                    <a:pt x="31" y="18"/>
                    <a:pt x="31"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2" name="Freeform 192"/>
            <p:cNvSpPr>
              <a:spLocks/>
            </p:cNvSpPr>
            <p:nvPr/>
          </p:nvSpPr>
          <p:spPr bwMode="auto">
            <a:xfrm>
              <a:off x="4602312" y="2638167"/>
              <a:ext cx="41259" cy="101435"/>
            </a:xfrm>
            <a:custGeom>
              <a:avLst/>
              <a:gdLst>
                <a:gd name="T0" fmla="*/ 14 w 14"/>
                <a:gd name="T1" fmla="*/ 34 h 34"/>
                <a:gd name="T2" fmla="*/ 14 w 14"/>
                <a:gd name="T3" fmla="*/ 0 h 34"/>
                <a:gd name="T4" fmla="*/ 0 w 14"/>
                <a:gd name="T5" fmla="*/ 18 h 34"/>
                <a:gd name="T6" fmla="*/ 0 w 14"/>
                <a:gd name="T7" fmla="*/ 34 h 34"/>
                <a:gd name="T8" fmla="*/ 14 w 14"/>
                <a:gd name="T9" fmla="*/ 34 h 34"/>
              </a:gdLst>
              <a:ahLst/>
              <a:cxnLst>
                <a:cxn ang="0">
                  <a:pos x="T0" y="T1"/>
                </a:cxn>
                <a:cxn ang="0">
                  <a:pos x="T2" y="T3"/>
                </a:cxn>
                <a:cxn ang="0">
                  <a:pos x="T4" y="T5"/>
                </a:cxn>
                <a:cxn ang="0">
                  <a:pos x="T6" y="T7"/>
                </a:cxn>
                <a:cxn ang="0">
                  <a:pos x="T8" y="T9"/>
                </a:cxn>
              </a:cxnLst>
              <a:rect l="0" t="0" r="r" b="b"/>
              <a:pathLst>
                <a:path w="14" h="34">
                  <a:moveTo>
                    <a:pt x="14" y="34"/>
                  </a:moveTo>
                  <a:cubicBezTo>
                    <a:pt x="14" y="34"/>
                    <a:pt x="14" y="34"/>
                    <a:pt x="14" y="0"/>
                  </a:cubicBezTo>
                  <a:cubicBezTo>
                    <a:pt x="9" y="6"/>
                    <a:pt x="5" y="12"/>
                    <a:pt x="0" y="18"/>
                  </a:cubicBezTo>
                  <a:cubicBezTo>
                    <a:pt x="0" y="22"/>
                    <a:pt x="0" y="28"/>
                    <a:pt x="0" y="34"/>
                  </a:cubicBezTo>
                  <a:cubicBezTo>
                    <a:pt x="0" y="34"/>
                    <a:pt x="0" y="34"/>
                    <a:pt x="14" y="3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3" name="Freeform 193"/>
            <p:cNvSpPr>
              <a:spLocks noEditPoints="1"/>
            </p:cNvSpPr>
            <p:nvPr/>
          </p:nvSpPr>
          <p:spPr bwMode="auto">
            <a:xfrm>
              <a:off x="4687330" y="2553012"/>
              <a:ext cx="131279"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5" y="8"/>
                  </a:cubicBezTo>
                  <a:cubicBezTo>
                    <a:pt x="2"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4" name="Freeform 194"/>
            <p:cNvSpPr>
              <a:spLocks/>
            </p:cNvSpPr>
            <p:nvPr/>
          </p:nvSpPr>
          <p:spPr bwMode="auto">
            <a:xfrm>
              <a:off x="4862367" y="2553012"/>
              <a:ext cx="77516" cy="186591"/>
            </a:xfrm>
            <a:custGeom>
              <a:avLst/>
              <a:gdLst>
                <a:gd name="T0" fmla="*/ 7 w 26"/>
                <a:gd name="T1" fmla="*/ 18 h 63"/>
                <a:gd name="T2" fmla="*/ 10 w 26"/>
                <a:gd name="T3" fmla="*/ 16 h 63"/>
                <a:gd name="T4" fmla="*/ 13 w 26"/>
                <a:gd name="T5" fmla="*/ 14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5"/>
                    <a:pt x="13" y="14"/>
                  </a:cubicBezTo>
                  <a:cubicBezTo>
                    <a:pt x="13" y="14"/>
                    <a:pt x="13" y="14"/>
                    <a:pt x="13" y="63"/>
                  </a:cubicBezTo>
                  <a:cubicBezTo>
                    <a:pt x="13" y="63"/>
                    <a:pt x="13" y="63"/>
                    <a:pt x="26" y="63"/>
                  </a:cubicBez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5" name="Freeform 195"/>
            <p:cNvSpPr>
              <a:spLocks noEditPoints="1"/>
            </p:cNvSpPr>
            <p:nvPr/>
          </p:nvSpPr>
          <p:spPr bwMode="auto">
            <a:xfrm>
              <a:off x="4983645" y="2553012"/>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6" y="8"/>
                  </a:cubicBezTo>
                  <a:cubicBezTo>
                    <a:pt x="2" y="14"/>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6" name="Freeform 196"/>
            <p:cNvSpPr>
              <a:spLocks/>
            </p:cNvSpPr>
            <p:nvPr/>
          </p:nvSpPr>
          <p:spPr bwMode="auto">
            <a:xfrm>
              <a:off x="5158682" y="2553012"/>
              <a:ext cx="80017" cy="186591"/>
            </a:xfrm>
            <a:custGeom>
              <a:avLst/>
              <a:gdLst>
                <a:gd name="T0" fmla="*/ 27 w 27"/>
                <a:gd name="T1" fmla="*/ 63 h 63"/>
                <a:gd name="T2" fmla="*/ 27 w 27"/>
                <a:gd name="T3" fmla="*/ 0 h 63"/>
                <a:gd name="T4" fmla="*/ 18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4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3"/>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5"/>
                    <a:pt x="13" y="14"/>
                  </a:cubicBezTo>
                  <a:cubicBezTo>
                    <a:pt x="13" y="14"/>
                    <a:pt x="13" y="14"/>
                    <a:pt x="13" y="63"/>
                  </a:cubicBezTo>
                  <a:cubicBezTo>
                    <a:pt x="13" y="63"/>
                    <a:pt x="13" y="63"/>
                    <a:pt x="27"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7" name="Freeform 197"/>
            <p:cNvSpPr>
              <a:spLocks/>
            </p:cNvSpPr>
            <p:nvPr/>
          </p:nvSpPr>
          <p:spPr bwMode="auto">
            <a:xfrm>
              <a:off x="5282458" y="2553012"/>
              <a:ext cx="77516" cy="186591"/>
            </a:xfrm>
            <a:custGeom>
              <a:avLst/>
              <a:gdLst>
                <a:gd name="T0" fmla="*/ 7 w 26"/>
                <a:gd name="T1" fmla="*/ 18 h 63"/>
                <a:gd name="T2" fmla="*/ 10 w 26"/>
                <a:gd name="T3" fmla="*/ 16 h 63"/>
                <a:gd name="T4" fmla="*/ 12 w 26"/>
                <a:gd name="T5" fmla="*/ 14 h 63"/>
                <a:gd name="T6" fmla="*/ 12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3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ubicBezTo>
                    <a:pt x="6" y="6"/>
                    <a:pt x="3" y="8"/>
                    <a:pt x="0" y="9"/>
                  </a:cubicBezTo>
                  <a:cubicBezTo>
                    <a:pt x="0" y="9"/>
                    <a:pt x="0" y="9"/>
                    <a:pt x="0" y="20"/>
                  </a:cubicBezTo>
                  <a:cubicBezTo>
                    <a:pt x="0" y="20"/>
                    <a:pt x="1"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8" name="Freeform 202"/>
            <p:cNvSpPr>
              <a:spLocks/>
            </p:cNvSpPr>
            <p:nvPr/>
          </p:nvSpPr>
          <p:spPr bwMode="auto">
            <a:xfrm>
              <a:off x="6002711"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69" name="Freeform 203"/>
            <p:cNvSpPr>
              <a:spLocks noEditPoints="1"/>
            </p:cNvSpPr>
            <p:nvPr/>
          </p:nvSpPr>
          <p:spPr bwMode="auto">
            <a:xfrm>
              <a:off x="6129661" y="2553012"/>
              <a:ext cx="130027" cy="189096"/>
            </a:xfrm>
            <a:custGeom>
              <a:avLst/>
              <a:gdLst>
                <a:gd name="T0" fmla="*/ 5 w 44"/>
                <a:gd name="T1" fmla="*/ 8 h 64"/>
                <a:gd name="T2" fmla="*/ 0 w 44"/>
                <a:gd name="T3" fmla="*/ 33 h 64"/>
                <a:gd name="T4" fmla="*/ 22 w 44"/>
                <a:gd name="T5" fmla="*/ 64 h 64"/>
                <a:gd name="T6" fmla="*/ 38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4"/>
                    <a:pt x="0" y="22"/>
                    <a:pt x="0" y="33"/>
                  </a:cubicBezTo>
                  <a:cubicBezTo>
                    <a:pt x="0" y="54"/>
                    <a:pt x="7" y="64"/>
                    <a:pt x="22" y="64"/>
                  </a:cubicBezTo>
                  <a:cubicBezTo>
                    <a:pt x="29" y="64"/>
                    <a:pt x="35" y="61"/>
                    <a:pt x="38" y="56"/>
                  </a:cubicBezTo>
                  <a:cubicBezTo>
                    <a:pt x="42" y="50"/>
                    <a:pt x="44" y="42"/>
                    <a:pt x="44" y="32"/>
                  </a:cubicBezTo>
                  <a:cubicBezTo>
                    <a:pt x="44" y="11"/>
                    <a:pt x="37" y="0"/>
                    <a:pt x="23" y="0"/>
                  </a:cubicBezTo>
                  <a:cubicBezTo>
                    <a:pt x="15" y="0"/>
                    <a:pt x="9" y="2"/>
                    <a:pt x="5" y="8"/>
                  </a:cubicBezTo>
                  <a:close/>
                  <a:moveTo>
                    <a:pt x="22" y="11"/>
                  </a:moveTo>
                  <a:cubicBezTo>
                    <a:pt x="27" y="11"/>
                    <a:pt x="30" y="17"/>
                    <a:pt x="30" y="32"/>
                  </a:cubicBezTo>
                  <a:cubicBezTo>
                    <a:pt x="30" y="47"/>
                    <a:pt x="27"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0" name="Freeform 204"/>
            <p:cNvSpPr>
              <a:spLocks/>
            </p:cNvSpPr>
            <p:nvPr/>
          </p:nvSpPr>
          <p:spPr bwMode="auto">
            <a:xfrm>
              <a:off x="6292674"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1" name="Freeform 209"/>
            <p:cNvSpPr>
              <a:spLocks noEditPoints="1"/>
            </p:cNvSpPr>
            <p:nvPr/>
          </p:nvSpPr>
          <p:spPr bwMode="auto">
            <a:xfrm>
              <a:off x="6872560" y="2553012"/>
              <a:ext cx="130027" cy="189096"/>
            </a:xfrm>
            <a:custGeom>
              <a:avLst/>
              <a:gdLst>
                <a:gd name="T0" fmla="*/ 23 w 44"/>
                <a:gd name="T1" fmla="*/ 0 h 64"/>
                <a:gd name="T2" fmla="*/ 5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2"/>
                    <a:pt x="5" y="8"/>
                  </a:cubicBezTo>
                  <a:cubicBezTo>
                    <a:pt x="2" y="14"/>
                    <a:pt x="0" y="22"/>
                    <a:pt x="0" y="33"/>
                  </a:cubicBezTo>
                  <a:cubicBezTo>
                    <a:pt x="0" y="54"/>
                    <a:pt x="7" y="64"/>
                    <a:pt x="22" y="64"/>
                  </a:cubicBezTo>
                  <a:cubicBezTo>
                    <a:pt x="29" y="64"/>
                    <a:pt x="35" y="61"/>
                    <a:pt x="39"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2" name="Freeform 213"/>
            <p:cNvSpPr>
              <a:spLocks/>
            </p:cNvSpPr>
            <p:nvPr/>
          </p:nvSpPr>
          <p:spPr bwMode="auto">
            <a:xfrm>
              <a:off x="7532938" y="2553012"/>
              <a:ext cx="80017" cy="186591"/>
            </a:xfrm>
            <a:custGeom>
              <a:avLst/>
              <a:gdLst>
                <a:gd name="T0" fmla="*/ 0 w 27"/>
                <a:gd name="T1" fmla="*/ 20 h 63"/>
                <a:gd name="T2" fmla="*/ 4 w 27"/>
                <a:gd name="T3" fmla="*/ 20 h 63"/>
                <a:gd name="T4" fmla="*/ 8 w 27"/>
                <a:gd name="T5" fmla="*/ 18 h 63"/>
                <a:gd name="T6" fmla="*/ 10 w 27"/>
                <a:gd name="T7" fmla="*/ 16 h 63"/>
                <a:gd name="T8" fmla="*/ 13 w 27"/>
                <a:gd name="T9" fmla="*/ 14 h 63"/>
                <a:gd name="T10" fmla="*/ 13 w 27"/>
                <a:gd name="T11" fmla="*/ 63 h 63"/>
                <a:gd name="T12" fmla="*/ 27 w 27"/>
                <a:gd name="T13" fmla="*/ 63 h 63"/>
                <a:gd name="T14" fmla="*/ 27 w 27"/>
                <a:gd name="T15" fmla="*/ 0 h 63"/>
                <a:gd name="T16" fmla="*/ 19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9"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3" name="Freeform 214"/>
            <p:cNvSpPr>
              <a:spLocks noEditPoints="1"/>
            </p:cNvSpPr>
            <p:nvPr/>
          </p:nvSpPr>
          <p:spPr bwMode="auto">
            <a:xfrm>
              <a:off x="7656714" y="2553012"/>
              <a:ext cx="130027" cy="189096"/>
            </a:xfrm>
            <a:custGeom>
              <a:avLst/>
              <a:gdLst>
                <a:gd name="T0" fmla="*/ 22 w 44"/>
                <a:gd name="T1" fmla="*/ 64 h 64"/>
                <a:gd name="T2" fmla="*/ 38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3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8" y="56"/>
                  </a:cubicBezTo>
                  <a:cubicBezTo>
                    <a:pt x="42" y="50"/>
                    <a:pt x="44" y="42"/>
                    <a:pt x="44" y="32"/>
                  </a:cubicBezTo>
                  <a:cubicBezTo>
                    <a:pt x="44" y="11"/>
                    <a:pt x="37" y="0"/>
                    <a:pt x="23" y="0"/>
                  </a:cubicBezTo>
                  <a:cubicBezTo>
                    <a:pt x="15" y="0"/>
                    <a:pt x="9" y="2"/>
                    <a:pt x="5" y="8"/>
                  </a:cubicBezTo>
                  <a:cubicBezTo>
                    <a:pt x="1" y="14"/>
                    <a:pt x="0" y="22"/>
                    <a:pt x="0" y="33"/>
                  </a:cubicBezTo>
                  <a:cubicBezTo>
                    <a:pt x="0" y="54"/>
                    <a:pt x="7" y="64"/>
                    <a:pt x="22" y="64"/>
                  </a:cubicBezTo>
                  <a:close/>
                  <a:moveTo>
                    <a:pt x="22" y="11"/>
                  </a:moveTo>
                  <a:cubicBezTo>
                    <a:pt x="27" y="11"/>
                    <a:pt x="30" y="17"/>
                    <a:pt x="30" y="32"/>
                  </a:cubicBezTo>
                  <a:cubicBezTo>
                    <a:pt x="30" y="47"/>
                    <a:pt x="27" y="53"/>
                    <a:pt x="22" y="53"/>
                  </a:cubicBezTo>
                  <a:cubicBezTo>
                    <a:pt x="16" y="53"/>
                    <a:pt x="13" y="47"/>
                    <a:pt x="13" y="33"/>
                  </a:cubicBezTo>
                  <a:cubicBezTo>
                    <a:pt x="13"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4" name="Freeform 215"/>
            <p:cNvSpPr>
              <a:spLocks/>
            </p:cNvSpPr>
            <p:nvPr/>
          </p:nvSpPr>
          <p:spPr bwMode="auto">
            <a:xfrm>
              <a:off x="7866760" y="2661961"/>
              <a:ext cx="41259" cy="77641"/>
            </a:xfrm>
            <a:custGeom>
              <a:avLst/>
              <a:gdLst>
                <a:gd name="T0" fmla="*/ 14 w 14"/>
                <a:gd name="T1" fmla="*/ 26 h 26"/>
                <a:gd name="T2" fmla="*/ 14 w 14"/>
                <a:gd name="T3" fmla="*/ 19 h 26"/>
                <a:gd name="T4" fmla="*/ 0 w 14"/>
                <a:gd name="T5" fmla="*/ 0 h 26"/>
                <a:gd name="T6" fmla="*/ 0 w 14"/>
                <a:gd name="T7" fmla="*/ 26 h 26"/>
                <a:gd name="T8" fmla="*/ 14 w 14"/>
                <a:gd name="T9" fmla="*/ 26 h 26"/>
              </a:gdLst>
              <a:ahLst/>
              <a:cxnLst>
                <a:cxn ang="0">
                  <a:pos x="T0" y="T1"/>
                </a:cxn>
                <a:cxn ang="0">
                  <a:pos x="T2" y="T3"/>
                </a:cxn>
                <a:cxn ang="0">
                  <a:pos x="T4" y="T5"/>
                </a:cxn>
                <a:cxn ang="0">
                  <a:pos x="T6" y="T7"/>
                </a:cxn>
                <a:cxn ang="0">
                  <a:pos x="T8" y="T9"/>
                </a:cxn>
              </a:cxnLst>
              <a:rect l="0" t="0" r="r" b="b"/>
              <a:pathLst>
                <a:path w="14" h="26">
                  <a:moveTo>
                    <a:pt x="14" y="26"/>
                  </a:moveTo>
                  <a:cubicBezTo>
                    <a:pt x="14" y="26"/>
                    <a:pt x="14" y="26"/>
                    <a:pt x="14" y="19"/>
                  </a:cubicBezTo>
                  <a:cubicBezTo>
                    <a:pt x="10" y="12"/>
                    <a:pt x="5" y="6"/>
                    <a:pt x="0" y="0"/>
                  </a:cubicBezTo>
                  <a:cubicBezTo>
                    <a:pt x="0" y="6"/>
                    <a:pt x="0" y="15"/>
                    <a:pt x="0" y="26"/>
                  </a:cubicBezTo>
                  <a:cubicBezTo>
                    <a:pt x="0" y="26"/>
                    <a:pt x="0" y="26"/>
                    <a:pt x="14" y="2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5" name="Freeform 216"/>
            <p:cNvSpPr>
              <a:spLocks/>
            </p:cNvSpPr>
            <p:nvPr/>
          </p:nvSpPr>
          <p:spPr bwMode="auto">
            <a:xfrm>
              <a:off x="4743593" y="2466606"/>
              <a:ext cx="47511" cy="50092"/>
            </a:xfrm>
            <a:custGeom>
              <a:avLst/>
              <a:gdLst>
                <a:gd name="T0" fmla="*/ 12 w 16"/>
                <a:gd name="T1" fmla="*/ 9 h 17"/>
                <a:gd name="T2" fmla="*/ 16 w 16"/>
                <a:gd name="T3" fmla="*/ 0 h 17"/>
                <a:gd name="T4" fmla="*/ 0 w 16"/>
                <a:gd name="T5" fmla="*/ 17 h 17"/>
                <a:gd name="T6" fmla="*/ 12 w 16"/>
                <a:gd name="T7" fmla="*/ 9 h 17"/>
              </a:gdLst>
              <a:ahLst/>
              <a:cxnLst>
                <a:cxn ang="0">
                  <a:pos x="T0" y="T1"/>
                </a:cxn>
                <a:cxn ang="0">
                  <a:pos x="T2" y="T3"/>
                </a:cxn>
                <a:cxn ang="0">
                  <a:pos x="T4" y="T5"/>
                </a:cxn>
                <a:cxn ang="0">
                  <a:pos x="T6" y="T7"/>
                </a:cxn>
              </a:cxnLst>
              <a:rect l="0" t="0" r="r" b="b"/>
              <a:pathLst>
                <a:path w="16" h="17">
                  <a:moveTo>
                    <a:pt x="12" y="9"/>
                  </a:moveTo>
                  <a:cubicBezTo>
                    <a:pt x="14" y="6"/>
                    <a:pt x="15" y="3"/>
                    <a:pt x="16" y="0"/>
                  </a:cubicBezTo>
                  <a:cubicBezTo>
                    <a:pt x="11" y="5"/>
                    <a:pt x="5" y="11"/>
                    <a:pt x="0" y="17"/>
                  </a:cubicBezTo>
                  <a:cubicBezTo>
                    <a:pt x="5" y="16"/>
                    <a:pt x="9" y="13"/>
                    <a:pt x="12"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6" name="Freeform 217"/>
            <p:cNvSpPr>
              <a:spLocks/>
            </p:cNvSpPr>
            <p:nvPr/>
          </p:nvSpPr>
          <p:spPr bwMode="auto">
            <a:xfrm>
              <a:off x="4877371" y="2345132"/>
              <a:ext cx="41259" cy="169060"/>
            </a:xfrm>
            <a:custGeom>
              <a:avLst/>
              <a:gdLst>
                <a:gd name="T0" fmla="*/ 14 w 14"/>
                <a:gd name="T1" fmla="*/ 57 h 57"/>
                <a:gd name="T2" fmla="*/ 14 w 14"/>
                <a:gd name="T3" fmla="*/ 0 h 57"/>
                <a:gd name="T4" fmla="*/ 0 w 14"/>
                <a:gd name="T5" fmla="*/ 12 h 57"/>
                <a:gd name="T6" fmla="*/ 0 w 14"/>
                <a:gd name="T7" fmla="*/ 57 h 57"/>
                <a:gd name="T8" fmla="*/ 14 w 14"/>
                <a:gd name="T9" fmla="*/ 57 h 57"/>
              </a:gdLst>
              <a:ahLst/>
              <a:cxnLst>
                <a:cxn ang="0">
                  <a:pos x="T0" y="T1"/>
                </a:cxn>
                <a:cxn ang="0">
                  <a:pos x="T2" y="T3"/>
                </a:cxn>
                <a:cxn ang="0">
                  <a:pos x="T4" y="T5"/>
                </a:cxn>
                <a:cxn ang="0">
                  <a:pos x="T6" y="T7"/>
                </a:cxn>
                <a:cxn ang="0">
                  <a:pos x="T8" y="T9"/>
                </a:cxn>
              </a:cxnLst>
              <a:rect l="0" t="0" r="r" b="b"/>
              <a:pathLst>
                <a:path w="14" h="57">
                  <a:moveTo>
                    <a:pt x="14" y="57"/>
                  </a:moveTo>
                  <a:cubicBezTo>
                    <a:pt x="14" y="57"/>
                    <a:pt x="14" y="57"/>
                    <a:pt x="14" y="0"/>
                  </a:cubicBezTo>
                  <a:cubicBezTo>
                    <a:pt x="10" y="4"/>
                    <a:pt x="5" y="8"/>
                    <a:pt x="0" y="12"/>
                  </a:cubicBezTo>
                  <a:cubicBezTo>
                    <a:pt x="0" y="17"/>
                    <a:pt x="0" y="29"/>
                    <a:pt x="0" y="57"/>
                  </a:cubicBezTo>
                  <a:cubicBezTo>
                    <a:pt x="0" y="57"/>
                    <a:pt x="0" y="57"/>
                    <a:pt x="14" y="5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7" name="Freeform 218"/>
            <p:cNvSpPr>
              <a:spLocks noEditPoints="1"/>
            </p:cNvSpPr>
            <p:nvPr/>
          </p:nvSpPr>
          <p:spPr bwMode="auto">
            <a:xfrm>
              <a:off x="4963640"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8" name="Freeform 219"/>
            <p:cNvSpPr>
              <a:spLocks noEditPoints="1"/>
            </p:cNvSpPr>
            <p:nvPr/>
          </p:nvSpPr>
          <p:spPr bwMode="auto">
            <a:xfrm>
              <a:off x="5137426" y="2327601"/>
              <a:ext cx="130027" cy="189096"/>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6"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79" name="Freeform 220"/>
            <p:cNvSpPr>
              <a:spLocks/>
            </p:cNvSpPr>
            <p:nvPr/>
          </p:nvSpPr>
          <p:spPr bwMode="auto">
            <a:xfrm>
              <a:off x="5312463" y="2327601"/>
              <a:ext cx="77516" cy="186591"/>
            </a:xfrm>
            <a:custGeom>
              <a:avLst/>
              <a:gdLst>
                <a:gd name="T0" fmla="*/ 7 w 26"/>
                <a:gd name="T1" fmla="*/ 18 h 63"/>
                <a:gd name="T2" fmla="*/ 10 w 26"/>
                <a:gd name="T3" fmla="*/ 16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5 h 63"/>
                <a:gd name="T16" fmla="*/ 0 w 26"/>
                <a:gd name="T17" fmla="*/ 9 h 63"/>
                <a:gd name="T18" fmla="*/ 0 w 26"/>
                <a:gd name="T19" fmla="*/ 20 h 63"/>
                <a:gd name="T20" fmla="*/ 4 w 26"/>
                <a:gd name="T21" fmla="*/ 20 h 63"/>
                <a:gd name="T22" fmla="*/ 7 w 26"/>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8"/>
                  </a:move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0" name="Freeform 224"/>
            <p:cNvSpPr>
              <a:spLocks noEditPoints="1"/>
            </p:cNvSpPr>
            <p:nvPr/>
          </p:nvSpPr>
          <p:spPr bwMode="auto">
            <a:xfrm>
              <a:off x="5853830" y="2327601"/>
              <a:ext cx="130027" cy="189096"/>
            </a:xfrm>
            <a:custGeom>
              <a:avLst/>
              <a:gdLst>
                <a:gd name="T0" fmla="*/ 22 w 44"/>
                <a:gd name="T1" fmla="*/ 64 h 64"/>
                <a:gd name="T2" fmla="*/ 39 w 44"/>
                <a:gd name="T3" fmla="*/ 56 h 64"/>
                <a:gd name="T4" fmla="*/ 44 w 44"/>
                <a:gd name="T5" fmla="*/ 32 h 64"/>
                <a:gd name="T6" fmla="*/ 23 w 44"/>
                <a:gd name="T7" fmla="*/ 0 h 64"/>
                <a:gd name="T8" fmla="*/ 5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lose/>
                  <a:moveTo>
                    <a:pt x="22" y="11"/>
                  </a:moveTo>
                  <a:cubicBezTo>
                    <a:pt x="28" y="11"/>
                    <a:pt x="30" y="17"/>
                    <a:pt x="30" y="32"/>
                  </a:cubicBezTo>
                  <a:cubicBezTo>
                    <a:pt x="30"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1" name="Freeform 225"/>
            <p:cNvSpPr>
              <a:spLocks/>
            </p:cNvSpPr>
            <p:nvPr/>
          </p:nvSpPr>
          <p:spPr bwMode="auto">
            <a:xfrm>
              <a:off x="6028867" y="2327601"/>
              <a:ext cx="76267" cy="186591"/>
            </a:xfrm>
            <a:custGeom>
              <a:avLst/>
              <a:gdLst>
                <a:gd name="T0" fmla="*/ 10 w 26"/>
                <a:gd name="T1" fmla="*/ 5 h 63"/>
                <a:gd name="T2" fmla="*/ 0 w 26"/>
                <a:gd name="T3" fmla="*/ 9 h 63"/>
                <a:gd name="T4" fmla="*/ 0 w 26"/>
                <a:gd name="T5" fmla="*/ 20 h 63"/>
                <a:gd name="T6" fmla="*/ 4 w 26"/>
                <a:gd name="T7" fmla="*/ 20 h 63"/>
                <a:gd name="T8" fmla="*/ 7 w 26"/>
                <a:gd name="T9" fmla="*/ 18 h 63"/>
                <a:gd name="T10" fmla="*/ 10 w 26"/>
                <a:gd name="T11" fmla="*/ 16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2" name="Freeform 226"/>
            <p:cNvSpPr>
              <a:spLocks noEditPoints="1"/>
            </p:cNvSpPr>
            <p:nvPr/>
          </p:nvSpPr>
          <p:spPr bwMode="auto">
            <a:xfrm>
              <a:off x="6150143" y="2327601"/>
              <a:ext cx="130027"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1"/>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3" name="Freeform 227"/>
            <p:cNvSpPr>
              <a:spLocks/>
            </p:cNvSpPr>
            <p:nvPr/>
          </p:nvSpPr>
          <p:spPr bwMode="auto">
            <a:xfrm>
              <a:off x="6325180" y="2327601"/>
              <a:ext cx="80017" cy="186591"/>
            </a:xfrm>
            <a:custGeom>
              <a:avLst/>
              <a:gdLst>
                <a:gd name="T0" fmla="*/ 10 w 27"/>
                <a:gd name="T1" fmla="*/ 5 h 63"/>
                <a:gd name="T2" fmla="*/ 0 w 27"/>
                <a:gd name="T3" fmla="*/ 9 h 63"/>
                <a:gd name="T4" fmla="*/ 0 w 27"/>
                <a:gd name="T5" fmla="*/ 20 h 63"/>
                <a:gd name="T6" fmla="*/ 4 w 27"/>
                <a:gd name="T7" fmla="*/ 20 h 63"/>
                <a:gd name="T8" fmla="*/ 7 w 27"/>
                <a:gd name="T9" fmla="*/ 18 h 63"/>
                <a:gd name="T10" fmla="*/ 10 w 27"/>
                <a:gd name="T11" fmla="*/ 16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5"/>
                  </a:move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4" name="Freeform 228"/>
            <p:cNvSpPr>
              <a:spLocks/>
            </p:cNvSpPr>
            <p:nvPr/>
          </p:nvSpPr>
          <p:spPr bwMode="auto">
            <a:xfrm>
              <a:off x="6446457" y="2327601"/>
              <a:ext cx="80017" cy="186591"/>
            </a:xfrm>
            <a:custGeom>
              <a:avLst/>
              <a:gdLst>
                <a:gd name="T0" fmla="*/ 27 w 27"/>
                <a:gd name="T1" fmla="*/ 63 h 63"/>
                <a:gd name="T2" fmla="*/ 27 w 27"/>
                <a:gd name="T3" fmla="*/ 0 h 63"/>
                <a:gd name="T4" fmla="*/ 19 w 27"/>
                <a:gd name="T5" fmla="*/ 0 h 63"/>
                <a:gd name="T6" fmla="*/ 10 w 27"/>
                <a:gd name="T7" fmla="*/ 5 h 63"/>
                <a:gd name="T8" fmla="*/ 0 w 27"/>
                <a:gd name="T9" fmla="*/ 9 h 63"/>
                <a:gd name="T10" fmla="*/ 0 w 27"/>
                <a:gd name="T11" fmla="*/ 20 h 63"/>
                <a:gd name="T12" fmla="*/ 4 w 27"/>
                <a:gd name="T13" fmla="*/ 20 h 63"/>
                <a:gd name="T14" fmla="*/ 8 w 27"/>
                <a:gd name="T15" fmla="*/ 18 h 63"/>
                <a:gd name="T16" fmla="*/ 10 w 27"/>
                <a:gd name="T17" fmla="*/ 16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5" name="Freeform 229"/>
            <p:cNvSpPr>
              <a:spLocks/>
            </p:cNvSpPr>
            <p:nvPr/>
          </p:nvSpPr>
          <p:spPr bwMode="auto">
            <a:xfrm>
              <a:off x="6567732" y="2327601"/>
              <a:ext cx="80017" cy="186591"/>
            </a:xfrm>
            <a:custGeom>
              <a:avLst/>
              <a:gdLst>
                <a:gd name="T0" fmla="*/ 0 w 27"/>
                <a:gd name="T1" fmla="*/ 20 h 63"/>
                <a:gd name="T2" fmla="*/ 4 w 27"/>
                <a:gd name="T3" fmla="*/ 20 h 63"/>
                <a:gd name="T4" fmla="*/ 8 w 27"/>
                <a:gd name="T5" fmla="*/ 18 h 63"/>
                <a:gd name="T6" fmla="*/ 11 w 27"/>
                <a:gd name="T7" fmla="*/ 16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4" y="20"/>
                  </a:cubicBezTo>
                  <a:cubicBezTo>
                    <a:pt x="5" y="19"/>
                    <a:pt x="6" y="19"/>
                    <a:pt x="8" y="18"/>
                  </a:cubicBezTo>
                  <a:cubicBezTo>
                    <a:pt x="9" y="18"/>
                    <a:pt x="10" y="17"/>
                    <a:pt x="11" y="16"/>
                  </a:cubicBezTo>
                  <a:cubicBezTo>
                    <a:pt x="12"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5"/>
                  </a:cubicBezTo>
                  <a:cubicBezTo>
                    <a:pt x="7" y="6"/>
                    <a:pt x="4"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6" name="Freeform 230"/>
            <p:cNvSpPr>
              <a:spLocks noEditPoints="1"/>
            </p:cNvSpPr>
            <p:nvPr/>
          </p:nvSpPr>
          <p:spPr bwMode="auto">
            <a:xfrm>
              <a:off x="6691509" y="2327601"/>
              <a:ext cx="130027" cy="189096"/>
            </a:xfrm>
            <a:custGeom>
              <a:avLst/>
              <a:gdLst>
                <a:gd name="T0" fmla="*/ 5 w 44"/>
                <a:gd name="T1" fmla="*/ 8 h 64"/>
                <a:gd name="T2" fmla="*/ 0 w 44"/>
                <a:gd name="T3" fmla="*/ 33 h 64"/>
                <a:gd name="T4" fmla="*/ 22 w 44"/>
                <a:gd name="T5" fmla="*/ 64 h 64"/>
                <a:gd name="T6" fmla="*/ 39 w 44"/>
                <a:gd name="T7" fmla="*/ 56 h 64"/>
                <a:gd name="T8" fmla="*/ 44 w 44"/>
                <a:gd name="T9" fmla="*/ 32 h 64"/>
                <a:gd name="T10" fmla="*/ 23 w 44"/>
                <a:gd name="T11" fmla="*/ 0 h 64"/>
                <a:gd name="T12" fmla="*/ 5 w 44"/>
                <a:gd name="T13" fmla="*/ 8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5" y="8"/>
                  </a:moveTo>
                  <a:cubicBezTo>
                    <a:pt x="2" y="15"/>
                    <a:pt x="0" y="22"/>
                    <a:pt x="0" y="33"/>
                  </a:cubicBezTo>
                  <a:cubicBezTo>
                    <a:pt x="0" y="54"/>
                    <a:pt x="7" y="64"/>
                    <a:pt x="22" y="64"/>
                  </a:cubicBezTo>
                  <a:cubicBezTo>
                    <a:pt x="29" y="64"/>
                    <a:pt x="35" y="61"/>
                    <a:pt x="39" y="56"/>
                  </a:cubicBezTo>
                  <a:cubicBezTo>
                    <a:pt x="42" y="50"/>
                    <a:pt x="44" y="42"/>
                    <a:pt x="44" y="32"/>
                  </a:cubicBezTo>
                  <a:cubicBezTo>
                    <a:pt x="44" y="11"/>
                    <a:pt x="38" y="0"/>
                    <a:pt x="23" y="0"/>
                  </a:cubicBezTo>
                  <a:cubicBezTo>
                    <a:pt x="15" y="0"/>
                    <a:pt x="9" y="3"/>
                    <a:pt x="5" y="8"/>
                  </a:cubicBezTo>
                  <a:close/>
                  <a:moveTo>
                    <a:pt x="22" y="11"/>
                  </a:moveTo>
                  <a:cubicBezTo>
                    <a:pt x="28" y="11"/>
                    <a:pt x="30" y="17"/>
                    <a:pt x="30" y="32"/>
                  </a:cubicBezTo>
                  <a:cubicBezTo>
                    <a:pt x="30" y="47"/>
                    <a:pt x="28" y="53"/>
                    <a:pt x="22" y="53"/>
                  </a:cubicBezTo>
                  <a:cubicBezTo>
                    <a:pt x="16" y="53"/>
                    <a:pt x="14" y="47"/>
                    <a:pt x="14" y="33"/>
                  </a:cubicBezTo>
                  <a:cubicBezTo>
                    <a:pt x="14" y="18"/>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7" name="Freeform 231"/>
            <p:cNvSpPr>
              <a:spLocks/>
            </p:cNvSpPr>
            <p:nvPr/>
          </p:nvSpPr>
          <p:spPr bwMode="auto">
            <a:xfrm>
              <a:off x="6866546" y="2327601"/>
              <a:ext cx="80017" cy="186591"/>
            </a:xfrm>
            <a:custGeom>
              <a:avLst/>
              <a:gdLst>
                <a:gd name="T0" fmla="*/ 0 w 27"/>
                <a:gd name="T1" fmla="*/ 20 h 63"/>
                <a:gd name="T2" fmla="*/ 3 w 27"/>
                <a:gd name="T3" fmla="*/ 20 h 63"/>
                <a:gd name="T4" fmla="*/ 7 w 27"/>
                <a:gd name="T5" fmla="*/ 18 h 63"/>
                <a:gd name="T6" fmla="*/ 10 w 27"/>
                <a:gd name="T7" fmla="*/ 16 h 63"/>
                <a:gd name="T8" fmla="*/ 13 w 27"/>
                <a:gd name="T9" fmla="*/ 15 h 63"/>
                <a:gd name="T10" fmla="*/ 13 w 27"/>
                <a:gd name="T11" fmla="*/ 63 h 63"/>
                <a:gd name="T12" fmla="*/ 27 w 27"/>
                <a:gd name="T13" fmla="*/ 63 h 63"/>
                <a:gd name="T14" fmla="*/ 27 w 27"/>
                <a:gd name="T15" fmla="*/ 0 h 63"/>
                <a:gd name="T16" fmla="*/ 18 w 27"/>
                <a:gd name="T17" fmla="*/ 0 h 63"/>
                <a:gd name="T18" fmla="*/ 10 w 27"/>
                <a:gd name="T19" fmla="*/ 5 h 63"/>
                <a:gd name="T20" fmla="*/ 0 w 27"/>
                <a:gd name="T21" fmla="*/ 9 h 63"/>
                <a:gd name="T22" fmla="*/ 0 w 27"/>
                <a:gd name="T23"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0"/>
                  </a:move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5" y="2"/>
                    <a:pt x="13" y="4"/>
                    <a:pt x="10" y="5"/>
                  </a:cubicBezTo>
                  <a:cubicBezTo>
                    <a:pt x="6" y="6"/>
                    <a:pt x="3" y="8"/>
                    <a:pt x="0" y="9"/>
                  </a:cubicBezTo>
                  <a:cubicBezTo>
                    <a:pt x="0" y="9"/>
                    <a:pt x="0" y="9"/>
                    <a:pt x="0" y="2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8" name="Freeform 235"/>
            <p:cNvSpPr>
              <a:spLocks/>
            </p:cNvSpPr>
            <p:nvPr/>
          </p:nvSpPr>
          <p:spPr bwMode="auto">
            <a:xfrm>
              <a:off x="7457923" y="2327601"/>
              <a:ext cx="80017" cy="186591"/>
            </a:xfrm>
            <a:custGeom>
              <a:avLst/>
              <a:gdLst>
                <a:gd name="T0" fmla="*/ 8 w 27"/>
                <a:gd name="T1" fmla="*/ 18 h 63"/>
                <a:gd name="T2" fmla="*/ 10 w 27"/>
                <a:gd name="T3" fmla="*/ 16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5 h 63"/>
                <a:gd name="T16" fmla="*/ 0 w 27"/>
                <a:gd name="T17" fmla="*/ 9 h 63"/>
                <a:gd name="T18" fmla="*/ 0 w 27"/>
                <a:gd name="T19" fmla="*/ 20 h 63"/>
                <a:gd name="T20" fmla="*/ 4 w 27"/>
                <a:gd name="T21" fmla="*/ 20 h 63"/>
                <a:gd name="T22" fmla="*/ 8 w 27"/>
                <a:gd name="T2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8"/>
                  </a:moveTo>
                  <a:cubicBezTo>
                    <a:pt x="9" y="18"/>
                    <a:pt x="9" y="17"/>
                    <a:pt x="10" y="16"/>
                  </a:cubicBezTo>
                  <a:cubicBezTo>
                    <a:pt x="11" y="16"/>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89" name="Freeform 236"/>
            <p:cNvSpPr>
              <a:spLocks/>
            </p:cNvSpPr>
            <p:nvPr/>
          </p:nvSpPr>
          <p:spPr bwMode="auto">
            <a:xfrm>
              <a:off x="7582948" y="2362665"/>
              <a:ext cx="123776" cy="154032"/>
            </a:xfrm>
            <a:custGeom>
              <a:avLst/>
              <a:gdLst>
                <a:gd name="T0" fmla="*/ 22 w 42"/>
                <a:gd name="T1" fmla="*/ 52 h 52"/>
                <a:gd name="T2" fmla="*/ 38 w 42"/>
                <a:gd name="T3" fmla="*/ 44 h 52"/>
                <a:gd name="T4" fmla="*/ 42 w 42"/>
                <a:gd name="T5" fmla="*/ 36 h 52"/>
                <a:gd name="T6" fmla="*/ 30 w 42"/>
                <a:gd name="T7" fmla="*/ 24 h 52"/>
                <a:gd name="T8" fmla="*/ 22 w 42"/>
                <a:gd name="T9" fmla="*/ 41 h 52"/>
                <a:gd name="T10" fmla="*/ 13 w 42"/>
                <a:gd name="T11" fmla="*/ 21 h 52"/>
                <a:gd name="T12" fmla="*/ 14 w 42"/>
                <a:gd name="T13" fmla="*/ 10 h 52"/>
                <a:gd name="T14" fmla="*/ 3 w 42"/>
                <a:gd name="T15" fmla="*/ 0 h 52"/>
                <a:gd name="T16" fmla="*/ 0 w 42"/>
                <a:gd name="T17" fmla="*/ 21 h 52"/>
                <a:gd name="T18" fmla="*/ 22 w 4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2">
                  <a:moveTo>
                    <a:pt x="22" y="52"/>
                  </a:moveTo>
                  <a:cubicBezTo>
                    <a:pt x="29" y="52"/>
                    <a:pt x="35" y="49"/>
                    <a:pt x="38" y="44"/>
                  </a:cubicBezTo>
                  <a:cubicBezTo>
                    <a:pt x="40" y="42"/>
                    <a:pt x="41" y="39"/>
                    <a:pt x="42" y="36"/>
                  </a:cubicBezTo>
                  <a:cubicBezTo>
                    <a:pt x="38" y="32"/>
                    <a:pt x="34" y="28"/>
                    <a:pt x="30" y="24"/>
                  </a:cubicBezTo>
                  <a:cubicBezTo>
                    <a:pt x="29" y="36"/>
                    <a:pt x="27" y="41"/>
                    <a:pt x="22" y="41"/>
                  </a:cubicBezTo>
                  <a:cubicBezTo>
                    <a:pt x="16" y="41"/>
                    <a:pt x="13" y="35"/>
                    <a:pt x="13" y="21"/>
                  </a:cubicBezTo>
                  <a:cubicBezTo>
                    <a:pt x="13" y="16"/>
                    <a:pt x="14" y="13"/>
                    <a:pt x="14" y="10"/>
                  </a:cubicBezTo>
                  <a:cubicBezTo>
                    <a:pt x="11" y="6"/>
                    <a:pt x="7" y="3"/>
                    <a:pt x="3" y="0"/>
                  </a:cubicBezTo>
                  <a:cubicBezTo>
                    <a:pt x="1" y="5"/>
                    <a:pt x="0" y="12"/>
                    <a:pt x="0" y="21"/>
                  </a:cubicBezTo>
                  <a:cubicBezTo>
                    <a:pt x="0" y="42"/>
                    <a:pt x="7" y="52"/>
                    <a:pt x="22" y="5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0" name="Freeform 237"/>
            <p:cNvSpPr>
              <a:spLocks/>
            </p:cNvSpPr>
            <p:nvPr/>
          </p:nvSpPr>
          <p:spPr bwMode="auto">
            <a:xfrm>
              <a:off x="4987394" y="2286276"/>
              <a:ext cx="5002" cy="2504"/>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2" y="1"/>
                  </a:cubicBezTo>
                  <a:cubicBezTo>
                    <a:pt x="2" y="1"/>
                    <a:pt x="2" y="1"/>
                    <a:pt x="2"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1" name="Freeform 238"/>
            <p:cNvSpPr>
              <a:spLocks/>
            </p:cNvSpPr>
            <p:nvPr/>
          </p:nvSpPr>
          <p:spPr bwMode="auto">
            <a:xfrm>
              <a:off x="5039905" y="2164804"/>
              <a:ext cx="127528" cy="130238"/>
            </a:xfrm>
            <a:custGeom>
              <a:avLst/>
              <a:gdLst>
                <a:gd name="T0" fmla="*/ 21 w 43"/>
                <a:gd name="T1" fmla="*/ 44 h 44"/>
                <a:gd name="T2" fmla="*/ 37 w 43"/>
                <a:gd name="T3" fmla="*/ 36 h 44"/>
                <a:gd name="T4" fmla="*/ 43 w 43"/>
                <a:gd name="T5" fmla="*/ 12 h 44"/>
                <a:gd name="T6" fmla="*/ 42 w 43"/>
                <a:gd name="T7" fmla="*/ 0 h 44"/>
                <a:gd name="T8" fmla="*/ 29 w 43"/>
                <a:gd name="T9" fmla="*/ 8 h 44"/>
                <a:gd name="T10" fmla="*/ 29 w 43"/>
                <a:gd name="T11" fmla="*/ 12 h 44"/>
                <a:gd name="T12" fmla="*/ 21 w 43"/>
                <a:gd name="T13" fmla="*/ 33 h 44"/>
                <a:gd name="T14" fmla="*/ 13 w 43"/>
                <a:gd name="T15" fmla="*/ 19 h 44"/>
                <a:gd name="T16" fmla="*/ 0 w 43"/>
                <a:gd name="T17" fmla="*/ 28 h 44"/>
                <a:gd name="T18" fmla="*/ 21 w 43"/>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1" y="44"/>
                  </a:moveTo>
                  <a:cubicBezTo>
                    <a:pt x="28" y="44"/>
                    <a:pt x="33" y="41"/>
                    <a:pt x="37" y="36"/>
                  </a:cubicBezTo>
                  <a:cubicBezTo>
                    <a:pt x="41" y="30"/>
                    <a:pt x="43" y="22"/>
                    <a:pt x="43" y="12"/>
                  </a:cubicBezTo>
                  <a:cubicBezTo>
                    <a:pt x="43" y="7"/>
                    <a:pt x="42" y="3"/>
                    <a:pt x="42" y="0"/>
                  </a:cubicBezTo>
                  <a:cubicBezTo>
                    <a:pt x="37" y="2"/>
                    <a:pt x="33" y="5"/>
                    <a:pt x="29" y="8"/>
                  </a:cubicBezTo>
                  <a:cubicBezTo>
                    <a:pt x="29" y="9"/>
                    <a:pt x="29" y="10"/>
                    <a:pt x="29" y="12"/>
                  </a:cubicBezTo>
                  <a:cubicBezTo>
                    <a:pt x="29" y="26"/>
                    <a:pt x="26" y="33"/>
                    <a:pt x="21" y="33"/>
                  </a:cubicBezTo>
                  <a:cubicBezTo>
                    <a:pt x="16" y="33"/>
                    <a:pt x="13" y="28"/>
                    <a:pt x="13" y="19"/>
                  </a:cubicBezTo>
                  <a:cubicBezTo>
                    <a:pt x="8" y="22"/>
                    <a:pt x="4" y="25"/>
                    <a:pt x="0" y="28"/>
                  </a:cubicBezTo>
                  <a:cubicBezTo>
                    <a:pt x="3" y="39"/>
                    <a:pt x="10" y="44"/>
                    <a:pt x="21" y="4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2" name="Freeform 239"/>
            <p:cNvSpPr>
              <a:spLocks/>
            </p:cNvSpPr>
            <p:nvPr/>
          </p:nvSpPr>
          <p:spPr bwMode="auto">
            <a:xfrm>
              <a:off x="5211193" y="2102189"/>
              <a:ext cx="77516" cy="186591"/>
            </a:xfrm>
            <a:custGeom>
              <a:avLst/>
              <a:gdLst>
                <a:gd name="T0" fmla="*/ 3 w 26"/>
                <a:gd name="T1" fmla="*/ 21 h 63"/>
                <a:gd name="T2" fmla="*/ 7 w 26"/>
                <a:gd name="T3" fmla="*/ 19 h 63"/>
                <a:gd name="T4" fmla="*/ 10 w 26"/>
                <a:gd name="T5" fmla="*/ 17 h 63"/>
                <a:gd name="T6" fmla="*/ 12 w 26"/>
                <a:gd name="T7" fmla="*/ 15 h 63"/>
                <a:gd name="T8" fmla="*/ 12 w 26"/>
                <a:gd name="T9" fmla="*/ 63 h 63"/>
                <a:gd name="T10" fmla="*/ 26 w 26"/>
                <a:gd name="T11" fmla="*/ 63 h 63"/>
                <a:gd name="T12" fmla="*/ 26 w 26"/>
                <a:gd name="T13" fmla="*/ 0 h 63"/>
                <a:gd name="T14" fmla="*/ 18 w 26"/>
                <a:gd name="T15" fmla="*/ 0 h 63"/>
                <a:gd name="T16" fmla="*/ 10 w 26"/>
                <a:gd name="T17" fmla="*/ 6 h 63"/>
                <a:gd name="T18" fmla="*/ 5 w 26"/>
                <a:gd name="T19" fmla="*/ 7 h 63"/>
                <a:gd name="T20" fmla="*/ 0 w 26"/>
                <a:gd name="T21" fmla="*/ 11 h 63"/>
                <a:gd name="T22" fmla="*/ 0 w 26"/>
                <a:gd name="T23" fmla="*/ 21 h 63"/>
                <a:gd name="T24" fmla="*/ 3 w 26"/>
                <a:gd name="T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3">
                  <a:moveTo>
                    <a:pt x="3" y="21"/>
                  </a:move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ubicBezTo>
                    <a:pt x="26" y="63"/>
                    <a:pt x="26" y="63"/>
                    <a:pt x="26" y="0"/>
                  </a:cubicBezTo>
                  <a:cubicBezTo>
                    <a:pt x="18" y="0"/>
                    <a:pt x="18" y="0"/>
                    <a:pt x="18" y="0"/>
                  </a:cubicBezTo>
                  <a:cubicBezTo>
                    <a:pt x="15" y="2"/>
                    <a:pt x="12" y="4"/>
                    <a:pt x="10" y="6"/>
                  </a:cubicBezTo>
                  <a:cubicBezTo>
                    <a:pt x="8" y="6"/>
                    <a:pt x="7" y="7"/>
                    <a:pt x="5" y="7"/>
                  </a:cubicBezTo>
                  <a:cubicBezTo>
                    <a:pt x="3" y="9"/>
                    <a:pt x="1" y="10"/>
                    <a:pt x="0" y="11"/>
                  </a:cubicBezTo>
                  <a:cubicBezTo>
                    <a:pt x="0" y="12"/>
                    <a:pt x="0" y="15"/>
                    <a:pt x="0" y="21"/>
                  </a:cubicBezTo>
                  <a:cubicBezTo>
                    <a:pt x="0" y="21"/>
                    <a:pt x="1" y="21"/>
                    <a:pt x="3"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3" name="Freeform 240"/>
            <p:cNvSpPr>
              <a:spLocks noEditPoints="1"/>
            </p:cNvSpPr>
            <p:nvPr/>
          </p:nvSpPr>
          <p:spPr bwMode="auto">
            <a:xfrm>
              <a:off x="5333719" y="2102189"/>
              <a:ext cx="130027" cy="192852"/>
            </a:xfrm>
            <a:custGeom>
              <a:avLst/>
              <a:gdLst>
                <a:gd name="T0" fmla="*/ 22 w 44"/>
                <a:gd name="T1" fmla="*/ 65 h 65"/>
                <a:gd name="T2" fmla="*/ 38 w 44"/>
                <a:gd name="T3" fmla="*/ 57 h 65"/>
                <a:gd name="T4" fmla="*/ 44 w 44"/>
                <a:gd name="T5" fmla="*/ 33 h 65"/>
                <a:gd name="T6" fmla="*/ 23 w 44"/>
                <a:gd name="T7" fmla="*/ 0 h 65"/>
                <a:gd name="T8" fmla="*/ 5 w 44"/>
                <a:gd name="T9" fmla="*/ 9 h 65"/>
                <a:gd name="T10" fmla="*/ 0 w 44"/>
                <a:gd name="T11" fmla="*/ 34 h 65"/>
                <a:gd name="T12" fmla="*/ 22 w 44"/>
                <a:gd name="T13" fmla="*/ 65 h 65"/>
                <a:gd name="T14" fmla="*/ 22 w 44"/>
                <a:gd name="T15" fmla="*/ 11 h 65"/>
                <a:gd name="T16" fmla="*/ 30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8" y="57"/>
                  </a:cubicBezTo>
                  <a:cubicBezTo>
                    <a:pt x="42" y="51"/>
                    <a:pt x="44" y="43"/>
                    <a:pt x="44" y="33"/>
                  </a:cubicBezTo>
                  <a:cubicBezTo>
                    <a:pt x="44" y="11"/>
                    <a:pt x="38" y="0"/>
                    <a:pt x="23" y="0"/>
                  </a:cubicBezTo>
                  <a:cubicBezTo>
                    <a:pt x="15" y="0"/>
                    <a:pt x="9" y="3"/>
                    <a:pt x="5" y="9"/>
                  </a:cubicBezTo>
                  <a:cubicBezTo>
                    <a:pt x="2" y="15"/>
                    <a:pt x="0" y="23"/>
                    <a:pt x="0" y="34"/>
                  </a:cubicBezTo>
                  <a:cubicBezTo>
                    <a:pt x="0" y="55"/>
                    <a:pt x="7" y="65"/>
                    <a:pt x="22" y="65"/>
                  </a:cubicBezTo>
                  <a:close/>
                  <a:moveTo>
                    <a:pt x="22" y="11"/>
                  </a:moveTo>
                  <a:cubicBezTo>
                    <a:pt x="27" y="11"/>
                    <a:pt x="30" y="18"/>
                    <a:pt x="30" y="33"/>
                  </a:cubicBezTo>
                  <a:cubicBezTo>
                    <a:pt x="30" y="47"/>
                    <a:pt x="27" y="54"/>
                    <a:pt x="22" y="54"/>
                  </a:cubicBezTo>
                  <a:cubicBezTo>
                    <a:pt x="16" y="54"/>
                    <a:pt x="14" y="47"/>
                    <a:pt x="14" y="34"/>
                  </a:cubicBezTo>
                  <a:cubicBezTo>
                    <a:pt x="14" y="19"/>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4" name="Freeform 241"/>
            <p:cNvSpPr>
              <a:spLocks/>
            </p:cNvSpPr>
            <p:nvPr/>
          </p:nvSpPr>
          <p:spPr bwMode="auto">
            <a:xfrm>
              <a:off x="5507505" y="2102189"/>
              <a:ext cx="77516" cy="186591"/>
            </a:xfrm>
            <a:custGeom>
              <a:avLst/>
              <a:gdLst>
                <a:gd name="T0" fmla="*/ 7 w 26"/>
                <a:gd name="T1" fmla="*/ 19 h 63"/>
                <a:gd name="T2" fmla="*/ 10 w 26"/>
                <a:gd name="T3" fmla="*/ 17 h 63"/>
                <a:gd name="T4" fmla="*/ 13 w 26"/>
                <a:gd name="T5" fmla="*/ 15 h 63"/>
                <a:gd name="T6" fmla="*/ 13 w 26"/>
                <a:gd name="T7" fmla="*/ 63 h 63"/>
                <a:gd name="T8" fmla="*/ 26 w 26"/>
                <a:gd name="T9" fmla="*/ 63 h 63"/>
                <a:gd name="T10" fmla="*/ 26 w 26"/>
                <a:gd name="T11" fmla="*/ 0 h 63"/>
                <a:gd name="T12" fmla="*/ 18 w 26"/>
                <a:gd name="T13" fmla="*/ 0 h 63"/>
                <a:gd name="T14" fmla="*/ 10 w 26"/>
                <a:gd name="T15" fmla="*/ 6 h 63"/>
                <a:gd name="T16" fmla="*/ 0 w 26"/>
                <a:gd name="T17" fmla="*/ 10 h 63"/>
                <a:gd name="T18" fmla="*/ 0 w 26"/>
                <a:gd name="T19" fmla="*/ 21 h 63"/>
                <a:gd name="T20" fmla="*/ 3 w 26"/>
                <a:gd name="T21" fmla="*/ 21 h 63"/>
                <a:gd name="T22" fmla="*/ 7 w 26"/>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7" y="19"/>
                  </a:move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5" name="Freeform 242"/>
            <p:cNvSpPr>
              <a:spLocks/>
            </p:cNvSpPr>
            <p:nvPr/>
          </p:nvSpPr>
          <p:spPr bwMode="auto">
            <a:xfrm>
              <a:off x="5628781" y="2102189"/>
              <a:ext cx="80017" cy="186591"/>
            </a:xfrm>
            <a:custGeom>
              <a:avLst/>
              <a:gdLst>
                <a:gd name="T0" fmla="*/ 7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7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7"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6" y="7"/>
                    <a:pt x="4" y="9"/>
                    <a:pt x="0" y="10"/>
                  </a:cubicBezTo>
                  <a:cubicBezTo>
                    <a:pt x="0" y="10"/>
                    <a:pt x="0" y="10"/>
                    <a:pt x="0" y="21"/>
                  </a:cubicBezTo>
                  <a:cubicBezTo>
                    <a:pt x="1" y="21"/>
                    <a:pt x="2" y="21"/>
                    <a:pt x="4" y="21"/>
                  </a:cubicBezTo>
                  <a:cubicBezTo>
                    <a:pt x="5" y="20"/>
                    <a:pt x="6" y="20"/>
                    <a:pt x="7"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6" name="Freeform 243"/>
            <p:cNvSpPr>
              <a:spLocks/>
            </p:cNvSpPr>
            <p:nvPr/>
          </p:nvSpPr>
          <p:spPr bwMode="auto">
            <a:xfrm>
              <a:off x="5750057"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7" name="Freeform 247"/>
            <p:cNvSpPr>
              <a:spLocks/>
            </p:cNvSpPr>
            <p:nvPr/>
          </p:nvSpPr>
          <p:spPr bwMode="auto">
            <a:xfrm>
              <a:off x="6345185" y="2102189"/>
              <a:ext cx="77516" cy="186591"/>
            </a:xfrm>
            <a:custGeom>
              <a:avLst/>
              <a:gdLst>
                <a:gd name="T0" fmla="*/ 0 w 26"/>
                <a:gd name="T1" fmla="*/ 21 h 63"/>
                <a:gd name="T2" fmla="*/ 3 w 26"/>
                <a:gd name="T3" fmla="*/ 21 h 63"/>
                <a:gd name="T4" fmla="*/ 7 w 26"/>
                <a:gd name="T5" fmla="*/ 19 h 63"/>
                <a:gd name="T6" fmla="*/ 10 w 26"/>
                <a:gd name="T7" fmla="*/ 17 h 63"/>
                <a:gd name="T8" fmla="*/ 13 w 26"/>
                <a:gd name="T9" fmla="*/ 15 h 63"/>
                <a:gd name="T10" fmla="*/ 13 w 26"/>
                <a:gd name="T11" fmla="*/ 63 h 63"/>
                <a:gd name="T12" fmla="*/ 26 w 26"/>
                <a:gd name="T13" fmla="*/ 63 h 63"/>
                <a:gd name="T14" fmla="*/ 26 w 26"/>
                <a:gd name="T15" fmla="*/ 0 h 63"/>
                <a:gd name="T16" fmla="*/ 18 w 26"/>
                <a:gd name="T17" fmla="*/ 0 h 63"/>
                <a:gd name="T18" fmla="*/ 10 w 26"/>
                <a:gd name="T19" fmla="*/ 6 h 63"/>
                <a:gd name="T20" fmla="*/ 0 w 26"/>
                <a:gd name="T21" fmla="*/ 10 h 63"/>
                <a:gd name="T22" fmla="*/ 0 w 26"/>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0" y="21"/>
                  </a:moveTo>
                  <a:cubicBezTo>
                    <a:pt x="0" y="21"/>
                    <a:pt x="1"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8" name="Freeform 248"/>
            <p:cNvSpPr>
              <a:spLocks noEditPoints="1"/>
            </p:cNvSpPr>
            <p:nvPr/>
          </p:nvSpPr>
          <p:spPr bwMode="auto">
            <a:xfrm>
              <a:off x="6466460" y="2102189"/>
              <a:ext cx="131279" cy="192852"/>
            </a:xfrm>
            <a:custGeom>
              <a:avLst/>
              <a:gdLst>
                <a:gd name="T0" fmla="*/ 5 w 44"/>
                <a:gd name="T1" fmla="*/ 9 h 65"/>
                <a:gd name="T2" fmla="*/ 0 w 44"/>
                <a:gd name="T3" fmla="*/ 34 h 65"/>
                <a:gd name="T4" fmla="*/ 22 w 44"/>
                <a:gd name="T5" fmla="*/ 65 h 65"/>
                <a:gd name="T6" fmla="*/ 39 w 44"/>
                <a:gd name="T7" fmla="*/ 57 h 65"/>
                <a:gd name="T8" fmla="*/ 44 w 44"/>
                <a:gd name="T9" fmla="*/ 33 h 65"/>
                <a:gd name="T10" fmla="*/ 23 w 44"/>
                <a:gd name="T11" fmla="*/ 0 h 65"/>
                <a:gd name="T12" fmla="*/ 5 w 44"/>
                <a:gd name="T13" fmla="*/ 9 h 65"/>
                <a:gd name="T14" fmla="*/ 31 w 44"/>
                <a:gd name="T15" fmla="*/ 33 h 65"/>
                <a:gd name="T16" fmla="*/ 22 w 44"/>
                <a:gd name="T17" fmla="*/ 54 h 65"/>
                <a:gd name="T18" fmla="*/ 14 w 44"/>
                <a:gd name="T19" fmla="*/ 34 h 65"/>
                <a:gd name="T20" fmla="*/ 22 w 44"/>
                <a:gd name="T21" fmla="*/ 11 h 65"/>
                <a:gd name="T22" fmla="*/ 31 w 44"/>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5" y="9"/>
                  </a:moveTo>
                  <a:cubicBezTo>
                    <a:pt x="2" y="15"/>
                    <a:pt x="0" y="23"/>
                    <a:pt x="0" y="34"/>
                  </a:cubicBezTo>
                  <a:cubicBezTo>
                    <a:pt x="0" y="55"/>
                    <a:pt x="7" y="65"/>
                    <a:pt x="22" y="65"/>
                  </a:cubicBezTo>
                  <a:cubicBezTo>
                    <a:pt x="30" y="65"/>
                    <a:pt x="35" y="62"/>
                    <a:pt x="39" y="57"/>
                  </a:cubicBezTo>
                  <a:cubicBezTo>
                    <a:pt x="43" y="51"/>
                    <a:pt x="44" y="43"/>
                    <a:pt x="44" y="33"/>
                  </a:cubicBezTo>
                  <a:cubicBezTo>
                    <a:pt x="44" y="11"/>
                    <a:pt x="38" y="0"/>
                    <a:pt x="23" y="0"/>
                  </a:cubicBezTo>
                  <a:cubicBezTo>
                    <a:pt x="16" y="0"/>
                    <a:pt x="9" y="3"/>
                    <a:pt x="5" y="9"/>
                  </a:cubicBezTo>
                  <a:close/>
                  <a:moveTo>
                    <a:pt x="31" y="33"/>
                  </a:moveTo>
                  <a:cubicBezTo>
                    <a:pt x="31" y="47"/>
                    <a:pt x="28" y="54"/>
                    <a:pt x="22" y="54"/>
                  </a:cubicBezTo>
                  <a:cubicBezTo>
                    <a:pt x="17" y="54"/>
                    <a:pt x="14" y="47"/>
                    <a:pt x="14" y="34"/>
                  </a:cubicBezTo>
                  <a:cubicBezTo>
                    <a:pt x="14" y="19"/>
                    <a:pt x="17" y="11"/>
                    <a:pt x="22" y="11"/>
                  </a:cubicBezTo>
                  <a:cubicBezTo>
                    <a:pt x="28" y="11"/>
                    <a:pt x="31" y="18"/>
                    <a:pt x="31"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899" name="Freeform 251"/>
            <p:cNvSpPr>
              <a:spLocks noEditPoints="1"/>
            </p:cNvSpPr>
            <p:nvPr/>
          </p:nvSpPr>
          <p:spPr bwMode="auto">
            <a:xfrm>
              <a:off x="6937812" y="2102189"/>
              <a:ext cx="130027" cy="192852"/>
            </a:xfrm>
            <a:custGeom>
              <a:avLst/>
              <a:gdLst>
                <a:gd name="T0" fmla="*/ 22 w 44"/>
                <a:gd name="T1" fmla="*/ 65 h 65"/>
                <a:gd name="T2" fmla="*/ 39 w 44"/>
                <a:gd name="T3" fmla="*/ 57 h 65"/>
                <a:gd name="T4" fmla="*/ 44 w 44"/>
                <a:gd name="T5" fmla="*/ 33 h 65"/>
                <a:gd name="T6" fmla="*/ 23 w 44"/>
                <a:gd name="T7" fmla="*/ 0 h 65"/>
                <a:gd name="T8" fmla="*/ 6 w 44"/>
                <a:gd name="T9" fmla="*/ 9 h 65"/>
                <a:gd name="T10" fmla="*/ 0 w 44"/>
                <a:gd name="T11" fmla="*/ 34 h 65"/>
                <a:gd name="T12" fmla="*/ 22 w 44"/>
                <a:gd name="T13" fmla="*/ 65 h 65"/>
                <a:gd name="T14" fmla="*/ 22 w 44"/>
                <a:gd name="T15" fmla="*/ 11 h 65"/>
                <a:gd name="T16" fmla="*/ 31 w 44"/>
                <a:gd name="T17" fmla="*/ 33 h 65"/>
                <a:gd name="T18" fmla="*/ 22 w 44"/>
                <a:gd name="T19" fmla="*/ 54 h 65"/>
                <a:gd name="T20" fmla="*/ 14 w 44"/>
                <a:gd name="T21" fmla="*/ 34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7"/>
                  </a:cubicBezTo>
                  <a:cubicBezTo>
                    <a:pt x="43" y="51"/>
                    <a:pt x="44" y="43"/>
                    <a:pt x="44" y="33"/>
                  </a:cubicBezTo>
                  <a:cubicBezTo>
                    <a:pt x="44" y="11"/>
                    <a:pt x="38" y="0"/>
                    <a:pt x="23" y="0"/>
                  </a:cubicBezTo>
                  <a:cubicBezTo>
                    <a:pt x="16" y="0"/>
                    <a:pt x="9" y="3"/>
                    <a:pt x="6" y="9"/>
                  </a:cubicBezTo>
                  <a:cubicBezTo>
                    <a:pt x="2" y="15"/>
                    <a:pt x="0" y="23"/>
                    <a:pt x="0" y="34"/>
                  </a:cubicBezTo>
                  <a:cubicBezTo>
                    <a:pt x="0" y="55"/>
                    <a:pt x="8" y="65"/>
                    <a:pt x="22" y="65"/>
                  </a:cubicBezTo>
                  <a:close/>
                  <a:moveTo>
                    <a:pt x="22" y="11"/>
                  </a:moveTo>
                  <a:cubicBezTo>
                    <a:pt x="28" y="11"/>
                    <a:pt x="31" y="18"/>
                    <a:pt x="31" y="33"/>
                  </a:cubicBezTo>
                  <a:cubicBezTo>
                    <a:pt x="31" y="47"/>
                    <a:pt x="28" y="54"/>
                    <a:pt x="22" y="54"/>
                  </a:cubicBezTo>
                  <a:cubicBezTo>
                    <a:pt x="17" y="54"/>
                    <a:pt x="14" y="47"/>
                    <a:pt x="14" y="34"/>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0" name="Freeform 252"/>
            <p:cNvSpPr>
              <a:spLocks/>
            </p:cNvSpPr>
            <p:nvPr/>
          </p:nvSpPr>
          <p:spPr bwMode="auto">
            <a:xfrm>
              <a:off x="7111598"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8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1" name="Freeform 253"/>
            <p:cNvSpPr>
              <a:spLocks/>
            </p:cNvSpPr>
            <p:nvPr/>
          </p:nvSpPr>
          <p:spPr bwMode="auto">
            <a:xfrm>
              <a:off x="7236625" y="2119722"/>
              <a:ext cx="130027" cy="175321"/>
            </a:xfrm>
            <a:custGeom>
              <a:avLst/>
              <a:gdLst>
                <a:gd name="T0" fmla="*/ 5 w 44"/>
                <a:gd name="T1" fmla="*/ 3 h 59"/>
                <a:gd name="T2" fmla="*/ 0 w 44"/>
                <a:gd name="T3" fmla="*/ 28 h 59"/>
                <a:gd name="T4" fmla="*/ 22 w 44"/>
                <a:gd name="T5" fmla="*/ 59 h 59"/>
                <a:gd name="T6" fmla="*/ 38 w 44"/>
                <a:gd name="T7" fmla="*/ 51 h 59"/>
                <a:gd name="T8" fmla="*/ 44 w 44"/>
                <a:gd name="T9" fmla="*/ 27 h 59"/>
                <a:gd name="T10" fmla="*/ 44 w 44"/>
                <a:gd name="T11" fmla="*/ 22 h 59"/>
                <a:gd name="T12" fmla="*/ 28 w 44"/>
                <a:gd name="T13" fmla="*/ 13 h 59"/>
                <a:gd name="T14" fmla="*/ 30 w 44"/>
                <a:gd name="T15" fmla="*/ 27 h 59"/>
                <a:gd name="T16" fmla="*/ 22 w 44"/>
                <a:gd name="T17" fmla="*/ 48 h 59"/>
                <a:gd name="T18" fmla="*/ 13 w 44"/>
                <a:gd name="T19" fmla="*/ 28 h 59"/>
                <a:gd name="T20" fmla="*/ 18 w 44"/>
                <a:gd name="T21" fmla="*/ 7 h 59"/>
                <a:gd name="T22" fmla="*/ 7 w 44"/>
                <a:gd name="T23" fmla="*/ 0 h 59"/>
                <a:gd name="T24" fmla="*/ 5 w 44"/>
                <a:gd name="T25"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9">
                  <a:moveTo>
                    <a:pt x="5" y="3"/>
                  </a:moveTo>
                  <a:cubicBezTo>
                    <a:pt x="1" y="9"/>
                    <a:pt x="0" y="17"/>
                    <a:pt x="0" y="28"/>
                  </a:cubicBezTo>
                  <a:cubicBezTo>
                    <a:pt x="0" y="49"/>
                    <a:pt x="7" y="59"/>
                    <a:pt x="22" y="59"/>
                  </a:cubicBezTo>
                  <a:cubicBezTo>
                    <a:pt x="29" y="59"/>
                    <a:pt x="34" y="56"/>
                    <a:pt x="38" y="51"/>
                  </a:cubicBezTo>
                  <a:cubicBezTo>
                    <a:pt x="42" y="45"/>
                    <a:pt x="44" y="37"/>
                    <a:pt x="44" y="27"/>
                  </a:cubicBezTo>
                  <a:cubicBezTo>
                    <a:pt x="44" y="25"/>
                    <a:pt x="44" y="24"/>
                    <a:pt x="44" y="22"/>
                  </a:cubicBezTo>
                  <a:cubicBezTo>
                    <a:pt x="39" y="19"/>
                    <a:pt x="34" y="16"/>
                    <a:pt x="28" y="13"/>
                  </a:cubicBezTo>
                  <a:cubicBezTo>
                    <a:pt x="29" y="16"/>
                    <a:pt x="30" y="21"/>
                    <a:pt x="30" y="27"/>
                  </a:cubicBezTo>
                  <a:cubicBezTo>
                    <a:pt x="30" y="41"/>
                    <a:pt x="27" y="48"/>
                    <a:pt x="22" y="48"/>
                  </a:cubicBezTo>
                  <a:cubicBezTo>
                    <a:pt x="16" y="48"/>
                    <a:pt x="13" y="41"/>
                    <a:pt x="13" y="28"/>
                  </a:cubicBezTo>
                  <a:cubicBezTo>
                    <a:pt x="13" y="16"/>
                    <a:pt x="15" y="9"/>
                    <a:pt x="18" y="7"/>
                  </a:cubicBezTo>
                  <a:cubicBezTo>
                    <a:pt x="15" y="4"/>
                    <a:pt x="11" y="2"/>
                    <a:pt x="7" y="0"/>
                  </a:cubicBezTo>
                  <a:cubicBezTo>
                    <a:pt x="7" y="1"/>
                    <a:pt x="6" y="2"/>
                    <a:pt x="5" y="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2" name="Freeform 254"/>
            <p:cNvSpPr>
              <a:spLocks/>
            </p:cNvSpPr>
            <p:nvPr/>
          </p:nvSpPr>
          <p:spPr bwMode="auto">
            <a:xfrm>
              <a:off x="7411662" y="2217400"/>
              <a:ext cx="93770" cy="77641"/>
            </a:xfrm>
            <a:custGeom>
              <a:avLst/>
              <a:gdLst>
                <a:gd name="T0" fmla="*/ 22 w 32"/>
                <a:gd name="T1" fmla="*/ 26 h 26"/>
                <a:gd name="T2" fmla="*/ 32 w 32"/>
                <a:gd name="T3" fmla="*/ 24 h 26"/>
                <a:gd name="T4" fmla="*/ 20 w 32"/>
                <a:gd name="T5" fmla="*/ 14 h 26"/>
                <a:gd name="T6" fmla="*/ 17 w 32"/>
                <a:gd name="T7" fmla="*/ 12 h 26"/>
                <a:gd name="T8" fmla="*/ 0 w 32"/>
                <a:gd name="T9" fmla="*/ 0 h 26"/>
                <a:gd name="T10" fmla="*/ 22 w 32"/>
                <a:gd name="T11" fmla="*/ 26 h 26"/>
              </a:gdLst>
              <a:ahLst/>
              <a:cxnLst>
                <a:cxn ang="0">
                  <a:pos x="T0" y="T1"/>
                </a:cxn>
                <a:cxn ang="0">
                  <a:pos x="T2" y="T3"/>
                </a:cxn>
                <a:cxn ang="0">
                  <a:pos x="T4" y="T5"/>
                </a:cxn>
                <a:cxn ang="0">
                  <a:pos x="T6" y="T7"/>
                </a:cxn>
                <a:cxn ang="0">
                  <a:pos x="T8" y="T9"/>
                </a:cxn>
                <a:cxn ang="0">
                  <a:pos x="T10" y="T11"/>
                </a:cxn>
              </a:cxnLst>
              <a:rect l="0" t="0" r="r" b="b"/>
              <a:pathLst>
                <a:path w="32" h="26">
                  <a:moveTo>
                    <a:pt x="22" y="26"/>
                  </a:moveTo>
                  <a:cubicBezTo>
                    <a:pt x="25" y="26"/>
                    <a:pt x="29" y="25"/>
                    <a:pt x="32" y="24"/>
                  </a:cubicBezTo>
                  <a:cubicBezTo>
                    <a:pt x="28" y="20"/>
                    <a:pt x="24" y="17"/>
                    <a:pt x="20" y="14"/>
                  </a:cubicBezTo>
                  <a:cubicBezTo>
                    <a:pt x="19" y="14"/>
                    <a:pt x="17" y="13"/>
                    <a:pt x="17" y="12"/>
                  </a:cubicBezTo>
                  <a:cubicBezTo>
                    <a:pt x="11" y="8"/>
                    <a:pt x="5" y="4"/>
                    <a:pt x="0" y="0"/>
                  </a:cubicBezTo>
                  <a:cubicBezTo>
                    <a:pt x="1" y="17"/>
                    <a:pt x="8" y="26"/>
                    <a:pt x="22" y="2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3" name="Freeform 255"/>
            <p:cNvSpPr>
              <a:spLocks/>
            </p:cNvSpPr>
            <p:nvPr/>
          </p:nvSpPr>
          <p:spPr bwMode="auto">
            <a:xfrm>
              <a:off x="5442492" y="1998250"/>
              <a:ext cx="41259" cy="65119"/>
            </a:xfrm>
            <a:custGeom>
              <a:avLst/>
              <a:gdLst>
                <a:gd name="T0" fmla="*/ 14 w 14"/>
                <a:gd name="T1" fmla="*/ 22 h 22"/>
                <a:gd name="T2" fmla="*/ 14 w 14"/>
                <a:gd name="T3" fmla="*/ 0 h 22"/>
                <a:gd name="T4" fmla="*/ 0 w 14"/>
                <a:gd name="T5" fmla="*/ 6 h 22"/>
                <a:gd name="T6" fmla="*/ 0 w 14"/>
                <a:gd name="T7" fmla="*/ 22 h 22"/>
                <a:gd name="T8" fmla="*/ 14 w 14"/>
                <a:gd name="T9" fmla="*/ 22 h 22"/>
              </a:gdLst>
              <a:ahLst/>
              <a:cxnLst>
                <a:cxn ang="0">
                  <a:pos x="T0" y="T1"/>
                </a:cxn>
                <a:cxn ang="0">
                  <a:pos x="T2" y="T3"/>
                </a:cxn>
                <a:cxn ang="0">
                  <a:pos x="T4" y="T5"/>
                </a:cxn>
                <a:cxn ang="0">
                  <a:pos x="T6" y="T7"/>
                </a:cxn>
                <a:cxn ang="0">
                  <a:pos x="T8" y="T9"/>
                </a:cxn>
              </a:cxnLst>
              <a:rect l="0" t="0" r="r" b="b"/>
              <a:pathLst>
                <a:path w="14" h="22">
                  <a:moveTo>
                    <a:pt x="14" y="22"/>
                  </a:moveTo>
                  <a:cubicBezTo>
                    <a:pt x="14" y="22"/>
                    <a:pt x="14" y="22"/>
                    <a:pt x="14" y="0"/>
                  </a:cubicBezTo>
                  <a:cubicBezTo>
                    <a:pt x="9" y="2"/>
                    <a:pt x="5" y="4"/>
                    <a:pt x="0" y="6"/>
                  </a:cubicBezTo>
                  <a:cubicBezTo>
                    <a:pt x="0" y="11"/>
                    <a:pt x="0" y="16"/>
                    <a:pt x="0" y="22"/>
                  </a:cubicBezTo>
                  <a:cubicBezTo>
                    <a:pt x="0" y="22"/>
                    <a:pt x="0" y="22"/>
                    <a:pt x="14" y="2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4" name="Freeform 256"/>
            <p:cNvSpPr>
              <a:spLocks/>
            </p:cNvSpPr>
            <p:nvPr/>
          </p:nvSpPr>
          <p:spPr bwMode="auto">
            <a:xfrm>
              <a:off x="5528761" y="1935635"/>
              <a:ext cx="130027" cy="133995"/>
            </a:xfrm>
            <a:custGeom>
              <a:avLst/>
              <a:gdLst>
                <a:gd name="T0" fmla="*/ 22 w 44"/>
                <a:gd name="T1" fmla="*/ 45 h 45"/>
                <a:gd name="T2" fmla="*/ 38 w 44"/>
                <a:gd name="T3" fmla="*/ 37 h 45"/>
                <a:gd name="T4" fmla="*/ 44 w 44"/>
                <a:gd name="T5" fmla="*/ 13 h 45"/>
                <a:gd name="T6" fmla="*/ 43 w 44"/>
                <a:gd name="T7" fmla="*/ 0 h 45"/>
                <a:gd name="T8" fmla="*/ 30 w 44"/>
                <a:gd name="T9" fmla="*/ 5 h 45"/>
                <a:gd name="T10" fmla="*/ 30 w 44"/>
                <a:gd name="T11" fmla="*/ 13 h 45"/>
                <a:gd name="T12" fmla="*/ 22 w 44"/>
                <a:gd name="T13" fmla="*/ 34 h 45"/>
                <a:gd name="T14" fmla="*/ 13 w 44"/>
                <a:gd name="T15" fmla="*/ 14 h 45"/>
                <a:gd name="T16" fmla="*/ 13 w 44"/>
                <a:gd name="T17" fmla="*/ 10 h 45"/>
                <a:gd name="T18" fmla="*/ 0 w 44"/>
                <a:gd name="T19" fmla="*/ 15 h 45"/>
                <a:gd name="T20" fmla="*/ 22 w 44"/>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22" y="45"/>
                  </a:moveTo>
                  <a:cubicBezTo>
                    <a:pt x="29" y="45"/>
                    <a:pt x="35" y="42"/>
                    <a:pt x="38" y="37"/>
                  </a:cubicBezTo>
                  <a:cubicBezTo>
                    <a:pt x="42" y="31"/>
                    <a:pt x="44" y="23"/>
                    <a:pt x="44" y="13"/>
                  </a:cubicBezTo>
                  <a:cubicBezTo>
                    <a:pt x="44" y="8"/>
                    <a:pt x="43" y="4"/>
                    <a:pt x="43" y="0"/>
                  </a:cubicBezTo>
                  <a:cubicBezTo>
                    <a:pt x="38" y="2"/>
                    <a:pt x="34" y="3"/>
                    <a:pt x="30" y="5"/>
                  </a:cubicBezTo>
                  <a:cubicBezTo>
                    <a:pt x="30" y="7"/>
                    <a:pt x="30" y="10"/>
                    <a:pt x="30" y="13"/>
                  </a:cubicBezTo>
                  <a:cubicBezTo>
                    <a:pt x="30" y="27"/>
                    <a:pt x="27" y="34"/>
                    <a:pt x="22" y="34"/>
                  </a:cubicBezTo>
                  <a:cubicBezTo>
                    <a:pt x="16" y="34"/>
                    <a:pt x="13" y="27"/>
                    <a:pt x="13" y="14"/>
                  </a:cubicBezTo>
                  <a:cubicBezTo>
                    <a:pt x="13" y="12"/>
                    <a:pt x="13" y="11"/>
                    <a:pt x="13" y="10"/>
                  </a:cubicBezTo>
                  <a:cubicBezTo>
                    <a:pt x="9" y="12"/>
                    <a:pt x="4" y="13"/>
                    <a:pt x="0" y="15"/>
                  </a:cubicBezTo>
                  <a:cubicBezTo>
                    <a:pt x="0" y="35"/>
                    <a:pt x="7" y="45"/>
                    <a:pt x="22" y="4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5" name="Freeform 257"/>
            <p:cNvSpPr>
              <a:spLocks noEditPoints="1"/>
            </p:cNvSpPr>
            <p:nvPr/>
          </p:nvSpPr>
          <p:spPr bwMode="auto">
            <a:xfrm>
              <a:off x="5700047" y="1894309"/>
              <a:ext cx="133778" cy="175321"/>
            </a:xfrm>
            <a:custGeom>
              <a:avLst/>
              <a:gdLst>
                <a:gd name="T0" fmla="*/ 22 w 45"/>
                <a:gd name="T1" fmla="*/ 59 h 59"/>
                <a:gd name="T2" fmla="*/ 39 w 45"/>
                <a:gd name="T3" fmla="*/ 51 h 59"/>
                <a:gd name="T4" fmla="*/ 45 w 45"/>
                <a:gd name="T5" fmla="*/ 27 h 59"/>
                <a:gd name="T6" fmla="*/ 38 w 45"/>
                <a:gd name="T7" fmla="*/ 0 h 59"/>
                <a:gd name="T8" fmla="*/ 3 w 45"/>
                <a:gd name="T9" fmla="*/ 9 h 59"/>
                <a:gd name="T10" fmla="*/ 0 w 45"/>
                <a:gd name="T11" fmla="*/ 28 h 59"/>
                <a:gd name="T12" fmla="*/ 22 w 45"/>
                <a:gd name="T13" fmla="*/ 59 h 59"/>
                <a:gd name="T14" fmla="*/ 22 w 45"/>
                <a:gd name="T15" fmla="*/ 6 h 59"/>
                <a:gd name="T16" fmla="*/ 31 w 45"/>
                <a:gd name="T17" fmla="*/ 27 h 59"/>
                <a:gd name="T18" fmla="*/ 22 w 45"/>
                <a:gd name="T19" fmla="*/ 48 h 59"/>
                <a:gd name="T20" fmla="*/ 14 w 45"/>
                <a:gd name="T21" fmla="*/ 28 h 59"/>
                <a:gd name="T22" fmla="*/ 22 w 45"/>
                <a:gd name="T23"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9">
                  <a:moveTo>
                    <a:pt x="22" y="59"/>
                  </a:moveTo>
                  <a:cubicBezTo>
                    <a:pt x="30" y="59"/>
                    <a:pt x="35" y="56"/>
                    <a:pt x="39" y="51"/>
                  </a:cubicBezTo>
                  <a:cubicBezTo>
                    <a:pt x="43" y="45"/>
                    <a:pt x="45" y="37"/>
                    <a:pt x="45" y="27"/>
                  </a:cubicBezTo>
                  <a:cubicBezTo>
                    <a:pt x="45" y="15"/>
                    <a:pt x="43" y="6"/>
                    <a:pt x="38" y="0"/>
                  </a:cubicBezTo>
                  <a:cubicBezTo>
                    <a:pt x="26" y="3"/>
                    <a:pt x="14" y="6"/>
                    <a:pt x="3" y="9"/>
                  </a:cubicBezTo>
                  <a:cubicBezTo>
                    <a:pt x="1" y="14"/>
                    <a:pt x="0" y="20"/>
                    <a:pt x="0" y="28"/>
                  </a:cubicBezTo>
                  <a:cubicBezTo>
                    <a:pt x="0" y="49"/>
                    <a:pt x="8" y="59"/>
                    <a:pt x="22" y="59"/>
                  </a:cubicBezTo>
                  <a:close/>
                  <a:moveTo>
                    <a:pt x="22" y="6"/>
                  </a:moveTo>
                  <a:cubicBezTo>
                    <a:pt x="28" y="6"/>
                    <a:pt x="31" y="12"/>
                    <a:pt x="31" y="27"/>
                  </a:cubicBezTo>
                  <a:cubicBezTo>
                    <a:pt x="31" y="41"/>
                    <a:pt x="28" y="48"/>
                    <a:pt x="22" y="48"/>
                  </a:cubicBezTo>
                  <a:cubicBezTo>
                    <a:pt x="17" y="48"/>
                    <a:pt x="14" y="41"/>
                    <a:pt x="14" y="28"/>
                  </a:cubicBezTo>
                  <a:cubicBezTo>
                    <a:pt x="14" y="13"/>
                    <a:pt x="17" y="6"/>
                    <a:pt x="22"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6" name="Freeform 262"/>
            <p:cNvSpPr>
              <a:spLocks noEditPoints="1"/>
            </p:cNvSpPr>
            <p:nvPr/>
          </p:nvSpPr>
          <p:spPr bwMode="auto">
            <a:xfrm>
              <a:off x="6416450"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7" name="Freeform 263"/>
            <p:cNvSpPr>
              <a:spLocks/>
            </p:cNvSpPr>
            <p:nvPr/>
          </p:nvSpPr>
          <p:spPr bwMode="auto">
            <a:xfrm>
              <a:off x="6591487" y="1885543"/>
              <a:ext cx="76267" cy="177824"/>
            </a:xfrm>
            <a:custGeom>
              <a:avLst/>
              <a:gdLst>
                <a:gd name="T0" fmla="*/ 0 w 26"/>
                <a:gd name="T1" fmla="*/ 7 h 60"/>
                <a:gd name="T2" fmla="*/ 0 w 26"/>
                <a:gd name="T3" fmla="*/ 18 h 60"/>
                <a:gd name="T4" fmla="*/ 4 w 26"/>
                <a:gd name="T5" fmla="*/ 18 h 60"/>
                <a:gd name="T6" fmla="*/ 7 w 26"/>
                <a:gd name="T7" fmla="*/ 16 h 60"/>
                <a:gd name="T8" fmla="*/ 10 w 26"/>
                <a:gd name="T9" fmla="*/ 14 h 60"/>
                <a:gd name="T10" fmla="*/ 13 w 26"/>
                <a:gd name="T11" fmla="*/ 12 h 60"/>
                <a:gd name="T12" fmla="*/ 13 w 26"/>
                <a:gd name="T13" fmla="*/ 60 h 60"/>
                <a:gd name="T14" fmla="*/ 26 w 26"/>
                <a:gd name="T15" fmla="*/ 60 h 60"/>
                <a:gd name="T16" fmla="*/ 26 w 26"/>
                <a:gd name="T17" fmla="*/ 3 h 60"/>
                <a:gd name="T18" fmla="*/ 14 w 26"/>
                <a:gd name="T19" fmla="*/ 0 h 60"/>
                <a:gd name="T20" fmla="*/ 10 w 26"/>
                <a:gd name="T21" fmla="*/ 3 h 60"/>
                <a:gd name="T22" fmla="*/ 0 w 26"/>
                <a:gd name="T23" fmla="*/ 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0">
                  <a:moveTo>
                    <a:pt x="0" y="7"/>
                  </a:moveTo>
                  <a:cubicBezTo>
                    <a:pt x="0" y="7"/>
                    <a:pt x="0" y="7"/>
                    <a:pt x="0" y="18"/>
                  </a:cubicBezTo>
                  <a:cubicBezTo>
                    <a:pt x="1" y="18"/>
                    <a:pt x="2" y="18"/>
                    <a:pt x="4" y="18"/>
                  </a:cubicBezTo>
                  <a:cubicBezTo>
                    <a:pt x="5" y="17"/>
                    <a:pt x="6" y="17"/>
                    <a:pt x="7" y="16"/>
                  </a:cubicBezTo>
                  <a:cubicBezTo>
                    <a:pt x="8" y="16"/>
                    <a:pt x="9" y="15"/>
                    <a:pt x="10" y="14"/>
                  </a:cubicBezTo>
                  <a:cubicBezTo>
                    <a:pt x="11" y="14"/>
                    <a:pt x="12" y="13"/>
                    <a:pt x="13" y="12"/>
                  </a:cubicBezTo>
                  <a:cubicBezTo>
                    <a:pt x="13" y="12"/>
                    <a:pt x="13" y="12"/>
                    <a:pt x="13" y="60"/>
                  </a:cubicBezTo>
                  <a:cubicBezTo>
                    <a:pt x="13" y="60"/>
                    <a:pt x="13" y="60"/>
                    <a:pt x="26" y="60"/>
                  </a:cubicBezTo>
                  <a:cubicBezTo>
                    <a:pt x="26" y="60"/>
                    <a:pt x="26" y="60"/>
                    <a:pt x="26" y="3"/>
                  </a:cubicBezTo>
                  <a:cubicBezTo>
                    <a:pt x="22" y="2"/>
                    <a:pt x="18" y="1"/>
                    <a:pt x="14" y="0"/>
                  </a:cubicBezTo>
                  <a:cubicBezTo>
                    <a:pt x="13" y="1"/>
                    <a:pt x="12" y="2"/>
                    <a:pt x="10" y="3"/>
                  </a:cubicBezTo>
                  <a:cubicBezTo>
                    <a:pt x="6" y="4"/>
                    <a:pt x="4" y="6"/>
                    <a:pt x="0" y="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8" name="Freeform 265"/>
            <p:cNvSpPr>
              <a:spLocks/>
            </p:cNvSpPr>
            <p:nvPr/>
          </p:nvSpPr>
          <p:spPr bwMode="auto">
            <a:xfrm>
              <a:off x="6836539" y="1935635"/>
              <a:ext cx="8753" cy="3757"/>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1" y="0"/>
                    <a:pt x="0" y="0"/>
                  </a:cubicBezTo>
                  <a:cubicBezTo>
                    <a:pt x="0" y="0"/>
                    <a:pt x="0" y="1"/>
                    <a:pt x="0" y="1"/>
                  </a:cubicBezTo>
                  <a:cubicBezTo>
                    <a:pt x="0" y="1"/>
                    <a:pt x="1" y="1"/>
                    <a:pt x="3" y="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09" name="Freeform 266"/>
            <p:cNvSpPr>
              <a:spLocks/>
            </p:cNvSpPr>
            <p:nvPr/>
          </p:nvSpPr>
          <p:spPr bwMode="auto">
            <a:xfrm>
              <a:off x="6872797" y="1948158"/>
              <a:ext cx="41259" cy="115211"/>
            </a:xfrm>
            <a:custGeom>
              <a:avLst/>
              <a:gdLst>
                <a:gd name="T0" fmla="*/ 14 w 14"/>
                <a:gd name="T1" fmla="*/ 39 h 39"/>
                <a:gd name="T2" fmla="*/ 14 w 14"/>
                <a:gd name="T3" fmla="*/ 5 h 39"/>
                <a:gd name="T4" fmla="*/ 0 w 14"/>
                <a:gd name="T5" fmla="*/ 0 h 39"/>
                <a:gd name="T6" fmla="*/ 0 w 14"/>
                <a:gd name="T7" fmla="*/ 39 h 39"/>
                <a:gd name="T8" fmla="*/ 14 w 14"/>
                <a:gd name="T9" fmla="*/ 39 h 39"/>
              </a:gdLst>
              <a:ahLst/>
              <a:cxnLst>
                <a:cxn ang="0">
                  <a:pos x="T0" y="T1"/>
                </a:cxn>
                <a:cxn ang="0">
                  <a:pos x="T2" y="T3"/>
                </a:cxn>
                <a:cxn ang="0">
                  <a:pos x="T4" y="T5"/>
                </a:cxn>
                <a:cxn ang="0">
                  <a:pos x="T6" y="T7"/>
                </a:cxn>
                <a:cxn ang="0">
                  <a:pos x="T8" y="T9"/>
                </a:cxn>
              </a:cxnLst>
              <a:rect l="0" t="0" r="r" b="b"/>
              <a:pathLst>
                <a:path w="14" h="39">
                  <a:moveTo>
                    <a:pt x="14" y="39"/>
                  </a:moveTo>
                  <a:cubicBezTo>
                    <a:pt x="14" y="39"/>
                    <a:pt x="14" y="39"/>
                    <a:pt x="14" y="5"/>
                  </a:cubicBezTo>
                  <a:cubicBezTo>
                    <a:pt x="10" y="3"/>
                    <a:pt x="5" y="2"/>
                    <a:pt x="0" y="0"/>
                  </a:cubicBezTo>
                  <a:cubicBezTo>
                    <a:pt x="0" y="7"/>
                    <a:pt x="0" y="19"/>
                    <a:pt x="0" y="39"/>
                  </a:cubicBezTo>
                  <a:cubicBezTo>
                    <a:pt x="0" y="39"/>
                    <a:pt x="0" y="39"/>
                    <a:pt x="14" y="3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0" name="Freeform 267"/>
            <p:cNvSpPr>
              <a:spLocks/>
            </p:cNvSpPr>
            <p:nvPr/>
          </p:nvSpPr>
          <p:spPr bwMode="auto">
            <a:xfrm>
              <a:off x="6957815" y="1976960"/>
              <a:ext cx="121276" cy="92669"/>
            </a:xfrm>
            <a:custGeom>
              <a:avLst/>
              <a:gdLst>
                <a:gd name="T0" fmla="*/ 22 w 41"/>
                <a:gd name="T1" fmla="*/ 31 h 31"/>
                <a:gd name="T2" fmla="*/ 39 w 41"/>
                <a:gd name="T3" fmla="*/ 23 h 31"/>
                <a:gd name="T4" fmla="*/ 41 w 41"/>
                <a:gd name="T5" fmla="*/ 17 h 31"/>
                <a:gd name="T6" fmla="*/ 29 w 41"/>
                <a:gd name="T7" fmla="*/ 12 h 31"/>
                <a:gd name="T8" fmla="*/ 22 w 41"/>
                <a:gd name="T9" fmla="*/ 20 h 31"/>
                <a:gd name="T10" fmla="*/ 14 w 41"/>
                <a:gd name="T11" fmla="*/ 6 h 31"/>
                <a:gd name="T12" fmla="*/ 0 w 41"/>
                <a:gd name="T13" fmla="*/ 0 h 31"/>
                <a:gd name="T14" fmla="*/ 22 w 4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22" y="31"/>
                  </a:moveTo>
                  <a:cubicBezTo>
                    <a:pt x="29" y="31"/>
                    <a:pt x="35" y="28"/>
                    <a:pt x="39" y="23"/>
                  </a:cubicBezTo>
                  <a:cubicBezTo>
                    <a:pt x="40" y="21"/>
                    <a:pt x="41" y="19"/>
                    <a:pt x="41" y="17"/>
                  </a:cubicBezTo>
                  <a:cubicBezTo>
                    <a:pt x="37" y="15"/>
                    <a:pt x="33" y="14"/>
                    <a:pt x="29" y="12"/>
                  </a:cubicBezTo>
                  <a:cubicBezTo>
                    <a:pt x="28" y="17"/>
                    <a:pt x="25" y="20"/>
                    <a:pt x="22" y="20"/>
                  </a:cubicBezTo>
                  <a:cubicBezTo>
                    <a:pt x="17" y="20"/>
                    <a:pt x="15" y="15"/>
                    <a:pt x="14" y="6"/>
                  </a:cubicBezTo>
                  <a:cubicBezTo>
                    <a:pt x="9" y="4"/>
                    <a:pt x="5" y="2"/>
                    <a:pt x="0" y="0"/>
                  </a:cubicBezTo>
                  <a:cubicBezTo>
                    <a:pt x="0" y="21"/>
                    <a:pt x="7" y="31"/>
                    <a:pt x="22" y="3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1" name="Freeform 268"/>
            <p:cNvSpPr>
              <a:spLocks/>
            </p:cNvSpPr>
            <p:nvPr/>
          </p:nvSpPr>
          <p:spPr bwMode="auto">
            <a:xfrm>
              <a:off x="4279744" y="4348792"/>
              <a:ext cx="58763" cy="184087"/>
            </a:xfrm>
            <a:custGeom>
              <a:avLst/>
              <a:gdLst>
                <a:gd name="T0" fmla="*/ 20 w 20"/>
                <a:gd name="T1" fmla="*/ 0 h 62"/>
                <a:gd name="T2" fmla="*/ 12 w 20"/>
                <a:gd name="T3" fmla="*/ 0 h 62"/>
                <a:gd name="T4" fmla="*/ 4 w 20"/>
                <a:gd name="T5" fmla="*/ 5 h 62"/>
                <a:gd name="T6" fmla="*/ 0 w 20"/>
                <a:gd name="T7" fmla="*/ 7 h 62"/>
                <a:gd name="T8" fmla="*/ 3 w 20"/>
                <a:gd name="T9" fmla="*/ 17 h 62"/>
                <a:gd name="T10" fmla="*/ 4 w 20"/>
                <a:gd name="T11" fmla="*/ 16 h 62"/>
                <a:gd name="T12" fmla="*/ 7 w 20"/>
                <a:gd name="T13" fmla="*/ 15 h 62"/>
                <a:gd name="T14" fmla="*/ 7 w 20"/>
                <a:gd name="T15" fmla="*/ 31 h 62"/>
                <a:gd name="T16" fmla="*/ 17 w 20"/>
                <a:gd name="T17" fmla="*/ 62 h 62"/>
                <a:gd name="T18" fmla="*/ 20 w 20"/>
                <a:gd name="T19" fmla="*/ 62 h 62"/>
                <a:gd name="T20" fmla="*/ 20 w 20"/>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2">
                  <a:moveTo>
                    <a:pt x="20" y="0"/>
                  </a:moveTo>
                  <a:cubicBezTo>
                    <a:pt x="12" y="0"/>
                    <a:pt x="12" y="0"/>
                    <a:pt x="12" y="0"/>
                  </a:cubicBezTo>
                  <a:cubicBezTo>
                    <a:pt x="9" y="2"/>
                    <a:pt x="7" y="4"/>
                    <a:pt x="4" y="5"/>
                  </a:cubicBezTo>
                  <a:cubicBezTo>
                    <a:pt x="3" y="6"/>
                    <a:pt x="1" y="6"/>
                    <a:pt x="0" y="7"/>
                  </a:cubicBezTo>
                  <a:cubicBezTo>
                    <a:pt x="1" y="10"/>
                    <a:pt x="2" y="14"/>
                    <a:pt x="3" y="17"/>
                  </a:cubicBezTo>
                  <a:cubicBezTo>
                    <a:pt x="3" y="17"/>
                    <a:pt x="4" y="17"/>
                    <a:pt x="4" y="16"/>
                  </a:cubicBezTo>
                  <a:cubicBezTo>
                    <a:pt x="5" y="16"/>
                    <a:pt x="6" y="15"/>
                    <a:pt x="7" y="15"/>
                  </a:cubicBezTo>
                  <a:cubicBezTo>
                    <a:pt x="7" y="15"/>
                    <a:pt x="7" y="15"/>
                    <a:pt x="7" y="31"/>
                  </a:cubicBezTo>
                  <a:cubicBezTo>
                    <a:pt x="10" y="41"/>
                    <a:pt x="13" y="52"/>
                    <a:pt x="17" y="62"/>
                  </a:cubicBezTo>
                  <a:cubicBezTo>
                    <a:pt x="18" y="62"/>
                    <a:pt x="19" y="62"/>
                    <a:pt x="20" y="62"/>
                  </a:cubicBezTo>
                  <a:cubicBezTo>
                    <a:pt x="20" y="62"/>
                    <a:pt x="20" y="62"/>
                    <a:pt x="2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2" name="Freeform 269"/>
            <p:cNvSpPr>
              <a:spLocks noEditPoints="1"/>
            </p:cNvSpPr>
            <p:nvPr/>
          </p:nvSpPr>
          <p:spPr bwMode="auto">
            <a:xfrm>
              <a:off x="4383515" y="4348792"/>
              <a:ext cx="130027" cy="189096"/>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6" y="8"/>
                  </a:cubicBezTo>
                  <a:cubicBezTo>
                    <a:pt x="2" y="15"/>
                    <a:pt x="0" y="22"/>
                    <a:pt x="0" y="33"/>
                  </a:cubicBezTo>
                  <a:cubicBezTo>
                    <a:pt x="0" y="54"/>
                    <a:pt x="8" y="64"/>
                    <a:pt x="22" y="64"/>
                  </a:cubicBezTo>
                  <a:cubicBezTo>
                    <a:pt x="30" y="64"/>
                    <a:pt x="35" y="61"/>
                    <a:pt x="39" y="56"/>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3" name="Freeform 270"/>
            <p:cNvSpPr>
              <a:spLocks/>
            </p:cNvSpPr>
            <p:nvPr/>
          </p:nvSpPr>
          <p:spPr bwMode="auto">
            <a:xfrm>
              <a:off x="4557303" y="4348792"/>
              <a:ext cx="80017" cy="184087"/>
            </a:xfrm>
            <a:custGeom>
              <a:avLst/>
              <a:gdLst>
                <a:gd name="T0" fmla="*/ 27 w 27"/>
                <a:gd name="T1" fmla="*/ 62 h 62"/>
                <a:gd name="T2" fmla="*/ 27 w 27"/>
                <a:gd name="T3" fmla="*/ 0 h 62"/>
                <a:gd name="T4" fmla="*/ 18 w 27"/>
                <a:gd name="T5" fmla="*/ 0 h 62"/>
                <a:gd name="T6" fmla="*/ 10 w 27"/>
                <a:gd name="T7" fmla="*/ 5 h 62"/>
                <a:gd name="T8" fmla="*/ 0 w 27"/>
                <a:gd name="T9" fmla="*/ 9 h 62"/>
                <a:gd name="T10" fmla="*/ 0 w 27"/>
                <a:gd name="T11" fmla="*/ 20 h 62"/>
                <a:gd name="T12" fmla="*/ 4 w 27"/>
                <a:gd name="T13" fmla="*/ 20 h 62"/>
                <a:gd name="T14" fmla="*/ 7 w 27"/>
                <a:gd name="T15" fmla="*/ 18 h 62"/>
                <a:gd name="T16" fmla="*/ 10 w 27"/>
                <a:gd name="T17" fmla="*/ 16 h 62"/>
                <a:gd name="T18" fmla="*/ 13 w 27"/>
                <a:gd name="T19" fmla="*/ 15 h 62"/>
                <a:gd name="T20" fmla="*/ 13 w 27"/>
                <a:gd name="T21" fmla="*/ 62 h 62"/>
                <a:gd name="T22" fmla="*/ 27 w 27"/>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27" y="62"/>
                  </a:moveTo>
                  <a:cubicBezTo>
                    <a:pt x="27" y="62"/>
                    <a:pt x="27" y="62"/>
                    <a:pt x="27" y="0"/>
                  </a:cubicBezTo>
                  <a:cubicBezTo>
                    <a:pt x="18" y="0"/>
                    <a:pt x="18" y="0"/>
                    <a:pt x="18" y="0"/>
                  </a:cubicBezTo>
                  <a:cubicBezTo>
                    <a:pt x="16" y="2"/>
                    <a:pt x="13" y="4"/>
                    <a:pt x="10" y="5"/>
                  </a:cubicBezTo>
                  <a:cubicBezTo>
                    <a:pt x="7"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7" y="6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4" name="Freeform 271"/>
            <p:cNvSpPr>
              <a:spLocks noEditPoints="1"/>
            </p:cNvSpPr>
            <p:nvPr/>
          </p:nvSpPr>
          <p:spPr bwMode="auto">
            <a:xfrm>
              <a:off x="4678579" y="4348792"/>
              <a:ext cx="133778" cy="189096"/>
            </a:xfrm>
            <a:custGeom>
              <a:avLst/>
              <a:gdLst>
                <a:gd name="T0" fmla="*/ 39 w 45"/>
                <a:gd name="T1" fmla="*/ 56 h 64"/>
                <a:gd name="T2" fmla="*/ 45 w 45"/>
                <a:gd name="T3" fmla="*/ 32 h 64"/>
                <a:gd name="T4" fmla="*/ 23 w 45"/>
                <a:gd name="T5" fmla="*/ 0 h 64"/>
                <a:gd name="T6" fmla="*/ 6 w 45"/>
                <a:gd name="T7" fmla="*/ 8 h 64"/>
                <a:gd name="T8" fmla="*/ 0 w 45"/>
                <a:gd name="T9" fmla="*/ 33 h 64"/>
                <a:gd name="T10" fmla="*/ 23 w 45"/>
                <a:gd name="T11" fmla="*/ 64 h 64"/>
                <a:gd name="T12" fmla="*/ 39 w 45"/>
                <a:gd name="T13" fmla="*/ 56 h 64"/>
                <a:gd name="T14" fmla="*/ 14 w 45"/>
                <a:gd name="T15" fmla="*/ 33 h 64"/>
                <a:gd name="T16" fmla="*/ 23 w 45"/>
                <a:gd name="T17" fmla="*/ 11 h 64"/>
                <a:gd name="T18" fmla="*/ 31 w 45"/>
                <a:gd name="T19" fmla="*/ 32 h 64"/>
                <a:gd name="T20" fmla="*/ 23 w 45"/>
                <a:gd name="T21" fmla="*/ 53 h 64"/>
                <a:gd name="T22" fmla="*/ 14 w 45"/>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39" y="56"/>
                  </a:moveTo>
                  <a:cubicBezTo>
                    <a:pt x="43" y="50"/>
                    <a:pt x="45" y="42"/>
                    <a:pt x="45" y="32"/>
                  </a:cubicBezTo>
                  <a:cubicBezTo>
                    <a:pt x="45" y="11"/>
                    <a:pt x="38" y="0"/>
                    <a:pt x="23" y="0"/>
                  </a:cubicBezTo>
                  <a:cubicBezTo>
                    <a:pt x="16" y="0"/>
                    <a:pt x="10" y="3"/>
                    <a:pt x="6" y="8"/>
                  </a:cubicBezTo>
                  <a:cubicBezTo>
                    <a:pt x="2" y="15"/>
                    <a:pt x="0" y="22"/>
                    <a:pt x="0" y="33"/>
                  </a:cubicBezTo>
                  <a:cubicBezTo>
                    <a:pt x="0" y="54"/>
                    <a:pt x="8" y="64"/>
                    <a:pt x="23" y="64"/>
                  </a:cubicBezTo>
                  <a:cubicBezTo>
                    <a:pt x="30" y="64"/>
                    <a:pt x="35" y="61"/>
                    <a:pt x="39" y="56"/>
                  </a:cubicBezTo>
                  <a:close/>
                  <a:moveTo>
                    <a:pt x="14" y="33"/>
                  </a:moveTo>
                  <a:cubicBezTo>
                    <a:pt x="14" y="18"/>
                    <a:pt x="17" y="11"/>
                    <a:pt x="23" y="11"/>
                  </a:cubicBezTo>
                  <a:cubicBezTo>
                    <a:pt x="28" y="11"/>
                    <a:pt x="31" y="17"/>
                    <a:pt x="31" y="32"/>
                  </a:cubicBezTo>
                  <a:cubicBezTo>
                    <a:pt x="31" y="47"/>
                    <a:pt x="28" y="53"/>
                    <a:pt x="23" y="53"/>
                  </a:cubicBezTo>
                  <a:cubicBezTo>
                    <a:pt x="17" y="53"/>
                    <a:pt x="14" y="47"/>
                    <a:pt x="14" y="3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5" name="Freeform 272"/>
            <p:cNvSpPr>
              <a:spLocks/>
            </p:cNvSpPr>
            <p:nvPr/>
          </p:nvSpPr>
          <p:spPr bwMode="auto">
            <a:xfrm>
              <a:off x="4856117"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2 w 26"/>
                <a:gd name="T17" fmla="*/ 15 h 62"/>
                <a:gd name="T18" fmla="*/ 12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2" y="4"/>
                    <a:pt x="10" y="5"/>
                  </a:cubicBez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5"/>
                  </a:cubicBezTo>
                  <a:cubicBezTo>
                    <a:pt x="12" y="15"/>
                    <a:pt x="12" y="15"/>
                    <a:pt x="12" y="62"/>
                  </a:cubicBezTo>
                  <a:cubicBezTo>
                    <a:pt x="12" y="62"/>
                    <a:pt x="12" y="62"/>
                    <a:pt x="26" y="62"/>
                  </a:cubicBezTo>
                  <a:cubicBezTo>
                    <a:pt x="26" y="62"/>
                    <a:pt x="26" y="62"/>
                    <a:pt x="26" y="0"/>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6" name="Freeform 273"/>
            <p:cNvSpPr>
              <a:spLocks/>
            </p:cNvSpPr>
            <p:nvPr/>
          </p:nvSpPr>
          <p:spPr bwMode="auto">
            <a:xfrm>
              <a:off x="4977393" y="4348792"/>
              <a:ext cx="77516"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3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7" name="Freeform 274"/>
            <p:cNvSpPr>
              <a:spLocks/>
            </p:cNvSpPr>
            <p:nvPr/>
          </p:nvSpPr>
          <p:spPr bwMode="auto">
            <a:xfrm>
              <a:off x="5098668"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8" name="Freeform 275"/>
            <p:cNvSpPr>
              <a:spLocks noEditPoints="1"/>
            </p:cNvSpPr>
            <p:nvPr/>
          </p:nvSpPr>
          <p:spPr bwMode="auto">
            <a:xfrm>
              <a:off x="5221194"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19" name="Freeform 281"/>
            <p:cNvSpPr>
              <a:spLocks noEditPoints="1"/>
            </p:cNvSpPr>
            <p:nvPr/>
          </p:nvSpPr>
          <p:spPr bwMode="auto">
            <a:xfrm>
              <a:off x="6111385" y="4348792"/>
              <a:ext cx="130027" cy="189096"/>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0"/>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1"/>
                    <a:pt x="38"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0" name="Freeform 282"/>
            <p:cNvSpPr>
              <a:spLocks noEditPoints="1"/>
            </p:cNvSpPr>
            <p:nvPr/>
          </p:nvSpPr>
          <p:spPr bwMode="auto">
            <a:xfrm>
              <a:off x="6286422"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1" name="Freeform 283"/>
            <p:cNvSpPr>
              <a:spLocks/>
            </p:cNvSpPr>
            <p:nvPr/>
          </p:nvSpPr>
          <p:spPr bwMode="auto">
            <a:xfrm>
              <a:off x="6461460" y="4348792"/>
              <a:ext cx="76267" cy="184087"/>
            </a:xfrm>
            <a:custGeom>
              <a:avLst/>
              <a:gdLst>
                <a:gd name="T0" fmla="*/ 26 w 26"/>
                <a:gd name="T1" fmla="*/ 0 h 62"/>
                <a:gd name="T2" fmla="*/ 18 w 26"/>
                <a:gd name="T3" fmla="*/ 0 h 62"/>
                <a:gd name="T4" fmla="*/ 10 w 26"/>
                <a:gd name="T5" fmla="*/ 5 h 62"/>
                <a:gd name="T6" fmla="*/ 0 w 26"/>
                <a:gd name="T7" fmla="*/ 9 h 62"/>
                <a:gd name="T8" fmla="*/ 0 w 26"/>
                <a:gd name="T9" fmla="*/ 20 h 62"/>
                <a:gd name="T10" fmla="*/ 4 w 26"/>
                <a:gd name="T11" fmla="*/ 20 h 62"/>
                <a:gd name="T12" fmla="*/ 7 w 26"/>
                <a:gd name="T13" fmla="*/ 18 h 62"/>
                <a:gd name="T14" fmla="*/ 10 w 26"/>
                <a:gd name="T15" fmla="*/ 16 h 62"/>
                <a:gd name="T16" fmla="*/ 13 w 26"/>
                <a:gd name="T17" fmla="*/ 15 h 62"/>
                <a:gd name="T18" fmla="*/ 13 w 26"/>
                <a:gd name="T19" fmla="*/ 62 h 62"/>
                <a:gd name="T20" fmla="*/ 26 w 26"/>
                <a:gd name="T21" fmla="*/ 62 h 62"/>
                <a:gd name="T22" fmla="*/ 26 w 26"/>
                <a:gd name="T2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0"/>
                  </a:moveTo>
                  <a:cubicBezTo>
                    <a:pt x="18" y="0"/>
                    <a:pt x="18" y="0"/>
                    <a:pt x="18" y="0"/>
                  </a:cubicBezTo>
                  <a:cubicBezTo>
                    <a:pt x="15" y="2"/>
                    <a:pt x="13" y="4"/>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5"/>
                  </a:cubicBezTo>
                  <a:cubicBezTo>
                    <a:pt x="13" y="15"/>
                    <a:pt x="13" y="15"/>
                    <a:pt x="13" y="62"/>
                  </a:cubicBezTo>
                  <a:cubicBezTo>
                    <a:pt x="13" y="62"/>
                    <a:pt x="13" y="62"/>
                    <a:pt x="26" y="62"/>
                  </a:cubicBezTo>
                  <a:cubicBezTo>
                    <a:pt x="26" y="62"/>
                    <a:pt x="26" y="62"/>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2" name="Freeform 291"/>
            <p:cNvSpPr>
              <a:spLocks noEditPoints="1"/>
            </p:cNvSpPr>
            <p:nvPr/>
          </p:nvSpPr>
          <p:spPr bwMode="auto">
            <a:xfrm>
              <a:off x="7647963" y="4348792"/>
              <a:ext cx="130027" cy="189096"/>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3"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1"/>
                    <a:pt x="39" y="56"/>
                  </a:cubicBezTo>
                  <a:close/>
                  <a:moveTo>
                    <a:pt x="14" y="33"/>
                  </a:moveTo>
                  <a:cubicBezTo>
                    <a:pt x="14" y="18"/>
                    <a:pt x="16" y="11"/>
                    <a:pt x="22" y="11"/>
                  </a:cubicBezTo>
                  <a:cubicBezTo>
                    <a:pt x="28" y="11"/>
                    <a:pt x="30" y="17"/>
                    <a:pt x="30" y="32"/>
                  </a:cubicBezTo>
                  <a:cubicBezTo>
                    <a:pt x="30" y="47"/>
                    <a:pt x="28" y="53"/>
                    <a:pt x="22" y="53"/>
                  </a:cubicBezTo>
                  <a:cubicBezTo>
                    <a:pt x="16" y="53"/>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3" name="Freeform 295"/>
            <p:cNvSpPr>
              <a:spLocks/>
            </p:cNvSpPr>
            <p:nvPr/>
          </p:nvSpPr>
          <p:spPr bwMode="auto">
            <a:xfrm>
              <a:off x="4344757" y="4571698"/>
              <a:ext cx="82518" cy="165302"/>
            </a:xfrm>
            <a:custGeom>
              <a:avLst/>
              <a:gdLst>
                <a:gd name="T0" fmla="*/ 28 w 28"/>
                <a:gd name="T1" fmla="*/ 32 h 56"/>
                <a:gd name="T2" fmla="*/ 7 w 28"/>
                <a:gd name="T3" fmla="*/ 0 h 56"/>
                <a:gd name="T4" fmla="*/ 0 w 28"/>
                <a:gd name="T5" fmla="*/ 1 h 56"/>
                <a:gd name="T6" fmla="*/ 4 w 28"/>
                <a:gd name="T7" fmla="*/ 12 h 56"/>
                <a:gd name="T8" fmla="*/ 6 w 28"/>
                <a:gd name="T9" fmla="*/ 11 h 56"/>
                <a:gd name="T10" fmla="*/ 14 w 28"/>
                <a:gd name="T11" fmla="*/ 32 h 56"/>
                <a:gd name="T12" fmla="*/ 14 w 28"/>
                <a:gd name="T13" fmla="*/ 38 h 56"/>
                <a:gd name="T14" fmla="*/ 22 w 28"/>
                <a:gd name="T15" fmla="*/ 56 h 56"/>
                <a:gd name="T16" fmla="*/ 23 w 28"/>
                <a:gd name="T17" fmla="*/ 56 h 56"/>
                <a:gd name="T18" fmla="*/ 28 w 28"/>
                <a:gd name="T19"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6">
                  <a:moveTo>
                    <a:pt x="28" y="32"/>
                  </a:moveTo>
                  <a:cubicBezTo>
                    <a:pt x="28" y="11"/>
                    <a:pt x="22" y="0"/>
                    <a:pt x="7" y="0"/>
                  </a:cubicBezTo>
                  <a:cubicBezTo>
                    <a:pt x="4" y="0"/>
                    <a:pt x="2" y="1"/>
                    <a:pt x="0" y="1"/>
                  </a:cubicBezTo>
                  <a:cubicBezTo>
                    <a:pt x="1" y="5"/>
                    <a:pt x="2" y="8"/>
                    <a:pt x="4" y="12"/>
                  </a:cubicBezTo>
                  <a:cubicBezTo>
                    <a:pt x="4" y="12"/>
                    <a:pt x="5" y="11"/>
                    <a:pt x="6" y="11"/>
                  </a:cubicBezTo>
                  <a:cubicBezTo>
                    <a:pt x="11" y="11"/>
                    <a:pt x="14" y="18"/>
                    <a:pt x="14" y="32"/>
                  </a:cubicBezTo>
                  <a:cubicBezTo>
                    <a:pt x="14" y="34"/>
                    <a:pt x="14" y="36"/>
                    <a:pt x="14" y="38"/>
                  </a:cubicBezTo>
                  <a:cubicBezTo>
                    <a:pt x="17" y="44"/>
                    <a:pt x="20" y="50"/>
                    <a:pt x="22" y="56"/>
                  </a:cubicBezTo>
                  <a:cubicBezTo>
                    <a:pt x="22" y="56"/>
                    <a:pt x="23" y="56"/>
                    <a:pt x="23" y="56"/>
                  </a:cubicBezTo>
                  <a:cubicBezTo>
                    <a:pt x="26" y="51"/>
                    <a:pt x="28" y="43"/>
                    <a:pt x="28" y="3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4" name="Freeform 296"/>
            <p:cNvSpPr>
              <a:spLocks noEditPoints="1"/>
            </p:cNvSpPr>
            <p:nvPr/>
          </p:nvSpPr>
          <p:spPr bwMode="auto">
            <a:xfrm>
              <a:off x="4472285"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8" y="11"/>
                    <a:pt x="30" y="18"/>
                    <a:pt x="30" y="32"/>
                  </a:cubicBezTo>
                  <a:cubicBezTo>
                    <a:pt x="30"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5" name="Freeform 297"/>
            <p:cNvSpPr>
              <a:spLocks/>
            </p:cNvSpPr>
            <p:nvPr/>
          </p:nvSpPr>
          <p:spPr bwMode="auto">
            <a:xfrm>
              <a:off x="4646072" y="457169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6" name="Freeform 298"/>
            <p:cNvSpPr>
              <a:spLocks noEditPoints="1"/>
            </p:cNvSpPr>
            <p:nvPr/>
          </p:nvSpPr>
          <p:spPr bwMode="auto">
            <a:xfrm>
              <a:off x="4778071" y="4571698"/>
              <a:ext cx="130027" cy="191600"/>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3" y="51"/>
                    <a:pt x="44" y="43"/>
                    <a:pt x="44" y="32"/>
                  </a:cubicBezTo>
                  <a:cubicBezTo>
                    <a:pt x="44" y="11"/>
                    <a:pt x="38" y="0"/>
                    <a:pt x="23" y="0"/>
                  </a:cubicBezTo>
                  <a:cubicBezTo>
                    <a:pt x="16" y="0"/>
                    <a:pt x="9"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7" name="Freeform 299"/>
            <p:cNvSpPr>
              <a:spLocks/>
            </p:cNvSpPr>
            <p:nvPr/>
          </p:nvSpPr>
          <p:spPr bwMode="auto">
            <a:xfrm>
              <a:off x="4955692" y="457169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8" name="Freeform 303"/>
            <p:cNvSpPr>
              <a:spLocks noEditPoints="1"/>
            </p:cNvSpPr>
            <p:nvPr/>
          </p:nvSpPr>
          <p:spPr bwMode="auto">
            <a:xfrm>
              <a:off x="5527510"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29" name="Freeform 304"/>
            <p:cNvSpPr>
              <a:spLocks/>
            </p:cNvSpPr>
            <p:nvPr/>
          </p:nvSpPr>
          <p:spPr bwMode="auto">
            <a:xfrm>
              <a:off x="5708799"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0" name="Freeform 305"/>
            <p:cNvSpPr>
              <a:spLocks/>
            </p:cNvSpPr>
            <p:nvPr/>
          </p:nvSpPr>
          <p:spPr bwMode="auto">
            <a:xfrm>
              <a:off x="5833826"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1" name="Freeform 306"/>
            <p:cNvSpPr>
              <a:spLocks/>
            </p:cNvSpPr>
            <p:nvPr/>
          </p:nvSpPr>
          <p:spPr bwMode="auto">
            <a:xfrm>
              <a:off x="59551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2" name="Freeform 307"/>
            <p:cNvSpPr>
              <a:spLocks noEditPoints="1"/>
            </p:cNvSpPr>
            <p:nvPr/>
          </p:nvSpPr>
          <p:spPr bwMode="auto">
            <a:xfrm>
              <a:off x="6076378" y="4571698"/>
              <a:ext cx="130027" cy="191600"/>
            </a:xfrm>
            <a:custGeom>
              <a:avLst/>
              <a:gdLst>
                <a:gd name="T0" fmla="*/ 39 w 44"/>
                <a:gd name="T1" fmla="*/ 56 h 65"/>
                <a:gd name="T2" fmla="*/ 44 w 44"/>
                <a:gd name="T3" fmla="*/ 32 h 65"/>
                <a:gd name="T4" fmla="*/ 23 w 44"/>
                <a:gd name="T5" fmla="*/ 0 h 65"/>
                <a:gd name="T6" fmla="*/ 6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3" y="51"/>
                    <a:pt x="44" y="43"/>
                    <a:pt x="44" y="32"/>
                  </a:cubicBezTo>
                  <a:cubicBezTo>
                    <a:pt x="44" y="11"/>
                    <a:pt x="38" y="0"/>
                    <a:pt x="23" y="0"/>
                  </a:cubicBezTo>
                  <a:cubicBezTo>
                    <a:pt x="16" y="0"/>
                    <a:pt x="10" y="3"/>
                    <a:pt x="6" y="9"/>
                  </a:cubicBezTo>
                  <a:cubicBezTo>
                    <a:pt x="2" y="15"/>
                    <a:pt x="0" y="22"/>
                    <a:pt x="0" y="33"/>
                  </a:cubicBezTo>
                  <a:cubicBezTo>
                    <a:pt x="0" y="54"/>
                    <a:pt x="8"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3" name="Freeform 308"/>
            <p:cNvSpPr>
              <a:spLocks noEditPoints="1"/>
            </p:cNvSpPr>
            <p:nvPr/>
          </p:nvSpPr>
          <p:spPr bwMode="auto">
            <a:xfrm>
              <a:off x="6250164" y="4571698"/>
              <a:ext cx="133778" cy="191600"/>
            </a:xfrm>
            <a:custGeom>
              <a:avLst/>
              <a:gdLst>
                <a:gd name="T0" fmla="*/ 22 w 45"/>
                <a:gd name="T1" fmla="*/ 65 h 65"/>
                <a:gd name="T2" fmla="*/ 39 w 45"/>
                <a:gd name="T3" fmla="*/ 56 h 65"/>
                <a:gd name="T4" fmla="*/ 45 w 45"/>
                <a:gd name="T5" fmla="*/ 32 h 65"/>
                <a:gd name="T6" fmla="*/ 23 w 45"/>
                <a:gd name="T7" fmla="*/ 0 h 65"/>
                <a:gd name="T8" fmla="*/ 6 w 45"/>
                <a:gd name="T9" fmla="*/ 9 h 65"/>
                <a:gd name="T10" fmla="*/ 0 w 45"/>
                <a:gd name="T11" fmla="*/ 33 h 65"/>
                <a:gd name="T12" fmla="*/ 22 w 45"/>
                <a:gd name="T13" fmla="*/ 65 h 65"/>
                <a:gd name="T14" fmla="*/ 22 w 45"/>
                <a:gd name="T15" fmla="*/ 11 h 65"/>
                <a:gd name="T16" fmla="*/ 31 w 45"/>
                <a:gd name="T17" fmla="*/ 32 h 65"/>
                <a:gd name="T18" fmla="*/ 22 w 45"/>
                <a:gd name="T19" fmla="*/ 54 h 65"/>
                <a:gd name="T20" fmla="*/ 14 w 45"/>
                <a:gd name="T21" fmla="*/ 33 h 65"/>
                <a:gd name="T22" fmla="*/ 22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2" y="65"/>
                  </a:moveTo>
                  <a:cubicBezTo>
                    <a:pt x="30" y="65"/>
                    <a:pt x="35" y="62"/>
                    <a:pt x="39" y="56"/>
                  </a:cubicBezTo>
                  <a:cubicBezTo>
                    <a:pt x="43" y="51"/>
                    <a:pt x="45" y="43"/>
                    <a:pt x="45" y="32"/>
                  </a:cubicBezTo>
                  <a:cubicBezTo>
                    <a:pt x="45" y="11"/>
                    <a:pt x="38" y="0"/>
                    <a:pt x="23" y="0"/>
                  </a:cubicBezTo>
                  <a:cubicBezTo>
                    <a:pt x="16" y="0"/>
                    <a:pt x="10" y="3"/>
                    <a:pt x="6" y="9"/>
                  </a:cubicBezTo>
                  <a:cubicBezTo>
                    <a:pt x="2" y="15"/>
                    <a:pt x="0" y="22"/>
                    <a:pt x="0" y="33"/>
                  </a:cubicBezTo>
                  <a:cubicBezTo>
                    <a:pt x="0" y="54"/>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4" name="Freeform 309"/>
            <p:cNvSpPr>
              <a:spLocks/>
            </p:cNvSpPr>
            <p:nvPr/>
          </p:nvSpPr>
          <p:spPr bwMode="auto">
            <a:xfrm>
              <a:off x="6425201"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5" name="Freeform 310"/>
            <p:cNvSpPr>
              <a:spLocks/>
            </p:cNvSpPr>
            <p:nvPr/>
          </p:nvSpPr>
          <p:spPr bwMode="auto">
            <a:xfrm>
              <a:off x="6550228"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6" name="Freeform 311"/>
            <p:cNvSpPr>
              <a:spLocks/>
            </p:cNvSpPr>
            <p:nvPr/>
          </p:nvSpPr>
          <p:spPr bwMode="auto">
            <a:xfrm>
              <a:off x="6671504" y="4571698"/>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7" name="Freeform 312"/>
            <p:cNvSpPr>
              <a:spLocks noEditPoints="1"/>
            </p:cNvSpPr>
            <p:nvPr/>
          </p:nvSpPr>
          <p:spPr bwMode="auto">
            <a:xfrm>
              <a:off x="6792780" y="4571698"/>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8" name="Freeform 313"/>
            <p:cNvSpPr>
              <a:spLocks/>
            </p:cNvSpPr>
            <p:nvPr/>
          </p:nvSpPr>
          <p:spPr bwMode="auto">
            <a:xfrm>
              <a:off x="6966568"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39" name="Freeform 314"/>
            <p:cNvSpPr>
              <a:spLocks noEditPoints="1"/>
            </p:cNvSpPr>
            <p:nvPr/>
          </p:nvSpPr>
          <p:spPr bwMode="auto">
            <a:xfrm>
              <a:off x="7091595" y="4571698"/>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0" name="Freeform 315"/>
            <p:cNvSpPr>
              <a:spLocks/>
            </p:cNvSpPr>
            <p:nvPr/>
          </p:nvSpPr>
          <p:spPr bwMode="auto">
            <a:xfrm>
              <a:off x="7266632" y="4571698"/>
              <a:ext cx="76267" cy="186591"/>
            </a:xfrm>
            <a:custGeom>
              <a:avLst/>
              <a:gdLst>
                <a:gd name="T0" fmla="*/ 26 w 26"/>
                <a:gd name="T1" fmla="*/ 0 h 63"/>
                <a:gd name="T2" fmla="*/ 18 w 26"/>
                <a:gd name="T3" fmla="*/ 0 h 63"/>
                <a:gd name="T4" fmla="*/ 10 w 26"/>
                <a:gd name="T5" fmla="*/ 6 h 63"/>
                <a:gd name="T6" fmla="*/ 0 w 26"/>
                <a:gd name="T7" fmla="*/ 10 h 63"/>
                <a:gd name="T8" fmla="*/ 0 w 26"/>
                <a:gd name="T9" fmla="*/ 21 h 63"/>
                <a:gd name="T10" fmla="*/ 3 w 26"/>
                <a:gd name="T11" fmla="*/ 21 h 63"/>
                <a:gd name="T12" fmla="*/ 7 w 26"/>
                <a:gd name="T13" fmla="*/ 19 h 63"/>
                <a:gd name="T14" fmla="*/ 10 w 26"/>
                <a:gd name="T15" fmla="*/ 17 h 63"/>
                <a:gd name="T16" fmla="*/ 12 w 26"/>
                <a:gd name="T17" fmla="*/ 15 h 63"/>
                <a:gd name="T18" fmla="*/ 12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2" y="4"/>
                    <a:pt x="10" y="6"/>
                  </a:cubicBezTo>
                  <a:cubicBezTo>
                    <a:pt x="6" y="7"/>
                    <a:pt x="3" y="9"/>
                    <a:pt x="0" y="10"/>
                  </a:cubicBezTo>
                  <a:cubicBezTo>
                    <a:pt x="0" y="10"/>
                    <a:pt x="0" y="10"/>
                    <a:pt x="0" y="21"/>
                  </a:cubicBezTo>
                  <a:cubicBezTo>
                    <a:pt x="1" y="21"/>
                    <a:pt x="1" y="21"/>
                    <a:pt x="3" y="21"/>
                  </a:cubicBezTo>
                  <a:cubicBezTo>
                    <a:pt x="4" y="20"/>
                    <a:pt x="5" y="20"/>
                    <a:pt x="7" y="19"/>
                  </a:cubicBezTo>
                  <a:cubicBezTo>
                    <a:pt x="8" y="19"/>
                    <a:pt x="9" y="18"/>
                    <a:pt x="10" y="17"/>
                  </a:cubicBezTo>
                  <a:cubicBezTo>
                    <a:pt x="11" y="17"/>
                    <a:pt x="11" y="16"/>
                    <a:pt x="12" y="15"/>
                  </a:cubicBezTo>
                  <a:cubicBezTo>
                    <a:pt x="12" y="15"/>
                    <a:pt x="12" y="15"/>
                    <a:pt x="12" y="63"/>
                  </a:cubicBezTo>
                  <a:cubicBezTo>
                    <a:pt x="12" y="63"/>
                    <a:pt x="12" y="63"/>
                    <a:pt x="26" y="63"/>
                  </a:cubicBezTo>
                  <a:cubicBezTo>
                    <a:pt x="26" y="63"/>
                    <a:pt x="26" y="63"/>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1" name="Freeform 316"/>
            <p:cNvSpPr>
              <a:spLocks noEditPoints="1"/>
            </p:cNvSpPr>
            <p:nvPr/>
          </p:nvSpPr>
          <p:spPr bwMode="auto">
            <a:xfrm>
              <a:off x="7387907" y="4571698"/>
              <a:ext cx="130027" cy="191600"/>
            </a:xfrm>
            <a:custGeom>
              <a:avLst/>
              <a:gdLst>
                <a:gd name="T0" fmla="*/ 39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9 w 44"/>
                <a:gd name="T13" fmla="*/ 56 h 65"/>
                <a:gd name="T14" fmla="*/ 22 w 44"/>
                <a:gd name="T15" fmla="*/ 54 h 65"/>
                <a:gd name="T16" fmla="*/ 14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9" y="56"/>
                  </a:move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ubicBezTo>
                    <a:pt x="29" y="65"/>
                    <a:pt x="35" y="62"/>
                    <a:pt x="39" y="56"/>
                  </a:cubicBezTo>
                  <a:close/>
                  <a:moveTo>
                    <a:pt x="22" y="54"/>
                  </a:moveTo>
                  <a:cubicBezTo>
                    <a:pt x="16" y="54"/>
                    <a:pt x="14" y="47"/>
                    <a:pt x="14" y="33"/>
                  </a:cubicBezTo>
                  <a:cubicBezTo>
                    <a:pt x="14"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2" name="Freeform 317"/>
            <p:cNvSpPr>
              <a:spLocks noEditPoints="1"/>
            </p:cNvSpPr>
            <p:nvPr/>
          </p:nvSpPr>
          <p:spPr bwMode="auto">
            <a:xfrm>
              <a:off x="7561694" y="4571698"/>
              <a:ext cx="131279" cy="191600"/>
            </a:xfrm>
            <a:custGeom>
              <a:avLst/>
              <a:gdLst>
                <a:gd name="T0" fmla="*/ 22 w 44"/>
                <a:gd name="T1" fmla="*/ 65 h 65"/>
                <a:gd name="T2" fmla="*/ 39 w 44"/>
                <a:gd name="T3" fmla="*/ 56 h 65"/>
                <a:gd name="T4" fmla="*/ 44 w 44"/>
                <a:gd name="T5" fmla="*/ 32 h 65"/>
                <a:gd name="T6" fmla="*/ 23 w 44"/>
                <a:gd name="T7" fmla="*/ 0 h 65"/>
                <a:gd name="T8" fmla="*/ 5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29" y="65"/>
                    <a:pt x="35" y="62"/>
                    <a:pt x="39" y="56"/>
                  </a:cubicBezTo>
                  <a:cubicBezTo>
                    <a:pt x="42" y="51"/>
                    <a:pt x="44" y="43"/>
                    <a:pt x="44" y="32"/>
                  </a:cubicBezTo>
                  <a:cubicBezTo>
                    <a:pt x="44" y="11"/>
                    <a:pt x="38" y="0"/>
                    <a:pt x="23" y="0"/>
                  </a:cubicBezTo>
                  <a:cubicBezTo>
                    <a:pt x="16" y="0"/>
                    <a:pt x="9" y="3"/>
                    <a:pt x="5" y="9"/>
                  </a:cubicBezTo>
                  <a:cubicBezTo>
                    <a:pt x="2" y="15"/>
                    <a:pt x="0" y="22"/>
                    <a:pt x="0" y="33"/>
                  </a:cubicBezTo>
                  <a:cubicBezTo>
                    <a:pt x="0" y="54"/>
                    <a:pt x="7" y="65"/>
                    <a:pt x="22" y="65"/>
                  </a:cubicBezTo>
                  <a:close/>
                  <a:moveTo>
                    <a:pt x="22" y="11"/>
                  </a:moveTo>
                  <a:cubicBezTo>
                    <a:pt x="28" y="11"/>
                    <a:pt x="30" y="18"/>
                    <a:pt x="30" y="32"/>
                  </a:cubicBezTo>
                  <a:cubicBezTo>
                    <a:pt x="30" y="47"/>
                    <a:pt x="28" y="54"/>
                    <a:pt x="22" y="54"/>
                  </a:cubicBezTo>
                  <a:cubicBezTo>
                    <a:pt x="16" y="54"/>
                    <a:pt x="14" y="47"/>
                    <a:pt x="14" y="33"/>
                  </a:cubicBezTo>
                  <a:cubicBezTo>
                    <a:pt x="14" y="19"/>
                    <a:pt x="16"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3" name="Freeform 318"/>
            <p:cNvSpPr>
              <a:spLocks noEditPoints="1"/>
            </p:cNvSpPr>
            <p:nvPr/>
          </p:nvSpPr>
          <p:spPr bwMode="auto">
            <a:xfrm>
              <a:off x="7734232" y="4571698"/>
              <a:ext cx="132528" cy="191600"/>
            </a:xfrm>
            <a:custGeom>
              <a:avLst/>
              <a:gdLst>
                <a:gd name="T0" fmla="*/ 23 w 45"/>
                <a:gd name="T1" fmla="*/ 65 h 65"/>
                <a:gd name="T2" fmla="*/ 40 w 45"/>
                <a:gd name="T3" fmla="*/ 56 h 65"/>
                <a:gd name="T4" fmla="*/ 45 w 45"/>
                <a:gd name="T5" fmla="*/ 32 h 65"/>
                <a:gd name="T6" fmla="*/ 24 w 45"/>
                <a:gd name="T7" fmla="*/ 0 h 65"/>
                <a:gd name="T8" fmla="*/ 6 w 45"/>
                <a:gd name="T9" fmla="*/ 9 h 65"/>
                <a:gd name="T10" fmla="*/ 0 w 45"/>
                <a:gd name="T11" fmla="*/ 33 h 65"/>
                <a:gd name="T12" fmla="*/ 23 w 45"/>
                <a:gd name="T13" fmla="*/ 65 h 65"/>
                <a:gd name="T14" fmla="*/ 23 w 45"/>
                <a:gd name="T15" fmla="*/ 11 h 65"/>
                <a:gd name="T16" fmla="*/ 31 w 45"/>
                <a:gd name="T17" fmla="*/ 32 h 65"/>
                <a:gd name="T18" fmla="*/ 23 w 45"/>
                <a:gd name="T19" fmla="*/ 54 h 65"/>
                <a:gd name="T20" fmla="*/ 14 w 45"/>
                <a:gd name="T21" fmla="*/ 33 h 65"/>
                <a:gd name="T22" fmla="*/ 23 w 45"/>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65"/>
                  </a:moveTo>
                  <a:cubicBezTo>
                    <a:pt x="30" y="65"/>
                    <a:pt x="36" y="62"/>
                    <a:pt x="40" y="56"/>
                  </a:cubicBezTo>
                  <a:cubicBezTo>
                    <a:pt x="43" y="51"/>
                    <a:pt x="45" y="43"/>
                    <a:pt x="45" y="32"/>
                  </a:cubicBezTo>
                  <a:cubicBezTo>
                    <a:pt x="45" y="11"/>
                    <a:pt x="39" y="0"/>
                    <a:pt x="24" y="0"/>
                  </a:cubicBezTo>
                  <a:cubicBezTo>
                    <a:pt x="16" y="0"/>
                    <a:pt x="10" y="3"/>
                    <a:pt x="6" y="9"/>
                  </a:cubicBezTo>
                  <a:cubicBezTo>
                    <a:pt x="2" y="15"/>
                    <a:pt x="0" y="22"/>
                    <a:pt x="0" y="33"/>
                  </a:cubicBezTo>
                  <a:cubicBezTo>
                    <a:pt x="0" y="54"/>
                    <a:pt x="8" y="65"/>
                    <a:pt x="23" y="65"/>
                  </a:cubicBezTo>
                  <a:close/>
                  <a:moveTo>
                    <a:pt x="23" y="11"/>
                  </a:moveTo>
                  <a:cubicBezTo>
                    <a:pt x="28" y="11"/>
                    <a:pt x="31" y="18"/>
                    <a:pt x="31" y="32"/>
                  </a:cubicBezTo>
                  <a:cubicBezTo>
                    <a:pt x="31" y="47"/>
                    <a:pt x="28" y="54"/>
                    <a:pt x="23" y="54"/>
                  </a:cubicBezTo>
                  <a:cubicBezTo>
                    <a:pt x="17" y="54"/>
                    <a:pt x="14" y="47"/>
                    <a:pt x="14" y="33"/>
                  </a:cubicBezTo>
                  <a:cubicBezTo>
                    <a:pt x="14" y="19"/>
                    <a:pt x="17" y="11"/>
                    <a:pt x="23"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4" name="Freeform 321"/>
            <p:cNvSpPr>
              <a:spLocks/>
            </p:cNvSpPr>
            <p:nvPr/>
          </p:nvSpPr>
          <p:spPr bwMode="auto">
            <a:xfrm>
              <a:off x="4451031" y="4795859"/>
              <a:ext cx="58763" cy="131490"/>
            </a:xfrm>
            <a:custGeom>
              <a:avLst/>
              <a:gdLst>
                <a:gd name="T0" fmla="*/ 12 w 20"/>
                <a:gd name="T1" fmla="*/ 0 h 44"/>
                <a:gd name="T2" fmla="*/ 4 w 20"/>
                <a:gd name="T3" fmla="*/ 6 h 44"/>
                <a:gd name="T4" fmla="*/ 0 w 20"/>
                <a:gd name="T5" fmla="*/ 7 h 44"/>
                <a:gd name="T6" fmla="*/ 5 w 20"/>
                <a:gd name="T7" fmla="*/ 16 h 44"/>
                <a:gd name="T8" fmla="*/ 6 w 20"/>
                <a:gd name="T9" fmla="*/ 15 h 44"/>
                <a:gd name="T10" fmla="*/ 6 w 20"/>
                <a:gd name="T11" fmla="*/ 20 h 44"/>
                <a:gd name="T12" fmla="*/ 20 w 20"/>
                <a:gd name="T13" fmla="*/ 44 h 44"/>
                <a:gd name="T14" fmla="*/ 20 w 20"/>
                <a:gd name="T15" fmla="*/ 0 h 44"/>
                <a:gd name="T16" fmla="*/ 12 w 20"/>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4">
                  <a:moveTo>
                    <a:pt x="12" y="0"/>
                  </a:moveTo>
                  <a:cubicBezTo>
                    <a:pt x="9" y="2"/>
                    <a:pt x="6" y="4"/>
                    <a:pt x="4" y="6"/>
                  </a:cubicBezTo>
                  <a:cubicBezTo>
                    <a:pt x="2" y="6"/>
                    <a:pt x="1" y="7"/>
                    <a:pt x="0" y="7"/>
                  </a:cubicBezTo>
                  <a:cubicBezTo>
                    <a:pt x="1" y="10"/>
                    <a:pt x="3" y="13"/>
                    <a:pt x="5" y="16"/>
                  </a:cubicBezTo>
                  <a:cubicBezTo>
                    <a:pt x="5" y="16"/>
                    <a:pt x="6" y="15"/>
                    <a:pt x="6" y="15"/>
                  </a:cubicBezTo>
                  <a:cubicBezTo>
                    <a:pt x="6" y="15"/>
                    <a:pt x="6" y="15"/>
                    <a:pt x="6" y="20"/>
                  </a:cubicBezTo>
                  <a:cubicBezTo>
                    <a:pt x="11" y="28"/>
                    <a:pt x="16" y="36"/>
                    <a:pt x="20" y="44"/>
                  </a:cubicBezTo>
                  <a:cubicBezTo>
                    <a:pt x="20" y="35"/>
                    <a:pt x="20" y="21"/>
                    <a:pt x="20" y="0"/>
                  </a:cubicBezTo>
                  <a:lnTo>
                    <a:pt x="12"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5" name="Freeform 322"/>
            <p:cNvSpPr>
              <a:spLocks noEditPoints="1"/>
            </p:cNvSpPr>
            <p:nvPr/>
          </p:nvSpPr>
          <p:spPr bwMode="auto">
            <a:xfrm>
              <a:off x="4554803" y="4795859"/>
              <a:ext cx="130027" cy="190348"/>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3"/>
                    <a:pt x="5" y="8"/>
                  </a:cubicBezTo>
                  <a:cubicBezTo>
                    <a:pt x="2" y="15"/>
                    <a:pt x="0" y="22"/>
                    <a:pt x="0" y="33"/>
                  </a:cubicBezTo>
                  <a:cubicBezTo>
                    <a:pt x="0" y="54"/>
                    <a:pt x="7" y="64"/>
                    <a:pt x="22" y="64"/>
                  </a:cubicBezTo>
                  <a:cubicBezTo>
                    <a:pt x="29" y="64"/>
                    <a:pt x="35" y="62"/>
                    <a:pt x="38" y="56"/>
                  </a:cubicBezTo>
                  <a:cubicBezTo>
                    <a:pt x="42" y="51"/>
                    <a:pt x="44" y="42"/>
                    <a:pt x="44" y="32"/>
                  </a:cubicBezTo>
                  <a:cubicBezTo>
                    <a:pt x="44" y="11"/>
                    <a:pt x="37" y="0"/>
                    <a:pt x="23" y="0"/>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6" name="Freeform 323"/>
            <p:cNvSpPr>
              <a:spLocks noEditPoints="1"/>
            </p:cNvSpPr>
            <p:nvPr/>
          </p:nvSpPr>
          <p:spPr bwMode="auto">
            <a:xfrm>
              <a:off x="4729840"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8" y="0"/>
                    <a:pt x="23" y="0"/>
                  </a:cubicBezTo>
                  <a:cubicBezTo>
                    <a:pt x="15" y="0"/>
                    <a:pt x="9" y="3"/>
                    <a:pt x="5" y="8"/>
                  </a:cubicBezTo>
                  <a:cubicBezTo>
                    <a:pt x="2" y="15"/>
                    <a:pt x="0" y="22"/>
                    <a:pt x="0" y="33"/>
                  </a:cubicBezTo>
                  <a:cubicBezTo>
                    <a:pt x="0" y="54"/>
                    <a:pt x="7" y="64"/>
                    <a:pt x="22" y="64"/>
                  </a:cubicBezTo>
                  <a:cubicBezTo>
                    <a:pt x="29" y="64"/>
                    <a:pt x="35" y="62"/>
                    <a:pt x="38" y="56"/>
                  </a:cubicBezTo>
                  <a:close/>
                  <a:moveTo>
                    <a:pt x="22" y="53"/>
                  </a:moveTo>
                  <a:cubicBezTo>
                    <a:pt x="16" y="53"/>
                    <a:pt x="14" y="47"/>
                    <a:pt x="14" y="33"/>
                  </a:cubicBezTo>
                  <a:cubicBezTo>
                    <a:pt x="14" y="18"/>
                    <a:pt x="16" y="11"/>
                    <a:pt x="22" y="11"/>
                  </a:cubicBezTo>
                  <a:cubicBezTo>
                    <a:pt x="27" y="11"/>
                    <a:pt x="30" y="18"/>
                    <a:pt x="30" y="32"/>
                  </a:cubicBezTo>
                  <a:cubicBezTo>
                    <a:pt x="30" y="47"/>
                    <a:pt x="27" y="53"/>
                    <a:pt x="22" y="53"/>
                  </a:cubicBezTo>
                  <a:close/>
                </a:path>
              </a:pathLst>
            </a:custGeom>
            <a:solidFill>
              <a:schemeClr val="tx1"/>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7" name="Freeform 324"/>
            <p:cNvSpPr>
              <a:spLocks/>
            </p:cNvSpPr>
            <p:nvPr/>
          </p:nvSpPr>
          <p:spPr bwMode="auto">
            <a:xfrm>
              <a:off x="4903626"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8" name="Freeform 329"/>
            <p:cNvSpPr>
              <a:spLocks/>
            </p:cNvSpPr>
            <p:nvPr/>
          </p:nvSpPr>
          <p:spPr bwMode="auto">
            <a:xfrm>
              <a:off x="5673791"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49" name="Freeform 330"/>
            <p:cNvSpPr>
              <a:spLocks/>
            </p:cNvSpPr>
            <p:nvPr/>
          </p:nvSpPr>
          <p:spPr bwMode="auto">
            <a:xfrm>
              <a:off x="5795067" y="4795859"/>
              <a:ext cx="76267" cy="187843"/>
            </a:xfrm>
            <a:custGeom>
              <a:avLst/>
              <a:gdLst>
                <a:gd name="T0" fmla="*/ 26 w 26"/>
                <a:gd name="T1" fmla="*/ 0 h 63"/>
                <a:gd name="T2" fmla="*/ 18 w 26"/>
                <a:gd name="T3" fmla="*/ 0 h 63"/>
                <a:gd name="T4" fmla="*/ 10 w 26"/>
                <a:gd name="T5" fmla="*/ 6 h 63"/>
                <a:gd name="T6" fmla="*/ 0 w 26"/>
                <a:gd name="T7" fmla="*/ 9 h 63"/>
                <a:gd name="T8" fmla="*/ 0 w 26"/>
                <a:gd name="T9" fmla="*/ 20 h 63"/>
                <a:gd name="T10" fmla="*/ 3 w 26"/>
                <a:gd name="T11" fmla="*/ 20 h 63"/>
                <a:gd name="T12" fmla="*/ 7 w 26"/>
                <a:gd name="T13" fmla="*/ 19 h 63"/>
                <a:gd name="T14" fmla="*/ 10 w 26"/>
                <a:gd name="T15" fmla="*/ 17 h 63"/>
                <a:gd name="T16" fmla="*/ 13 w 26"/>
                <a:gd name="T17" fmla="*/ 15 h 63"/>
                <a:gd name="T18" fmla="*/ 13 w 26"/>
                <a:gd name="T19" fmla="*/ 63 h 63"/>
                <a:gd name="T20" fmla="*/ 26 w 26"/>
                <a:gd name="T21" fmla="*/ 63 h 63"/>
                <a:gd name="T22" fmla="*/ 26 w 26"/>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0"/>
                  </a:move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0" name="Freeform 331"/>
            <p:cNvSpPr>
              <a:spLocks noEditPoints="1"/>
            </p:cNvSpPr>
            <p:nvPr/>
          </p:nvSpPr>
          <p:spPr bwMode="auto">
            <a:xfrm>
              <a:off x="5916342" y="4795859"/>
              <a:ext cx="130027" cy="190348"/>
            </a:xfrm>
            <a:custGeom>
              <a:avLst/>
              <a:gdLst>
                <a:gd name="T0" fmla="*/ 39 w 44"/>
                <a:gd name="T1" fmla="*/ 56 h 64"/>
                <a:gd name="T2" fmla="*/ 44 w 44"/>
                <a:gd name="T3" fmla="*/ 32 h 64"/>
                <a:gd name="T4" fmla="*/ 23 w 44"/>
                <a:gd name="T5" fmla="*/ 0 h 64"/>
                <a:gd name="T6" fmla="*/ 6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1"/>
                    <a:pt x="44" y="42"/>
                    <a:pt x="44" y="32"/>
                  </a:cubicBezTo>
                  <a:cubicBezTo>
                    <a:pt x="44" y="11"/>
                    <a:pt x="38" y="0"/>
                    <a:pt x="23" y="0"/>
                  </a:cubicBezTo>
                  <a:cubicBezTo>
                    <a:pt x="16" y="0"/>
                    <a:pt x="9" y="3"/>
                    <a:pt x="6" y="8"/>
                  </a:cubicBezTo>
                  <a:cubicBezTo>
                    <a:pt x="2" y="15"/>
                    <a:pt x="0" y="22"/>
                    <a:pt x="0" y="33"/>
                  </a:cubicBezTo>
                  <a:cubicBezTo>
                    <a:pt x="0" y="54"/>
                    <a:pt x="7" y="64"/>
                    <a:pt x="22" y="64"/>
                  </a:cubicBezTo>
                  <a:cubicBezTo>
                    <a:pt x="30" y="64"/>
                    <a:pt x="35" y="62"/>
                    <a:pt x="39" y="56"/>
                  </a:cubicBezTo>
                  <a:close/>
                  <a:moveTo>
                    <a:pt x="22" y="53"/>
                  </a:moveTo>
                  <a:cubicBezTo>
                    <a:pt x="17" y="53"/>
                    <a:pt x="14" y="47"/>
                    <a:pt x="14" y="33"/>
                  </a:cubicBezTo>
                  <a:cubicBezTo>
                    <a:pt x="14" y="18"/>
                    <a:pt x="17" y="11"/>
                    <a:pt x="22" y="11"/>
                  </a:cubicBezTo>
                  <a:cubicBezTo>
                    <a:pt x="28" y="11"/>
                    <a:pt x="30" y="18"/>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1" name="Freeform 332"/>
            <p:cNvSpPr>
              <a:spLocks/>
            </p:cNvSpPr>
            <p:nvPr/>
          </p:nvSpPr>
          <p:spPr bwMode="auto">
            <a:xfrm>
              <a:off x="6091381"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3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5" y="2"/>
                    <a:pt x="13" y="4"/>
                    <a:pt x="10" y="6"/>
                  </a:cubicBezTo>
                  <a:cubicBezTo>
                    <a:pt x="6" y="7"/>
                    <a:pt x="3" y="8"/>
                    <a:pt x="0" y="9"/>
                  </a:cubicBezTo>
                  <a:cubicBezTo>
                    <a:pt x="0" y="9"/>
                    <a:pt x="0" y="9"/>
                    <a:pt x="0" y="20"/>
                  </a:cubicBezTo>
                  <a:cubicBezTo>
                    <a:pt x="1" y="20"/>
                    <a:pt x="1"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2" name="Freeform 336"/>
            <p:cNvSpPr>
              <a:spLocks/>
            </p:cNvSpPr>
            <p:nvPr/>
          </p:nvSpPr>
          <p:spPr bwMode="auto">
            <a:xfrm>
              <a:off x="6682756" y="4795859"/>
              <a:ext cx="80017" cy="187843"/>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8 w 27"/>
                <a:gd name="T11" fmla="*/ 0 h 63"/>
                <a:gd name="T12" fmla="*/ 10 w 27"/>
                <a:gd name="T13" fmla="*/ 6 h 63"/>
                <a:gd name="T14" fmla="*/ 0 w 27"/>
                <a:gd name="T15" fmla="*/ 9 h 63"/>
                <a:gd name="T16" fmla="*/ 0 w 27"/>
                <a:gd name="T17" fmla="*/ 20 h 63"/>
                <a:gd name="T18" fmla="*/ 4 w 27"/>
                <a:gd name="T19" fmla="*/ 20 h 63"/>
                <a:gd name="T20" fmla="*/ 8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8" y="19"/>
                    <a:pt x="9" y="18"/>
                    <a:pt x="10" y="1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3" name="Freeform 337"/>
            <p:cNvSpPr>
              <a:spLocks/>
            </p:cNvSpPr>
            <p:nvPr/>
          </p:nvSpPr>
          <p:spPr bwMode="auto">
            <a:xfrm>
              <a:off x="6807783" y="4795859"/>
              <a:ext cx="76267" cy="187843"/>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0" y="20"/>
                    <a:pt x="1" y="20"/>
                    <a:pt x="3" y="20"/>
                  </a:cubicBezTo>
                  <a:cubicBezTo>
                    <a:pt x="4" y="20"/>
                    <a:pt x="5" y="20"/>
                    <a:pt x="7" y="19"/>
                  </a:cubicBezTo>
                  <a:cubicBezTo>
                    <a:pt x="8" y="19"/>
                    <a:pt x="9" y="18"/>
                    <a:pt x="10" y="17"/>
                  </a:cubicBezTo>
                  <a:cubicBezTo>
                    <a:pt x="10" y="17"/>
                    <a:pt x="11"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4" name="Freeform 340"/>
            <p:cNvSpPr>
              <a:spLocks/>
            </p:cNvSpPr>
            <p:nvPr/>
          </p:nvSpPr>
          <p:spPr bwMode="auto">
            <a:xfrm>
              <a:off x="7224123" y="4795859"/>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5" name="Freeform 341"/>
            <p:cNvSpPr>
              <a:spLocks noEditPoints="1"/>
            </p:cNvSpPr>
            <p:nvPr/>
          </p:nvSpPr>
          <p:spPr bwMode="auto">
            <a:xfrm>
              <a:off x="7346649" y="4795859"/>
              <a:ext cx="132528" cy="190348"/>
            </a:xfrm>
            <a:custGeom>
              <a:avLst/>
              <a:gdLst>
                <a:gd name="T0" fmla="*/ 23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3 w 45"/>
                <a:gd name="T13" fmla="*/ 64 h 64"/>
                <a:gd name="T14" fmla="*/ 23 w 45"/>
                <a:gd name="T15" fmla="*/ 11 h 64"/>
                <a:gd name="T16" fmla="*/ 31 w 45"/>
                <a:gd name="T17" fmla="*/ 32 h 64"/>
                <a:gd name="T18" fmla="*/ 23 w 45"/>
                <a:gd name="T19" fmla="*/ 53 h 64"/>
                <a:gd name="T20" fmla="*/ 14 w 45"/>
                <a:gd name="T21" fmla="*/ 33 h 64"/>
                <a:gd name="T22" fmla="*/ 23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64"/>
                  </a:moveTo>
                  <a:cubicBezTo>
                    <a:pt x="30" y="64"/>
                    <a:pt x="35" y="62"/>
                    <a:pt x="39" y="56"/>
                  </a:cubicBezTo>
                  <a:cubicBezTo>
                    <a:pt x="43" y="51"/>
                    <a:pt x="45" y="42"/>
                    <a:pt x="45" y="32"/>
                  </a:cubicBezTo>
                  <a:cubicBezTo>
                    <a:pt x="45" y="11"/>
                    <a:pt x="38" y="0"/>
                    <a:pt x="23" y="0"/>
                  </a:cubicBezTo>
                  <a:cubicBezTo>
                    <a:pt x="16" y="0"/>
                    <a:pt x="10" y="3"/>
                    <a:pt x="6" y="8"/>
                  </a:cubicBezTo>
                  <a:cubicBezTo>
                    <a:pt x="2" y="15"/>
                    <a:pt x="0" y="22"/>
                    <a:pt x="0" y="33"/>
                  </a:cubicBezTo>
                  <a:cubicBezTo>
                    <a:pt x="0" y="54"/>
                    <a:pt x="8" y="64"/>
                    <a:pt x="23" y="64"/>
                  </a:cubicBezTo>
                  <a:close/>
                  <a:moveTo>
                    <a:pt x="23" y="11"/>
                  </a:moveTo>
                  <a:cubicBezTo>
                    <a:pt x="28" y="11"/>
                    <a:pt x="31" y="18"/>
                    <a:pt x="31" y="32"/>
                  </a:cubicBezTo>
                  <a:cubicBezTo>
                    <a:pt x="31" y="47"/>
                    <a:pt x="28" y="53"/>
                    <a:pt x="23" y="53"/>
                  </a:cubicBezTo>
                  <a:cubicBezTo>
                    <a:pt x="17" y="53"/>
                    <a:pt x="14" y="47"/>
                    <a:pt x="14" y="33"/>
                  </a:cubicBezTo>
                  <a:cubicBezTo>
                    <a:pt x="14" y="18"/>
                    <a:pt x="17" y="11"/>
                    <a:pt x="23" y="11"/>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6" name="Freeform 342"/>
            <p:cNvSpPr>
              <a:spLocks/>
            </p:cNvSpPr>
            <p:nvPr/>
          </p:nvSpPr>
          <p:spPr bwMode="auto">
            <a:xfrm>
              <a:off x="7520435" y="4795859"/>
              <a:ext cx="80017" cy="187843"/>
            </a:xfrm>
            <a:custGeom>
              <a:avLst/>
              <a:gdLst>
                <a:gd name="T0" fmla="*/ 13 w 27"/>
                <a:gd name="T1" fmla="*/ 63 h 63"/>
                <a:gd name="T2" fmla="*/ 27 w 27"/>
                <a:gd name="T3" fmla="*/ 63 h 63"/>
                <a:gd name="T4" fmla="*/ 27 w 27"/>
                <a:gd name="T5" fmla="*/ 0 h 63"/>
                <a:gd name="T6" fmla="*/ 19 w 27"/>
                <a:gd name="T7" fmla="*/ 0 h 63"/>
                <a:gd name="T8" fmla="*/ 10 w 27"/>
                <a:gd name="T9" fmla="*/ 6 h 63"/>
                <a:gd name="T10" fmla="*/ 0 w 27"/>
                <a:gd name="T11" fmla="*/ 9 h 63"/>
                <a:gd name="T12" fmla="*/ 0 w 27"/>
                <a:gd name="T13" fmla="*/ 20 h 63"/>
                <a:gd name="T14" fmla="*/ 4 w 27"/>
                <a:gd name="T15" fmla="*/ 20 h 63"/>
                <a:gd name="T16" fmla="*/ 8 w 27"/>
                <a:gd name="T17" fmla="*/ 19 h 63"/>
                <a:gd name="T18" fmla="*/ 10 w 27"/>
                <a:gd name="T19" fmla="*/ 17 h 63"/>
                <a:gd name="T20" fmla="*/ 13 w 27"/>
                <a:gd name="T21" fmla="*/ 15 h 63"/>
                <a:gd name="T22" fmla="*/ 13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3" y="63"/>
                  </a:moveTo>
                  <a:cubicBezTo>
                    <a:pt x="13" y="63"/>
                    <a:pt x="13" y="63"/>
                    <a:pt x="27" y="63"/>
                  </a:cubicBez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10" y="18"/>
                    <a:pt x="10" y="17"/>
                  </a:cubicBezTo>
                  <a:cubicBezTo>
                    <a:pt x="11" y="17"/>
                    <a:pt x="12" y="16"/>
                    <a:pt x="13" y="15"/>
                  </a:cubicBezTo>
                  <a:cubicBezTo>
                    <a:pt x="13" y="15"/>
                    <a:pt x="13" y="15"/>
                    <a:pt x="13" y="6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7" name="Freeform 343"/>
            <p:cNvSpPr>
              <a:spLocks noEditPoints="1"/>
            </p:cNvSpPr>
            <p:nvPr/>
          </p:nvSpPr>
          <p:spPr bwMode="auto">
            <a:xfrm>
              <a:off x="7645462" y="4795859"/>
              <a:ext cx="130027" cy="190348"/>
            </a:xfrm>
            <a:custGeom>
              <a:avLst/>
              <a:gdLst>
                <a:gd name="T0" fmla="*/ 38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8 w 44"/>
                <a:gd name="T13" fmla="*/ 56 h 64"/>
                <a:gd name="T14" fmla="*/ 14 w 44"/>
                <a:gd name="T15" fmla="*/ 33 h 64"/>
                <a:gd name="T16" fmla="*/ 22 w 44"/>
                <a:gd name="T17" fmla="*/ 11 h 64"/>
                <a:gd name="T18" fmla="*/ 30 w 44"/>
                <a:gd name="T19" fmla="*/ 32 h 64"/>
                <a:gd name="T20" fmla="*/ 22 w 44"/>
                <a:gd name="T21" fmla="*/ 53 h 64"/>
                <a:gd name="T22" fmla="*/ 14 w 44"/>
                <a:gd name="T23"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8" y="56"/>
                  </a:moveTo>
                  <a:cubicBezTo>
                    <a:pt x="42" y="51"/>
                    <a:pt x="44" y="42"/>
                    <a:pt x="44" y="32"/>
                  </a:cubicBezTo>
                  <a:cubicBezTo>
                    <a:pt x="44" y="11"/>
                    <a:pt x="37" y="0"/>
                    <a:pt x="23" y="0"/>
                  </a:cubicBezTo>
                  <a:cubicBezTo>
                    <a:pt x="15" y="0"/>
                    <a:pt x="9" y="3"/>
                    <a:pt x="5" y="8"/>
                  </a:cubicBezTo>
                  <a:cubicBezTo>
                    <a:pt x="2" y="15"/>
                    <a:pt x="0" y="22"/>
                    <a:pt x="0" y="33"/>
                  </a:cubicBezTo>
                  <a:cubicBezTo>
                    <a:pt x="0" y="54"/>
                    <a:pt x="7" y="64"/>
                    <a:pt x="22" y="64"/>
                  </a:cubicBezTo>
                  <a:cubicBezTo>
                    <a:pt x="29" y="64"/>
                    <a:pt x="35" y="62"/>
                    <a:pt x="38" y="56"/>
                  </a:cubicBezTo>
                  <a:close/>
                  <a:moveTo>
                    <a:pt x="14" y="33"/>
                  </a:moveTo>
                  <a:cubicBezTo>
                    <a:pt x="14" y="18"/>
                    <a:pt x="16" y="11"/>
                    <a:pt x="22" y="11"/>
                  </a:cubicBezTo>
                  <a:cubicBezTo>
                    <a:pt x="27" y="11"/>
                    <a:pt x="30" y="18"/>
                    <a:pt x="30" y="32"/>
                  </a:cubicBezTo>
                  <a:cubicBezTo>
                    <a:pt x="30" y="47"/>
                    <a:pt x="27" y="53"/>
                    <a:pt x="22" y="53"/>
                  </a:cubicBezTo>
                  <a:cubicBezTo>
                    <a:pt x="16" y="53"/>
                    <a:pt x="14" y="47"/>
                    <a:pt x="14" y="3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8" name="Freeform 344"/>
            <p:cNvSpPr>
              <a:spLocks/>
            </p:cNvSpPr>
            <p:nvPr/>
          </p:nvSpPr>
          <p:spPr bwMode="auto">
            <a:xfrm>
              <a:off x="7819249" y="4795859"/>
              <a:ext cx="77516" cy="187843"/>
            </a:xfrm>
            <a:custGeom>
              <a:avLst/>
              <a:gdLst>
                <a:gd name="T0" fmla="*/ 10 w 26"/>
                <a:gd name="T1" fmla="*/ 6 h 63"/>
                <a:gd name="T2" fmla="*/ 0 w 26"/>
                <a:gd name="T3" fmla="*/ 9 h 63"/>
                <a:gd name="T4" fmla="*/ 0 w 26"/>
                <a:gd name="T5" fmla="*/ 20 h 63"/>
                <a:gd name="T6" fmla="*/ 3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59" name="Freeform 345"/>
            <p:cNvSpPr>
              <a:spLocks/>
            </p:cNvSpPr>
            <p:nvPr/>
          </p:nvSpPr>
          <p:spPr bwMode="auto">
            <a:xfrm>
              <a:off x="7940525" y="4795859"/>
              <a:ext cx="107523" cy="169060"/>
            </a:xfrm>
            <a:custGeom>
              <a:avLst/>
              <a:gdLst>
                <a:gd name="T0" fmla="*/ 6 w 36"/>
                <a:gd name="T1" fmla="*/ 8 h 57"/>
                <a:gd name="T2" fmla="*/ 0 w 36"/>
                <a:gd name="T3" fmla="*/ 33 h 57"/>
                <a:gd name="T4" fmla="*/ 6 w 36"/>
                <a:gd name="T5" fmla="*/ 57 h 57"/>
                <a:gd name="T6" fmla="*/ 15 w 36"/>
                <a:gd name="T7" fmla="*/ 43 h 57"/>
                <a:gd name="T8" fmla="*/ 14 w 36"/>
                <a:gd name="T9" fmla="*/ 33 h 57"/>
                <a:gd name="T10" fmla="*/ 22 w 36"/>
                <a:gd name="T11" fmla="*/ 11 h 57"/>
                <a:gd name="T12" fmla="*/ 29 w 36"/>
                <a:gd name="T13" fmla="*/ 18 h 57"/>
                <a:gd name="T14" fmla="*/ 36 w 36"/>
                <a:gd name="T15" fmla="*/ 4 h 57"/>
                <a:gd name="T16" fmla="*/ 23 w 36"/>
                <a:gd name="T17" fmla="*/ 0 h 57"/>
                <a:gd name="T18" fmla="*/ 6 w 36"/>
                <a:gd name="T19"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7">
                  <a:moveTo>
                    <a:pt x="6" y="8"/>
                  </a:moveTo>
                  <a:cubicBezTo>
                    <a:pt x="2" y="15"/>
                    <a:pt x="0" y="22"/>
                    <a:pt x="0" y="33"/>
                  </a:cubicBezTo>
                  <a:cubicBezTo>
                    <a:pt x="0" y="44"/>
                    <a:pt x="2" y="52"/>
                    <a:pt x="6" y="57"/>
                  </a:cubicBezTo>
                  <a:cubicBezTo>
                    <a:pt x="9" y="52"/>
                    <a:pt x="12" y="48"/>
                    <a:pt x="15" y="43"/>
                  </a:cubicBezTo>
                  <a:cubicBezTo>
                    <a:pt x="14" y="40"/>
                    <a:pt x="14" y="37"/>
                    <a:pt x="14" y="33"/>
                  </a:cubicBezTo>
                  <a:cubicBezTo>
                    <a:pt x="14" y="18"/>
                    <a:pt x="17" y="11"/>
                    <a:pt x="22" y="11"/>
                  </a:cubicBezTo>
                  <a:cubicBezTo>
                    <a:pt x="25" y="11"/>
                    <a:pt x="28" y="13"/>
                    <a:pt x="29" y="18"/>
                  </a:cubicBezTo>
                  <a:cubicBezTo>
                    <a:pt x="31" y="13"/>
                    <a:pt x="34" y="9"/>
                    <a:pt x="36" y="4"/>
                  </a:cubicBezTo>
                  <a:cubicBezTo>
                    <a:pt x="33" y="2"/>
                    <a:pt x="28" y="0"/>
                    <a:pt x="23" y="0"/>
                  </a:cubicBezTo>
                  <a:cubicBezTo>
                    <a:pt x="16" y="0"/>
                    <a:pt x="9" y="3"/>
                    <a:pt x="6" y="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0" name="Freeform 346"/>
            <p:cNvSpPr>
              <a:spLocks/>
            </p:cNvSpPr>
            <p:nvPr/>
          </p:nvSpPr>
          <p:spPr bwMode="auto">
            <a:xfrm>
              <a:off x="4574806" y="5021271"/>
              <a:ext cx="92519" cy="125229"/>
            </a:xfrm>
            <a:custGeom>
              <a:avLst/>
              <a:gdLst>
                <a:gd name="T0" fmla="*/ 10 w 31"/>
                <a:gd name="T1" fmla="*/ 0 h 42"/>
                <a:gd name="T2" fmla="*/ 0 w 31"/>
                <a:gd name="T3" fmla="*/ 2 h 42"/>
                <a:gd name="T4" fmla="*/ 7 w 31"/>
                <a:gd name="T5" fmla="*/ 11 h 42"/>
                <a:gd name="T6" fmla="*/ 9 w 31"/>
                <a:gd name="T7" fmla="*/ 11 h 42"/>
                <a:gd name="T8" fmla="*/ 17 w 31"/>
                <a:gd name="T9" fmla="*/ 25 h 42"/>
                <a:gd name="T10" fmla="*/ 30 w 31"/>
                <a:gd name="T11" fmla="*/ 42 h 42"/>
                <a:gd name="T12" fmla="*/ 31 w 31"/>
                <a:gd name="T13" fmla="*/ 32 h 42"/>
                <a:gd name="T14" fmla="*/ 10 w 3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2">
                  <a:moveTo>
                    <a:pt x="10" y="0"/>
                  </a:moveTo>
                  <a:cubicBezTo>
                    <a:pt x="7" y="0"/>
                    <a:pt x="3" y="1"/>
                    <a:pt x="0" y="2"/>
                  </a:cubicBezTo>
                  <a:cubicBezTo>
                    <a:pt x="3" y="5"/>
                    <a:pt x="5" y="8"/>
                    <a:pt x="7" y="11"/>
                  </a:cubicBezTo>
                  <a:cubicBezTo>
                    <a:pt x="8" y="11"/>
                    <a:pt x="8" y="11"/>
                    <a:pt x="9" y="11"/>
                  </a:cubicBezTo>
                  <a:cubicBezTo>
                    <a:pt x="14" y="11"/>
                    <a:pt x="16" y="15"/>
                    <a:pt x="17" y="25"/>
                  </a:cubicBezTo>
                  <a:cubicBezTo>
                    <a:pt x="21" y="31"/>
                    <a:pt x="26" y="37"/>
                    <a:pt x="30" y="42"/>
                  </a:cubicBezTo>
                  <a:cubicBezTo>
                    <a:pt x="31" y="39"/>
                    <a:pt x="31" y="36"/>
                    <a:pt x="31" y="32"/>
                  </a:cubicBezTo>
                  <a:cubicBezTo>
                    <a:pt x="31" y="11"/>
                    <a:pt x="25" y="0"/>
                    <a:pt x="10"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1" name="Freeform 355"/>
            <p:cNvSpPr>
              <a:spLocks/>
            </p:cNvSpPr>
            <p:nvPr/>
          </p:nvSpPr>
          <p:spPr bwMode="auto">
            <a:xfrm>
              <a:off x="5964529" y="5021271"/>
              <a:ext cx="76267" cy="184087"/>
            </a:xfrm>
            <a:custGeom>
              <a:avLst/>
              <a:gdLst>
                <a:gd name="T0" fmla="*/ 7 w 26"/>
                <a:gd name="T1" fmla="*/ 18 h 62"/>
                <a:gd name="T2" fmla="*/ 10 w 26"/>
                <a:gd name="T3" fmla="*/ 16 h 62"/>
                <a:gd name="T4" fmla="*/ 13 w 26"/>
                <a:gd name="T5" fmla="*/ 15 h 62"/>
                <a:gd name="T6" fmla="*/ 13 w 26"/>
                <a:gd name="T7" fmla="*/ 62 h 62"/>
                <a:gd name="T8" fmla="*/ 26 w 26"/>
                <a:gd name="T9" fmla="*/ 62 h 62"/>
                <a:gd name="T10" fmla="*/ 26 w 26"/>
                <a:gd name="T11" fmla="*/ 0 h 62"/>
                <a:gd name="T12" fmla="*/ 18 w 26"/>
                <a:gd name="T13" fmla="*/ 0 h 62"/>
                <a:gd name="T14" fmla="*/ 10 w 26"/>
                <a:gd name="T15" fmla="*/ 5 h 62"/>
                <a:gd name="T16" fmla="*/ 0 w 26"/>
                <a:gd name="T17" fmla="*/ 9 h 62"/>
                <a:gd name="T18" fmla="*/ 0 w 26"/>
                <a:gd name="T19" fmla="*/ 20 h 62"/>
                <a:gd name="T20" fmla="*/ 3 w 26"/>
                <a:gd name="T21" fmla="*/ 20 h 62"/>
                <a:gd name="T22" fmla="*/ 7 w 26"/>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7" y="18"/>
                  </a:move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2" name="Freeform 365"/>
            <p:cNvSpPr>
              <a:spLocks noEditPoints="1"/>
            </p:cNvSpPr>
            <p:nvPr/>
          </p:nvSpPr>
          <p:spPr bwMode="auto">
            <a:xfrm>
              <a:off x="7381655"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3" name="Freeform 366"/>
            <p:cNvSpPr>
              <a:spLocks/>
            </p:cNvSpPr>
            <p:nvPr/>
          </p:nvSpPr>
          <p:spPr bwMode="auto">
            <a:xfrm>
              <a:off x="7556694" y="5021271"/>
              <a:ext cx="76267" cy="184087"/>
            </a:xfrm>
            <a:custGeom>
              <a:avLst/>
              <a:gdLst>
                <a:gd name="T0" fmla="*/ 10 w 26"/>
                <a:gd name="T1" fmla="*/ 5 h 62"/>
                <a:gd name="T2" fmla="*/ 0 w 26"/>
                <a:gd name="T3" fmla="*/ 9 h 62"/>
                <a:gd name="T4" fmla="*/ 0 w 26"/>
                <a:gd name="T5" fmla="*/ 20 h 62"/>
                <a:gd name="T6" fmla="*/ 4 w 26"/>
                <a:gd name="T7" fmla="*/ 20 h 62"/>
                <a:gd name="T8" fmla="*/ 7 w 26"/>
                <a:gd name="T9" fmla="*/ 18 h 62"/>
                <a:gd name="T10" fmla="*/ 10 w 26"/>
                <a:gd name="T11" fmla="*/ 16 h 62"/>
                <a:gd name="T12" fmla="*/ 13 w 26"/>
                <a:gd name="T13" fmla="*/ 15 h 62"/>
                <a:gd name="T14" fmla="*/ 13 w 26"/>
                <a:gd name="T15" fmla="*/ 62 h 62"/>
                <a:gd name="T16" fmla="*/ 26 w 26"/>
                <a:gd name="T17" fmla="*/ 62 h 62"/>
                <a:gd name="T18" fmla="*/ 26 w 26"/>
                <a:gd name="T19" fmla="*/ 0 h 62"/>
                <a:gd name="T20" fmla="*/ 18 w 26"/>
                <a:gd name="T21" fmla="*/ 0 h 62"/>
                <a:gd name="T22" fmla="*/ 10 w 26"/>
                <a:gd name="T23"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10" y="5"/>
                  </a:move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26" y="62"/>
                  </a:cubicBezTo>
                  <a:cubicBezTo>
                    <a:pt x="26" y="62"/>
                    <a:pt x="26" y="62"/>
                    <a:pt x="26" y="0"/>
                  </a:cubicBezTo>
                  <a:cubicBezTo>
                    <a:pt x="18" y="0"/>
                    <a:pt x="18" y="0"/>
                    <a:pt x="18" y="0"/>
                  </a:cubicBezTo>
                  <a:cubicBezTo>
                    <a:pt x="15" y="2"/>
                    <a:pt x="13" y="4"/>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4" name="Freeform 367"/>
            <p:cNvSpPr>
              <a:spLocks noEditPoints="1"/>
            </p:cNvSpPr>
            <p:nvPr/>
          </p:nvSpPr>
          <p:spPr bwMode="auto">
            <a:xfrm>
              <a:off x="7677968" y="5021271"/>
              <a:ext cx="130027" cy="190348"/>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0"/>
                    <a:pt x="44" y="42"/>
                    <a:pt x="44" y="32"/>
                  </a:cubicBezTo>
                  <a:cubicBezTo>
                    <a:pt x="44" y="11"/>
                    <a:pt x="38" y="0"/>
                    <a:pt x="23" y="0"/>
                  </a:cubicBezTo>
                  <a:close/>
                  <a:moveTo>
                    <a:pt x="22" y="53"/>
                  </a:moveTo>
                  <a:cubicBezTo>
                    <a:pt x="17" y="53"/>
                    <a:pt x="14" y="47"/>
                    <a:pt x="14" y="33"/>
                  </a:cubicBezTo>
                  <a:cubicBezTo>
                    <a:pt x="14" y="18"/>
                    <a:pt x="17" y="11"/>
                    <a:pt x="22" y="11"/>
                  </a:cubicBezTo>
                  <a:cubicBezTo>
                    <a:pt x="28" y="11"/>
                    <a:pt x="31" y="17"/>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5" name="Freeform 368"/>
            <p:cNvSpPr>
              <a:spLocks/>
            </p:cNvSpPr>
            <p:nvPr/>
          </p:nvSpPr>
          <p:spPr bwMode="auto">
            <a:xfrm>
              <a:off x="7851756" y="5021271"/>
              <a:ext cx="68765" cy="92669"/>
            </a:xfrm>
            <a:custGeom>
              <a:avLst/>
              <a:gdLst>
                <a:gd name="T0" fmla="*/ 6 w 23"/>
                <a:gd name="T1" fmla="*/ 8 h 31"/>
                <a:gd name="T2" fmla="*/ 0 w 23"/>
                <a:gd name="T3" fmla="*/ 31 h 31"/>
                <a:gd name="T4" fmla="*/ 23 w 23"/>
                <a:gd name="T5" fmla="*/ 0 h 31"/>
                <a:gd name="T6" fmla="*/ 6 w 23"/>
                <a:gd name="T7" fmla="*/ 8 h 31"/>
              </a:gdLst>
              <a:ahLst/>
              <a:cxnLst>
                <a:cxn ang="0">
                  <a:pos x="T0" y="T1"/>
                </a:cxn>
                <a:cxn ang="0">
                  <a:pos x="T2" y="T3"/>
                </a:cxn>
                <a:cxn ang="0">
                  <a:pos x="T4" y="T5"/>
                </a:cxn>
                <a:cxn ang="0">
                  <a:pos x="T6" y="T7"/>
                </a:cxn>
              </a:cxnLst>
              <a:rect l="0" t="0" r="r" b="b"/>
              <a:pathLst>
                <a:path w="23" h="31">
                  <a:moveTo>
                    <a:pt x="6" y="8"/>
                  </a:moveTo>
                  <a:cubicBezTo>
                    <a:pt x="2" y="14"/>
                    <a:pt x="1" y="21"/>
                    <a:pt x="0" y="31"/>
                  </a:cubicBezTo>
                  <a:cubicBezTo>
                    <a:pt x="8" y="21"/>
                    <a:pt x="16" y="11"/>
                    <a:pt x="23" y="0"/>
                  </a:cubicBezTo>
                  <a:cubicBezTo>
                    <a:pt x="16" y="0"/>
                    <a:pt x="10" y="3"/>
                    <a:pt x="6" y="8"/>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6" name="Freeform 371"/>
            <p:cNvSpPr>
              <a:spLocks noEditPoints="1"/>
            </p:cNvSpPr>
            <p:nvPr/>
          </p:nvSpPr>
          <p:spPr bwMode="auto">
            <a:xfrm>
              <a:off x="4989895" y="5244178"/>
              <a:ext cx="132528" cy="192852"/>
            </a:xfrm>
            <a:custGeom>
              <a:avLst/>
              <a:gdLst>
                <a:gd name="T0" fmla="*/ 23 w 45"/>
                <a:gd name="T1" fmla="*/ 0 h 65"/>
                <a:gd name="T2" fmla="*/ 6 w 45"/>
                <a:gd name="T3" fmla="*/ 9 h 65"/>
                <a:gd name="T4" fmla="*/ 0 w 45"/>
                <a:gd name="T5" fmla="*/ 33 h 65"/>
                <a:gd name="T6" fmla="*/ 22 w 45"/>
                <a:gd name="T7" fmla="*/ 65 h 65"/>
                <a:gd name="T8" fmla="*/ 39 w 45"/>
                <a:gd name="T9" fmla="*/ 56 h 65"/>
                <a:gd name="T10" fmla="*/ 45 w 45"/>
                <a:gd name="T11" fmla="*/ 32 h 65"/>
                <a:gd name="T12" fmla="*/ 23 w 45"/>
                <a:gd name="T13" fmla="*/ 0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9" y="3"/>
                    <a:pt x="6" y="9"/>
                  </a:cubicBezTo>
                  <a:cubicBezTo>
                    <a:pt x="2" y="15"/>
                    <a:pt x="0" y="22"/>
                    <a:pt x="0" y="33"/>
                  </a:cubicBezTo>
                  <a:cubicBezTo>
                    <a:pt x="0" y="55"/>
                    <a:pt x="8" y="65"/>
                    <a:pt x="22" y="65"/>
                  </a:cubicBezTo>
                  <a:cubicBezTo>
                    <a:pt x="30" y="65"/>
                    <a:pt x="35" y="62"/>
                    <a:pt x="39" y="56"/>
                  </a:cubicBezTo>
                  <a:cubicBezTo>
                    <a:pt x="43" y="51"/>
                    <a:pt x="45" y="43"/>
                    <a:pt x="45" y="32"/>
                  </a:cubicBezTo>
                  <a:cubicBezTo>
                    <a:pt x="45"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7" name="Freeform 372"/>
            <p:cNvSpPr>
              <a:spLocks/>
            </p:cNvSpPr>
            <p:nvPr/>
          </p:nvSpPr>
          <p:spPr bwMode="auto">
            <a:xfrm>
              <a:off x="5164932" y="5244178"/>
              <a:ext cx="78768"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8" name="Freeform 373"/>
            <p:cNvSpPr>
              <a:spLocks noEditPoints="1"/>
            </p:cNvSpPr>
            <p:nvPr/>
          </p:nvSpPr>
          <p:spPr bwMode="auto">
            <a:xfrm>
              <a:off x="5286209" y="5244178"/>
              <a:ext cx="132528" cy="192852"/>
            </a:xfrm>
            <a:custGeom>
              <a:avLst/>
              <a:gdLst>
                <a:gd name="T0" fmla="*/ 23 w 45"/>
                <a:gd name="T1" fmla="*/ 0 h 65"/>
                <a:gd name="T2" fmla="*/ 6 w 45"/>
                <a:gd name="T3" fmla="*/ 9 h 65"/>
                <a:gd name="T4" fmla="*/ 0 w 45"/>
                <a:gd name="T5" fmla="*/ 33 h 65"/>
                <a:gd name="T6" fmla="*/ 23 w 45"/>
                <a:gd name="T7" fmla="*/ 65 h 65"/>
                <a:gd name="T8" fmla="*/ 39 w 45"/>
                <a:gd name="T9" fmla="*/ 56 h 65"/>
                <a:gd name="T10" fmla="*/ 45 w 45"/>
                <a:gd name="T11" fmla="*/ 32 h 65"/>
                <a:gd name="T12" fmla="*/ 23 w 45"/>
                <a:gd name="T13" fmla="*/ 0 h 65"/>
                <a:gd name="T14" fmla="*/ 23 w 45"/>
                <a:gd name="T15" fmla="*/ 54 h 65"/>
                <a:gd name="T16" fmla="*/ 14 w 45"/>
                <a:gd name="T17" fmla="*/ 33 h 65"/>
                <a:gd name="T18" fmla="*/ 23 w 45"/>
                <a:gd name="T19" fmla="*/ 11 h 65"/>
                <a:gd name="T20" fmla="*/ 31 w 45"/>
                <a:gd name="T21" fmla="*/ 32 h 65"/>
                <a:gd name="T22" fmla="*/ 23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23" y="0"/>
                  </a:moveTo>
                  <a:cubicBezTo>
                    <a:pt x="16" y="0"/>
                    <a:pt x="10" y="3"/>
                    <a:pt x="6" y="9"/>
                  </a:cubicBezTo>
                  <a:cubicBezTo>
                    <a:pt x="2" y="15"/>
                    <a:pt x="0" y="22"/>
                    <a:pt x="0" y="33"/>
                  </a:cubicBezTo>
                  <a:cubicBezTo>
                    <a:pt x="0" y="55"/>
                    <a:pt x="8" y="65"/>
                    <a:pt x="23" y="65"/>
                  </a:cubicBezTo>
                  <a:cubicBezTo>
                    <a:pt x="30" y="65"/>
                    <a:pt x="35" y="62"/>
                    <a:pt x="39" y="56"/>
                  </a:cubicBezTo>
                  <a:cubicBezTo>
                    <a:pt x="43" y="51"/>
                    <a:pt x="45" y="43"/>
                    <a:pt x="45" y="32"/>
                  </a:cubicBezTo>
                  <a:cubicBezTo>
                    <a:pt x="45" y="11"/>
                    <a:pt x="38" y="0"/>
                    <a:pt x="23" y="0"/>
                  </a:cubicBezTo>
                  <a:close/>
                  <a:moveTo>
                    <a:pt x="23" y="54"/>
                  </a:moveTo>
                  <a:cubicBezTo>
                    <a:pt x="17" y="54"/>
                    <a:pt x="14" y="47"/>
                    <a:pt x="14" y="33"/>
                  </a:cubicBezTo>
                  <a:cubicBezTo>
                    <a:pt x="14" y="19"/>
                    <a:pt x="17" y="11"/>
                    <a:pt x="23" y="11"/>
                  </a:cubicBezTo>
                  <a:cubicBezTo>
                    <a:pt x="28" y="11"/>
                    <a:pt x="31" y="18"/>
                    <a:pt x="31" y="32"/>
                  </a:cubicBezTo>
                  <a:cubicBezTo>
                    <a:pt x="31" y="47"/>
                    <a:pt x="28" y="54"/>
                    <a:pt x="23"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69" name="Freeform 374"/>
            <p:cNvSpPr>
              <a:spLocks/>
            </p:cNvSpPr>
            <p:nvPr/>
          </p:nvSpPr>
          <p:spPr bwMode="auto">
            <a:xfrm>
              <a:off x="5459996" y="5244178"/>
              <a:ext cx="80017" cy="186591"/>
            </a:xfrm>
            <a:custGeom>
              <a:avLst/>
              <a:gdLst>
                <a:gd name="T0" fmla="*/ 10 w 27"/>
                <a:gd name="T1" fmla="*/ 6 h 63"/>
                <a:gd name="T2" fmla="*/ 0 w 27"/>
                <a:gd name="T3" fmla="*/ 10 h 63"/>
                <a:gd name="T4" fmla="*/ 0 w 27"/>
                <a:gd name="T5" fmla="*/ 21 h 63"/>
                <a:gd name="T6" fmla="*/ 4 w 27"/>
                <a:gd name="T7" fmla="*/ 21 h 63"/>
                <a:gd name="T8" fmla="*/ 8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9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7" y="7"/>
                    <a:pt x="4" y="9"/>
                    <a:pt x="0" y="10"/>
                  </a:cubicBezTo>
                  <a:cubicBezTo>
                    <a:pt x="0" y="10"/>
                    <a:pt x="0" y="10"/>
                    <a:pt x="0" y="21"/>
                  </a:cubicBezTo>
                  <a:cubicBezTo>
                    <a:pt x="1" y="21"/>
                    <a:pt x="2" y="21"/>
                    <a:pt x="4" y="21"/>
                  </a:cubicBezTo>
                  <a:cubicBezTo>
                    <a:pt x="5" y="20"/>
                    <a:pt x="6" y="20"/>
                    <a:pt x="8" y="19"/>
                  </a:cubicBez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0" name="Freeform 377"/>
            <p:cNvSpPr>
              <a:spLocks/>
            </p:cNvSpPr>
            <p:nvPr/>
          </p:nvSpPr>
          <p:spPr bwMode="auto">
            <a:xfrm>
              <a:off x="5933847" y="5244178"/>
              <a:ext cx="77516"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3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1" name="Freeform 378"/>
            <p:cNvSpPr>
              <a:spLocks noEditPoints="1"/>
            </p:cNvSpPr>
            <p:nvPr/>
          </p:nvSpPr>
          <p:spPr bwMode="auto">
            <a:xfrm>
              <a:off x="6055122"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0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7" y="65"/>
                    <a:pt x="22" y="65"/>
                  </a:cubicBezTo>
                  <a:close/>
                  <a:moveTo>
                    <a:pt x="22" y="11"/>
                  </a:moveTo>
                  <a:cubicBezTo>
                    <a:pt x="28" y="11"/>
                    <a:pt x="30" y="18"/>
                    <a:pt x="30" y="32"/>
                  </a:cubicBezTo>
                  <a:cubicBezTo>
                    <a:pt x="30"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2" name="Freeform 379"/>
            <p:cNvSpPr>
              <a:spLocks noEditPoints="1"/>
            </p:cNvSpPr>
            <p:nvPr/>
          </p:nvSpPr>
          <p:spPr bwMode="auto">
            <a:xfrm>
              <a:off x="6230159" y="5244178"/>
              <a:ext cx="130027" cy="192852"/>
            </a:xfrm>
            <a:custGeom>
              <a:avLst/>
              <a:gdLst>
                <a:gd name="T0" fmla="*/ 22 w 44"/>
                <a:gd name="T1" fmla="*/ 65 h 65"/>
                <a:gd name="T2" fmla="*/ 39 w 44"/>
                <a:gd name="T3" fmla="*/ 56 h 65"/>
                <a:gd name="T4" fmla="*/ 44 w 44"/>
                <a:gd name="T5" fmla="*/ 32 h 65"/>
                <a:gd name="T6" fmla="*/ 23 w 44"/>
                <a:gd name="T7" fmla="*/ 0 h 65"/>
                <a:gd name="T8" fmla="*/ 6 w 44"/>
                <a:gd name="T9" fmla="*/ 9 h 65"/>
                <a:gd name="T10" fmla="*/ 0 w 44"/>
                <a:gd name="T11" fmla="*/ 33 h 65"/>
                <a:gd name="T12" fmla="*/ 22 w 44"/>
                <a:gd name="T13" fmla="*/ 65 h 65"/>
                <a:gd name="T14" fmla="*/ 22 w 44"/>
                <a:gd name="T15" fmla="*/ 11 h 65"/>
                <a:gd name="T16" fmla="*/ 31 w 44"/>
                <a:gd name="T17" fmla="*/ 32 h 65"/>
                <a:gd name="T18" fmla="*/ 22 w 44"/>
                <a:gd name="T19" fmla="*/ 54 h 65"/>
                <a:gd name="T20" fmla="*/ 14 w 44"/>
                <a:gd name="T21" fmla="*/ 33 h 65"/>
                <a:gd name="T22" fmla="*/ 22 w 44"/>
                <a:gd name="T2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2" y="65"/>
                  </a:moveTo>
                  <a:cubicBezTo>
                    <a:pt x="30" y="65"/>
                    <a:pt x="35" y="62"/>
                    <a:pt x="39" y="56"/>
                  </a:cubicBezTo>
                  <a:cubicBezTo>
                    <a:pt x="42" y="51"/>
                    <a:pt x="44" y="43"/>
                    <a:pt x="44" y="32"/>
                  </a:cubicBezTo>
                  <a:cubicBezTo>
                    <a:pt x="44" y="11"/>
                    <a:pt x="38" y="0"/>
                    <a:pt x="23" y="0"/>
                  </a:cubicBezTo>
                  <a:cubicBezTo>
                    <a:pt x="16" y="0"/>
                    <a:pt x="9" y="3"/>
                    <a:pt x="6" y="9"/>
                  </a:cubicBezTo>
                  <a:cubicBezTo>
                    <a:pt x="2" y="15"/>
                    <a:pt x="0" y="22"/>
                    <a:pt x="0" y="33"/>
                  </a:cubicBezTo>
                  <a:cubicBezTo>
                    <a:pt x="0" y="55"/>
                    <a:pt x="8" y="65"/>
                    <a:pt x="22" y="65"/>
                  </a:cubicBezTo>
                  <a:close/>
                  <a:moveTo>
                    <a:pt x="22" y="11"/>
                  </a:moveTo>
                  <a:cubicBezTo>
                    <a:pt x="28" y="11"/>
                    <a:pt x="31" y="18"/>
                    <a:pt x="31" y="32"/>
                  </a:cubicBezTo>
                  <a:cubicBezTo>
                    <a:pt x="31" y="47"/>
                    <a:pt x="28" y="54"/>
                    <a:pt x="22" y="54"/>
                  </a:cubicBezTo>
                  <a:cubicBezTo>
                    <a:pt x="17" y="54"/>
                    <a:pt x="14" y="47"/>
                    <a:pt x="14" y="33"/>
                  </a:cubicBezTo>
                  <a:cubicBezTo>
                    <a:pt x="14" y="19"/>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3" name="Freeform 380"/>
            <p:cNvSpPr>
              <a:spLocks/>
            </p:cNvSpPr>
            <p:nvPr/>
          </p:nvSpPr>
          <p:spPr bwMode="auto">
            <a:xfrm>
              <a:off x="6405196" y="5244178"/>
              <a:ext cx="80017" cy="186591"/>
            </a:xfrm>
            <a:custGeom>
              <a:avLst/>
              <a:gdLst>
                <a:gd name="T0" fmla="*/ 27 w 27"/>
                <a:gd name="T1" fmla="*/ 63 h 63"/>
                <a:gd name="T2" fmla="*/ 27 w 27"/>
                <a:gd name="T3" fmla="*/ 0 h 63"/>
                <a:gd name="T4" fmla="*/ 18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4" name="Freeform 381"/>
            <p:cNvSpPr>
              <a:spLocks noEditPoints="1"/>
            </p:cNvSpPr>
            <p:nvPr/>
          </p:nvSpPr>
          <p:spPr bwMode="auto">
            <a:xfrm>
              <a:off x="6526474" y="5244178"/>
              <a:ext cx="132528" cy="192852"/>
            </a:xfrm>
            <a:custGeom>
              <a:avLst/>
              <a:gdLst>
                <a:gd name="T0" fmla="*/ 39 w 45"/>
                <a:gd name="T1" fmla="*/ 56 h 65"/>
                <a:gd name="T2" fmla="*/ 45 w 45"/>
                <a:gd name="T3" fmla="*/ 32 h 65"/>
                <a:gd name="T4" fmla="*/ 23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3" y="0"/>
                  </a:cubicBezTo>
                  <a:cubicBezTo>
                    <a:pt x="16" y="0"/>
                    <a:pt x="10" y="3"/>
                    <a:pt x="6" y="9"/>
                  </a:cubicBezTo>
                  <a:cubicBezTo>
                    <a:pt x="2" y="15"/>
                    <a:pt x="0" y="22"/>
                    <a:pt x="0" y="33"/>
                  </a:cubicBezTo>
                  <a:cubicBezTo>
                    <a:pt x="0" y="55"/>
                    <a:pt x="8" y="65"/>
                    <a:pt x="23" y="65"/>
                  </a:cubicBezTo>
                  <a:cubicBezTo>
                    <a:pt x="30" y="65"/>
                    <a:pt x="35"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5" name="Freeform 382"/>
            <p:cNvSpPr>
              <a:spLocks/>
            </p:cNvSpPr>
            <p:nvPr/>
          </p:nvSpPr>
          <p:spPr bwMode="auto">
            <a:xfrm>
              <a:off x="6700260" y="5244178"/>
              <a:ext cx="80017" cy="186591"/>
            </a:xfrm>
            <a:custGeom>
              <a:avLst/>
              <a:gdLst>
                <a:gd name="T0" fmla="*/ 10 w 27"/>
                <a:gd name="T1" fmla="*/ 17 h 63"/>
                <a:gd name="T2" fmla="*/ 13 w 27"/>
                <a:gd name="T3" fmla="*/ 15 h 63"/>
                <a:gd name="T4" fmla="*/ 13 w 27"/>
                <a:gd name="T5" fmla="*/ 63 h 63"/>
                <a:gd name="T6" fmla="*/ 27 w 27"/>
                <a:gd name="T7" fmla="*/ 63 h 63"/>
                <a:gd name="T8" fmla="*/ 27 w 27"/>
                <a:gd name="T9" fmla="*/ 0 h 63"/>
                <a:gd name="T10" fmla="*/ 19 w 27"/>
                <a:gd name="T11" fmla="*/ 0 h 63"/>
                <a:gd name="T12" fmla="*/ 10 w 27"/>
                <a:gd name="T13" fmla="*/ 6 h 63"/>
                <a:gd name="T14" fmla="*/ 0 w 27"/>
                <a:gd name="T15" fmla="*/ 10 h 63"/>
                <a:gd name="T16" fmla="*/ 0 w 27"/>
                <a:gd name="T17" fmla="*/ 21 h 63"/>
                <a:gd name="T18" fmla="*/ 4 w 27"/>
                <a:gd name="T19" fmla="*/ 21 h 63"/>
                <a:gd name="T20" fmla="*/ 7 w 27"/>
                <a:gd name="T21" fmla="*/ 19 h 63"/>
                <a:gd name="T22" fmla="*/ 10 w 27"/>
                <a:gd name="T2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17"/>
                  </a:move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6" name="Freeform 383"/>
            <p:cNvSpPr>
              <a:spLocks noEditPoints="1"/>
            </p:cNvSpPr>
            <p:nvPr/>
          </p:nvSpPr>
          <p:spPr bwMode="auto">
            <a:xfrm>
              <a:off x="6821536" y="5244178"/>
              <a:ext cx="133778" cy="192852"/>
            </a:xfrm>
            <a:custGeom>
              <a:avLst/>
              <a:gdLst>
                <a:gd name="T0" fmla="*/ 39 w 45"/>
                <a:gd name="T1" fmla="*/ 56 h 65"/>
                <a:gd name="T2" fmla="*/ 45 w 45"/>
                <a:gd name="T3" fmla="*/ 32 h 65"/>
                <a:gd name="T4" fmla="*/ 24 w 45"/>
                <a:gd name="T5" fmla="*/ 0 h 65"/>
                <a:gd name="T6" fmla="*/ 6 w 45"/>
                <a:gd name="T7" fmla="*/ 9 h 65"/>
                <a:gd name="T8" fmla="*/ 0 w 45"/>
                <a:gd name="T9" fmla="*/ 33 h 65"/>
                <a:gd name="T10" fmla="*/ 23 w 45"/>
                <a:gd name="T11" fmla="*/ 65 h 65"/>
                <a:gd name="T12" fmla="*/ 39 w 45"/>
                <a:gd name="T13" fmla="*/ 56 h 65"/>
                <a:gd name="T14" fmla="*/ 14 w 45"/>
                <a:gd name="T15" fmla="*/ 33 h 65"/>
                <a:gd name="T16" fmla="*/ 23 w 45"/>
                <a:gd name="T17" fmla="*/ 11 h 65"/>
                <a:gd name="T18" fmla="*/ 31 w 45"/>
                <a:gd name="T19" fmla="*/ 32 h 65"/>
                <a:gd name="T20" fmla="*/ 23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3"/>
                    <a:pt x="45" y="32"/>
                  </a:cubicBezTo>
                  <a:cubicBezTo>
                    <a:pt x="45" y="11"/>
                    <a:pt x="38" y="0"/>
                    <a:pt x="24" y="0"/>
                  </a:cubicBezTo>
                  <a:cubicBezTo>
                    <a:pt x="16" y="0"/>
                    <a:pt x="10" y="3"/>
                    <a:pt x="6" y="9"/>
                  </a:cubicBezTo>
                  <a:cubicBezTo>
                    <a:pt x="2" y="15"/>
                    <a:pt x="0" y="22"/>
                    <a:pt x="0" y="33"/>
                  </a:cubicBezTo>
                  <a:cubicBezTo>
                    <a:pt x="0" y="55"/>
                    <a:pt x="8" y="65"/>
                    <a:pt x="23" y="65"/>
                  </a:cubicBezTo>
                  <a:cubicBezTo>
                    <a:pt x="30" y="65"/>
                    <a:pt x="36" y="62"/>
                    <a:pt x="39" y="56"/>
                  </a:cubicBezTo>
                  <a:close/>
                  <a:moveTo>
                    <a:pt x="14" y="33"/>
                  </a:moveTo>
                  <a:cubicBezTo>
                    <a:pt x="14" y="19"/>
                    <a:pt x="17" y="11"/>
                    <a:pt x="23" y="11"/>
                  </a:cubicBezTo>
                  <a:cubicBezTo>
                    <a:pt x="28" y="11"/>
                    <a:pt x="31" y="18"/>
                    <a:pt x="31" y="32"/>
                  </a:cubicBezTo>
                  <a:cubicBezTo>
                    <a:pt x="31" y="47"/>
                    <a:pt x="28" y="54"/>
                    <a:pt x="23"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7" name="Freeform 384"/>
            <p:cNvSpPr>
              <a:spLocks/>
            </p:cNvSpPr>
            <p:nvPr/>
          </p:nvSpPr>
          <p:spPr bwMode="auto">
            <a:xfrm>
              <a:off x="6996575"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8" name="Freeform 385"/>
            <p:cNvSpPr>
              <a:spLocks noEditPoints="1"/>
            </p:cNvSpPr>
            <p:nvPr/>
          </p:nvSpPr>
          <p:spPr bwMode="auto">
            <a:xfrm>
              <a:off x="7121600"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79" name="Freeform 388"/>
            <p:cNvSpPr>
              <a:spLocks/>
            </p:cNvSpPr>
            <p:nvPr/>
          </p:nvSpPr>
          <p:spPr bwMode="auto">
            <a:xfrm>
              <a:off x="7591701" y="5244178"/>
              <a:ext cx="77516" cy="117714"/>
            </a:xfrm>
            <a:custGeom>
              <a:avLst/>
              <a:gdLst>
                <a:gd name="T0" fmla="*/ 18 w 26"/>
                <a:gd name="T1" fmla="*/ 0 h 40"/>
                <a:gd name="T2" fmla="*/ 10 w 26"/>
                <a:gd name="T3" fmla="*/ 6 h 40"/>
                <a:gd name="T4" fmla="*/ 0 w 26"/>
                <a:gd name="T5" fmla="*/ 10 h 40"/>
                <a:gd name="T6" fmla="*/ 0 w 26"/>
                <a:gd name="T7" fmla="*/ 21 h 40"/>
                <a:gd name="T8" fmla="*/ 4 w 26"/>
                <a:gd name="T9" fmla="*/ 21 h 40"/>
                <a:gd name="T10" fmla="*/ 7 w 26"/>
                <a:gd name="T11" fmla="*/ 19 h 40"/>
                <a:gd name="T12" fmla="*/ 10 w 26"/>
                <a:gd name="T13" fmla="*/ 17 h 40"/>
                <a:gd name="T14" fmla="*/ 13 w 26"/>
                <a:gd name="T15" fmla="*/ 15 h 40"/>
                <a:gd name="T16" fmla="*/ 13 w 26"/>
                <a:gd name="T17" fmla="*/ 40 h 40"/>
                <a:gd name="T18" fmla="*/ 26 w 26"/>
                <a:gd name="T19" fmla="*/ 26 h 40"/>
                <a:gd name="T20" fmla="*/ 26 w 26"/>
                <a:gd name="T21" fmla="*/ 0 h 40"/>
                <a:gd name="T22" fmla="*/ 18 w 26"/>
                <a:gd name="T2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0">
                  <a:moveTo>
                    <a:pt x="18" y="0"/>
                  </a:move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40"/>
                  </a:cubicBezTo>
                  <a:cubicBezTo>
                    <a:pt x="17" y="35"/>
                    <a:pt x="22" y="31"/>
                    <a:pt x="26" y="26"/>
                  </a:cubicBezTo>
                  <a:cubicBezTo>
                    <a:pt x="26" y="19"/>
                    <a:pt x="26" y="11"/>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0" name="Freeform 389"/>
            <p:cNvSpPr>
              <a:spLocks/>
            </p:cNvSpPr>
            <p:nvPr/>
          </p:nvSpPr>
          <p:spPr bwMode="auto">
            <a:xfrm>
              <a:off x="7712977" y="5270475"/>
              <a:ext cx="8753" cy="6261"/>
            </a:xfrm>
            <a:custGeom>
              <a:avLst/>
              <a:gdLst>
                <a:gd name="T0" fmla="*/ 0 w 3"/>
                <a:gd name="T1" fmla="*/ 2 h 2"/>
                <a:gd name="T2" fmla="*/ 3 w 3"/>
                <a:gd name="T3" fmla="*/ 0 h 2"/>
                <a:gd name="T4" fmla="*/ 0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1"/>
                    <a:pt x="3" y="0"/>
                  </a:cubicBezTo>
                  <a:cubicBezTo>
                    <a:pt x="2" y="0"/>
                    <a:pt x="1" y="0"/>
                    <a:pt x="0" y="1"/>
                  </a:cubicBezTo>
                  <a:cubicBezTo>
                    <a:pt x="0" y="1"/>
                    <a:pt x="0" y="1"/>
                    <a:pt x="0" y="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1" name="Freeform 392"/>
            <p:cNvSpPr>
              <a:spLocks/>
            </p:cNvSpPr>
            <p:nvPr/>
          </p:nvSpPr>
          <p:spPr bwMode="auto">
            <a:xfrm>
              <a:off x="5282458" y="5469590"/>
              <a:ext cx="77516"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5"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2" name="Freeform 393"/>
            <p:cNvSpPr>
              <a:spLocks noEditPoints="1"/>
            </p:cNvSpPr>
            <p:nvPr/>
          </p:nvSpPr>
          <p:spPr bwMode="auto">
            <a:xfrm>
              <a:off x="5403734" y="5469590"/>
              <a:ext cx="131279" cy="189096"/>
            </a:xfrm>
            <a:custGeom>
              <a:avLst/>
              <a:gdLst>
                <a:gd name="T0" fmla="*/ 23 w 44"/>
                <a:gd name="T1" fmla="*/ 0 h 64"/>
                <a:gd name="T2" fmla="*/ 6 w 44"/>
                <a:gd name="T3" fmla="*/ 8 h 64"/>
                <a:gd name="T4" fmla="*/ 0 w 44"/>
                <a:gd name="T5" fmla="*/ 33 h 64"/>
                <a:gd name="T6" fmla="*/ 22 w 44"/>
                <a:gd name="T7" fmla="*/ 64 h 64"/>
                <a:gd name="T8" fmla="*/ 39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1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4" y="42"/>
                    <a:pt x="44" y="32"/>
                  </a:cubicBezTo>
                  <a:cubicBezTo>
                    <a:pt x="44"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3" name="Freeform 394"/>
            <p:cNvSpPr>
              <a:spLocks/>
            </p:cNvSpPr>
            <p:nvPr/>
          </p:nvSpPr>
          <p:spPr bwMode="auto">
            <a:xfrm>
              <a:off x="5578771" y="5469590"/>
              <a:ext cx="80017" cy="186591"/>
            </a:xfrm>
            <a:custGeom>
              <a:avLst/>
              <a:gdLst>
                <a:gd name="T0" fmla="*/ 10 w 27"/>
                <a:gd name="T1" fmla="*/ 6 h 63"/>
                <a:gd name="T2" fmla="*/ 0 w 27"/>
                <a:gd name="T3" fmla="*/ 9 h 63"/>
                <a:gd name="T4" fmla="*/ 0 w 27"/>
                <a:gd name="T5" fmla="*/ 20 h 63"/>
                <a:gd name="T6" fmla="*/ 4 w 27"/>
                <a:gd name="T7" fmla="*/ 20 h 63"/>
                <a:gd name="T8" fmla="*/ 7 w 27"/>
                <a:gd name="T9" fmla="*/ 19 h 63"/>
                <a:gd name="T10" fmla="*/ 10 w 27"/>
                <a:gd name="T11" fmla="*/ 17 h 63"/>
                <a:gd name="T12" fmla="*/ 13 w 27"/>
                <a:gd name="T13" fmla="*/ 15 h 63"/>
                <a:gd name="T14" fmla="*/ 13 w 27"/>
                <a:gd name="T15" fmla="*/ 63 h 63"/>
                <a:gd name="T16" fmla="*/ 27 w 27"/>
                <a:gd name="T17" fmla="*/ 63 h 63"/>
                <a:gd name="T18" fmla="*/ 27 w 27"/>
                <a:gd name="T19" fmla="*/ 0 h 63"/>
                <a:gd name="T20" fmla="*/ 18 w 27"/>
                <a:gd name="T21" fmla="*/ 0 h 63"/>
                <a:gd name="T22" fmla="*/ 10 w 27"/>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10" y="6"/>
                  </a:moveTo>
                  <a:cubicBezTo>
                    <a:pt x="6" y="7"/>
                    <a:pt x="4" y="8"/>
                    <a:pt x="0" y="9"/>
                  </a:cubicBezTo>
                  <a:cubicBezTo>
                    <a:pt x="0" y="9"/>
                    <a:pt x="0" y="9"/>
                    <a:pt x="0" y="20"/>
                  </a:cubicBezTo>
                  <a:cubicBezTo>
                    <a:pt x="1" y="20"/>
                    <a:pt x="2" y="20"/>
                    <a:pt x="4"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4" name="Freeform 395"/>
            <p:cNvSpPr>
              <a:spLocks noEditPoints="1"/>
            </p:cNvSpPr>
            <p:nvPr/>
          </p:nvSpPr>
          <p:spPr bwMode="auto">
            <a:xfrm>
              <a:off x="5700047" y="5469590"/>
              <a:ext cx="133778" cy="189096"/>
            </a:xfrm>
            <a:custGeom>
              <a:avLst/>
              <a:gdLst>
                <a:gd name="T0" fmla="*/ 23 w 45"/>
                <a:gd name="T1" fmla="*/ 0 h 64"/>
                <a:gd name="T2" fmla="*/ 6 w 45"/>
                <a:gd name="T3" fmla="*/ 8 h 64"/>
                <a:gd name="T4" fmla="*/ 0 w 45"/>
                <a:gd name="T5" fmla="*/ 33 h 64"/>
                <a:gd name="T6" fmla="*/ 22 w 45"/>
                <a:gd name="T7" fmla="*/ 64 h 64"/>
                <a:gd name="T8" fmla="*/ 39 w 45"/>
                <a:gd name="T9" fmla="*/ 56 h 64"/>
                <a:gd name="T10" fmla="*/ 45 w 45"/>
                <a:gd name="T11" fmla="*/ 32 h 64"/>
                <a:gd name="T12" fmla="*/ 23 w 45"/>
                <a:gd name="T13" fmla="*/ 0 h 64"/>
                <a:gd name="T14" fmla="*/ 22 w 45"/>
                <a:gd name="T15" fmla="*/ 53 h 64"/>
                <a:gd name="T16" fmla="*/ 14 w 45"/>
                <a:gd name="T17" fmla="*/ 33 h 64"/>
                <a:gd name="T18" fmla="*/ 22 w 45"/>
                <a:gd name="T19" fmla="*/ 11 h 64"/>
                <a:gd name="T20" fmla="*/ 31 w 45"/>
                <a:gd name="T21" fmla="*/ 32 h 64"/>
                <a:gd name="T22" fmla="*/ 22 w 45"/>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3" y="0"/>
                  </a:moveTo>
                  <a:cubicBezTo>
                    <a:pt x="16" y="0"/>
                    <a:pt x="9" y="3"/>
                    <a:pt x="6" y="8"/>
                  </a:cubicBezTo>
                  <a:cubicBezTo>
                    <a:pt x="2" y="15"/>
                    <a:pt x="0" y="22"/>
                    <a:pt x="0" y="33"/>
                  </a:cubicBezTo>
                  <a:cubicBezTo>
                    <a:pt x="0" y="54"/>
                    <a:pt x="8" y="64"/>
                    <a:pt x="22" y="64"/>
                  </a:cubicBezTo>
                  <a:cubicBezTo>
                    <a:pt x="30" y="64"/>
                    <a:pt x="35" y="62"/>
                    <a:pt x="39" y="56"/>
                  </a:cubicBezTo>
                  <a:cubicBezTo>
                    <a:pt x="43" y="51"/>
                    <a:pt x="45" y="42"/>
                    <a:pt x="45" y="32"/>
                  </a:cubicBezTo>
                  <a:cubicBezTo>
                    <a:pt x="45" y="11"/>
                    <a:pt x="38" y="0"/>
                    <a:pt x="23" y="0"/>
                  </a:cubicBezTo>
                  <a:close/>
                  <a:moveTo>
                    <a:pt x="22" y="53"/>
                  </a:moveTo>
                  <a:cubicBezTo>
                    <a:pt x="17" y="53"/>
                    <a:pt x="14" y="47"/>
                    <a:pt x="14" y="33"/>
                  </a:cubicBezTo>
                  <a:cubicBezTo>
                    <a:pt x="14" y="19"/>
                    <a:pt x="17" y="11"/>
                    <a:pt x="22" y="11"/>
                  </a:cubicBezTo>
                  <a:cubicBezTo>
                    <a:pt x="28" y="11"/>
                    <a:pt x="31" y="18"/>
                    <a:pt x="31" y="32"/>
                  </a:cubicBezTo>
                  <a:cubicBezTo>
                    <a:pt x="31"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5" name="Freeform 396"/>
            <p:cNvSpPr>
              <a:spLocks/>
            </p:cNvSpPr>
            <p:nvPr/>
          </p:nvSpPr>
          <p:spPr bwMode="auto">
            <a:xfrm>
              <a:off x="5875084" y="5469590"/>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9 h 63"/>
                <a:gd name="T10" fmla="*/ 0 w 27"/>
                <a:gd name="T11" fmla="*/ 20 h 63"/>
                <a:gd name="T12" fmla="*/ 4 w 27"/>
                <a:gd name="T13" fmla="*/ 20 h 63"/>
                <a:gd name="T14" fmla="*/ 8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8"/>
                    <a:pt x="0" y="9"/>
                  </a:cubicBezTo>
                  <a:cubicBezTo>
                    <a:pt x="0" y="9"/>
                    <a:pt x="0" y="9"/>
                    <a:pt x="0" y="20"/>
                  </a:cubicBezTo>
                  <a:cubicBezTo>
                    <a:pt x="1" y="20"/>
                    <a:pt x="2" y="20"/>
                    <a:pt x="4" y="20"/>
                  </a:cubicBezTo>
                  <a:cubicBezTo>
                    <a:pt x="5" y="20"/>
                    <a:pt x="6" y="20"/>
                    <a:pt x="8" y="19"/>
                  </a:cubicBezTo>
                  <a:cubicBezTo>
                    <a:pt x="9"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6" name="Freeform 400"/>
            <p:cNvSpPr>
              <a:spLocks/>
            </p:cNvSpPr>
            <p:nvPr/>
          </p:nvSpPr>
          <p:spPr bwMode="auto">
            <a:xfrm>
              <a:off x="6470211" y="5469590"/>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3" y="8"/>
                    <a:pt x="0" y="9"/>
                  </a:cubicBezTo>
                  <a:cubicBezTo>
                    <a:pt x="0" y="9"/>
                    <a:pt x="0" y="9"/>
                    <a:pt x="0" y="20"/>
                  </a:cubicBezTo>
                  <a:cubicBezTo>
                    <a:pt x="1" y="20"/>
                    <a:pt x="2" y="20"/>
                    <a:pt x="3" y="20"/>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7" name="Freeform 401"/>
            <p:cNvSpPr>
              <a:spLocks/>
            </p:cNvSpPr>
            <p:nvPr/>
          </p:nvSpPr>
          <p:spPr bwMode="auto">
            <a:xfrm>
              <a:off x="6591487" y="5469590"/>
              <a:ext cx="76267" cy="186591"/>
            </a:xfrm>
            <a:custGeom>
              <a:avLst/>
              <a:gdLst>
                <a:gd name="T0" fmla="*/ 10 w 26"/>
                <a:gd name="T1" fmla="*/ 6 h 63"/>
                <a:gd name="T2" fmla="*/ 0 w 26"/>
                <a:gd name="T3" fmla="*/ 9 h 63"/>
                <a:gd name="T4" fmla="*/ 0 w 26"/>
                <a:gd name="T5" fmla="*/ 20 h 63"/>
                <a:gd name="T6" fmla="*/ 4 w 26"/>
                <a:gd name="T7" fmla="*/ 20 h 63"/>
                <a:gd name="T8" fmla="*/ 7 w 26"/>
                <a:gd name="T9" fmla="*/ 19 h 63"/>
                <a:gd name="T10" fmla="*/ 10 w 26"/>
                <a:gd name="T11" fmla="*/ 17 h 63"/>
                <a:gd name="T12" fmla="*/ 13 w 26"/>
                <a:gd name="T13" fmla="*/ 15 h 63"/>
                <a:gd name="T14" fmla="*/ 13 w 26"/>
                <a:gd name="T15" fmla="*/ 63 h 63"/>
                <a:gd name="T16" fmla="*/ 26 w 26"/>
                <a:gd name="T17" fmla="*/ 63 h 63"/>
                <a:gd name="T18" fmla="*/ 26 w 26"/>
                <a:gd name="T19" fmla="*/ 0 h 63"/>
                <a:gd name="T20" fmla="*/ 18 w 26"/>
                <a:gd name="T21" fmla="*/ 0 h 63"/>
                <a:gd name="T22" fmla="*/ 10 w 26"/>
                <a:gd name="T2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6"/>
                  </a:moveTo>
                  <a:cubicBezTo>
                    <a:pt x="6"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6" y="63"/>
                  </a:cubicBezTo>
                  <a:cubicBezTo>
                    <a:pt x="26" y="63"/>
                    <a:pt x="26" y="63"/>
                    <a:pt x="26" y="0"/>
                  </a:cubicBezTo>
                  <a:cubicBezTo>
                    <a:pt x="18" y="0"/>
                    <a:pt x="18" y="0"/>
                    <a:pt x="18" y="0"/>
                  </a:cubicBezTo>
                  <a:cubicBezTo>
                    <a:pt x="16" y="2"/>
                    <a:pt x="13" y="4"/>
                    <a:pt x="10" y="6"/>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8" name="Freeform 409"/>
            <p:cNvSpPr>
              <a:spLocks/>
            </p:cNvSpPr>
            <p:nvPr/>
          </p:nvSpPr>
          <p:spPr bwMode="auto">
            <a:xfrm>
              <a:off x="5394981" y="5695000"/>
              <a:ext cx="73766" cy="58858"/>
            </a:xfrm>
            <a:custGeom>
              <a:avLst/>
              <a:gdLst>
                <a:gd name="T0" fmla="*/ 17 w 25"/>
                <a:gd name="T1" fmla="*/ 0 h 20"/>
                <a:gd name="T2" fmla="*/ 8 w 25"/>
                <a:gd name="T3" fmla="*/ 5 h 20"/>
                <a:gd name="T4" fmla="*/ 0 w 25"/>
                <a:gd name="T5" fmla="*/ 9 h 20"/>
                <a:gd name="T6" fmla="*/ 25 w 25"/>
                <a:gd name="T7" fmla="*/ 20 h 20"/>
                <a:gd name="T8" fmla="*/ 25 w 25"/>
                <a:gd name="T9" fmla="*/ 0 h 20"/>
                <a:gd name="T10" fmla="*/ 17 w 25"/>
                <a:gd name="T11" fmla="*/ 0 h 20"/>
              </a:gdLst>
              <a:ahLst/>
              <a:cxnLst>
                <a:cxn ang="0">
                  <a:pos x="T0" y="T1"/>
                </a:cxn>
                <a:cxn ang="0">
                  <a:pos x="T2" y="T3"/>
                </a:cxn>
                <a:cxn ang="0">
                  <a:pos x="T4" y="T5"/>
                </a:cxn>
                <a:cxn ang="0">
                  <a:pos x="T6" y="T7"/>
                </a:cxn>
                <a:cxn ang="0">
                  <a:pos x="T8" y="T9"/>
                </a:cxn>
                <a:cxn ang="0">
                  <a:pos x="T10" y="T11"/>
                </a:cxn>
              </a:cxnLst>
              <a:rect l="0" t="0" r="r" b="b"/>
              <a:pathLst>
                <a:path w="25" h="20">
                  <a:moveTo>
                    <a:pt x="17" y="0"/>
                  </a:moveTo>
                  <a:cubicBezTo>
                    <a:pt x="14" y="2"/>
                    <a:pt x="11" y="4"/>
                    <a:pt x="8" y="5"/>
                  </a:cubicBezTo>
                  <a:cubicBezTo>
                    <a:pt x="5" y="6"/>
                    <a:pt x="3" y="8"/>
                    <a:pt x="0" y="9"/>
                  </a:cubicBezTo>
                  <a:cubicBezTo>
                    <a:pt x="8" y="12"/>
                    <a:pt x="17" y="16"/>
                    <a:pt x="25" y="20"/>
                  </a:cubicBezTo>
                  <a:cubicBezTo>
                    <a:pt x="25" y="14"/>
                    <a:pt x="25" y="7"/>
                    <a:pt x="25" y="0"/>
                  </a:cubicBezTo>
                  <a:lnTo>
                    <a:pt x="1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89" name="Freeform 410"/>
            <p:cNvSpPr>
              <a:spLocks/>
            </p:cNvSpPr>
            <p:nvPr/>
          </p:nvSpPr>
          <p:spPr bwMode="auto">
            <a:xfrm>
              <a:off x="5513757" y="5695000"/>
              <a:ext cx="77516" cy="102687"/>
            </a:xfrm>
            <a:custGeom>
              <a:avLst/>
              <a:gdLst>
                <a:gd name="T0" fmla="*/ 18 w 26"/>
                <a:gd name="T1" fmla="*/ 0 h 35"/>
                <a:gd name="T2" fmla="*/ 10 w 26"/>
                <a:gd name="T3" fmla="*/ 5 h 35"/>
                <a:gd name="T4" fmla="*/ 0 w 26"/>
                <a:gd name="T5" fmla="*/ 9 h 35"/>
                <a:gd name="T6" fmla="*/ 0 w 26"/>
                <a:gd name="T7" fmla="*/ 20 h 35"/>
                <a:gd name="T8" fmla="*/ 3 w 26"/>
                <a:gd name="T9" fmla="*/ 20 h 35"/>
                <a:gd name="T10" fmla="*/ 7 w 26"/>
                <a:gd name="T11" fmla="*/ 18 h 35"/>
                <a:gd name="T12" fmla="*/ 10 w 26"/>
                <a:gd name="T13" fmla="*/ 16 h 35"/>
                <a:gd name="T14" fmla="*/ 13 w 26"/>
                <a:gd name="T15" fmla="*/ 15 h 35"/>
                <a:gd name="T16" fmla="*/ 13 w 26"/>
                <a:gd name="T17" fmla="*/ 30 h 35"/>
                <a:gd name="T18" fmla="*/ 26 w 26"/>
                <a:gd name="T19" fmla="*/ 35 h 35"/>
                <a:gd name="T20" fmla="*/ 26 w 26"/>
                <a:gd name="T21" fmla="*/ 0 h 35"/>
                <a:gd name="T22" fmla="*/ 18 w 26"/>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5">
                  <a:moveTo>
                    <a:pt x="18" y="0"/>
                  </a:moveTo>
                  <a:cubicBezTo>
                    <a:pt x="15" y="2"/>
                    <a:pt x="13" y="4"/>
                    <a:pt x="10" y="5"/>
                  </a:cubicBezTo>
                  <a:cubicBezTo>
                    <a:pt x="6" y="6"/>
                    <a:pt x="3" y="8"/>
                    <a:pt x="0" y="9"/>
                  </a:cubicBezTo>
                  <a:cubicBezTo>
                    <a:pt x="0" y="9"/>
                    <a:pt x="0" y="9"/>
                    <a:pt x="0" y="20"/>
                  </a:cubicBezTo>
                  <a:cubicBezTo>
                    <a:pt x="1" y="20"/>
                    <a:pt x="2" y="20"/>
                    <a:pt x="3" y="20"/>
                  </a:cubicBezTo>
                  <a:cubicBezTo>
                    <a:pt x="4" y="19"/>
                    <a:pt x="5" y="19"/>
                    <a:pt x="7" y="18"/>
                  </a:cubicBezTo>
                  <a:cubicBezTo>
                    <a:pt x="8" y="18"/>
                    <a:pt x="9" y="17"/>
                    <a:pt x="10" y="16"/>
                  </a:cubicBezTo>
                  <a:cubicBezTo>
                    <a:pt x="11" y="16"/>
                    <a:pt x="12" y="16"/>
                    <a:pt x="13" y="15"/>
                  </a:cubicBezTo>
                  <a:cubicBezTo>
                    <a:pt x="13" y="15"/>
                    <a:pt x="13" y="15"/>
                    <a:pt x="13" y="30"/>
                  </a:cubicBezTo>
                  <a:cubicBezTo>
                    <a:pt x="17" y="32"/>
                    <a:pt x="22" y="34"/>
                    <a:pt x="26" y="35"/>
                  </a:cubicBezTo>
                  <a:cubicBezTo>
                    <a:pt x="26" y="27"/>
                    <a:pt x="26" y="15"/>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0" name="Freeform 411"/>
            <p:cNvSpPr>
              <a:spLocks/>
            </p:cNvSpPr>
            <p:nvPr/>
          </p:nvSpPr>
          <p:spPr bwMode="auto">
            <a:xfrm>
              <a:off x="5635033" y="5695000"/>
              <a:ext cx="130027" cy="154032"/>
            </a:xfrm>
            <a:custGeom>
              <a:avLst/>
              <a:gdLst>
                <a:gd name="T0" fmla="*/ 23 w 44"/>
                <a:gd name="T1" fmla="*/ 0 h 52"/>
                <a:gd name="T2" fmla="*/ 6 w 44"/>
                <a:gd name="T3" fmla="*/ 8 h 52"/>
                <a:gd name="T4" fmla="*/ 0 w 44"/>
                <a:gd name="T5" fmla="*/ 33 h 52"/>
                <a:gd name="T6" fmla="*/ 0 w 44"/>
                <a:gd name="T7" fmla="*/ 40 h 52"/>
                <a:gd name="T8" fmla="*/ 15 w 44"/>
                <a:gd name="T9" fmla="*/ 45 h 52"/>
                <a:gd name="T10" fmla="*/ 14 w 44"/>
                <a:gd name="T11" fmla="*/ 33 h 52"/>
                <a:gd name="T12" fmla="*/ 22 w 44"/>
                <a:gd name="T13" fmla="*/ 11 h 52"/>
                <a:gd name="T14" fmla="*/ 30 w 44"/>
                <a:gd name="T15" fmla="*/ 32 h 52"/>
                <a:gd name="T16" fmla="*/ 28 w 44"/>
                <a:gd name="T17" fmla="*/ 48 h 52"/>
                <a:gd name="T18" fmla="*/ 41 w 44"/>
                <a:gd name="T19" fmla="*/ 52 h 52"/>
                <a:gd name="T20" fmla="*/ 44 w 44"/>
                <a:gd name="T21" fmla="*/ 32 h 52"/>
                <a:gd name="T22" fmla="*/ 23 w 44"/>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2">
                  <a:moveTo>
                    <a:pt x="23" y="0"/>
                  </a:moveTo>
                  <a:cubicBezTo>
                    <a:pt x="16" y="0"/>
                    <a:pt x="9" y="3"/>
                    <a:pt x="6" y="8"/>
                  </a:cubicBezTo>
                  <a:cubicBezTo>
                    <a:pt x="2" y="15"/>
                    <a:pt x="0" y="22"/>
                    <a:pt x="0" y="33"/>
                  </a:cubicBezTo>
                  <a:cubicBezTo>
                    <a:pt x="0" y="35"/>
                    <a:pt x="0" y="38"/>
                    <a:pt x="0" y="40"/>
                  </a:cubicBezTo>
                  <a:cubicBezTo>
                    <a:pt x="5" y="42"/>
                    <a:pt x="10" y="43"/>
                    <a:pt x="15" y="45"/>
                  </a:cubicBezTo>
                  <a:cubicBezTo>
                    <a:pt x="14" y="42"/>
                    <a:pt x="14" y="38"/>
                    <a:pt x="14" y="33"/>
                  </a:cubicBezTo>
                  <a:cubicBezTo>
                    <a:pt x="14" y="18"/>
                    <a:pt x="17" y="11"/>
                    <a:pt x="22" y="11"/>
                  </a:cubicBezTo>
                  <a:cubicBezTo>
                    <a:pt x="28" y="11"/>
                    <a:pt x="30" y="17"/>
                    <a:pt x="30" y="32"/>
                  </a:cubicBezTo>
                  <a:cubicBezTo>
                    <a:pt x="30" y="40"/>
                    <a:pt x="30" y="45"/>
                    <a:pt x="28" y="48"/>
                  </a:cubicBezTo>
                  <a:cubicBezTo>
                    <a:pt x="32" y="49"/>
                    <a:pt x="37" y="51"/>
                    <a:pt x="41" y="52"/>
                  </a:cubicBezTo>
                  <a:cubicBezTo>
                    <a:pt x="43" y="46"/>
                    <a:pt x="44" y="40"/>
                    <a:pt x="44" y="32"/>
                  </a:cubicBezTo>
                  <a:cubicBezTo>
                    <a:pt x="44" y="11"/>
                    <a:pt x="38" y="0"/>
                    <a:pt x="23"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1" name="Freeform 412"/>
            <p:cNvSpPr>
              <a:spLocks/>
            </p:cNvSpPr>
            <p:nvPr/>
          </p:nvSpPr>
          <p:spPr bwMode="auto">
            <a:xfrm>
              <a:off x="5810070" y="5695000"/>
              <a:ext cx="76267" cy="180330"/>
            </a:xfrm>
            <a:custGeom>
              <a:avLst/>
              <a:gdLst>
                <a:gd name="T0" fmla="*/ 18 w 26"/>
                <a:gd name="T1" fmla="*/ 0 h 61"/>
                <a:gd name="T2" fmla="*/ 10 w 26"/>
                <a:gd name="T3" fmla="*/ 5 h 61"/>
                <a:gd name="T4" fmla="*/ 0 w 26"/>
                <a:gd name="T5" fmla="*/ 9 h 61"/>
                <a:gd name="T6" fmla="*/ 0 w 26"/>
                <a:gd name="T7" fmla="*/ 20 h 61"/>
                <a:gd name="T8" fmla="*/ 4 w 26"/>
                <a:gd name="T9" fmla="*/ 20 h 61"/>
                <a:gd name="T10" fmla="*/ 7 w 26"/>
                <a:gd name="T11" fmla="*/ 18 h 61"/>
                <a:gd name="T12" fmla="*/ 10 w 26"/>
                <a:gd name="T13" fmla="*/ 16 h 61"/>
                <a:gd name="T14" fmla="*/ 13 w 26"/>
                <a:gd name="T15" fmla="*/ 15 h 61"/>
                <a:gd name="T16" fmla="*/ 13 w 26"/>
                <a:gd name="T17" fmla="*/ 59 h 61"/>
                <a:gd name="T18" fmla="*/ 26 w 26"/>
                <a:gd name="T19" fmla="*/ 61 h 61"/>
                <a:gd name="T20" fmla="*/ 26 w 26"/>
                <a:gd name="T21" fmla="*/ 0 h 61"/>
                <a:gd name="T22" fmla="*/ 18 w 26"/>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1">
                  <a:moveTo>
                    <a:pt x="18" y="0"/>
                  </a:move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6"/>
                    <a:pt x="13" y="15"/>
                  </a:cubicBezTo>
                  <a:cubicBezTo>
                    <a:pt x="13" y="15"/>
                    <a:pt x="13" y="15"/>
                    <a:pt x="13" y="59"/>
                  </a:cubicBezTo>
                  <a:cubicBezTo>
                    <a:pt x="17" y="59"/>
                    <a:pt x="22" y="60"/>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2" name="Freeform 417"/>
            <p:cNvSpPr>
              <a:spLocks/>
            </p:cNvSpPr>
            <p:nvPr/>
          </p:nvSpPr>
          <p:spPr bwMode="auto">
            <a:xfrm>
              <a:off x="6526474" y="5695000"/>
              <a:ext cx="76267" cy="182834"/>
            </a:xfrm>
            <a:custGeom>
              <a:avLst/>
              <a:gdLst>
                <a:gd name="T0" fmla="*/ 18 w 26"/>
                <a:gd name="T1" fmla="*/ 0 h 62"/>
                <a:gd name="T2" fmla="*/ 10 w 26"/>
                <a:gd name="T3" fmla="*/ 5 h 62"/>
                <a:gd name="T4" fmla="*/ 0 w 26"/>
                <a:gd name="T5" fmla="*/ 9 h 62"/>
                <a:gd name="T6" fmla="*/ 0 w 26"/>
                <a:gd name="T7" fmla="*/ 20 h 62"/>
                <a:gd name="T8" fmla="*/ 4 w 26"/>
                <a:gd name="T9" fmla="*/ 20 h 62"/>
                <a:gd name="T10" fmla="*/ 7 w 26"/>
                <a:gd name="T11" fmla="*/ 18 h 62"/>
                <a:gd name="T12" fmla="*/ 10 w 26"/>
                <a:gd name="T13" fmla="*/ 16 h 62"/>
                <a:gd name="T14" fmla="*/ 13 w 26"/>
                <a:gd name="T15" fmla="*/ 15 h 62"/>
                <a:gd name="T16" fmla="*/ 13 w 26"/>
                <a:gd name="T17" fmla="*/ 62 h 62"/>
                <a:gd name="T18" fmla="*/ 19 w 26"/>
                <a:gd name="T19" fmla="*/ 62 h 62"/>
                <a:gd name="T20" fmla="*/ 26 w 26"/>
                <a:gd name="T21" fmla="*/ 61 h 62"/>
                <a:gd name="T22" fmla="*/ 26 w 26"/>
                <a:gd name="T23" fmla="*/ 0 h 62"/>
                <a:gd name="T24" fmla="*/ 18 w 2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62">
                  <a:moveTo>
                    <a:pt x="18" y="0"/>
                  </a:moveTo>
                  <a:cubicBezTo>
                    <a:pt x="15" y="2"/>
                    <a:pt x="13" y="4"/>
                    <a:pt x="10" y="5"/>
                  </a:cubicBezTo>
                  <a:cubicBezTo>
                    <a:pt x="6" y="6"/>
                    <a:pt x="4" y="8"/>
                    <a:pt x="0" y="9"/>
                  </a:cubicBezTo>
                  <a:cubicBezTo>
                    <a:pt x="0" y="9"/>
                    <a:pt x="0" y="9"/>
                    <a:pt x="0" y="20"/>
                  </a:cubicBezTo>
                  <a:cubicBezTo>
                    <a:pt x="1" y="20"/>
                    <a:pt x="2" y="20"/>
                    <a:pt x="4" y="20"/>
                  </a:cubicBezTo>
                  <a:cubicBezTo>
                    <a:pt x="5" y="19"/>
                    <a:pt x="5" y="19"/>
                    <a:pt x="7" y="18"/>
                  </a:cubicBezTo>
                  <a:cubicBezTo>
                    <a:pt x="8" y="18"/>
                    <a:pt x="9" y="17"/>
                    <a:pt x="10" y="16"/>
                  </a:cubicBezTo>
                  <a:cubicBezTo>
                    <a:pt x="11" y="16"/>
                    <a:pt x="12" y="16"/>
                    <a:pt x="13" y="15"/>
                  </a:cubicBezTo>
                  <a:cubicBezTo>
                    <a:pt x="13" y="15"/>
                    <a:pt x="13" y="15"/>
                    <a:pt x="13" y="62"/>
                  </a:cubicBezTo>
                  <a:cubicBezTo>
                    <a:pt x="13" y="62"/>
                    <a:pt x="13" y="62"/>
                    <a:pt x="19" y="62"/>
                  </a:cubicBezTo>
                  <a:cubicBezTo>
                    <a:pt x="22" y="62"/>
                    <a:pt x="24" y="62"/>
                    <a:pt x="26" y="61"/>
                  </a:cubicBezTo>
                  <a:cubicBezTo>
                    <a:pt x="26" y="58"/>
                    <a:pt x="26" y="46"/>
                    <a:pt x="26"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3" name="Freeform 418"/>
            <p:cNvSpPr>
              <a:spLocks/>
            </p:cNvSpPr>
            <p:nvPr/>
          </p:nvSpPr>
          <p:spPr bwMode="auto">
            <a:xfrm>
              <a:off x="6647749" y="5695000"/>
              <a:ext cx="80017" cy="165302"/>
            </a:xfrm>
            <a:custGeom>
              <a:avLst/>
              <a:gdLst>
                <a:gd name="T0" fmla="*/ 18 w 27"/>
                <a:gd name="T1" fmla="*/ 0 h 56"/>
                <a:gd name="T2" fmla="*/ 10 w 27"/>
                <a:gd name="T3" fmla="*/ 5 h 56"/>
                <a:gd name="T4" fmla="*/ 0 w 27"/>
                <a:gd name="T5" fmla="*/ 9 h 56"/>
                <a:gd name="T6" fmla="*/ 0 w 27"/>
                <a:gd name="T7" fmla="*/ 20 h 56"/>
                <a:gd name="T8" fmla="*/ 4 w 27"/>
                <a:gd name="T9" fmla="*/ 20 h 56"/>
                <a:gd name="T10" fmla="*/ 8 w 27"/>
                <a:gd name="T11" fmla="*/ 18 h 56"/>
                <a:gd name="T12" fmla="*/ 10 w 27"/>
                <a:gd name="T13" fmla="*/ 16 h 56"/>
                <a:gd name="T14" fmla="*/ 13 w 27"/>
                <a:gd name="T15" fmla="*/ 15 h 56"/>
                <a:gd name="T16" fmla="*/ 13 w 27"/>
                <a:gd name="T17" fmla="*/ 56 h 56"/>
                <a:gd name="T18" fmla="*/ 27 w 27"/>
                <a:gd name="T19" fmla="*/ 52 h 56"/>
                <a:gd name="T20" fmla="*/ 27 w 27"/>
                <a:gd name="T21" fmla="*/ 0 h 56"/>
                <a:gd name="T22" fmla="*/ 18 w 2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6">
                  <a:moveTo>
                    <a:pt x="18" y="0"/>
                  </a:moveTo>
                  <a:cubicBezTo>
                    <a:pt x="16" y="2"/>
                    <a:pt x="13" y="4"/>
                    <a:pt x="10" y="5"/>
                  </a:cubicBezTo>
                  <a:cubicBezTo>
                    <a:pt x="7" y="6"/>
                    <a:pt x="4" y="8"/>
                    <a:pt x="0" y="9"/>
                  </a:cubicBezTo>
                  <a:cubicBezTo>
                    <a:pt x="0" y="9"/>
                    <a:pt x="0" y="9"/>
                    <a:pt x="0" y="20"/>
                  </a:cubicBezTo>
                  <a:cubicBezTo>
                    <a:pt x="1" y="20"/>
                    <a:pt x="2" y="20"/>
                    <a:pt x="4" y="20"/>
                  </a:cubicBezTo>
                  <a:cubicBezTo>
                    <a:pt x="5" y="19"/>
                    <a:pt x="6" y="19"/>
                    <a:pt x="8" y="18"/>
                  </a:cubicBezTo>
                  <a:cubicBezTo>
                    <a:pt x="8" y="18"/>
                    <a:pt x="9" y="17"/>
                    <a:pt x="10" y="16"/>
                  </a:cubicBezTo>
                  <a:cubicBezTo>
                    <a:pt x="11" y="16"/>
                    <a:pt x="12" y="16"/>
                    <a:pt x="13" y="15"/>
                  </a:cubicBezTo>
                  <a:cubicBezTo>
                    <a:pt x="13" y="15"/>
                    <a:pt x="13" y="15"/>
                    <a:pt x="13" y="56"/>
                  </a:cubicBezTo>
                  <a:cubicBezTo>
                    <a:pt x="18" y="55"/>
                    <a:pt x="22" y="54"/>
                    <a:pt x="27" y="52"/>
                  </a:cubicBezTo>
                  <a:cubicBezTo>
                    <a:pt x="27" y="44"/>
                    <a:pt x="27" y="29"/>
                    <a:pt x="27" y="0"/>
                  </a:cubicBezTo>
                  <a:lnTo>
                    <a:pt x="18" y="0"/>
                  </a:ln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4" name="Freeform 425"/>
            <p:cNvSpPr>
              <a:spLocks noEditPoints="1"/>
            </p:cNvSpPr>
            <p:nvPr/>
          </p:nvSpPr>
          <p:spPr bwMode="auto">
            <a:xfrm>
              <a:off x="6642796" y="2013434"/>
              <a:ext cx="245684" cy="213512"/>
            </a:xfrm>
            <a:custGeom>
              <a:avLst/>
              <a:gdLst>
                <a:gd name="T0" fmla="*/ 701 w 704"/>
                <a:gd name="T1" fmla="*/ 585 h 610"/>
                <a:gd name="T2" fmla="*/ 366 w 704"/>
                <a:gd name="T3" fmla="*/ 8 h 610"/>
                <a:gd name="T4" fmla="*/ 352 w 704"/>
                <a:gd name="T5" fmla="*/ 0 h 610"/>
                <a:gd name="T6" fmla="*/ 338 w 704"/>
                <a:gd name="T7" fmla="*/ 8 h 610"/>
                <a:gd name="T8" fmla="*/ 3 w 704"/>
                <a:gd name="T9" fmla="*/ 586 h 610"/>
                <a:gd name="T10" fmla="*/ 3 w 704"/>
                <a:gd name="T11" fmla="*/ 602 h 610"/>
                <a:gd name="T12" fmla="*/ 17 w 704"/>
                <a:gd name="T13" fmla="*/ 610 h 610"/>
                <a:gd name="T14" fmla="*/ 688 w 704"/>
                <a:gd name="T15" fmla="*/ 610 h 610"/>
                <a:gd name="T16" fmla="*/ 688 w 704"/>
                <a:gd name="T17" fmla="*/ 610 h 610"/>
                <a:gd name="T18" fmla="*/ 704 w 704"/>
                <a:gd name="T19" fmla="*/ 594 h 610"/>
                <a:gd name="T20" fmla="*/ 701 w 704"/>
                <a:gd name="T21" fmla="*/ 585 h 610"/>
                <a:gd name="T22" fmla="*/ 352 w 704"/>
                <a:gd name="T23" fmla="*/ 220 h 610"/>
                <a:gd name="T24" fmla="*/ 514 w 704"/>
                <a:gd name="T25" fmla="*/ 500 h 610"/>
                <a:gd name="T26" fmla="*/ 190 w 704"/>
                <a:gd name="T27" fmla="*/ 500 h 610"/>
                <a:gd name="T28" fmla="*/ 352 w 704"/>
                <a:gd name="T29" fmla="*/ 22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610">
                  <a:moveTo>
                    <a:pt x="701" y="585"/>
                  </a:moveTo>
                  <a:cubicBezTo>
                    <a:pt x="366" y="8"/>
                    <a:pt x="366" y="8"/>
                    <a:pt x="366" y="8"/>
                  </a:cubicBezTo>
                  <a:cubicBezTo>
                    <a:pt x="363" y="3"/>
                    <a:pt x="358" y="0"/>
                    <a:pt x="352" y="0"/>
                  </a:cubicBezTo>
                  <a:cubicBezTo>
                    <a:pt x="346" y="0"/>
                    <a:pt x="341" y="3"/>
                    <a:pt x="338" y="8"/>
                  </a:cubicBezTo>
                  <a:cubicBezTo>
                    <a:pt x="3" y="586"/>
                    <a:pt x="3" y="586"/>
                    <a:pt x="3" y="586"/>
                  </a:cubicBezTo>
                  <a:cubicBezTo>
                    <a:pt x="0" y="591"/>
                    <a:pt x="0" y="597"/>
                    <a:pt x="3" y="602"/>
                  </a:cubicBezTo>
                  <a:cubicBezTo>
                    <a:pt x="5" y="607"/>
                    <a:pt x="11" y="610"/>
                    <a:pt x="17" y="610"/>
                  </a:cubicBezTo>
                  <a:cubicBezTo>
                    <a:pt x="688" y="610"/>
                    <a:pt x="688" y="610"/>
                    <a:pt x="688" y="610"/>
                  </a:cubicBezTo>
                  <a:cubicBezTo>
                    <a:pt x="688" y="610"/>
                    <a:pt x="688" y="610"/>
                    <a:pt x="688" y="610"/>
                  </a:cubicBezTo>
                  <a:cubicBezTo>
                    <a:pt x="697" y="610"/>
                    <a:pt x="704" y="603"/>
                    <a:pt x="704" y="594"/>
                  </a:cubicBezTo>
                  <a:cubicBezTo>
                    <a:pt x="704" y="591"/>
                    <a:pt x="703" y="587"/>
                    <a:pt x="701" y="585"/>
                  </a:cubicBezTo>
                  <a:close/>
                  <a:moveTo>
                    <a:pt x="352" y="220"/>
                  </a:moveTo>
                  <a:cubicBezTo>
                    <a:pt x="514" y="500"/>
                    <a:pt x="514" y="500"/>
                    <a:pt x="514" y="500"/>
                  </a:cubicBezTo>
                  <a:cubicBezTo>
                    <a:pt x="190" y="500"/>
                    <a:pt x="190" y="500"/>
                    <a:pt x="190" y="500"/>
                  </a:cubicBezTo>
                  <a:lnTo>
                    <a:pt x="352" y="220"/>
                  </a:lnTo>
                  <a:close/>
                </a:path>
              </a:pathLst>
            </a:custGeom>
            <a:solidFill>
              <a:srgbClr val="505050"/>
            </a:solidFill>
            <a:ln>
              <a:noFill/>
            </a:ln>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5" name="Freeform 99"/>
            <p:cNvSpPr>
              <a:spLocks noEditPoints="1"/>
            </p:cNvSpPr>
            <p:nvPr/>
          </p:nvSpPr>
          <p:spPr bwMode="auto">
            <a:xfrm>
              <a:off x="4884755" y="3680129"/>
              <a:ext cx="592394" cy="412818"/>
            </a:xfrm>
            <a:custGeom>
              <a:avLst/>
              <a:gdLst>
                <a:gd name="T0" fmla="*/ 208 w 208"/>
                <a:gd name="T1" fmla="*/ 135 h 145"/>
                <a:gd name="T2" fmla="*/ 208 w 208"/>
                <a:gd name="T3" fmla="*/ 10 h 145"/>
                <a:gd name="T4" fmla="*/ 198 w 208"/>
                <a:gd name="T5" fmla="*/ 0 h 145"/>
                <a:gd name="T6" fmla="*/ 10 w 208"/>
                <a:gd name="T7" fmla="*/ 0 h 145"/>
                <a:gd name="T8" fmla="*/ 0 w 208"/>
                <a:gd name="T9" fmla="*/ 10 h 145"/>
                <a:gd name="T10" fmla="*/ 0 w 208"/>
                <a:gd name="T11" fmla="*/ 135 h 145"/>
                <a:gd name="T12" fmla="*/ 10 w 208"/>
                <a:gd name="T13" fmla="*/ 145 h 145"/>
                <a:gd name="T14" fmla="*/ 198 w 208"/>
                <a:gd name="T15" fmla="*/ 145 h 145"/>
                <a:gd name="T16" fmla="*/ 208 w 208"/>
                <a:gd name="T17" fmla="*/ 135 h 145"/>
                <a:gd name="T18" fmla="*/ 104 w 208"/>
                <a:gd name="T19" fmla="*/ 3 h 145"/>
                <a:gd name="T20" fmla="*/ 106 w 208"/>
                <a:gd name="T21" fmla="*/ 5 h 145"/>
                <a:gd name="T22" fmla="*/ 104 w 208"/>
                <a:gd name="T23" fmla="*/ 8 h 145"/>
                <a:gd name="T24" fmla="*/ 102 w 208"/>
                <a:gd name="T25" fmla="*/ 5 h 145"/>
                <a:gd name="T26" fmla="*/ 104 w 208"/>
                <a:gd name="T27" fmla="*/ 3 h 145"/>
                <a:gd name="T28" fmla="*/ 104 w 208"/>
                <a:gd name="T29" fmla="*/ 141 h 145"/>
                <a:gd name="T30" fmla="*/ 100 w 208"/>
                <a:gd name="T31" fmla="*/ 136 h 145"/>
                <a:gd name="T32" fmla="*/ 104 w 208"/>
                <a:gd name="T33" fmla="*/ 132 h 145"/>
                <a:gd name="T34" fmla="*/ 109 w 208"/>
                <a:gd name="T35" fmla="*/ 136 h 145"/>
                <a:gd name="T36" fmla="*/ 104 w 208"/>
                <a:gd name="T37" fmla="*/ 141 h 145"/>
                <a:gd name="T38" fmla="*/ 197 w 208"/>
                <a:gd name="T39" fmla="*/ 129 h 145"/>
                <a:gd name="T40" fmla="*/ 12 w 208"/>
                <a:gd name="T41" fmla="*/ 129 h 145"/>
                <a:gd name="T42" fmla="*/ 12 w 208"/>
                <a:gd name="T43" fmla="*/ 11 h 145"/>
                <a:gd name="T44" fmla="*/ 197 w 208"/>
                <a:gd name="T45" fmla="*/ 11 h 145"/>
                <a:gd name="T46" fmla="*/ 197 w 208"/>
                <a:gd name="T47" fmla="*/ 12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45">
                  <a:moveTo>
                    <a:pt x="208" y="135"/>
                  </a:moveTo>
                  <a:cubicBezTo>
                    <a:pt x="208" y="10"/>
                    <a:pt x="208" y="10"/>
                    <a:pt x="208" y="10"/>
                  </a:cubicBezTo>
                  <a:cubicBezTo>
                    <a:pt x="208" y="4"/>
                    <a:pt x="203" y="0"/>
                    <a:pt x="198" y="0"/>
                  </a:cubicBezTo>
                  <a:cubicBezTo>
                    <a:pt x="10" y="0"/>
                    <a:pt x="10" y="0"/>
                    <a:pt x="10" y="0"/>
                  </a:cubicBezTo>
                  <a:cubicBezTo>
                    <a:pt x="5" y="0"/>
                    <a:pt x="0" y="4"/>
                    <a:pt x="0" y="10"/>
                  </a:cubicBezTo>
                  <a:cubicBezTo>
                    <a:pt x="0" y="135"/>
                    <a:pt x="0" y="135"/>
                    <a:pt x="0" y="135"/>
                  </a:cubicBezTo>
                  <a:cubicBezTo>
                    <a:pt x="0" y="140"/>
                    <a:pt x="5" y="145"/>
                    <a:pt x="10" y="145"/>
                  </a:cubicBezTo>
                  <a:cubicBezTo>
                    <a:pt x="198" y="145"/>
                    <a:pt x="198" y="145"/>
                    <a:pt x="198" y="145"/>
                  </a:cubicBezTo>
                  <a:cubicBezTo>
                    <a:pt x="203" y="145"/>
                    <a:pt x="208" y="140"/>
                    <a:pt x="208" y="135"/>
                  </a:cubicBezTo>
                  <a:close/>
                  <a:moveTo>
                    <a:pt x="104" y="3"/>
                  </a:moveTo>
                  <a:cubicBezTo>
                    <a:pt x="105" y="3"/>
                    <a:pt x="106" y="4"/>
                    <a:pt x="106" y="5"/>
                  </a:cubicBezTo>
                  <a:cubicBezTo>
                    <a:pt x="106" y="7"/>
                    <a:pt x="105" y="8"/>
                    <a:pt x="104" y="8"/>
                  </a:cubicBezTo>
                  <a:cubicBezTo>
                    <a:pt x="103" y="8"/>
                    <a:pt x="102" y="7"/>
                    <a:pt x="102" y="5"/>
                  </a:cubicBezTo>
                  <a:cubicBezTo>
                    <a:pt x="102" y="4"/>
                    <a:pt x="103" y="3"/>
                    <a:pt x="104" y="3"/>
                  </a:cubicBezTo>
                  <a:close/>
                  <a:moveTo>
                    <a:pt x="104" y="141"/>
                  </a:moveTo>
                  <a:cubicBezTo>
                    <a:pt x="101" y="141"/>
                    <a:pt x="100" y="139"/>
                    <a:pt x="100" y="136"/>
                  </a:cubicBezTo>
                  <a:cubicBezTo>
                    <a:pt x="100" y="134"/>
                    <a:pt x="101" y="132"/>
                    <a:pt x="104" y="132"/>
                  </a:cubicBezTo>
                  <a:cubicBezTo>
                    <a:pt x="107" y="132"/>
                    <a:pt x="109" y="134"/>
                    <a:pt x="109" y="136"/>
                  </a:cubicBezTo>
                  <a:cubicBezTo>
                    <a:pt x="109" y="139"/>
                    <a:pt x="107" y="141"/>
                    <a:pt x="104" y="141"/>
                  </a:cubicBezTo>
                  <a:close/>
                  <a:moveTo>
                    <a:pt x="197" y="129"/>
                  </a:moveTo>
                  <a:cubicBezTo>
                    <a:pt x="12" y="129"/>
                    <a:pt x="12" y="129"/>
                    <a:pt x="12" y="129"/>
                  </a:cubicBezTo>
                  <a:cubicBezTo>
                    <a:pt x="12" y="11"/>
                    <a:pt x="12" y="11"/>
                    <a:pt x="12" y="11"/>
                  </a:cubicBezTo>
                  <a:cubicBezTo>
                    <a:pt x="197" y="11"/>
                    <a:pt x="197" y="11"/>
                    <a:pt x="197" y="11"/>
                  </a:cubicBezTo>
                  <a:lnTo>
                    <a:pt x="197" y="129"/>
                  </a:lnTo>
                  <a:close/>
                </a:path>
              </a:pathLst>
            </a:custGeom>
            <a:solidFill>
              <a:srgbClr val="505050"/>
            </a:solidFill>
            <a:ln>
              <a:noFill/>
            </a:ln>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6" name="Freeform 995"/>
            <p:cNvSpPr>
              <a:spLocks noChangeAspect="1"/>
            </p:cNvSpPr>
            <p:nvPr/>
          </p:nvSpPr>
          <p:spPr bwMode="auto">
            <a:xfrm>
              <a:off x="4251431" y="3908865"/>
              <a:ext cx="408889" cy="409495"/>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216" tIns="72973" rIns="91216" bIns="72973" numCol="1" spcCol="0" rtlCol="0" fromWordArt="0" anchor="t" anchorCtr="0" forceAA="0" compatLnSpc="1">
              <a:prstTxWarp prst="textNoShape">
                <a:avLst/>
              </a:prstTxWarp>
              <a:noAutofit/>
            </a:bodyPr>
            <a:lstStyle/>
            <a:p>
              <a:pPr algn="ctr" defTabSz="465045" fontAlgn="base">
                <a:lnSpc>
                  <a:spcPct val="90000"/>
                </a:lnSpc>
                <a:spcBef>
                  <a:spcPct val="0"/>
                </a:spcBef>
                <a:spcAft>
                  <a:spcPct val="0"/>
                </a:spcAft>
                <a:defRPr/>
              </a:pPr>
              <a:endParaRPr lang="en-US" sz="1197" kern="0" dirty="0">
                <a:gradFill>
                  <a:gsLst>
                    <a:gs pos="0">
                      <a:srgbClr val="FFFFFF"/>
                    </a:gs>
                    <a:gs pos="100000">
                      <a:srgbClr val="FFFFFF"/>
                    </a:gs>
                  </a:gsLst>
                  <a:lin ang="5400000" scaled="0"/>
                </a:gradFill>
                <a:ea typeface="Segoe UI" pitchFamily="34" charset="0"/>
                <a:cs typeface="Segoe UI" pitchFamily="34" charset="0"/>
              </a:endParaRPr>
            </a:p>
          </p:txBody>
        </p:sp>
        <p:sp>
          <p:nvSpPr>
            <p:cNvPr id="997" name="Freeform 340"/>
            <p:cNvSpPr>
              <a:spLocks/>
            </p:cNvSpPr>
            <p:nvPr/>
          </p:nvSpPr>
          <p:spPr bwMode="auto">
            <a:xfrm>
              <a:off x="7240870"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8" name="Freeform 262"/>
            <p:cNvSpPr>
              <a:spLocks noEditPoints="1"/>
            </p:cNvSpPr>
            <p:nvPr/>
          </p:nvSpPr>
          <p:spPr bwMode="auto">
            <a:xfrm>
              <a:off x="5872118" y="1879282"/>
              <a:ext cx="130027" cy="190348"/>
            </a:xfrm>
            <a:custGeom>
              <a:avLst/>
              <a:gdLst>
                <a:gd name="T0" fmla="*/ 22 w 44"/>
                <a:gd name="T1" fmla="*/ 64 h 64"/>
                <a:gd name="T2" fmla="*/ 39 w 44"/>
                <a:gd name="T3" fmla="*/ 56 h 64"/>
                <a:gd name="T4" fmla="*/ 44 w 44"/>
                <a:gd name="T5" fmla="*/ 32 h 64"/>
                <a:gd name="T6" fmla="*/ 23 w 44"/>
                <a:gd name="T7" fmla="*/ 0 h 64"/>
                <a:gd name="T8" fmla="*/ 6 w 44"/>
                <a:gd name="T9" fmla="*/ 8 h 64"/>
                <a:gd name="T10" fmla="*/ 0 w 44"/>
                <a:gd name="T11" fmla="*/ 33 h 64"/>
                <a:gd name="T12" fmla="*/ 22 w 44"/>
                <a:gd name="T13" fmla="*/ 64 h 64"/>
                <a:gd name="T14" fmla="*/ 22 w 44"/>
                <a:gd name="T15" fmla="*/ 11 h 64"/>
                <a:gd name="T16" fmla="*/ 30 w 44"/>
                <a:gd name="T17" fmla="*/ 32 h 64"/>
                <a:gd name="T18" fmla="*/ 22 w 44"/>
                <a:gd name="T19" fmla="*/ 53 h 64"/>
                <a:gd name="T20" fmla="*/ 14 w 44"/>
                <a:gd name="T21" fmla="*/ 33 h 64"/>
                <a:gd name="T22" fmla="*/ 22 w 44"/>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2" y="64"/>
                  </a:moveTo>
                  <a:cubicBezTo>
                    <a:pt x="29" y="64"/>
                    <a:pt x="35" y="61"/>
                    <a:pt x="39" y="56"/>
                  </a:cubicBezTo>
                  <a:cubicBezTo>
                    <a:pt x="42" y="50"/>
                    <a:pt x="44" y="42"/>
                    <a:pt x="44" y="32"/>
                  </a:cubicBezTo>
                  <a:cubicBezTo>
                    <a:pt x="44" y="11"/>
                    <a:pt x="38" y="0"/>
                    <a:pt x="23" y="0"/>
                  </a:cubicBezTo>
                  <a:cubicBezTo>
                    <a:pt x="16" y="0"/>
                    <a:pt x="9" y="2"/>
                    <a:pt x="6" y="8"/>
                  </a:cubicBezTo>
                  <a:cubicBezTo>
                    <a:pt x="2" y="14"/>
                    <a:pt x="0" y="22"/>
                    <a:pt x="0" y="33"/>
                  </a:cubicBezTo>
                  <a:cubicBezTo>
                    <a:pt x="0" y="54"/>
                    <a:pt x="7" y="64"/>
                    <a:pt x="22" y="64"/>
                  </a:cubicBezTo>
                  <a:close/>
                  <a:moveTo>
                    <a:pt x="22" y="11"/>
                  </a:moveTo>
                  <a:cubicBezTo>
                    <a:pt x="28" y="11"/>
                    <a:pt x="30" y="17"/>
                    <a:pt x="30" y="32"/>
                  </a:cubicBezTo>
                  <a:cubicBezTo>
                    <a:pt x="30" y="46"/>
                    <a:pt x="28" y="53"/>
                    <a:pt x="22" y="53"/>
                  </a:cubicBezTo>
                  <a:cubicBezTo>
                    <a:pt x="17" y="53"/>
                    <a:pt x="14" y="46"/>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999" name="Freeform 243"/>
            <p:cNvSpPr>
              <a:spLocks/>
            </p:cNvSpPr>
            <p:nvPr/>
          </p:nvSpPr>
          <p:spPr bwMode="auto">
            <a:xfrm>
              <a:off x="5858831" y="2102189"/>
              <a:ext cx="80017" cy="186591"/>
            </a:xfrm>
            <a:custGeom>
              <a:avLst/>
              <a:gdLst>
                <a:gd name="T0" fmla="*/ 8 w 27"/>
                <a:gd name="T1" fmla="*/ 19 h 63"/>
                <a:gd name="T2" fmla="*/ 10 w 27"/>
                <a:gd name="T3" fmla="*/ 17 h 63"/>
                <a:gd name="T4" fmla="*/ 13 w 27"/>
                <a:gd name="T5" fmla="*/ 15 h 63"/>
                <a:gd name="T6" fmla="*/ 13 w 27"/>
                <a:gd name="T7" fmla="*/ 63 h 63"/>
                <a:gd name="T8" fmla="*/ 27 w 27"/>
                <a:gd name="T9" fmla="*/ 63 h 63"/>
                <a:gd name="T10" fmla="*/ 27 w 27"/>
                <a:gd name="T11" fmla="*/ 0 h 63"/>
                <a:gd name="T12" fmla="*/ 19 w 27"/>
                <a:gd name="T13" fmla="*/ 0 h 63"/>
                <a:gd name="T14" fmla="*/ 10 w 27"/>
                <a:gd name="T15" fmla="*/ 6 h 63"/>
                <a:gd name="T16" fmla="*/ 0 w 27"/>
                <a:gd name="T17" fmla="*/ 10 h 63"/>
                <a:gd name="T18" fmla="*/ 0 w 27"/>
                <a:gd name="T19" fmla="*/ 21 h 63"/>
                <a:gd name="T20" fmla="*/ 4 w 27"/>
                <a:gd name="T21" fmla="*/ 21 h 63"/>
                <a:gd name="T22" fmla="*/ 8 w 27"/>
                <a:gd name="T23" fmla="*/ 1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8" y="19"/>
                  </a:moveTo>
                  <a:cubicBezTo>
                    <a:pt x="9" y="19"/>
                    <a:pt x="10" y="18"/>
                    <a:pt x="10" y="17"/>
                  </a:cubicBezTo>
                  <a:cubicBezTo>
                    <a:pt x="11"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00" name="Freeform 6"/>
            <p:cNvSpPr>
              <a:spLocks noEditPoints="1"/>
            </p:cNvSpPr>
            <p:nvPr/>
          </p:nvSpPr>
          <p:spPr bwMode="auto">
            <a:xfrm>
              <a:off x="6453659" y="2568270"/>
              <a:ext cx="353645" cy="604939"/>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nvGrpSpPr>
            <p:cNvPr id="1001" name="Group 1000"/>
            <p:cNvGrpSpPr/>
            <p:nvPr/>
          </p:nvGrpSpPr>
          <p:grpSpPr>
            <a:xfrm>
              <a:off x="6488832" y="3515513"/>
              <a:ext cx="306572" cy="343958"/>
              <a:chOff x="6495975" y="3510751"/>
              <a:chExt cx="306572" cy="343958"/>
            </a:xfrm>
          </p:grpSpPr>
          <p:sp>
            <p:nvSpPr>
              <p:cNvPr id="1107"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8"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9"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1002" name="Freeform 20"/>
            <p:cNvSpPr>
              <a:spLocks noEditPoints="1"/>
            </p:cNvSpPr>
            <p:nvPr/>
          </p:nvSpPr>
          <p:spPr bwMode="auto">
            <a:xfrm>
              <a:off x="4924681" y="2796699"/>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3" name="Freeform 20"/>
            <p:cNvSpPr>
              <a:spLocks noEditPoints="1"/>
            </p:cNvSpPr>
            <p:nvPr/>
          </p:nvSpPr>
          <p:spPr bwMode="auto">
            <a:xfrm>
              <a:off x="4924681"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4" name="Freeform 20"/>
            <p:cNvSpPr>
              <a:spLocks noEditPoints="1"/>
            </p:cNvSpPr>
            <p:nvPr/>
          </p:nvSpPr>
          <p:spPr bwMode="auto">
            <a:xfrm>
              <a:off x="5230502" y="3081808"/>
              <a:ext cx="264423" cy="315098"/>
            </a:xfrm>
            <a:custGeom>
              <a:avLst/>
              <a:gdLst>
                <a:gd name="T0" fmla="*/ 892 w 929"/>
                <a:gd name="T1" fmla="*/ 112 h 1108"/>
                <a:gd name="T2" fmla="*/ 802 w 929"/>
                <a:gd name="T3" fmla="*/ 58 h 1108"/>
                <a:gd name="T4" fmla="*/ 802 w 929"/>
                <a:gd name="T5" fmla="*/ 58 h 1108"/>
                <a:gd name="T6" fmla="*/ 792 w 929"/>
                <a:gd name="T7" fmla="*/ 54 h 1108"/>
                <a:gd name="T8" fmla="*/ 643 w 929"/>
                <a:gd name="T9" fmla="*/ 14 h 1108"/>
                <a:gd name="T10" fmla="*/ 465 w 929"/>
                <a:gd name="T11" fmla="*/ 0 h 1108"/>
                <a:gd name="T12" fmla="*/ 287 w 929"/>
                <a:gd name="T13" fmla="*/ 14 h 1108"/>
                <a:gd name="T14" fmla="*/ 162 w 929"/>
                <a:gd name="T15" fmla="*/ 45 h 1108"/>
                <a:gd name="T16" fmla="*/ 138 w 929"/>
                <a:gd name="T17" fmla="*/ 54 h 1108"/>
                <a:gd name="T18" fmla="*/ 37 w 929"/>
                <a:gd name="T19" fmla="*/ 112 h 1108"/>
                <a:gd name="T20" fmla="*/ 0 w 929"/>
                <a:gd name="T21" fmla="*/ 184 h 1108"/>
                <a:gd name="T22" fmla="*/ 0 w 929"/>
                <a:gd name="T23" fmla="*/ 923 h 1108"/>
                <a:gd name="T24" fmla="*/ 10 w 929"/>
                <a:gd name="T25" fmla="*/ 960 h 1108"/>
                <a:gd name="T26" fmla="*/ 37 w 929"/>
                <a:gd name="T27" fmla="*/ 995 h 1108"/>
                <a:gd name="T28" fmla="*/ 138 w 929"/>
                <a:gd name="T29" fmla="*/ 1054 h 1108"/>
                <a:gd name="T30" fmla="*/ 162 w 929"/>
                <a:gd name="T31" fmla="*/ 1062 h 1108"/>
                <a:gd name="T32" fmla="*/ 465 w 929"/>
                <a:gd name="T33" fmla="*/ 1108 h 1108"/>
                <a:gd name="T34" fmla="*/ 792 w 929"/>
                <a:gd name="T35" fmla="*/ 1054 h 1108"/>
                <a:gd name="T36" fmla="*/ 802 w 929"/>
                <a:gd name="T37" fmla="*/ 1049 h 1108"/>
                <a:gd name="T38" fmla="*/ 802 w 929"/>
                <a:gd name="T39" fmla="*/ 1049 h 1108"/>
                <a:gd name="T40" fmla="*/ 892 w 929"/>
                <a:gd name="T41" fmla="*/ 995 h 1108"/>
                <a:gd name="T42" fmla="*/ 919 w 929"/>
                <a:gd name="T43" fmla="*/ 960 h 1108"/>
                <a:gd name="T44" fmla="*/ 929 w 929"/>
                <a:gd name="T45" fmla="*/ 923 h 1108"/>
                <a:gd name="T46" fmla="*/ 929 w 929"/>
                <a:gd name="T47" fmla="*/ 184 h 1108"/>
                <a:gd name="T48" fmla="*/ 892 w 929"/>
                <a:gd name="T49" fmla="*/ 112 h 1108"/>
                <a:gd name="T50" fmla="*/ 801 w 929"/>
                <a:gd name="T51" fmla="*/ 218 h 1108"/>
                <a:gd name="T52" fmla="*/ 801 w 929"/>
                <a:gd name="T53" fmla="*/ 218 h 1108"/>
                <a:gd name="T54" fmla="*/ 465 w 929"/>
                <a:gd name="T55" fmla="*/ 277 h 1108"/>
                <a:gd name="T56" fmla="*/ 162 w 929"/>
                <a:gd name="T57" fmla="*/ 233 h 1108"/>
                <a:gd name="T58" fmla="*/ 83 w 929"/>
                <a:gd name="T59" fmla="*/ 166 h 1108"/>
                <a:gd name="T60" fmla="*/ 162 w 929"/>
                <a:gd name="T61" fmla="*/ 95 h 1108"/>
                <a:gd name="T62" fmla="*/ 465 w 929"/>
                <a:gd name="T63" fmla="*/ 48 h 1108"/>
                <a:gd name="T64" fmla="*/ 465 w 929"/>
                <a:gd name="T65" fmla="*/ 48 h 1108"/>
                <a:gd name="T66" fmla="*/ 465 w 929"/>
                <a:gd name="T67" fmla="*/ 48 h 1108"/>
                <a:gd name="T68" fmla="*/ 801 w 929"/>
                <a:gd name="T69" fmla="*/ 111 h 1108"/>
                <a:gd name="T70" fmla="*/ 801 w 929"/>
                <a:gd name="T71" fmla="*/ 111 h 1108"/>
                <a:gd name="T72" fmla="*/ 847 w 929"/>
                <a:gd name="T73" fmla="*/ 166 h 1108"/>
                <a:gd name="T74" fmla="*/ 801 w 929"/>
                <a:gd name="T75" fmla="*/ 218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9" h="1108">
                  <a:moveTo>
                    <a:pt x="892" y="112"/>
                  </a:moveTo>
                  <a:cubicBezTo>
                    <a:pt x="870" y="92"/>
                    <a:pt x="840" y="74"/>
                    <a:pt x="802" y="58"/>
                  </a:cubicBezTo>
                  <a:cubicBezTo>
                    <a:pt x="802" y="58"/>
                    <a:pt x="802" y="58"/>
                    <a:pt x="802" y="58"/>
                  </a:cubicBezTo>
                  <a:cubicBezTo>
                    <a:pt x="799" y="56"/>
                    <a:pt x="796" y="55"/>
                    <a:pt x="792" y="54"/>
                  </a:cubicBezTo>
                  <a:cubicBezTo>
                    <a:pt x="750" y="37"/>
                    <a:pt x="699" y="23"/>
                    <a:pt x="643" y="14"/>
                  </a:cubicBezTo>
                  <a:cubicBezTo>
                    <a:pt x="588" y="5"/>
                    <a:pt x="528" y="0"/>
                    <a:pt x="465" y="0"/>
                  </a:cubicBezTo>
                  <a:cubicBezTo>
                    <a:pt x="402" y="0"/>
                    <a:pt x="342" y="5"/>
                    <a:pt x="287" y="14"/>
                  </a:cubicBezTo>
                  <a:cubicBezTo>
                    <a:pt x="241" y="22"/>
                    <a:pt x="199" y="32"/>
                    <a:pt x="162" y="45"/>
                  </a:cubicBezTo>
                  <a:cubicBezTo>
                    <a:pt x="154" y="48"/>
                    <a:pt x="145" y="51"/>
                    <a:pt x="138" y="54"/>
                  </a:cubicBezTo>
                  <a:cubicBezTo>
                    <a:pt x="95" y="70"/>
                    <a:pt x="61" y="90"/>
                    <a:pt x="37" y="112"/>
                  </a:cubicBezTo>
                  <a:cubicBezTo>
                    <a:pt x="13" y="135"/>
                    <a:pt x="0" y="159"/>
                    <a:pt x="0" y="184"/>
                  </a:cubicBezTo>
                  <a:cubicBezTo>
                    <a:pt x="0" y="923"/>
                    <a:pt x="0" y="923"/>
                    <a:pt x="0" y="923"/>
                  </a:cubicBezTo>
                  <a:cubicBezTo>
                    <a:pt x="0" y="936"/>
                    <a:pt x="4" y="948"/>
                    <a:pt x="10" y="960"/>
                  </a:cubicBezTo>
                  <a:cubicBezTo>
                    <a:pt x="16" y="972"/>
                    <a:pt x="25" y="984"/>
                    <a:pt x="37" y="995"/>
                  </a:cubicBezTo>
                  <a:cubicBezTo>
                    <a:pt x="61" y="1017"/>
                    <a:pt x="95" y="1037"/>
                    <a:pt x="138" y="1054"/>
                  </a:cubicBezTo>
                  <a:cubicBezTo>
                    <a:pt x="145" y="1057"/>
                    <a:pt x="154" y="1059"/>
                    <a:pt x="162" y="1062"/>
                  </a:cubicBezTo>
                  <a:cubicBezTo>
                    <a:pt x="243" y="1090"/>
                    <a:pt x="349" y="1107"/>
                    <a:pt x="465" y="1108"/>
                  </a:cubicBezTo>
                  <a:cubicBezTo>
                    <a:pt x="593" y="1107"/>
                    <a:pt x="708" y="1087"/>
                    <a:pt x="792" y="1054"/>
                  </a:cubicBezTo>
                  <a:cubicBezTo>
                    <a:pt x="796" y="1052"/>
                    <a:pt x="799" y="1051"/>
                    <a:pt x="802" y="1049"/>
                  </a:cubicBezTo>
                  <a:cubicBezTo>
                    <a:pt x="802" y="1049"/>
                    <a:pt x="802" y="1049"/>
                    <a:pt x="802" y="1049"/>
                  </a:cubicBezTo>
                  <a:cubicBezTo>
                    <a:pt x="840" y="1033"/>
                    <a:pt x="870" y="1015"/>
                    <a:pt x="892" y="995"/>
                  </a:cubicBezTo>
                  <a:cubicBezTo>
                    <a:pt x="904" y="984"/>
                    <a:pt x="913" y="972"/>
                    <a:pt x="919" y="960"/>
                  </a:cubicBezTo>
                  <a:cubicBezTo>
                    <a:pt x="926" y="948"/>
                    <a:pt x="929" y="936"/>
                    <a:pt x="929" y="923"/>
                  </a:cubicBezTo>
                  <a:cubicBezTo>
                    <a:pt x="929" y="184"/>
                    <a:pt x="929" y="184"/>
                    <a:pt x="929" y="184"/>
                  </a:cubicBezTo>
                  <a:cubicBezTo>
                    <a:pt x="929" y="159"/>
                    <a:pt x="916" y="135"/>
                    <a:pt x="892" y="112"/>
                  </a:cubicBezTo>
                  <a:close/>
                  <a:moveTo>
                    <a:pt x="801" y="218"/>
                  </a:moveTo>
                  <a:cubicBezTo>
                    <a:pt x="801" y="218"/>
                    <a:pt x="801" y="218"/>
                    <a:pt x="801" y="218"/>
                  </a:cubicBezTo>
                  <a:cubicBezTo>
                    <a:pt x="737" y="252"/>
                    <a:pt x="611" y="276"/>
                    <a:pt x="465" y="277"/>
                  </a:cubicBezTo>
                  <a:cubicBezTo>
                    <a:pt x="341" y="276"/>
                    <a:pt x="232" y="259"/>
                    <a:pt x="162" y="233"/>
                  </a:cubicBezTo>
                  <a:cubicBezTo>
                    <a:pt x="112" y="214"/>
                    <a:pt x="83" y="191"/>
                    <a:pt x="83" y="166"/>
                  </a:cubicBezTo>
                  <a:cubicBezTo>
                    <a:pt x="83" y="140"/>
                    <a:pt x="112" y="115"/>
                    <a:pt x="162" y="95"/>
                  </a:cubicBezTo>
                  <a:cubicBezTo>
                    <a:pt x="231" y="67"/>
                    <a:pt x="340" y="48"/>
                    <a:pt x="465" y="48"/>
                  </a:cubicBezTo>
                  <a:cubicBezTo>
                    <a:pt x="465" y="48"/>
                    <a:pt x="465" y="48"/>
                    <a:pt x="465" y="48"/>
                  </a:cubicBezTo>
                  <a:cubicBezTo>
                    <a:pt x="465" y="48"/>
                    <a:pt x="465" y="48"/>
                    <a:pt x="465" y="48"/>
                  </a:cubicBezTo>
                  <a:cubicBezTo>
                    <a:pt x="612" y="48"/>
                    <a:pt x="737" y="75"/>
                    <a:pt x="801" y="111"/>
                  </a:cubicBezTo>
                  <a:cubicBezTo>
                    <a:pt x="801" y="111"/>
                    <a:pt x="801" y="111"/>
                    <a:pt x="801" y="111"/>
                  </a:cubicBezTo>
                  <a:cubicBezTo>
                    <a:pt x="830" y="128"/>
                    <a:pt x="847" y="147"/>
                    <a:pt x="847" y="166"/>
                  </a:cubicBezTo>
                  <a:cubicBezTo>
                    <a:pt x="847" y="184"/>
                    <a:pt x="830" y="202"/>
                    <a:pt x="801" y="21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5" name="Freeform 153"/>
            <p:cNvSpPr>
              <a:spLocks/>
            </p:cNvSpPr>
            <p:nvPr/>
          </p:nvSpPr>
          <p:spPr bwMode="auto">
            <a:xfrm>
              <a:off x="5317523" y="2774668"/>
              <a:ext cx="78768" cy="186591"/>
            </a:xfrm>
            <a:custGeom>
              <a:avLst/>
              <a:gdLst>
                <a:gd name="T0" fmla="*/ 0 w 27"/>
                <a:gd name="T1" fmla="*/ 21 h 63"/>
                <a:gd name="T2" fmla="*/ 4 w 27"/>
                <a:gd name="T3" fmla="*/ 21 h 63"/>
                <a:gd name="T4" fmla="*/ 8 w 27"/>
                <a:gd name="T5" fmla="*/ 19 h 63"/>
                <a:gd name="T6" fmla="*/ 11 w 27"/>
                <a:gd name="T7" fmla="*/ 17 h 63"/>
                <a:gd name="T8" fmla="*/ 13 w 27"/>
                <a:gd name="T9" fmla="*/ 15 h 63"/>
                <a:gd name="T10" fmla="*/ 13 w 27"/>
                <a:gd name="T11" fmla="*/ 63 h 63"/>
                <a:gd name="T12" fmla="*/ 27 w 27"/>
                <a:gd name="T13" fmla="*/ 63 h 63"/>
                <a:gd name="T14" fmla="*/ 27 w 27"/>
                <a:gd name="T15" fmla="*/ 0 h 63"/>
                <a:gd name="T16" fmla="*/ 19 w 27"/>
                <a:gd name="T17" fmla="*/ 0 h 63"/>
                <a:gd name="T18" fmla="*/ 11 w 27"/>
                <a:gd name="T19" fmla="*/ 6 h 63"/>
                <a:gd name="T20" fmla="*/ 0 w 27"/>
                <a:gd name="T21" fmla="*/ 10 h 63"/>
                <a:gd name="T22" fmla="*/ 0 w 27"/>
                <a:gd name="T23"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21"/>
                  </a:moveTo>
                  <a:cubicBezTo>
                    <a:pt x="1" y="21"/>
                    <a:pt x="2" y="21"/>
                    <a:pt x="4" y="21"/>
                  </a:cubicBezTo>
                  <a:cubicBezTo>
                    <a:pt x="5" y="20"/>
                    <a:pt x="6" y="20"/>
                    <a:pt x="8" y="19"/>
                  </a:cubicBezTo>
                  <a:cubicBezTo>
                    <a:pt x="9" y="19"/>
                    <a:pt x="10" y="18"/>
                    <a:pt x="11" y="17"/>
                  </a:cubicBezTo>
                  <a:cubicBezTo>
                    <a:pt x="12" y="17"/>
                    <a:pt x="12" y="16"/>
                    <a:pt x="13" y="15"/>
                  </a:cubicBezTo>
                  <a:cubicBezTo>
                    <a:pt x="13" y="15"/>
                    <a:pt x="13" y="15"/>
                    <a:pt x="13" y="63"/>
                  </a:cubicBezTo>
                  <a:cubicBezTo>
                    <a:pt x="13" y="63"/>
                    <a:pt x="13" y="63"/>
                    <a:pt x="27" y="63"/>
                  </a:cubicBez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1006" name="Group 1005"/>
            <p:cNvGrpSpPr/>
            <p:nvPr/>
          </p:nvGrpSpPr>
          <p:grpSpPr>
            <a:xfrm>
              <a:off x="5454053" y="2355851"/>
              <a:ext cx="365054" cy="356934"/>
              <a:chOff x="-6292850" y="812800"/>
              <a:chExt cx="5283200" cy="5165725"/>
            </a:xfrm>
            <a:solidFill>
              <a:schemeClr val="tx1"/>
            </a:solidFill>
          </p:grpSpPr>
          <p:sp>
            <p:nvSpPr>
              <p:cNvPr id="1088" name="Freeform 24"/>
              <p:cNvSpPr>
                <a:spLocks noEditPoints="1"/>
              </p:cNvSpPr>
              <p:nvPr/>
            </p:nvSpPr>
            <p:spPr bwMode="auto">
              <a:xfrm>
                <a:off x="-6292850" y="812800"/>
                <a:ext cx="5283200" cy="5165725"/>
              </a:xfrm>
              <a:custGeom>
                <a:avLst/>
                <a:gdLst>
                  <a:gd name="T0" fmla="*/ 0 w 3328"/>
                  <a:gd name="T1" fmla="*/ 3254 h 3254"/>
                  <a:gd name="T2" fmla="*/ 0 w 3328"/>
                  <a:gd name="T3" fmla="*/ 0 h 3254"/>
                  <a:gd name="T4" fmla="*/ 3328 w 3328"/>
                  <a:gd name="T5" fmla="*/ 0 h 3254"/>
                  <a:gd name="T6" fmla="*/ 3328 w 3328"/>
                  <a:gd name="T7" fmla="*/ 3254 h 3254"/>
                  <a:gd name="T8" fmla="*/ 0 w 3328"/>
                  <a:gd name="T9" fmla="*/ 3254 h 3254"/>
                  <a:gd name="T10" fmla="*/ 173 w 3328"/>
                  <a:gd name="T11" fmla="*/ 3086 h 3254"/>
                  <a:gd name="T12" fmla="*/ 3155 w 3328"/>
                  <a:gd name="T13" fmla="*/ 3086 h 3254"/>
                  <a:gd name="T14" fmla="*/ 3155 w 3328"/>
                  <a:gd name="T15" fmla="*/ 667 h 3254"/>
                  <a:gd name="T16" fmla="*/ 173 w 3328"/>
                  <a:gd name="T17" fmla="*/ 667 h 3254"/>
                  <a:gd name="T18" fmla="*/ 173 w 3328"/>
                  <a:gd name="T19" fmla="*/ 3086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8" h="3254">
                    <a:moveTo>
                      <a:pt x="0" y="3254"/>
                    </a:moveTo>
                    <a:lnTo>
                      <a:pt x="0" y="0"/>
                    </a:lnTo>
                    <a:lnTo>
                      <a:pt x="3328" y="0"/>
                    </a:lnTo>
                    <a:lnTo>
                      <a:pt x="3328" y="3254"/>
                    </a:lnTo>
                    <a:lnTo>
                      <a:pt x="0" y="3254"/>
                    </a:lnTo>
                    <a:close/>
                    <a:moveTo>
                      <a:pt x="173" y="3086"/>
                    </a:moveTo>
                    <a:lnTo>
                      <a:pt x="3155" y="3086"/>
                    </a:lnTo>
                    <a:lnTo>
                      <a:pt x="3155" y="667"/>
                    </a:lnTo>
                    <a:lnTo>
                      <a:pt x="173" y="667"/>
                    </a:lnTo>
                    <a:lnTo>
                      <a:pt x="173" y="30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9" name="Rectangle 25"/>
              <p:cNvSpPr>
                <a:spLocks noChangeArrowheads="1"/>
              </p:cNvSpPr>
              <p:nvPr/>
            </p:nvSpPr>
            <p:spPr bwMode="auto">
              <a:xfrm>
                <a:off x="-4876800"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0" name="Rectangle 26"/>
              <p:cNvSpPr>
                <a:spLocks noChangeArrowheads="1"/>
              </p:cNvSpPr>
              <p:nvPr/>
            </p:nvSpPr>
            <p:spPr bwMode="auto">
              <a:xfrm>
                <a:off x="-3970338" y="2132013"/>
                <a:ext cx="641350"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1" name="Rectangle 27"/>
              <p:cNvSpPr>
                <a:spLocks noChangeArrowheads="1"/>
              </p:cNvSpPr>
              <p:nvPr/>
            </p:nvSpPr>
            <p:spPr bwMode="auto">
              <a:xfrm>
                <a:off x="-3084513"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2" name="Rectangle 28"/>
              <p:cNvSpPr>
                <a:spLocks noChangeArrowheads="1"/>
              </p:cNvSpPr>
              <p:nvPr/>
            </p:nvSpPr>
            <p:spPr bwMode="auto">
              <a:xfrm>
                <a:off x="-2197100" y="2132013"/>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3" name="Rectangle 29"/>
              <p:cNvSpPr>
                <a:spLocks noChangeArrowheads="1"/>
              </p:cNvSpPr>
              <p:nvPr/>
            </p:nvSpPr>
            <p:spPr bwMode="auto">
              <a:xfrm>
                <a:off x="-5759450" y="3017838"/>
                <a:ext cx="638175"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4" name="Rectangle 30"/>
              <p:cNvSpPr>
                <a:spLocks noChangeArrowheads="1"/>
              </p:cNvSpPr>
              <p:nvPr/>
            </p:nvSpPr>
            <p:spPr bwMode="auto">
              <a:xfrm>
                <a:off x="-4876800"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5" name="Rectangle 31"/>
              <p:cNvSpPr>
                <a:spLocks noChangeArrowheads="1"/>
              </p:cNvSpPr>
              <p:nvPr/>
            </p:nvSpPr>
            <p:spPr bwMode="auto">
              <a:xfrm>
                <a:off x="-3970338" y="3017838"/>
                <a:ext cx="641350"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6" name="Rectangle 32"/>
              <p:cNvSpPr>
                <a:spLocks noChangeArrowheads="1"/>
              </p:cNvSpPr>
              <p:nvPr/>
            </p:nvSpPr>
            <p:spPr bwMode="auto">
              <a:xfrm>
                <a:off x="-3084513"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7" name="Rectangle 33"/>
              <p:cNvSpPr>
                <a:spLocks noChangeArrowheads="1"/>
              </p:cNvSpPr>
              <p:nvPr/>
            </p:nvSpPr>
            <p:spPr bwMode="auto">
              <a:xfrm>
                <a:off x="-2197100" y="3017838"/>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8" name="Rectangle 34"/>
              <p:cNvSpPr>
                <a:spLocks noChangeArrowheads="1"/>
              </p:cNvSpPr>
              <p:nvPr/>
            </p:nvSpPr>
            <p:spPr bwMode="auto">
              <a:xfrm>
                <a:off x="-5759450" y="3902075"/>
                <a:ext cx="638175"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99" name="Rectangle 35"/>
              <p:cNvSpPr>
                <a:spLocks noChangeArrowheads="1"/>
              </p:cNvSpPr>
              <p:nvPr/>
            </p:nvSpPr>
            <p:spPr bwMode="auto">
              <a:xfrm>
                <a:off x="-4876800"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0" name="Rectangle 36"/>
              <p:cNvSpPr>
                <a:spLocks noChangeArrowheads="1"/>
              </p:cNvSpPr>
              <p:nvPr/>
            </p:nvSpPr>
            <p:spPr bwMode="auto">
              <a:xfrm>
                <a:off x="-3970338" y="3902075"/>
                <a:ext cx="641350"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1" name="Rectangle 37"/>
              <p:cNvSpPr>
                <a:spLocks noChangeArrowheads="1"/>
              </p:cNvSpPr>
              <p:nvPr/>
            </p:nvSpPr>
            <p:spPr bwMode="auto">
              <a:xfrm>
                <a:off x="-3084513"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2" name="Rectangle 38"/>
              <p:cNvSpPr>
                <a:spLocks noChangeArrowheads="1"/>
              </p:cNvSpPr>
              <p:nvPr/>
            </p:nvSpPr>
            <p:spPr bwMode="auto">
              <a:xfrm>
                <a:off x="-2197100" y="3902075"/>
                <a:ext cx="642938" cy="6413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3" name="Rectangle 39"/>
              <p:cNvSpPr>
                <a:spLocks noChangeArrowheads="1"/>
              </p:cNvSpPr>
              <p:nvPr/>
            </p:nvSpPr>
            <p:spPr bwMode="auto">
              <a:xfrm>
                <a:off x="-5759450" y="4787900"/>
                <a:ext cx="638175"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4" name="Rectangle 40"/>
              <p:cNvSpPr>
                <a:spLocks noChangeArrowheads="1"/>
              </p:cNvSpPr>
              <p:nvPr/>
            </p:nvSpPr>
            <p:spPr bwMode="auto">
              <a:xfrm>
                <a:off x="-4876800" y="4787900"/>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5" name="Rectangle 41"/>
              <p:cNvSpPr>
                <a:spLocks noChangeArrowheads="1"/>
              </p:cNvSpPr>
              <p:nvPr/>
            </p:nvSpPr>
            <p:spPr bwMode="auto">
              <a:xfrm>
                <a:off x="-3970338" y="4787900"/>
                <a:ext cx="641350"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6" name="Rectangle 42"/>
              <p:cNvSpPr>
                <a:spLocks noChangeArrowheads="1"/>
              </p:cNvSpPr>
              <p:nvPr/>
            </p:nvSpPr>
            <p:spPr bwMode="auto">
              <a:xfrm>
                <a:off x="-3084513" y="4787900"/>
                <a:ext cx="642938" cy="6429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1007" name="Freeform 202"/>
            <p:cNvSpPr>
              <a:spLocks/>
            </p:cNvSpPr>
            <p:nvPr/>
          </p:nvSpPr>
          <p:spPr bwMode="auto">
            <a:xfrm>
              <a:off x="5866330" y="2553012"/>
              <a:ext cx="80017" cy="186591"/>
            </a:xfrm>
            <a:custGeom>
              <a:avLst/>
              <a:gdLst>
                <a:gd name="T0" fmla="*/ 0 w 27"/>
                <a:gd name="T1" fmla="*/ 9 h 63"/>
                <a:gd name="T2" fmla="*/ 0 w 27"/>
                <a:gd name="T3" fmla="*/ 20 h 63"/>
                <a:gd name="T4" fmla="*/ 4 w 27"/>
                <a:gd name="T5" fmla="*/ 20 h 63"/>
                <a:gd name="T6" fmla="*/ 8 w 27"/>
                <a:gd name="T7" fmla="*/ 18 h 63"/>
                <a:gd name="T8" fmla="*/ 10 w 27"/>
                <a:gd name="T9" fmla="*/ 16 h 63"/>
                <a:gd name="T10" fmla="*/ 13 w 27"/>
                <a:gd name="T11" fmla="*/ 14 h 63"/>
                <a:gd name="T12" fmla="*/ 13 w 27"/>
                <a:gd name="T13" fmla="*/ 63 h 63"/>
                <a:gd name="T14" fmla="*/ 27 w 27"/>
                <a:gd name="T15" fmla="*/ 63 h 63"/>
                <a:gd name="T16" fmla="*/ 27 w 27"/>
                <a:gd name="T17" fmla="*/ 0 h 63"/>
                <a:gd name="T18" fmla="*/ 19 w 27"/>
                <a:gd name="T19" fmla="*/ 0 h 63"/>
                <a:gd name="T20" fmla="*/ 10 w 27"/>
                <a:gd name="T21" fmla="*/ 5 h 63"/>
                <a:gd name="T22" fmla="*/ 0 w 27"/>
                <a:gd name="T23"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0" y="9"/>
                  </a:moveTo>
                  <a:cubicBezTo>
                    <a:pt x="0" y="9"/>
                    <a:pt x="0" y="9"/>
                    <a:pt x="0" y="20"/>
                  </a:cubicBezTo>
                  <a:cubicBezTo>
                    <a:pt x="1" y="20"/>
                    <a:pt x="2" y="20"/>
                    <a:pt x="4" y="20"/>
                  </a:cubicBezTo>
                  <a:cubicBezTo>
                    <a:pt x="5" y="19"/>
                    <a:pt x="6" y="19"/>
                    <a:pt x="8" y="18"/>
                  </a:cubicBezTo>
                  <a:cubicBezTo>
                    <a:pt x="9" y="18"/>
                    <a:pt x="10" y="17"/>
                    <a:pt x="10" y="16"/>
                  </a:cubicBezTo>
                  <a:cubicBezTo>
                    <a:pt x="11" y="16"/>
                    <a:pt x="12" y="15"/>
                    <a:pt x="13" y="14"/>
                  </a:cubicBezTo>
                  <a:cubicBezTo>
                    <a:pt x="13" y="14"/>
                    <a:pt x="13" y="14"/>
                    <a:pt x="13" y="63"/>
                  </a:cubicBezTo>
                  <a:cubicBezTo>
                    <a:pt x="13" y="63"/>
                    <a:pt x="13" y="63"/>
                    <a:pt x="27" y="63"/>
                  </a:cubicBezTo>
                  <a:cubicBezTo>
                    <a:pt x="27" y="63"/>
                    <a:pt x="27" y="63"/>
                    <a:pt x="27" y="0"/>
                  </a:cubicBezTo>
                  <a:cubicBezTo>
                    <a:pt x="19" y="0"/>
                    <a:pt x="19" y="0"/>
                    <a:pt x="19" y="0"/>
                  </a:cubicBezTo>
                  <a:cubicBezTo>
                    <a:pt x="16" y="2"/>
                    <a:pt x="13" y="3"/>
                    <a:pt x="10" y="5"/>
                  </a:cubicBezTo>
                  <a:cubicBezTo>
                    <a:pt x="7" y="6"/>
                    <a:pt x="4" y="8"/>
                    <a:pt x="0" y="9"/>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08" name="Freeform 46"/>
            <p:cNvSpPr>
              <a:spLocks noEditPoints="1"/>
            </p:cNvSpPr>
            <p:nvPr/>
          </p:nvSpPr>
          <p:spPr bwMode="auto">
            <a:xfrm>
              <a:off x="5873032" y="3473270"/>
              <a:ext cx="231491" cy="373636"/>
            </a:xfrm>
            <a:custGeom>
              <a:avLst/>
              <a:gdLst>
                <a:gd name="T0" fmla="*/ 1219 w 1330"/>
                <a:gd name="T1" fmla="*/ 298 h 2148"/>
                <a:gd name="T2" fmla="*/ 665 w 1330"/>
                <a:gd name="T3" fmla="*/ 0 h 2148"/>
                <a:gd name="T4" fmla="*/ 0 w 1330"/>
                <a:gd name="T5" fmla="*/ 665 h 2148"/>
                <a:gd name="T6" fmla="*/ 18 w 1330"/>
                <a:gd name="T7" fmla="*/ 818 h 2148"/>
                <a:gd name="T8" fmla="*/ 49 w 1330"/>
                <a:gd name="T9" fmla="*/ 917 h 2148"/>
                <a:gd name="T10" fmla="*/ 95 w 1330"/>
                <a:gd name="T11" fmla="*/ 1008 h 2148"/>
                <a:gd name="T12" fmla="*/ 233 w 1330"/>
                <a:gd name="T13" fmla="*/ 1284 h 2148"/>
                <a:gd name="T14" fmla="*/ 665 w 1330"/>
                <a:gd name="T15" fmla="*/ 2148 h 2148"/>
                <a:gd name="T16" fmla="*/ 1235 w 1330"/>
                <a:gd name="T17" fmla="*/ 1008 h 2148"/>
                <a:gd name="T18" fmla="*/ 1281 w 1330"/>
                <a:gd name="T19" fmla="*/ 917 h 2148"/>
                <a:gd name="T20" fmla="*/ 1312 w 1330"/>
                <a:gd name="T21" fmla="*/ 818 h 2148"/>
                <a:gd name="T22" fmla="*/ 1330 w 1330"/>
                <a:gd name="T23" fmla="*/ 665 h 2148"/>
                <a:gd name="T24" fmla="*/ 1219 w 1330"/>
                <a:gd name="T25" fmla="*/ 298 h 2148"/>
                <a:gd name="T26" fmla="*/ 933 w 1330"/>
                <a:gd name="T27" fmla="*/ 729 h 2148"/>
                <a:gd name="T28" fmla="*/ 920 w 1330"/>
                <a:gd name="T29" fmla="*/ 769 h 2148"/>
                <a:gd name="T30" fmla="*/ 901 w 1330"/>
                <a:gd name="T31" fmla="*/ 807 h 2148"/>
                <a:gd name="T32" fmla="*/ 665 w 1330"/>
                <a:gd name="T33" fmla="*/ 940 h 2148"/>
                <a:gd name="T34" fmla="*/ 588 w 1330"/>
                <a:gd name="T35" fmla="*/ 929 h 2148"/>
                <a:gd name="T36" fmla="*/ 429 w 1330"/>
                <a:gd name="T37" fmla="*/ 807 h 2148"/>
                <a:gd name="T38" fmla="*/ 411 w 1330"/>
                <a:gd name="T39" fmla="*/ 769 h 2148"/>
                <a:gd name="T40" fmla="*/ 398 w 1330"/>
                <a:gd name="T41" fmla="*/ 729 h 2148"/>
                <a:gd name="T42" fmla="*/ 390 w 1330"/>
                <a:gd name="T43" fmla="*/ 665 h 2148"/>
                <a:gd name="T44" fmla="*/ 665 w 1330"/>
                <a:gd name="T45" fmla="*/ 391 h 2148"/>
                <a:gd name="T46" fmla="*/ 929 w 1330"/>
                <a:gd name="T47" fmla="*/ 588 h 2148"/>
                <a:gd name="T48" fmla="*/ 940 w 1330"/>
                <a:gd name="T49" fmla="*/ 665 h 2148"/>
                <a:gd name="T50" fmla="*/ 933 w 1330"/>
                <a:gd name="T51" fmla="*/ 729 h 2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0" h="2148">
                  <a:moveTo>
                    <a:pt x="1219" y="298"/>
                  </a:moveTo>
                  <a:cubicBezTo>
                    <a:pt x="1100" y="119"/>
                    <a:pt x="896" y="0"/>
                    <a:pt x="665" y="0"/>
                  </a:cubicBezTo>
                  <a:cubicBezTo>
                    <a:pt x="298" y="0"/>
                    <a:pt x="0" y="298"/>
                    <a:pt x="0" y="665"/>
                  </a:cubicBezTo>
                  <a:cubicBezTo>
                    <a:pt x="0" y="718"/>
                    <a:pt x="6" y="769"/>
                    <a:pt x="18" y="818"/>
                  </a:cubicBezTo>
                  <a:cubicBezTo>
                    <a:pt x="26" y="852"/>
                    <a:pt x="36" y="885"/>
                    <a:pt x="49" y="917"/>
                  </a:cubicBezTo>
                  <a:cubicBezTo>
                    <a:pt x="62" y="948"/>
                    <a:pt x="77" y="979"/>
                    <a:pt x="95" y="1008"/>
                  </a:cubicBezTo>
                  <a:cubicBezTo>
                    <a:pt x="233" y="1284"/>
                    <a:pt x="233" y="1284"/>
                    <a:pt x="233" y="1284"/>
                  </a:cubicBezTo>
                  <a:cubicBezTo>
                    <a:pt x="665" y="2148"/>
                    <a:pt x="665" y="2148"/>
                    <a:pt x="665" y="2148"/>
                  </a:cubicBezTo>
                  <a:cubicBezTo>
                    <a:pt x="1235" y="1008"/>
                    <a:pt x="1235" y="1008"/>
                    <a:pt x="1235" y="1008"/>
                  </a:cubicBezTo>
                  <a:cubicBezTo>
                    <a:pt x="1253" y="979"/>
                    <a:pt x="1268" y="948"/>
                    <a:pt x="1281" y="917"/>
                  </a:cubicBezTo>
                  <a:cubicBezTo>
                    <a:pt x="1294" y="885"/>
                    <a:pt x="1304" y="852"/>
                    <a:pt x="1312" y="818"/>
                  </a:cubicBezTo>
                  <a:cubicBezTo>
                    <a:pt x="1324" y="769"/>
                    <a:pt x="1330" y="718"/>
                    <a:pt x="1330" y="665"/>
                  </a:cubicBezTo>
                  <a:cubicBezTo>
                    <a:pt x="1330" y="530"/>
                    <a:pt x="1289" y="403"/>
                    <a:pt x="1219" y="298"/>
                  </a:cubicBezTo>
                  <a:close/>
                  <a:moveTo>
                    <a:pt x="933" y="729"/>
                  </a:moveTo>
                  <a:cubicBezTo>
                    <a:pt x="929" y="743"/>
                    <a:pt x="925" y="756"/>
                    <a:pt x="920" y="769"/>
                  </a:cubicBezTo>
                  <a:cubicBezTo>
                    <a:pt x="901" y="807"/>
                    <a:pt x="901" y="807"/>
                    <a:pt x="901" y="807"/>
                  </a:cubicBezTo>
                  <a:cubicBezTo>
                    <a:pt x="853" y="887"/>
                    <a:pt x="765" y="940"/>
                    <a:pt x="665" y="940"/>
                  </a:cubicBezTo>
                  <a:cubicBezTo>
                    <a:pt x="638" y="940"/>
                    <a:pt x="612" y="936"/>
                    <a:pt x="588" y="929"/>
                  </a:cubicBezTo>
                  <a:cubicBezTo>
                    <a:pt x="521" y="910"/>
                    <a:pt x="465" y="865"/>
                    <a:pt x="429" y="807"/>
                  </a:cubicBezTo>
                  <a:cubicBezTo>
                    <a:pt x="411" y="769"/>
                    <a:pt x="411" y="769"/>
                    <a:pt x="411" y="769"/>
                  </a:cubicBezTo>
                  <a:cubicBezTo>
                    <a:pt x="405" y="756"/>
                    <a:pt x="401" y="743"/>
                    <a:pt x="398" y="729"/>
                  </a:cubicBezTo>
                  <a:cubicBezTo>
                    <a:pt x="393" y="708"/>
                    <a:pt x="390" y="687"/>
                    <a:pt x="390" y="665"/>
                  </a:cubicBezTo>
                  <a:cubicBezTo>
                    <a:pt x="390" y="514"/>
                    <a:pt x="513" y="391"/>
                    <a:pt x="665" y="391"/>
                  </a:cubicBezTo>
                  <a:cubicBezTo>
                    <a:pt x="790" y="391"/>
                    <a:pt x="896" y="474"/>
                    <a:pt x="929" y="588"/>
                  </a:cubicBezTo>
                  <a:cubicBezTo>
                    <a:pt x="936" y="613"/>
                    <a:pt x="940" y="639"/>
                    <a:pt x="940" y="665"/>
                  </a:cubicBezTo>
                  <a:cubicBezTo>
                    <a:pt x="940" y="687"/>
                    <a:pt x="937" y="708"/>
                    <a:pt x="933" y="72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9" name="Freeform 127"/>
            <p:cNvSpPr>
              <a:spLocks noEditPoints="1"/>
            </p:cNvSpPr>
            <p:nvPr/>
          </p:nvSpPr>
          <p:spPr bwMode="auto">
            <a:xfrm>
              <a:off x="6176398" y="3666482"/>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10" name="Freeform 54"/>
            <p:cNvSpPr>
              <a:spLocks noEditPoints="1"/>
            </p:cNvSpPr>
            <p:nvPr/>
          </p:nvSpPr>
          <p:spPr bwMode="auto">
            <a:xfrm>
              <a:off x="6231353" y="4827891"/>
              <a:ext cx="417706" cy="365815"/>
            </a:xfrm>
            <a:custGeom>
              <a:avLst/>
              <a:gdLst>
                <a:gd name="T0" fmla="*/ 4722 w 5146"/>
                <a:gd name="T1" fmla="*/ 0 h 4506"/>
                <a:gd name="T2" fmla="*/ 424 w 5146"/>
                <a:gd name="T3" fmla="*/ 0 h 4506"/>
                <a:gd name="T4" fmla="*/ 0 w 5146"/>
                <a:gd name="T5" fmla="*/ 430 h 4506"/>
                <a:gd name="T6" fmla="*/ 0 w 5146"/>
                <a:gd name="T7" fmla="*/ 2968 h 4506"/>
                <a:gd name="T8" fmla="*/ 424 w 5146"/>
                <a:gd name="T9" fmla="*/ 3398 h 4506"/>
                <a:gd name="T10" fmla="*/ 1515 w 5146"/>
                <a:gd name="T11" fmla="*/ 3398 h 4506"/>
                <a:gd name="T12" fmla="*/ 3849 w 5146"/>
                <a:gd name="T13" fmla="*/ 4506 h 4506"/>
                <a:gd name="T14" fmla="*/ 3142 w 5146"/>
                <a:gd name="T15" fmla="*/ 3398 h 4506"/>
                <a:gd name="T16" fmla="*/ 4722 w 5146"/>
                <a:gd name="T17" fmla="*/ 3398 h 4506"/>
                <a:gd name="T18" fmla="*/ 5146 w 5146"/>
                <a:gd name="T19" fmla="*/ 2968 h 4506"/>
                <a:gd name="T20" fmla="*/ 5146 w 5146"/>
                <a:gd name="T21" fmla="*/ 430 h 4506"/>
                <a:gd name="T22" fmla="*/ 4722 w 5146"/>
                <a:gd name="T23" fmla="*/ 0 h 4506"/>
                <a:gd name="T24" fmla="*/ 3771 w 5146"/>
                <a:gd name="T25" fmla="*/ 1314 h 4506"/>
                <a:gd name="T26" fmla="*/ 3772 w 5146"/>
                <a:gd name="T27" fmla="*/ 1375 h 4506"/>
                <a:gd name="T28" fmla="*/ 2418 w 5146"/>
                <a:gd name="T29" fmla="*/ 2729 h 4506"/>
                <a:gd name="T30" fmla="*/ 1689 w 5146"/>
                <a:gd name="T31" fmla="*/ 2515 h 4506"/>
                <a:gd name="T32" fmla="*/ 1802 w 5146"/>
                <a:gd name="T33" fmla="*/ 2522 h 4506"/>
                <a:gd name="T34" fmla="*/ 2393 w 5146"/>
                <a:gd name="T35" fmla="*/ 2318 h 4506"/>
                <a:gd name="T36" fmla="*/ 1949 w 5146"/>
                <a:gd name="T37" fmla="*/ 1988 h 4506"/>
                <a:gd name="T38" fmla="*/ 2038 w 5146"/>
                <a:gd name="T39" fmla="*/ 1997 h 4506"/>
                <a:gd name="T40" fmla="*/ 2164 w 5146"/>
                <a:gd name="T41" fmla="*/ 1980 h 4506"/>
                <a:gd name="T42" fmla="*/ 1782 w 5146"/>
                <a:gd name="T43" fmla="*/ 1513 h 4506"/>
                <a:gd name="T44" fmla="*/ 1782 w 5146"/>
                <a:gd name="T45" fmla="*/ 1507 h 4506"/>
                <a:gd name="T46" fmla="*/ 1998 w 5146"/>
                <a:gd name="T47" fmla="*/ 1567 h 4506"/>
                <a:gd name="T48" fmla="*/ 1786 w 5146"/>
                <a:gd name="T49" fmla="*/ 1171 h 4506"/>
                <a:gd name="T50" fmla="*/ 1850 w 5146"/>
                <a:gd name="T51" fmla="*/ 932 h 4506"/>
                <a:gd name="T52" fmla="*/ 2831 w 5146"/>
                <a:gd name="T53" fmla="*/ 1429 h 4506"/>
                <a:gd name="T54" fmla="*/ 2819 w 5146"/>
                <a:gd name="T55" fmla="*/ 1320 h 4506"/>
                <a:gd name="T56" fmla="*/ 3294 w 5146"/>
                <a:gd name="T57" fmla="*/ 844 h 4506"/>
                <a:gd name="T58" fmla="*/ 3642 w 5146"/>
                <a:gd name="T59" fmla="*/ 995 h 4506"/>
                <a:gd name="T60" fmla="*/ 3944 w 5146"/>
                <a:gd name="T61" fmla="*/ 879 h 4506"/>
                <a:gd name="T62" fmla="*/ 3735 w 5146"/>
                <a:gd name="T63" fmla="*/ 1142 h 4506"/>
                <a:gd name="T64" fmla="*/ 4008 w 5146"/>
                <a:gd name="T65" fmla="*/ 1068 h 4506"/>
                <a:gd name="T66" fmla="*/ 3771 w 5146"/>
                <a:gd name="T67" fmla="*/ 1314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6" h="4506">
                  <a:moveTo>
                    <a:pt x="4722" y="0"/>
                  </a:moveTo>
                  <a:cubicBezTo>
                    <a:pt x="424" y="0"/>
                    <a:pt x="424" y="0"/>
                    <a:pt x="424" y="0"/>
                  </a:cubicBezTo>
                  <a:cubicBezTo>
                    <a:pt x="190" y="0"/>
                    <a:pt x="0" y="192"/>
                    <a:pt x="0" y="430"/>
                  </a:cubicBezTo>
                  <a:cubicBezTo>
                    <a:pt x="0" y="2968"/>
                    <a:pt x="0" y="2968"/>
                    <a:pt x="0" y="2968"/>
                  </a:cubicBezTo>
                  <a:cubicBezTo>
                    <a:pt x="0" y="3205"/>
                    <a:pt x="190" y="3398"/>
                    <a:pt x="424" y="3398"/>
                  </a:cubicBezTo>
                  <a:cubicBezTo>
                    <a:pt x="1515" y="3398"/>
                    <a:pt x="1515" y="3398"/>
                    <a:pt x="1515" y="3398"/>
                  </a:cubicBezTo>
                  <a:cubicBezTo>
                    <a:pt x="3849" y="4506"/>
                    <a:pt x="3849" y="4506"/>
                    <a:pt x="3849" y="4506"/>
                  </a:cubicBezTo>
                  <a:cubicBezTo>
                    <a:pt x="3142" y="3398"/>
                    <a:pt x="3142" y="3398"/>
                    <a:pt x="3142" y="3398"/>
                  </a:cubicBezTo>
                  <a:cubicBezTo>
                    <a:pt x="4722" y="3398"/>
                    <a:pt x="4722" y="3398"/>
                    <a:pt x="4722" y="3398"/>
                  </a:cubicBezTo>
                  <a:cubicBezTo>
                    <a:pt x="4956" y="3398"/>
                    <a:pt x="5146" y="3205"/>
                    <a:pt x="5146" y="2968"/>
                  </a:cubicBezTo>
                  <a:cubicBezTo>
                    <a:pt x="5146" y="430"/>
                    <a:pt x="5146" y="430"/>
                    <a:pt x="5146" y="430"/>
                  </a:cubicBezTo>
                  <a:cubicBezTo>
                    <a:pt x="5146" y="192"/>
                    <a:pt x="4956" y="0"/>
                    <a:pt x="4722" y="0"/>
                  </a:cubicBezTo>
                  <a:close/>
                  <a:moveTo>
                    <a:pt x="3771" y="1314"/>
                  </a:moveTo>
                  <a:cubicBezTo>
                    <a:pt x="3771" y="1334"/>
                    <a:pt x="3772" y="1355"/>
                    <a:pt x="3772" y="1375"/>
                  </a:cubicBezTo>
                  <a:cubicBezTo>
                    <a:pt x="3772" y="2004"/>
                    <a:pt x="3293" y="2729"/>
                    <a:pt x="2418" y="2729"/>
                  </a:cubicBezTo>
                  <a:cubicBezTo>
                    <a:pt x="2149" y="2729"/>
                    <a:pt x="1899" y="2650"/>
                    <a:pt x="1689" y="2515"/>
                  </a:cubicBezTo>
                  <a:cubicBezTo>
                    <a:pt x="1726" y="2520"/>
                    <a:pt x="1764" y="2522"/>
                    <a:pt x="1802" y="2522"/>
                  </a:cubicBezTo>
                  <a:cubicBezTo>
                    <a:pt x="2025" y="2522"/>
                    <a:pt x="2230" y="2446"/>
                    <a:pt x="2393" y="2318"/>
                  </a:cubicBezTo>
                  <a:cubicBezTo>
                    <a:pt x="2185" y="2315"/>
                    <a:pt x="2009" y="2177"/>
                    <a:pt x="1949" y="1988"/>
                  </a:cubicBezTo>
                  <a:cubicBezTo>
                    <a:pt x="1978" y="1994"/>
                    <a:pt x="2008" y="1997"/>
                    <a:pt x="2038" y="1997"/>
                  </a:cubicBezTo>
                  <a:cubicBezTo>
                    <a:pt x="2082" y="1997"/>
                    <a:pt x="2124" y="1991"/>
                    <a:pt x="2164" y="1980"/>
                  </a:cubicBezTo>
                  <a:cubicBezTo>
                    <a:pt x="1946" y="1936"/>
                    <a:pt x="1782" y="1744"/>
                    <a:pt x="1782" y="1513"/>
                  </a:cubicBezTo>
                  <a:cubicBezTo>
                    <a:pt x="1782" y="1511"/>
                    <a:pt x="1782" y="1509"/>
                    <a:pt x="1782" y="1507"/>
                  </a:cubicBezTo>
                  <a:cubicBezTo>
                    <a:pt x="1846" y="1543"/>
                    <a:pt x="1920" y="1564"/>
                    <a:pt x="1998" y="1567"/>
                  </a:cubicBezTo>
                  <a:cubicBezTo>
                    <a:pt x="1870" y="1481"/>
                    <a:pt x="1786" y="1336"/>
                    <a:pt x="1786" y="1171"/>
                  </a:cubicBezTo>
                  <a:cubicBezTo>
                    <a:pt x="1786" y="1084"/>
                    <a:pt x="1809" y="1002"/>
                    <a:pt x="1850" y="932"/>
                  </a:cubicBezTo>
                  <a:cubicBezTo>
                    <a:pt x="2085" y="1219"/>
                    <a:pt x="2436" y="1409"/>
                    <a:pt x="2831" y="1429"/>
                  </a:cubicBezTo>
                  <a:cubicBezTo>
                    <a:pt x="2823" y="1394"/>
                    <a:pt x="2819" y="1358"/>
                    <a:pt x="2819" y="1320"/>
                  </a:cubicBezTo>
                  <a:cubicBezTo>
                    <a:pt x="2819" y="1057"/>
                    <a:pt x="3032" y="844"/>
                    <a:pt x="3294" y="844"/>
                  </a:cubicBezTo>
                  <a:cubicBezTo>
                    <a:pt x="3431" y="844"/>
                    <a:pt x="3555" y="902"/>
                    <a:pt x="3642" y="995"/>
                  </a:cubicBezTo>
                  <a:cubicBezTo>
                    <a:pt x="3750" y="973"/>
                    <a:pt x="3852" y="934"/>
                    <a:pt x="3944" y="879"/>
                  </a:cubicBezTo>
                  <a:cubicBezTo>
                    <a:pt x="3908" y="990"/>
                    <a:pt x="3833" y="1084"/>
                    <a:pt x="3735" y="1142"/>
                  </a:cubicBezTo>
                  <a:cubicBezTo>
                    <a:pt x="3831" y="1131"/>
                    <a:pt x="3923" y="1105"/>
                    <a:pt x="4008" y="1068"/>
                  </a:cubicBezTo>
                  <a:cubicBezTo>
                    <a:pt x="3944" y="1163"/>
                    <a:pt x="3864" y="1247"/>
                    <a:pt x="3771" y="13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1" name="Freeform 356"/>
            <p:cNvSpPr>
              <a:spLocks/>
            </p:cNvSpPr>
            <p:nvPr/>
          </p:nvSpPr>
          <p:spPr bwMode="auto">
            <a:xfrm>
              <a:off x="6098738" y="5021271"/>
              <a:ext cx="80017" cy="184087"/>
            </a:xfrm>
            <a:custGeom>
              <a:avLst/>
              <a:gdLst>
                <a:gd name="T0" fmla="*/ 7 w 27"/>
                <a:gd name="T1" fmla="*/ 18 h 62"/>
                <a:gd name="T2" fmla="*/ 10 w 27"/>
                <a:gd name="T3" fmla="*/ 16 h 62"/>
                <a:gd name="T4" fmla="*/ 13 w 27"/>
                <a:gd name="T5" fmla="*/ 15 h 62"/>
                <a:gd name="T6" fmla="*/ 13 w 27"/>
                <a:gd name="T7" fmla="*/ 62 h 62"/>
                <a:gd name="T8" fmla="*/ 27 w 27"/>
                <a:gd name="T9" fmla="*/ 62 h 62"/>
                <a:gd name="T10" fmla="*/ 27 w 27"/>
                <a:gd name="T11" fmla="*/ 0 h 62"/>
                <a:gd name="T12" fmla="*/ 18 w 27"/>
                <a:gd name="T13" fmla="*/ 0 h 62"/>
                <a:gd name="T14" fmla="*/ 10 w 27"/>
                <a:gd name="T15" fmla="*/ 5 h 62"/>
                <a:gd name="T16" fmla="*/ 0 w 27"/>
                <a:gd name="T17" fmla="*/ 9 h 62"/>
                <a:gd name="T18" fmla="*/ 0 w 27"/>
                <a:gd name="T19" fmla="*/ 20 h 62"/>
                <a:gd name="T20" fmla="*/ 4 w 27"/>
                <a:gd name="T21" fmla="*/ 20 h 62"/>
                <a:gd name="T22" fmla="*/ 7 w 27"/>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2">
                  <a:moveTo>
                    <a:pt x="7" y="18"/>
                  </a:moveTo>
                  <a:cubicBezTo>
                    <a:pt x="8" y="18"/>
                    <a:pt x="9" y="17"/>
                    <a:pt x="10" y="16"/>
                  </a:cubicBezTo>
                  <a:cubicBezTo>
                    <a:pt x="11" y="16"/>
                    <a:pt x="12" y="16"/>
                    <a:pt x="13" y="15"/>
                  </a:cubicBezTo>
                  <a:cubicBezTo>
                    <a:pt x="13" y="15"/>
                    <a:pt x="13" y="15"/>
                    <a:pt x="13" y="62"/>
                  </a:cubicBezTo>
                  <a:cubicBezTo>
                    <a:pt x="13" y="62"/>
                    <a:pt x="13" y="62"/>
                    <a:pt x="27" y="62"/>
                  </a:cubicBezTo>
                  <a:cubicBezTo>
                    <a:pt x="27" y="62"/>
                    <a:pt x="27" y="62"/>
                    <a:pt x="27"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12" name="Freeform 58"/>
            <p:cNvSpPr>
              <a:spLocks noEditPoints="1"/>
            </p:cNvSpPr>
            <p:nvPr/>
          </p:nvSpPr>
          <p:spPr bwMode="auto">
            <a:xfrm>
              <a:off x="6013450" y="5489939"/>
              <a:ext cx="441325" cy="441876"/>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nvGrpSpPr>
            <p:cNvPr id="1013" name="Group 1012"/>
            <p:cNvGrpSpPr/>
            <p:nvPr/>
          </p:nvGrpSpPr>
          <p:grpSpPr>
            <a:xfrm>
              <a:off x="7387085" y="3061031"/>
              <a:ext cx="377629" cy="540546"/>
              <a:chOff x="-1824038" y="1800225"/>
              <a:chExt cx="2546351" cy="3644900"/>
            </a:xfrm>
            <a:solidFill>
              <a:schemeClr val="tx1"/>
            </a:solidFill>
          </p:grpSpPr>
          <p:sp>
            <p:nvSpPr>
              <p:cNvPr id="1083" name="Freeform 62"/>
              <p:cNvSpPr>
                <a:spLocks/>
              </p:cNvSpPr>
              <p:nvPr/>
            </p:nvSpPr>
            <p:spPr bwMode="auto">
              <a:xfrm>
                <a:off x="341313" y="1800225"/>
                <a:ext cx="381000" cy="3644900"/>
              </a:xfrm>
              <a:custGeom>
                <a:avLst/>
                <a:gdLst>
                  <a:gd name="T0" fmla="*/ 0 w 240"/>
                  <a:gd name="T1" fmla="*/ 0 h 2296"/>
                  <a:gd name="T2" fmla="*/ 240 w 240"/>
                  <a:gd name="T3" fmla="*/ 0 h 2296"/>
                  <a:gd name="T4" fmla="*/ 240 w 240"/>
                  <a:gd name="T5" fmla="*/ 2296 h 2296"/>
                  <a:gd name="T6" fmla="*/ 0 w 240"/>
                  <a:gd name="T7" fmla="*/ 2296 h 2296"/>
                  <a:gd name="T8" fmla="*/ 0 w 240"/>
                  <a:gd name="T9" fmla="*/ 0 h 2296"/>
                  <a:gd name="T10" fmla="*/ 0 w 240"/>
                  <a:gd name="T11" fmla="*/ 0 h 2296"/>
                </a:gdLst>
                <a:ahLst/>
                <a:cxnLst>
                  <a:cxn ang="0">
                    <a:pos x="T0" y="T1"/>
                  </a:cxn>
                  <a:cxn ang="0">
                    <a:pos x="T2" y="T3"/>
                  </a:cxn>
                  <a:cxn ang="0">
                    <a:pos x="T4" y="T5"/>
                  </a:cxn>
                  <a:cxn ang="0">
                    <a:pos x="T6" y="T7"/>
                  </a:cxn>
                  <a:cxn ang="0">
                    <a:pos x="T8" y="T9"/>
                  </a:cxn>
                  <a:cxn ang="0">
                    <a:pos x="T10" y="T11"/>
                  </a:cxn>
                </a:cxnLst>
                <a:rect l="0" t="0" r="r" b="b"/>
                <a:pathLst>
                  <a:path w="240" h="2296">
                    <a:moveTo>
                      <a:pt x="0" y="0"/>
                    </a:moveTo>
                    <a:lnTo>
                      <a:pt x="240" y="0"/>
                    </a:lnTo>
                    <a:lnTo>
                      <a:pt x="240" y="2296"/>
                    </a:lnTo>
                    <a:lnTo>
                      <a:pt x="0" y="2296"/>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4" name="Freeform 63"/>
              <p:cNvSpPr>
                <a:spLocks/>
              </p:cNvSpPr>
              <p:nvPr/>
            </p:nvSpPr>
            <p:spPr bwMode="auto">
              <a:xfrm>
                <a:off x="-196850" y="4511675"/>
                <a:ext cx="381000" cy="933450"/>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5" name="Freeform 64"/>
              <p:cNvSpPr>
                <a:spLocks/>
              </p:cNvSpPr>
              <p:nvPr/>
            </p:nvSpPr>
            <p:spPr bwMode="auto">
              <a:xfrm>
                <a:off x="-731838" y="2924175"/>
                <a:ext cx="376238" cy="2520950"/>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6" name="Freeform 65"/>
              <p:cNvSpPr>
                <a:spLocks/>
              </p:cNvSpPr>
              <p:nvPr/>
            </p:nvSpPr>
            <p:spPr bwMode="auto">
              <a:xfrm>
                <a:off x="-1284288" y="2270125"/>
                <a:ext cx="379413" cy="3175000"/>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7" name="Freeform 66"/>
              <p:cNvSpPr>
                <a:spLocks/>
              </p:cNvSpPr>
              <p:nvPr/>
            </p:nvSpPr>
            <p:spPr bwMode="auto">
              <a:xfrm>
                <a:off x="-1824038" y="3470275"/>
                <a:ext cx="381000" cy="1974850"/>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1014" name="Freeform 42"/>
            <p:cNvSpPr>
              <a:spLocks/>
            </p:cNvSpPr>
            <p:nvPr/>
          </p:nvSpPr>
          <p:spPr bwMode="auto">
            <a:xfrm>
              <a:off x="5656262" y="277851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15" name="Freeform 43"/>
            <p:cNvSpPr>
              <a:spLocks noEditPoints="1"/>
            </p:cNvSpPr>
            <p:nvPr/>
          </p:nvSpPr>
          <p:spPr bwMode="auto">
            <a:xfrm>
              <a:off x="5793964" y="277851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16" name="Freeform 44"/>
            <p:cNvSpPr>
              <a:spLocks/>
            </p:cNvSpPr>
            <p:nvPr/>
          </p:nvSpPr>
          <p:spPr bwMode="auto">
            <a:xfrm>
              <a:off x="5967751" y="2778513"/>
              <a:ext cx="77516"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4 w 26"/>
                <a:gd name="T13" fmla="*/ 20 h 63"/>
                <a:gd name="T14" fmla="*/ 7 w 26"/>
                <a:gd name="T15" fmla="*/ 18 h 63"/>
                <a:gd name="T16" fmla="*/ 10 w 26"/>
                <a:gd name="T17" fmla="*/ 16 h 63"/>
                <a:gd name="T18" fmla="*/ 13 w 26"/>
                <a:gd name="T19" fmla="*/ 14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3"/>
                    <a:pt x="10" y="5"/>
                  </a:cubicBezTo>
                  <a:cubicBezTo>
                    <a:pt x="6" y="6"/>
                    <a:pt x="4" y="8"/>
                    <a:pt x="0" y="9"/>
                  </a:cubicBezTo>
                  <a:cubicBezTo>
                    <a:pt x="0" y="9"/>
                    <a:pt x="0" y="9"/>
                    <a:pt x="0" y="20"/>
                  </a:cubicBezTo>
                  <a:cubicBezTo>
                    <a:pt x="1" y="20"/>
                    <a:pt x="2" y="20"/>
                    <a:pt x="4" y="20"/>
                  </a:cubicBezTo>
                  <a:cubicBezTo>
                    <a:pt x="4" y="19"/>
                    <a:pt x="5" y="19"/>
                    <a:pt x="7" y="18"/>
                  </a:cubicBezTo>
                  <a:cubicBezTo>
                    <a:pt x="8" y="18"/>
                    <a:pt x="9" y="17"/>
                    <a:pt x="10" y="16"/>
                  </a:cubicBezTo>
                  <a:cubicBezTo>
                    <a:pt x="11" y="16"/>
                    <a:pt x="12" y="15"/>
                    <a:pt x="13" y="14"/>
                  </a:cubicBezTo>
                  <a:cubicBezTo>
                    <a:pt x="13" y="14"/>
                    <a:pt x="13" y="14"/>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17" name="Freeform 42"/>
            <p:cNvSpPr>
              <a:spLocks/>
            </p:cNvSpPr>
            <p:nvPr/>
          </p:nvSpPr>
          <p:spPr bwMode="auto">
            <a:xfrm>
              <a:off x="5844206" y="2999953"/>
              <a:ext cx="76267" cy="186591"/>
            </a:xfrm>
            <a:custGeom>
              <a:avLst/>
              <a:gdLst>
                <a:gd name="T0" fmla="*/ 10 w 26"/>
                <a:gd name="T1" fmla="*/ 5 h 63"/>
                <a:gd name="T2" fmla="*/ 0 w 26"/>
                <a:gd name="T3" fmla="*/ 9 h 63"/>
                <a:gd name="T4" fmla="*/ 0 w 26"/>
                <a:gd name="T5" fmla="*/ 20 h 63"/>
                <a:gd name="T6" fmla="*/ 3 w 26"/>
                <a:gd name="T7" fmla="*/ 20 h 63"/>
                <a:gd name="T8" fmla="*/ 7 w 26"/>
                <a:gd name="T9" fmla="*/ 18 h 63"/>
                <a:gd name="T10" fmla="*/ 10 w 26"/>
                <a:gd name="T11" fmla="*/ 16 h 63"/>
                <a:gd name="T12" fmla="*/ 12 w 26"/>
                <a:gd name="T13" fmla="*/ 14 h 63"/>
                <a:gd name="T14" fmla="*/ 12 w 26"/>
                <a:gd name="T15" fmla="*/ 63 h 63"/>
                <a:gd name="T16" fmla="*/ 26 w 26"/>
                <a:gd name="T17" fmla="*/ 63 h 63"/>
                <a:gd name="T18" fmla="*/ 26 w 26"/>
                <a:gd name="T19" fmla="*/ 0 h 63"/>
                <a:gd name="T20" fmla="*/ 18 w 26"/>
                <a:gd name="T21" fmla="*/ 0 h 63"/>
                <a:gd name="T22" fmla="*/ 10 w 26"/>
                <a:gd name="T23"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10" y="5"/>
                  </a:moveTo>
                  <a:cubicBezTo>
                    <a:pt x="6" y="6"/>
                    <a:pt x="3" y="8"/>
                    <a:pt x="0" y="9"/>
                  </a:cubicBezTo>
                  <a:cubicBezTo>
                    <a:pt x="0" y="9"/>
                    <a:pt x="0" y="9"/>
                    <a:pt x="0" y="20"/>
                  </a:cubicBezTo>
                  <a:cubicBezTo>
                    <a:pt x="0" y="20"/>
                    <a:pt x="1" y="20"/>
                    <a:pt x="3" y="20"/>
                  </a:cubicBezTo>
                  <a:cubicBezTo>
                    <a:pt x="4" y="19"/>
                    <a:pt x="5" y="19"/>
                    <a:pt x="7" y="18"/>
                  </a:cubicBezTo>
                  <a:cubicBezTo>
                    <a:pt x="8" y="18"/>
                    <a:pt x="9" y="17"/>
                    <a:pt x="10" y="16"/>
                  </a:cubicBezTo>
                  <a:cubicBezTo>
                    <a:pt x="10" y="16"/>
                    <a:pt x="11" y="15"/>
                    <a:pt x="12" y="14"/>
                  </a:cubicBezTo>
                  <a:cubicBezTo>
                    <a:pt x="12" y="14"/>
                    <a:pt x="12" y="14"/>
                    <a:pt x="12" y="63"/>
                  </a:cubicBezTo>
                  <a:cubicBezTo>
                    <a:pt x="12" y="63"/>
                    <a:pt x="12" y="63"/>
                    <a:pt x="26" y="63"/>
                  </a:cubicBezTo>
                  <a:cubicBezTo>
                    <a:pt x="26" y="63"/>
                    <a:pt x="26" y="63"/>
                    <a:pt x="26" y="0"/>
                  </a:cubicBezTo>
                  <a:cubicBezTo>
                    <a:pt x="18" y="0"/>
                    <a:pt x="18" y="0"/>
                    <a:pt x="18" y="0"/>
                  </a:cubicBezTo>
                  <a:cubicBezTo>
                    <a:pt x="15" y="2"/>
                    <a:pt x="12" y="3"/>
                    <a:pt x="10" y="5"/>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18" name="Freeform 43"/>
            <p:cNvSpPr>
              <a:spLocks noEditPoints="1"/>
            </p:cNvSpPr>
            <p:nvPr/>
          </p:nvSpPr>
          <p:spPr bwMode="auto">
            <a:xfrm>
              <a:off x="5981664" y="2999953"/>
              <a:ext cx="130027" cy="189096"/>
            </a:xfrm>
            <a:custGeom>
              <a:avLst/>
              <a:gdLst>
                <a:gd name="T0" fmla="*/ 23 w 44"/>
                <a:gd name="T1" fmla="*/ 0 h 64"/>
                <a:gd name="T2" fmla="*/ 5 w 44"/>
                <a:gd name="T3" fmla="*/ 8 h 64"/>
                <a:gd name="T4" fmla="*/ 0 w 44"/>
                <a:gd name="T5" fmla="*/ 33 h 64"/>
                <a:gd name="T6" fmla="*/ 22 w 44"/>
                <a:gd name="T7" fmla="*/ 64 h 64"/>
                <a:gd name="T8" fmla="*/ 38 w 44"/>
                <a:gd name="T9" fmla="*/ 56 h 64"/>
                <a:gd name="T10" fmla="*/ 44 w 44"/>
                <a:gd name="T11" fmla="*/ 32 h 64"/>
                <a:gd name="T12" fmla="*/ 23 w 44"/>
                <a:gd name="T13" fmla="*/ 0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23" y="0"/>
                  </a:moveTo>
                  <a:cubicBezTo>
                    <a:pt x="15" y="0"/>
                    <a:pt x="9" y="2"/>
                    <a:pt x="5" y="8"/>
                  </a:cubicBezTo>
                  <a:cubicBezTo>
                    <a:pt x="2" y="14"/>
                    <a:pt x="0" y="22"/>
                    <a:pt x="0" y="33"/>
                  </a:cubicBezTo>
                  <a:cubicBezTo>
                    <a:pt x="0" y="54"/>
                    <a:pt x="7" y="64"/>
                    <a:pt x="22" y="64"/>
                  </a:cubicBezTo>
                  <a:cubicBezTo>
                    <a:pt x="29" y="64"/>
                    <a:pt x="35" y="61"/>
                    <a:pt x="38" y="56"/>
                  </a:cubicBezTo>
                  <a:cubicBezTo>
                    <a:pt x="42" y="50"/>
                    <a:pt x="44" y="42"/>
                    <a:pt x="44" y="32"/>
                  </a:cubicBezTo>
                  <a:cubicBezTo>
                    <a:pt x="44" y="11"/>
                    <a:pt x="38" y="0"/>
                    <a:pt x="23" y="0"/>
                  </a:cubicBezTo>
                  <a:close/>
                  <a:moveTo>
                    <a:pt x="22" y="53"/>
                  </a:moveTo>
                  <a:cubicBezTo>
                    <a:pt x="16" y="53"/>
                    <a:pt x="14" y="47"/>
                    <a:pt x="14" y="33"/>
                  </a:cubicBezTo>
                  <a:cubicBezTo>
                    <a:pt x="14" y="18"/>
                    <a:pt x="16" y="11"/>
                    <a:pt x="22" y="11"/>
                  </a:cubicBezTo>
                  <a:cubicBezTo>
                    <a:pt x="27" y="11"/>
                    <a:pt x="30" y="17"/>
                    <a:pt x="30" y="32"/>
                  </a:cubicBezTo>
                  <a:cubicBezTo>
                    <a:pt x="30" y="47"/>
                    <a:pt x="27"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19" name="Freeform 14"/>
            <p:cNvSpPr>
              <a:spLocks/>
            </p:cNvSpPr>
            <p:nvPr/>
          </p:nvSpPr>
          <p:spPr bwMode="auto">
            <a:xfrm>
              <a:off x="5549197" y="3000079"/>
              <a:ext cx="76267" cy="186591"/>
            </a:xfrm>
            <a:custGeom>
              <a:avLst/>
              <a:gdLst>
                <a:gd name="T0" fmla="*/ 26 w 26"/>
                <a:gd name="T1" fmla="*/ 63 h 63"/>
                <a:gd name="T2" fmla="*/ 26 w 26"/>
                <a:gd name="T3" fmla="*/ 0 h 63"/>
                <a:gd name="T4" fmla="*/ 18 w 26"/>
                <a:gd name="T5" fmla="*/ 0 h 63"/>
                <a:gd name="T6" fmla="*/ 10 w 26"/>
                <a:gd name="T7" fmla="*/ 5 h 63"/>
                <a:gd name="T8" fmla="*/ 0 w 26"/>
                <a:gd name="T9" fmla="*/ 9 h 63"/>
                <a:gd name="T10" fmla="*/ 0 w 26"/>
                <a:gd name="T11" fmla="*/ 20 h 63"/>
                <a:gd name="T12" fmla="*/ 3 w 26"/>
                <a:gd name="T13" fmla="*/ 20 h 63"/>
                <a:gd name="T14" fmla="*/ 7 w 26"/>
                <a:gd name="T15" fmla="*/ 18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5"/>
                  </a:cubicBezTo>
                  <a:cubicBezTo>
                    <a:pt x="6" y="6"/>
                    <a:pt x="3" y="8"/>
                    <a:pt x="0" y="9"/>
                  </a:cubicBezTo>
                  <a:cubicBezTo>
                    <a:pt x="0" y="9"/>
                    <a:pt x="0" y="9"/>
                    <a:pt x="0" y="20"/>
                  </a:cubicBezTo>
                  <a:cubicBezTo>
                    <a:pt x="1" y="20"/>
                    <a:pt x="1" y="20"/>
                    <a:pt x="3" y="20"/>
                  </a:cubicBezTo>
                  <a:cubicBezTo>
                    <a:pt x="4" y="19"/>
                    <a:pt x="5" y="19"/>
                    <a:pt x="7" y="18"/>
                  </a:cubicBezTo>
                  <a:cubicBezTo>
                    <a:pt x="8" y="18"/>
                    <a:pt x="9" y="17"/>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20" name="Freeform 70"/>
            <p:cNvSpPr>
              <a:spLocks noEditPoints="1"/>
            </p:cNvSpPr>
            <p:nvPr/>
          </p:nvSpPr>
          <p:spPr bwMode="auto">
            <a:xfrm>
              <a:off x="5067897" y="4810126"/>
              <a:ext cx="450325" cy="383380"/>
            </a:xfrm>
            <a:custGeom>
              <a:avLst/>
              <a:gdLst>
                <a:gd name="T0" fmla="*/ 25 w 518"/>
                <a:gd name="T1" fmla="*/ 104 h 441"/>
                <a:gd name="T2" fmla="*/ 25 w 518"/>
                <a:gd name="T3" fmla="*/ 415 h 441"/>
                <a:gd name="T4" fmla="*/ 492 w 518"/>
                <a:gd name="T5" fmla="*/ 415 h 441"/>
                <a:gd name="T6" fmla="*/ 492 w 518"/>
                <a:gd name="T7" fmla="*/ 104 h 441"/>
                <a:gd name="T8" fmla="*/ 25 w 518"/>
                <a:gd name="T9" fmla="*/ 104 h 441"/>
                <a:gd name="T10" fmla="*/ 0 w 518"/>
                <a:gd name="T11" fmla="*/ 78 h 441"/>
                <a:gd name="T12" fmla="*/ 518 w 518"/>
                <a:gd name="T13" fmla="*/ 78 h 441"/>
                <a:gd name="T14" fmla="*/ 518 w 518"/>
                <a:gd name="T15" fmla="*/ 441 h 441"/>
                <a:gd name="T16" fmla="*/ 0 w 518"/>
                <a:gd name="T17" fmla="*/ 441 h 441"/>
                <a:gd name="T18" fmla="*/ 0 w 518"/>
                <a:gd name="T19" fmla="*/ 78 h 441"/>
                <a:gd name="T20" fmla="*/ 0 w 518"/>
                <a:gd name="T21" fmla="*/ 0 h 441"/>
                <a:gd name="T22" fmla="*/ 518 w 518"/>
                <a:gd name="T23" fmla="*/ 0 h 441"/>
                <a:gd name="T24" fmla="*/ 518 w 518"/>
                <a:gd name="T25" fmla="*/ 52 h 441"/>
                <a:gd name="T26" fmla="*/ 0 w 518"/>
                <a:gd name="T27" fmla="*/ 52 h 441"/>
                <a:gd name="T28" fmla="*/ 0 w 518"/>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8" h="441">
                  <a:moveTo>
                    <a:pt x="25" y="104"/>
                  </a:moveTo>
                  <a:cubicBezTo>
                    <a:pt x="25" y="415"/>
                    <a:pt x="25" y="415"/>
                    <a:pt x="25" y="415"/>
                  </a:cubicBezTo>
                  <a:cubicBezTo>
                    <a:pt x="492" y="415"/>
                    <a:pt x="492" y="415"/>
                    <a:pt x="492" y="415"/>
                  </a:cubicBezTo>
                  <a:cubicBezTo>
                    <a:pt x="492" y="104"/>
                    <a:pt x="492" y="104"/>
                    <a:pt x="492" y="104"/>
                  </a:cubicBezTo>
                  <a:cubicBezTo>
                    <a:pt x="25" y="104"/>
                    <a:pt x="25" y="104"/>
                    <a:pt x="25" y="104"/>
                  </a:cubicBezTo>
                  <a:close/>
                  <a:moveTo>
                    <a:pt x="0" y="78"/>
                  </a:moveTo>
                  <a:cubicBezTo>
                    <a:pt x="518" y="78"/>
                    <a:pt x="518" y="78"/>
                    <a:pt x="518" y="78"/>
                  </a:cubicBezTo>
                  <a:cubicBezTo>
                    <a:pt x="518" y="441"/>
                    <a:pt x="518" y="441"/>
                    <a:pt x="518" y="441"/>
                  </a:cubicBezTo>
                  <a:cubicBezTo>
                    <a:pt x="0" y="441"/>
                    <a:pt x="0" y="441"/>
                    <a:pt x="0" y="441"/>
                  </a:cubicBezTo>
                  <a:cubicBezTo>
                    <a:pt x="0" y="78"/>
                    <a:pt x="0" y="78"/>
                    <a:pt x="0" y="78"/>
                  </a:cubicBezTo>
                  <a:close/>
                  <a:moveTo>
                    <a:pt x="0" y="0"/>
                  </a:moveTo>
                  <a:cubicBezTo>
                    <a:pt x="518" y="0"/>
                    <a:pt x="518" y="0"/>
                    <a:pt x="518" y="0"/>
                  </a:cubicBezTo>
                  <a:cubicBezTo>
                    <a:pt x="518" y="52"/>
                    <a:pt x="518" y="52"/>
                    <a:pt x="518" y="52"/>
                  </a:cubicBezTo>
                  <a:cubicBezTo>
                    <a:pt x="0" y="52"/>
                    <a:pt x="0" y="52"/>
                    <a:pt x="0" y="52"/>
                  </a:cubicBezTo>
                  <a:cubicBezTo>
                    <a:pt x="0" y="0"/>
                    <a:pt x="0" y="0"/>
                    <a:pt x="0" y="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21" name="Freeform 304"/>
            <p:cNvSpPr>
              <a:spLocks/>
            </p:cNvSpPr>
            <p:nvPr/>
          </p:nvSpPr>
          <p:spPr bwMode="auto">
            <a:xfrm>
              <a:off x="5101675" y="457169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2" y="17"/>
                    <a:pt x="13"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22" name="Freeform 305"/>
            <p:cNvSpPr>
              <a:spLocks/>
            </p:cNvSpPr>
            <p:nvPr/>
          </p:nvSpPr>
          <p:spPr bwMode="auto">
            <a:xfrm>
              <a:off x="5243879" y="4571698"/>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3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6" y="7"/>
                    <a:pt x="3" y="9"/>
                    <a:pt x="0" y="10"/>
                  </a:cubicBezTo>
                  <a:cubicBezTo>
                    <a:pt x="0" y="10"/>
                    <a:pt x="0" y="10"/>
                    <a:pt x="0" y="21"/>
                  </a:cubicBezTo>
                  <a:cubicBezTo>
                    <a:pt x="1" y="21"/>
                    <a:pt x="2" y="21"/>
                    <a:pt x="3" y="21"/>
                  </a:cubicBezTo>
                  <a:cubicBezTo>
                    <a:pt x="4" y="20"/>
                    <a:pt x="5"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23" name="Freeform 306"/>
            <p:cNvSpPr>
              <a:spLocks/>
            </p:cNvSpPr>
            <p:nvPr/>
          </p:nvSpPr>
          <p:spPr bwMode="auto">
            <a:xfrm>
              <a:off x="5377199" y="4571698"/>
              <a:ext cx="80017" cy="186591"/>
            </a:xfrm>
            <a:custGeom>
              <a:avLst/>
              <a:gdLst>
                <a:gd name="T0" fmla="*/ 27 w 27"/>
                <a:gd name="T1" fmla="*/ 63 h 63"/>
                <a:gd name="T2" fmla="*/ 27 w 27"/>
                <a:gd name="T3" fmla="*/ 0 h 63"/>
                <a:gd name="T4" fmla="*/ 19 w 27"/>
                <a:gd name="T5" fmla="*/ 0 h 63"/>
                <a:gd name="T6" fmla="*/ 10 w 27"/>
                <a:gd name="T7" fmla="*/ 6 h 63"/>
                <a:gd name="T8" fmla="*/ 0 w 27"/>
                <a:gd name="T9" fmla="*/ 10 h 63"/>
                <a:gd name="T10" fmla="*/ 0 w 27"/>
                <a:gd name="T11" fmla="*/ 21 h 63"/>
                <a:gd name="T12" fmla="*/ 4 w 27"/>
                <a:gd name="T13" fmla="*/ 21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1024" name="Group 1023"/>
            <p:cNvGrpSpPr/>
            <p:nvPr/>
          </p:nvGrpSpPr>
          <p:grpSpPr>
            <a:xfrm flipH="1">
              <a:off x="4309896" y="3063240"/>
              <a:ext cx="285916" cy="306479"/>
              <a:chOff x="2556535" y="3145652"/>
              <a:chExt cx="297818" cy="470859"/>
            </a:xfrm>
            <a:solidFill>
              <a:schemeClr val="tx1"/>
            </a:solidFill>
          </p:grpSpPr>
          <p:sp>
            <p:nvSpPr>
              <p:cNvPr id="1079"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0"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1"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82"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1025" name="Group 1024"/>
            <p:cNvGrpSpPr/>
            <p:nvPr/>
          </p:nvGrpSpPr>
          <p:grpSpPr>
            <a:xfrm>
              <a:off x="7913211" y="4370354"/>
              <a:ext cx="264848" cy="297146"/>
              <a:chOff x="6495975" y="3510751"/>
              <a:chExt cx="306572" cy="343958"/>
            </a:xfrm>
            <a:solidFill>
              <a:schemeClr val="tx1"/>
            </a:solidFill>
          </p:grpSpPr>
          <p:sp>
            <p:nvSpPr>
              <p:cNvPr id="1076"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77"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78"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1026" name="Group 1025"/>
            <p:cNvGrpSpPr/>
            <p:nvPr/>
          </p:nvGrpSpPr>
          <p:grpSpPr>
            <a:xfrm>
              <a:off x="5713256" y="4156345"/>
              <a:ext cx="306572" cy="343958"/>
              <a:chOff x="6495975" y="3510751"/>
              <a:chExt cx="306572" cy="343958"/>
            </a:xfrm>
          </p:grpSpPr>
          <p:sp>
            <p:nvSpPr>
              <p:cNvPr id="1073"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74"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75"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1027" name="Freeform 274"/>
            <p:cNvSpPr>
              <a:spLocks/>
            </p:cNvSpPr>
            <p:nvPr/>
          </p:nvSpPr>
          <p:spPr bwMode="auto">
            <a:xfrm>
              <a:off x="5389245" y="4348792"/>
              <a:ext cx="77516" cy="184087"/>
            </a:xfrm>
            <a:custGeom>
              <a:avLst/>
              <a:gdLst>
                <a:gd name="T0" fmla="*/ 26 w 26"/>
                <a:gd name="T1" fmla="*/ 62 h 62"/>
                <a:gd name="T2" fmla="*/ 26 w 26"/>
                <a:gd name="T3" fmla="*/ 0 h 62"/>
                <a:gd name="T4" fmla="*/ 18 w 26"/>
                <a:gd name="T5" fmla="*/ 0 h 62"/>
                <a:gd name="T6" fmla="*/ 10 w 26"/>
                <a:gd name="T7" fmla="*/ 5 h 62"/>
                <a:gd name="T8" fmla="*/ 0 w 26"/>
                <a:gd name="T9" fmla="*/ 9 h 62"/>
                <a:gd name="T10" fmla="*/ 0 w 26"/>
                <a:gd name="T11" fmla="*/ 20 h 62"/>
                <a:gd name="T12" fmla="*/ 4 w 26"/>
                <a:gd name="T13" fmla="*/ 20 h 62"/>
                <a:gd name="T14" fmla="*/ 7 w 26"/>
                <a:gd name="T15" fmla="*/ 18 h 62"/>
                <a:gd name="T16" fmla="*/ 10 w 26"/>
                <a:gd name="T17" fmla="*/ 16 h 62"/>
                <a:gd name="T18" fmla="*/ 13 w 26"/>
                <a:gd name="T19" fmla="*/ 15 h 62"/>
                <a:gd name="T20" fmla="*/ 13 w 26"/>
                <a:gd name="T21" fmla="*/ 62 h 62"/>
                <a:gd name="T22" fmla="*/ 26 w 2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2">
                  <a:moveTo>
                    <a:pt x="26" y="62"/>
                  </a:moveTo>
                  <a:cubicBezTo>
                    <a:pt x="26" y="62"/>
                    <a:pt x="26" y="62"/>
                    <a:pt x="26" y="0"/>
                  </a:cubicBezTo>
                  <a:cubicBezTo>
                    <a:pt x="18" y="0"/>
                    <a:pt x="18" y="0"/>
                    <a:pt x="18" y="0"/>
                  </a:cubicBezTo>
                  <a:cubicBezTo>
                    <a:pt x="16" y="2"/>
                    <a:pt x="13" y="4"/>
                    <a:pt x="10" y="5"/>
                  </a:cubicBezTo>
                  <a:cubicBezTo>
                    <a:pt x="6" y="6"/>
                    <a:pt x="4" y="8"/>
                    <a:pt x="0" y="9"/>
                  </a:cubicBezTo>
                  <a:cubicBezTo>
                    <a:pt x="0" y="9"/>
                    <a:pt x="0" y="9"/>
                    <a:pt x="0" y="20"/>
                  </a:cubicBezTo>
                  <a:cubicBezTo>
                    <a:pt x="1" y="20"/>
                    <a:pt x="2" y="20"/>
                    <a:pt x="4" y="20"/>
                  </a:cubicBezTo>
                  <a:cubicBezTo>
                    <a:pt x="5" y="19"/>
                    <a:pt x="6" y="19"/>
                    <a:pt x="7" y="18"/>
                  </a:cubicBezTo>
                  <a:cubicBezTo>
                    <a:pt x="8" y="18"/>
                    <a:pt x="9" y="17"/>
                    <a:pt x="10" y="16"/>
                  </a:cubicBezTo>
                  <a:cubicBezTo>
                    <a:pt x="11" y="16"/>
                    <a:pt x="12" y="15"/>
                    <a:pt x="13" y="15"/>
                  </a:cubicBezTo>
                  <a:cubicBezTo>
                    <a:pt x="13" y="15"/>
                    <a:pt x="13" y="15"/>
                    <a:pt x="13" y="62"/>
                  </a:cubicBezTo>
                  <a:cubicBezTo>
                    <a:pt x="13" y="62"/>
                    <a:pt x="13" y="62"/>
                    <a:pt x="26" y="62"/>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28" name="Freeform 275"/>
            <p:cNvSpPr>
              <a:spLocks noEditPoints="1"/>
            </p:cNvSpPr>
            <p:nvPr/>
          </p:nvSpPr>
          <p:spPr bwMode="auto">
            <a:xfrm>
              <a:off x="5511771" y="4348792"/>
              <a:ext cx="132528" cy="189096"/>
            </a:xfrm>
            <a:custGeom>
              <a:avLst/>
              <a:gdLst>
                <a:gd name="T0" fmla="*/ 22 w 45"/>
                <a:gd name="T1" fmla="*/ 64 h 64"/>
                <a:gd name="T2" fmla="*/ 39 w 45"/>
                <a:gd name="T3" fmla="*/ 56 h 64"/>
                <a:gd name="T4" fmla="*/ 45 w 45"/>
                <a:gd name="T5" fmla="*/ 32 h 64"/>
                <a:gd name="T6" fmla="*/ 23 w 45"/>
                <a:gd name="T7" fmla="*/ 0 h 64"/>
                <a:gd name="T8" fmla="*/ 6 w 45"/>
                <a:gd name="T9" fmla="*/ 8 h 64"/>
                <a:gd name="T10" fmla="*/ 0 w 45"/>
                <a:gd name="T11" fmla="*/ 33 h 64"/>
                <a:gd name="T12" fmla="*/ 22 w 45"/>
                <a:gd name="T13" fmla="*/ 64 h 64"/>
                <a:gd name="T14" fmla="*/ 22 w 45"/>
                <a:gd name="T15" fmla="*/ 11 h 64"/>
                <a:gd name="T16" fmla="*/ 31 w 45"/>
                <a:gd name="T17" fmla="*/ 32 h 64"/>
                <a:gd name="T18" fmla="*/ 22 w 45"/>
                <a:gd name="T19" fmla="*/ 53 h 64"/>
                <a:gd name="T20" fmla="*/ 14 w 45"/>
                <a:gd name="T21" fmla="*/ 33 h 64"/>
                <a:gd name="T22" fmla="*/ 22 w 45"/>
                <a:gd name="T23"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4">
                  <a:moveTo>
                    <a:pt x="22" y="64"/>
                  </a:moveTo>
                  <a:cubicBezTo>
                    <a:pt x="30" y="64"/>
                    <a:pt x="35" y="61"/>
                    <a:pt x="39" y="56"/>
                  </a:cubicBezTo>
                  <a:cubicBezTo>
                    <a:pt x="43" y="50"/>
                    <a:pt x="45" y="42"/>
                    <a:pt x="45" y="32"/>
                  </a:cubicBezTo>
                  <a:cubicBezTo>
                    <a:pt x="45" y="11"/>
                    <a:pt x="38" y="0"/>
                    <a:pt x="23" y="0"/>
                  </a:cubicBezTo>
                  <a:cubicBezTo>
                    <a:pt x="16" y="0"/>
                    <a:pt x="10" y="3"/>
                    <a:pt x="6" y="8"/>
                  </a:cubicBezTo>
                  <a:cubicBezTo>
                    <a:pt x="2" y="15"/>
                    <a:pt x="0" y="22"/>
                    <a:pt x="0" y="33"/>
                  </a:cubicBezTo>
                  <a:cubicBezTo>
                    <a:pt x="0" y="54"/>
                    <a:pt x="8" y="64"/>
                    <a:pt x="22" y="64"/>
                  </a:cubicBezTo>
                  <a:close/>
                  <a:moveTo>
                    <a:pt x="22" y="11"/>
                  </a:moveTo>
                  <a:cubicBezTo>
                    <a:pt x="28" y="11"/>
                    <a:pt x="31" y="17"/>
                    <a:pt x="31" y="32"/>
                  </a:cubicBezTo>
                  <a:cubicBezTo>
                    <a:pt x="31" y="47"/>
                    <a:pt x="28" y="53"/>
                    <a:pt x="22" y="53"/>
                  </a:cubicBezTo>
                  <a:cubicBezTo>
                    <a:pt x="17" y="53"/>
                    <a:pt x="14" y="47"/>
                    <a:pt x="14" y="33"/>
                  </a:cubicBezTo>
                  <a:cubicBezTo>
                    <a:pt x="14" y="18"/>
                    <a:pt x="17" y="11"/>
                    <a:pt x="22" y="11"/>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1029" name="Group 1028"/>
            <p:cNvGrpSpPr/>
            <p:nvPr/>
          </p:nvGrpSpPr>
          <p:grpSpPr>
            <a:xfrm flipH="1">
              <a:off x="6011768" y="1860551"/>
              <a:ext cx="285916" cy="409910"/>
              <a:chOff x="2556535" y="3145652"/>
              <a:chExt cx="297818" cy="470859"/>
            </a:xfrm>
            <a:solidFill>
              <a:schemeClr val="tx1"/>
            </a:solidFill>
          </p:grpSpPr>
          <p:sp>
            <p:nvSpPr>
              <p:cNvPr id="1069" name="Freeform 63"/>
              <p:cNvSpPr>
                <a:spLocks/>
              </p:cNvSpPr>
              <p:nvPr/>
            </p:nvSpPr>
            <p:spPr bwMode="auto">
              <a:xfrm>
                <a:off x="2797850" y="3478078"/>
                <a:ext cx="56503" cy="138433"/>
              </a:xfrm>
              <a:custGeom>
                <a:avLst/>
                <a:gdLst>
                  <a:gd name="T0" fmla="*/ 0 w 240"/>
                  <a:gd name="T1" fmla="*/ 0 h 588"/>
                  <a:gd name="T2" fmla="*/ 240 w 240"/>
                  <a:gd name="T3" fmla="*/ 0 h 588"/>
                  <a:gd name="T4" fmla="*/ 240 w 240"/>
                  <a:gd name="T5" fmla="*/ 588 h 588"/>
                  <a:gd name="T6" fmla="*/ 0 w 240"/>
                  <a:gd name="T7" fmla="*/ 588 h 588"/>
                  <a:gd name="T8" fmla="*/ 0 w 240"/>
                  <a:gd name="T9" fmla="*/ 0 h 588"/>
                  <a:gd name="T10" fmla="*/ 0 w 240"/>
                  <a:gd name="T11" fmla="*/ 0 h 588"/>
                </a:gdLst>
                <a:ahLst/>
                <a:cxnLst>
                  <a:cxn ang="0">
                    <a:pos x="T0" y="T1"/>
                  </a:cxn>
                  <a:cxn ang="0">
                    <a:pos x="T2" y="T3"/>
                  </a:cxn>
                  <a:cxn ang="0">
                    <a:pos x="T4" y="T5"/>
                  </a:cxn>
                  <a:cxn ang="0">
                    <a:pos x="T6" y="T7"/>
                  </a:cxn>
                  <a:cxn ang="0">
                    <a:pos x="T8" y="T9"/>
                  </a:cxn>
                  <a:cxn ang="0">
                    <a:pos x="T10" y="T11"/>
                  </a:cxn>
                </a:cxnLst>
                <a:rect l="0" t="0" r="r" b="b"/>
                <a:pathLst>
                  <a:path w="240" h="588">
                    <a:moveTo>
                      <a:pt x="0" y="0"/>
                    </a:moveTo>
                    <a:lnTo>
                      <a:pt x="240" y="0"/>
                    </a:lnTo>
                    <a:lnTo>
                      <a:pt x="240" y="588"/>
                    </a:lnTo>
                    <a:lnTo>
                      <a:pt x="0" y="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70" name="Freeform 64"/>
              <p:cNvSpPr>
                <a:spLocks/>
              </p:cNvSpPr>
              <p:nvPr/>
            </p:nvSpPr>
            <p:spPr bwMode="auto">
              <a:xfrm>
                <a:off x="2718510" y="3242649"/>
                <a:ext cx="55797" cy="373862"/>
              </a:xfrm>
              <a:custGeom>
                <a:avLst/>
                <a:gdLst>
                  <a:gd name="T0" fmla="*/ 0 w 237"/>
                  <a:gd name="T1" fmla="*/ 0 h 1588"/>
                  <a:gd name="T2" fmla="*/ 237 w 237"/>
                  <a:gd name="T3" fmla="*/ 0 h 1588"/>
                  <a:gd name="T4" fmla="*/ 237 w 237"/>
                  <a:gd name="T5" fmla="*/ 1588 h 1588"/>
                  <a:gd name="T6" fmla="*/ 0 w 237"/>
                  <a:gd name="T7" fmla="*/ 1588 h 1588"/>
                  <a:gd name="T8" fmla="*/ 0 w 237"/>
                  <a:gd name="T9" fmla="*/ 0 h 1588"/>
                  <a:gd name="T10" fmla="*/ 0 w 237"/>
                  <a:gd name="T11" fmla="*/ 0 h 1588"/>
                </a:gdLst>
                <a:ahLst/>
                <a:cxnLst>
                  <a:cxn ang="0">
                    <a:pos x="T0" y="T1"/>
                  </a:cxn>
                  <a:cxn ang="0">
                    <a:pos x="T2" y="T3"/>
                  </a:cxn>
                  <a:cxn ang="0">
                    <a:pos x="T4" y="T5"/>
                  </a:cxn>
                  <a:cxn ang="0">
                    <a:pos x="T6" y="T7"/>
                  </a:cxn>
                  <a:cxn ang="0">
                    <a:pos x="T8" y="T9"/>
                  </a:cxn>
                  <a:cxn ang="0">
                    <a:pos x="T10" y="T11"/>
                  </a:cxn>
                </a:cxnLst>
                <a:rect l="0" t="0" r="r" b="b"/>
                <a:pathLst>
                  <a:path w="237" h="1588">
                    <a:moveTo>
                      <a:pt x="0" y="0"/>
                    </a:moveTo>
                    <a:lnTo>
                      <a:pt x="237" y="0"/>
                    </a:lnTo>
                    <a:lnTo>
                      <a:pt x="237" y="1588"/>
                    </a:lnTo>
                    <a:lnTo>
                      <a:pt x="0" y="15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71" name="Freeform 65"/>
              <p:cNvSpPr>
                <a:spLocks/>
              </p:cNvSpPr>
              <p:nvPr/>
            </p:nvSpPr>
            <p:spPr bwMode="auto">
              <a:xfrm>
                <a:off x="2636581" y="3145652"/>
                <a:ext cx="56268" cy="470859"/>
              </a:xfrm>
              <a:custGeom>
                <a:avLst/>
                <a:gdLst>
                  <a:gd name="T0" fmla="*/ 0 w 239"/>
                  <a:gd name="T1" fmla="*/ 0 h 2000"/>
                  <a:gd name="T2" fmla="*/ 239 w 239"/>
                  <a:gd name="T3" fmla="*/ 0 h 2000"/>
                  <a:gd name="T4" fmla="*/ 239 w 239"/>
                  <a:gd name="T5" fmla="*/ 2000 h 2000"/>
                  <a:gd name="T6" fmla="*/ 0 w 239"/>
                  <a:gd name="T7" fmla="*/ 2000 h 2000"/>
                  <a:gd name="T8" fmla="*/ 0 w 239"/>
                  <a:gd name="T9" fmla="*/ 0 h 2000"/>
                  <a:gd name="T10" fmla="*/ 0 w 239"/>
                  <a:gd name="T11" fmla="*/ 0 h 2000"/>
                </a:gdLst>
                <a:ahLst/>
                <a:cxnLst>
                  <a:cxn ang="0">
                    <a:pos x="T0" y="T1"/>
                  </a:cxn>
                  <a:cxn ang="0">
                    <a:pos x="T2" y="T3"/>
                  </a:cxn>
                  <a:cxn ang="0">
                    <a:pos x="T4" y="T5"/>
                  </a:cxn>
                  <a:cxn ang="0">
                    <a:pos x="T6" y="T7"/>
                  </a:cxn>
                  <a:cxn ang="0">
                    <a:pos x="T8" y="T9"/>
                  </a:cxn>
                  <a:cxn ang="0">
                    <a:pos x="T10" y="T11"/>
                  </a:cxn>
                </a:cxnLst>
                <a:rect l="0" t="0" r="r" b="b"/>
                <a:pathLst>
                  <a:path w="239" h="2000">
                    <a:moveTo>
                      <a:pt x="0" y="0"/>
                    </a:moveTo>
                    <a:lnTo>
                      <a:pt x="239" y="0"/>
                    </a:lnTo>
                    <a:lnTo>
                      <a:pt x="239" y="2000"/>
                    </a:lnTo>
                    <a:lnTo>
                      <a:pt x="0" y="200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72" name="Freeform 66"/>
              <p:cNvSpPr>
                <a:spLocks/>
              </p:cNvSpPr>
              <p:nvPr/>
            </p:nvSpPr>
            <p:spPr bwMode="auto">
              <a:xfrm>
                <a:off x="2556535" y="3323637"/>
                <a:ext cx="56503" cy="292874"/>
              </a:xfrm>
              <a:custGeom>
                <a:avLst/>
                <a:gdLst>
                  <a:gd name="T0" fmla="*/ 0 w 240"/>
                  <a:gd name="T1" fmla="*/ 0 h 1244"/>
                  <a:gd name="T2" fmla="*/ 240 w 240"/>
                  <a:gd name="T3" fmla="*/ 0 h 1244"/>
                  <a:gd name="T4" fmla="*/ 240 w 240"/>
                  <a:gd name="T5" fmla="*/ 1244 h 1244"/>
                  <a:gd name="T6" fmla="*/ 0 w 240"/>
                  <a:gd name="T7" fmla="*/ 1244 h 1244"/>
                  <a:gd name="T8" fmla="*/ 0 w 240"/>
                  <a:gd name="T9" fmla="*/ 0 h 1244"/>
                  <a:gd name="T10" fmla="*/ 0 w 240"/>
                  <a:gd name="T11" fmla="*/ 0 h 1244"/>
                </a:gdLst>
                <a:ahLst/>
                <a:cxnLst>
                  <a:cxn ang="0">
                    <a:pos x="T0" y="T1"/>
                  </a:cxn>
                  <a:cxn ang="0">
                    <a:pos x="T2" y="T3"/>
                  </a:cxn>
                  <a:cxn ang="0">
                    <a:pos x="T4" y="T5"/>
                  </a:cxn>
                  <a:cxn ang="0">
                    <a:pos x="T6" y="T7"/>
                  </a:cxn>
                  <a:cxn ang="0">
                    <a:pos x="T8" y="T9"/>
                  </a:cxn>
                  <a:cxn ang="0">
                    <a:pos x="T10" y="T11"/>
                  </a:cxn>
                </a:cxnLst>
                <a:rect l="0" t="0" r="r" b="b"/>
                <a:pathLst>
                  <a:path w="240" h="1244">
                    <a:moveTo>
                      <a:pt x="0" y="0"/>
                    </a:moveTo>
                    <a:lnTo>
                      <a:pt x="240" y="0"/>
                    </a:lnTo>
                    <a:lnTo>
                      <a:pt x="240" y="1244"/>
                    </a:lnTo>
                    <a:lnTo>
                      <a:pt x="0" y="124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1030" name="Freeform 74"/>
            <p:cNvSpPr>
              <a:spLocks noEditPoints="1"/>
            </p:cNvSpPr>
            <p:nvPr/>
          </p:nvSpPr>
          <p:spPr bwMode="auto">
            <a:xfrm rot="721847">
              <a:off x="6799556" y="5442121"/>
              <a:ext cx="437890" cy="355566"/>
            </a:xfrm>
            <a:custGeom>
              <a:avLst/>
              <a:gdLst>
                <a:gd name="T0" fmla="*/ 752 w 1049"/>
                <a:gd name="T1" fmla="*/ 377 h 851"/>
                <a:gd name="T2" fmla="*/ 628 w 1049"/>
                <a:gd name="T3" fmla="*/ 359 h 851"/>
                <a:gd name="T4" fmla="*/ 664 w 1049"/>
                <a:gd name="T5" fmla="*/ 235 h 851"/>
                <a:gd name="T6" fmla="*/ 602 w 1049"/>
                <a:gd name="T7" fmla="*/ 168 h 851"/>
                <a:gd name="T8" fmla="*/ 491 w 1049"/>
                <a:gd name="T9" fmla="*/ 230 h 851"/>
                <a:gd name="T10" fmla="*/ 438 w 1049"/>
                <a:gd name="T11" fmla="*/ 97 h 851"/>
                <a:gd name="T12" fmla="*/ 350 w 1049"/>
                <a:gd name="T13" fmla="*/ 84 h 851"/>
                <a:gd name="T14" fmla="*/ 305 w 1049"/>
                <a:gd name="T15" fmla="*/ 221 h 851"/>
                <a:gd name="T16" fmla="*/ 190 w 1049"/>
                <a:gd name="T17" fmla="*/ 164 h 851"/>
                <a:gd name="T18" fmla="*/ 111 w 1049"/>
                <a:gd name="T19" fmla="*/ 213 h 851"/>
                <a:gd name="T20" fmla="*/ 155 w 1049"/>
                <a:gd name="T21" fmla="*/ 333 h 851"/>
                <a:gd name="T22" fmla="*/ 35 w 1049"/>
                <a:gd name="T23" fmla="*/ 363 h 851"/>
                <a:gd name="T24" fmla="*/ 0 w 1049"/>
                <a:gd name="T25" fmla="*/ 448 h 851"/>
                <a:gd name="T26" fmla="*/ 115 w 1049"/>
                <a:gd name="T27" fmla="*/ 514 h 851"/>
                <a:gd name="T28" fmla="*/ 40 w 1049"/>
                <a:gd name="T29" fmla="*/ 616 h 851"/>
                <a:gd name="T30" fmla="*/ 71 w 1049"/>
                <a:gd name="T31" fmla="*/ 705 h 851"/>
                <a:gd name="T32" fmla="*/ 199 w 1049"/>
                <a:gd name="T33" fmla="*/ 678 h 851"/>
                <a:gd name="T34" fmla="*/ 208 w 1049"/>
                <a:gd name="T35" fmla="*/ 807 h 851"/>
                <a:gd name="T36" fmla="*/ 288 w 1049"/>
                <a:gd name="T37" fmla="*/ 851 h 851"/>
                <a:gd name="T38" fmla="*/ 367 w 1049"/>
                <a:gd name="T39" fmla="*/ 749 h 851"/>
                <a:gd name="T40" fmla="*/ 398 w 1049"/>
                <a:gd name="T41" fmla="*/ 749 h 851"/>
                <a:gd name="T42" fmla="*/ 482 w 1049"/>
                <a:gd name="T43" fmla="*/ 851 h 851"/>
                <a:gd name="T44" fmla="*/ 562 w 1049"/>
                <a:gd name="T45" fmla="*/ 807 h 851"/>
                <a:gd name="T46" fmla="*/ 571 w 1049"/>
                <a:gd name="T47" fmla="*/ 678 h 851"/>
                <a:gd name="T48" fmla="*/ 695 w 1049"/>
                <a:gd name="T49" fmla="*/ 705 h 851"/>
                <a:gd name="T50" fmla="*/ 730 w 1049"/>
                <a:gd name="T51" fmla="*/ 616 h 851"/>
                <a:gd name="T52" fmla="*/ 655 w 1049"/>
                <a:gd name="T53" fmla="*/ 514 h 851"/>
                <a:gd name="T54" fmla="*/ 765 w 1049"/>
                <a:gd name="T55" fmla="*/ 448 h 851"/>
                <a:gd name="T56" fmla="*/ 491 w 1049"/>
                <a:gd name="T57" fmla="*/ 590 h 851"/>
                <a:gd name="T58" fmla="*/ 279 w 1049"/>
                <a:gd name="T59" fmla="*/ 590 h 851"/>
                <a:gd name="T60" fmla="*/ 279 w 1049"/>
                <a:gd name="T61" fmla="*/ 372 h 851"/>
                <a:gd name="T62" fmla="*/ 491 w 1049"/>
                <a:gd name="T63" fmla="*/ 372 h 851"/>
                <a:gd name="T64" fmla="*/ 314 w 1049"/>
                <a:gd name="T65" fmla="*/ 479 h 851"/>
                <a:gd name="T66" fmla="*/ 456 w 1049"/>
                <a:gd name="T67" fmla="*/ 479 h 851"/>
                <a:gd name="T68" fmla="*/ 314 w 1049"/>
                <a:gd name="T69" fmla="*/ 479 h 851"/>
                <a:gd name="T70" fmla="*/ 1005 w 1049"/>
                <a:gd name="T71" fmla="*/ 208 h 851"/>
                <a:gd name="T72" fmla="*/ 1040 w 1049"/>
                <a:gd name="T73" fmla="*/ 142 h 851"/>
                <a:gd name="T74" fmla="*/ 1049 w 1049"/>
                <a:gd name="T75" fmla="*/ 119 h 851"/>
                <a:gd name="T76" fmla="*/ 1009 w 1049"/>
                <a:gd name="T77" fmla="*/ 80 h 851"/>
                <a:gd name="T78" fmla="*/ 951 w 1049"/>
                <a:gd name="T79" fmla="*/ 97 h 851"/>
                <a:gd name="T80" fmla="*/ 889 w 1049"/>
                <a:gd name="T81" fmla="*/ 13 h 851"/>
                <a:gd name="T82" fmla="*/ 837 w 1049"/>
                <a:gd name="T83" fmla="*/ 0 h 851"/>
                <a:gd name="T84" fmla="*/ 806 w 1049"/>
                <a:gd name="T85" fmla="*/ 71 h 851"/>
                <a:gd name="T86" fmla="*/ 704 w 1049"/>
                <a:gd name="T87" fmla="*/ 80 h 851"/>
                <a:gd name="T88" fmla="*/ 682 w 1049"/>
                <a:gd name="T89" fmla="*/ 89 h 851"/>
                <a:gd name="T90" fmla="*/ 659 w 1049"/>
                <a:gd name="T91" fmla="*/ 128 h 851"/>
                <a:gd name="T92" fmla="*/ 712 w 1049"/>
                <a:gd name="T93" fmla="*/ 182 h 851"/>
                <a:gd name="T94" fmla="*/ 712 w 1049"/>
                <a:gd name="T95" fmla="*/ 235 h 851"/>
                <a:gd name="T96" fmla="*/ 659 w 1049"/>
                <a:gd name="T97" fmla="*/ 288 h 851"/>
                <a:gd name="T98" fmla="*/ 682 w 1049"/>
                <a:gd name="T99" fmla="*/ 328 h 851"/>
                <a:gd name="T100" fmla="*/ 704 w 1049"/>
                <a:gd name="T101" fmla="*/ 337 h 851"/>
                <a:gd name="T102" fmla="*/ 806 w 1049"/>
                <a:gd name="T103" fmla="*/ 346 h 851"/>
                <a:gd name="T104" fmla="*/ 837 w 1049"/>
                <a:gd name="T105" fmla="*/ 417 h 851"/>
                <a:gd name="T106" fmla="*/ 889 w 1049"/>
                <a:gd name="T107" fmla="*/ 403 h 851"/>
                <a:gd name="T108" fmla="*/ 951 w 1049"/>
                <a:gd name="T109" fmla="*/ 319 h 851"/>
                <a:gd name="T110" fmla="*/ 1009 w 1049"/>
                <a:gd name="T111" fmla="*/ 337 h 851"/>
                <a:gd name="T112" fmla="*/ 1049 w 1049"/>
                <a:gd name="T113" fmla="*/ 297 h 851"/>
                <a:gd name="T114" fmla="*/ 1040 w 1049"/>
                <a:gd name="T115" fmla="*/ 275 h 851"/>
                <a:gd name="T116" fmla="*/ 1000 w 1049"/>
                <a:gd name="T117" fmla="*/ 235 h 851"/>
                <a:gd name="T118" fmla="*/ 854 w 1049"/>
                <a:gd name="T119" fmla="*/ 266 h 851"/>
                <a:gd name="T120" fmla="*/ 854 w 1049"/>
                <a:gd name="T121" fmla="*/ 1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9" h="851">
                  <a:moveTo>
                    <a:pt x="765" y="448"/>
                  </a:moveTo>
                  <a:cubicBezTo>
                    <a:pt x="752" y="377"/>
                    <a:pt x="752" y="377"/>
                    <a:pt x="752" y="377"/>
                  </a:cubicBezTo>
                  <a:cubicBezTo>
                    <a:pt x="752" y="372"/>
                    <a:pt x="748" y="363"/>
                    <a:pt x="735" y="363"/>
                  </a:cubicBezTo>
                  <a:cubicBezTo>
                    <a:pt x="628" y="359"/>
                    <a:pt x="628" y="359"/>
                    <a:pt x="628" y="359"/>
                  </a:cubicBezTo>
                  <a:cubicBezTo>
                    <a:pt x="624" y="350"/>
                    <a:pt x="620" y="341"/>
                    <a:pt x="611" y="333"/>
                  </a:cubicBezTo>
                  <a:cubicBezTo>
                    <a:pt x="664" y="235"/>
                    <a:pt x="664" y="235"/>
                    <a:pt x="664" y="235"/>
                  </a:cubicBezTo>
                  <a:cubicBezTo>
                    <a:pt x="668" y="226"/>
                    <a:pt x="664" y="217"/>
                    <a:pt x="655" y="213"/>
                  </a:cubicBezTo>
                  <a:cubicBezTo>
                    <a:pt x="602" y="168"/>
                    <a:pt x="602" y="168"/>
                    <a:pt x="602" y="168"/>
                  </a:cubicBezTo>
                  <a:cubicBezTo>
                    <a:pt x="598" y="159"/>
                    <a:pt x="584" y="159"/>
                    <a:pt x="580" y="164"/>
                  </a:cubicBezTo>
                  <a:cubicBezTo>
                    <a:pt x="491" y="230"/>
                    <a:pt x="491" y="230"/>
                    <a:pt x="491" y="230"/>
                  </a:cubicBezTo>
                  <a:cubicBezTo>
                    <a:pt x="482" y="226"/>
                    <a:pt x="478" y="226"/>
                    <a:pt x="465" y="221"/>
                  </a:cubicBezTo>
                  <a:cubicBezTo>
                    <a:pt x="438" y="97"/>
                    <a:pt x="438" y="97"/>
                    <a:pt x="438" y="97"/>
                  </a:cubicBezTo>
                  <a:cubicBezTo>
                    <a:pt x="438" y="89"/>
                    <a:pt x="429" y="84"/>
                    <a:pt x="420" y="84"/>
                  </a:cubicBezTo>
                  <a:cubicBezTo>
                    <a:pt x="350" y="84"/>
                    <a:pt x="350" y="84"/>
                    <a:pt x="350" y="84"/>
                  </a:cubicBezTo>
                  <a:cubicBezTo>
                    <a:pt x="341" y="84"/>
                    <a:pt x="332" y="89"/>
                    <a:pt x="328" y="97"/>
                  </a:cubicBezTo>
                  <a:cubicBezTo>
                    <a:pt x="305" y="221"/>
                    <a:pt x="305" y="221"/>
                    <a:pt x="305" y="221"/>
                  </a:cubicBezTo>
                  <a:cubicBezTo>
                    <a:pt x="292" y="226"/>
                    <a:pt x="283" y="226"/>
                    <a:pt x="279" y="230"/>
                  </a:cubicBezTo>
                  <a:cubicBezTo>
                    <a:pt x="190" y="164"/>
                    <a:pt x="190" y="164"/>
                    <a:pt x="190" y="164"/>
                  </a:cubicBezTo>
                  <a:cubicBezTo>
                    <a:pt x="182" y="159"/>
                    <a:pt x="173" y="159"/>
                    <a:pt x="168" y="164"/>
                  </a:cubicBezTo>
                  <a:cubicBezTo>
                    <a:pt x="111" y="213"/>
                    <a:pt x="111" y="213"/>
                    <a:pt x="111" y="213"/>
                  </a:cubicBezTo>
                  <a:cubicBezTo>
                    <a:pt x="106" y="217"/>
                    <a:pt x="106" y="226"/>
                    <a:pt x="106" y="235"/>
                  </a:cubicBezTo>
                  <a:cubicBezTo>
                    <a:pt x="155" y="333"/>
                    <a:pt x="155" y="333"/>
                    <a:pt x="155" y="333"/>
                  </a:cubicBezTo>
                  <a:cubicBezTo>
                    <a:pt x="151" y="341"/>
                    <a:pt x="146" y="350"/>
                    <a:pt x="142" y="359"/>
                  </a:cubicBezTo>
                  <a:cubicBezTo>
                    <a:pt x="35" y="363"/>
                    <a:pt x="35" y="363"/>
                    <a:pt x="35" y="363"/>
                  </a:cubicBezTo>
                  <a:cubicBezTo>
                    <a:pt x="22" y="363"/>
                    <a:pt x="18" y="372"/>
                    <a:pt x="13" y="377"/>
                  </a:cubicBezTo>
                  <a:cubicBezTo>
                    <a:pt x="0" y="448"/>
                    <a:pt x="0" y="448"/>
                    <a:pt x="0" y="448"/>
                  </a:cubicBezTo>
                  <a:cubicBezTo>
                    <a:pt x="0" y="457"/>
                    <a:pt x="4" y="465"/>
                    <a:pt x="13" y="470"/>
                  </a:cubicBezTo>
                  <a:cubicBezTo>
                    <a:pt x="115" y="514"/>
                    <a:pt x="115" y="514"/>
                    <a:pt x="115" y="514"/>
                  </a:cubicBezTo>
                  <a:cubicBezTo>
                    <a:pt x="115" y="523"/>
                    <a:pt x="115" y="532"/>
                    <a:pt x="120" y="545"/>
                  </a:cubicBezTo>
                  <a:cubicBezTo>
                    <a:pt x="40" y="616"/>
                    <a:pt x="40" y="616"/>
                    <a:pt x="40" y="616"/>
                  </a:cubicBezTo>
                  <a:cubicBezTo>
                    <a:pt x="35" y="621"/>
                    <a:pt x="31" y="634"/>
                    <a:pt x="35" y="643"/>
                  </a:cubicBezTo>
                  <a:cubicBezTo>
                    <a:pt x="71" y="705"/>
                    <a:pt x="71" y="705"/>
                    <a:pt x="71" y="705"/>
                  </a:cubicBezTo>
                  <a:cubicBezTo>
                    <a:pt x="75" y="709"/>
                    <a:pt x="84" y="714"/>
                    <a:pt x="93" y="709"/>
                  </a:cubicBezTo>
                  <a:cubicBezTo>
                    <a:pt x="199" y="678"/>
                    <a:pt x="199" y="678"/>
                    <a:pt x="199" y="678"/>
                  </a:cubicBezTo>
                  <a:cubicBezTo>
                    <a:pt x="208" y="687"/>
                    <a:pt x="213" y="692"/>
                    <a:pt x="221" y="700"/>
                  </a:cubicBezTo>
                  <a:cubicBezTo>
                    <a:pt x="208" y="807"/>
                    <a:pt x="208" y="807"/>
                    <a:pt x="208" y="807"/>
                  </a:cubicBezTo>
                  <a:cubicBezTo>
                    <a:pt x="208" y="816"/>
                    <a:pt x="213" y="825"/>
                    <a:pt x="221" y="825"/>
                  </a:cubicBezTo>
                  <a:cubicBezTo>
                    <a:pt x="288" y="851"/>
                    <a:pt x="288" y="851"/>
                    <a:pt x="288" y="851"/>
                  </a:cubicBezTo>
                  <a:cubicBezTo>
                    <a:pt x="297" y="851"/>
                    <a:pt x="305" y="851"/>
                    <a:pt x="310" y="847"/>
                  </a:cubicBezTo>
                  <a:cubicBezTo>
                    <a:pt x="367" y="749"/>
                    <a:pt x="367" y="749"/>
                    <a:pt x="367" y="749"/>
                  </a:cubicBezTo>
                  <a:cubicBezTo>
                    <a:pt x="372" y="749"/>
                    <a:pt x="381" y="754"/>
                    <a:pt x="385" y="754"/>
                  </a:cubicBezTo>
                  <a:cubicBezTo>
                    <a:pt x="389" y="754"/>
                    <a:pt x="394" y="749"/>
                    <a:pt x="398" y="749"/>
                  </a:cubicBezTo>
                  <a:cubicBezTo>
                    <a:pt x="456" y="847"/>
                    <a:pt x="456" y="847"/>
                    <a:pt x="456" y="847"/>
                  </a:cubicBezTo>
                  <a:cubicBezTo>
                    <a:pt x="465" y="851"/>
                    <a:pt x="474" y="851"/>
                    <a:pt x="482" y="851"/>
                  </a:cubicBezTo>
                  <a:cubicBezTo>
                    <a:pt x="549" y="825"/>
                    <a:pt x="549" y="825"/>
                    <a:pt x="549" y="825"/>
                  </a:cubicBezTo>
                  <a:cubicBezTo>
                    <a:pt x="558" y="825"/>
                    <a:pt x="562" y="816"/>
                    <a:pt x="562" y="807"/>
                  </a:cubicBezTo>
                  <a:cubicBezTo>
                    <a:pt x="549" y="700"/>
                    <a:pt x="549" y="700"/>
                    <a:pt x="549" y="700"/>
                  </a:cubicBezTo>
                  <a:cubicBezTo>
                    <a:pt x="553" y="692"/>
                    <a:pt x="562" y="687"/>
                    <a:pt x="571" y="678"/>
                  </a:cubicBezTo>
                  <a:cubicBezTo>
                    <a:pt x="677" y="709"/>
                    <a:pt x="677" y="709"/>
                    <a:pt x="677" y="709"/>
                  </a:cubicBezTo>
                  <a:cubicBezTo>
                    <a:pt x="682" y="714"/>
                    <a:pt x="695" y="709"/>
                    <a:pt x="695" y="705"/>
                  </a:cubicBezTo>
                  <a:cubicBezTo>
                    <a:pt x="735" y="643"/>
                    <a:pt x="735" y="643"/>
                    <a:pt x="735" y="643"/>
                  </a:cubicBezTo>
                  <a:cubicBezTo>
                    <a:pt x="739" y="634"/>
                    <a:pt x="735" y="621"/>
                    <a:pt x="730" y="616"/>
                  </a:cubicBezTo>
                  <a:cubicBezTo>
                    <a:pt x="651" y="545"/>
                    <a:pt x="651" y="545"/>
                    <a:pt x="651" y="545"/>
                  </a:cubicBezTo>
                  <a:cubicBezTo>
                    <a:pt x="651" y="532"/>
                    <a:pt x="651" y="523"/>
                    <a:pt x="655" y="514"/>
                  </a:cubicBezTo>
                  <a:cubicBezTo>
                    <a:pt x="757" y="470"/>
                    <a:pt x="757" y="470"/>
                    <a:pt x="757" y="470"/>
                  </a:cubicBezTo>
                  <a:cubicBezTo>
                    <a:pt x="765" y="465"/>
                    <a:pt x="765" y="461"/>
                    <a:pt x="765" y="448"/>
                  </a:cubicBezTo>
                  <a:close/>
                  <a:moveTo>
                    <a:pt x="535" y="479"/>
                  </a:moveTo>
                  <a:cubicBezTo>
                    <a:pt x="535" y="523"/>
                    <a:pt x="518" y="559"/>
                    <a:pt x="491" y="590"/>
                  </a:cubicBezTo>
                  <a:cubicBezTo>
                    <a:pt x="465" y="616"/>
                    <a:pt x="425" y="634"/>
                    <a:pt x="385" y="634"/>
                  </a:cubicBezTo>
                  <a:cubicBezTo>
                    <a:pt x="341" y="634"/>
                    <a:pt x="305" y="616"/>
                    <a:pt x="279" y="590"/>
                  </a:cubicBezTo>
                  <a:cubicBezTo>
                    <a:pt x="252" y="559"/>
                    <a:pt x="235" y="523"/>
                    <a:pt x="235" y="479"/>
                  </a:cubicBezTo>
                  <a:cubicBezTo>
                    <a:pt x="235" y="439"/>
                    <a:pt x="252" y="399"/>
                    <a:pt x="279" y="372"/>
                  </a:cubicBezTo>
                  <a:cubicBezTo>
                    <a:pt x="305" y="346"/>
                    <a:pt x="341" y="328"/>
                    <a:pt x="385" y="328"/>
                  </a:cubicBezTo>
                  <a:cubicBezTo>
                    <a:pt x="425" y="328"/>
                    <a:pt x="465" y="346"/>
                    <a:pt x="491" y="372"/>
                  </a:cubicBezTo>
                  <a:cubicBezTo>
                    <a:pt x="518" y="399"/>
                    <a:pt x="535" y="439"/>
                    <a:pt x="535" y="479"/>
                  </a:cubicBezTo>
                  <a:close/>
                  <a:moveTo>
                    <a:pt x="314" y="479"/>
                  </a:moveTo>
                  <a:cubicBezTo>
                    <a:pt x="314" y="443"/>
                    <a:pt x="345" y="412"/>
                    <a:pt x="385" y="412"/>
                  </a:cubicBezTo>
                  <a:cubicBezTo>
                    <a:pt x="425" y="412"/>
                    <a:pt x="456" y="443"/>
                    <a:pt x="456" y="479"/>
                  </a:cubicBezTo>
                  <a:cubicBezTo>
                    <a:pt x="456" y="519"/>
                    <a:pt x="425" y="550"/>
                    <a:pt x="385" y="550"/>
                  </a:cubicBezTo>
                  <a:cubicBezTo>
                    <a:pt x="345" y="550"/>
                    <a:pt x="314" y="519"/>
                    <a:pt x="314" y="479"/>
                  </a:cubicBezTo>
                  <a:close/>
                  <a:moveTo>
                    <a:pt x="1000" y="235"/>
                  </a:moveTo>
                  <a:cubicBezTo>
                    <a:pt x="1000" y="230"/>
                    <a:pt x="1005" y="217"/>
                    <a:pt x="1005" y="208"/>
                  </a:cubicBezTo>
                  <a:cubicBezTo>
                    <a:pt x="1005" y="199"/>
                    <a:pt x="1000" y="191"/>
                    <a:pt x="1000" y="182"/>
                  </a:cubicBezTo>
                  <a:cubicBezTo>
                    <a:pt x="1040" y="142"/>
                    <a:pt x="1040" y="142"/>
                    <a:pt x="1040" y="142"/>
                  </a:cubicBezTo>
                  <a:cubicBezTo>
                    <a:pt x="1049" y="142"/>
                    <a:pt x="1049" y="133"/>
                    <a:pt x="1049" y="128"/>
                  </a:cubicBezTo>
                  <a:cubicBezTo>
                    <a:pt x="1049" y="128"/>
                    <a:pt x="1049" y="124"/>
                    <a:pt x="1049" y="119"/>
                  </a:cubicBezTo>
                  <a:cubicBezTo>
                    <a:pt x="1027" y="89"/>
                    <a:pt x="1027" y="89"/>
                    <a:pt x="1027" y="89"/>
                  </a:cubicBezTo>
                  <a:cubicBezTo>
                    <a:pt x="1022" y="84"/>
                    <a:pt x="1018" y="80"/>
                    <a:pt x="1009" y="80"/>
                  </a:cubicBezTo>
                  <a:cubicBezTo>
                    <a:pt x="1009" y="80"/>
                    <a:pt x="1009" y="80"/>
                    <a:pt x="1005" y="80"/>
                  </a:cubicBezTo>
                  <a:cubicBezTo>
                    <a:pt x="951" y="97"/>
                    <a:pt x="951" y="97"/>
                    <a:pt x="951" y="97"/>
                  </a:cubicBezTo>
                  <a:cubicBezTo>
                    <a:pt x="938" y="84"/>
                    <a:pt x="921" y="75"/>
                    <a:pt x="903" y="71"/>
                  </a:cubicBezTo>
                  <a:cubicBezTo>
                    <a:pt x="889" y="13"/>
                    <a:pt x="889" y="13"/>
                    <a:pt x="889" y="13"/>
                  </a:cubicBezTo>
                  <a:cubicBezTo>
                    <a:pt x="889" y="9"/>
                    <a:pt x="881" y="0"/>
                    <a:pt x="872" y="0"/>
                  </a:cubicBezTo>
                  <a:cubicBezTo>
                    <a:pt x="837" y="0"/>
                    <a:pt x="837" y="0"/>
                    <a:pt x="837" y="0"/>
                  </a:cubicBezTo>
                  <a:cubicBezTo>
                    <a:pt x="828" y="0"/>
                    <a:pt x="819" y="9"/>
                    <a:pt x="819" y="13"/>
                  </a:cubicBezTo>
                  <a:cubicBezTo>
                    <a:pt x="806" y="71"/>
                    <a:pt x="806" y="71"/>
                    <a:pt x="806" y="71"/>
                  </a:cubicBezTo>
                  <a:cubicBezTo>
                    <a:pt x="788" y="75"/>
                    <a:pt x="770" y="84"/>
                    <a:pt x="757" y="97"/>
                  </a:cubicBezTo>
                  <a:cubicBezTo>
                    <a:pt x="704" y="80"/>
                    <a:pt x="704" y="80"/>
                    <a:pt x="704" y="80"/>
                  </a:cubicBezTo>
                  <a:cubicBezTo>
                    <a:pt x="699" y="80"/>
                    <a:pt x="699" y="80"/>
                    <a:pt x="699" y="80"/>
                  </a:cubicBezTo>
                  <a:cubicBezTo>
                    <a:pt x="690" y="80"/>
                    <a:pt x="686" y="84"/>
                    <a:pt x="682" y="89"/>
                  </a:cubicBezTo>
                  <a:cubicBezTo>
                    <a:pt x="664" y="119"/>
                    <a:pt x="664" y="119"/>
                    <a:pt x="664" y="119"/>
                  </a:cubicBezTo>
                  <a:cubicBezTo>
                    <a:pt x="659" y="124"/>
                    <a:pt x="659" y="128"/>
                    <a:pt x="659" y="128"/>
                  </a:cubicBezTo>
                  <a:cubicBezTo>
                    <a:pt x="659" y="133"/>
                    <a:pt x="664" y="142"/>
                    <a:pt x="664" y="142"/>
                  </a:cubicBezTo>
                  <a:cubicBezTo>
                    <a:pt x="712" y="182"/>
                    <a:pt x="712" y="182"/>
                    <a:pt x="712" y="182"/>
                  </a:cubicBezTo>
                  <a:cubicBezTo>
                    <a:pt x="708" y="191"/>
                    <a:pt x="704" y="199"/>
                    <a:pt x="704" y="208"/>
                  </a:cubicBezTo>
                  <a:cubicBezTo>
                    <a:pt x="704" y="217"/>
                    <a:pt x="708" y="226"/>
                    <a:pt x="712" y="235"/>
                  </a:cubicBezTo>
                  <a:cubicBezTo>
                    <a:pt x="664" y="275"/>
                    <a:pt x="664" y="275"/>
                    <a:pt x="664" y="275"/>
                  </a:cubicBezTo>
                  <a:cubicBezTo>
                    <a:pt x="664" y="279"/>
                    <a:pt x="659" y="284"/>
                    <a:pt x="659" y="288"/>
                  </a:cubicBezTo>
                  <a:cubicBezTo>
                    <a:pt x="659" y="292"/>
                    <a:pt x="659" y="292"/>
                    <a:pt x="664" y="297"/>
                  </a:cubicBezTo>
                  <a:cubicBezTo>
                    <a:pt x="682" y="328"/>
                    <a:pt x="682" y="328"/>
                    <a:pt x="682" y="328"/>
                  </a:cubicBezTo>
                  <a:cubicBezTo>
                    <a:pt x="686" y="337"/>
                    <a:pt x="690" y="337"/>
                    <a:pt x="699" y="337"/>
                  </a:cubicBezTo>
                  <a:cubicBezTo>
                    <a:pt x="699" y="337"/>
                    <a:pt x="699" y="337"/>
                    <a:pt x="704" y="337"/>
                  </a:cubicBezTo>
                  <a:cubicBezTo>
                    <a:pt x="757" y="319"/>
                    <a:pt x="757" y="319"/>
                    <a:pt x="757" y="319"/>
                  </a:cubicBezTo>
                  <a:cubicBezTo>
                    <a:pt x="770" y="333"/>
                    <a:pt x="788" y="341"/>
                    <a:pt x="806" y="346"/>
                  </a:cubicBezTo>
                  <a:cubicBezTo>
                    <a:pt x="819" y="403"/>
                    <a:pt x="819" y="403"/>
                    <a:pt x="819" y="403"/>
                  </a:cubicBezTo>
                  <a:cubicBezTo>
                    <a:pt x="819" y="412"/>
                    <a:pt x="828" y="417"/>
                    <a:pt x="837" y="417"/>
                  </a:cubicBezTo>
                  <a:cubicBezTo>
                    <a:pt x="872" y="417"/>
                    <a:pt x="872" y="417"/>
                    <a:pt x="872" y="417"/>
                  </a:cubicBezTo>
                  <a:cubicBezTo>
                    <a:pt x="881" y="417"/>
                    <a:pt x="889" y="412"/>
                    <a:pt x="889" y="403"/>
                  </a:cubicBezTo>
                  <a:cubicBezTo>
                    <a:pt x="903" y="350"/>
                    <a:pt x="903" y="350"/>
                    <a:pt x="903" y="350"/>
                  </a:cubicBezTo>
                  <a:cubicBezTo>
                    <a:pt x="921" y="341"/>
                    <a:pt x="938" y="333"/>
                    <a:pt x="951" y="319"/>
                  </a:cubicBezTo>
                  <a:cubicBezTo>
                    <a:pt x="1005" y="337"/>
                    <a:pt x="1005" y="337"/>
                    <a:pt x="1005" y="337"/>
                  </a:cubicBezTo>
                  <a:cubicBezTo>
                    <a:pt x="1009" y="337"/>
                    <a:pt x="1009" y="337"/>
                    <a:pt x="1009" y="337"/>
                  </a:cubicBezTo>
                  <a:cubicBezTo>
                    <a:pt x="1018" y="337"/>
                    <a:pt x="1022" y="337"/>
                    <a:pt x="1027" y="328"/>
                  </a:cubicBezTo>
                  <a:cubicBezTo>
                    <a:pt x="1049" y="297"/>
                    <a:pt x="1049" y="297"/>
                    <a:pt x="1049" y="297"/>
                  </a:cubicBezTo>
                  <a:cubicBezTo>
                    <a:pt x="1049" y="292"/>
                    <a:pt x="1049" y="292"/>
                    <a:pt x="1049" y="288"/>
                  </a:cubicBezTo>
                  <a:cubicBezTo>
                    <a:pt x="1049" y="284"/>
                    <a:pt x="1049" y="279"/>
                    <a:pt x="1040" y="275"/>
                  </a:cubicBezTo>
                  <a:cubicBezTo>
                    <a:pt x="1000" y="235"/>
                    <a:pt x="1000" y="235"/>
                    <a:pt x="1000" y="235"/>
                  </a:cubicBezTo>
                  <a:cubicBezTo>
                    <a:pt x="1000" y="235"/>
                    <a:pt x="1000" y="235"/>
                    <a:pt x="1000" y="235"/>
                  </a:cubicBezTo>
                  <a:close/>
                  <a:moveTo>
                    <a:pt x="912" y="208"/>
                  </a:moveTo>
                  <a:cubicBezTo>
                    <a:pt x="912" y="239"/>
                    <a:pt x="885" y="266"/>
                    <a:pt x="854" y="266"/>
                  </a:cubicBezTo>
                  <a:cubicBezTo>
                    <a:pt x="823" y="266"/>
                    <a:pt x="797" y="239"/>
                    <a:pt x="797" y="208"/>
                  </a:cubicBezTo>
                  <a:cubicBezTo>
                    <a:pt x="797" y="177"/>
                    <a:pt x="823" y="151"/>
                    <a:pt x="854" y="151"/>
                  </a:cubicBezTo>
                  <a:cubicBezTo>
                    <a:pt x="885" y="151"/>
                    <a:pt x="912" y="177"/>
                    <a:pt x="912" y="20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31" name="Freeform 384"/>
            <p:cNvSpPr>
              <a:spLocks/>
            </p:cNvSpPr>
            <p:nvPr/>
          </p:nvSpPr>
          <p:spPr bwMode="auto">
            <a:xfrm>
              <a:off x="7289138" y="5244178"/>
              <a:ext cx="80017" cy="186591"/>
            </a:xfrm>
            <a:custGeom>
              <a:avLst/>
              <a:gdLst>
                <a:gd name="T0" fmla="*/ 27 w 27"/>
                <a:gd name="T1" fmla="*/ 63 h 63"/>
                <a:gd name="T2" fmla="*/ 27 w 27"/>
                <a:gd name="T3" fmla="*/ 0 h 63"/>
                <a:gd name="T4" fmla="*/ 19 w 27"/>
                <a:gd name="T5" fmla="*/ 0 h 63"/>
                <a:gd name="T6" fmla="*/ 11 w 27"/>
                <a:gd name="T7" fmla="*/ 6 h 63"/>
                <a:gd name="T8" fmla="*/ 0 w 27"/>
                <a:gd name="T9" fmla="*/ 10 h 63"/>
                <a:gd name="T10" fmla="*/ 0 w 27"/>
                <a:gd name="T11" fmla="*/ 21 h 63"/>
                <a:gd name="T12" fmla="*/ 4 w 27"/>
                <a:gd name="T13" fmla="*/ 21 h 63"/>
                <a:gd name="T14" fmla="*/ 8 w 27"/>
                <a:gd name="T15" fmla="*/ 19 h 63"/>
                <a:gd name="T16" fmla="*/ 11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9" y="0"/>
                    <a:pt x="19" y="0"/>
                    <a:pt x="19" y="0"/>
                  </a:cubicBezTo>
                  <a:cubicBezTo>
                    <a:pt x="16" y="2"/>
                    <a:pt x="13" y="4"/>
                    <a:pt x="11" y="6"/>
                  </a:cubicBezTo>
                  <a:cubicBezTo>
                    <a:pt x="7" y="7"/>
                    <a:pt x="4" y="9"/>
                    <a:pt x="0" y="10"/>
                  </a:cubicBezTo>
                  <a:cubicBezTo>
                    <a:pt x="0" y="10"/>
                    <a:pt x="0" y="10"/>
                    <a:pt x="0" y="21"/>
                  </a:cubicBezTo>
                  <a:cubicBezTo>
                    <a:pt x="1" y="21"/>
                    <a:pt x="2" y="21"/>
                    <a:pt x="4" y="21"/>
                  </a:cubicBezTo>
                  <a:cubicBezTo>
                    <a:pt x="5" y="20"/>
                    <a:pt x="6" y="20"/>
                    <a:pt x="8" y="19"/>
                  </a:cubicBezTo>
                  <a:cubicBezTo>
                    <a:pt x="9" y="19"/>
                    <a:pt x="10" y="18"/>
                    <a:pt x="11"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32" name="Freeform 385"/>
            <p:cNvSpPr>
              <a:spLocks noEditPoints="1"/>
            </p:cNvSpPr>
            <p:nvPr/>
          </p:nvSpPr>
          <p:spPr bwMode="auto">
            <a:xfrm>
              <a:off x="7414163" y="5244178"/>
              <a:ext cx="130027" cy="192852"/>
            </a:xfrm>
            <a:custGeom>
              <a:avLst/>
              <a:gdLst>
                <a:gd name="T0" fmla="*/ 23 w 44"/>
                <a:gd name="T1" fmla="*/ 0 h 65"/>
                <a:gd name="T2" fmla="*/ 5 w 44"/>
                <a:gd name="T3" fmla="*/ 9 h 65"/>
                <a:gd name="T4" fmla="*/ 0 w 44"/>
                <a:gd name="T5" fmla="*/ 33 h 65"/>
                <a:gd name="T6" fmla="*/ 22 w 44"/>
                <a:gd name="T7" fmla="*/ 65 h 65"/>
                <a:gd name="T8" fmla="*/ 38 w 44"/>
                <a:gd name="T9" fmla="*/ 56 h 65"/>
                <a:gd name="T10" fmla="*/ 44 w 44"/>
                <a:gd name="T11" fmla="*/ 32 h 65"/>
                <a:gd name="T12" fmla="*/ 23 w 44"/>
                <a:gd name="T13" fmla="*/ 0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5" y="0"/>
                    <a:pt x="9" y="3"/>
                    <a:pt x="5" y="9"/>
                  </a:cubicBezTo>
                  <a:cubicBezTo>
                    <a:pt x="1" y="15"/>
                    <a:pt x="0" y="22"/>
                    <a:pt x="0" y="33"/>
                  </a:cubicBezTo>
                  <a:cubicBezTo>
                    <a:pt x="0" y="55"/>
                    <a:pt x="7" y="65"/>
                    <a:pt x="22" y="65"/>
                  </a:cubicBezTo>
                  <a:cubicBezTo>
                    <a:pt x="29" y="65"/>
                    <a:pt x="35" y="62"/>
                    <a:pt x="38" y="56"/>
                  </a:cubicBezTo>
                  <a:cubicBezTo>
                    <a:pt x="42" y="51"/>
                    <a:pt x="44" y="43"/>
                    <a:pt x="44" y="32"/>
                  </a:cubicBezTo>
                  <a:cubicBezTo>
                    <a:pt x="44" y="11"/>
                    <a:pt x="37" y="0"/>
                    <a:pt x="23" y="0"/>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1033" name="Group 1032"/>
            <p:cNvGrpSpPr/>
            <p:nvPr/>
          </p:nvGrpSpPr>
          <p:grpSpPr>
            <a:xfrm>
              <a:off x="5620818" y="5061791"/>
              <a:ext cx="264848" cy="297146"/>
              <a:chOff x="6495975" y="3510751"/>
              <a:chExt cx="306572" cy="343958"/>
            </a:xfrm>
            <a:solidFill>
              <a:schemeClr val="tx1"/>
            </a:solidFill>
          </p:grpSpPr>
          <p:sp>
            <p:nvSpPr>
              <p:cNvPr id="1066" name="Freeform 14"/>
              <p:cNvSpPr>
                <a:spLocks/>
              </p:cNvSpPr>
              <p:nvPr/>
            </p:nvSpPr>
            <p:spPr bwMode="auto">
              <a:xfrm>
                <a:off x="6495975" y="3613817"/>
                <a:ext cx="140072" cy="240892"/>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67" name="Freeform 15"/>
              <p:cNvSpPr>
                <a:spLocks/>
              </p:cNvSpPr>
              <p:nvPr/>
            </p:nvSpPr>
            <p:spPr bwMode="auto">
              <a:xfrm>
                <a:off x="6662859" y="3613817"/>
                <a:ext cx="139688" cy="240892"/>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68" name="Freeform 16"/>
              <p:cNvSpPr>
                <a:spLocks/>
              </p:cNvSpPr>
              <p:nvPr/>
            </p:nvSpPr>
            <p:spPr bwMode="auto">
              <a:xfrm>
                <a:off x="6509953" y="3510751"/>
                <a:ext cx="278992" cy="159504"/>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1034" name="Freeform 365"/>
            <p:cNvSpPr>
              <a:spLocks noEditPoints="1"/>
            </p:cNvSpPr>
            <p:nvPr/>
          </p:nvSpPr>
          <p:spPr bwMode="auto">
            <a:xfrm>
              <a:off x="7063463"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35" name="Freeform 365"/>
            <p:cNvSpPr>
              <a:spLocks noEditPoints="1"/>
            </p:cNvSpPr>
            <p:nvPr/>
          </p:nvSpPr>
          <p:spPr bwMode="auto">
            <a:xfrm>
              <a:off x="6886056"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36" name="Freeform 365"/>
            <p:cNvSpPr>
              <a:spLocks noEditPoints="1"/>
            </p:cNvSpPr>
            <p:nvPr/>
          </p:nvSpPr>
          <p:spPr bwMode="auto">
            <a:xfrm>
              <a:off x="6709952"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37" name="Freeform 365"/>
            <p:cNvSpPr>
              <a:spLocks noEditPoints="1"/>
            </p:cNvSpPr>
            <p:nvPr/>
          </p:nvSpPr>
          <p:spPr bwMode="auto">
            <a:xfrm>
              <a:off x="4879870" y="5021271"/>
              <a:ext cx="130027" cy="190348"/>
            </a:xfrm>
            <a:custGeom>
              <a:avLst/>
              <a:gdLst>
                <a:gd name="T0" fmla="*/ 39 w 44"/>
                <a:gd name="T1" fmla="*/ 56 h 64"/>
                <a:gd name="T2" fmla="*/ 44 w 44"/>
                <a:gd name="T3" fmla="*/ 32 h 64"/>
                <a:gd name="T4" fmla="*/ 23 w 44"/>
                <a:gd name="T5" fmla="*/ 0 h 64"/>
                <a:gd name="T6" fmla="*/ 5 w 44"/>
                <a:gd name="T7" fmla="*/ 8 h 64"/>
                <a:gd name="T8" fmla="*/ 0 w 44"/>
                <a:gd name="T9" fmla="*/ 33 h 64"/>
                <a:gd name="T10" fmla="*/ 22 w 44"/>
                <a:gd name="T11" fmla="*/ 64 h 64"/>
                <a:gd name="T12" fmla="*/ 39 w 44"/>
                <a:gd name="T13" fmla="*/ 56 h 64"/>
                <a:gd name="T14" fmla="*/ 22 w 44"/>
                <a:gd name="T15" fmla="*/ 53 h 64"/>
                <a:gd name="T16" fmla="*/ 14 w 44"/>
                <a:gd name="T17" fmla="*/ 33 h 64"/>
                <a:gd name="T18" fmla="*/ 22 w 44"/>
                <a:gd name="T19" fmla="*/ 11 h 64"/>
                <a:gd name="T20" fmla="*/ 30 w 44"/>
                <a:gd name="T21" fmla="*/ 32 h 64"/>
                <a:gd name="T22" fmla="*/ 22 w 44"/>
                <a:gd name="T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4">
                  <a:moveTo>
                    <a:pt x="39" y="56"/>
                  </a:moveTo>
                  <a:cubicBezTo>
                    <a:pt x="42" y="50"/>
                    <a:pt x="44" y="42"/>
                    <a:pt x="44" y="32"/>
                  </a:cubicBezTo>
                  <a:cubicBezTo>
                    <a:pt x="44" y="11"/>
                    <a:pt x="38" y="0"/>
                    <a:pt x="23" y="0"/>
                  </a:cubicBezTo>
                  <a:cubicBezTo>
                    <a:pt x="16" y="0"/>
                    <a:pt x="9" y="3"/>
                    <a:pt x="5" y="8"/>
                  </a:cubicBezTo>
                  <a:cubicBezTo>
                    <a:pt x="2" y="15"/>
                    <a:pt x="0" y="22"/>
                    <a:pt x="0" y="33"/>
                  </a:cubicBezTo>
                  <a:cubicBezTo>
                    <a:pt x="0" y="54"/>
                    <a:pt x="7" y="64"/>
                    <a:pt x="22" y="64"/>
                  </a:cubicBezTo>
                  <a:cubicBezTo>
                    <a:pt x="29" y="64"/>
                    <a:pt x="35" y="62"/>
                    <a:pt x="39" y="56"/>
                  </a:cubicBezTo>
                  <a:close/>
                  <a:moveTo>
                    <a:pt x="22" y="53"/>
                  </a:moveTo>
                  <a:cubicBezTo>
                    <a:pt x="17" y="53"/>
                    <a:pt x="14" y="47"/>
                    <a:pt x="14" y="33"/>
                  </a:cubicBezTo>
                  <a:cubicBezTo>
                    <a:pt x="14" y="18"/>
                    <a:pt x="17" y="11"/>
                    <a:pt x="22" y="11"/>
                  </a:cubicBezTo>
                  <a:cubicBezTo>
                    <a:pt x="28" y="11"/>
                    <a:pt x="30" y="17"/>
                    <a:pt x="30" y="32"/>
                  </a:cubicBezTo>
                  <a:cubicBezTo>
                    <a:pt x="30" y="47"/>
                    <a:pt x="28" y="53"/>
                    <a:pt x="22" y="5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38" name="Freeform 340"/>
            <p:cNvSpPr>
              <a:spLocks/>
            </p:cNvSpPr>
            <p:nvPr/>
          </p:nvSpPr>
          <p:spPr bwMode="auto">
            <a:xfrm>
              <a:off x="4739085" y="5022521"/>
              <a:ext cx="80017" cy="187843"/>
            </a:xfrm>
            <a:custGeom>
              <a:avLst/>
              <a:gdLst>
                <a:gd name="T0" fmla="*/ 27 w 27"/>
                <a:gd name="T1" fmla="*/ 63 h 63"/>
                <a:gd name="T2" fmla="*/ 27 w 27"/>
                <a:gd name="T3" fmla="*/ 0 h 63"/>
                <a:gd name="T4" fmla="*/ 18 w 27"/>
                <a:gd name="T5" fmla="*/ 0 h 63"/>
                <a:gd name="T6" fmla="*/ 10 w 27"/>
                <a:gd name="T7" fmla="*/ 6 h 63"/>
                <a:gd name="T8" fmla="*/ 0 w 27"/>
                <a:gd name="T9" fmla="*/ 9 h 63"/>
                <a:gd name="T10" fmla="*/ 0 w 27"/>
                <a:gd name="T11" fmla="*/ 20 h 63"/>
                <a:gd name="T12" fmla="*/ 4 w 27"/>
                <a:gd name="T13" fmla="*/ 20 h 63"/>
                <a:gd name="T14" fmla="*/ 7 w 27"/>
                <a:gd name="T15" fmla="*/ 19 h 63"/>
                <a:gd name="T16" fmla="*/ 10 w 27"/>
                <a:gd name="T17" fmla="*/ 17 h 63"/>
                <a:gd name="T18" fmla="*/ 13 w 27"/>
                <a:gd name="T19" fmla="*/ 15 h 63"/>
                <a:gd name="T20" fmla="*/ 13 w 27"/>
                <a:gd name="T21" fmla="*/ 63 h 63"/>
                <a:gd name="T22" fmla="*/ 27 w 27"/>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63"/>
                  </a:moveTo>
                  <a:cubicBezTo>
                    <a:pt x="27" y="63"/>
                    <a:pt x="27" y="63"/>
                    <a:pt x="27" y="0"/>
                  </a:cubicBezTo>
                  <a:cubicBezTo>
                    <a:pt x="18" y="0"/>
                    <a:pt x="18" y="0"/>
                    <a:pt x="18" y="0"/>
                  </a:cubicBezTo>
                  <a:cubicBezTo>
                    <a:pt x="16" y="2"/>
                    <a:pt x="13" y="4"/>
                    <a:pt x="10" y="6"/>
                  </a:cubicBezTo>
                  <a:cubicBezTo>
                    <a:pt x="7" y="7"/>
                    <a:pt x="4" y="8"/>
                    <a:pt x="0" y="9"/>
                  </a:cubicBezTo>
                  <a:cubicBezTo>
                    <a:pt x="0" y="9"/>
                    <a:pt x="0" y="9"/>
                    <a:pt x="0" y="20"/>
                  </a:cubicBezTo>
                  <a:cubicBezTo>
                    <a:pt x="1" y="20"/>
                    <a:pt x="2" y="20"/>
                    <a:pt x="4" y="20"/>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39" name="Oval 1038"/>
            <p:cNvSpPr/>
            <p:nvPr/>
          </p:nvSpPr>
          <p:spPr bwMode="auto">
            <a:xfrm>
              <a:off x="4966870" y="1400245"/>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40" name="Oval 1039"/>
            <p:cNvSpPr/>
            <p:nvPr/>
          </p:nvSpPr>
          <p:spPr bwMode="auto">
            <a:xfrm>
              <a:off x="4498930" y="5142624"/>
              <a:ext cx="908618"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41" name="Oval 1040"/>
            <p:cNvSpPr/>
            <p:nvPr/>
          </p:nvSpPr>
          <p:spPr bwMode="auto">
            <a:xfrm>
              <a:off x="8008525" y="3636424"/>
              <a:ext cx="914400" cy="914400"/>
            </a:xfrm>
            <a:prstGeom prst="ellipse">
              <a:avLst/>
            </a:prstGeom>
            <a:solidFill>
              <a:srgbClr val="0072C6"/>
            </a:solidFill>
            <a:ln w="1016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42" name="Freeform 73"/>
            <p:cNvSpPr>
              <a:spLocks noEditPoints="1"/>
            </p:cNvSpPr>
            <p:nvPr/>
          </p:nvSpPr>
          <p:spPr bwMode="auto">
            <a:xfrm>
              <a:off x="7070024" y="2352676"/>
              <a:ext cx="378526" cy="378514"/>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1"/>
            </a:solidFill>
            <a:ln w="9525" cap="flat" cmpd="sng" algn="ctr">
              <a:noFill/>
              <a:prstDash val="solid"/>
              <a:headEnd type="none" w="med" len="med"/>
              <a:tailEnd type="none" w="med" len="med"/>
            </a:ln>
            <a:effectLst/>
            <a:extLst/>
          </p:spPr>
          <p:txBody>
            <a:bodyPr rot="0" spcFirstLastPara="0" vertOverflow="overflow" horzOverflow="overflow" vert="horz" wrap="square" lIns="91203" tIns="72963" rIns="91203" bIns="72963" numCol="1" spcCol="0" rtlCol="0" fromWordArt="0" anchor="t" anchorCtr="0" forceAA="0" compatLnSpc="1">
              <a:prstTxWarp prst="textNoShape">
                <a:avLst/>
              </a:prstTxWarp>
              <a:noAutofit/>
            </a:bodyPr>
            <a:lstStyle/>
            <a:p>
              <a:pPr algn="ctr" defTabSz="464955" fontAlgn="base">
                <a:lnSpc>
                  <a:spcPct val="90000"/>
                </a:lnSpc>
                <a:spcBef>
                  <a:spcPct val="0"/>
                </a:spcBef>
                <a:spcAft>
                  <a:spcPct val="0"/>
                </a:spcAft>
                <a:defRPr/>
              </a:pPr>
              <a:endParaRPr lang="en-US" sz="1197" kern="0">
                <a:gradFill>
                  <a:gsLst>
                    <a:gs pos="0">
                      <a:srgbClr val="FFFFFF"/>
                    </a:gs>
                    <a:gs pos="100000">
                      <a:srgbClr val="FFFFFF"/>
                    </a:gs>
                  </a:gsLst>
                  <a:lin ang="5400000" scaled="0"/>
                </a:gradFill>
                <a:ea typeface="Segoe UI" pitchFamily="34" charset="0"/>
                <a:cs typeface="Segoe UI" pitchFamily="34" charset="0"/>
              </a:endParaRPr>
            </a:p>
          </p:txBody>
        </p:sp>
        <p:sp>
          <p:nvSpPr>
            <p:cNvPr id="1043" name="Freeform 5"/>
            <p:cNvSpPr>
              <a:spLocks noEditPoints="1"/>
            </p:cNvSpPr>
            <p:nvPr/>
          </p:nvSpPr>
          <p:spPr bwMode="auto">
            <a:xfrm>
              <a:off x="5196805" y="1672735"/>
              <a:ext cx="457635" cy="330426"/>
            </a:xfrm>
            <a:custGeom>
              <a:avLst/>
              <a:gdLst>
                <a:gd name="T0" fmla="*/ 1154 w 2168"/>
                <a:gd name="T1" fmla="*/ 520 h 1567"/>
                <a:gd name="T2" fmla="*/ 773 w 2168"/>
                <a:gd name="T3" fmla="*/ 922 h 1567"/>
                <a:gd name="T4" fmla="*/ 391 w 2168"/>
                <a:gd name="T5" fmla="*/ 520 h 1567"/>
                <a:gd name="T6" fmla="*/ 773 w 2168"/>
                <a:gd name="T7" fmla="*/ 119 h 1567"/>
                <a:gd name="T8" fmla="*/ 1154 w 2168"/>
                <a:gd name="T9" fmla="*/ 520 h 1567"/>
                <a:gd name="T10" fmla="*/ 32 w 2168"/>
                <a:gd name="T11" fmla="*/ 1567 h 1567"/>
                <a:gd name="T12" fmla="*/ 1344 w 2168"/>
                <a:gd name="T13" fmla="*/ 1567 h 1567"/>
                <a:gd name="T14" fmla="*/ 1060 w 2168"/>
                <a:gd name="T15" fmla="*/ 984 h 1567"/>
                <a:gd name="T16" fmla="*/ 773 w 2168"/>
                <a:gd name="T17" fmla="*/ 1136 h 1567"/>
                <a:gd name="T18" fmla="*/ 430 w 2168"/>
                <a:gd name="T19" fmla="*/ 974 h 1567"/>
                <a:gd name="T20" fmla="*/ 102 w 2168"/>
                <a:gd name="T21" fmla="*/ 1133 h 1567"/>
                <a:gd name="T22" fmla="*/ 32 w 2168"/>
                <a:gd name="T23" fmla="*/ 1567 h 1567"/>
                <a:gd name="T24" fmla="*/ 1589 w 2168"/>
                <a:gd name="T25" fmla="*/ 0 h 1567"/>
                <a:gd name="T26" fmla="*/ 1252 w 2168"/>
                <a:gd name="T27" fmla="*/ 371 h 1567"/>
                <a:gd name="T28" fmla="*/ 1589 w 2168"/>
                <a:gd name="T29" fmla="*/ 741 h 1567"/>
                <a:gd name="T30" fmla="*/ 1928 w 2168"/>
                <a:gd name="T31" fmla="*/ 371 h 1567"/>
                <a:gd name="T32" fmla="*/ 1589 w 2168"/>
                <a:gd name="T33" fmla="*/ 0 h 1567"/>
                <a:gd name="T34" fmla="*/ 1435 w 2168"/>
                <a:gd name="T35" fmla="*/ 1356 h 1567"/>
                <a:gd name="T36" fmla="*/ 2168 w 2168"/>
                <a:gd name="T37" fmla="*/ 1356 h 1567"/>
                <a:gd name="T38" fmla="*/ 2067 w 2168"/>
                <a:gd name="T39" fmla="*/ 906 h 1567"/>
                <a:gd name="T40" fmla="*/ 1878 w 2168"/>
                <a:gd name="T41" fmla="*/ 795 h 1567"/>
                <a:gd name="T42" fmla="*/ 1649 w 2168"/>
                <a:gd name="T43" fmla="*/ 922 h 1567"/>
                <a:gd name="T44" fmla="*/ 1504 w 2168"/>
                <a:gd name="T45" fmla="*/ 951 h 1567"/>
                <a:gd name="T46" fmla="*/ 1327 w 2168"/>
                <a:gd name="T47" fmla="*/ 830 h 1567"/>
                <a:gd name="T48" fmla="*/ 1154 w 2168"/>
                <a:gd name="T49" fmla="*/ 900 h 1567"/>
                <a:gd name="T50" fmla="*/ 1435 w 2168"/>
                <a:gd name="T51" fmla="*/ 1356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8" h="1567">
                  <a:moveTo>
                    <a:pt x="1154" y="520"/>
                  </a:moveTo>
                  <a:cubicBezTo>
                    <a:pt x="1154" y="741"/>
                    <a:pt x="984" y="922"/>
                    <a:pt x="773" y="922"/>
                  </a:cubicBezTo>
                  <a:cubicBezTo>
                    <a:pt x="562" y="922"/>
                    <a:pt x="391" y="741"/>
                    <a:pt x="391" y="520"/>
                  </a:cubicBezTo>
                  <a:cubicBezTo>
                    <a:pt x="391" y="299"/>
                    <a:pt x="562" y="119"/>
                    <a:pt x="773" y="119"/>
                  </a:cubicBezTo>
                  <a:cubicBezTo>
                    <a:pt x="984" y="119"/>
                    <a:pt x="1154" y="299"/>
                    <a:pt x="1154" y="520"/>
                  </a:cubicBezTo>
                  <a:close/>
                  <a:moveTo>
                    <a:pt x="32" y="1567"/>
                  </a:moveTo>
                  <a:cubicBezTo>
                    <a:pt x="1344" y="1567"/>
                    <a:pt x="1344" y="1567"/>
                    <a:pt x="1344" y="1567"/>
                  </a:cubicBezTo>
                  <a:cubicBezTo>
                    <a:pt x="1344" y="1567"/>
                    <a:pt x="1380" y="1016"/>
                    <a:pt x="1060" y="984"/>
                  </a:cubicBezTo>
                  <a:cubicBezTo>
                    <a:pt x="936" y="973"/>
                    <a:pt x="949" y="1168"/>
                    <a:pt x="773" y="1136"/>
                  </a:cubicBezTo>
                  <a:cubicBezTo>
                    <a:pt x="650" y="1114"/>
                    <a:pt x="614" y="986"/>
                    <a:pt x="430" y="974"/>
                  </a:cubicBezTo>
                  <a:cubicBezTo>
                    <a:pt x="313" y="965"/>
                    <a:pt x="172" y="1025"/>
                    <a:pt x="102" y="1133"/>
                  </a:cubicBezTo>
                  <a:cubicBezTo>
                    <a:pt x="0" y="1288"/>
                    <a:pt x="32" y="1567"/>
                    <a:pt x="32" y="1567"/>
                  </a:cubicBezTo>
                  <a:close/>
                  <a:moveTo>
                    <a:pt x="1589" y="0"/>
                  </a:moveTo>
                  <a:cubicBezTo>
                    <a:pt x="1403" y="0"/>
                    <a:pt x="1252" y="166"/>
                    <a:pt x="1252" y="371"/>
                  </a:cubicBezTo>
                  <a:cubicBezTo>
                    <a:pt x="1252" y="575"/>
                    <a:pt x="1403" y="741"/>
                    <a:pt x="1589" y="741"/>
                  </a:cubicBezTo>
                  <a:cubicBezTo>
                    <a:pt x="1777" y="741"/>
                    <a:pt x="1928" y="575"/>
                    <a:pt x="1928" y="371"/>
                  </a:cubicBezTo>
                  <a:cubicBezTo>
                    <a:pt x="1928" y="166"/>
                    <a:pt x="1777" y="0"/>
                    <a:pt x="1589" y="0"/>
                  </a:cubicBezTo>
                  <a:close/>
                  <a:moveTo>
                    <a:pt x="1435" y="1356"/>
                  </a:moveTo>
                  <a:cubicBezTo>
                    <a:pt x="2168" y="1356"/>
                    <a:pt x="2168" y="1356"/>
                    <a:pt x="2168" y="1356"/>
                  </a:cubicBezTo>
                  <a:cubicBezTo>
                    <a:pt x="2168" y="1356"/>
                    <a:pt x="2151" y="1019"/>
                    <a:pt x="2067" y="906"/>
                  </a:cubicBezTo>
                  <a:cubicBezTo>
                    <a:pt x="2000" y="815"/>
                    <a:pt x="1951" y="795"/>
                    <a:pt x="1878" y="795"/>
                  </a:cubicBezTo>
                  <a:cubicBezTo>
                    <a:pt x="1801" y="795"/>
                    <a:pt x="1705" y="879"/>
                    <a:pt x="1649" y="922"/>
                  </a:cubicBezTo>
                  <a:cubicBezTo>
                    <a:pt x="1591" y="965"/>
                    <a:pt x="1555" y="965"/>
                    <a:pt x="1504" y="951"/>
                  </a:cubicBezTo>
                  <a:cubicBezTo>
                    <a:pt x="1445" y="934"/>
                    <a:pt x="1367" y="844"/>
                    <a:pt x="1327" y="830"/>
                  </a:cubicBezTo>
                  <a:cubicBezTo>
                    <a:pt x="1298" y="819"/>
                    <a:pt x="1184" y="802"/>
                    <a:pt x="1154" y="900"/>
                  </a:cubicBezTo>
                  <a:cubicBezTo>
                    <a:pt x="1154" y="900"/>
                    <a:pt x="1435" y="1062"/>
                    <a:pt x="1435" y="1356"/>
                  </a:cubicBezTo>
                  <a:close/>
                </a:path>
              </a:pathLst>
            </a:custGeom>
            <a:solidFill>
              <a:srgbClr val="FFFFFF"/>
            </a:solidFill>
            <a:ln>
              <a:noFill/>
            </a:ln>
          </p:spPr>
          <p:txBody>
            <a:bodyPr vert="horz" wrap="square" lIns="87867" tIns="43934" rIns="87867" bIns="43934" numCol="1" anchor="t" anchorCtr="0" compatLnSpc="1">
              <a:prstTxWarp prst="textNoShape">
                <a:avLst/>
              </a:prstTxWarp>
            </a:bodyPr>
            <a:lstStyle/>
            <a:p>
              <a:pPr defTabSz="896214" fontAlgn="base">
                <a:spcBef>
                  <a:spcPct val="0"/>
                </a:spcBef>
                <a:spcAft>
                  <a:spcPct val="0"/>
                </a:spcAft>
                <a:defRPr/>
              </a:pPr>
              <a:endParaRPr lang="en-US" sz="1729" kern="0">
                <a:solidFill>
                  <a:srgbClr val="505050"/>
                </a:solidFill>
                <a:ea typeface="ＭＳ Ｐゴシック" charset="0"/>
              </a:endParaRPr>
            </a:p>
          </p:txBody>
        </p:sp>
        <p:sp>
          <p:nvSpPr>
            <p:cNvPr id="1044" name="Freeform 113"/>
            <p:cNvSpPr>
              <a:spLocks noEditPoints="1"/>
            </p:cNvSpPr>
            <p:nvPr/>
          </p:nvSpPr>
          <p:spPr bwMode="auto">
            <a:xfrm>
              <a:off x="7088552" y="3956943"/>
              <a:ext cx="417862" cy="505626"/>
            </a:xfrm>
            <a:custGeom>
              <a:avLst/>
              <a:gdLst>
                <a:gd name="T0" fmla="*/ 107 w 136"/>
                <a:gd name="T1" fmla="*/ 140 h 164"/>
                <a:gd name="T2" fmla="*/ 105 w 136"/>
                <a:gd name="T3" fmla="*/ 138 h 164"/>
                <a:gd name="T4" fmla="*/ 133 w 136"/>
                <a:gd name="T5" fmla="*/ 119 h 164"/>
                <a:gd name="T6" fmla="*/ 114 w 136"/>
                <a:gd name="T7" fmla="*/ 0 h 164"/>
                <a:gd name="T8" fmla="*/ 3 w 136"/>
                <a:gd name="T9" fmla="*/ 19 h 164"/>
                <a:gd name="T10" fmla="*/ 23 w 136"/>
                <a:gd name="T11" fmla="*/ 138 h 164"/>
                <a:gd name="T12" fmla="*/ 0 w 136"/>
                <a:gd name="T13" fmla="*/ 164 h 164"/>
                <a:gd name="T14" fmla="*/ 22 w 136"/>
                <a:gd name="T15" fmla="*/ 156 h 164"/>
                <a:gd name="T16" fmla="*/ 122 w 136"/>
                <a:gd name="T17" fmla="*/ 164 h 164"/>
                <a:gd name="T18" fmla="*/ 107 w 136"/>
                <a:gd name="T19" fmla="*/ 140 h 164"/>
                <a:gd name="T20" fmla="*/ 99 w 136"/>
                <a:gd name="T21" fmla="*/ 114 h 164"/>
                <a:gd name="T22" fmla="*/ 118 w 136"/>
                <a:gd name="T23" fmla="*/ 114 h 164"/>
                <a:gd name="T24" fmla="*/ 40 w 136"/>
                <a:gd name="T25" fmla="*/ 17 h 164"/>
                <a:gd name="T26" fmla="*/ 61 w 136"/>
                <a:gd name="T27" fmla="*/ 15 h 164"/>
                <a:gd name="T28" fmla="*/ 95 w 136"/>
                <a:gd name="T29" fmla="*/ 15 h 164"/>
                <a:gd name="T30" fmla="*/ 97 w 136"/>
                <a:gd name="T31" fmla="*/ 22 h 164"/>
                <a:gd name="T32" fmla="*/ 76 w 136"/>
                <a:gd name="T33" fmla="*/ 24 h 164"/>
                <a:gd name="T34" fmla="*/ 42 w 136"/>
                <a:gd name="T35" fmla="*/ 24 h 164"/>
                <a:gd name="T36" fmla="*/ 40 w 136"/>
                <a:gd name="T37" fmla="*/ 17 h 164"/>
                <a:gd name="T38" fmla="*/ 24 w 136"/>
                <a:gd name="T39" fmla="*/ 33 h 164"/>
                <a:gd name="T40" fmla="*/ 118 w 136"/>
                <a:gd name="T41" fmla="*/ 37 h 164"/>
                <a:gd name="T42" fmla="*/ 113 w 136"/>
                <a:gd name="T43" fmla="*/ 96 h 164"/>
                <a:gd name="T44" fmla="*/ 19 w 136"/>
                <a:gd name="T45" fmla="*/ 92 h 164"/>
                <a:gd name="T46" fmla="*/ 96 w 136"/>
                <a:gd name="T47" fmla="*/ 138 h 164"/>
                <a:gd name="T48" fmla="*/ 39 w 136"/>
                <a:gd name="T49" fmla="*/ 140 h 164"/>
                <a:gd name="T50" fmla="*/ 96 w 136"/>
                <a:gd name="T51" fmla="*/ 138 h 164"/>
                <a:gd name="T52" fmla="*/ 53 w 136"/>
                <a:gd name="T53" fmla="*/ 122 h 164"/>
                <a:gd name="T54" fmla="*/ 81 w 136"/>
                <a:gd name="T55" fmla="*/ 119 h 164"/>
                <a:gd name="T56" fmla="*/ 84 w 136"/>
                <a:gd name="T57" fmla="*/ 129 h 164"/>
                <a:gd name="T58" fmla="*/ 55 w 136"/>
                <a:gd name="T59" fmla="*/ 132 h 164"/>
                <a:gd name="T60" fmla="*/ 28 w 136"/>
                <a:gd name="T61" fmla="*/ 123 h 164"/>
                <a:gd name="T62" fmla="*/ 28 w 136"/>
                <a:gd name="T63" fmla="*/ 104 h 164"/>
                <a:gd name="T64" fmla="*/ 28 w 136"/>
                <a:gd name="T65" fmla="*/ 123 h 164"/>
                <a:gd name="T66" fmla="*/ 35 w 136"/>
                <a:gd name="T67" fmla="*/ 143 h 164"/>
                <a:gd name="T68" fmla="*/ 109 w 136"/>
                <a:gd name="T69" fmla="*/ 15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64">
                  <a:moveTo>
                    <a:pt x="107" y="140"/>
                  </a:moveTo>
                  <a:cubicBezTo>
                    <a:pt x="107" y="140"/>
                    <a:pt x="107" y="140"/>
                    <a:pt x="107" y="140"/>
                  </a:cubicBezTo>
                  <a:cubicBezTo>
                    <a:pt x="107" y="140"/>
                    <a:pt x="107" y="140"/>
                    <a:pt x="107" y="140"/>
                  </a:cubicBezTo>
                  <a:cubicBezTo>
                    <a:pt x="105" y="138"/>
                    <a:pt x="105" y="138"/>
                    <a:pt x="105" y="138"/>
                  </a:cubicBezTo>
                  <a:cubicBezTo>
                    <a:pt x="114" y="138"/>
                    <a:pt x="114" y="138"/>
                    <a:pt x="114" y="138"/>
                  </a:cubicBezTo>
                  <a:cubicBezTo>
                    <a:pt x="125" y="138"/>
                    <a:pt x="133" y="129"/>
                    <a:pt x="133" y="119"/>
                  </a:cubicBezTo>
                  <a:cubicBezTo>
                    <a:pt x="133" y="19"/>
                    <a:pt x="133" y="19"/>
                    <a:pt x="133" y="19"/>
                  </a:cubicBezTo>
                  <a:cubicBezTo>
                    <a:pt x="133" y="9"/>
                    <a:pt x="125" y="0"/>
                    <a:pt x="114" y="0"/>
                  </a:cubicBezTo>
                  <a:cubicBezTo>
                    <a:pt x="23" y="0"/>
                    <a:pt x="23" y="0"/>
                    <a:pt x="23" y="0"/>
                  </a:cubicBezTo>
                  <a:cubicBezTo>
                    <a:pt x="12" y="0"/>
                    <a:pt x="3" y="9"/>
                    <a:pt x="3" y="19"/>
                  </a:cubicBezTo>
                  <a:cubicBezTo>
                    <a:pt x="3" y="119"/>
                    <a:pt x="3" y="119"/>
                    <a:pt x="3" y="119"/>
                  </a:cubicBezTo>
                  <a:cubicBezTo>
                    <a:pt x="3" y="129"/>
                    <a:pt x="12" y="138"/>
                    <a:pt x="23" y="138"/>
                  </a:cubicBezTo>
                  <a:cubicBezTo>
                    <a:pt x="32" y="138"/>
                    <a:pt x="32" y="138"/>
                    <a:pt x="32" y="138"/>
                  </a:cubicBezTo>
                  <a:cubicBezTo>
                    <a:pt x="0" y="164"/>
                    <a:pt x="0" y="164"/>
                    <a:pt x="0" y="164"/>
                  </a:cubicBezTo>
                  <a:cubicBezTo>
                    <a:pt x="14" y="164"/>
                    <a:pt x="14" y="164"/>
                    <a:pt x="14" y="164"/>
                  </a:cubicBezTo>
                  <a:cubicBezTo>
                    <a:pt x="22" y="156"/>
                    <a:pt x="22" y="156"/>
                    <a:pt x="22" y="156"/>
                  </a:cubicBezTo>
                  <a:cubicBezTo>
                    <a:pt x="114" y="156"/>
                    <a:pt x="114" y="156"/>
                    <a:pt x="114" y="156"/>
                  </a:cubicBezTo>
                  <a:cubicBezTo>
                    <a:pt x="122" y="164"/>
                    <a:pt x="122" y="164"/>
                    <a:pt x="122" y="164"/>
                  </a:cubicBezTo>
                  <a:cubicBezTo>
                    <a:pt x="136" y="164"/>
                    <a:pt x="136" y="164"/>
                    <a:pt x="136" y="164"/>
                  </a:cubicBezTo>
                  <a:cubicBezTo>
                    <a:pt x="107" y="140"/>
                    <a:pt x="107" y="140"/>
                    <a:pt x="107" y="140"/>
                  </a:cubicBezTo>
                  <a:close/>
                  <a:moveTo>
                    <a:pt x="109" y="123"/>
                  </a:moveTo>
                  <a:cubicBezTo>
                    <a:pt x="104" y="123"/>
                    <a:pt x="99" y="119"/>
                    <a:pt x="99" y="114"/>
                  </a:cubicBezTo>
                  <a:cubicBezTo>
                    <a:pt x="99" y="109"/>
                    <a:pt x="104" y="104"/>
                    <a:pt x="109" y="104"/>
                  </a:cubicBezTo>
                  <a:cubicBezTo>
                    <a:pt x="114" y="104"/>
                    <a:pt x="118" y="109"/>
                    <a:pt x="118" y="114"/>
                  </a:cubicBezTo>
                  <a:cubicBezTo>
                    <a:pt x="118" y="119"/>
                    <a:pt x="114" y="123"/>
                    <a:pt x="109" y="123"/>
                  </a:cubicBezTo>
                  <a:close/>
                  <a:moveTo>
                    <a:pt x="40" y="17"/>
                  </a:moveTo>
                  <a:cubicBezTo>
                    <a:pt x="40" y="16"/>
                    <a:pt x="41" y="15"/>
                    <a:pt x="42" y="15"/>
                  </a:cubicBezTo>
                  <a:cubicBezTo>
                    <a:pt x="61" y="15"/>
                    <a:pt x="61" y="15"/>
                    <a:pt x="61" y="15"/>
                  </a:cubicBezTo>
                  <a:cubicBezTo>
                    <a:pt x="76" y="15"/>
                    <a:pt x="76" y="15"/>
                    <a:pt x="76" y="15"/>
                  </a:cubicBezTo>
                  <a:cubicBezTo>
                    <a:pt x="95" y="15"/>
                    <a:pt x="95" y="15"/>
                    <a:pt x="95" y="15"/>
                  </a:cubicBezTo>
                  <a:cubicBezTo>
                    <a:pt x="96" y="15"/>
                    <a:pt x="97" y="16"/>
                    <a:pt x="97" y="17"/>
                  </a:cubicBezTo>
                  <a:cubicBezTo>
                    <a:pt x="97" y="22"/>
                    <a:pt x="97" y="22"/>
                    <a:pt x="97" y="22"/>
                  </a:cubicBezTo>
                  <a:cubicBezTo>
                    <a:pt x="97" y="23"/>
                    <a:pt x="96" y="24"/>
                    <a:pt x="95" y="24"/>
                  </a:cubicBezTo>
                  <a:cubicBezTo>
                    <a:pt x="76" y="24"/>
                    <a:pt x="76" y="24"/>
                    <a:pt x="76" y="24"/>
                  </a:cubicBezTo>
                  <a:cubicBezTo>
                    <a:pt x="61" y="24"/>
                    <a:pt x="61" y="24"/>
                    <a:pt x="61" y="24"/>
                  </a:cubicBezTo>
                  <a:cubicBezTo>
                    <a:pt x="42" y="24"/>
                    <a:pt x="42" y="24"/>
                    <a:pt x="42" y="24"/>
                  </a:cubicBezTo>
                  <a:cubicBezTo>
                    <a:pt x="41" y="24"/>
                    <a:pt x="40" y="23"/>
                    <a:pt x="40" y="22"/>
                  </a:cubicBezTo>
                  <a:cubicBezTo>
                    <a:pt x="40" y="17"/>
                    <a:pt x="40" y="17"/>
                    <a:pt x="40" y="17"/>
                  </a:cubicBezTo>
                  <a:close/>
                  <a:moveTo>
                    <a:pt x="19" y="37"/>
                  </a:moveTo>
                  <a:cubicBezTo>
                    <a:pt x="19" y="34"/>
                    <a:pt x="21" y="33"/>
                    <a:pt x="24" y="33"/>
                  </a:cubicBezTo>
                  <a:cubicBezTo>
                    <a:pt x="113" y="33"/>
                    <a:pt x="113" y="33"/>
                    <a:pt x="113" y="33"/>
                  </a:cubicBezTo>
                  <a:cubicBezTo>
                    <a:pt x="116" y="33"/>
                    <a:pt x="118" y="34"/>
                    <a:pt x="118" y="37"/>
                  </a:cubicBezTo>
                  <a:cubicBezTo>
                    <a:pt x="118" y="92"/>
                    <a:pt x="118" y="92"/>
                    <a:pt x="118" y="92"/>
                  </a:cubicBezTo>
                  <a:cubicBezTo>
                    <a:pt x="118" y="94"/>
                    <a:pt x="116" y="96"/>
                    <a:pt x="113" y="96"/>
                  </a:cubicBezTo>
                  <a:cubicBezTo>
                    <a:pt x="24" y="96"/>
                    <a:pt x="24" y="96"/>
                    <a:pt x="24" y="96"/>
                  </a:cubicBezTo>
                  <a:cubicBezTo>
                    <a:pt x="21" y="96"/>
                    <a:pt x="19" y="94"/>
                    <a:pt x="19" y="92"/>
                  </a:cubicBezTo>
                  <a:cubicBezTo>
                    <a:pt x="19" y="37"/>
                    <a:pt x="19" y="37"/>
                    <a:pt x="19" y="37"/>
                  </a:cubicBezTo>
                  <a:close/>
                  <a:moveTo>
                    <a:pt x="96" y="138"/>
                  </a:moveTo>
                  <a:cubicBezTo>
                    <a:pt x="98" y="140"/>
                    <a:pt x="98" y="140"/>
                    <a:pt x="98" y="140"/>
                  </a:cubicBezTo>
                  <a:cubicBezTo>
                    <a:pt x="39" y="140"/>
                    <a:pt x="39" y="140"/>
                    <a:pt x="39" y="140"/>
                  </a:cubicBezTo>
                  <a:cubicBezTo>
                    <a:pt x="41" y="138"/>
                    <a:pt x="41" y="138"/>
                    <a:pt x="41" y="138"/>
                  </a:cubicBezTo>
                  <a:lnTo>
                    <a:pt x="96" y="138"/>
                  </a:lnTo>
                  <a:close/>
                  <a:moveTo>
                    <a:pt x="53" y="129"/>
                  </a:moveTo>
                  <a:cubicBezTo>
                    <a:pt x="53" y="122"/>
                    <a:pt x="53" y="122"/>
                    <a:pt x="53" y="122"/>
                  </a:cubicBezTo>
                  <a:cubicBezTo>
                    <a:pt x="53" y="120"/>
                    <a:pt x="54" y="119"/>
                    <a:pt x="55" y="119"/>
                  </a:cubicBezTo>
                  <a:cubicBezTo>
                    <a:pt x="81" y="119"/>
                    <a:pt x="81" y="119"/>
                    <a:pt x="81" y="119"/>
                  </a:cubicBezTo>
                  <a:cubicBezTo>
                    <a:pt x="83" y="119"/>
                    <a:pt x="84" y="120"/>
                    <a:pt x="84" y="122"/>
                  </a:cubicBezTo>
                  <a:cubicBezTo>
                    <a:pt x="84" y="129"/>
                    <a:pt x="84" y="129"/>
                    <a:pt x="84" y="129"/>
                  </a:cubicBezTo>
                  <a:cubicBezTo>
                    <a:pt x="84" y="130"/>
                    <a:pt x="83" y="132"/>
                    <a:pt x="81" y="132"/>
                  </a:cubicBezTo>
                  <a:cubicBezTo>
                    <a:pt x="55" y="132"/>
                    <a:pt x="55" y="132"/>
                    <a:pt x="55" y="132"/>
                  </a:cubicBezTo>
                  <a:cubicBezTo>
                    <a:pt x="54" y="132"/>
                    <a:pt x="53" y="130"/>
                    <a:pt x="53" y="129"/>
                  </a:cubicBezTo>
                  <a:close/>
                  <a:moveTo>
                    <a:pt x="28" y="123"/>
                  </a:moveTo>
                  <a:cubicBezTo>
                    <a:pt x="23" y="123"/>
                    <a:pt x="19" y="119"/>
                    <a:pt x="19" y="114"/>
                  </a:cubicBezTo>
                  <a:cubicBezTo>
                    <a:pt x="19" y="109"/>
                    <a:pt x="23" y="104"/>
                    <a:pt x="28" y="104"/>
                  </a:cubicBezTo>
                  <a:cubicBezTo>
                    <a:pt x="33" y="104"/>
                    <a:pt x="37" y="109"/>
                    <a:pt x="37" y="114"/>
                  </a:cubicBezTo>
                  <a:cubicBezTo>
                    <a:pt x="37" y="119"/>
                    <a:pt x="33" y="123"/>
                    <a:pt x="28" y="123"/>
                  </a:cubicBezTo>
                  <a:close/>
                  <a:moveTo>
                    <a:pt x="27" y="151"/>
                  </a:moveTo>
                  <a:cubicBezTo>
                    <a:pt x="35" y="143"/>
                    <a:pt x="35" y="143"/>
                    <a:pt x="35" y="143"/>
                  </a:cubicBezTo>
                  <a:cubicBezTo>
                    <a:pt x="101" y="143"/>
                    <a:pt x="101" y="143"/>
                    <a:pt x="101" y="143"/>
                  </a:cubicBezTo>
                  <a:cubicBezTo>
                    <a:pt x="109" y="151"/>
                    <a:pt x="109" y="151"/>
                    <a:pt x="109" y="151"/>
                  </a:cubicBezTo>
                  <a:lnTo>
                    <a:pt x="27" y="151"/>
                  </a:lnTo>
                  <a:close/>
                </a:path>
              </a:pathLst>
            </a:custGeom>
            <a:solidFill>
              <a:srgbClr val="505050"/>
            </a:solidFill>
            <a:ln>
              <a:noFill/>
            </a:ln>
            <a:extLst/>
          </p:spPr>
          <p:txBody>
            <a:bodyPr vert="horz" wrap="square" lIns="87867" tIns="43934" rIns="87867" bIns="43934" numCol="1" anchor="t" anchorCtr="0" compatLnSpc="1">
              <a:prstTxWarp prst="textNoShape">
                <a:avLst/>
              </a:prstTxWarp>
            </a:bodyPr>
            <a:lstStyle/>
            <a:p>
              <a:pPr defTabSz="896214" fontAlgn="base">
                <a:spcBef>
                  <a:spcPct val="0"/>
                </a:spcBef>
                <a:spcAft>
                  <a:spcPct val="0"/>
                </a:spcAft>
                <a:defRPr/>
              </a:pPr>
              <a:endParaRPr lang="en-US" sz="1729" kern="0">
                <a:solidFill>
                  <a:srgbClr val="505050"/>
                </a:solidFill>
                <a:ea typeface="ＭＳ Ｐゴシック" charset="0"/>
              </a:endParaRPr>
            </a:p>
          </p:txBody>
        </p:sp>
        <p:sp>
          <p:nvSpPr>
            <p:cNvPr id="1045" name="Freeform 188"/>
            <p:cNvSpPr>
              <a:spLocks/>
            </p:cNvSpPr>
            <p:nvPr/>
          </p:nvSpPr>
          <p:spPr bwMode="auto">
            <a:xfrm>
              <a:off x="7555577" y="412338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9 h 63"/>
                <a:gd name="T10" fmla="*/ 0 w 26"/>
                <a:gd name="T11" fmla="*/ 20 h 63"/>
                <a:gd name="T12" fmla="*/ 3 w 26"/>
                <a:gd name="T13" fmla="*/ 20 h 63"/>
                <a:gd name="T14" fmla="*/ 7 w 26"/>
                <a:gd name="T15" fmla="*/ 19 h 63"/>
                <a:gd name="T16" fmla="*/ 10 w 26"/>
                <a:gd name="T17" fmla="*/ 17 h 63"/>
                <a:gd name="T18" fmla="*/ 12 w 26"/>
                <a:gd name="T19" fmla="*/ 15 h 63"/>
                <a:gd name="T20" fmla="*/ 12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2" y="4"/>
                    <a:pt x="10" y="6"/>
                  </a:cubicBezTo>
                  <a:cubicBezTo>
                    <a:pt x="6" y="7"/>
                    <a:pt x="3" y="8"/>
                    <a:pt x="0" y="9"/>
                  </a:cubicBezTo>
                  <a:cubicBezTo>
                    <a:pt x="0" y="9"/>
                    <a:pt x="0" y="9"/>
                    <a:pt x="0" y="20"/>
                  </a:cubicBezTo>
                  <a:cubicBezTo>
                    <a:pt x="1" y="20"/>
                    <a:pt x="2" y="20"/>
                    <a:pt x="3" y="20"/>
                  </a:cubicBezTo>
                  <a:cubicBezTo>
                    <a:pt x="4" y="19"/>
                    <a:pt x="5" y="19"/>
                    <a:pt x="7" y="19"/>
                  </a:cubicBezTo>
                  <a:cubicBezTo>
                    <a:pt x="8" y="19"/>
                    <a:pt x="9" y="18"/>
                    <a:pt x="10" y="17"/>
                  </a:cubicBezTo>
                  <a:cubicBezTo>
                    <a:pt x="11" y="17"/>
                    <a:pt x="12" y="16"/>
                    <a:pt x="12" y="15"/>
                  </a:cubicBezTo>
                  <a:cubicBezTo>
                    <a:pt x="12" y="15"/>
                    <a:pt x="12" y="15"/>
                    <a:pt x="12" y="63"/>
                  </a:cubicBezTo>
                  <a:cubicBezTo>
                    <a:pt x="12" y="63"/>
                    <a:pt x="12"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46" name="Freeform 130"/>
            <p:cNvSpPr>
              <a:spLocks/>
            </p:cNvSpPr>
            <p:nvPr/>
          </p:nvSpPr>
          <p:spPr bwMode="auto">
            <a:xfrm>
              <a:off x="6944962"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47" name="Freeform 130"/>
            <p:cNvSpPr>
              <a:spLocks/>
            </p:cNvSpPr>
            <p:nvPr/>
          </p:nvSpPr>
          <p:spPr bwMode="auto">
            <a:xfrm>
              <a:off x="6796117" y="3897969"/>
              <a:ext cx="80017" cy="186591"/>
            </a:xfrm>
            <a:custGeom>
              <a:avLst/>
              <a:gdLst>
                <a:gd name="T0" fmla="*/ 27 w 27"/>
                <a:gd name="T1" fmla="*/ 0 h 63"/>
                <a:gd name="T2" fmla="*/ 18 w 27"/>
                <a:gd name="T3" fmla="*/ 0 h 63"/>
                <a:gd name="T4" fmla="*/ 10 w 27"/>
                <a:gd name="T5" fmla="*/ 6 h 63"/>
                <a:gd name="T6" fmla="*/ 0 w 27"/>
                <a:gd name="T7" fmla="*/ 9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9"/>
                  </a:cubicBezTo>
                  <a:cubicBezTo>
                    <a:pt x="0" y="9"/>
                    <a:pt x="0" y="9"/>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48" name="Freeform 126"/>
            <p:cNvSpPr>
              <a:spLocks noEditPoints="1"/>
            </p:cNvSpPr>
            <p:nvPr/>
          </p:nvSpPr>
          <p:spPr bwMode="auto">
            <a:xfrm>
              <a:off x="6592904" y="4120119"/>
              <a:ext cx="132528" cy="192852"/>
            </a:xfrm>
            <a:custGeom>
              <a:avLst/>
              <a:gdLst>
                <a:gd name="T0" fmla="*/ 39 w 45"/>
                <a:gd name="T1" fmla="*/ 56 h 65"/>
                <a:gd name="T2" fmla="*/ 45 w 45"/>
                <a:gd name="T3" fmla="*/ 32 h 65"/>
                <a:gd name="T4" fmla="*/ 23 w 45"/>
                <a:gd name="T5" fmla="*/ 0 h 65"/>
                <a:gd name="T6" fmla="*/ 5 w 45"/>
                <a:gd name="T7" fmla="*/ 8 h 65"/>
                <a:gd name="T8" fmla="*/ 0 w 45"/>
                <a:gd name="T9" fmla="*/ 33 h 65"/>
                <a:gd name="T10" fmla="*/ 22 w 45"/>
                <a:gd name="T11" fmla="*/ 65 h 65"/>
                <a:gd name="T12" fmla="*/ 39 w 45"/>
                <a:gd name="T13" fmla="*/ 56 h 65"/>
                <a:gd name="T14" fmla="*/ 22 w 45"/>
                <a:gd name="T15" fmla="*/ 54 h 65"/>
                <a:gd name="T16" fmla="*/ 14 w 45"/>
                <a:gd name="T17" fmla="*/ 33 h 65"/>
                <a:gd name="T18" fmla="*/ 22 w 45"/>
                <a:gd name="T19" fmla="*/ 11 h 65"/>
                <a:gd name="T20" fmla="*/ 31 w 45"/>
                <a:gd name="T21" fmla="*/ 32 h 65"/>
                <a:gd name="T22" fmla="*/ 22 w 45"/>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5" y="8"/>
                  </a:cubicBezTo>
                  <a:cubicBezTo>
                    <a:pt x="2" y="15"/>
                    <a:pt x="0" y="22"/>
                    <a:pt x="0" y="33"/>
                  </a:cubicBezTo>
                  <a:cubicBezTo>
                    <a:pt x="0" y="54"/>
                    <a:pt x="7" y="65"/>
                    <a:pt x="22" y="65"/>
                  </a:cubicBezTo>
                  <a:cubicBezTo>
                    <a:pt x="30" y="65"/>
                    <a:pt x="35" y="62"/>
                    <a:pt x="39" y="56"/>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49" name="Freeform 127"/>
            <p:cNvSpPr>
              <a:spLocks noEditPoints="1"/>
            </p:cNvSpPr>
            <p:nvPr/>
          </p:nvSpPr>
          <p:spPr bwMode="auto">
            <a:xfrm>
              <a:off x="6766691" y="4120119"/>
              <a:ext cx="133778" cy="192852"/>
            </a:xfrm>
            <a:custGeom>
              <a:avLst/>
              <a:gdLst>
                <a:gd name="T0" fmla="*/ 39 w 45"/>
                <a:gd name="T1" fmla="*/ 56 h 65"/>
                <a:gd name="T2" fmla="*/ 45 w 45"/>
                <a:gd name="T3" fmla="*/ 32 h 65"/>
                <a:gd name="T4" fmla="*/ 23 w 45"/>
                <a:gd name="T5" fmla="*/ 0 h 65"/>
                <a:gd name="T6" fmla="*/ 6 w 45"/>
                <a:gd name="T7" fmla="*/ 8 h 65"/>
                <a:gd name="T8" fmla="*/ 0 w 45"/>
                <a:gd name="T9" fmla="*/ 33 h 65"/>
                <a:gd name="T10" fmla="*/ 22 w 45"/>
                <a:gd name="T11" fmla="*/ 65 h 65"/>
                <a:gd name="T12" fmla="*/ 39 w 45"/>
                <a:gd name="T13" fmla="*/ 56 h 65"/>
                <a:gd name="T14" fmla="*/ 14 w 45"/>
                <a:gd name="T15" fmla="*/ 33 h 65"/>
                <a:gd name="T16" fmla="*/ 22 w 45"/>
                <a:gd name="T17" fmla="*/ 11 h 65"/>
                <a:gd name="T18" fmla="*/ 31 w 45"/>
                <a:gd name="T19" fmla="*/ 32 h 65"/>
                <a:gd name="T20" fmla="*/ 22 w 45"/>
                <a:gd name="T21" fmla="*/ 54 h 65"/>
                <a:gd name="T22" fmla="*/ 14 w 45"/>
                <a:gd name="T2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65">
                  <a:moveTo>
                    <a:pt x="39" y="56"/>
                  </a:moveTo>
                  <a:cubicBezTo>
                    <a:pt x="43" y="51"/>
                    <a:pt x="45" y="42"/>
                    <a:pt x="45" y="32"/>
                  </a:cubicBezTo>
                  <a:cubicBezTo>
                    <a:pt x="45" y="11"/>
                    <a:pt x="38" y="0"/>
                    <a:pt x="23" y="0"/>
                  </a:cubicBezTo>
                  <a:cubicBezTo>
                    <a:pt x="16" y="0"/>
                    <a:pt x="9" y="3"/>
                    <a:pt x="6" y="8"/>
                  </a:cubicBezTo>
                  <a:cubicBezTo>
                    <a:pt x="2" y="15"/>
                    <a:pt x="0" y="22"/>
                    <a:pt x="0" y="33"/>
                  </a:cubicBezTo>
                  <a:cubicBezTo>
                    <a:pt x="0" y="54"/>
                    <a:pt x="7" y="65"/>
                    <a:pt x="22" y="65"/>
                  </a:cubicBezTo>
                  <a:cubicBezTo>
                    <a:pt x="30" y="65"/>
                    <a:pt x="35" y="62"/>
                    <a:pt x="39" y="56"/>
                  </a:cubicBezTo>
                  <a:close/>
                  <a:moveTo>
                    <a:pt x="14" y="33"/>
                  </a:moveTo>
                  <a:cubicBezTo>
                    <a:pt x="14" y="19"/>
                    <a:pt x="17" y="11"/>
                    <a:pt x="22" y="11"/>
                  </a:cubicBezTo>
                  <a:cubicBezTo>
                    <a:pt x="28" y="11"/>
                    <a:pt x="31" y="18"/>
                    <a:pt x="31" y="32"/>
                  </a:cubicBezTo>
                  <a:cubicBezTo>
                    <a:pt x="31" y="47"/>
                    <a:pt x="28" y="54"/>
                    <a:pt x="22" y="54"/>
                  </a:cubicBezTo>
                  <a:cubicBezTo>
                    <a:pt x="17" y="54"/>
                    <a:pt x="14" y="47"/>
                    <a:pt x="14" y="3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50" name="Freeform 128"/>
            <p:cNvSpPr>
              <a:spLocks/>
            </p:cNvSpPr>
            <p:nvPr/>
          </p:nvSpPr>
          <p:spPr bwMode="auto">
            <a:xfrm>
              <a:off x="6941730" y="4120119"/>
              <a:ext cx="80017" cy="186591"/>
            </a:xfrm>
            <a:custGeom>
              <a:avLst/>
              <a:gdLst>
                <a:gd name="T0" fmla="*/ 27 w 27"/>
                <a:gd name="T1" fmla="*/ 0 h 63"/>
                <a:gd name="T2" fmla="*/ 19 w 27"/>
                <a:gd name="T3" fmla="*/ 0 h 63"/>
                <a:gd name="T4" fmla="*/ 10 w 27"/>
                <a:gd name="T5" fmla="*/ 6 h 63"/>
                <a:gd name="T6" fmla="*/ 0 w 27"/>
                <a:gd name="T7" fmla="*/ 9 h 63"/>
                <a:gd name="T8" fmla="*/ 0 w 27"/>
                <a:gd name="T9" fmla="*/ 21 h 63"/>
                <a:gd name="T10" fmla="*/ 4 w 27"/>
                <a:gd name="T11" fmla="*/ 21 h 63"/>
                <a:gd name="T12" fmla="*/ 7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9" y="0"/>
                    <a:pt x="19" y="0"/>
                    <a:pt x="19" y="0"/>
                  </a:cubicBezTo>
                  <a:cubicBezTo>
                    <a:pt x="16" y="2"/>
                    <a:pt x="13" y="4"/>
                    <a:pt x="10" y="6"/>
                  </a:cubicBezTo>
                  <a:cubicBezTo>
                    <a:pt x="6" y="7"/>
                    <a:pt x="4" y="9"/>
                    <a:pt x="0" y="9"/>
                  </a:cubicBezTo>
                  <a:cubicBezTo>
                    <a:pt x="0" y="9"/>
                    <a:pt x="0" y="9"/>
                    <a:pt x="0" y="21"/>
                  </a:cubicBezTo>
                  <a:cubicBezTo>
                    <a:pt x="1" y="21"/>
                    <a:pt x="2" y="21"/>
                    <a:pt x="4" y="21"/>
                  </a:cubicBezTo>
                  <a:cubicBezTo>
                    <a:pt x="5" y="20"/>
                    <a:pt x="6" y="20"/>
                    <a:pt x="7"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51" name="Freeform 311"/>
            <p:cNvSpPr>
              <a:spLocks/>
            </p:cNvSpPr>
            <p:nvPr/>
          </p:nvSpPr>
          <p:spPr bwMode="auto">
            <a:xfrm>
              <a:off x="6601709"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52" name="Freeform 312"/>
            <p:cNvSpPr>
              <a:spLocks noEditPoints="1"/>
            </p:cNvSpPr>
            <p:nvPr/>
          </p:nvSpPr>
          <p:spPr bwMode="auto">
            <a:xfrm>
              <a:off x="6754812" y="4345591"/>
              <a:ext cx="130027" cy="191600"/>
            </a:xfrm>
            <a:custGeom>
              <a:avLst/>
              <a:gdLst>
                <a:gd name="T0" fmla="*/ 23 w 44"/>
                <a:gd name="T1" fmla="*/ 0 h 65"/>
                <a:gd name="T2" fmla="*/ 6 w 44"/>
                <a:gd name="T3" fmla="*/ 9 h 65"/>
                <a:gd name="T4" fmla="*/ 0 w 44"/>
                <a:gd name="T5" fmla="*/ 33 h 65"/>
                <a:gd name="T6" fmla="*/ 22 w 44"/>
                <a:gd name="T7" fmla="*/ 65 h 65"/>
                <a:gd name="T8" fmla="*/ 39 w 44"/>
                <a:gd name="T9" fmla="*/ 56 h 65"/>
                <a:gd name="T10" fmla="*/ 44 w 44"/>
                <a:gd name="T11" fmla="*/ 32 h 65"/>
                <a:gd name="T12" fmla="*/ 23 w 44"/>
                <a:gd name="T13" fmla="*/ 0 h 65"/>
                <a:gd name="T14" fmla="*/ 22 w 44"/>
                <a:gd name="T15" fmla="*/ 54 h 65"/>
                <a:gd name="T16" fmla="*/ 14 w 44"/>
                <a:gd name="T17" fmla="*/ 33 h 65"/>
                <a:gd name="T18" fmla="*/ 22 w 44"/>
                <a:gd name="T19" fmla="*/ 11 h 65"/>
                <a:gd name="T20" fmla="*/ 31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23" y="0"/>
                  </a:moveTo>
                  <a:cubicBezTo>
                    <a:pt x="16" y="0"/>
                    <a:pt x="9" y="3"/>
                    <a:pt x="6" y="9"/>
                  </a:cubicBezTo>
                  <a:cubicBezTo>
                    <a:pt x="2" y="15"/>
                    <a:pt x="0" y="22"/>
                    <a:pt x="0" y="33"/>
                  </a:cubicBezTo>
                  <a:cubicBezTo>
                    <a:pt x="0" y="54"/>
                    <a:pt x="8" y="65"/>
                    <a:pt x="22" y="65"/>
                  </a:cubicBezTo>
                  <a:cubicBezTo>
                    <a:pt x="30" y="65"/>
                    <a:pt x="35" y="62"/>
                    <a:pt x="39" y="56"/>
                  </a:cubicBezTo>
                  <a:cubicBezTo>
                    <a:pt x="43" y="51"/>
                    <a:pt x="44" y="43"/>
                    <a:pt x="44" y="32"/>
                  </a:cubicBezTo>
                  <a:cubicBezTo>
                    <a:pt x="44" y="11"/>
                    <a:pt x="38" y="0"/>
                    <a:pt x="23" y="0"/>
                  </a:cubicBezTo>
                  <a:close/>
                  <a:moveTo>
                    <a:pt x="22" y="54"/>
                  </a:moveTo>
                  <a:cubicBezTo>
                    <a:pt x="17" y="54"/>
                    <a:pt x="14" y="47"/>
                    <a:pt x="14" y="33"/>
                  </a:cubicBezTo>
                  <a:cubicBezTo>
                    <a:pt x="14" y="19"/>
                    <a:pt x="17" y="11"/>
                    <a:pt x="22" y="11"/>
                  </a:cubicBezTo>
                  <a:cubicBezTo>
                    <a:pt x="28" y="11"/>
                    <a:pt x="31" y="18"/>
                    <a:pt x="31" y="32"/>
                  </a:cubicBezTo>
                  <a:cubicBezTo>
                    <a:pt x="31" y="47"/>
                    <a:pt x="28"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53" name="Freeform 311"/>
            <p:cNvSpPr>
              <a:spLocks/>
            </p:cNvSpPr>
            <p:nvPr/>
          </p:nvSpPr>
          <p:spPr bwMode="auto">
            <a:xfrm>
              <a:off x="6941510" y="4345591"/>
              <a:ext cx="76267" cy="186591"/>
            </a:xfrm>
            <a:custGeom>
              <a:avLst/>
              <a:gdLst>
                <a:gd name="T0" fmla="*/ 26 w 26"/>
                <a:gd name="T1" fmla="*/ 63 h 63"/>
                <a:gd name="T2" fmla="*/ 26 w 26"/>
                <a:gd name="T3" fmla="*/ 0 h 63"/>
                <a:gd name="T4" fmla="*/ 18 w 26"/>
                <a:gd name="T5" fmla="*/ 0 h 63"/>
                <a:gd name="T6" fmla="*/ 10 w 26"/>
                <a:gd name="T7" fmla="*/ 6 h 63"/>
                <a:gd name="T8" fmla="*/ 0 w 26"/>
                <a:gd name="T9" fmla="*/ 10 h 63"/>
                <a:gd name="T10" fmla="*/ 0 w 26"/>
                <a:gd name="T11" fmla="*/ 21 h 63"/>
                <a:gd name="T12" fmla="*/ 4 w 26"/>
                <a:gd name="T13" fmla="*/ 21 h 63"/>
                <a:gd name="T14" fmla="*/ 7 w 26"/>
                <a:gd name="T15" fmla="*/ 19 h 63"/>
                <a:gd name="T16" fmla="*/ 10 w 26"/>
                <a:gd name="T17" fmla="*/ 17 h 63"/>
                <a:gd name="T18" fmla="*/ 13 w 26"/>
                <a:gd name="T19" fmla="*/ 15 h 63"/>
                <a:gd name="T20" fmla="*/ 13 w 26"/>
                <a:gd name="T21" fmla="*/ 63 h 63"/>
                <a:gd name="T22" fmla="*/ 26 w 2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63">
                  <a:moveTo>
                    <a:pt x="26" y="63"/>
                  </a:moveTo>
                  <a:cubicBezTo>
                    <a:pt x="26" y="63"/>
                    <a:pt x="26" y="63"/>
                    <a:pt x="26" y="0"/>
                  </a:cubicBezTo>
                  <a:cubicBezTo>
                    <a:pt x="18" y="0"/>
                    <a:pt x="18" y="0"/>
                    <a:pt x="18" y="0"/>
                  </a:cubicBezTo>
                  <a:cubicBezTo>
                    <a:pt x="15" y="2"/>
                    <a:pt x="13" y="4"/>
                    <a:pt x="10" y="6"/>
                  </a:cubicBezTo>
                  <a:cubicBezTo>
                    <a:pt x="6" y="7"/>
                    <a:pt x="4" y="9"/>
                    <a:pt x="0" y="10"/>
                  </a:cubicBezTo>
                  <a:cubicBezTo>
                    <a:pt x="0" y="10"/>
                    <a:pt x="0" y="10"/>
                    <a:pt x="0" y="21"/>
                  </a:cubicBezTo>
                  <a:cubicBezTo>
                    <a:pt x="1" y="21"/>
                    <a:pt x="2" y="21"/>
                    <a:pt x="4" y="21"/>
                  </a:cubicBezTo>
                  <a:cubicBezTo>
                    <a:pt x="5" y="20"/>
                    <a:pt x="5" y="20"/>
                    <a:pt x="7" y="19"/>
                  </a:cubicBezTo>
                  <a:cubicBezTo>
                    <a:pt x="8" y="19"/>
                    <a:pt x="9" y="18"/>
                    <a:pt x="10" y="17"/>
                  </a:cubicBezTo>
                  <a:cubicBezTo>
                    <a:pt x="11" y="17"/>
                    <a:pt x="12" y="16"/>
                    <a:pt x="13" y="15"/>
                  </a:cubicBezTo>
                  <a:cubicBezTo>
                    <a:pt x="13" y="15"/>
                    <a:pt x="13" y="15"/>
                    <a:pt x="13" y="63"/>
                  </a:cubicBezTo>
                  <a:cubicBezTo>
                    <a:pt x="13" y="63"/>
                    <a:pt x="13" y="63"/>
                    <a:pt x="26" y="63"/>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54" name="Oval 1053"/>
            <p:cNvSpPr/>
            <p:nvPr/>
          </p:nvSpPr>
          <p:spPr bwMode="auto">
            <a:xfrm>
              <a:off x="5327648" y="2926017"/>
              <a:ext cx="1873252" cy="1873252"/>
            </a:xfrm>
            <a:prstGeom prst="ellipse">
              <a:avLst/>
            </a:prstGeom>
            <a:solidFill>
              <a:schemeClr val="accent1"/>
            </a:solidFill>
            <a:ln>
              <a:noFill/>
              <a:headEnd type="none" w="med" len="med"/>
              <a:tailEnd type="none" w="med" len="med"/>
            </a:ln>
            <a:effectLst>
              <a:outerShdw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55" name="Freeform 1054"/>
            <p:cNvSpPr>
              <a:spLocks/>
            </p:cNvSpPr>
            <p:nvPr/>
          </p:nvSpPr>
          <p:spPr bwMode="auto">
            <a:xfrm>
              <a:off x="5708648" y="3429500"/>
              <a:ext cx="1111252" cy="730994"/>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016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sp>
          <p:nvSpPr>
            <p:cNvPr id="1056" name="Freeform 313"/>
            <p:cNvSpPr>
              <a:spLocks/>
            </p:cNvSpPr>
            <p:nvPr/>
          </p:nvSpPr>
          <p:spPr bwMode="auto">
            <a:xfrm>
              <a:off x="6928581" y="4797111"/>
              <a:ext cx="80017" cy="186591"/>
            </a:xfrm>
            <a:custGeom>
              <a:avLst/>
              <a:gdLst>
                <a:gd name="T0" fmla="*/ 27 w 27"/>
                <a:gd name="T1" fmla="*/ 0 h 63"/>
                <a:gd name="T2" fmla="*/ 18 w 27"/>
                <a:gd name="T3" fmla="*/ 0 h 63"/>
                <a:gd name="T4" fmla="*/ 10 w 27"/>
                <a:gd name="T5" fmla="*/ 6 h 63"/>
                <a:gd name="T6" fmla="*/ 0 w 27"/>
                <a:gd name="T7" fmla="*/ 10 h 63"/>
                <a:gd name="T8" fmla="*/ 0 w 27"/>
                <a:gd name="T9" fmla="*/ 21 h 63"/>
                <a:gd name="T10" fmla="*/ 4 w 27"/>
                <a:gd name="T11" fmla="*/ 21 h 63"/>
                <a:gd name="T12" fmla="*/ 8 w 27"/>
                <a:gd name="T13" fmla="*/ 19 h 63"/>
                <a:gd name="T14" fmla="*/ 10 w 27"/>
                <a:gd name="T15" fmla="*/ 17 h 63"/>
                <a:gd name="T16" fmla="*/ 13 w 27"/>
                <a:gd name="T17" fmla="*/ 15 h 63"/>
                <a:gd name="T18" fmla="*/ 13 w 27"/>
                <a:gd name="T19" fmla="*/ 63 h 63"/>
                <a:gd name="T20" fmla="*/ 27 w 27"/>
                <a:gd name="T21" fmla="*/ 63 h 63"/>
                <a:gd name="T22" fmla="*/ 27 w 2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63">
                  <a:moveTo>
                    <a:pt x="27" y="0"/>
                  </a:moveTo>
                  <a:cubicBezTo>
                    <a:pt x="18" y="0"/>
                    <a:pt x="18" y="0"/>
                    <a:pt x="18" y="0"/>
                  </a:cubicBezTo>
                  <a:cubicBezTo>
                    <a:pt x="16" y="2"/>
                    <a:pt x="13" y="4"/>
                    <a:pt x="10" y="6"/>
                  </a:cubicBezTo>
                  <a:cubicBezTo>
                    <a:pt x="7" y="7"/>
                    <a:pt x="4" y="9"/>
                    <a:pt x="0" y="10"/>
                  </a:cubicBezTo>
                  <a:cubicBezTo>
                    <a:pt x="0" y="10"/>
                    <a:pt x="0" y="10"/>
                    <a:pt x="0" y="21"/>
                  </a:cubicBezTo>
                  <a:cubicBezTo>
                    <a:pt x="1" y="21"/>
                    <a:pt x="2" y="21"/>
                    <a:pt x="4" y="21"/>
                  </a:cubicBezTo>
                  <a:cubicBezTo>
                    <a:pt x="5" y="20"/>
                    <a:pt x="6" y="20"/>
                    <a:pt x="8" y="19"/>
                  </a:cubicBezTo>
                  <a:cubicBezTo>
                    <a:pt x="8" y="19"/>
                    <a:pt x="9" y="18"/>
                    <a:pt x="10" y="17"/>
                  </a:cubicBezTo>
                  <a:cubicBezTo>
                    <a:pt x="11" y="17"/>
                    <a:pt x="12" y="16"/>
                    <a:pt x="13" y="15"/>
                  </a:cubicBezTo>
                  <a:cubicBezTo>
                    <a:pt x="13" y="15"/>
                    <a:pt x="13" y="15"/>
                    <a:pt x="13" y="63"/>
                  </a:cubicBezTo>
                  <a:cubicBezTo>
                    <a:pt x="13" y="63"/>
                    <a:pt x="13" y="63"/>
                    <a:pt x="27" y="63"/>
                  </a:cubicBezTo>
                  <a:cubicBezTo>
                    <a:pt x="27" y="63"/>
                    <a:pt x="27" y="63"/>
                    <a:pt x="27" y="0"/>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sp>
          <p:nvSpPr>
            <p:cNvPr id="1057" name="Freeform 314"/>
            <p:cNvSpPr>
              <a:spLocks noEditPoints="1"/>
            </p:cNvSpPr>
            <p:nvPr/>
          </p:nvSpPr>
          <p:spPr bwMode="auto">
            <a:xfrm>
              <a:off x="7053610" y="4791160"/>
              <a:ext cx="130027" cy="191600"/>
            </a:xfrm>
            <a:custGeom>
              <a:avLst/>
              <a:gdLst>
                <a:gd name="T0" fmla="*/ 38 w 44"/>
                <a:gd name="T1" fmla="*/ 56 h 65"/>
                <a:gd name="T2" fmla="*/ 44 w 44"/>
                <a:gd name="T3" fmla="*/ 32 h 65"/>
                <a:gd name="T4" fmla="*/ 23 w 44"/>
                <a:gd name="T5" fmla="*/ 0 h 65"/>
                <a:gd name="T6" fmla="*/ 5 w 44"/>
                <a:gd name="T7" fmla="*/ 9 h 65"/>
                <a:gd name="T8" fmla="*/ 0 w 44"/>
                <a:gd name="T9" fmla="*/ 33 h 65"/>
                <a:gd name="T10" fmla="*/ 22 w 44"/>
                <a:gd name="T11" fmla="*/ 65 h 65"/>
                <a:gd name="T12" fmla="*/ 38 w 44"/>
                <a:gd name="T13" fmla="*/ 56 h 65"/>
                <a:gd name="T14" fmla="*/ 22 w 44"/>
                <a:gd name="T15" fmla="*/ 54 h 65"/>
                <a:gd name="T16" fmla="*/ 13 w 44"/>
                <a:gd name="T17" fmla="*/ 33 h 65"/>
                <a:gd name="T18" fmla="*/ 22 w 44"/>
                <a:gd name="T19" fmla="*/ 11 h 65"/>
                <a:gd name="T20" fmla="*/ 30 w 44"/>
                <a:gd name="T21" fmla="*/ 32 h 65"/>
                <a:gd name="T22" fmla="*/ 22 w 44"/>
                <a:gd name="T2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65">
                  <a:moveTo>
                    <a:pt x="38" y="56"/>
                  </a:moveTo>
                  <a:cubicBezTo>
                    <a:pt x="42" y="51"/>
                    <a:pt x="44" y="43"/>
                    <a:pt x="44" y="32"/>
                  </a:cubicBezTo>
                  <a:cubicBezTo>
                    <a:pt x="44" y="11"/>
                    <a:pt x="37" y="0"/>
                    <a:pt x="23" y="0"/>
                  </a:cubicBezTo>
                  <a:cubicBezTo>
                    <a:pt x="15" y="0"/>
                    <a:pt x="9" y="3"/>
                    <a:pt x="5" y="9"/>
                  </a:cubicBezTo>
                  <a:cubicBezTo>
                    <a:pt x="1" y="15"/>
                    <a:pt x="0" y="22"/>
                    <a:pt x="0" y="33"/>
                  </a:cubicBezTo>
                  <a:cubicBezTo>
                    <a:pt x="0" y="54"/>
                    <a:pt x="7" y="65"/>
                    <a:pt x="22" y="65"/>
                  </a:cubicBezTo>
                  <a:cubicBezTo>
                    <a:pt x="29" y="65"/>
                    <a:pt x="35" y="62"/>
                    <a:pt x="38" y="56"/>
                  </a:cubicBezTo>
                  <a:close/>
                  <a:moveTo>
                    <a:pt x="22" y="54"/>
                  </a:moveTo>
                  <a:cubicBezTo>
                    <a:pt x="16" y="54"/>
                    <a:pt x="13" y="47"/>
                    <a:pt x="13" y="33"/>
                  </a:cubicBezTo>
                  <a:cubicBezTo>
                    <a:pt x="13" y="19"/>
                    <a:pt x="16" y="11"/>
                    <a:pt x="22" y="11"/>
                  </a:cubicBezTo>
                  <a:cubicBezTo>
                    <a:pt x="27" y="11"/>
                    <a:pt x="30" y="18"/>
                    <a:pt x="30" y="32"/>
                  </a:cubicBezTo>
                  <a:cubicBezTo>
                    <a:pt x="30" y="47"/>
                    <a:pt x="27" y="54"/>
                    <a:pt x="22" y="54"/>
                  </a:cubicBezTo>
                  <a:close/>
                </a:path>
              </a:pathLst>
            </a:custGeom>
            <a:solidFill>
              <a:srgbClr val="FFFFFF">
                <a:lumMod val="7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defRPr/>
              </a:pPr>
              <a:endParaRPr lang="en-US" sz="1730" kern="0" dirty="0">
                <a:solidFill>
                  <a:srgbClr val="505050"/>
                </a:solidFill>
                <a:ea typeface="ＭＳ Ｐゴシック" charset="0"/>
              </a:endParaRPr>
            </a:p>
          </p:txBody>
        </p:sp>
        <p:grpSp>
          <p:nvGrpSpPr>
            <p:cNvPr id="1058" name="Group 1057"/>
            <p:cNvGrpSpPr/>
            <p:nvPr/>
          </p:nvGrpSpPr>
          <p:grpSpPr>
            <a:xfrm>
              <a:off x="4775684" y="5395419"/>
              <a:ext cx="403531" cy="429676"/>
              <a:chOff x="-8720138" y="412750"/>
              <a:chExt cx="4459288" cy="4748213"/>
            </a:xfrm>
            <a:solidFill>
              <a:schemeClr val="bg1"/>
            </a:solidFill>
          </p:grpSpPr>
          <p:sp>
            <p:nvSpPr>
              <p:cNvPr id="1062" name="Oval 14"/>
              <p:cNvSpPr>
                <a:spLocks noChangeArrowheads="1"/>
              </p:cNvSpPr>
              <p:nvPr/>
            </p:nvSpPr>
            <p:spPr bwMode="auto">
              <a:xfrm>
                <a:off x="-6581775" y="957263"/>
                <a:ext cx="219075" cy="217488"/>
              </a:xfrm>
              <a:prstGeom prst="ellipse">
                <a:avLst/>
              </a:pr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63" name="Oval 15"/>
              <p:cNvSpPr>
                <a:spLocks noChangeArrowheads="1"/>
              </p:cNvSpPr>
              <p:nvPr/>
            </p:nvSpPr>
            <p:spPr bwMode="auto">
              <a:xfrm>
                <a:off x="-6581775" y="1660525"/>
                <a:ext cx="219075" cy="222250"/>
              </a:xfrm>
              <a:prstGeom prst="ellipse">
                <a:avLst/>
              </a:pr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64" name="Freeform 16"/>
              <p:cNvSpPr>
                <a:spLocks noEditPoints="1"/>
              </p:cNvSpPr>
              <p:nvPr/>
            </p:nvSpPr>
            <p:spPr bwMode="auto">
              <a:xfrm>
                <a:off x="-8720138" y="412750"/>
                <a:ext cx="2876550" cy="4078288"/>
              </a:xfrm>
              <a:custGeom>
                <a:avLst/>
                <a:gdLst>
                  <a:gd name="T0" fmla="*/ 489 w 765"/>
                  <a:gd name="T1" fmla="*/ 977 h 1085"/>
                  <a:gd name="T2" fmla="*/ 133 w 765"/>
                  <a:gd name="T3" fmla="*/ 977 h 1085"/>
                  <a:gd name="T4" fmla="*/ 82 w 765"/>
                  <a:gd name="T5" fmla="*/ 929 h 1085"/>
                  <a:gd name="T6" fmla="*/ 82 w 765"/>
                  <a:gd name="T7" fmla="*/ 919 h 1085"/>
                  <a:gd name="T8" fmla="*/ 133 w 765"/>
                  <a:gd name="T9" fmla="*/ 871 h 1085"/>
                  <a:gd name="T10" fmla="*/ 402 w 765"/>
                  <a:gd name="T11" fmla="*/ 871 h 1085"/>
                  <a:gd name="T12" fmla="*/ 489 w 765"/>
                  <a:gd name="T13" fmla="*/ 871 h 1085"/>
                  <a:gd name="T14" fmla="*/ 489 w 765"/>
                  <a:gd name="T15" fmla="*/ 790 h 1085"/>
                  <a:gd name="T16" fmla="*/ 133 w 765"/>
                  <a:gd name="T17" fmla="*/ 790 h 1085"/>
                  <a:gd name="T18" fmla="*/ 82 w 765"/>
                  <a:gd name="T19" fmla="*/ 742 h 1085"/>
                  <a:gd name="T20" fmla="*/ 82 w 765"/>
                  <a:gd name="T21" fmla="*/ 732 h 1085"/>
                  <a:gd name="T22" fmla="*/ 133 w 765"/>
                  <a:gd name="T23" fmla="*/ 684 h 1085"/>
                  <a:gd name="T24" fmla="*/ 402 w 765"/>
                  <a:gd name="T25" fmla="*/ 684 h 1085"/>
                  <a:gd name="T26" fmla="*/ 489 w 765"/>
                  <a:gd name="T27" fmla="*/ 684 h 1085"/>
                  <a:gd name="T28" fmla="*/ 489 w 765"/>
                  <a:gd name="T29" fmla="*/ 649 h 1085"/>
                  <a:gd name="T30" fmla="*/ 497 w 765"/>
                  <a:gd name="T31" fmla="*/ 602 h 1085"/>
                  <a:gd name="T32" fmla="*/ 133 w 765"/>
                  <a:gd name="T33" fmla="*/ 602 h 1085"/>
                  <a:gd name="T34" fmla="*/ 82 w 765"/>
                  <a:gd name="T35" fmla="*/ 555 h 1085"/>
                  <a:gd name="T36" fmla="*/ 82 w 765"/>
                  <a:gd name="T37" fmla="*/ 545 h 1085"/>
                  <a:gd name="T38" fmla="*/ 133 w 765"/>
                  <a:gd name="T39" fmla="*/ 497 h 1085"/>
                  <a:gd name="T40" fmla="*/ 402 w 765"/>
                  <a:gd name="T41" fmla="*/ 497 h 1085"/>
                  <a:gd name="T42" fmla="*/ 609 w 765"/>
                  <a:gd name="T43" fmla="*/ 497 h 1085"/>
                  <a:gd name="T44" fmla="*/ 631 w 765"/>
                  <a:gd name="T45" fmla="*/ 488 h 1085"/>
                  <a:gd name="T46" fmla="*/ 650 w 765"/>
                  <a:gd name="T47" fmla="*/ 480 h 1085"/>
                  <a:gd name="T48" fmla="*/ 746 w 765"/>
                  <a:gd name="T49" fmla="*/ 457 h 1085"/>
                  <a:gd name="T50" fmla="*/ 765 w 765"/>
                  <a:gd name="T51" fmla="*/ 454 h 1085"/>
                  <a:gd name="T52" fmla="*/ 765 w 765"/>
                  <a:gd name="T53" fmla="*/ 0 h 1085"/>
                  <a:gd name="T54" fmla="*/ 0 w 765"/>
                  <a:gd name="T55" fmla="*/ 0 h 1085"/>
                  <a:gd name="T56" fmla="*/ 0 w 765"/>
                  <a:gd name="T57" fmla="*/ 1085 h 1085"/>
                  <a:gd name="T58" fmla="*/ 489 w 765"/>
                  <a:gd name="T59" fmla="*/ 1085 h 1085"/>
                  <a:gd name="T60" fmla="*/ 489 w 765"/>
                  <a:gd name="T61" fmla="*/ 977 h 1085"/>
                  <a:gd name="T62" fmla="*/ 82 w 765"/>
                  <a:gd name="T63" fmla="*/ 171 h 1085"/>
                  <a:gd name="T64" fmla="*/ 133 w 765"/>
                  <a:gd name="T65" fmla="*/ 123 h 1085"/>
                  <a:gd name="T66" fmla="*/ 402 w 765"/>
                  <a:gd name="T67" fmla="*/ 123 h 1085"/>
                  <a:gd name="T68" fmla="*/ 632 w 765"/>
                  <a:gd name="T69" fmla="*/ 123 h 1085"/>
                  <a:gd name="T70" fmla="*/ 683 w 765"/>
                  <a:gd name="T71" fmla="*/ 171 h 1085"/>
                  <a:gd name="T72" fmla="*/ 683 w 765"/>
                  <a:gd name="T73" fmla="*/ 180 h 1085"/>
                  <a:gd name="T74" fmla="*/ 632 w 765"/>
                  <a:gd name="T75" fmla="*/ 228 h 1085"/>
                  <a:gd name="T76" fmla="*/ 133 w 765"/>
                  <a:gd name="T77" fmla="*/ 228 h 1085"/>
                  <a:gd name="T78" fmla="*/ 82 w 765"/>
                  <a:gd name="T79" fmla="*/ 180 h 1085"/>
                  <a:gd name="T80" fmla="*/ 82 w 765"/>
                  <a:gd name="T81" fmla="*/ 171 h 1085"/>
                  <a:gd name="T82" fmla="*/ 82 w 765"/>
                  <a:gd name="T83" fmla="*/ 358 h 1085"/>
                  <a:gd name="T84" fmla="*/ 133 w 765"/>
                  <a:gd name="T85" fmla="*/ 310 h 1085"/>
                  <a:gd name="T86" fmla="*/ 402 w 765"/>
                  <a:gd name="T87" fmla="*/ 310 h 1085"/>
                  <a:gd name="T88" fmla="*/ 632 w 765"/>
                  <a:gd name="T89" fmla="*/ 310 h 1085"/>
                  <a:gd name="T90" fmla="*/ 683 w 765"/>
                  <a:gd name="T91" fmla="*/ 358 h 1085"/>
                  <a:gd name="T92" fmla="*/ 683 w 765"/>
                  <a:gd name="T93" fmla="*/ 367 h 1085"/>
                  <a:gd name="T94" fmla="*/ 632 w 765"/>
                  <a:gd name="T95" fmla="*/ 415 h 1085"/>
                  <a:gd name="T96" fmla="*/ 133 w 765"/>
                  <a:gd name="T97" fmla="*/ 415 h 1085"/>
                  <a:gd name="T98" fmla="*/ 82 w 765"/>
                  <a:gd name="T99" fmla="*/ 367 h 1085"/>
                  <a:gd name="T100" fmla="*/ 82 w 765"/>
                  <a:gd name="T101" fmla="*/ 358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1085">
                    <a:moveTo>
                      <a:pt x="489" y="977"/>
                    </a:moveTo>
                    <a:cubicBezTo>
                      <a:pt x="133" y="977"/>
                      <a:pt x="133" y="977"/>
                      <a:pt x="133" y="977"/>
                    </a:cubicBezTo>
                    <a:cubicBezTo>
                      <a:pt x="82" y="977"/>
                      <a:pt x="82" y="929"/>
                      <a:pt x="82" y="929"/>
                    </a:cubicBezTo>
                    <a:cubicBezTo>
                      <a:pt x="82" y="919"/>
                      <a:pt x="82" y="919"/>
                      <a:pt x="82" y="919"/>
                    </a:cubicBezTo>
                    <a:cubicBezTo>
                      <a:pt x="82" y="871"/>
                      <a:pt x="133" y="871"/>
                      <a:pt x="133" y="871"/>
                    </a:cubicBezTo>
                    <a:cubicBezTo>
                      <a:pt x="402" y="871"/>
                      <a:pt x="402" y="871"/>
                      <a:pt x="402" y="871"/>
                    </a:cubicBezTo>
                    <a:cubicBezTo>
                      <a:pt x="489" y="871"/>
                      <a:pt x="489" y="871"/>
                      <a:pt x="489" y="871"/>
                    </a:cubicBezTo>
                    <a:cubicBezTo>
                      <a:pt x="489" y="790"/>
                      <a:pt x="489" y="790"/>
                      <a:pt x="489" y="790"/>
                    </a:cubicBezTo>
                    <a:cubicBezTo>
                      <a:pt x="133" y="790"/>
                      <a:pt x="133" y="790"/>
                      <a:pt x="133" y="790"/>
                    </a:cubicBezTo>
                    <a:cubicBezTo>
                      <a:pt x="82" y="790"/>
                      <a:pt x="82" y="742"/>
                      <a:pt x="82" y="742"/>
                    </a:cubicBezTo>
                    <a:cubicBezTo>
                      <a:pt x="82" y="732"/>
                      <a:pt x="82" y="732"/>
                      <a:pt x="82" y="732"/>
                    </a:cubicBezTo>
                    <a:cubicBezTo>
                      <a:pt x="82" y="684"/>
                      <a:pt x="133" y="684"/>
                      <a:pt x="133" y="684"/>
                    </a:cubicBezTo>
                    <a:cubicBezTo>
                      <a:pt x="402" y="684"/>
                      <a:pt x="402" y="684"/>
                      <a:pt x="402" y="684"/>
                    </a:cubicBezTo>
                    <a:cubicBezTo>
                      <a:pt x="489" y="684"/>
                      <a:pt x="489" y="684"/>
                      <a:pt x="489" y="684"/>
                    </a:cubicBezTo>
                    <a:cubicBezTo>
                      <a:pt x="489" y="649"/>
                      <a:pt x="489" y="649"/>
                      <a:pt x="489" y="649"/>
                    </a:cubicBezTo>
                    <a:cubicBezTo>
                      <a:pt x="489" y="636"/>
                      <a:pt x="491" y="620"/>
                      <a:pt x="497" y="602"/>
                    </a:cubicBezTo>
                    <a:cubicBezTo>
                      <a:pt x="133" y="602"/>
                      <a:pt x="133" y="602"/>
                      <a:pt x="133" y="602"/>
                    </a:cubicBezTo>
                    <a:cubicBezTo>
                      <a:pt x="82" y="602"/>
                      <a:pt x="82" y="555"/>
                      <a:pt x="82" y="555"/>
                    </a:cubicBezTo>
                    <a:cubicBezTo>
                      <a:pt x="82" y="545"/>
                      <a:pt x="82" y="545"/>
                      <a:pt x="82" y="545"/>
                    </a:cubicBezTo>
                    <a:cubicBezTo>
                      <a:pt x="82" y="497"/>
                      <a:pt x="133" y="497"/>
                      <a:pt x="133" y="497"/>
                    </a:cubicBezTo>
                    <a:cubicBezTo>
                      <a:pt x="402" y="497"/>
                      <a:pt x="402" y="497"/>
                      <a:pt x="402" y="497"/>
                    </a:cubicBezTo>
                    <a:cubicBezTo>
                      <a:pt x="609" y="497"/>
                      <a:pt x="609" y="497"/>
                      <a:pt x="609" y="497"/>
                    </a:cubicBezTo>
                    <a:cubicBezTo>
                      <a:pt x="616" y="494"/>
                      <a:pt x="623" y="490"/>
                      <a:pt x="631" y="488"/>
                    </a:cubicBezTo>
                    <a:cubicBezTo>
                      <a:pt x="637" y="485"/>
                      <a:pt x="643" y="483"/>
                      <a:pt x="650" y="480"/>
                    </a:cubicBezTo>
                    <a:cubicBezTo>
                      <a:pt x="679" y="470"/>
                      <a:pt x="712" y="462"/>
                      <a:pt x="746" y="457"/>
                    </a:cubicBezTo>
                    <a:cubicBezTo>
                      <a:pt x="752" y="456"/>
                      <a:pt x="759" y="455"/>
                      <a:pt x="765" y="454"/>
                    </a:cubicBezTo>
                    <a:cubicBezTo>
                      <a:pt x="765" y="0"/>
                      <a:pt x="765" y="0"/>
                      <a:pt x="765" y="0"/>
                    </a:cubicBezTo>
                    <a:cubicBezTo>
                      <a:pt x="0" y="0"/>
                      <a:pt x="0" y="0"/>
                      <a:pt x="0" y="0"/>
                    </a:cubicBezTo>
                    <a:cubicBezTo>
                      <a:pt x="0" y="1085"/>
                      <a:pt x="0" y="1085"/>
                      <a:pt x="0" y="1085"/>
                    </a:cubicBezTo>
                    <a:cubicBezTo>
                      <a:pt x="489" y="1085"/>
                      <a:pt x="489" y="1085"/>
                      <a:pt x="489" y="1085"/>
                    </a:cubicBezTo>
                    <a:lnTo>
                      <a:pt x="489" y="977"/>
                    </a:lnTo>
                    <a:close/>
                    <a:moveTo>
                      <a:pt x="82" y="171"/>
                    </a:moveTo>
                    <a:cubicBezTo>
                      <a:pt x="82" y="123"/>
                      <a:pt x="133" y="123"/>
                      <a:pt x="133" y="123"/>
                    </a:cubicBezTo>
                    <a:cubicBezTo>
                      <a:pt x="402" y="123"/>
                      <a:pt x="402" y="123"/>
                      <a:pt x="402" y="123"/>
                    </a:cubicBezTo>
                    <a:cubicBezTo>
                      <a:pt x="632" y="123"/>
                      <a:pt x="632" y="123"/>
                      <a:pt x="632" y="123"/>
                    </a:cubicBezTo>
                    <a:cubicBezTo>
                      <a:pt x="683" y="123"/>
                      <a:pt x="683" y="171"/>
                      <a:pt x="683" y="171"/>
                    </a:cubicBezTo>
                    <a:cubicBezTo>
                      <a:pt x="683" y="180"/>
                      <a:pt x="683" y="180"/>
                      <a:pt x="683" y="180"/>
                    </a:cubicBezTo>
                    <a:cubicBezTo>
                      <a:pt x="683" y="228"/>
                      <a:pt x="632" y="228"/>
                      <a:pt x="632" y="228"/>
                    </a:cubicBezTo>
                    <a:cubicBezTo>
                      <a:pt x="133" y="228"/>
                      <a:pt x="133" y="228"/>
                      <a:pt x="133" y="228"/>
                    </a:cubicBezTo>
                    <a:cubicBezTo>
                      <a:pt x="82" y="228"/>
                      <a:pt x="82" y="180"/>
                      <a:pt x="82" y="180"/>
                    </a:cubicBezTo>
                    <a:lnTo>
                      <a:pt x="82" y="171"/>
                    </a:lnTo>
                    <a:close/>
                    <a:moveTo>
                      <a:pt x="82" y="358"/>
                    </a:moveTo>
                    <a:cubicBezTo>
                      <a:pt x="82" y="310"/>
                      <a:pt x="133" y="310"/>
                      <a:pt x="133" y="310"/>
                    </a:cubicBezTo>
                    <a:cubicBezTo>
                      <a:pt x="402" y="310"/>
                      <a:pt x="402" y="310"/>
                      <a:pt x="402" y="310"/>
                    </a:cubicBezTo>
                    <a:cubicBezTo>
                      <a:pt x="632" y="310"/>
                      <a:pt x="632" y="310"/>
                      <a:pt x="632" y="310"/>
                    </a:cubicBezTo>
                    <a:cubicBezTo>
                      <a:pt x="683" y="310"/>
                      <a:pt x="683" y="358"/>
                      <a:pt x="683" y="358"/>
                    </a:cubicBezTo>
                    <a:cubicBezTo>
                      <a:pt x="683" y="367"/>
                      <a:pt x="683" y="367"/>
                      <a:pt x="683" y="367"/>
                    </a:cubicBezTo>
                    <a:cubicBezTo>
                      <a:pt x="683" y="415"/>
                      <a:pt x="632" y="415"/>
                      <a:pt x="632" y="415"/>
                    </a:cubicBezTo>
                    <a:cubicBezTo>
                      <a:pt x="133" y="415"/>
                      <a:pt x="133" y="415"/>
                      <a:pt x="133" y="415"/>
                    </a:cubicBezTo>
                    <a:cubicBezTo>
                      <a:pt x="82" y="415"/>
                      <a:pt x="82" y="367"/>
                      <a:pt x="82" y="367"/>
                    </a:cubicBezTo>
                    <a:lnTo>
                      <a:pt x="82" y="358"/>
                    </a:lnTo>
                    <a:close/>
                  </a:path>
                </a:pathLst>
              </a:cu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65" name="Freeform 17"/>
              <p:cNvSpPr>
                <a:spLocks noEditPoints="1"/>
              </p:cNvSpPr>
              <p:nvPr/>
            </p:nvSpPr>
            <p:spPr bwMode="auto">
              <a:xfrm>
                <a:off x="-6581775" y="2389188"/>
                <a:ext cx="2320925" cy="2771775"/>
              </a:xfrm>
              <a:custGeom>
                <a:avLst/>
                <a:gdLst>
                  <a:gd name="T0" fmla="*/ 593 w 617"/>
                  <a:gd name="T1" fmla="*/ 75 h 737"/>
                  <a:gd name="T2" fmla="*/ 533 w 617"/>
                  <a:gd name="T3" fmla="*/ 39 h 737"/>
                  <a:gd name="T4" fmla="*/ 533 w 617"/>
                  <a:gd name="T5" fmla="*/ 39 h 737"/>
                  <a:gd name="T6" fmla="*/ 526 w 617"/>
                  <a:gd name="T7" fmla="*/ 36 h 737"/>
                  <a:gd name="T8" fmla="*/ 427 w 617"/>
                  <a:gd name="T9" fmla="*/ 10 h 737"/>
                  <a:gd name="T10" fmla="*/ 309 w 617"/>
                  <a:gd name="T11" fmla="*/ 0 h 737"/>
                  <a:gd name="T12" fmla="*/ 190 w 617"/>
                  <a:gd name="T13" fmla="*/ 10 h 737"/>
                  <a:gd name="T14" fmla="*/ 107 w 617"/>
                  <a:gd name="T15" fmla="*/ 30 h 737"/>
                  <a:gd name="T16" fmla="*/ 91 w 617"/>
                  <a:gd name="T17" fmla="*/ 36 h 737"/>
                  <a:gd name="T18" fmla="*/ 24 w 617"/>
                  <a:gd name="T19" fmla="*/ 75 h 737"/>
                  <a:gd name="T20" fmla="*/ 0 w 617"/>
                  <a:gd name="T21" fmla="*/ 123 h 737"/>
                  <a:gd name="T22" fmla="*/ 0 w 617"/>
                  <a:gd name="T23" fmla="*/ 614 h 737"/>
                  <a:gd name="T24" fmla="*/ 6 w 617"/>
                  <a:gd name="T25" fmla="*/ 639 h 737"/>
                  <a:gd name="T26" fmla="*/ 24 w 617"/>
                  <a:gd name="T27" fmla="*/ 662 h 737"/>
                  <a:gd name="T28" fmla="*/ 91 w 617"/>
                  <a:gd name="T29" fmla="*/ 701 h 737"/>
                  <a:gd name="T30" fmla="*/ 107 w 617"/>
                  <a:gd name="T31" fmla="*/ 707 h 737"/>
                  <a:gd name="T32" fmla="*/ 309 w 617"/>
                  <a:gd name="T33" fmla="*/ 737 h 737"/>
                  <a:gd name="T34" fmla="*/ 526 w 617"/>
                  <a:gd name="T35" fmla="*/ 701 h 737"/>
                  <a:gd name="T36" fmla="*/ 533 w 617"/>
                  <a:gd name="T37" fmla="*/ 698 h 737"/>
                  <a:gd name="T38" fmla="*/ 533 w 617"/>
                  <a:gd name="T39" fmla="*/ 698 h 737"/>
                  <a:gd name="T40" fmla="*/ 593 w 617"/>
                  <a:gd name="T41" fmla="*/ 662 h 737"/>
                  <a:gd name="T42" fmla="*/ 611 w 617"/>
                  <a:gd name="T43" fmla="*/ 639 h 737"/>
                  <a:gd name="T44" fmla="*/ 617 w 617"/>
                  <a:gd name="T45" fmla="*/ 614 h 737"/>
                  <a:gd name="T46" fmla="*/ 617 w 617"/>
                  <a:gd name="T47" fmla="*/ 123 h 737"/>
                  <a:gd name="T48" fmla="*/ 593 w 617"/>
                  <a:gd name="T49" fmla="*/ 75 h 737"/>
                  <a:gd name="T50" fmla="*/ 532 w 617"/>
                  <a:gd name="T51" fmla="*/ 145 h 737"/>
                  <a:gd name="T52" fmla="*/ 532 w 617"/>
                  <a:gd name="T53" fmla="*/ 145 h 737"/>
                  <a:gd name="T54" fmla="*/ 309 w 617"/>
                  <a:gd name="T55" fmla="*/ 184 h 737"/>
                  <a:gd name="T56" fmla="*/ 107 w 617"/>
                  <a:gd name="T57" fmla="*/ 155 h 737"/>
                  <a:gd name="T58" fmla="*/ 54 w 617"/>
                  <a:gd name="T59" fmla="*/ 111 h 737"/>
                  <a:gd name="T60" fmla="*/ 107 w 617"/>
                  <a:gd name="T61" fmla="*/ 64 h 737"/>
                  <a:gd name="T62" fmla="*/ 309 w 617"/>
                  <a:gd name="T63" fmla="*/ 32 h 737"/>
                  <a:gd name="T64" fmla="*/ 309 w 617"/>
                  <a:gd name="T65" fmla="*/ 32 h 737"/>
                  <a:gd name="T66" fmla="*/ 309 w 617"/>
                  <a:gd name="T67" fmla="*/ 32 h 737"/>
                  <a:gd name="T68" fmla="*/ 532 w 617"/>
                  <a:gd name="T69" fmla="*/ 74 h 737"/>
                  <a:gd name="T70" fmla="*/ 532 w 617"/>
                  <a:gd name="T71" fmla="*/ 74 h 737"/>
                  <a:gd name="T72" fmla="*/ 562 w 617"/>
                  <a:gd name="T73" fmla="*/ 111 h 737"/>
                  <a:gd name="T74" fmla="*/ 532 w 617"/>
                  <a:gd name="T75" fmla="*/ 145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7" h="737">
                    <a:moveTo>
                      <a:pt x="593" y="75"/>
                    </a:moveTo>
                    <a:cubicBezTo>
                      <a:pt x="578" y="62"/>
                      <a:pt x="558" y="49"/>
                      <a:pt x="533" y="39"/>
                    </a:cubicBezTo>
                    <a:cubicBezTo>
                      <a:pt x="533" y="39"/>
                      <a:pt x="533" y="39"/>
                      <a:pt x="533" y="39"/>
                    </a:cubicBezTo>
                    <a:cubicBezTo>
                      <a:pt x="531" y="38"/>
                      <a:pt x="528" y="37"/>
                      <a:pt x="526" y="36"/>
                    </a:cubicBezTo>
                    <a:cubicBezTo>
                      <a:pt x="498" y="25"/>
                      <a:pt x="464" y="16"/>
                      <a:pt x="427" y="10"/>
                    </a:cubicBezTo>
                    <a:cubicBezTo>
                      <a:pt x="391" y="4"/>
                      <a:pt x="351" y="0"/>
                      <a:pt x="309" y="0"/>
                    </a:cubicBezTo>
                    <a:cubicBezTo>
                      <a:pt x="267" y="0"/>
                      <a:pt x="227" y="4"/>
                      <a:pt x="190" y="10"/>
                    </a:cubicBezTo>
                    <a:cubicBezTo>
                      <a:pt x="160" y="15"/>
                      <a:pt x="132" y="22"/>
                      <a:pt x="107" y="30"/>
                    </a:cubicBezTo>
                    <a:cubicBezTo>
                      <a:pt x="102" y="32"/>
                      <a:pt x="96" y="34"/>
                      <a:pt x="91" y="36"/>
                    </a:cubicBezTo>
                    <a:cubicBezTo>
                      <a:pt x="63" y="47"/>
                      <a:pt x="40" y="60"/>
                      <a:pt x="24" y="75"/>
                    </a:cubicBezTo>
                    <a:cubicBezTo>
                      <a:pt x="8" y="90"/>
                      <a:pt x="0" y="106"/>
                      <a:pt x="0" y="123"/>
                    </a:cubicBezTo>
                    <a:cubicBezTo>
                      <a:pt x="0" y="614"/>
                      <a:pt x="0" y="614"/>
                      <a:pt x="0" y="614"/>
                    </a:cubicBezTo>
                    <a:cubicBezTo>
                      <a:pt x="0" y="622"/>
                      <a:pt x="2" y="631"/>
                      <a:pt x="6" y="639"/>
                    </a:cubicBezTo>
                    <a:cubicBezTo>
                      <a:pt x="10" y="647"/>
                      <a:pt x="16" y="654"/>
                      <a:pt x="24" y="662"/>
                    </a:cubicBezTo>
                    <a:cubicBezTo>
                      <a:pt x="40" y="676"/>
                      <a:pt x="63" y="690"/>
                      <a:pt x="91" y="701"/>
                    </a:cubicBezTo>
                    <a:cubicBezTo>
                      <a:pt x="96" y="703"/>
                      <a:pt x="102" y="705"/>
                      <a:pt x="107" y="707"/>
                    </a:cubicBezTo>
                    <a:cubicBezTo>
                      <a:pt x="161" y="725"/>
                      <a:pt x="232" y="736"/>
                      <a:pt x="309" y="737"/>
                    </a:cubicBezTo>
                    <a:cubicBezTo>
                      <a:pt x="394" y="736"/>
                      <a:pt x="470" y="723"/>
                      <a:pt x="526" y="701"/>
                    </a:cubicBezTo>
                    <a:cubicBezTo>
                      <a:pt x="528" y="700"/>
                      <a:pt x="531" y="699"/>
                      <a:pt x="533" y="698"/>
                    </a:cubicBezTo>
                    <a:cubicBezTo>
                      <a:pt x="533" y="698"/>
                      <a:pt x="533" y="698"/>
                      <a:pt x="533" y="698"/>
                    </a:cubicBezTo>
                    <a:cubicBezTo>
                      <a:pt x="558" y="687"/>
                      <a:pt x="578" y="675"/>
                      <a:pt x="593" y="662"/>
                    </a:cubicBezTo>
                    <a:cubicBezTo>
                      <a:pt x="601" y="654"/>
                      <a:pt x="607" y="647"/>
                      <a:pt x="611" y="639"/>
                    </a:cubicBezTo>
                    <a:cubicBezTo>
                      <a:pt x="615" y="631"/>
                      <a:pt x="617" y="622"/>
                      <a:pt x="617" y="614"/>
                    </a:cubicBezTo>
                    <a:cubicBezTo>
                      <a:pt x="617" y="123"/>
                      <a:pt x="617" y="123"/>
                      <a:pt x="617" y="123"/>
                    </a:cubicBezTo>
                    <a:cubicBezTo>
                      <a:pt x="617" y="106"/>
                      <a:pt x="608" y="90"/>
                      <a:pt x="593" y="75"/>
                    </a:cubicBezTo>
                    <a:close/>
                    <a:moveTo>
                      <a:pt x="532" y="145"/>
                    </a:moveTo>
                    <a:cubicBezTo>
                      <a:pt x="532" y="145"/>
                      <a:pt x="532" y="145"/>
                      <a:pt x="532" y="145"/>
                    </a:cubicBezTo>
                    <a:cubicBezTo>
                      <a:pt x="489" y="168"/>
                      <a:pt x="406" y="184"/>
                      <a:pt x="309" y="184"/>
                    </a:cubicBezTo>
                    <a:cubicBezTo>
                      <a:pt x="226" y="184"/>
                      <a:pt x="154" y="172"/>
                      <a:pt x="107" y="155"/>
                    </a:cubicBezTo>
                    <a:cubicBezTo>
                      <a:pt x="74" y="143"/>
                      <a:pt x="54" y="127"/>
                      <a:pt x="54" y="111"/>
                    </a:cubicBezTo>
                    <a:cubicBezTo>
                      <a:pt x="54" y="93"/>
                      <a:pt x="74" y="77"/>
                      <a:pt x="107" y="64"/>
                    </a:cubicBezTo>
                    <a:cubicBezTo>
                      <a:pt x="153" y="45"/>
                      <a:pt x="225" y="32"/>
                      <a:pt x="309" y="32"/>
                    </a:cubicBezTo>
                    <a:cubicBezTo>
                      <a:pt x="309" y="32"/>
                      <a:pt x="309" y="32"/>
                      <a:pt x="309" y="32"/>
                    </a:cubicBezTo>
                    <a:cubicBezTo>
                      <a:pt x="309" y="32"/>
                      <a:pt x="309" y="32"/>
                      <a:pt x="309" y="32"/>
                    </a:cubicBezTo>
                    <a:cubicBezTo>
                      <a:pt x="407" y="32"/>
                      <a:pt x="490" y="50"/>
                      <a:pt x="532" y="74"/>
                    </a:cubicBezTo>
                    <a:cubicBezTo>
                      <a:pt x="532" y="74"/>
                      <a:pt x="532" y="74"/>
                      <a:pt x="532" y="74"/>
                    </a:cubicBezTo>
                    <a:cubicBezTo>
                      <a:pt x="552" y="85"/>
                      <a:pt x="562" y="98"/>
                      <a:pt x="562" y="111"/>
                    </a:cubicBezTo>
                    <a:cubicBezTo>
                      <a:pt x="562" y="123"/>
                      <a:pt x="552" y="135"/>
                      <a:pt x="532" y="145"/>
                    </a:cubicBezTo>
                    <a:close/>
                  </a:path>
                </a:pathLst>
              </a:custGeom>
              <a:grp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1059" name="Group 1058"/>
            <p:cNvGrpSpPr/>
            <p:nvPr/>
          </p:nvGrpSpPr>
          <p:grpSpPr>
            <a:xfrm>
              <a:off x="8279347" y="3865160"/>
              <a:ext cx="332167" cy="443262"/>
              <a:chOff x="-9759950" y="-1301750"/>
              <a:chExt cx="7062787" cy="9424988"/>
            </a:xfrm>
            <a:solidFill>
              <a:schemeClr val="bg1"/>
            </a:solidFill>
          </p:grpSpPr>
          <p:sp>
            <p:nvSpPr>
              <p:cNvPr id="1060" name="Freeform 21"/>
              <p:cNvSpPr>
                <a:spLocks noEditPoints="1"/>
              </p:cNvSpPr>
              <p:nvPr/>
            </p:nvSpPr>
            <p:spPr bwMode="auto">
              <a:xfrm>
                <a:off x="-9759950" y="2674938"/>
                <a:ext cx="4425950" cy="5448300"/>
              </a:xfrm>
              <a:custGeom>
                <a:avLst/>
                <a:gdLst>
                  <a:gd name="T0" fmla="*/ 0 w 2788"/>
                  <a:gd name="T1" fmla="*/ 0 h 3432"/>
                  <a:gd name="T2" fmla="*/ 0 w 2788"/>
                  <a:gd name="T3" fmla="*/ 3432 h 3432"/>
                  <a:gd name="T4" fmla="*/ 904 w 2788"/>
                  <a:gd name="T5" fmla="*/ 3432 h 3432"/>
                  <a:gd name="T6" fmla="*/ 904 w 2788"/>
                  <a:gd name="T7" fmla="*/ 2729 h 3432"/>
                  <a:gd name="T8" fmla="*/ 1266 w 2788"/>
                  <a:gd name="T9" fmla="*/ 2729 h 3432"/>
                  <a:gd name="T10" fmla="*/ 1266 w 2788"/>
                  <a:gd name="T11" fmla="*/ 3432 h 3432"/>
                  <a:gd name="T12" fmla="*/ 1531 w 2788"/>
                  <a:gd name="T13" fmla="*/ 3432 h 3432"/>
                  <a:gd name="T14" fmla="*/ 1531 w 2788"/>
                  <a:gd name="T15" fmla="*/ 2729 h 3432"/>
                  <a:gd name="T16" fmla="*/ 1896 w 2788"/>
                  <a:gd name="T17" fmla="*/ 2729 h 3432"/>
                  <a:gd name="T18" fmla="*/ 1896 w 2788"/>
                  <a:gd name="T19" fmla="*/ 3432 h 3432"/>
                  <a:gd name="T20" fmla="*/ 2788 w 2788"/>
                  <a:gd name="T21" fmla="*/ 3432 h 3432"/>
                  <a:gd name="T22" fmla="*/ 2788 w 2788"/>
                  <a:gd name="T23" fmla="*/ 0 h 3432"/>
                  <a:gd name="T24" fmla="*/ 0 w 2788"/>
                  <a:gd name="T25" fmla="*/ 0 h 3432"/>
                  <a:gd name="T26" fmla="*/ 2525 w 2788"/>
                  <a:gd name="T27" fmla="*/ 2504 h 3432"/>
                  <a:gd name="T28" fmla="*/ 275 w 2788"/>
                  <a:gd name="T29" fmla="*/ 2504 h 3432"/>
                  <a:gd name="T30" fmla="*/ 275 w 2788"/>
                  <a:gd name="T31" fmla="*/ 2145 h 3432"/>
                  <a:gd name="T32" fmla="*/ 2525 w 2788"/>
                  <a:gd name="T33" fmla="*/ 2145 h 3432"/>
                  <a:gd name="T34" fmla="*/ 2525 w 2788"/>
                  <a:gd name="T35" fmla="*/ 2504 h 3432"/>
                  <a:gd name="T36" fmla="*/ 2525 w 2788"/>
                  <a:gd name="T37" fmla="*/ 1880 h 3432"/>
                  <a:gd name="T38" fmla="*/ 275 w 2788"/>
                  <a:gd name="T39" fmla="*/ 1880 h 3432"/>
                  <a:gd name="T40" fmla="*/ 275 w 2788"/>
                  <a:gd name="T41" fmla="*/ 1518 h 3432"/>
                  <a:gd name="T42" fmla="*/ 2525 w 2788"/>
                  <a:gd name="T43" fmla="*/ 1518 h 3432"/>
                  <a:gd name="T44" fmla="*/ 2525 w 2788"/>
                  <a:gd name="T45" fmla="*/ 1880 h 3432"/>
                  <a:gd name="T46" fmla="*/ 2525 w 2788"/>
                  <a:gd name="T47" fmla="*/ 1253 h 3432"/>
                  <a:gd name="T48" fmla="*/ 275 w 2788"/>
                  <a:gd name="T49" fmla="*/ 1253 h 3432"/>
                  <a:gd name="T50" fmla="*/ 275 w 2788"/>
                  <a:gd name="T51" fmla="*/ 894 h 3432"/>
                  <a:gd name="T52" fmla="*/ 2525 w 2788"/>
                  <a:gd name="T53" fmla="*/ 894 h 3432"/>
                  <a:gd name="T54" fmla="*/ 2525 w 2788"/>
                  <a:gd name="T55" fmla="*/ 1253 h 3432"/>
                  <a:gd name="T56" fmla="*/ 2525 w 2788"/>
                  <a:gd name="T57" fmla="*/ 629 h 3432"/>
                  <a:gd name="T58" fmla="*/ 275 w 2788"/>
                  <a:gd name="T59" fmla="*/ 629 h 3432"/>
                  <a:gd name="T60" fmla="*/ 275 w 2788"/>
                  <a:gd name="T61" fmla="*/ 267 h 3432"/>
                  <a:gd name="T62" fmla="*/ 2525 w 2788"/>
                  <a:gd name="T63" fmla="*/ 267 h 3432"/>
                  <a:gd name="T64" fmla="*/ 2525 w 2788"/>
                  <a:gd name="T65" fmla="*/ 62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8" h="3432">
                    <a:moveTo>
                      <a:pt x="0" y="0"/>
                    </a:moveTo>
                    <a:lnTo>
                      <a:pt x="0" y="3432"/>
                    </a:lnTo>
                    <a:lnTo>
                      <a:pt x="904" y="3432"/>
                    </a:lnTo>
                    <a:lnTo>
                      <a:pt x="904" y="2729"/>
                    </a:lnTo>
                    <a:lnTo>
                      <a:pt x="1266" y="2729"/>
                    </a:lnTo>
                    <a:lnTo>
                      <a:pt x="1266" y="3432"/>
                    </a:lnTo>
                    <a:lnTo>
                      <a:pt x="1531" y="3432"/>
                    </a:lnTo>
                    <a:lnTo>
                      <a:pt x="1531" y="2729"/>
                    </a:lnTo>
                    <a:lnTo>
                      <a:pt x="1896" y="2729"/>
                    </a:lnTo>
                    <a:lnTo>
                      <a:pt x="1896" y="3432"/>
                    </a:lnTo>
                    <a:lnTo>
                      <a:pt x="2788" y="3432"/>
                    </a:lnTo>
                    <a:lnTo>
                      <a:pt x="2788" y="0"/>
                    </a:lnTo>
                    <a:lnTo>
                      <a:pt x="0" y="0"/>
                    </a:lnTo>
                    <a:close/>
                    <a:moveTo>
                      <a:pt x="2525" y="2504"/>
                    </a:moveTo>
                    <a:lnTo>
                      <a:pt x="275" y="2504"/>
                    </a:lnTo>
                    <a:lnTo>
                      <a:pt x="275" y="2145"/>
                    </a:lnTo>
                    <a:lnTo>
                      <a:pt x="2525" y="2145"/>
                    </a:lnTo>
                    <a:lnTo>
                      <a:pt x="2525" y="2504"/>
                    </a:lnTo>
                    <a:close/>
                    <a:moveTo>
                      <a:pt x="2525" y="1880"/>
                    </a:moveTo>
                    <a:lnTo>
                      <a:pt x="275" y="1880"/>
                    </a:lnTo>
                    <a:lnTo>
                      <a:pt x="275" y="1518"/>
                    </a:lnTo>
                    <a:lnTo>
                      <a:pt x="2525" y="1518"/>
                    </a:lnTo>
                    <a:lnTo>
                      <a:pt x="2525" y="1880"/>
                    </a:lnTo>
                    <a:close/>
                    <a:moveTo>
                      <a:pt x="2525" y="1253"/>
                    </a:moveTo>
                    <a:lnTo>
                      <a:pt x="275" y="1253"/>
                    </a:lnTo>
                    <a:lnTo>
                      <a:pt x="275" y="894"/>
                    </a:lnTo>
                    <a:lnTo>
                      <a:pt x="2525" y="894"/>
                    </a:lnTo>
                    <a:lnTo>
                      <a:pt x="2525" y="1253"/>
                    </a:lnTo>
                    <a:close/>
                    <a:moveTo>
                      <a:pt x="2525" y="629"/>
                    </a:moveTo>
                    <a:lnTo>
                      <a:pt x="275" y="629"/>
                    </a:lnTo>
                    <a:lnTo>
                      <a:pt x="275" y="267"/>
                    </a:lnTo>
                    <a:lnTo>
                      <a:pt x="2525" y="267"/>
                    </a:lnTo>
                    <a:lnTo>
                      <a:pt x="2525" y="6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61" name="Freeform 22"/>
              <p:cNvSpPr>
                <a:spLocks noEditPoints="1"/>
              </p:cNvSpPr>
              <p:nvPr/>
            </p:nvSpPr>
            <p:spPr bwMode="auto">
              <a:xfrm>
                <a:off x="-7123113" y="-1301750"/>
                <a:ext cx="4425950" cy="9424988"/>
              </a:xfrm>
              <a:custGeom>
                <a:avLst/>
                <a:gdLst>
                  <a:gd name="T0" fmla="*/ 0 w 2788"/>
                  <a:gd name="T1" fmla="*/ 0 h 5937"/>
                  <a:gd name="T2" fmla="*/ 0 w 2788"/>
                  <a:gd name="T3" fmla="*/ 2318 h 5937"/>
                  <a:gd name="T4" fmla="*/ 275 w 2788"/>
                  <a:gd name="T5" fmla="*/ 2318 h 5937"/>
                  <a:gd name="T6" fmla="*/ 275 w 2788"/>
                  <a:gd name="T7" fmla="*/ 2148 h 5937"/>
                  <a:gd name="T8" fmla="*/ 2525 w 2788"/>
                  <a:gd name="T9" fmla="*/ 2148 h 5937"/>
                  <a:gd name="T10" fmla="*/ 2525 w 2788"/>
                  <a:gd name="T11" fmla="*/ 2509 h 5937"/>
                  <a:gd name="T12" fmla="*/ 1394 w 2788"/>
                  <a:gd name="T13" fmla="*/ 2509 h 5937"/>
                  <a:gd name="T14" fmla="*/ 1394 w 2788"/>
                  <a:gd name="T15" fmla="*/ 2772 h 5937"/>
                  <a:gd name="T16" fmla="*/ 2525 w 2788"/>
                  <a:gd name="T17" fmla="*/ 2772 h 5937"/>
                  <a:gd name="T18" fmla="*/ 2525 w 2788"/>
                  <a:gd name="T19" fmla="*/ 3134 h 5937"/>
                  <a:gd name="T20" fmla="*/ 1394 w 2788"/>
                  <a:gd name="T21" fmla="*/ 3134 h 5937"/>
                  <a:gd name="T22" fmla="*/ 1394 w 2788"/>
                  <a:gd name="T23" fmla="*/ 3399 h 5937"/>
                  <a:gd name="T24" fmla="*/ 2525 w 2788"/>
                  <a:gd name="T25" fmla="*/ 3399 h 5937"/>
                  <a:gd name="T26" fmla="*/ 2525 w 2788"/>
                  <a:gd name="T27" fmla="*/ 3758 h 5937"/>
                  <a:gd name="T28" fmla="*/ 1394 w 2788"/>
                  <a:gd name="T29" fmla="*/ 3758 h 5937"/>
                  <a:gd name="T30" fmla="*/ 1394 w 2788"/>
                  <a:gd name="T31" fmla="*/ 4023 h 5937"/>
                  <a:gd name="T32" fmla="*/ 2525 w 2788"/>
                  <a:gd name="T33" fmla="*/ 4023 h 5937"/>
                  <a:gd name="T34" fmla="*/ 2525 w 2788"/>
                  <a:gd name="T35" fmla="*/ 4385 h 5937"/>
                  <a:gd name="T36" fmla="*/ 1394 w 2788"/>
                  <a:gd name="T37" fmla="*/ 4385 h 5937"/>
                  <a:gd name="T38" fmla="*/ 1394 w 2788"/>
                  <a:gd name="T39" fmla="*/ 4650 h 5937"/>
                  <a:gd name="T40" fmla="*/ 2525 w 2788"/>
                  <a:gd name="T41" fmla="*/ 4650 h 5937"/>
                  <a:gd name="T42" fmla="*/ 2525 w 2788"/>
                  <a:gd name="T43" fmla="*/ 5009 h 5937"/>
                  <a:gd name="T44" fmla="*/ 1394 w 2788"/>
                  <a:gd name="T45" fmla="*/ 5009 h 5937"/>
                  <a:gd name="T46" fmla="*/ 1394 w 2788"/>
                  <a:gd name="T47" fmla="*/ 5937 h 5937"/>
                  <a:gd name="T48" fmla="*/ 1534 w 2788"/>
                  <a:gd name="T49" fmla="*/ 5937 h 5937"/>
                  <a:gd name="T50" fmla="*/ 1534 w 2788"/>
                  <a:gd name="T51" fmla="*/ 5234 h 5937"/>
                  <a:gd name="T52" fmla="*/ 1896 w 2788"/>
                  <a:gd name="T53" fmla="*/ 5234 h 5937"/>
                  <a:gd name="T54" fmla="*/ 1896 w 2788"/>
                  <a:gd name="T55" fmla="*/ 5937 h 5937"/>
                  <a:gd name="T56" fmla="*/ 2788 w 2788"/>
                  <a:gd name="T57" fmla="*/ 5937 h 5937"/>
                  <a:gd name="T58" fmla="*/ 2788 w 2788"/>
                  <a:gd name="T59" fmla="*/ 0 h 5937"/>
                  <a:gd name="T60" fmla="*/ 0 w 2788"/>
                  <a:gd name="T61" fmla="*/ 0 h 5937"/>
                  <a:gd name="T62" fmla="*/ 2525 w 2788"/>
                  <a:gd name="T63" fmla="*/ 1883 h 5937"/>
                  <a:gd name="T64" fmla="*/ 275 w 2788"/>
                  <a:gd name="T65" fmla="*/ 1883 h 5937"/>
                  <a:gd name="T66" fmla="*/ 275 w 2788"/>
                  <a:gd name="T67" fmla="*/ 1521 h 5937"/>
                  <a:gd name="T68" fmla="*/ 2525 w 2788"/>
                  <a:gd name="T69" fmla="*/ 1521 h 5937"/>
                  <a:gd name="T70" fmla="*/ 2525 w 2788"/>
                  <a:gd name="T71" fmla="*/ 1883 h 5937"/>
                  <a:gd name="T72" fmla="*/ 2525 w 2788"/>
                  <a:gd name="T73" fmla="*/ 1263 h 5937"/>
                  <a:gd name="T74" fmla="*/ 275 w 2788"/>
                  <a:gd name="T75" fmla="*/ 1263 h 5937"/>
                  <a:gd name="T76" fmla="*/ 275 w 2788"/>
                  <a:gd name="T77" fmla="*/ 901 h 5937"/>
                  <a:gd name="T78" fmla="*/ 2525 w 2788"/>
                  <a:gd name="T79" fmla="*/ 901 h 5937"/>
                  <a:gd name="T80" fmla="*/ 2525 w 2788"/>
                  <a:gd name="T81" fmla="*/ 1263 h 5937"/>
                  <a:gd name="T82" fmla="*/ 2525 w 2788"/>
                  <a:gd name="T83" fmla="*/ 639 h 5937"/>
                  <a:gd name="T84" fmla="*/ 275 w 2788"/>
                  <a:gd name="T85" fmla="*/ 639 h 5937"/>
                  <a:gd name="T86" fmla="*/ 275 w 2788"/>
                  <a:gd name="T87" fmla="*/ 277 h 5937"/>
                  <a:gd name="T88" fmla="*/ 2525 w 2788"/>
                  <a:gd name="T89" fmla="*/ 277 h 5937"/>
                  <a:gd name="T90" fmla="*/ 2525 w 2788"/>
                  <a:gd name="T91" fmla="*/ 639 h 5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8" h="5937">
                    <a:moveTo>
                      <a:pt x="0" y="0"/>
                    </a:moveTo>
                    <a:lnTo>
                      <a:pt x="0" y="2318"/>
                    </a:lnTo>
                    <a:lnTo>
                      <a:pt x="275" y="2318"/>
                    </a:lnTo>
                    <a:lnTo>
                      <a:pt x="275" y="2148"/>
                    </a:lnTo>
                    <a:lnTo>
                      <a:pt x="2525" y="2148"/>
                    </a:lnTo>
                    <a:lnTo>
                      <a:pt x="2525" y="2509"/>
                    </a:lnTo>
                    <a:lnTo>
                      <a:pt x="1394" y="2509"/>
                    </a:lnTo>
                    <a:lnTo>
                      <a:pt x="1394" y="2772"/>
                    </a:lnTo>
                    <a:lnTo>
                      <a:pt x="2525" y="2772"/>
                    </a:lnTo>
                    <a:lnTo>
                      <a:pt x="2525" y="3134"/>
                    </a:lnTo>
                    <a:lnTo>
                      <a:pt x="1394" y="3134"/>
                    </a:lnTo>
                    <a:lnTo>
                      <a:pt x="1394" y="3399"/>
                    </a:lnTo>
                    <a:lnTo>
                      <a:pt x="2525" y="3399"/>
                    </a:lnTo>
                    <a:lnTo>
                      <a:pt x="2525" y="3758"/>
                    </a:lnTo>
                    <a:lnTo>
                      <a:pt x="1394" y="3758"/>
                    </a:lnTo>
                    <a:lnTo>
                      <a:pt x="1394" y="4023"/>
                    </a:lnTo>
                    <a:lnTo>
                      <a:pt x="2525" y="4023"/>
                    </a:lnTo>
                    <a:lnTo>
                      <a:pt x="2525" y="4385"/>
                    </a:lnTo>
                    <a:lnTo>
                      <a:pt x="1394" y="4385"/>
                    </a:lnTo>
                    <a:lnTo>
                      <a:pt x="1394" y="4650"/>
                    </a:lnTo>
                    <a:lnTo>
                      <a:pt x="2525" y="4650"/>
                    </a:lnTo>
                    <a:lnTo>
                      <a:pt x="2525" y="5009"/>
                    </a:lnTo>
                    <a:lnTo>
                      <a:pt x="1394" y="5009"/>
                    </a:lnTo>
                    <a:lnTo>
                      <a:pt x="1394" y="5937"/>
                    </a:lnTo>
                    <a:lnTo>
                      <a:pt x="1534" y="5937"/>
                    </a:lnTo>
                    <a:lnTo>
                      <a:pt x="1534" y="5234"/>
                    </a:lnTo>
                    <a:lnTo>
                      <a:pt x="1896" y="5234"/>
                    </a:lnTo>
                    <a:lnTo>
                      <a:pt x="1896" y="5937"/>
                    </a:lnTo>
                    <a:lnTo>
                      <a:pt x="2788" y="5937"/>
                    </a:lnTo>
                    <a:lnTo>
                      <a:pt x="2788" y="0"/>
                    </a:lnTo>
                    <a:lnTo>
                      <a:pt x="0" y="0"/>
                    </a:lnTo>
                    <a:close/>
                    <a:moveTo>
                      <a:pt x="2525" y="1883"/>
                    </a:moveTo>
                    <a:lnTo>
                      <a:pt x="275" y="1883"/>
                    </a:lnTo>
                    <a:lnTo>
                      <a:pt x="275" y="1521"/>
                    </a:lnTo>
                    <a:lnTo>
                      <a:pt x="2525" y="1521"/>
                    </a:lnTo>
                    <a:lnTo>
                      <a:pt x="2525" y="1883"/>
                    </a:lnTo>
                    <a:close/>
                    <a:moveTo>
                      <a:pt x="2525" y="1263"/>
                    </a:moveTo>
                    <a:lnTo>
                      <a:pt x="275" y="1263"/>
                    </a:lnTo>
                    <a:lnTo>
                      <a:pt x="275" y="901"/>
                    </a:lnTo>
                    <a:lnTo>
                      <a:pt x="2525" y="901"/>
                    </a:lnTo>
                    <a:lnTo>
                      <a:pt x="2525" y="1263"/>
                    </a:lnTo>
                    <a:close/>
                    <a:moveTo>
                      <a:pt x="2525" y="639"/>
                    </a:moveTo>
                    <a:lnTo>
                      <a:pt x="275" y="639"/>
                    </a:lnTo>
                    <a:lnTo>
                      <a:pt x="275" y="277"/>
                    </a:lnTo>
                    <a:lnTo>
                      <a:pt x="2525" y="277"/>
                    </a:lnTo>
                    <a:lnTo>
                      <a:pt x="2525" y="63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sp>
        <p:nvSpPr>
          <p:cNvPr id="10" name="Rectangle 9"/>
          <p:cNvSpPr/>
          <p:nvPr/>
        </p:nvSpPr>
        <p:spPr bwMode="auto">
          <a:xfrm>
            <a:off x="1" y="487"/>
            <a:ext cx="8337061" cy="68570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89957"/>
            <a:ext cx="3809804" cy="1733335"/>
          </a:xfrm>
        </p:spPr>
        <p:txBody>
          <a:bodyPr/>
          <a:lstStyle/>
          <a:p>
            <a:r>
              <a:rPr lang="en-US" dirty="0">
                <a:solidFill>
                  <a:schemeClr val="bg1"/>
                </a:solidFill>
              </a:rPr>
              <a:t>Why </a:t>
            </a:r>
            <a:r>
              <a:rPr lang="en-US" dirty="0" smtClean="0">
                <a:solidFill>
                  <a:schemeClr val="bg1"/>
                </a:solidFill>
              </a:rPr>
              <a:t>Microsoft?</a:t>
            </a:r>
            <a:endParaRPr lang="en-US" dirty="0">
              <a:solidFill>
                <a:schemeClr val="bg1"/>
              </a:solidFill>
            </a:endParaRPr>
          </a:p>
        </p:txBody>
      </p:sp>
      <p:grpSp>
        <p:nvGrpSpPr>
          <p:cNvPr id="11" name="Group 10"/>
          <p:cNvGrpSpPr/>
          <p:nvPr/>
        </p:nvGrpSpPr>
        <p:grpSpPr>
          <a:xfrm>
            <a:off x="3854940" y="289957"/>
            <a:ext cx="3585699" cy="2061777"/>
            <a:chOff x="3932239" y="295275"/>
            <a:chExt cx="3657600" cy="2103120"/>
          </a:xfrm>
        </p:grpSpPr>
        <p:sp>
          <p:nvSpPr>
            <p:cNvPr id="381" name="Rectangle 380"/>
            <p:cNvSpPr/>
            <p:nvPr/>
          </p:nvSpPr>
          <p:spPr bwMode="auto">
            <a:xfrm>
              <a:off x="3932239" y="295275"/>
              <a:ext cx="3657600" cy="2103120"/>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75736" tIns="179285" rIns="0" bIns="89642" numCol="1" rtlCol="0" anchor="t" anchorCtr="0" compatLnSpc="1">
              <a:prstTxWarp prst="textNoShape">
                <a:avLst/>
              </a:prstTxWarp>
            </a:bodyPr>
            <a:lstStyle/>
            <a:p>
              <a:pPr defTabSz="896334" fontAlgn="base">
                <a:lnSpc>
                  <a:spcPct val="90000"/>
                </a:lnSpc>
                <a:spcBef>
                  <a:spcPct val="0"/>
                </a:spcBef>
                <a:spcAft>
                  <a:spcPct val="0"/>
                </a:spcAft>
                <a:defRPr/>
              </a:pPr>
              <a:r>
                <a:rPr lang="en-US" sz="2745" kern="0" dirty="0">
                  <a:solidFill>
                    <a:srgbClr val="FFFFFF"/>
                  </a:solidFill>
                  <a:latin typeface="Segoe UI Light"/>
                  <a:ea typeface="ＭＳ Ｐゴシック" charset="0"/>
                  <a:cs typeface="Segoe UI Semilight" panose="020B0402040204020203" pitchFamily="34" charset="0"/>
                </a:rPr>
                <a:t>Global scale</a:t>
              </a:r>
            </a:p>
          </p:txBody>
        </p:sp>
        <p:sp>
          <p:nvSpPr>
            <p:cNvPr id="5" name="TextBox 4"/>
            <p:cNvSpPr txBox="1"/>
            <p:nvPr/>
          </p:nvSpPr>
          <p:spPr>
            <a:xfrm>
              <a:off x="3941763" y="878424"/>
              <a:ext cx="2851736" cy="1196527"/>
            </a:xfrm>
            <a:prstGeom prst="rect">
              <a:avLst/>
            </a:prstGeom>
            <a:noFill/>
          </p:spPr>
          <p:txBody>
            <a:bodyPr wrap="square" lIns="179285" tIns="143428" rIns="179285" bIns="143428" rtlCol="0">
              <a:noAutofit/>
            </a:bodyPr>
            <a:lstStyle/>
            <a:p>
              <a:pPr defTabSz="913505" fontAlgn="base">
                <a:spcBef>
                  <a:spcPct val="0"/>
                </a:spcBef>
              </a:pPr>
              <a:r>
                <a:rPr lang="en-US" sz="1274" dirty="0">
                  <a:solidFill>
                    <a:srgbClr val="FFFFFF"/>
                  </a:solidFill>
                  <a:ea typeface="Ryo Display PlusN B" panose="02020800000000000000" pitchFamily="18" charset="-128"/>
                </a:rPr>
                <a:t>Worldwide reach and </a:t>
              </a:r>
              <a:r>
                <a:rPr lang="en-US" sz="1274" dirty="0" err="1">
                  <a:solidFill>
                    <a:srgbClr val="FFFFFF"/>
                  </a:solidFill>
                  <a:ea typeface="Ryo Display PlusN B" panose="02020800000000000000" pitchFamily="18" charset="-128"/>
                </a:rPr>
                <a:t>hyperscale</a:t>
              </a:r>
              <a:r>
                <a:rPr lang="en-US" sz="1274" dirty="0">
                  <a:solidFill>
                    <a:srgbClr val="FFFFFF"/>
                  </a:solidFill>
                  <a:ea typeface="Ryo Display PlusN B" panose="02020800000000000000" pitchFamily="18" charset="-128"/>
                </a:rPr>
                <a:t> required to bring cloud economic benefits to every business</a:t>
              </a:r>
            </a:p>
            <a:p>
              <a:pPr defTabSz="913505" fontAlgn="base">
                <a:spcBef>
                  <a:spcPct val="0"/>
                </a:spcBef>
              </a:pPr>
              <a:endParaRPr lang="en-US" sz="1274" dirty="0">
                <a:solidFill>
                  <a:srgbClr val="FFFFFF"/>
                </a:solidFill>
                <a:ea typeface="ＭＳ Ｐゴシック" charset="0"/>
              </a:endParaRPr>
            </a:p>
          </p:txBody>
        </p:sp>
        <p:sp>
          <p:nvSpPr>
            <p:cNvPr id="39" name="Freeform 58"/>
            <p:cNvSpPr>
              <a:spLocks noEditPoints="1"/>
            </p:cNvSpPr>
            <p:nvPr/>
          </p:nvSpPr>
          <p:spPr bwMode="auto">
            <a:xfrm>
              <a:off x="6782808" y="1624405"/>
              <a:ext cx="614794" cy="615563"/>
            </a:xfrm>
            <a:custGeom>
              <a:avLst/>
              <a:gdLst>
                <a:gd name="T0" fmla="*/ 0 w 675"/>
                <a:gd name="T1" fmla="*/ 338 h 676"/>
                <a:gd name="T2" fmla="*/ 675 w 675"/>
                <a:gd name="T3" fmla="*/ 338 h 676"/>
                <a:gd name="T4" fmla="*/ 284 w 675"/>
                <a:gd name="T5" fmla="*/ 566 h 676"/>
                <a:gd name="T6" fmla="*/ 250 w 675"/>
                <a:gd name="T7" fmla="*/ 626 h 676"/>
                <a:gd name="T8" fmla="*/ 186 w 675"/>
                <a:gd name="T9" fmla="*/ 607 h 676"/>
                <a:gd name="T10" fmla="*/ 153 w 675"/>
                <a:gd name="T11" fmla="*/ 506 h 676"/>
                <a:gd name="T12" fmla="*/ 144 w 675"/>
                <a:gd name="T13" fmla="*/ 438 h 676"/>
                <a:gd name="T14" fmla="*/ 97 w 675"/>
                <a:gd name="T15" fmla="*/ 408 h 676"/>
                <a:gd name="T16" fmla="*/ 62 w 675"/>
                <a:gd name="T17" fmla="*/ 368 h 676"/>
                <a:gd name="T18" fmla="*/ 29 w 675"/>
                <a:gd name="T19" fmla="*/ 319 h 676"/>
                <a:gd name="T20" fmla="*/ 211 w 675"/>
                <a:gd name="T21" fmla="*/ 60 h 676"/>
                <a:gd name="T22" fmla="*/ 218 w 675"/>
                <a:gd name="T23" fmla="*/ 124 h 676"/>
                <a:gd name="T24" fmla="*/ 243 w 675"/>
                <a:gd name="T25" fmla="*/ 175 h 676"/>
                <a:gd name="T26" fmla="*/ 228 w 675"/>
                <a:gd name="T27" fmla="*/ 284 h 676"/>
                <a:gd name="T28" fmla="*/ 152 w 675"/>
                <a:gd name="T29" fmla="*/ 364 h 676"/>
                <a:gd name="T30" fmla="*/ 111 w 675"/>
                <a:gd name="T31" fmla="*/ 370 h 676"/>
                <a:gd name="T32" fmla="*/ 146 w 675"/>
                <a:gd name="T33" fmla="*/ 410 h 676"/>
                <a:gd name="T34" fmla="*/ 209 w 675"/>
                <a:gd name="T35" fmla="*/ 422 h 676"/>
                <a:gd name="T36" fmla="*/ 311 w 675"/>
                <a:gd name="T37" fmla="*/ 505 h 676"/>
                <a:gd name="T38" fmla="*/ 612 w 675"/>
                <a:gd name="T39" fmla="*/ 455 h 676"/>
                <a:gd name="T40" fmla="*/ 551 w 675"/>
                <a:gd name="T41" fmla="*/ 541 h 676"/>
                <a:gd name="T42" fmla="*/ 472 w 675"/>
                <a:gd name="T43" fmla="*/ 617 h 676"/>
                <a:gd name="T44" fmla="*/ 452 w 675"/>
                <a:gd name="T45" fmla="*/ 545 h 676"/>
                <a:gd name="T46" fmla="*/ 385 w 675"/>
                <a:gd name="T47" fmla="*/ 434 h 676"/>
                <a:gd name="T48" fmla="*/ 380 w 675"/>
                <a:gd name="T49" fmla="*/ 351 h 676"/>
                <a:gd name="T50" fmla="*/ 497 w 675"/>
                <a:gd name="T51" fmla="*/ 317 h 676"/>
                <a:gd name="T52" fmla="*/ 568 w 675"/>
                <a:gd name="T53" fmla="*/ 356 h 676"/>
                <a:gd name="T54" fmla="*/ 618 w 675"/>
                <a:gd name="T55" fmla="*/ 427 h 676"/>
                <a:gd name="T56" fmla="*/ 612 w 675"/>
                <a:gd name="T57" fmla="*/ 455 h 676"/>
                <a:gd name="T58" fmla="*/ 592 w 675"/>
                <a:gd name="T59" fmla="*/ 377 h 676"/>
                <a:gd name="T60" fmla="*/ 574 w 675"/>
                <a:gd name="T61" fmla="*/ 314 h 676"/>
                <a:gd name="T62" fmla="*/ 538 w 675"/>
                <a:gd name="T63" fmla="*/ 282 h 676"/>
                <a:gd name="T64" fmla="*/ 496 w 675"/>
                <a:gd name="T65" fmla="*/ 270 h 676"/>
                <a:gd name="T66" fmla="*/ 460 w 675"/>
                <a:gd name="T67" fmla="*/ 249 h 676"/>
                <a:gd name="T68" fmla="*/ 417 w 675"/>
                <a:gd name="T69" fmla="*/ 264 h 676"/>
                <a:gd name="T70" fmla="*/ 443 w 675"/>
                <a:gd name="T71" fmla="*/ 206 h 676"/>
                <a:gd name="T72" fmla="*/ 511 w 675"/>
                <a:gd name="T73" fmla="*/ 179 h 676"/>
                <a:gd name="T74" fmla="*/ 526 w 675"/>
                <a:gd name="T75" fmla="*/ 135 h 676"/>
                <a:gd name="T76" fmla="*/ 496 w 675"/>
                <a:gd name="T77" fmla="*/ 158 h 676"/>
                <a:gd name="T78" fmla="*/ 468 w 675"/>
                <a:gd name="T79" fmla="*/ 144 h 676"/>
                <a:gd name="T80" fmla="*/ 455 w 675"/>
                <a:gd name="T81" fmla="*/ 102 h 676"/>
                <a:gd name="T82" fmla="*/ 647 w 675"/>
                <a:gd name="T83" fmla="*/ 338 h 676"/>
                <a:gd name="T84" fmla="*/ 625 w 675"/>
                <a:gd name="T85" fmla="*/ 39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5" h="676">
                  <a:moveTo>
                    <a:pt x="337" y="0"/>
                  </a:moveTo>
                  <a:cubicBezTo>
                    <a:pt x="151" y="0"/>
                    <a:pt x="0" y="152"/>
                    <a:pt x="0" y="338"/>
                  </a:cubicBezTo>
                  <a:cubicBezTo>
                    <a:pt x="0" y="524"/>
                    <a:pt x="151" y="676"/>
                    <a:pt x="337" y="676"/>
                  </a:cubicBezTo>
                  <a:cubicBezTo>
                    <a:pt x="524" y="676"/>
                    <a:pt x="675" y="524"/>
                    <a:pt x="675" y="338"/>
                  </a:cubicBezTo>
                  <a:cubicBezTo>
                    <a:pt x="675" y="152"/>
                    <a:pt x="524" y="0"/>
                    <a:pt x="337" y="0"/>
                  </a:cubicBezTo>
                  <a:close/>
                  <a:moveTo>
                    <a:pt x="284" y="566"/>
                  </a:moveTo>
                  <a:cubicBezTo>
                    <a:pt x="279" y="576"/>
                    <a:pt x="274" y="585"/>
                    <a:pt x="268" y="594"/>
                  </a:cubicBezTo>
                  <a:cubicBezTo>
                    <a:pt x="263" y="603"/>
                    <a:pt x="257" y="620"/>
                    <a:pt x="250" y="626"/>
                  </a:cubicBezTo>
                  <a:cubicBezTo>
                    <a:pt x="248" y="629"/>
                    <a:pt x="244" y="630"/>
                    <a:pt x="240" y="632"/>
                  </a:cubicBezTo>
                  <a:cubicBezTo>
                    <a:pt x="221" y="625"/>
                    <a:pt x="203" y="617"/>
                    <a:pt x="186" y="607"/>
                  </a:cubicBezTo>
                  <a:cubicBezTo>
                    <a:pt x="183" y="593"/>
                    <a:pt x="189" y="575"/>
                    <a:pt x="186" y="561"/>
                  </a:cubicBezTo>
                  <a:cubicBezTo>
                    <a:pt x="182" y="538"/>
                    <a:pt x="161" y="527"/>
                    <a:pt x="153" y="506"/>
                  </a:cubicBezTo>
                  <a:cubicBezTo>
                    <a:pt x="146" y="487"/>
                    <a:pt x="180" y="450"/>
                    <a:pt x="159" y="439"/>
                  </a:cubicBezTo>
                  <a:cubicBezTo>
                    <a:pt x="156" y="438"/>
                    <a:pt x="149" y="438"/>
                    <a:pt x="144" y="438"/>
                  </a:cubicBezTo>
                  <a:cubicBezTo>
                    <a:pt x="138" y="435"/>
                    <a:pt x="132" y="431"/>
                    <a:pt x="126" y="428"/>
                  </a:cubicBezTo>
                  <a:cubicBezTo>
                    <a:pt x="116" y="422"/>
                    <a:pt x="108" y="412"/>
                    <a:pt x="97" y="408"/>
                  </a:cubicBezTo>
                  <a:cubicBezTo>
                    <a:pt x="83" y="403"/>
                    <a:pt x="76" y="405"/>
                    <a:pt x="69" y="391"/>
                  </a:cubicBezTo>
                  <a:cubicBezTo>
                    <a:pt x="65" y="383"/>
                    <a:pt x="65" y="376"/>
                    <a:pt x="62" y="368"/>
                  </a:cubicBezTo>
                  <a:cubicBezTo>
                    <a:pt x="60" y="359"/>
                    <a:pt x="58" y="349"/>
                    <a:pt x="52" y="342"/>
                  </a:cubicBezTo>
                  <a:cubicBezTo>
                    <a:pt x="45" y="333"/>
                    <a:pt x="35" y="328"/>
                    <a:pt x="29" y="319"/>
                  </a:cubicBezTo>
                  <a:cubicBezTo>
                    <a:pt x="35" y="216"/>
                    <a:pt x="92" y="127"/>
                    <a:pt x="174" y="75"/>
                  </a:cubicBezTo>
                  <a:cubicBezTo>
                    <a:pt x="186" y="68"/>
                    <a:pt x="198" y="63"/>
                    <a:pt x="211" y="60"/>
                  </a:cubicBezTo>
                  <a:cubicBezTo>
                    <a:pt x="223" y="59"/>
                    <a:pt x="257" y="62"/>
                    <a:pt x="238" y="76"/>
                  </a:cubicBezTo>
                  <a:cubicBezTo>
                    <a:pt x="238" y="76"/>
                    <a:pt x="194" y="108"/>
                    <a:pt x="218" y="124"/>
                  </a:cubicBezTo>
                  <a:cubicBezTo>
                    <a:pt x="229" y="132"/>
                    <a:pt x="240" y="134"/>
                    <a:pt x="247" y="149"/>
                  </a:cubicBezTo>
                  <a:cubicBezTo>
                    <a:pt x="252" y="162"/>
                    <a:pt x="247" y="164"/>
                    <a:pt x="243" y="175"/>
                  </a:cubicBezTo>
                  <a:cubicBezTo>
                    <a:pt x="236" y="196"/>
                    <a:pt x="260" y="214"/>
                    <a:pt x="264" y="236"/>
                  </a:cubicBezTo>
                  <a:cubicBezTo>
                    <a:pt x="270" y="260"/>
                    <a:pt x="247" y="273"/>
                    <a:pt x="228" y="284"/>
                  </a:cubicBezTo>
                  <a:cubicBezTo>
                    <a:pt x="209" y="294"/>
                    <a:pt x="184" y="302"/>
                    <a:pt x="175" y="323"/>
                  </a:cubicBezTo>
                  <a:cubicBezTo>
                    <a:pt x="171" y="335"/>
                    <a:pt x="176" y="382"/>
                    <a:pt x="152" y="364"/>
                  </a:cubicBezTo>
                  <a:cubicBezTo>
                    <a:pt x="142" y="357"/>
                    <a:pt x="139" y="339"/>
                    <a:pt x="123" y="346"/>
                  </a:cubicBezTo>
                  <a:cubicBezTo>
                    <a:pt x="114" y="350"/>
                    <a:pt x="112" y="362"/>
                    <a:pt x="111" y="370"/>
                  </a:cubicBezTo>
                  <a:cubicBezTo>
                    <a:pt x="111" y="378"/>
                    <a:pt x="110" y="388"/>
                    <a:pt x="116" y="394"/>
                  </a:cubicBezTo>
                  <a:cubicBezTo>
                    <a:pt x="125" y="402"/>
                    <a:pt x="137" y="399"/>
                    <a:pt x="146" y="410"/>
                  </a:cubicBezTo>
                  <a:cubicBezTo>
                    <a:pt x="159" y="423"/>
                    <a:pt x="159" y="429"/>
                    <a:pt x="177" y="421"/>
                  </a:cubicBezTo>
                  <a:cubicBezTo>
                    <a:pt x="191" y="416"/>
                    <a:pt x="197" y="414"/>
                    <a:pt x="209" y="422"/>
                  </a:cubicBezTo>
                  <a:cubicBezTo>
                    <a:pt x="228" y="434"/>
                    <a:pt x="238" y="456"/>
                    <a:pt x="259" y="467"/>
                  </a:cubicBezTo>
                  <a:cubicBezTo>
                    <a:pt x="278" y="479"/>
                    <a:pt x="308" y="479"/>
                    <a:pt x="311" y="505"/>
                  </a:cubicBezTo>
                  <a:cubicBezTo>
                    <a:pt x="313" y="527"/>
                    <a:pt x="295" y="549"/>
                    <a:pt x="284" y="566"/>
                  </a:cubicBezTo>
                  <a:close/>
                  <a:moveTo>
                    <a:pt x="612" y="455"/>
                  </a:moveTo>
                  <a:cubicBezTo>
                    <a:pt x="605" y="462"/>
                    <a:pt x="592" y="462"/>
                    <a:pt x="583" y="467"/>
                  </a:cubicBezTo>
                  <a:cubicBezTo>
                    <a:pt x="558" y="483"/>
                    <a:pt x="554" y="514"/>
                    <a:pt x="551" y="541"/>
                  </a:cubicBezTo>
                  <a:cubicBezTo>
                    <a:pt x="550" y="551"/>
                    <a:pt x="548" y="560"/>
                    <a:pt x="544" y="568"/>
                  </a:cubicBezTo>
                  <a:cubicBezTo>
                    <a:pt x="522" y="587"/>
                    <a:pt x="498" y="604"/>
                    <a:pt x="472" y="617"/>
                  </a:cubicBezTo>
                  <a:cubicBezTo>
                    <a:pt x="465" y="616"/>
                    <a:pt x="458" y="612"/>
                    <a:pt x="454" y="602"/>
                  </a:cubicBezTo>
                  <a:cubicBezTo>
                    <a:pt x="448" y="585"/>
                    <a:pt x="452" y="562"/>
                    <a:pt x="452" y="545"/>
                  </a:cubicBezTo>
                  <a:cubicBezTo>
                    <a:pt x="452" y="518"/>
                    <a:pt x="465" y="449"/>
                    <a:pt x="426" y="446"/>
                  </a:cubicBezTo>
                  <a:cubicBezTo>
                    <a:pt x="409" y="445"/>
                    <a:pt x="396" y="449"/>
                    <a:pt x="385" y="434"/>
                  </a:cubicBezTo>
                  <a:cubicBezTo>
                    <a:pt x="378" y="423"/>
                    <a:pt x="364" y="405"/>
                    <a:pt x="363" y="392"/>
                  </a:cubicBezTo>
                  <a:cubicBezTo>
                    <a:pt x="362" y="376"/>
                    <a:pt x="371" y="364"/>
                    <a:pt x="380" y="351"/>
                  </a:cubicBezTo>
                  <a:cubicBezTo>
                    <a:pt x="391" y="337"/>
                    <a:pt x="400" y="324"/>
                    <a:pt x="416" y="315"/>
                  </a:cubicBezTo>
                  <a:cubicBezTo>
                    <a:pt x="441" y="299"/>
                    <a:pt x="471" y="306"/>
                    <a:pt x="497" y="317"/>
                  </a:cubicBezTo>
                  <a:cubicBezTo>
                    <a:pt x="509" y="322"/>
                    <a:pt x="521" y="326"/>
                    <a:pt x="535" y="327"/>
                  </a:cubicBezTo>
                  <a:cubicBezTo>
                    <a:pt x="557" y="328"/>
                    <a:pt x="564" y="334"/>
                    <a:pt x="568" y="356"/>
                  </a:cubicBezTo>
                  <a:cubicBezTo>
                    <a:pt x="571" y="371"/>
                    <a:pt x="580" y="385"/>
                    <a:pt x="587" y="399"/>
                  </a:cubicBezTo>
                  <a:cubicBezTo>
                    <a:pt x="594" y="413"/>
                    <a:pt x="614" y="416"/>
                    <a:pt x="618" y="427"/>
                  </a:cubicBezTo>
                  <a:cubicBezTo>
                    <a:pt x="620" y="432"/>
                    <a:pt x="620" y="432"/>
                    <a:pt x="620" y="432"/>
                  </a:cubicBezTo>
                  <a:cubicBezTo>
                    <a:pt x="622" y="445"/>
                    <a:pt x="619" y="449"/>
                    <a:pt x="612" y="455"/>
                  </a:cubicBezTo>
                  <a:close/>
                  <a:moveTo>
                    <a:pt x="625" y="397"/>
                  </a:moveTo>
                  <a:cubicBezTo>
                    <a:pt x="612" y="397"/>
                    <a:pt x="596" y="392"/>
                    <a:pt x="592" y="377"/>
                  </a:cubicBezTo>
                  <a:cubicBezTo>
                    <a:pt x="588" y="362"/>
                    <a:pt x="594" y="351"/>
                    <a:pt x="584" y="337"/>
                  </a:cubicBezTo>
                  <a:cubicBezTo>
                    <a:pt x="578" y="330"/>
                    <a:pt x="571" y="324"/>
                    <a:pt x="574" y="314"/>
                  </a:cubicBezTo>
                  <a:cubicBezTo>
                    <a:pt x="577" y="304"/>
                    <a:pt x="589" y="304"/>
                    <a:pt x="577" y="295"/>
                  </a:cubicBezTo>
                  <a:cubicBezTo>
                    <a:pt x="567" y="287"/>
                    <a:pt x="550" y="283"/>
                    <a:pt x="538" y="282"/>
                  </a:cubicBezTo>
                  <a:cubicBezTo>
                    <a:pt x="530" y="280"/>
                    <a:pt x="523" y="282"/>
                    <a:pt x="516" y="278"/>
                  </a:cubicBezTo>
                  <a:cubicBezTo>
                    <a:pt x="509" y="276"/>
                    <a:pt x="504" y="270"/>
                    <a:pt x="496" y="270"/>
                  </a:cubicBezTo>
                  <a:cubicBezTo>
                    <a:pt x="489" y="270"/>
                    <a:pt x="484" y="273"/>
                    <a:pt x="478" y="271"/>
                  </a:cubicBezTo>
                  <a:cubicBezTo>
                    <a:pt x="465" y="267"/>
                    <a:pt x="469" y="254"/>
                    <a:pt x="460" y="249"/>
                  </a:cubicBezTo>
                  <a:cubicBezTo>
                    <a:pt x="450" y="243"/>
                    <a:pt x="444" y="256"/>
                    <a:pt x="436" y="260"/>
                  </a:cubicBezTo>
                  <a:cubicBezTo>
                    <a:pt x="431" y="263"/>
                    <a:pt x="424" y="265"/>
                    <a:pt x="417" y="264"/>
                  </a:cubicBezTo>
                  <a:cubicBezTo>
                    <a:pt x="400" y="263"/>
                    <a:pt x="385" y="248"/>
                    <a:pt x="404" y="234"/>
                  </a:cubicBezTo>
                  <a:cubicBezTo>
                    <a:pt x="418" y="224"/>
                    <a:pt x="433" y="224"/>
                    <a:pt x="443" y="206"/>
                  </a:cubicBezTo>
                  <a:cubicBezTo>
                    <a:pt x="452" y="187"/>
                    <a:pt x="455" y="185"/>
                    <a:pt x="473" y="188"/>
                  </a:cubicBezTo>
                  <a:cubicBezTo>
                    <a:pt x="485" y="191"/>
                    <a:pt x="504" y="190"/>
                    <a:pt x="511" y="179"/>
                  </a:cubicBezTo>
                  <a:cubicBezTo>
                    <a:pt x="516" y="172"/>
                    <a:pt x="514" y="166"/>
                    <a:pt x="515" y="159"/>
                  </a:cubicBezTo>
                  <a:cubicBezTo>
                    <a:pt x="517" y="150"/>
                    <a:pt x="525" y="144"/>
                    <a:pt x="526" y="135"/>
                  </a:cubicBezTo>
                  <a:cubicBezTo>
                    <a:pt x="530" y="122"/>
                    <a:pt x="509" y="99"/>
                    <a:pt x="499" y="115"/>
                  </a:cubicBezTo>
                  <a:cubicBezTo>
                    <a:pt x="492" y="125"/>
                    <a:pt x="500" y="146"/>
                    <a:pt x="496" y="158"/>
                  </a:cubicBezTo>
                  <a:cubicBezTo>
                    <a:pt x="490" y="171"/>
                    <a:pt x="484" y="169"/>
                    <a:pt x="477" y="159"/>
                  </a:cubicBezTo>
                  <a:cubicBezTo>
                    <a:pt x="474" y="155"/>
                    <a:pt x="472" y="146"/>
                    <a:pt x="468" y="144"/>
                  </a:cubicBezTo>
                  <a:cubicBezTo>
                    <a:pt x="463" y="142"/>
                    <a:pt x="458" y="146"/>
                    <a:pt x="454" y="146"/>
                  </a:cubicBezTo>
                  <a:cubicBezTo>
                    <a:pt x="434" y="142"/>
                    <a:pt x="447" y="112"/>
                    <a:pt x="455" y="102"/>
                  </a:cubicBezTo>
                  <a:cubicBezTo>
                    <a:pt x="465" y="91"/>
                    <a:pt x="478" y="79"/>
                    <a:pt x="491" y="70"/>
                  </a:cubicBezTo>
                  <a:cubicBezTo>
                    <a:pt x="584" y="123"/>
                    <a:pt x="647" y="223"/>
                    <a:pt x="647" y="338"/>
                  </a:cubicBezTo>
                  <a:cubicBezTo>
                    <a:pt x="647" y="355"/>
                    <a:pt x="645" y="371"/>
                    <a:pt x="643" y="387"/>
                  </a:cubicBezTo>
                  <a:cubicBezTo>
                    <a:pt x="639" y="393"/>
                    <a:pt x="633" y="397"/>
                    <a:pt x="625" y="39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7" name="Group 6"/>
          <p:cNvGrpSpPr/>
          <p:nvPr/>
        </p:nvGrpSpPr>
        <p:grpSpPr>
          <a:xfrm>
            <a:off x="3854939" y="4494349"/>
            <a:ext cx="3587458" cy="2072138"/>
            <a:chOff x="274638" y="4583973"/>
            <a:chExt cx="3659394" cy="2113689"/>
          </a:xfrm>
        </p:grpSpPr>
        <p:sp>
          <p:nvSpPr>
            <p:cNvPr id="386" name="Rectangle 385"/>
            <p:cNvSpPr/>
            <p:nvPr/>
          </p:nvSpPr>
          <p:spPr bwMode="auto">
            <a:xfrm>
              <a:off x="274638" y="4583973"/>
              <a:ext cx="3659394" cy="2113689"/>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75736" tIns="179285" rIns="0" bIns="89642" numCol="1" rtlCol="0" anchor="t" anchorCtr="0" compatLnSpc="1">
              <a:prstTxWarp prst="textNoShape">
                <a:avLst/>
              </a:prstTxWarp>
            </a:bodyPr>
            <a:lstStyle/>
            <a:p>
              <a:pPr defTabSz="896334" fontAlgn="base">
                <a:lnSpc>
                  <a:spcPct val="90000"/>
                </a:lnSpc>
                <a:spcBef>
                  <a:spcPct val="0"/>
                </a:spcBef>
                <a:spcAft>
                  <a:spcPct val="0"/>
                </a:spcAft>
                <a:defRPr/>
              </a:pPr>
              <a:r>
                <a:rPr lang="en-US" sz="2745" kern="0" dirty="0">
                  <a:solidFill>
                    <a:srgbClr val="FFFFFF"/>
                  </a:solidFill>
                  <a:latin typeface="Segoe UI Light"/>
                  <a:ea typeface="ＭＳ Ｐゴシック" charset="0"/>
                  <a:cs typeface="Segoe UI Semilight" panose="020B0402040204020203" pitchFamily="34" charset="0"/>
                </a:rPr>
                <a:t>Hybrid cloud</a:t>
              </a:r>
            </a:p>
          </p:txBody>
        </p:sp>
        <p:sp>
          <p:nvSpPr>
            <p:cNvPr id="36" name="TextBox 35"/>
            <p:cNvSpPr txBox="1"/>
            <p:nvPr/>
          </p:nvSpPr>
          <p:spPr>
            <a:xfrm>
              <a:off x="284160" y="5457001"/>
              <a:ext cx="2683134" cy="1196527"/>
            </a:xfrm>
            <a:prstGeom prst="rect">
              <a:avLst/>
            </a:prstGeom>
            <a:noFill/>
          </p:spPr>
          <p:txBody>
            <a:bodyPr wrap="square" lIns="179285" tIns="143428" rIns="179285" bIns="143428" rtlCol="0">
              <a:noAutofit/>
            </a:bodyPr>
            <a:lstStyle/>
            <a:p>
              <a:pPr defTabSz="913505" fontAlgn="base">
                <a:spcBef>
                  <a:spcPct val="0"/>
                </a:spcBef>
              </a:pPr>
              <a:r>
                <a:rPr lang="en-US" sz="1274" dirty="0">
                  <a:solidFill>
                    <a:srgbClr val="FFFFFF"/>
                  </a:solidFill>
                  <a:ea typeface="Ryo Display PlusN B" panose="02020800000000000000" pitchFamily="18" charset="-128"/>
                </a:rPr>
                <a:t>Flexible cloud services, scalability, and capacity </a:t>
              </a:r>
              <a:br>
                <a:rPr lang="en-US" sz="1274" dirty="0">
                  <a:solidFill>
                    <a:srgbClr val="FFFFFF"/>
                  </a:solidFill>
                  <a:ea typeface="Ryo Display PlusN B" panose="02020800000000000000" pitchFamily="18" charset="-128"/>
                </a:rPr>
              </a:br>
              <a:r>
                <a:rPr lang="en-US" sz="1274" dirty="0">
                  <a:solidFill>
                    <a:srgbClr val="FFFFFF"/>
                  </a:solidFill>
                  <a:ea typeface="Ryo Display PlusN B" panose="02020800000000000000" pitchFamily="18" charset="-128"/>
                </a:rPr>
                <a:t>that fit your business</a:t>
              </a:r>
            </a:p>
          </p:txBody>
        </p:sp>
        <p:sp>
          <p:nvSpPr>
            <p:cNvPr id="40" name="Freeform 10"/>
            <p:cNvSpPr>
              <a:spLocks/>
            </p:cNvSpPr>
            <p:nvPr/>
          </p:nvSpPr>
          <p:spPr bwMode="auto">
            <a:xfrm>
              <a:off x="3028493" y="6056555"/>
              <a:ext cx="627978" cy="410788"/>
            </a:xfrm>
            <a:custGeom>
              <a:avLst/>
              <a:gdLst>
                <a:gd name="T0" fmla="*/ 697 w 4358"/>
                <a:gd name="T1" fmla="*/ 1250 h 2850"/>
                <a:gd name="T2" fmla="*/ 697 w 4358"/>
                <a:gd name="T3" fmla="*/ 1194 h 2850"/>
                <a:gd name="T4" fmla="*/ 1899 w 4358"/>
                <a:gd name="T5" fmla="*/ 0 h 2850"/>
                <a:gd name="T6" fmla="*/ 2900 w 4358"/>
                <a:gd name="T7" fmla="*/ 533 h 2850"/>
                <a:gd name="T8" fmla="*/ 3229 w 4358"/>
                <a:gd name="T9" fmla="*/ 445 h 2850"/>
                <a:gd name="T10" fmla="*/ 3617 w 4358"/>
                <a:gd name="T11" fmla="*/ 561 h 2850"/>
                <a:gd name="T12" fmla="*/ 3926 w 4358"/>
                <a:gd name="T13" fmla="*/ 1122 h 2850"/>
                <a:gd name="T14" fmla="*/ 4358 w 4358"/>
                <a:gd name="T15" fmla="*/ 1910 h 2850"/>
                <a:gd name="T16" fmla="*/ 3517 w 4358"/>
                <a:gd name="T17" fmla="*/ 2850 h 2850"/>
                <a:gd name="T18" fmla="*/ 3413 w 4358"/>
                <a:gd name="T19" fmla="*/ 2850 h 2850"/>
                <a:gd name="T20" fmla="*/ 3317 w 4358"/>
                <a:gd name="T21" fmla="*/ 2850 h 2850"/>
                <a:gd name="T22" fmla="*/ 1354 w 4358"/>
                <a:gd name="T23" fmla="*/ 2850 h 2850"/>
                <a:gd name="T24" fmla="*/ 1315 w 4358"/>
                <a:gd name="T25" fmla="*/ 2850 h 2850"/>
                <a:gd name="T26" fmla="*/ 1266 w 4358"/>
                <a:gd name="T27" fmla="*/ 2850 h 2850"/>
                <a:gd name="T28" fmla="*/ 1122 w 4358"/>
                <a:gd name="T29" fmla="*/ 2850 h 2850"/>
                <a:gd name="T30" fmla="*/ 809 w 4358"/>
                <a:gd name="T31" fmla="*/ 2850 h 2850"/>
                <a:gd name="T32" fmla="*/ 0 w 4358"/>
                <a:gd name="T33" fmla="*/ 2046 h 2850"/>
                <a:gd name="T34" fmla="*/ 697 w 4358"/>
                <a:gd name="T35" fmla="*/ 1250 h 2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58" h="2850">
                  <a:moveTo>
                    <a:pt x="697" y="1250"/>
                  </a:moveTo>
                  <a:cubicBezTo>
                    <a:pt x="697" y="1234"/>
                    <a:pt x="697" y="1210"/>
                    <a:pt x="697" y="1194"/>
                  </a:cubicBezTo>
                  <a:cubicBezTo>
                    <a:pt x="697" y="533"/>
                    <a:pt x="1234" y="0"/>
                    <a:pt x="1899" y="0"/>
                  </a:cubicBezTo>
                  <a:cubicBezTo>
                    <a:pt x="2315" y="0"/>
                    <a:pt x="2684" y="215"/>
                    <a:pt x="2900" y="533"/>
                  </a:cubicBezTo>
                  <a:cubicBezTo>
                    <a:pt x="2996" y="477"/>
                    <a:pt x="3108" y="445"/>
                    <a:pt x="3229" y="445"/>
                  </a:cubicBezTo>
                  <a:cubicBezTo>
                    <a:pt x="3373" y="445"/>
                    <a:pt x="3506" y="488"/>
                    <a:pt x="3617" y="561"/>
                  </a:cubicBezTo>
                  <a:cubicBezTo>
                    <a:pt x="3800" y="683"/>
                    <a:pt x="3921" y="889"/>
                    <a:pt x="3926" y="1122"/>
                  </a:cubicBezTo>
                  <a:cubicBezTo>
                    <a:pt x="4182" y="1289"/>
                    <a:pt x="4358" y="1584"/>
                    <a:pt x="4358" y="1910"/>
                  </a:cubicBezTo>
                  <a:cubicBezTo>
                    <a:pt x="4358" y="2396"/>
                    <a:pt x="3990" y="2794"/>
                    <a:pt x="3517" y="2850"/>
                  </a:cubicBezTo>
                  <a:cubicBezTo>
                    <a:pt x="3485" y="2850"/>
                    <a:pt x="3445" y="2850"/>
                    <a:pt x="3413" y="2850"/>
                  </a:cubicBezTo>
                  <a:cubicBezTo>
                    <a:pt x="3381" y="2850"/>
                    <a:pt x="3349" y="2850"/>
                    <a:pt x="3317" y="2850"/>
                  </a:cubicBezTo>
                  <a:cubicBezTo>
                    <a:pt x="2876" y="2850"/>
                    <a:pt x="1843" y="2850"/>
                    <a:pt x="1354" y="2850"/>
                  </a:cubicBezTo>
                  <a:cubicBezTo>
                    <a:pt x="1338" y="2850"/>
                    <a:pt x="1326" y="2850"/>
                    <a:pt x="1315" y="2850"/>
                  </a:cubicBezTo>
                  <a:cubicBezTo>
                    <a:pt x="1266" y="2850"/>
                    <a:pt x="1266" y="2850"/>
                    <a:pt x="1266" y="2850"/>
                  </a:cubicBezTo>
                  <a:cubicBezTo>
                    <a:pt x="1242" y="2850"/>
                    <a:pt x="1170" y="2850"/>
                    <a:pt x="1122" y="2850"/>
                  </a:cubicBezTo>
                  <a:cubicBezTo>
                    <a:pt x="809" y="2850"/>
                    <a:pt x="809" y="2850"/>
                    <a:pt x="809" y="2850"/>
                  </a:cubicBezTo>
                  <a:cubicBezTo>
                    <a:pt x="360" y="2842"/>
                    <a:pt x="0" y="2484"/>
                    <a:pt x="0" y="2046"/>
                  </a:cubicBezTo>
                  <a:cubicBezTo>
                    <a:pt x="0" y="1640"/>
                    <a:pt x="304" y="1305"/>
                    <a:pt x="697" y="125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4" name="Group 3"/>
          <p:cNvGrpSpPr/>
          <p:nvPr/>
        </p:nvGrpSpPr>
        <p:grpSpPr>
          <a:xfrm>
            <a:off x="3854940" y="2398423"/>
            <a:ext cx="3592274" cy="2043302"/>
            <a:chOff x="274637" y="2446020"/>
            <a:chExt cx="3664307" cy="2084274"/>
          </a:xfrm>
        </p:grpSpPr>
        <p:sp>
          <p:nvSpPr>
            <p:cNvPr id="384" name="Rectangle 383"/>
            <p:cNvSpPr/>
            <p:nvPr/>
          </p:nvSpPr>
          <p:spPr bwMode="auto">
            <a:xfrm>
              <a:off x="274637" y="2446020"/>
              <a:ext cx="3664307" cy="2084274"/>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75736" tIns="179285" rIns="0" bIns="89642" numCol="1" rtlCol="0" anchor="t" anchorCtr="0" compatLnSpc="1">
              <a:prstTxWarp prst="textNoShape">
                <a:avLst/>
              </a:prstTxWarp>
            </a:bodyPr>
            <a:lstStyle/>
            <a:p>
              <a:pPr defTabSz="896334" fontAlgn="base">
                <a:lnSpc>
                  <a:spcPct val="90000"/>
                </a:lnSpc>
                <a:spcBef>
                  <a:spcPct val="0"/>
                </a:spcBef>
                <a:spcAft>
                  <a:spcPct val="0"/>
                </a:spcAft>
                <a:defRPr/>
              </a:pPr>
              <a:r>
                <a:rPr lang="en-US" sz="2745" kern="0" dirty="0">
                  <a:solidFill>
                    <a:srgbClr val="FFFFFF"/>
                  </a:solidFill>
                  <a:latin typeface="Segoe UI Light"/>
                  <a:ea typeface="ＭＳ Ｐゴシック" charset="0"/>
                  <a:cs typeface="Segoe UI Semilight" panose="020B0402040204020203" pitchFamily="34" charset="0"/>
                </a:rPr>
                <a:t>Enterprise-grade</a:t>
              </a:r>
            </a:p>
          </p:txBody>
        </p:sp>
        <p:sp>
          <p:nvSpPr>
            <p:cNvPr id="34" name="TextBox 33"/>
            <p:cNvSpPr txBox="1"/>
            <p:nvPr/>
          </p:nvSpPr>
          <p:spPr>
            <a:xfrm>
              <a:off x="284160" y="3049542"/>
              <a:ext cx="2602473" cy="1196527"/>
            </a:xfrm>
            <a:prstGeom prst="rect">
              <a:avLst/>
            </a:prstGeom>
            <a:noFill/>
          </p:spPr>
          <p:txBody>
            <a:bodyPr wrap="square" lIns="179285" tIns="143428" rIns="179285" bIns="143428" rtlCol="0">
              <a:noAutofit/>
            </a:bodyPr>
            <a:lstStyle/>
            <a:p>
              <a:pPr defTabSz="913505" fontAlgn="base">
                <a:spcBef>
                  <a:spcPct val="0"/>
                </a:spcBef>
              </a:pPr>
              <a:r>
                <a:rPr lang="en-US" sz="1274" dirty="0">
                  <a:solidFill>
                    <a:srgbClr val="FFFFFF"/>
                  </a:solidFill>
                  <a:ea typeface="Ryo Display PlusN B" panose="02020800000000000000" pitchFamily="18" charset="-128"/>
                </a:rPr>
                <a:t>Decades of experience building and running trusted global cloud services</a:t>
              </a:r>
            </a:p>
          </p:txBody>
        </p:sp>
        <p:grpSp>
          <p:nvGrpSpPr>
            <p:cNvPr id="41" name="Group 40"/>
            <p:cNvGrpSpPr/>
            <p:nvPr/>
          </p:nvGrpSpPr>
          <p:grpSpPr>
            <a:xfrm>
              <a:off x="3162748" y="3657090"/>
              <a:ext cx="493723" cy="658797"/>
              <a:chOff x="-3844925" y="2109788"/>
              <a:chExt cx="2089150" cy="2787650"/>
            </a:xfrm>
            <a:solidFill>
              <a:schemeClr val="bg1"/>
            </a:solidFill>
          </p:grpSpPr>
          <p:sp>
            <p:nvSpPr>
              <p:cNvPr id="42" name="Freeform 21"/>
              <p:cNvSpPr>
                <a:spLocks noEditPoints="1"/>
              </p:cNvSpPr>
              <p:nvPr/>
            </p:nvSpPr>
            <p:spPr bwMode="auto">
              <a:xfrm>
                <a:off x="-3844925" y="3284538"/>
                <a:ext cx="1308100" cy="1612900"/>
              </a:xfrm>
              <a:custGeom>
                <a:avLst/>
                <a:gdLst>
                  <a:gd name="T0" fmla="*/ 0 w 824"/>
                  <a:gd name="T1" fmla="*/ 0 h 1016"/>
                  <a:gd name="T2" fmla="*/ 0 w 824"/>
                  <a:gd name="T3" fmla="*/ 1016 h 1016"/>
                  <a:gd name="T4" fmla="*/ 266 w 824"/>
                  <a:gd name="T5" fmla="*/ 1016 h 1016"/>
                  <a:gd name="T6" fmla="*/ 266 w 824"/>
                  <a:gd name="T7" fmla="*/ 807 h 1016"/>
                  <a:gd name="T8" fmla="*/ 375 w 824"/>
                  <a:gd name="T9" fmla="*/ 807 h 1016"/>
                  <a:gd name="T10" fmla="*/ 375 w 824"/>
                  <a:gd name="T11" fmla="*/ 1016 h 1016"/>
                  <a:gd name="T12" fmla="*/ 454 w 824"/>
                  <a:gd name="T13" fmla="*/ 1016 h 1016"/>
                  <a:gd name="T14" fmla="*/ 454 w 824"/>
                  <a:gd name="T15" fmla="*/ 807 h 1016"/>
                  <a:gd name="T16" fmla="*/ 560 w 824"/>
                  <a:gd name="T17" fmla="*/ 807 h 1016"/>
                  <a:gd name="T18" fmla="*/ 560 w 824"/>
                  <a:gd name="T19" fmla="*/ 1016 h 1016"/>
                  <a:gd name="T20" fmla="*/ 824 w 824"/>
                  <a:gd name="T21" fmla="*/ 1016 h 1016"/>
                  <a:gd name="T22" fmla="*/ 824 w 824"/>
                  <a:gd name="T23" fmla="*/ 0 h 1016"/>
                  <a:gd name="T24" fmla="*/ 0 w 824"/>
                  <a:gd name="T25" fmla="*/ 0 h 1016"/>
                  <a:gd name="T26" fmla="*/ 746 w 824"/>
                  <a:gd name="T27" fmla="*/ 740 h 1016"/>
                  <a:gd name="T28" fmla="*/ 81 w 824"/>
                  <a:gd name="T29" fmla="*/ 740 h 1016"/>
                  <a:gd name="T30" fmla="*/ 81 w 824"/>
                  <a:gd name="T31" fmla="*/ 634 h 1016"/>
                  <a:gd name="T32" fmla="*/ 746 w 824"/>
                  <a:gd name="T33" fmla="*/ 634 h 1016"/>
                  <a:gd name="T34" fmla="*/ 746 w 824"/>
                  <a:gd name="T35" fmla="*/ 740 h 1016"/>
                  <a:gd name="T36" fmla="*/ 746 w 824"/>
                  <a:gd name="T37" fmla="*/ 558 h 1016"/>
                  <a:gd name="T38" fmla="*/ 81 w 824"/>
                  <a:gd name="T39" fmla="*/ 558 h 1016"/>
                  <a:gd name="T40" fmla="*/ 81 w 824"/>
                  <a:gd name="T41" fmla="*/ 451 h 1016"/>
                  <a:gd name="T42" fmla="*/ 746 w 824"/>
                  <a:gd name="T43" fmla="*/ 451 h 1016"/>
                  <a:gd name="T44" fmla="*/ 746 w 824"/>
                  <a:gd name="T45" fmla="*/ 558 h 1016"/>
                  <a:gd name="T46" fmla="*/ 746 w 824"/>
                  <a:gd name="T47" fmla="*/ 373 h 1016"/>
                  <a:gd name="T48" fmla="*/ 81 w 824"/>
                  <a:gd name="T49" fmla="*/ 373 h 1016"/>
                  <a:gd name="T50" fmla="*/ 81 w 824"/>
                  <a:gd name="T51" fmla="*/ 266 h 1016"/>
                  <a:gd name="T52" fmla="*/ 746 w 824"/>
                  <a:gd name="T53" fmla="*/ 266 h 1016"/>
                  <a:gd name="T54" fmla="*/ 746 w 824"/>
                  <a:gd name="T55" fmla="*/ 373 h 1016"/>
                  <a:gd name="T56" fmla="*/ 746 w 824"/>
                  <a:gd name="T57" fmla="*/ 188 h 1016"/>
                  <a:gd name="T58" fmla="*/ 81 w 824"/>
                  <a:gd name="T59" fmla="*/ 188 h 1016"/>
                  <a:gd name="T60" fmla="*/ 81 w 824"/>
                  <a:gd name="T61" fmla="*/ 81 h 1016"/>
                  <a:gd name="T62" fmla="*/ 746 w 824"/>
                  <a:gd name="T63" fmla="*/ 81 h 1016"/>
                  <a:gd name="T64" fmla="*/ 746 w 824"/>
                  <a:gd name="T65" fmla="*/ 188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4" h="1016">
                    <a:moveTo>
                      <a:pt x="0" y="0"/>
                    </a:moveTo>
                    <a:lnTo>
                      <a:pt x="0" y="1016"/>
                    </a:lnTo>
                    <a:lnTo>
                      <a:pt x="266" y="1016"/>
                    </a:lnTo>
                    <a:lnTo>
                      <a:pt x="266" y="807"/>
                    </a:lnTo>
                    <a:lnTo>
                      <a:pt x="375" y="807"/>
                    </a:lnTo>
                    <a:lnTo>
                      <a:pt x="375" y="1016"/>
                    </a:lnTo>
                    <a:lnTo>
                      <a:pt x="454" y="1016"/>
                    </a:lnTo>
                    <a:lnTo>
                      <a:pt x="454" y="807"/>
                    </a:lnTo>
                    <a:lnTo>
                      <a:pt x="560" y="807"/>
                    </a:lnTo>
                    <a:lnTo>
                      <a:pt x="560" y="1016"/>
                    </a:lnTo>
                    <a:lnTo>
                      <a:pt x="824" y="1016"/>
                    </a:lnTo>
                    <a:lnTo>
                      <a:pt x="824" y="0"/>
                    </a:lnTo>
                    <a:lnTo>
                      <a:pt x="0" y="0"/>
                    </a:lnTo>
                    <a:close/>
                    <a:moveTo>
                      <a:pt x="746" y="740"/>
                    </a:moveTo>
                    <a:lnTo>
                      <a:pt x="81" y="740"/>
                    </a:lnTo>
                    <a:lnTo>
                      <a:pt x="81" y="634"/>
                    </a:lnTo>
                    <a:lnTo>
                      <a:pt x="746" y="634"/>
                    </a:lnTo>
                    <a:lnTo>
                      <a:pt x="746" y="740"/>
                    </a:lnTo>
                    <a:close/>
                    <a:moveTo>
                      <a:pt x="746" y="558"/>
                    </a:moveTo>
                    <a:lnTo>
                      <a:pt x="81" y="558"/>
                    </a:lnTo>
                    <a:lnTo>
                      <a:pt x="81" y="451"/>
                    </a:lnTo>
                    <a:lnTo>
                      <a:pt x="746" y="451"/>
                    </a:lnTo>
                    <a:lnTo>
                      <a:pt x="746" y="558"/>
                    </a:lnTo>
                    <a:close/>
                    <a:moveTo>
                      <a:pt x="746" y="373"/>
                    </a:moveTo>
                    <a:lnTo>
                      <a:pt x="81" y="373"/>
                    </a:lnTo>
                    <a:lnTo>
                      <a:pt x="81" y="266"/>
                    </a:lnTo>
                    <a:lnTo>
                      <a:pt x="746" y="266"/>
                    </a:lnTo>
                    <a:lnTo>
                      <a:pt x="746" y="373"/>
                    </a:lnTo>
                    <a:close/>
                    <a:moveTo>
                      <a:pt x="746" y="188"/>
                    </a:moveTo>
                    <a:lnTo>
                      <a:pt x="81" y="188"/>
                    </a:lnTo>
                    <a:lnTo>
                      <a:pt x="81" y="81"/>
                    </a:lnTo>
                    <a:lnTo>
                      <a:pt x="746" y="81"/>
                    </a:lnTo>
                    <a:lnTo>
                      <a:pt x="746"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3" name="Freeform 22"/>
              <p:cNvSpPr>
                <a:spLocks noEditPoints="1"/>
              </p:cNvSpPr>
              <p:nvPr/>
            </p:nvSpPr>
            <p:spPr bwMode="auto">
              <a:xfrm>
                <a:off x="-3063875" y="2109788"/>
                <a:ext cx="1308100" cy="2787650"/>
              </a:xfrm>
              <a:custGeom>
                <a:avLst/>
                <a:gdLst>
                  <a:gd name="T0" fmla="*/ 0 w 824"/>
                  <a:gd name="T1" fmla="*/ 0 h 1756"/>
                  <a:gd name="T2" fmla="*/ 0 w 824"/>
                  <a:gd name="T3" fmla="*/ 686 h 1756"/>
                  <a:gd name="T4" fmla="*/ 80 w 824"/>
                  <a:gd name="T5" fmla="*/ 686 h 1756"/>
                  <a:gd name="T6" fmla="*/ 80 w 824"/>
                  <a:gd name="T7" fmla="*/ 636 h 1756"/>
                  <a:gd name="T8" fmla="*/ 745 w 824"/>
                  <a:gd name="T9" fmla="*/ 636 h 1756"/>
                  <a:gd name="T10" fmla="*/ 745 w 824"/>
                  <a:gd name="T11" fmla="*/ 743 h 1756"/>
                  <a:gd name="T12" fmla="*/ 410 w 824"/>
                  <a:gd name="T13" fmla="*/ 743 h 1756"/>
                  <a:gd name="T14" fmla="*/ 410 w 824"/>
                  <a:gd name="T15" fmla="*/ 821 h 1756"/>
                  <a:gd name="T16" fmla="*/ 745 w 824"/>
                  <a:gd name="T17" fmla="*/ 821 h 1756"/>
                  <a:gd name="T18" fmla="*/ 745 w 824"/>
                  <a:gd name="T19" fmla="*/ 928 h 1756"/>
                  <a:gd name="T20" fmla="*/ 410 w 824"/>
                  <a:gd name="T21" fmla="*/ 928 h 1756"/>
                  <a:gd name="T22" fmla="*/ 410 w 824"/>
                  <a:gd name="T23" fmla="*/ 1006 h 1756"/>
                  <a:gd name="T24" fmla="*/ 745 w 824"/>
                  <a:gd name="T25" fmla="*/ 1006 h 1756"/>
                  <a:gd name="T26" fmla="*/ 745 w 824"/>
                  <a:gd name="T27" fmla="*/ 1113 h 1756"/>
                  <a:gd name="T28" fmla="*/ 410 w 824"/>
                  <a:gd name="T29" fmla="*/ 1113 h 1756"/>
                  <a:gd name="T30" fmla="*/ 410 w 824"/>
                  <a:gd name="T31" fmla="*/ 1191 h 1756"/>
                  <a:gd name="T32" fmla="*/ 745 w 824"/>
                  <a:gd name="T33" fmla="*/ 1191 h 1756"/>
                  <a:gd name="T34" fmla="*/ 745 w 824"/>
                  <a:gd name="T35" fmla="*/ 1298 h 1756"/>
                  <a:gd name="T36" fmla="*/ 410 w 824"/>
                  <a:gd name="T37" fmla="*/ 1298 h 1756"/>
                  <a:gd name="T38" fmla="*/ 410 w 824"/>
                  <a:gd name="T39" fmla="*/ 1374 h 1756"/>
                  <a:gd name="T40" fmla="*/ 745 w 824"/>
                  <a:gd name="T41" fmla="*/ 1374 h 1756"/>
                  <a:gd name="T42" fmla="*/ 745 w 824"/>
                  <a:gd name="T43" fmla="*/ 1480 h 1756"/>
                  <a:gd name="T44" fmla="*/ 410 w 824"/>
                  <a:gd name="T45" fmla="*/ 1480 h 1756"/>
                  <a:gd name="T46" fmla="*/ 410 w 824"/>
                  <a:gd name="T47" fmla="*/ 1756 h 1756"/>
                  <a:gd name="T48" fmla="*/ 451 w 824"/>
                  <a:gd name="T49" fmla="*/ 1756 h 1756"/>
                  <a:gd name="T50" fmla="*/ 451 w 824"/>
                  <a:gd name="T51" fmla="*/ 1547 h 1756"/>
                  <a:gd name="T52" fmla="*/ 560 w 824"/>
                  <a:gd name="T53" fmla="*/ 1547 h 1756"/>
                  <a:gd name="T54" fmla="*/ 560 w 824"/>
                  <a:gd name="T55" fmla="*/ 1756 h 1756"/>
                  <a:gd name="T56" fmla="*/ 824 w 824"/>
                  <a:gd name="T57" fmla="*/ 1756 h 1756"/>
                  <a:gd name="T58" fmla="*/ 824 w 824"/>
                  <a:gd name="T59" fmla="*/ 0 h 1756"/>
                  <a:gd name="T60" fmla="*/ 0 w 824"/>
                  <a:gd name="T61" fmla="*/ 0 h 1756"/>
                  <a:gd name="T62" fmla="*/ 745 w 824"/>
                  <a:gd name="T63" fmla="*/ 558 h 1756"/>
                  <a:gd name="T64" fmla="*/ 80 w 824"/>
                  <a:gd name="T65" fmla="*/ 558 h 1756"/>
                  <a:gd name="T66" fmla="*/ 80 w 824"/>
                  <a:gd name="T67" fmla="*/ 451 h 1756"/>
                  <a:gd name="T68" fmla="*/ 745 w 824"/>
                  <a:gd name="T69" fmla="*/ 451 h 1756"/>
                  <a:gd name="T70" fmla="*/ 745 w 824"/>
                  <a:gd name="T71" fmla="*/ 558 h 1756"/>
                  <a:gd name="T72" fmla="*/ 745 w 824"/>
                  <a:gd name="T73" fmla="*/ 375 h 1756"/>
                  <a:gd name="T74" fmla="*/ 80 w 824"/>
                  <a:gd name="T75" fmla="*/ 375 h 1756"/>
                  <a:gd name="T76" fmla="*/ 80 w 824"/>
                  <a:gd name="T77" fmla="*/ 268 h 1756"/>
                  <a:gd name="T78" fmla="*/ 745 w 824"/>
                  <a:gd name="T79" fmla="*/ 268 h 1756"/>
                  <a:gd name="T80" fmla="*/ 745 w 824"/>
                  <a:gd name="T81" fmla="*/ 375 h 1756"/>
                  <a:gd name="T82" fmla="*/ 745 w 824"/>
                  <a:gd name="T83" fmla="*/ 190 h 1756"/>
                  <a:gd name="T84" fmla="*/ 80 w 824"/>
                  <a:gd name="T85" fmla="*/ 190 h 1756"/>
                  <a:gd name="T86" fmla="*/ 80 w 824"/>
                  <a:gd name="T87" fmla="*/ 83 h 1756"/>
                  <a:gd name="T88" fmla="*/ 745 w 824"/>
                  <a:gd name="T89" fmla="*/ 83 h 1756"/>
                  <a:gd name="T90" fmla="*/ 745 w 824"/>
                  <a:gd name="T91" fmla="*/ 190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6">
                    <a:moveTo>
                      <a:pt x="0" y="0"/>
                    </a:moveTo>
                    <a:lnTo>
                      <a:pt x="0" y="686"/>
                    </a:lnTo>
                    <a:lnTo>
                      <a:pt x="80" y="686"/>
                    </a:lnTo>
                    <a:lnTo>
                      <a:pt x="80" y="636"/>
                    </a:lnTo>
                    <a:lnTo>
                      <a:pt x="745" y="636"/>
                    </a:lnTo>
                    <a:lnTo>
                      <a:pt x="745" y="743"/>
                    </a:lnTo>
                    <a:lnTo>
                      <a:pt x="410" y="743"/>
                    </a:lnTo>
                    <a:lnTo>
                      <a:pt x="410" y="821"/>
                    </a:lnTo>
                    <a:lnTo>
                      <a:pt x="745" y="821"/>
                    </a:lnTo>
                    <a:lnTo>
                      <a:pt x="745" y="928"/>
                    </a:lnTo>
                    <a:lnTo>
                      <a:pt x="410" y="928"/>
                    </a:lnTo>
                    <a:lnTo>
                      <a:pt x="410" y="1006"/>
                    </a:lnTo>
                    <a:lnTo>
                      <a:pt x="745" y="1006"/>
                    </a:lnTo>
                    <a:lnTo>
                      <a:pt x="745" y="1113"/>
                    </a:lnTo>
                    <a:lnTo>
                      <a:pt x="410" y="1113"/>
                    </a:lnTo>
                    <a:lnTo>
                      <a:pt x="410" y="1191"/>
                    </a:lnTo>
                    <a:lnTo>
                      <a:pt x="745" y="1191"/>
                    </a:lnTo>
                    <a:lnTo>
                      <a:pt x="745" y="1298"/>
                    </a:lnTo>
                    <a:lnTo>
                      <a:pt x="410" y="1298"/>
                    </a:lnTo>
                    <a:lnTo>
                      <a:pt x="410" y="1374"/>
                    </a:lnTo>
                    <a:lnTo>
                      <a:pt x="745" y="1374"/>
                    </a:lnTo>
                    <a:lnTo>
                      <a:pt x="745" y="1480"/>
                    </a:lnTo>
                    <a:lnTo>
                      <a:pt x="410" y="1480"/>
                    </a:lnTo>
                    <a:lnTo>
                      <a:pt x="410" y="1756"/>
                    </a:lnTo>
                    <a:lnTo>
                      <a:pt x="451" y="1756"/>
                    </a:lnTo>
                    <a:lnTo>
                      <a:pt x="451" y="1547"/>
                    </a:lnTo>
                    <a:lnTo>
                      <a:pt x="560" y="1547"/>
                    </a:lnTo>
                    <a:lnTo>
                      <a:pt x="560" y="1756"/>
                    </a:lnTo>
                    <a:lnTo>
                      <a:pt x="824" y="1756"/>
                    </a:lnTo>
                    <a:lnTo>
                      <a:pt x="824" y="0"/>
                    </a:lnTo>
                    <a:lnTo>
                      <a:pt x="0" y="0"/>
                    </a:lnTo>
                    <a:close/>
                    <a:moveTo>
                      <a:pt x="745" y="558"/>
                    </a:moveTo>
                    <a:lnTo>
                      <a:pt x="80" y="558"/>
                    </a:lnTo>
                    <a:lnTo>
                      <a:pt x="80" y="451"/>
                    </a:lnTo>
                    <a:lnTo>
                      <a:pt x="745" y="451"/>
                    </a:lnTo>
                    <a:lnTo>
                      <a:pt x="745" y="558"/>
                    </a:lnTo>
                    <a:close/>
                    <a:moveTo>
                      <a:pt x="745" y="375"/>
                    </a:moveTo>
                    <a:lnTo>
                      <a:pt x="80" y="375"/>
                    </a:lnTo>
                    <a:lnTo>
                      <a:pt x="80" y="268"/>
                    </a:lnTo>
                    <a:lnTo>
                      <a:pt x="745" y="268"/>
                    </a:lnTo>
                    <a:lnTo>
                      <a:pt x="745" y="375"/>
                    </a:lnTo>
                    <a:close/>
                    <a:moveTo>
                      <a:pt x="745" y="190"/>
                    </a:moveTo>
                    <a:lnTo>
                      <a:pt x="80" y="190"/>
                    </a:lnTo>
                    <a:lnTo>
                      <a:pt x="80" y="83"/>
                    </a:lnTo>
                    <a:lnTo>
                      <a:pt x="745" y="83"/>
                    </a:lnTo>
                    <a:lnTo>
                      <a:pt x="745" y="19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6" name="Group 5"/>
          <p:cNvGrpSpPr/>
          <p:nvPr/>
        </p:nvGrpSpPr>
        <p:grpSpPr>
          <a:xfrm>
            <a:off x="224418" y="2398423"/>
            <a:ext cx="3585700" cy="2043302"/>
            <a:chOff x="3932238" y="2446020"/>
            <a:chExt cx="3657601" cy="2084274"/>
          </a:xfrm>
        </p:grpSpPr>
        <p:sp>
          <p:nvSpPr>
            <p:cNvPr id="385" name="Rectangle 384"/>
            <p:cNvSpPr/>
            <p:nvPr/>
          </p:nvSpPr>
          <p:spPr bwMode="auto">
            <a:xfrm>
              <a:off x="3932238" y="2446020"/>
              <a:ext cx="3657601" cy="2084274"/>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75736" tIns="179285" rIns="0" bIns="89642" numCol="1" rtlCol="0" anchor="t" anchorCtr="0" compatLnSpc="1">
              <a:prstTxWarp prst="textNoShape">
                <a:avLst/>
              </a:prstTxWarp>
            </a:bodyPr>
            <a:lstStyle/>
            <a:p>
              <a:pPr defTabSz="896334" fontAlgn="base">
                <a:lnSpc>
                  <a:spcPct val="90000"/>
                </a:lnSpc>
                <a:spcBef>
                  <a:spcPct val="0"/>
                </a:spcBef>
                <a:spcAft>
                  <a:spcPct val="0"/>
                </a:spcAft>
                <a:defRPr/>
              </a:pPr>
              <a:r>
                <a:rPr lang="en-US" sz="2745" kern="0" dirty="0">
                  <a:solidFill>
                    <a:srgbClr val="FFFFFF"/>
                  </a:solidFill>
                  <a:latin typeface="Segoe UI Light"/>
                  <a:ea typeface="ＭＳ Ｐゴシック" charset="0"/>
                  <a:cs typeface="Segoe UI Semilight" panose="020B0402040204020203" pitchFamily="34" charset="0"/>
                </a:rPr>
                <a:t>Comprehensive</a:t>
              </a:r>
            </a:p>
          </p:txBody>
        </p:sp>
        <p:sp>
          <p:nvSpPr>
            <p:cNvPr id="35" name="TextBox 34"/>
            <p:cNvSpPr txBox="1"/>
            <p:nvPr/>
          </p:nvSpPr>
          <p:spPr>
            <a:xfrm>
              <a:off x="3941763" y="3049542"/>
              <a:ext cx="2751058" cy="1196527"/>
            </a:xfrm>
            <a:prstGeom prst="rect">
              <a:avLst/>
            </a:prstGeom>
            <a:noFill/>
          </p:spPr>
          <p:txBody>
            <a:bodyPr wrap="square" lIns="179285" tIns="143428" rIns="179285" bIns="143428" rtlCol="0">
              <a:noAutofit/>
            </a:bodyPr>
            <a:lstStyle/>
            <a:p>
              <a:pPr defTabSz="913505" fontAlgn="base">
                <a:spcBef>
                  <a:spcPct val="0"/>
                </a:spcBef>
              </a:pPr>
              <a:r>
                <a:rPr lang="en-US" sz="1274" dirty="0">
                  <a:solidFill>
                    <a:srgbClr val="FFFFFF"/>
                  </a:solidFill>
                  <a:ea typeface="Ryo Display PlusN B" panose="02020800000000000000" pitchFamily="18" charset="-128"/>
                </a:rPr>
                <a:t>Unmatched breadth </a:t>
              </a:r>
              <a:br>
                <a:rPr lang="en-US" sz="1274" dirty="0">
                  <a:solidFill>
                    <a:srgbClr val="FFFFFF"/>
                  </a:solidFill>
                  <a:ea typeface="Ryo Display PlusN B" panose="02020800000000000000" pitchFamily="18" charset="-128"/>
                </a:rPr>
              </a:br>
              <a:r>
                <a:rPr lang="en-US" sz="1274" dirty="0">
                  <a:solidFill>
                    <a:srgbClr val="FFFFFF"/>
                  </a:solidFill>
                  <a:ea typeface="Ryo Display PlusN B" panose="02020800000000000000" pitchFamily="18" charset="-128"/>
                </a:rPr>
                <a:t>of capabilities essential </a:t>
              </a:r>
              <a:br>
                <a:rPr lang="en-US" sz="1274" dirty="0">
                  <a:solidFill>
                    <a:srgbClr val="FFFFFF"/>
                  </a:solidFill>
                  <a:ea typeface="Ryo Display PlusN B" panose="02020800000000000000" pitchFamily="18" charset="-128"/>
                </a:rPr>
              </a:br>
              <a:r>
                <a:rPr lang="en-US" sz="1274" dirty="0">
                  <a:solidFill>
                    <a:srgbClr val="FFFFFF"/>
                  </a:solidFill>
                  <a:ea typeface="Ryo Display PlusN B" panose="02020800000000000000" pitchFamily="18" charset="-128"/>
                </a:rPr>
                <a:t>for your business transformation</a:t>
              </a:r>
            </a:p>
          </p:txBody>
        </p:sp>
        <p:sp>
          <p:nvSpPr>
            <p:cNvPr id="44" name="Freeform 26"/>
            <p:cNvSpPr>
              <a:spLocks/>
            </p:cNvSpPr>
            <p:nvPr/>
          </p:nvSpPr>
          <p:spPr bwMode="auto">
            <a:xfrm>
              <a:off x="6843453" y="3689873"/>
              <a:ext cx="532817" cy="598067"/>
            </a:xfrm>
            <a:custGeom>
              <a:avLst/>
              <a:gdLst>
                <a:gd name="T0" fmla="*/ 2024 w 2372"/>
                <a:gd name="T1" fmla="*/ 639 h 2663"/>
                <a:gd name="T2" fmla="*/ 1819 w 2372"/>
                <a:gd name="T3" fmla="*/ 844 h 2663"/>
                <a:gd name="T4" fmla="*/ 2081 w 2372"/>
                <a:gd name="T5" fmla="*/ 1477 h 2663"/>
                <a:gd name="T6" fmla="*/ 1186 w 2372"/>
                <a:gd name="T7" fmla="*/ 2373 h 2663"/>
                <a:gd name="T8" fmla="*/ 290 w 2372"/>
                <a:gd name="T9" fmla="*/ 1477 h 2663"/>
                <a:gd name="T10" fmla="*/ 1186 w 2372"/>
                <a:gd name="T11" fmla="*/ 582 h 2663"/>
                <a:gd name="T12" fmla="*/ 1186 w 2372"/>
                <a:gd name="T13" fmla="*/ 898 h 2663"/>
                <a:gd name="T14" fmla="*/ 1635 w 2372"/>
                <a:gd name="T15" fmla="*/ 449 h 2663"/>
                <a:gd name="T16" fmla="*/ 1186 w 2372"/>
                <a:gd name="T17" fmla="*/ 0 h 2663"/>
                <a:gd name="T18" fmla="*/ 1186 w 2372"/>
                <a:gd name="T19" fmla="*/ 291 h 2663"/>
                <a:gd name="T20" fmla="*/ 0 w 2372"/>
                <a:gd name="T21" fmla="*/ 1477 h 2663"/>
                <a:gd name="T22" fmla="*/ 1186 w 2372"/>
                <a:gd name="T23" fmla="*/ 2663 h 2663"/>
                <a:gd name="T24" fmla="*/ 2372 w 2372"/>
                <a:gd name="T25" fmla="*/ 1477 h 2663"/>
                <a:gd name="T26" fmla="*/ 2024 w 2372"/>
                <a:gd name="T27" fmla="*/ 639 h 2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2" h="2663">
                  <a:moveTo>
                    <a:pt x="2024" y="639"/>
                  </a:moveTo>
                  <a:cubicBezTo>
                    <a:pt x="1819" y="844"/>
                    <a:pt x="1819" y="844"/>
                    <a:pt x="1819" y="844"/>
                  </a:cubicBezTo>
                  <a:cubicBezTo>
                    <a:pt x="1981" y="1006"/>
                    <a:pt x="2081" y="1230"/>
                    <a:pt x="2081" y="1477"/>
                  </a:cubicBezTo>
                  <a:cubicBezTo>
                    <a:pt x="2081" y="1972"/>
                    <a:pt x="1680" y="2373"/>
                    <a:pt x="1186" y="2373"/>
                  </a:cubicBezTo>
                  <a:cubicBezTo>
                    <a:pt x="691" y="2373"/>
                    <a:pt x="290" y="1972"/>
                    <a:pt x="290" y="1477"/>
                  </a:cubicBezTo>
                  <a:cubicBezTo>
                    <a:pt x="290" y="983"/>
                    <a:pt x="691" y="582"/>
                    <a:pt x="1186" y="582"/>
                  </a:cubicBezTo>
                  <a:cubicBezTo>
                    <a:pt x="1186" y="898"/>
                    <a:pt x="1186" y="898"/>
                    <a:pt x="1186" y="898"/>
                  </a:cubicBezTo>
                  <a:cubicBezTo>
                    <a:pt x="1635" y="449"/>
                    <a:pt x="1635" y="449"/>
                    <a:pt x="1635" y="449"/>
                  </a:cubicBezTo>
                  <a:cubicBezTo>
                    <a:pt x="1186" y="0"/>
                    <a:pt x="1186" y="0"/>
                    <a:pt x="1186" y="0"/>
                  </a:cubicBezTo>
                  <a:cubicBezTo>
                    <a:pt x="1186" y="291"/>
                    <a:pt x="1186" y="291"/>
                    <a:pt x="1186" y="291"/>
                  </a:cubicBezTo>
                  <a:cubicBezTo>
                    <a:pt x="531" y="291"/>
                    <a:pt x="0" y="822"/>
                    <a:pt x="0" y="1477"/>
                  </a:cubicBezTo>
                  <a:cubicBezTo>
                    <a:pt x="0" y="2132"/>
                    <a:pt x="531" y="2663"/>
                    <a:pt x="1186" y="2663"/>
                  </a:cubicBezTo>
                  <a:cubicBezTo>
                    <a:pt x="1841" y="2663"/>
                    <a:pt x="2372" y="2132"/>
                    <a:pt x="2372" y="1477"/>
                  </a:cubicBezTo>
                  <a:cubicBezTo>
                    <a:pt x="2372" y="1150"/>
                    <a:pt x="2239" y="853"/>
                    <a:pt x="2024" y="63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9" name="Group 8"/>
          <p:cNvGrpSpPr/>
          <p:nvPr/>
        </p:nvGrpSpPr>
        <p:grpSpPr>
          <a:xfrm>
            <a:off x="224418" y="4494349"/>
            <a:ext cx="3585700" cy="2072138"/>
            <a:chOff x="3932238" y="4583973"/>
            <a:chExt cx="3657601" cy="2113689"/>
          </a:xfrm>
        </p:grpSpPr>
        <p:sp>
          <p:nvSpPr>
            <p:cNvPr id="32" name="Rectangle 31"/>
            <p:cNvSpPr/>
            <p:nvPr/>
          </p:nvSpPr>
          <p:spPr bwMode="auto">
            <a:xfrm>
              <a:off x="3932238" y="4583973"/>
              <a:ext cx="3657601" cy="2113689"/>
            </a:xfrm>
            <a:prstGeom prst="rect">
              <a:avLst/>
            </a:prstGeom>
            <a:solidFill>
              <a:schemeClr val="accent1">
                <a:lumMod val="75000"/>
              </a:schemeClr>
            </a:solidFill>
            <a:ln w="10795" cap="flat" cmpd="sng" algn="ctr">
              <a:noFill/>
              <a:prstDash val="solid"/>
              <a:headEnd type="none" w="med" len="med"/>
              <a:tailEnd type="none" w="med" len="med"/>
            </a:ln>
            <a:effectLst/>
          </p:spPr>
          <p:txBody>
            <a:bodyPr vert="horz" wrap="square" lIns="175736" tIns="179285" rIns="0" bIns="89642" numCol="1" rtlCol="0" anchor="t" anchorCtr="0" compatLnSpc="1">
              <a:prstTxWarp prst="textNoShape">
                <a:avLst/>
              </a:prstTxWarp>
            </a:bodyPr>
            <a:lstStyle/>
            <a:p>
              <a:pPr defTabSz="896334" fontAlgn="base">
                <a:lnSpc>
                  <a:spcPct val="90000"/>
                </a:lnSpc>
                <a:spcBef>
                  <a:spcPct val="0"/>
                </a:spcBef>
                <a:spcAft>
                  <a:spcPct val="0"/>
                </a:spcAft>
                <a:defRPr/>
              </a:pPr>
              <a:r>
                <a:rPr lang="en-US" sz="2745" kern="0" dirty="0">
                  <a:solidFill>
                    <a:srgbClr val="FFFFFF"/>
                  </a:solidFill>
                  <a:latin typeface="Segoe UI Light"/>
                  <a:ea typeface="ＭＳ Ｐゴシック" charset="0"/>
                  <a:cs typeface="Segoe UI Semilight" panose="020B0402040204020203" pitchFamily="34" charset="0"/>
                </a:rPr>
                <a:t>People-centered experiences</a:t>
              </a:r>
            </a:p>
          </p:txBody>
        </p:sp>
        <p:sp>
          <p:nvSpPr>
            <p:cNvPr id="37" name="TextBox 36"/>
            <p:cNvSpPr txBox="1"/>
            <p:nvPr/>
          </p:nvSpPr>
          <p:spPr>
            <a:xfrm>
              <a:off x="3941764" y="5457001"/>
              <a:ext cx="2626528" cy="774363"/>
            </a:xfrm>
            <a:prstGeom prst="rect">
              <a:avLst/>
            </a:prstGeom>
            <a:noFill/>
          </p:spPr>
          <p:txBody>
            <a:bodyPr wrap="square" lIns="179285" tIns="143428" rIns="179285" bIns="143428" rtlCol="0">
              <a:noAutofit/>
            </a:bodyPr>
            <a:lstStyle/>
            <a:p>
              <a:pPr defTabSz="913505" fontAlgn="base">
                <a:spcBef>
                  <a:spcPct val="0"/>
                </a:spcBef>
              </a:pPr>
              <a:r>
                <a:rPr lang="en-US" sz="1274" dirty="0">
                  <a:solidFill>
                    <a:srgbClr val="FFFFFF"/>
                  </a:solidFill>
                  <a:ea typeface="Ryo Display PlusN B" panose="02020800000000000000" pitchFamily="18" charset="-128"/>
                </a:rPr>
                <a:t>Experiences employees want with the control IT needs </a:t>
              </a:r>
              <a:br>
                <a:rPr lang="en-US" sz="1274" dirty="0">
                  <a:solidFill>
                    <a:srgbClr val="FFFFFF"/>
                  </a:solidFill>
                  <a:ea typeface="Ryo Display PlusN B" panose="02020800000000000000" pitchFamily="18" charset="-128"/>
                </a:rPr>
              </a:br>
              <a:endParaRPr lang="en-US" sz="1274" dirty="0">
                <a:solidFill>
                  <a:srgbClr val="FFFFFF"/>
                </a:solidFill>
                <a:ea typeface="Ryo Display PlusN B" panose="02020800000000000000" pitchFamily="18" charset="-128"/>
              </a:endParaRPr>
            </a:p>
          </p:txBody>
        </p:sp>
        <p:sp>
          <p:nvSpPr>
            <p:cNvPr id="45" name="Freeform 6"/>
            <p:cNvSpPr>
              <a:spLocks noEditPoints="1"/>
            </p:cNvSpPr>
            <p:nvPr/>
          </p:nvSpPr>
          <p:spPr bwMode="auto">
            <a:xfrm>
              <a:off x="7013986" y="5845485"/>
              <a:ext cx="361881" cy="619028"/>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Tree>
    <p:extLst>
      <p:ext uri="{BB962C8B-B14F-4D97-AF65-F5344CB8AC3E}">
        <p14:creationId xmlns:p14="http://schemas.microsoft.com/office/powerpoint/2010/main" val="1761903045"/>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8000" decel="72000" fill="hold" nodeType="withEffect">
                                  <p:stCondLst>
                                    <p:cond delay="0"/>
                                  </p:stCondLst>
                                  <p:childTnLst>
                                    <p:animMotion origin="layout" path="M 2.72147E-6 -4.48479E-6 L 0.30661 -4.48479E-6 " pathEditMode="relative" rAng="0" ptsTypes="AA">
                                      <p:cBhvr>
                                        <p:cTn id="6" dur="1000" fill="hold"/>
                                        <p:tgtEl>
                                          <p:spTgt spid="404"/>
                                        </p:tgtEl>
                                        <p:attrNameLst>
                                          <p:attrName>ppt_x</p:attrName>
                                          <p:attrName>ppt_y</p:attrName>
                                        </p:attrNameLst>
                                      </p:cBhvr>
                                      <p:rCtr x="15331" y="0"/>
                                    </p:animMotion>
                                  </p:childTnLst>
                                </p:cTn>
                              </p:par>
                              <p:par>
                                <p:cTn id="7" presetID="1" presetClass="entr" presetSubtype="0" fill="hold" nodeType="withEffect">
                                  <p:stCondLst>
                                    <p:cond delay="1250"/>
                                  </p:stCondLst>
                                  <p:childTnLst>
                                    <p:set>
                                      <p:cBhvr>
                                        <p:cTn id="8" dur="1" fill="hold">
                                          <p:stCondLst>
                                            <p:cond delay="0"/>
                                          </p:stCondLst>
                                        </p:cTn>
                                        <p:tgtEl>
                                          <p:spTgt spid="757"/>
                                        </p:tgtEl>
                                        <p:attrNameLst>
                                          <p:attrName>style.visibility</p:attrName>
                                        </p:attrNameLst>
                                      </p:cBhvr>
                                      <p:to>
                                        <p:strVal val="visible"/>
                                      </p:to>
                                    </p:set>
                                  </p:childTnLst>
                                </p:cTn>
                              </p:par>
                              <p:par>
                                <p:cTn id="9" presetID="10" presetClass="entr" presetSubtype="0" fill="hold" grpId="0" nodeType="withEffect">
                                  <p:stCondLst>
                                    <p:cond delay="7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50"/>
                                        <p:tgtEl>
                                          <p:spTgt spid="10"/>
                                        </p:tgtEl>
                                      </p:cBhvr>
                                    </p:animEffect>
                                  </p:childTnLst>
                                </p:cTn>
                              </p:par>
                              <p:par>
                                <p:cTn id="12" presetID="35" presetClass="path" presetSubtype="0" decel="100000" fill="hold" grpId="1" nodeType="withEffect">
                                  <p:stCondLst>
                                    <p:cond delay="250"/>
                                  </p:stCondLst>
                                  <p:childTnLst>
                                    <p:animMotion origin="layout" path="M -3.24738E-6 0 L -0.19721 0 " pathEditMode="relative" rAng="0" ptsTypes="AA">
                                      <p:cBhvr>
                                        <p:cTn id="13" dur="1250" spd="-100000" fill="hold"/>
                                        <p:tgtEl>
                                          <p:spTgt spid="10"/>
                                        </p:tgtEl>
                                        <p:attrNameLst>
                                          <p:attrName>ppt_x</p:attrName>
                                          <p:attrName>ppt_y</p:attrName>
                                        </p:attrNameLst>
                                      </p:cBhvr>
                                      <p:rCtr x="-9867" y="0"/>
                                    </p:animMotion>
                                  </p:childTnLst>
                                </p:cTn>
                              </p:par>
                              <p:par>
                                <p:cTn id="14" presetID="10" presetClass="entr" presetSubtype="0" fill="hold" grpId="0" nodeType="withEffect">
                                  <p:stCondLst>
                                    <p:cond delay="125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750"/>
                                        <p:tgtEl>
                                          <p:spTgt spid="2"/>
                                        </p:tgtEl>
                                      </p:cBhvr>
                                    </p:animEffect>
                                  </p:childTnLst>
                                </p:cTn>
                              </p:par>
                              <p:par>
                                <p:cTn id="17" presetID="35" presetClass="path" presetSubtype="0" accel="50000" decel="50000" fill="hold" grpId="1" nodeType="withEffect">
                                  <p:stCondLst>
                                    <p:cond delay="750"/>
                                  </p:stCondLst>
                                  <p:childTnLst>
                                    <p:animMotion origin="layout" path="M 4.75109E-6 -3.68134E-6 L -0.09612 -3.68134E-6 " pathEditMode="relative" rAng="0" ptsTypes="AA">
                                      <p:cBhvr>
                                        <p:cTn id="18" dur="1250" spd="-100000" fill="hold"/>
                                        <p:tgtEl>
                                          <p:spTgt spid="2"/>
                                        </p:tgtEl>
                                        <p:attrNameLst>
                                          <p:attrName>ppt_x</p:attrName>
                                          <p:attrName>ppt_y</p:attrName>
                                        </p:attrNameLst>
                                      </p:cBhvr>
                                      <p:rCtr x="-4812" y="0"/>
                                    </p:animMotion>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750"/>
                                        <p:tgtEl>
                                          <p:spTgt spid="11"/>
                                        </p:tgtEl>
                                      </p:cBhvr>
                                    </p:animEffect>
                                  </p:childTnLst>
                                </p:cTn>
                              </p:par>
                              <p:par>
                                <p:cTn id="23" presetID="10" presetClass="entr" presetSubtype="0" fill="hold" nodeType="withEffect">
                                  <p:stCondLst>
                                    <p:cond delay="25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750"/>
                                        <p:tgtEl>
                                          <p:spTgt spid="6"/>
                                        </p:tgtEl>
                                      </p:cBhvr>
                                    </p:animEffect>
                                  </p:childTnLst>
                                </p:cTn>
                              </p:par>
                              <p:par>
                                <p:cTn id="26" presetID="10" presetClass="entr" presetSubtype="0" fill="hold" nodeType="withEffect">
                                  <p:stCondLst>
                                    <p:cond delay="50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750"/>
                                        <p:tgtEl>
                                          <p:spTgt spid="4"/>
                                        </p:tgtEl>
                                      </p:cBhvr>
                                    </p:animEffect>
                                  </p:childTnLst>
                                </p:cTn>
                              </p:par>
                              <p:par>
                                <p:cTn id="29" presetID="10" presetClass="entr" presetSubtype="0" fill="hold" nodeType="withEffect">
                                  <p:stCondLst>
                                    <p:cond delay="75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750"/>
                                        <p:tgtEl>
                                          <p:spTgt spid="9"/>
                                        </p:tgtEl>
                                      </p:cBhvr>
                                    </p:animEffect>
                                  </p:childTnLst>
                                </p:cTn>
                              </p:par>
                              <p:par>
                                <p:cTn id="32" presetID="10" presetClass="entr" presetSubtype="0" fill="hold" nodeType="withEffect">
                                  <p:stCondLst>
                                    <p:cond delay="100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2" grpId="0"/>
      <p:bldP spid="2"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1" y="487"/>
            <a:ext cx="12192000"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bwMode="auto">
          <a:xfrm>
            <a:off x="1" y="4782270"/>
            <a:ext cx="12186441" cy="2075246"/>
          </a:xfrm>
          <a:prstGeom prst="rect">
            <a:avLst/>
          </a:prstGeom>
          <a:solidFill>
            <a:schemeClr val="accent1">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178523" y="951381"/>
            <a:ext cx="10669495" cy="5378549"/>
            <a:chOff x="310148" y="830262"/>
            <a:chExt cx="10883441" cy="5486400"/>
          </a:xfrm>
          <a:solidFill>
            <a:schemeClr val="accent1">
              <a:lumMod val="75000"/>
            </a:schemeClr>
          </a:solidFill>
        </p:grpSpPr>
        <p:grpSp>
          <p:nvGrpSpPr>
            <p:cNvPr id="3749" name="Group 3748"/>
            <p:cNvGrpSpPr/>
            <p:nvPr/>
          </p:nvGrpSpPr>
          <p:grpSpPr>
            <a:xfrm>
              <a:off x="1493837" y="830262"/>
              <a:ext cx="9699752" cy="5486400"/>
              <a:chOff x="-390526" y="-8489950"/>
              <a:chExt cx="17540289" cy="8616950"/>
            </a:xfrm>
            <a:grpFill/>
          </p:grpSpPr>
          <p:sp>
            <p:nvSpPr>
              <p:cNvPr id="3750" name="Freeform 33"/>
              <p:cNvSpPr>
                <a:spLocks/>
              </p:cNvSpPr>
              <p:nvPr/>
            </p:nvSpPr>
            <p:spPr bwMode="auto">
              <a:xfrm>
                <a:off x="15257463" y="-760413"/>
                <a:ext cx="365125" cy="323850"/>
              </a:xfrm>
              <a:custGeom>
                <a:avLst/>
                <a:gdLst>
                  <a:gd name="T0" fmla="*/ 75 w 97"/>
                  <a:gd name="T1" fmla="*/ 6 h 86"/>
                  <a:gd name="T2" fmla="*/ 40 w 97"/>
                  <a:gd name="T3" fmla="*/ 2 h 86"/>
                  <a:gd name="T4" fmla="*/ 28 w 97"/>
                  <a:gd name="T5" fmla="*/ 1 h 86"/>
                  <a:gd name="T6" fmla="*/ 9 w 97"/>
                  <a:gd name="T7" fmla="*/ 6 h 86"/>
                  <a:gd name="T8" fmla="*/ 1 w 97"/>
                  <a:gd name="T9" fmla="*/ 28 h 86"/>
                  <a:gd name="T10" fmla="*/ 8 w 97"/>
                  <a:gd name="T11" fmla="*/ 67 h 86"/>
                  <a:gd name="T12" fmla="*/ 23 w 97"/>
                  <a:gd name="T13" fmla="*/ 85 h 86"/>
                  <a:gd name="T14" fmla="*/ 30 w 97"/>
                  <a:gd name="T15" fmla="*/ 86 h 86"/>
                  <a:gd name="T16" fmla="*/ 35 w 97"/>
                  <a:gd name="T17" fmla="*/ 86 h 86"/>
                  <a:gd name="T18" fmla="*/ 39 w 97"/>
                  <a:gd name="T19" fmla="*/ 86 h 86"/>
                  <a:gd name="T20" fmla="*/ 55 w 97"/>
                  <a:gd name="T21" fmla="*/ 79 h 86"/>
                  <a:gd name="T22" fmla="*/ 89 w 97"/>
                  <a:gd name="T23" fmla="*/ 46 h 86"/>
                  <a:gd name="T24" fmla="*/ 94 w 97"/>
                  <a:gd name="T25" fmla="*/ 21 h 86"/>
                  <a:gd name="T26" fmla="*/ 75 w 97"/>
                  <a:gd name="T27"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86">
                    <a:moveTo>
                      <a:pt x="75" y="6"/>
                    </a:moveTo>
                    <a:cubicBezTo>
                      <a:pt x="61" y="5"/>
                      <a:pt x="44" y="3"/>
                      <a:pt x="40" y="2"/>
                    </a:cubicBezTo>
                    <a:cubicBezTo>
                      <a:pt x="36" y="1"/>
                      <a:pt x="32" y="1"/>
                      <a:pt x="28" y="1"/>
                    </a:cubicBezTo>
                    <a:cubicBezTo>
                      <a:pt x="21" y="0"/>
                      <a:pt x="15" y="2"/>
                      <a:pt x="9" y="6"/>
                    </a:cubicBezTo>
                    <a:cubicBezTo>
                      <a:pt x="3" y="11"/>
                      <a:pt x="0" y="19"/>
                      <a:pt x="1" y="28"/>
                    </a:cubicBezTo>
                    <a:cubicBezTo>
                      <a:pt x="8" y="67"/>
                      <a:pt x="8" y="67"/>
                      <a:pt x="8" y="67"/>
                    </a:cubicBezTo>
                    <a:cubicBezTo>
                      <a:pt x="9" y="75"/>
                      <a:pt x="15" y="82"/>
                      <a:pt x="23" y="85"/>
                    </a:cubicBezTo>
                    <a:cubicBezTo>
                      <a:pt x="26" y="86"/>
                      <a:pt x="28" y="86"/>
                      <a:pt x="30" y="86"/>
                    </a:cubicBezTo>
                    <a:cubicBezTo>
                      <a:pt x="32" y="86"/>
                      <a:pt x="33" y="86"/>
                      <a:pt x="35" y="86"/>
                    </a:cubicBezTo>
                    <a:cubicBezTo>
                      <a:pt x="36" y="86"/>
                      <a:pt x="37" y="86"/>
                      <a:pt x="39" y="86"/>
                    </a:cubicBezTo>
                    <a:cubicBezTo>
                      <a:pt x="45" y="86"/>
                      <a:pt x="51" y="84"/>
                      <a:pt x="55" y="79"/>
                    </a:cubicBezTo>
                    <a:cubicBezTo>
                      <a:pt x="89" y="46"/>
                      <a:pt x="89" y="46"/>
                      <a:pt x="89" y="46"/>
                    </a:cubicBezTo>
                    <a:cubicBezTo>
                      <a:pt x="95" y="39"/>
                      <a:pt x="97" y="30"/>
                      <a:pt x="94" y="21"/>
                    </a:cubicBezTo>
                    <a:cubicBezTo>
                      <a:pt x="91" y="13"/>
                      <a:pt x="84" y="7"/>
                      <a:pt x="75"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1" name="Freeform 34"/>
              <p:cNvSpPr>
                <a:spLocks/>
              </p:cNvSpPr>
              <p:nvPr/>
            </p:nvSpPr>
            <p:spPr bwMode="auto">
              <a:xfrm>
                <a:off x="15854363" y="-796925"/>
                <a:ext cx="803275" cy="533400"/>
              </a:xfrm>
              <a:custGeom>
                <a:avLst/>
                <a:gdLst>
                  <a:gd name="T0" fmla="*/ 203 w 214"/>
                  <a:gd name="T1" fmla="*/ 17 h 142"/>
                  <a:gd name="T2" fmla="*/ 188 w 214"/>
                  <a:gd name="T3" fmla="*/ 2 h 142"/>
                  <a:gd name="T4" fmla="*/ 176 w 214"/>
                  <a:gd name="T5" fmla="*/ 1 h 142"/>
                  <a:gd name="T6" fmla="*/ 160 w 214"/>
                  <a:gd name="T7" fmla="*/ 4 h 142"/>
                  <a:gd name="T8" fmla="*/ 14 w 214"/>
                  <a:gd name="T9" fmla="*/ 99 h 142"/>
                  <a:gd name="T10" fmla="*/ 6 w 214"/>
                  <a:gd name="T11" fmla="*/ 130 h 142"/>
                  <a:gd name="T12" fmla="*/ 26 w 214"/>
                  <a:gd name="T13" fmla="*/ 142 h 142"/>
                  <a:gd name="T14" fmla="*/ 31 w 214"/>
                  <a:gd name="T15" fmla="*/ 141 h 142"/>
                  <a:gd name="T16" fmla="*/ 35 w 214"/>
                  <a:gd name="T17" fmla="*/ 142 h 142"/>
                  <a:gd name="T18" fmla="*/ 44 w 214"/>
                  <a:gd name="T19" fmla="*/ 140 h 142"/>
                  <a:gd name="T20" fmla="*/ 198 w 214"/>
                  <a:gd name="T21" fmla="*/ 70 h 142"/>
                  <a:gd name="T22" fmla="*/ 210 w 214"/>
                  <a:gd name="T23" fmla="*/ 42 h 142"/>
                  <a:gd name="T24" fmla="*/ 203 w 214"/>
                  <a:gd name="T25" fmla="*/ 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42">
                    <a:moveTo>
                      <a:pt x="203" y="17"/>
                    </a:moveTo>
                    <a:cubicBezTo>
                      <a:pt x="200" y="10"/>
                      <a:pt x="195" y="5"/>
                      <a:pt x="188" y="2"/>
                    </a:cubicBezTo>
                    <a:cubicBezTo>
                      <a:pt x="185" y="1"/>
                      <a:pt x="180" y="1"/>
                      <a:pt x="176" y="1"/>
                    </a:cubicBezTo>
                    <a:cubicBezTo>
                      <a:pt x="171" y="0"/>
                      <a:pt x="165" y="1"/>
                      <a:pt x="160" y="4"/>
                    </a:cubicBezTo>
                    <a:cubicBezTo>
                      <a:pt x="14" y="99"/>
                      <a:pt x="14" y="99"/>
                      <a:pt x="14" y="99"/>
                    </a:cubicBezTo>
                    <a:cubicBezTo>
                      <a:pt x="4" y="106"/>
                      <a:pt x="0" y="119"/>
                      <a:pt x="6" y="130"/>
                    </a:cubicBezTo>
                    <a:cubicBezTo>
                      <a:pt x="10" y="137"/>
                      <a:pt x="18" y="142"/>
                      <a:pt x="26" y="142"/>
                    </a:cubicBezTo>
                    <a:cubicBezTo>
                      <a:pt x="28" y="142"/>
                      <a:pt x="29" y="141"/>
                      <a:pt x="31" y="141"/>
                    </a:cubicBezTo>
                    <a:cubicBezTo>
                      <a:pt x="32" y="141"/>
                      <a:pt x="33" y="142"/>
                      <a:pt x="35" y="142"/>
                    </a:cubicBezTo>
                    <a:cubicBezTo>
                      <a:pt x="38" y="142"/>
                      <a:pt x="41" y="141"/>
                      <a:pt x="44" y="140"/>
                    </a:cubicBezTo>
                    <a:cubicBezTo>
                      <a:pt x="198" y="70"/>
                      <a:pt x="198" y="70"/>
                      <a:pt x="198" y="70"/>
                    </a:cubicBezTo>
                    <a:cubicBezTo>
                      <a:pt x="208" y="65"/>
                      <a:pt x="214" y="53"/>
                      <a:pt x="210" y="42"/>
                    </a:cubicBezTo>
                    <a:lnTo>
                      <a:pt x="203" y="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2" name="Freeform 35"/>
              <p:cNvSpPr>
                <a:spLocks noEditPoints="1"/>
              </p:cNvSpPr>
              <p:nvPr/>
            </p:nvSpPr>
            <p:spPr bwMode="auto">
              <a:xfrm>
                <a:off x="-390526" y="-8489950"/>
                <a:ext cx="8004175" cy="8616950"/>
              </a:xfrm>
              <a:custGeom>
                <a:avLst/>
                <a:gdLst>
                  <a:gd name="T0" fmla="*/ 1995 w 2133"/>
                  <a:gd name="T1" fmla="*/ 165 h 2295"/>
                  <a:gd name="T2" fmla="*/ 2119 w 2133"/>
                  <a:gd name="T3" fmla="*/ 29 h 2295"/>
                  <a:gd name="T4" fmla="*/ 1831 w 2133"/>
                  <a:gd name="T5" fmla="*/ 0 h 2295"/>
                  <a:gd name="T6" fmla="*/ 1483 w 2133"/>
                  <a:gd name="T7" fmla="*/ 0 h 2295"/>
                  <a:gd name="T8" fmla="*/ 1349 w 2133"/>
                  <a:gd name="T9" fmla="*/ 62 h 2295"/>
                  <a:gd name="T10" fmla="*/ 1236 w 2133"/>
                  <a:gd name="T11" fmla="*/ 159 h 2295"/>
                  <a:gd name="T12" fmla="*/ 1123 w 2133"/>
                  <a:gd name="T13" fmla="*/ 108 h 2295"/>
                  <a:gd name="T14" fmla="*/ 847 w 2133"/>
                  <a:gd name="T15" fmla="*/ 178 h 2295"/>
                  <a:gd name="T16" fmla="*/ 478 w 2133"/>
                  <a:gd name="T17" fmla="*/ 145 h 2295"/>
                  <a:gd name="T18" fmla="*/ 224 w 2133"/>
                  <a:gd name="T19" fmla="*/ 252 h 2295"/>
                  <a:gd name="T20" fmla="*/ 165 w 2133"/>
                  <a:gd name="T21" fmla="*/ 319 h 2295"/>
                  <a:gd name="T22" fmla="*/ 168 w 2133"/>
                  <a:gd name="T23" fmla="*/ 366 h 2295"/>
                  <a:gd name="T24" fmla="*/ 159 w 2133"/>
                  <a:gd name="T25" fmla="*/ 439 h 2295"/>
                  <a:gd name="T26" fmla="*/ 336 w 2133"/>
                  <a:gd name="T27" fmla="*/ 366 h 2295"/>
                  <a:gd name="T28" fmla="*/ 452 w 2133"/>
                  <a:gd name="T29" fmla="*/ 528 h 2295"/>
                  <a:gd name="T30" fmla="*/ 404 w 2133"/>
                  <a:gd name="T31" fmla="*/ 778 h 2295"/>
                  <a:gd name="T32" fmla="*/ 542 w 2133"/>
                  <a:gd name="T33" fmla="*/ 957 h 2295"/>
                  <a:gd name="T34" fmla="*/ 552 w 2133"/>
                  <a:gd name="T35" fmla="*/ 916 h 2295"/>
                  <a:gd name="T36" fmla="*/ 696 w 2133"/>
                  <a:gd name="T37" fmla="*/ 1091 h 2295"/>
                  <a:gd name="T38" fmla="*/ 828 w 2133"/>
                  <a:gd name="T39" fmla="*/ 1126 h 2295"/>
                  <a:gd name="T40" fmla="*/ 959 w 2133"/>
                  <a:gd name="T41" fmla="*/ 1238 h 2295"/>
                  <a:gd name="T42" fmla="*/ 894 w 2133"/>
                  <a:gd name="T43" fmla="*/ 1401 h 2295"/>
                  <a:gd name="T44" fmla="*/ 1132 w 2133"/>
                  <a:gd name="T45" fmla="*/ 2054 h 2295"/>
                  <a:gd name="T46" fmla="*/ 1243 w 2133"/>
                  <a:gd name="T47" fmla="*/ 2255 h 2295"/>
                  <a:gd name="T48" fmla="*/ 1385 w 2133"/>
                  <a:gd name="T49" fmla="*/ 2284 h 2295"/>
                  <a:gd name="T50" fmla="*/ 1580 w 2133"/>
                  <a:gd name="T51" fmla="*/ 1716 h 2295"/>
                  <a:gd name="T52" fmla="*/ 1632 w 2133"/>
                  <a:gd name="T53" fmla="*/ 1398 h 2295"/>
                  <a:gd name="T54" fmla="*/ 1412 w 2133"/>
                  <a:gd name="T55" fmla="*/ 1254 h 2295"/>
                  <a:gd name="T56" fmla="*/ 1032 w 2133"/>
                  <a:gd name="T57" fmla="*/ 1121 h 2295"/>
                  <a:gd name="T58" fmla="*/ 920 w 2133"/>
                  <a:gd name="T59" fmla="*/ 1073 h 2295"/>
                  <a:gd name="T60" fmla="*/ 867 w 2133"/>
                  <a:gd name="T61" fmla="*/ 967 h 2295"/>
                  <a:gd name="T62" fmla="*/ 741 w 2133"/>
                  <a:gd name="T63" fmla="*/ 976 h 2295"/>
                  <a:gd name="T64" fmla="*/ 954 w 2133"/>
                  <a:gd name="T65" fmla="*/ 921 h 2295"/>
                  <a:gd name="T66" fmla="*/ 1098 w 2133"/>
                  <a:gd name="T67" fmla="*/ 759 h 2295"/>
                  <a:gd name="T68" fmla="*/ 1332 w 2133"/>
                  <a:gd name="T69" fmla="*/ 607 h 2295"/>
                  <a:gd name="T70" fmla="*/ 1410 w 2133"/>
                  <a:gd name="T71" fmla="*/ 546 h 2295"/>
                  <a:gd name="T72" fmla="*/ 1421 w 2133"/>
                  <a:gd name="T73" fmla="*/ 498 h 2295"/>
                  <a:gd name="T74" fmla="*/ 1525 w 2133"/>
                  <a:gd name="T75" fmla="*/ 451 h 2295"/>
                  <a:gd name="T76" fmla="*/ 1382 w 2133"/>
                  <a:gd name="T77" fmla="*/ 345 h 2295"/>
                  <a:gd name="T78" fmla="*/ 1219 w 2133"/>
                  <a:gd name="T79" fmla="*/ 321 h 2295"/>
                  <a:gd name="T80" fmla="*/ 1121 w 2133"/>
                  <a:gd name="T81" fmla="*/ 355 h 2295"/>
                  <a:gd name="T82" fmla="*/ 1241 w 2133"/>
                  <a:gd name="T83" fmla="*/ 280 h 2295"/>
                  <a:gd name="T84" fmla="*/ 1348 w 2133"/>
                  <a:gd name="T85" fmla="*/ 279 h 2295"/>
                  <a:gd name="T86" fmla="*/ 1434 w 2133"/>
                  <a:gd name="T87" fmla="*/ 287 h 2295"/>
                  <a:gd name="T88" fmla="*/ 1499 w 2133"/>
                  <a:gd name="T89" fmla="*/ 185 h 2295"/>
                  <a:gd name="T90" fmla="*/ 1527 w 2133"/>
                  <a:gd name="T91" fmla="*/ 106 h 2295"/>
                  <a:gd name="T92" fmla="*/ 1602 w 2133"/>
                  <a:gd name="T93" fmla="*/ 206 h 2295"/>
                  <a:gd name="T94" fmla="*/ 1739 w 2133"/>
                  <a:gd name="T95" fmla="*/ 304 h 2295"/>
                  <a:gd name="T96" fmla="*/ 891 w 2133"/>
                  <a:gd name="T97" fmla="*/ 1112 h 2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33" h="2295">
                    <a:moveTo>
                      <a:pt x="1953" y="228"/>
                    </a:moveTo>
                    <a:cubicBezTo>
                      <a:pt x="1986" y="202"/>
                      <a:pt x="1986" y="202"/>
                      <a:pt x="1986" y="202"/>
                    </a:cubicBezTo>
                    <a:cubicBezTo>
                      <a:pt x="1991" y="197"/>
                      <a:pt x="1995" y="191"/>
                      <a:pt x="1995" y="184"/>
                    </a:cubicBezTo>
                    <a:cubicBezTo>
                      <a:pt x="1995" y="165"/>
                      <a:pt x="1995" y="165"/>
                      <a:pt x="1995" y="165"/>
                    </a:cubicBezTo>
                    <a:cubicBezTo>
                      <a:pt x="2014" y="137"/>
                      <a:pt x="2037" y="106"/>
                      <a:pt x="2043" y="99"/>
                    </a:cubicBezTo>
                    <a:cubicBezTo>
                      <a:pt x="2051" y="94"/>
                      <a:pt x="2087" y="81"/>
                      <a:pt x="2116" y="71"/>
                    </a:cubicBezTo>
                    <a:cubicBezTo>
                      <a:pt x="2125" y="68"/>
                      <a:pt x="2132" y="60"/>
                      <a:pt x="2132" y="51"/>
                    </a:cubicBezTo>
                    <a:cubicBezTo>
                      <a:pt x="2133" y="41"/>
                      <a:pt x="2128" y="33"/>
                      <a:pt x="2119" y="29"/>
                    </a:cubicBezTo>
                    <a:cubicBezTo>
                      <a:pt x="2063" y="2"/>
                      <a:pt x="2063" y="2"/>
                      <a:pt x="2063" y="2"/>
                    </a:cubicBezTo>
                    <a:cubicBezTo>
                      <a:pt x="2060" y="1"/>
                      <a:pt x="2057" y="0"/>
                      <a:pt x="2054" y="0"/>
                    </a:cubicBezTo>
                    <a:cubicBezTo>
                      <a:pt x="1834" y="0"/>
                      <a:pt x="1834" y="0"/>
                      <a:pt x="1834" y="0"/>
                    </a:cubicBezTo>
                    <a:cubicBezTo>
                      <a:pt x="1833" y="0"/>
                      <a:pt x="1832" y="0"/>
                      <a:pt x="1831" y="0"/>
                    </a:cubicBezTo>
                    <a:cubicBezTo>
                      <a:pt x="1660" y="19"/>
                      <a:pt x="1660" y="19"/>
                      <a:pt x="1660" y="19"/>
                    </a:cubicBezTo>
                    <a:cubicBezTo>
                      <a:pt x="1660" y="18"/>
                      <a:pt x="1660" y="17"/>
                      <a:pt x="1659" y="16"/>
                    </a:cubicBezTo>
                    <a:cubicBezTo>
                      <a:pt x="1656" y="7"/>
                      <a:pt x="1647" y="0"/>
                      <a:pt x="1637" y="0"/>
                    </a:cubicBezTo>
                    <a:cubicBezTo>
                      <a:pt x="1483" y="0"/>
                      <a:pt x="1483" y="0"/>
                      <a:pt x="1483" y="0"/>
                    </a:cubicBezTo>
                    <a:cubicBezTo>
                      <a:pt x="1482" y="0"/>
                      <a:pt x="1481" y="0"/>
                      <a:pt x="1480" y="0"/>
                    </a:cubicBezTo>
                    <a:cubicBezTo>
                      <a:pt x="1358" y="20"/>
                      <a:pt x="1358" y="20"/>
                      <a:pt x="1358" y="20"/>
                    </a:cubicBezTo>
                    <a:cubicBezTo>
                      <a:pt x="1349" y="22"/>
                      <a:pt x="1341" y="29"/>
                      <a:pt x="1339" y="38"/>
                    </a:cubicBezTo>
                    <a:cubicBezTo>
                      <a:pt x="1337" y="47"/>
                      <a:pt x="1341" y="57"/>
                      <a:pt x="1349" y="62"/>
                    </a:cubicBezTo>
                    <a:cubicBezTo>
                      <a:pt x="1362" y="70"/>
                      <a:pt x="1362" y="70"/>
                      <a:pt x="1362" y="70"/>
                    </a:cubicBezTo>
                    <a:cubicBezTo>
                      <a:pt x="1304" y="94"/>
                      <a:pt x="1304" y="94"/>
                      <a:pt x="1304" y="94"/>
                    </a:cubicBezTo>
                    <a:cubicBezTo>
                      <a:pt x="1301" y="95"/>
                      <a:pt x="1299" y="96"/>
                      <a:pt x="1297" y="99"/>
                    </a:cubicBezTo>
                    <a:cubicBezTo>
                      <a:pt x="1236" y="159"/>
                      <a:pt x="1236" y="159"/>
                      <a:pt x="1236" y="159"/>
                    </a:cubicBezTo>
                    <a:cubicBezTo>
                      <a:pt x="1230" y="163"/>
                      <a:pt x="1224" y="166"/>
                      <a:pt x="1219" y="168"/>
                    </a:cubicBezTo>
                    <a:cubicBezTo>
                      <a:pt x="1214" y="153"/>
                      <a:pt x="1207" y="137"/>
                      <a:pt x="1206" y="135"/>
                    </a:cubicBezTo>
                    <a:cubicBezTo>
                      <a:pt x="1203" y="129"/>
                      <a:pt x="1198" y="124"/>
                      <a:pt x="1191" y="122"/>
                    </a:cubicBezTo>
                    <a:cubicBezTo>
                      <a:pt x="1183" y="120"/>
                      <a:pt x="1141" y="108"/>
                      <a:pt x="1123" y="108"/>
                    </a:cubicBezTo>
                    <a:cubicBezTo>
                      <a:pt x="975" y="108"/>
                      <a:pt x="975" y="108"/>
                      <a:pt x="975" y="108"/>
                    </a:cubicBezTo>
                    <a:cubicBezTo>
                      <a:pt x="946" y="108"/>
                      <a:pt x="878" y="137"/>
                      <a:pt x="858" y="146"/>
                    </a:cubicBezTo>
                    <a:cubicBezTo>
                      <a:pt x="852" y="149"/>
                      <a:pt x="847" y="154"/>
                      <a:pt x="845" y="160"/>
                    </a:cubicBezTo>
                    <a:cubicBezTo>
                      <a:pt x="843" y="166"/>
                      <a:pt x="844" y="173"/>
                      <a:pt x="847" y="178"/>
                    </a:cubicBezTo>
                    <a:cubicBezTo>
                      <a:pt x="850" y="184"/>
                      <a:pt x="850" y="184"/>
                      <a:pt x="850" y="184"/>
                    </a:cubicBezTo>
                    <a:cubicBezTo>
                      <a:pt x="692" y="171"/>
                      <a:pt x="692" y="171"/>
                      <a:pt x="692" y="171"/>
                    </a:cubicBezTo>
                    <a:cubicBezTo>
                      <a:pt x="486" y="145"/>
                      <a:pt x="486" y="145"/>
                      <a:pt x="486" y="145"/>
                    </a:cubicBezTo>
                    <a:cubicBezTo>
                      <a:pt x="483" y="144"/>
                      <a:pt x="480" y="144"/>
                      <a:pt x="478" y="145"/>
                    </a:cubicBezTo>
                    <a:cubicBezTo>
                      <a:pt x="314" y="188"/>
                      <a:pt x="314" y="188"/>
                      <a:pt x="314" y="188"/>
                    </a:cubicBezTo>
                    <a:cubicBezTo>
                      <a:pt x="312" y="188"/>
                      <a:pt x="310" y="189"/>
                      <a:pt x="308" y="190"/>
                    </a:cubicBezTo>
                    <a:cubicBezTo>
                      <a:pt x="236" y="233"/>
                      <a:pt x="236" y="233"/>
                      <a:pt x="236" y="233"/>
                    </a:cubicBezTo>
                    <a:cubicBezTo>
                      <a:pt x="229" y="237"/>
                      <a:pt x="225" y="244"/>
                      <a:pt x="224" y="252"/>
                    </a:cubicBezTo>
                    <a:cubicBezTo>
                      <a:pt x="224" y="255"/>
                      <a:pt x="225" y="259"/>
                      <a:pt x="226" y="262"/>
                    </a:cubicBezTo>
                    <a:cubicBezTo>
                      <a:pt x="222" y="263"/>
                      <a:pt x="222" y="263"/>
                      <a:pt x="222" y="263"/>
                    </a:cubicBezTo>
                    <a:cubicBezTo>
                      <a:pt x="218" y="264"/>
                      <a:pt x="214" y="267"/>
                      <a:pt x="211" y="270"/>
                    </a:cubicBezTo>
                    <a:cubicBezTo>
                      <a:pt x="165" y="319"/>
                      <a:pt x="165" y="319"/>
                      <a:pt x="165" y="319"/>
                    </a:cubicBezTo>
                    <a:cubicBezTo>
                      <a:pt x="160" y="324"/>
                      <a:pt x="158" y="331"/>
                      <a:pt x="159" y="338"/>
                    </a:cubicBezTo>
                    <a:cubicBezTo>
                      <a:pt x="160" y="344"/>
                      <a:pt x="164" y="350"/>
                      <a:pt x="170" y="354"/>
                    </a:cubicBezTo>
                    <a:cubicBezTo>
                      <a:pt x="175" y="357"/>
                      <a:pt x="175" y="357"/>
                      <a:pt x="175" y="357"/>
                    </a:cubicBezTo>
                    <a:cubicBezTo>
                      <a:pt x="168" y="366"/>
                      <a:pt x="168" y="366"/>
                      <a:pt x="168" y="366"/>
                    </a:cubicBezTo>
                    <a:cubicBezTo>
                      <a:pt x="20" y="397"/>
                      <a:pt x="20" y="397"/>
                      <a:pt x="20" y="397"/>
                    </a:cubicBezTo>
                    <a:cubicBezTo>
                      <a:pt x="8" y="400"/>
                      <a:pt x="0" y="411"/>
                      <a:pt x="2" y="422"/>
                    </a:cubicBezTo>
                    <a:cubicBezTo>
                      <a:pt x="3" y="434"/>
                      <a:pt x="13" y="443"/>
                      <a:pt x="25" y="443"/>
                    </a:cubicBezTo>
                    <a:cubicBezTo>
                      <a:pt x="159" y="439"/>
                      <a:pt x="159" y="439"/>
                      <a:pt x="159" y="439"/>
                    </a:cubicBezTo>
                    <a:cubicBezTo>
                      <a:pt x="162" y="439"/>
                      <a:pt x="164" y="439"/>
                      <a:pt x="167" y="438"/>
                    </a:cubicBezTo>
                    <a:cubicBezTo>
                      <a:pt x="239" y="412"/>
                      <a:pt x="239" y="412"/>
                      <a:pt x="239" y="412"/>
                    </a:cubicBezTo>
                    <a:cubicBezTo>
                      <a:pt x="239" y="412"/>
                      <a:pt x="240" y="411"/>
                      <a:pt x="241" y="411"/>
                    </a:cubicBezTo>
                    <a:cubicBezTo>
                      <a:pt x="336" y="366"/>
                      <a:pt x="336" y="366"/>
                      <a:pt x="336" y="366"/>
                    </a:cubicBezTo>
                    <a:cubicBezTo>
                      <a:pt x="399" y="355"/>
                      <a:pt x="399" y="355"/>
                      <a:pt x="399" y="355"/>
                    </a:cubicBezTo>
                    <a:cubicBezTo>
                      <a:pt x="478" y="387"/>
                      <a:pt x="478" y="387"/>
                      <a:pt x="478" y="387"/>
                    </a:cubicBezTo>
                    <a:cubicBezTo>
                      <a:pt x="483" y="434"/>
                      <a:pt x="483" y="434"/>
                      <a:pt x="483" y="434"/>
                    </a:cubicBezTo>
                    <a:cubicBezTo>
                      <a:pt x="452" y="528"/>
                      <a:pt x="452" y="528"/>
                      <a:pt x="452" y="528"/>
                    </a:cubicBezTo>
                    <a:cubicBezTo>
                      <a:pt x="388" y="638"/>
                      <a:pt x="388" y="638"/>
                      <a:pt x="388" y="638"/>
                    </a:cubicBezTo>
                    <a:cubicBezTo>
                      <a:pt x="386" y="642"/>
                      <a:pt x="385" y="647"/>
                      <a:pt x="385" y="652"/>
                    </a:cubicBezTo>
                    <a:cubicBezTo>
                      <a:pt x="402" y="770"/>
                      <a:pt x="402" y="770"/>
                      <a:pt x="402" y="770"/>
                    </a:cubicBezTo>
                    <a:cubicBezTo>
                      <a:pt x="402" y="773"/>
                      <a:pt x="403" y="776"/>
                      <a:pt x="404" y="778"/>
                    </a:cubicBezTo>
                    <a:cubicBezTo>
                      <a:pt x="456" y="873"/>
                      <a:pt x="456" y="873"/>
                      <a:pt x="456" y="873"/>
                    </a:cubicBezTo>
                    <a:cubicBezTo>
                      <a:pt x="498" y="967"/>
                      <a:pt x="498" y="967"/>
                      <a:pt x="498" y="967"/>
                    </a:cubicBezTo>
                    <a:cubicBezTo>
                      <a:pt x="502" y="976"/>
                      <a:pt x="511" y="981"/>
                      <a:pt x="520" y="980"/>
                    </a:cubicBezTo>
                    <a:cubicBezTo>
                      <a:pt x="533" y="980"/>
                      <a:pt x="542" y="970"/>
                      <a:pt x="542" y="957"/>
                    </a:cubicBezTo>
                    <a:cubicBezTo>
                      <a:pt x="542" y="954"/>
                      <a:pt x="542" y="951"/>
                      <a:pt x="540" y="948"/>
                    </a:cubicBezTo>
                    <a:cubicBezTo>
                      <a:pt x="500" y="823"/>
                      <a:pt x="500" y="823"/>
                      <a:pt x="500" y="823"/>
                    </a:cubicBezTo>
                    <a:cubicBezTo>
                      <a:pt x="515" y="818"/>
                      <a:pt x="515" y="818"/>
                      <a:pt x="515" y="818"/>
                    </a:cubicBezTo>
                    <a:cubicBezTo>
                      <a:pt x="552" y="916"/>
                      <a:pt x="552" y="916"/>
                      <a:pt x="552" y="916"/>
                    </a:cubicBezTo>
                    <a:cubicBezTo>
                      <a:pt x="555" y="1011"/>
                      <a:pt x="555" y="1011"/>
                      <a:pt x="555" y="1011"/>
                    </a:cubicBezTo>
                    <a:cubicBezTo>
                      <a:pt x="556" y="1019"/>
                      <a:pt x="560" y="1026"/>
                      <a:pt x="568" y="1030"/>
                    </a:cubicBezTo>
                    <a:cubicBezTo>
                      <a:pt x="679" y="1089"/>
                      <a:pt x="679" y="1089"/>
                      <a:pt x="679" y="1089"/>
                    </a:cubicBezTo>
                    <a:cubicBezTo>
                      <a:pt x="684" y="1092"/>
                      <a:pt x="690" y="1093"/>
                      <a:pt x="696" y="1091"/>
                    </a:cubicBezTo>
                    <a:cubicBezTo>
                      <a:pt x="722" y="1084"/>
                      <a:pt x="722" y="1084"/>
                      <a:pt x="722" y="1084"/>
                    </a:cubicBezTo>
                    <a:cubicBezTo>
                      <a:pt x="769" y="1114"/>
                      <a:pt x="769" y="1114"/>
                      <a:pt x="769" y="1114"/>
                    </a:cubicBezTo>
                    <a:cubicBezTo>
                      <a:pt x="772" y="1116"/>
                      <a:pt x="775" y="1117"/>
                      <a:pt x="778" y="1118"/>
                    </a:cubicBezTo>
                    <a:cubicBezTo>
                      <a:pt x="828" y="1126"/>
                      <a:pt x="828" y="1126"/>
                      <a:pt x="828" y="1126"/>
                    </a:cubicBezTo>
                    <a:cubicBezTo>
                      <a:pt x="859" y="1190"/>
                      <a:pt x="859" y="1190"/>
                      <a:pt x="859" y="1190"/>
                    </a:cubicBezTo>
                    <a:cubicBezTo>
                      <a:pt x="862" y="1195"/>
                      <a:pt x="865" y="1199"/>
                      <a:pt x="870" y="1201"/>
                    </a:cubicBezTo>
                    <a:cubicBezTo>
                      <a:pt x="942" y="1237"/>
                      <a:pt x="942" y="1237"/>
                      <a:pt x="942" y="1237"/>
                    </a:cubicBezTo>
                    <a:cubicBezTo>
                      <a:pt x="947" y="1240"/>
                      <a:pt x="954" y="1240"/>
                      <a:pt x="959" y="1238"/>
                    </a:cubicBezTo>
                    <a:cubicBezTo>
                      <a:pt x="963" y="1237"/>
                      <a:pt x="963" y="1237"/>
                      <a:pt x="963" y="1237"/>
                    </a:cubicBezTo>
                    <a:cubicBezTo>
                      <a:pt x="964" y="1251"/>
                      <a:pt x="964" y="1251"/>
                      <a:pt x="964" y="1251"/>
                    </a:cubicBezTo>
                    <a:cubicBezTo>
                      <a:pt x="894" y="1379"/>
                      <a:pt x="894" y="1379"/>
                      <a:pt x="894" y="1379"/>
                    </a:cubicBezTo>
                    <a:cubicBezTo>
                      <a:pt x="890" y="1386"/>
                      <a:pt x="890" y="1394"/>
                      <a:pt x="894" y="1401"/>
                    </a:cubicBezTo>
                    <a:cubicBezTo>
                      <a:pt x="1001" y="1601"/>
                      <a:pt x="1001" y="1601"/>
                      <a:pt x="1001" y="1601"/>
                    </a:cubicBezTo>
                    <a:cubicBezTo>
                      <a:pt x="1002" y="1604"/>
                      <a:pt x="1005" y="1607"/>
                      <a:pt x="1007" y="1609"/>
                    </a:cubicBezTo>
                    <a:cubicBezTo>
                      <a:pt x="1110" y="1684"/>
                      <a:pt x="1110" y="1684"/>
                      <a:pt x="1110" y="1684"/>
                    </a:cubicBezTo>
                    <a:cubicBezTo>
                      <a:pt x="1132" y="2054"/>
                      <a:pt x="1132" y="2054"/>
                      <a:pt x="1132" y="2054"/>
                    </a:cubicBezTo>
                    <a:cubicBezTo>
                      <a:pt x="1133" y="2056"/>
                      <a:pt x="1133" y="2058"/>
                      <a:pt x="1134" y="2060"/>
                    </a:cubicBezTo>
                    <a:cubicBezTo>
                      <a:pt x="1176" y="2178"/>
                      <a:pt x="1176" y="2178"/>
                      <a:pt x="1176" y="2178"/>
                    </a:cubicBezTo>
                    <a:cubicBezTo>
                      <a:pt x="1177" y="2181"/>
                      <a:pt x="1179" y="2184"/>
                      <a:pt x="1181" y="2186"/>
                    </a:cubicBezTo>
                    <a:cubicBezTo>
                      <a:pt x="1243" y="2255"/>
                      <a:pt x="1243" y="2255"/>
                      <a:pt x="1243" y="2255"/>
                    </a:cubicBezTo>
                    <a:cubicBezTo>
                      <a:pt x="1246" y="2258"/>
                      <a:pt x="1250" y="2260"/>
                      <a:pt x="1253" y="2261"/>
                    </a:cubicBezTo>
                    <a:cubicBezTo>
                      <a:pt x="1358" y="2294"/>
                      <a:pt x="1358" y="2294"/>
                      <a:pt x="1358" y="2294"/>
                    </a:cubicBezTo>
                    <a:cubicBezTo>
                      <a:pt x="1361" y="2295"/>
                      <a:pt x="1363" y="2295"/>
                      <a:pt x="1365" y="2295"/>
                    </a:cubicBezTo>
                    <a:cubicBezTo>
                      <a:pt x="1373" y="2295"/>
                      <a:pt x="1381" y="2291"/>
                      <a:pt x="1385" y="2284"/>
                    </a:cubicBezTo>
                    <a:cubicBezTo>
                      <a:pt x="1390" y="2275"/>
                      <a:pt x="1389" y="2263"/>
                      <a:pt x="1381" y="2256"/>
                    </a:cubicBezTo>
                    <a:cubicBezTo>
                      <a:pt x="1316" y="2190"/>
                      <a:pt x="1316" y="2190"/>
                      <a:pt x="1316" y="2190"/>
                    </a:cubicBezTo>
                    <a:cubicBezTo>
                      <a:pt x="1316" y="2047"/>
                      <a:pt x="1316" y="2047"/>
                      <a:pt x="1316" y="2047"/>
                    </a:cubicBezTo>
                    <a:cubicBezTo>
                      <a:pt x="1580" y="1716"/>
                      <a:pt x="1580" y="1716"/>
                      <a:pt x="1580" y="1716"/>
                    </a:cubicBezTo>
                    <a:cubicBezTo>
                      <a:pt x="1581" y="1714"/>
                      <a:pt x="1583" y="1712"/>
                      <a:pt x="1583" y="1710"/>
                    </a:cubicBezTo>
                    <a:cubicBezTo>
                      <a:pt x="1665" y="1493"/>
                      <a:pt x="1665" y="1493"/>
                      <a:pt x="1665" y="1493"/>
                    </a:cubicBezTo>
                    <a:cubicBezTo>
                      <a:pt x="1667" y="1488"/>
                      <a:pt x="1667" y="1482"/>
                      <a:pt x="1665" y="1476"/>
                    </a:cubicBezTo>
                    <a:cubicBezTo>
                      <a:pt x="1632" y="1398"/>
                      <a:pt x="1632" y="1398"/>
                      <a:pt x="1632" y="1398"/>
                    </a:cubicBezTo>
                    <a:cubicBezTo>
                      <a:pt x="1629" y="1391"/>
                      <a:pt x="1623" y="1386"/>
                      <a:pt x="1616" y="1384"/>
                    </a:cubicBezTo>
                    <a:cubicBezTo>
                      <a:pt x="1539" y="1367"/>
                      <a:pt x="1450" y="1345"/>
                      <a:pt x="1417" y="1334"/>
                    </a:cubicBezTo>
                    <a:cubicBezTo>
                      <a:pt x="1420" y="1316"/>
                      <a:pt x="1421" y="1292"/>
                      <a:pt x="1421" y="1272"/>
                    </a:cubicBezTo>
                    <a:cubicBezTo>
                      <a:pt x="1421" y="1265"/>
                      <a:pt x="1418" y="1259"/>
                      <a:pt x="1412" y="1254"/>
                    </a:cubicBezTo>
                    <a:cubicBezTo>
                      <a:pt x="1252" y="1123"/>
                      <a:pt x="1252" y="1123"/>
                      <a:pt x="1252" y="1123"/>
                    </a:cubicBezTo>
                    <a:cubicBezTo>
                      <a:pt x="1248" y="1120"/>
                      <a:pt x="1243" y="1118"/>
                      <a:pt x="1237" y="1118"/>
                    </a:cubicBezTo>
                    <a:cubicBezTo>
                      <a:pt x="1044" y="1118"/>
                      <a:pt x="1044" y="1118"/>
                      <a:pt x="1044" y="1118"/>
                    </a:cubicBezTo>
                    <a:cubicBezTo>
                      <a:pt x="1040" y="1118"/>
                      <a:pt x="1036" y="1119"/>
                      <a:pt x="1032" y="1121"/>
                    </a:cubicBezTo>
                    <a:cubicBezTo>
                      <a:pt x="975" y="1155"/>
                      <a:pt x="975" y="1155"/>
                      <a:pt x="975" y="1155"/>
                    </a:cubicBezTo>
                    <a:cubicBezTo>
                      <a:pt x="937" y="1144"/>
                      <a:pt x="937" y="1144"/>
                      <a:pt x="937" y="1144"/>
                    </a:cubicBezTo>
                    <a:cubicBezTo>
                      <a:pt x="937" y="1095"/>
                      <a:pt x="937" y="1095"/>
                      <a:pt x="937" y="1095"/>
                    </a:cubicBezTo>
                    <a:cubicBezTo>
                      <a:pt x="937" y="1085"/>
                      <a:pt x="930" y="1076"/>
                      <a:pt x="920" y="1073"/>
                    </a:cubicBezTo>
                    <a:cubicBezTo>
                      <a:pt x="867" y="1057"/>
                      <a:pt x="867" y="1057"/>
                      <a:pt x="867" y="1057"/>
                    </a:cubicBezTo>
                    <a:cubicBezTo>
                      <a:pt x="888" y="998"/>
                      <a:pt x="888" y="998"/>
                      <a:pt x="888" y="998"/>
                    </a:cubicBezTo>
                    <a:cubicBezTo>
                      <a:pt x="891" y="991"/>
                      <a:pt x="890" y="983"/>
                      <a:pt x="886" y="977"/>
                    </a:cubicBezTo>
                    <a:cubicBezTo>
                      <a:pt x="881" y="971"/>
                      <a:pt x="874" y="967"/>
                      <a:pt x="867" y="967"/>
                    </a:cubicBezTo>
                    <a:cubicBezTo>
                      <a:pt x="818" y="967"/>
                      <a:pt x="818" y="967"/>
                      <a:pt x="818" y="967"/>
                    </a:cubicBezTo>
                    <a:cubicBezTo>
                      <a:pt x="811" y="967"/>
                      <a:pt x="804" y="970"/>
                      <a:pt x="800" y="976"/>
                    </a:cubicBezTo>
                    <a:cubicBezTo>
                      <a:pt x="796" y="980"/>
                      <a:pt x="790" y="987"/>
                      <a:pt x="786" y="990"/>
                    </a:cubicBezTo>
                    <a:cubicBezTo>
                      <a:pt x="777" y="988"/>
                      <a:pt x="759" y="982"/>
                      <a:pt x="741" y="976"/>
                    </a:cubicBezTo>
                    <a:cubicBezTo>
                      <a:pt x="768" y="881"/>
                      <a:pt x="768" y="881"/>
                      <a:pt x="768" y="881"/>
                    </a:cubicBezTo>
                    <a:cubicBezTo>
                      <a:pt x="901" y="841"/>
                      <a:pt x="901" y="841"/>
                      <a:pt x="901" y="841"/>
                    </a:cubicBezTo>
                    <a:cubicBezTo>
                      <a:pt x="931" y="908"/>
                      <a:pt x="931" y="908"/>
                      <a:pt x="931" y="908"/>
                    </a:cubicBezTo>
                    <a:cubicBezTo>
                      <a:pt x="935" y="917"/>
                      <a:pt x="945" y="922"/>
                      <a:pt x="954" y="921"/>
                    </a:cubicBezTo>
                    <a:cubicBezTo>
                      <a:pt x="987" y="918"/>
                      <a:pt x="987" y="918"/>
                      <a:pt x="987" y="918"/>
                    </a:cubicBezTo>
                    <a:cubicBezTo>
                      <a:pt x="998" y="917"/>
                      <a:pt x="1006" y="909"/>
                      <a:pt x="1008" y="898"/>
                    </a:cubicBezTo>
                    <a:cubicBezTo>
                      <a:pt x="1016" y="825"/>
                      <a:pt x="1016" y="825"/>
                      <a:pt x="1016" y="825"/>
                    </a:cubicBezTo>
                    <a:cubicBezTo>
                      <a:pt x="1098" y="759"/>
                      <a:pt x="1098" y="759"/>
                      <a:pt x="1098" y="759"/>
                    </a:cubicBezTo>
                    <a:cubicBezTo>
                      <a:pt x="1102" y="755"/>
                      <a:pt x="1105" y="750"/>
                      <a:pt x="1106" y="744"/>
                    </a:cubicBezTo>
                    <a:cubicBezTo>
                      <a:pt x="1111" y="702"/>
                      <a:pt x="1111" y="702"/>
                      <a:pt x="1111" y="702"/>
                    </a:cubicBezTo>
                    <a:cubicBezTo>
                      <a:pt x="1264" y="607"/>
                      <a:pt x="1264" y="607"/>
                      <a:pt x="1264" y="607"/>
                    </a:cubicBezTo>
                    <a:cubicBezTo>
                      <a:pt x="1332" y="607"/>
                      <a:pt x="1332" y="607"/>
                      <a:pt x="1332" y="607"/>
                    </a:cubicBezTo>
                    <a:cubicBezTo>
                      <a:pt x="1343" y="607"/>
                      <a:pt x="1352" y="599"/>
                      <a:pt x="1355" y="589"/>
                    </a:cubicBezTo>
                    <a:cubicBezTo>
                      <a:pt x="1362" y="559"/>
                      <a:pt x="1362" y="559"/>
                      <a:pt x="1362" y="559"/>
                    </a:cubicBezTo>
                    <a:cubicBezTo>
                      <a:pt x="1407" y="559"/>
                      <a:pt x="1407" y="559"/>
                      <a:pt x="1407" y="559"/>
                    </a:cubicBezTo>
                    <a:cubicBezTo>
                      <a:pt x="1410" y="546"/>
                      <a:pt x="1410" y="546"/>
                      <a:pt x="1410" y="546"/>
                    </a:cubicBezTo>
                    <a:cubicBezTo>
                      <a:pt x="1411" y="539"/>
                      <a:pt x="1409" y="532"/>
                      <a:pt x="1405" y="526"/>
                    </a:cubicBezTo>
                    <a:cubicBezTo>
                      <a:pt x="1385" y="503"/>
                      <a:pt x="1385" y="503"/>
                      <a:pt x="1385" y="503"/>
                    </a:cubicBezTo>
                    <a:cubicBezTo>
                      <a:pt x="1392" y="498"/>
                      <a:pt x="1392" y="498"/>
                      <a:pt x="1392" y="498"/>
                    </a:cubicBezTo>
                    <a:cubicBezTo>
                      <a:pt x="1421" y="498"/>
                      <a:pt x="1421" y="498"/>
                      <a:pt x="1421" y="498"/>
                    </a:cubicBezTo>
                    <a:cubicBezTo>
                      <a:pt x="1466" y="498"/>
                      <a:pt x="1466" y="498"/>
                      <a:pt x="1466" y="498"/>
                    </a:cubicBezTo>
                    <a:cubicBezTo>
                      <a:pt x="1471" y="498"/>
                      <a:pt x="1476" y="497"/>
                      <a:pt x="1479" y="494"/>
                    </a:cubicBezTo>
                    <a:cubicBezTo>
                      <a:pt x="1516" y="468"/>
                      <a:pt x="1516" y="468"/>
                      <a:pt x="1516" y="468"/>
                    </a:cubicBezTo>
                    <a:cubicBezTo>
                      <a:pt x="1521" y="464"/>
                      <a:pt x="1524" y="458"/>
                      <a:pt x="1525" y="451"/>
                    </a:cubicBezTo>
                    <a:cubicBezTo>
                      <a:pt x="1525" y="444"/>
                      <a:pt x="1523" y="437"/>
                      <a:pt x="1518" y="433"/>
                    </a:cubicBezTo>
                    <a:cubicBezTo>
                      <a:pt x="1437" y="355"/>
                      <a:pt x="1437" y="355"/>
                      <a:pt x="1437" y="355"/>
                    </a:cubicBezTo>
                    <a:cubicBezTo>
                      <a:pt x="1392" y="355"/>
                      <a:pt x="1392" y="355"/>
                      <a:pt x="1392" y="355"/>
                    </a:cubicBezTo>
                    <a:cubicBezTo>
                      <a:pt x="1382" y="345"/>
                      <a:pt x="1382" y="345"/>
                      <a:pt x="1382" y="345"/>
                    </a:cubicBezTo>
                    <a:cubicBezTo>
                      <a:pt x="1357" y="314"/>
                      <a:pt x="1357" y="314"/>
                      <a:pt x="1357" y="314"/>
                    </a:cubicBezTo>
                    <a:cubicBezTo>
                      <a:pt x="1353" y="308"/>
                      <a:pt x="1346" y="305"/>
                      <a:pt x="1339" y="305"/>
                    </a:cubicBezTo>
                    <a:cubicBezTo>
                      <a:pt x="1241" y="305"/>
                      <a:pt x="1241" y="305"/>
                      <a:pt x="1241" y="305"/>
                    </a:cubicBezTo>
                    <a:cubicBezTo>
                      <a:pt x="1231" y="305"/>
                      <a:pt x="1222" y="311"/>
                      <a:pt x="1219" y="321"/>
                    </a:cubicBezTo>
                    <a:cubicBezTo>
                      <a:pt x="1195" y="392"/>
                      <a:pt x="1195" y="392"/>
                      <a:pt x="1195" y="392"/>
                    </a:cubicBezTo>
                    <a:cubicBezTo>
                      <a:pt x="1192" y="389"/>
                      <a:pt x="1189" y="386"/>
                      <a:pt x="1185" y="385"/>
                    </a:cubicBezTo>
                    <a:cubicBezTo>
                      <a:pt x="1115" y="361"/>
                      <a:pt x="1115" y="361"/>
                      <a:pt x="1115" y="361"/>
                    </a:cubicBezTo>
                    <a:cubicBezTo>
                      <a:pt x="1121" y="355"/>
                      <a:pt x="1121" y="355"/>
                      <a:pt x="1121" y="355"/>
                    </a:cubicBezTo>
                    <a:cubicBezTo>
                      <a:pt x="1076" y="355"/>
                      <a:pt x="1076" y="355"/>
                      <a:pt x="1076" y="355"/>
                    </a:cubicBezTo>
                    <a:cubicBezTo>
                      <a:pt x="1123" y="308"/>
                      <a:pt x="1123" y="308"/>
                      <a:pt x="1123" y="308"/>
                    </a:cubicBezTo>
                    <a:cubicBezTo>
                      <a:pt x="1220" y="300"/>
                      <a:pt x="1220" y="300"/>
                      <a:pt x="1220" y="300"/>
                    </a:cubicBezTo>
                    <a:cubicBezTo>
                      <a:pt x="1231" y="299"/>
                      <a:pt x="1240" y="291"/>
                      <a:pt x="1241" y="280"/>
                    </a:cubicBezTo>
                    <a:cubicBezTo>
                      <a:pt x="1247" y="239"/>
                      <a:pt x="1247" y="239"/>
                      <a:pt x="1247" y="239"/>
                    </a:cubicBezTo>
                    <a:cubicBezTo>
                      <a:pt x="1317" y="239"/>
                      <a:pt x="1317" y="239"/>
                      <a:pt x="1317" y="239"/>
                    </a:cubicBezTo>
                    <a:cubicBezTo>
                      <a:pt x="1340" y="272"/>
                      <a:pt x="1340" y="272"/>
                      <a:pt x="1340" y="272"/>
                    </a:cubicBezTo>
                    <a:cubicBezTo>
                      <a:pt x="1342" y="275"/>
                      <a:pt x="1345" y="278"/>
                      <a:pt x="1348" y="279"/>
                    </a:cubicBezTo>
                    <a:cubicBezTo>
                      <a:pt x="1360" y="286"/>
                      <a:pt x="1360" y="286"/>
                      <a:pt x="1360" y="286"/>
                    </a:cubicBezTo>
                    <a:cubicBezTo>
                      <a:pt x="1362" y="287"/>
                      <a:pt x="1365" y="288"/>
                      <a:pt x="1368" y="288"/>
                    </a:cubicBezTo>
                    <a:cubicBezTo>
                      <a:pt x="1413" y="295"/>
                      <a:pt x="1413" y="295"/>
                      <a:pt x="1413" y="295"/>
                    </a:cubicBezTo>
                    <a:cubicBezTo>
                      <a:pt x="1421" y="296"/>
                      <a:pt x="1429" y="293"/>
                      <a:pt x="1434" y="287"/>
                    </a:cubicBezTo>
                    <a:cubicBezTo>
                      <a:pt x="1442" y="278"/>
                      <a:pt x="1442" y="278"/>
                      <a:pt x="1442" y="278"/>
                    </a:cubicBezTo>
                    <a:cubicBezTo>
                      <a:pt x="1486" y="272"/>
                      <a:pt x="1486" y="272"/>
                      <a:pt x="1486" y="272"/>
                    </a:cubicBezTo>
                    <a:cubicBezTo>
                      <a:pt x="1498" y="271"/>
                      <a:pt x="1507" y="259"/>
                      <a:pt x="1506" y="247"/>
                    </a:cubicBezTo>
                    <a:cubicBezTo>
                      <a:pt x="1499" y="185"/>
                      <a:pt x="1499" y="185"/>
                      <a:pt x="1499" y="185"/>
                    </a:cubicBezTo>
                    <a:cubicBezTo>
                      <a:pt x="1499" y="177"/>
                      <a:pt x="1494" y="171"/>
                      <a:pt x="1488" y="167"/>
                    </a:cubicBezTo>
                    <a:cubicBezTo>
                      <a:pt x="1430" y="133"/>
                      <a:pt x="1430" y="133"/>
                      <a:pt x="1430" y="133"/>
                    </a:cubicBezTo>
                    <a:cubicBezTo>
                      <a:pt x="1425" y="127"/>
                      <a:pt x="1425" y="127"/>
                      <a:pt x="1425" y="127"/>
                    </a:cubicBezTo>
                    <a:cubicBezTo>
                      <a:pt x="1527" y="106"/>
                      <a:pt x="1527" y="106"/>
                      <a:pt x="1527" y="106"/>
                    </a:cubicBezTo>
                    <a:cubicBezTo>
                      <a:pt x="1597" y="137"/>
                      <a:pt x="1597" y="137"/>
                      <a:pt x="1597" y="137"/>
                    </a:cubicBezTo>
                    <a:cubicBezTo>
                      <a:pt x="1631" y="180"/>
                      <a:pt x="1631" y="180"/>
                      <a:pt x="1631" y="180"/>
                    </a:cubicBezTo>
                    <a:cubicBezTo>
                      <a:pt x="1610" y="195"/>
                      <a:pt x="1610" y="195"/>
                      <a:pt x="1610" y="195"/>
                    </a:cubicBezTo>
                    <a:cubicBezTo>
                      <a:pt x="1607" y="198"/>
                      <a:pt x="1604" y="202"/>
                      <a:pt x="1602" y="206"/>
                    </a:cubicBezTo>
                    <a:cubicBezTo>
                      <a:pt x="1584" y="262"/>
                      <a:pt x="1588" y="274"/>
                      <a:pt x="1589" y="280"/>
                    </a:cubicBezTo>
                    <a:cubicBezTo>
                      <a:pt x="1591" y="284"/>
                      <a:pt x="1594" y="295"/>
                      <a:pt x="1647" y="347"/>
                    </a:cubicBezTo>
                    <a:cubicBezTo>
                      <a:pt x="1655" y="356"/>
                      <a:pt x="1668" y="356"/>
                      <a:pt x="1677" y="350"/>
                    </a:cubicBezTo>
                    <a:cubicBezTo>
                      <a:pt x="1739" y="304"/>
                      <a:pt x="1739" y="304"/>
                      <a:pt x="1739" y="304"/>
                    </a:cubicBezTo>
                    <a:cubicBezTo>
                      <a:pt x="1782" y="274"/>
                      <a:pt x="1782" y="274"/>
                      <a:pt x="1782" y="274"/>
                    </a:cubicBezTo>
                    <a:cubicBezTo>
                      <a:pt x="1945" y="232"/>
                      <a:pt x="1945" y="232"/>
                      <a:pt x="1945" y="232"/>
                    </a:cubicBezTo>
                    <a:cubicBezTo>
                      <a:pt x="1948" y="231"/>
                      <a:pt x="1951" y="230"/>
                      <a:pt x="1953" y="228"/>
                    </a:cubicBezTo>
                    <a:close/>
                    <a:moveTo>
                      <a:pt x="891" y="1112"/>
                    </a:moveTo>
                    <a:cubicBezTo>
                      <a:pt x="891" y="1150"/>
                      <a:pt x="891" y="1150"/>
                      <a:pt x="891" y="1150"/>
                    </a:cubicBezTo>
                    <a:cubicBezTo>
                      <a:pt x="870" y="1106"/>
                      <a:pt x="870" y="1106"/>
                      <a:pt x="870" y="1106"/>
                    </a:cubicBezTo>
                    <a:lnTo>
                      <a:pt x="891" y="11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3" name="Freeform 36"/>
              <p:cNvSpPr>
                <a:spLocks/>
              </p:cNvSpPr>
              <p:nvPr/>
            </p:nvSpPr>
            <p:spPr bwMode="auto">
              <a:xfrm>
                <a:off x="6864350" y="-8183563"/>
                <a:ext cx="9666288" cy="6954838"/>
              </a:xfrm>
              <a:custGeom>
                <a:avLst/>
                <a:gdLst>
                  <a:gd name="T0" fmla="*/ 1899 w 2576"/>
                  <a:gd name="T1" fmla="*/ 1233 h 1852"/>
                  <a:gd name="T2" fmla="*/ 1916 w 2576"/>
                  <a:gd name="T3" fmla="*/ 1097 h 1852"/>
                  <a:gd name="T4" fmla="*/ 1932 w 2576"/>
                  <a:gd name="T5" fmla="*/ 944 h 1852"/>
                  <a:gd name="T6" fmla="*/ 2125 w 2576"/>
                  <a:gd name="T7" fmla="*/ 843 h 1852"/>
                  <a:gd name="T8" fmla="*/ 2090 w 2576"/>
                  <a:gd name="T9" fmla="*/ 625 h 1852"/>
                  <a:gd name="T10" fmla="*/ 2104 w 2576"/>
                  <a:gd name="T11" fmla="*/ 624 h 1852"/>
                  <a:gd name="T12" fmla="*/ 2229 w 2576"/>
                  <a:gd name="T13" fmla="*/ 643 h 1852"/>
                  <a:gd name="T14" fmla="*/ 2225 w 2576"/>
                  <a:gd name="T15" fmla="*/ 476 h 1852"/>
                  <a:gd name="T16" fmla="*/ 2177 w 2576"/>
                  <a:gd name="T17" fmla="*/ 342 h 1852"/>
                  <a:gd name="T18" fmla="*/ 2258 w 2576"/>
                  <a:gd name="T19" fmla="*/ 253 h 1852"/>
                  <a:gd name="T20" fmla="*/ 2426 w 2576"/>
                  <a:gd name="T21" fmla="*/ 375 h 1852"/>
                  <a:gd name="T22" fmla="*/ 2492 w 2576"/>
                  <a:gd name="T23" fmla="*/ 226 h 1852"/>
                  <a:gd name="T24" fmla="*/ 2560 w 2576"/>
                  <a:gd name="T25" fmla="*/ 143 h 1852"/>
                  <a:gd name="T26" fmla="*/ 1545 w 2576"/>
                  <a:gd name="T27" fmla="*/ 45 h 1852"/>
                  <a:gd name="T28" fmla="*/ 1169 w 2576"/>
                  <a:gd name="T29" fmla="*/ 61 h 1852"/>
                  <a:gd name="T30" fmla="*/ 1003 w 2576"/>
                  <a:gd name="T31" fmla="*/ 95 h 1852"/>
                  <a:gd name="T32" fmla="*/ 795 w 2576"/>
                  <a:gd name="T33" fmla="*/ 138 h 1852"/>
                  <a:gd name="T34" fmla="*/ 794 w 2576"/>
                  <a:gd name="T35" fmla="*/ 60 h 1852"/>
                  <a:gd name="T36" fmla="*/ 493 w 2576"/>
                  <a:gd name="T37" fmla="*/ 105 h 1852"/>
                  <a:gd name="T38" fmla="*/ 408 w 2576"/>
                  <a:gd name="T39" fmla="*/ 305 h 1852"/>
                  <a:gd name="T40" fmla="*/ 518 w 2576"/>
                  <a:gd name="T41" fmla="*/ 297 h 1852"/>
                  <a:gd name="T42" fmla="*/ 563 w 2576"/>
                  <a:gd name="T43" fmla="*/ 249 h 1852"/>
                  <a:gd name="T44" fmla="*/ 395 w 2576"/>
                  <a:gd name="T45" fmla="*/ 328 h 1852"/>
                  <a:gd name="T46" fmla="*/ 293 w 2576"/>
                  <a:gd name="T47" fmla="*/ 273 h 1852"/>
                  <a:gd name="T48" fmla="*/ 238 w 2576"/>
                  <a:gd name="T49" fmla="*/ 331 h 1852"/>
                  <a:gd name="T50" fmla="*/ 241 w 2576"/>
                  <a:gd name="T51" fmla="*/ 433 h 1852"/>
                  <a:gd name="T52" fmla="*/ 185 w 2576"/>
                  <a:gd name="T53" fmla="*/ 502 h 1852"/>
                  <a:gd name="T54" fmla="*/ 193 w 2576"/>
                  <a:gd name="T55" fmla="*/ 652 h 1852"/>
                  <a:gd name="T56" fmla="*/ 488 w 2576"/>
                  <a:gd name="T57" fmla="*/ 595 h 1852"/>
                  <a:gd name="T58" fmla="*/ 554 w 2576"/>
                  <a:gd name="T59" fmla="*/ 586 h 1852"/>
                  <a:gd name="T60" fmla="*/ 589 w 2576"/>
                  <a:gd name="T61" fmla="*/ 626 h 1852"/>
                  <a:gd name="T62" fmla="*/ 664 w 2576"/>
                  <a:gd name="T63" fmla="*/ 593 h 1852"/>
                  <a:gd name="T64" fmla="*/ 803 w 2576"/>
                  <a:gd name="T65" fmla="*/ 706 h 1852"/>
                  <a:gd name="T66" fmla="*/ 562 w 2576"/>
                  <a:gd name="T67" fmla="*/ 702 h 1852"/>
                  <a:gd name="T68" fmla="*/ 326 w 2576"/>
                  <a:gd name="T69" fmla="*/ 628 h 1852"/>
                  <a:gd name="T70" fmla="*/ 3 w 2576"/>
                  <a:gd name="T71" fmla="*/ 894 h 1852"/>
                  <a:gd name="T72" fmla="*/ 159 w 2576"/>
                  <a:gd name="T73" fmla="*/ 1197 h 1852"/>
                  <a:gd name="T74" fmla="*/ 382 w 2576"/>
                  <a:gd name="T75" fmla="*/ 1197 h 1852"/>
                  <a:gd name="T76" fmla="*/ 465 w 2576"/>
                  <a:gd name="T77" fmla="*/ 1356 h 1852"/>
                  <a:gd name="T78" fmla="*/ 574 w 2576"/>
                  <a:gd name="T79" fmla="*/ 1839 h 1852"/>
                  <a:gd name="T80" fmla="*/ 880 w 2576"/>
                  <a:gd name="T81" fmla="*/ 1628 h 1852"/>
                  <a:gd name="T82" fmla="*/ 933 w 2576"/>
                  <a:gd name="T83" fmla="*/ 1362 h 1852"/>
                  <a:gd name="T84" fmla="*/ 1119 w 2576"/>
                  <a:gd name="T85" fmla="*/ 1066 h 1852"/>
                  <a:gd name="T86" fmla="*/ 819 w 2576"/>
                  <a:gd name="T87" fmla="*/ 825 h 1852"/>
                  <a:gd name="T88" fmla="*/ 1140 w 2576"/>
                  <a:gd name="T89" fmla="*/ 986 h 1852"/>
                  <a:gd name="T90" fmla="*/ 1135 w 2576"/>
                  <a:gd name="T91" fmla="*/ 830 h 1852"/>
                  <a:gd name="T92" fmla="*/ 1304 w 2576"/>
                  <a:gd name="T93" fmla="*/ 858 h 1852"/>
                  <a:gd name="T94" fmla="*/ 1448 w 2576"/>
                  <a:gd name="T95" fmla="*/ 1102 h 1852"/>
                  <a:gd name="T96" fmla="*/ 1564 w 2576"/>
                  <a:gd name="T97" fmla="*/ 1030 h 1852"/>
                  <a:gd name="T98" fmla="*/ 1645 w 2576"/>
                  <a:gd name="T99" fmla="*/ 905 h 1852"/>
                  <a:gd name="T100" fmla="*/ 1764 w 2576"/>
                  <a:gd name="T101" fmla="*/ 996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76" h="1852">
                    <a:moveTo>
                      <a:pt x="1812" y="1148"/>
                    </a:moveTo>
                    <a:cubicBezTo>
                      <a:pt x="1813" y="1152"/>
                      <a:pt x="1815" y="1156"/>
                      <a:pt x="1818" y="1159"/>
                    </a:cubicBezTo>
                    <a:cubicBezTo>
                      <a:pt x="1882" y="1226"/>
                      <a:pt x="1882" y="1226"/>
                      <a:pt x="1882" y="1226"/>
                    </a:cubicBezTo>
                    <a:cubicBezTo>
                      <a:pt x="1886" y="1230"/>
                      <a:pt x="1892" y="1233"/>
                      <a:pt x="1898" y="1233"/>
                    </a:cubicBezTo>
                    <a:cubicBezTo>
                      <a:pt x="1898" y="1233"/>
                      <a:pt x="1899" y="1233"/>
                      <a:pt x="1899" y="1233"/>
                    </a:cubicBezTo>
                    <a:cubicBezTo>
                      <a:pt x="1911" y="1233"/>
                      <a:pt x="1921" y="1222"/>
                      <a:pt x="1921" y="1210"/>
                    </a:cubicBezTo>
                    <a:cubicBezTo>
                      <a:pt x="1921" y="1206"/>
                      <a:pt x="1921" y="1203"/>
                      <a:pt x="1919" y="1200"/>
                    </a:cubicBezTo>
                    <a:cubicBezTo>
                      <a:pt x="1895" y="1131"/>
                      <a:pt x="1895" y="1131"/>
                      <a:pt x="1895" y="1131"/>
                    </a:cubicBezTo>
                    <a:cubicBezTo>
                      <a:pt x="1883" y="1075"/>
                      <a:pt x="1883" y="1075"/>
                      <a:pt x="1883" y="1075"/>
                    </a:cubicBezTo>
                    <a:cubicBezTo>
                      <a:pt x="1916" y="1097"/>
                      <a:pt x="1916" y="1097"/>
                      <a:pt x="1916" y="1097"/>
                    </a:cubicBezTo>
                    <a:cubicBezTo>
                      <a:pt x="1922" y="1102"/>
                      <a:pt x="1931" y="1103"/>
                      <a:pt x="1938" y="1100"/>
                    </a:cubicBezTo>
                    <a:cubicBezTo>
                      <a:pt x="1958" y="1091"/>
                      <a:pt x="1991" y="1073"/>
                      <a:pt x="1991" y="1046"/>
                    </a:cubicBezTo>
                    <a:cubicBezTo>
                      <a:pt x="1991" y="1028"/>
                      <a:pt x="1983" y="989"/>
                      <a:pt x="1981" y="982"/>
                    </a:cubicBezTo>
                    <a:cubicBezTo>
                      <a:pt x="1979" y="976"/>
                      <a:pt x="1976" y="970"/>
                      <a:pt x="1970" y="967"/>
                    </a:cubicBezTo>
                    <a:cubicBezTo>
                      <a:pt x="1932" y="944"/>
                      <a:pt x="1932" y="944"/>
                      <a:pt x="1932" y="944"/>
                    </a:cubicBezTo>
                    <a:cubicBezTo>
                      <a:pt x="1932" y="929"/>
                      <a:pt x="1932" y="929"/>
                      <a:pt x="1932" y="929"/>
                    </a:cubicBezTo>
                    <a:cubicBezTo>
                      <a:pt x="1974" y="924"/>
                      <a:pt x="1974" y="924"/>
                      <a:pt x="1974" y="924"/>
                    </a:cubicBezTo>
                    <a:cubicBezTo>
                      <a:pt x="1977" y="924"/>
                      <a:pt x="1979" y="923"/>
                      <a:pt x="1981" y="922"/>
                    </a:cubicBezTo>
                    <a:cubicBezTo>
                      <a:pt x="2113" y="860"/>
                      <a:pt x="2113" y="860"/>
                      <a:pt x="2113" y="860"/>
                    </a:cubicBezTo>
                    <a:cubicBezTo>
                      <a:pt x="2119" y="857"/>
                      <a:pt x="2124" y="851"/>
                      <a:pt x="2125" y="843"/>
                    </a:cubicBezTo>
                    <a:cubicBezTo>
                      <a:pt x="2142" y="748"/>
                      <a:pt x="2142" y="748"/>
                      <a:pt x="2142" y="748"/>
                    </a:cubicBezTo>
                    <a:cubicBezTo>
                      <a:pt x="2143" y="742"/>
                      <a:pt x="2141" y="735"/>
                      <a:pt x="2137" y="730"/>
                    </a:cubicBezTo>
                    <a:cubicBezTo>
                      <a:pt x="2085" y="667"/>
                      <a:pt x="2085" y="667"/>
                      <a:pt x="2085" y="667"/>
                    </a:cubicBezTo>
                    <a:cubicBezTo>
                      <a:pt x="2092" y="642"/>
                      <a:pt x="2092" y="642"/>
                      <a:pt x="2092" y="642"/>
                    </a:cubicBezTo>
                    <a:cubicBezTo>
                      <a:pt x="2094" y="636"/>
                      <a:pt x="2093" y="630"/>
                      <a:pt x="2090" y="625"/>
                    </a:cubicBezTo>
                    <a:cubicBezTo>
                      <a:pt x="2087" y="619"/>
                      <a:pt x="2081" y="615"/>
                      <a:pt x="2075" y="614"/>
                    </a:cubicBezTo>
                    <a:cubicBezTo>
                      <a:pt x="2036" y="604"/>
                      <a:pt x="2036" y="604"/>
                      <a:pt x="2036" y="604"/>
                    </a:cubicBezTo>
                    <a:cubicBezTo>
                      <a:pt x="2040" y="600"/>
                      <a:pt x="2040" y="600"/>
                      <a:pt x="2040" y="600"/>
                    </a:cubicBezTo>
                    <a:cubicBezTo>
                      <a:pt x="2088" y="603"/>
                      <a:pt x="2088" y="603"/>
                      <a:pt x="2088" y="603"/>
                    </a:cubicBezTo>
                    <a:cubicBezTo>
                      <a:pt x="2104" y="624"/>
                      <a:pt x="2104" y="624"/>
                      <a:pt x="2104" y="624"/>
                    </a:cubicBezTo>
                    <a:cubicBezTo>
                      <a:pt x="2105" y="625"/>
                      <a:pt x="2105" y="625"/>
                      <a:pt x="2106" y="626"/>
                    </a:cubicBezTo>
                    <a:cubicBezTo>
                      <a:pt x="2165" y="685"/>
                      <a:pt x="2165" y="685"/>
                      <a:pt x="2165" y="685"/>
                    </a:cubicBezTo>
                    <a:cubicBezTo>
                      <a:pt x="2170" y="690"/>
                      <a:pt x="2176" y="692"/>
                      <a:pt x="2183" y="692"/>
                    </a:cubicBezTo>
                    <a:cubicBezTo>
                      <a:pt x="2190" y="691"/>
                      <a:pt x="2196" y="688"/>
                      <a:pt x="2200" y="683"/>
                    </a:cubicBezTo>
                    <a:cubicBezTo>
                      <a:pt x="2229" y="643"/>
                      <a:pt x="2229" y="643"/>
                      <a:pt x="2229" y="643"/>
                    </a:cubicBezTo>
                    <a:cubicBezTo>
                      <a:pt x="2237" y="633"/>
                      <a:pt x="2235" y="619"/>
                      <a:pt x="2225" y="612"/>
                    </a:cubicBezTo>
                    <a:cubicBezTo>
                      <a:pt x="2187" y="581"/>
                      <a:pt x="2187" y="581"/>
                      <a:pt x="2187" y="581"/>
                    </a:cubicBezTo>
                    <a:cubicBezTo>
                      <a:pt x="2209" y="534"/>
                      <a:pt x="2209" y="534"/>
                      <a:pt x="2209" y="534"/>
                    </a:cubicBezTo>
                    <a:cubicBezTo>
                      <a:pt x="2209" y="533"/>
                      <a:pt x="2210" y="532"/>
                      <a:pt x="2210" y="531"/>
                    </a:cubicBezTo>
                    <a:cubicBezTo>
                      <a:pt x="2225" y="476"/>
                      <a:pt x="2225" y="476"/>
                      <a:pt x="2225" y="476"/>
                    </a:cubicBezTo>
                    <a:cubicBezTo>
                      <a:pt x="2275" y="482"/>
                      <a:pt x="2275" y="482"/>
                      <a:pt x="2275" y="482"/>
                    </a:cubicBezTo>
                    <a:cubicBezTo>
                      <a:pt x="2285" y="483"/>
                      <a:pt x="2294" y="478"/>
                      <a:pt x="2299" y="468"/>
                    </a:cubicBezTo>
                    <a:cubicBezTo>
                      <a:pt x="2303" y="459"/>
                      <a:pt x="2300" y="449"/>
                      <a:pt x="2293" y="442"/>
                    </a:cubicBezTo>
                    <a:cubicBezTo>
                      <a:pt x="2187" y="347"/>
                      <a:pt x="2187" y="347"/>
                      <a:pt x="2187" y="347"/>
                    </a:cubicBezTo>
                    <a:cubicBezTo>
                      <a:pt x="2184" y="344"/>
                      <a:pt x="2181" y="343"/>
                      <a:pt x="2177" y="342"/>
                    </a:cubicBezTo>
                    <a:cubicBezTo>
                      <a:pt x="2100" y="323"/>
                      <a:pt x="2100" y="323"/>
                      <a:pt x="2100" y="323"/>
                    </a:cubicBezTo>
                    <a:cubicBezTo>
                      <a:pt x="2125" y="285"/>
                      <a:pt x="2125" y="285"/>
                      <a:pt x="2125" y="285"/>
                    </a:cubicBezTo>
                    <a:cubicBezTo>
                      <a:pt x="2237" y="285"/>
                      <a:pt x="2237" y="285"/>
                      <a:pt x="2237" y="285"/>
                    </a:cubicBezTo>
                    <a:cubicBezTo>
                      <a:pt x="2246" y="285"/>
                      <a:pt x="2254" y="281"/>
                      <a:pt x="2257" y="273"/>
                    </a:cubicBezTo>
                    <a:cubicBezTo>
                      <a:pt x="2261" y="267"/>
                      <a:pt x="2261" y="259"/>
                      <a:pt x="2258" y="253"/>
                    </a:cubicBezTo>
                    <a:cubicBezTo>
                      <a:pt x="2314" y="253"/>
                      <a:pt x="2314" y="253"/>
                      <a:pt x="2314" y="253"/>
                    </a:cubicBezTo>
                    <a:cubicBezTo>
                      <a:pt x="2309" y="310"/>
                      <a:pt x="2309" y="310"/>
                      <a:pt x="2309" y="310"/>
                    </a:cubicBezTo>
                    <a:cubicBezTo>
                      <a:pt x="2309" y="318"/>
                      <a:pt x="2313" y="326"/>
                      <a:pt x="2320" y="331"/>
                    </a:cubicBezTo>
                    <a:cubicBezTo>
                      <a:pt x="2395" y="380"/>
                      <a:pt x="2395" y="380"/>
                      <a:pt x="2395" y="380"/>
                    </a:cubicBezTo>
                    <a:cubicBezTo>
                      <a:pt x="2405" y="386"/>
                      <a:pt x="2418" y="384"/>
                      <a:pt x="2426" y="375"/>
                    </a:cubicBezTo>
                    <a:cubicBezTo>
                      <a:pt x="2439" y="359"/>
                      <a:pt x="2439" y="359"/>
                      <a:pt x="2439" y="359"/>
                    </a:cubicBezTo>
                    <a:cubicBezTo>
                      <a:pt x="2445" y="351"/>
                      <a:pt x="2445" y="340"/>
                      <a:pt x="2440" y="332"/>
                    </a:cubicBezTo>
                    <a:cubicBezTo>
                      <a:pt x="2405" y="275"/>
                      <a:pt x="2405" y="275"/>
                      <a:pt x="2405" y="275"/>
                    </a:cubicBezTo>
                    <a:cubicBezTo>
                      <a:pt x="2480" y="241"/>
                      <a:pt x="2480" y="241"/>
                      <a:pt x="2480" y="241"/>
                    </a:cubicBezTo>
                    <a:cubicBezTo>
                      <a:pt x="2485" y="238"/>
                      <a:pt x="2490" y="233"/>
                      <a:pt x="2492" y="226"/>
                    </a:cubicBezTo>
                    <a:cubicBezTo>
                      <a:pt x="2494" y="220"/>
                      <a:pt x="2493" y="214"/>
                      <a:pt x="2490" y="208"/>
                    </a:cubicBezTo>
                    <a:cubicBezTo>
                      <a:pt x="2480" y="191"/>
                      <a:pt x="2480" y="191"/>
                      <a:pt x="2480" y="191"/>
                    </a:cubicBezTo>
                    <a:cubicBezTo>
                      <a:pt x="2553" y="187"/>
                      <a:pt x="2553" y="187"/>
                      <a:pt x="2553" y="187"/>
                    </a:cubicBezTo>
                    <a:cubicBezTo>
                      <a:pt x="2564" y="186"/>
                      <a:pt x="2573" y="178"/>
                      <a:pt x="2574" y="168"/>
                    </a:cubicBezTo>
                    <a:cubicBezTo>
                      <a:pt x="2576" y="157"/>
                      <a:pt x="2570" y="147"/>
                      <a:pt x="2560" y="143"/>
                    </a:cubicBezTo>
                    <a:cubicBezTo>
                      <a:pt x="2494" y="116"/>
                      <a:pt x="2481" y="115"/>
                      <a:pt x="2477" y="115"/>
                    </a:cubicBezTo>
                    <a:cubicBezTo>
                      <a:pt x="2459" y="114"/>
                      <a:pt x="2132" y="77"/>
                      <a:pt x="1915" y="53"/>
                    </a:cubicBezTo>
                    <a:cubicBezTo>
                      <a:pt x="1913" y="52"/>
                      <a:pt x="1910" y="53"/>
                      <a:pt x="1908" y="53"/>
                    </a:cubicBezTo>
                    <a:cubicBezTo>
                      <a:pt x="1819" y="72"/>
                      <a:pt x="1819" y="72"/>
                      <a:pt x="1819" y="72"/>
                    </a:cubicBezTo>
                    <a:cubicBezTo>
                      <a:pt x="1545" y="45"/>
                      <a:pt x="1545" y="45"/>
                      <a:pt x="1545" y="45"/>
                    </a:cubicBezTo>
                    <a:cubicBezTo>
                      <a:pt x="1545" y="23"/>
                      <a:pt x="1545" y="23"/>
                      <a:pt x="1545" y="23"/>
                    </a:cubicBezTo>
                    <a:cubicBezTo>
                      <a:pt x="1545" y="10"/>
                      <a:pt x="1535" y="0"/>
                      <a:pt x="1522" y="0"/>
                    </a:cubicBezTo>
                    <a:cubicBezTo>
                      <a:pt x="1306" y="0"/>
                      <a:pt x="1306" y="0"/>
                      <a:pt x="1306" y="0"/>
                    </a:cubicBezTo>
                    <a:cubicBezTo>
                      <a:pt x="1303" y="0"/>
                      <a:pt x="1299" y="1"/>
                      <a:pt x="1296" y="2"/>
                    </a:cubicBezTo>
                    <a:cubicBezTo>
                      <a:pt x="1169" y="61"/>
                      <a:pt x="1169" y="61"/>
                      <a:pt x="1169" y="61"/>
                    </a:cubicBezTo>
                    <a:cubicBezTo>
                      <a:pt x="1135" y="29"/>
                      <a:pt x="1135" y="29"/>
                      <a:pt x="1135" y="29"/>
                    </a:cubicBezTo>
                    <a:cubicBezTo>
                      <a:pt x="1126" y="21"/>
                      <a:pt x="1112" y="21"/>
                      <a:pt x="1103" y="30"/>
                    </a:cubicBezTo>
                    <a:cubicBezTo>
                      <a:pt x="1060" y="72"/>
                      <a:pt x="1060" y="72"/>
                      <a:pt x="1060" y="72"/>
                    </a:cubicBezTo>
                    <a:cubicBezTo>
                      <a:pt x="1053" y="79"/>
                      <a:pt x="1052" y="90"/>
                      <a:pt x="1056" y="98"/>
                    </a:cubicBezTo>
                    <a:cubicBezTo>
                      <a:pt x="1003" y="95"/>
                      <a:pt x="1003" y="95"/>
                      <a:pt x="1003" y="95"/>
                    </a:cubicBezTo>
                    <a:cubicBezTo>
                      <a:pt x="1001" y="95"/>
                      <a:pt x="999" y="95"/>
                      <a:pt x="998" y="95"/>
                    </a:cubicBezTo>
                    <a:cubicBezTo>
                      <a:pt x="873" y="115"/>
                      <a:pt x="873" y="115"/>
                      <a:pt x="873" y="115"/>
                    </a:cubicBezTo>
                    <a:cubicBezTo>
                      <a:pt x="872" y="115"/>
                      <a:pt x="871" y="115"/>
                      <a:pt x="871" y="116"/>
                    </a:cubicBezTo>
                    <a:cubicBezTo>
                      <a:pt x="803" y="134"/>
                      <a:pt x="803" y="134"/>
                      <a:pt x="803" y="134"/>
                    </a:cubicBezTo>
                    <a:cubicBezTo>
                      <a:pt x="800" y="135"/>
                      <a:pt x="797" y="136"/>
                      <a:pt x="795" y="138"/>
                    </a:cubicBezTo>
                    <a:cubicBezTo>
                      <a:pt x="740" y="180"/>
                      <a:pt x="740" y="180"/>
                      <a:pt x="740" y="180"/>
                    </a:cubicBezTo>
                    <a:cubicBezTo>
                      <a:pt x="735" y="161"/>
                      <a:pt x="735" y="161"/>
                      <a:pt x="735" y="161"/>
                    </a:cubicBezTo>
                    <a:cubicBezTo>
                      <a:pt x="795" y="121"/>
                      <a:pt x="795" y="121"/>
                      <a:pt x="795" y="121"/>
                    </a:cubicBezTo>
                    <a:cubicBezTo>
                      <a:pt x="803" y="115"/>
                      <a:pt x="806" y="105"/>
                      <a:pt x="804" y="96"/>
                    </a:cubicBezTo>
                    <a:cubicBezTo>
                      <a:pt x="794" y="60"/>
                      <a:pt x="794" y="60"/>
                      <a:pt x="794" y="60"/>
                    </a:cubicBezTo>
                    <a:cubicBezTo>
                      <a:pt x="791" y="48"/>
                      <a:pt x="780" y="41"/>
                      <a:pt x="768" y="43"/>
                    </a:cubicBezTo>
                    <a:cubicBezTo>
                      <a:pt x="624" y="66"/>
                      <a:pt x="624" y="66"/>
                      <a:pt x="624" y="66"/>
                    </a:cubicBezTo>
                    <a:cubicBezTo>
                      <a:pt x="623" y="66"/>
                      <a:pt x="622" y="66"/>
                      <a:pt x="621" y="67"/>
                    </a:cubicBezTo>
                    <a:cubicBezTo>
                      <a:pt x="503" y="99"/>
                      <a:pt x="503" y="99"/>
                      <a:pt x="503" y="99"/>
                    </a:cubicBezTo>
                    <a:cubicBezTo>
                      <a:pt x="500" y="100"/>
                      <a:pt x="496" y="102"/>
                      <a:pt x="493" y="105"/>
                    </a:cubicBezTo>
                    <a:cubicBezTo>
                      <a:pt x="379" y="220"/>
                      <a:pt x="379" y="220"/>
                      <a:pt x="379" y="220"/>
                    </a:cubicBezTo>
                    <a:cubicBezTo>
                      <a:pt x="373" y="225"/>
                      <a:pt x="371" y="233"/>
                      <a:pt x="372" y="241"/>
                    </a:cubicBezTo>
                    <a:cubicBezTo>
                      <a:pt x="382" y="287"/>
                      <a:pt x="382" y="287"/>
                      <a:pt x="382" y="287"/>
                    </a:cubicBezTo>
                    <a:cubicBezTo>
                      <a:pt x="384" y="297"/>
                      <a:pt x="393" y="304"/>
                      <a:pt x="403" y="305"/>
                    </a:cubicBezTo>
                    <a:cubicBezTo>
                      <a:pt x="405" y="305"/>
                      <a:pt x="406" y="305"/>
                      <a:pt x="408" y="305"/>
                    </a:cubicBezTo>
                    <a:cubicBezTo>
                      <a:pt x="452" y="299"/>
                      <a:pt x="452" y="299"/>
                      <a:pt x="452" y="299"/>
                    </a:cubicBezTo>
                    <a:cubicBezTo>
                      <a:pt x="473" y="313"/>
                      <a:pt x="473" y="313"/>
                      <a:pt x="473" y="313"/>
                    </a:cubicBezTo>
                    <a:cubicBezTo>
                      <a:pt x="477" y="315"/>
                      <a:pt x="482" y="316"/>
                      <a:pt x="487" y="316"/>
                    </a:cubicBezTo>
                    <a:cubicBezTo>
                      <a:pt x="491" y="316"/>
                      <a:pt x="496" y="314"/>
                      <a:pt x="500" y="311"/>
                    </a:cubicBezTo>
                    <a:cubicBezTo>
                      <a:pt x="518" y="297"/>
                      <a:pt x="518" y="297"/>
                      <a:pt x="518" y="297"/>
                    </a:cubicBezTo>
                    <a:cubicBezTo>
                      <a:pt x="519" y="296"/>
                      <a:pt x="520" y="296"/>
                      <a:pt x="521" y="295"/>
                    </a:cubicBezTo>
                    <a:cubicBezTo>
                      <a:pt x="542" y="273"/>
                      <a:pt x="542" y="273"/>
                      <a:pt x="542" y="273"/>
                    </a:cubicBezTo>
                    <a:cubicBezTo>
                      <a:pt x="542" y="273"/>
                      <a:pt x="542" y="273"/>
                      <a:pt x="542" y="273"/>
                    </a:cubicBezTo>
                    <a:cubicBezTo>
                      <a:pt x="559" y="255"/>
                      <a:pt x="559" y="255"/>
                      <a:pt x="559" y="255"/>
                    </a:cubicBezTo>
                    <a:cubicBezTo>
                      <a:pt x="561" y="254"/>
                      <a:pt x="562" y="251"/>
                      <a:pt x="563" y="249"/>
                    </a:cubicBezTo>
                    <a:cubicBezTo>
                      <a:pt x="585" y="202"/>
                      <a:pt x="585" y="202"/>
                      <a:pt x="585" y="202"/>
                    </a:cubicBezTo>
                    <a:cubicBezTo>
                      <a:pt x="625" y="268"/>
                      <a:pt x="625" y="268"/>
                      <a:pt x="625" y="268"/>
                    </a:cubicBezTo>
                    <a:cubicBezTo>
                      <a:pt x="560" y="309"/>
                      <a:pt x="560" y="309"/>
                      <a:pt x="560" y="309"/>
                    </a:cubicBezTo>
                    <a:cubicBezTo>
                      <a:pt x="445" y="328"/>
                      <a:pt x="445" y="328"/>
                      <a:pt x="445" y="328"/>
                    </a:cubicBezTo>
                    <a:cubicBezTo>
                      <a:pt x="395" y="328"/>
                      <a:pt x="395" y="328"/>
                      <a:pt x="395" y="328"/>
                    </a:cubicBezTo>
                    <a:cubicBezTo>
                      <a:pt x="395" y="328"/>
                      <a:pt x="395" y="328"/>
                      <a:pt x="395" y="328"/>
                    </a:cubicBezTo>
                    <a:cubicBezTo>
                      <a:pt x="388" y="328"/>
                      <a:pt x="382" y="331"/>
                      <a:pt x="378" y="335"/>
                    </a:cubicBezTo>
                    <a:cubicBezTo>
                      <a:pt x="358" y="357"/>
                      <a:pt x="358" y="357"/>
                      <a:pt x="358" y="357"/>
                    </a:cubicBezTo>
                    <a:cubicBezTo>
                      <a:pt x="293" y="273"/>
                      <a:pt x="293" y="273"/>
                      <a:pt x="293" y="273"/>
                    </a:cubicBezTo>
                    <a:cubicBezTo>
                      <a:pt x="293" y="273"/>
                      <a:pt x="293" y="273"/>
                      <a:pt x="293" y="273"/>
                    </a:cubicBezTo>
                    <a:cubicBezTo>
                      <a:pt x="292" y="271"/>
                      <a:pt x="292" y="271"/>
                      <a:pt x="292" y="271"/>
                    </a:cubicBezTo>
                    <a:cubicBezTo>
                      <a:pt x="287" y="265"/>
                      <a:pt x="280" y="262"/>
                      <a:pt x="273" y="262"/>
                    </a:cubicBezTo>
                    <a:cubicBezTo>
                      <a:pt x="265" y="263"/>
                      <a:pt x="258" y="266"/>
                      <a:pt x="254" y="273"/>
                    </a:cubicBezTo>
                    <a:cubicBezTo>
                      <a:pt x="235" y="302"/>
                      <a:pt x="235" y="302"/>
                      <a:pt x="235" y="302"/>
                    </a:cubicBezTo>
                    <a:cubicBezTo>
                      <a:pt x="229" y="311"/>
                      <a:pt x="230" y="323"/>
                      <a:pt x="238" y="331"/>
                    </a:cubicBezTo>
                    <a:cubicBezTo>
                      <a:pt x="249" y="343"/>
                      <a:pt x="249" y="343"/>
                      <a:pt x="249" y="343"/>
                    </a:cubicBezTo>
                    <a:cubicBezTo>
                      <a:pt x="247" y="361"/>
                      <a:pt x="247" y="361"/>
                      <a:pt x="247" y="361"/>
                    </a:cubicBezTo>
                    <a:cubicBezTo>
                      <a:pt x="246" y="370"/>
                      <a:pt x="250" y="378"/>
                      <a:pt x="257" y="383"/>
                    </a:cubicBezTo>
                    <a:cubicBezTo>
                      <a:pt x="288" y="403"/>
                      <a:pt x="288" y="403"/>
                      <a:pt x="288" y="403"/>
                    </a:cubicBezTo>
                    <a:cubicBezTo>
                      <a:pt x="241" y="433"/>
                      <a:pt x="241" y="433"/>
                      <a:pt x="241" y="433"/>
                    </a:cubicBezTo>
                    <a:cubicBezTo>
                      <a:pt x="235" y="438"/>
                      <a:pt x="231" y="445"/>
                      <a:pt x="231" y="453"/>
                    </a:cubicBezTo>
                    <a:cubicBezTo>
                      <a:pt x="231" y="461"/>
                      <a:pt x="236" y="469"/>
                      <a:pt x="243" y="473"/>
                    </a:cubicBezTo>
                    <a:cubicBezTo>
                      <a:pt x="265" y="485"/>
                      <a:pt x="265" y="485"/>
                      <a:pt x="265" y="485"/>
                    </a:cubicBezTo>
                    <a:cubicBezTo>
                      <a:pt x="263" y="502"/>
                      <a:pt x="263" y="502"/>
                      <a:pt x="263" y="502"/>
                    </a:cubicBezTo>
                    <a:cubicBezTo>
                      <a:pt x="185" y="502"/>
                      <a:pt x="185" y="502"/>
                      <a:pt x="185" y="502"/>
                    </a:cubicBezTo>
                    <a:cubicBezTo>
                      <a:pt x="179" y="502"/>
                      <a:pt x="173" y="504"/>
                      <a:pt x="168" y="509"/>
                    </a:cubicBezTo>
                    <a:cubicBezTo>
                      <a:pt x="164" y="513"/>
                      <a:pt x="162" y="519"/>
                      <a:pt x="162" y="525"/>
                    </a:cubicBezTo>
                    <a:cubicBezTo>
                      <a:pt x="165" y="630"/>
                      <a:pt x="165" y="630"/>
                      <a:pt x="165" y="630"/>
                    </a:cubicBezTo>
                    <a:cubicBezTo>
                      <a:pt x="166" y="637"/>
                      <a:pt x="169" y="644"/>
                      <a:pt x="174" y="648"/>
                    </a:cubicBezTo>
                    <a:cubicBezTo>
                      <a:pt x="180" y="652"/>
                      <a:pt x="187" y="653"/>
                      <a:pt x="193" y="652"/>
                    </a:cubicBezTo>
                    <a:cubicBezTo>
                      <a:pt x="275" y="633"/>
                      <a:pt x="275" y="633"/>
                      <a:pt x="275" y="633"/>
                    </a:cubicBezTo>
                    <a:cubicBezTo>
                      <a:pt x="281" y="632"/>
                      <a:pt x="286" y="628"/>
                      <a:pt x="289" y="623"/>
                    </a:cubicBezTo>
                    <a:cubicBezTo>
                      <a:pt x="336" y="553"/>
                      <a:pt x="336" y="553"/>
                      <a:pt x="336" y="553"/>
                    </a:cubicBezTo>
                    <a:cubicBezTo>
                      <a:pt x="433" y="545"/>
                      <a:pt x="433" y="545"/>
                      <a:pt x="433" y="545"/>
                    </a:cubicBezTo>
                    <a:cubicBezTo>
                      <a:pt x="488" y="595"/>
                      <a:pt x="488" y="595"/>
                      <a:pt x="488" y="595"/>
                    </a:cubicBezTo>
                    <a:cubicBezTo>
                      <a:pt x="493" y="630"/>
                      <a:pt x="493" y="630"/>
                      <a:pt x="493" y="630"/>
                    </a:cubicBezTo>
                    <a:cubicBezTo>
                      <a:pt x="495" y="639"/>
                      <a:pt x="502" y="646"/>
                      <a:pt x="510" y="649"/>
                    </a:cubicBezTo>
                    <a:cubicBezTo>
                      <a:pt x="519" y="651"/>
                      <a:pt x="529" y="647"/>
                      <a:pt x="534" y="640"/>
                    </a:cubicBezTo>
                    <a:cubicBezTo>
                      <a:pt x="554" y="614"/>
                      <a:pt x="554" y="614"/>
                      <a:pt x="554" y="614"/>
                    </a:cubicBezTo>
                    <a:cubicBezTo>
                      <a:pt x="560" y="605"/>
                      <a:pt x="560" y="594"/>
                      <a:pt x="554" y="586"/>
                    </a:cubicBezTo>
                    <a:cubicBezTo>
                      <a:pt x="488" y="505"/>
                      <a:pt x="488" y="505"/>
                      <a:pt x="488" y="505"/>
                    </a:cubicBezTo>
                    <a:cubicBezTo>
                      <a:pt x="509" y="497"/>
                      <a:pt x="509" y="497"/>
                      <a:pt x="509" y="497"/>
                    </a:cubicBezTo>
                    <a:cubicBezTo>
                      <a:pt x="559" y="582"/>
                      <a:pt x="559" y="582"/>
                      <a:pt x="559" y="582"/>
                    </a:cubicBezTo>
                    <a:cubicBezTo>
                      <a:pt x="559" y="583"/>
                      <a:pt x="559" y="583"/>
                      <a:pt x="559" y="584"/>
                    </a:cubicBezTo>
                    <a:cubicBezTo>
                      <a:pt x="589" y="626"/>
                      <a:pt x="589" y="626"/>
                      <a:pt x="589" y="626"/>
                    </a:cubicBezTo>
                    <a:cubicBezTo>
                      <a:pt x="591" y="629"/>
                      <a:pt x="593" y="631"/>
                      <a:pt x="596" y="633"/>
                    </a:cubicBezTo>
                    <a:cubicBezTo>
                      <a:pt x="629" y="653"/>
                      <a:pt x="629" y="653"/>
                      <a:pt x="629" y="653"/>
                    </a:cubicBezTo>
                    <a:cubicBezTo>
                      <a:pt x="636" y="657"/>
                      <a:pt x="645" y="657"/>
                      <a:pt x="652" y="653"/>
                    </a:cubicBezTo>
                    <a:cubicBezTo>
                      <a:pt x="659" y="649"/>
                      <a:pt x="664" y="641"/>
                      <a:pt x="664" y="633"/>
                    </a:cubicBezTo>
                    <a:cubicBezTo>
                      <a:pt x="664" y="593"/>
                      <a:pt x="664" y="593"/>
                      <a:pt x="664" y="593"/>
                    </a:cubicBezTo>
                    <a:cubicBezTo>
                      <a:pt x="667" y="593"/>
                      <a:pt x="667" y="593"/>
                      <a:pt x="667" y="593"/>
                    </a:cubicBezTo>
                    <a:cubicBezTo>
                      <a:pt x="739" y="662"/>
                      <a:pt x="739" y="662"/>
                      <a:pt x="739" y="662"/>
                    </a:cubicBezTo>
                    <a:cubicBezTo>
                      <a:pt x="744" y="668"/>
                      <a:pt x="752" y="670"/>
                      <a:pt x="759" y="668"/>
                    </a:cubicBezTo>
                    <a:cubicBezTo>
                      <a:pt x="806" y="658"/>
                      <a:pt x="806" y="658"/>
                      <a:pt x="806" y="658"/>
                    </a:cubicBezTo>
                    <a:cubicBezTo>
                      <a:pt x="803" y="706"/>
                      <a:pt x="803" y="706"/>
                      <a:pt x="803" y="706"/>
                    </a:cubicBezTo>
                    <a:cubicBezTo>
                      <a:pt x="793" y="708"/>
                      <a:pt x="793" y="708"/>
                      <a:pt x="793" y="708"/>
                    </a:cubicBezTo>
                    <a:cubicBezTo>
                      <a:pt x="675" y="695"/>
                      <a:pt x="675" y="695"/>
                      <a:pt x="675" y="695"/>
                    </a:cubicBezTo>
                    <a:cubicBezTo>
                      <a:pt x="597" y="689"/>
                      <a:pt x="597" y="689"/>
                      <a:pt x="597" y="689"/>
                    </a:cubicBezTo>
                    <a:cubicBezTo>
                      <a:pt x="586" y="688"/>
                      <a:pt x="577" y="694"/>
                      <a:pt x="573" y="703"/>
                    </a:cubicBezTo>
                    <a:cubicBezTo>
                      <a:pt x="562" y="702"/>
                      <a:pt x="562" y="702"/>
                      <a:pt x="562" y="702"/>
                    </a:cubicBezTo>
                    <a:cubicBezTo>
                      <a:pt x="473" y="685"/>
                      <a:pt x="473" y="685"/>
                      <a:pt x="473" y="685"/>
                    </a:cubicBezTo>
                    <a:cubicBezTo>
                      <a:pt x="455" y="643"/>
                      <a:pt x="455" y="643"/>
                      <a:pt x="455" y="643"/>
                    </a:cubicBezTo>
                    <a:cubicBezTo>
                      <a:pt x="452" y="635"/>
                      <a:pt x="444" y="630"/>
                      <a:pt x="435" y="630"/>
                    </a:cubicBezTo>
                    <a:cubicBezTo>
                      <a:pt x="337" y="626"/>
                      <a:pt x="337" y="626"/>
                      <a:pt x="337" y="626"/>
                    </a:cubicBezTo>
                    <a:cubicBezTo>
                      <a:pt x="333" y="626"/>
                      <a:pt x="329" y="627"/>
                      <a:pt x="326" y="628"/>
                    </a:cubicBezTo>
                    <a:cubicBezTo>
                      <a:pt x="268" y="656"/>
                      <a:pt x="268" y="656"/>
                      <a:pt x="268" y="656"/>
                    </a:cubicBezTo>
                    <a:cubicBezTo>
                      <a:pt x="221" y="656"/>
                      <a:pt x="221" y="656"/>
                      <a:pt x="221" y="656"/>
                    </a:cubicBezTo>
                    <a:cubicBezTo>
                      <a:pt x="215" y="656"/>
                      <a:pt x="209" y="658"/>
                      <a:pt x="204" y="663"/>
                    </a:cubicBezTo>
                    <a:cubicBezTo>
                      <a:pt x="8" y="869"/>
                      <a:pt x="8" y="869"/>
                      <a:pt x="8" y="869"/>
                    </a:cubicBezTo>
                    <a:cubicBezTo>
                      <a:pt x="1" y="876"/>
                      <a:pt x="0" y="886"/>
                      <a:pt x="3" y="894"/>
                    </a:cubicBezTo>
                    <a:cubicBezTo>
                      <a:pt x="26" y="947"/>
                      <a:pt x="26" y="947"/>
                      <a:pt x="26" y="947"/>
                    </a:cubicBezTo>
                    <a:cubicBezTo>
                      <a:pt x="3" y="997"/>
                      <a:pt x="3" y="997"/>
                      <a:pt x="3" y="997"/>
                    </a:cubicBezTo>
                    <a:cubicBezTo>
                      <a:pt x="0" y="1005"/>
                      <a:pt x="1" y="1014"/>
                      <a:pt x="6" y="1021"/>
                    </a:cubicBezTo>
                    <a:cubicBezTo>
                      <a:pt x="141" y="1188"/>
                      <a:pt x="141" y="1188"/>
                      <a:pt x="141" y="1188"/>
                    </a:cubicBezTo>
                    <a:cubicBezTo>
                      <a:pt x="145" y="1194"/>
                      <a:pt x="152" y="1197"/>
                      <a:pt x="159" y="1197"/>
                    </a:cubicBezTo>
                    <a:cubicBezTo>
                      <a:pt x="241" y="1197"/>
                      <a:pt x="241" y="1197"/>
                      <a:pt x="241" y="1197"/>
                    </a:cubicBezTo>
                    <a:cubicBezTo>
                      <a:pt x="243" y="1197"/>
                      <a:pt x="246" y="1196"/>
                      <a:pt x="248" y="1195"/>
                    </a:cubicBezTo>
                    <a:cubicBezTo>
                      <a:pt x="340" y="1164"/>
                      <a:pt x="340" y="1164"/>
                      <a:pt x="340" y="1164"/>
                    </a:cubicBezTo>
                    <a:cubicBezTo>
                      <a:pt x="365" y="1190"/>
                      <a:pt x="365" y="1190"/>
                      <a:pt x="365" y="1190"/>
                    </a:cubicBezTo>
                    <a:cubicBezTo>
                      <a:pt x="370" y="1194"/>
                      <a:pt x="376" y="1197"/>
                      <a:pt x="382" y="1197"/>
                    </a:cubicBezTo>
                    <a:cubicBezTo>
                      <a:pt x="412" y="1197"/>
                      <a:pt x="412" y="1197"/>
                      <a:pt x="412" y="1197"/>
                    </a:cubicBezTo>
                    <a:cubicBezTo>
                      <a:pt x="424" y="1214"/>
                      <a:pt x="424" y="1214"/>
                      <a:pt x="424" y="1214"/>
                    </a:cubicBezTo>
                    <a:cubicBezTo>
                      <a:pt x="424" y="1279"/>
                      <a:pt x="424" y="1279"/>
                      <a:pt x="424" y="1279"/>
                    </a:cubicBezTo>
                    <a:cubicBezTo>
                      <a:pt x="424" y="1283"/>
                      <a:pt x="425" y="1287"/>
                      <a:pt x="427" y="1290"/>
                    </a:cubicBezTo>
                    <a:cubicBezTo>
                      <a:pt x="465" y="1356"/>
                      <a:pt x="465" y="1356"/>
                      <a:pt x="465" y="1356"/>
                    </a:cubicBezTo>
                    <a:cubicBezTo>
                      <a:pt x="492" y="1455"/>
                      <a:pt x="492" y="1455"/>
                      <a:pt x="492" y="1455"/>
                    </a:cubicBezTo>
                    <a:cubicBezTo>
                      <a:pt x="485" y="1475"/>
                      <a:pt x="464" y="1535"/>
                      <a:pt x="462" y="1543"/>
                    </a:cubicBezTo>
                    <a:cubicBezTo>
                      <a:pt x="459" y="1552"/>
                      <a:pt x="456" y="1561"/>
                      <a:pt x="524" y="1733"/>
                    </a:cubicBezTo>
                    <a:cubicBezTo>
                      <a:pt x="524" y="1733"/>
                      <a:pt x="525" y="1734"/>
                      <a:pt x="525" y="1734"/>
                    </a:cubicBezTo>
                    <a:cubicBezTo>
                      <a:pt x="574" y="1839"/>
                      <a:pt x="574" y="1839"/>
                      <a:pt x="574" y="1839"/>
                    </a:cubicBezTo>
                    <a:cubicBezTo>
                      <a:pt x="578" y="1847"/>
                      <a:pt x="586" y="1852"/>
                      <a:pt x="595" y="1852"/>
                    </a:cubicBezTo>
                    <a:cubicBezTo>
                      <a:pt x="683" y="1852"/>
                      <a:pt x="683" y="1852"/>
                      <a:pt x="683" y="1852"/>
                    </a:cubicBezTo>
                    <a:cubicBezTo>
                      <a:pt x="690" y="1852"/>
                      <a:pt x="696" y="1850"/>
                      <a:pt x="700" y="1845"/>
                    </a:cubicBezTo>
                    <a:cubicBezTo>
                      <a:pt x="877" y="1655"/>
                      <a:pt x="877" y="1655"/>
                      <a:pt x="877" y="1655"/>
                    </a:cubicBezTo>
                    <a:cubicBezTo>
                      <a:pt x="884" y="1648"/>
                      <a:pt x="885" y="1637"/>
                      <a:pt x="880" y="1628"/>
                    </a:cubicBezTo>
                    <a:cubicBezTo>
                      <a:pt x="869" y="1608"/>
                      <a:pt x="869" y="1608"/>
                      <a:pt x="869" y="1608"/>
                    </a:cubicBezTo>
                    <a:cubicBezTo>
                      <a:pt x="951" y="1531"/>
                      <a:pt x="951" y="1531"/>
                      <a:pt x="951" y="1531"/>
                    </a:cubicBezTo>
                    <a:cubicBezTo>
                      <a:pt x="957" y="1526"/>
                      <a:pt x="960" y="1518"/>
                      <a:pt x="958" y="1510"/>
                    </a:cubicBezTo>
                    <a:cubicBezTo>
                      <a:pt x="939" y="1410"/>
                      <a:pt x="939" y="1410"/>
                      <a:pt x="939" y="1410"/>
                    </a:cubicBezTo>
                    <a:cubicBezTo>
                      <a:pt x="933" y="1362"/>
                      <a:pt x="933" y="1362"/>
                      <a:pt x="933" y="1362"/>
                    </a:cubicBezTo>
                    <a:cubicBezTo>
                      <a:pt x="990" y="1256"/>
                      <a:pt x="990" y="1256"/>
                      <a:pt x="990" y="1256"/>
                    </a:cubicBezTo>
                    <a:cubicBezTo>
                      <a:pt x="1061" y="1217"/>
                      <a:pt x="1061" y="1217"/>
                      <a:pt x="1061" y="1217"/>
                    </a:cubicBezTo>
                    <a:cubicBezTo>
                      <a:pt x="1066" y="1214"/>
                      <a:pt x="1070" y="1210"/>
                      <a:pt x="1072" y="1204"/>
                    </a:cubicBezTo>
                    <a:cubicBezTo>
                      <a:pt x="1118" y="1073"/>
                      <a:pt x="1118" y="1073"/>
                      <a:pt x="1118" y="1073"/>
                    </a:cubicBezTo>
                    <a:cubicBezTo>
                      <a:pt x="1119" y="1071"/>
                      <a:pt x="1119" y="1068"/>
                      <a:pt x="1119" y="1066"/>
                    </a:cubicBezTo>
                    <a:cubicBezTo>
                      <a:pt x="1119" y="1046"/>
                      <a:pt x="1119" y="1046"/>
                      <a:pt x="1119" y="1046"/>
                    </a:cubicBezTo>
                    <a:cubicBezTo>
                      <a:pt x="1119" y="1039"/>
                      <a:pt x="1116" y="1032"/>
                      <a:pt x="1110" y="1027"/>
                    </a:cubicBezTo>
                    <a:cubicBezTo>
                      <a:pt x="1104" y="1023"/>
                      <a:pt x="1096" y="1022"/>
                      <a:pt x="1090" y="1024"/>
                    </a:cubicBezTo>
                    <a:cubicBezTo>
                      <a:pt x="967" y="1062"/>
                      <a:pt x="967" y="1062"/>
                      <a:pt x="967" y="1062"/>
                    </a:cubicBezTo>
                    <a:cubicBezTo>
                      <a:pt x="819" y="825"/>
                      <a:pt x="819" y="825"/>
                      <a:pt x="819" y="825"/>
                    </a:cubicBezTo>
                    <a:cubicBezTo>
                      <a:pt x="848" y="809"/>
                      <a:pt x="848" y="809"/>
                      <a:pt x="848" y="809"/>
                    </a:cubicBezTo>
                    <a:cubicBezTo>
                      <a:pt x="958" y="1018"/>
                      <a:pt x="958" y="1018"/>
                      <a:pt x="958" y="1018"/>
                    </a:cubicBezTo>
                    <a:cubicBezTo>
                      <a:pt x="963" y="1028"/>
                      <a:pt x="974" y="1032"/>
                      <a:pt x="984" y="1030"/>
                    </a:cubicBezTo>
                    <a:cubicBezTo>
                      <a:pt x="1128" y="993"/>
                      <a:pt x="1128" y="993"/>
                      <a:pt x="1128" y="993"/>
                    </a:cubicBezTo>
                    <a:cubicBezTo>
                      <a:pt x="1133" y="992"/>
                      <a:pt x="1137" y="989"/>
                      <a:pt x="1140" y="986"/>
                    </a:cubicBezTo>
                    <a:cubicBezTo>
                      <a:pt x="1218" y="897"/>
                      <a:pt x="1218" y="897"/>
                      <a:pt x="1218" y="897"/>
                    </a:cubicBezTo>
                    <a:cubicBezTo>
                      <a:pt x="1223" y="892"/>
                      <a:pt x="1225" y="884"/>
                      <a:pt x="1224" y="877"/>
                    </a:cubicBezTo>
                    <a:cubicBezTo>
                      <a:pt x="1222" y="870"/>
                      <a:pt x="1217" y="864"/>
                      <a:pt x="1211" y="861"/>
                    </a:cubicBezTo>
                    <a:cubicBezTo>
                      <a:pt x="1145" y="832"/>
                      <a:pt x="1145" y="832"/>
                      <a:pt x="1145" y="832"/>
                    </a:cubicBezTo>
                    <a:cubicBezTo>
                      <a:pt x="1142" y="830"/>
                      <a:pt x="1138" y="829"/>
                      <a:pt x="1135" y="830"/>
                    </a:cubicBezTo>
                    <a:cubicBezTo>
                      <a:pt x="1081" y="831"/>
                      <a:pt x="1081" y="831"/>
                      <a:pt x="1081" y="831"/>
                    </a:cubicBezTo>
                    <a:cubicBezTo>
                      <a:pt x="1036" y="780"/>
                      <a:pt x="1036" y="780"/>
                      <a:pt x="1036" y="780"/>
                    </a:cubicBezTo>
                    <a:cubicBezTo>
                      <a:pt x="1049" y="772"/>
                      <a:pt x="1049" y="772"/>
                      <a:pt x="1049" y="772"/>
                    </a:cubicBezTo>
                    <a:cubicBezTo>
                      <a:pt x="1194" y="802"/>
                      <a:pt x="1194" y="802"/>
                      <a:pt x="1194" y="802"/>
                    </a:cubicBezTo>
                    <a:cubicBezTo>
                      <a:pt x="1304" y="858"/>
                      <a:pt x="1304" y="858"/>
                      <a:pt x="1304" y="858"/>
                    </a:cubicBezTo>
                    <a:cubicBezTo>
                      <a:pt x="1344" y="909"/>
                      <a:pt x="1344" y="909"/>
                      <a:pt x="1344" y="909"/>
                    </a:cubicBezTo>
                    <a:cubicBezTo>
                      <a:pt x="1344" y="910"/>
                      <a:pt x="1345" y="911"/>
                      <a:pt x="1346" y="912"/>
                    </a:cubicBezTo>
                    <a:cubicBezTo>
                      <a:pt x="1392" y="955"/>
                      <a:pt x="1392" y="955"/>
                      <a:pt x="1392" y="955"/>
                    </a:cubicBezTo>
                    <a:cubicBezTo>
                      <a:pt x="1419" y="1007"/>
                      <a:pt x="1419" y="1007"/>
                      <a:pt x="1419" y="1007"/>
                    </a:cubicBezTo>
                    <a:cubicBezTo>
                      <a:pt x="1448" y="1102"/>
                      <a:pt x="1448" y="1102"/>
                      <a:pt x="1448" y="1102"/>
                    </a:cubicBezTo>
                    <a:cubicBezTo>
                      <a:pt x="1450" y="1107"/>
                      <a:pt x="1453" y="1112"/>
                      <a:pt x="1458" y="1115"/>
                    </a:cubicBezTo>
                    <a:cubicBezTo>
                      <a:pt x="1498" y="1138"/>
                      <a:pt x="1498" y="1138"/>
                      <a:pt x="1498" y="1138"/>
                    </a:cubicBezTo>
                    <a:cubicBezTo>
                      <a:pt x="1504" y="1141"/>
                      <a:pt x="1511" y="1142"/>
                      <a:pt x="1517" y="1140"/>
                    </a:cubicBezTo>
                    <a:cubicBezTo>
                      <a:pt x="1524" y="1137"/>
                      <a:pt x="1529" y="1132"/>
                      <a:pt x="1531" y="1125"/>
                    </a:cubicBezTo>
                    <a:cubicBezTo>
                      <a:pt x="1564" y="1030"/>
                      <a:pt x="1564" y="1030"/>
                      <a:pt x="1564" y="1030"/>
                    </a:cubicBezTo>
                    <a:cubicBezTo>
                      <a:pt x="1566" y="1024"/>
                      <a:pt x="1565" y="1017"/>
                      <a:pt x="1562" y="1012"/>
                    </a:cubicBezTo>
                    <a:cubicBezTo>
                      <a:pt x="1557" y="1002"/>
                      <a:pt x="1557" y="1002"/>
                      <a:pt x="1557" y="1002"/>
                    </a:cubicBezTo>
                    <a:cubicBezTo>
                      <a:pt x="1577" y="990"/>
                      <a:pt x="1577" y="990"/>
                      <a:pt x="1577" y="990"/>
                    </a:cubicBezTo>
                    <a:cubicBezTo>
                      <a:pt x="1579" y="989"/>
                      <a:pt x="1581" y="987"/>
                      <a:pt x="1583" y="985"/>
                    </a:cubicBezTo>
                    <a:cubicBezTo>
                      <a:pt x="1645" y="905"/>
                      <a:pt x="1645" y="905"/>
                      <a:pt x="1645" y="905"/>
                    </a:cubicBezTo>
                    <a:cubicBezTo>
                      <a:pt x="1695" y="905"/>
                      <a:pt x="1695" y="905"/>
                      <a:pt x="1695" y="905"/>
                    </a:cubicBezTo>
                    <a:cubicBezTo>
                      <a:pt x="1715" y="945"/>
                      <a:pt x="1715" y="945"/>
                      <a:pt x="1715" y="945"/>
                    </a:cubicBezTo>
                    <a:cubicBezTo>
                      <a:pt x="1715" y="945"/>
                      <a:pt x="1715" y="946"/>
                      <a:pt x="1716" y="946"/>
                    </a:cubicBezTo>
                    <a:cubicBezTo>
                      <a:pt x="1739" y="985"/>
                      <a:pt x="1739" y="985"/>
                      <a:pt x="1739" y="985"/>
                    </a:cubicBezTo>
                    <a:cubicBezTo>
                      <a:pt x="1744" y="994"/>
                      <a:pt x="1754" y="998"/>
                      <a:pt x="1764" y="996"/>
                    </a:cubicBezTo>
                    <a:cubicBezTo>
                      <a:pt x="1769" y="995"/>
                      <a:pt x="1769" y="995"/>
                      <a:pt x="1769" y="995"/>
                    </a:cubicBezTo>
                    <a:cubicBezTo>
                      <a:pt x="1799" y="1084"/>
                      <a:pt x="1799" y="1084"/>
                      <a:pt x="1799" y="1084"/>
                    </a:cubicBezTo>
                    <a:lnTo>
                      <a:pt x="1812" y="11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4" name="Freeform 37"/>
              <p:cNvSpPr>
                <a:spLocks/>
              </p:cNvSpPr>
              <p:nvPr/>
            </p:nvSpPr>
            <p:spPr bwMode="auto">
              <a:xfrm>
                <a:off x="15411450" y="-6319838"/>
                <a:ext cx="439738" cy="352425"/>
              </a:xfrm>
              <a:custGeom>
                <a:avLst/>
                <a:gdLst>
                  <a:gd name="T0" fmla="*/ 30 w 117"/>
                  <a:gd name="T1" fmla="*/ 92 h 94"/>
                  <a:gd name="T2" fmla="*/ 39 w 117"/>
                  <a:gd name="T3" fmla="*/ 94 h 94"/>
                  <a:gd name="T4" fmla="*/ 48 w 117"/>
                  <a:gd name="T5" fmla="*/ 92 h 94"/>
                  <a:gd name="T6" fmla="*/ 103 w 117"/>
                  <a:gd name="T7" fmla="*/ 69 h 94"/>
                  <a:gd name="T8" fmla="*/ 117 w 117"/>
                  <a:gd name="T9" fmla="*/ 47 h 94"/>
                  <a:gd name="T10" fmla="*/ 101 w 117"/>
                  <a:gd name="T11" fmla="*/ 26 h 94"/>
                  <a:gd name="T12" fmla="*/ 31 w 117"/>
                  <a:gd name="T13" fmla="*/ 3 h 94"/>
                  <a:gd name="T14" fmla="*/ 8 w 117"/>
                  <a:gd name="T15" fmla="*/ 8 h 94"/>
                  <a:gd name="T16" fmla="*/ 2 w 117"/>
                  <a:gd name="T17" fmla="*/ 31 h 94"/>
                  <a:gd name="T18" fmla="*/ 18 w 117"/>
                  <a:gd name="T19" fmla="*/ 78 h 94"/>
                  <a:gd name="T20" fmla="*/ 30 w 117"/>
                  <a:gd name="T21" fmla="*/ 9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94">
                    <a:moveTo>
                      <a:pt x="30" y="92"/>
                    </a:moveTo>
                    <a:cubicBezTo>
                      <a:pt x="33" y="94"/>
                      <a:pt x="36" y="94"/>
                      <a:pt x="39" y="94"/>
                    </a:cubicBezTo>
                    <a:cubicBezTo>
                      <a:pt x="42" y="94"/>
                      <a:pt x="46" y="94"/>
                      <a:pt x="48" y="92"/>
                    </a:cubicBezTo>
                    <a:cubicBezTo>
                      <a:pt x="103" y="69"/>
                      <a:pt x="103" y="69"/>
                      <a:pt x="103" y="69"/>
                    </a:cubicBezTo>
                    <a:cubicBezTo>
                      <a:pt x="112" y="65"/>
                      <a:pt x="117" y="56"/>
                      <a:pt x="117" y="47"/>
                    </a:cubicBezTo>
                    <a:cubicBezTo>
                      <a:pt x="117" y="37"/>
                      <a:pt x="110" y="29"/>
                      <a:pt x="101" y="26"/>
                    </a:cubicBezTo>
                    <a:cubicBezTo>
                      <a:pt x="31" y="3"/>
                      <a:pt x="31" y="3"/>
                      <a:pt x="31" y="3"/>
                    </a:cubicBezTo>
                    <a:cubicBezTo>
                      <a:pt x="23" y="0"/>
                      <a:pt x="14" y="2"/>
                      <a:pt x="8" y="8"/>
                    </a:cubicBezTo>
                    <a:cubicBezTo>
                      <a:pt x="2" y="14"/>
                      <a:pt x="0" y="23"/>
                      <a:pt x="2" y="31"/>
                    </a:cubicBezTo>
                    <a:cubicBezTo>
                      <a:pt x="18" y="78"/>
                      <a:pt x="18" y="78"/>
                      <a:pt x="18" y="78"/>
                    </a:cubicBezTo>
                    <a:cubicBezTo>
                      <a:pt x="20" y="84"/>
                      <a:pt x="24" y="90"/>
                      <a:pt x="30" y="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5" name="Freeform 38"/>
              <p:cNvSpPr>
                <a:spLocks/>
              </p:cNvSpPr>
              <p:nvPr/>
            </p:nvSpPr>
            <p:spPr bwMode="auto">
              <a:xfrm>
                <a:off x="15265400" y="-5956300"/>
                <a:ext cx="604838" cy="649288"/>
              </a:xfrm>
              <a:custGeom>
                <a:avLst/>
                <a:gdLst>
                  <a:gd name="T0" fmla="*/ 161 w 161"/>
                  <a:gd name="T1" fmla="*/ 73 h 173"/>
                  <a:gd name="T2" fmla="*/ 158 w 161"/>
                  <a:gd name="T3" fmla="*/ 62 h 173"/>
                  <a:gd name="T4" fmla="*/ 133 w 161"/>
                  <a:gd name="T5" fmla="*/ 13 h 173"/>
                  <a:gd name="T6" fmla="*/ 113 w 161"/>
                  <a:gd name="T7" fmla="*/ 1 h 173"/>
                  <a:gd name="T8" fmla="*/ 93 w 161"/>
                  <a:gd name="T9" fmla="*/ 12 h 173"/>
                  <a:gd name="T10" fmla="*/ 49 w 161"/>
                  <a:gd name="T11" fmla="*/ 85 h 173"/>
                  <a:gd name="T12" fmla="*/ 7 w 161"/>
                  <a:gd name="T13" fmla="*/ 136 h 173"/>
                  <a:gd name="T14" fmla="*/ 6 w 161"/>
                  <a:gd name="T15" fmla="*/ 163 h 173"/>
                  <a:gd name="T16" fmla="*/ 25 w 161"/>
                  <a:gd name="T17" fmla="*/ 173 h 173"/>
                  <a:gd name="T18" fmla="*/ 32 w 161"/>
                  <a:gd name="T19" fmla="*/ 172 h 173"/>
                  <a:gd name="T20" fmla="*/ 122 w 161"/>
                  <a:gd name="T21" fmla="*/ 142 h 173"/>
                  <a:gd name="T22" fmla="*/ 161 w 161"/>
                  <a:gd name="T23" fmla="*/ 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3">
                    <a:moveTo>
                      <a:pt x="161" y="73"/>
                    </a:moveTo>
                    <a:cubicBezTo>
                      <a:pt x="161" y="69"/>
                      <a:pt x="160" y="66"/>
                      <a:pt x="158" y="62"/>
                    </a:cubicBezTo>
                    <a:cubicBezTo>
                      <a:pt x="133" y="13"/>
                      <a:pt x="133" y="13"/>
                      <a:pt x="133" y="13"/>
                    </a:cubicBezTo>
                    <a:cubicBezTo>
                      <a:pt x="129" y="6"/>
                      <a:pt x="122" y="1"/>
                      <a:pt x="113" y="1"/>
                    </a:cubicBezTo>
                    <a:cubicBezTo>
                      <a:pt x="105" y="0"/>
                      <a:pt x="97" y="5"/>
                      <a:pt x="93" y="12"/>
                    </a:cubicBezTo>
                    <a:cubicBezTo>
                      <a:pt x="49" y="85"/>
                      <a:pt x="49" y="85"/>
                      <a:pt x="49" y="85"/>
                    </a:cubicBezTo>
                    <a:cubicBezTo>
                      <a:pt x="7" y="136"/>
                      <a:pt x="7" y="136"/>
                      <a:pt x="7" y="136"/>
                    </a:cubicBezTo>
                    <a:cubicBezTo>
                      <a:pt x="1" y="144"/>
                      <a:pt x="0" y="155"/>
                      <a:pt x="6" y="163"/>
                    </a:cubicBezTo>
                    <a:cubicBezTo>
                      <a:pt x="10" y="170"/>
                      <a:pt x="18" y="173"/>
                      <a:pt x="25" y="173"/>
                    </a:cubicBezTo>
                    <a:cubicBezTo>
                      <a:pt x="27" y="173"/>
                      <a:pt x="29" y="173"/>
                      <a:pt x="32" y="172"/>
                    </a:cubicBezTo>
                    <a:cubicBezTo>
                      <a:pt x="34" y="172"/>
                      <a:pt x="96" y="153"/>
                      <a:pt x="122" y="142"/>
                    </a:cubicBezTo>
                    <a:cubicBezTo>
                      <a:pt x="159" y="125"/>
                      <a:pt x="161" y="78"/>
                      <a:pt x="161"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6" name="Freeform 39"/>
              <p:cNvSpPr>
                <a:spLocks/>
              </p:cNvSpPr>
              <p:nvPr/>
            </p:nvSpPr>
            <p:spPr bwMode="auto">
              <a:xfrm>
                <a:off x="14252575" y="-3978275"/>
                <a:ext cx="727075" cy="792163"/>
              </a:xfrm>
              <a:custGeom>
                <a:avLst/>
                <a:gdLst>
                  <a:gd name="T0" fmla="*/ 128 w 194"/>
                  <a:gd name="T1" fmla="*/ 211 h 211"/>
                  <a:gd name="T2" fmla="*/ 150 w 194"/>
                  <a:gd name="T3" fmla="*/ 195 h 211"/>
                  <a:gd name="T4" fmla="*/ 192 w 194"/>
                  <a:gd name="T5" fmla="*/ 70 h 211"/>
                  <a:gd name="T6" fmla="*/ 188 w 194"/>
                  <a:gd name="T7" fmla="*/ 49 h 211"/>
                  <a:gd name="T8" fmla="*/ 136 w 194"/>
                  <a:gd name="T9" fmla="*/ 0 h 211"/>
                  <a:gd name="T10" fmla="*/ 82 w 194"/>
                  <a:gd name="T11" fmla="*/ 45 h 211"/>
                  <a:gd name="T12" fmla="*/ 51 w 194"/>
                  <a:gd name="T13" fmla="*/ 82 h 211"/>
                  <a:gd name="T14" fmla="*/ 16 w 194"/>
                  <a:gd name="T15" fmla="*/ 95 h 211"/>
                  <a:gd name="T16" fmla="*/ 3 w 194"/>
                  <a:gd name="T17" fmla="*/ 107 h 211"/>
                  <a:gd name="T18" fmla="*/ 2 w 194"/>
                  <a:gd name="T19" fmla="*/ 125 h 211"/>
                  <a:gd name="T20" fmla="*/ 19 w 194"/>
                  <a:gd name="T21" fmla="*/ 173 h 211"/>
                  <a:gd name="T22" fmla="*/ 35 w 194"/>
                  <a:gd name="T23" fmla="*/ 187 h 211"/>
                  <a:gd name="T24" fmla="*/ 122 w 194"/>
                  <a:gd name="T25" fmla="*/ 210 h 211"/>
                  <a:gd name="T26" fmla="*/ 128 w 194"/>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4" h="211">
                    <a:moveTo>
                      <a:pt x="128" y="211"/>
                    </a:moveTo>
                    <a:cubicBezTo>
                      <a:pt x="138" y="211"/>
                      <a:pt x="147" y="205"/>
                      <a:pt x="150" y="195"/>
                    </a:cubicBezTo>
                    <a:cubicBezTo>
                      <a:pt x="192" y="70"/>
                      <a:pt x="192" y="70"/>
                      <a:pt x="192" y="70"/>
                    </a:cubicBezTo>
                    <a:cubicBezTo>
                      <a:pt x="194" y="63"/>
                      <a:pt x="193" y="55"/>
                      <a:pt x="188" y="49"/>
                    </a:cubicBezTo>
                    <a:cubicBezTo>
                      <a:pt x="155" y="3"/>
                      <a:pt x="147" y="0"/>
                      <a:pt x="136" y="0"/>
                    </a:cubicBezTo>
                    <a:cubicBezTo>
                      <a:pt x="124" y="0"/>
                      <a:pt x="119" y="4"/>
                      <a:pt x="82" y="45"/>
                    </a:cubicBezTo>
                    <a:cubicBezTo>
                      <a:pt x="74" y="55"/>
                      <a:pt x="58" y="73"/>
                      <a:pt x="51" y="82"/>
                    </a:cubicBezTo>
                    <a:cubicBezTo>
                      <a:pt x="44" y="85"/>
                      <a:pt x="29" y="91"/>
                      <a:pt x="16" y="95"/>
                    </a:cubicBezTo>
                    <a:cubicBezTo>
                      <a:pt x="10" y="98"/>
                      <a:pt x="5" y="102"/>
                      <a:pt x="3" y="107"/>
                    </a:cubicBezTo>
                    <a:cubicBezTo>
                      <a:pt x="0" y="113"/>
                      <a:pt x="0" y="119"/>
                      <a:pt x="2" y="125"/>
                    </a:cubicBezTo>
                    <a:cubicBezTo>
                      <a:pt x="19" y="173"/>
                      <a:pt x="19" y="173"/>
                      <a:pt x="19" y="173"/>
                    </a:cubicBezTo>
                    <a:cubicBezTo>
                      <a:pt x="22" y="180"/>
                      <a:pt x="28" y="185"/>
                      <a:pt x="35" y="187"/>
                    </a:cubicBezTo>
                    <a:cubicBezTo>
                      <a:pt x="122" y="210"/>
                      <a:pt x="122" y="210"/>
                      <a:pt x="122" y="210"/>
                    </a:cubicBezTo>
                    <a:cubicBezTo>
                      <a:pt x="124" y="211"/>
                      <a:pt x="126" y="211"/>
                      <a:pt x="128" y="2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7" name="Freeform 40"/>
              <p:cNvSpPr>
                <a:spLocks/>
              </p:cNvSpPr>
              <p:nvPr/>
            </p:nvSpPr>
            <p:spPr bwMode="auto">
              <a:xfrm>
                <a:off x="14101763" y="-3140075"/>
                <a:ext cx="544513" cy="266700"/>
              </a:xfrm>
              <a:custGeom>
                <a:avLst/>
                <a:gdLst>
                  <a:gd name="T0" fmla="*/ 30 w 145"/>
                  <a:gd name="T1" fmla="*/ 3 h 71"/>
                  <a:gd name="T2" fmla="*/ 3 w 145"/>
                  <a:gd name="T3" fmla="*/ 20 h 71"/>
                  <a:gd name="T4" fmla="*/ 20 w 145"/>
                  <a:gd name="T5" fmla="*/ 48 h 71"/>
                  <a:gd name="T6" fmla="*/ 115 w 145"/>
                  <a:gd name="T7" fmla="*/ 71 h 71"/>
                  <a:gd name="T8" fmla="*/ 120 w 145"/>
                  <a:gd name="T9" fmla="*/ 71 h 71"/>
                  <a:gd name="T10" fmla="*/ 142 w 145"/>
                  <a:gd name="T11" fmla="*/ 54 h 71"/>
                  <a:gd name="T12" fmla="*/ 126 w 145"/>
                  <a:gd name="T13" fmla="*/ 26 h 71"/>
                  <a:gd name="T14" fmla="*/ 30 w 145"/>
                  <a:gd name="T15" fmla="*/ 3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71">
                    <a:moveTo>
                      <a:pt x="30" y="3"/>
                    </a:moveTo>
                    <a:cubicBezTo>
                      <a:pt x="18" y="0"/>
                      <a:pt x="6" y="8"/>
                      <a:pt x="3" y="20"/>
                    </a:cubicBezTo>
                    <a:cubicBezTo>
                      <a:pt x="0" y="32"/>
                      <a:pt x="7" y="45"/>
                      <a:pt x="20" y="48"/>
                    </a:cubicBezTo>
                    <a:cubicBezTo>
                      <a:pt x="115" y="71"/>
                      <a:pt x="115" y="71"/>
                      <a:pt x="115" y="71"/>
                    </a:cubicBezTo>
                    <a:cubicBezTo>
                      <a:pt x="117" y="71"/>
                      <a:pt x="118" y="71"/>
                      <a:pt x="120" y="71"/>
                    </a:cubicBezTo>
                    <a:cubicBezTo>
                      <a:pt x="131" y="71"/>
                      <a:pt x="140" y="64"/>
                      <a:pt x="142" y="54"/>
                    </a:cubicBezTo>
                    <a:cubicBezTo>
                      <a:pt x="145" y="41"/>
                      <a:pt x="138" y="29"/>
                      <a:pt x="126" y="26"/>
                    </a:cubicBezTo>
                    <a:lnTo>
                      <a:pt x="3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8" name="Freeform 41"/>
              <p:cNvSpPr>
                <a:spLocks/>
              </p:cNvSpPr>
              <p:nvPr/>
            </p:nvSpPr>
            <p:spPr bwMode="auto">
              <a:xfrm>
                <a:off x="14643100" y="-3019425"/>
                <a:ext cx="303213" cy="195263"/>
              </a:xfrm>
              <a:custGeom>
                <a:avLst/>
                <a:gdLst>
                  <a:gd name="T0" fmla="*/ 21 w 81"/>
                  <a:gd name="T1" fmla="*/ 48 h 52"/>
                  <a:gd name="T2" fmla="*/ 54 w 81"/>
                  <a:gd name="T3" fmla="*/ 52 h 52"/>
                  <a:gd name="T4" fmla="*/ 57 w 81"/>
                  <a:gd name="T5" fmla="*/ 52 h 52"/>
                  <a:gd name="T6" fmla="*/ 80 w 81"/>
                  <a:gd name="T7" fmla="*/ 32 h 52"/>
                  <a:gd name="T8" fmla="*/ 60 w 81"/>
                  <a:gd name="T9" fmla="*/ 7 h 52"/>
                  <a:gd name="T10" fmla="*/ 27 w 81"/>
                  <a:gd name="T11" fmla="*/ 2 h 52"/>
                  <a:gd name="T12" fmla="*/ 1 w 81"/>
                  <a:gd name="T13" fmla="*/ 22 h 52"/>
                  <a:gd name="T14" fmla="*/ 21 w 81"/>
                  <a:gd name="T15" fmla="*/ 48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2">
                    <a:moveTo>
                      <a:pt x="21" y="48"/>
                    </a:moveTo>
                    <a:cubicBezTo>
                      <a:pt x="54" y="52"/>
                      <a:pt x="54" y="52"/>
                      <a:pt x="54" y="52"/>
                    </a:cubicBezTo>
                    <a:cubicBezTo>
                      <a:pt x="55" y="52"/>
                      <a:pt x="56" y="52"/>
                      <a:pt x="57" y="52"/>
                    </a:cubicBezTo>
                    <a:cubicBezTo>
                      <a:pt x="68" y="52"/>
                      <a:pt x="78" y="44"/>
                      <a:pt x="80" y="32"/>
                    </a:cubicBezTo>
                    <a:cubicBezTo>
                      <a:pt x="81" y="20"/>
                      <a:pt x="73" y="8"/>
                      <a:pt x="60" y="7"/>
                    </a:cubicBezTo>
                    <a:cubicBezTo>
                      <a:pt x="27" y="2"/>
                      <a:pt x="27" y="2"/>
                      <a:pt x="27" y="2"/>
                    </a:cubicBezTo>
                    <a:cubicBezTo>
                      <a:pt x="15" y="0"/>
                      <a:pt x="3" y="9"/>
                      <a:pt x="1" y="22"/>
                    </a:cubicBezTo>
                    <a:cubicBezTo>
                      <a:pt x="0" y="34"/>
                      <a:pt x="9" y="46"/>
                      <a:pt x="21" y="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59" name="Freeform 42"/>
              <p:cNvSpPr>
                <a:spLocks/>
              </p:cNvSpPr>
              <p:nvPr/>
            </p:nvSpPr>
            <p:spPr bwMode="auto">
              <a:xfrm>
                <a:off x="15722600" y="-4083050"/>
                <a:ext cx="169863" cy="222250"/>
              </a:xfrm>
              <a:custGeom>
                <a:avLst/>
                <a:gdLst>
                  <a:gd name="T0" fmla="*/ 0 w 45"/>
                  <a:gd name="T1" fmla="*/ 23 h 59"/>
                  <a:gd name="T2" fmla="*/ 0 w 45"/>
                  <a:gd name="T3" fmla="*/ 36 h 59"/>
                  <a:gd name="T4" fmla="*/ 23 w 45"/>
                  <a:gd name="T5" fmla="*/ 59 h 59"/>
                  <a:gd name="T6" fmla="*/ 45 w 45"/>
                  <a:gd name="T7" fmla="*/ 36 h 59"/>
                  <a:gd name="T8" fmla="*/ 45 w 45"/>
                  <a:gd name="T9" fmla="*/ 23 h 59"/>
                  <a:gd name="T10" fmla="*/ 23 w 45"/>
                  <a:gd name="T11" fmla="*/ 0 h 59"/>
                  <a:gd name="T12" fmla="*/ 0 w 45"/>
                  <a:gd name="T13" fmla="*/ 23 h 59"/>
                </a:gdLst>
                <a:ahLst/>
                <a:cxnLst>
                  <a:cxn ang="0">
                    <a:pos x="T0" y="T1"/>
                  </a:cxn>
                  <a:cxn ang="0">
                    <a:pos x="T2" y="T3"/>
                  </a:cxn>
                  <a:cxn ang="0">
                    <a:pos x="T4" y="T5"/>
                  </a:cxn>
                  <a:cxn ang="0">
                    <a:pos x="T6" y="T7"/>
                  </a:cxn>
                  <a:cxn ang="0">
                    <a:pos x="T8" y="T9"/>
                  </a:cxn>
                  <a:cxn ang="0">
                    <a:pos x="T10" y="T11"/>
                  </a:cxn>
                  <a:cxn ang="0">
                    <a:pos x="T12" y="T13"/>
                  </a:cxn>
                </a:cxnLst>
                <a:rect l="0" t="0" r="r" b="b"/>
                <a:pathLst>
                  <a:path w="45" h="59">
                    <a:moveTo>
                      <a:pt x="0" y="23"/>
                    </a:moveTo>
                    <a:cubicBezTo>
                      <a:pt x="0" y="36"/>
                      <a:pt x="0" y="36"/>
                      <a:pt x="0" y="36"/>
                    </a:cubicBezTo>
                    <a:cubicBezTo>
                      <a:pt x="0" y="49"/>
                      <a:pt x="10" y="59"/>
                      <a:pt x="23" y="59"/>
                    </a:cubicBezTo>
                    <a:cubicBezTo>
                      <a:pt x="35" y="59"/>
                      <a:pt x="45" y="49"/>
                      <a:pt x="45" y="36"/>
                    </a:cubicBezTo>
                    <a:cubicBezTo>
                      <a:pt x="45" y="23"/>
                      <a:pt x="45" y="23"/>
                      <a:pt x="45" y="23"/>
                    </a:cubicBezTo>
                    <a:cubicBezTo>
                      <a:pt x="45" y="10"/>
                      <a:pt x="35" y="0"/>
                      <a:pt x="23" y="0"/>
                    </a:cubicBezTo>
                    <a:cubicBezTo>
                      <a:pt x="10" y="0"/>
                      <a:pt x="0" y="10"/>
                      <a:pt x="0"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0" name="Freeform 43"/>
              <p:cNvSpPr>
                <a:spLocks/>
              </p:cNvSpPr>
              <p:nvPr/>
            </p:nvSpPr>
            <p:spPr bwMode="auto">
              <a:xfrm>
                <a:off x="15020925" y="-4157663"/>
                <a:ext cx="371475" cy="428625"/>
              </a:xfrm>
              <a:custGeom>
                <a:avLst/>
                <a:gdLst>
                  <a:gd name="T0" fmla="*/ 96 w 99"/>
                  <a:gd name="T1" fmla="*/ 31 h 114"/>
                  <a:gd name="T2" fmla="*/ 88 w 99"/>
                  <a:gd name="T3" fmla="*/ 6 h 114"/>
                  <a:gd name="T4" fmla="*/ 61 w 99"/>
                  <a:gd name="T5" fmla="*/ 5 h 114"/>
                  <a:gd name="T6" fmla="*/ 11 w 99"/>
                  <a:gd name="T7" fmla="*/ 38 h 114"/>
                  <a:gd name="T8" fmla="*/ 1 w 99"/>
                  <a:gd name="T9" fmla="*/ 55 h 114"/>
                  <a:gd name="T10" fmla="*/ 7 w 99"/>
                  <a:gd name="T11" fmla="*/ 73 h 114"/>
                  <a:gd name="T12" fmla="*/ 37 w 99"/>
                  <a:gd name="T13" fmla="*/ 106 h 114"/>
                  <a:gd name="T14" fmla="*/ 54 w 99"/>
                  <a:gd name="T15" fmla="*/ 114 h 114"/>
                  <a:gd name="T16" fmla="*/ 60 w 99"/>
                  <a:gd name="T17" fmla="*/ 113 h 114"/>
                  <a:gd name="T18" fmla="*/ 76 w 99"/>
                  <a:gd name="T19" fmla="*/ 97 h 114"/>
                  <a:gd name="T20" fmla="*/ 96 w 99"/>
                  <a:gd name="T21"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96" y="31"/>
                    </a:moveTo>
                    <a:cubicBezTo>
                      <a:pt x="99" y="21"/>
                      <a:pt x="95" y="11"/>
                      <a:pt x="88" y="6"/>
                    </a:cubicBezTo>
                    <a:cubicBezTo>
                      <a:pt x="80" y="0"/>
                      <a:pt x="69" y="0"/>
                      <a:pt x="61" y="5"/>
                    </a:cubicBezTo>
                    <a:cubicBezTo>
                      <a:pt x="11" y="38"/>
                      <a:pt x="11" y="38"/>
                      <a:pt x="11" y="38"/>
                    </a:cubicBezTo>
                    <a:cubicBezTo>
                      <a:pt x="5" y="42"/>
                      <a:pt x="2" y="48"/>
                      <a:pt x="1" y="55"/>
                    </a:cubicBezTo>
                    <a:cubicBezTo>
                      <a:pt x="0" y="61"/>
                      <a:pt x="2" y="68"/>
                      <a:pt x="7" y="73"/>
                    </a:cubicBezTo>
                    <a:cubicBezTo>
                      <a:pt x="37" y="106"/>
                      <a:pt x="37" y="106"/>
                      <a:pt x="37" y="106"/>
                    </a:cubicBezTo>
                    <a:cubicBezTo>
                      <a:pt x="42" y="111"/>
                      <a:pt x="48" y="114"/>
                      <a:pt x="54" y="114"/>
                    </a:cubicBezTo>
                    <a:cubicBezTo>
                      <a:pt x="56" y="114"/>
                      <a:pt x="58" y="114"/>
                      <a:pt x="60" y="113"/>
                    </a:cubicBezTo>
                    <a:cubicBezTo>
                      <a:pt x="68" y="111"/>
                      <a:pt x="74" y="105"/>
                      <a:pt x="76" y="97"/>
                    </a:cubicBezTo>
                    <a:lnTo>
                      <a:pt x="96" y="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1" name="Freeform 44"/>
              <p:cNvSpPr>
                <a:spLocks/>
              </p:cNvSpPr>
              <p:nvPr/>
            </p:nvSpPr>
            <p:spPr bwMode="auto">
              <a:xfrm>
                <a:off x="14792325" y="-4229100"/>
                <a:ext cx="263525" cy="269875"/>
              </a:xfrm>
              <a:custGeom>
                <a:avLst/>
                <a:gdLst>
                  <a:gd name="T0" fmla="*/ 11 w 70"/>
                  <a:gd name="T1" fmla="*/ 66 h 72"/>
                  <a:gd name="T2" fmla="*/ 26 w 70"/>
                  <a:gd name="T3" fmla="*/ 72 h 72"/>
                  <a:gd name="T4" fmla="*/ 44 w 70"/>
                  <a:gd name="T5" fmla="*/ 63 h 72"/>
                  <a:gd name="T6" fmla="*/ 62 w 70"/>
                  <a:gd name="T7" fmla="*/ 40 h 72"/>
                  <a:gd name="T8" fmla="*/ 59 w 70"/>
                  <a:gd name="T9" fmla="*/ 8 h 72"/>
                  <a:gd name="T10" fmla="*/ 26 w 70"/>
                  <a:gd name="T11" fmla="*/ 11 h 72"/>
                  <a:gd name="T12" fmla="*/ 8 w 70"/>
                  <a:gd name="T13" fmla="*/ 34 h 72"/>
                  <a:gd name="T14" fmla="*/ 11 w 70"/>
                  <a:gd name="T15" fmla="*/ 66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2">
                    <a:moveTo>
                      <a:pt x="11" y="66"/>
                    </a:moveTo>
                    <a:cubicBezTo>
                      <a:pt x="16" y="70"/>
                      <a:pt x="21" y="72"/>
                      <a:pt x="26" y="72"/>
                    </a:cubicBezTo>
                    <a:cubicBezTo>
                      <a:pt x="32" y="72"/>
                      <a:pt x="39" y="69"/>
                      <a:pt x="44" y="63"/>
                    </a:cubicBezTo>
                    <a:cubicBezTo>
                      <a:pt x="62" y="40"/>
                      <a:pt x="62" y="40"/>
                      <a:pt x="62" y="40"/>
                    </a:cubicBezTo>
                    <a:cubicBezTo>
                      <a:pt x="70" y="30"/>
                      <a:pt x="69" y="16"/>
                      <a:pt x="59" y="8"/>
                    </a:cubicBezTo>
                    <a:cubicBezTo>
                      <a:pt x="49" y="0"/>
                      <a:pt x="34" y="1"/>
                      <a:pt x="26" y="11"/>
                    </a:cubicBezTo>
                    <a:cubicBezTo>
                      <a:pt x="8" y="34"/>
                      <a:pt x="8" y="34"/>
                      <a:pt x="8" y="34"/>
                    </a:cubicBezTo>
                    <a:cubicBezTo>
                      <a:pt x="0" y="44"/>
                      <a:pt x="1" y="59"/>
                      <a:pt x="11"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2" name="Freeform 45"/>
              <p:cNvSpPr>
                <a:spLocks noEditPoints="1"/>
              </p:cNvSpPr>
              <p:nvPr/>
            </p:nvSpPr>
            <p:spPr bwMode="auto">
              <a:xfrm>
                <a:off x="14871700" y="-4795838"/>
                <a:ext cx="446088" cy="555625"/>
              </a:xfrm>
              <a:custGeom>
                <a:avLst/>
                <a:gdLst>
                  <a:gd name="T0" fmla="*/ 22 w 119"/>
                  <a:gd name="T1" fmla="*/ 143 h 148"/>
                  <a:gd name="T2" fmla="*/ 94 w 119"/>
                  <a:gd name="T3" fmla="*/ 148 h 148"/>
                  <a:gd name="T4" fmla="*/ 95 w 119"/>
                  <a:gd name="T5" fmla="*/ 148 h 148"/>
                  <a:gd name="T6" fmla="*/ 96 w 119"/>
                  <a:gd name="T7" fmla="*/ 148 h 148"/>
                  <a:gd name="T8" fmla="*/ 119 w 119"/>
                  <a:gd name="T9" fmla="*/ 125 h 148"/>
                  <a:gd name="T10" fmla="*/ 114 w 119"/>
                  <a:gd name="T11" fmla="*/ 111 h 148"/>
                  <a:gd name="T12" fmla="*/ 52 w 119"/>
                  <a:gd name="T13" fmla="*/ 12 h 148"/>
                  <a:gd name="T14" fmla="*/ 27 w 119"/>
                  <a:gd name="T15" fmla="*/ 2 h 148"/>
                  <a:gd name="T16" fmla="*/ 9 w 119"/>
                  <a:gd name="T17" fmla="*/ 22 h 148"/>
                  <a:gd name="T18" fmla="*/ 0 w 119"/>
                  <a:gd name="T19" fmla="*/ 118 h 148"/>
                  <a:gd name="T20" fmla="*/ 6 w 119"/>
                  <a:gd name="T21" fmla="*/ 135 h 148"/>
                  <a:gd name="T22" fmla="*/ 22 w 119"/>
                  <a:gd name="T23" fmla="*/ 143 h 148"/>
                  <a:gd name="T24" fmla="*/ 49 w 119"/>
                  <a:gd name="T25" fmla="*/ 94 h 148"/>
                  <a:gd name="T26" fmla="*/ 52 w 119"/>
                  <a:gd name="T27" fmla="*/ 99 h 148"/>
                  <a:gd name="T28" fmla="*/ 48 w 119"/>
                  <a:gd name="T29" fmla="*/ 99 h 148"/>
                  <a:gd name="T30" fmla="*/ 49 w 119"/>
                  <a:gd name="T31" fmla="*/ 9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8">
                    <a:moveTo>
                      <a:pt x="22" y="143"/>
                    </a:moveTo>
                    <a:cubicBezTo>
                      <a:pt x="94" y="148"/>
                      <a:pt x="94" y="148"/>
                      <a:pt x="94" y="148"/>
                    </a:cubicBezTo>
                    <a:cubicBezTo>
                      <a:pt x="94" y="148"/>
                      <a:pt x="95" y="148"/>
                      <a:pt x="95" y="148"/>
                    </a:cubicBezTo>
                    <a:cubicBezTo>
                      <a:pt x="96" y="148"/>
                      <a:pt x="96" y="148"/>
                      <a:pt x="96" y="148"/>
                    </a:cubicBezTo>
                    <a:cubicBezTo>
                      <a:pt x="108" y="148"/>
                      <a:pt x="119" y="138"/>
                      <a:pt x="119" y="125"/>
                    </a:cubicBezTo>
                    <a:cubicBezTo>
                      <a:pt x="119" y="120"/>
                      <a:pt x="117" y="115"/>
                      <a:pt x="114" y="111"/>
                    </a:cubicBezTo>
                    <a:cubicBezTo>
                      <a:pt x="52" y="12"/>
                      <a:pt x="52" y="12"/>
                      <a:pt x="52" y="12"/>
                    </a:cubicBezTo>
                    <a:cubicBezTo>
                      <a:pt x="46" y="4"/>
                      <a:pt x="36" y="0"/>
                      <a:pt x="27" y="2"/>
                    </a:cubicBezTo>
                    <a:cubicBezTo>
                      <a:pt x="17" y="4"/>
                      <a:pt x="10" y="12"/>
                      <a:pt x="9" y="22"/>
                    </a:cubicBezTo>
                    <a:cubicBezTo>
                      <a:pt x="0" y="118"/>
                      <a:pt x="0" y="118"/>
                      <a:pt x="0" y="118"/>
                    </a:cubicBezTo>
                    <a:cubicBezTo>
                      <a:pt x="0" y="124"/>
                      <a:pt x="2" y="130"/>
                      <a:pt x="6" y="135"/>
                    </a:cubicBezTo>
                    <a:cubicBezTo>
                      <a:pt x="10" y="139"/>
                      <a:pt x="15" y="142"/>
                      <a:pt x="22" y="143"/>
                    </a:cubicBezTo>
                    <a:close/>
                    <a:moveTo>
                      <a:pt x="49" y="94"/>
                    </a:moveTo>
                    <a:cubicBezTo>
                      <a:pt x="52" y="99"/>
                      <a:pt x="52" y="99"/>
                      <a:pt x="52" y="99"/>
                    </a:cubicBezTo>
                    <a:cubicBezTo>
                      <a:pt x="48" y="99"/>
                      <a:pt x="48" y="99"/>
                      <a:pt x="48" y="99"/>
                    </a:cubicBezTo>
                    <a:lnTo>
                      <a:pt x="49" y="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3" name="Freeform 46"/>
              <p:cNvSpPr>
                <a:spLocks/>
              </p:cNvSpPr>
              <p:nvPr/>
            </p:nvSpPr>
            <p:spPr bwMode="auto">
              <a:xfrm>
                <a:off x="14860588" y="-3571875"/>
                <a:ext cx="431800" cy="454025"/>
              </a:xfrm>
              <a:custGeom>
                <a:avLst/>
                <a:gdLst>
                  <a:gd name="T0" fmla="*/ 48 w 115"/>
                  <a:gd name="T1" fmla="*/ 106 h 121"/>
                  <a:gd name="T2" fmla="*/ 72 w 115"/>
                  <a:gd name="T3" fmla="*/ 46 h 121"/>
                  <a:gd name="T4" fmla="*/ 92 w 115"/>
                  <a:gd name="T5" fmla="*/ 46 h 121"/>
                  <a:gd name="T6" fmla="*/ 115 w 115"/>
                  <a:gd name="T7" fmla="*/ 23 h 121"/>
                  <a:gd name="T8" fmla="*/ 92 w 115"/>
                  <a:gd name="T9" fmla="*/ 0 h 121"/>
                  <a:gd name="T10" fmla="*/ 57 w 115"/>
                  <a:gd name="T11" fmla="*/ 0 h 121"/>
                  <a:gd name="T12" fmla="*/ 36 w 115"/>
                  <a:gd name="T13" fmla="*/ 15 h 121"/>
                  <a:gd name="T14" fmla="*/ 5 w 115"/>
                  <a:gd name="T15" fmla="*/ 89 h 121"/>
                  <a:gd name="T16" fmla="*/ 18 w 115"/>
                  <a:gd name="T17" fmla="*/ 119 h 121"/>
                  <a:gd name="T18" fmla="*/ 26 w 115"/>
                  <a:gd name="T19" fmla="*/ 121 h 121"/>
                  <a:gd name="T20" fmla="*/ 48 w 115"/>
                  <a:gd name="T21" fmla="*/ 10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121">
                    <a:moveTo>
                      <a:pt x="48" y="106"/>
                    </a:moveTo>
                    <a:cubicBezTo>
                      <a:pt x="72" y="46"/>
                      <a:pt x="72" y="46"/>
                      <a:pt x="72" y="46"/>
                    </a:cubicBezTo>
                    <a:cubicBezTo>
                      <a:pt x="92" y="46"/>
                      <a:pt x="92" y="46"/>
                      <a:pt x="92" y="46"/>
                    </a:cubicBezTo>
                    <a:cubicBezTo>
                      <a:pt x="105" y="46"/>
                      <a:pt x="115" y="36"/>
                      <a:pt x="115" y="23"/>
                    </a:cubicBezTo>
                    <a:cubicBezTo>
                      <a:pt x="115" y="11"/>
                      <a:pt x="105" y="0"/>
                      <a:pt x="92" y="0"/>
                    </a:cubicBezTo>
                    <a:cubicBezTo>
                      <a:pt x="57" y="0"/>
                      <a:pt x="57" y="0"/>
                      <a:pt x="57" y="0"/>
                    </a:cubicBezTo>
                    <a:cubicBezTo>
                      <a:pt x="48" y="0"/>
                      <a:pt x="39" y="6"/>
                      <a:pt x="36" y="15"/>
                    </a:cubicBezTo>
                    <a:cubicBezTo>
                      <a:pt x="5" y="89"/>
                      <a:pt x="5" y="89"/>
                      <a:pt x="5" y="89"/>
                    </a:cubicBezTo>
                    <a:cubicBezTo>
                      <a:pt x="0" y="101"/>
                      <a:pt x="6" y="114"/>
                      <a:pt x="18" y="119"/>
                    </a:cubicBezTo>
                    <a:cubicBezTo>
                      <a:pt x="20" y="120"/>
                      <a:pt x="23" y="121"/>
                      <a:pt x="26" y="121"/>
                    </a:cubicBezTo>
                    <a:cubicBezTo>
                      <a:pt x="35" y="121"/>
                      <a:pt x="44" y="115"/>
                      <a:pt x="48"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4" name="Freeform 47"/>
              <p:cNvSpPr>
                <a:spLocks/>
              </p:cNvSpPr>
              <p:nvPr/>
            </p:nvSpPr>
            <p:spPr bwMode="auto">
              <a:xfrm>
                <a:off x="15422563" y="-3489325"/>
                <a:ext cx="1208088" cy="825500"/>
              </a:xfrm>
              <a:custGeom>
                <a:avLst/>
                <a:gdLst>
                  <a:gd name="T0" fmla="*/ 92 w 322"/>
                  <a:gd name="T1" fmla="*/ 150 h 220"/>
                  <a:gd name="T2" fmla="*/ 156 w 322"/>
                  <a:gd name="T3" fmla="*/ 181 h 220"/>
                  <a:gd name="T4" fmla="*/ 182 w 322"/>
                  <a:gd name="T5" fmla="*/ 177 h 220"/>
                  <a:gd name="T6" fmla="*/ 200 w 322"/>
                  <a:gd name="T7" fmla="*/ 159 h 220"/>
                  <a:gd name="T8" fmla="*/ 284 w 322"/>
                  <a:gd name="T9" fmla="*/ 216 h 220"/>
                  <a:gd name="T10" fmla="*/ 297 w 322"/>
                  <a:gd name="T11" fmla="*/ 220 h 220"/>
                  <a:gd name="T12" fmla="*/ 313 w 322"/>
                  <a:gd name="T13" fmla="*/ 213 h 220"/>
                  <a:gd name="T14" fmla="*/ 315 w 322"/>
                  <a:gd name="T15" fmla="*/ 183 h 220"/>
                  <a:gd name="T16" fmla="*/ 247 w 322"/>
                  <a:gd name="T17" fmla="*/ 93 h 220"/>
                  <a:gd name="T18" fmla="*/ 239 w 322"/>
                  <a:gd name="T19" fmla="*/ 87 h 220"/>
                  <a:gd name="T20" fmla="*/ 115 w 322"/>
                  <a:gd name="T21" fmla="*/ 23 h 220"/>
                  <a:gd name="T22" fmla="*/ 95 w 322"/>
                  <a:gd name="T23" fmla="*/ 23 h 220"/>
                  <a:gd name="T24" fmla="*/ 71 w 322"/>
                  <a:gd name="T25" fmla="*/ 34 h 220"/>
                  <a:gd name="T26" fmla="*/ 53 w 322"/>
                  <a:gd name="T27" fmla="*/ 10 h 220"/>
                  <a:gd name="T28" fmla="*/ 29 w 322"/>
                  <a:gd name="T29" fmla="*/ 2 h 220"/>
                  <a:gd name="T30" fmla="*/ 12 w 322"/>
                  <a:gd name="T31" fmla="*/ 19 h 220"/>
                  <a:gd name="T32" fmla="*/ 2 w 322"/>
                  <a:gd name="T33" fmla="*/ 65 h 220"/>
                  <a:gd name="T34" fmla="*/ 16 w 322"/>
                  <a:gd name="T35" fmla="*/ 91 h 220"/>
                  <a:gd name="T36" fmla="*/ 81 w 322"/>
                  <a:gd name="T37" fmla="*/ 118 h 220"/>
                  <a:gd name="T38" fmla="*/ 80 w 322"/>
                  <a:gd name="T39" fmla="*/ 125 h 220"/>
                  <a:gd name="T40" fmla="*/ 92 w 322"/>
                  <a:gd name="T41" fmla="*/ 15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2" h="220">
                    <a:moveTo>
                      <a:pt x="92" y="150"/>
                    </a:moveTo>
                    <a:cubicBezTo>
                      <a:pt x="156" y="181"/>
                      <a:pt x="156" y="181"/>
                      <a:pt x="156" y="181"/>
                    </a:cubicBezTo>
                    <a:cubicBezTo>
                      <a:pt x="164" y="186"/>
                      <a:pt x="175" y="184"/>
                      <a:pt x="182" y="177"/>
                    </a:cubicBezTo>
                    <a:cubicBezTo>
                      <a:pt x="200" y="159"/>
                      <a:pt x="200" y="159"/>
                      <a:pt x="200" y="159"/>
                    </a:cubicBezTo>
                    <a:cubicBezTo>
                      <a:pt x="284" y="216"/>
                      <a:pt x="284" y="216"/>
                      <a:pt x="284" y="216"/>
                    </a:cubicBezTo>
                    <a:cubicBezTo>
                      <a:pt x="288" y="219"/>
                      <a:pt x="292" y="220"/>
                      <a:pt x="297" y="220"/>
                    </a:cubicBezTo>
                    <a:cubicBezTo>
                      <a:pt x="303" y="220"/>
                      <a:pt x="309" y="217"/>
                      <a:pt x="313" y="213"/>
                    </a:cubicBezTo>
                    <a:cubicBezTo>
                      <a:pt x="321" y="205"/>
                      <a:pt x="322" y="192"/>
                      <a:pt x="315" y="183"/>
                    </a:cubicBezTo>
                    <a:cubicBezTo>
                      <a:pt x="247" y="93"/>
                      <a:pt x="247" y="93"/>
                      <a:pt x="247" y="93"/>
                    </a:cubicBezTo>
                    <a:cubicBezTo>
                      <a:pt x="245" y="91"/>
                      <a:pt x="243" y="88"/>
                      <a:pt x="239" y="87"/>
                    </a:cubicBezTo>
                    <a:cubicBezTo>
                      <a:pt x="115" y="23"/>
                      <a:pt x="115" y="23"/>
                      <a:pt x="115" y="23"/>
                    </a:cubicBezTo>
                    <a:cubicBezTo>
                      <a:pt x="109" y="20"/>
                      <a:pt x="101" y="20"/>
                      <a:pt x="95" y="23"/>
                    </a:cubicBezTo>
                    <a:cubicBezTo>
                      <a:pt x="71" y="34"/>
                      <a:pt x="71" y="34"/>
                      <a:pt x="71" y="34"/>
                    </a:cubicBezTo>
                    <a:cubicBezTo>
                      <a:pt x="53" y="10"/>
                      <a:pt x="53" y="10"/>
                      <a:pt x="53" y="10"/>
                    </a:cubicBezTo>
                    <a:cubicBezTo>
                      <a:pt x="47" y="3"/>
                      <a:pt x="38" y="0"/>
                      <a:pt x="29" y="2"/>
                    </a:cubicBezTo>
                    <a:cubicBezTo>
                      <a:pt x="21" y="4"/>
                      <a:pt x="14" y="11"/>
                      <a:pt x="12" y="19"/>
                    </a:cubicBezTo>
                    <a:cubicBezTo>
                      <a:pt x="2" y="65"/>
                      <a:pt x="2" y="65"/>
                      <a:pt x="2" y="65"/>
                    </a:cubicBezTo>
                    <a:cubicBezTo>
                      <a:pt x="0" y="76"/>
                      <a:pt x="6" y="87"/>
                      <a:pt x="16" y="91"/>
                    </a:cubicBezTo>
                    <a:cubicBezTo>
                      <a:pt x="81" y="118"/>
                      <a:pt x="81" y="118"/>
                      <a:pt x="81" y="118"/>
                    </a:cubicBezTo>
                    <a:cubicBezTo>
                      <a:pt x="80" y="125"/>
                      <a:pt x="80" y="125"/>
                      <a:pt x="80" y="125"/>
                    </a:cubicBezTo>
                    <a:cubicBezTo>
                      <a:pt x="78" y="135"/>
                      <a:pt x="83" y="146"/>
                      <a:pt x="9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5" name="Freeform 48"/>
              <p:cNvSpPr>
                <a:spLocks/>
              </p:cNvSpPr>
              <p:nvPr/>
            </p:nvSpPr>
            <p:spPr bwMode="auto">
              <a:xfrm>
                <a:off x="16440150" y="-3381375"/>
                <a:ext cx="280988" cy="361950"/>
              </a:xfrm>
              <a:custGeom>
                <a:avLst/>
                <a:gdLst>
                  <a:gd name="T0" fmla="*/ 65 w 75"/>
                  <a:gd name="T1" fmla="*/ 29 h 96"/>
                  <a:gd name="T2" fmla="*/ 41 w 75"/>
                  <a:gd name="T3" fmla="*/ 8 h 96"/>
                  <a:gd name="T4" fmla="*/ 8 w 75"/>
                  <a:gd name="T5" fmla="*/ 11 h 96"/>
                  <a:gd name="T6" fmla="*/ 11 w 75"/>
                  <a:gd name="T7" fmla="*/ 43 h 96"/>
                  <a:gd name="T8" fmla="*/ 21 w 75"/>
                  <a:gd name="T9" fmla="*/ 52 h 96"/>
                  <a:gd name="T10" fmla="*/ 15 w 75"/>
                  <a:gd name="T11" fmla="*/ 62 h 96"/>
                  <a:gd name="T12" fmla="*/ 25 w 75"/>
                  <a:gd name="T13" fmla="*/ 93 h 96"/>
                  <a:gd name="T14" fmla="*/ 36 w 75"/>
                  <a:gd name="T15" fmla="*/ 96 h 96"/>
                  <a:gd name="T16" fmla="*/ 56 w 75"/>
                  <a:gd name="T17" fmla="*/ 84 h 96"/>
                  <a:gd name="T18" fmla="*/ 70 w 75"/>
                  <a:gd name="T19" fmla="*/ 58 h 96"/>
                  <a:gd name="T20" fmla="*/ 65 w 75"/>
                  <a:gd name="T21"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6">
                    <a:moveTo>
                      <a:pt x="65" y="29"/>
                    </a:moveTo>
                    <a:cubicBezTo>
                      <a:pt x="41" y="8"/>
                      <a:pt x="41" y="8"/>
                      <a:pt x="41" y="8"/>
                    </a:cubicBezTo>
                    <a:cubicBezTo>
                      <a:pt x="31" y="0"/>
                      <a:pt x="17" y="1"/>
                      <a:pt x="8" y="11"/>
                    </a:cubicBezTo>
                    <a:cubicBezTo>
                      <a:pt x="0" y="20"/>
                      <a:pt x="1" y="35"/>
                      <a:pt x="11" y="43"/>
                    </a:cubicBezTo>
                    <a:cubicBezTo>
                      <a:pt x="21" y="52"/>
                      <a:pt x="21" y="52"/>
                      <a:pt x="21" y="52"/>
                    </a:cubicBezTo>
                    <a:cubicBezTo>
                      <a:pt x="15" y="62"/>
                      <a:pt x="15" y="62"/>
                      <a:pt x="15" y="62"/>
                    </a:cubicBezTo>
                    <a:cubicBezTo>
                      <a:pt x="9" y="73"/>
                      <a:pt x="14" y="87"/>
                      <a:pt x="25" y="93"/>
                    </a:cubicBezTo>
                    <a:cubicBezTo>
                      <a:pt x="28" y="95"/>
                      <a:pt x="32" y="96"/>
                      <a:pt x="36" y="96"/>
                    </a:cubicBezTo>
                    <a:cubicBezTo>
                      <a:pt x="44" y="96"/>
                      <a:pt x="52" y="91"/>
                      <a:pt x="56" y="84"/>
                    </a:cubicBezTo>
                    <a:cubicBezTo>
                      <a:pt x="70" y="58"/>
                      <a:pt x="70" y="58"/>
                      <a:pt x="70" y="58"/>
                    </a:cubicBezTo>
                    <a:cubicBezTo>
                      <a:pt x="75" y="48"/>
                      <a:pt x="73" y="36"/>
                      <a:pt x="65" y="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6" name="Freeform 49"/>
              <p:cNvSpPr>
                <a:spLocks/>
              </p:cNvSpPr>
              <p:nvPr/>
            </p:nvSpPr>
            <p:spPr bwMode="auto">
              <a:xfrm>
                <a:off x="16665575" y="-3170238"/>
                <a:ext cx="484188" cy="412750"/>
              </a:xfrm>
              <a:custGeom>
                <a:avLst/>
                <a:gdLst>
                  <a:gd name="T0" fmla="*/ 118 w 129"/>
                  <a:gd name="T1" fmla="*/ 69 h 110"/>
                  <a:gd name="T2" fmla="*/ 40 w 129"/>
                  <a:gd name="T3" fmla="*/ 8 h 110"/>
                  <a:gd name="T4" fmla="*/ 8 w 129"/>
                  <a:gd name="T5" fmla="*/ 11 h 110"/>
                  <a:gd name="T6" fmla="*/ 12 w 129"/>
                  <a:gd name="T7" fmla="*/ 44 h 110"/>
                  <a:gd name="T8" fmla="*/ 89 w 129"/>
                  <a:gd name="T9" fmla="*/ 105 h 110"/>
                  <a:gd name="T10" fmla="*/ 103 w 129"/>
                  <a:gd name="T11" fmla="*/ 110 h 110"/>
                  <a:gd name="T12" fmla="*/ 121 w 129"/>
                  <a:gd name="T13" fmla="*/ 101 h 110"/>
                  <a:gd name="T14" fmla="*/ 118 w 129"/>
                  <a:gd name="T15" fmla="*/ 69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10">
                    <a:moveTo>
                      <a:pt x="118" y="69"/>
                    </a:moveTo>
                    <a:cubicBezTo>
                      <a:pt x="40" y="8"/>
                      <a:pt x="40" y="8"/>
                      <a:pt x="40" y="8"/>
                    </a:cubicBezTo>
                    <a:cubicBezTo>
                      <a:pt x="30" y="0"/>
                      <a:pt x="16" y="1"/>
                      <a:pt x="8" y="11"/>
                    </a:cubicBezTo>
                    <a:cubicBezTo>
                      <a:pt x="0" y="21"/>
                      <a:pt x="2" y="36"/>
                      <a:pt x="12" y="44"/>
                    </a:cubicBezTo>
                    <a:cubicBezTo>
                      <a:pt x="89" y="105"/>
                      <a:pt x="89" y="105"/>
                      <a:pt x="89" y="105"/>
                    </a:cubicBezTo>
                    <a:cubicBezTo>
                      <a:pt x="93" y="108"/>
                      <a:pt x="98" y="110"/>
                      <a:pt x="103" y="110"/>
                    </a:cubicBezTo>
                    <a:cubicBezTo>
                      <a:pt x="110" y="110"/>
                      <a:pt x="117" y="107"/>
                      <a:pt x="121" y="101"/>
                    </a:cubicBezTo>
                    <a:cubicBezTo>
                      <a:pt x="129" y="91"/>
                      <a:pt x="128" y="77"/>
                      <a:pt x="11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7" name="Freeform 50"/>
              <p:cNvSpPr>
                <a:spLocks/>
              </p:cNvSpPr>
              <p:nvPr/>
            </p:nvSpPr>
            <p:spPr bwMode="auto">
              <a:xfrm>
                <a:off x="13528675" y="-3789363"/>
                <a:ext cx="542925" cy="773113"/>
              </a:xfrm>
              <a:custGeom>
                <a:avLst/>
                <a:gdLst>
                  <a:gd name="T0" fmla="*/ 109 w 145"/>
                  <a:gd name="T1" fmla="*/ 206 h 206"/>
                  <a:gd name="T2" fmla="*/ 116 w 145"/>
                  <a:gd name="T3" fmla="*/ 205 h 206"/>
                  <a:gd name="T4" fmla="*/ 132 w 145"/>
                  <a:gd name="T5" fmla="*/ 187 h 206"/>
                  <a:gd name="T6" fmla="*/ 143 w 145"/>
                  <a:gd name="T7" fmla="*/ 130 h 206"/>
                  <a:gd name="T8" fmla="*/ 138 w 145"/>
                  <a:gd name="T9" fmla="*/ 110 h 206"/>
                  <a:gd name="T10" fmla="*/ 42 w 145"/>
                  <a:gd name="T11" fmla="*/ 10 h 206"/>
                  <a:gd name="T12" fmla="*/ 11 w 145"/>
                  <a:gd name="T13" fmla="*/ 8 h 206"/>
                  <a:gd name="T14" fmla="*/ 6 w 145"/>
                  <a:gd name="T15" fmla="*/ 38 h 206"/>
                  <a:gd name="T16" fmla="*/ 39 w 145"/>
                  <a:gd name="T17" fmla="*/ 89 h 206"/>
                  <a:gd name="T18" fmla="*/ 60 w 145"/>
                  <a:gd name="T19" fmla="*/ 161 h 206"/>
                  <a:gd name="T20" fmla="*/ 65 w 145"/>
                  <a:gd name="T21" fmla="*/ 170 h 206"/>
                  <a:gd name="T22" fmla="*/ 93 w 145"/>
                  <a:gd name="T23" fmla="*/ 199 h 206"/>
                  <a:gd name="T24" fmla="*/ 109 w 145"/>
                  <a:gd name="T2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206">
                    <a:moveTo>
                      <a:pt x="109" y="206"/>
                    </a:moveTo>
                    <a:cubicBezTo>
                      <a:pt x="111" y="206"/>
                      <a:pt x="114" y="206"/>
                      <a:pt x="116" y="205"/>
                    </a:cubicBezTo>
                    <a:cubicBezTo>
                      <a:pt x="124" y="203"/>
                      <a:pt x="130" y="196"/>
                      <a:pt x="132" y="187"/>
                    </a:cubicBezTo>
                    <a:cubicBezTo>
                      <a:pt x="143" y="130"/>
                      <a:pt x="143" y="130"/>
                      <a:pt x="143" y="130"/>
                    </a:cubicBezTo>
                    <a:cubicBezTo>
                      <a:pt x="145" y="123"/>
                      <a:pt x="143" y="115"/>
                      <a:pt x="138" y="110"/>
                    </a:cubicBezTo>
                    <a:cubicBezTo>
                      <a:pt x="42" y="10"/>
                      <a:pt x="42" y="10"/>
                      <a:pt x="42" y="10"/>
                    </a:cubicBezTo>
                    <a:cubicBezTo>
                      <a:pt x="34" y="1"/>
                      <a:pt x="20" y="0"/>
                      <a:pt x="11" y="8"/>
                    </a:cubicBezTo>
                    <a:cubicBezTo>
                      <a:pt x="2" y="15"/>
                      <a:pt x="0" y="28"/>
                      <a:pt x="6" y="38"/>
                    </a:cubicBezTo>
                    <a:cubicBezTo>
                      <a:pt x="20" y="59"/>
                      <a:pt x="35" y="83"/>
                      <a:pt x="39" y="89"/>
                    </a:cubicBezTo>
                    <a:cubicBezTo>
                      <a:pt x="42" y="98"/>
                      <a:pt x="53" y="137"/>
                      <a:pt x="60" y="161"/>
                    </a:cubicBezTo>
                    <a:cubicBezTo>
                      <a:pt x="61" y="165"/>
                      <a:pt x="63" y="168"/>
                      <a:pt x="65" y="170"/>
                    </a:cubicBezTo>
                    <a:cubicBezTo>
                      <a:pt x="93" y="199"/>
                      <a:pt x="93" y="199"/>
                      <a:pt x="93" y="199"/>
                    </a:cubicBezTo>
                    <a:cubicBezTo>
                      <a:pt x="97" y="203"/>
                      <a:pt x="103" y="206"/>
                      <a:pt x="109" y="2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8" name="Freeform 51"/>
              <p:cNvSpPr>
                <a:spLocks/>
              </p:cNvSpPr>
              <p:nvPr/>
            </p:nvSpPr>
            <p:spPr bwMode="auto">
              <a:xfrm>
                <a:off x="13847763" y="-2652713"/>
                <a:ext cx="2487613" cy="1825625"/>
              </a:xfrm>
              <a:custGeom>
                <a:avLst/>
                <a:gdLst>
                  <a:gd name="T0" fmla="*/ 595 w 663"/>
                  <a:gd name="T1" fmla="*/ 380 h 486"/>
                  <a:gd name="T2" fmla="*/ 660 w 663"/>
                  <a:gd name="T3" fmla="*/ 253 h 486"/>
                  <a:gd name="T4" fmla="*/ 658 w 663"/>
                  <a:gd name="T5" fmla="*/ 230 h 486"/>
                  <a:gd name="T6" fmla="*/ 596 w 663"/>
                  <a:gd name="T7" fmla="*/ 135 h 486"/>
                  <a:gd name="T8" fmla="*/ 581 w 663"/>
                  <a:gd name="T9" fmla="*/ 53 h 486"/>
                  <a:gd name="T10" fmla="*/ 573 w 663"/>
                  <a:gd name="T11" fmla="*/ 40 h 486"/>
                  <a:gd name="T12" fmla="*/ 535 w 663"/>
                  <a:gd name="T13" fmla="*/ 7 h 486"/>
                  <a:gd name="T14" fmla="*/ 516 w 663"/>
                  <a:gd name="T15" fmla="*/ 1 h 486"/>
                  <a:gd name="T16" fmla="*/ 500 w 663"/>
                  <a:gd name="T17" fmla="*/ 12 h 486"/>
                  <a:gd name="T18" fmla="*/ 470 w 663"/>
                  <a:gd name="T19" fmla="*/ 65 h 486"/>
                  <a:gd name="T20" fmla="*/ 439 w 663"/>
                  <a:gd name="T21" fmla="*/ 55 h 486"/>
                  <a:gd name="T22" fmla="*/ 445 w 663"/>
                  <a:gd name="T23" fmla="*/ 38 h 486"/>
                  <a:gd name="T24" fmla="*/ 442 w 663"/>
                  <a:gd name="T25" fmla="*/ 19 h 486"/>
                  <a:gd name="T26" fmla="*/ 425 w 663"/>
                  <a:gd name="T27" fmla="*/ 8 h 486"/>
                  <a:gd name="T28" fmla="*/ 340 w 663"/>
                  <a:gd name="T29" fmla="*/ 1 h 486"/>
                  <a:gd name="T30" fmla="*/ 316 w 663"/>
                  <a:gd name="T31" fmla="*/ 15 h 486"/>
                  <a:gd name="T32" fmla="*/ 302 w 663"/>
                  <a:gd name="T33" fmla="*/ 48 h 486"/>
                  <a:gd name="T34" fmla="*/ 282 w 663"/>
                  <a:gd name="T35" fmla="*/ 37 h 486"/>
                  <a:gd name="T36" fmla="*/ 257 w 663"/>
                  <a:gd name="T37" fmla="*/ 38 h 486"/>
                  <a:gd name="T38" fmla="*/ 171 w 663"/>
                  <a:gd name="T39" fmla="*/ 104 h 486"/>
                  <a:gd name="T40" fmla="*/ 167 w 663"/>
                  <a:gd name="T41" fmla="*/ 107 h 486"/>
                  <a:gd name="T42" fmla="*/ 140 w 663"/>
                  <a:gd name="T43" fmla="*/ 138 h 486"/>
                  <a:gd name="T44" fmla="*/ 47 w 663"/>
                  <a:gd name="T45" fmla="*/ 161 h 486"/>
                  <a:gd name="T46" fmla="*/ 29 w 663"/>
                  <a:gd name="T47" fmla="*/ 182 h 486"/>
                  <a:gd name="T48" fmla="*/ 18 w 663"/>
                  <a:gd name="T49" fmla="*/ 354 h 486"/>
                  <a:gd name="T50" fmla="*/ 4 w 663"/>
                  <a:gd name="T51" fmla="*/ 383 h 486"/>
                  <a:gd name="T52" fmla="*/ 5 w 663"/>
                  <a:gd name="T53" fmla="*/ 406 h 486"/>
                  <a:gd name="T54" fmla="*/ 26 w 663"/>
                  <a:gd name="T55" fmla="*/ 416 h 486"/>
                  <a:gd name="T56" fmla="*/ 138 w 663"/>
                  <a:gd name="T57" fmla="*/ 410 h 486"/>
                  <a:gd name="T58" fmla="*/ 147 w 663"/>
                  <a:gd name="T59" fmla="*/ 408 h 486"/>
                  <a:gd name="T60" fmla="*/ 260 w 663"/>
                  <a:gd name="T61" fmla="*/ 350 h 486"/>
                  <a:gd name="T62" fmla="*/ 315 w 663"/>
                  <a:gd name="T63" fmla="*/ 395 h 486"/>
                  <a:gd name="T64" fmla="*/ 343 w 663"/>
                  <a:gd name="T65" fmla="*/ 439 h 486"/>
                  <a:gd name="T66" fmla="*/ 407 w 663"/>
                  <a:gd name="T67" fmla="*/ 484 h 486"/>
                  <a:gd name="T68" fmla="*/ 416 w 663"/>
                  <a:gd name="T69" fmla="*/ 486 h 486"/>
                  <a:gd name="T70" fmla="*/ 423 w 663"/>
                  <a:gd name="T71" fmla="*/ 485 h 486"/>
                  <a:gd name="T72" fmla="*/ 500 w 663"/>
                  <a:gd name="T73" fmla="*/ 461 h 486"/>
                  <a:gd name="T74" fmla="*/ 507 w 663"/>
                  <a:gd name="T75" fmla="*/ 456 h 486"/>
                  <a:gd name="T76" fmla="*/ 589 w 663"/>
                  <a:gd name="T77" fmla="*/ 388 h 486"/>
                  <a:gd name="T78" fmla="*/ 595 w 663"/>
                  <a:gd name="T79" fmla="*/ 38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3" h="486">
                    <a:moveTo>
                      <a:pt x="595" y="380"/>
                    </a:moveTo>
                    <a:cubicBezTo>
                      <a:pt x="660" y="253"/>
                      <a:pt x="660" y="253"/>
                      <a:pt x="660" y="253"/>
                    </a:cubicBezTo>
                    <a:cubicBezTo>
                      <a:pt x="663" y="245"/>
                      <a:pt x="663" y="236"/>
                      <a:pt x="658" y="230"/>
                    </a:cubicBezTo>
                    <a:cubicBezTo>
                      <a:pt x="596" y="135"/>
                      <a:pt x="596" y="135"/>
                      <a:pt x="596" y="135"/>
                    </a:cubicBezTo>
                    <a:cubicBezTo>
                      <a:pt x="581" y="53"/>
                      <a:pt x="581" y="53"/>
                      <a:pt x="581" y="53"/>
                    </a:cubicBezTo>
                    <a:cubicBezTo>
                      <a:pt x="580" y="48"/>
                      <a:pt x="577" y="44"/>
                      <a:pt x="573" y="40"/>
                    </a:cubicBezTo>
                    <a:cubicBezTo>
                      <a:pt x="535" y="7"/>
                      <a:pt x="535" y="7"/>
                      <a:pt x="535" y="7"/>
                    </a:cubicBezTo>
                    <a:cubicBezTo>
                      <a:pt x="530" y="2"/>
                      <a:pt x="523" y="0"/>
                      <a:pt x="516" y="1"/>
                    </a:cubicBezTo>
                    <a:cubicBezTo>
                      <a:pt x="509" y="2"/>
                      <a:pt x="504" y="6"/>
                      <a:pt x="500" y="12"/>
                    </a:cubicBezTo>
                    <a:cubicBezTo>
                      <a:pt x="470" y="65"/>
                      <a:pt x="470" y="65"/>
                      <a:pt x="470" y="65"/>
                    </a:cubicBezTo>
                    <a:cubicBezTo>
                      <a:pt x="439" y="55"/>
                      <a:pt x="439" y="55"/>
                      <a:pt x="439" y="55"/>
                    </a:cubicBezTo>
                    <a:cubicBezTo>
                      <a:pt x="445" y="38"/>
                      <a:pt x="445" y="38"/>
                      <a:pt x="445" y="38"/>
                    </a:cubicBezTo>
                    <a:cubicBezTo>
                      <a:pt x="447" y="32"/>
                      <a:pt x="446" y="24"/>
                      <a:pt x="442" y="19"/>
                    </a:cubicBezTo>
                    <a:cubicBezTo>
                      <a:pt x="438" y="13"/>
                      <a:pt x="432" y="9"/>
                      <a:pt x="425" y="8"/>
                    </a:cubicBezTo>
                    <a:cubicBezTo>
                      <a:pt x="340" y="1"/>
                      <a:pt x="340" y="1"/>
                      <a:pt x="340" y="1"/>
                    </a:cubicBezTo>
                    <a:cubicBezTo>
                      <a:pt x="330" y="0"/>
                      <a:pt x="320" y="6"/>
                      <a:pt x="316" y="15"/>
                    </a:cubicBezTo>
                    <a:cubicBezTo>
                      <a:pt x="302" y="48"/>
                      <a:pt x="302" y="48"/>
                      <a:pt x="302" y="48"/>
                    </a:cubicBezTo>
                    <a:cubicBezTo>
                      <a:pt x="282" y="37"/>
                      <a:pt x="282" y="37"/>
                      <a:pt x="282" y="37"/>
                    </a:cubicBezTo>
                    <a:cubicBezTo>
                      <a:pt x="274" y="32"/>
                      <a:pt x="264" y="33"/>
                      <a:pt x="257" y="38"/>
                    </a:cubicBezTo>
                    <a:cubicBezTo>
                      <a:pt x="171" y="104"/>
                      <a:pt x="171" y="104"/>
                      <a:pt x="171" y="104"/>
                    </a:cubicBezTo>
                    <a:cubicBezTo>
                      <a:pt x="169" y="105"/>
                      <a:pt x="168" y="106"/>
                      <a:pt x="167" y="107"/>
                    </a:cubicBezTo>
                    <a:cubicBezTo>
                      <a:pt x="140" y="138"/>
                      <a:pt x="140" y="138"/>
                      <a:pt x="140" y="138"/>
                    </a:cubicBezTo>
                    <a:cubicBezTo>
                      <a:pt x="47" y="161"/>
                      <a:pt x="47" y="161"/>
                      <a:pt x="47" y="161"/>
                    </a:cubicBezTo>
                    <a:cubicBezTo>
                      <a:pt x="37" y="163"/>
                      <a:pt x="30" y="172"/>
                      <a:pt x="29" y="182"/>
                    </a:cubicBezTo>
                    <a:cubicBezTo>
                      <a:pt x="18" y="354"/>
                      <a:pt x="18" y="354"/>
                      <a:pt x="18" y="354"/>
                    </a:cubicBezTo>
                    <a:cubicBezTo>
                      <a:pt x="4" y="383"/>
                      <a:pt x="4" y="383"/>
                      <a:pt x="4" y="383"/>
                    </a:cubicBezTo>
                    <a:cubicBezTo>
                      <a:pt x="0" y="390"/>
                      <a:pt x="1" y="399"/>
                      <a:pt x="5" y="406"/>
                    </a:cubicBezTo>
                    <a:cubicBezTo>
                      <a:pt x="10" y="412"/>
                      <a:pt x="17" y="416"/>
                      <a:pt x="26" y="416"/>
                    </a:cubicBezTo>
                    <a:cubicBezTo>
                      <a:pt x="138" y="410"/>
                      <a:pt x="138" y="410"/>
                      <a:pt x="138" y="410"/>
                    </a:cubicBezTo>
                    <a:cubicBezTo>
                      <a:pt x="141" y="410"/>
                      <a:pt x="144" y="409"/>
                      <a:pt x="147" y="408"/>
                    </a:cubicBezTo>
                    <a:cubicBezTo>
                      <a:pt x="260" y="350"/>
                      <a:pt x="260" y="350"/>
                      <a:pt x="260" y="350"/>
                    </a:cubicBezTo>
                    <a:cubicBezTo>
                      <a:pt x="315" y="395"/>
                      <a:pt x="315" y="395"/>
                      <a:pt x="315" y="395"/>
                    </a:cubicBezTo>
                    <a:cubicBezTo>
                      <a:pt x="326" y="411"/>
                      <a:pt x="339" y="431"/>
                      <a:pt x="343" y="439"/>
                    </a:cubicBezTo>
                    <a:cubicBezTo>
                      <a:pt x="344" y="455"/>
                      <a:pt x="362" y="465"/>
                      <a:pt x="407" y="484"/>
                    </a:cubicBezTo>
                    <a:cubicBezTo>
                      <a:pt x="410" y="485"/>
                      <a:pt x="413" y="486"/>
                      <a:pt x="416" y="486"/>
                    </a:cubicBezTo>
                    <a:cubicBezTo>
                      <a:pt x="419" y="486"/>
                      <a:pt x="421" y="486"/>
                      <a:pt x="423" y="485"/>
                    </a:cubicBezTo>
                    <a:cubicBezTo>
                      <a:pt x="500" y="461"/>
                      <a:pt x="500" y="461"/>
                      <a:pt x="500" y="461"/>
                    </a:cubicBezTo>
                    <a:cubicBezTo>
                      <a:pt x="502" y="460"/>
                      <a:pt x="505" y="458"/>
                      <a:pt x="507" y="456"/>
                    </a:cubicBezTo>
                    <a:cubicBezTo>
                      <a:pt x="589" y="388"/>
                      <a:pt x="589" y="388"/>
                      <a:pt x="589" y="388"/>
                    </a:cubicBezTo>
                    <a:cubicBezTo>
                      <a:pt x="592" y="386"/>
                      <a:pt x="594" y="383"/>
                      <a:pt x="595" y="3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69" name="Freeform 52"/>
              <p:cNvSpPr>
                <a:spLocks/>
              </p:cNvSpPr>
              <p:nvPr/>
            </p:nvSpPr>
            <p:spPr bwMode="auto">
              <a:xfrm>
                <a:off x="16649700" y="-1181100"/>
                <a:ext cx="461963" cy="530225"/>
              </a:xfrm>
              <a:custGeom>
                <a:avLst/>
                <a:gdLst>
                  <a:gd name="T0" fmla="*/ 100 w 123"/>
                  <a:gd name="T1" fmla="*/ 43 h 141"/>
                  <a:gd name="T2" fmla="*/ 93 w 123"/>
                  <a:gd name="T3" fmla="*/ 18 h 141"/>
                  <a:gd name="T4" fmla="*/ 73 w 123"/>
                  <a:gd name="T5" fmla="*/ 1 h 141"/>
                  <a:gd name="T6" fmla="*/ 50 w 123"/>
                  <a:gd name="T7" fmla="*/ 14 h 141"/>
                  <a:gd name="T8" fmla="*/ 5 w 123"/>
                  <a:gd name="T9" fmla="*/ 108 h 141"/>
                  <a:gd name="T10" fmla="*/ 10 w 123"/>
                  <a:gd name="T11" fmla="*/ 135 h 141"/>
                  <a:gd name="T12" fmla="*/ 25 w 123"/>
                  <a:gd name="T13" fmla="*/ 141 h 141"/>
                  <a:gd name="T14" fmla="*/ 39 w 123"/>
                  <a:gd name="T15" fmla="*/ 137 h 141"/>
                  <a:gd name="T16" fmla="*/ 112 w 123"/>
                  <a:gd name="T17" fmla="*/ 84 h 141"/>
                  <a:gd name="T18" fmla="*/ 120 w 123"/>
                  <a:gd name="T19" fmla="*/ 58 h 141"/>
                  <a:gd name="T20" fmla="*/ 100 w 123"/>
                  <a:gd name="T21" fmla="*/ 4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41">
                    <a:moveTo>
                      <a:pt x="100" y="43"/>
                    </a:moveTo>
                    <a:cubicBezTo>
                      <a:pt x="93" y="18"/>
                      <a:pt x="93" y="18"/>
                      <a:pt x="93" y="18"/>
                    </a:cubicBezTo>
                    <a:cubicBezTo>
                      <a:pt x="91" y="9"/>
                      <a:pt x="83" y="2"/>
                      <a:pt x="73" y="1"/>
                    </a:cubicBezTo>
                    <a:cubicBezTo>
                      <a:pt x="64" y="0"/>
                      <a:pt x="55" y="5"/>
                      <a:pt x="50" y="14"/>
                    </a:cubicBezTo>
                    <a:cubicBezTo>
                      <a:pt x="5" y="108"/>
                      <a:pt x="5" y="108"/>
                      <a:pt x="5" y="108"/>
                    </a:cubicBezTo>
                    <a:cubicBezTo>
                      <a:pt x="0" y="117"/>
                      <a:pt x="2" y="129"/>
                      <a:pt x="10" y="135"/>
                    </a:cubicBezTo>
                    <a:cubicBezTo>
                      <a:pt x="15" y="139"/>
                      <a:pt x="20" y="141"/>
                      <a:pt x="25" y="141"/>
                    </a:cubicBezTo>
                    <a:cubicBezTo>
                      <a:pt x="30" y="141"/>
                      <a:pt x="35" y="139"/>
                      <a:pt x="39" y="137"/>
                    </a:cubicBezTo>
                    <a:cubicBezTo>
                      <a:pt x="112" y="84"/>
                      <a:pt x="112" y="84"/>
                      <a:pt x="112" y="84"/>
                    </a:cubicBezTo>
                    <a:cubicBezTo>
                      <a:pt x="120" y="78"/>
                      <a:pt x="123" y="68"/>
                      <a:pt x="120" y="58"/>
                    </a:cubicBezTo>
                    <a:cubicBezTo>
                      <a:pt x="117" y="49"/>
                      <a:pt x="109" y="43"/>
                      <a:pt x="100"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70" name="Freeform 53"/>
              <p:cNvSpPr>
                <a:spLocks/>
              </p:cNvSpPr>
              <p:nvPr/>
            </p:nvSpPr>
            <p:spPr bwMode="auto">
              <a:xfrm>
                <a:off x="10364788" y="-2741613"/>
                <a:ext cx="577850" cy="1009650"/>
              </a:xfrm>
              <a:custGeom>
                <a:avLst/>
                <a:gdLst>
                  <a:gd name="T0" fmla="*/ 145 w 154"/>
                  <a:gd name="T1" fmla="*/ 20 h 269"/>
                  <a:gd name="T2" fmla="*/ 128 w 154"/>
                  <a:gd name="T3" fmla="*/ 3 h 269"/>
                  <a:gd name="T4" fmla="*/ 105 w 154"/>
                  <a:gd name="T5" fmla="*/ 10 h 269"/>
                  <a:gd name="T6" fmla="*/ 53 w 154"/>
                  <a:gd name="T7" fmla="*/ 70 h 269"/>
                  <a:gd name="T8" fmla="*/ 51 w 154"/>
                  <a:gd name="T9" fmla="*/ 73 h 269"/>
                  <a:gd name="T10" fmla="*/ 28 w 154"/>
                  <a:gd name="T11" fmla="*/ 107 h 269"/>
                  <a:gd name="T12" fmla="*/ 24 w 154"/>
                  <a:gd name="T13" fmla="*/ 117 h 269"/>
                  <a:gd name="T14" fmla="*/ 17 w 154"/>
                  <a:gd name="T15" fmla="*/ 182 h 269"/>
                  <a:gd name="T16" fmla="*/ 5 w 154"/>
                  <a:gd name="T17" fmla="*/ 206 h 269"/>
                  <a:gd name="T18" fmla="*/ 14 w 154"/>
                  <a:gd name="T19" fmla="*/ 236 h 269"/>
                  <a:gd name="T20" fmla="*/ 61 w 154"/>
                  <a:gd name="T21" fmla="*/ 265 h 269"/>
                  <a:gd name="T22" fmla="*/ 73 w 154"/>
                  <a:gd name="T23" fmla="*/ 269 h 269"/>
                  <a:gd name="T24" fmla="*/ 81 w 154"/>
                  <a:gd name="T25" fmla="*/ 268 h 269"/>
                  <a:gd name="T26" fmla="*/ 95 w 154"/>
                  <a:gd name="T27" fmla="*/ 253 h 269"/>
                  <a:gd name="T28" fmla="*/ 152 w 154"/>
                  <a:gd name="T29" fmla="*/ 76 h 269"/>
                  <a:gd name="T30" fmla="*/ 153 w 154"/>
                  <a:gd name="T31" fmla="*/ 65 h 269"/>
                  <a:gd name="T32" fmla="*/ 145 w 154"/>
                  <a:gd name="T33" fmla="*/ 2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269">
                    <a:moveTo>
                      <a:pt x="145" y="20"/>
                    </a:moveTo>
                    <a:cubicBezTo>
                      <a:pt x="143" y="12"/>
                      <a:pt x="137" y="5"/>
                      <a:pt x="128" y="3"/>
                    </a:cubicBezTo>
                    <a:cubicBezTo>
                      <a:pt x="120" y="0"/>
                      <a:pt x="111" y="3"/>
                      <a:pt x="105" y="10"/>
                    </a:cubicBezTo>
                    <a:cubicBezTo>
                      <a:pt x="53" y="70"/>
                      <a:pt x="53" y="70"/>
                      <a:pt x="53" y="70"/>
                    </a:cubicBezTo>
                    <a:cubicBezTo>
                      <a:pt x="52" y="71"/>
                      <a:pt x="51" y="72"/>
                      <a:pt x="51" y="73"/>
                    </a:cubicBezTo>
                    <a:cubicBezTo>
                      <a:pt x="28" y="107"/>
                      <a:pt x="28" y="107"/>
                      <a:pt x="28" y="107"/>
                    </a:cubicBezTo>
                    <a:cubicBezTo>
                      <a:pt x="26" y="110"/>
                      <a:pt x="25" y="114"/>
                      <a:pt x="24" y="117"/>
                    </a:cubicBezTo>
                    <a:cubicBezTo>
                      <a:pt x="17" y="182"/>
                      <a:pt x="17" y="182"/>
                      <a:pt x="17" y="182"/>
                    </a:cubicBezTo>
                    <a:cubicBezTo>
                      <a:pt x="5" y="206"/>
                      <a:pt x="5" y="206"/>
                      <a:pt x="5" y="206"/>
                    </a:cubicBezTo>
                    <a:cubicBezTo>
                      <a:pt x="0" y="217"/>
                      <a:pt x="3" y="230"/>
                      <a:pt x="14" y="236"/>
                    </a:cubicBezTo>
                    <a:cubicBezTo>
                      <a:pt x="61" y="265"/>
                      <a:pt x="61" y="265"/>
                      <a:pt x="61" y="265"/>
                    </a:cubicBezTo>
                    <a:cubicBezTo>
                      <a:pt x="65" y="268"/>
                      <a:pt x="69" y="269"/>
                      <a:pt x="73" y="269"/>
                    </a:cubicBezTo>
                    <a:cubicBezTo>
                      <a:pt x="76" y="269"/>
                      <a:pt x="78" y="268"/>
                      <a:pt x="81" y="268"/>
                    </a:cubicBezTo>
                    <a:cubicBezTo>
                      <a:pt x="88" y="265"/>
                      <a:pt x="93" y="260"/>
                      <a:pt x="95" y="253"/>
                    </a:cubicBezTo>
                    <a:cubicBezTo>
                      <a:pt x="152" y="76"/>
                      <a:pt x="152" y="76"/>
                      <a:pt x="152" y="76"/>
                    </a:cubicBezTo>
                    <a:cubicBezTo>
                      <a:pt x="154" y="72"/>
                      <a:pt x="154" y="69"/>
                      <a:pt x="153" y="65"/>
                    </a:cubicBezTo>
                    <a:lnTo>
                      <a:pt x="145" y="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71" name="Freeform 54"/>
              <p:cNvSpPr>
                <a:spLocks/>
              </p:cNvSpPr>
              <p:nvPr/>
            </p:nvSpPr>
            <p:spPr bwMode="auto">
              <a:xfrm>
                <a:off x="3189287" y="-4908550"/>
                <a:ext cx="736600" cy="352425"/>
              </a:xfrm>
              <a:custGeom>
                <a:avLst/>
                <a:gdLst>
                  <a:gd name="T0" fmla="*/ 63 w 196"/>
                  <a:gd name="T1" fmla="*/ 73 h 94"/>
                  <a:gd name="T2" fmla="*/ 85 w 196"/>
                  <a:gd name="T3" fmla="*/ 94 h 94"/>
                  <a:gd name="T4" fmla="*/ 88 w 196"/>
                  <a:gd name="T5" fmla="*/ 93 h 94"/>
                  <a:gd name="T6" fmla="*/ 175 w 196"/>
                  <a:gd name="T7" fmla="*/ 84 h 94"/>
                  <a:gd name="T8" fmla="*/ 195 w 196"/>
                  <a:gd name="T9" fmla="*/ 64 h 94"/>
                  <a:gd name="T10" fmla="*/ 181 w 196"/>
                  <a:gd name="T11" fmla="*/ 40 h 94"/>
                  <a:gd name="T12" fmla="*/ 135 w 196"/>
                  <a:gd name="T13" fmla="*/ 20 h 94"/>
                  <a:gd name="T14" fmla="*/ 103 w 196"/>
                  <a:gd name="T15" fmla="*/ 3 h 94"/>
                  <a:gd name="T16" fmla="*/ 92 w 196"/>
                  <a:gd name="T17" fmla="*/ 0 h 94"/>
                  <a:gd name="T18" fmla="*/ 23 w 196"/>
                  <a:gd name="T19" fmla="*/ 0 h 94"/>
                  <a:gd name="T20" fmla="*/ 0 w 196"/>
                  <a:gd name="T21" fmla="*/ 23 h 94"/>
                  <a:gd name="T22" fmla="*/ 23 w 196"/>
                  <a:gd name="T23" fmla="*/ 46 h 94"/>
                  <a:gd name="T24" fmla="*/ 86 w 196"/>
                  <a:gd name="T25" fmla="*/ 46 h 94"/>
                  <a:gd name="T26" fmla="*/ 88 w 196"/>
                  <a:gd name="T27" fmla="*/ 47 h 94"/>
                  <a:gd name="T28" fmla="*/ 83 w 196"/>
                  <a:gd name="T29" fmla="*/ 48 h 94"/>
                  <a:gd name="T30" fmla="*/ 63 w 196"/>
                  <a:gd name="T31" fmla="*/ 7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94">
                    <a:moveTo>
                      <a:pt x="63" y="73"/>
                    </a:moveTo>
                    <a:cubicBezTo>
                      <a:pt x="64" y="85"/>
                      <a:pt x="74" y="94"/>
                      <a:pt x="85" y="94"/>
                    </a:cubicBezTo>
                    <a:cubicBezTo>
                      <a:pt x="86" y="94"/>
                      <a:pt x="87" y="94"/>
                      <a:pt x="88" y="93"/>
                    </a:cubicBezTo>
                    <a:cubicBezTo>
                      <a:pt x="175" y="84"/>
                      <a:pt x="175" y="84"/>
                      <a:pt x="175" y="84"/>
                    </a:cubicBezTo>
                    <a:cubicBezTo>
                      <a:pt x="185" y="82"/>
                      <a:pt x="194" y="74"/>
                      <a:pt x="195" y="64"/>
                    </a:cubicBezTo>
                    <a:cubicBezTo>
                      <a:pt x="196" y="54"/>
                      <a:pt x="191" y="44"/>
                      <a:pt x="181" y="40"/>
                    </a:cubicBezTo>
                    <a:cubicBezTo>
                      <a:pt x="135" y="20"/>
                      <a:pt x="135" y="20"/>
                      <a:pt x="135" y="20"/>
                    </a:cubicBezTo>
                    <a:cubicBezTo>
                      <a:pt x="103" y="3"/>
                      <a:pt x="103" y="3"/>
                      <a:pt x="103" y="3"/>
                    </a:cubicBezTo>
                    <a:cubicBezTo>
                      <a:pt x="100" y="1"/>
                      <a:pt x="96" y="0"/>
                      <a:pt x="92" y="0"/>
                    </a:cubicBezTo>
                    <a:cubicBezTo>
                      <a:pt x="23" y="0"/>
                      <a:pt x="23" y="0"/>
                      <a:pt x="23" y="0"/>
                    </a:cubicBezTo>
                    <a:cubicBezTo>
                      <a:pt x="10" y="0"/>
                      <a:pt x="0" y="10"/>
                      <a:pt x="0" y="23"/>
                    </a:cubicBezTo>
                    <a:cubicBezTo>
                      <a:pt x="0" y="36"/>
                      <a:pt x="10" y="46"/>
                      <a:pt x="23" y="46"/>
                    </a:cubicBezTo>
                    <a:cubicBezTo>
                      <a:pt x="86" y="46"/>
                      <a:pt x="86" y="46"/>
                      <a:pt x="86" y="46"/>
                    </a:cubicBezTo>
                    <a:cubicBezTo>
                      <a:pt x="88" y="47"/>
                      <a:pt x="88" y="47"/>
                      <a:pt x="88" y="47"/>
                    </a:cubicBezTo>
                    <a:cubicBezTo>
                      <a:pt x="83" y="48"/>
                      <a:pt x="83" y="48"/>
                      <a:pt x="83" y="48"/>
                    </a:cubicBezTo>
                    <a:cubicBezTo>
                      <a:pt x="70" y="49"/>
                      <a:pt x="61" y="61"/>
                      <a:pt x="63"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72" name="Freeform 55"/>
              <p:cNvSpPr>
                <a:spLocks/>
              </p:cNvSpPr>
              <p:nvPr/>
            </p:nvSpPr>
            <p:spPr bwMode="auto">
              <a:xfrm>
                <a:off x="4075112" y="-4735513"/>
                <a:ext cx="488950" cy="220663"/>
              </a:xfrm>
              <a:custGeom>
                <a:avLst/>
                <a:gdLst>
                  <a:gd name="T0" fmla="*/ 108 w 130"/>
                  <a:gd name="T1" fmla="*/ 13 h 59"/>
                  <a:gd name="T2" fmla="*/ 28 w 130"/>
                  <a:gd name="T3" fmla="*/ 2 h 59"/>
                  <a:gd name="T4" fmla="*/ 2 w 130"/>
                  <a:gd name="T5" fmla="*/ 21 h 59"/>
                  <a:gd name="T6" fmla="*/ 22 w 130"/>
                  <a:gd name="T7" fmla="*/ 47 h 59"/>
                  <a:gd name="T8" fmla="*/ 102 w 130"/>
                  <a:gd name="T9" fmla="*/ 59 h 59"/>
                  <a:gd name="T10" fmla="*/ 105 w 130"/>
                  <a:gd name="T11" fmla="*/ 59 h 59"/>
                  <a:gd name="T12" fmla="*/ 128 w 130"/>
                  <a:gd name="T13" fmla="*/ 39 h 59"/>
                  <a:gd name="T14" fmla="*/ 108 w 130"/>
                  <a:gd name="T15" fmla="*/ 13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59">
                    <a:moveTo>
                      <a:pt x="108" y="13"/>
                    </a:moveTo>
                    <a:cubicBezTo>
                      <a:pt x="28" y="2"/>
                      <a:pt x="28" y="2"/>
                      <a:pt x="28" y="2"/>
                    </a:cubicBezTo>
                    <a:cubicBezTo>
                      <a:pt x="16" y="0"/>
                      <a:pt x="4" y="9"/>
                      <a:pt x="2" y="21"/>
                    </a:cubicBezTo>
                    <a:cubicBezTo>
                      <a:pt x="0" y="34"/>
                      <a:pt x="9" y="46"/>
                      <a:pt x="22" y="47"/>
                    </a:cubicBezTo>
                    <a:cubicBezTo>
                      <a:pt x="102" y="59"/>
                      <a:pt x="102" y="59"/>
                      <a:pt x="102" y="59"/>
                    </a:cubicBezTo>
                    <a:cubicBezTo>
                      <a:pt x="103" y="59"/>
                      <a:pt x="104" y="59"/>
                      <a:pt x="105" y="59"/>
                    </a:cubicBezTo>
                    <a:cubicBezTo>
                      <a:pt x="116" y="59"/>
                      <a:pt x="126" y="51"/>
                      <a:pt x="128" y="39"/>
                    </a:cubicBezTo>
                    <a:cubicBezTo>
                      <a:pt x="130" y="27"/>
                      <a:pt x="121" y="15"/>
                      <a:pt x="108" y="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73" name="Freeform 56"/>
              <p:cNvSpPr>
                <a:spLocks/>
              </p:cNvSpPr>
              <p:nvPr/>
            </p:nvSpPr>
            <p:spPr bwMode="auto">
              <a:xfrm>
                <a:off x="4506912" y="-4525963"/>
                <a:ext cx="233363" cy="293688"/>
              </a:xfrm>
              <a:custGeom>
                <a:avLst/>
                <a:gdLst>
                  <a:gd name="T0" fmla="*/ 14 w 62"/>
                  <a:gd name="T1" fmla="*/ 63 h 78"/>
                  <a:gd name="T2" fmla="*/ 36 w 62"/>
                  <a:gd name="T3" fmla="*/ 78 h 78"/>
                  <a:gd name="T4" fmla="*/ 43 w 62"/>
                  <a:gd name="T5" fmla="*/ 77 h 78"/>
                  <a:gd name="T6" fmla="*/ 58 w 62"/>
                  <a:gd name="T7" fmla="*/ 48 h 78"/>
                  <a:gd name="T8" fmla="*/ 48 w 62"/>
                  <a:gd name="T9" fmla="*/ 19 h 78"/>
                  <a:gd name="T10" fmla="*/ 19 w 62"/>
                  <a:gd name="T11" fmla="*/ 4 h 78"/>
                  <a:gd name="T12" fmla="*/ 4 w 62"/>
                  <a:gd name="T13" fmla="*/ 33 h 78"/>
                  <a:gd name="T14" fmla="*/ 14 w 62"/>
                  <a:gd name="T15" fmla="*/ 63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78">
                    <a:moveTo>
                      <a:pt x="14" y="63"/>
                    </a:moveTo>
                    <a:cubicBezTo>
                      <a:pt x="17" y="72"/>
                      <a:pt x="26" y="78"/>
                      <a:pt x="36" y="78"/>
                    </a:cubicBezTo>
                    <a:cubicBezTo>
                      <a:pt x="38" y="78"/>
                      <a:pt x="41" y="78"/>
                      <a:pt x="43" y="77"/>
                    </a:cubicBezTo>
                    <a:cubicBezTo>
                      <a:pt x="55" y="73"/>
                      <a:pt x="62" y="60"/>
                      <a:pt x="58" y="48"/>
                    </a:cubicBezTo>
                    <a:cubicBezTo>
                      <a:pt x="48" y="19"/>
                      <a:pt x="48" y="19"/>
                      <a:pt x="48" y="19"/>
                    </a:cubicBezTo>
                    <a:cubicBezTo>
                      <a:pt x="44" y="7"/>
                      <a:pt x="31" y="0"/>
                      <a:pt x="19" y="4"/>
                    </a:cubicBezTo>
                    <a:cubicBezTo>
                      <a:pt x="7" y="8"/>
                      <a:pt x="0" y="21"/>
                      <a:pt x="4" y="33"/>
                    </a:cubicBezTo>
                    <a:lnTo>
                      <a:pt x="14" y="6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74" name="Freeform 57"/>
              <p:cNvSpPr>
                <a:spLocks/>
              </p:cNvSpPr>
              <p:nvPr/>
            </p:nvSpPr>
            <p:spPr bwMode="auto">
              <a:xfrm>
                <a:off x="5100637" y="-6696075"/>
                <a:ext cx="388938" cy="304800"/>
              </a:xfrm>
              <a:custGeom>
                <a:avLst/>
                <a:gdLst>
                  <a:gd name="T0" fmla="*/ 92 w 104"/>
                  <a:gd name="T1" fmla="*/ 6 h 81"/>
                  <a:gd name="T2" fmla="*/ 64 w 104"/>
                  <a:gd name="T3" fmla="*/ 7 h 81"/>
                  <a:gd name="T4" fmla="*/ 10 w 104"/>
                  <a:gd name="T5" fmla="*/ 51 h 81"/>
                  <a:gd name="T6" fmla="*/ 2 w 104"/>
                  <a:gd name="T7" fmla="*/ 75 h 81"/>
                  <a:gd name="T8" fmla="*/ 5 w 104"/>
                  <a:gd name="T9" fmla="*/ 81 h 81"/>
                  <a:gd name="T10" fmla="*/ 101 w 104"/>
                  <a:gd name="T11" fmla="*/ 81 h 81"/>
                  <a:gd name="T12" fmla="*/ 99 w 104"/>
                  <a:gd name="T13" fmla="*/ 70 h 81"/>
                  <a:gd name="T14" fmla="*/ 92 w 104"/>
                  <a:gd name="T15" fmla="*/ 52 h 81"/>
                  <a:gd name="T16" fmla="*/ 99 w 104"/>
                  <a:gd name="T17" fmla="*/ 34 h 81"/>
                  <a:gd name="T18" fmla="*/ 92 w 104"/>
                  <a:gd name="T19" fmla="*/ 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92" y="6"/>
                    </a:moveTo>
                    <a:cubicBezTo>
                      <a:pt x="84" y="0"/>
                      <a:pt x="72" y="0"/>
                      <a:pt x="64" y="7"/>
                    </a:cubicBezTo>
                    <a:cubicBezTo>
                      <a:pt x="10" y="51"/>
                      <a:pt x="10" y="51"/>
                      <a:pt x="10" y="51"/>
                    </a:cubicBezTo>
                    <a:cubicBezTo>
                      <a:pt x="3" y="57"/>
                      <a:pt x="0" y="66"/>
                      <a:pt x="2" y="75"/>
                    </a:cubicBezTo>
                    <a:cubicBezTo>
                      <a:pt x="3" y="77"/>
                      <a:pt x="4" y="79"/>
                      <a:pt x="5" y="81"/>
                    </a:cubicBezTo>
                    <a:cubicBezTo>
                      <a:pt x="101" y="81"/>
                      <a:pt x="101" y="81"/>
                      <a:pt x="101" y="81"/>
                    </a:cubicBezTo>
                    <a:cubicBezTo>
                      <a:pt x="102" y="77"/>
                      <a:pt x="101" y="73"/>
                      <a:pt x="99" y="70"/>
                    </a:cubicBezTo>
                    <a:cubicBezTo>
                      <a:pt x="92" y="52"/>
                      <a:pt x="92" y="52"/>
                      <a:pt x="92" y="52"/>
                    </a:cubicBezTo>
                    <a:cubicBezTo>
                      <a:pt x="99" y="34"/>
                      <a:pt x="99" y="34"/>
                      <a:pt x="99" y="34"/>
                    </a:cubicBezTo>
                    <a:cubicBezTo>
                      <a:pt x="104" y="24"/>
                      <a:pt x="101" y="13"/>
                      <a:pt x="92" y="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26" name="Group 25"/>
            <p:cNvGrpSpPr/>
            <p:nvPr/>
          </p:nvGrpSpPr>
          <p:grpSpPr>
            <a:xfrm>
              <a:off x="310148" y="3601787"/>
              <a:ext cx="368714" cy="442663"/>
              <a:chOff x="159844" y="2901784"/>
              <a:chExt cx="368714" cy="442663"/>
            </a:xfrm>
            <a:grpFill/>
          </p:grpSpPr>
          <p:sp>
            <p:nvSpPr>
              <p:cNvPr id="25" name="Oval 24"/>
              <p:cNvSpPr/>
              <p:nvPr/>
            </p:nvSpPr>
            <p:spPr bwMode="auto">
              <a:xfrm>
                <a:off x="331679" y="3147568"/>
                <a:ext cx="196879" cy="19687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320855" y="3066893"/>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221956" y="2939825"/>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159844" y="2901784"/>
                <a:ext cx="119842" cy="11984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3" name="Rectangle 2"/>
          <p:cNvSpPr/>
          <p:nvPr/>
        </p:nvSpPr>
        <p:spPr bwMode="auto">
          <a:xfrm>
            <a:off x="10133823" y="487"/>
            <a:ext cx="2052619" cy="6857027"/>
          </a:xfrm>
          <a:prstGeom prst="rect">
            <a:avLst/>
          </a:prstGeom>
          <a:solidFill>
            <a:schemeClr val="accent1">
              <a:lumMod val="50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725" name="TextBox 3724"/>
          <p:cNvSpPr txBox="1"/>
          <p:nvPr/>
        </p:nvSpPr>
        <p:spPr>
          <a:xfrm>
            <a:off x="10360149" y="1314172"/>
            <a:ext cx="565737"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Quincy</a:t>
            </a:r>
          </a:p>
        </p:txBody>
      </p:sp>
      <p:sp>
        <p:nvSpPr>
          <p:cNvPr id="3726" name="TextBox 3725"/>
          <p:cNvSpPr txBox="1"/>
          <p:nvPr/>
        </p:nvSpPr>
        <p:spPr>
          <a:xfrm>
            <a:off x="10360149" y="1937203"/>
            <a:ext cx="806804"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Cheyenne</a:t>
            </a:r>
          </a:p>
        </p:txBody>
      </p:sp>
      <p:sp>
        <p:nvSpPr>
          <p:cNvPr id="3727" name="TextBox 3726"/>
          <p:cNvSpPr txBox="1"/>
          <p:nvPr/>
        </p:nvSpPr>
        <p:spPr>
          <a:xfrm>
            <a:off x="10360149" y="1625688"/>
            <a:ext cx="658456"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Chicago</a:t>
            </a:r>
          </a:p>
        </p:txBody>
      </p:sp>
      <p:sp>
        <p:nvSpPr>
          <p:cNvPr id="3728" name="TextBox 3727"/>
          <p:cNvSpPr txBox="1"/>
          <p:nvPr/>
        </p:nvSpPr>
        <p:spPr>
          <a:xfrm>
            <a:off x="10360149" y="2871750"/>
            <a:ext cx="949181"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Des Moines</a:t>
            </a:r>
          </a:p>
        </p:txBody>
      </p:sp>
      <p:sp>
        <p:nvSpPr>
          <p:cNvPr id="3729" name="TextBox 3728"/>
          <p:cNvSpPr txBox="1"/>
          <p:nvPr/>
        </p:nvSpPr>
        <p:spPr>
          <a:xfrm>
            <a:off x="10360149" y="2248719"/>
            <a:ext cx="991738"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San Antonio</a:t>
            </a:r>
          </a:p>
        </p:txBody>
      </p:sp>
      <p:sp>
        <p:nvSpPr>
          <p:cNvPr id="3730" name="TextBox 3729"/>
          <p:cNvSpPr txBox="1"/>
          <p:nvPr/>
        </p:nvSpPr>
        <p:spPr>
          <a:xfrm>
            <a:off x="10360149" y="2560234"/>
            <a:ext cx="675867"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Boynton</a:t>
            </a:r>
          </a:p>
        </p:txBody>
      </p:sp>
      <p:sp>
        <p:nvSpPr>
          <p:cNvPr id="3731" name="TextBox 3730"/>
          <p:cNvSpPr txBox="1"/>
          <p:nvPr/>
        </p:nvSpPr>
        <p:spPr>
          <a:xfrm>
            <a:off x="10360149" y="3183265"/>
            <a:ext cx="435303"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Brazil</a:t>
            </a:r>
          </a:p>
        </p:txBody>
      </p:sp>
      <p:sp>
        <p:nvSpPr>
          <p:cNvPr id="3732" name="TextBox 3731"/>
          <p:cNvSpPr txBox="1"/>
          <p:nvPr/>
        </p:nvSpPr>
        <p:spPr>
          <a:xfrm>
            <a:off x="10360149" y="3494781"/>
            <a:ext cx="531164"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Dublin</a:t>
            </a:r>
          </a:p>
        </p:txBody>
      </p:sp>
      <p:sp>
        <p:nvSpPr>
          <p:cNvPr id="3733" name="TextBox 3732"/>
          <p:cNvSpPr txBox="1"/>
          <p:nvPr/>
        </p:nvSpPr>
        <p:spPr>
          <a:xfrm>
            <a:off x="10360149" y="3806296"/>
            <a:ext cx="934220"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Amsterdam</a:t>
            </a:r>
          </a:p>
        </p:txBody>
      </p:sp>
      <p:sp>
        <p:nvSpPr>
          <p:cNvPr id="3734" name="TextBox 3733"/>
          <p:cNvSpPr txBox="1"/>
          <p:nvPr/>
        </p:nvSpPr>
        <p:spPr>
          <a:xfrm>
            <a:off x="10360150" y="4740842"/>
            <a:ext cx="748029"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Shanghai</a:t>
            </a:r>
          </a:p>
        </p:txBody>
      </p:sp>
      <p:sp>
        <p:nvSpPr>
          <p:cNvPr id="3735" name="TextBox 3734"/>
          <p:cNvSpPr txBox="1"/>
          <p:nvPr/>
        </p:nvSpPr>
        <p:spPr>
          <a:xfrm>
            <a:off x="10360149" y="4429327"/>
            <a:ext cx="924666"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Hong Kong</a:t>
            </a:r>
          </a:p>
        </p:txBody>
      </p:sp>
      <p:sp>
        <p:nvSpPr>
          <p:cNvPr id="3736" name="TextBox 3735"/>
          <p:cNvSpPr txBox="1"/>
          <p:nvPr/>
        </p:nvSpPr>
        <p:spPr>
          <a:xfrm>
            <a:off x="10360150" y="5052358"/>
            <a:ext cx="460132"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Japan</a:t>
            </a:r>
          </a:p>
        </p:txBody>
      </p:sp>
      <p:sp>
        <p:nvSpPr>
          <p:cNvPr id="3737" name="TextBox 3736"/>
          <p:cNvSpPr txBox="1"/>
          <p:nvPr/>
        </p:nvSpPr>
        <p:spPr>
          <a:xfrm>
            <a:off x="10360149" y="4117811"/>
            <a:ext cx="822519"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Singapore</a:t>
            </a:r>
          </a:p>
        </p:txBody>
      </p:sp>
      <p:sp>
        <p:nvSpPr>
          <p:cNvPr id="3738" name="TextBox 3737"/>
          <p:cNvSpPr txBox="1"/>
          <p:nvPr/>
        </p:nvSpPr>
        <p:spPr>
          <a:xfrm>
            <a:off x="10360149" y="5363878"/>
            <a:ext cx="697742" cy="203665"/>
          </a:xfrm>
          <a:prstGeom prst="rect">
            <a:avLst/>
          </a:prstGeom>
          <a:noFill/>
        </p:spPr>
        <p:txBody>
          <a:bodyPr wrap="none" lIns="0" tIns="0" rIns="0" bIns="0" rtlCol="0">
            <a:spAutoFit/>
          </a:bodyPr>
          <a:lstStyle/>
          <a:p>
            <a:pPr defTabSz="913505" fontAlgn="base">
              <a:lnSpc>
                <a:spcPct val="90000"/>
              </a:lnSpc>
              <a:spcBef>
                <a:spcPct val="0"/>
              </a:spcBef>
              <a:spcAft>
                <a:spcPts val="588"/>
              </a:spcAft>
            </a:pPr>
            <a:r>
              <a:rPr lang="en-US" sz="1470" dirty="0">
                <a:solidFill>
                  <a:srgbClr val="FFFFFF"/>
                </a:solidFill>
                <a:latin typeface="Segoe UI Semilight" panose="020B0402040204020203" pitchFamily="34" charset="0"/>
                <a:ea typeface="ＭＳ Ｐゴシック" charset="0"/>
                <a:cs typeface="Segoe UI Semilight" panose="020B0402040204020203" pitchFamily="34" charset="0"/>
              </a:rPr>
              <a:t>Australia</a:t>
            </a:r>
          </a:p>
        </p:txBody>
      </p:sp>
      <p:sp>
        <p:nvSpPr>
          <p:cNvPr id="1264" name="Title 1"/>
          <p:cNvSpPr>
            <a:spLocks noGrp="1"/>
          </p:cNvSpPr>
          <p:nvPr>
            <p:ph type="title"/>
          </p:nvPr>
        </p:nvSpPr>
        <p:spPr/>
        <p:txBody>
          <a:bodyPr/>
          <a:lstStyle/>
          <a:p>
            <a:r>
              <a:rPr lang="en-US" dirty="0" smtClean="0">
                <a:solidFill>
                  <a:schemeClr val="bg1"/>
                </a:solidFill>
              </a:rPr>
              <a:t>Global scale</a:t>
            </a:r>
            <a:endParaRPr lang="en-US" dirty="0">
              <a:solidFill>
                <a:schemeClr val="bg1"/>
              </a:solidFill>
            </a:endParaRPr>
          </a:p>
        </p:txBody>
      </p:sp>
      <p:sp>
        <p:nvSpPr>
          <p:cNvPr id="2644" name="Oval 2643"/>
          <p:cNvSpPr/>
          <p:nvPr/>
        </p:nvSpPr>
        <p:spPr bwMode="auto">
          <a:xfrm>
            <a:off x="2587519" y="2379368"/>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5" name="Oval 2644"/>
          <p:cNvSpPr/>
          <p:nvPr/>
        </p:nvSpPr>
        <p:spPr bwMode="auto">
          <a:xfrm>
            <a:off x="2256427" y="2885284"/>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6" name="Oval 2645"/>
          <p:cNvSpPr/>
          <p:nvPr/>
        </p:nvSpPr>
        <p:spPr bwMode="auto">
          <a:xfrm>
            <a:off x="3033623" y="2159464"/>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7" name="Oval 2646"/>
          <p:cNvSpPr/>
          <p:nvPr/>
        </p:nvSpPr>
        <p:spPr bwMode="auto">
          <a:xfrm>
            <a:off x="3135985" y="2590353"/>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8" name="Oval 2647"/>
          <p:cNvSpPr/>
          <p:nvPr/>
        </p:nvSpPr>
        <p:spPr bwMode="auto">
          <a:xfrm>
            <a:off x="5678277" y="2025790"/>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49" name="Oval 2648"/>
          <p:cNvSpPr/>
          <p:nvPr/>
        </p:nvSpPr>
        <p:spPr bwMode="auto">
          <a:xfrm>
            <a:off x="5486765" y="1902950"/>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0" name="Oval 2649"/>
          <p:cNvSpPr/>
          <p:nvPr/>
        </p:nvSpPr>
        <p:spPr bwMode="auto">
          <a:xfrm>
            <a:off x="3945991" y="4404318"/>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1" name="Oval 2650"/>
          <p:cNvSpPr/>
          <p:nvPr/>
        </p:nvSpPr>
        <p:spPr bwMode="auto">
          <a:xfrm>
            <a:off x="9122135" y="2963680"/>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2" name="Oval 2651"/>
          <p:cNvSpPr/>
          <p:nvPr/>
        </p:nvSpPr>
        <p:spPr bwMode="auto">
          <a:xfrm>
            <a:off x="9627346" y="2624038"/>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653" name="Oval 2652"/>
          <p:cNvSpPr/>
          <p:nvPr/>
        </p:nvSpPr>
        <p:spPr bwMode="auto">
          <a:xfrm>
            <a:off x="8797160" y="3207505"/>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4" name="Oval 3743"/>
          <p:cNvSpPr/>
          <p:nvPr/>
        </p:nvSpPr>
        <p:spPr bwMode="auto">
          <a:xfrm>
            <a:off x="3306806" y="2041296"/>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5" name="Oval 3744"/>
          <p:cNvSpPr/>
          <p:nvPr/>
        </p:nvSpPr>
        <p:spPr bwMode="auto">
          <a:xfrm>
            <a:off x="2036776" y="2104638"/>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746" name="Oval 3745"/>
          <p:cNvSpPr/>
          <p:nvPr/>
        </p:nvSpPr>
        <p:spPr bwMode="auto">
          <a:xfrm>
            <a:off x="8676139" y="4185018"/>
            <a:ext cx="105663" cy="1056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5"/>
          <p:cNvSpPr>
            <a:spLocks/>
          </p:cNvSpPr>
          <p:nvPr/>
        </p:nvSpPr>
        <p:spPr bwMode="auto">
          <a:xfrm>
            <a:off x="2281327" y="651567"/>
            <a:ext cx="7766778" cy="1418234"/>
          </a:xfrm>
          <a:custGeom>
            <a:avLst/>
            <a:gdLst>
              <a:gd name="T0" fmla="*/ 10 w 9219"/>
              <a:gd name="T1" fmla="*/ 1683 h 1683"/>
              <a:gd name="T2" fmla="*/ 0 w 9219"/>
              <a:gd name="T3" fmla="*/ 1671 h 1683"/>
              <a:gd name="T4" fmla="*/ 2971 w 9219"/>
              <a:gd name="T5" fmla="*/ 274 h 1683"/>
              <a:gd name="T6" fmla="*/ 5970 w 9219"/>
              <a:gd name="T7" fmla="*/ 164 h 1683"/>
              <a:gd name="T8" fmla="*/ 9219 w 9219"/>
              <a:gd name="T9" fmla="*/ 937 h 1683"/>
              <a:gd name="T10" fmla="*/ 9213 w 9219"/>
              <a:gd name="T11" fmla="*/ 950 h 1683"/>
              <a:gd name="T12" fmla="*/ 5968 w 9219"/>
              <a:gd name="T13" fmla="*/ 179 h 1683"/>
              <a:gd name="T14" fmla="*/ 10 w 9219"/>
              <a:gd name="T15" fmla="*/ 1683 h 16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19" h="1683">
                <a:moveTo>
                  <a:pt x="10" y="1683"/>
                </a:moveTo>
                <a:cubicBezTo>
                  <a:pt x="0" y="1671"/>
                  <a:pt x="0" y="1671"/>
                  <a:pt x="0" y="1671"/>
                </a:cubicBezTo>
                <a:cubicBezTo>
                  <a:pt x="827" y="978"/>
                  <a:pt x="1827" y="508"/>
                  <a:pt x="2971" y="274"/>
                </a:cubicBezTo>
                <a:cubicBezTo>
                  <a:pt x="3886" y="87"/>
                  <a:pt x="4895" y="50"/>
                  <a:pt x="5970" y="164"/>
                </a:cubicBezTo>
                <a:cubicBezTo>
                  <a:pt x="7799" y="358"/>
                  <a:pt x="9205" y="931"/>
                  <a:pt x="9219" y="937"/>
                </a:cubicBezTo>
                <a:cubicBezTo>
                  <a:pt x="9213" y="950"/>
                  <a:pt x="9213" y="950"/>
                  <a:pt x="9213" y="950"/>
                </a:cubicBezTo>
                <a:cubicBezTo>
                  <a:pt x="9199" y="945"/>
                  <a:pt x="7795" y="373"/>
                  <a:pt x="5968" y="179"/>
                </a:cubicBezTo>
                <a:cubicBezTo>
                  <a:pt x="4281" y="0"/>
                  <a:pt x="1879" y="116"/>
                  <a:pt x="10" y="1683"/>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 name="Freeform 6"/>
          <p:cNvSpPr>
            <a:spLocks/>
          </p:cNvSpPr>
          <p:nvPr/>
        </p:nvSpPr>
        <p:spPr bwMode="auto">
          <a:xfrm>
            <a:off x="3455702" y="1059425"/>
            <a:ext cx="6592403" cy="973298"/>
          </a:xfrm>
          <a:custGeom>
            <a:avLst/>
            <a:gdLst>
              <a:gd name="T0" fmla="*/ 8 w 7825"/>
              <a:gd name="T1" fmla="*/ 1155 h 1155"/>
              <a:gd name="T2" fmla="*/ 0 w 7825"/>
              <a:gd name="T3" fmla="*/ 1143 h 1155"/>
              <a:gd name="T4" fmla="*/ 2648 w 7825"/>
              <a:gd name="T5" fmla="*/ 169 h 1155"/>
              <a:gd name="T6" fmla="*/ 5179 w 7825"/>
              <a:gd name="T7" fmla="*/ 161 h 1155"/>
              <a:gd name="T8" fmla="*/ 7825 w 7825"/>
              <a:gd name="T9" fmla="*/ 819 h 1155"/>
              <a:gd name="T10" fmla="*/ 7819 w 7825"/>
              <a:gd name="T11" fmla="*/ 833 h 1155"/>
              <a:gd name="T12" fmla="*/ 5177 w 7825"/>
              <a:gd name="T13" fmla="*/ 175 h 1155"/>
              <a:gd name="T14" fmla="*/ 8 w 7825"/>
              <a:gd name="T15" fmla="*/ 1155 h 1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25" h="1155">
                <a:moveTo>
                  <a:pt x="8" y="1155"/>
                </a:moveTo>
                <a:cubicBezTo>
                  <a:pt x="0" y="1143"/>
                  <a:pt x="0" y="1143"/>
                  <a:pt x="0" y="1143"/>
                </a:cubicBezTo>
                <a:cubicBezTo>
                  <a:pt x="771" y="644"/>
                  <a:pt x="1661" y="316"/>
                  <a:pt x="2648" y="169"/>
                </a:cubicBezTo>
                <a:cubicBezTo>
                  <a:pt x="3437" y="52"/>
                  <a:pt x="4288" y="49"/>
                  <a:pt x="5179" y="161"/>
                </a:cubicBezTo>
                <a:cubicBezTo>
                  <a:pt x="6695" y="351"/>
                  <a:pt x="7814" y="815"/>
                  <a:pt x="7825" y="819"/>
                </a:cubicBezTo>
                <a:cubicBezTo>
                  <a:pt x="7819" y="833"/>
                  <a:pt x="7819" y="833"/>
                  <a:pt x="7819" y="833"/>
                </a:cubicBezTo>
                <a:cubicBezTo>
                  <a:pt x="7808" y="828"/>
                  <a:pt x="6691" y="365"/>
                  <a:pt x="5177" y="175"/>
                </a:cubicBezTo>
                <a:cubicBezTo>
                  <a:pt x="3780" y="0"/>
                  <a:pt x="1749" y="27"/>
                  <a:pt x="8" y="1155"/>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 name="Freeform 7"/>
          <p:cNvSpPr>
            <a:spLocks/>
          </p:cNvSpPr>
          <p:nvPr/>
        </p:nvSpPr>
        <p:spPr bwMode="auto">
          <a:xfrm>
            <a:off x="2800064" y="901129"/>
            <a:ext cx="7248755" cy="1415383"/>
          </a:xfrm>
          <a:custGeom>
            <a:avLst/>
            <a:gdLst>
              <a:gd name="T0" fmla="*/ 10 w 8604"/>
              <a:gd name="T1" fmla="*/ 1680 h 1680"/>
              <a:gd name="T2" fmla="*/ 0 w 8604"/>
              <a:gd name="T3" fmla="*/ 1669 h 1680"/>
              <a:gd name="T4" fmla="*/ 2906 w 8604"/>
              <a:gd name="T5" fmla="*/ 248 h 1680"/>
              <a:gd name="T6" fmla="*/ 5690 w 8604"/>
              <a:gd name="T7" fmla="*/ 299 h 1680"/>
              <a:gd name="T8" fmla="*/ 8604 w 8604"/>
              <a:gd name="T9" fmla="*/ 1375 h 1680"/>
              <a:gd name="T10" fmla="*/ 8596 w 8604"/>
              <a:gd name="T11" fmla="*/ 1387 h 1680"/>
              <a:gd name="T12" fmla="*/ 5687 w 8604"/>
              <a:gd name="T13" fmla="*/ 314 h 1680"/>
              <a:gd name="T14" fmla="*/ 10 w 8604"/>
              <a:gd name="T15" fmla="*/ 1680 h 1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4" h="1680">
                <a:moveTo>
                  <a:pt x="10" y="1680"/>
                </a:moveTo>
                <a:cubicBezTo>
                  <a:pt x="0" y="1669"/>
                  <a:pt x="0" y="1669"/>
                  <a:pt x="0" y="1669"/>
                </a:cubicBezTo>
                <a:cubicBezTo>
                  <a:pt x="844" y="925"/>
                  <a:pt x="1822" y="447"/>
                  <a:pt x="2906" y="248"/>
                </a:cubicBezTo>
                <a:cubicBezTo>
                  <a:pt x="3773" y="88"/>
                  <a:pt x="4710" y="105"/>
                  <a:pt x="5690" y="299"/>
                </a:cubicBezTo>
                <a:cubicBezTo>
                  <a:pt x="7358" y="629"/>
                  <a:pt x="8591" y="1367"/>
                  <a:pt x="8604" y="1375"/>
                </a:cubicBezTo>
                <a:cubicBezTo>
                  <a:pt x="8596" y="1387"/>
                  <a:pt x="8596" y="1387"/>
                  <a:pt x="8596" y="1387"/>
                </a:cubicBezTo>
                <a:cubicBezTo>
                  <a:pt x="8584" y="1380"/>
                  <a:pt x="7353" y="643"/>
                  <a:pt x="5687" y="314"/>
                </a:cubicBezTo>
                <a:cubicBezTo>
                  <a:pt x="4149" y="10"/>
                  <a:pt x="1917" y="0"/>
                  <a:pt x="10" y="1680"/>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 name="Freeform 8"/>
          <p:cNvSpPr>
            <a:spLocks/>
          </p:cNvSpPr>
          <p:nvPr/>
        </p:nvSpPr>
        <p:spPr bwMode="auto">
          <a:xfrm>
            <a:off x="2479195" y="1522187"/>
            <a:ext cx="7568910" cy="1338731"/>
          </a:xfrm>
          <a:custGeom>
            <a:avLst/>
            <a:gdLst>
              <a:gd name="T0" fmla="*/ 9 w 8984"/>
              <a:gd name="T1" fmla="*/ 1589 h 1589"/>
              <a:gd name="T2" fmla="*/ 0 w 8984"/>
              <a:gd name="T3" fmla="*/ 1577 h 1589"/>
              <a:gd name="T4" fmla="*/ 3126 w 8984"/>
              <a:gd name="T5" fmla="*/ 248 h 1589"/>
              <a:gd name="T6" fmla="*/ 6023 w 8984"/>
              <a:gd name="T7" fmla="*/ 189 h 1589"/>
              <a:gd name="T8" fmla="*/ 8984 w 8984"/>
              <a:gd name="T9" fmla="*/ 1004 h 1589"/>
              <a:gd name="T10" fmla="*/ 8978 w 8984"/>
              <a:gd name="T11" fmla="*/ 1017 h 1589"/>
              <a:gd name="T12" fmla="*/ 6020 w 8984"/>
              <a:gd name="T13" fmla="*/ 204 h 1589"/>
              <a:gd name="T14" fmla="*/ 9 w 8984"/>
              <a:gd name="T15" fmla="*/ 1589 h 15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84" h="1589">
                <a:moveTo>
                  <a:pt x="9" y="1589"/>
                </a:moveTo>
                <a:cubicBezTo>
                  <a:pt x="0" y="1577"/>
                  <a:pt x="0" y="1577"/>
                  <a:pt x="0" y="1577"/>
                </a:cubicBezTo>
                <a:cubicBezTo>
                  <a:pt x="931" y="907"/>
                  <a:pt x="1983" y="460"/>
                  <a:pt x="3126" y="248"/>
                </a:cubicBezTo>
                <a:cubicBezTo>
                  <a:pt x="4040" y="79"/>
                  <a:pt x="5015" y="59"/>
                  <a:pt x="6023" y="189"/>
                </a:cubicBezTo>
                <a:cubicBezTo>
                  <a:pt x="7738" y="411"/>
                  <a:pt x="8972" y="998"/>
                  <a:pt x="8984" y="1004"/>
                </a:cubicBezTo>
                <a:cubicBezTo>
                  <a:pt x="8978" y="1017"/>
                  <a:pt x="8978" y="1017"/>
                  <a:pt x="8978" y="1017"/>
                </a:cubicBezTo>
                <a:cubicBezTo>
                  <a:pt x="8965" y="1011"/>
                  <a:pt x="7734" y="425"/>
                  <a:pt x="6020" y="204"/>
                </a:cubicBezTo>
                <a:cubicBezTo>
                  <a:pt x="4439" y="0"/>
                  <a:pt x="2113" y="75"/>
                  <a:pt x="9" y="1589"/>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2" name="Freeform 9"/>
          <p:cNvSpPr>
            <a:spLocks/>
          </p:cNvSpPr>
          <p:nvPr/>
        </p:nvSpPr>
        <p:spPr bwMode="auto">
          <a:xfrm>
            <a:off x="3321651" y="1600264"/>
            <a:ext cx="6726455" cy="1075263"/>
          </a:xfrm>
          <a:custGeom>
            <a:avLst/>
            <a:gdLst>
              <a:gd name="T0" fmla="*/ 7977 w 7984"/>
              <a:gd name="T1" fmla="*/ 1276 h 1276"/>
              <a:gd name="T2" fmla="*/ 5229 w 7984"/>
              <a:gd name="T3" fmla="*/ 372 h 1276"/>
              <a:gd name="T4" fmla="*/ 9 w 7984"/>
              <a:gd name="T5" fmla="*/ 1178 h 1276"/>
              <a:gd name="T6" fmla="*/ 0 w 7984"/>
              <a:gd name="T7" fmla="*/ 1166 h 1276"/>
              <a:gd name="T8" fmla="*/ 2643 w 7984"/>
              <a:gd name="T9" fmla="*/ 217 h 1276"/>
              <a:gd name="T10" fmla="*/ 5233 w 7984"/>
              <a:gd name="T11" fmla="*/ 357 h 1276"/>
              <a:gd name="T12" fmla="*/ 7984 w 7984"/>
              <a:gd name="T13" fmla="*/ 1263 h 1276"/>
              <a:gd name="T14" fmla="*/ 7977 w 7984"/>
              <a:gd name="T15" fmla="*/ 1276 h 12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84" h="1276">
                <a:moveTo>
                  <a:pt x="7977" y="1276"/>
                </a:moveTo>
                <a:cubicBezTo>
                  <a:pt x="7966" y="1270"/>
                  <a:pt x="6792" y="678"/>
                  <a:pt x="5229" y="372"/>
                </a:cubicBezTo>
                <a:cubicBezTo>
                  <a:pt x="3788" y="90"/>
                  <a:pt x="1712" y="0"/>
                  <a:pt x="9" y="1178"/>
                </a:cubicBezTo>
                <a:cubicBezTo>
                  <a:pt x="0" y="1166"/>
                  <a:pt x="0" y="1166"/>
                  <a:pt x="0" y="1166"/>
                </a:cubicBezTo>
                <a:cubicBezTo>
                  <a:pt x="755" y="645"/>
                  <a:pt x="1644" y="325"/>
                  <a:pt x="2643" y="217"/>
                </a:cubicBezTo>
                <a:cubicBezTo>
                  <a:pt x="3443" y="130"/>
                  <a:pt x="4314" y="177"/>
                  <a:pt x="5233" y="357"/>
                </a:cubicBezTo>
                <a:cubicBezTo>
                  <a:pt x="6797" y="664"/>
                  <a:pt x="7972" y="1257"/>
                  <a:pt x="7984" y="1263"/>
                </a:cubicBezTo>
                <a:lnTo>
                  <a:pt x="7977" y="1276"/>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3" name="Freeform 10"/>
          <p:cNvSpPr>
            <a:spLocks/>
          </p:cNvSpPr>
          <p:nvPr/>
        </p:nvSpPr>
        <p:spPr bwMode="auto">
          <a:xfrm>
            <a:off x="3145071" y="486497"/>
            <a:ext cx="6905531" cy="2508472"/>
          </a:xfrm>
          <a:custGeom>
            <a:avLst/>
            <a:gdLst>
              <a:gd name="T0" fmla="*/ 8154 w 8166"/>
              <a:gd name="T1" fmla="*/ 2977 h 2977"/>
              <a:gd name="T2" fmla="*/ 6822 w 8166"/>
              <a:gd name="T3" fmla="*/ 1554 h 2977"/>
              <a:gd name="T4" fmla="*/ 3563 w 8166"/>
              <a:gd name="T5" fmla="*/ 61 h 2977"/>
              <a:gd name="T6" fmla="*/ 11 w 8166"/>
              <a:gd name="T7" fmla="*/ 1946 h 2977"/>
              <a:gd name="T8" fmla="*/ 0 w 8166"/>
              <a:gd name="T9" fmla="*/ 1936 h 2977"/>
              <a:gd name="T10" fmla="*/ 3564 w 8166"/>
              <a:gd name="T11" fmla="*/ 47 h 2977"/>
              <a:gd name="T12" fmla="*/ 5372 w 8166"/>
              <a:gd name="T13" fmla="*/ 544 h 2977"/>
              <a:gd name="T14" fmla="*/ 6832 w 8166"/>
              <a:gd name="T15" fmla="*/ 1544 h 2977"/>
              <a:gd name="T16" fmla="*/ 8166 w 8166"/>
              <a:gd name="T17" fmla="*/ 2969 h 2977"/>
              <a:gd name="T18" fmla="*/ 8154 w 8166"/>
              <a:gd name="T19" fmla="*/ 2977 h 2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6" h="2977">
                <a:moveTo>
                  <a:pt x="8154" y="2977"/>
                </a:moveTo>
                <a:cubicBezTo>
                  <a:pt x="8149" y="2970"/>
                  <a:pt x="7639" y="2264"/>
                  <a:pt x="6822" y="1554"/>
                </a:cubicBezTo>
                <a:cubicBezTo>
                  <a:pt x="6069" y="900"/>
                  <a:pt x="4891" y="110"/>
                  <a:pt x="3563" y="61"/>
                </a:cubicBezTo>
                <a:cubicBezTo>
                  <a:pt x="2287" y="14"/>
                  <a:pt x="1093" y="648"/>
                  <a:pt x="11" y="1946"/>
                </a:cubicBezTo>
                <a:cubicBezTo>
                  <a:pt x="0" y="1936"/>
                  <a:pt x="0" y="1936"/>
                  <a:pt x="0" y="1936"/>
                </a:cubicBezTo>
                <a:cubicBezTo>
                  <a:pt x="1084" y="635"/>
                  <a:pt x="2283" y="0"/>
                  <a:pt x="3564" y="47"/>
                </a:cubicBezTo>
                <a:cubicBezTo>
                  <a:pt x="4152" y="69"/>
                  <a:pt x="4761" y="236"/>
                  <a:pt x="5372" y="544"/>
                </a:cubicBezTo>
                <a:cubicBezTo>
                  <a:pt x="5860" y="790"/>
                  <a:pt x="6352" y="1126"/>
                  <a:pt x="6832" y="1544"/>
                </a:cubicBezTo>
                <a:cubicBezTo>
                  <a:pt x="7651" y="2254"/>
                  <a:pt x="8161" y="2962"/>
                  <a:pt x="8166" y="2969"/>
                </a:cubicBezTo>
                <a:lnTo>
                  <a:pt x="8154" y="2977"/>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4" name="Freeform 11"/>
          <p:cNvSpPr>
            <a:spLocks/>
          </p:cNvSpPr>
          <p:nvPr/>
        </p:nvSpPr>
        <p:spPr bwMode="auto">
          <a:xfrm>
            <a:off x="4134516" y="3019213"/>
            <a:ext cx="5912521" cy="1360835"/>
          </a:xfrm>
          <a:custGeom>
            <a:avLst/>
            <a:gdLst>
              <a:gd name="T0" fmla="*/ 10 w 7018"/>
              <a:gd name="T1" fmla="*/ 1615 h 1615"/>
              <a:gd name="T2" fmla="*/ 0 w 7018"/>
              <a:gd name="T3" fmla="*/ 1604 h 1615"/>
              <a:gd name="T4" fmla="*/ 2373 w 7018"/>
              <a:gd name="T5" fmla="*/ 324 h 1615"/>
              <a:gd name="T6" fmla="*/ 4643 w 7018"/>
              <a:gd name="T7" fmla="*/ 0 h 1615"/>
              <a:gd name="T8" fmla="*/ 4667 w 7018"/>
              <a:gd name="T9" fmla="*/ 0 h 1615"/>
              <a:gd name="T10" fmla="*/ 7018 w 7018"/>
              <a:gd name="T11" fmla="*/ 312 h 1615"/>
              <a:gd name="T12" fmla="*/ 7014 w 7018"/>
              <a:gd name="T13" fmla="*/ 326 h 1615"/>
              <a:gd name="T14" fmla="*/ 4667 w 7018"/>
              <a:gd name="T15" fmla="*/ 15 h 1615"/>
              <a:gd name="T16" fmla="*/ 4643 w 7018"/>
              <a:gd name="T17" fmla="*/ 15 h 1615"/>
              <a:gd name="T18" fmla="*/ 10 w 7018"/>
              <a:gd name="T1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18" h="1615">
                <a:moveTo>
                  <a:pt x="10" y="1615"/>
                </a:moveTo>
                <a:cubicBezTo>
                  <a:pt x="0" y="1604"/>
                  <a:pt x="0" y="1604"/>
                  <a:pt x="0" y="1604"/>
                </a:cubicBezTo>
                <a:cubicBezTo>
                  <a:pt x="690" y="1021"/>
                  <a:pt x="1488" y="591"/>
                  <a:pt x="2373" y="324"/>
                </a:cubicBezTo>
                <a:cubicBezTo>
                  <a:pt x="3080" y="111"/>
                  <a:pt x="3844" y="2"/>
                  <a:pt x="4643" y="0"/>
                </a:cubicBezTo>
                <a:cubicBezTo>
                  <a:pt x="4651" y="0"/>
                  <a:pt x="4659" y="0"/>
                  <a:pt x="4667" y="0"/>
                </a:cubicBezTo>
                <a:cubicBezTo>
                  <a:pt x="6015" y="0"/>
                  <a:pt x="7008" y="309"/>
                  <a:pt x="7018" y="312"/>
                </a:cubicBezTo>
                <a:cubicBezTo>
                  <a:pt x="7014" y="326"/>
                  <a:pt x="7014" y="326"/>
                  <a:pt x="7014" y="326"/>
                </a:cubicBezTo>
                <a:cubicBezTo>
                  <a:pt x="7004" y="323"/>
                  <a:pt x="6013" y="15"/>
                  <a:pt x="4667" y="15"/>
                </a:cubicBezTo>
                <a:cubicBezTo>
                  <a:pt x="4659" y="15"/>
                  <a:pt x="4651" y="15"/>
                  <a:pt x="4643" y="15"/>
                </a:cubicBezTo>
                <a:cubicBezTo>
                  <a:pt x="3390" y="18"/>
                  <a:pt x="1569" y="298"/>
                  <a:pt x="10" y="1615"/>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5" name="Freeform 12"/>
          <p:cNvSpPr>
            <a:spLocks/>
          </p:cNvSpPr>
          <p:nvPr/>
        </p:nvSpPr>
        <p:spPr bwMode="auto">
          <a:xfrm>
            <a:off x="5616568" y="1257293"/>
            <a:ext cx="4434033" cy="2356238"/>
          </a:xfrm>
          <a:custGeom>
            <a:avLst/>
            <a:gdLst>
              <a:gd name="T0" fmla="*/ 5251 w 5263"/>
              <a:gd name="T1" fmla="*/ 2796 h 2796"/>
              <a:gd name="T2" fmla="*/ 3998 w 5263"/>
              <a:gd name="T3" fmla="*/ 1421 h 2796"/>
              <a:gd name="T4" fmla="*/ 1392 w 5263"/>
              <a:gd name="T5" fmla="*/ 24 h 2796"/>
              <a:gd name="T6" fmla="*/ 12 w 5263"/>
              <a:gd name="T7" fmla="*/ 720 h 2796"/>
              <a:gd name="T8" fmla="*/ 0 w 5263"/>
              <a:gd name="T9" fmla="*/ 711 h 2796"/>
              <a:gd name="T10" fmla="*/ 1392 w 5263"/>
              <a:gd name="T11" fmla="*/ 9 h 2796"/>
              <a:gd name="T12" fmla="*/ 2763 w 5263"/>
              <a:gd name="T13" fmla="*/ 457 h 2796"/>
              <a:gd name="T14" fmla="*/ 4008 w 5263"/>
              <a:gd name="T15" fmla="*/ 1410 h 2796"/>
              <a:gd name="T16" fmla="*/ 5263 w 5263"/>
              <a:gd name="T17" fmla="*/ 2787 h 2796"/>
              <a:gd name="T18" fmla="*/ 5251 w 5263"/>
              <a:gd name="T19" fmla="*/ 279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3" h="2796">
                <a:moveTo>
                  <a:pt x="5251" y="2796"/>
                </a:moveTo>
                <a:cubicBezTo>
                  <a:pt x="5246" y="2789"/>
                  <a:pt x="4729" y="2102"/>
                  <a:pt x="3998" y="1421"/>
                </a:cubicBezTo>
                <a:cubicBezTo>
                  <a:pt x="3324" y="792"/>
                  <a:pt x="2324" y="40"/>
                  <a:pt x="1392" y="24"/>
                </a:cubicBezTo>
                <a:cubicBezTo>
                  <a:pt x="855" y="15"/>
                  <a:pt x="391" y="249"/>
                  <a:pt x="12" y="720"/>
                </a:cubicBezTo>
                <a:cubicBezTo>
                  <a:pt x="0" y="711"/>
                  <a:pt x="0" y="711"/>
                  <a:pt x="0" y="711"/>
                </a:cubicBezTo>
                <a:cubicBezTo>
                  <a:pt x="382" y="236"/>
                  <a:pt x="850" y="0"/>
                  <a:pt x="1392" y="9"/>
                </a:cubicBezTo>
                <a:cubicBezTo>
                  <a:pt x="1806" y="16"/>
                  <a:pt x="2267" y="167"/>
                  <a:pt x="2763" y="457"/>
                </a:cubicBezTo>
                <a:cubicBezTo>
                  <a:pt x="3159" y="688"/>
                  <a:pt x="3578" y="1009"/>
                  <a:pt x="4008" y="1410"/>
                </a:cubicBezTo>
                <a:cubicBezTo>
                  <a:pt x="4740" y="2093"/>
                  <a:pt x="5258" y="2780"/>
                  <a:pt x="5263" y="2787"/>
                </a:cubicBezTo>
                <a:lnTo>
                  <a:pt x="5251" y="2796"/>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6" name="Freeform 13"/>
          <p:cNvSpPr>
            <a:spLocks/>
          </p:cNvSpPr>
          <p:nvPr/>
        </p:nvSpPr>
        <p:spPr bwMode="auto">
          <a:xfrm>
            <a:off x="5835471" y="1478335"/>
            <a:ext cx="4215131" cy="2443585"/>
          </a:xfrm>
          <a:custGeom>
            <a:avLst/>
            <a:gdLst>
              <a:gd name="T0" fmla="*/ 4991 w 5003"/>
              <a:gd name="T1" fmla="*/ 2900 h 2900"/>
              <a:gd name="T2" fmla="*/ 3821 w 5003"/>
              <a:gd name="T3" fmla="*/ 1519 h 2900"/>
              <a:gd name="T4" fmla="*/ 1339 w 5003"/>
              <a:gd name="T5" fmla="*/ 49 h 2900"/>
              <a:gd name="T6" fmla="*/ 10 w 5003"/>
              <a:gd name="T7" fmla="*/ 613 h 2900"/>
              <a:gd name="T8" fmla="*/ 0 w 5003"/>
              <a:gd name="T9" fmla="*/ 603 h 2900"/>
              <a:gd name="T10" fmla="*/ 1340 w 5003"/>
              <a:gd name="T11" fmla="*/ 35 h 2900"/>
              <a:gd name="T12" fmla="*/ 2655 w 5003"/>
              <a:gd name="T13" fmla="*/ 532 h 2900"/>
              <a:gd name="T14" fmla="*/ 3831 w 5003"/>
              <a:gd name="T15" fmla="*/ 1509 h 2900"/>
              <a:gd name="T16" fmla="*/ 5003 w 5003"/>
              <a:gd name="T17" fmla="*/ 2892 h 2900"/>
              <a:gd name="T18" fmla="*/ 4991 w 5003"/>
              <a:gd name="T19" fmla="*/ 2900 h 2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03" h="2900">
                <a:moveTo>
                  <a:pt x="4991" y="2900"/>
                </a:moveTo>
                <a:cubicBezTo>
                  <a:pt x="4986" y="2893"/>
                  <a:pt x="4507" y="2209"/>
                  <a:pt x="3821" y="1519"/>
                </a:cubicBezTo>
                <a:cubicBezTo>
                  <a:pt x="3187" y="882"/>
                  <a:pt x="2243" y="111"/>
                  <a:pt x="1339" y="49"/>
                </a:cubicBezTo>
                <a:cubicBezTo>
                  <a:pt x="834" y="15"/>
                  <a:pt x="387" y="204"/>
                  <a:pt x="10" y="613"/>
                </a:cubicBezTo>
                <a:cubicBezTo>
                  <a:pt x="0" y="603"/>
                  <a:pt x="0" y="603"/>
                  <a:pt x="0" y="603"/>
                </a:cubicBezTo>
                <a:cubicBezTo>
                  <a:pt x="379" y="191"/>
                  <a:pt x="830" y="0"/>
                  <a:pt x="1340" y="35"/>
                </a:cubicBezTo>
                <a:cubicBezTo>
                  <a:pt x="1742" y="62"/>
                  <a:pt x="2184" y="229"/>
                  <a:pt x="2655" y="532"/>
                </a:cubicBezTo>
                <a:cubicBezTo>
                  <a:pt x="3032" y="774"/>
                  <a:pt x="3427" y="1103"/>
                  <a:pt x="3831" y="1509"/>
                </a:cubicBezTo>
                <a:cubicBezTo>
                  <a:pt x="4519" y="2200"/>
                  <a:pt x="4998" y="2885"/>
                  <a:pt x="5003" y="2892"/>
                </a:cubicBezTo>
                <a:lnTo>
                  <a:pt x="4991" y="2900"/>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7" name="Freeform 14"/>
          <p:cNvSpPr>
            <a:spLocks/>
          </p:cNvSpPr>
          <p:nvPr/>
        </p:nvSpPr>
        <p:spPr bwMode="auto">
          <a:xfrm>
            <a:off x="9268754" y="3076613"/>
            <a:ext cx="775787" cy="1143358"/>
          </a:xfrm>
          <a:custGeom>
            <a:avLst/>
            <a:gdLst>
              <a:gd name="T0" fmla="*/ 913 w 921"/>
              <a:gd name="T1" fmla="*/ 1357 h 1357"/>
              <a:gd name="T2" fmla="*/ 0 w 921"/>
              <a:gd name="T3" fmla="*/ 3 h 1357"/>
              <a:gd name="T4" fmla="*/ 15 w 921"/>
              <a:gd name="T5" fmla="*/ 0 h 1357"/>
              <a:gd name="T6" fmla="*/ 921 w 921"/>
              <a:gd name="T7" fmla="*/ 1345 h 1357"/>
              <a:gd name="T8" fmla="*/ 913 w 921"/>
              <a:gd name="T9" fmla="*/ 1357 h 1357"/>
            </a:gdLst>
            <a:ahLst/>
            <a:cxnLst>
              <a:cxn ang="0">
                <a:pos x="T0" y="T1"/>
              </a:cxn>
              <a:cxn ang="0">
                <a:pos x="T2" y="T3"/>
              </a:cxn>
              <a:cxn ang="0">
                <a:pos x="T4" y="T5"/>
              </a:cxn>
              <a:cxn ang="0">
                <a:pos x="T6" y="T7"/>
              </a:cxn>
              <a:cxn ang="0">
                <a:pos x="T8" y="T9"/>
              </a:cxn>
            </a:cxnLst>
            <a:rect l="0" t="0" r="r" b="b"/>
            <a:pathLst>
              <a:path w="921" h="1357">
                <a:moveTo>
                  <a:pt x="913" y="1357"/>
                </a:moveTo>
                <a:cubicBezTo>
                  <a:pt x="905" y="1352"/>
                  <a:pt x="185" y="837"/>
                  <a:pt x="0" y="3"/>
                </a:cubicBezTo>
                <a:cubicBezTo>
                  <a:pt x="15" y="0"/>
                  <a:pt x="15" y="0"/>
                  <a:pt x="15" y="0"/>
                </a:cubicBezTo>
                <a:cubicBezTo>
                  <a:pt x="198" y="829"/>
                  <a:pt x="914" y="1340"/>
                  <a:pt x="921" y="1345"/>
                </a:cubicBezTo>
                <a:lnTo>
                  <a:pt x="913" y="1357"/>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8" name="Freeform 15"/>
          <p:cNvSpPr>
            <a:spLocks/>
          </p:cNvSpPr>
          <p:nvPr/>
        </p:nvSpPr>
        <p:spPr bwMode="auto">
          <a:xfrm>
            <a:off x="8906530" y="3355410"/>
            <a:ext cx="1144071" cy="1195054"/>
          </a:xfrm>
          <a:custGeom>
            <a:avLst/>
            <a:gdLst>
              <a:gd name="T0" fmla="*/ 1355 w 1358"/>
              <a:gd name="T1" fmla="*/ 1418 h 1418"/>
              <a:gd name="T2" fmla="*/ 846 w 1358"/>
              <a:gd name="T3" fmla="*/ 1160 h 1418"/>
              <a:gd name="T4" fmla="*/ 0 w 1358"/>
              <a:gd name="T5" fmla="*/ 6 h 1418"/>
              <a:gd name="T6" fmla="*/ 14 w 1358"/>
              <a:gd name="T7" fmla="*/ 0 h 1418"/>
              <a:gd name="T8" fmla="*/ 855 w 1358"/>
              <a:gd name="T9" fmla="*/ 1148 h 1418"/>
              <a:gd name="T10" fmla="*/ 1358 w 1358"/>
              <a:gd name="T11" fmla="*/ 1404 h 1418"/>
              <a:gd name="T12" fmla="*/ 1355 w 1358"/>
              <a:gd name="T13" fmla="*/ 1418 h 1418"/>
            </a:gdLst>
            <a:ahLst/>
            <a:cxnLst>
              <a:cxn ang="0">
                <a:pos x="T0" y="T1"/>
              </a:cxn>
              <a:cxn ang="0">
                <a:pos x="T2" y="T3"/>
              </a:cxn>
              <a:cxn ang="0">
                <a:pos x="T4" y="T5"/>
              </a:cxn>
              <a:cxn ang="0">
                <a:pos x="T6" y="T7"/>
              </a:cxn>
              <a:cxn ang="0">
                <a:pos x="T8" y="T9"/>
              </a:cxn>
              <a:cxn ang="0">
                <a:pos x="T10" y="T11"/>
              </a:cxn>
              <a:cxn ang="0">
                <a:pos x="T12" y="T13"/>
              </a:cxn>
            </a:cxnLst>
            <a:rect l="0" t="0" r="r" b="b"/>
            <a:pathLst>
              <a:path w="1358" h="1418">
                <a:moveTo>
                  <a:pt x="1355" y="1418"/>
                </a:moveTo>
                <a:cubicBezTo>
                  <a:pt x="1353" y="1418"/>
                  <a:pt x="1125" y="1362"/>
                  <a:pt x="846" y="1160"/>
                </a:cubicBezTo>
                <a:cubicBezTo>
                  <a:pt x="589" y="975"/>
                  <a:pt x="233" y="624"/>
                  <a:pt x="0" y="6"/>
                </a:cubicBezTo>
                <a:cubicBezTo>
                  <a:pt x="14" y="0"/>
                  <a:pt x="14" y="0"/>
                  <a:pt x="14" y="0"/>
                </a:cubicBezTo>
                <a:cubicBezTo>
                  <a:pt x="246" y="615"/>
                  <a:pt x="599" y="964"/>
                  <a:pt x="855" y="1148"/>
                </a:cubicBezTo>
                <a:cubicBezTo>
                  <a:pt x="1132" y="1348"/>
                  <a:pt x="1356" y="1403"/>
                  <a:pt x="1358" y="1404"/>
                </a:cubicBezTo>
                <a:lnTo>
                  <a:pt x="1355" y="14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9" name="Freeform 16"/>
          <p:cNvSpPr>
            <a:spLocks/>
          </p:cNvSpPr>
          <p:nvPr/>
        </p:nvSpPr>
        <p:spPr bwMode="auto">
          <a:xfrm>
            <a:off x="8801000" y="4339761"/>
            <a:ext cx="1240332" cy="515528"/>
          </a:xfrm>
          <a:custGeom>
            <a:avLst/>
            <a:gdLst>
              <a:gd name="T0" fmla="*/ 1472 w 1472"/>
              <a:gd name="T1" fmla="*/ 612 h 612"/>
              <a:gd name="T2" fmla="*/ 0 w 1472"/>
              <a:gd name="T3" fmla="*/ 11 h 612"/>
              <a:gd name="T4" fmla="*/ 10 w 1472"/>
              <a:gd name="T5" fmla="*/ 0 h 612"/>
              <a:gd name="T6" fmla="*/ 1472 w 1472"/>
              <a:gd name="T7" fmla="*/ 598 h 612"/>
              <a:gd name="T8" fmla="*/ 1472 w 1472"/>
              <a:gd name="T9" fmla="*/ 612 h 612"/>
            </a:gdLst>
            <a:ahLst/>
            <a:cxnLst>
              <a:cxn ang="0">
                <a:pos x="T0" y="T1"/>
              </a:cxn>
              <a:cxn ang="0">
                <a:pos x="T2" y="T3"/>
              </a:cxn>
              <a:cxn ang="0">
                <a:pos x="T4" y="T5"/>
              </a:cxn>
              <a:cxn ang="0">
                <a:pos x="T6" y="T7"/>
              </a:cxn>
              <a:cxn ang="0">
                <a:pos x="T8" y="T9"/>
              </a:cxn>
            </a:cxnLst>
            <a:rect l="0" t="0" r="r" b="b"/>
            <a:pathLst>
              <a:path w="1472" h="612">
                <a:moveTo>
                  <a:pt x="1472" y="612"/>
                </a:moveTo>
                <a:cubicBezTo>
                  <a:pt x="1463" y="612"/>
                  <a:pt x="571" y="560"/>
                  <a:pt x="0" y="11"/>
                </a:cubicBezTo>
                <a:cubicBezTo>
                  <a:pt x="10" y="0"/>
                  <a:pt x="10" y="0"/>
                  <a:pt x="10" y="0"/>
                </a:cubicBezTo>
                <a:cubicBezTo>
                  <a:pt x="578" y="546"/>
                  <a:pt x="1463" y="597"/>
                  <a:pt x="1472" y="598"/>
                </a:cubicBezTo>
                <a:lnTo>
                  <a:pt x="1472" y="612"/>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 name="Freeform 17"/>
          <p:cNvSpPr>
            <a:spLocks/>
          </p:cNvSpPr>
          <p:nvPr/>
        </p:nvSpPr>
        <p:spPr bwMode="auto">
          <a:xfrm>
            <a:off x="9680534" y="2806013"/>
            <a:ext cx="366502" cy="2350890"/>
          </a:xfrm>
          <a:custGeom>
            <a:avLst/>
            <a:gdLst>
              <a:gd name="T0" fmla="*/ 421 w 435"/>
              <a:gd name="T1" fmla="*/ 2790 h 2790"/>
              <a:gd name="T2" fmla="*/ 0 w 435"/>
              <a:gd name="T3" fmla="*/ 0 h 2790"/>
              <a:gd name="T4" fmla="*/ 15 w 435"/>
              <a:gd name="T5" fmla="*/ 0 h 2790"/>
              <a:gd name="T6" fmla="*/ 435 w 435"/>
              <a:gd name="T7" fmla="*/ 2784 h 2790"/>
              <a:gd name="T8" fmla="*/ 421 w 435"/>
              <a:gd name="T9" fmla="*/ 2790 h 2790"/>
            </a:gdLst>
            <a:ahLst/>
            <a:cxnLst>
              <a:cxn ang="0">
                <a:pos x="T0" y="T1"/>
              </a:cxn>
              <a:cxn ang="0">
                <a:pos x="T2" y="T3"/>
              </a:cxn>
              <a:cxn ang="0">
                <a:pos x="T4" y="T5"/>
              </a:cxn>
              <a:cxn ang="0">
                <a:pos x="T6" y="T7"/>
              </a:cxn>
              <a:cxn ang="0">
                <a:pos x="T8" y="T9"/>
              </a:cxn>
            </a:cxnLst>
            <a:rect l="0" t="0" r="r" b="b"/>
            <a:pathLst>
              <a:path w="435" h="2790">
                <a:moveTo>
                  <a:pt x="421" y="2790"/>
                </a:moveTo>
                <a:cubicBezTo>
                  <a:pt x="417" y="2780"/>
                  <a:pt x="0" y="1819"/>
                  <a:pt x="0" y="0"/>
                </a:cubicBezTo>
                <a:cubicBezTo>
                  <a:pt x="15" y="0"/>
                  <a:pt x="15" y="0"/>
                  <a:pt x="15" y="0"/>
                </a:cubicBezTo>
                <a:cubicBezTo>
                  <a:pt x="15" y="1816"/>
                  <a:pt x="430" y="2774"/>
                  <a:pt x="435" y="2784"/>
                </a:cubicBezTo>
                <a:lnTo>
                  <a:pt x="421" y="2790"/>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 name="Freeform 18"/>
          <p:cNvSpPr>
            <a:spLocks/>
          </p:cNvSpPr>
          <p:nvPr/>
        </p:nvSpPr>
        <p:spPr bwMode="auto">
          <a:xfrm>
            <a:off x="9575361" y="5117329"/>
            <a:ext cx="475240" cy="339763"/>
          </a:xfrm>
          <a:custGeom>
            <a:avLst/>
            <a:gdLst>
              <a:gd name="T0" fmla="*/ 561 w 564"/>
              <a:gd name="T1" fmla="*/ 403 h 403"/>
              <a:gd name="T2" fmla="*/ 0 w 564"/>
              <a:gd name="T3" fmla="*/ 9 h 403"/>
              <a:gd name="T4" fmla="*/ 11 w 564"/>
              <a:gd name="T5" fmla="*/ 0 h 403"/>
              <a:gd name="T6" fmla="*/ 564 w 564"/>
              <a:gd name="T7" fmla="*/ 389 h 403"/>
              <a:gd name="T8" fmla="*/ 561 w 564"/>
              <a:gd name="T9" fmla="*/ 403 h 403"/>
            </a:gdLst>
            <a:ahLst/>
            <a:cxnLst>
              <a:cxn ang="0">
                <a:pos x="T0" y="T1"/>
              </a:cxn>
              <a:cxn ang="0">
                <a:pos x="T2" y="T3"/>
              </a:cxn>
              <a:cxn ang="0">
                <a:pos x="T4" y="T5"/>
              </a:cxn>
              <a:cxn ang="0">
                <a:pos x="T6" y="T7"/>
              </a:cxn>
              <a:cxn ang="0">
                <a:pos x="T8" y="T9"/>
              </a:cxn>
            </a:cxnLst>
            <a:rect l="0" t="0" r="r" b="b"/>
            <a:pathLst>
              <a:path w="564" h="403">
                <a:moveTo>
                  <a:pt x="561" y="403"/>
                </a:moveTo>
                <a:cubicBezTo>
                  <a:pt x="558" y="402"/>
                  <a:pt x="272" y="340"/>
                  <a:pt x="0" y="9"/>
                </a:cubicBezTo>
                <a:cubicBezTo>
                  <a:pt x="11" y="0"/>
                  <a:pt x="11" y="0"/>
                  <a:pt x="11" y="0"/>
                </a:cubicBezTo>
                <a:cubicBezTo>
                  <a:pt x="280" y="327"/>
                  <a:pt x="561" y="388"/>
                  <a:pt x="564" y="389"/>
                </a:cubicBezTo>
                <a:lnTo>
                  <a:pt x="561" y="403"/>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4" name="TextBox 103"/>
          <p:cNvSpPr txBox="1"/>
          <p:nvPr/>
        </p:nvSpPr>
        <p:spPr>
          <a:xfrm>
            <a:off x="269239" y="5046531"/>
            <a:ext cx="3804368" cy="1485379"/>
          </a:xfrm>
          <a:prstGeom prst="rect">
            <a:avLst/>
          </a:prstGeom>
          <a:noFill/>
          <a:ln>
            <a:noFill/>
          </a:ln>
        </p:spPr>
        <p:txBody>
          <a:bodyPr wrap="square" lIns="179285" tIns="134464" rIns="179285" bIns="45699" rtlCol="0">
            <a:spAutoFit/>
          </a:bodyPr>
          <a:lstStyle/>
          <a:p>
            <a:pPr defTabSz="878677" fontAlgn="base">
              <a:lnSpc>
                <a:spcPct val="90000"/>
              </a:lnSpc>
              <a:spcBef>
                <a:spcPct val="0"/>
              </a:spcBef>
              <a:spcAft>
                <a:spcPts val="567"/>
              </a:spcAft>
              <a:defRPr/>
            </a:pPr>
            <a:r>
              <a:rPr lang="en-US" sz="2353" dirty="0">
                <a:solidFill>
                  <a:srgbClr val="FFFFFF"/>
                </a:solidFill>
                <a:latin typeface="Segoe UI Light" panose="020B0502040204020203" pitchFamily="34" charset="0"/>
                <a:ea typeface="Ryo Display PlusN B" panose="02020800000000000000" pitchFamily="18" charset="-128"/>
              </a:rPr>
              <a:t>Worldwide reach and </a:t>
            </a:r>
            <a:r>
              <a:rPr lang="en-US" sz="2353" dirty="0" err="1">
                <a:solidFill>
                  <a:srgbClr val="FFFFFF"/>
                </a:solidFill>
                <a:latin typeface="Segoe UI Light" panose="020B0502040204020203" pitchFamily="34" charset="0"/>
                <a:ea typeface="Ryo Display PlusN B" panose="02020800000000000000" pitchFamily="18" charset="-128"/>
              </a:rPr>
              <a:t>hyperscale</a:t>
            </a:r>
            <a:r>
              <a:rPr lang="en-US" sz="2353" dirty="0">
                <a:solidFill>
                  <a:srgbClr val="FFFFFF"/>
                </a:solidFill>
                <a:latin typeface="Segoe UI Light" panose="020B0502040204020203" pitchFamily="34" charset="0"/>
                <a:ea typeface="Ryo Display PlusN B" panose="02020800000000000000" pitchFamily="18" charset="-128"/>
              </a:rPr>
              <a:t> required to bring cloud economic benefits to every business</a:t>
            </a:r>
          </a:p>
        </p:txBody>
      </p:sp>
      <p:sp>
        <p:nvSpPr>
          <p:cNvPr id="3747" name="Oval 3746"/>
          <p:cNvSpPr/>
          <p:nvPr/>
        </p:nvSpPr>
        <p:spPr bwMode="auto">
          <a:xfrm>
            <a:off x="9437080" y="5004018"/>
            <a:ext cx="105771" cy="10577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253746" y="4994782"/>
            <a:ext cx="3585699" cy="1305775"/>
            <a:chOff x="4941333" y="5425277"/>
            <a:chExt cx="3657600" cy="1331959"/>
          </a:xfrm>
        </p:grpSpPr>
        <p:sp>
          <p:nvSpPr>
            <p:cNvPr id="101" name="Rectangle 100"/>
            <p:cNvSpPr/>
            <p:nvPr/>
          </p:nvSpPr>
          <p:spPr bwMode="auto">
            <a:xfrm>
              <a:off x="4941333" y="5425277"/>
              <a:ext cx="3657600" cy="13319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1218427" fontAlgn="base">
                <a:lnSpc>
                  <a:spcPct val="90000"/>
                </a:lnSpc>
                <a:spcBef>
                  <a:spcPct val="0"/>
                </a:spcBef>
                <a:spcAft>
                  <a:spcPts val="588"/>
                </a:spcAft>
              </a:pPr>
              <a:r>
                <a:rPr lang="en-US" sz="3529" dirty="0">
                  <a:solidFill>
                    <a:srgbClr val="FFFFFF"/>
                  </a:solidFill>
                  <a:latin typeface="Segoe UI Light"/>
                </a:rPr>
                <a:t>100+ </a:t>
              </a:r>
              <a:r>
                <a:rPr lang="en-US" sz="1961" dirty="0">
                  <a:solidFill>
                    <a:srgbClr val="FFFFFF"/>
                  </a:solidFill>
                  <a:latin typeface="Segoe UI Light"/>
                </a:rPr>
                <a:t>datacenters </a:t>
              </a:r>
              <a:br>
                <a:rPr lang="en-US" sz="1961" dirty="0">
                  <a:solidFill>
                    <a:srgbClr val="FFFFFF"/>
                  </a:solidFill>
                  <a:latin typeface="Segoe UI Light"/>
                </a:rPr>
              </a:br>
              <a:r>
                <a:rPr lang="en-US" sz="1961" dirty="0">
                  <a:solidFill>
                    <a:srgbClr val="FFFFFF"/>
                  </a:solidFill>
                  <a:latin typeface="Segoe UI Light"/>
                </a:rPr>
                <a:t>in more than 40 countries</a:t>
              </a:r>
            </a:p>
          </p:txBody>
        </p:sp>
        <p:sp>
          <p:nvSpPr>
            <p:cNvPr id="102" name="Freeform 101"/>
            <p:cNvSpPr>
              <a:spLocks/>
            </p:cNvSpPr>
            <p:nvPr/>
          </p:nvSpPr>
          <p:spPr bwMode="black">
            <a:xfrm rot="10800000">
              <a:off x="5091238" y="5684306"/>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grpSp>
      <p:grpSp>
        <p:nvGrpSpPr>
          <p:cNvPr id="7" name="Group 6"/>
          <p:cNvGrpSpPr/>
          <p:nvPr/>
        </p:nvGrpSpPr>
        <p:grpSpPr>
          <a:xfrm>
            <a:off x="4248635" y="5877636"/>
            <a:ext cx="3585699" cy="896425"/>
            <a:chOff x="4941333" y="4605482"/>
            <a:chExt cx="3657600" cy="914400"/>
          </a:xfrm>
        </p:grpSpPr>
        <p:sp>
          <p:nvSpPr>
            <p:cNvPr id="100" name="Rectangle 99"/>
            <p:cNvSpPr/>
            <p:nvPr/>
          </p:nvSpPr>
          <p:spPr bwMode="auto">
            <a:xfrm>
              <a:off x="4941333" y="4605482"/>
              <a:ext cx="36576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1218427" fontAlgn="base">
                <a:lnSpc>
                  <a:spcPct val="90000"/>
                </a:lnSpc>
                <a:spcBef>
                  <a:spcPct val="0"/>
                </a:spcBef>
                <a:spcAft>
                  <a:spcPts val="588"/>
                </a:spcAft>
              </a:pPr>
              <a:r>
                <a:rPr lang="en-US" sz="3529" dirty="0">
                  <a:solidFill>
                    <a:srgbClr val="FFFFFF"/>
                  </a:solidFill>
                  <a:latin typeface="Segoe UI Light"/>
                </a:rPr>
                <a:t>1M+ </a:t>
              </a:r>
              <a:r>
                <a:rPr lang="en-US" sz="1961" dirty="0">
                  <a:solidFill>
                    <a:srgbClr val="FFFFFF"/>
                  </a:solidFill>
                  <a:latin typeface="Segoe UI Light"/>
                </a:rPr>
                <a:t>servers</a:t>
              </a:r>
            </a:p>
          </p:txBody>
        </p:sp>
        <p:sp>
          <p:nvSpPr>
            <p:cNvPr id="103" name="Freeform 101"/>
            <p:cNvSpPr>
              <a:spLocks/>
            </p:cNvSpPr>
            <p:nvPr/>
          </p:nvSpPr>
          <p:spPr bwMode="black">
            <a:xfrm rot="10800000">
              <a:off x="5091238" y="4874401"/>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grpSp>
    </p:spTree>
    <p:extLst>
      <p:ext uri="{BB962C8B-B14F-4D97-AF65-F5344CB8AC3E}">
        <p14:creationId xmlns:p14="http://schemas.microsoft.com/office/powerpoint/2010/main" val="356763971"/>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5" name="Group 264"/>
          <p:cNvGrpSpPr/>
          <p:nvPr/>
        </p:nvGrpSpPr>
        <p:grpSpPr>
          <a:xfrm>
            <a:off x="8220341" y="3520433"/>
            <a:ext cx="1903347" cy="1897122"/>
            <a:chOff x="8385175" y="3590528"/>
            <a:chExt cx="1941513" cy="1935163"/>
          </a:xfrm>
        </p:grpSpPr>
        <p:sp>
          <p:nvSpPr>
            <p:cNvPr id="114" name="Rectangle 113"/>
            <p:cNvSpPr/>
            <p:nvPr/>
          </p:nvSpPr>
          <p:spPr bwMode="auto">
            <a:xfrm>
              <a:off x="8385175" y="3590528"/>
              <a:ext cx="1941513" cy="193516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defTabSz="672451" fontAlgn="base">
                <a:spcBef>
                  <a:spcPct val="0"/>
                </a:spcBef>
                <a:spcAft>
                  <a:spcPct val="0"/>
                </a:spcAft>
                <a:defRPr/>
              </a:pPr>
              <a:r>
                <a:rPr lang="en-US" sz="3529" dirty="0">
                  <a:solidFill>
                    <a:srgbClr val="FFFFFF"/>
                  </a:solidFill>
                  <a:latin typeface="Segoe UI Light"/>
                </a:rPr>
                <a:t>66%</a:t>
              </a:r>
            </a:p>
            <a:p>
              <a:pPr defTabSz="672451" fontAlgn="base">
                <a:spcBef>
                  <a:spcPct val="0"/>
                </a:spcBef>
                <a:spcAft>
                  <a:spcPct val="0"/>
                </a:spcAft>
                <a:defRPr/>
              </a:pPr>
              <a:r>
                <a:rPr lang="en-US" sz="1176" dirty="0">
                  <a:solidFill>
                    <a:srgbClr val="FFFFFF"/>
                  </a:solidFill>
                </a:rPr>
                <a:t>of enterprise seats covered with </a:t>
              </a:r>
              <a:br>
                <a:rPr lang="en-US" sz="1176" dirty="0">
                  <a:solidFill>
                    <a:srgbClr val="FFFFFF"/>
                  </a:solidFill>
                </a:rPr>
              </a:br>
              <a:r>
                <a:rPr lang="en-US" sz="1176" dirty="0">
                  <a:solidFill>
                    <a:srgbClr val="FFFFFF"/>
                  </a:solidFill>
                </a:rPr>
                <a:t>System Center</a:t>
              </a:r>
            </a:p>
          </p:txBody>
        </p:sp>
        <p:grpSp>
          <p:nvGrpSpPr>
            <p:cNvPr id="251" name="Group 250"/>
            <p:cNvGrpSpPr/>
            <p:nvPr/>
          </p:nvGrpSpPr>
          <p:grpSpPr>
            <a:xfrm>
              <a:off x="8580668" y="5019675"/>
              <a:ext cx="263167" cy="373004"/>
              <a:chOff x="-16489363" y="-9228138"/>
              <a:chExt cx="4351338" cy="6167438"/>
            </a:xfrm>
          </p:grpSpPr>
          <p:sp>
            <p:nvSpPr>
              <p:cNvPr id="252" name="Freeform 31"/>
              <p:cNvSpPr>
                <a:spLocks noEditPoints="1"/>
              </p:cNvSpPr>
              <p:nvPr/>
            </p:nvSpPr>
            <p:spPr bwMode="auto">
              <a:xfrm>
                <a:off x="-16489363" y="-9228138"/>
                <a:ext cx="4351338" cy="6167438"/>
              </a:xfrm>
              <a:custGeom>
                <a:avLst/>
                <a:gdLst>
                  <a:gd name="T0" fmla="*/ 0 w 1157"/>
                  <a:gd name="T1" fmla="*/ 0 h 1642"/>
                  <a:gd name="T2" fmla="*/ 0 w 1157"/>
                  <a:gd name="T3" fmla="*/ 1642 h 1642"/>
                  <a:gd name="T4" fmla="*/ 1157 w 1157"/>
                  <a:gd name="T5" fmla="*/ 1642 h 1642"/>
                  <a:gd name="T6" fmla="*/ 1157 w 1157"/>
                  <a:gd name="T7" fmla="*/ 0 h 1642"/>
                  <a:gd name="T8" fmla="*/ 0 w 1157"/>
                  <a:gd name="T9" fmla="*/ 0 h 1642"/>
                  <a:gd name="T10" fmla="*/ 1033 w 1157"/>
                  <a:gd name="T11" fmla="*/ 1405 h 1642"/>
                  <a:gd name="T12" fmla="*/ 956 w 1157"/>
                  <a:gd name="T13" fmla="*/ 1478 h 1642"/>
                  <a:gd name="T14" fmla="*/ 201 w 1157"/>
                  <a:gd name="T15" fmla="*/ 1478 h 1642"/>
                  <a:gd name="T16" fmla="*/ 124 w 1157"/>
                  <a:gd name="T17" fmla="*/ 1405 h 1642"/>
                  <a:gd name="T18" fmla="*/ 124 w 1157"/>
                  <a:gd name="T19" fmla="*/ 1391 h 1642"/>
                  <a:gd name="T20" fmla="*/ 201 w 1157"/>
                  <a:gd name="T21" fmla="*/ 1318 h 1642"/>
                  <a:gd name="T22" fmla="*/ 608 w 1157"/>
                  <a:gd name="T23" fmla="*/ 1318 h 1642"/>
                  <a:gd name="T24" fmla="*/ 956 w 1157"/>
                  <a:gd name="T25" fmla="*/ 1318 h 1642"/>
                  <a:gd name="T26" fmla="*/ 1033 w 1157"/>
                  <a:gd name="T27" fmla="*/ 1391 h 1642"/>
                  <a:gd name="T28" fmla="*/ 1033 w 1157"/>
                  <a:gd name="T29" fmla="*/ 1405 h 1642"/>
                  <a:gd name="T30" fmla="*/ 1033 w 1157"/>
                  <a:gd name="T31" fmla="*/ 1122 h 1642"/>
                  <a:gd name="T32" fmla="*/ 956 w 1157"/>
                  <a:gd name="T33" fmla="*/ 1195 h 1642"/>
                  <a:gd name="T34" fmla="*/ 201 w 1157"/>
                  <a:gd name="T35" fmla="*/ 1195 h 1642"/>
                  <a:gd name="T36" fmla="*/ 124 w 1157"/>
                  <a:gd name="T37" fmla="*/ 1122 h 1642"/>
                  <a:gd name="T38" fmla="*/ 124 w 1157"/>
                  <a:gd name="T39" fmla="*/ 1108 h 1642"/>
                  <a:gd name="T40" fmla="*/ 201 w 1157"/>
                  <a:gd name="T41" fmla="*/ 1035 h 1642"/>
                  <a:gd name="T42" fmla="*/ 608 w 1157"/>
                  <a:gd name="T43" fmla="*/ 1035 h 1642"/>
                  <a:gd name="T44" fmla="*/ 956 w 1157"/>
                  <a:gd name="T45" fmla="*/ 1035 h 1642"/>
                  <a:gd name="T46" fmla="*/ 1033 w 1157"/>
                  <a:gd name="T47" fmla="*/ 1108 h 1642"/>
                  <a:gd name="T48" fmla="*/ 1033 w 1157"/>
                  <a:gd name="T49" fmla="*/ 1122 h 1642"/>
                  <a:gd name="T50" fmla="*/ 1033 w 1157"/>
                  <a:gd name="T51" fmla="*/ 839 h 1642"/>
                  <a:gd name="T52" fmla="*/ 956 w 1157"/>
                  <a:gd name="T53" fmla="*/ 912 h 1642"/>
                  <a:gd name="T54" fmla="*/ 201 w 1157"/>
                  <a:gd name="T55" fmla="*/ 912 h 1642"/>
                  <a:gd name="T56" fmla="*/ 124 w 1157"/>
                  <a:gd name="T57" fmla="*/ 839 h 1642"/>
                  <a:gd name="T58" fmla="*/ 124 w 1157"/>
                  <a:gd name="T59" fmla="*/ 824 h 1642"/>
                  <a:gd name="T60" fmla="*/ 201 w 1157"/>
                  <a:gd name="T61" fmla="*/ 752 h 1642"/>
                  <a:gd name="T62" fmla="*/ 608 w 1157"/>
                  <a:gd name="T63" fmla="*/ 752 h 1642"/>
                  <a:gd name="T64" fmla="*/ 956 w 1157"/>
                  <a:gd name="T65" fmla="*/ 752 h 1642"/>
                  <a:gd name="T66" fmla="*/ 1033 w 1157"/>
                  <a:gd name="T67" fmla="*/ 824 h 1642"/>
                  <a:gd name="T68" fmla="*/ 1033 w 1157"/>
                  <a:gd name="T69" fmla="*/ 839 h 1642"/>
                  <a:gd name="T70" fmla="*/ 1033 w 1157"/>
                  <a:gd name="T71" fmla="*/ 556 h 1642"/>
                  <a:gd name="T72" fmla="*/ 956 w 1157"/>
                  <a:gd name="T73" fmla="*/ 628 h 1642"/>
                  <a:gd name="T74" fmla="*/ 201 w 1157"/>
                  <a:gd name="T75" fmla="*/ 628 h 1642"/>
                  <a:gd name="T76" fmla="*/ 124 w 1157"/>
                  <a:gd name="T77" fmla="*/ 556 h 1642"/>
                  <a:gd name="T78" fmla="*/ 124 w 1157"/>
                  <a:gd name="T79" fmla="*/ 541 h 1642"/>
                  <a:gd name="T80" fmla="*/ 201 w 1157"/>
                  <a:gd name="T81" fmla="*/ 469 h 1642"/>
                  <a:gd name="T82" fmla="*/ 608 w 1157"/>
                  <a:gd name="T83" fmla="*/ 469 h 1642"/>
                  <a:gd name="T84" fmla="*/ 956 w 1157"/>
                  <a:gd name="T85" fmla="*/ 469 h 1642"/>
                  <a:gd name="T86" fmla="*/ 1033 w 1157"/>
                  <a:gd name="T87" fmla="*/ 541 h 1642"/>
                  <a:gd name="T88" fmla="*/ 1033 w 1157"/>
                  <a:gd name="T89" fmla="*/ 556 h 1642"/>
                  <a:gd name="T90" fmla="*/ 1033 w 1157"/>
                  <a:gd name="T91" fmla="*/ 273 h 1642"/>
                  <a:gd name="T92" fmla="*/ 956 w 1157"/>
                  <a:gd name="T93" fmla="*/ 345 h 1642"/>
                  <a:gd name="T94" fmla="*/ 201 w 1157"/>
                  <a:gd name="T95" fmla="*/ 345 h 1642"/>
                  <a:gd name="T96" fmla="*/ 124 w 1157"/>
                  <a:gd name="T97" fmla="*/ 273 h 1642"/>
                  <a:gd name="T98" fmla="*/ 124 w 1157"/>
                  <a:gd name="T99" fmla="*/ 258 h 1642"/>
                  <a:gd name="T100" fmla="*/ 201 w 1157"/>
                  <a:gd name="T101" fmla="*/ 186 h 1642"/>
                  <a:gd name="T102" fmla="*/ 608 w 1157"/>
                  <a:gd name="T103" fmla="*/ 186 h 1642"/>
                  <a:gd name="T104" fmla="*/ 956 w 1157"/>
                  <a:gd name="T105" fmla="*/ 186 h 1642"/>
                  <a:gd name="T106" fmla="*/ 1033 w 1157"/>
                  <a:gd name="T107" fmla="*/ 258 h 1642"/>
                  <a:gd name="T108" fmla="*/ 1033 w 1157"/>
                  <a:gd name="T109" fmla="*/ 273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7" h="1642">
                    <a:moveTo>
                      <a:pt x="0" y="0"/>
                    </a:moveTo>
                    <a:cubicBezTo>
                      <a:pt x="0" y="1642"/>
                      <a:pt x="0" y="1642"/>
                      <a:pt x="0" y="1642"/>
                    </a:cubicBezTo>
                    <a:cubicBezTo>
                      <a:pt x="1157" y="1642"/>
                      <a:pt x="1157" y="1642"/>
                      <a:pt x="1157" y="1642"/>
                    </a:cubicBezTo>
                    <a:cubicBezTo>
                      <a:pt x="1157" y="0"/>
                      <a:pt x="1157" y="0"/>
                      <a:pt x="1157" y="0"/>
                    </a:cubicBezTo>
                    <a:lnTo>
                      <a:pt x="0" y="0"/>
                    </a:lnTo>
                    <a:close/>
                    <a:moveTo>
                      <a:pt x="1033" y="1405"/>
                    </a:moveTo>
                    <a:cubicBezTo>
                      <a:pt x="1033" y="1478"/>
                      <a:pt x="956" y="1478"/>
                      <a:pt x="956" y="1478"/>
                    </a:cubicBezTo>
                    <a:cubicBezTo>
                      <a:pt x="201" y="1478"/>
                      <a:pt x="201" y="1478"/>
                      <a:pt x="201" y="1478"/>
                    </a:cubicBezTo>
                    <a:cubicBezTo>
                      <a:pt x="124" y="1478"/>
                      <a:pt x="124" y="1405"/>
                      <a:pt x="124" y="1405"/>
                    </a:cubicBezTo>
                    <a:cubicBezTo>
                      <a:pt x="124" y="1391"/>
                      <a:pt x="124" y="1391"/>
                      <a:pt x="124" y="1391"/>
                    </a:cubicBezTo>
                    <a:cubicBezTo>
                      <a:pt x="124" y="1318"/>
                      <a:pt x="201" y="1318"/>
                      <a:pt x="201" y="1318"/>
                    </a:cubicBezTo>
                    <a:cubicBezTo>
                      <a:pt x="608" y="1318"/>
                      <a:pt x="608" y="1318"/>
                      <a:pt x="608" y="1318"/>
                    </a:cubicBezTo>
                    <a:cubicBezTo>
                      <a:pt x="956" y="1318"/>
                      <a:pt x="956" y="1318"/>
                      <a:pt x="956" y="1318"/>
                    </a:cubicBezTo>
                    <a:cubicBezTo>
                      <a:pt x="1033" y="1318"/>
                      <a:pt x="1033" y="1391"/>
                      <a:pt x="1033" y="1391"/>
                    </a:cubicBezTo>
                    <a:lnTo>
                      <a:pt x="1033" y="1405"/>
                    </a:lnTo>
                    <a:close/>
                    <a:moveTo>
                      <a:pt x="1033" y="1122"/>
                    </a:moveTo>
                    <a:cubicBezTo>
                      <a:pt x="1033" y="1195"/>
                      <a:pt x="956" y="1195"/>
                      <a:pt x="956" y="1195"/>
                    </a:cubicBezTo>
                    <a:cubicBezTo>
                      <a:pt x="201" y="1195"/>
                      <a:pt x="201" y="1195"/>
                      <a:pt x="201" y="1195"/>
                    </a:cubicBezTo>
                    <a:cubicBezTo>
                      <a:pt x="124" y="1195"/>
                      <a:pt x="124" y="1122"/>
                      <a:pt x="124" y="1122"/>
                    </a:cubicBezTo>
                    <a:cubicBezTo>
                      <a:pt x="124" y="1108"/>
                      <a:pt x="124" y="1108"/>
                      <a:pt x="124" y="1108"/>
                    </a:cubicBezTo>
                    <a:cubicBezTo>
                      <a:pt x="124" y="1035"/>
                      <a:pt x="201" y="1035"/>
                      <a:pt x="201" y="1035"/>
                    </a:cubicBezTo>
                    <a:cubicBezTo>
                      <a:pt x="608" y="1035"/>
                      <a:pt x="608" y="1035"/>
                      <a:pt x="608" y="1035"/>
                    </a:cubicBezTo>
                    <a:cubicBezTo>
                      <a:pt x="956" y="1035"/>
                      <a:pt x="956" y="1035"/>
                      <a:pt x="956" y="1035"/>
                    </a:cubicBezTo>
                    <a:cubicBezTo>
                      <a:pt x="1033" y="1035"/>
                      <a:pt x="1033" y="1108"/>
                      <a:pt x="1033" y="1108"/>
                    </a:cubicBezTo>
                    <a:lnTo>
                      <a:pt x="1033" y="1122"/>
                    </a:lnTo>
                    <a:close/>
                    <a:moveTo>
                      <a:pt x="1033" y="839"/>
                    </a:moveTo>
                    <a:cubicBezTo>
                      <a:pt x="1033" y="912"/>
                      <a:pt x="956" y="912"/>
                      <a:pt x="956" y="912"/>
                    </a:cubicBezTo>
                    <a:cubicBezTo>
                      <a:pt x="201" y="912"/>
                      <a:pt x="201" y="912"/>
                      <a:pt x="201" y="912"/>
                    </a:cubicBezTo>
                    <a:cubicBezTo>
                      <a:pt x="124" y="912"/>
                      <a:pt x="124" y="839"/>
                      <a:pt x="124" y="839"/>
                    </a:cubicBezTo>
                    <a:cubicBezTo>
                      <a:pt x="124" y="824"/>
                      <a:pt x="124" y="824"/>
                      <a:pt x="124" y="824"/>
                    </a:cubicBezTo>
                    <a:cubicBezTo>
                      <a:pt x="124" y="752"/>
                      <a:pt x="201" y="752"/>
                      <a:pt x="201" y="752"/>
                    </a:cubicBezTo>
                    <a:cubicBezTo>
                      <a:pt x="608" y="752"/>
                      <a:pt x="608" y="752"/>
                      <a:pt x="608" y="752"/>
                    </a:cubicBezTo>
                    <a:cubicBezTo>
                      <a:pt x="956" y="752"/>
                      <a:pt x="956" y="752"/>
                      <a:pt x="956" y="752"/>
                    </a:cubicBezTo>
                    <a:cubicBezTo>
                      <a:pt x="1033" y="752"/>
                      <a:pt x="1033" y="824"/>
                      <a:pt x="1033" y="824"/>
                    </a:cubicBezTo>
                    <a:lnTo>
                      <a:pt x="1033" y="839"/>
                    </a:lnTo>
                    <a:close/>
                    <a:moveTo>
                      <a:pt x="1033" y="556"/>
                    </a:moveTo>
                    <a:cubicBezTo>
                      <a:pt x="1033" y="628"/>
                      <a:pt x="956" y="628"/>
                      <a:pt x="956" y="628"/>
                    </a:cubicBezTo>
                    <a:cubicBezTo>
                      <a:pt x="201" y="628"/>
                      <a:pt x="201" y="628"/>
                      <a:pt x="201" y="628"/>
                    </a:cubicBezTo>
                    <a:cubicBezTo>
                      <a:pt x="124" y="628"/>
                      <a:pt x="124" y="556"/>
                      <a:pt x="124" y="556"/>
                    </a:cubicBezTo>
                    <a:cubicBezTo>
                      <a:pt x="124" y="541"/>
                      <a:pt x="124" y="541"/>
                      <a:pt x="124" y="541"/>
                    </a:cubicBezTo>
                    <a:cubicBezTo>
                      <a:pt x="124" y="469"/>
                      <a:pt x="201" y="469"/>
                      <a:pt x="201" y="469"/>
                    </a:cubicBezTo>
                    <a:cubicBezTo>
                      <a:pt x="608" y="469"/>
                      <a:pt x="608" y="469"/>
                      <a:pt x="608" y="469"/>
                    </a:cubicBezTo>
                    <a:cubicBezTo>
                      <a:pt x="956" y="469"/>
                      <a:pt x="956" y="469"/>
                      <a:pt x="956" y="469"/>
                    </a:cubicBezTo>
                    <a:cubicBezTo>
                      <a:pt x="1033" y="469"/>
                      <a:pt x="1033" y="541"/>
                      <a:pt x="1033" y="541"/>
                    </a:cubicBezTo>
                    <a:lnTo>
                      <a:pt x="1033" y="556"/>
                    </a:lnTo>
                    <a:close/>
                    <a:moveTo>
                      <a:pt x="1033" y="273"/>
                    </a:moveTo>
                    <a:cubicBezTo>
                      <a:pt x="1033" y="345"/>
                      <a:pt x="956" y="345"/>
                      <a:pt x="956" y="345"/>
                    </a:cubicBezTo>
                    <a:cubicBezTo>
                      <a:pt x="201" y="345"/>
                      <a:pt x="201" y="345"/>
                      <a:pt x="201" y="345"/>
                    </a:cubicBezTo>
                    <a:cubicBezTo>
                      <a:pt x="124" y="345"/>
                      <a:pt x="124" y="273"/>
                      <a:pt x="124" y="273"/>
                    </a:cubicBezTo>
                    <a:cubicBezTo>
                      <a:pt x="124" y="258"/>
                      <a:pt x="124" y="258"/>
                      <a:pt x="124" y="258"/>
                    </a:cubicBezTo>
                    <a:cubicBezTo>
                      <a:pt x="124" y="186"/>
                      <a:pt x="201" y="186"/>
                      <a:pt x="201" y="186"/>
                    </a:cubicBezTo>
                    <a:cubicBezTo>
                      <a:pt x="608" y="186"/>
                      <a:pt x="608" y="186"/>
                      <a:pt x="608" y="186"/>
                    </a:cubicBezTo>
                    <a:cubicBezTo>
                      <a:pt x="956" y="186"/>
                      <a:pt x="956" y="186"/>
                      <a:pt x="956" y="186"/>
                    </a:cubicBezTo>
                    <a:cubicBezTo>
                      <a:pt x="1033" y="186"/>
                      <a:pt x="1033" y="258"/>
                      <a:pt x="1033" y="258"/>
                    </a:cubicBezTo>
                    <a:lnTo>
                      <a:pt x="1033" y="2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3" name="Oval 32"/>
              <p:cNvSpPr>
                <a:spLocks noChangeArrowheads="1"/>
              </p:cNvSpPr>
              <p:nvPr/>
            </p:nvSpPr>
            <p:spPr bwMode="auto">
              <a:xfrm>
                <a:off x="-13255625" y="-8405813"/>
                <a:ext cx="334963" cy="3349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4" name="Oval 33"/>
              <p:cNvSpPr>
                <a:spLocks noChangeArrowheads="1"/>
              </p:cNvSpPr>
              <p:nvPr/>
            </p:nvSpPr>
            <p:spPr bwMode="auto">
              <a:xfrm>
                <a:off x="-13255625" y="-7339013"/>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5" name="Oval 34"/>
              <p:cNvSpPr>
                <a:spLocks noChangeArrowheads="1"/>
              </p:cNvSpPr>
              <p:nvPr/>
            </p:nvSpPr>
            <p:spPr bwMode="auto">
              <a:xfrm>
                <a:off x="-13255625" y="-6275388"/>
                <a:ext cx="334963" cy="333375"/>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6" name="Oval 35"/>
              <p:cNvSpPr>
                <a:spLocks noChangeArrowheads="1"/>
              </p:cNvSpPr>
              <p:nvPr/>
            </p:nvSpPr>
            <p:spPr bwMode="auto">
              <a:xfrm>
                <a:off x="-13255625" y="-5208588"/>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7" name="Oval 36"/>
              <p:cNvSpPr>
                <a:spLocks noChangeArrowheads="1"/>
              </p:cNvSpPr>
              <p:nvPr/>
            </p:nvSpPr>
            <p:spPr bwMode="auto">
              <a:xfrm>
                <a:off x="-13255625" y="-4141788"/>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sp>
        <p:nvSpPr>
          <p:cNvPr id="103" name="TextBox 102"/>
          <p:cNvSpPr txBox="1"/>
          <p:nvPr/>
        </p:nvSpPr>
        <p:spPr>
          <a:xfrm>
            <a:off x="8034364" y="6445586"/>
            <a:ext cx="4153747" cy="410861"/>
          </a:xfrm>
          <a:prstGeom prst="rect">
            <a:avLst/>
          </a:prstGeom>
          <a:noFill/>
        </p:spPr>
        <p:txBody>
          <a:bodyPr lIns="179285" tIns="143428" rIns="179285" bIns="143428">
            <a:spAutoFit/>
          </a:bodyPr>
          <a:lstStyle/>
          <a:p>
            <a:pPr algn="r" defTabSz="913949">
              <a:lnSpc>
                <a:spcPct val="90000"/>
              </a:lnSpc>
              <a:defRPr/>
            </a:pPr>
            <a:r>
              <a:rPr lang="en-US" sz="882" dirty="0">
                <a:solidFill>
                  <a:srgbClr val="FFFFFF">
                    <a:lumMod val="75000"/>
                  </a:srgbClr>
                </a:solidFill>
                <a:ea typeface="ＭＳ Ｐゴシック" charset="0"/>
              </a:rPr>
              <a:t>* IDC Server Workloads Study 2014 ** IDC 2013 WW Server Tracker</a:t>
            </a:r>
          </a:p>
        </p:txBody>
      </p:sp>
      <p:grpSp>
        <p:nvGrpSpPr>
          <p:cNvPr id="116" name="Group 115"/>
          <p:cNvGrpSpPr>
            <a:grpSpLocks/>
          </p:cNvGrpSpPr>
          <p:nvPr/>
        </p:nvGrpSpPr>
        <p:grpSpPr bwMode="auto">
          <a:xfrm>
            <a:off x="2511858" y="1593742"/>
            <a:ext cx="1903347" cy="1898678"/>
            <a:chOff x="2562226" y="1231947"/>
            <a:chExt cx="1941172" cy="1935779"/>
          </a:xfrm>
        </p:grpSpPr>
        <p:sp>
          <p:nvSpPr>
            <p:cNvPr id="117" name="Rectangle 116"/>
            <p:cNvSpPr/>
            <p:nvPr/>
          </p:nvSpPr>
          <p:spPr bwMode="auto">
            <a:xfrm>
              <a:off x="2562226" y="1231947"/>
              <a:ext cx="1941172" cy="19357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defTabSz="672451" fontAlgn="base">
                <a:spcBef>
                  <a:spcPct val="0"/>
                </a:spcBef>
                <a:spcAft>
                  <a:spcPct val="0"/>
                </a:spcAft>
                <a:defRPr/>
              </a:pPr>
              <a:r>
                <a:rPr lang="en-US" sz="3529" dirty="0">
                  <a:solidFill>
                    <a:srgbClr val="FFFFFF"/>
                  </a:solidFill>
                  <a:latin typeface="Segoe UI Light"/>
                </a:rPr>
                <a:t>1B+</a:t>
              </a:r>
            </a:p>
            <a:p>
              <a:pPr defTabSz="672451" fontAlgn="base">
                <a:spcBef>
                  <a:spcPct val="0"/>
                </a:spcBef>
                <a:spcAft>
                  <a:spcPct val="0"/>
                </a:spcAft>
                <a:defRPr/>
              </a:pPr>
              <a:r>
                <a:rPr lang="en-US" sz="1176" dirty="0">
                  <a:solidFill>
                    <a:srgbClr val="FFFFFF"/>
                  </a:solidFill>
                </a:rPr>
                <a:t>weekly Microsoft Azure</a:t>
              </a:r>
              <a:br>
                <a:rPr lang="en-US" sz="1176" dirty="0">
                  <a:solidFill>
                    <a:srgbClr val="FFFFFF"/>
                  </a:solidFill>
                </a:rPr>
              </a:br>
              <a:r>
                <a:rPr lang="en-US" sz="1176" dirty="0">
                  <a:solidFill>
                    <a:srgbClr val="FFFFFF"/>
                  </a:solidFill>
                </a:rPr>
                <a:t>AD authentications</a:t>
              </a:r>
            </a:p>
          </p:txBody>
        </p:sp>
        <p:sp>
          <p:nvSpPr>
            <p:cNvPr id="118" name="Freeform 25"/>
            <p:cNvSpPr>
              <a:spLocks/>
            </p:cNvSpPr>
            <p:nvPr/>
          </p:nvSpPr>
          <p:spPr bwMode="auto">
            <a:xfrm flipH="1">
              <a:off x="2668570" y="2761530"/>
              <a:ext cx="412678" cy="268153"/>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noFill/>
            </a:ln>
            <a:extLst/>
          </p:spPr>
          <p:txBody>
            <a:bodyPr/>
            <a:lstStyle/>
            <a:p>
              <a:pPr defTabSz="913949">
                <a:defRPr/>
              </a:pPr>
              <a:endParaRPr lang="en-US">
                <a:solidFill>
                  <a:srgbClr val="FFFFFF"/>
                </a:solidFill>
                <a:ea typeface="ＭＳ Ｐゴシック" charset="0"/>
              </a:endParaRPr>
            </a:p>
          </p:txBody>
        </p:sp>
      </p:grpSp>
      <p:grpSp>
        <p:nvGrpSpPr>
          <p:cNvPr id="119" name="Group 118"/>
          <p:cNvGrpSpPr>
            <a:grpSpLocks/>
          </p:cNvGrpSpPr>
          <p:nvPr/>
        </p:nvGrpSpPr>
        <p:grpSpPr bwMode="auto">
          <a:xfrm>
            <a:off x="4415204" y="1593742"/>
            <a:ext cx="1903346" cy="1898678"/>
            <a:chOff x="4503398" y="1231947"/>
            <a:chExt cx="1941172" cy="1935779"/>
          </a:xfrm>
        </p:grpSpPr>
        <p:sp>
          <p:nvSpPr>
            <p:cNvPr id="120" name="Rectangle 119"/>
            <p:cNvSpPr/>
            <p:nvPr/>
          </p:nvSpPr>
          <p:spPr bwMode="auto">
            <a:xfrm>
              <a:off x="4503398" y="1231947"/>
              <a:ext cx="1941172" cy="19357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defTabSz="672451" fontAlgn="base">
                <a:spcBef>
                  <a:spcPct val="0"/>
                </a:spcBef>
                <a:spcAft>
                  <a:spcPct val="0"/>
                </a:spcAft>
                <a:defRPr/>
              </a:pPr>
              <a:r>
                <a:rPr lang="en-US" sz="3529" dirty="0">
                  <a:solidFill>
                    <a:srgbClr val="FFFFFF"/>
                  </a:solidFill>
                  <a:latin typeface="Segoe UI Light"/>
                </a:rPr>
                <a:t>&gt;57%</a:t>
              </a:r>
            </a:p>
            <a:p>
              <a:pPr defTabSz="672451" fontAlgn="base">
                <a:spcBef>
                  <a:spcPct val="0"/>
                </a:spcBef>
                <a:spcAft>
                  <a:spcPct val="0"/>
                </a:spcAft>
                <a:defRPr/>
              </a:pPr>
              <a:r>
                <a:rPr lang="en-US" sz="1176" dirty="0">
                  <a:solidFill>
                    <a:srgbClr val="FFFFFF"/>
                  </a:solidFill>
                </a:rPr>
                <a:t>of Fortune 500 </a:t>
              </a:r>
              <a:br>
                <a:rPr lang="en-US" sz="1176" dirty="0">
                  <a:solidFill>
                    <a:srgbClr val="FFFFFF"/>
                  </a:solidFill>
                </a:rPr>
              </a:br>
              <a:r>
                <a:rPr lang="en-US" sz="1176" dirty="0">
                  <a:solidFill>
                    <a:srgbClr val="FFFFFF"/>
                  </a:solidFill>
                </a:rPr>
                <a:t>use Microsoft Azure</a:t>
              </a:r>
            </a:p>
          </p:txBody>
        </p:sp>
        <p:sp>
          <p:nvSpPr>
            <p:cNvPr id="121" name="Freeform 25"/>
            <p:cNvSpPr>
              <a:spLocks/>
            </p:cNvSpPr>
            <p:nvPr/>
          </p:nvSpPr>
          <p:spPr bwMode="auto">
            <a:xfrm flipH="1">
              <a:off x="4674818" y="2761530"/>
              <a:ext cx="411090" cy="268153"/>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noFill/>
            </a:ln>
            <a:extLst/>
          </p:spPr>
          <p:txBody>
            <a:bodyPr/>
            <a:lstStyle/>
            <a:p>
              <a:pPr defTabSz="913949">
                <a:defRPr/>
              </a:pPr>
              <a:endParaRPr lang="en-US">
                <a:solidFill>
                  <a:srgbClr val="FFFFFF"/>
                </a:solidFill>
                <a:ea typeface="ＭＳ Ｐゴシック" charset="0"/>
              </a:endParaRPr>
            </a:p>
          </p:txBody>
        </p:sp>
      </p:grpSp>
      <p:grpSp>
        <p:nvGrpSpPr>
          <p:cNvPr id="122" name="Group 121"/>
          <p:cNvGrpSpPr>
            <a:grpSpLocks/>
          </p:cNvGrpSpPr>
          <p:nvPr/>
        </p:nvGrpSpPr>
        <p:grpSpPr bwMode="auto">
          <a:xfrm>
            <a:off x="6318551" y="1593742"/>
            <a:ext cx="1901790" cy="1898678"/>
            <a:chOff x="6444570" y="1231947"/>
            <a:chExt cx="1941172" cy="1935779"/>
          </a:xfrm>
        </p:grpSpPr>
        <p:sp>
          <p:nvSpPr>
            <p:cNvPr id="123" name="Rectangle 122"/>
            <p:cNvSpPr/>
            <p:nvPr/>
          </p:nvSpPr>
          <p:spPr bwMode="auto">
            <a:xfrm>
              <a:off x="6444570" y="1231947"/>
              <a:ext cx="1941172" cy="19357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defTabSz="672451" fontAlgn="base">
                <a:spcBef>
                  <a:spcPct val="0"/>
                </a:spcBef>
                <a:spcAft>
                  <a:spcPct val="0"/>
                </a:spcAft>
                <a:defRPr/>
              </a:pPr>
              <a:r>
                <a:rPr lang="en-US" sz="3529" dirty="0">
                  <a:solidFill>
                    <a:srgbClr val="FFFFFF"/>
                  </a:solidFill>
                  <a:latin typeface="Segoe UI Light"/>
                </a:rPr>
                <a:t>&gt;1M</a:t>
              </a:r>
            </a:p>
            <a:p>
              <a:pPr defTabSz="672451" fontAlgn="base">
                <a:spcBef>
                  <a:spcPct val="0"/>
                </a:spcBef>
                <a:spcAft>
                  <a:spcPct val="0"/>
                </a:spcAft>
                <a:defRPr/>
              </a:pPr>
              <a:r>
                <a:rPr lang="en-US" sz="1176" dirty="0">
                  <a:solidFill>
                    <a:srgbClr val="FFFFFF"/>
                  </a:solidFill>
                </a:rPr>
                <a:t>Microsoft Azure </a:t>
              </a:r>
              <a:br>
                <a:rPr lang="en-US" sz="1176" dirty="0">
                  <a:solidFill>
                    <a:srgbClr val="FFFFFF"/>
                  </a:solidFill>
                </a:rPr>
              </a:br>
              <a:r>
                <a:rPr lang="en-US" sz="1176" dirty="0">
                  <a:solidFill>
                    <a:srgbClr val="FFFFFF"/>
                  </a:solidFill>
                </a:rPr>
                <a:t>SQL databases</a:t>
              </a:r>
            </a:p>
          </p:txBody>
        </p:sp>
        <p:sp>
          <p:nvSpPr>
            <p:cNvPr id="124" name="Freeform 25"/>
            <p:cNvSpPr>
              <a:spLocks/>
            </p:cNvSpPr>
            <p:nvPr/>
          </p:nvSpPr>
          <p:spPr bwMode="auto">
            <a:xfrm flipH="1">
              <a:off x="6622484" y="2761530"/>
              <a:ext cx="411427" cy="268153"/>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noFill/>
            </a:ln>
            <a:extLst/>
          </p:spPr>
          <p:txBody>
            <a:bodyPr/>
            <a:lstStyle/>
            <a:p>
              <a:pPr defTabSz="913949">
                <a:defRPr/>
              </a:pPr>
              <a:endParaRPr lang="en-US">
                <a:solidFill>
                  <a:srgbClr val="FFFFFF"/>
                </a:solidFill>
                <a:ea typeface="ＭＳ Ｐゴシック" charset="0"/>
              </a:endParaRPr>
            </a:p>
          </p:txBody>
        </p:sp>
      </p:grpSp>
      <p:grpSp>
        <p:nvGrpSpPr>
          <p:cNvPr id="125" name="Group 124"/>
          <p:cNvGrpSpPr>
            <a:grpSpLocks/>
          </p:cNvGrpSpPr>
          <p:nvPr/>
        </p:nvGrpSpPr>
        <p:grpSpPr bwMode="auto">
          <a:xfrm>
            <a:off x="8220341" y="1593742"/>
            <a:ext cx="1903347" cy="1898678"/>
            <a:chOff x="8385742" y="1231947"/>
            <a:chExt cx="1941172" cy="1935779"/>
          </a:xfrm>
        </p:grpSpPr>
        <p:sp>
          <p:nvSpPr>
            <p:cNvPr id="126" name="Rectangle 125"/>
            <p:cNvSpPr/>
            <p:nvPr/>
          </p:nvSpPr>
          <p:spPr bwMode="auto">
            <a:xfrm>
              <a:off x="8385742" y="1231947"/>
              <a:ext cx="1941172" cy="19357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defTabSz="672451" fontAlgn="base">
                <a:spcBef>
                  <a:spcPct val="0"/>
                </a:spcBef>
                <a:spcAft>
                  <a:spcPct val="0"/>
                </a:spcAft>
                <a:defRPr/>
              </a:pPr>
              <a:r>
                <a:rPr lang="en-US" sz="3529" dirty="0">
                  <a:solidFill>
                    <a:srgbClr val="FFFFFF"/>
                  </a:solidFill>
                  <a:latin typeface="Segoe UI Light"/>
                </a:rPr>
                <a:t>29K+</a:t>
              </a:r>
            </a:p>
            <a:p>
              <a:pPr defTabSz="672451" fontAlgn="base">
                <a:spcBef>
                  <a:spcPct val="0"/>
                </a:spcBef>
                <a:spcAft>
                  <a:spcPct val="0"/>
                </a:spcAft>
                <a:defRPr/>
              </a:pPr>
              <a:r>
                <a:rPr lang="en-US" sz="1176" dirty="0">
                  <a:solidFill>
                    <a:srgbClr val="FFFFFF"/>
                  </a:solidFill>
                </a:rPr>
                <a:t>organizations </a:t>
              </a:r>
              <a:br>
                <a:rPr lang="en-US" sz="1176" dirty="0">
                  <a:solidFill>
                    <a:srgbClr val="FFFFFF"/>
                  </a:solidFill>
                </a:rPr>
              </a:br>
              <a:r>
                <a:rPr lang="en-US" sz="1176" dirty="0">
                  <a:solidFill>
                    <a:srgbClr val="FFFFFF"/>
                  </a:solidFill>
                </a:rPr>
                <a:t>already use </a:t>
              </a:r>
              <a:br>
                <a:rPr lang="en-US" sz="1176" dirty="0">
                  <a:solidFill>
                    <a:srgbClr val="FFFFFF"/>
                  </a:solidFill>
                </a:rPr>
              </a:br>
              <a:r>
                <a:rPr lang="en-US" sz="1176" dirty="0">
                  <a:solidFill>
                    <a:srgbClr val="FFFFFF"/>
                  </a:solidFill>
                </a:rPr>
                <a:t>Microsoft Intune</a:t>
              </a:r>
            </a:p>
          </p:txBody>
        </p:sp>
        <p:sp>
          <p:nvSpPr>
            <p:cNvPr id="127" name="Freeform 25"/>
            <p:cNvSpPr>
              <a:spLocks/>
            </p:cNvSpPr>
            <p:nvPr/>
          </p:nvSpPr>
          <p:spPr bwMode="auto">
            <a:xfrm flipH="1">
              <a:off x="8547639" y="2761530"/>
              <a:ext cx="412678" cy="268153"/>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noFill/>
            </a:ln>
            <a:extLst/>
          </p:spPr>
          <p:txBody>
            <a:bodyPr/>
            <a:lstStyle/>
            <a:p>
              <a:pPr defTabSz="913949">
                <a:defRPr/>
              </a:pPr>
              <a:endParaRPr lang="en-US">
                <a:solidFill>
                  <a:srgbClr val="FFFFFF"/>
                </a:solidFill>
                <a:ea typeface="ＭＳ Ｐゴシック" charset="0"/>
              </a:endParaRPr>
            </a:p>
          </p:txBody>
        </p:sp>
      </p:grpSp>
      <p:grpSp>
        <p:nvGrpSpPr>
          <p:cNvPr id="129" name="Group 20"/>
          <p:cNvGrpSpPr>
            <a:grpSpLocks/>
          </p:cNvGrpSpPr>
          <p:nvPr/>
        </p:nvGrpSpPr>
        <p:grpSpPr bwMode="auto">
          <a:xfrm>
            <a:off x="399969" y="3870990"/>
            <a:ext cx="3295781" cy="2983413"/>
            <a:chOff x="425669" y="3519853"/>
            <a:chExt cx="3507554" cy="3174635"/>
          </a:xfrm>
          <a:solidFill>
            <a:srgbClr val="004A82"/>
          </a:solidFill>
        </p:grpSpPr>
        <p:sp>
          <p:nvSpPr>
            <p:cNvPr id="150" name="Rectangle 149"/>
            <p:cNvSpPr/>
            <p:nvPr/>
          </p:nvSpPr>
          <p:spPr bwMode="auto">
            <a:xfrm>
              <a:off x="1227315" y="3695393"/>
              <a:ext cx="821522" cy="29229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bwMode="auto">
            <a:xfrm>
              <a:off x="425669" y="4564816"/>
              <a:ext cx="1010340" cy="2129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22"/>
            <p:cNvSpPr>
              <a:spLocks noChangeArrowheads="1"/>
            </p:cNvSpPr>
            <p:nvPr/>
          </p:nvSpPr>
          <p:spPr bwMode="auto">
            <a:xfrm>
              <a:off x="1772235" y="3519853"/>
              <a:ext cx="140786" cy="180509"/>
            </a:xfrm>
            <a:prstGeom prst="rect">
              <a:avLst/>
            </a:prstGeom>
            <a:solidFill>
              <a:schemeClr val="bg1">
                <a:lumMod val="95000"/>
              </a:schemeClr>
            </a:solidFill>
            <a:ln>
              <a:noFill/>
            </a:ln>
            <a:extLst/>
          </p:spPr>
          <p:txBody>
            <a:bodyPr/>
            <a:lstStyle/>
            <a:p>
              <a:pPr defTabSz="913949">
                <a:defRPr/>
              </a:pPr>
              <a:endParaRPr lang="en-US">
                <a:solidFill>
                  <a:srgbClr val="505050"/>
                </a:solidFill>
                <a:ea typeface="ＭＳ Ｐゴシック" charset="0"/>
              </a:endParaRPr>
            </a:p>
          </p:txBody>
        </p:sp>
        <p:sp>
          <p:nvSpPr>
            <p:cNvPr id="153" name="Rectangle 23"/>
            <p:cNvSpPr>
              <a:spLocks noChangeArrowheads="1"/>
            </p:cNvSpPr>
            <p:nvPr/>
          </p:nvSpPr>
          <p:spPr bwMode="auto">
            <a:xfrm>
              <a:off x="1585075" y="3519853"/>
              <a:ext cx="139129" cy="180509"/>
            </a:xfrm>
            <a:prstGeom prst="rect">
              <a:avLst/>
            </a:prstGeom>
            <a:solidFill>
              <a:schemeClr val="bg1">
                <a:lumMod val="95000"/>
              </a:schemeClr>
            </a:solidFill>
            <a:ln>
              <a:noFill/>
            </a:ln>
            <a:extLst/>
          </p:spPr>
          <p:txBody>
            <a:bodyPr/>
            <a:lstStyle/>
            <a:p>
              <a:pPr defTabSz="913949">
                <a:defRPr/>
              </a:pPr>
              <a:endParaRPr lang="en-US">
                <a:solidFill>
                  <a:srgbClr val="505050"/>
                </a:solidFill>
                <a:ea typeface="ＭＳ Ｐゴシック" charset="0"/>
              </a:endParaRPr>
            </a:p>
          </p:txBody>
        </p:sp>
        <p:sp>
          <p:nvSpPr>
            <p:cNvPr id="211" name="Rectangle 210"/>
            <p:cNvSpPr/>
            <p:nvPr/>
          </p:nvSpPr>
          <p:spPr bwMode="auto">
            <a:xfrm>
              <a:off x="2318341" y="6154617"/>
              <a:ext cx="1010340" cy="5398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p:cNvSpPr/>
            <p:nvPr/>
          </p:nvSpPr>
          <p:spPr bwMode="auto">
            <a:xfrm>
              <a:off x="3466622" y="6043662"/>
              <a:ext cx="466601" cy="6508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0" name="Rectangle 6"/>
          <p:cNvSpPr>
            <a:spLocks noChangeArrowheads="1"/>
          </p:cNvSpPr>
          <p:nvPr/>
        </p:nvSpPr>
        <p:spPr bwMode="auto">
          <a:xfrm>
            <a:off x="3113" y="5985990"/>
            <a:ext cx="994472" cy="868412"/>
          </a:xfrm>
          <a:prstGeom prst="rect">
            <a:avLst/>
          </a:prstGeom>
          <a:solidFill>
            <a:schemeClr val="accent1"/>
          </a:solidFill>
          <a:ln>
            <a:noFill/>
          </a:ln>
          <a:extLst/>
        </p:spPr>
        <p:txBody>
          <a:bodyPr/>
          <a:lstStyle/>
          <a:p>
            <a:pPr defTabSz="913949">
              <a:defRPr/>
            </a:pPr>
            <a:endParaRPr lang="en-US">
              <a:solidFill>
                <a:srgbClr val="505050"/>
              </a:solidFill>
              <a:ea typeface="ＭＳ Ｐゴシック" charset="0"/>
            </a:endParaRPr>
          </a:p>
        </p:txBody>
      </p:sp>
      <p:sp>
        <p:nvSpPr>
          <p:cNvPr id="131" name="Rectangle 7"/>
          <p:cNvSpPr>
            <a:spLocks noChangeArrowheads="1"/>
          </p:cNvSpPr>
          <p:nvPr/>
        </p:nvSpPr>
        <p:spPr bwMode="auto">
          <a:xfrm>
            <a:off x="3113" y="5943970"/>
            <a:ext cx="1048942" cy="42020"/>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32" name="Rectangle 8"/>
          <p:cNvSpPr>
            <a:spLocks noChangeArrowheads="1"/>
          </p:cNvSpPr>
          <p:nvPr/>
        </p:nvSpPr>
        <p:spPr bwMode="auto">
          <a:xfrm>
            <a:off x="504239" y="6577382"/>
            <a:ext cx="143179" cy="277020"/>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33" name="Rectangle 9"/>
          <p:cNvSpPr>
            <a:spLocks noChangeArrowheads="1"/>
          </p:cNvSpPr>
          <p:nvPr/>
        </p:nvSpPr>
        <p:spPr bwMode="auto">
          <a:xfrm>
            <a:off x="259903" y="6577382"/>
            <a:ext cx="140066" cy="277020"/>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34" name="Rectangle 10"/>
          <p:cNvSpPr>
            <a:spLocks noChangeArrowheads="1"/>
          </p:cNvSpPr>
          <p:nvPr/>
        </p:nvSpPr>
        <p:spPr bwMode="auto">
          <a:xfrm>
            <a:off x="12450" y="6102712"/>
            <a:ext cx="883974" cy="140066"/>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35" name="Rectangle 11"/>
          <p:cNvSpPr>
            <a:spLocks noChangeArrowheads="1"/>
          </p:cNvSpPr>
          <p:nvPr/>
        </p:nvSpPr>
        <p:spPr bwMode="auto">
          <a:xfrm>
            <a:off x="12450" y="6347050"/>
            <a:ext cx="883974" cy="143179"/>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36" name="Rectangle 12"/>
          <p:cNvSpPr>
            <a:spLocks noChangeArrowheads="1"/>
          </p:cNvSpPr>
          <p:nvPr/>
        </p:nvSpPr>
        <p:spPr bwMode="auto">
          <a:xfrm>
            <a:off x="1115863" y="5494202"/>
            <a:ext cx="1092518" cy="1360200"/>
          </a:xfrm>
          <a:prstGeom prst="rect">
            <a:avLst/>
          </a:prstGeom>
          <a:solidFill>
            <a:schemeClr val="accent1"/>
          </a:solidFill>
          <a:ln>
            <a:noFill/>
          </a:ln>
          <a:extLst/>
        </p:spPr>
        <p:txBody>
          <a:bodyPr/>
          <a:lstStyle/>
          <a:p>
            <a:pPr defTabSz="913949">
              <a:defRPr/>
            </a:pPr>
            <a:endParaRPr lang="en-US">
              <a:solidFill>
                <a:srgbClr val="505050"/>
              </a:solidFill>
              <a:ea typeface="ＭＳ Ｐゴシック" charset="0"/>
            </a:endParaRPr>
          </a:p>
        </p:txBody>
      </p:sp>
      <p:sp>
        <p:nvSpPr>
          <p:cNvPr id="137" name="Rectangle 13"/>
          <p:cNvSpPr>
            <a:spLocks noChangeArrowheads="1"/>
          </p:cNvSpPr>
          <p:nvPr/>
        </p:nvSpPr>
        <p:spPr bwMode="auto">
          <a:xfrm>
            <a:off x="1059836" y="5452182"/>
            <a:ext cx="1203014" cy="42020"/>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38" name="Rectangle 14"/>
          <p:cNvSpPr>
            <a:spLocks noChangeArrowheads="1"/>
          </p:cNvSpPr>
          <p:nvPr/>
        </p:nvSpPr>
        <p:spPr bwMode="auto">
          <a:xfrm>
            <a:off x="1716592" y="6577382"/>
            <a:ext cx="143179" cy="277020"/>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39" name="Rectangle 15"/>
          <p:cNvSpPr>
            <a:spLocks noChangeArrowheads="1"/>
          </p:cNvSpPr>
          <p:nvPr/>
        </p:nvSpPr>
        <p:spPr bwMode="auto">
          <a:xfrm>
            <a:off x="1467585" y="6577382"/>
            <a:ext cx="143179" cy="277020"/>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40" name="Rectangle 16"/>
          <p:cNvSpPr>
            <a:spLocks noChangeArrowheads="1"/>
          </p:cNvSpPr>
          <p:nvPr/>
        </p:nvSpPr>
        <p:spPr bwMode="auto">
          <a:xfrm>
            <a:off x="1223247" y="5610923"/>
            <a:ext cx="883974" cy="144736"/>
          </a:xfrm>
          <a:prstGeom prst="rect">
            <a:avLst/>
          </a:prstGeom>
          <a:solidFill>
            <a:schemeClr val="accent1">
              <a:lumMod val="50000"/>
            </a:schemeClr>
          </a:solidFill>
          <a:ln>
            <a:noFill/>
          </a:ln>
          <a:extLst/>
        </p:spPr>
        <p:txBody>
          <a:bodyPr/>
          <a:lstStyle/>
          <a:p>
            <a:pPr defTabSz="913949">
              <a:defRPr/>
            </a:pPr>
            <a:endParaRPr lang="en-US">
              <a:solidFill>
                <a:srgbClr val="505050"/>
              </a:solidFill>
              <a:ea typeface="ＭＳ Ｐゴシック" charset="0"/>
            </a:endParaRPr>
          </a:p>
        </p:txBody>
      </p:sp>
      <p:sp>
        <p:nvSpPr>
          <p:cNvPr id="141" name="Rectangle 17"/>
          <p:cNvSpPr>
            <a:spLocks noChangeArrowheads="1"/>
          </p:cNvSpPr>
          <p:nvPr/>
        </p:nvSpPr>
        <p:spPr bwMode="auto">
          <a:xfrm>
            <a:off x="1223247" y="5855261"/>
            <a:ext cx="883974" cy="143179"/>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42" name="Rectangle 18"/>
          <p:cNvSpPr>
            <a:spLocks noChangeArrowheads="1"/>
          </p:cNvSpPr>
          <p:nvPr/>
        </p:nvSpPr>
        <p:spPr bwMode="auto">
          <a:xfrm>
            <a:off x="1223247" y="6102712"/>
            <a:ext cx="883974" cy="140066"/>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43" name="Rectangle 19"/>
          <p:cNvSpPr>
            <a:spLocks noChangeArrowheads="1"/>
          </p:cNvSpPr>
          <p:nvPr/>
        </p:nvSpPr>
        <p:spPr bwMode="auto">
          <a:xfrm>
            <a:off x="1223247" y="6347050"/>
            <a:ext cx="883974" cy="143179"/>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44" name="Rectangle 22"/>
          <p:cNvSpPr>
            <a:spLocks noChangeArrowheads="1"/>
          </p:cNvSpPr>
          <p:nvPr/>
        </p:nvSpPr>
        <p:spPr bwMode="auto">
          <a:xfrm>
            <a:off x="1898678" y="5282546"/>
            <a:ext cx="130729" cy="169635"/>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45" name="Rectangle 23"/>
          <p:cNvSpPr>
            <a:spLocks noChangeArrowheads="1"/>
          </p:cNvSpPr>
          <p:nvPr/>
        </p:nvSpPr>
        <p:spPr bwMode="auto">
          <a:xfrm>
            <a:off x="1722817" y="5282546"/>
            <a:ext cx="130729" cy="169635"/>
          </a:xfrm>
          <a:prstGeom prst="rect">
            <a:avLst/>
          </a:prstGeom>
          <a:solidFill>
            <a:schemeClr val="accent1">
              <a:lumMod val="75000"/>
            </a:schemeClr>
          </a:solidFill>
          <a:ln>
            <a:noFill/>
          </a:ln>
          <a:extLst/>
        </p:spPr>
        <p:txBody>
          <a:bodyPr/>
          <a:lstStyle/>
          <a:p>
            <a:pPr defTabSz="913949">
              <a:defRPr/>
            </a:pPr>
            <a:endParaRPr lang="en-US">
              <a:solidFill>
                <a:srgbClr val="505050"/>
              </a:solidFill>
              <a:ea typeface="ＭＳ Ｐゴシック" charset="0"/>
            </a:endParaRPr>
          </a:p>
        </p:txBody>
      </p:sp>
      <p:sp>
        <p:nvSpPr>
          <p:cNvPr id="147" name="Freeform 25"/>
          <p:cNvSpPr>
            <a:spLocks/>
          </p:cNvSpPr>
          <p:nvPr/>
        </p:nvSpPr>
        <p:spPr bwMode="auto">
          <a:xfrm>
            <a:off x="227219" y="1728835"/>
            <a:ext cx="1364870" cy="890200"/>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accent1"/>
          </a:solidFill>
          <a:ln>
            <a:noFill/>
          </a:ln>
          <a:extLst/>
        </p:spPr>
        <p:txBody>
          <a:bodyPr/>
          <a:lstStyle/>
          <a:p>
            <a:pPr defTabSz="913949">
              <a:defRPr/>
            </a:pPr>
            <a:endParaRPr lang="en-US">
              <a:solidFill>
                <a:srgbClr val="505050"/>
              </a:solidFill>
              <a:ea typeface="ＭＳ Ｐゴシック" charset="0"/>
            </a:endParaRPr>
          </a:p>
        </p:txBody>
      </p:sp>
      <p:sp>
        <p:nvSpPr>
          <p:cNvPr id="148" name="Freeform 26"/>
          <p:cNvSpPr>
            <a:spLocks/>
          </p:cNvSpPr>
          <p:nvPr/>
        </p:nvSpPr>
        <p:spPr bwMode="auto">
          <a:xfrm flipH="1">
            <a:off x="217881" y="2280455"/>
            <a:ext cx="1518942" cy="3397390"/>
          </a:xfrm>
          <a:custGeom>
            <a:avLst/>
            <a:gdLst>
              <a:gd name="T0" fmla="*/ 6 w 516"/>
              <a:gd name="T1" fmla="*/ 1419 h 1431"/>
              <a:gd name="T2" fmla="*/ 223 w 516"/>
              <a:gd name="T3" fmla="*/ 1149 h 1431"/>
              <a:gd name="T4" fmla="*/ 353 w 516"/>
              <a:gd name="T5" fmla="*/ 42 h 1431"/>
              <a:gd name="T6" fmla="*/ 278 w 516"/>
              <a:gd name="T7" fmla="*/ 44 h 1431"/>
              <a:gd name="T8" fmla="*/ 39 w 516"/>
              <a:gd name="T9" fmla="*/ 6 h 1431"/>
              <a:gd name="T10" fmla="*/ 45 w 516"/>
              <a:gd name="T11" fmla="*/ 0 h 1431"/>
              <a:gd name="T12" fmla="*/ 51 w 516"/>
              <a:gd name="T13" fmla="*/ 6 h 1431"/>
              <a:gd name="T14" fmla="*/ 278 w 516"/>
              <a:gd name="T15" fmla="*/ 33 h 1431"/>
              <a:gd name="T16" fmla="*/ 504 w 516"/>
              <a:gd name="T17" fmla="*/ 6 h 1431"/>
              <a:gd name="T18" fmla="*/ 510 w 516"/>
              <a:gd name="T19" fmla="*/ 0 h 1431"/>
              <a:gd name="T20" fmla="*/ 516 w 516"/>
              <a:gd name="T21" fmla="*/ 6 h 1431"/>
              <a:gd name="T22" fmla="*/ 365 w 516"/>
              <a:gd name="T23" fmla="*/ 42 h 1431"/>
              <a:gd name="T24" fmla="*/ 233 w 516"/>
              <a:gd name="T25" fmla="*/ 1152 h 1431"/>
              <a:gd name="T26" fmla="*/ 6 w 516"/>
              <a:gd name="T27" fmla="*/ 1431 h 1431"/>
              <a:gd name="T28" fmla="*/ 0 w 516"/>
              <a:gd name="T29" fmla="*/ 1425 h 1431"/>
              <a:gd name="T30" fmla="*/ 6 w 516"/>
              <a:gd name="T31" fmla="*/ 1419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6" h="1431">
                <a:moveTo>
                  <a:pt x="6" y="1419"/>
                </a:moveTo>
                <a:cubicBezTo>
                  <a:pt x="87" y="1419"/>
                  <a:pt x="164" y="1323"/>
                  <a:pt x="223" y="1149"/>
                </a:cubicBezTo>
                <a:cubicBezTo>
                  <a:pt x="281" y="973"/>
                  <a:pt x="353" y="291"/>
                  <a:pt x="353" y="42"/>
                </a:cubicBezTo>
                <a:cubicBezTo>
                  <a:pt x="313" y="44"/>
                  <a:pt x="281" y="44"/>
                  <a:pt x="278" y="44"/>
                </a:cubicBezTo>
                <a:cubicBezTo>
                  <a:pt x="268" y="44"/>
                  <a:pt x="39" y="44"/>
                  <a:pt x="39" y="6"/>
                </a:cubicBezTo>
                <a:cubicBezTo>
                  <a:pt x="39" y="3"/>
                  <a:pt x="42" y="0"/>
                  <a:pt x="45" y="0"/>
                </a:cubicBezTo>
                <a:cubicBezTo>
                  <a:pt x="48" y="0"/>
                  <a:pt x="51" y="2"/>
                  <a:pt x="51" y="6"/>
                </a:cubicBezTo>
                <a:cubicBezTo>
                  <a:pt x="55" y="15"/>
                  <a:pt x="134" y="33"/>
                  <a:pt x="278" y="33"/>
                </a:cubicBezTo>
                <a:cubicBezTo>
                  <a:pt x="422" y="33"/>
                  <a:pt x="501" y="15"/>
                  <a:pt x="504" y="6"/>
                </a:cubicBezTo>
                <a:cubicBezTo>
                  <a:pt x="504" y="3"/>
                  <a:pt x="507" y="0"/>
                  <a:pt x="510" y="0"/>
                </a:cubicBezTo>
                <a:cubicBezTo>
                  <a:pt x="513" y="0"/>
                  <a:pt x="516" y="3"/>
                  <a:pt x="516" y="6"/>
                </a:cubicBezTo>
                <a:cubicBezTo>
                  <a:pt x="516" y="29"/>
                  <a:pt x="433" y="38"/>
                  <a:pt x="365" y="42"/>
                </a:cubicBezTo>
                <a:cubicBezTo>
                  <a:pt x="364" y="292"/>
                  <a:pt x="293" y="976"/>
                  <a:pt x="233" y="1152"/>
                </a:cubicBezTo>
                <a:cubicBezTo>
                  <a:pt x="173" y="1332"/>
                  <a:pt x="93" y="1431"/>
                  <a:pt x="6" y="1431"/>
                </a:cubicBezTo>
                <a:cubicBezTo>
                  <a:pt x="3" y="1431"/>
                  <a:pt x="0" y="1428"/>
                  <a:pt x="0" y="1425"/>
                </a:cubicBezTo>
                <a:cubicBezTo>
                  <a:pt x="0" y="1422"/>
                  <a:pt x="3" y="1419"/>
                  <a:pt x="6" y="1419"/>
                </a:cubicBezTo>
                <a:close/>
              </a:path>
            </a:pathLst>
          </a:custGeom>
          <a:solidFill>
            <a:schemeClr val="accent1">
              <a:lumMod val="50000"/>
            </a:schemeClr>
          </a:solidFill>
          <a:ln>
            <a:noFill/>
          </a:ln>
          <a:extLst/>
        </p:spPr>
        <p:txBody>
          <a:bodyPr/>
          <a:lstStyle/>
          <a:p>
            <a:pPr defTabSz="913949">
              <a:defRPr/>
            </a:pPr>
            <a:endParaRPr lang="en-US">
              <a:solidFill>
                <a:srgbClr val="505050"/>
              </a:solidFill>
              <a:ea typeface="ＭＳ Ｐゴシック" charset="0"/>
            </a:endParaRPr>
          </a:p>
        </p:txBody>
      </p:sp>
      <p:sp>
        <p:nvSpPr>
          <p:cNvPr id="154" name="Oval 153"/>
          <p:cNvSpPr/>
          <p:nvPr/>
        </p:nvSpPr>
        <p:spPr bwMode="auto">
          <a:xfrm>
            <a:off x="9375110" y="2742286"/>
            <a:ext cx="1498711" cy="149871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Oval 154"/>
          <p:cNvSpPr/>
          <p:nvPr/>
        </p:nvSpPr>
        <p:spPr bwMode="auto">
          <a:xfrm>
            <a:off x="9533852" y="2896360"/>
            <a:ext cx="1189008" cy="119056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Freeform 123"/>
          <p:cNvSpPr>
            <a:spLocks noEditPoints="1"/>
          </p:cNvSpPr>
          <p:nvPr/>
        </p:nvSpPr>
        <p:spPr bwMode="black">
          <a:xfrm>
            <a:off x="9809317" y="3165598"/>
            <a:ext cx="661424" cy="686326"/>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chemeClr val="accent1">
              <a:lumMod val="75000"/>
            </a:schemeClr>
          </a:solidFill>
          <a:ln>
            <a:noFill/>
          </a:ln>
          <a:effectLst/>
          <a:extLst/>
        </p:spPr>
        <p:txBody>
          <a:bodyPr lIns="89624" tIns="44811" rIns="89624" bIns="44811"/>
          <a:lstStyle/>
          <a:p>
            <a:pPr defTabSz="896171">
              <a:defRPr/>
            </a:pPr>
            <a:endParaRPr lang="en-US" sz="1729" dirty="0">
              <a:solidFill>
                <a:srgbClr val="000000"/>
              </a:solidFill>
              <a:ea typeface="ＭＳ Ｐゴシック" charset="0"/>
            </a:endParaRPr>
          </a:p>
        </p:txBody>
      </p:sp>
      <p:grpSp>
        <p:nvGrpSpPr>
          <p:cNvPr id="158" name="Group 157"/>
          <p:cNvGrpSpPr/>
          <p:nvPr/>
        </p:nvGrpSpPr>
        <p:grpSpPr>
          <a:xfrm>
            <a:off x="10392675" y="2312398"/>
            <a:ext cx="901081" cy="347302"/>
            <a:chOff x="3985841" y="7317856"/>
            <a:chExt cx="3159126" cy="1217613"/>
          </a:xfrm>
          <a:solidFill>
            <a:schemeClr val="tx1"/>
          </a:solidFill>
        </p:grpSpPr>
        <p:sp>
          <p:nvSpPr>
            <p:cNvPr id="159" name="Freeform 10"/>
            <p:cNvSpPr>
              <a:spLocks noEditPoints="1"/>
            </p:cNvSpPr>
            <p:nvPr/>
          </p:nvSpPr>
          <p:spPr bwMode="auto">
            <a:xfrm>
              <a:off x="5322516" y="7521056"/>
              <a:ext cx="474663" cy="782638"/>
            </a:xfrm>
            <a:custGeom>
              <a:avLst/>
              <a:gdLst>
                <a:gd name="T0" fmla="*/ 126 w 126"/>
                <a:gd name="T1" fmla="*/ 131 h 207"/>
                <a:gd name="T2" fmla="*/ 109 w 126"/>
                <a:gd name="T3" fmla="*/ 186 h 207"/>
                <a:gd name="T4" fmla="*/ 63 w 126"/>
                <a:gd name="T5" fmla="*/ 207 h 207"/>
                <a:gd name="T6" fmla="*/ 22 w 126"/>
                <a:gd name="T7" fmla="*/ 184 h 207"/>
                <a:gd name="T8" fmla="*/ 22 w 126"/>
                <a:gd name="T9" fmla="*/ 184 h 207"/>
                <a:gd name="T10" fmla="*/ 22 w 126"/>
                <a:gd name="T11" fmla="*/ 204 h 207"/>
                <a:gd name="T12" fmla="*/ 0 w 126"/>
                <a:gd name="T13" fmla="*/ 204 h 207"/>
                <a:gd name="T14" fmla="*/ 0 w 126"/>
                <a:gd name="T15" fmla="*/ 0 h 207"/>
                <a:gd name="T16" fmla="*/ 22 w 126"/>
                <a:gd name="T17" fmla="*/ 7 h 207"/>
                <a:gd name="T18" fmla="*/ 22 w 126"/>
                <a:gd name="T19" fmla="*/ 90 h 207"/>
                <a:gd name="T20" fmla="*/ 22 w 126"/>
                <a:gd name="T21" fmla="*/ 90 h 207"/>
                <a:gd name="T22" fmla="*/ 70 w 126"/>
                <a:gd name="T23" fmla="*/ 63 h 207"/>
                <a:gd name="T24" fmla="*/ 111 w 126"/>
                <a:gd name="T25" fmla="*/ 81 h 207"/>
                <a:gd name="T26" fmla="*/ 126 w 126"/>
                <a:gd name="T27" fmla="*/ 131 h 207"/>
                <a:gd name="T28" fmla="*/ 104 w 126"/>
                <a:gd name="T29" fmla="*/ 130 h 207"/>
                <a:gd name="T30" fmla="*/ 93 w 126"/>
                <a:gd name="T31" fmla="*/ 95 h 207"/>
                <a:gd name="T32" fmla="*/ 64 w 126"/>
                <a:gd name="T33" fmla="*/ 81 h 207"/>
                <a:gd name="T34" fmla="*/ 33 w 126"/>
                <a:gd name="T35" fmla="*/ 95 h 207"/>
                <a:gd name="T36" fmla="*/ 22 w 126"/>
                <a:gd name="T37" fmla="*/ 128 h 207"/>
                <a:gd name="T38" fmla="*/ 22 w 126"/>
                <a:gd name="T39" fmla="*/ 148 h 207"/>
                <a:gd name="T40" fmla="*/ 33 w 126"/>
                <a:gd name="T41" fmla="*/ 177 h 207"/>
                <a:gd name="T42" fmla="*/ 61 w 126"/>
                <a:gd name="T43" fmla="*/ 188 h 207"/>
                <a:gd name="T44" fmla="*/ 92 w 126"/>
                <a:gd name="T45" fmla="*/ 173 h 207"/>
                <a:gd name="T46" fmla="*/ 104 w 126"/>
                <a:gd name="T47" fmla="*/ 1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207">
                  <a:moveTo>
                    <a:pt x="126" y="131"/>
                  </a:moveTo>
                  <a:cubicBezTo>
                    <a:pt x="126" y="154"/>
                    <a:pt x="121" y="172"/>
                    <a:pt x="109" y="186"/>
                  </a:cubicBezTo>
                  <a:cubicBezTo>
                    <a:pt x="98" y="200"/>
                    <a:pt x="83" y="207"/>
                    <a:pt x="63" y="207"/>
                  </a:cubicBezTo>
                  <a:cubicBezTo>
                    <a:pt x="45" y="207"/>
                    <a:pt x="32" y="199"/>
                    <a:pt x="22" y="184"/>
                  </a:cubicBezTo>
                  <a:cubicBezTo>
                    <a:pt x="22" y="184"/>
                    <a:pt x="22" y="184"/>
                    <a:pt x="22" y="184"/>
                  </a:cubicBezTo>
                  <a:cubicBezTo>
                    <a:pt x="22" y="204"/>
                    <a:pt x="22" y="204"/>
                    <a:pt x="22" y="204"/>
                  </a:cubicBezTo>
                  <a:cubicBezTo>
                    <a:pt x="0" y="204"/>
                    <a:pt x="0" y="204"/>
                    <a:pt x="0" y="204"/>
                  </a:cubicBezTo>
                  <a:cubicBezTo>
                    <a:pt x="0" y="0"/>
                    <a:pt x="0" y="0"/>
                    <a:pt x="0" y="0"/>
                  </a:cubicBezTo>
                  <a:cubicBezTo>
                    <a:pt x="22" y="7"/>
                    <a:pt x="22" y="7"/>
                    <a:pt x="22" y="7"/>
                  </a:cubicBezTo>
                  <a:cubicBezTo>
                    <a:pt x="22" y="90"/>
                    <a:pt x="22" y="90"/>
                    <a:pt x="22" y="90"/>
                  </a:cubicBezTo>
                  <a:cubicBezTo>
                    <a:pt x="22" y="90"/>
                    <a:pt x="22" y="90"/>
                    <a:pt x="22" y="90"/>
                  </a:cubicBezTo>
                  <a:cubicBezTo>
                    <a:pt x="33" y="72"/>
                    <a:pt x="49" y="63"/>
                    <a:pt x="70" y="63"/>
                  </a:cubicBezTo>
                  <a:cubicBezTo>
                    <a:pt x="87" y="63"/>
                    <a:pt x="101" y="69"/>
                    <a:pt x="111" y="81"/>
                  </a:cubicBezTo>
                  <a:cubicBezTo>
                    <a:pt x="121" y="93"/>
                    <a:pt x="126" y="110"/>
                    <a:pt x="126" y="131"/>
                  </a:cubicBezTo>
                  <a:moveTo>
                    <a:pt x="104" y="130"/>
                  </a:moveTo>
                  <a:cubicBezTo>
                    <a:pt x="104" y="116"/>
                    <a:pt x="100" y="104"/>
                    <a:pt x="93" y="95"/>
                  </a:cubicBezTo>
                  <a:cubicBezTo>
                    <a:pt x="86" y="86"/>
                    <a:pt x="77" y="81"/>
                    <a:pt x="64" y="81"/>
                  </a:cubicBezTo>
                  <a:cubicBezTo>
                    <a:pt x="52" y="81"/>
                    <a:pt x="41" y="86"/>
                    <a:pt x="33" y="95"/>
                  </a:cubicBezTo>
                  <a:cubicBezTo>
                    <a:pt x="26" y="103"/>
                    <a:pt x="22" y="115"/>
                    <a:pt x="22" y="128"/>
                  </a:cubicBezTo>
                  <a:cubicBezTo>
                    <a:pt x="22" y="148"/>
                    <a:pt x="22" y="148"/>
                    <a:pt x="22" y="148"/>
                  </a:cubicBezTo>
                  <a:cubicBezTo>
                    <a:pt x="22" y="159"/>
                    <a:pt x="25" y="169"/>
                    <a:pt x="33" y="177"/>
                  </a:cubicBezTo>
                  <a:cubicBezTo>
                    <a:pt x="41" y="184"/>
                    <a:pt x="50" y="188"/>
                    <a:pt x="61" y="188"/>
                  </a:cubicBezTo>
                  <a:cubicBezTo>
                    <a:pt x="74" y="188"/>
                    <a:pt x="85" y="183"/>
                    <a:pt x="92" y="173"/>
                  </a:cubicBezTo>
                  <a:cubicBezTo>
                    <a:pt x="100" y="163"/>
                    <a:pt x="104" y="149"/>
                    <a:pt x="104" y="13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60" name="Freeform 11"/>
            <p:cNvSpPr>
              <a:spLocks/>
            </p:cNvSpPr>
            <p:nvPr/>
          </p:nvSpPr>
          <p:spPr bwMode="auto">
            <a:xfrm>
              <a:off x="5894016" y="7540106"/>
              <a:ext cx="109538" cy="109538"/>
            </a:xfrm>
            <a:custGeom>
              <a:avLst/>
              <a:gdLst>
                <a:gd name="T0" fmla="*/ 29 w 29"/>
                <a:gd name="T1" fmla="*/ 15 h 29"/>
                <a:gd name="T2" fmla="*/ 25 w 29"/>
                <a:gd name="T3" fmla="*/ 25 h 29"/>
                <a:gd name="T4" fmla="*/ 15 w 29"/>
                <a:gd name="T5" fmla="*/ 29 h 29"/>
                <a:gd name="T6" fmla="*/ 4 w 29"/>
                <a:gd name="T7" fmla="*/ 25 h 29"/>
                <a:gd name="T8" fmla="*/ 0 w 29"/>
                <a:gd name="T9" fmla="*/ 15 h 29"/>
                <a:gd name="T10" fmla="*/ 4 w 29"/>
                <a:gd name="T11" fmla="*/ 5 h 29"/>
                <a:gd name="T12" fmla="*/ 15 w 29"/>
                <a:gd name="T13" fmla="*/ 0 h 29"/>
                <a:gd name="T14" fmla="*/ 25 w 29"/>
                <a:gd name="T15" fmla="*/ 5 h 29"/>
                <a:gd name="T16" fmla="*/ 29 w 29"/>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9" y="15"/>
                  </a:moveTo>
                  <a:cubicBezTo>
                    <a:pt x="29" y="19"/>
                    <a:pt x="28" y="22"/>
                    <a:pt x="25" y="25"/>
                  </a:cubicBezTo>
                  <a:cubicBezTo>
                    <a:pt x="22" y="28"/>
                    <a:pt x="19" y="29"/>
                    <a:pt x="15" y="29"/>
                  </a:cubicBezTo>
                  <a:cubicBezTo>
                    <a:pt x="11" y="29"/>
                    <a:pt x="7" y="28"/>
                    <a:pt x="4" y="25"/>
                  </a:cubicBezTo>
                  <a:cubicBezTo>
                    <a:pt x="2" y="23"/>
                    <a:pt x="0" y="19"/>
                    <a:pt x="0" y="15"/>
                  </a:cubicBezTo>
                  <a:cubicBezTo>
                    <a:pt x="0" y="11"/>
                    <a:pt x="2" y="8"/>
                    <a:pt x="4" y="5"/>
                  </a:cubicBezTo>
                  <a:cubicBezTo>
                    <a:pt x="7" y="2"/>
                    <a:pt x="10" y="0"/>
                    <a:pt x="15" y="0"/>
                  </a:cubicBezTo>
                  <a:cubicBezTo>
                    <a:pt x="19" y="0"/>
                    <a:pt x="22" y="2"/>
                    <a:pt x="25" y="5"/>
                  </a:cubicBezTo>
                  <a:cubicBezTo>
                    <a:pt x="28" y="7"/>
                    <a:pt x="29" y="11"/>
                    <a:pt x="29" y="1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61" name="Rectangle 12"/>
            <p:cNvSpPr>
              <a:spLocks noChangeArrowheads="1"/>
            </p:cNvSpPr>
            <p:nvPr/>
          </p:nvSpPr>
          <p:spPr bwMode="auto">
            <a:xfrm>
              <a:off x="5905129" y="7770293"/>
              <a:ext cx="84138" cy="5222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defTabSz="913949">
                <a:defRPr/>
              </a:pPr>
              <a:endParaRPr lang="en-US">
                <a:solidFill>
                  <a:srgbClr val="505050"/>
                </a:solidFill>
                <a:ea typeface="ＭＳ Ｐゴシック" charset="0"/>
              </a:endParaRPr>
            </a:p>
          </p:txBody>
        </p:sp>
        <p:sp>
          <p:nvSpPr>
            <p:cNvPr id="162" name="Freeform 13"/>
            <p:cNvSpPr>
              <a:spLocks/>
            </p:cNvSpPr>
            <p:nvPr/>
          </p:nvSpPr>
          <p:spPr bwMode="auto">
            <a:xfrm>
              <a:off x="6127379" y="7759181"/>
              <a:ext cx="430213" cy="533400"/>
            </a:xfrm>
            <a:custGeom>
              <a:avLst/>
              <a:gdLst>
                <a:gd name="T0" fmla="*/ 114 w 114"/>
                <a:gd name="T1" fmla="*/ 141 h 141"/>
                <a:gd name="T2" fmla="*/ 92 w 114"/>
                <a:gd name="T3" fmla="*/ 141 h 141"/>
                <a:gd name="T4" fmla="*/ 92 w 114"/>
                <a:gd name="T5" fmla="*/ 62 h 141"/>
                <a:gd name="T6" fmla="*/ 60 w 114"/>
                <a:gd name="T7" fmla="*/ 18 h 141"/>
                <a:gd name="T8" fmla="*/ 33 w 114"/>
                <a:gd name="T9" fmla="*/ 31 h 141"/>
                <a:gd name="T10" fmla="*/ 22 w 114"/>
                <a:gd name="T11" fmla="*/ 62 h 141"/>
                <a:gd name="T12" fmla="*/ 22 w 114"/>
                <a:gd name="T13" fmla="*/ 141 h 141"/>
                <a:gd name="T14" fmla="*/ 0 w 114"/>
                <a:gd name="T15" fmla="*/ 141 h 141"/>
                <a:gd name="T16" fmla="*/ 0 w 114"/>
                <a:gd name="T17" fmla="*/ 3 h 141"/>
                <a:gd name="T18" fmla="*/ 22 w 114"/>
                <a:gd name="T19" fmla="*/ 3 h 141"/>
                <a:gd name="T20" fmla="*/ 22 w 114"/>
                <a:gd name="T21" fmla="*/ 26 h 141"/>
                <a:gd name="T22" fmla="*/ 22 w 114"/>
                <a:gd name="T23" fmla="*/ 26 h 141"/>
                <a:gd name="T24" fmla="*/ 68 w 114"/>
                <a:gd name="T25" fmla="*/ 0 h 141"/>
                <a:gd name="T26" fmla="*/ 102 w 114"/>
                <a:gd name="T27" fmla="*/ 14 h 141"/>
                <a:gd name="T28" fmla="*/ 114 w 114"/>
                <a:gd name="T29" fmla="*/ 56 h 141"/>
                <a:gd name="T30" fmla="*/ 114 w 114"/>
                <a:gd name="T3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41">
                  <a:moveTo>
                    <a:pt x="114" y="141"/>
                  </a:moveTo>
                  <a:cubicBezTo>
                    <a:pt x="92" y="141"/>
                    <a:pt x="92" y="141"/>
                    <a:pt x="92" y="141"/>
                  </a:cubicBezTo>
                  <a:cubicBezTo>
                    <a:pt x="92" y="62"/>
                    <a:pt x="92" y="62"/>
                    <a:pt x="92" y="62"/>
                  </a:cubicBezTo>
                  <a:cubicBezTo>
                    <a:pt x="92" y="33"/>
                    <a:pt x="81" y="18"/>
                    <a:pt x="60" y="18"/>
                  </a:cubicBezTo>
                  <a:cubicBezTo>
                    <a:pt x="49" y="18"/>
                    <a:pt x="40" y="22"/>
                    <a:pt x="33" y="31"/>
                  </a:cubicBezTo>
                  <a:cubicBezTo>
                    <a:pt x="26" y="39"/>
                    <a:pt x="22" y="49"/>
                    <a:pt x="22" y="62"/>
                  </a:cubicBezTo>
                  <a:cubicBezTo>
                    <a:pt x="22" y="141"/>
                    <a:pt x="22" y="141"/>
                    <a:pt x="22" y="141"/>
                  </a:cubicBezTo>
                  <a:cubicBezTo>
                    <a:pt x="0" y="141"/>
                    <a:pt x="0" y="141"/>
                    <a:pt x="0" y="141"/>
                  </a:cubicBezTo>
                  <a:cubicBezTo>
                    <a:pt x="0" y="3"/>
                    <a:pt x="0" y="3"/>
                    <a:pt x="0" y="3"/>
                  </a:cubicBezTo>
                  <a:cubicBezTo>
                    <a:pt x="22" y="3"/>
                    <a:pt x="22" y="3"/>
                    <a:pt x="22" y="3"/>
                  </a:cubicBezTo>
                  <a:cubicBezTo>
                    <a:pt x="22" y="26"/>
                    <a:pt x="22" y="26"/>
                    <a:pt x="22" y="26"/>
                  </a:cubicBezTo>
                  <a:cubicBezTo>
                    <a:pt x="22" y="26"/>
                    <a:pt x="22" y="26"/>
                    <a:pt x="22" y="26"/>
                  </a:cubicBezTo>
                  <a:cubicBezTo>
                    <a:pt x="33" y="8"/>
                    <a:pt x="48" y="0"/>
                    <a:pt x="68" y="0"/>
                  </a:cubicBezTo>
                  <a:cubicBezTo>
                    <a:pt x="83" y="0"/>
                    <a:pt x="94" y="5"/>
                    <a:pt x="102" y="14"/>
                  </a:cubicBezTo>
                  <a:cubicBezTo>
                    <a:pt x="110" y="24"/>
                    <a:pt x="114" y="38"/>
                    <a:pt x="114" y="56"/>
                  </a:cubicBezTo>
                  <a:lnTo>
                    <a:pt x="114" y="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63" name="Freeform 14"/>
            <p:cNvSpPr>
              <a:spLocks noEditPoints="1"/>
            </p:cNvSpPr>
            <p:nvPr/>
          </p:nvSpPr>
          <p:spPr bwMode="auto">
            <a:xfrm>
              <a:off x="6670304" y="7759181"/>
              <a:ext cx="474663" cy="776288"/>
            </a:xfrm>
            <a:custGeom>
              <a:avLst/>
              <a:gdLst>
                <a:gd name="T0" fmla="*/ 126 w 126"/>
                <a:gd name="T1" fmla="*/ 130 h 205"/>
                <a:gd name="T2" fmla="*/ 54 w 126"/>
                <a:gd name="T3" fmla="*/ 205 h 205"/>
                <a:gd name="T4" fmla="*/ 9 w 126"/>
                <a:gd name="T5" fmla="*/ 196 h 205"/>
                <a:gd name="T6" fmla="*/ 15 w 126"/>
                <a:gd name="T7" fmla="*/ 177 h 205"/>
                <a:gd name="T8" fmla="*/ 53 w 126"/>
                <a:gd name="T9" fmla="*/ 187 h 205"/>
                <a:gd name="T10" fmla="*/ 104 w 126"/>
                <a:gd name="T11" fmla="*/ 133 h 205"/>
                <a:gd name="T12" fmla="*/ 104 w 126"/>
                <a:gd name="T13" fmla="*/ 118 h 205"/>
                <a:gd name="T14" fmla="*/ 104 w 126"/>
                <a:gd name="T15" fmla="*/ 118 h 205"/>
                <a:gd name="T16" fmla="*/ 57 w 126"/>
                <a:gd name="T17" fmla="*/ 144 h 205"/>
                <a:gd name="T18" fmla="*/ 27 w 126"/>
                <a:gd name="T19" fmla="*/ 136 h 205"/>
                <a:gd name="T20" fmla="*/ 7 w 126"/>
                <a:gd name="T21" fmla="*/ 112 h 205"/>
                <a:gd name="T22" fmla="*/ 0 w 126"/>
                <a:gd name="T23" fmla="*/ 76 h 205"/>
                <a:gd name="T24" fmla="*/ 17 w 126"/>
                <a:gd name="T25" fmla="*/ 20 h 205"/>
                <a:gd name="T26" fmla="*/ 63 w 126"/>
                <a:gd name="T27" fmla="*/ 0 h 205"/>
                <a:gd name="T28" fmla="*/ 104 w 126"/>
                <a:gd name="T29" fmla="*/ 22 h 205"/>
                <a:gd name="T30" fmla="*/ 104 w 126"/>
                <a:gd name="T31" fmla="*/ 22 h 205"/>
                <a:gd name="T32" fmla="*/ 104 w 126"/>
                <a:gd name="T33" fmla="*/ 3 h 205"/>
                <a:gd name="T34" fmla="*/ 126 w 126"/>
                <a:gd name="T35" fmla="*/ 3 h 205"/>
                <a:gd name="T36" fmla="*/ 126 w 126"/>
                <a:gd name="T37" fmla="*/ 130 h 205"/>
                <a:gd name="T38" fmla="*/ 104 w 126"/>
                <a:gd name="T39" fmla="*/ 78 h 205"/>
                <a:gd name="T40" fmla="*/ 104 w 126"/>
                <a:gd name="T41" fmla="*/ 58 h 205"/>
                <a:gd name="T42" fmla="*/ 93 w 126"/>
                <a:gd name="T43" fmla="*/ 30 h 205"/>
                <a:gd name="T44" fmla="*/ 66 w 126"/>
                <a:gd name="T45" fmla="*/ 18 h 205"/>
                <a:gd name="T46" fmla="*/ 34 w 126"/>
                <a:gd name="T47" fmla="*/ 33 h 205"/>
                <a:gd name="T48" fmla="*/ 22 w 126"/>
                <a:gd name="T49" fmla="*/ 75 h 205"/>
                <a:gd name="T50" fmla="*/ 33 w 126"/>
                <a:gd name="T51" fmla="*/ 111 h 205"/>
                <a:gd name="T52" fmla="*/ 63 w 126"/>
                <a:gd name="T53" fmla="*/ 125 h 205"/>
                <a:gd name="T54" fmla="*/ 93 w 126"/>
                <a:gd name="T55" fmla="*/ 112 h 205"/>
                <a:gd name="T56" fmla="*/ 104 w 126"/>
                <a:gd name="T57" fmla="*/ 7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6" h="205">
                  <a:moveTo>
                    <a:pt x="126" y="130"/>
                  </a:moveTo>
                  <a:cubicBezTo>
                    <a:pt x="126" y="180"/>
                    <a:pt x="102" y="205"/>
                    <a:pt x="54" y="205"/>
                  </a:cubicBezTo>
                  <a:cubicBezTo>
                    <a:pt x="37" y="205"/>
                    <a:pt x="22" y="202"/>
                    <a:pt x="9" y="196"/>
                  </a:cubicBezTo>
                  <a:cubicBezTo>
                    <a:pt x="15" y="177"/>
                    <a:pt x="15" y="177"/>
                    <a:pt x="15" y="177"/>
                  </a:cubicBezTo>
                  <a:cubicBezTo>
                    <a:pt x="29" y="184"/>
                    <a:pt x="39" y="187"/>
                    <a:pt x="53" y="187"/>
                  </a:cubicBezTo>
                  <a:cubicBezTo>
                    <a:pt x="87" y="187"/>
                    <a:pt x="104" y="169"/>
                    <a:pt x="104" y="133"/>
                  </a:cubicBezTo>
                  <a:cubicBezTo>
                    <a:pt x="104" y="118"/>
                    <a:pt x="104" y="118"/>
                    <a:pt x="104" y="118"/>
                  </a:cubicBezTo>
                  <a:cubicBezTo>
                    <a:pt x="104" y="118"/>
                    <a:pt x="104" y="118"/>
                    <a:pt x="104" y="118"/>
                  </a:cubicBezTo>
                  <a:cubicBezTo>
                    <a:pt x="93" y="135"/>
                    <a:pt x="78" y="144"/>
                    <a:pt x="57" y="144"/>
                  </a:cubicBezTo>
                  <a:cubicBezTo>
                    <a:pt x="45" y="144"/>
                    <a:pt x="35" y="141"/>
                    <a:pt x="27" y="136"/>
                  </a:cubicBezTo>
                  <a:cubicBezTo>
                    <a:pt x="18" y="130"/>
                    <a:pt x="11" y="122"/>
                    <a:pt x="7" y="112"/>
                  </a:cubicBezTo>
                  <a:cubicBezTo>
                    <a:pt x="2" y="102"/>
                    <a:pt x="0" y="90"/>
                    <a:pt x="0" y="76"/>
                  </a:cubicBezTo>
                  <a:cubicBezTo>
                    <a:pt x="0" y="53"/>
                    <a:pt x="5" y="34"/>
                    <a:pt x="17" y="20"/>
                  </a:cubicBezTo>
                  <a:cubicBezTo>
                    <a:pt x="28" y="7"/>
                    <a:pt x="43" y="0"/>
                    <a:pt x="63" y="0"/>
                  </a:cubicBezTo>
                  <a:cubicBezTo>
                    <a:pt x="81" y="0"/>
                    <a:pt x="95" y="7"/>
                    <a:pt x="104" y="22"/>
                  </a:cubicBezTo>
                  <a:cubicBezTo>
                    <a:pt x="104" y="22"/>
                    <a:pt x="104" y="22"/>
                    <a:pt x="104" y="22"/>
                  </a:cubicBezTo>
                  <a:cubicBezTo>
                    <a:pt x="104" y="3"/>
                    <a:pt x="104" y="3"/>
                    <a:pt x="104" y="3"/>
                  </a:cubicBezTo>
                  <a:cubicBezTo>
                    <a:pt x="126" y="3"/>
                    <a:pt x="126" y="3"/>
                    <a:pt x="126" y="3"/>
                  </a:cubicBezTo>
                  <a:lnTo>
                    <a:pt x="126" y="130"/>
                  </a:lnTo>
                  <a:close/>
                  <a:moveTo>
                    <a:pt x="104" y="78"/>
                  </a:moveTo>
                  <a:cubicBezTo>
                    <a:pt x="104" y="58"/>
                    <a:pt x="104" y="58"/>
                    <a:pt x="104" y="58"/>
                  </a:cubicBezTo>
                  <a:cubicBezTo>
                    <a:pt x="104" y="47"/>
                    <a:pt x="101" y="38"/>
                    <a:pt x="93" y="30"/>
                  </a:cubicBezTo>
                  <a:cubicBezTo>
                    <a:pt x="85" y="22"/>
                    <a:pt x="76" y="18"/>
                    <a:pt x="66" y="18"/>
                  </a:cubicBezTo>
                  <a:cubicBezTo>
                    <a:pt x="52" y="18"/>
                    <a:pt x="41" y="23"/>
                    <a:pt x="34" y="33"/>
                  </a:cubicBezTo>
                  <a:cubicBezTo>
                    <a:pt x="26" y="43"/>
                    <a:pt x="22" y="57"/>
                    <a:pt x="22" y="75"/>
                  </a:cubicBezTo>
                  <a:cubicBezTo>
                    <a:pt x="22" y="90"/>
                    <a:pt x="26" y="102"/>
                    <a:pt x="33" y="111"/>
                  </a:cubicBezTo>
                  <a:cubicBezTo>
                    <a:pt x="41" y="121"/>
                    <a:pt x="50" y="125"/>
                    <a:pt x="63" y="125"/>
                  </a:cubicBezTo>
                  <a:cubicBezTo>
                    <a:pt x="75" y="125"/>
                    <a:pt x="85" y="121"/>
                    <a:pt x="93" y="112"/>
                  </a:cubicBezTo>
                  <a:cubicBezTo>
                    <a:pt x="101" y="104"/>
                    <a:pt x="104" y="92"/>
                    <a:pt x="104" y="78"/>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64" name="Freeform 15"/>
            <p:cNvSpPr>
              <a:spLocks/>
            </p:cNvSpPr>
            <p:nvPr/>
          </p:nvSpPr>
          <p:spPr bwMode="auto">
            <a:xfrm>
              <a:off x="3985841" y="7635356"/>
              <a:ext cx="971550" cy="900113"/>
            </a:xfrm>
            <a:custGeom>
              <a:avLst/>
              <a:gdLst>
                <a:gd name="T0" fmla="*/ 230 w 612"/>
                <a:gd name="T1" fmla="*/ 0 h 567"/>
                <a:gd name="T2" fmla="*/ 306 w 612"/>
                <a:gd name="T3" fmla="*/ 166 h 567"/>
                <a:gd name="T4" fmla="*/ 422 w 612"/>
                <a:gd name="T5" fmla="*/ 221 h 567"/>
                <a:gd name="T6" fmla="*/ 0 w 612"/>
                <a:gd name="T7" fmla="*/ 445 h 567"/>
                <a:gd name="T8" fmla="*/ 176 w 612"/>
                <a:gd name="T9" fmla="*/ 567 h 567"/>
                <a:gd name="T10" fmla="*/ 612 w 612"/>
                <a:gd name="T11" fmla="*/ 305 h 567"/>
                <a:gd name="T12" fmla="*/ 612 w 612"/>
                <a:gd name="T13" fmla="*/ 119 h 567"/>
                <a:gd name="T14" fmla="*/ 230 w 612"/>
                <a:gd name="T15" fmla="*/ 0 h 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2" h="567">
                  <a:moveTo>
                    <a:pt x="230" y="0"/>
                  </a:moveTo>
                  <a:lnTo>
                    <a:pt x="306" y="166"/>
                  </a:lnTo>
                  <a:lnTo>
                    <a:pt x="422" y="221"/>
                  </a:lnTo>
                  <a:lnTo>
                    <a:pt x="0" y="445"/>
                  </a:lnTo>
                  <a:lnTo>
                    <a:pt x="176" y="567"/>
                  </a:lnTo>
                  <a:lnTo>
                    <a:pt x="612" y="305"/>
                  </a:lnTo>
                  <a:lnTo>
                    <a:pt x="612" y="119"/>
                  </a:lnTo>
                  <a:lnTo>
                    <a:pt x="2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65" name="Freeform 16"/>
            <p:cNvSpPr>
              <a:spLocks/>
            </p:cNvSpPr>
            <p:nvPr/>
          </p:nvSpPr>
          <p:spPr bwMode="auto">
            <a:xfrm>
              <a:off x="3985841" y="7317856"/>
              <a:ext cx="279400" cy="1023938"/>
            </a:xfrm>
            <a:custGeom>
              <a:avLst/>
              <a:gdLst>
                <a:gd name="T0" fmla="*/ 176 w 176"/>
                <a:gd name="T1" fmla="*/ 54 h 645"/>
                <a:gd name="T2" fmla="*/ 0 w 176"/>
                <a:gd name="T3" fmla="*/ 0 h 645"/>
                <a:gd name="T4" fmla="*/ 0 w 176"/>
                <a:gd name="T5" fmla="*/ 645 h 645"/>
                <a:gd name="T6" fmla="*/ 176 w 176"/>
                <a:gd name="T7" fmla="*/ 486 h 645"/>
                <a:gd name="T8" fmla="*/ 176 w 176"/>
                <a:gd name="T9" fmla="*/ 54 h 645"/>
              </a:gdLst>
              <a:ahLst/>
              <a:cxnLst>
                <a:cxn ang="0">
                  <a:pos x="T0" y="T1"/>
                </a:cxn>
                <a:cxn ang="0">
                  <a:pos x="T2" y="T3"/>
                </a:cxn>
                <a:cxn ang="0">
                  <a:pos x="T4" y="T5"/>
                </a:cxn>
                <a:cxn ang="0">
                  <a:pos x="T6" y="T7"/>
                </a:cxn>
                <a:cxn ang="0">
                  <a:pos x="T8" y="T9"/>
                </a:cxn>
              </a:cxnLst>
              <a:rect l="0" t="0" r="r" b="b"/>
              <a:pathLst>
                <a:path w="176" h="645">
                  <a:moveTo>
                    <a:pt x="176" y="54"/>
                  </a:moveTo>
                  <a:lnTo>
                    <a:pt x="0" y="0"/>
                  </a:lnTo>
                  <a:lnTo>
                    <a:pt x="0" y="645"/>
                  </a:lnTo>
                  <a:lnTo>
                    <a:pt x="176" y="486"/>
                  </a:lnTo>
                  <a:lnTo>
                    <a:pt x="176"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grpSp>
      <p:grpSp>
        <p:nvGrpSpPr>
          <p:cNvPr id="166" name="Group 165"/>
          <p:cNvGrpSpPr/>
          <p:nvPr/>
        </p:nvGrpSpPr>
        <p:grpSpPr>
          <a:xfrm>
            <a:off x="10783771" y="2924837"/>
            <a:ext cx="1247246" cy="261457"/>
            <a:chOff x="1728788" y="7331075"/>
            <a:chExt cx="8277225" cy="1735138"/>
          </a:xfrm>
          <a:solidFill>
            <a:schemeClr val="tx1"/>
          </a:solidFill>
        </p:grpSpPr>
        <p:sp>
          <p:nvSpPr>
            <p:cNvPr id="167" name="Freeform 20"/>
            <p:cNvSpPr>
              <a:spLocks noEditPoints="1"/>
            </p:cNvSpPr>
            <p:nvPr/>
          </p:nvSpPr>
          <p:spPr bwMode="auto">
            <a:xfrm>
              <a:off x="3805238" y="7662863"/>
              <a:ext cx="1036638" cy="1074738"/>
            </a:xfrm>
            <a:custGeom>
              <a:avLst/>
              <a:gdLst>
                <a:gd name="T0" fmla="*/ 276 w 276"/>
                <a:gd name="T1" fmla="*/ 139 h 285"/>
                <a:gd name="T2" fmla="*/ 259 w 276"/>
                <a:gd name="T3" fmla="*/ 216 h 285"/>
                <a:gd name="T4" fmla="*/ 210 w 276"/>
                <a:gd name="T5" fmla="*/ 267 h 285"/>
                <a:gd name="T6" fmla="*/ 137 w 276"/>
                <a:gd name="T7" fmla="*/ 285 h 285"/>
                <a:gd name="T8" fmla="*/ 66 w 276"/>
                <a:gd name="T9" fmla="*/ 268 h 285"/>
                <a:gd name="T10" fmla="*/ 17 w 276"/>
                <a:gd name="T11" fmla="*/ 218 h 285"/>
                <a:gd name="T12" fmla="*/ 0 w 276"/>
                <a:gd name="T13" fmla="*/ 146 h 285"/>
                <a:gd name="T14" fmla="*/ 18 w 276"/>
                <a:gd name="T15" fmla="*/ 69 h 285"/>
                <a:gd name="T16" fmla="*/ 67 w 276"/>
                <a:gd name="T17" fmla="*/ 17 h 285"/>
                <a:gd name="T18" fmla="*/ 142 w 276"/>
                <a:gd name="T19" fmla="*/ 0 h 285"/>
                <a:gd name="T20" fmla="*/ 212 w 276"/>
                <a:gd name="T21" fmla="*/ 17 h 285"/>
                <a:gd name="T22" fmla="*/ 259 w 276"/>
                <a:gd name="T23" fmla="*/ 66 h 285"/>
                <a:gd name="T24" fmla="*/ 276 w 276"/>
                <a:gd name="T25" fmla="*/ 139 h 285"/>
                <a:gd name="T26" fmla="*/ 240 w 276"/>
                <a:gd name="T27" fmla="*/ 143 h 285"/>
                <a:gd name="T28" fmla="*/ 214 w 276"/>
                <a:gd name="T29" fmla="*/ 59 h 285"/>
                <a:gd name="T30" fmla="*/ 139 w 276"/>
                <a:gd name="T31" fmla="*/ 29 h 285"/>
                <a:gd name="T32" fmla="*/ 86 w 276"/>
                <a:gd name="T33" fmla="*/ 43 h 285"/>
                <a:gd name="T34" fmla="*/ 49 w 276"/>
                <a:gd name="T35" fmla="*/ 84 h 285"/>
                <a:gd name="T36" fmla="*/ 36 w 276"/>
                <a:gd name="T37" fmla="*/ 143 h 285"/>
                <a:gd name="T38" fmla="*/ 49 w 276"/>
                <a:gd name="T39" fmla="*/ 202 h 285"/>
                <a:gd name="T40" fmla="*/ 84 w 276"/>
                <a:gd name="T41" fmla="*/ 242 h 285"/>
                <a:gd name="T42" fmla="*/ 137 w 276"/>
                <a:gd name="T43" fmla="*/ 256 h 285"/>
                <a:gd name="T44" fmla="*/ 213 w 276"/>
                <a:gd name="T45" fmla="*/ 226 h 285"/>
                <a:gd name="T46" fmla="*/ 240 w 276"/>
                <a:gd name="T47" fmla="*/ 1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6" h="285">
                  <a:moveTo>
                    <a:pt x="276" y="139"/>
                  </a:moveTo>
                  <a:cubicBezTo>
                    <a:pt x="276" y="168"/>
                    <a:pt x="270" y="194"/>
                    <a:pt x="259" y="216"/>
                  </a:cubicBezTo>
                  <a:cubicBezTo>
                    <a:pt x="248" y="238"/>
                    <a:pt x="232" y="255"/>
                    <a:pt x="210" y="267"/>
                  </a:cubicBezTo>
                  <a:cubicBezTo>
                    <a:pt x="189" y="279"/>
                    <a:pt x="165" y="285"/>
                    <a:pt x="137" y="285"/>
                  </a:cubicBezTo>
                  <a:cubicBezTo>
                    <a:pt x="110" y="285"/>
                    <a:pt x="87" y="279"/>
                    <a:pt x="66" y="268"/>
                  </a:cubicBezTo>
                  <a:cubicBezTo>
                    <a:pt x="45" y="256"/>
                    <a:pt x="29" y="240"/>
                    <a:pt x="17" y="218"/>
                  </a:cubicBezTo>
                  <a:cubicBezTo>
                    <a:pt x="6" y="197"/>
                    <a:pt x="0" y="173"/>
                    <a:pt x="0" y="146"/>
                  </a:cubicBezTo>
                  <a:cubicBezTo>
                    <a:pt x="0" y="116"/>
                    <a:pt x="6" y="91"/>
                    <a:pt x="18" y="69"/>
                  </a:cubicBezTo>
                  <a:cubicBezTo>
                    <a:pt x="29" y="46"/>
                    <a:pt x="46" y="29"/>
                    <a:pt x="67" y="17"/>
                  </a:cubicBezTo>
                  <a:cubicBezTo>
                    <a:pt x="89" y="6"/>
                    <a:pt x="114" y="0"/>
                    <a:pt x="142" y="0"/>
                  </a:cubicBezTo>
                  <a:cubicBezTo>
                    <a:pt x="168" y="0"/>
                    <a:pt x="191" y="5"/>
                    <a:pt x="212" y="17"/>
                  </a:cubicBezTo>
                  <a:cubicBezTo>
                    <a:pt x="232" y="29"/>
                    <a:pt x="248" y="45"/>
                    <a:pt x="259" y="66"/>
                  </a:cubicBezTo>
                  <a:cubicBezTo>
                    <a:pt x="271" y="88"/>
                    <a:pt x="276" y="112"/>
                    <a:pt x="276" y="139"/>
                  </a:cubicBezTo>
                  <a:close/>
                  <a:moveTo>
                    <a:pt x="240" y="143"/>
                  </a:moveTo>
                  <a:cubicBezTo>
                    <a:pt x="240" y="107"/>
                    <a:pt x="231" y="79"/>
                    <a:pt x="214" y="59"/>
                  </a:cubicBezTo>
                  <a:cubicBezTo>
                    <a:pt x="196" y="39"/>
                    <a:pt x="171" y="29"/>
                    <a:pt x="139" y="29"/>
                  </a:cubicBezTo>
                  <a:cubicBezTo>
                    <a:pt x="119" y="29"/>
                    <a:pt x="102" y="33"/>
                    <a:pt x="86" y="43"/>
                  </a:cubicBezTo>
                  <a:cubicBezTo>
                    <a:pt x="70" y="53"/>
                    <a:pt x="58" y="66"/>
                    <a:pt x="49" y="84"/>
                  </a:cubicBezTo>
                  <a:cubicBezTo>
                    <a:pt x="40" y="101"/>
                    <a:pt x="36" y="121"/>
                    <a:pt x="36" y="143"/>
                  </a:cubicBezTo>
                  <a:cubicBezTo>
                    <a:pt x="36" y="165"/>
                    <a:pt x="40" y="184"/>
                    <a:pt x="49" y="202"/>
                  </a:cubicBezTo>
                  <a:cubicBezTo>
                    <a:pt x="57" y="219"/>
                    <a:pt x="69" y="232"/>
                    <a:pt x="84" y="242"/>
                  </a:cubicBezTo>
                  <a:cubicBezTo>
                    <a:pt x="100" y="251"/>
                    <a:pt x="117" y="256"/>
                    <a:pt x="137" y="256"/>
                  </a:cubicBezTo>
                  <a:cubicBezTo>
                    <a:pt x="169" y="256"/>
                    <a:pt x="195" y="246"/>
                    <a:pt x="213" y="226"/>
                  </a:cubicBezTo>
                  <a:cubicBezTo>
                    <a:pt x="231" y="206"/>
                    <a:pt x="240" y="178"/>
                    <a:pt x="240" y="1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68" name="Freeform 21"/>
            <p:cNvSpPr>
              <a:spLocks/>
            </p:cNvSpPr>
            <p:nvPr/>
          </p:nvSpPr>
          <p:spPr bwMode="auto">
            <a:xfrm>
              <a:off x="4921251" y="7602538"/>
              <a:ext cx="473075" cy="1116013"/>
            </a:xfrm>
            <a:custGeom>
              <a:avLst/>
              <a:gdLst>
                <a:gd name="T0" fmla="*/ 126 w 126"/>
                <a:gd name="T1" fmla="*/ 32 h 296"/>
                <a:gd name="T2" fmla="*/ 104 w 126"/>
                <a:gd name="T3" fmla="*/ 27 h 296"/>
                <a:gd name="T4" fmla="*/ 69 w 126"/>
                <a:gd name="T5" fmla="*/ 69 h 296"/>
                <a:gd name="T6" fmla="*/ 69 w 126"/>
                <a:gd name="T7" fmla="*/ 99 h 296"/>
                <a:gd name="T8" fmla="*/ 117 w 126"/>
                <a:gd name="T9" fmla="*/ 99 h 296"/>
                <a:gd name="T10" fmla="*/ 117 w 126"/>
                <a:gd name="T11" fmla="*/ 126 h 296"/>
                <a:gd name="T12" fmla="*/ 69 w 126"/>
                <a:gd name="T13" fmla="*/ 126 h 296"/>
                <a:gd name="T14" fmla="*/ 69 w 126"/>
                <a:gd name="T15" fmla="*/ 296 h 296"/>
                <a:gd name="T16" fmla="*/ 35 w 126"/>
                <a:gd name="T17" fmla="*/ 296 h 296"/>
                <a:gd name="T18" fmla="*/ 35 w 126"/>
                <a:gd name="T19" fmla="*/ 126 h 296"/>
                <a:gd name="T20" fmla="*/ 0 w 126"/>
                <a:gd name="T21" fmla="*/ 126 h 296"/>
                <a:gd name="T22" fmla="*/ 0 w 126"/>
                <a:gd name="T23" fmla="*/ 99 h 296"/>
                <a:gd name="T24" fmla="*/ 35 w 126"/>
                <a:gd name="T25" fmla="*/ 99 h 296"/>
                <a:gd name="T26" fmla="*/ 35 w 126"/>
                <a:gd name="T27" fmla="*/ 67 h 296"/>
                <a:gd name="T28" fmla="*/ 54 w 126"/>
                <a:gd name="T29" fmla="*/ 19 h 296"/>
                <a:gd name="T30" fmla="*/ 102 w 126"/>
                <a:gd name="T31" fmla="*/ 0 h 296"/>
                <a:gd name="T32" fmla="*/ 126 w 126"/>
                <a:gd name="T33" fmla="*/ 4 h 296"/>
                <a:gd name="T34" fmla="*/ 126 w 126"/>
                <a:gd name="T35" fmla="*/ 3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296">
                  <a:moveTo>
                    <a:pt x="126" y="32"/>
                  </a:moveTo>
                  <a:cubicBezTo>
                    <a:pt x="119" y="29"/>
                    <a:pt x="112" y="27"/>
                    <a:pt x="104" y="27"/>
                  </a:cubicBezTo>
                  <a:cubicBezTo>
                    <a:pt x="80" y="27"/>
                    <a:pt x="69" y="41"/>
                    <a:pt x="69" y="69"/>
                  </a:cubicBezTo>
                  <a:cubicBezTo>
                    <a:pt x="69" y="99"/>
                    <a:pt x="69" y="99"/>
                    <a:pt x="69" y="99"/>
                  </a:cubicBezTo>
                  <a:cubicBezTo>
                    <a:pt x="117" y="99"/>
                    <a:pt x="117" y="99"/>
                    <a:pt x="117" y="99"/>
                  </a:cubicBezTo>
                  <a:cubicBezTo>
                    <a:pt x="117" y="126"/>
                    <a:pt x="117" y="126"/>
                    <a:pt x="117" y="126"/>
                  </a:cubicBezTo>
                  <a:cubicBezTo>
                    <a:pt x="69" y="126"/>
                    <a:pt x="69" y="126"/>
                    <a:pt x="69" y="126"/>
                  </a:cubicBezTo>
                  <a:cubicBezTo>
                    <a:pt x="69" y="296"/>
                    <a:pt x="69" y="296"/>
                    <a:pt x="69" y="296"/>
                  </a:cubicBezTo>
                  <a:cubicBezTo>
                    <a:pt x="35" y="296"/>
                    <a:pt x="35" y="296"/>
                    <a:pt x="35" y="296"/>
                  </a:cubicBezTo>
                  <a:cubicBezTo>
                    <a:pt x="35" y="126"/>
                    <a:pt x="35" y="126"/>
                    <a:pt x="35" y="126"/>
                  </a:cubicBezTo>
                  <a:cubicBezTo>
                    <a:pt x="0" y="126"/>
                    <a:pt x="0" y="126"/>
                    <a:pt x="0" y="126"/>
                  </a:cubicBezTo>
                  <a:cubicBezTo>
                    <a:pt x="0" y="99"/>
                    <a:pt x="0" y="99"/>
                    <a:pt x="0" y="99"/>
                  </a:cubicBezTo>
                  <a:cubicBezTo>
                    <a:pt x="35" y="99"/>
                    <a:pt x="35" y="99"/>
                    <a:pt x="35" y="99"/>
                  </a:cubicBezTo>
                  <a:cubicBezTo>
                    <a:pt x="35" y="67"/>
                    <a:pt x="35" y="67"/>
                    <a:pt x="35" y="67"/>
                  </a:cubicBezTo>
                  <a:cubicBezTo>
                    <a:pt x="35" y="47"/>
                    <a:pt x="41" y="31"/>
                    <a:pt x="54" y="19"/>
                  </a:cubicBezTo>
                  <a:cubicBezTo>
                    <a:pt x="66" y="6"/>
                    <a:pt x="82" y="0"/>
                    <a:pt x="102" y="0"/>
                  </a:cubicBezTo>
                  <a:cubicBezTo>
                    <a:pt x="112" y="0"/>
                    <a:pt x="120" y="1"/>
                    <a:pt x="126" y="4"/>
                  </a:cubicBezTo>
                  <a:lnTo>
                    <a:pt x="126"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69" name="Freeform 22"/>
            <p:cNvSpPr>
              <a:spLocks/>
            </p:cNvSpPr>
            <p:nvPr/>
          </p:nvSpPr>
          <p:spPr bwMode="auto">
            <a:xfrm>
              <a:off x="5353051" y="7602538"/>
              <a:ext cx="473075" cy="1116013"/>
            </a:xfrm>
            <a:custGeom>
              <a:avLst/>
              <a:gdLst>
                <a:gd name="T0" fmla="*/ 126 w 126"/>
                <a:gd name="T1" fmla="*/ 32 h 296"/>
                <a:gd name="T2" fmla="*/ 104 w 126"/>
                <a:gd name="T3" fmla="*/ 27 h 296"/>
                <a:gd name="T4" fmla="*/ 69 w 126"/>
                <a:gd name="T5" fmla="*/ 69 h 296"/>
                <a:gd name="T6" fmla="*/ 69 w 126"/>
                <a:gd name="T7" fmla="*/ 99 h 296"/>
                <a:gd name="T8" fmla="*/ 117 w 126"/>
                <a:gd name="T9" fmla="*/ 99 h 296"/>
                <a:gd name="T10" fmla="*/ 117 w 126"/>
                <a:gd name="T11" fmla="*/ 126 h 296"/>
                <a:gd name="T12" fmla="*/ 69 w 126"/>
                <a:gd name="T13" fmla="*/ 126 h 296"/>
                <a:gd name="T14" fmla="*/ 69 w 126"/>
                <a:gd name="T15" fmla="*/ 296 h 296"/>
                <a:gd name="T16" fmla="*/ 35 w 126"/>
                <a:gd name="T17" fmla="*/ 296 h 296"/>
                <a:gd name="T18" fmla="*/ 35 w 126"/>
                <a:gd name="T19" fmla="*/ 126 h 296"/>
                <a:gd name="T20" fmla="*/ 0 w 126"/>
                <a:gd name="T21" fmla="*/ 126 h 296"/>
                <a:gd name="T22" fmla="*/ 0 w 126"/>
                <a:gd name="T23" fmla="*/ 99 h 296"/>
                <a:gd name="T24" fmla="*/ 35 w 126"/>
                <a:gd name="T25" fmla="*/ 99 h 296"/>
                <a:gd name="T26" fmla="*/ 35 w 126"/>
                <a:gd name="T27" fmla="*/ 67 h 296"/>
                <a:gd name="T28" fmla="*/ 54 w 126"/>
                <a:gd name="T29" fmla="*/ 19 h 296"/>
                <a:gd name="T30" fmla="*/ 102 w 126"/>
                <a:gd name="T31" fmla="*/ 0 h 296"/>
                <a:gd name="T32" fmla="*/ 126 w 126"/>
                <a:gd name="T33" fmla="*/ 4 h 296"/>
                <a:gd name="T34" fmla="*/ 126 w 126"/>
                <a:gd name="T35" fmla="*/ 3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296">
                  <a:moveTo>
                    <a:pt x="126" y="32"/>
                  </a:moveTo>
                  <a:cubicBezTo>
                    <a:pt x="119" y="29"/>
                    <a:pt x="112" y="27"/>
                    <a:pt x="104" y="27"/>
                  </a:cubicBezTo>
                  <a:cubicBezTo>
                    <a:pt x="80" y="27"/>
                    <a:pt x="69" y="41"/>
                    <a:pt x="69" y="69"/>
                  </a:cubicBezTo>
                  <a:cubicBezTo>
                    <a:pt x="69" y="99"/>
                    <a:pt x="69" y="99"/>
                    <a:pt x="69" y="99"/>
                  </a:cubicBezTo>
                  <a:cubicBezTo>
                    <a:pt x="117" y="99"/>
                    <a:pt x="117" y="99"/>
                    <a:pt x="117" y="99"/>
                  </a:cubicBezTo>
                  <a:cubicBezTo>
                    <a:pt x="117" y="126"/>
                    <a:pt x="117" y="126"/>
                    <a:pt x="117" y="126"/>
                  </a:cubicBezTo>
                  <a:cubicBezTo>
                    <a:pt x="69" y="126"/>
                    <a:pt x="69" y="126"/>
                    <a:pt x="69" y="126"/>
                  </a:cubicBezTo>
                  <a:cubicBezTo>
                    <a:pt x="69" y="296"/>
                    <a:pt x="69" y="296"/>
                    <a:pt x="69" y="296"/>
                  </a:cubicBezTo>
                  <a:cubicBezTo>
                    <a:pt x="35" y="296"/>
                    <a:pt x="35" y="296"/>
                    <a:pt x="35" y="296"/>
                  </a:cubicBezTo>
                  <a:cubicBezTo>
                    <a:pt x="35" y="126"/>
                    <a:pt x="35" y="126"/>
                    <a:pt x="35" y="126"/>
                  </a:cubicBezTo>
                  <a:cubicBezTo>
                    <a:pt x="0" y="126"/>
                    <a:pt x="0" y="126"/>
                    <a:pt x="0" y="126"/>
                  </a:cubicBezTo>
                  <a:cubicBezTo>
                    <a:pt x="0" y="99"/>
                    <a:pt x="0" y="99"/>
                    <a:pt x="0" y="99"/>
                  </a:cubicBezTo>
                  <a:cubicBezTo>
                    <a:pt x="35" y="99"/>
                    <a:pt x="35" y="99"/>
                    <a:pt x="35" y="99"/>
                  </a:cubicBezTo>
                  <a:cubicBezTo>
                    <a:pt x="35" y="67"/>
                    <a:pt x="35" y="67"/>
                    <a:pt x="35" y="67"/>
                  </a:cubicBezTo>
                  <a:cubicBezTo>
                    <a:pt x="35" y="47"/>
                    <a:pt x="41" y="31"/>
                    <a:pt x="54" y="19"/>
                  </a:cubicBezTo>
                  <a:cubicBezTo>
                    <a:pt x="66" y="6"/>
                    <a:pt x="82" y="0"/>
                    <a:pt x="102" y="0"/>
                  </a:cubicBezTo>
                  <a:cubicBezTo>
                    <a:pt x="112" y="0"/>
                    <a:pt x="120" y="1"/>
                    <a:pt x="126" y="4"/>
                  </a:cubicBezTo>
                  <a:lnTo>
                    <a:pt x="126"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70" name="Freeform 23"/>
            <p:cNvSpPr>
              <a:spLocks noEditPoints="1"/>
            </p:cNvSpPr>
            <p:nvPr/>
          </p:nvSpPr>
          <p:spPr bwMode="auto">
            <a:xfrm>
              <a:off x="5889626" y="7632700"/>
              <a:ext cx="165100" cy="1085850"/>
            </a:xfrm>
            <a:custGeom>
              <a:avLst/>
              <a:gdLst>
                <a:gd name="T0" fmla="*/ 44 w 44"/>
                <a:gd name="T1" fmla="*/ 21 h 288"/>
                <a:gd name="T2" fmla="*/ 38 w 44"/>
                <a:gd name="T3" fmla="*/ 35 h 288"/>
                <a:gd name="T4" fmla="*/ 22 w 44"/>
                <a:gd name="T5" fmla="*/ 41 h 288"/>
                <a:gd name="T6" fmla="*/ 7 w 44"/>
                <a:gd name="T7" fmla="*/ 35 h 288"/>
                <a:gd name="T8" fmla="*/ 0 w 44"/>
                <a:gd name="T9" fmla="*/ 21 h 288"/>
                <a:gd name="T10" fmla="*/ 7 w 44"/>
                <a:gd name="T11" fmla="*/ 6 h 288"/>
                <a:gd name="T12" fmla="*/ 22 w 44"/>
                <a:gd name="T13" fmla="*/ 0 h 288"/>
                <a:gd name="T14" fmla="*/ 38 w 44"/>
                <a:gd name="T15" fmla="*/ 6 h 288"/>
                <a:gd name="T16" fmla="*/ 44 w 44"/>
                <a:gd name="T17" fmla="*/ 21 h 288"/>
                <a:gd name="T18" fmla="*/ 39 w 44"/>
                <a:gd name="T19" fmla="*/ 288 h 288"/>
                <a:gd name="T20" fmla="*/ 5 w 44"/>
                <a:gd name="T21" fmla="*/ 288 h 288"/>
                <a:gd name="T22" fmla="*/ 5 w 44"/>
                <a:gd name="T23" fmla="*/ 91 h 288"/>
                <a:gd name="T24" fmla="*/ 39 w 44"/>
                <a:gd name="T25" fmla="*/ 91 h 288"/>
                <a:gd name="T26" fmla="*/ 39 w 44"/>
                <a:gd name="T27"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288">
                  <a:moveTo>
                    <a:pt x="44" y="21"/>
                  </a:moveTo>
                  <a:cubicBezTo>
                    <a:pt x="44" y="26"/>
                    <a:pt x="42" y="31"/>
                    <a:pt x="38" y="35"/>
                  </a:cubicBezTo>
                  <a:cubicBezTo>
                    <a:pt x="33" y="39"/>
                    <a:pt x="28" y="41"/>
                    <a:pt x="22" y="41"/>
                  </a:cubicBezTo>
                  <a:cubicBezTo>
                    <a:pt x="16" y="41"/>
                    <a:pt x="11" y="39"/>
                    <a:pt x="7" y="35"/>
                  </a:cubicBezTo>
                  <a:cubicBezTo>
                    <a:pt x="3" y="32"/>
                    <a:pt x="0" y="27"/>
                    <a:pt x="0" y="21"/>
                  </a:cubicBezTo>
                  <a:cubicBezTo>
                    <a:pt x="0" y="15"/>
                    <a:pt x="3" y="10"/>
                    <a:pt x="7" y="6"/>
                  </a:cubicBezTo>
                  <a:cubicBezTo>
                    <a:pt x="11" y="2"/>
                    <a:pt x="16" y="0"/>
                    <a:pt x="22" y="0"/>
                  </a:cubicBezTo>
                  <a:cubicBezTo>
                    <a:pt x="28" y="0"/>
                    <a:pt x="34" y="2"/>
                    <a:pt x="38" y="6"/>
                  </a:cubicBezTo>
                  <a:cubicBezTo>
                    <a:pt x="42" y="10"/>
                    <a:pt x="44" y="15"/>
                    <a:pt x="44" y="21"/>
                  </a:cubicBezTo>
                  <a:close/>
                  <a:moveTo>
                    <a:pt x="39" y="288"/>
                  </a:moveTo>
                  <a:cubicBezTo>
                    <a:pt x="5" y="288"/>
                    <a:pt x="5" y="288"/>
                    <a:pt x="5" y="288"/>
                  </a:cubicBezTo>
                  <a:cubicBezTo>
                    <a:pt x="5" y="91"/>
                    <a:pt x="5" y="91"/>
                    <a:pt x="5" y="91"/>
                  </a:cubicBezTo>
                  <a:cubicBezTo>
                    <a:pt x="39" y="91"/>
                    <a:pt x="39" y="91"/>
                    <a:pt x="39" y="91"/>
                  </a:cubicBezTo>
                  <a:lnTo>
                    <a:pt x="39"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71" name="Freeform 24"/>
            <p:cNvSpPr>
              <a:spLocks/>
            </p:cNvSpPr>
            <p:nvPr/>
          </p:nvSpPr>
          <p:spPr bwMode="auto">
            <a:xfrm>
              <a:off x="6164263" y="7956550"/>
              <a:ext cx="585788" cy="781050"/>
            </a:xfrm>
            <a:custGeom>
              <a:avLst/>
              <a:gdLst>
                <a:gd name="T0" fmla="*/ 156 w 156"/>
                <a:gd name="T1" fmla="*/ 193 h 207"/>
                <a:gd name="T2" fmla="*/ 99 w 156"/>
                <a:gd name="T3" fmla="*/ 207 h 207"/>
                <a:gd name="T4" fmla="*/ 48 w 156"/>
                <a:gd name="T5" fmla="*/ 195 h 207"/>
                <a:gd name="T6" fmla="*/ 12 w 156"/>
                <a:gd name="T7" fmla="*/ 160 h 207"/>
                <a:gd name="T8" fmla="*/ 0 w 156"/>
                <a:gd name="T9" fmla="*/ 109 h 207"/>
                <a:gd name="T10" fmla="*/ 29 w 156"/>
                <a:gd name="T11" fmla="*/ 30 h 207"/>
                <a:gd name="T12" fmla="*/ 108 w 156"/>
                <a:gd name="T13" fmla="*/ 0 h 207"/>
                <a:gd name="T14" fmla="*/ 156 w 156"/>
                <a:gd name="T15" fmla="*/ 10 h 207"/>
                <a:gd name="T16" fmla="*/ 156 w 156"/>
                <a:gd name="T17" fmla="*/ 43 h 207"/>
                <a:gd name="T18" fmla="*/ 107 w 156"/>
                <a:gd name="T19" fmla="*/ 27 h 207"/>
                <a:gd name="T20" fmla="*/ 54 w 156"/>
                <a:gd name="T21" fmla="*/ 49 h 207"/>
                <a:gd name="T22" fmla="*/ 34 w 156"/>
                <a:gd name="T23" fmla="*/ 106 h 207"/>
                <a:gd name="T24" fmla="*/ 53 w 156"/>
                <a:gd name="T25" fmla="*/ 160 h 207"/>
                <a:gd name="T26" fmla="*/ 105 w 156"/>
                <a:gd name="T27" fmla="*/ 180 h 207"/>
                <a:gd name="T28" fmla="*/ 156 w 156"/>
                <a:gd name="T29" fmla="*/ 163 h 207"/>
                <a:gd name="T30" fmla="*/ 156 w 156"/>
                <a:gd name="T31" fmla="*/ 19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207">
                  <a:moveTo>
                    <a:pt x="156" y="193"/>
                  </a:moveTo>
                  <a:cubicBezTo>
                    <a:pt x="140" y="203"/>
                    <a:pt x="121" y="207"/>
                    <a:pt x="99" y="207"/>
                  </a:cubicBezTo>
                  <a:cubicBezTo>
                    <a:pt x="80" y="207"/>
                    <a:pt x="63" y="203"/>
                    <a:pt x="48" y="195"/>
                  </a:cubicBezTo>
                  <a:cubicBezTo>
                    <a:pt x="32" y="187"/>
                    <a:pt x="21" y="175"/>
                    <a:pt x="12" y="160"/>
                  </a:cubicBezTo>
                  <a:cubicBezTo>
                    <a:pt x="4" y="145"/>
                    <a:pt x="0" y="128"/>
                    <a:pt x="0" y="109"/>
                  </a:cubicBezTo>
                  <a:cubicBezTo>
                    <a:pt x="0" y="76"/>
                    <a:pt x="10" y="50"/>
                    <a:pt x="29" y="30"/>
                  </a:cubicBezTo>
                  <a:cubicBezTo>
                    <a:pt x="49" y="10"/>
                    <a:pt x="75" y="0"/>
                    <a:pt x="108" y="0"/>
                  </a:cubicBezTo>
                  <a:cubicBezTo>
                    <a:pt x="126" y="0"/>
                    <a:pt x="142" y="4"/>
                    <a:pt x="156" y="10"/>
                  </a:cubicBezTo>
                  <a:cubicBezTo>
                    <a:pt x="156" y="43"/>
                    <a:pt x="156" y="43"/>
                    <a:pt x="156" y="43"/>
                  </a:cubicBezTo>
                  <a:cubicBezTo>
                    <a:pt x="141" y="32"/>
                    <a:pt x="124" y="27"/>
                    <a:pt x="107" y="27"/>
                  </a:cubicBezTo>
                  <a:cubicBezTo>
                    <a:pt x="85" y="27"/>
                    <a:pt x="68" y="35"/>
                    <a:pt x="54" y="49"/>
                  </a:cubicBezTo>
                  <a:cubicBezTo>
                    <a:pt x="41" y="64"/>
                    <a:pt x="34" y="83"/>
                    <a:pt x="34" y="106"/>
                  </a:cubicBezTo>
                  <a:cubicBezTo>
                    <a:pt x="34" y="129"/>
                    <a:pt x="40" y="147"/>
                    <a:pt x="53" y="160"/>
                  </a:cubicBezTo>
                  <a:cubicBezTo>
                    <a:pt x="66" y="174"/>
                    <a:pt x="83" y="180"/>
                    <a:pt x="105" y="180"/>
                  </a:cubicBezTo>
                  <a:cubicBezTo>
                    <a:pt x="123" y="180"/>
                    <a:pt x="140" y="175"/>
                    <a:pt x="156" y="163"/>
                  </a:cubicBezTo>
                  <a:lnTo>
                    <a:pt x="156"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72" name="Freeform 25"/>
            <p:cNvSpPr>
              <a:spLocks noEditPoints="1"/>
            </p:cNvSpPr>
            <p:nvPr/>
          </p:nvSpPr>
          <p:spPr bwMode="auto">
            <a:xfrm>
              <a:off x="6835776" y="7956550"/>
              <a:ext cx="684213" cy="781050"/>
            </a:xfrm>
            <a:custGeom>
              <a:avLst/>
              <a:gdLst>
                <a:gd name="T0" fmla="*/ 182 w 182"/>
                <a:gd name="T1" fmla="*/ 112 h 207"/>
                <a:gd name="T2" fmla="*/ 35 w 182"/>
                <a:gd name="T3" fmla="*/ 112 h 207"/>
                <a:gd name="T4" fmla="*/ 53 w 182"/>
                <a:gd name="T5" fmla="*/ 163 h 207"/>
                <a:gd name="T6" fmla="*/ 103 w 182"/>
                <a:gd name="T7" fmla="*/ 180 h 207"/>
                <a:gd name="T8" fmla="*/ 167 w 182"/>
                <a:gd name="T9" fmla="*/ 159 h 207"/>
                <a:gd name="T10" fmla="*/ 167 w 182"/>
                <a:gd name="T11" fmla="*/ 188 h 207"/>
                <a:gd name="T12" fmla="*/ 95 w 182"/>
                <a:gd name="T13" fmla="*/ 207 h 207"/>
                <a:gd name="T14" fmla="*/ 25 w 182"/>
                <a:gd name="T15" fmla="*/ 180 h 207"/>
                <a:gd name="T16" fmla="*/ 0 w 182"/>
                <a:gd name="T17" fmla="*/ 105 h 207"/>
                <a:gd name="T18" fmla="*/ 13 w 182"/>
                <a:gd name="T19" fmla="*/ 51 h 207"/>
                <a:gd name="T20" fmla="*/ 47 w 182"/>
                <a:gd name="T21" fmla="*/ 14 h 207"/>
                <a:gd name="T22" fmla="*/ 96 w 182"/>
                <a:gd name="T23" fmla="*/ 0 h 207"/>
                <a:gd name="T24" fmla="*/ 159 w 182"/>
                <a:gd name="T25" fmla="*/ 25 h 207"/>
                <a:gd name="T26" fmla="*/ 182 w 182"/>
                <a:gd name="T27" fmla="*/ 95 h 207"/>
                <a:gd name="T28" fmla="*/ 182 w 182"/>
                <a:gd name="T29" fmla="*/ 112 h 207"/>
                <a:gd name="T30" fmla="*/ 148 w 182"/>
                <a:gd name="T31" fmla="*/ 85 h 207"/>
                <a:gd name="T32" fmla="*/ 134 w 182"/>
                <a:gd name="T33" fmla="*/ 42 h 207"/>
                <a:gd name="T34" fmla="*/ 96 w 182"/>
                <a:gd name="T35" fmla="*/ 27 h 207"/>
                <a:gd name="T36" fmla="*/ 56 w 182"/>
                <a:gd name="T37" fmla="*/ 43 h 207"/>
                <a:gd name="T38" fmla="*/ 35 w 182"/>
                <a:gd name="T39" fmla="*/ 85 h 207"/>
                <a:gd name="T40" fmla="*/ 148 w 182"/>
                <a:gd name="T41" fmla="*/ 8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207">
                  <a:moveTo>
                    <a:pt x="182" y="112"/>
                  </a:moveTo>
                  <a:cubicBezTo>
                    <a:pt x="35" y="112"/>
                    <a:pt x="35" y="112"/>
                    <a:pt x="35" y="112"/>
                  </a:cubicBezTo>
                  <a:cubicBezTo>
                    <a:pt x="35" y="134"/>
                    <a:pt x="42" y="151"/>
                    <a:pt x="53" y="163"/>
                  </a:cubicBezTo>
                  <a:cubicBezTo>
                    <a:pt x="65" y="174"/>
                    <a:pt x="82" y="180"/>
                    <a:pt x="103" y="180"/>
                  </a:cubicBezTo>
                  <a:cubicBezTo>
                    <a:pt x="126" y="180"/>
                    <a:pt x="148" y="173"/>
                    <a:pt x="167" y="159"/>
                  </a:cubicBezTo>
                  <a:cubicBezTo>
                    <a:pt x="167" y="188"/>
                    <a:pt x="167" y="188"/>
                    <a:pt x="167" y="188"/>
                  </a:cubicBezTo>
                  <a:cubicBezTo>
                    <a:pt x="149" y="201"/>
                    <a:pt x="125" y="207"/>
                    <a:pt x="95" y="207"/>
                  </a:cubicBezTo>
                  <a:cubicBezTo>
                    <a:pt x="65" y="207"/>
                    <a:pt x="42" y="198"/>
                    <a:pt x="25" y="180"/>
                  </a:cubicBezTo>
                  <a:cubicBezTo>
                    <a:pt x="9" y="162"/>
                    <a:pt x="0" y="137"/>
                    <a:pt x="0" y="105"/>
                  </a:cubicBezTo>
                  <a:cubicBezTo>
                    <a:pt x="0" y="85"/>
                    <a:pt x="4" y="67"/>
                    <a:pt x="13" y="51"/>
                  </a:cubicBezTo>
                  <a:cubicBezTo>
                    <a:pt x="21" y="35"/>
                    <a:pt x="33" y="23"/>
                    <a:pt x="47" y="14"/>
                  </a:cubicBezTo>
                  <a:cubicBezTo>
                    <a:pt x="62" y="5"/>
                    <a:pt x="78" y="0"/>
                    <a:pt x="96" y="0"/>
                  </a:cubicBezTo>
                  <a:cubicBezTo>
                    <a:pt x="123" y="0"/>
                    <a:pt x="144" y="9"/>
                    <a:pt x="159" y="25"/>
                  </a:cubicBezTo>
                  <a:cubicBezTo>
                    <a:pt x="174" y="42"/>
                    <a:pt x="182" y="65"/>
                    <a:pt x="182" y="95"/>
                  </a:cubicBezTo>
                  <a:lnTo>
                    <a:pt x="182" y="112"/>
                  </a:lnTo>
                  <a:close/>
                  <a:moveTo>
                    <a:pt x="148" y="85"/>
                  </a:moveTo>
                  <a:cubicBezTo>
                    <a:pt x="147" y="67"/>
                    <a:pt x="143" y="53"/>
                    <a:pt x="134" y="42"/>
                  </a:cubicBezTo>
                  <a:cubicBezTo>
                    <a:pt x="125" y="32"/>
                    <a:pt x="112" y="27"/>
                    <a:pt x="96" y="27"/>
                  </a:cubicBezTo>
                  <a:cubicBezTo>
                    <a:pt x="80" y="27"/>
                    <a:pt x="67" y="33"/>
                    <a:pt x="56" y="43"/>
                  </a:cubicBezTo>
                  <a:cubicBezTo>
                    <a:pt x="45" y="54"/>
                    <a:pt x="38" y="68"/>
                    <a:pt x="35" y="85"/>
                  </a:cubicBezTo>
                  <a:lnTo>
                    <a:pt x="148" y="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73" name="Freeform 26"/>
            <p:cNvSpPr>
              <a:spLocks/>
            </p:cNvSpPr>
            <p:nvPr/>
          </p:nvSpPr>
          <p:spPr bwMode="auto">
            <a:xfrm>
              <a:off x="1728788" y="7331075"/>
              <a:ext cx="1524000" cy="1735138"/>
            </a:xfrm>
            <a:custGeom>
              <a:avLst/>
              <a:gdLst>
                <a:gd name="T0" fmla="*/ 960 w 960"/>
                <a:gd name="T1" fmla="*/ 1003 h 1093"/>
                <a:gd name="T2" fmla="*/ 960 w 960"/>
                <a:gd name="T3" fmla="*/ 1003 h 1093"/>
                <a:gd name="T4" fmla="*/ 960 w 960"/>
                <a:gd name="T5" fmla="*/ 92 h 1093"/>
                <a:gd name="T6" fmla="*/ 617 w 960"/>
                <a:gd name="T7" fmla="*/ 0 h 1093"/>
                <a:gd name="T8" fmla="*/ 2 w 960"/>
                <a:gd name="T9" fmla="*/ 218 h 1093"/>
                <a:gd name="T10" fmla="*/ 0 w 960"/>
                <a:gd name="T11" fmla="*/ 218 h 1093"/>
                <a:gd name="T12" fmla="*/ 0 w 960"/>
                <a:gd name="T13" fmla="*/ 877 h 1093"/>
                <a:gd name="T14" fmla="*/ 210 w 960"/>
                <a:gd name="T15" fmla="*/ 798 h 1093"/>
                <a:gd name="T16" fmla="*/ 210 w 960"/>
                <a:gd name="T17" fmla="*/ 263 h 1093"/>
                <a:gd name="T18" fmla="*/ 617 w 960"/>
                <a:gd name="T19" fmla="*/ 171 h 1093"/>
                <a:gd name="T20" fmla="*/ 617 w 960"/>
                <a:gd name="T21" fmla="*/ 958 h 1093"/>
                <a:gd name="T22" fmla="*/ 0 w 960"/>
                <a:gd name="T23" fmla="*/ 877 h 1093"/>
                <a:gd name="T24" fmla="*/ 617 w 960"/>
                <a:gd name="T25" fmla="*/ 1093 h 1093"/>
                <a:gd name="T26" fmla="*/ 617 w 960"/>
                <a:gd name="T27" fmla="*/ 1093 h 1093"/>
                <a:gd name="T28" fmla="*/ 960 w 960"/>
                <a:gd name="T29" fmla="*/ 1003 h 1093"/>
                <a:gd name="T30" fmla="*/ 960 w 960"/>
                <a:gd name="T31" fmla="*/ 1003 h 1093"/>
                <a:gd name="T32" fmla="*/ 960 w 960"/>
                <a:gd name="T33" fmla="*/ 1003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0" h="1093">
                  <a:moveTo>
                    <a:pt x="960" y="1003"/>
                  </a:moveTo>
                  <a:lnTo>
                    <a:pt x="960" y="1003"/>
                  </a:lnTo>
                  <a:lnTo>
                    <a:pt x="960" y="92"/>
                  </a:lnTo>
                  <a:lnTo>
                    <a:pt x="617" y="0"/>
                  </a:lnTo>
                  <a:lnTo>
                    <a:pt x="2" y="218"/>
                  </a:lnTo>
                  <a:lnTo>
                    <a:pt x="0" y="218"/>
                  </a:lnTo>
                  <a:lnTo>
                    <a:pt x="0" y="877"/>
                  </a:lnTo>
                  <a:lnTo>
                    <a:pt x="210" y="798"/>
                  </a:lnTo>
                  <a:lnTo>
                    <a:pt x="210" y="263"/>
                  </a:lnTo>
                  <a:lnTo>
                    <a:pt x="617" y="171"/>
                  </a:lnTo>
                  <a:lnTo>
                    <a:pt x="617" y="958"/>
                  </a:lnTo>
                  <a:lnTo>
                    <a:pt x="0" y="877"/>
                  </a:lnTo>
                  <a:lnTo>
                    <a:pt x="617" y="1093"/>
                  </a:lnTo>
                  <a:lnTo>
                    <a:pt x="617" y="1093"/>
                  </a:lnTo>
                  <a:lnTo>
                    <a:pt x="960" y="1003"/>
                  </a:lnTo>
                  <a:lnTo>
                    <a:pt x="960" y="1003"/>
                  </a:lnTo>
                  <a:lnTo>
                    <a:pt x="960" y="10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74" name="Freeform 27"/>
            <p:cNvSpPr>
              <a:spLocks/>
            </p:cNvSpPr>
            <p:nvPr/>
          </p:nvSpPr>
          <p:spPr bwMode="auto">
            <a:xfrm>
              <a:off x="7827963" y="7651750"/>
              <a:ext cx="608013" cy="1093788"/>
            </a:xfrm>
            <a:custGeom>
              <a:avLst/>
              <a:gdLst>
                <a:gd name="T0" fmla="*/ 162 w 162"/>
                <a:gd name="T1" fmla="*/ 206 h 290"/>
                <a:gd name="T2" fmla="*/ 155 w 162"/>
                <a:gd name="T3" fmla="*/ 240 h 290"/>
                <a:gd name="T4" fmla="*/ 135 w 162"/>
                <a:gd name="T5" fmla="*/ 267 h 290"/>
                <a:gd name="T6" fmla="*/ 104 w 162"/>
                <a:gd name="T7" fmla="*/ 284 h 290"/>
                <a:gd name="T8" fmla="*/ 64 w 162"/>
                <a:gd name="T9" fmla="*/ 290 h 290"/>
                <a:gd name="T10" fmla="*/ 0 w 162"/>
                <a:gd name="T11" fmla="*/ 274 h 290"/>
                <a:gd name="T12" fmla="*/ 0 w 162"/>
                <a:gd name="T13" fmla="*/ 240 h 290"/>
                <a:gd name="T14" fmla="*/ 65 w 162"/>
                <a:gd name="T15" fmla="*/ 262 h 290"/>
                <a:gd name="T16" fmla="*/ 91 w 162"/>
                <a:gd name="T17" fmla="*/ 259 h 290"/>
                <a:gd name="T18" fmla="*/ 111 w 162"/>
                <a:gd name="T19" fmla="*/ 248 h 290"/>
                <a:gd name="T20" fmla="*/ 125 w 162"/>
                <a:gd name="T21" fmla="*/ 231 h 290"/>
                <a:gd name="T22" fmla="*/ 129 w 162"/>
                <a:gd name="T23" fmla="*/ 208 h 290"/>
                <a:gd name="T24" fmla="*/ 51 w 162"/>
                <a:gd name="T25" fmla="*/ 154 h 290"/>
                <a:gd name="T26" fmla="*/ 28 w 162"/>
                <a:gd name="T27" fmla="*/ 154 h 290"/>
                <a:gd name="T28" fmla="*/ 28 w 162"/>
                <a:gd name="T29" fmla="*/ 126 h 290"/>
                <a:gd name="T30" fmla="*/ 50 w 162"/>
                <a:gd name="T31" fmla="*/ 126 h 290"/>
                <a:gd name="T32" fmla="*/ 119 w 162"/>
                <a:gd name="T33" fmla="*/ 75 h 290"/>
                <a:gd name="T34" fmla="*/ 66 w 162"/>
                <a:gd name="T35" fmla="*/ 27 h 290"/>
                <a:gd name="T36" fmla="*/ 11 w 162"/>
                <a:gd name="T37" fmla="*/ 47 h 290"/>
                <a:gd name="T38" fmla="*/ 11 w 162"/>
                <a:gd name="T39" fmla="*/ 16 h 290"/>
                <a:gd name="T40" fmla="*/ 74 w 162"/>
                <a:gd name="T41" fmla="*/ 0 h 290"/>
                <a:gd name="T42" fmla="*/ 106 w 162"/>
                <a:gd name="T43" fmla="*/ 5 h 290"/>
                <a:gd name="T44" fmla="*/ 130 w 162"/>
                <a:gd name="T45" fmla="*/ 19 h 290"/>
                <a:gd name="T46" fmla="*/ 146 w 162"/>
                <a:gd name="T47" fmla="*/ 40 h 290"/>
                <a:gd name="T48" fmla="*/ 152 w 162"/>
                <a:gd name="T49" fmla="*/ 67 h 290"/>
                <a:gd name="T50" fmla="*/ 96 w 162"/>
                <a:gd name="T51" fmla="*/ 138 h 290"/>
                <a:gd name="T52" fmla="*/ 96 w 162"/>
                <a:gd name="T53" fmla="*/ 139 h 290"/>
                <a:gd name="T54" fmla="*/ 122 w 162"/>
                <a:gd name="T55" fmla="*/ 146 h 290"/>
                <a:gd name="T56" fmla="*/ 143 w 162"/>
                <a:gd name="T57" fmla="*/ 160 h 290"/>
                <a:gd name="T58" fmla="*/ 157 w 162"/>
                <a:gd name="T59" fmla="*/ 180 h 290"/>
                <a:gd name="T60" fmla="*/ 162 w 162"/>
                <a:gd name="T61" fmla="*/ 20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2" h="290">
                  <a:moveTo>
                    <a:pt x="162" y="206"/>
                  </a:moveTo>
                  <a:cubicBezTo>
                    <a:pt x="162" y="218"/>
                    <a:pt x="160" y="230"/>
                    <a:pt x="155" y="240"/>
                  </a:cubicBezTo>
                  <a:cubicBezTo>
                    <a:pt x="150" y="250"/>
                    <a:pt x="143" y="259"/>
                    <a:pt x="135" y="267"/>
                  </a:cubicBezTo>
                  <a:cubicBezTo>
                    <a:pt x="126" y="274"/>
                    <a:pt x="116" y="280"/>
                    <a:pt x="104" y="284"/>
                  </a:cubicBezTo>
                  <a:cubicBezTo>
                    <a:pt x="91" y="288"/>
                    <a:pt x="78" y="290"/>
                    <a:pt x="64" y="290"/>
                  </a:cubicBezTo>
                  <a:cubicBezTo>
                    <a:pt x="37" y="290"/>
                    <a:pt x="16" y="285"/>
                    <a:pt x="0" y="274"/>
                  </a:cubicBezTo>
                  <a:cubicBezTo>
                    <a:pt x="0" y="240"/>
                    <a:pt x="0" y="240"/>
                    <a:pt x="0" y="240"/>
                  </a:cubicBezTo>
                  <a:cubicBezTo>
                    <a:pt x="19" y="255"/>
                    <a:pt x="40" y="262"/>
                    <a:pt x="65" y="262"/>
                  </a:cubicBezTo>
                  <a:cubicBezTo>
                    <a:pt x="74" y="262"/>
                    <a:pt x="83" y="261"/>
                    <a:pt x="91" y="259"/>
                  </a:cubicBezTo>
                  <a:cubicBezTo>
                    <a:pt x="99" y="256"/>
                    <a:pt x="106" y="253"/>
                    <a:pt x="111" y="248"/>
                  </a:cubicBezTo>
                  <a:cubicBezTo>
                    <a:pt x="117" y="243"/>
                    <a:pt x="121" y="238"/>
                    <a:pt x="125" y="231"/>
                  </a:cubicBezTo>
                  <a:cubicBezTo>
                    <a:pt x="128" y="224"/>
                    <a:pt x="129" y="217"/>
                    <a:pt x="129" y="208"/>
                  </a:cubicBezTo>
                  <a:cubicBezTo>
                    <a:pt x="129" y="172"/>
                    <a:pt x="103" y="154"/>
                    <a:pt x="51" y="154"/>
                  </a:cubicBezTo>
                  <a:cubicBezTo>
                    <a:pt x="28" y="154"/>
                    <a:pt x="28" y="154"/>
                    <a:pt x="28" y="154"/>
                  </a:cubicBezTo>
                  <a:cubicBezTo>
                    <a:pt x="28" y="126"/>
                    <a:pt x="28" y="126"/>
                    <a:pt x="28" y="126"/>
                  </a:cubicBezTo>
                  <a:cubicBezTo>
                    <a:pt x="50" y="126"/>
                    <a:pt x="50" y="126"/>
                    <a:pt x="50" y="126"/>
                  </a:cubicBezTo>
                  <a:cubicBezTo>
                    <a:pt x="96" y="126"/>
                    <a:pt x="119" y="109"/>
                    <a:pt x="119" y="75"/>
                  </a:cubicBezTo>
                  <a:cubicBezTo>
                    <a:pt x="119" y="43"/>
                    <a:pt x="101" y="27"/>
                    <a:pt x="66" y="27"/>
                  </a:cubicBezTo>
                  <a:cubicBezTo>
                    <a:pt x="46" y="27"/>
                    <a:pt x="28" y="34"/>
                    <a:pt x="11" y="47"/>
                  </a:cubicBezTo>
                  <a:cubicBezTo>
                    <a:pt x="11" y="16"/>
                    <a:pt x="11" y="16"/>
                    <a:pt x="11" y="16"/>
                  </a:cubicBezTo>
                  <a:cubicBezTo>
                    <a:pt x="28" y="5"/>
                    <a:pt x="50" y="0"/>
                    <a:pt x="74" y="0"/>
                  </a:cubicBezTo>
                  <a:cubicBezTo>
                    <a:pt x="86" y="0"/>
                    <a:pt x="97" y="2"/>
                    <a:pt x="106" y="5"/>
                  </a:cubicBezTo>
                  <a:cubicBezTo>
                    <a:pt x="116" y="8"/>
                    <a:pt x="124" y="13"/>
                    <a:pt x="130" y="19"/>
                  </a:cubicBezTo>
                  <a:cubicBezTo>
                    <a:pt x="137" y="25"/>
                    <a:pt x="142" y="32"/>
                    <a:pt x="146" y="40"/>
                  </a:cubicBezTo>
                  <a:cubicBezTo>
                    <a:pt x="150" y="48"/>
                    <a:pt x="152" y="57"/>
                    <a:pt x="152" y="67"/>
                  </a:cubicBezTo>
                  <a:cubicBezTo>
                    <a:pt x="152" y="104"/>
                    <a:pt x="133" y="127"/>
                    <a:pt x="96" y="138"/>
                  </a:cubicBezTo>
                  <a:cubicBezTo>
                    <a:pt x="96" y="139"/>
                    <a:pt x="96" y="139"/>
                    <a:pt x="96" y="139"/>
                  </a:cubicBezTo>
                  <a:cubicBezTo>
                    <a:pt x="105" y="140"/>
                    <a:pt x="114" y="142"/>
                    <a:pt x="122" y="146"/>
                  </a:cubicBezTo>
                  <a:cubicBezTo>
                    <a:pt x="130" y="149"/>
                    <a:pt x="137" y="154"/>
                    <a:pt x="143" y="160"/>
                  </a:cubicBezTo>
                  <a:cubicBezTo>
                    <a:pt x="149" y="165"/>
                    <a:pt x="154" y="172"/>
                    <a:pt x="157" y="180"/>
                  </a:cubicBezTo>
                  <a:cubicBezTo>
                    <a:pt x="160" y="188"/>
                    <a:pt x="162" y="196"/>
                    <a:pt x="162" y="2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75" name="Freeform 28"/>
            <p:cNvSpPr>
              <a:spLocks noEditPoints="1"/>
            </p:cNvSpPr>
            <p:nvPr/>
          </p:nvSpPr>
          <p:spPr bwMode="auto">
            <a:xfrm>
              <a:off x="8596313" y="7651750"/>
              <a:ext cx="669925" cy="1093788"/>
            </a:xfrm>
            <a:custGeom>
              <a:avLst/>
              <a:gdLst>
                <a:gd name="T0" fmla="*/ 178 w 178"/>
                <a:gd name="T1" fmla="*/ 196 h 290"/>
                <a:gd name="T2" fmla="*/ 171 w 178"/>
                <a:gd name="T3" fmla="*/ 234 h 290"/>
                <a:gd name="T4" fmla="*/ 153 w 178"/>
                <a:gd name="T5" fmla="*/ 263 h 290"/>
                <a:gd name="T6" fmla="*/ 125 w 178"/>
                <a:gd name="T7" fmla="*/ 283 h 290"/>
                <a:gd name="T8" fmla="*/ 90 w 178"/>
                <a:gd name="T9" fmla="*/ 290 h 290"/>
                <a:gd name="T10" fmla="*/ 52 w 178"/>
                <a:gd name="T11" fmla="*/ 281 h 290"/>
                <a:gd name="T12" fmla="*/ 24 w 178"/>
                <a:gd name="T13" fmla="*/ 256 h 290"/>
                <a:gd name="T14" fmla="*/ 6 w 178"/>
                <a:gd name="T15" fmla="*/ 215 h 290"/>
                <a:gd name="T16" fmla="*/ 0 w 178"/>
                <a:gd name="T17" fmla="*/ 162 h 290"/>
                <a:gd name="T18" fmla="*/ 8 w 178"/>
                <a:gd name="T19" fmla="*/ 95 h 290"/>
                <a:gd name="T20" fmla="*/ 31 w 178"/>
                <a:gd name="T21" fmla="*/ 44 h 290"/>
                <a:gd name="T22" fmla="*/ 67 w 178"/>
                <a:gd name="T23" fmla="*/ 12 h 290"/>
                <a:gd name="T24" fmla="*/ 114 w 178"/>
                <a:gd name="T25" fmla="*/ 0 h 290"/>
                <a:gd name="T26" fmla="*/ 161 w 178"/>
                <a:gd name="T27" fmla="*/ 8 h 290"/>
                <a:gd name="T28" fmla="*/ 161 w 178"/>
                <a:gd name="T29" fmla="*/ 38 h 290"/>
                <a:gd name="T30" fmla="*/ 115 w 178"/>
                <a:gd name="T31" fmla="*/ 27 h 290"/>
                <a:gd name="T32" fmla="*/ 81 w 178"/>
                <a:gd name="T33" fmla="*/ 36 h 290"/>
                <a:gd name="T34" fmla="*/ 56 w 178"/>
                <a:gd name="T35" fmla="*/ 59 h 290"/>
                <a:gd name="T36" fmla="*/ 39 w 178"/>
                <a:gd name="T37" fmla="*/ 96 h 290"/>
                <a:gd name="T38" fmla="*/ 33 w 178"/>
                <a:gd name="T39" fmla="*/ 145 h 290"/>
                <a:gd name="T40" fmla="*/ 34 w 178"/>
                <a:gd name="T41" fmla="*/ 145 h 290"/>
                <a:gd name="T42" fmla="*/ 98 w 178"/>
                <a:gd name="T43" fmla="*/ 110 h 290"/>
                <a:gd name="T44" fmla="*/ 131 w 178"/>
                <a:gd name="T45" fmla="*/ 116 h 290"/>
                <a:gd name="T46" fmla="*/ 156 w 178"/>
                <a:gd name="T47" fmla="*/ 134 h 290"/>
                <a:gd name="T48" fmla="*/ 172 w 178"/>
                <a:gd name="T49" fmla="*/ 161 h 290"/>
                <a:gd name="T50" fmla="*/ 178 w 178"/>
                <a:gd name="T51" fmla="*/ 196 h 290"/>
                <a:gd name="T52" fmla="*/ 145 w 178"/>
                <a:gd name="T53" fmla="*/ 200 h 290"/>
                <a:gd name="T54" fmla="*/ 141 w 178"/>
                <a:gd name="T55" fmla="*/ 174 h 290"/>
                <a:gd name="T56" fmla="*/ 131 w 178"/>
                <a:gd name="T57" fmla="*/ 154 h 290"/>
                <a:gd name="T58" fmla="*/ 114 w 178"/>
                <a:gd name="T59" fmla="*/ 141 h 290"/>
                <a:gd name="T60" fmla="*/ 91 w 178"/>
                <a:gd name="T61" fmla="*/ 137 h 290"/>
                <a:gd name="T62" fmla="*/ 69 w 178"/>
                <a:gd name="T63" fmla="*/ 141 h 290"/>
                <a:gd name="T64" fmla="*/ 51 w 178"/>
                <a:gd name="T65" fmla="*/ 154 h 290"/>
                <a:gd name="T66" fmla="*/ 39 w 178"/>
                <a:gd name="T67" fmla="*/ 171 h 290"/>
                <a:gd name="T68" fmla="*/ 35 w 178"/>
                <a:gd name="T69" fmla="*/ 193 h 290"/>
                <a:gd name="T70" fmla="*/ 39 w 178"/>
                <a:gd name="T71" fmla="*/ 220 h 290"/>
                <a:gd name="T72" fmla="*/ 51 w 178"/>
                <a:gd name="T73" fmla="*/ 242 h 290"/>
                <a:gd name="T74" fmla="*/ 68 w 178"/>
                <a:gd name="T75" fmla="*/ 257 h 290"/>
                <a:gd name="T76" fmla="*/ 91 w 178"/>
                <a:gd name="T77" fmla="*/ 262 h 290"/>
                <a:gd name="T78" fmla="*/ 113 w 178"/>
                <a:gd name="T79" fmla="*/ 258 h 290"/>
                <a:gd name="T80" fmla="*/ 130 w 178"/>
                <a:gd name="T81" fmla="*/ 245 h 290"/>
                <a:gd name="T82" fmla="*/ 141 w 178"/>
                <a:gd name="T83" fmla="*/ 225 h 290"/>
                <a:gd name="T84" fmla="*/ 145 w 178"/>
                <a:gd name="T85" fmla="*/ 20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8" h="290">
                  <a:moveTo>
                    <a:pt x="178" y="196"/>
                  </a:moveTo>
                  <a:cubicBezTo>
                    <a:pt x="178" y="210"/>
                    <a:pt x="176" y="222"/>
                    <a:pt x="171" y="234"/>
                  </a:cubicBezTo>
                  <a:cubicBezTo>
                    <a:pt x="167" y="245"/>
                    <a:pt x="161" y="255"/>
                    <a:pt x="153" y="263"/>
                  </a:cubicBezTo>
                  <a:cubicBezTo>
                    <a:pt x="145" y="272"/>
                    <a:pt x="136" y="278"/>
                    <a:pt x="125" y="283"/>
                  </a:cubicBezTo>
                  <a:cubicBezTo>
                    <a:pt x="114" y="287"/>
                    <a:pt x="102" y="290"/>
                    <a:pt x="90" y="290"/>
                  </a:cubicBezTo>
                  <a:cubicBezTo>
                    <a:pt x="76" y="290"/>
                    <a:pt x="63" y="287"/>
                    <a:pt x="52" y="281"/>
                  </a:cubicBezTo>
                  <a:cubicBezTo>
                    <a:pt x="41" y="275"/>
                    <a:pt x="32" y="267"/>
                    <a:pt x="24" y="256"/>
                  </a:cubicBezTo>
                  <a:cubicBezTo>
                    <a:pt x="16" y="245"/>
                    <a:pt x="10" y="231"/>
                    <a:pt x="6" y="215"/>
                  </a:cubicBezTo>
                  <a:cubicBezTo>
                    <a:pt x="2" y="199"/>
                    <a:pt x="0" y="182"/>
                    <a:pt x="0" y="162"/>
                  </a:cubicBezTo>
                  <a:cubicBezTo>
                    <a:pt x="0" y="137"/>
                    <a:pt x="3" y="115"/>
                    <a:pt x="8" y="95"/>
                  </a:cubicBezTo>
                  <a:cubicBezTo>
                    <a:pt x="14" y="75"/>
                    <a:pt x="21" y="58"/>
                    <a:pt x="31" y="44"/>
                  </a:cubicBezTo>
                  <a:cubicBezTo>
                    <a:pt x="41" y="30"/>
                    <a:pt x="53" y="19"/>
                    <a:pt x="67" y="12"/>
                  </a:cubicBezTo>
                  <a:cubicBezTo>
                    <a:pt x="81" y="4"/>
                    <a:pt x="97" y="0"/>
                    <a:pt x="114" y="0"/>
                  </a:cubicBezTo>
                  <a:cubicBezTo>
                    <a:pt x="134" y="0"/>
                    <a:pt x="149" y="3"/>
                    <a:pt x="161" y="8"/>
                  </a:cubicBezTo>
                  <a:cubicBezTo>
                    <a:pt x="161" y="38"/>
                    <a:pt x="161" y="38"/>
                    <a:pt x="161" y="38"/>
                  </a:cubicBezTo>
                  <a:cubicBezTo>
                    <a:pt x="146" y="31"/>
                    <a:pt x="131" y="27"/>
                    <a:pt x="115" y="27"/>
                  </a:cubicBezTo>
                  <a:cubicBezTo>
                    <a:pt x="103" y="27"/>
                    <a:pt x="91" y="30"/>
                    <a:pt x="81" y="36"/>
                  </a:cubicBezTo>
                  <a:cubicBezTo>
                    <a:pt x="71" y="41"/>
                    <a:pt x="63" y="49"/>
                    <a:pt x="56" y="59"/>
                  </a:cubicBezTo>
                  <a:cubicBezTo>
                    <a:pt x="48" y="70"/>
                    <a:pt x="43" y="82"/>
                    <a:pt x="39" y="96"/>
                  </a:cubicBezTo>
                  <a:cubicBezTo>
                    <a:pt x="35" y="111"/>
                    <a:pt x="33" y="127"/>
                    <a:pt x="33" y="145"/>
                  </a:cubicBezTo>
                  <a:cubicBezTo>
                    <a:pt x="34" y="145"/>
                    <a:pt x="34" y="145"/>
                    <a:pt x="34" y="145"/>
                  </a:cubicBezTo>
                  <a:cubicBezTo>
                    <a:pt x="47" y="121"/>
                    <a:pt x="68" y="110"/>
                    <a:pt x="98" y="110"/>
                  </a:cubicBezTo>
                  <a:cubicBezTo>
                    <a:pt x="110" y="110"/>
                    <a:pt x="121" y="112"/>
                    <a:pt x="131" y="116"/>
                  </a:cubicBezTo>
                  <a:cubicBezTo>
                    <a:pt x="141" y="120"/>
                    <a:pt x="149" y="126"/>
                    <a:pt x="156" y="134"/>
                  </a:cubicBezTo>
                  <a:cubicBezTo>
                    <a:pt x="163" y="141"/>
                    <a:pt x="168" y="150"/>
                    <a:pt x="172" y="161"/>
                  </a:cubicBezTo>
                  <a:cubicBezTo>
                    <a:pt x="176" y="171"/>
                    <a:pt x="178" y="183"/>
                    <a:pt x="178" y="196"/>
                  </a:cubicBezTo>
                  <a:close/>
                  <a:moveTo>
                    <a:pt x="145" y="200"/>
                  </a:moveTo>
                  <a:cubicBezTo>
                    <a:pt x="145" y="190"/>
                    <a:pt x="144" y="182"/>
                    <a:pt x="141" y="174"/>
                  </a:cubicBezTo>
                  <a:cubicBezTo>
                    <a:pt x="139" y="166"/>
                    <a:pt x="135" y="159"/>
                    <a:pt x="131" y="154"/>
                  </a:cubicBezTo>
                  <a:cubicBezTo>
                    <a:pt x="126" y="148"/>
                    <a:pt x="120" y="144"/>
                    <a:pt x="114" y="141"/>
                  </a:cubicBezTo>
                  <a:cubicBezTo>
                    <a:pt x="107" y="138"/>
                    <a:pt x="99" y="137"/>
                    <a:pt x="91" y="137"/>
                  </a:cubicBezTo>
                  <a:cubicBezTo>
                    <a:pt x="83" y="137"/>
                    <a:pt x="75" y="138"/>
                    <a:pt x="69" y="141"/>
                  </a:cubicBezTo>
                  <a:cubicBezTo>
                    <a:pt x="62" y="144"/>
                    <a:pt x="56" y="148"/>
                    <a:pt x="51" y="154"/>
                  </a:cubicBezTo>
                  <a:cubicBezTo>
                    <a:pt x="46" y="159"/>
                    <a:pt x="42" y="165"/>
                    <a:pt x="39" y="171"/>
                  </a:cubicBezTo>
                  <a:cubicBezTo>
                    <a:pt x="37" y="178"/>
                    <a:pt x="35" y="186"/>
                    <a:pt x="35" y="193"/>
                  </a:cubicBezTo>
                  <a:cubicBezTo>
                    <a:pt x="35" y="203"/>
                    <a:pt x="37" y="212"/>
                    <a:pt x="39" y="220"/>
                  </a:cubicBezTo>
                  <a:cubicBezTo>
                    <a:pt x="42" y="229"/>
                    <a:pt x="46" y="236"/>
                    <a:pt x="51" y="242"/>
                  </a:cubicBezTo>
                  <a:cubicBezTo>
                    <a:pt x="56" y="248"/>
                    <a:pt x="62" y="253"/>
                    <a:pt x="68" y="257"/>
                  </a:cubicBezTo>
                  <a:cubicBezTo>
                    <a:pt x="75" y="261"/>
                    <a:pt x="83" y="262"/>
                    <a:pt x="91" y="262"/>
                  </a:cubicBezTo>
                  <a:cubicBezTo>
                    <a:pt x="99" y="262"/>
                    <a:pt x="107" y="261"/>
                    <a:pt x="113" y="258"/>
                  </a:cubicBezTo>
                  <a:cubicBezTo>
                    <a:pt x="120" y="255"/>
                    <a:pt x="126" y="250"/>
                    <a:pt x="130" y="245"/>
                  </a:cubicBezTo>
                  <a:cubicBezTo>
                    <a:pt x="135" y="240"/>
                    <a:pt x="139" y="233"/>
                    <a:pt x="141" y="225"/>
                  </a:cubicBezTo>
                  <a:cubicBezTo>
                    <a:pt x="144" y="218"/>
                    <a:pt x="145" y="209"/>
                    <a:pt x="145" y="20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76" name="Freeform 29"/>
            <p:cNvSpPr>
              <a:spLocks/>
            </p:cNvSpPr>
            <p:nvPr/>
          </p:nvSpPr>
          <p:spPr bwMode="auto">
            <a:xfrm>
              <a:off x="9415463" y="7670800"/>
              <a:ext cx="590550" cy="1074738"/>
            </a:xfrm>
            <a:custGeom>
              <a:avLst/>
              <a:gdLst>
                <a:gd name="T0" fmla="*/ 157 w 157"/>
                <a:gd name="T1" fmla="*/ 194 h 285"/>
                <a:gd name="T2" fmla="*/ 150 w 157"/>
                <a:gd name="T3" fmla="*/ 231 h 285"/>
                <a:gd name="T4" fmla="*/ 130 w 157"/>
                <a:gd name="T5" fmla="*/ 260 h 285"/>
                <a:gd name="T6" fmla="*/ 99 w 157"/>
                <a:gd name="T7" fmla="*/ 278 h 285"/>
                <a:gd name="T8" fmla="*/ 58 w 157"/>
                <a:gd name="T9" fmla="*/ 285 h 285"/>
                <a:gd name="T10" fmla="*/ 0 w 157"/>
                <a:gd name="T11" fmla="*/ 273 h 285"/>
                <a:gd name="T12" fmla="*/ 0 w 157"/>
                <a:gd name="T13" fmla="*/ 239 h 285"/>
                <a:gd name="T14" fmla="*/ 58 w 157"/>
                <a:gd name="T15" fmla="*/ 257 h 285"/>
                <a:gd name="T16" fmla="*/ 86 w 157"/>
                <a:gd name="T17" fmla="*/ 253 h 285"/>
                <a:gd name="T18" fmla="*/ 107 w 157"/>
                <a:gd name="T19" fmla="*/ 240 h 285"/>
                <a:gd name="T20" fmla="*/ 120 w 157"/>
                <a:gd name="T21" fmla="*/ 221 h 285"/>
                <a:gd name="T22" fmla="*/ 124 w 157"/>
                <a:gd name="T23" fmla="*/ 196 h 285"/>
                <a:gd name="T24" fmla="*/ 106 w 157"/>
                <a:gd name="T25" fmla="*/ 153 h 285"/>
                <a:gd name="T26" fmla="*/ 53 w 157"/>
                <a:gd name="T27" fmla="*/ 138 h 285"/>
                <a:gd name="T28" fmla="*/ 41 w 157"/>
                <a:gd name="T29" fmla="*/ 138 h 285"/>
                <a:gd name="T30" fmla="*/ 28 w 157"/>
                <a:gd name="T31" fmla="*/ 139 h 285"/>
                <a:gd name="T32" fmla="*/ 16 w 157"/>
                <a:gd name="T33" fmla="*/ 139 h 285"/>
                <a:gd name="T34" fmla="*/ 5 w 157"/>
                <a:gd name="T35" fmla="*/ 140 h 285"/>
                <a:gd name="T36" fmla="*/ 15 w 157"/>
                <a:gd name="T37" fmla="*/ 0 h 285"/>
                <a:gd name="T38" fmla="*/ 144 w 157"/>
                <a:gd name="T39" fmla="*/ 0 h 285"/>
                <a:gd name="T40" fmla="*/ 144 w 157"/>
                <a:gd name="T41" fmla="*/ 29 h 285"/>
                <a:gd name="T42" fmla="*/ 43 w 157"/>
                <a:gd name="T43" fmla="*/ 29 h 285"/>
                <a:gd name="T44" fmla="*/ 37 w 157"/>
                <a:gd name="T45" fmla="*/ 111 h 285"/>
                <a:gd name="T46" fmla="*/ 50 w 157"/>
                <a:gd name="T47" fmla="*/ 110 h 285"/>
                <a:gd name="T48" fmla="*/ 63 w 157"/>
                <a:gd name="T49" fmla="*/ 110 h 285"/>
                <a:gd name="T50" fmla="*/ 102 w 157"/>
                <a:gd name="T51" fmla="*/ 116 h 285"/>
                <a:gd name="T52" fmla="*/ 132 w 157"/>
                <a:gd name="T53" fmla="*/ 133 h 285"/>
                <a:gd name="T54" fmla="*/ 151 w 157"/>
                <a:gd name="T55" fmla="*/ 159 h 285"/>
                <a:gd name="T56" fmla="*/ 157 w 157"/>
                <a:gd name="T57" fmla="*/ 19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7" h="285">
                  <a:moveTo>
                    <a:pt x="157" y="194"/>
                  </a:moveTo>
                  <a:cubicBezTo>
                    <a:pt x="157" y="208"/>
                    <a:pt x="155" y="220"/>
                    <a:pt x="150" y="231"/>
                  </a:cubicBezTo>
                  <a:cubicBezTo>
                    <a:pt x="145" y="242"/>
                    <a:pt x="139" y="252"/>
                    <a:pt x="130" y="260"/>
                  </a:cubicBezTo>
                  <a:cubicBezTo>
                    <a:pt x="121" y="268"/>
                    <a:pt x="111" y="274"/>
                    <a:pt x="99" y="278"/>
                  </a:cubicBezTo>
                  <a:cubicBezTo>
                    <a:pt x="87" y="283"/>
                    <a:pt x="73" y="285"/>
                    <a:pt x="58" y="285"/>
                  </a:cubicBezTo>
                  <a:cubicBezTo>
                    <a:pt x="32" y="285"/>
                    <a:pt x="13" y="281"/>
                    <a:pt x="0" y="273"/>
                  </a:cubicBezTo>
                  <a:cubicBezTo>
                    <a:pt x="0" y="239"/>
                    <a:pt x="0" y="239"/>
                    <a:pt x="0" y="239"/>
                  </a:cubicBezTo>
                  <a:cubicBezTo>
                    <a:pt x="19" y="251"/>
                    <a:pt x="38" y="257"/>
                    <a:pt x="58" y="257"/>
                  </a:cubicBezTo>
                  <a:cubicBezTo>
                    <a:pt x="68" y="257"/>
                    <a:pt x="78" y="256"/>
                    <a:pt x="86" y="253"/>
                  </a:cubicBezTo>
                  <a:cubicBezTo>
                    <a:pt x="94" y="250"/>
                    <a:pt x="101" y="246"/>
                    <a:pt x="107" y="240"/>
                  </a:cubicBezTo>
                  <a:cubicBezTo>
                    <a:pt x="112" y="235"/>
                    <a:pt x="117" y="229"/>
                    <a:pt x="120" y="221"/>
                  </a:cubicBezTo>
                  <a:cubicBezTo>
                    <a:pt x="123" y="213"/>
                    <a:pt x="124" y="205"/>
                    <a:pt x="124" y="196"/>
                  </a:cubicBezTo>
                  <a:cubicBezTo>
                    <a:pt x="124" y="178"/>
                    <a:pt x="118" y="164"/>
                    <a:pt x="106" y="153"/>
                  </a:cubicBezTo>
                  <a:cubicBezTo>
                    <a:pt x="94" y="143"/>
                    <a:pt x="76" y="138"/>
                    <a:pt x="53" y="138"/>
                  </a:cubicBezTo>
                  <a:cubicBezTo>
                    <a:pt x="49" y="138"/>
                    <a:pt x="45" y="138"/>
                    <a:pt x="41" y="138"/>
                  </a:cubicBezTo>
                  <a:cubicBezTo>
                    <a:pt x="37" y="138"/>
                    <a:pt x="32" y="138"/>
                    <a:pt x="28" y="139"/>
                  </a:cubicBezTo>
                  <a:cubicBezTo>
                    <a:pt x="24" y="139"/>
                    <a:pt x="20" y="139"/>
                    <a:pt x="16" y="139"/>
                  </a:cubicBezTo>
                  <a:cubicBezTo>
                    <a:pt x="12" y="140"/>
                    <a:pt x="8" y="140"/>
                    <a:pt x="5" y="140"/>
                  </a:cubicBezTo>
                  <a:cubicBezTo>
                    <a:pt x="15" y="0"/>
                    <a:pt x="15" y="0"/>
                    <a:pt x="15" y="0"/>
                  </a:cubicBezTo>
                  <a:cubicBezTo>
                    <a:pt x="144" y="0"/>
                    <a:pt x="144" y="0"/>
                    <a:pt x="144" y="0"/>
                  </a:cubicBezTo>
                  <a:cubicBezTo>
                    <a:pt x="144" y="29"/>
                    <a:pt x="144" y="29"/>
                    <a:pt x="144" y="29"/>
                  </a:cubicBezTo>
                  <a:cubicBezTo>
                    <a:pt x="43" y="29"/>
                    <a:pt x="43" y="29"/>
                    <a:pt x="43" y="29"/>
                  </a:cubicBezTo>
                  <a:cubicBezTo>
                    <a:pt x="37" y="111"/>
                    <a:pt x="37" y="111"/>
                    <a:pt x="37" y="111"/>
                  </a:cubicBezTo>
                  <a:cubicBezTo>
                    <a:pt x="41" y="111"/>
                    <a:pt x="45" y="110"/>
                    <a:pt x="50" y="110"/>
                  </a:cubicBezTo>
                  <a:cubicBezTo>
                    <a:pt x="55" y="110"/>
                    <a:pt x="59" y="110"/>
                    <a:pt x="63" y="110"/>
                  </a:cubicBezTo>
                  <a:cubicBezTo>
                    <a:pt x="77" y="110"/>
                    <a:pt x="91" y="112"/>
                    <a:pt x="102" y="116"/>
                  </a:cubicBezTo>
                  <a:cubicBezTo>
                    <a:pt x="114" y="120"/>
                    <a:pt x="124" y="125"/>
                    <a:pt x="132" y="133"/>
                  </a:cubicBezTo>
                  <a:cubicBezTo>
                    <a:pt x="140" y="140"/>
                    <a:pt x="147" y="149"/>
                    <a:pt x="151" y="159"/>
                  </a:cubicBezTo>
                  <a:cubicBezTo>
                    <a:pt x="155" y="170"/>
                    <a:pt x="157" y="181"/>
                    <a:pt x="157" y="19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grpSp>
      <p:grpSp>
        <p:nvGrpSpPr>
          <p:cNvPr id="177" name="Group 176"/>
          <p:cNvGrpSpPr/>
          <p:nvPr/>
        </p:nvGrpSpPr>
        <p:grpSpPr>
          <a:xfrm>
            <a:off x="10950937" y="3461798"/>
            <a:ext cx="1080080" cy="267522"/>
            <a:chOff x="3457575" y="7391400"/>
            <a:chExt cx="5146676" cy="1274763"/>
          </a:xfrm>
          <a:solidFill>
            <a:schemeClr val="tx1"/>
          </a:solidFill>
        </p:grpSpPr>
        <p:sp>
          <p:nvSpPr>
            <p:cNvPr id="178" name="Freeform 33"/>
            <p:cNvSpPr>
              <a:spLocks noEditPoints="1"/>
            </p:cNvSpPr>
            <p:nvPr/>
          </p:nvSpPr>
          <p:spPr bwMode="auto">
            <a:xfrm>
              <a:off x="5100638" y="7651750"/>
              <a:ext cx="695325" cy="768350"/>
            </a:xfrm>
            <a:custGeom>
              <a:avLst/>
              <a:gdLst>
                <a:gd name="T0" fmla="*/ 185 w 185"/>
                <a:gd name="T1" fmla="*/ 99 h 203"/>
                <a:gd name="T2" fmla="*/ 174 w 185"/>
                <a:gd name="T3" fmla="*/ 154 h 203"/>
                <a:gd name="T4" fmla="*/ 141 w 185"/>
                <a:gd name="T5" fmla="*/ 191 h 203"/>
                <a:gd name="T6" fmla="*/ 92 w 185"/>
                <a:gd name="T7" fmla="*/ 203 h 203"/>
                <a:gd name="T8" fmla="*/ 44 w 185"/>
                <a:gd name="T9" fmla="*/ 191 h 203"/>
                <a:gd name="T10" fmla="*/ 11 w 185"/>
                <a:gd name="T11" fmla="*/ 156 h 203"/>
                <a:gd name="T12" fmla="*/ 0 w 185"/>
                <a:gd name="T13" fmla="*/ 104 h 203"/>
                <a:gd name="T14" fmla="*/ 11 w 185"/>
                <a:gd name="T15" fmla="*/ 49 h 203"/>
                <a:gd name="T16" fmla="*/ 45 w 185"/>
                <a:gd name="T17" fmla="*/ 13 h 203"/>
                <a:gd name="T18" fmla="*/ 95 w 185"/>
                <a:gd name="T19" fmla="*/ 0 h 203"/>
                <a:gd name="T20" fmla="*/ 142 w 185"/>
                <a:gd name="T21" fmla="*/ 13 h 203"/>
                <a:gd name="T22" fmla="*/ 174 w 185"/>
                <a:gd name="T23" fmla="*/ 48 h 203"/>
                <a:gd name="T24" fmla="*/ 185 w 185"/>
                <a:gd name="T25" fmla="*/ 99 h 203"/>
                <a:gd name="T26" fmla="*/ 161 w 185"/>
                <a:gd name="T27" fmla="*/ 102 h 203"/>
                <a:gd name="T28" fmla="*/ 143 w 185"/>
                <a:gd name="T29" fmla="*/ 43 h 203"/>
                <a:gd name="T30" fmla="*/ 93 w 185"/>
                <a:gd name="T31" fmla="*/ 21 h 203"/>
                <a:gd name="T32" fmla="*/ 57 w 185"/>
                <a:gd name="T33" fmla="*/ 31 h 203"/>
                <a:gd name="T34" fmla="*/ 33 w 185"/>
                <a:gd name="T35" fmla="*/ 60 h 203"/>
                <a:gd name="T36" fmla="*/ 24 w 185"/>
                <a:gd name="T37" fmla="*/ 102 h 203"/>
                <a:gd name="T38" fmla="*/ 32 w 185"/>
                <a:gd name="T39" fmla="*/ 144 h 203"/>
                <a:gd name="T40" fmla="*/ 56 w 185"/>
                <a:gd name="T41" fmla="*/ 173 h 203"/>
                <a:gd name="T42" fmla="*/ 92 w 185"/>
                <a:gd name="T43" fmla="*/ 183 h 203"/>
                <a:gd name="T44" fmla="*/ 143 w 185"/>
                <a:gd name="T45" fmla="*/ 161 h 203"/>
                <a:gd name="T46" fmla="*/ 161 w 185"/>
                <a:gd name="T4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5" h="203">
                  <a:moveTo>
                    <a:pt x="185" y="99"/>
                  </a:moveTo>
                  <a:cubicBezTo>
                    <a:pt x="185" y="120"/>
                    <a:pt x="182" y="139"/>
                    <a:pt x="174" y="154"/>
                  </a:cubicBezTo>
                  <a:cubicBezTo>
                    <a:pt x="166" y="170"/>
                    <a:pt x="155" y="182"/>
                    <a:pt x="141" y="191"/>
                  </a:cubicBezTo>
                  <a:cubicBezTo>
                    <a:pt x="127" y="199"/>
                    <a:pt x="110" y="203"/>
                    <a:pt x="92" y="203"/>
                  </a:cubicBezTo>
                  <a:cubicBezTo>
                    <a:pt x="74" y="203"/>
                    <a:pt x="58" y="199"/>
                    <a:pt x="44" y="191"/>
                  </a:cubicBezTo>
                  <a:cubicBezTo>
                    <a:pt x="30" y="183"/>
                    <a:pt x="19" y="171"/>
                    <a:pt x="11" y="156"/>
                  </a:cubicBezTo>
                  <a:cubicBezTo>
                    <a:pt x="4" y="141"/>
                    <a:pt x="0" y="123"/>
                    <a:pt x="0" y="104"/>
                  </a:cubicBezTo>
                  <a:cubicBezTo>
                    <a:pt x="0" y="83"/>
                    <a:pt x="4" y="65"/>
                    <a:pt x="11" y="49"/>
                  </a:cubicBezTo>
                  <a:cubicBezTo>
                    <a:pt x="19" y="34"/>
                    <a:pt x="30" y="22"/>
                    <a:pt x="45" y="13"/>
                  </a:cubicBezTo>
                  <a:cubicBezTo>
                    <a:pt x="59" y="5"/>
                    <a:pt x="76" y="0"/>
                    <a:pt x="95" y="0"/>
                  </a:cubicBezTo>
                  <a:cubicBezTo>
                    <a:pt x="113" y="0"/>
                    <a:pt x="128" y="5"/>
                    <a:pt x="142" y="13"/>
                  </a:cubicBezTo>
                  <a:cubicBezTo>
                    <a:pt x="156" y="21"/>
                    <a:pt x="167" y="33"/>
                    <a:pt x="174" y="48"/>
                  </a:cubicBezTo>
                  <a:cubicBezTo>
                    <a:pt x="182" y="63"/>
                    <a:pt x="185" y="80"/>
                    <a:pt x="185" y="99"/>
                  </a:cubicBezTo>
                  <a:close/>
                  <a:moveTo>
                    <a:pt x="161" y="102"/>
                  </a:moveTo>
                  <a:cubicBezTo>
                    <a:pt x="161" y="77"/>
                    <a:pt x="155" y="57"/>
                    <a:pt x="143" y="43"/>
                  </a:cubicBezTo>
                  <a:cubicBezTo>
                    <a:pt x="131" y="28"/>
                    <a:pt x="115" y="21"/>
                    <a:pt x="93" y="21"/>
                  </a:cubicBezTo>
                  <a:cubicBezTo>
                    <a:pt x="80" y="21"/>
                    <a:pt x="68" y="24"/>
                    <a:pt x="57" y="31"/>
                  </a:cubicBezTo>
                  <a:cubicBezTo>
                    <a:pt x="47" y="38"/>
                    <a:pt x="38" y="48"/>
                    <a:pt x="33" y="60"/>
                  </a:cubicBezTo>
                  <a:cubicBezTo>
                    <a:pt x="27" y="73"/>
                    <a:pt x="24" y="87"/>
                    <a:pt x="24" y="102"/>
                  </a:cubicBezTo>
                  <a:cubicBezTo>
                    <a:pt x="24" y="118"/>
                    <a:pt x="27" y="132"/>
                    <a:pt x="32" y="144"/>
                  </a:cubicBezTo>
                  <a:cubicBezTo>
                    <a:pt x="38" y="156"/>
                    <a:pt x="46" y="166"/>
                    <a:pt x="56" y="173"/>
                  </a:cubicBezTo>
                  <a:cubicBezTo>
                    <a:pt x="67" y="179"/>
                    <a:pt x="78" y="183"/>
                    <a:pt x="92" y="183"/>
                  </a:cubicBezTo>
                  <a:cubicBezTo>
                    <a:pt x="113" y="183"/>
                    <a:pt x="130" y="175"/>
                    <a:pt x="143" y="161"/>
                  </a:cubicBezTo>
                  <a:cubicBezTo>
                    <a:pt x="155" y="147"/>
                    <a:pt x="161" y="127"/>
                    <a:pt x="161" y="1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79" name="Freeform 34"/>
            <p:cNvSpPr>
              <a:spLocks/>
            </p:cNvSpPr>
            <p:nvPr/>
          </p:nvSpPr>
          <p:spPr bwMode="auto">
            <a:xfrm>
              <a:off x="5881688" y="7878763"/>
              <a:ext cx="436563" cy="541338"/>
            </a:xfrm>
            <a:custGeom>
              <a:avLst/>
              <a:gdLst>
                <a:gd name="T0" fmla="*/ 116 w 116"/>
                <a:gd name="T1" fmla="*/ 140 h 143"/>
                <a:gd name="T2" fmla="*/ 94 w 116"/>
                <a:gd name="T3" fmla="*/ 140 h 143"/>
                <a:gd name="T4" fmla="*/ 94 w 116"/>
                <a:gd name="T5" fmla="*/ 118 h 143"/>
                <a:gd name="T6" fmla="*/ 93 w 116"/>
                <a:gd name="T7" fmla="*/ 118 h 143"/>
                <a:gd name="T8" fmla="*/ 50 w 116"/>
                <a:gd name="T9" fmla="*/ 143 h 143"/>
                <a:gd name="T10" fmla="*/ 0 w 116"/>
                <a:gd name="T11" fmla="*/ 84 h 143"/>
                <a:gd name="T12" fmla="*/ 0 w 116"/>
                <a:gd name="T13" fmla="*/ 0 h 143"/>
                <a:gd name="T14" fmla="*/ 22 w 116"/>
                <a:gd name="T15" fmla="*/ 0 h 143"/>
                <a:gd name="T16" fmla="*/ 22 w 116"/>
                <a:gd name="T17" fmla="*/ 80 h 143"/>
                <a:gd name="T18" fmla="*/ 56 w 116"/>
                <a:gd name="T19" fmla="*/ 124 h 143"/>
                <a:gd name="T20" fmla="*/ 83 w 116"/>
                <a:gd name="T21" fmla="*/ 112 h 143"/>
                <a:gd name="T22" fmla="*/ 94 w 116"/>
                <a:gd name="T23" fmla="*/ 81 h 143"/>
                <a:gd name="T24" fmla="*/ 94 w 116"/>
                <a:gd name="T25" fmla="*/ 0 h 143"/>
                <a:gd name="T26" fmla="*/ 116 w 116"/>
                <a:gd name="T27" fmla="*/ 0 h 143"/>
                <a:gd name="T28" fmla="*/ 116 w 116"/>
                <a:gd name="T29" fmla="*/ 14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3">
                  <a:moveTo>
                    <a:pt x="116" y="140"/>
                  </a:moveTo>
                  <a:cubicBezTo>
                    <a:pt x="94" y="140"/>
                    <a:pt x="94" y="140"/>
                    <a:pt x="94" y="140"/>
                  </a:cubicBezTo>
                  <a:cubicBezTo>
                    <a:pt x="94" y="118"/>
                    <a:pt x="94" y="118"/>
                    <a:pt x="94" y="118"/>
                  </a:cubicBezTo>
                  <a:cubicBezTo>
                    <a:pt x="93" y="118"/>
                    <a:pt x="93" y="118"/>
                    <a:pt x="93" y="118"/>
                  </a:cubicBezTo>
                  <a:cubicBezTo>
                    <a:pt x="84" y="135"/>
                    <a:pt x="70" y="143"/>
                    <a:pt x="50" y="143"/>
                  </a:cubicBezTo>
                  <a:cubicBezTo>
                    <a:pt x="17" y="143"/>
                    <a:pt x="0" y="123"/>
                    <a:pt x="0" y="84"/>
                  </a:cubicBezTo>
                  <a:cubicBezTo>
                    <a:pt x="0" y="0"/>
                    <a:pt x="0" y="0"/>
                    <a:pt x="0" y="0"/>
                  </a:cubicBezTo>
                  <a:cubicBezTo>
                    <a:pt x="22" y="0"/>
                    <a:pt x="22" y="0"/>
                    <a:pt x="22" y="0"/>
                  </a:cubicBezTo>
                  <a:cubicBezTo>
                    <a:pt x="22" y="80"/>
                    <a:pt x="22" y="80"/>
                    <a:pt x="22" y="80"/>
                  </a:cubicBezTo>
                  <a:cubicBezTo>
                    <a:pt x="22" y="109"/>
                    <a:pt x="34" y="124"/>
                    <a:pt x="56" y="124"/>
                  </a:cubicBezTo>
                  <a:cubicBezTo>
                    <a:pt x="67" y="124"/>
                    <a:pt x="77" y="120"/>
                    <a:pt x="83" y="112"/>
                  </a:cubicBezTo>
                  <a:cubicBezTo>
                    <a:pt x="90" y="104"/>
                    <a:pt x="94" y="94"/>
                    <a:pt x="94" y="81"/>
                  </a:cubicBezTo>
                  <a:cubicBezTo>
                    <a:pt x="94" y="0"/>
                    <a:pt x="94" y="0"/>
                    <a:pt x="94" y="0"/>
                  </a:cubicBezTo>
                  <a:cubicBezTo>
                    <a:pt x="116" y="0"/>
                    <a:pt x="116" y="0"/>
                    <a:pt x="116" y="0"/>
                  </a:cubicBezTo>
                  <a:lnTo>
                    <a:pt x="116" y="1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80" name="Freeform 35"/>
            <p:cNvSpPr>
              <a:spLocks/>
            </p:cNvSpPr>
            <p:nvPr/>
          </p:nvSpPr>
          <p:spPr bwMode="auto">
            <a:xfrm>
              <a:off x="6392863" y="7720013"/>
              <a:ext cx="309563" cy="700088"/>
            </a:xfrm>
            <a:custGeom>
              <a:avLst/>
              <a:gdLst>
                <a:gd name="T0" fmla="*/ 82 w 82"/>
                <a:gd name="T1" fmla="*/ 181 h 185"/>
                <a:gd name="T2" fmla="*/ 61 w 82"/>
                <a:gd name="T3" fmla="*/ 185 h 185"/>
                <a:gd name="T4" fmla="*/ 25 w 82"/>
                <a:gd name="T5" fmla="*/ 144 h 185"/>
                <a:gd name="T6" fmla="*/ 25 w 82"/>
                <a:gd name="T7" fmla="*/ 61 h 185"/>
                <a:gd name="T8" fmla="*/ 0 w 82"/>
                <a:gd name="T9" fmla="*/ 61 h 185"/>
                <a:gd name="T10" fmla="*/ 0 w 82"/>
                <a:gd name="T11" fmla="*/ 42 h 185"/>
                <a:gd name="T12" fmla="*/ 25 w 82"/>
                <a:gd name="T13" fmla="*/ 42 h 185"/>
                <a:gd name="T14" fmla="*/ 25 w 82"/>
                <a:gd name="T15" fmla="*/ 8 h 185"/>
                <a:gd name="T16" fmla="*/ 47 w 82"/>
                <a:gd name="T17" fmla="*/ 0 h 185"/>
                <a:gd name="T18" fmla="*/ 47 w 82"/>
                <a:gd name="T19" fmla="*/ 42 h 185"/>
                <a:gd name="T20" fmla="*/ 82 w 82"/>
                <a:gd name="T21" fmla="*/ 42 h 185"/>
                <a:gd name="T22" fmla="*/ 82 w 82"/>
                <a:gd name="T23" fmla="*/ 61 h 185"/>
                <a:gd name="T24" fmla="*/ 47 w 82"/>
                <a:gd name="T25" fmla="*/ 61 h 185"/>
                <a:gd name="T26" fmla="*/ 47 w 82"/>
                <a:gd name="T27" fmla="*/ 140 h 185"/>
                <a:gd name="T28" fmla="*/ 52 w 82"/>
                <a:gd name="T29" fmla="*/ 160 h 185"/>
                <a:gd name="T30" fmla="*/ 68 w 82"/>
                <a:gd name="T31" fmla="*/ 166 h 185"/>
                <a:gd name="T32" fmla="*/ 82 w 82"/>
                <a:gd name="T33" fmla="*/ 161 h 185"/>
                <a:gd name="T34" fmla="*/ 82 w 82"/>
                <a:gd name="T35" fmla="*/ 18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 h="185">
                  <a:moveTo>
                    <a:pt x="82" y="181"/>
                  </a:moveTo>
                  <a:cubicBezTo>
                    <a:pt x="77" y="184"/>
                    <a:pt x="70" y="185"/>
                    <a:pt x="61" y="185"/>
                  </a:cubicBezTo>
                  <a:cubicBezTo>
                    <a:pt x="37" y="185"/>
                    <a:pt x="25" y="171"/>
                    <a:pt x="25" y="144"/>
                  </a:cubicBezTo>
                  <a:cubicBezTo>
                    <a:pt x="25" y="61"/>
                    <a:pt x="25" y="61"/>
                    <a:pt x="25" y="61"/>
                  </a:cubicBezTo>
                  <a:cubicBezTo>
                    <a:pt x="0" y="61"/>
                    <a:pt x="0" y="61"/>
                    <a:pt x="0" y="61"/>
                  </a:cubicBezTo>
                  <a:cubicBezTo>
                    <a:pt x="0" y="42"/>
                    <a:pt x="0" y="42"/>
                    <a:pt x="0" y="42"/>
                  </a:cubicBezTo>
                  <a:cubicBezTo>
                    <a:pt x="25" y="42"/>
                    <a:pt x="25" y="42"/>
                    <a:pt x="25" y="42"/>
                  </a:cubicBezTo>
                  <a:cubicBezTo>
                    <a:pt x="25" y="8"/>
                    <a:pt x="25" y="8"/>
                    <a:pt x="25" y="8"/>
                  </a:cubicBezTo>
                  <a:cubicBezTo>
                    <a:pt x="47" y="0"/>
                    <a:pt x="47" y="0"/>
                    <a:pt x="47" y="0"/>
                  </a:cubicBezTo>
                  <a:cubicBezTo>
                    <a:pt x="47" y="42"/>
                    <a:pt x="47" y="42"/>
                    <a:pt x="47" y="42"/>
                  </a:cubicBezTo>
                  <a:cubicBezTo>
                    <a:pt x="82" y="42"/>
                    <a:pt x="82" y="42"/>
                    <a:pt x="82" y="42"/>
                  </a:cubicBezTo>
                  <a:cubicBezTo>
                    <a:pt x="82" y="61"/>
                    <a:pt x="82" y="61"/>
                    <a:pt x="82" y="61"/>
                  </a:cubicBezTo>
                  <a:cubicBezTo>
                    <a:pt x="47" y="61"/>
                    <a:pt x="47" y="61"/>
                    <a:pt x="47" y="61"/>
                  </a:cubicBezTo>
                  <a:cubicBezTo>
                    <a:pt x="47" y="140"/>
                    <a:pt x="47" y="140"/>
                    <a:pt x="47" y="140"/>
                  </a:cubicBezTo>
                  <a:cubicBezTo>
                    <a:pt x="47" y="149"/>
                    <a:pt x="49" y="156"/>
                    <a:pt x="52" y="160"/>
                  </a:cubicBezTo>
                  <a:cubicBezTo>
                    <a:pt x="55" y="164"/>
                    <a:pt x="60" y="166"/>
                    <a:pt x="68" y="166"/>
                  </a:cubicBezTo>
                  <a:cubicBezTo>
                    <a:pt x="73" y="166"/>
                    <a:pt x="78" y="164"/>
                    <a:pt x="82" y="161"/>
                  </a:cubicBezTo>
                  <a:lnTo>
                    <a:pt x="82"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81" name="Rectangle 36"/>
            <p:cNvSpPr>
              <a:spLocks noChangeArrowheads="1"/>
            </p:cNvSpPr>
            <p:nvPr/>
          </p:nvSpPr>
          <p:spPr bwMode="auto">
            <a:xfrm>
              <a:off x="6796088" y="7621588"/>
              <a:ext cx="82550" cy="7874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defTabSz="913949">
                <a:defRPr/>
              </a:pPr>
              <a:endParaRPr lang="en-US">
                <a:solidFill>
                  <a:srgbClr val="505050"/>
                </a:solidFill>
                <a:ea typeface="ＭＳ Ｐゴシック" charset="0"/>
              </a:endParaRPr>
            </a:p>
          </p:txBody>
        </p:sp>
        <p:sp>
          <p:nvSpPr>
            <p:cNvPr id="182" name="Freeform 37"/>
            <p:cNvSpPr>
              <a:spLocks noEditPoints="1"/>
            </p:cNvSpPr>
            <p:nvPr/>
          </p:nvSpPr>
          <p:spPr bwMode="auto">
            <a:xfrm>
              <a:off x="6972300" y="7864475"/>
              <a:ext cx="519113" cy="555625"/>
            </a:xfrm>
            <a:custGeom>
              <a:avLst/>
              <a:gdLst>
                <a:gd name="T0" fmla="*/ 138 w 138"/>
                <a:gd name="T1" fmla="*/ 73 h 147"/>
                <a:gd name="T2" fmla="*/ 119 w 138"/>
                <a:gd name="T3" fmla="*/ 127 h 147"/>
                <a:gd name="T4" fmla="*/ 68 w 138"/>
                <a:gd name="T5" fmla="*/ 147 h 147"/>
                <a:gd name="T6" fmla="*/ 19 w 138"/>
                <a:gd name="T7" fmla="*/ 128 h 147"/>
                <a:gd name="T8" fmla="*/ 0 w 138"/>
                <a:gd name="T9" fmla="*/ 76 h 147"/>
                <a:gd name="T10" fmla="*/ 19 w 138"/>
                <a:gd name="T11" fmla="*/ 21 h 147"/>
                <a:gd name="T12" fmla="*/ 72 w 138"/>
                <a:gd name="T13" fmla="*/ 0 h 147"/>
                <a:gd name="T14" fmla="*/ 120 w 138"/>
                <a:gd name="T15" fmla="*/ 20 h 147"/>
                <a:gd name="T16" fmla="*/ 138 w 138"/>
                <a:gd name="T17" fmla="*/ 73 h 147"/>
                <a:gd name="T18" fmla="*/ 115 w 138"/>
                <a:gd name="T19" fmla="*/ 74 h 147"/>
                <a:gd name="T20" fmla="*/ 103 w 138"/>
                <a:gd name="T21" fmla="*/ 34 h 147"/>
                <a:gd name="T22" fmla="*/ 70 w 138"/>
                <a:gd name="T23" fmla="*/ 20 h 147"/>
                <a:gd name="T24" fmla="*/ 36 w 138"/>
                <a:gd name="T25" fmla="*/ 34 h 147"/>
                <a:gd name="T26" fmla="*/ 23 w 138"/>
                <a:gd name="T27" fmla="*/ 75 h 147"/>
                <a:gd name="T28" fmla="*/ 36 w 138"/>
                <a:gd name="T29" fmla="*/ 114 h 147"/>
                <a:gd name="T30" fmla="*/ 70 w 138"/>
                <a:gd name="T31" fmla="*/ 128 h 147"/>
                <a:gd name="T32" fmla="*/ 103 w 138"/>
                <a:gd name="T33" fmla="*/ 114 h 147"/>
                <a:gd name="T34" fmla="*/ 115 w 138"/>
                <a:gd name="T35"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147">
                  <a:moveTo>
                    <a:pt x="138" y="73"/>
                  </a:moveTo>
                  <a:cubicBezTo>
                    <a:pt x="138" y="96"/>
                    <a:pt x="132" y="114"/>
                    <a:pt x="119" y="127"/>
                  </a:cubicBezTo>
                  <a:cubicBezTo>
                    <a:pt x="106" y="141"/>
                    <a:pt x="90" y="147"/>
                    <a:pt x="68" y="147"/>
                  </a:cubicBezTo>
                  <a:cubicBezTo>
                    <a:pt x="48" y="147"/>
                    <a:pt x="31" y="141"/>
                    <a:pt x="19" y="128"/>
                  </a:cubicBezTo>
                  <a:cubicBezTo>
                    <a:pt x="6" y="114"/>
                    <a:pt x="0" y="97"/>
                    <a:pt x="0" y="76"/>
                  </a:cubicBezTo>
                  <a:cubicBezTo>
                    <a:pt x="0" y="52"/>
                    <a:pt x="6" y="34"/>
                    <a:pt x="19" y="21"/>
                  </a:cubicBezTo>
                  <a:cubicBezTo>
                    <a:pt x="32" y="7"/>
                    <a:pt x="49" y="0"/>
                    <a:pt x="72" y="0"/>
                  </a:cubicBezTo>
                  <a:cubicBezTo>
                    <a:pt x="92" y="0"/>
                    <a:pt x="109" y="7"/>
                    <a:pt x="120" y="20"/>
                  </a:cubicBezTo>
                  <a:cubicBezTo>
                    <a:pt x="132" y="33"/>
                    <a:pt x="138" y="51"/>
                    <a:pt x="138" y="73"/>
                  </a:cubicBezTo>
                  <a:close/>
                  <a:moveTo>
                    <a:pt x="115" y="74"/>
                  </a:moveTo>
                  <a:cubicBezTo>
                    <a:pt x="115" y="57"/>
                    <a:pt x="111" y="43"/>
                    <a:pt x="103" y="34"/>
                  </a:cubicBezTo>
                  <a:cubicBezTo>
                    <a:pt x="96" y="24"/>
                    <a:pt x="84" y="20"/>
                    <a:pt x="70" y="20"/>
                  </a:cubicBezTo>
                  <a:cubicBezTo>
                    <a:pt x="56" y="20"/>
                    <a:pt x="44" y="24"/>
                    <a:pt x="36" y="34"/>
                  </a:cubicBezTo>
                  <a:cubicBezTo>
                    <a:pt x="27" y="44"/>
                    <a:pt x="23" y="57"/>
                    <a:pt x="23" y="75"/>
                  </a:cubicBezTo>
                  <a:cubicBezTo>
                    <a:pt x="23" y="92"/>
                    <a:pt x="27" y="105"/>
                    <a:pt x="36" y="114"/>
                  </a:cubicBezTo>
                  <a:cubicBezTo>
                    <a:pt x="44" y="124"/>
                    <a:pt x="56" y="128"/>
                    <a:pt x="70" y="128"/>
                  </a:cubicBezTo>
                  <a:cubicBezTo>
                    <a:pt x="85" y="128"/>
                    <a:pt x="96" y="124"/>
                    <a:pt x="103" y="114"/>
                  </a:cubicBezTo>
                  <a:cubicBezTo>
                    <a:pt x="111" y="105"/>
                    <a:pt x="115" y="92"/>
                    <a:pt x="115"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83" name="Freeform 38"/>
            <p:cNvSpPr>
              <a:spLocks noEditPoints="1"/>
            </p:cNvSpPr>
            <p:nvPr/>
          </p:nvSpPr>
          <p:spPr bwMode="auto">
            <a:xfrm>
              <a:off x="7554913" y="7864475"/>
              <a:ext cx="519113" cy="555625"/>
            </a:xfrm>
            <a:custGeom>
              <a:avLst/>
              <a:gdLst>
                <a:gd name="T0" fmla="*/ 138 w 138"/>
                <a:gd name="T1" fmla="*/ 73 h 147"/>
                <a:gd name="T2" fmla="*/ 119 w 138"/>
                <a:gd name="T3" fmla="*/ 127 h 147"/>
                <a:gd name="T4" fmla="*/ 68 w 138"/>
                <a:gd name="T5" fmla="*/ 147 h 147"/>
                <a:gd name="T6" fmla="*/ 19 w 138"/>
                <a:gd name="T7" fmla="*/ 128 h 147"/>
                <a:gd name="T8" fmla="*/ 0 w 138"/>
                <a:gd name="T9" fmla="*/ 76 h 147"/>
                <a:gd name="T10" fmla="*/ 19 w 138"/>
                <a:gd name="T11" fmla="*/ 21 h 147"/>
                <a:gd name="T12" fmla="*/ 72 w 138"/>
                <a:gd name="T13" fmla="*/ 0 h 147"/>
                <a:gd name="T14" fmla="*/ 120 w 138"/>
                <a:gd name="T15" fmla="*/ 20 h 147"/>
                <a:gd name="T16" fmla="*/ 138 w 138"/>
                <a:gd name="T17" fmla="*/ 73 h 147"/>
                <a:gd name="T18" fmla="*/ 115 w 138"/>
                <a:gd name="T19" fmla="*/ 74 h 147"/>
                <a:gd name="T20" fmla="*/ 103 w 138"/>
                <a:gd name="T21" fmla="*/ 34 h 147"/>
                <a:gd name="T22" fmla="*/ 70 w 138"/>
                <a:gd name="T23" fmla="*/ 20 h 147"/>
                <a:gd name="T24" fmla="*/ 36 w 138"/>
                <a:gd name="T25" fmla="*/ 34 h 147"/>
                <a:gd name="T26" fmla="*/ 23 w 138"/>
                <a:gd name="T27" fmla="*/ 75 h 147"/>
                <a:gd name="T28" fmla="*/ 36 w 138"/>
                <a:gd name="T29" fmla="*/ 114 h 147"/>
                <a:gd name="T30" fmla="*/ 70 w 138"/>
                <a:gd name="T31" fmla="*/ 128 h 147"/>
                <a:gd name="T32" fmla="*/ 104 w 138"/>
                <a:gd name="T33" fmla="*/ 114 h 147"/>
                <a:gd name="T34" fmla="*/ 115 w 138"/>
                <a:gd name="T35"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147">
                  <a:moveTo>
                    <a:pt x="138" y="73"/>
                  </a:moveTo>
                  <a:cubicBezTo>
                    <a:pt x="138" y="96"/>
                    <a:pt x="132" y="114"/>
                    <a:pt x="119" y="127"/>
                  </a:cubicBezTo>
                  <a:cubicBezTo>
                    <a:pt x="107" y="141"/>
                    <a:pt x="90" y="147"/>
                    <a:pt x="68" y="147"/>
                  </a:cubicBezTo>
                  <a:cubicBezTo>
                    <a:pt x="48" y="147"/>
                    <a:pt x="31" y="141"/>
                    <a:pt x="19" y="128"/>
                  </a:cubicBezTo>
                  <a:cubicBezTo>
                    <a:pt x="6" y="114"/>
                    <a:pt x="0" y="97"/>
                    <a:pt x="0" y="76"/>
                  </a:cubicBezTo>
                  <a:cubicBezTo>
                    <a:pt x="0" y="52"/>
                    <a:pt x="7" y="34"/>
                    <a:pt x="19" y="21"/>
                  </a:cubicBezTo>
                  <a:cubicBezTo>
                    <a:pt x="32" y="7"/>
                    <a:pt x="49" y="0"/>
                    <a:pt x="72" y="0"/>
                  </a:cubicBezTo>
                  <a:cubicBezTo>
                    <a:pt x="92" y="0"/>
                    <a:pt x="109" y="7"/>
                    <a:pt x="120" y="20"/>
                  </a:cubicBezTo>
                  <a:cubicBezTo>
                    <a:pt x="132" y="33"/>
                    <a:pt x="138" y="51"/>
                    <a:pt x="138" y="73"/>
                  </a:cubicBezTo>
                  <a:close/>
                  <a:moveTo>
                    <a:pt x="115" y="74"/>
                  </a:moveTo>
                  <a:cubicBezTo>
                    <a:pt x="115" y="57"/>
                    <a:pt x="111" y="43"/>
                    <a:pt x="103" y="34"/>
                  </a:cubicBezTo>
                  <a:cubicBezTo>
                    <a:pt x="96" y="24"/>
                    <a:pt x="84" y="20"/>
                    <a:pt x="70" y="20"/>
                  </a:cubicBezTo>
                  <a:cubicBezTo>
                    <a:pt x="56" y="20"/>
                    <a:pt x="44" y="24"/>
                    <a:pt x="36" y="34"/>
                  </a:cubicBezTo>
                  <a:cubicBezTo>
                    <a:pt x="27" y="44"/>
                    <a:pt x="23" y="57"/>
                    <a:pt x="23" y="75"/>
                  </a:cubicBezTo>
                  <a:cubicBezTo>
                    <a:pt x="23" y="92"/>
                    <a:pt x="27" y="105"/>
                    <a:pt x="36" y="114"/>
                  </a:cubicBezTo>
                  <a:cubicBezTo>
                    <a:pt x="44" y="124"/>
                    <a:pt x="56" y="128"/>
                    <a:pt x="70" y="128"/>
                  </a:cubicBezTo>
                  <a:cubicBezTo>
                    <a:pt x="85" y="128"/>
                    <a:pt x="96" y="124"/>
                    <a:pt x="104" y="114"/>
                  </a:cubicBezTo>
                  <a:cubicBezTo>
                    <a:pt x="111" y="105"/>
                    <a:pt x="115" y="92"/>
                    <a:pt x="115"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84" name="Freeform 39"/>
            <p:cNvSpPr>
              <a:spLocks/>
            </p:cNvSpPr>
            <p:nvPr/>
          </p:nvSpPr>
          <p:spPr bwMode="auto">
            <a:xfrm>
              <a:off x="8167688" y="7621588"/>
              <a:ext cx="436563" cy="787400"/>
            </a:xfrm>
            <a:custGeom>
              <a:avLst/>
              <a:gdLst>
                <a:gd name="T0" fmla="*/ 275 w 275"/>
                <a:gd name="T1" fmla="*/ 496 h 496"/>
                <a:gd name="T2" fmla="*/ 199 w 275"/>
                <a:gd name="T3" fmla="*/ 496 h 496"/>
                <a:gd name="T4" fmla="*/ 54 w 275"/>
                <a:gd name="T5" fmla="*/ 336 h 496"/>
                <a:gd name="T6" fmla="*/ 52 w 275"/>
                <a:gd name="T7" fmla="*/ 336 h 496"/>
                <a:gd name="T8" fmla="*/ 52 w 275"/>
                <a:gd name="T9" fmla="*/ 496 h 496"/>
                <a:gd name="T10" fmla="*/ 0 w 275"/>
                <a:gd name="T11" fmla="*/ 496 h 496"/>
                <a:gd name="T12" fmla="*/ 0 w 275"/>
                <a:gd name="T13" fmla="*/ 0 h 496"/>
                <a:gd name="T14" fmla="*/ 52 w 275"/>
                <a:gd name="T15" fmla="*/ 0 h 496"/>
                <a:gd name="T16" fmla="*/ 52 w 275"/>
                <a:gd name="T17" fmla="*/ 315 h 496"/>
                <a:gd name="T18" fmla="*/ 54 w 275"/>
                <a:gd name="T19" fmla="*/ 315 h 496"/>
                <a:gd name="T20" fmla="*/ 192 w 275"/>
                <a:gd name="T21" fmla="*/ 162 h 496"/>
                <a:gd name="T22" fmla="*/ 263 w 275"/>
                <a:gd name="T23" fmla="*/ 162 h 496"/>
                <a:gd name="T24" fmla="*/ 109 w 275"/>
                <a:gd name="T25" fmla="*/ 322 h 496"/>
                <a:gd name="T26" fmla="*/ 275 w 275"/>
                <a:gd name="T27" fmla="*/ 49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496">
                  <a:moveTo>
                    <a:pt x="275" y="496"/>
                  </a:moveTo>
                  <a:lnTo>
                    <a:pt x="199" y="496"/>
                  </a:lnTo>
                  <a:lnTo>
                    <a:pt x="54" y="336"/>
                  </a:lnTo>
                  <a:lnTo>
                    <a:pt x="52" y="336"/>
                  </a:lnTo>
                  <a:lnTo>
                    <a:pt x="52" y="496"/>
                  </a:lnTo>
                  <a:lnTo>
                    <a:pt x="0" y="496"/>
                  </a:lnTo>
                  <a:lnTo>
                    <a:pt x="0" y="0"/>
                  </a:lnTo>
                  <a:lnTo>
                    <a:pt x="52" y="0"/>
                  </a:lnTo>
                  <a:lnTo>
                    <a:pt x="52" y="315"/>
                  </a:lnTo>
                  <a:lnTo>
                    <a:pt x="54" y="315"/>
                  </a:lnTo>
                  <a:lnTo>
                    <a:pt x="192" y="162"/>
                  </a:lnTo>
                  <a:lnTo>
                    <a:pt x="263" y="162"/>
                  </a:lnTo>
                  <a:lnTo>
                    <a:pt x="109" y="322"/>
                  </a:lnTo>
                  <a:lnTo>
                    <a:pt x="275" y="4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85" name="Freeform 40"/>
            <p:cNvSpPr>
              <a:spLocks/>
            </p:cNvSpPr>
            <p:nvPr/>
          </p:nvSpPr>
          <p:spPr bwMode="auto">
            <a:xfrm>
              <a:off x="4289425" y="7766050"/>
              <a:ext cx="528638" cy="642938"/>
            </a:xfrm>
            <a:custGeom>
              <a:avLst/>
              <a:gdLst>
                <a:gd name="T0" fmla="*/ 36 w 141"/>
                <a:gd name="T1" fmla="*/ 84 h 170"/>
                <a:gd name="T2" fmla="*/ 30 w 141"/>
                <a:gd name="T3" fmla="*/ 86 h 170"/>
                <a:gd name="T4" fmla="*/ 24 w 141"/>
                <a:gd name="T5" fmla="*/ 84 h 170"/>
                <a:gd name="T6" fmla="*/ 0 w 141"/>
                <a:gd name="T7" fmla="*/ 65 h 170"/>
                <a:gd name="T8" fmla="*/ 0 w 141"/>
                <a:gd name="T9" fmla="*/ 170 h 170"/>
                <a:gd name="T10" fmla="*/ 129 w 141"/>
                <a:gd name="T11" fmla="*/ 170 h 170"/>
                <a:gd name="T12" fmla="*/ 141 w 141"/>
                <a:gd name="T13" fmla="*/ 158 h 170"/>
                <a:gd name="T14" fmla="*/ 141 w 141"/>
                <a:gd name="T15" fmla="*/ 0 h 170"/>
                <a:gd name="T16" fmla="*/ 36 w 141"/>
                <a:gd name="T17"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70">
                  <a:moveTo>
                    <a:pt x="36" y="84"/>
                  </a:moveTo>
                  <a:cubicBezTo>
                    <a:pt x="34" y="85"/>
                    <a:pt x="32" y="86"/>
                    <a:pt x="30" y="86"/>
                  </a:cubicBezTo>
                  <a:cubicBezTo>
                    <a:pt x="28" y="86"/>
                    <a:pt x="25" y="85"/>
                    <a:pt x="24" y="84"/>
                  </a:cubicBezTo>
                  <a:cubicBezTo>
                    <a:pt x="0" y="65"/>
                    <a:pt x="0" y="65"/>
                    <a:pt x="0" y="65"/>
                  </a:cubicBezTo>
                  <a:cubicBezTo>
                    <a:pt x="0" y="170"/>
                    <a:pt x="0" y="170"/>
                    <a:pt x="0" y="170"/>
                  </a:cubicBezTo>
                  <a:cubicBezTo>
                    <a:pt x="129" y="170"/>
                    <a:pt x="129" y="170"/>
                    <a:pt x="129" y="170"/>
                  </a:cubicBezTo>
                  <a:cubicBezTo>
                    <a:pt x="135" y="170"/>
                    <a:pt x="141" y="165"/>
                    <a:pt x="141" y="158"/>
                  </a:cubicBezTo>
                  <a:cubicBezTo>
                    <a:pt x="141" y="0"/>
                    <a:pt x="141" y="0"/>
                    <a:pt x="141" y="0"/>
                  </a:cubicBezTo>
                  <a:lnTo>
                    <a:pt x="36"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86" name="Freeform 41"/>
            <p:cNvSpPr>
              <a:spLocks noEditPoints="1"/>
            </p:cNvSpPr>
            <p:nvPr/>
          </p:nvSpPr>
          <p:spPr bwMode="auto">
            <a:xfrm>
              <a:off x="3457575" y="7391400"/>
              <a:ext cx="760413" cy="1274763"/>
            </a:xfrm>
            <a:custGeom>
              <a:avLst/>
              <a:gdLst>
                <a:gd name="T0" fmla="*/ 202 w 202"/>
                <a:gd name="T1" fmla="*/ 155 h 337"/>
                <a:gd name="T2" fmla="*/ 202 w 202"/>
                <a:gd name="T3" fmla="*/ 155 h 337"/>
                <a:gd name="T4" fmla="*/ 202 w 202"/>
                <a:gd name="T5" fmla="*/ 140 h 337"/>
                <a:gd name="T6" fmla="*/ 202 w 202"/>
                <a:gd name="T7" fmla="*/ 140 h 337"/>
                <a:gd name="T8" fmla="*/ 202 w 202"/>
                <a:gd name="T9" fmla="*/ 85 h 337"/>
                <a:gd name="T10" fmla="*/ 202 w 202"/>
                <a:gd name="T11" fmla="*/ 73 h 337"/>
                <a:gd name="T12" fmla="*/ 202 w 202"/>
                <a:gd name="T13" fmla="*/ 73 h 337"/>
                <a:gd name="T14" fmla="*/ 202 w 202"/>
                <a:gd name="T15" fmla="*/ 0 h 337"/>
                <a:gd name="T16" fmla="*/ 0 w 202"/>
                <a:gd name="T17" fmla="*/ 36 h 337"/>
                <a:gd name="T18" fmla="*/ 0 w 202"/>
                <a:gd name="T19" fmla="*/ 302 h 337"/>
                <a:gd name="T20" fmla="*/ 202 w 202"/>
                <a:gd name="T21" fmla="*/ 337 h 337"/>
                <a:gd name="T22" fmla="*/ 202 w 202"/>
                <a:gd name="T23" fmla="*/ 265 h 337"/>
                <a:gd name="T24" fmla="*/ 202 w 202"/>
                <a:gd name="T25" fmla="*/ 265 h 337"/>
                <a:gd name="T26" fmla="*/ 202 w 202"/>
                <a:gd name="T27" fmla="*/ 253 h 337"/>
                <a:gd name="T28" fmla="*/ 202 w 202"/>
                <a:gd name="T29" fmla="*/ 155 h 337"/>
                <a:gd name="T30" fmla="*/ 140 w 202"/>
                <a:gd name="T31" fmla="*/ 182 h 337"/>
                <a:gd name="T32" fmla="*/ 137 w 202"/>
                <a:gd name="T33" fmla="*/ 194 h 337"/>
                <a:gd name="T34" fmla="*/ 133 w 202"/>
                <a:gd name="T35" fmla="*/ 205 h 337"/>
                <a:gd name="T36" fmla="*/ 127 w 202"/>
                <a:gd name="T37" fmla="*/ 214 h 337"/>
                <a:gd name="T38" fmla="*/ 120 w 202"/>
                <a:gd name="T39" fmla="*/ 221 h 337"/>
                <a:gd name="T40" fmla="*/ 112 w 202"/>
                <a:gd name="T41" fmla="*/ 226 h 337"/>
                <a:gd name="T42" fmla="*/ 103 w 202"/>
                <a:gd name="T43" fmla="*/ 228 h 337"/>
                <a:gd name="T44" fmla="*/ 93 w 202"/>
                <a:gd name="T45" fmla="*/ 229 h 337"/>
                <a:gd name="T46" fmla="*/ 84 w 202"/>
                <a:gd name="T47" fmla="*/ 227 h 337"/>
                <a:gd name="T48" fmla="*/ 75 w 202"/>
                <a:gd name="T49" fmla="*/ 224 h 337"/>
                <a:gd name="T50" fmla="*/ 68 w 202"/>
                <a:gd name="T51" fmla="*/ 219 h 337"/>
                <a:gd name="T52" fmla="*/ 62 w 202"/>
                <a:gd name="T53" fmla="*/ 211 h 337"/>
                <a:gd name="T54" fmla="*/ 57 w 202"/>
                <a:gd name="T55" fmla="*/ 203 h 337"/>
                <a:gd name="T56" fmla="*/ 53 w 202"/>
                <a:gd name="T57" fmla="*/ 193 h 337"/>
                <a:gd name="T58" fmla="*/ 51 w 202"/>
                <a:gd name="T59" fmla="*/ 182 h 337"/>
                <a:gd name="T60" fmla="*/ 50 w 202"/>
                <a:gd name="T61" fmla="*/ 170 h 337"/>
                <a:gd name="T62" fmla="*/ 51 w 202"/>
                <a:gd name="T63" fmla="*/ 158 h 337"/>
                <a:gd name="T64" fmla="*/ 53 w 202"/>
                <a:gd name="T65" fmla="*/ 147 h 337"/>
                <a:gd name="T66" fmla="*/ 56 w 202"/>
                <a:gd name="T67" fmla="*/ 137 h 337"/>
                <a:gd name="T68" fmla="*/ 61 w 202"/>
                <a:gd name="T69" fmla="*/ 128 h 337"/>
                <a:gd name="T70" fmla="*/ 68 w 202"/>
                <a:gd name="T71" fmla="*/ 120 h 337"/>
                <a:gd name="T72" fmla="*/ 76 w 202"/>
                <a:gd name="T73" fmla="*/ 114 h 337"/>
                <a:gd name="T74" fmla="*/ 84 w 202"/>
                <a:gd name="T75" fmla="*/ 111 h 337"/>
                <a:gd name="T76" fmla="*/ 94 w 202"/>
                <a:gd name="T77" fmla="*/ 109 h 337"/>
                <a:gd name="T78" fmla="*/ 104 w 202"/>
                <a:gd name="T79" fmla="*/ 109 h 337"/>
                <a:gd name="T80" fmla="*/ 113 w 202"/>
                <a:gd name="T81" fmla="*/ 112 h 337"/>
                <a:gd name="T82" fmla="*/ 120 w 202"/>
                <a:gd name="T83" fmla="*/ 117 h 337"/>
                <a:gd name="T84" fmla="*/ 128 w 202"/>
                <a:gd name="T85" fmla="*/ 124 h 337"/>
                <a:gd name="T86" fmla="*/ 133 w 202"/>
                <a:gd name="T87" fmla="*/ 133 h 337"/>
                <a:gd name="T88" fmla="*/ 138 w 202"/>
                <a:gd name="T89" fmla="*/ 143 h 337"/>
                <a:gd name="T90" fmla="*/ 140 w 202"/>
                <a:gd name="T91" fmla="*/ 155 h 337"/>
                <a:gd name="T92" fmla="*/ 141 w 202"/>
                <a:gd name="T93" fmla="*/ 168 h 337"/>
                <a:gd name="T94" fmla="*/ 140 w 202"/>
                <a:gd name="T95" fmla="*/ 18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 h="337">
                  <a:moveTo>
                    <a:pt x="202" y="155"/>
                  </a:moveTo>
                  <a:cubicBezTo>
                    <a:pt x="202" y="155"/>
                    <a:pt x="202" y="155"/>
                    <a:pt x="202" y="155"/>
                  </a:cubicBezTo>
                  <a:cubicBezTo>
                    <a:pt x="202" y="140"/>
                    <a:pt x="202" y="140"/>
                    <a:pt x="202" y="140"/>
                  </a:cubicBezTo>
                  <a:cubicBezTo>
                    <a:pt x="202" y="140"/>
                    <a:pt x="202" y="140"/>
                    <a:pt x="202" y="140"/>
                  </a:cubicBezTo>
                  <a:cubicBezTo>
                    <a:pt x="202" y="85"/>
                    <a:pt x="202" y="85"/>
                    <a:pt x="202" y="85"/>
                  </a:cubicBezTo>
                  <a:cubicBezTo>
                    <a:pt x="202" y="73"/>
                    <a:pt x="202" y="73"/>
                    <a:pt x="202" y="73"/>
                  </a:cubicBezTo>
                  <a:cubicBezTo>
                    <a:pt x="202" y="73"/>
                    <a:pt x="202" y="73"/>
                    <a:pt x="202" y="73"/>
                  </a:cubicBezTo>
                  <a:cubicBezTo>
                    <a:pt x="202" y="0"/>
                    <a:pt x="202" y="0"/>
                    <a:pt x="202" y="0"/>
                  </a:cubicBezTo>
                  <a:cubicBezTo>
                    <a:pt x="0" y="36"/>
                    <a:pt x="0" y="36"/>
                    <a:pt x="0" y="36"/>
                  </a:cubicBezTo>
                  <a:cubicBezTo>
                    <a:pt x="0" y="302"/>
                    <a:pt x="0" y="302"/>
                    <a:pt x="0" y="302"/>
                  </a:cubicBezTo>
                  <a:cubicBezTo>
                    <a:pt x="202" y="337"/>
                    <a:pt x="202" y="337"/>
                    <a:pt x="202" y="337"/>
                  </a:cubicBezTo>
                  <a:cubicBezTo>
                    <a:pt x="202" y="265"/>
                    <a:pt x="202" y="265"/>
                    <a:pt x="202" y="265"/>
                  </a:cubicBezTo>
                  <a:cubicBezTo>
                    <a:pt x="202" y="265"/>
                    <a:pt x="202" y="265"/>
                    <a:pt x="202" y="265"/>
                  </a:cubicBezTo>
                  <a:cubicBezTo>
                    <a:pt x="202" y="253"/>
                    <a:pt x="202" y="253"/>
                    <a:pt x="202" y="253"/>
                  </a:cubicBezTo>
                  <a:lnTo>
                    <a:pt x="202" y="155"/>
                  </a:lnTo>
                  <a:close/>
                  <a:moveTo>
                    <a:pt x="140" y="182"/>
                  </a:moveTo>
                  <a:cubicBezTo>
                    <a:pt x="139" y="186"/>
                    <a:pt x="139" y="190"/>
                    <a:pt x="137" y="194"/>
                  </a:cubicBezTo>
                  <a:cubicBezTo>
                    <a:pt x="136" y="198"/>
                    <a:pt x="135" y="201"/>
                    <a:pt x="133" y="205"/>
                  </a:cubicBezTo>
                  <a:cubicBezTo>
                    <a:pt x="131" y="208"/>
                    <a:pt x="129" y="211"/>
                    <a:pt x="127" y="214"/>
                  </a:cubicBezTo>
                  <a:cubicBezTo>
                    <a:pt x="125" y="217"/>
                    <a:pt x="122" y="219"/>
                    <a:pt x="120" y="221"/>
                  </a:cubicBezTo>
                  <a:cubicBezTo>
                    <a:pt x="117" y="223"/>
                    <a:pt x="114" y="225"/>
                    <a:pt x="112" y="226"/>
                  </a:cubicBezTo>
                  <a:cubicBezTo>
                    <a:pt x="109" y="227"/>
                    <a:pt x="106" y="228"/>
                    <a:pt x="103" y="228"/>
                  </a:cubicBezTo>
                  <a:cubicBezTo>
                    <a:pt x="99" y="229"/>
                    <a:pt x="96" y="229"/>
                    <a:pt x="93" y="229"/>
                  </a:cubicBezTo>
                  <a:cubicBezTo>
                    <a:pt x="90" y="229"/>
                    <a:pt x="86" y="228"/>
                    <a:pt x="84" y="227"/>
                  </a:cubicBezTo>
                  <a:cubicBezTo>
                    <a:pt x="81" y="226"/>
                    <a:pt x="78" y="225"/>
                    <a:pt x="75" y="224"/>
                  </a:cubicBezTo>
                  <a:cubicBezTo>
                    <a:pt x="73" y="222"/>
                    <a:pt x="70" y="221"/>
                    <a:pt x="68" y="219"/>
                  </a:cubicBezTo>
                  <a:cubicBezTo>
                    <a:pt x="66" y="216"/>
                    <a:pt x="64" y="214"/>
                    <a:pt x="62" y="211"/>
                  </a:cubicBezTo>
                  <a:cubicBezTo>
                    <a:pt x="60" y="209"/>
                    <a:pt x="58" y="206"/>
                    <a:pt x="57" y="203"/>
                  </a:cubicBezTo>
                  <a:cubicBezTo>
                    <a:pt x="55" y="200"/>
                    <a:pt x="54" y="197"/>
                    <a:pt x="53" y="193"/>
                  </a:cubicBezTo>
                  <a:cubicBezTo>
                    <a:pt x="52" y="190"/>
                    <a:pt x="51" y="186"/>
                    <a:pt x="51" y="182"/>
                  </a:cubicBezTo>
                  <a:cubicBezTo>
                    <a:pt x="50" y="179"/>
                    <a:pt x="50" y="175"/>
                    <a:pt x="50" y="170"/>
                  </a:cubicBezTo>
                  <a:cubicBezTo>
                    <a:pt x="50" y="166"/>
                    <a:pt x="50" y="162"/>
                    <a:pt x="51" y="158"/>
                  </a:cubicBezTo>
                  <a:cubicBezTo>
                    <a:pt x="51" y="154"/>
                    <a:pt x="52" y="150"/>
                    <a:pt x="53" y="147"/>
                  </a:cubicBezTo>
                  <a:cubicBezTo>
                    <a:pt x="54" y="143"/>
                    <a:pt x="55" y="140"/>
                    <a:pt x="56" y="137"/>
                  </a:cubicBezTo>
                  <a:cubicBezTo>
                    <a:pt x="58" y="134"/>
                    <a:pt x="60" y="131"/>
                    <a:pt x="61" y="128"/>
                  </a:cubicBezTo>
                  <a:cubicBezTo>
                    <a:pt x="63" y="125"/>
                    <a:pt x="66" y="122"/>
                    <a:pt x="68" y="120"/>
                  </a:cubicBezTo>
                  <a:cubicBezTo>
                    <a:pt x="70" y="118"/>
                    <a:pt x="73" y="116"/>
                    <a:pt x="76" y="114"/>
                  </a:cubicBezTo>
                  <a:cubicBezTo>
                    <a:pt x="78" y="113"/>
                    <a:pt x="81" y="112"/>
                    <a:pt x="84" y="111"/>
                  </a:cubicBezTo>
                  <a:cubicBezTo>
                    <a:pt x="87" y="110"/>
                    <a:pt x="91" y="109"/>
                    <a:pt x="94" y="109"/>
                  </a:cubicBezTo>
                  <a:cubicBezTo>
                    <a:pt x="98" y="109"/>
                    <a:pt x="101" y="109"/>
                    <a:pt x="104" y="109"/>
                  </a:cubicBezTo>
                  <a:cubicBezTo>
                    <a:pt x="107" y="110"/>
                    <a:pt x="110" y="111"/>
                    <a:pt x="113" y="112"/>
                  </a:cubicBezTo>
                  <a:cubicBezTo>
                    <a:pt x="115" y="113"/>
                    <a:pt x="118" y="115"/>
                    <a:pt x="120" y="117"/>
                  </a:cubicBezTo>
                  <a:cubicBezTo>
                    <a:pt x="123" y="119"/>
                    <a:pt x="125" y="121"/>
                    <a:pt x="128" y="124"/>
                  </a:cubicBezTo>
                  <a:cubicBezTo>
                    <a:pt x="130" y="126"/>
                    <a:pt x="132" y="129"/>
                    <a:pt x="133" y="133"/>
                  </a:cubicBezTo>
                  <a:cubicBezTo>
                    <a:pt x="135" y="136"/>
                    <a:pt x="136" y="139"/>
                    <a:pt x="138" y="143"/>
                  </a:cubicBezTo>
                  <a:cubicBezTo>
                    <a:pt x="139" y="147"/>
                    <a:pt x="139" y="151"/>
                    <a:pt x="140" y="155"/>
                  </a:cubicBezTo>
                  <a:cubicBezTo>
                    <a:pt x="141" y="159"/>
                    <a:pt x="141" y="163"/>
                    <a:pt x="141" y="168"/>
                  </a:cubicBezTo>
                  <a:cubicBezTo>
                    <a:pt x="141" y="173"/>
                    <a:pt x="141" y="177"/>
                    <a:pt x="14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87" name="Freeform 42"/>
            <p:cNvSpPr>
              <a:spLocks/>
            </p:cNvSpPr>
            <p:nvPr/>
          </p:nvSpPr>
          <p:spPr bwMode="auto">
            <a:xfrm>
              <a:off x="4289425" y="7648575"/>
              <a:ext cx="528638" cy="374650"/>
            </a:xfrm>
            <a:custGeom>
              <a:avLst/>
              <a:gdLst>
                <a:gd name="T0" fmla="*/ 0 w 141"/>
                <a:gd name="T1" fmla="*/ 76 h 99"/>
                <a:gd name="T2" fmla="*/ 30 w 141"/>
                <a:gd name="T3" fmla="*/ 99 h 99"/>
                <a:gd name="T4" fmla="*/ 141 w 141"/>
                <a:gd name="T5" fmla="*/ 11 h 99"/>
                <a:gd name="T6" fmla="*/ 129 w 141"/>
                <a:gd name="T7" fmla="*/ 0 h 99"/>
                <a:gd name="T8" fmla="*/ 0 w 141"/>
                <a:gd name="T9" fmla="*/ 0 h 99"/>
                <a:gd name="T10" fmla="*/ 0 w 141"/>
                <a:gd name="T11" fmla="*/ 76 h 99"/>
              </a:gdLst>
              <a:ahLst/>
              <a:cxnLst>
                <a:cxn ang="0">
                  <a:pos x="T0" y="T1"/>
                </a:cxn>
                <a:cxn ang="0">
                  <a:pos x="T2" y="T3"/>
                </a:cxn>
                <a:cxn ang="0">
                  <a:pos x="T4" y="T5"/>
                </a:cxn>
                <a:cxn ang="0">
                  <a:pos x="T6" y="T7"/>
                </a:cxn>
                <a:cxn ang="0">
                  <a:pos x="T8" y="T9"/>
                </a:cxn>
                <a:cxn ang="0">
                  <a:pos x="T10" y="T11"/>
                </a:cxn>
              </a:cxnLst>
              <a:rect l="0" t="0" r="r" b="b"/>
              <a:pathLst>
                <a:path w="141" h="99">
                  <a:moveTo>
                    <a:pt x="0" y="76"/>
                  </a:moveTo>
                  <a:cubicBezTo>
                    <a:pt x="30" y="99"/>
                    <a:pt x="30" y="99"/>
                    <a:pt x="30" y="99"/>
                  </a:cubicBezTo>
                  <a:cubicBezTo>
                    <a:pt x="141" y="11"/>
                    <a:pt x="141" y="11"/>
                    <a:pt x="141" y="11"/>
                  </a:cubicBezTo>
                  <a:cubicBezTo>
                    <a:pt x="140" y="5"/>
                    <a:pt x="135" y="0"/>
                    <a:pt x="129" y="0"/>
                  </a:cubicBezTo>
                  <a:cubicBezTo>
                    <a:pt x="0" y="0"/>
                    <a:pt x="0" y="0"/>
                    <a:pt x="0" y="0"/>
                  </a:cubicBezTo>
                  <a:lnTo>
                    <a:pt x="0" y="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88" name="Freeform 43"/>
            <p:cNvSpPr>
              <a:spLocks/>
            </p:cNvSpPr>
            <p:nvPr/>
          </p:nvSpPr>
          <p:spPr bwMode="auto">
            <a:xfrm>
              <a:off x="3721100" y="7886700"/>
              <a:ext cx="176213" cy="284163"/>
            </a:xfrm>
            <a:custGeom>
              <a:avLst/>
              <a:gdLst>
                <a:gd name="T0" fmla="*/ 46 w 47"/>
                <a:gd name="T1" fmla="*/ 22 h 75"/>
                <a:gd name="T2" fmla="*/ 44 w 47"/>
                <a:gd name="T3" fmla="*/ 15 h 75"/>
                <a:gd name="T4" fmla="*/ 41 w 47"/>
                <a:gd name="T5" fmla="*/ 10 h 75"/>
                <a:gd name="T6" fmla="*/ 37 w 47"/>
                <a:gd name="T7" fmla="*/ 6 h 75"/>
                <a:gd name="T8" fmla="*/ 33 w 47"/>
                <a:gd name="T9" fmla="*/ 3 h 75"/>
                <a:gd name="T10" fmla="*/ 29 w 47"/>
                <a:gd name="T11" fmla="*/ 1 h 75"/>
                <a:gd name="T12" fmla="*/ 24 w 47"/>
                <a:gd name="T13" fmla="*/ 1 h 75"/>
                <a:gd name="T14" fmla="*/ 18 w 47"/>
                <a:gd name="T15" fmla="*/ 1 h 75"/>
                <a:gd name="T16" fmla="*/ 14 w 47"/>
                <a:gd name="T17" fmla="*/ 4 h 75"/>
                <a:gd name="T18" fmla="*/ 10 w 47"/>
                <a:gd name="T19" fmla="*/ 7 h 75"/>
                <a:gd name="T20" fmla="*/ 6 w 47"/>
                <a:gd name="T21" fmla="*/ 12 h 75"/>
                <a:gd name="T22" fmla="*/ 4 w 47"/>
                <a:gd name="T23" fmla="*/ 17 h 75"/>
                <a:gd name="T24" fmla="*/ 2 w 47"/>
                <a:gd name="T25" fmla="*/ 23 h 75"/>
                <a:gd name="T26" fmla="*/ 1 w 47"/>
                <a:gd name="T27" fmla="*/ 30 h 75"/>
                <a:gd name="T28" fmla="*/ 0 w 47"/>
                <a:gd name="T29" fmla="*/ 38 h 75"/>
                <a:gd name="T30" fmla="*/ 1 w 47"/>
                <a:gd name="T31" fmla="*/ 46 h 75"/>
                <a:gd name="T32" fmla="*/ 2 w 47"/>
                <a:gd name="T33" fmla="*/ 54 h 75"/>
                <a:gd name="T34" fmla="*/ 4 w 47"/>
                <a:gd name="T35" fmla="*/ 60 h 75"/>
                <a:gd name="T36" fmla="*/ 7 w 47"/>
                <a:gd name="T37" fmla="*/ 66 h 75"/>
                <a:gd name="T38" fmla="*/ 10 w 47"/>
                <a:gd name="T39" fmla="*/ 70 h 75"/>
                <a:gd name="T40" fmla="*/ 14 w 47"/>
                <a:gd name="T41" fmla="*/ 73 h 75"/>
                <a:gd name="T42" fmla="*/ 18 w 47"/>
                <a:gd name="T43" fmla="*/ 75 h 75"/>
                <a:gd name="T44" fmla="*/ 23 w 47"/>
                <a:gd name="T45" fmla="*/ 75 h 75"/>
                <a:gd name="T46" fmla="*/ 28 w 47"/>
                <a:gd name="T47" fmla="*/ 75 h 75"/>
                <a:gd name="T48" fmla="*/ 33 w 47"/>
                <a:gd name="T49" fmla="*/ 73 h 75"/>
                <a:gd name="T50" fmla="*/ 37 w 47"/>
                <a:gd name="T51" fmla="*/ 71 h 75"/>
                <a:gd name="T52" fmla="*/ 40 w 47"/>
                <a:gd name="T53" fmla="*/ 67 h 75"/>
                <a:gd name="T54" fmla="*/ 43 w 47"/>
                <a:gd name="T55" fmla="*/ 61 h 75"/>
                <a:gd name="T56" fmla="*/ 45 w 47"/>
                <a:gd name="T57" fmla="*/ 55 h 75"/>
                <a:gd name="T58" fmla="*/ 47 w 47"/>
                <a:gd name="T59" fmla="*/ 47 h 75"/>
                <a:gd name="T60" fmla="*/ 47 w 47"/>
                <a:gd name="T61" fmla="*/ 39 h 75"/>
                <a:gd name="T62" fmla="*/ 47 w 47"/>
                <a:gd name="T63" fmla="*/ 30 h 75"/>
                <a:gd name="T64" fmla="*/ 46 w 47"/>
                <a:gd name="T65" fmla="*/ 2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75">
                  <a:moveTo>
                    <a:pt x="46" y="22"/>
                  </a:moveTo>
                  <a:cubicBezTo>
                    <a:pt x="45" y="20"/>
                    <a:pt x="44" y="17"/>
                    <a:pt x="44" y="15"/>
                  </a:cubicBezTo>
                  <a:cubicBezTo>
                    <a:pt x="43" y="13"/>
                    <a:pt x="42" y="11"/>
                    <a:pt x="41" y="10"/>
                  </a:cubicBezTo>
                  <a:cubicBezTo>
                    <a:pt x="40" y="8"/>
                    <a:pt x="38" y="7"/>
                    <a:pt x="37" y="6"/>
                  </a:cubicBezTo>
                  <a:cubicBezTo>
                    <a:pt x="36" y="4"/>
                    <a:pt x="35" y="3"/>
                    <a:pt x="33" y="3"/>
                  </a:cubicBezTo>
                  <a:cubicBezTo>
                    <a:pt x="32" y="2"/>
                    <a:pt x="30" y="1"/>
                    <a:pt x="29" y="1"/>
                  </a:cubicBezTo>
                  <a:cubicBezTo>
                    <a:pt x="27" y="1"/>
                    <a:pt x="26" y="0"/>
                    <a:pt x="24" y="1"/>
                  </a:cubicBezTo>
                  <a:cubicBezTo>
                    <a:pt x="22" y="1"/>
                    <a:pt x="20" y="1"/>
                    <a:pt x="18" y="1"/>
                  </a:cubicBezTo>
                  <a:cubicBezTo>
                    <a:pt x="17" y="2"/>
                    <a:pt x="15" y="3"/>
                    <a:pt x="14" y="4"/>
                  </a:cubicBezTo>
                  <a:cubicBezTo>
                    <a:pt x="12" y="5"/>
                    <a:pt x="11" y="6"/>
                    <a:pt x="10" y="7"/>
                  </a:cubicBezTo>
                  <a:cubicBezTo>
                    <a:pt x="9" y="8"/>
                    <a:pt x="7" y="10"/>
                    <a:pt x="6" y="12"/>
                  </a:cubicBezTo>
                  <a:cubicBezTo>
                    <a:pt x="5" y="13"/>
                    <a:pt x="5" y="15"/>
                    <a:pt x="4" y="17"/>
                  </a:cubicBezTo>
                  <a:cubicBezTo>
                    <a:pt x="3" y="19"/>
                    <a:pt x="2" y="21"/>
                    <a:pt x="2" y="23"/>
                  </a:cubicBezTo>
                  <a:cubicBezTo>
                    <a:pt x="1" y="26"/>
                    <a:pt x="1" y="28"/>
                    <a:pt x="1" y="30"/>
                  </a:cubicBezTo>
                  <a:cubicBezTo>
                    <a:pt x="1" y="33"/>
                    <a:pt x="0" y="35"/>
                    <a:pt x="0" y="38"/>
                  </a:cubicBezTo>
                  <a:cubicBezTo>
                    <a:pt x="0" y="41"/>
                    <a:pt x="1" y="44"/>
                    <a:pt x="1" y="46"/>
                  </a:cubicBezTo>
                  <a:cubicBezTo>
                    <a:pt x="1" y="49"/>
                    <a:pt x="2" y="51"/>
                    <a:pt x="2" y="54"/>
                  </a:cubicBezTo>
                  <a:cubicBezTo>
                    <a:pt x="3" y="56"/>
                    <a:pt x="3" y="58"/>
                    <a:pt x="4" y="60"/>
                  </a:cubicBezTo>
                  <a:cubicBezTo>
                    <a:pt x="5" y="62"/>
                    <a:pt x="6" y="64"/>
                    <a:pt x="7" y="66"/>
                  </a:cubicBezTo>
                  <a:cubicBezTo>
                    <a:pt x="8" y="67"/>
                    <a:pt x="9" y="68"/>
                    <a:pt x="10" y="70"/>
                  </a:cubicBezTo>
                  <a:cubicBezTo>
                    <a:pt x="12" y="71"/>
                    <a:pt x="13" y="72"/>
                    <a:pt x="14" y="73"/>
                  </a:cubicBezTo>
                  <a:cubicBezTo>
                    <a:pt x="15" y="73"/>
                    <a:pt x="17" y="74"/>
                    <a:pt x="18" y="75"/>
                  </a:cubicBezTo>
                  <a:cubicBezTo>
                    <a:pt x="20" y="75"/>
                    <a:pt x="22" y="75"/>
                    <a:pt x="23" y="75"/>
                  </a:cubicBezTo>
                  <a:cubicBezTo>
                    <a:pt x="25" y="75"/>
                    <a:pt x="27" y="75"/>
                    <a:pt x="28" y="75"/>
                  </a:cubicBezTo>
                  <a:cubicBezTo>
                    <a:pt x="30" y="75"/>
                    <a:pt x="31" y="74"/>
                    <a:pt x="33" y="73"/>
                  </a:cubicBezTo>
                  <a:cubicBezTo>
                    <a:pt x="34" y="73"/>
                    <a:pt x="35" y="72"/>
                    <a:pt x="37" y="71"/>
                  </a:cubicBezTo>
                  <a:cubicBezTo>
                    <a:pt x="38" y="70"/>
                    <a:pt x="39" y="68"/>
                    <a:pt x="40" y="67"/>
                  </a:cubicBezTo>
                  <a:cubicBezTo>
                    <a:pt x="41" y="65"/>
                    <a:pt x="42" y="63"/>
                    <a:pt x="43" y="61"/>
                  </a:cubicBezTo>
                  <a:cubicBezTo>
                    <a:pt x="44" y="59"/>
                    <a:pt x="45" y="57"/>
                    <a:pt x="45" y="55"/>
                  </a:cubicBezTo>
                  <a:cubicBezTo>
                    <a:pt x="46" y="52"/>
                    <a:pt x="47" y="50"/>
                    <a:pt x="47" y="47"/>
                  </a:cubicBezTo>
                  <a:cubicBezTo>
                    <a:pt x="47" y="45"/>
                    <a:pt x="47" y="42"/>
                    <a:pt x="47" y="39"/>
                  </a:cubicBezTo>
                  <a:cubicBezTo>
                    <a:pt x="47" y="36"/>
                    <a:pt x="47" y="33"/>
                    <a:pt x="47" y="30"/>
                  </a:cubicBezTo>
                  <a:cubicBezTo>
                    <a:pt x="47" y="27"/>
                    <a:pt x="46" y="24"/>
                    <a:pt x="46"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grpSp>
      <p:grpSp>
        <p:nvGrpSpPr>
          <p:cNvPr id="189" name="Group 188"/>
          <p:cNvGrpSpPr/>
          <p:nvPr/>
        </p:nvGrpSpPr>
        <p:grpSpPr>
          <a:xfrm>
            <a:off x="11244602" y="1797781"/>
            <a:ext cx="796387" cy="355330"/>
            <a:chOff x="3001963" y="8221662"/>
            <a:chExt cx="6311901" cy="2816226"/>
          </a:xfrm>
          <a:solidFill>
            <a:schemeClr val="tx1"/>
          </a:solidFill>
        </p:grpSpPr>
        <p:sp>
          <p:nvSpPr>
            <p:cNvPr id="190" name="Freeform 47"/>
            <p:cNvSpPr>
              <a:spLocks/>
            </p:cNvSpPr>
            <p:nvPr/>
          </p:nvSpPr>
          <p:spPr bwMode="auto">
            <a:xfrm>
              <a:off x="8059738" y="8221662"/>
              <a:ext cx="1122363" cy="2439988"/>
            </a:xfrm>
            <a:custGeom>
              <a:avLst/>
              <a:gdLst>
                <a:gd name="T0" fmla="*/ 293 w 299"/>
                <a:gd name="T1" fmla="*/ 546 h 648"/>
                <a:gd name="T2" fmla="*/ 240 w 299"/>
                <a:gd name="T3" fmla="*/ 443 h 648"/>
                <a:gd name="T4" fmla="*/ 192 w 299"/>
                <a:gd name="T5" fmla="*/ 393 h 648"/>
                <a:gd name="T6" fmla="*/ 234 w 299"/>
                <a:gd name="T7" fmla="*/ 280 h 648"/>
                <a:gd name="T8" fmla="*/ 253 w 299"/>
                <a:gd name="T9" fmla="*/ 157 h 648"/>
                <a:gd name="T10" fmla="*/ 220 w 299"/>
                <a:gd name="T11" fmla="*/ 49 h 648"/>
                <a:gd name="T12" fmla="*/ 120 w 299"/>
                <a:gd name="T13" fmla="*/ 11 h 648"/>
                <a:gd name="T14" fmla="*/ 37 w 299"/>
                <a:gd name="T15" fmla="*/ 84 h 648"/>
                <a:gd name="T16" fmla="*/ 3 w 299"/>
                <a:gd name="T17" fmla="*/ 194 h 648"/>
                <a:gd name="T18" fmla="*/ 10 w 299"/>
                <a:gd name="T19" fmla="*/ 316 h 648"/>
                <a:gd name="T20" fmla="*/ 37 w 299"/>
                <a:gd name="T21" fmla="*/ 418 h 648"/>
                <a:gd name="T22" fmla="*/ 40 w 299"/>
                <a:gd name="T23" fmla="*/ 430 h 648"/>
                <a:gd name="T24" fmla="*/ 153 w 299"/>
                <a:gd name="T25" fmla="*/ 615 h 648"/>
                <a:gd name="T26" fmla="*/ 252 w 299"/>
                <a:gd name="T27" fmla="*/ 636 h 648"/>
                <a:gd name="T28" fmla="*/ 293 w 299"/>
                <a:gd name="T29" fmla="*/ 54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9" h="648">
                  <a:moveTo>
                    <a:pt x="293" y="546"/>
                  </a:moveTo>
                  <a:cubicBezTo>
                    <a:pt x="287" y="507"/>
                    <a:pt x="266" y="473"/>
                    <a:pt x="240" y="443"/>
                  </a:cubicBezTo>
                  <a:cubicBezTo>
                    <a:pt x="225" y="426"/>
                    <a:pt x="209" y="409"/>
                    <a:pt x="192" y="393"/>
                  </a:cubicBezTo>
                  <a:cubicBezTo>
                    <a:pt x="209" y="357"/>
                    <a:pt x="223" y="319"/>
                    <a:pt x="234" y="280"/>
                  </a:cubicBezTo>
                  <a:cubicBezTo>
                    <a:pt x="245" y="240"/>
                    <a:pt x="254" y="199"/>
                    <a:pt x="253" y="157"/>
                  </a:cubicBezTo>
                  <a:cubicBezTo>
                    <a:pt x="252" y="120"/>
                    <a:pt x="243" y="80"/>
                    <a:pt x="220" y="49"/>
                  </a:cubicBezTo>
                  <a:cubicBezTo>
                    <a:pt x="197" y="18"/>
                    <a:pt x="159" y="0"/>
                    <a:pt x="120" y="11"/>
                  </a:cubicBezTo>
                  <a:cubicBezTo>
                    <a:pt x="84" y="22"/>
                    <a:pt x="55" y="52"/>
                    <a:pt x="37" y="84"/>
                  </a:cubicBezTo>
                  <a:cubicBezTo>
                    <a:pt x="17" y="117"/>
                    <a:pt x="6" y="156"/>
                    <a:pt x="3" y="194"/>
                  </a:cubicBezTo>
                  <a:cubicBezTo>
                    <a:pt x="0" y="235"/>
                    <a:pt x="4" y="276"/>
                    <a:pt x="10" y="316"/>
                  </a:cubicBezTo>
                  <a:cubicBezTo>
                    <a:pt x="16" y="351"/>
                    <a:pt x="24" y="386"/>
                    <a:pt x="37" y="418"/>
                  </a:cubicBezTo>
                  <a:cubicBezTo>
                    <a:pt x="38" y="422"/>
                    <a:pt x="39" y="426"/>
                    <a:pt x="40" y="430"/>
                  </a:cubicBezTo>
                  <a:cubicBezTo>
                    <a:pt x="58" y="500"/>
                    <a:pt x="91" y="574"/>
                    <a:pt x="153" y="615"/>
                  </a:cubicBezTo>
                  <a:cubicBezTo>
                    <a:pt x="181" y="634"/>
                    <a:pt x="219" y="648"/>
                    <a:pt x="252" y="636"/>
                  </a:cubicBezTo>
                  <a:cubicBezTo>
                    <a:pt x="289" y="623"/>
                    <a:pt x="299" y="581"/>
                    <a:pt x="293" y="5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91" name="Freeform 48"/>
            <p:cNvSpPr>
              <a:spLocks/>
            </p:cNvSpPr>
            <p:nvPr/>
          </p:nvSpPr>
          <p:spPr bwMode="auto">
            <a:xfrm>
              <a:off x="7397751" y="8904288"/>
              <a:ext cx="912813" cy="1674813"/>
            </a:xfrm>
            <a:custGeom>
              <a:avLst/>
              <a:gdLst>
                <a:gd name="T0" fmla="*/ 242 w 243"/>
                <a:gd name="T1" fmla="*/ 393 h 445"/>
                <a:gd name="T2" fmla="*/ 227 w 243"/>
                <a:gd name="T3" fmla="*/ 335 h 445"/>
                <a:gd name="T4" fmla="*/ 205 w 243"/>
                <a:gd name="T5" fmla="*/ 278 h 445"/>
                <a:gd name="T6" fmla="*/ 191 w 243"/>
                <a:gd name="T7" fmla="*/ 250 h 445"/>
                <a:gd name="T8" fmla="*/ 162 w 243"/>
                <a:gd name="T9" fmla="*/ 175 h 445"/>
                <a:gd name="T10" fmla="*/ 105 w 243"/>
                <a:gd name="T11" fmla="*/ 69 h 445"/>
                <a:gd name="T12" fmla="*/ 65 w 243"/>
                <a:gd name="T13" fmla="*/ 25 h 445"/>
                <a:gd name="T14" fmla="*/ 16 w 243"/>
                <a:gd name="T15" fmla="*/ 8 h 445"/>
                <a:gd name="T16" fmla="*/ 4 w 243"/>
                <a:gd name="T17" fmla="*/ 57 h 445"/>
                <a:gd name="T18" fmla="*/ 20 w 243"/>
                <a:gd name="T19" fmla="*/ 113 h 445"/>
                <a:gd name="T20" fmla="*/ 106 w 243"/>
                <a:gd name="T21" fmla="*/ 244 h 445"/>
                <a:gd name="T22" fmla="*/ 125 w 243"/>
                <a:gd name="T23" fmla="*/ 266 h 445"/>
                <a:gd name="T24" fmla="*/ 128 w 243"/>
                <a:gd name="T25" fmla="*/ 303 h 445"/>
                <a:gd name="T26" fmla="*/ 175 w 243"/>
                <a:gd name="T27" fmla="*/ 412 h 445"/>
                <a:gd name="T28" fmla="*/ 223 w 243"/>
                <a:gd name="T29" fmla="*/ 441 h 445"/>
                <a:gd name="T30" fmla="*/ 242 w 243"/>
                <a:gd name="T31" fmla="*/ 39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3" h="445">
                  <a:moveTo>
                    <a:pt x="242" y="393"/>
                  </a:moveTo>
                  <a:cubicBezTo>
                    <a:pt x="240" y="373"/>
                    <a:pt x="234" y="354"/>
                    <a:pt x="227" y="335"/>
                  </a:cubicBezTo>
                  <a:cubicBezTo>
                    <a:pt x="221" y="316"/>
                    <a:pt x="213" y="297"/>
                    <a:pt x="205" y="278"/>
                  </a:cubicBezTo>
                  <a:cubicBezTo>
                    <a:pt x="200" y="269"/>
                    <a:pt x="196" y="259"/>
                    <a:pt x="191" y="250"/>
                  </a:cubicBezTo>
                  <a:cubicBezTo>
                    <a:pt x="184" y="224"/>
                    <a:pt x="173" y="199"/>
                    <a:pt x="162" y="175"/>
                  </a:cubicBezTo>
                  <a:cubicBezTo>
                    <a:pt x="147" y="138"/>
                    <a:pt x="129" y="102"/>
                    <a:pt x="105" y="69"/>
                  </a:cubicBezTo>
                  <a:cubicBezTo>
                    <a:pt x="94" y="53"/>
                    <a:pt x="81" y="38"/>
                    <a:pt x="65" y="25"/>
                  </a:cubicBezTo>
                  <a:cubicBezTo>
                    <a:pt x="53" y="16"/>
                    <a:pt x="33" y="0"/>
                    <a:pt x="16" y="8"/>
                  </a:cubicBezTo>
                  <a:cubicBezTo>
                    <a:pt x="0" y="17"/>
                    <a:pt x="2" y="42"/>
                    <a:pt x="4" y="57"/>
                  </a:cubicBezTo>
                  <a:cubicBezTo>
                    <a:pt x="7" y="77"/>
                    <a:pt x="13" y="95"/>
                    <a:pt x="20" y="113"/>
                  </a:cubicBezTo>
                  <a:cubicBezTo>
                    <a:pt x="41" y="161"/>
                    <a:pt x="73" y="204"/>
                    <a:pt x="106" y="244"/>
                  </a:cubicBezTo>
                  <a:cubicBezTo>
                    <a:pt x="112" y="251"/>
                    <a:pt x="118" y="259"/>
                    <a:pt x="125" y="266"/>
                  </a:cubicBezTo>
                  <a:cubicBezTo>
                    <a:pt x="125" y="278"/>
                    <a:pt x="126" y="291"/>
                    <a:pt x="128" y="303"/>
                  </a:cubicBezTo>
                  <a:cubicBezTo>
                    <a:pt x="134" y="342"/>
                    <a:pt x="150" y="381"/>
                    <a:pt x="175" y="412"/>
                  </a:cubicBezTo>
                  <a:cubicBezTo>
                    <a:pt x="186" y="425"/>
                    <a:pt x="204" y="445"/>
                    <a:pt x="223" y="441"/>
                  </a:cubicBezTo>
                  <a:cubicBezTo>
                    <a:pt x="243" y="437"/>
                    <a:pt x="243" y="408"/>
                    <a:pt x="242"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92" name="Freeform 49"/>
            <p:cNvSpPr>
              <a:spLocks/>
            </p:cNvSpPr>
            <p:nvPr/>
          </p:nvSpPr>
          <p:spPr bwMode="auto">
            <a:xfrm>
              <a:off x="9167813" y="10571163"/>
              <a:ext cx="63500" cy="60325"/>
            </a:xfrm>
            <a:custGeom>
              <a:avLst/>
              <a:gdLst>
                <a:gd name="T0" fmla="*/ 0 w 40"/>
                <a:gd name="T1" fmla="*/ 0 h 38"/>
                <a:gd name="T2" fmla="*/ 40 w 40"/>
                <a:gd name="T3" fmla="*/ 0 h 38"/>
                <a:gd name="T4" fmla="*/ 40 w 40"/>
                <a:gd name="T5" fmla="*/ 5 h 38"/>
                <a:gd name="T6" fmla="*/ 21 w 40"/>
                <a:gd name="T7" fmla="*/ 5 h 38"/>
                <a:gd name="T8" fmla="*/ 21 w 40"/>
                <a:gd name="T9" fmla="*/ 38 h 38"/>
                <a:gd name="T10" fmla="*/ 19 w 40"/>
                <a:gd name="T11" fmla="*/ 38 h 38"/>
                <a:gd name="T12" fmla="*/ 19 w 40"/>
                <a:gd name="T13" fmla="*/ 5 h 38"/>
                <a:gd name="T14" fmla="*/ 0 w 40"/>
                <a:gd name="T15" fmla="*/ 5 h 38"/>
                <a:gd name="T16" fmla="*/ 0 w 40"/>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8">
                  <a:moveTo>
                    <a:pt x="0" y="0"/>
                  </a:moveTo>
                  <a:lnTo>
                    <a:pt x="40" y="0"/>
                  </a:lnTo>
                  <a:lnTo>
                    <a:pt x="40" y="5"/>
                  </a:lnTo>
                  <a:lnTo>
                    <a:pt x="21" y="5"/>
                  </a:lnTo>
                  <a:lnTo>
                    <a:pt x="21" y="38"/>
                  </a:lnTo>
                  <a:lnTo>
                    <a:pt x="19" y="38"/>
                  </a:lnTo>
                  <a:lnTo>
                    <a:pt x="19" y="5"/>
                  </a:lnTo>
                  <a:lnTo>
                    <a:pt x="0"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93" name="Freeform 50"/>
            <p:cNvSpPr>
              <a:spLocks/>
            </p:cNvSpPr>
            <p:nvPr/>
          </p:nvSpPr>
          <p:spPr bwMode="auto">
            <a:xfrm>
              <a:off x="9242426" y="10571163"/>
              <a:ext cx="71438" cy="60325"/>
            </a:xfrm>
            <a:custGeom>
              <a:avLst/>
              <a:gdLst>
                <a:gd name="T0" fmla="*/ 1 w 19"/>
                <a:gd name="T1" fmla="*/ 3 h 16"/>
                <a:gd name="T2" fmla="*/ 1 w 19"/>
                <a:gd name="T3" fmla="*/ 3 h 16"/>
                <a:gd name="T4" fmla="*/ 1 w 19"/>
                <a:gd name="T5" fmla="*/ 4 h 16"/>
                <a:gd name="T6" fmla="*/ 1 w 19"/>
                <a:gd name="T7" fmla="*/ 5 h 16"/>
                <a:gd name="T8" fmla="*/ 1 w 19"/>
                <a:gd name="T9" fmla="*/ 6 h 16"/>
                <a:gd name="T10" fmla="*/ 1 w 19"/>
                <a:gd name="T11" fmla="*/ 7 h 16"/>
                <a:gd name="T12" fmla="*/ 1 w 19"/>
                <a:gd name="T13" fmla="*/ 16 h 16"/>
                <a:gd name="T14" fmla="*/ 0 w 19"/>
                <a:gd name="T15" fmla="*/ 16 h 16"/>
                <a:gd name="T16" fmla="*/ 0 w 19"/>
                <a:gd name="T17" fmla="*/ 0 h 16"/>
                <a:gd name="T18" fmla="*/ 2 w 19"/>
                <a:gd name="T19" fmla="*/ 0 h 16"/>
                <a:gd name="T20" fmla="*/ 8 w 19"/>
                <a:gd name="T21" fmla="*/ 9 h 16"/>
                <a:gd name="T22" fmla="*/ 8 w 19"/>
                <a:gd name="T23" fmla="*/ 11 h 16"/>
                <a:gd name="T24" fmla="*/ 9 w 19"/>
                <a:gd name="T25" fmla="*/ 12 h 16"/>
                <a:gd name="T26" fmla="*/ 10 w 19"/>
                <a:gd name="T27" fmla="*/ 11 h 16"/>
                <a:gd name="T28" fmla="*/ 11 w 19"/>
                <a:gd name="T29" fmla="*/ 9 h 16"/>
                <a:gd name="T30" fmla="*/ 17 w 19"/>
                <a:gd name="T31" fmla="*/ 0 h 16"/>
                <a:gd name="T32" fmla="*/ 19 w 19"/>
                <a:gd name="T33" fmla="*/ 0 h 16"/>
                <a:gd name="T34" fmla="*/ 19 w 19"/>
                <a:gd name="T35" fmla="*/ 16 h 16"/>
                <a:gd name="T36" fmla="*/ 17 w 19"/>
                <a:gd name="T37" fmla="*/ 16 h 16"/>
                <a:gd name="T38" fmla="*/ 17 w 19"/>
                <a:gd name="T39" fmla="*/ 7 h 16"/>
                <a:gd name="T40" fmla="*/ 17 w 19"/>
                <a:gd name="T41" fmla="*/ 6 h 16"/>
                <a:gd name="T42" fmla="*/ 17 w 19"/>
                <a:gd name="T43" fmla="*/ 5 h 16"/>
                <a:gd name="T44" fmla="*/ 17 w 19"/>
                <a:gd name="T45" fmla="*/ 4 h 16"/>
                <a:gd name="T46" fmla="*/ 17 w 19"/>
                <a:gd name="T47" fmla="*/ 3 h 16"/>
                <a:gd name="T48" fmla="*/ 17 w 19"/>
                <a:gd name="T49" fmla="*/ 3 h 16"/>
                <a:gd name="T50" fmla="*/ 10 w 19"/>
                <a:gd name="T51" fmla="*/ 14 h 16"/>
                <a:gd name="T52" fmla="*/ 9 w 19"/>
                <a:gd name="T53" fmla="*/ 14 h 16"/>
                <a:gd name="T54" fmla="*/ 1 w 19"/>
                <a:gd name="T55"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16">
                  <a:moveTo>
                    <a:pt x="1" y="3"/>
                  </a:moveTo>
                  <a:cubicBezTo>
                    <a:pt x="1" y="3"/>
                    <a:pt x="1" y="3"/>
                    <a:pt x="1" y="3"/>
                  </a:cubicBezTo>
                  <a:cubicBezTo>
                    <a:pt x="1" y="3"/>
                    <a:pt x="1" y="4"/>
                    <a:pt x="1" y="4"/>
                  </a:cubicBezTo>
                  <a:cubicBezTo>
                    <a:pt x="1" y="4"/>
                    <a:pt x="1" y="5"/>
                    <a:pt x="1" y="5"/>
                  </a:cubicBezTo>
                  <a:cubicBezTo>
                    <a:pt x="1" y="5"/>
                    <a:pt x="1" y="6"/>
                    <a:pt x="1" y="6"/>
                  </a:cubicBezTo>
                  <a:cubicBezTo>
                    <a:pt x="1" y="6"/>
                    <a:pt x="1" y="7"/>
                    <a:pt x="1" y="7"/>
                  </a:cubicBezTo>
                  <a:cubicBezTo>
                    <a:pt x="1" y="16"/>
                    <a:pt x="1" y="16"/>
                    <a:pt x="1" y="16"/>
                  </a:cubicBezTo>
                  <a:cubicBezTo>
                    <a:pt x="0" y="16"/>
                    <a:pt x="0" y="16"/>
                    <a:pt x="0" y="16"/>
                  </a:cubicBezTo>
                  <a:cubicBezTo>
                    <a:pt x="0" y="0"/>
                    <a:pt x="0" y="0"/>
                    <a:pt x="0" y="0"/>
                  </a:cubicBezTo>
                  <a:cubicBezTo>
                    <a:pt x="2" y="0"/>
                    <a:pt x="2" y="0"/>
                    <a:pt x="2" y="0"/>
                  </a:cubicBezTo>
                  <a:cubicBezTo>
                    <a:pt x="8" y="9"/>
                    <a:pt x="8" y="9"/>
                    <a:pt x="8" y="9"/>
                  </a:cubicBezTo>
                  <a:cubicBezTo>
                    <a:pt x="8" y="10"/>
                    <a:pt x="8" y="10"/>
                    <a:pt x="8" y="11"/>
                  </a:cubicBezTo>
                  <a:cubicBezTo>
                    <a:pt x="9" y="11"/>
                    <a:pt x="9" y="12"/>
                    <a:pt x="9" y="12"/>
                  </a:cubicBezTo>
                  <a:cubicBezTo>
                    <a:pt x="10" y="12"/>
                    <a:pt x="10" y="11"/>
                    <a:pt x="10" y="11"/>
                  </a:cubicBezTo>
                  <a:cubicBezTo>
                    <a:pt x="11" y="10"/>
                    <a:pt x="11" y="10"/>
                    <a:pt x="11" y="9"/>
                  </a:cubicBezTo>
                  <a:cubicBezTo>
                    <a:pt x="17" y="0"/>
                    <a:pt x="17" y="0"/>
                    <a:pt x="17" y="0"/>
                  </a:cubicBezTo>
                  <a:cubicBezTo>
                    <a:pt x="19" y="0"/>
                    <a:pt x="19" y="0"/>
                    <a:pt x="19" y="0"/>
                  </a:cubicBezTo>
                  <a:cubicBezTo>
                    <a:pt x="19" y="16"/>
                    <a:pt x="19" y="16"/>
                    <a:pt x="19" y="16"/>
                  </a:cubicBezTo>
                  <a:cubicBezTo>
                    <a:pt x="17" y="16"/>
                    <a:pt x="17" y="16"/>
                    <a:pt x="17" y="16"/>
                  </a:cubicBezTo>
                  <a:cubicBezTo>
                    <a:pt x="17" y="7"/>
                    <a:pt x="17" y="7"/>
                    <a:pt x="17" y="7"/>
                  </a:cubicBezTo>
                  <a:cubicBezTo>
                    <a:pt x="17" y="7"/>
                    <a:pt x="17" y="6"/>
                    <a:pt x="17" y="6"/>
                  </a:cubicBezTo>
                  <a:cubicBezTo>
                    <a:pt x="17" y="6"/>
                    <a:pt x="17" y="5"/>
                    <a:pt x="17" y="5"/>
                  </a:cubicBezTo>
                  <a:cubicBezTo>
                    <a:pt x="17" y="5"/>
                    <a:pt x="17" y="4"/>
                    <a:pt x="17" y="4"/>
                  </a:cubicBezTo>
                  <a:cubicBezTo>
                    <a:pt x="17" y="3"/>
                    <a:pt x="17" y="3"/>
                    <a:pt x="17" y="3"/>
                  </a:cubicBezTo>
                  <a:cubicBezTo>
                    <a:pt x="17" y="3"/>
                    <a:pt x="17" y="3"/>
                    <a:pt x="17" y="3"/>
                  </a:cubicBezTo>
                  <a:cubicBezTo>
                    <a:pt x="10" y="14"/>
                    <a:pt x="10" y="14"/>
                    <a:pt x="10" y="14"/>
                  </a:cubicBezTo>
                  <a:cubicBezTo>
                    <a:pt x="9" y="14"/>
                    <a:pt x="9" y="14"/>
                    <a:pt x="9" y="14"/>
                  </a:cubicBezTo>
                  <a:lnTo>
                    <a:pt x="1"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94" name="Freeform 51"/>
            <p:cNvSpPr>
              <a:spLocks/>
            </p:cNvSpPr>
            <p:nvPr/>
          </p:nvSpPr>
          <p:spPr bwMode="auto">
            <a:xfrm>
              <a:off x="3001963" y="9904413"/>
              <a:ext cx="1965325" cy="1106488"/>
            </a:xfrm>
            <a:custGeom>
              <a:avLst/>
              <a:gdLst>
                <a:gd name="T0" fmla="*/ 0 w 523"/>
                <a:gd name="T1" fmla="*/ 34 h 294"/>
                <a:gd name="T2" fmla="*/ 45 w 523"/>
                <a:gd name="T3" fmla="*/ 34 h 294"/>
                <a:gd name="T4" fmla="*/ 88 w 523"/>
                <a:gd name="T5" fmla="*/ 9 h 294"/>
                <a:gd name="T6" fmla="*/ 142 w 523"/>
                <a:gd name="T7" fmla="*/ 0 h 294"/>
                <a:gd name="T8" fmla="*/ 216 w 523"/>
                <a:gd name="T9" fmla="*/ 15 h 294"/>
                <a:gd name="T10" fmla="*/ 263 w 523"/>
                <a:gd name="T11" fmla="*/ 57 h 294"/>
                <a:gd name="T12" fmla="*/ 312 w 523"/>
                <a:gd name="T13" fmla="*/ 15 h 294"/>
                <a:gd name="T14" fmla="*/ 380 w 523"/>
                <a:gd name="T15" fmla="*/ 0 h 294"/>
                <a:gd name="T16" fmla="*/ 440 w 523"/>
                <a:gd name="T17" fmla="*/ 9 h 294"/>
                <a:gd name="T18" fmla="*/ 485 w 523"/>
                <a:gd name="T19" fmla="*/ 35 h 294"/>
                <a:gd name="T20" fmla="*/ 513 w 523"/>
                <a:gd name="T21" fmla="*/ 75 h 294"/>
                <a:gd name="T22" fmla="*/ 523 w 523"/>
                <a:gd name="T23" fmla="*/ 127 h 294"/>
                <a:gd name="T24" fmla="*/ 523 w 523"/>
                <a:gd name="T25" fmla="*/ 294 h 294"/>
                <a:gd name="T26" fmla="*/ 477 w 523"/>
                <a:gd name="T27" fmla="*/ 294 h 294"/>
                <a:gd name="T28" fmla="*/ 477 w 523"/>
                <a:gd name="T29" fmla="*/ 127 h 294"/>
                <a:gd name="T30" fmla="*/ 470 w 523"/>
                <a:gd name="T31" fmla="*/ 91 h 294"/>
                <a:gd name="T32" fmla="*/ 449 w 523"/>
                <a:gd name="T33" fmla="*/ 65 h 294"/>
                <a:gd name="T34" fmla="*/ 418 w 523"/>
                <a:gd name="T35" fmla="*/ 48 h 294"/>
                <a:gd name="T36" fmla="*/ 380 w 523"/>
                <a:gd name="T37" fmla="*/ 42 h 294"/>
                <a:gd name="T38" fmla="*/ 345 w 523"/>
                <a:gd name="T39" fmla="*/ 48 h 294"/>
                <a:gd name="T40" fmla="*/ 314 w 523"/>
                <a:gd name="T41" fmla="*/ 63 h 294"/>
                <a:gd name="T42" fmla="*/ 292 w 523"/>
                <a:gd name="T43" fmla="*/ 90 h 294"/>
                <a:gd name="T44" fmla="*/ 284 w 523"/>
                <a:gd name="T45" fmla="*/ 127 h 294"/>
                <a:gd name="T46" fmla="*/ 284 w 523"/>
                <a:gd name="T47" fmla="*/ 294 h 294"/>
                <a:gd name="T48" fmla="*/ 238 w 523"/>
                <a:gd name="T49" fmla="*/ 294 h 294"/>
                <a:gd name="T50" fmla="*/ 238 w 523"/>
                <a:gd name="T51" fmla="*/ 127 h 294"/>
                <a:gd name="T52" fmla="*/ 230 w 523"/>
                <a:gd name="T53" fmla="*/ 90 h 294"/>
                <a:gd name="T54" fmla="*/ 210 w 523"/>
                <a:gd name="T55" fmla="*/ 63 h 294"/>
                <a:gd name="T56" fmla="*/ 179 w 523"/>
                <a:gd name="T57" fmla="*/ 48 h 294"/>
                <a:gd name="T58" fmla="*/ 141 w 523"/>
                <a:gd name="T59" fmla="*/ 42 h 294"/>
                <a:gd name="T60" fmla="*/ 106 w 523"/>
                <a:gd name="T61" fmla="*/ 48 h 294"/>
                <a:gd name="T62" fmla="*/ 75 w 523"/>
                <a:gd name="T63" fmla="*/ 63 h 294"/>
                <a:gd name="T64" fmla="*/ 53 w 523"/>
                <a:gd name="T65" fmla="*/ 90 h 294"/>
                <a:gd name="T66" fmla="*/ 45 w 523"/>
                <a:gd name="T67" fmla="*/ 127 h 294"/>
                <a:gd name="T68" fmla="*/ 45 w 523"/>
                <a:gd name="T69" fmla="*/ 294 h 294"/>
                <a:gd name="T70" fmla="*/ 0 w 523"/>
                <a:gd name="T71" fmla="*/ 294 h 294"/>
                <a:gd name="T72" fmla="*/ 0 w 523"/>
                <a:gd name="T73" fmla="*/ 3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3" h="294">
                  <a:moveTo>
                    <a:pt x="0" y="34"/>
                  </a:moveTo>
                  <a:cubicBezTo>
                    <a:pt x="45" y="34"/>
                    <a:pt x="45" y="34"/>
                    <a:pt x="45" y="34"/>
                  </a:cubicBezTo>
                  <a:cubicBezTo>
                    <a:pt x="57" y="24"/>
                    <a:pt x="71" y="15"/>
                    <a:pt x="88" y="9"/>
                  </a:cubicBezTo>
                  <a:cubicBezTo>
                    <a:pt x="104" y="3"/>
                    <a:pt x="122" y="0"/>
                    <a:pt x="142" y="0"/>
                  </a:cubicBezTo>
                  <a:cubicBezTo>
                    <a:pt x="170" y="0"/>
                    <a:pt x="195" y="5"/>
                    <a:pt x="216" y="15"/>
                  </a:cubicBezTo>
                  <a:cubicBezTo>
                    <a:pt x="236" y="26"/>
                    <a:pt x="252" y="39"/>
                    <a:pt x="263" y="57"/>
                  </a:cubicBezTo>
                  <a:cubicBezTo>
                    <a:pt x="276" y="39"/>
                    <a:pt x="293" y="26"/>
                    <a:pt x="312" y="15"/>
                  </a:cubicBezTo>
                  <a:cubicBezTo>
                    <a:pt x="332" y="5"/>
                    <a:pt x="355" y="0"/>
                    <a:pt x="380" y="0"/>
                  </a:cubicBezTo>
                  <a:cubicBezTo>
                    <a:pt x="403" y="0"/>
                    <a:pt x="423" y="3"/>
                    <a:pt x="440" y="9"/>
                  </a:cubicBezTo>
                  <a:cubicBezTo>
                    <a:pt x="458" y="15"/>
                    <a:pt x="473" y="24"/>
                    <a:pt x="485" y="35"/>
                  </a:cubicBezTo>
                  <a:cubicBezTo>
                    <a:pt x="497" y="46"/>
                    <a:pt x="507" y="60"/>
                    <a:pt x="513" y="75"/>
                  </a:cubicBezTo>
                  <a:cubicBezTo>
                    <a:pt x="520" y="91"/>
                    <a:pt x="523" y="108"/>
                    <a:pt x="523" y="127"/>
                  </a:cubicBezTo>
                  <a:cubicBezTo>
                    <a:pt x="523" y="294"/>
                    <a:pt x="523" y="294"/>
                    <a:pt x="523" y="294"/>
                  </a:cubicBezTo>
                  <a:cubicBezTo>
                    <a:pt x="477" y="294"/>
                    <a:pt x="477" y="294"/>
                    <a:pt x="477" y="294"/>
                  </a:cubicBezTo>
                  <a:cubicBezTo>
                    <a:pt x="477" y="127"/>
                    <a:pt x="477" y="127"/>
                    <a:pt x="477" y="127"/>
                  </a:cubicBezTo>
                  <a:cubicBezTo>
                    <a:pt x="477" y="114"/>
                    <a:pt x="475" y="102"/>
                    <a:pt x="470" y="91"/>
                  </a:cubicBezTo>
                  <a:cubicBezTo>
                    <a:pt x="465" y="81"/>
                    <a:pt x="458" y="72"/>
                    <a:pt x="449" y="65"/>
                  </a:cubicBezTo>
                  <a:cubicBezTo>
                    <a:pt x="440" y="57"/>
                    <a:pt x="430" y="52"/>
                    <a:pt x="418" y="48"/>
                  </a:cubicBezTo>
                  <a:cubicBezTo>
                    <a:pt x="406" y="44"/>
                    <a:pt x="394" y="42"/>
                    <a:pt x="380" y="42"/>
                  </a:cubicBezTo>
                  <a:cubicBezTo>
                    <a:pt x="368" y="42"/>
                    <a:pt x="356" y="44"/>
                    <a:pt x="345" y="48"/>
                  </a:cubicBezTo>
                  <a:cubicBezTo>
                    <a:pt x="333" y="51"/>
                    <a:pt x="323" y="56"/>
                    <a:pt x="314" y="63"/>
                  </a:cubicBezTo>
                  <a:cubicBezTo>
                    <a:pt x="305" y="70"/>
                    <a:pt x="298" y="79"/>
                    <a:pt x="292" y="90"/>
                  </a:cubicBezTo>
                  <a:cubicBezTo>
                    <a:pt x="287" y="100"/>
                    <a:pt x="284" y="113"/>
                    <a:pt x="284" y="127"/>
                  </a:cubicBezTo>
                  <a:cubicBezTo>
                    <a:pt x="284" y="294"/>
                    <a:pt x="284" y="294"/>
                    <a:pt x="284" y="294"/>
                  </a:cubicBezTo>
                  <a:cubicBezTo>
                    <a:pt x="238" y="294"/>
                    <a:pt x="238" y="294"/>
                    <a:pt x="238" y="294"/>
                  </a:cubicBezTo>
                  <a:cubicBezTo>
                    <a:pt x="238" y="127"/>
                    <a:pt x="238" y="127"/>
                    <a:pt x="238" y="127"/>
                  </a:cubicBezTo>
                  <a:cubicBezTo>
                    <a:pt x="238" y="113"/>
                    <a:pt x="236" y="100"/>
                    <a:pt x="230" y="90"/>
                  </a:cubicBezTo>
                  <a:cubicBezTo>
                    <a:pt x="225" y="79"/>
                    <a:pt x="218" y="70"/>
                    <a:pt x="210" y="63"/>
                  </a:cubicBezTo>
                  <a:cubicBezTo>
                    <a:pt x="201" y="56"/>
                    <a:pt x="191" y="51"/>
                    <a:pt x="179" y="48"/>
                  </a:cubicBezTo>
                  <a:cubicBezTo>
                    <a:pt x="167" y="44"/>
                    <a:pt x="155" y="42"/>
                    <a:pt x="141" y="42"/>
                  </a:cubicBezTo>
                  <a:cubicBezTo>
                    <a:pt x="129" y="42"/>
                    <a:pt x="117" y="44"/>
                    <a:pt x="106" y="48"/>
                  </a:cubicBezTo>
                  <a:cubicBezTo>
                    <a:pt x="94" y="51"/>
                    <a:pt x="84" y="56"/>
                    <a:pt x="75" y="63"/>
                  </a:cubicBezTo>
                  <a:cubicBezTo>
                    <a:pt x="66" y="70"/>
                    <a:pt x="59" y="79"/>
                    <a:pt x="53" y="90"/>
                  </a:cubicBezTo>
                  <a:cubicBezTo>
                    <a:pt x="48" y="100"/>
                    <a:pt x="45" y="113"/>
                    <a:pt x="45" y="127"/>
                  </a:cubicBezTo>
                  <a:cubicBezTo>
                    <a:pt x="45" y="294"/>
                    <a:pt x="45" y="294"/>
                    <a:pt x="45" y="294"/>
                  </a:cubicBezTo>
                  <a:cubicBezTo>
                    <a:pt x="0" y="294"/>
                    <a:pt x="0" y="294"/>
                    <a:pt x="0" y="294"/>
                  </a:cubicBezTo>
                  <a:lnTo>
                    <a:pt x="0"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95" name="Freeform 52"/>
            <p:cNvSpPr>
              <a:spLocks/>
            </p:cNvSpPr>
            <p:nvPr/>
          </p:nvSpPr>
          <p:spPr bwMode="auto">
            <a:xfrm>
              <a:off x="5170488" y="9904413"/>
              <a:ext cx="1127125" cy="1133475"/>
            </a:xfrm>
            <a:custGeom>
              <a:avLst/>
              <a:gdLst>
                <a:gd name="T0" fmla="*/ 0 w 300"/>
                <a:gd name="T1" fmla="*/ 221 h 301"/>
                <a:gd name="T2" fmla="*/ 72 w 300"/>
                <a:gd name="T3" fmla="*/ 250 h 301"/>
                <a:gd name="T4" fmla="*/ 149 w 300"/>
                <a:gd name="T5" fmla="*/ 260 h 301"/>
                <a:gd name="T6" fmla="*/ 193 w 300"/>
                <a:gd name="T7" fmla="*/ 257 h 301"/>
                <a:gd name="T8" fmla="*/ 226 w 300"/>
                <a:gd name="T9" fmla="*/ 247 h 301"/>
                <a:gd name="T10" fmla="*/ 247 w 300"/>
                <a:gd name="T11" fmla="*/ 231 h 301"/>
                <a:gd name="T12" fmla="*/ 254 w 300"/>
                <a:gd name="T13" fmla="*/ 208 h 301"/>
                <a:gd name="T14" fmla="*/ 250 w 300"/>
                <a:gd name="T15" fmla="*/ 191 h 301"/>
                <a:gd name="T16" fmla="*/ 234 w 300"/>
                <a:gd name="T17" fmla="*/ 179 h 301"/>
                <a:gd name="T18" fmla="*/ 203 w 300"/>
                <a:gd name="T19" fmla="*/ 171 h 301"/>
                <a:gd name="T20" fmla="*/ 151 w 300"/>
                <a:gd name="T21" fmla="*/ 166 h 301"/>
                <a:gd name="T22" fmla="*/ 113 w 300"/>
                <a:gd name="T23" fmla="*/ 163 h 301"/>
                <a:gd name="T24" fmla="*/ 77 w 300"/>
                <a:gd name="T25" fmla="*/ 158 h 301"/>
                <a:gd name="T26" fmla="*/ 47 w 300"/>
                <a:gd name="T27" fmla="*/ 149 h 301"/>
                <a:gd name="T28" fmla="*/ 24 w 300"/>
                <a:gd name="T29" fmla="*/ 136 h 301"/>
                <a:gd name="T30" fmla="*/ 8 w 300"/>
                <a:gd name="T31" fmla="*/ 115 h 301"/>
                <a:gd name="T32" fmla="*/ 3 w 300"/>
                <a:gd name="T33" fmla="*/ 86 h 301"/>
                <a:gd name="T34" fmla="*/ 9 w 300"/>
                <a:gd name="T35" fmla="*/ 56 h 301"/>
                <a:gd name="T36" fmla="*/ 25 w 300"/>
                <a:gd name="T37" fmla="*/ 33 h 301"/>
                <a:gd name="T38" fmla="*/ 49 w 300"/>
                <a:gd name="T39" fmla="*/ 17 h 301"/>
                <a:gd name="T40" fmla="*/ 78 w 300"/>
                <a:gd name="T41" fmla="*/ 7 h 301"/>
                <a:gd name="T42" fmla="*/ 108 w 300"/>
                <a:gd name="T43" fmla="*/ 1 h 301"/>
                <a:gd name="T44" fmla="*/ 138 w 300"/>
                <a:gd name="T45" fmla="*/ 0 h 301"/>
                <a:gd name="T46" fmla="*/ 215 w 300"/>
                <a:gd name="T47" fmla="*/ 7 h 301"/>
                <a:gd name="T48" fmla="*/ 284 w 300"/>
                <a:gd name="T49" fmla="*/ 29 h 301"/>
                <a:gd name="T50" fmla="*/ 284 w 300"/>
                <a:gd name="T51" fmla="*/ 75 h 301"/>
                <a:gd name="T52" fmla="*/ 213 w 300"/>
                <a:gd name="T53" fmla="*/ 49 h 301"/>
                <a:gd name="T54" fmla="*/ 138 w 300"/>
                <a:gd name="T55" fmla="*/ 40 h 301"/>
                <a:gd name="T56" fmla="*/ 101 w 300"/>
                <a:gd name="T57" fmla="*/ 43 h 301"/>
                <a:gd name="T58" fmla="*/ 73 w 300"/>
                <a:gd name="T59" fmla="*/ 51 h 301"/>
                <a:gd name="T60" fmla="*/ 56 w 300"/>
                <a:gd name="T61" fmla="*/ 65 h 301"/>
                <a:gd name="T62" fmla="*/ 50 w 300"/>
                <a:gd name="T63" fmla="*/ 85 h 301"/>
                <a:gd name="T64" fmla="*/ 54 w 300"/>
                <a:gd name="T65" fmla="*/ 100 h 301"/>
                <a:gd name="T66" fmla="*/ 70 w 300"/>
                <a:gd name="T67" fmla="*/ 110 h 301"/>
                <a:gd name="T68" fmla="*/ 102 w 300"/>
                <a:gd name="T69" fmla="*/ 117 h 301"/>
                <a:gd name="T70" fmla="*/ 155 w 300"/>
                <a:gd name="T71" fmla="*/ 122 h 301"/>
                <a:gd name="T72" fmla="*/ 224 w 300"/>
                <a:gd name="T73" fmla="*/ 130 h 301"/>
                <a:gd name="T74" fmla="*/ 269 w 300"/>
                <a:gd name="T75" fmla="*/ 145 h 301"/>
                <a:gd name="T76" fmla="*/ 293 w 300"/>
                <a:gd name="T77" fmla="*/ 170 h 301"/>
                <a:gd name="T78" fmla="*/ 300 w 300"/>
                <a:gd name="T79" fmla="*/ 207 h 301"/>
                <a:gd name="T80" fmla="*/ 290 w 300"/>
                <a:gd name="T81" fmla="*/ 250 h 301"/>
                <a:gd name="T82" fmla="*/ 260 w 300"/>
                <a:gd name="T83" fmla="*/ 279 h 301"/>
                <a:gd name="T84" fmla="*/ 212 w 300"/>
                <a:gd name="T85" fmla="*/ 295 h 301"/>
                <a:gd name="T86" fmla="*/ 149 w 300"/>
                <a:gd name="T87" fmla="*/ 301 h 301"/>
                <a:gd name="T88" fmla="*/ 71 w 300"/>
                <a:gd name="T89" fmla="*/ 294 h 301"/>
                <a:gd name="T90" fmla="*/ 0 w 300"/>
                <a:gd name="T91" fmla="*/ 269 h 301"/>
                <a:gd name="T92" fmla="*/ 0 w 300"/>
                <a:gd name="T93" fmla="*/ 22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0" h="301">
                  <a:moveTo>
                    <a:pt x="0" y="221"/>
                  </a:moveTo>
                  <a:cubicBezTo>
                    <a:pt x="24" y="233"/>
                    <a:pt x="47" y="243"/>
                    <a:pt x="72" y="250"/>
                  </a:cubicBezTo>
                  <a:cubicBezTo>
                    <a:pt x="96" y="256"/>
                    <a:pt x="122" y="260"/>
                    <a:pt x="149" y="260"/>
                  </a:cubicBezTo>
                  <a:cubicBezTo>
                    <a:pt x="165" y="260"/>
                    <a:pt x="180" y="259"/>
                    <a:pt x="193" y="257"/>
                  </a:cubicBezTo>
                  <a:cubicBezTo>
                    <a:pt x="206" y="254"/>
                    <a:pt x="217" y="251"/>
                    <a:pt x="226" y="247"/>
                  </a:cubicBezTo>
                  <a:cubicBezTo>
                    <a:pt x="235" y="243"/>
                    <a:pt x="242" y="238"/>
                    <a:pt x="247" y="231"/>
                  </a:cubicBezTo>
                  <a:cubicBezTo>
                    <a:pt x="252" y="225"/>
                    <a:pt x="254" y="217"/>
                    <a:pt x="254" y="208"/>
                  </a:cubicBezTo>
                  <a:cubicBezTo>
                    <a:pt x="254" y="201"/>
                    <a:pt x="253" y="196"/>
                    <a:pt x="250" y="191"/>
                  </a:cubicBezTo>
                  <a:cubicBezTo>
                    <a:pt x="247" y="187"/>
                    <a:pt x="242" y="183"/>
                    <a:pt x="234" y="179"/>
                  </a:cubicBezTo>
                  <a:cubicBezTo>
                    <a:pt x="226" y="176"/>
                    <a:pt x="216" y="173"/>
                    <a:pt x="203" y="171"/>
                  </a:cubicBezTo>
                  <a:cubicBezTo>
                    <a:pt x="189" y="169"/>
                    <a:pt x="172" y="167"/>
                    <a:pt x="151" y="166"/>
                  </a:cubicBezTo>
                  <a:cubicBezTo>
                    <a:pt x="138" y="165"/>
                    <a:pt x="125" y="164"/>
                    <a:pt x="113" y="163"/>
                  </a:cubicBezTo>
                  <a:cubicBezTo>
                    <a:pt x="100" y="161"/>
                    <a:pt x="88" y="160"/>
                    <a:pt x="77" y="158"/>
                  </a:cubicBezTo>
                  <a:cubicBezTo>
                    <a:pt x="66" y="156"/>
                    <a:pt x="56" y="153"/>
                    <a:pt x="47" y="149"/>
                  </a:cubicBezTo>
                  <a:cubicBezTo>
                    <a:pt x="38" y="146"/>
                    <a:pt x="30" y="141"/>
                    <a:pt x="24" y="136"/>
                  </a:cubicBezTo>
                  <a:cubicBezTo>
                    <a:pt x="17" y="130"/>
                    <a:pt x="12" y="123"/>
                    <a:pt x="8" y="115"/>
                  </a:cubicBezTo>
                  <a:cubicBezTo>
                    <a:pt x="5" y="107"/>
                    <a:pt x="3" y="98"/>
                    <a:pt x="3" y="86"/>
                  </a:cubicBezTo>
                  <a:cubicBezTo>
                    <a:pt x="3" y="75"/>
                    <a:pt x="5" y="65"/>
                    <a:pt x="9" y="56"/>
                  </a:cubicBezTo>
                  <a:cubicBezTo>
                    <a:pt x="13" y="47"/>
                    <a:pt x="18" y="39"/>
                    <a:pt x="25" y="33"/>
                  </a:cubicBezTo>
                  <a:cubicBezTo>
                    <a:pt x="32" y="27"/>
                    <a:pt x="40" y="21"/>
                    <a:pt x="49" y="17"/>
                  </a:cubicBezTo>
                  <a:cubicBezTo>
                    <a:pt x="58" y="13"/>
                    <a:pt x="68" y="9"/>
                    <a:pt x="78" y="7"/>
                  </a:cubicBezTo>
                  <a:cubicBezTo>
                    <a:pt x="88" y="4"/>
                    <a:pt x="98" y="2"/>
                    <a:pt x="108" y="1"/>
                  </a:cubicBezTo>
                  <a:cubicBezTo>
                    <a:pt x="118" y="0"/>
                    <a:pt x="128" y="0"/>
                    <a:pt x="138" y="0"/>
                  </a:cubicBezTo>
                  <a:cubicBezTo>
                    <a:pt x="164" y="0"/>
                    <a:pt x="190" y="2"/>
                    <a:pt x="215" y="7"/>
                  </a:cubicBezTo>
                  <a:cubicBezTo>
                    <a:pt x="240" y="12"/>
                    <a:pt x="263" y="19"/>
                    <a:pt x="284" y="29"/>
                  </a:cubicBezTo>
                  <a:cubicBezTo>
                    <a:pt x="284" y="75"/>
                    <a:pt x="284" y="75"/>
                    <a:pt x="284" y="75"/>
                  </a:cubicBezTo>
                  <a:cubicBezTo>
                    <a:pt x="260" y="64"/>
                    <a:pt x="236" y="55"/>
                    <a:pt x="213" y="49"/>
                  </a:cubicBezTo>
                  <a:cubicBezTo>
                    <a:pt x="189" y="43"/>
                    <a:pt x="164" y="40"/>
                    <a:pt x="138" y="40"/>
                  </a:cubicBezTo>
                  <a:cubicBezTo>
                    <a:pt x="124" y="40"/>
                    <a:pt x="112" y="41"/>
                    <a:pt x="101" y="43"/>
                  </a:cubicBezTo>
                  <a:cubicBezTo>
                    <a:pt x="90" y="45"/>
                    <a:pt x="81" y="48"/>
                    <a:pt x="73" y="51"/>
                  </a:cubicBezTo>
                  <a:cubicBezTo>
                    <a:pt x="66" y="55"/>
                    <a:pt x="60" y="60"/>
                    <a:pt x="56" y="65"/>
                  </a:cubicBezTo>
                  <a:cubicBezTo>
                    <a:pt x="52" y="71"/>
                    <a:pt x="50" y="77"/>
                    <a:pt x="50" y="85"/>
                  </a:cubicBezTo>
                  <a:cubicBezTo>
                    <a:pt x="50" y="90"/>
                    <a:pt x="51" y="95"/>
                    <a:pt x="54" y="100"/>
                  </a:cubicBezTo>
                  <a:cubicBezTo>
                    <a:pt x="57" y="104"/>
                    <a:pt x="62" y="107"/>
                    <a:pt x="70" y="110"/>
                  </a:cubicBezTo>
                  <a:cubicBezTo>
                    <a:pt x="78" y="113"/>
                    <a:pt x="88" y="115"/>
                    <a:pt x="102" y="117"/>
                  </a:cubicBezTo>
                  <a:cubicBezTo>
                    <a:pt x="116" y="119"/>
                    <a:pt x="133" y="121"/>
                    <a:pt x="155" y="122"/>
                  </a:cubicBezTo>
                  <a:cubicBezTo>
                    <a:pt x="182" y="124"/>
                    <a:pt x="205" y="126"/>
                    <a:pt x="224" y="130"/>
                  </a:cubicBezTo>
                  <a:cubicBezTo>
                    <a:pt x="243" y="133"/>
                    <a:pt x="258" y="139"/>
                    <a:pt x="269" y="145"/>
                  </a:cubicBezTo>
                  <a:cubicBezTo>
                    <a:pt x="280" y="152"/>
                    <a:pt x="288" y="160"/>
                    <a:pt x="293" y="170"/>
                  </a:cubicBezTo>
                  <a:cubicBezTo>
                    <a:pt x="298" y="180"/>
                    <a:pt x="300" y="193"/>
                    <a:pt x="300" y="207"/>
                  </a:cubicBezTo>
                  <a:cubicBezTo>
                    <a:pt x="300" y="224"/>
                    <a:pt x="297" y="238"/>
                    <a:pt x="290" y="250"/>
                  </a:cubicBezTo>
                  <a:cubicBezTo>
                    <a:pt x="283" y="262"/>
                    <a:pt x="273" y="271"/>
                    <a:pt x="260" y="279"/>
                  </a:cubicBezTo>
                  <a:cubicBezTo>
                    <a:pt x="246" y="286"/>
                    <a:pt x="230" y="292"/>
                    <a:pt x="212" y="295"/>
                  </a:cubicBezTo>
                  <a:cubicBezTo>
                    <a:pt x="193" y="299"/>
                    <a:pt x="172" y="301"/>
                    <a:pt x="149" y="301"/>
                  </a:cubicBezTo>
                  <a:cubicBezTo>
                    <a:pt x="121" y="301"/>
                    <a:pt x="95" y="298"/>
                    <a:pt x="71" y="294"/>
                  </a:cubicBezTo>
                  <a:cubicBezTo>
                    <a:pt x="47" y="289"/>
                    <a:pt x="23" y="281"/>
                    <a:pt x="0" y="269"/>
                  </a:cubicBezTo>
                  <a:lnTo>
                    <a:pt x="0" y="2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96" name="Freeform 53"/>
            <p:cNvSpPr>
              <a:spLocks/>
            </p:cNvSpPr>
            <p:nvPr/>
          </p:nvSpPr>
          <p:spPr bwMode="auto">
            <a:xfrm>
              <a:off x="6503988" y="9904413"/>
              <a:ext cx="1209675" cy="1106488"/>
            </a:xfrm>
            <a:custGeom>
              <a:avLst/>
              <a:gdLst>
                <a:gd name="T0" fmla="*/ 161 w 322"/>
                <a:gd name="T1" fmla="*/ 42 h 294"/>
                <a:gd name="T2" fmla="*/ 114 w 322"/>
                <a:gd name="T3" fmla="*/ 47 h 294"/>
                <a:gd name="T4" fmla="*/ 78 w 322"/>
                <a:gd name="T5" fmla="*/ 63 h 294"/>
                <a:gd name="T6" fmla="*/ 54 w 322"/>
                <a:gd name="T7" fmla="*/ 89 h 294"/>
                <a:gd name="T8" fmla="*/ 46 w 322"/>
                <a:gd name="T9" fmla="*/ 127 h 294"/>
                <a:gd name="T10" fmla="*/ 46 w 322"/>
                <a:gd name="T11" fmla="*/ 294 h 294"/>
                <a:gd name="T12" fmla="*/ 0 w 322"/>
                <a:gd name="T13" fmla="*/ 294 h 294"/>
                <a:gd name="T14" fmla="*/ 0 w 322"/>
                <a:gd name="T15" fmla="*/ 34 h 294"/>
                <a:gd name="T16" fmla="*/ 46 w 322"/>
                <a:gd name="T17" fmla="*/ 34 h 294"/>
                <a:gd name="T18" fmla="*/ 100 w 322"/>
                <a:gd name="T19" fmla="*/ 8 h 294"/>
                <a:gd name="T20" fmla="*/ 163 w 322"/>
                <a:gd name="T21" fmla="*/ 0 h 294"/>
                <a:gd name="T22" fmla="*/ 233 w 322"/>
                <a:gd name="T23" fmla="*/ 9 h 294"/>
                <a:gd name="T24" fmla="*/ 282 w 322"/>
                <a:gd name="T25" fmla="*/ 34 h 294"/>
                <a:gd name="T26" fmla="*/ 312 w 322"/>
                <a:gd name="T27" fmla="*/ 74 h 294"/>
                <a:gd name="T28" fmla="*/ 322 w 322"/>
                <a:gd name="T29" fmla="*/ 127 h 294"/>
                <a:gd name="T30" fmla="*/ 322 w 322"/>
                <a:gd name="T31" fmla="*/ 294 h 294"/>
                <a:gd name="T32" fmla="*/ 277 w 322"/>
                <a:gd name="T33" fmla="*/ 294 h 294"/>
                <a:gd name="T34" fmla="*/ 277 w 322"/>
                <a:gd name="T35" fmla="*/ 127 h 294"/>
                <a:gd name="T36" fmla="*/ 268 w 322"/>
                <a:gd name="T37" fmla="*/ 89 h 294"/>
                <a:gd name="T38" fmla="*/ 244 w 322"/>
                <a:gd name="T39" fmla="*/ 63 h 294"/>
                <a:gd name="T40" fmla="*/ 208 w 322"/>
                <a:gd name="T41" fmla="*/ 47 h 294"/>
                <a:gd name="T42" fmla="*/ 161 w 322"/>
                <a:gd name="T43" fmla="*/ 4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2" h="294">
                  <a:moveTo>
                    <a:pt x="161" y="42"/>
                  </a:moveTo>
                  <a:cubicBezTo>
                    <a:pt x="144" y="42"/>
                    <a:pt x="129" y="44"/>
                    <a:pt x="114" y="47"/>
                  </a:cubicBezTo>
                  <a:cubicBezTo>
                    <a:pt x="100" y="51"/>
                    <a:pt x="88" y="56"/>
                    <a:pt x="78" y="63"/>
                  </a:cubicBezTo>
                  <a:cubicBezTo>
                    <a:pt x="68" y="69"/>
                    <a:pt x="60" y="78"/>
                    <a:pt x="54" y="89"/>
                  </a:cubicBezTo>
                  <a:cubicBezTo>
                    <a:pt x="49" y="100"/>
                    <a:pt x="46" y="112"/>
                    <a:pt x="46" y="127"/>
                  </a:cubicBezTo>
                  <a:cubicBezTo>
                    <a:pt x="46" y="294"/>
                    <a:pt x="46" y="294"/>
                    <a:pt x="46" y="294"/>
                  </a:cubicBezTo>
                  <a:cubicBezTo>
                    <a:pt x="0" y="294"/>
                    <a:pt x="0" y="294"/>
                    <a:pt x="0" y="294"/>
                  </a:cubicBezTo>
                  <a:cubicBezTo>
                    <a:pt x="0" y="34"/>
                    <a:pt x="0" y="34"/>
                    <a:pt x="0" y="34"/>
                  </a:cubicBezTo>
                  <a:cubicBezTo>
                    <a:pt x="46" y="34"/>
                    <a:pt x="46" y="34"/>
                    <a:pt x="46" y="34"/>
                  </a:cubicBezTo>
                  <a:cubicBezTo>
                    <a:pt x="62" y="22"/>
                    <a:pt x="80" y="13"/>
                    <a:pt x="100" y="8"/>
                  </a:cubicBezTo>
                  <a:cubicBezTo>
                    <a:pt x="119" y="2"/>
                    <a:pt x="140" y="0"/>
                    <a:pt x="163" y="0"/>
                  </a:cubicBezTo>
                  <a:cubicBezTo>
                    <a:pt x="190" y="0"/>
                    <a:pt x="213" y="3"/>
                    <a:pt x="233" y="9"/>
                  </a:cubicBezTo>
                  <a:cubicBezTo>
                    <a:pt x="252" y="15"/>
                    <a:pt x="269" y="23"/>
                    <a:pt x="282" y="34"/>
                  </a:cubicBezTo>
                  <a:cubicBezTo>
                    <a:pt x="295" y="45"/>
                    <a:pt x="306" y="58"/>
                    <a:pt x="312" y="74"/>
                  </a:cubicBezTo>
                  <a:cubicBezTo>
                    <a:pt x="319" y="90"/>
                    <a:pt x="322" y="107"/>
                    <a:pt x="322" y="127"/>
                  </a:cubicBezTo>
                  <a:cubicBezTo>
                    <a:pt x="322" y="294"/>
                    <a:pt x="322" y="294"/>
                    <a:pt x="322" y="294"/>
                  </a:cubicBezTo>
                  <a:cubicBezTo>
                    <a:pt x="277" y="294"/>
                    <a:pt x="277" y="294"/>
                    <a:pt x="277" y="294"/>
                  </a:cubicBezTo>
                  <a:cubicBezTo>
                    <a:pt x="277" y="127"/>
                    <a:pt x="277" y="127"/>
                    <a:pt x="277" y="127"/>
                  </a:cubicBezTo>
                  <a:cubicBezTo>
                    <a:pt x="277" y="112"/>
                    <a:pt x="274" y="100"/>
                    <a:pt x="268" y="89"/>
                  </a:cubicBezTo>
                  <a:cubicBezTo>
                    <a:pt x="263" y="78"/>
                    <a:pt x="255" y="69"/>
                    <a:pt x="244" y="63"/>
                  </a:cubicBezTo>
                  <a:cubicBezTo>
                    <a:pt x="234" y="56"/>
                    <a:pt x="222" y="51"/>
                    <a:pt x="208" y="47"/>
                  </a:cubicBezTo>
                  <a:cubicBezTo>
                    <a:pt x="194" y="44"/>
                    <a:pt x="178" y="42"/>
                    <a:pt x="161"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97" name="Freeform 54"/>
            <p:cNvSpPr>
              <a:spLocks noEditPoints="1"/>
            </p:cNvSpPr>
            <p:nvPr/>
          </p:nvSpPr>
          <p:spPr bwMode="auto">
            <a:xfrm>
              <a:off x="7799388" y="10887075"/>
              <a:ext cx="128588" cy="123825"/>
            </a:xfrm>
            <a:custGeom>
              <a:avLst/>
              <a:gdLst>
                <a:gd name="T0" fmla="*/ 34 w 34"/>
                <a:gd name="T1" fmla="*/ 16 h 33"/>
                <a:gd name="T2" fmla="*/ 34 w 34"/>
                <a:gd name="T3" fmla="*/ 21 h 33"/>
                <a:gd name="T4" fmla="*/ 32 w 34"/>
                <a:gd name="T5" fmla="*/ 25 h 33"/>
                <a:gd name="T6" fmla="*/ 29 w 34"/>
                <a:gd name="T7" fmla="*/ 28 h 33"/>
                <a:gd name="T8" fmla="*/ 26 w 34"/>
                <a:gd name="T9" fmla="*/ 31 h 33"/>
                <a:gd name="T10" fmla="*/ 22 w 34"/>
                <a:gd name="T11" fmla="*/ 33 h 33"/>
                <a:gd name="T12" fmla="*/ 17 w 34"/>
                <a:gd name="T13" fmla="*/ 33 h 33"/>
                <a:gd name="T14" fmla="*/ 10 w 34"/>
                <a:gd name="T15" fmla="*/ 32 h 33"/>
                <a:gd name="T16" fmla="*/ 5 w 34"/>
                <a:gd name="T17" fmla="*/ 29 h 33"/>
                <a:gd name="T18" fmla="*/ 1 w 34"/>
                <a:gd name="T19" fmla="*/ 23 h 33"/>
                <a:gd name="T20" fmla="*/ 0 w 34"/>
                <a:gd name="T21" fmla="*/ 17 h 33"/>
                <a:gd name="T22" fmla="*/ 1 w 34"/>
                <a:gd name="T23" fmla="*/ 12 h 33"/>
                <a:gd name="T24" fmla="*/ 2 w 34"/>
                <a:gd name="T25" fmla="*/ 8 h 33"/>
                <a:gd name="T26" fmla="*/ 5 w 34"/>
                <a:gd name="T27" fmla="*/ 5 h 33"/>
                <a:gd name="T28" fmla="*/ 8 w 34"/>
                <a:gd name="T29" fmla="*/ 2 h 33"/>
                <a:gd name="T30" fmla="*/ 13 w 34"/>
                <a:gd name="T31" fmla="*/ 0 h 33"/>
                <a:gd name="T32" fmla="*/ 17 w 34"/>
                <a:gd name="T33" fmla="*/ 0 h 33"/>
                <a:gd name="T34" fmla="*/ 24 w 34"/>
                <a:gd name="T35" fmla="*/ 1 h 33"/>
                <a:gd name="T36" fmla="*/ 29 w 34"/>
                <a:gd name="T37" fmla="*/ 4 h 33"/>
                <a:gd name="T38" fmla="*/ 33 w 34"/>
                <a:gd name="T39" fmla="*/ 10 h 33"/>
                <a:gd name="T40" fmla="*/ 34 w 34"/>
                <a:gd name="T41" fmla="*/ 16 h 33"/>
                <a:gd name="T42" fmla="*/ 32 w 34"/>
                <a:gd name="T43" fmla="*/ 17 h 33"/>
                <a:gd name="T44" fmla="*/ 31 w 34"/>
                <a:gd name="T45" fmla="*/ 10 h 33"/>
                <a:gd name="T46" fmla="*/ 28 w 34"/>
                <a:gd name="T47" fmla="*/ 6 h 33"/>
                <a:gd name="T48" fmla="*/ 23 w 34"/>
                <a:gd name="T49" fmla="*/ 2 h 33"/>
                <a:gd name="T50" fmla="*/ 17 w 34"/>
                <a:gd name="T51" fmla="*/ 1 h 33"/>
                <a:gd name="T52" fmla="*/ 11 w 34"/>
                <a:gd name="T53" fmla="*/ 3 h 33"/>
                <a:gd name="T54" fmla="*/ 6 w 34"/>
                <a:gd name="T55" fmla="*/ 6 h 33"/>
                <a:gd name="T56" fmla="*/ 3 w 34"/>
                <a:gd name="T57" fmla="*/ 11 h 33"/>
                <a:gd name="T58" fmla="*/ 2 w 34"/>
                <a:gd name="T59" fmla="*/ 17 h 33"/>
                <a:gd name="T60" fmla="*/ 3 w 34"/>
                <a:gd name="T61" fmla="*/ 23 h 33"/>
                <a:gd name="T62" fmla="*/ 7 w 34"/>
                <a:gd name="T63" fmla="*/ 27 h 33"/>
                <a:gd name="T64" fmla="*/ 11 w 34"/>
                <a:gd name="T65" fmla="*/ 31 h 33"/>
                <a:gd name="T66" fmla="*/ 17 w 34"/>
                <a:gd name="T67" fmla="*/ 32 h 33"/>
                <a:gd name="T68" fmla="*/ 23 w 34"/>
                <a:gd name="T69" fmla="*/ 31 h 33"/>
                <a:gd name="T70" fmla="*/ 28 w 34"/>
                <a:gd name="T71" fmla="*/ 27 h 33"/>
                <a:gd name="T72" fmla="*/ 31 w 34"/>
                <a:gd name="T73" fmla="*/ 23 h 33"/>
                <a:gd name="T74" fmla="*/ 32 w 34"/>
                <a:gd name="T75"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33">
                  <a:moveTo>
                    <a:pt x="34" y="16"/>
                  </a:moveTo>
                  <a:cubicBezTo>
                    <a:pt x="34" y="18"/>
                    <a:pt x="34" y="20"/>
                    <a:pt x="34" y="21"/>
                  </a:cubicBezTo>
                  <a:cubicBezTo>
                    <a:pt x="33" y="22"/>
                    <a:pt x="33" y="24"/>
                    <a:pt x="32" y="25"/>
                  </a:cubicBezTo>
                  <a:cubicBezTo>
                    <a:pt x="31" y="26"/>
                    <a:pt x="30" y="27"/>
                    <a:pt x="29" y="28"/>
                  </a:cubicBezTo>
                  <a:cubicBezTo>
                    <a:pt x="28" y="29"/>
                    <a:pt x="27" y="30"/>
                    <a:pt x="26" y="31"/>
                  </a:cubicBezTo>
                  <a:cubicBezTo>
                    <a:pt x="25" y="32"/>
                    <a:pt x="23" y="32"/>
                    <a:pt x="22" y="33"/>
                  </a:cubicBezTo>
                  <a:cubicBezTo>
                    <a:pt x="20" y="33"/>
                    <a:pt x="19" y="33"/>
                    <a:pt x="17" y="33"/>
                  </a:cubicBezTo>
                  <a:cubicBezTo>
                    <a:pt x="15" y="33"/>
                    <a:pt x="12" y="33"/>
                    <a:pt x="10" y="32"/>
                  </a:cubicBezTo>
                  <a:cubicBezTo>
                    <a:pt x="8" y="31"/>
                    <a:pt x="6" y="30"/>
                    <a:pt x="5" y="29"/>
                  </a:cubicBezTo>
                  <a:cubicBezTo>
                    <a:pt x="3" y="27"/>
                    <a:pt x="2" y="25"/>
                    <a:pt x="1" y="23"/>
                  </a:cubicBezTo>
                  <a:cubicBezTo>
                    <a:pt x="1" y="21"/>
                    <a:pt x="0" y="19"/>
                    <a:pt x="0" y="17"/>
                  </a:cubicBezTo>
                  <a:cubicBezTo>
                    <a:pt x="0" y="15"/>
                    <a:pt x="0" y="13"/>
                    <a:pt x="1" y="12"/>
                  </a:cubicBezTo>
                  <a:cubicBezTo>
                    <a:pt x="1" y="11"/>
                    <a:pt x="2" y="9"/>
                    <a:pt x="2" y="8"/>
                  </a:cubicBezTo>
                  <a:cubicBezTo>
                    <a:pt x="3" y="7"/>
                    <a:pt x="4" y="6"/>
                    <a:pt x="5" y="5"/>
                  </a:cubicBezTo>
                  <a:cubicBezTo>
                    <a:pt x="6" y="4"/>
                    <a:pt x="7" y="3"/>
                    <a:pt x="8" y="2"/>
                  </a:cubicBezTo>
                  <a:cubicBezTo>
                    <a:pt x="10" y="1"/>
                    <a:pt x="11" y="1"/>
                    <a:pt x="13" y="0"/>
                  </a:cubicBezTo>
                  <a:cubicBezTo>
                    <a:pt x="14" y="0"/>
                    <a:pt x="16" y="0"/>
                    <a:pt x="17" y="0"/>
                  </a:cubicBezTo>
                  <a:cubicBezTo>
                    <a:pt x="20" y="0"/>
                    <a:pt x="22" y="0"/>
                    <a:pt x="24" y="1"/>
                  </a:cubicBezTo>
                  <a:cubicBezTo>
                    <a:pt x="26" y="2"/>
                    <a:pt x="28" y="3"/>
                    <a:pt x="29" y="4"/>
                  </a:cubicBezTo>
                  <a:cubicBezTo>
                    <a:pt x="31" y="6"/>
                    <a:pt x="32" y="8"/>
                    <a:pt x="33" y="10"/>
                  </a:cubicBezTo>
                  <a:cubicBezTo>
                    <a:pt x="34" y="12"/>
                    <a:pt x="34" y="14"/>
                    <a:pt x="34" y="16"/>
                  </a:cubicBezTo>
                  <a:close/>
                  <a:moveTo>
                    <a:pt x="32" y="17"/>
                  </a:moveTo>
                  <a:cubicBezTo>
                    <a:pt x="32" y="14"/>
                    <a:pt x="32" y="12"/>
                    <a:pt x="31" y="10"/>
                  </a:cubicBezTo>
                  <a:cubicBezTo>
                    <a:pt x="30" y="9"/>
                    <a:pt x="29" y="7"/>
                    <a:pt x="28" y="6"/>
                  </a:cubicBezTo>
                  <a:cubicBezTo>
                    <a:pt x="27" y="4"/>
                    <a:pt x="25" y="3"/>
                    <a:pt x="23" y="2"/>
                  </a:cubicBezTo>
                  <a:cubicBezTo>
                    <a:pt x="21" y="2"/>
                    <a:pt x="19" y="1"/>
                    <a:pt x="17" y="1"/>
                  </a:cubicBezTo>
                  <a:cubicBezTo>
                    <a:pt x="15" y="1"/>
                    <a:pt x="13" y="2"/>
                    <a:pt x="11" y="3"/>
                  </a:cubicBezTo>
                  <a:cubicBezTo>
                    <a:pt x="9" y="3"/>
                    <a:pt x="8" y="4"/>
                    <a:pt x="6" y="6"/>
                  </a:cubicBezTo>
                  <a:cubicBezTo>
                    <a:pt x="5" y="7"/>
                    <a:pt x="4" y="9"/>
                    <a:pt x="3" y="11"/>
                  </a:cubicBezTo>
                  <a:cubicBezTo>
                    <a:pt x="2" y="12"/>
                    <a:pt x="2" y="14"/>
                    <a:pt x="2" y="17"/>
                  </a:cubicBezTo>
                  <a:cubicBezTo>
                    <a:pt x="2" y="19"/>
                    <a:pt x="2" y="21"/>
                    <a:pt x="3" y="23"/>
                  </a:cubicBezTo>
                  <a:cubicBezTo>
                    <a:pt x="4" y="25"/>
                    <a:pt x="5" y="26"/>
                    <a:pt x="7" y="27"/>
                  </a:cubicBezTo>
                  <a:cubicBezTo>
                    <a:pt x="8" y="29"/>
                    <a:pt x="9" y="30"/>
                    <a:pt x="11" y="31"/>
                  </a:cubicBezTo>
                  <a:cubicBezTo>
                    <a:pt x="13" y="31"/>
                    <a:pt x="15" y="32"/>
                    <a:pt x="17" y="32"/>
                  </a:cubicBezTo>
                  <a:cubicBezTo>
                    <a:pt x="19" y="32"/>
                    <a:pt x="21" y="31"/>
                    <a:pt x="23" y="31"/>
                  </a:cubicBezTo>
                  <a:cubicBezTo>
                    <a:pt x="25" y="30"/>
                    <a:pt x="27" y="29"/>
                    <a:pt x="28" y="27"/>
                  </a:cubicBezTo>
                  <a:cubicBezTo>
                    <a:pt x="29" y="26"/>
                    <a:pt x="30" y="24"/>
                    <a:pt x="31" y="23"/>
                  </a:cubicBezTo>
                  <a:cubicBezTo>
                    <a:pt x="32" y="21"/>
                    <a:pt x="32" y="19"/>
                    <a:pt x="32" y="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198" name="Freeform 55"/>
            <p:cNvSpPr>
              <a:spLocks noEditPoints="1"/>
            </p:cNvSpPr>
            <p:nvPr/>
          </p:nvSpPr>
          <p:spPr bwMode="auto">
            <a:xfrm>
              <a:off x="7837488" y="10917238"/>
              <a:ext cx="60325" cy="63500"/>
            </a:xfrm>
            <a:custGeom>
              <a:avLst/>
              <a:gdLst>
                <a:gd name="T0" fmla="*/ 16 w 16"/>
                <a:gd name="T1" fmla="*/ 17 h 17"/>
                <a:gd name="T2" fmla="*/ 14 w 16"/>
                <a:gd name="T3" fmla="*/ 17 h 17"/>
                <a:gd name="T4" fmla="*/ 11 w 16"/>
                <a:gd name="T5" fmla="*/ 12 h 17"/>
                <a:gd name="T6" fmla="*/ 11 w 16"/>
                <a:gd name="T7" fmla="*/ 11 h 17"/>
                <a:gd name="T8" fmla="*/ 10 w 16"/>
                <a:gd name="T9" fmla="*/ 10 h 17"/>
                <a:gd name="T10" fmla="*/ 8 w 16"/>
                <a:gd name="T11" fmla="*/ 10 h 17"/>
                <a:gd name="T12" fmla="*/ 7 w 16"/>
                <a:gd name="T13" fmla="*/ 10 h 17"/>
                <a:gd name="T14" fmla="*/ 2 w 16"/>
                <a:gd name="T15" fmla="*/ 10 h 17"/>
                <a:gd name="T16" fmla="*/ 2 w 16"/>
                <a:gd name="T17" fmla="*/ 17 h 17"/>
                <a:gd name="T18" fmla="*/ 0 w 16"/>
                <a:gd name="T19" fmla="*/ 17 h 17"/>
                <a:gd name="T20" fmla="*/ 0 w 16"/>
                <a:gd name="T21" fmla="*/ 0 h 17"/>
                <a:gd name="T22" fmla="*/ 9 w 16"/>
                <a:gd name="T23" fmla="*/ 0 h 17"/>
                <a:gd name="T24" fmla="*/ 13 w 16"/>
                <a:gd name="T25" fmla="*/ 2 h 17"/>
                <a:gd name="T26" fmla="*/ 15 w 16"/>
                <a:gd name="T27" fmla="*/ 5 h 17"/>
                <a:gd name="T28" fmla="*/ 15 w 16"/>
                <a:gd name="T29" fmla="*/ 7 h 17"/>
                <a:gd name="T30" fmla="*/ 14 w 16"/>
                <a:gd name="T31" fmla="*/ 8 h 17"/>
                <a:gd name="T32" fmla="*/ 13 w 16"/>
                <a:gd name="T33" fmla="*/ 9 h 17"/>
                <a:gd name="T34" fmla="*/ 11 w 16"/>
                <a:gd name="T35" fmla="*/ 9 h 17"/>
                <a:gd name="T36" fmla="*/ 11 w 16"/>
                <a:gd name="T37" fmla="*/ 9 h 17"/>
                <a:gd name="T38" fmla="*/ 12 w 16"/>
                <a:gd name="T39" fmla="*/ 10 h 17"/>
                <a:gd name="T40" fmla="*/ 12 w 16"/>
                <a:gd name="T41" fmla="*/ 10 h 17"/>
                <a:gd name="T42" fmla="*/ 13 w 16"/>
                <a:gd name="T43" fmla="*/ 11 h 17"/>
                <a:gd name="T44" fmla="*/ 13 w 16"/>
                <a:gd name="T45" fmla="*/ 12 h 17"/>
                <a:gd name="T46" fmla="*/ 16 w 16"/>
                <a:gd name="T47" fmla="*/ 17 h 17"/>
                <a:gd name="T48" fmla="*/ 2 w 16"/>
                <a:gd name="T49" fmla="*/ 2 h 17"/>
                <a:gd name="T50" fmla="*/ 2 w 16"/>
                <a:gd name="T51" fmla="*/ 8 h 17"/>
                <a:gd name="T52" fmla="*/ 9 w 16"/>
                <a:gd name="T53" fmla="*/ 8 h 17"/>
                <a:gd name="T54" fmla="*/ 10 w 16"/>
                <a:gd name="T55" fmla="*/ 8 h 17"/>
                <a:gd name="T56" fmla="*/ 12 w 16"/>
                <a:gd name="T57" fmla="*/ 7 h 17"/>
                <a:gd name="T58" fmla="*/ 13 w 16"/>
                <a:gd name="T59" fmla="*/ 6 h 17"/>
                <a:gd name="T60" fmla="*/ 13 w 16"/>
                <a:gd name="T61" fmla="*/ 5 h 17"/>
                <a:gd name="T62" fmla="*/ 12 w 16"/>
                <a:gd name="T63" fmla="*/ 4 h 17"/>
                <a:gd name="T64" fmla="*/ 12 w 16"/>
                <a:gd name="T65" fmla="*/ 3 h 17"/>
                <a:gd name="T66" fmla="*/ 10 w 16"/>
                <a:gd name="T67" fmla="*/ 2 h 17"/>
                <a:gd name="T68" fmla="*/ 9 w 16"/>
                <a:gd name="T69" fmla="*/ 2 h 17"/>
                <a:gd name="T70" fmla="*/ 2 w 16"/>
                <a:gd name="T71"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17">
                  <a:moveTo>
                    <a:pt x="16" y="17"/>
                  </a:moveTo>
                  <a:cubicBezTo>
                    <a:pt x="14" y="17"/>
                    <a:pt x="14" y="17"/>
                    <a:pt x="14" y="17"/>
                  </a:cubicBezTo>
                  <a:cubicBezTo>
                    <a:pt x="11" y="12"/>
                    <a:pt x="11" y="12"/>
                    <a:pt x="11" y="12"/>
                  </a:cubicBezTo>
                  <a:cubicBezTo>
                    <a:pt x="11" y="12"/>
                    <a:pt x="11" y="11"/>
                    <a:pt x="11" y="11"/>
                  </a:cubicBezTo>
                  <a:cubicBezTo>
                    <a:pt x="10" y="11"/>
                    <a:pt x="10" y="10"/>
                    <a:pt x="10" y="10"/>
                  </a:cubicBezTo>
                  <a:cubicBezTo>
                    <a:pt x="9" y="10"/>
                    <a:pt x="9" y="10"/>
                    <a:pt x="8" y="10"/>
                  </a:cubicBezTo>
                  <a:cubicBezTo>
                    <a:pt x="8" y="10"/>
                    <a:pt x="8" y="10"/>
                    <a:pt x="7" y="10"/>
                  </a:cubicBezTo>
                  <a:cubicBezTo>
                    <a:pt x="2" y="10"/>
                    <a:pt x="2" y="10"/>
                    <a:pt x="2" y="10"/>
                  </a:cubicBezTo>
                  <a:cubicBezTo>
                    <a:pt x="2" y="17"/>
                    <a:pt x="2" y="17"/>
                    <a:pt x="2" y="17"/>
                  </a:cubicBezTo>
                  <a:cubicBezTo>
                    <a:pt x="0" y="17"/>
                    <a:pt x="0" y="17"/>
                    <a:pt x="0" y="17"/>
                  </a:cubicBezTo>
                  <a:cubicBezTo>
                    <a:pt x="0" y="0"/>
                    <a:pt x="0" y="0"/>
                    <a:pt x="0" y="0"/>
                  </a:cubicBezTo>
                  <a:cubicBezTo>
                    <a:pt x="9" y="0"/>
                    <a:pt x="9" y="0"/>
                    <a:pt x="9" y="0"/>
                  </a:cubicBezTo>
                  <a:cubicBezTo>
                    <a:pt x="11" y="0"/>
                    <a:pt x="12" y="1"/>
                    <a:pt x="13" y="2"/>
                  </a:cubicBezTo>
                  <a:cubicBezTo>
                    <a:pt x="14" y="2"/>
                    <a:pt x="15" y="3"/>
                    <a:pt x="15" y="5"/>
                  </a:cubicBezTo>
                  <a:cubicBezTo>
                    <a:pt x="15" y="6"/>
                    <a:pt x="15" y="6"/>
                    <a:pt x="15" y="7"/>
                  </a:cubicBezTo>
                  <a:cubicBezTo>
                    <a:pt x="14" y="7"/>
                    <a:pt x="14" y="8"/>
                    <a:pt x="14" y="8"/>
                  </a:cubicBezTo>
                  <a:cubicBezTo>
                    <a:pt x="13" y="8"/>
                    <a:pt x="13" y="9"/>
                    <a:pt x="13" y="9"/>
                  </a:cubicBezTo>
                  <a:cubicBezTo>
                    <a:pt x="12" y="9"/>
                    <a:pt x="12" y="9"/>
                    <a:pt x="11" y="9"/>
                  </a:cubicBezTo>
                  <a:cubicBezTo>
                    <a:pt x="11" y="9"/>
                    <a:pt x="11" y="9"/>
                    <a:pt x="11" y="9"/>
                  </a:cubicBezTo>
                  <a:cubicBezTo>
                    <a:pt x="11" y="9"/>
                    <a:pt x="12" y="10"/>
                    <a:pt x="12" y="10"/>
                  </a:cubicBezTo>
                  <a:cubicBezTo>
                    <a:pt x="12" y="10"/>
                    <a:pt x="12" y="10"/>
                    <a:pt x="12" y="10"/>
                  </a:cubicBezTo>
                  <a:cubicBezTo>
                    <a:pt x="13" y="10"/>
                    <a:pt x="13" y="11"/>
                    <a:pt x="13" y="11"/>
                  </a:cubicBezTo>
                  <a:cubicBezTo>
                    <a:pt x="13" y="11"/>
                    <a:pt x="13" y="11"/>
                    <a:pt x="13" y="12"/>
                  </a:cubicBezTo>
                  <a:lnTo>
                    <a:pt x="16" y="17"/>
                  </a:lnTo>
                  <a:close/>
                  <a:moveTo>
                    <a:pt x="2" y="2"/>
                  </a:moveTo>
                  <a:cubicBezTo>
                    <a:pt x="2" y="8"/>
                    <a:pt x="2" y="8"/>
                    <a:pt x="2" y="8"/>
                  </a:cubicBezTo>
                  <a:cubicBezTo>
                    <a:pt x="9" y="8"/>
                    <a:pt x="9" y="8"/>
                    <a:pt x="9" y="8"/>
                  </a:cubicBezTo>
                  <a:cubicBezTo>
                    <a:pt x="9" y="8"/>
                    <a:pt x="10" y="8"/>
                    <a:pt x="10" y="8"/>
                  </a:cubicBezTo>
                  <a:cubicBezTo>
                    <a:pt x="11" y="8"/>
                    <a:pt x="11" y="8"/>
                    <a:pt x="12" y="7"/>
                  </a:cubicBezTo>
                  <a:cubicBezTo>
                    <a:pt x="12" y="7"/>
                    <a:pt x="12" y="7"/>
                    <a:pt x="13" y="6"/>
                  </a:cubicBezTo>
                  <a:cubicBezTo>
                    <a:pt x="13" y="6"/>
                    <a:pt x="13" y="6"/>
                    <a:pt x="13" y="5"/>
                  </a:cubicBezTo>
                  <a:cubicBezTo>
                    <a:pt x="13" y="4"/>
                    <a:pt x="13" y="4"/>
                    <a:pt x="12" y="4"/>
                  </a:cubicBezTo>
                  <a:cubicBezTo>
                    <a:pt x="12" y="3"/>
                    <a:pt x="12" y="3"/>
                    <a:pt x="12" y="3"/>
                  </a:cubicBezTo>
                  <a:cubicBezTo>
                    <a:pt x="11" y="2"/>
                    <a:pt x="11" y="2"/>
                    <a:pt x="10" y="2"/>
                  </a:cubicBezTo>
                  <a:cubicBezTo>
                    <a:pt x="10" y="2"/>
                    <a:pt x="9" y="2"/>
                    <a:pt x="9" y="2"/>
                  </a:cubicBezTo>
                  <a:lnTo>
                    <a:pt x="2"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grpSp>
      <p:grpSp>
        <p:nvGrpSpPr>
          <p:cNvPr id="199" name="Group 198"/>
          <p:cNvGrpSpPr>
            <a:grpSpLocks/>
          </p:cNvGrpSpPr>
          <p:nvPr/>
        </p:nvGrpSpPr>
        <p:grpSpPr bwMode="auto">
          <a:xfrm>
            <a:off x="10335343" y="1645100"/>
            <a:ext cx="765696" cy="340828"/>
            <a:chOff x="14527213" y="8466138"/>
            <a:chExt cx="8528050" cy="3790950"/>
          </a:xfrm>
        </p:grpSpPr>
        <p:sp>
          <p:nvSpPr>
            <p:cNvPr id="200" name="Freeform 24"/>
            <p:cNvSpPr>
              <a:spLocks/>
            </p:cNvSpPr>
            <p:nvPr/>
          </p:nvSpPr>
          <p:spPr bwMode="auto">
            <a:xfrm>
              <a:off x="14527213" y="8466138"/>
              <a:ext cx="8528050" cy="3790950"/>
            </a:xfrm>
            <a:custGeom>
              <a:avLst/>
              <a:gdLst>
                <a:gd name="T0" fmla="*/ 2271 w 2271"/>
                <a:gd name="T1" fmla="*/ 320 h 1008"/>
                <a:gd name="T2" fmla="*/ 2141 w 2271"/>
                <a:gd name="T3" fmla="*/ 190 h 1008"/>
                <a:gd name="T4" fmla="*/ 2051 w 2271"/>
                <a:gd name="T5" fmla="*/ 226 h 1008"/>
                <a:gd name="T6" fmla="*/ 1863 w 2271"/>
                <a:gd name="T7" fmla="*/ 168 h 1008"/>
                <a:gd name="T8" fmla="*/ 1672 w 2271"/>
                <a:gd name="T9" fmla="*/ 229 h 1008"/>
                <a:gd name="T10" fmla="*/ 1583 w 2271"/>
                <a:gd name="T11" fmla="*/ 198 h 1008"/>
                <a:gd name="T12" fmla="*/ 1519 w 2271"/>
                <a:gd name="T13" fmla="*/ 213 h 1008"/>
                <a:gd name="T14" fmla="*/ 1270 w 2271"/>
                <a:gd name="T15" fmla="*/ 71 h 1008"/>
                <a:gd name="T16" fmla="*/ 1044 w 2271"/>
                <a:gd name="T17" fmla="*/ 180 h 1008"/>
                <a:gd name="T18" fmla="*/ 835 w 2271"/>
                <a:gd name="T19" fmla="*/ 118 h 1008"/>
                <a:gd name="T20" fmla="*/ 752 w 2271"/>
                <a:gd name="T21" fmla="*/ 127 h 1008"/>
                <a:gd name="T22" fmla="*/ 597 w 2271"/>
                <a:gd name="T23" fmla="*/ 0 h 1008"/>
                <a:gd name="T24" fmla="*/ 438 w 2271"/>
                <a:gd name="T25" fmla="*/ 158 h 1008"/>
                <a:gd name="T26" fmla="*/ 439 w 2271"/>
                <a:gd name="T27" fmla="*/ 168 h 1008"/>
                <a:gd name="T28" fmla="*/ 388 w 2271"/>
                <a:gd name="T29" fmla="*/ 165 h 1008"/>
                <a:gd name="T30" fmla="*/ 261 w 2271"/>
                <a:gd name="T31" fmla="*/ 189 h 1008"/>
                <a:gd name="T32" fmla="*/ 177 w 2271"/>
                <a:gd name="T33" fmla="*/ 168 h 1008"/>
                <a:gd name="T34" fmla="*/ 0 w 2271"/>
                <a:gd name="T35" fmla="*/ 345 h 1008"/>
                <a:gd name="T36" fmla="*/ 55 w 2271"/>
                <a:gd name="T37" fmla="*/ 472 h 1008"/>
                <a:gd name="T38" fmla="*/ 53 w 2271"/>
                <a:gd name="T39" fmla="*/ 499 h 1008"/>
                <a:gd name="T40" fmla="*/ 388 w 2271"/>
                <a:gd name="T41" fmla="*/ 833 h 1008"/>
                <a:gd name="T42" fmla="*/ 570 w 2271"/>
                <a:gd name="T43" fmla="*/ 778 h 1008"/>
                <a:gd name="T44" fmla="*/ 798 w 2271"/>
                <a:gd name="T45" fmla="*/ 883 h 1008"/>
                <a:gd name="T46" fmla="*/ 980 w 2271"/>
                <a:gd name="T47" fmla="*/ 1008 h 1008"/>
                <a:gd name="T48" fmla="*/ 1157 w 2271"/>
                <a:gd name="T49" fmla="*/ 894 h 1008"/>
                <a:gd name="T50" fmla="*/ 1306 w 2271"/>
                <a:gd name="T51" fmla="*/ 968 h 1008"/>
                <a:gd name="T52" fmla="*/ 1485 w 2271"/>
                <a:gd name="T53" fmla="*/ 837 h 1008"/>
                <a:gd name="T54" fmla="*/ 1520 w 2271"/>
                <a:gd name="T55" fmla="*/ 839 h 1008"/>
                <a:gd name="T56" fmla="*/ 1676 w 2271"/>
                <a:gd name="T57" fmla="*/ 773 h 1008"/>
                <a:gd name="T58" fmla="*/ 1863 w 2271"/>
                <a:gd name="T59" fmla="*/ 831 h 1008"/>
                <a:gd name="T60" fmla="*/ 2195 w 2271"/>
                <a:gd name="T61" fmla="*/ 499 h 1008"/>
                <a:gd name="T62" fmla="*/ 2190 w 2271"/>
                <a:gd name="T63" fmla="*/ 441 h 1008"/>
                <a:gd name="T64" fmla="*/ 2271 w 2271"/>
                <a:gd name="T65" fmla="*/ 320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1" h="1008">
                  <a:moveTo>
                    <a:pt x="2271" y="320"/>
                  </a:moveTo>
                  <a:cubicBezTo>
                    <a:pt x="2271" y="248"/>
                    <a:pt x="2213" y="190"/>
                    <a:pt x="2141" y="190"/>
                  </a:cubicBezTo>
                  <a:cubicBezTo>
                    <a:pt x="2106" y="190"/>
                    <a:pt x="2074" y="204"/>
                    <a:pt x="2051" y="226"/>
                  </a:cubicBezTo>
                  <a:cubicBezTo>
                    <a:pt x="1998" y="189"/>
                    <a:pt x="1933" y="168"/>
                    <a:pt x="1863" y="168"/>
                  </a:cubicBezTo>
                  <a:cubicBezTo>
                    <a:pt x="1792" y="168"/>
                    <a:pt x="1726" y="190"/>
                    <a:pt x="1672" y="229"/>
                  </a:cubicBezTo>
                  <a:cubicBezTo>
                    <a:pt x="1647" y="210"/>
                    <a:pt x="1617" y="198"/>
                    <a:pt x="1583" y="198"/>
                  </a:cubicBezTo>
                  <a:cubicBezTo>
                    <a:pt x="1560" y="198"/>
                    <a:pt x="1539" y="203"/>
                    <a:pt x="1519" y="213"/>
                  </a:cubicBezTo>
                  <a:cubicBezTo>
                    <a:pt x="1469" y="128"/>
                    <a:pt x="1376" y="71"/>
                    <a:pt x="1270" y="71"/>
                  </a:cubicBezTo>
                  <a:cubicBezTo>
                    <a:pt x="1178" y="71"/>
                    <a:pt x="1097" y="114"/>
                    <a:pt x="1044" y="180"/>
                  </a:cubicBezTo>
                  <a:cubicBezTo>
                    <a:pt x="984" y="141"/>
                    <a:pt x="912" y="118"/>
                    <a:pt x="835" y="118"/>
                  </a:cubicBezTo>
                  <a:cubicBezTo>
                    <a:pt x="806" y="118"/>
                    <a:pt x="779" y="121"/>
                    <a:pt x="752" y="127"/>
                  </a:cubicBezTo>
                  <a:cubicBezTo>
                    <a:pt x="738" y="54"/>
                    <a:pt x="674" y="0"/>
                    <a:pt x="597" y="0"/>
                  </a:cubicBezTo>
                  <a:cubicBezTo>
                    <a:pt x="509" y="0"/>
                    <a:pt x="438" y="70"/>
                    <a:pt x="438" y="158"/>
                  </a:cubicBezTo>
                  <a:cubicBezTo>
                    <a:pt x="438" y="161"/>
                    <a:pt x="439" y="165"/>
                    <a:pt x="439" y="168"/>
                  </a:cubicBezTo>
                  <a:cubicBezTo>
                    <a:pt x="422" y="166"/>
                    <a:pt x="405" y="165"/>
                    <a:pt x="388" y="165"/>
                  </a:cubicBezTo>
                  <a:cubicBezTo>
                    <a:pt x="343" y="165"/>
                    <a:pt x="300" y="173"/>
                    <a:pt x="261" y="189"/>
                  </a:cubicBezTo>
                  <a:cubicBezTo>
                    <a:pt x="236" y="176"/>
                    <a:pt x="207" y="168"/>
                    <a:pt x="177" y="168"/>
                  </a:cubicBezTo>
                  <a:cubicBezTo>
                    <a:pt x="79" y="168"/>
                    <a:pt x="0" y="247"/>
                    <a:pt x="0" y="345"/>
                  </a:cubicBezTo>
                  <a:cubicBezTo>
                    <a:pt x="0" y="395"/>
                    <a:pt x="21" y="440"/>
                    <a:pt x="55" y="472"/>
                  </a:cubicBezTo>
                  <a:cubicBezTo>
                    <a:pt x="54" y="481"/>
                    <a:pt x="53" y="490"/>
                    <a:pt x="53" y="499"/>
                  </a:cubicBezTo>
                  <a:cubicBezTo>
                    <a:pt x="53" y="683"/>
                    <a:pt x="203" y="833"/>
                    <a:pt x="388" y="833"/>
                  </a:cubicBezTo>
                  <a:cubicBezTo>
                    <a:pt x="455" y="833"/>
                    <a:pt x="518" y="813"/>
                    <a:pt x="570" y="778"/>
                  </a:cubicBezTo>
                  <a:cubicBezTo>
                    <a:pt x="631" y="836"/>
                    <a:pt x="710" y="874"/>
                    <a:pt x="798" y="883"/>
                  </a:cubicBezTo>
                  <a:cubicBezTo>
                    <a:pt x="826" y="956"/>
                    <a:pt x="897" y="1008"/>
                    <a:pt x="980" y="1008"/>
                  </a:cubicBezTo>
                  <a:cubicBezTo>
                    <a:pt x="1059" y="1008"/>
                    <a:pt x="1126" y="961"/>
                    <a:pt x="1157" y="894"/>
                  </a:cubicBezTo>
                  <a:cubicBezTo>
                    <a:pt x="1191" y="939"/>
                    <a:pt x="1245" y="968"/>
                    <a:pt x="1306" y="968"/>
                  </a:cubicBezTo>
                  <a:cubicBezTo>
                    <a:pt x="1390" y="968"/>
                    <a:pt x="1461" y="913"/>
                    <a:pt x="1485" y="837"/>
                  </a:cubicBezTo>
                  <a:cubicBezTo>
                    <a:pt x="1496" y="838"/>
                    <a:pt x="1508" y="839"/>
                    <a:pt x="1520" y="839"/>
                  </a:cubicBezTo>
                  <a:cubicBezTo>
                    <a:pt x="1581" y="839"/>
                    <a:pt x="1637" y="814"/>
                    <a:pt x="1676" y="773"/>
                  </a:cubicBezTo>
                  <a:cubicBezTo>
                    <a:pt x="1729" y="810"/>
                    <a:pt x="1794" y="831"/>
                    <a:pt x="1863" y="831"/>
                  </a:cubicBezTo>
                  <a:cubicBezTo>
                    <a:pt x="2046" y="831"/>
                    <a:pt x="2195" y="683"/>
                    <a:pt x="2195" y="499"/>
                  </a:cubicBezTo>
                  <a:cubicBezTo>
                    <a:pt x="2195" y="479"/>
                    <a:pt x="2193" y="460"/>
                    <a:pt x="2190" y="441"/>
                  </a:cubicBezTo>
                  <a:cubicBezTo>
                    <a:pt x="2237" y="421"/>
                    <a:pt x="2271" y="375"/>
                    <a:pt x="2271" y="320"/>
                  </a:cubicBezTo>
                  <a:close/>
                </a:path>
              </a:pathLst>
            </a:custGeom>
            <a:solidFill>
              <a:schemeClr val="tx1"/>
            </a:solidFill>
            <a:ln>
              <a:noFill/>
            </a:ln>
          </p:spPr>
          <p:txBody>
            <a:bodyPr/>
            <a:lstStyle/>
            <a:p>
              <a:pPr defTabSz="913949">
                <a:defRPr/>
              </a:pPr>
              <a:endParaRPr lang="en-US">
                <a:solidFill>
                  <a:srgbClr val="505050"/>
                </a:solidFill>
                <a:ea typeface="ＭＳ Ｐゴシック" charset="0"/>
              </a:endParaRPr>
            </a:p>
          </p:txBody>
        </p:sp>
        <p:sp>
          <p:nvSpPr>
            <p:cNvPr id="201" name="Freeform 25"/>
            <p:cNvSpPr>
              <a:spLocks noEditPoints="1"/>
            </p:cNvSpPr>
            <p:nvPr/>
          </p:nvSpPr>
          <p:spPr bwMode="auto">
            <a:xfrm>
              <a:off x="22275253" y="9522061"/>
              <a:ext cx="554670" cy="294281"/>
            </a:xfrm>
            <a:custGeom>
              <a:avLst/>
              <a:gdLst>
                <a:gd name="T0" fmla="*/ 95 w 348"/>
                <a:gd name="T1" fmla="*/ 33 h 182"/>
                <a:gd name="T2" fmla="*/ 149 w 348"/>
                <a:gd name="T3" fmla="*/ 33 h 182"/>
                <a:gd name="T4" fmla="*/ 149 w 348"/>
                <a:gd name="T5" fmla="*/ 0 h 182"/>
                <a:gd name="T6" fmla="*/ 0 w 348"/>
                <a:gd name="T7" fmla="*/ 0 h 182"/>
                <a:gd name="T8" fmla="*/ 0 w 348"/>
                <a:gd name="T9" fmla="*/ 33 h 182"/>
                <a:gd name="T10" fmla="*/ 54 w 348"/>
                <a:gd name="T11" fmla="*/ 33 h 182"/>
                <a:gd name="T12" fmla="*/ 54 w 348"/>
                <a:gd name="T13" fmla="*/ 182 h 182"/>
                <a:gd name="T14" fmla="*/ 95 w 348"/>
                <a:gd name="T15" fmla="*/ 182 h 182"/>
                <a:gd name="T16" fmla="*/ 95 w 348"/>
                <a:gd name="T17" fmla="*/ 33 h 182"/>
                <a:gd name="T18" fmla="*/ 95 w 348"/>
                <a:gd name="T19" fmla="*/ 33 h 182"/>
                <a:gd name="T20" fmla="*/ 348 w 348"/>
                <a:gd name="T21" fmla="*/ 0 h 182"/>
                <a:gd name="T22" fmla="*/ 291 w 348"/>
                <a:gd name="T23" fmla="*/ 0 h 182"/>
                <a:gd name="T24" fmla="*/ 260 w 348"/>
                <a:gd name="T25" fmla="*/ 144 h 182"/>
                <a:gd name="T26" fmla="*/ 258 w 348"/>
                <a:gd name="T27" fmla="*/ 144 h 182"/>
                <a:gd name="T28" fmla="*/ 225 w 348"/>
                <a:gd name="T29" fmla="*/ 0 h 182"/>
                <a:gd name="T30" fmla="*/ 170 w 348"/>
                <a:gd name="T31" fmla="*/ 0 h 182"/>
                <a:gd name="T32" fmla="*/ 170 w 348"/>
                <a:gd name="T33" fmla="*/ 182 h 182"/>
                <a:gd name="T34" fmla="*/ 206 w 348"/>
                <a:gd name="T35" fmla="*/ 182 h 182"/>
                <a:gd name="T36" fmla="*/ 206 w 348"/>
                <a:gd name="T37" fmla="*/ 31 h 182"/>
                <a:gd name="T38" fmla="*/ 206 w 348"/>
                <a:gd name="T39" fmla="*/ 31 h 182"/>
                <a:gd name="T40" fmla="*/ 239 w 348"/>
                <a:gd name="T41" fmla="*/ 182 h 182"/>
                <a:gd name="T42" fmla="*/ 277 w 348"/>
                <a:gd name="T43" fmla="*/ 182 h 182"/>
                <a:gd name="T44" fmla="*/ 312 w 348"/>
                <a:gd name="T45" fmla="*/ 31 h 182"/>
                <a:gd name="T46" fmla="*/ 312 w 348"/>
                <a:gd name="T47" fmla="*/ 31 h 182"/>
                <a:gd name="T48" fmla="*/ 312 w 348"/>
                <a:gd name="T49" fmla="*/ 182 h 182"/>
                <a:gd name="T50" fmla="*/ 348 w 348"/>
                <a:gd name="T51" fmla="*/ 182 h 182"/>
                <a:gd name="T52" fmla="*/ 348 w 348"/>
                <a:gd name="T53" fmla="*/ 0 h 182"/>
                <a:gd name="T54" fmla="*/ 348 w 348"/>
                <a:gd name="T5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8" h="182">
                  <a:moveTo>
                    <a:pt x="95" y="33"/>
                  </a:moveTo>
                  <a:lnTo>
                    <a:pt x="149" y="33"/>
                  </a:lnTo>
                  <a:lnTo>
                    <a:pt x="149" y="0"/>
                  </a:lnTo>
                  <a:lnTo>
                    <a:pt x="0" y="0"/>
                  </a:lnTo>
                  <a:lnTo>
                    <a:pt x="0" y="33"/>
                  </a:lnTo>
                  <a:lnTo>
                    <a:pt x="54" y="33"/>
                  </a:lnTo>
                  <a:lnTo>
                    <a:pt x="54" y="182"/>
                  </a:lnTo>
                  <a:lnTo>
                    <a:pt x="95" y="182"/>
                  </a:lnTo>
                  <a:lnTo>
                    <a:pt x="95" y="33"/>
                  </a:lnTo>
                  <a:lnTo>
                    <a:pt x="95" y="33"/>
                  </a:lnTo>
                  <a:close/>
                  <a:moveTo>
                    <a:pt x="348" y="0"/>
                  </a:moveTo>
                  <a:lnTo>
                    <a:pt x="291" y="0"/>
                  </a:lnTo>
                  <a:lnTo>
                    <a:pt x="260" y="144"/>
                  </a:lnTo>
                  <a:lnTo>
                    <a:pt x="258" y="144"/>
                  </a:lnTo>
                  <a:lnTo>
                    <a:pt x="225" y="0"/>
                  </a:lnTo>
                  <a:lnTo>
                    <a:pt x="170" y="0"/>
                  </a:lnTo>
                  <a:lnTo>
                    <a:pt x="170" y="182"/>
                  </a:lnTo>
                  <a:lnTo>
                    <a:pt x="206" y="182"/>
                  </a:lnTo>
                  <a:lnTo>
                    <a:pt x="206" y="31"/>
                  </a:lnTo>
                  <a:lnTo>
                    <a:pt x="206" y="31"/>
                  </a:lnTo>
                  <a:lnTo>
                    <a:pt x="239" y="182"/>
                  </a:lnTo>
                  <a:lnTo>
                    <a:pt x="277" y="182"/>
                  </a:lnTo>
                  <a:lnTo>
                    <a:pt x="312" y="31"/>
                  </a:lnTo>
                  <a:lnTo>
                    <a:pt x="312" y="31"/>
                  </a:lnTo>
                  <a:lnTo>
                    <a:pt x="312" y="182"/>
                  </a:lnTo>
                  <a:lnTo>
                    <a:pt x="348" y="182"/>
                  </a:lnTo>
                  <a:lnTo>
                    <a:pt x="348" y="0"/>
                  </a:lnTo>
                  <a:lnTo>
                    <a:pt x="348"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02" name="Freeform 26"/>
            <p:cNvSpPr>
              <a:spLocks noEditPoints="1"/>
            </p:cNvSpPr>
            <p:nvPr/>
          </p:nvSpPr>
          <p:spPr bwMode="auto">
            <a:xfrm>
              <a:off x="15116550" y="8898890"/>
              <a:ext cx="7228037" cy="2873510"/>
            </a:xfrm>
            <a:custGeom>
              <a:avLst/>
              <a:gdLst>
                <a:gd name="T0" fmla="*/ 189 w 1926"/>
                <a:gd name="T1" fmla="*/ 322 h 766"/>
                <a:gd name="T2" fmla="*/ 195 w 1926"/>
                <a:gd name="T3" fmla="*/ 260 h 766"/>
                <a:gd name="T4" fmla="*/ 318 w 1926"/>
                <a:gd name="T5" fmla="*/ 292 h 766"/>
                <a:gd name="T6" fmla="*/ 347 w 1926"/>
                <a:gd name="T7" fmla="*/ 200 h 766"/>
                <a:gd name="T8" fmla="*/ 107 w 1926"/>
                <a:gd name="T9" fmla="*/ 180 h 766"/>
                <a:gd name="T10" fmla="*/ 49 w 1926"/>
                <a:gd name="T11" fmla="*/ 361 h 766"/>
                <a:gd name="T12" fmla="*/ 255 w 1926"/>
                <a:gd name="T13" fmla="*/ 461 h 766"/>
                <a:gd name="T14" fmla="*/ 165 w 1926"/>
                <a:gd name="T15" fmla="*/ 489 h 766"/>
                <a:gd name="T16" fmla="*/ 59 w 1926"/>
                <a:gd name="T17" fmla="*/ 455 h 766"/>
                <a:gd name="T18" fmla="*/ 0 w 1926"/>
                <a:gd name="T19" fmla="*/ 505 h 766"/>
                <a:gd name="T20" fmla="*/ 191 w 1926"/>
                <a:gd name="T21" fmla="*/ 591 h 766"/>
                <a:gd name="T22" fmla="*/ 387 w 1926"/>
                <a:gd name="T23" fmla="*/ 460 h 766"/>
                <a:gd name="T24" fmla="*/ 1868 w 1926"/>
                <a:gd name="T25" fmla="*/ 449 h 766"/>
                <a:gd name="T26" fmla="*/ 1735 w 1926"/>
                <a:gd name="T27" fmla="*/ 494 h 766"/>
                <a:gd name="T28" fmla="*/ 1874 w 1926"/>
                <a:gd name="T29" fmla="*/ 413 h 766"/>
                <a:gd name="T30" fmla="*/ 1867 w 1926"/>
                <a:gd name="T31" fmla="*/ 222 h 766"/>
                <a:gd name="T32" fmla="*/ 1630 w 1926"/>
                <a:gd name="T33" fmla="*/ 173 h 766"/>
                <a:gd name="T34" fmla="*/ 1508 w 1926"/>
                <a:gd name="T35" fmla="*/ 329 h 766"/>
                <a:gd name="T36" fmla="*/ 1323 w 1926"/>
                <a:gd name="T37" fmla="*/ 155 h 766"/>
                <a:gd name="T38" fmla="*/ 1153 w 1926"/>
                <a:gd name="T39" fmla="*/ 160 h 766"/>
                <a:gd name="T40" fmla="*/ 1096 w 1926"/>
                <a:gd name="T41" fmla="*/ 166 h 766"/>
                <a:gd name="T42" fmla="*/ 998 w 1926"/>
                <a:gd name="T43" fmla="*/ 194 h 766"/>
                <a:gd name="T44" fmla="*/ 806 w 1926"/>
                <a:gd name="T45" fmla="*/ 162 h 766"/>
                <a:gd name="T46" fmla="*/ 720 w 1926"/>
                <a:gd name="T47" fmla="*/ 179 h 766"/>
                <a:gd name="T48" fmla="*/ 627 w 1926"/>
                <a:gd name="T49" fmla="*/ 184 h 766"/>
                <a:gd name="T50" fmla="*/ 500 w 1926"/>
                <a:gd name="T51" fmla="*/ 30 h 766"/>
                <a:gd name="T52" fmla="*/ 405 w 1926"/>
                <a:gd name="T53" fmla="*/ 17 h 766"/>
                <a:gd name="T54" fmla="*/ 405 w 1926"/>
                <a:gd name="T55" fmla="*/ 580 h 766"/>
                <a:gd name="T56" fmla="*/ 500 w 1926"/>
                <a:gd name="T57" fmla="*/ 567 h 766"/>
                <a:gd name="T58" fmla="*/ 548 w 1926"/>
                <a:gd name="T59" fmla="*/ 415 h 766"/>
                <a:gd name="T60" fmla="*/ 712 w 1926"/>
                <a:gd name="T61" fmla="*/ 601 h 766"/>
                <a:gd name="T62" fmla="*/ 754 w 1926"/>
                <a:gd name="T63" fmla="*/ 512 h 766"/>
                <a:gd name="T64" fmla="*/ 721 w 1926"/>
                <a:gd name="T65" fmla="*/ 241 h 766"/>
                <a:gd name="T66" fmla="*/ 754 w 1926"/>
                <a:gd name="T67" fmla="*/ 703 h 766"/>
                <a:gd name="T68" fmla="*/ 1094 w 1926"/>
                <a:gd name="T69" fmla="*/ 274 h 766"/>
                <a:gd name="T70" fmla="*/ 1153 w 1926"/>
                <a:gd name="T71" fmla="*/ 757 h 766"/>
                <a:gd name="T72" fmla="*/ 1212 w 1926"/>
                <a:gd name="T73" fmla="*/ 555 h 766"/>
                <a:gd name="T74" fmla="*/ 1420 w 1926"/>
                <a:gd name="T75" fmla="*/ 564 h 766"/>
                <a:gd name="T76" fmla="*/ 1519 w 1926"/>
                <a:gd name="T77" fmla="*/ 461 h 766"/>
                <a:gd name="T78" fmla="*/ 1724 w 1926"/>
                <a:gd name="T79" fmla="*/ 594 h 766"/>
                <a:gd name="T80" fmla="*/ 1916 w 1926"/>
                <a:gd name="T81" fmla="*/ 498 h 766"/>
                <a:gd name="T82" fmla="*/ 1371 w 1926"/>
                <a:gd name="T83" fmla="*/ 454 h 766"/>
                <a:gd name="T84" fmla="*/ 1212 w 1926"/>
                <a:gd name="T85" fmla="*/ 371 h 766"/>
                <a:gd name="T86" fmla="*/ 1304 w 1926"/>
                <a:gd name="T87" fmla="*/ 259 h 766"/>
                <a:gd name="T88" fmla="*/ 1371 w 1926"/>
                <a:gd name="T89" fmla="*/ 454 h 766"/>
                <a:gd name="T90" fmla="*/ 1714 w 1926"/>
                <a:gd name="T91" fmla="*/ 250 h 766"/>
                <a:gd name="T92" fmla="*/ 1808 w 1926"/>
                <a:gd name="T93" fmla="*/ 337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6" h="766">
                  <a:moveTo>
                    <a:pt x="354" y="392"/>
                  </a:moveTo>
                  <a:cubicBezTo>
                    <a:pt x="332" y="374"/>
                    <a:pt x="306" y="361"/>
                    <a:pt x="276" y="351"/>
                  </a:cubicBezTo>
                  <a:cubicBezTo>
                    <a:pt x="245" y="341"/>
                    <a:pt x="217" y="331"/>
                    <a:pt x="189" y="322"/>
                  </a:cubicBezTo>
                  <a:cubicBezTo>
                    <a:pt x="162" y="312"/>
                    <a:pt x="148" y="302"/>
                    <a:pt x="148" y="291"/>
                  </a:cubicBezTo>
                  <a:cubicBezTo>
                    <a:pt x="148" y="281"/>
                    <a:pt x="153" y="273"/>
                    <a:pt x="162" y="268"/>
                  </a:cubicBezTo>
                  <a:cubicBezTo>
                    <a:pt x="171" y="263"/>
                    <a:pt x="182" y="260"/>
                    <a:pt x="195" y="260"/>
                  </a:cubicBezTo>
                  <a:cubicBezTo>
                    <a:pt x="208" y="260"/>
                    <a:pt x="220" y="262"/>
                    <a:pt x="231" y="266"/>
                  </a:cubicBezTo>
                  <a:cubicBezTo>
                    <a:pt x="242" y="269"/>
                    <a:pt x="257" y="274"/>
                    <a:pt x="277" y="282"/>
                  </a:cubicBezTo>
                  <a:cubicBezTo>
                    <a:pt x="297" y="289"/>
                    <a:pt x="311" y="292"/>
                    <a:pt x="318" y="292"/>
                  </a:cubicBezTo>
                  <a:cubicBezTo>
                    <a:pt x="334" y="292"/>
                    <a:pt x="347" y="287"/>
                    <a:pt x="358" y="278"/>
                  </a:cubicBezTo>
                  <a:cubicBezTo>
                    <a:pt x="369" y="268"/>
                    <a:pt x="374" y="256"/>
                    <a:pt x="374" y="244"/>
                  </a:cubicBezTo>
                  <a:cubicBezTo>
                    <a:pt x="374" y="227"/>
                    <a:pt x="365" y="212"/>
                    <a:pt x="347" y="200"/>
                  </a:cubicBezTo>
                  <a:cubicBezTo>
                    <a:pt x="328" y="188"/>
                    <a:pt x="306" y="179"/>
                    <a:pt x="280" y="173"/>
                  </a:cubicBezTo>
                  <a:cubicBezTo>
                    <a:pt x="254" y="167"/>
                    <a:pt x="228" y="164"/>
                    <a:pt x="203" y="164"/>
                  </a:cubicBezTo>
                  <a:cubicBezTo>
                    <a:pt x="167" y="164"/>
                    <a:pt x="135" y="169"/>
                    <a:pt x="107" y="180"/>
                  </a:cubicBezTo>
                  <a:cubicBezTo>
                    <a:pt x="78" y="191"/>
                    <a:pt x="56" y="206"/>
                    <a:pt x="40" y="225"/>
                  </a:cubicBezTo>
                  <a:cubicBezTo>
                    <a:pt x="25" y="245"/>
                    <a:pt x="17" y="267"/>
                    <a:pt x="17" y="292"/>
                  </a:cubicBezTo>
                  <a:cubicBezTo>
                    <a:pt x="17" y="321"/>
                    <a:pt x="27" y="343"/>
                    <a:pt x="49" y="361"/>
                  </a:cubicBezTo>
                  <a:cubicBezTo>
                    <a:pt x="70" y="378"/>
                    <a:pt x="96" y="392"/>
                    <a:pt x="127" y="402"/>
                  </a:cubicBezTo>
                  <a:cubicBezTo>
                    <a:pt x="158" y="413"/>
                    <a:pt x="188" y="423"/>
                    <a:pt x="215" y="432"/>
                  </a:cubicBezTo>
                  <a:cubicBezTo>
                    <a:pt x="242" y="441"/>
                    <a:pt x="255" y="451"/>
                    <a:pt x="255" y="461"/>
                  </a:cubicBezTo>
                  <a:cubicBezTo>
                    <a:pt x="255" y="473"/>
                    <a:pt x="251" y="481"/>
                    <a:pt x="243" y="486"/>
                  </a:cubicBezTo>
                  <a:cubicBezTo>
                    <a:pt x="235" y="491"/>
                    <a:pt x="221" y="493"/>
                    <a:pt x="201" y="493"/>
                  </a:cubicBezTo>
                  <a:cubicBezTo>
                    <a:pt x="188" y="493"/>
                    <a:pt x="176" y="492"/>
                    <a:pt x="165" y="489"/>
                  </a:cubicBezTo>
                  <a:cubicBezTo>
                    <a:pt x="153" y="486"/>
                    <a:pt x="141" y="481"/>
                    <a:pt x="127" y="474"/>
                  </a:cubicBezTo>
                  <a:cubicBezTo>
                    <a:pt x="112" y="468"/>
                    <a:pt x="101" y="463"/>
                    <a:pt x="91" y="460"/>
                  </a:cubicBezTo>
                  <a:cubicBezTo>
                    <a:pt x="82" y="457"/>
                    <a:pt x="71" y="455"/>
                    <a:pt x="59" y="455"/>
                  </a:cubicBezTo>
                  <a:cubicBezTo>
                    <a:pt x="48" y="455"/>
                    <a:pt x="37" y="458"/>
                    <a:pt x="28" y="464"/>
                  </a:cubicBezTo>
                  <a:cubicBezTo>
                    <a:pt x="19" y="470"/>
                    <a:pt x="12" y="476"/>
                    <a:pt x="7" y="484"/>
                  </a:cubicBezTo>
                  <a:cubicBezTo>
                    <a:pt x="2" y="492"/>
                    <a:pt x="0" y="499"/>
                    <a:pt x="0" y="505"/>
                  </a:cubicBezTo>
                  <a:cubicBezTo>
                    <a:pt x="0" y="521"/>
                    <a:pt x="10" y="535"/>
                    <a:pt x="30" y="548"/>
                  </a:cubicBezTo>
                  <a:cubicBezTo>
                    <a:pt x="51" y="562"/>
                    <a:pt x="76" y="572"/>
                    <a:pt x="106" y="580"/>
                  </a:cubicBezTo>
                  <a:cubicBezTo>
                    <a:pt x="136" y="587"/>
                    <a:pt x="164" y="591"/>
                    <a:pt x="191" y="591"/>
                  </a:cubicBezTo>
                  <a:cubicBezTo>
                    <a:pt x="229" y="591"/>
                    <a:pt x="263" y="585"/>
                    <a:pt x="293" y="574"/>
                  </a:cubicBezTo>
                  <a:cubicBezTo>
                    <a:pt x="323" y="563"/>
                    <a:pt x="346" y="547"/>
                    <a:pt x="362" y="527"/>
                  </a:cubicBezTo>
                  <a:cubicBezTo>
                    <a:pt x="378" y="507"/>
                    <a:pt x="387" y="485"/>
                    <a:pt x="387" y="460"/>
                  </a:cubicBezTo>
                  <a:cubicBezTo>
                    <a:pt x="387" y="432"/>
                    <a:pt x="376" y="409"/>
                    <a:pt x="354" y="392"/>
                  </a:cubicBezTo>
                  <a:close/>
                  <a:moveTo>
                    <a:pt x="1891" y="456"/>
                  </a:moveTo>
                  <a:cubicBezTo>
                    <a:pt x="1884" y="451"/>
                    <a:pt x="1876" y="449"/>
                    <a:pt x="1868" y="449"/>
                  </a:cubicBezTo>
                  <a:cubicBezTo>
                    <a:pt x="1859" y="449"/>
                    <a:pt x="1845" y="454"/>
                    <a:pt x="1825" y="464"/>
                  </a:cubicBezTo>
                  <a:cubicBezTo>
                    <a:pt x="1805" y="474"/>
                    <a:pt x="1790" y="482"/>
                    <a:pt x="1778" y="487"/>
                  </a:cubicBezTo>
                  <a:cubicBezTo>
                    <a:pt x="1767" y="492"/>
                    <a:pt x="1752" y="494"/>
                    <a:pt x="1735" y="494"/>
                  </a:cubicBezTo>
                  <a:cubicBezTo>
                    <a:pt x="1706" y="494"/>
                    <a:pt x="1681" y="487"/>
                    <a:pt x="1660" y="474"/>
                  </a:cubicBezTo>
                  <a:cubicBezTo>
                    <a:pt x="1640" y="460"/>
                    <a:pt x="1628" y="440"/>
                    <a:pt x="1624" y="413"/>
                  </a:cubicBezTo>
                  <a:cubicBezTo>
                    <a:pt x="1874" y="413"/>
                    <a:pt x="1874" y="413"/>
                    <a:pt x="1874" y="413"/>
                  </a:cubicBezTo>
                  <a:cubicBezTo>
                    <a:pt x="1908" y="413"/>
                    <a:pt x="1926" y="396"/>
                    <a:pt x="1926" y="362"/>
                  </a:cubicBezTo>
                  <a:cubicBezTo>
                    <a:pt x="1926" y="338"/>
                    <a:pt x="1920" y="313"/>
                    <a:pt x="1910" y="289"/>
                  </a:cubicBezTo>
                  <a:cubicBezTo>
                    <a:pt x="1900" y="265"/>
                    <a:pt x="1886" y="242"/>
                    <a:pt x="1867" y="222"/>
                  </a:cubicBezTo>
                  <a:cubicBezTo>
                    <a:pt x="1849" y="202"/>
                    <a:pt x="1826" y="186"/>
                    <a:pt x="1800" y="174"/>
                  </a:cubicBezTo>
                  <a:cubicBezTo>
                    <a:pt x="1774" y="161"/>
                    <a:pt x="1745" y="155"/>
                    <a:pt x="1714" y="155"/>
                  </a:cubicBezTo>
                  <a:cubicBezTo>
                    <a:pt x="1685" y="155"/>
                    <a:pt x="1657" y="161"/>
                    <a:pt x="1630" y="173"/>
                  </a:cubicBezTo>
                  <a:cubicBezTo>
                    <a:pt x="1604" y="185"/>
                    <a:pt x="1581" y="201"/>
                    <a:pt x="1563" y="222"/>
                  </a:cubicBezTo>
                  <a:cubicBezTo>
                    <a:pt x="1544" y="242"/>
                    <a:pt x="1529" y="266"/>
                    <a:pt x="1519" y="293"/>
                  </a:cubicBezTo>
                  <a:cubicBezTo>
                    <a:pt x="1514" y="304"/>
                    <a:pt x="1511" y="316"/>
                    <a:pt x="1508" y="329"/>
                  </a:cubicBezTo>
                  <a:cubicBezTo>
                    <a:pt x="1505" y="309"/>
                    <a:pt x="1499" y="289"/>
                    <a:pt x="1491" y="271"/>
                  </a:cubicBezTo>
                  <a:cubicBezTo>
                    <a:pt x="1477" y="236"/>
                    <a:pt x="1455" y="208"/>
                    <a:pt x="1427" y="187"/>
                  </a:cubicBezTo>
                  <a:cubicBezTo>
                    <a:pt x="1398" y="166"/>
                    <a:pt x="1364" y="155"/>
                    <a:pt x="1323" y="155"/>
                  </a:cubicBezTo>
                  <a:cubicBezTo>
                    <a:pt x="1300" y="155"/>
                    <a:pt x="1279" y="160"/>
                    <a:pt x="1258" y="168"/>
                  </a:cubicBezTo>
                  <a:cubicBezTo>
                    <a:pt x="1238" y="177"/>
                    <a:pt x="1223" y="190"/>
                    <a:pt x="1212" y="207"/>
                  </a:cubicBezTo>
                  <a:cubicBezTo>
                    <a:pt x="1204" y="176"/>
                    <a:pt x="1184" y="160"/>
                    <a:pt x="1153" y="160"/>
                  </a:cubicBezTo>
                  <a:cubicBezTo>
                    <a:pt x="1135" y="160"/>
                    <a:pt x="1121" y="166"/>
                    <a:pt x="1110" y="177"/>
                  </a:cubicBezTo>
                  <a:cubicBezTo>
                    <a:pt x="1109" y="178"/>
                    <a:pt x="1109" y="179"/>
                    <a:pt x="1108" y="179"/>
                  </a:cubicBezTo>
                  <a:cubicBezTo>
                    <a:pt x="1105" y="175"/>
                    <a:pt x="1101" y="170"/>
                    <a:pt x="1096" y="166"/>
                  </a:cubicBezTo>
                  <a:cubicBezTo>
                    <a:pt x="1084" y="157"/>
                    <a:pt x="1072" y="152"/>
                    <a:pt x="1058" y="152"/>
                  </a:cubicBezTo>
                  <a:cubicBezTo>
                    <a:pt x="1044" y="152"/>
                    <a:pt x="1032" y="155"/>
                    <a:pt x="1022" y="162"/>
                  </a:cubicBezTo>
                  <a:cubicBezTo>
                    <a:pt x="1012" y="170"/>
                    <a:pt x="1004" y="180"/>
                    <a:pt x="998" y="194"/>
                  </a:cubicBezTo>
                  <a:cubicBezTo>
                    <a:pt x="925" y="472"/>
                    <a:pt x="925" y="472"/>
                    <a:pt x="925" y="472"/>
                  </a:cubicBezTo>
                  <a:cubicBezTo>
                    <a:pt x="829" y="194"/>
                    <a:pt x="829" y="194"/>
                    <a:pt x="829" y="194"/>
                  </a:cubicBezTo>
                  <a:cubicBezTo>
                    <a:pt x="824" y="180"/>
                    <a:pt x="816" y="170"/>
                    <a:pt x="806" y="162"/>
                  </a:cubicBezTo>
                  <a:cubicBezTo>
                    <a:pt x="796" y="155"/>
                    <a:pt x="783" y="152"/>
                    <a:pt x="769" y="152"/>
                  </a:cubicBezTo>
                  <a:cubicBezTo>
                    <a:pt x="756" y="152"/>
                    <a:pt x="743" y="157"/>
                    <a:pt x="731" y="167"/>
                  </a:cubicBezTo>
                  <a:cubicBezTo>
                    <a:pt x="726" y="170"/>
                    <a:pt x="722" y="175"/>
                    <a:pt x="720" y="179"/>
                  </a:cubicBezTo>
                  <a:cubicBezTo>
                    <a:pt x="719" y="178"/>
                    <a:pt x="718" y="177"/>
                    <a:pt x="717" y="176"/>
                  </a:cubicBezTo>
                  <a:cubicBezTo>
                    <a:pt x="707" y="166"/>
                    <a:pt x="695" y="161"/>
                    <a:pt x="681" y="161"/>
                  </a:cubicBezTo>
                  <a:cubicBezTo>
                    <a:pt x="663" y="161"/>
                    <a:pt x="645" y="169"/>
                    <a:pt x="627" y="184"/>
                  </a:cubicBezTo>
                  <a:cubicBezTo>
                    <a:pt x="508" y="320"/>
                    <a:pt x="508" y="320"/>
                    <a:pt x="508" y="320"/>
                  </a:cubicBezTo>
                  <a:cubicBezTo>
                    <a:pt x="508" y="62"/>
                    <a:pt x="508" y="62"/>
                    <a:pt x="508" y="62"/>
                  </a:cubicBezTo>
                  <a:cubicBezTo>
                    <a:pt x="508" y="50"/>
                    <a:pt x="505" y="40"/>
                    <a:pt x="500" y="30"/>
                  </a:cubicBezTo>
                  <a:cubicBezTo>
                    <a:pt x="495" y="20"/>
                    <a:pt x="488" y="13"/>
                    <a:pt x="479" y="8"/>
                  </a:cubicBezTo>
                  <a:cubicBezTo>
                    <a:pt x="470" y="3"/>
                    <a:pt x="459" y="0"/>
                    <a:pt x="448" y="0"/>
                  </a:cubicBezTo>
                  <a:cubicBezTo>
                    <a:pt x="430" y="0"/>
                    <a:pt x="416" y="6"/>
                    <a:pt x="405" y="17"/>
                  </a:cubicBezTo>
                  <a:cubicBezTo>
                    <a:pt x="394" y="29"/>
                    <a:pt x="388" y="43"/>
                    <a:pt x="388" y="62"/>
                  </a:cubicBezTo>
                  <a:cubicBezTo>
                    <a:pt x="388" y="535"/>
                    <a:pt x="388" y="535"/>
                    <a:pt x="388" y="535"/>
                  </a:cubicBezTo>
                  <a:cubicBezTo>
                    <a:pt x="388" y="553"/>
                    <a:pt x="394" y="568"/>
                    <a:pt x="405" y="580"/>
                  </a:cubicBezTo>
                  <a:cubicBezTo>
                    <a:pt x="416" y="591"/>
                    <a:pt x="430" y="597"/>
                    <a:pt x="448" y="597"/>
                  </a:cubicBezTo>
                  <a:cubicBezTo>
                    <a:pt x="459" y="597"/>
                    <a:pt x="469" y="594"/>
                    <a:pt x="478" y="589"/>
                  </a:cubicBezTo>
                  <a:cubicBezTo>
                    <a:pt x="488" y="584"/>
                    <a:pt x="495" y="577"/>
                    <a:pt x="500" y="567"/>
                  </a:cubicBezTo>
                  <a:cubicBezTo>
                    <a:pt x="505" y="557"/>
                    <a:pt x="508" y="547"/>
                    <a:pt x="508" y="535"/>
                  </a:cubicBezTo>
                  <a:cubicBezTo>
                    <a:pt x="508" y="445"/>
                    <a:pt x="508" y="445"/>
                    <a:pt x="508" y="445"/>
                  </a:cubicBezTo>
                  <a:cubicBezTo>
                    <a:pt x="548" y="415"/>
                    <a:pt x="548" y="415"/>
                    <a:pt x="548" y="415"/>
                  </a:cubicBezTo>
                  <a:cubicBezTo>
                    <a:pt x="655" y="567"/>
                    <a:pt x="655" y="567"/>
                    <a:pt x="655" y="567"/>
                  </a:cubicBezTo>
                  <a:cubicBezTo>
                    <a:pt x="666" y="579"/>
                    <a:pt x="675" y="588"/>
                    <a:pt x="684" y="593"/>
                  </a:cubicBezTo>
                  <a:cubicBezTo>
                    <a:pt x="693" y="598"/>
                    <a:pt x="702" y="601"/>
                    <a:pt x="712" y="601"/>
                  </a:cubicBezTo>
                  <a:cubicBezTo>
                    <a:pt x="728" y="601"/>
                    <a:pt x="741" y="596"/>
                    <a:pt x="752" y="586"/>
                  </a:cubicBezTo>
                  <a:cubicBezTo>
                    <a:pt x="763" y="575"/>
                    <a:pt x="769" y="563"/>
                    <a:pt x="769" y="548"/>
                  </a:cubicBezTo>
                  <a:cubicBezTo>
                    <a:pt x="769" y="535"/>
                    <a:pt x="764" y="522"/>
                    <a:pt x="754" y="512"/>
                  </a:cubicBezTo>
                  <a:cubicBezTo>
                    <a:pt x="635" y="342"/>
                    <a:pt x="635" y="342"/>
                    <a:pt x="635" y="342"/>
                  </a:cubicBezTo>
                  <a:cubicBezTo>
                    <a:pt x="708" y="254"/>
                    <a:pt x="708" y="254"/>
                    <a:pt x="708" y="254"/>
                  </a:cubicBezTo>
                  <a:cubicBezTo>
                    <a:pt x="713" y="250"/>
                    <a:pt x="717" y="245"/>
                    <a:pt x="721" y="241"/>
                  </a:cubicBezTo>
                  <a:cubicBezTo>
                    <a:pt x="859" y="609"/>
                    <a:pt x="859" y="609"/>
                    <a:pt x="859" y="609"/>
                  </a:cubicBezTo>
                  <a:cubicBezTo>
                    <a:pt x="874" y="644"/>
                    <a:pt x="831" y="654"/>
                    <a:pt x="831" y="654"/>
                  </a:cubicBezTo>
                  <a:cubicBezTo>
                    <a:pt x="745" y="641"/>
                    <a:pt x="754" y="703"/>
                    <a:pt x="754" y="703"/>
                  </a:cubicBezTo>
                  <a:cubicBezTo>
                    <a:pt x="754" y="766"/>
                    <a:pt x="830" y="757"/>
                    <a:pt x="830" y="757"/>
                  </a:cubicBezTo>
                  <a:cubicBezTo>
                    <a:pt x="920" y="753"/>
                    <a:pt x="939" y="686"/>
                    <a:pt x="939" y="686"/>
                  </a:cubicBezTo>
                  <a:cubicBezTo>
                    <a:pt x="1094" y="274"/>
                    <a:pt x="1094" y="274"/>
                    <a:pt x="1094" y="274"/>
                  </a:cubicBezTo>
                  <a:cubicBezTo>
                    <a:pt x="1094" y="693"/>
                    <a:pt x="1094" y="693"/>
                    <a:pt x="1094" y="693"/>
                  </a:cubicBezTo>
                  <a:cubicBezTo>
                    <a:pt x="1094" y="712"/>
                    <a:pt x="1100" y="728"/>
                    <a:pt x="1110" y="739"/>
                  </a:cubicBezTo>
                  <a:cubicBezTo>
                    <a:pt x="1121" y="751"/>
                    <a:pt x="1135" y="757"/>
                    <a:pt x="1153" y="757"/>
                  </a:cubicBezTo>
                  <a:cubicBezTo>
                    <a:pt x="1170" y="757"/>
                    <a:pt x="1184" y="751"/>
                    <a:pt x="1195" y="739"/>
                  </a:cubicBezTo>
                  <a:cubicBezTo>
                    <a:pt x="1206" y="728"/>
                    <a:pt x="1212" y="712"/>
                    <a:pt x="1212" y="693"/>
                  </a:cubicBezTo>
                  <a:cubicBezTo>
                    <a:pt x="1212" y="555"/>
                    <a:pt x="1212" y="555"/>
                    <a:pt x="1212" y="555"/>
                  </a:cubicBezTo>
                  <a:cubicBezTo>
                    <a:pt x="1227" y="567"/>
                    <a:pt x="1244" y="577"/>
                    <a:pt x="1263" y="584"/>
                  </a:cubicBezTo>
                  <a:cubicBezTo>
                    <a:pt x="1282" y="591"/>
                    <a:pt x="1301" y="594"/>
                    <a:pt x="1319" y="594"/>
                  </a:cubicBezTo>
                  <a:cubicBezTo>
                    <a:pt x="1357" y="594"/>
                    <a:pt x="1390" y="584"/>
                    <a:pt x="1420" y="564"/>
                  </a:cubicBezTo>
                  <a:cubicBezTo>
                    <a:pt x="1450" y="543"/>
                    <a:pt x="1473" y="516"/>
                    <a:pt x="1489" y="483"/>
                  </a:cubicBezTo>
                  <a:cubicBezTo>
                    <a:pt x="1498" y="464"/>
                    <a:pt x="1505" y="445"/>
                    <a:pt x="1509" y="425"/>
                  </a:cubicBezTo>
                  <a:cubicBezTo>
                    <a:pt x="1511" y="437"/>
                    <a:pt x="1515" y="450"/>
                    <a:pt x="1519" y="461"/>
                  </a:cubicBezTo>
                  <a:cubicBezTo>
                    <a:pt x="1530" y="488"/>
                    <a:pt x="1545" y="512"/>
                    <a:pt x="1564" y="532"/>
                  </a:cubicBezTo>
                  <a:cubicBezTo>
                    <a:pt x="1584" y="552"/>
                    <a:pt x="1608" y="567"/>
                    <a:pt x="1635" y="578"/>
                  </a:cubicBezTo>
                  <a:cubicBezTo>
                    <a:pt x="1662" y="589"/>
                    <a:pt x="1691" y="594"/>
                    <a:pt x="1724" y="594"/>
                  </a:cubicBezTo>
                  <a:cubicBezTo>
                    <a:pt x="1752" y="594"/>
                    <a:pt x="1781" y="590"/>
                    <a:pt x="1812" y="580"/>
                  </a:cubicBezTo>
                  <a:cubicBezTo>
                    <a:pt x="1842" y="571"/>
                    <a:pt x="1867" y="559"/>
                    <a:pt x="1887" y="544"/>
                  </a:cubicBezTo>
                  <a:cubicBezTo>
                    <a:pt x="1906" y="529"/>
                    <a:pt x="1916" y="514"/>
                    <a:pt x="1916" y="498"/>
                  </a:cubicBezTo>
                  <a:cubicBezTo>
                    <a:pt x="1916" y="489"/>
                    <a:pt x="1914" y="482"/>
                    <a:pt x="1909" y="474"/>
                  </a:cubicBezTo>
                  <a:cubicBezTo>
                    <a:pt x="1905" y="467"/>
                    <a:pt x="1899" y="461"/>
                    <a:pt x="1891" y="456"/>
                  </a:cubicBezTo>
                  <a:close/>
                  <a:moveTo>
                    <a:pt x="1371" y="454"/>
                  </a:moveTo>
                  <a:cubicBezTo>
                    <a:pt x="1355" y="478"/>
                    <a:pt x="1332" y="489"/>
                    <a:pt x="1304" y="489"/>
                  </a:cubicBezTo>
                  <a:cubicBezTo>
                    <a:pt x="1274" y="489"/>
                    <a:pt x="1252" y="477"/>
                    <a:pt x="1236" y="453"/>
                  </a:cubicBezTo>
                  <a:cubicBezTo>
                    <a:pt x="1220" y="429"/>
                    <a:pt x="1212" y="402"/>
                    <a:pt x="1212" y="371"/>
                  </a:cubicBezTo>
                  <a:cubicBezTo>
                    <a:pt x="1212" y="352"/>
                    <a:pt x="1215" y="333"/>
                    <a:pt x="1222" y="317"/>
                  </a:cubicBezTo>
                  <a:cubicBezTo>
                    <a:pt x="1229" y="300"/>
                    <a:pt x="1239" y="286"/>
                    <a:pt x="1253" y="275"/>
                  </a:cubicBezTo>
                  <a:cubicBezTo>
                    <a:pt x="1267" y="265"/>
                    <a:pt x="1284" y="259"/>
                    <a:pt x="1304" y="259"/>
                  </a:cubicBezTo>
                  <a:cubicBezTo>
                    <a:pt x="1332" y="259"/>
                    <a:pt x="1355" y="271"/>
                    <a:pt x="1371" y="295"/>
                  </a:cubicBezTo>
                  <a:cubicBezTo>
                    <a:pt x="1387" y="319"/>
                    <a:pt x="1395" y="345"/>
                    <a:pt x="1395" y="375"/>
                  </a:cubicBezTo>
                  <a:cubicBezTo>
                    <a:pt x="1395" y="404"/>
                    <a:pt x="1387" y="431"/>
                    <a:pt x="1371" y="454"/>
                  </a:cubicBezTo>
                  <a:close/>
                  <a:moveTo>
                    <a:pt x="1636" y="293"/>
                  </a:moveTo>
                  <a:cubicBezTo>
                    <a:pt x="1645" y="280"/>
                    <a:pt x="1655" y="269"/>
                    <a:pt x="1669" y="262"/>
                  </a:cubicBezTo>
                  <a:cubicBezTo>
                    <a:pt x="1682" y="254"/>
                    <a:pt x="1697" y="250"/>
                    <a:pt x="1714" y="250"/>
                  </a:cubicBezTo>
                  <a:cubicBezTo>
                    <a:pt x="1732" y="250"/>
                    <a:pt x="1747" y="254"/>
                    <a:pt x="1761" y="261"/>
                  </a:cubicBezTo>
                  <a:cubicBezTo>
                    <a:pt x="1774" y="268"/>
                    <a:pt x="1785" y="279"/>
                    <a:pt x="1793" y="292"/>
                  </a:cubicBezTo>
                  <a:cubicBezTo>
                    <a:pt x="1801" y="306"/>
                    <a:pt x="1806" y="320"/>
                    <a:pt x="1808" y="337"/>
                  </a:cubicBezTo>
                  <a:cubicBezTo>
                    <a:pt x="1621" y="337"/>
                    <a:pt x="1621" y="337"/>
                    <a:pt x="1621" y="337"/>
                  </a:cubicBezTo>
                  <a:cubicBezTo>
                    <a:pt x="1623" y="321"/>
                    <a:pt x="1628" y="306"/>
                    <a:pt x="1636" y="2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grpSp>
      <p:grpSp>
        <p:nvGrpSpPr>
          <p:cNvPr id="203" name="Group 202"/>
          <p:cNvGrpSpPr/>
          <p:nvPr/>
        </p:nvGrpSpPr>
        <p:grpSpPr>
          <a:xfrm>
            <a:off x="10739666" y="4044709"/>
            <a:ext cx="1291352" cy="172326"/>
            <a:chOff x="3611563" y="7899400"/>
            <a:chExt cx="3735387" cy="498475"/>
          </a:xfrm>
          <a:solidFill>
            <a:schemeClr val="tx1"/>
          </a:solidFill>
        </p:grpSpPr>
        <p:sp>
          <p:nvSpPr>
            <p:cNvPr id="204" name="Freeform 203"/>
            <p:cNvSpPr>
              <a:spLocks noEditPoints="1"/>
            </p:cNvSpPr>
            <p:nvPr/>
          </p:nvSpPr>
          <p:spPr bwMode="auto">
            <a:xfrm>
              <a:off x="3611563" y="7899400"/>
              <a:ext cx="1636712" cy="498475"/>
            </a:xfrm>
            <a:custGeom>
              <a:avLst/>
              <a:gdLst>
                <a:gd name="T0" fmla="*/ 388 w 435"/>
                <a:gd name="T1" fmla="*/ 63 h 130"/>
                <a:gd name="T2" fmla="*/ 417 w 435"/>
                <a:gd name="T3" fmla="*/ 3 h 130"/>
                <a:gd name="T4" fmla="*/ 381 w 435"/>
                <a:gd name="T5" fmla="*/ 52 h 130"/>
                <a:gd name="T6" fmla="*/ 380 w 435"/>
                <a:gd name="T7" fmla="*/ 52 h 130"/>
                <a:gd name="T8" fmla="*/ 344 w 435"/>
                <a:gd name="T9" fmla="*/ 3 h 130"/>
                <a:gd name="T10" fmla="*/ 372 w 435"/>
                <a:gd name="T11" fmla="*/ 63 h 130"/>
                <a:gd name="T12" fmla="*/ 341 w 435"/>
                <a:gd name="T13" fmla="*/ 127 h 130"/>
                <a:gd name="T14" fmla="*/ 420 w 435"/>
                <a:gd name="T15" fmla="*/ 127 h 130"/>
                <a:gd name="T16" fmla="*/ 199 w 435"/>
                <a:gd name="T17" fmla="*/ 91 h 130"/>
                <a:gd name="T18" fmla="*/ 132 w 435"/>
                <a:gd name="T19" fmla="*/ 69 h 130"/>
                <a:gd name="T20" fmla="*/ 168 w 435"/>
                <a:gd name="T21" fmla="*/ 114 h 130"/>
                <a:gd name="T22" fmla="*/ 132 w 435"/>
                <a:gd name="T23" fmla="*/ 56 h 130"/>
                <a:gd name="T24" fmla="*/ 195 w 435"/>
                <a:gd name="T25" fmla="*/ 36 h 130"/>
                <a:gd name="T26" fmla="*/ 132 w 435"/>
                <a:gd name="T27" fmla="*/ 16 h 130"/>
                <a:gd name="T28" fmla="*/ 213 w 435"/>
                <a:gd name="T29" fmla="*/ 91 h 130"/>
                <a:gd name="T30" fmla="*/ 118 w 435"/>
                <a:gd name="T31" fmla="*/ 127 h 130"/>
                <a:gd name="T32" fmla="*/ 92 w 435"/>
                <a:gd name="T33" fmla="*/ 69 h 130"/>
                <a:gd name="T34" fmla="*/ 118 w 435"/>
                <a:gd name="T35" fmla="*/ 56 h 130"/>
                <a:gd name="T36" fmla="*/ 168 w 435"/>
                <a:gd name="T37" fmla="*/ 3 h 130"/>
                <a:gd name="T38" fmla="*/ 194 w 435"/>
                <a:gd name="T39" fmla="*/ 62 h 130"/>
                <a:gd name="T40" fmla="*/ 213 w 435"/>
                <a:gd name="T41" fmla="*/ 91 h 130"/>
                <a:gd name="T42" fmla="*/ 278 w 435"/>
                <a:gd name="T43" fmla="*/ 13 h 130"/>
                <a:gd name="T44" fmla="*/ 278 w 435"/>
                <a:gd name="T45" fmla="*/ 117 h 130"/>
                <a:gd name="T46" fmla="*/ 337 w 435"/>
                <a:gd name="T47" fmla="*/ 65 h 130"/>
                <a:gd name="T48" fmla="*/ 219 w 435"/>
                <a:gd name="T49" fmla="*/ 65 h 130"/>
                <a:gd name="T50" fmla="*/ 337 w 435"/>
                <a:gd name="T51" fmla="*/ 65 h 130"/>
                <a:gd name="T52" fmla="*/ 110 w 435"/>
                <a:gd name="T53" fmla="*/ 127 h 130"/>
                <a:gd name="T54" fmla="*/ 55 w 435"/>
                <a:gd name="T55" fmla="*/ 73 h 130"/>
                <a:gd name="T56" fmla="*/ 0 w 435"/>
                <a:gd name="T57" fmla="*/ 127 h 130"/>
                <a:gd name="T58" fmla="*/ 3 w 435"/>
                <a:gd name="T59" fmla="*/ 3 h 130"/>
                <a:gd name="T60" fmla="*/ 55 w 435"/>
                <a:gd name="T61" fmla="*/ 52 h 130"/>
                <a:gd name="T62" fmla="*/ 55 w 435"/>
                <a:gd name="T63" fmla="*/ 52 h 130"/>
                <a:gd name="T64" fmla="*/ 55 w 435"/>
                <a:gd name="T65" fmla="*/ 52 h 130"/>
                <a:gd name="T66" fmla="*/ 107 w 435"/>
                <a:gd name="T67" fmla="*/ 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5" h="130">
                  <a:moveTo>
                    <a:pt x="435" y="127"/>
                  </a:moveTo>
                  <a:cubicBezTo>
                    <a:pt x="388" y="63"/>
                    <a:pt x="388" y="63"/>
                    <a:pt x="388" y="63"/>
                  </a:cubicBezTo>
                  <a:cubicBezTo>
                    <a:pt x="432" y="3"/>
                    <a:pt x="432" y="3"/>
                    <a:pt x="432" y="3"/>
                  </a:cubicBezTo>
                  <a:cubicBezTo>
                    <a:pt x="417" y="3"/>
                    <a:pt x="417" y="3"/>
                    <a:pt x="417" y="3"/>
                  </a:cubicBezTo>
                  <a:cubicBezTo>
                    <a:pt x="417" y="3"/>
                    <a:pt x="386" y="45"/>
                    <a:pt x="381" y="52"/>
                  </a:cubicBezTo>
                  <a:cubicBezTo>
                    <a:pt x="381" y="52"/>
                    <a:pt x="381" y="52"/>
                    <a:pt x="381" y="52"/>
                  </a:cubicBezTo>
                  <a:cubicBezTo>
                    <a:pt x="380" y="52"/>
                    <a:pt x="380" y="52"/>
                    <a:pt x="380" y="52"/>
                  </a:cubicBezTo>
                  <a:cubicBezTo>
                    <a:pt x="380" y="52"/>
                    <a:pt x="380" y="52"/>
                    <a:pt x="380" y="52"/>
                  </a:cubicBezTo>
                  <a:cubicBezTo>
                    <a:pt x="380" y="52"/>
                    <a:pt x="380" y="52"/>
                    <a:pt x="380" y="52"/>
                  </a:cubicBezTo>
                  <a:cubicBezTo>
                    <a:pt x="375" y="45"/>
                    <a:pt x="344" y="3"/>
                    <a:pt x="344" y="3"/>
                  </a:cubicBezTo>
                  <a:cubicBezTo>
                    <a:pt x="329" y="3"/>
                    <a:pt x="329" y="3"/>
                    <a:pt x="329" y="3"/>
                  </a:cubicBezTo>
                  <a:cubicBezTo>
                    <a:pt x="372" y="63"/>
                    <a:pt x="372" y="63"/>
                    <a:pt x="372" y="63"/>
                  </a:cubicBezTo>
                  <a:cubicBezTo>
                    <a:pt x="325" y="127"/>
                    <a:pt x="325" y="127"/>
                    <a:pt x="325" y="127"/>
                  </a:cubicBezTo>
                  <a:cubicBezTo>
                    <a:pt x="341" y="127"/>
                    <a:pt x="341" y="127"/>
                    <a:pt x="341" y="127"/>
                  </a:cubicBezTo>
                  <a:cubicBezTo>
                    <a:pt x="380" y="73"/>
                    <a:pt x="380" y="73"/>
                    <a:pt x="380" y="73"/>
                  </a:cubicBezTo>
                  <a:cubicBezTo>
                    <a:pt x="420" y="127"/>
                    <a:pt x="420" y="127"/>
                    <a:pt x="420" y="127"/>
                  </a:cubicBezTo>
                  <a:lnTo>
                    <a:pt x="435" y="127"/>
                  </a:lnTo>
                  <a:close/>
                  <a:moveTo>
                    <a:pt x="199" y="91"/>
                  </a:moveTo>
                  <a:cubicBezTo>
                    <a:pt x="199" y="73"/>
                    <a:pt x="182" y="69"/>
                    <a:pt x="168" y="69"/>
                  </a:cubicBezTo>
                  <a:cubicBezTo>
                    <a:pt x="168" y="69"/>
                    <a:pt x="137" y="69"/>
                    <a:pt x="132" y="69"/>
                  </a:cubicBezTo>
                  <a:cubicBezTo>
                    <a:pt x="132" y="114"/>
                    <a:pt x="132" y="114"/>
                    <a:pt x="132" y="114"/>
                  </a:cubicBezTo>
                  <a:cubicBezTo>
                    <a:pt x="137" y="114"/>
                    <a:pt x="168" y="114"/>
                    <a:pt x="168" y="114"/>
                  </a:cubicBezTo>
                  <a:cubicBezTo>
                    <a:pt x="180" y="114"/>
                    <a:pt x="199" y="111"/>
                    <a:pt x="199" y="91"/>
                  </a:cubicBezTo>
                  <a:close/>
                  <a:moveTo>
                    <a:pt x="132" y="56"/>
                  </a:moveTo>
                  <a:cubicBezTo>
                    <a:pt x="137" y="56"/>
                    <a:pt x="168" y="56"/>
                    <a:pt x="168" y="56"/>
                  </a:cubicBezTo>
                  <a:cubicBezTo>
                    <a:pt x="185" y="56"/>
                    <a:pt x="195" y="49"/>
                    <a:pt x="195" y="36"/>
                  </a:cubicBezTo>
                  <a:cubicBezTo>
                    <a:pt x="195" y="19"/>
                    <a:pt x="178" y="16"/>
                    <a:pt x="168" y="16"/>
                  </a:cubicBezTo>
                  <a:cubicBezTo>
                    <a:pt x="168" y="16"/>
                    <a:pt x="137" y="16"/>
                    <a:pt x="132" y="16"/>
                  </a:cubicBezTo>
                  <a:lnTo>
                    <a:pt x="132" y="56"/>
                  </a:lnTo>
                  <a:close/>
                  <a:moveTo>
                    <a:pt x="213" y="91"/>
                  </a:moveTo>
                  <a:cubicBezTo>
                    <a:pt x="213" y="113"/>
                    <a:pt x="196" y="127"/>
                    <a:pt x="168" y="127"/>
                  </a:cubicBezTo>
                  <a:cubicBezTo>
                    <a:pt x="118" y="127"/>
                    <a:pt x="118" y="127"/>
                    <a:pt x="118" y="127"/>
                  </a:cubicBezTo>
                  <a:cubicBezTo>
                    <a:pt x="118" y="69"/>
                    <a:pt x="118" y="69"/>
                    <a:pt x="118" y="69"/>
                  </a:cubicBezTo>
                  <a:cubicBezTo>
                    <a:pt x="92" y="69"/>
                    <a:pt x="92" y="69"/>
                    <a:pt x="92" y="69"/>
                  </a:cubicBezTo>
                  <a:cubicBezTo>
                    <a:pt x="101" y="56"/>
                    <a:pt x="101" y="56"/>
                    <a:pt x="101" y="56"/>
                  </a:cubicBezTo>
                  <a:cubicBezTo>
                    <a:pt x="118" y="56"/>
                    <a:pt x="118" y="56"/>
                    <a:pt x="118" y="56"/>
                  </a:cubicBezTo>
                  <a:cubicBezTo>
                    <a:pt x="118" y="3"/>
                    <a:pt x="118" y="3"/>
                    <a:pt x="118" y="3"/>
                  </a:cubicBezTo>
                  <a:cubicBezTo>
                    <a:pt x="168" y="3"/>
                    <a:pt x="168" y="3"/>
                    <a:pt x="168" y="3"/>
                  </a:cubicBezTo>
                  <a:cubicBezTo>
                    <a:pt x="206" y="3"/>
                    <a:pt x="209" y="29"/>
                    <a:pt x="209" y="37"/>
                  </a:cubicBezTo>
                  <a:cubicBezTo>
                    <a:pt x="209" y="48"/>
                    <a:pt x="203" y="57"/>
                    <a:pt x="194" y="62"/>
                  </a:cubicBezTo>
                  <a:cubicBezTo>
                    <a:pt x="196" y="63"/>
                    <a:pt x="199" y="65"/>
                    <a:pt x="202" y="67"/>
                  </a:cubicBezTo>
                  <a:cubicBezTo>
                    <a:pt x="209" y="73"/>
                    <a:pt x="213" y="81"/>
                    <a:pt x="213" y="91"/>
                  </a:cubicBezTo>
                  <a:close/>
                  <a:moveTo>
                    <a:pt x="323" y="65"/>
                  </a:moveTo>
                  <a:cubicBezTo>
                    <a:pt x="323" y="35"/>
                    <a:pt x="305" y="13"/>
                    <a:pt x="278" y="13"/>
                  </a:cubicBezTo>
                  <a:cubicBezTo>
                    <a:pt x="251" y="13"/>
                    <a:pt x="233" y="35"/>
                    <a:pt x="233" y="65"/>
                  </a:cubicBezTo>
                  <a:cubicBezTo>
                    <a:pt x="233" y="96"/>
                    <a:pt x="251" y="117"/>
                    <a:pt x="278" y="117"/>
                  </a:cubicBezTo>
                  <a:cubicBezTo>
                    <a:pt x="305" y="117"/>
                    <a:pt x="323" y="96"/>
                    <a:pt x="323" y="65"/>
                  </a:cubicBezTo>
                  <a:close/>
                  <a:moveTo>
                    <a:pt x="337" y="65"/>
                  </a:moveTo>
                  <a:cubicBezTo>
                    <a:pt x="337" y="103"/>
                    <a:pt x="313" y="130"/>
                    <a:pt x="278" y="130"/>
                  </a:cubicBezTo>
                  <a:cubicBezTo>
                    <a:pt x="243" y="130"/>
                    <a:pt x="219" y="103"/>
                    <a:pt x="219" y="65"/>
                  </a:cubicBezTo>
                  <a:cubicBezTo>
                    <a:pt x="219" y="27"/>
                    <a:pt x="243" y="0"/>
                    <a:pt x="278" y="0"/>
                  </a:cubicBezTo>
                  <a:cubicBezTo>
                    <a:pt x="313" y="0"/>
                    <a:pt x="337" y="27"/>
                    <a:pt x="337" y="65"/>
                  </a:cubicBezTo>
                  <a:close/>
                  <a:moveTo>
                    <a:pt x="63" y="63"/>
                  </a:moveTo>
                  <a:cubicBezTo>
                    <a:pt x="110" y="127"/>
                    <a:pt x="110" y="127"/>
                    <a:pt x="110" y="127"/>
                  </a:cubicBezTo>
                  <a:cubicBezTo>
                    <a:pt x="95" y="127"/>
                    <a:pt x="95" y="127"/>
                    <a:pt x="95" y="127"/>
                  </a:cubicBezTo>
                  <a:cubicBezTo>
                    <a:pt x="55" y="73"/>
                    <a:pt x="55" y="73"/>
                    <a:pt x="55" y="73"/>
                  </a:cubicBezTo>
                  <a:cubicBezTo>
                    <a:pt x="15" y="127"/>
                    <a:pt x="15" y="127"/>
                    <a:pt x="15" y="127"/>
                  </a:cubicBezTo>
                  <a:cubicBezTo>
                    <a:pt x="0" y="127"/>
                    <a:pt x="0" y="127"/>
                    <a:pt x="0" y="127"/>
                  </a:cubicBezTo>
                  <a:cubicBezTo>
                    <a:pt x="47" y="63"/>
                    <a:pt x="47" y="63"/>
                    <a:pt x="47" y="63"/>
                  </a:cubicBezTo>
                  <a:cubicBezTo>
                    <a:pt x="3" y="3"/>
                    <a:pt x="3" y="3"/>
                    <a:pt x="3" y="3"/>
                  </a:cubicBezTo>
                  <a:cubicBezTo>
                    <a:pt x="19" y="3"/>
                    <a:pt x="19" y="3"/>
                    <a:pt x="19" y="3"/>
                  </a:cubicBezTo>
                  <a:cubicBezTo>
                    <a:pt x="19" y="3"/>
                    <a:pt x="50" y="46"/>
                    <a:pt x="55" y="52"/>
                  </a:cubicBezTo>
                  <a:cubicBezTo>
                    <a:pt x="55" y="52"/>
                    <a:pt x="55" y="52"/>
                    <a:pt x="55" y="52"/>
                  </a:cubicBezTo>
                  <a:cubicBezTo>
                    <a:pt x="55" y="52"/>
                    <a:pt x="55" y="52"/>
                    <a:pt x="55" y="52"/>
                  </a:cubicBezTo>
                  <a:cubicBezTo>
                    <a:pt x="55" y="52"/>
                    <a:pt x="55" y="52"/>
                    <a:pt x="55" y="52"/>
                  </a:cubicBezTo>
                  <a:cubicBezTo>
                    <a:pt x="55" y="52"/>
                    <a:pt x="55" y="52"/>
                    <a:pt x="55" y="52"/>
                  </a:cubicBezTo>
                  <a:cubicBezTo>
                    <a:pt x="60" y="46"/>
                    <a:pt x="91" y="3"/>
                    <a:pt x="91" y="3"/>
                  </a:cubicBezTo>
                  <a:cubicBezTo>
                    <a:pt x="107" y="3"/>
                    <a:pt x="107" y="3"/>
                    <a:pt x="107" y="3"/>
                  </a:cubicBezTo>
                  <a:lnTo>
                    <a:pt x="63" y="6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05" name="Freeform 204"/>
            <p:cNvSpPr>
              <a:spLocks noEditPoints="1"/>
            </p:cNvSpPr>
            <p:nvPr/>
          </p:nvSpPr>
          <p:spPr bwMode="auto">
            <a:xfrm>
              <a:off x="5380038" y="7913688"/>
              <a:ext cx="1966912" cy="471487"/>
            </a:xfrm>
            <a:custGeom>
              <a:avLst/>
              <a:gdLst>
                <a:gd name="T0" fmla="*/ 402 w 523"/>
                <a:gd name="T1" fmla="*/ 100 h 123"/>
                <a:gd name="T2" fmla="*/ 517 w 523"/>
                <a:gd name="T3" fmla="*/ 100 h 123"/>
                <a:gd name="T4" fmla="*/ 517 w 523"/>
                <a:gd name="T5" fmla="*/ 123 h 123"/>
                <a:gd name="T6" fmla="*/ 402 w 523"/>
                <a:gd name="T7" fmla="*/ 123 h 123"/>
                <a:gd name="T8" fmla="*/ 376 w 523"/>
                <a:gd name="T9" fmla="*/ 97 h 123"/>
                <a:gd name="T10" fmla="*/ 376 w 523"/>
                <a:gd name="T11" fmla="*/ 26 h 123"/>
                <a:gd name="T12" fmla="*/ 402 w 523"/>
                <a:gd name="T13" fmla="*/ 0 h 123"/>
                <a:gd name="T14" fmla="*/ 523 w 523"/>
                <a:gd name="T15" fmla="*/ 0 h 123"/>
                <a:gd name="T16" fmla="*/ 499 w 523"/>
                <a:gd name="T17" fmla="*/ 23 h 123"/>
                <a:gd name="T18" fmla="*/ 402 w 523"/>
                <a:gd name="T19" fmla="*/ 23 h 123"/>
                <a:gd name="T20" fmla="*/ 399 w 523"/>
                <a:gd name="T21" fmla="*/ 26 h 123"/>
                <a:gd name="T22" fmla="*/ 399 w 523"/>
                <a:gd name="T23" fmla="*/ 26 h 123"/>
                <a:gd name="T24" fmla="*/ 399 w 523"/>
                <a:gd name="T25" fmla="*/ 26 h 123"/>
                <a:gd name="T26" fmla="*/ 399 w 523"/>
                <a:gd name="T27" fmla="*/ 50 h 123"/>
                <a:gd name="T28" fmla="*/ 482 w 523"/>
                <a:gd name="T29" fmla="*/ 50 h 123"/>
                <a:gd name="T30" fmla="*/ 465 w 523"/>
                <a:gd name="T31" fmla="*/ 73 h 123"/>
                <a:gd name="T32" fmla="*/ 399 w 523"/>
                <a:gd name="T33" fmla="*/ 73 h 123"/>
                <a:gd name="T34" fmla="*/ 399 w 523"/>
                <a:gd name="T35" fmla="*/ 97 h 123"/>
                <a:gd name="T36" fmla="*/ 402 w 523"/>
                <a:gd name="T37" fmla="*/ 100 h 123"/>
                <a:gd name="T38" fmla="*/ 283 w 523"/>
                <a:gd name="T39" fmla="*/ 98 h 123"/>
                <a:gd name="T40" fmla="*/ 280 w 523"/>
                <a:gd name="T41" fmla="*/ 100 h 123"/>
                <a:gd name="T42" fmla="*/ 277 w 523"/>
                <a:gd name="T43" fmla="*/ 98 h 123"/>
                <a:gd name="T44" fmla="*/ 220 w 523"/>
                <a:gd name="T45" fmla="*/ 0 h 123"/>
                <a:gd name="T46" fmla="*/ 194 w 523"/>
                <a:gd name="T47" fmla="*/ 0 h 123"/>
                <a:gd name="T48" fmla="*/ 257 w 523"/>
                <a:gd name="T49" fmla="*/ 110 h 123"/>
                <a:gd name="T50" fmla="*/ 280 w 523"/>
                <a:gd name="T51" fmla="*/ 123 h 123"/>
                <a:gd name="T52" fmla="*/ 303 w 523"/>
                <a:gd name="T53" fmla="*/ 110 h 123"/>
                <a:gd name="T54" fmla="*/ 367 w 523"/>
                <a:gd name="T55" fmla="*/ 0 h 123"/>
                <a:gd name="T56" fmla="*/ 340 w 523"/>
                <a:gd name="T57" fmla="*/ 0 h 123"/>
                <a:gd name="T58" fmla="*/ 283 w 523"/>
                <a:gd name="T59" fmla="*/ 98 h 123"/>
                <a:gd name="T60" fmla="*/ 174 w 523"/>
                <a:gd name="T61" fmla="*/ 0 h 123"/>
                <a:gd name="T62" fmla="*/ 151 w 523"/>
                <a:gd name="T63" fmla="*/ 23 h 123"/>
                <a:gd name="T64" fmla="*/ 151 w 523"/>
                <a:gd name="T65" fmla="*/ 123 h 123"/>
                <a:gd name="T66" fmla="*/ 174 w 523"/>
                <a:gd name="T67" fmla="*/ 123 h 123"/>
                <a:gd name="T68" fmla="*/ 174 w 523"/>
                <a:gd name="T69" fmla="*/ 0 h 123"/>
                <a:gd name="T70" fmla="*/ 23 w 523"/>
                <a:gd name="T71" fmla="*/ 97 h 123"/>
                <a:gd name="T72" fmla="*/ 23 w 523"/>
                <a:gd name="T73" fmla="*/ 0 h 123"/>
                <a:gd name="T74" fmla="*/ 0 w 523"/>
                <a:gd name="T75" fmla="*/ 0 h 123"/>
                <a:gd name="T76" fmla="*/ 0 w 523"/>
                <a:gd name="T77" fmla="*/ 97 h 123"/>
                <a:gd name="T78" fmla="*/ 27 w 523"/>
                <a:gd name="T79" fmla="*/ 123 h 123"/>
                <a:gd name="T80" fmla="*/ 129 w 523"/>
                <a:gd name="T81" fmla="*/ 123 h 123"/>
                <a:gd name="T82" fmla="*/ 129 w 523"/>
                <a:gd name="T83" fmla="*/ 100 h 123"/>
                <a:gd name="T84" fmla="*/ 26 w 523"/>
                <a:gd name="T85" fmla="*/ 100 h 123"/>
                <a:gd name="T86" fmla="*/ 23 w 523"/>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123">
                  <a:moveTo>
                    <a:pt x="402" y="100"/>
                  </a:moveTo>
                  <a:cubicBezTo>
                    <a:pt x="517" y="100"/>
                    <a:pt x="517" y="100"/>
                    <a:pt x="517" y="100"/>
                  </a:cubicBezTo>
                  <a:cubicBezTo>
                    <a:pt x="517" y="123"/>
                    <a:pt x="517" y="123"/>
                    <a:pt x="517" y="123"/>
                  </a:cubicBezTo>
                  <a:cubicBezTo>
                    <a:pt x="402" y="123"/>
                    <a:pt x="402" y="123"/>
                    <a:pt x="402" y="123"/>
                  </a:cubicBezTo>
                  <a:cubicBezTo>
                    <a:pt x="388" y="123"/>
                    <a:pt x="376" y="111"/>
                    <a:pt x="376" y="97"/>
                  </a:cubicBezTo>
                  <a:cubicBezTo>
                    <a:pt x="376" y="26"/>
                    <a:pt x="376" y="26"/>
                    <a:pt x="376" y="26"/>
                  </a:cubicBezTo>
                  <a:cubicBezTo>
                    <a:pt x="376" y="12"/>
                    <a:pt x="388" y="0"/>
                    <a:pt x="402" y="0"/>
                  </a:cubicBezTo>
                  <a:cubicBezTo>
                    <a:pt x="523" y="0"/>
                    <a:pt x="523" y="0"/>
                    <a:pt x="523" y="0"/>
                  </a:cubicBezTo>
                  <a:cubicBezTo>
                    <a:pt x="499" y="23"/>
                    <a:pt x="499" y="23"/>
                    <a:pt x="499" y="23"/>
                  </a:cubicBezTo>
                  <a:cubicBezTo>
                    <a:pt x="402" y="23"/>
                    <a:pt x="402" y="23"/>
                    <a:pt x="402" y="23"/>
                  </a:cubicBezTo>
                  <a:cubicBezTo>
                    <a:pt x="401" y="23"/>
                    <a:pt x="399" y="25"/>
                    <a:pt x="399" y="26"/>
                  </a:cubicBezTo>
                  <a:cubicBezTo>
                    <a:pt x="399" y="26"/>
                    <a:pt x="399" y="26"/>
                    <a:pt x="399" y="26"/>
                  </a:cubicBezTo>
                  <a:cubicBezTo>
                    <a:pt x="399" y="26"/>
                    <a:pt x="399" y="26"/>
                    <a:pt x="399" y="26"/>
                  </a:cubicBezTo>
                  <a:cubicBezTo>
                    <a:pt x="399" y="50"/>
                    <a:pt x="399" y="50"/>
                    <a:pt x="399" y="50"/>
                  </a:cubicBezTo>
                  <a:cubicBezTo>
                    <a:pt x="482" y="50"/>
                    <a:pt x="482" y="50"/>
                    <a:pt x="482" y="50"/>
                  </a:cubicBezTo>
                  <a:cubicBezTo>
                    <a:pt x="465" y="73"/>
                    <a:pt x="465" y="73"/>
                    <a:pt x="465" y="73"/>
                  </a:cubicBezTo>
                  <a:cubicBezTo>
                    <a:pt x="399" y="73"/>
                    <a:pt x="399" y="73"/>
                    <a:pt x="399" y="73"/>
                  </a:cubicBezTo>
                  <a:cubicBezTo>
                    <a:pt x="399" y="97"/>
                    <a:pt x="399" y="97"/>
                    <a:pt x="399" y="97"/>
                  </a:cubicBezTo>
                  <a:cubicBezTo>
                    <a:pt x="399" y="99"/>
                    <a:pt x="401" y="100"/>
                    <a:pt x="402" y="100"/>
                  </a:cubicBezTo>
                  <a:close/>
                  <a:moveTo>
                    <a:pt x="283" y="98"/>
                  </a:moveTo>
                  <a:cubicBezTo>
                    <a:pt x="283" y="99"/>
                    <a:pt x="281" y="100"/>
                    <a:pt x="280" y="100"/>
                  </a:cubicBezTo>
                  <a:cubicBezTo>
                    <a:pt x="279" y="100"/>
                    <a:pt x="278" y="99"/>
                    <a:pt x="277" y="98"/>
                  </a:cubicBezTo>
                  <a:cubicBezTo>
                    <a:pt x="220" y="0"/>
                    <a:pt x="220" y="0"/>
                    <a:pt x="220" y="0"/>
                  </a:cubicBezTo>
                  <a:cubicBezTo>
                    <a:pt x="194" y="0"/>
                    <a:pt x="194" y="0"/>
                    <a:pt x="194" y="0"/>
                  </a:cubicBezTo>
                  <a:cubicBezTo>
                    <a:pt x="257" y="110"/>
                    <a:pt x="257" y="110"/>
                    <a:pt x="257" y="110"/>
                  </a:cubicBezTo>
                  <a:cubicBezTo>
                    <a:pt x="262" y="118"/>
                    <a:pt x="270" y="123"/>
                    <a:pt x="280" y="123"/>
                  </a:cubicBezTo>
                  <a:cubicBezTo>
                    <a:pt x="290" y="123"/>
                    <a:pt x="299" y="118"/>
                    <a:pt x="303" y="110"/>
                  </a:cubicBezTo>
                  <a:cubicBezTo>
                    <a:pt x="367" y="0"/>
                    <a:pt x="367" y="0"/>
                    <a:pt x="367" y="0"/>
                  </a:cubicBezTo>
                  <a:cubicBezTo>
                    <a:pt x="340" y="0"/>
                    <a:pt x="340" y="0"/>
                    <a:pt x="340" y="0"/>
                  </a:cubicBezTo>
                  <a:cubicBezTo>
                    <a:pt x="283" y="98"/>
                    <a:pt x="283" y="98"/>
                    <a:pt x="283" y="98"/>
                  </a:cubicBezTo>
                  <a:close/>
                  <a:moveTo>
                    <a:pt x="174" y="0"/>
                  </a:moveTo>
                  <a:cubicBezTo>
                    <a:pt x="151" y="23"/>
                    <a:pt x="151" y="23"/>
                    <a:pt x="151" y="23"/>
                  </a:cubicBezTo>
                  <a:cubicBezTo>
                    <a:pt x="151" y="123"/>
                    <a:pt x="151" y="123"/>
                    <a:pt x="151" y="123"/>
                  </a:cubicBezTo>
                  <a:cubicBezTo>
                    <a:pt x="174" y="123"/>
                    <a:pt x="174" y="123"/>
                    <a:pt x="174" y="123"/>
                  </a:cubicBezTo>
                  <a:cubicBezTo>
                    <a:pt x="174" y="0"/>
                    <a:pt x="174" y="0"/>
                    <a:pt x="174" y="0"/>
                  </a:cubicBezTo>
                  <a:close/>
                  <a:moveTo>
                    <a:pt x="23" y="97"/>
                  </a:moveTo>
                  <a:cubicBezTo>
                    <a:pt x="23" y="0"/>
                    <a:pt x="23" y="0"/>
                    <a:pt x="23" y="0"/>
                  </a:cubicBezTo>
                  <a:cubicBezTo>
                    <a:pt x="0" y="0"/>
                    <a:pt x="0" y="0"/>
                    <a:pt x="0" y="0"/>
                  </a:cubicBezTo>
                  <a:cubicBezTo>
                    <a:pt x="0" y="97"/>
                    <a:pt x="0" y="97"/>
                    <a:pt x="0" y="97"/>
                  </a:cubicBezTo>
                  <a:cubicBezTo>
                    <a:pt x="0" y="111"/>
                    <a:pt x="12" y="123"/>
                    <a:pt x="27" y="123"/>
                  </a:cubicBezTo>
                  <a:cubicBezTo>
                    <a:pt x="129" y="123"/>
                    <a:pt x="129" y="123"/>
                    <a:pt x="129" y="123"/>
                  </a:cubicBezTo>
                  <a:cubicBezTo>
                    <a:pt x="129" y="100"/>
                    <a:pt x="129" y="100"/>
                    <a:pt x="129" y="100"/>
                  </a:cubicBezTo>
                  <a:cubicBezTo>
                    <a:pt x="26" y="100"/>
                    <a:pt x="26" y="100"/>
                    <a:pt x="26" y="100"/>
                  </a:cubicBezTo>
                  <a:cubicBezTo>
                    <a:pt x="25" y="100"/>
                    <a:pt x="23" y="98"/>
                    <a:pt x="23" y="9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grpSp>
      <p:sp>
        <p:nvSpPr>
          <p:cNvPr id="206" name="Rectangle 205"/>
          <p:cNvSpPr/>
          <p:nvPr/>
        </p:nvSpPr>
        <p:spPr bwMode="auto">
          <a:xfrm>
            <a:off x="9583913" y="5628043"/>
            <a:ext cx="2265963" cy="1075398"/>
          </a:xfrm>
          <a:prstGeom prst="rect">
            <a:avLst/>
          </a:prstGeom>
          <a:noFill/>
          <a:ln w="285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0" rIns="179285" bIns="0"/>
          <a:lstStyle/>
          <a:p>
            <a:pPr defTabSz="672451" fontAlgn="base">
              <a:spcBef>
                <a:spcPct val="0"/>
              </a:spcBef>
              <a:spcAft>
                <a:spcPct val="0"/>
              </a:spcAft>
              <a:defRPr/>
            </a:pPr>
            <a:r>
              <a:rPr lang="en-US" sz="1274" dirty="0">
                <a:solidFill>
                  <a:srgbClr val="0072C6">
                    <a:lumMod val="75000"/>
                  </a:srgbClr>
                </a:solidFill>
                <a:ea typeface="Ryo Display PlusN B" panose="02020800000000000000" pitchFamily="18" charset="-128"/>
              </a:rPr>
              <a:t>More than one billion Office users, Office 365 is our fastest-growing commercial product ever</a:t>
            </a:r>
          </a:p>
        </p:txBody>
      </p:sp>
      <p:sp>
        <p:nvSpPr>
          <p:cNvPr id="207" name="Rectangle 206"/>
          <p:cNvSpPr/>
          <p:nvPr/>
        </p:nvSpPr>
        <p:spPr bwMode="auto">
          <a:xfrm>
            <a:off x="5698933" y="5628043"/>
            <a:ext cx="1863872" cy="1075398"/>
          </a:xfrm>
          <a:prstGeom prst="rect">
            <a:avLst/>
          </a:prstGeom>
          <a:noFill/>
          <a:ln w="285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0" rIns="179285" bIns="0"/>
          <a:lstStyle/>
          <a:p>
            <a:pPr defTabSz="672451" fontAlgn="base">
              <a:spcBef>
                <a:spcPct val="0"/>
              </a:spcBef>
              <a:spcAft>
                <a:spcPct val="0"/>
              </a:spcAft>
              <a:defRPr/>
            </a:pPr>
            <a:r>
              <a:rPr lang="en-US" sz="1274" dirty="0">
                <a:solidFill>
                  <a:srgbClr val="0072C6">
                    <a:lumMod val="75000"/>
                  </a:srgbClr>
                </a:solidFill>
                <a:ea typeface="Ryo Display PlusN B" panose="02020800000000000000" pitchFamily="18" charset="-128"/>
              </a:rPr>
              <a:t>Thirty trillion objects stored in Microsoft Azure, which runs on Windows Server Hyper-V</a:t>
            </a:r>
          </a:p>
        </p:txBody>
      </p:sp>
      <p:sp>
        <p:nvSpPr>
          <p:cNvPr id="208" name="Rectangle 207"/>
          <p:cNvSpPr/>
          <p:nvPr/>
        </p:nvSpPr>
        <p:spPr bwMode="auto">
          <a:xfrm>
            <a:off x="7602170" y="5628043"/>
            <a:ext cx="1905225" cy="1075398"/>
          </a:xfrm>
          <a:prstGeom prst="rect">
            <a:avLst/>
          </a:prstGeom>
          <a:noFill/>
          <a:ln w="285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0" rIns="179285" bIns="0"/>
          <a:lstStyle/>
          <a:p>
            <a:pPr defTabSz="672451" fontAlgn="base">
              <a:spcBef>
                <a:spcPct val="0"/>
              </a:spcBef>
              <a:spcAft>
                <a:spcPct val="0"/>
              </a:spcAft>
              <a:defRPr/>
            </a:pPr>
            <a:r>
              <a:rPr lang="en-US" sz="1274" dirty="0">
                <a:solidFill>
                  <a:srgbClr val="0072C6">
                    <a:lumMod val="75000"/>
                  </a:srgbClr>
                </a:solidFill>
                <a:ea typeface="Ryo Display PlusN B" panose="02020800000000000000" pitchFamily="18" charset="-128"/>
              </a:rPr>
              <a:t>Bing runs more </a:t>
            </a:r>
          </a:p>
          <a:p>
            <a:pPr defTabSz="672451" fontAlgn="base">
              <a:spcBef>
                <a:spcPct val="0"/>
              </a:spcBef>
              <a:spcAft>
                <a:spcPct val="0"/>
              </a:spcAft>
              <a:defRPr/>
            </a:pPr>
            <a:r>
              <a:rPr lang="en-US" sz="1274" dirty="0">
                <a:solidFill>
                  <a:srgbClr val="0072C6">
                    <a:lumMod val="75000"/>
                  </a:srgbClr>
                </a:solidFill>
                <a:ea typeface="Ryo Display PlusN B" panose="02020800000000000000" pitchFamily="18" charset="-128"/>
              </a:rPr>
              <a:t>than 7 billion queries per month on Windows Server</a:t>
            </a:r>
          </a:p>
        </p:txBody>
      </p:sp>
      <p:pic>
        <p:nvPicPr>
          <p:cNvPr id="209" name="Picture 208"/>
          <p:cNvPicPr>
            <a:picLocks noChangeAspect="1" noChangeArrowheads="1"/>
          </p:cNvPicPr>
          <p:nvPr/>
        </p:nvPicPr>
        <p:blipFill>
          <a:blip r:embed="rId3" cstate="print">
            <a:lum bright="-20000" contrast="-70000"/>
            <a:extLst>
              <a:ext uri="{28A0092B-C50C-407E-A947-70E740481C1C}">
                <a14:useLocalDpi xmlns:a14="http://schemas.microsoft.com/office/drawing/2010/main" val="0"/>
              </a:ext>
            </a:extLst>
          </a:blip>
          <a:srcRect/>
          <a:stretch>
            <a:fillRect/>
          </a:stretch>
        </p:blipFill>
        <p:spPr bwMode="auto">
          <a:xfrm>
            <a:off x="10335344" y="5009806"/>
            <a:ext cx="1576524" cy="3657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10" name="Rectangle 209"/>
          <p:cNvSpPr/>
          <p:nvPr/>
        </p:nvSpPr>
        <p:spPr bwMode="auto">
          <a:xfrm>
            <a:off x="3740005" y="5628043"/>
            <a:ext cx="2040301" cy="1075398"/>
          </a:xfrm>
          <a:prstGeom prst="rect">
            <a:avLst/>
          </a:prstGeom>
          <a:noFill/>
          <a:ln w="285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0" rIns="179285" bIns="0"/>
          <a:lstStyle/>
          <a:p>
            <a:pPr defTabSz="672451" fontAlgn="base">
              <a:spcBef>
                <a:spcPct val="0"/>
              </a:spcBef>
              <a:spcAft>
                <a:spcPct val="0"/>
              </a:spcAft>
              <a:defRPr/>
            </a:pPr>
            <a:r>
              <a:rPr lang="en-US" sz="1274" dirty="0">
                <a:solidFill>
                  <a:srgbClr val="0072C6">
                    <a:lumMod val="75000"/>
                  </a:srgbClr>
                </a:solidFill>
                <a:ea typeface="Ryo Display PlusN B" panose="02020800000000000000" pitchFamily="18" charset="-128"/>
              </a:rPr>
              <a:t>Microsoft has one </a:t>
            </a:r>
            <a:br>
              <a:rPr lang="en-US" sz="1274" dirty="0">
                <a:solidFill>
                  <a:srgbClr val="0072C6">
                    <a:lumMod val="75000"/>
                  </a:srgbClr>
                </a:solidFill>
                <a:ea typeface="Ryo Display PlusN B" panose="02020800000000000000" pitchFamily="18" charset="-128"/>
              </a:rPr>
            </a:br>
            <a:r>
              <a:rPr lang="en-US" sz="1274" dirty="0">
                <a:solidFill>
                  <a:srgbClr val="0072C6">
                    <a:lumMod val="75000"/>
                  </a:srgbClr>
                </a:solidFill>
                <a:ea typeface="Ryo Display PlusN B" panose="02020800000000000000" pitchFamily="18" charset="-128"/>
              </a:rPr>
              <a:t>of the three largest cloud infrastructures on earth</a:t>
            </a:r>
          </a:p>
        </p:txBody>
      </p:sp>
      <p:sp>
        <p:nvSpPr>
          <p:cNvPr id="213" name="Freeform 101"/>
          <p:cNvSpPr>
            <a:spLocks/>
          </p:cNvSpPr>
          <p:nvPr/>
        </p:nvSpPr>
        <p:spPr bwMode="black">
          <a:xfrm rot="10800000">
            <a:off x="3630832" y="5649052"/>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lumMod val="75000"/>
            </a:schemeClr>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sp>
        <p:nvSpPr>
          <p:cNvPr id="214" name="Freeform 101"/>
          <p:cNvSpPr>
            <a:spLocks/>
          </p:cNvSpPr>
          <p:nvPr/>
        </p:nvSpPr>
        <p:spPr bwMode="black">
          <a:xfrm rot="10800000">
            <a:off x="5585536" y="5649052"/>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lumMod val="75000"/>
            </a:schemeClr>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sp>
        <p:nvSpPr>
          <p:cNvPr id="215" name="Freeform 101"/>
          <p:cNvSpPr>
            <a:spLocks/>
          </p:cNvSpPr>
          <p:nvPr/>
        </p:nvSpPr>
        <p:spPr bwMode="black">
          <a:xfrm rot="10800000">
            <a:off x="7502889" y="5649052"/>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lumMod val="75000"/>
            </a:schemeClr>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sp>
        <p:nvSpPr>
          <p:cNvPr id="216" name="Freeform 101"/>
          <p:cNvSpPr>
            <a:spLocks/>
          </p:cNvSpPr>
          <p:nvPr/>
        </p:nvSpPr>
        <p:spPr bwMode="black">
          <a:xfrm rot="10800000">
            <a:off x="9507395" y="5649052"/>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lumMod val="75000"/>
            </a:schemeClr>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sp>
        <p:nvSpPr>
          <p:cNvPr id="2" name="Title 1"/>
          <p:cNvSpPr>
            <a:spLocks noGrp="1"/>
          </p:cNvSpPr>
          <p:nvPr>
            <p:ph type="title"/>
          </p:nvPr>
        </p:nvSpPr>
        <p:spPr/>
        <p:txBody>
          <a:bodyPr/>
          <a:lstStyle/>
          <a:p>
            <a:r>
              <a:rPr lang="en-US" dirty="0" smtClean="0"/>
              <a:t>Enterprise-grade, comprehensive platform</a:t>
            </a:r>
            <a:endParaRPr lang="en-US" dirty="0"/>
          </a:p>
        </p:txBody>
      </p: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31145" y="4498404"/>
            <a:ext cx="1451262" cy="334631"/>
          </a:xfrm>
          <a:prstGeom prst="rect">
            <a:avLst/>
          </a:prstGeom>
        </p:spPr>
      </p:pic>
      <p:grpSp>
        <p:nvGrpSpPr>
          <p:cNvPr id="262" name="Group 261"/>
          <p:cNvGrpSpPr/>
          <p:nvPr/>
        </p:nvGrpSpPr>
        <p:grpSpPr>
          <a:xfrm>
            <a:off x="2511858" y="3520433"/>
            <a:ext cx="1903347" cy="1897122"/>
            <a:chOff x="2562225" y="3590528"/>
            <a:chExt cx="1941513" cy="1935163"/>
          </a:xfrm>
        </p:grpSpPr>
        <p:sp>
          <p:nvSpPr>
            <p:cNvPr id="105" name="Rectangle 104"/>
            <p:cNvSpPr/>
            <p:nvPr/>
          </p:nvSpPr>
          <p:spPr bwMode="auto">
            <a:xfrm>
              <a:off x="2562225" y="3590528"/>
              <a:ext cx="1941513" cy="193516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defTabSz="672451" fontAlgn="base">
                <a:spcBef>
                  <a:spcPct val="0"/>
                </a:spcBef>
                <a:spcAft>
                  <a:spcPct val="0"/>
                </a:spcAft>
                <a:defRPr/>
              </a:pPr>
              <a:r>
                <a:rPr lang="en-US" sz="3529" dirty="0">
                  <a:solidFill>
                    <a:srgbClr val="FFFFFF"/>
                  </a:solidFill>
                  <a:latin typeface="Segoe UI Light"/>
                </a:rPr>
                <a:t>93%</a:t>
              </a:r>
            </a:p>
            <a:p>
              <a:pPr defTabSz="672451" fontAlgn="base">
                <a:spcBef>
                  <a:spcPct val="0"/>
                </a:spcBef>
                <a:spcAft>
                  <a:spcPct val="0"/>
                </a:spcAft>
                <a:defRPr/>
              </a:pPr>
              <a:r>
                <a:rPr lang="en-US" sz="1176" dirty="0">
                  <a:solidFill>
                    <a:srgbClr val="FFFFFF"/>
                  </a:solidFill>
                </a:rPr>
                <a:t>of the Fortune 1000 </a:t>
              </a:r>
              <a:br>
                <a:rPr lang="en-US" sz="1176" dirty="0">
                  <a:solidFill>
                    <a:srgbClr val="FFFFFF"/>
                  </a:solidFill>
                </a:rPr>
              </a:br>
              <a:r>
                <a:rPr lang="en-US" sz="1176" dirty="0">
                  <a:solidFill>
                    <a:srgbClr val="FFFFFF"/>
                  </a:solidFill>
                </a:rPr>
                <a:t>use Active Directory</a:t>
              </a:r>
            </a:p>
          </p:txBody>
        </p:sp>
        <p:grpSp>
          <p:nvGrpSpPr>
            <p:cNvPr id="236" name="Group 235"/>
            <p:cNvGrpSpPr/>
            <p:nvPr/>
          </p:nvGrpSpPr>
          <p:grpSpPr>
            <a:xfrm>
              <a:off x="2703660" y="5019675"/>
              <a:ext cx="263167" cy="373004"/>
              <a:chOff x="-16489363" y="-9228138"/>
              <a:chExt cx="4351338" cy="6167438"/>
            </a:xfrm>
          </p:grpSpPr>
          <p:sp>
            <p:nvSpPr>
              <p:cNvPr id="230" name="Freeform 31"/>
              <p:cNvSpPr>
                <a:spLocks noEditPoints="1"/>
              </p:cNvSpPr>
              <p:nvPr/>
            </p:nvSpPr>
            <p:spPr bwMode="auto">
              <a:xfrm>
                <a:off x="-16489363" y="-9228138"/>
                <a:ext cx="4351338" cy="6167438"/>
              </a:xfrm>
              <a:custGeom>
                <a:avLst/>
                <a:gdLst>
                  <a:gd name="T0" fmla="*/ 0 w 1157"/>
                  <a:gd name="T1" fmla="*/ 0 h 1642"/>
                  <a:gd name="T2" fmla="*/ 0 w 1157"/>
                  <a:gd name="T3" fmla="*/ 1642 h 1642"/>
                  <a:gd name="T4" fmla="*/ 1157 w 1157"/>
                  <a:gd name="T5" fmla="*/ 1642 h 1642"/>
                  <a:gd name="T6" fmla="*/ 1157 w 1157"/>
                  <a:gd name="T7" fmla="*/ 0 h 1642"/>
                  <a:gd name="T8" fmla="*/ 0 w 1157"/>
                  <a:gd name="T9" fmla="*/ 0 h 1642"/>
                  <a:gd name="T10" fmla="*/ 1033 w 1157"/>
                  <a:gd name="T11" fmla="*/ 1405 h 1642"/>
                  <a:gd name="T12" fmla="*/ 956 w 1157"/>
                  <a:gd name="T13" fmla="*/ 1478 h 1642"/>
                  <a:gd name="T14" fmla="*/ 201 w 1157"/>
                  <a:gd name="T15" fmla="*/ 1478 h 1642"/>
                  <a:gd name="T16" fmla="*/ 124 w 1157"/>
                  <a:gd name="T17" fmla="*/ 1405 h 1642"/>
                  <a:gd name="T18" fmla="*/ 124 w 1157"/>
                  <a:gd name="T19" fmla="*/ 1391 h 1642"/>
                  <a:gd name="T20" fmla="*/ 201 w 1157"/>
                  <a:gd name="T21" fmla="*/ 1318 h 1642"/>
                  <a:gd name="T22" fmla="*/ 608 w 1157"/>
                  <a:gd name="T23" fmla="*/ 1318 h 1642"/>
                  <a:gd name="T24" fmla="*/ 956 w 1157"/>
                  <a:gd name="T25" fmla="*/ 1318 h 1642"/>
                  <a:gd name="T26" fmla="*/ 1033 w 1157"/>
                  <a:gd name="T27" fmla="*/ 1391 h 1642"/>
                  <a:gd name="T28" fmla="*/ 1033 w 1157"/>
                  <a:gd name="T29" fmla="*/ 1405 h 1642"/>
                  <a:gd name="T30" fmla="*/ 1033 w 1157"/>
                  <a:gd name="T31" fmla="*/ 1122 h 1642"/>
                  <a:gd name="T32" fmla="*/ 956 w 1157"/>
                  <a:gd name="T33" fmla="*/ 1195 h 1642"/>
                  <a:gd name="T34" fmla="*/ 201 w 1157"/>
                  <a:gd name="T35" fmla="*/ 1195 h 1642"/>
                  <a:gd name="T36" fmla="*/ 124 w 1157"/>
                  <a:gd name="T37" fmla="*/ 1122 h 1642"/>
                  <a:gd name="T38" fmla="*/ 124 w 1157"/>
                  <a:gd name="T39" fmla="*/ 1108 h 1642"/>
                  <a:gd name="T40" fmla="*/ 201 w 1157"/>
                  <a:gd name="T41" fmla="*/ 1035 h 1642"/>
                  <a:gd name="T42" fmla="*/ 608 w 1157"/>
                  <a:gd name="T43" fmla="*/ 1035 h 1642"/>
                  <a:gd name="T44" fmla="*/ 956 w 1157"/>
                  <a:gd name="T45" fmla="*/ 1035 h 1642"/>
                  <a:gd name="T46" fmla="*/ 1033 w 1157"/>
                  <a:gd name="T47" fmla="*/ 1108 h 1642"/>
                  <a:gd name="T48" fmla="*/ 1033 w 1157"/>
                  <a:gd name="T49" fmla="*/ 1122 h 1642"/>
                  <a:gd name="T50" fmla="*/ 1033 w 1157"/>
                  <a:gd name="T51" fmla="*/ 839 h 1642"/>
                  <a:gd name="T52" fmla="*/ 956 w 1157"/>
                  <a:gd name="T53" fmla="*/ 912 h 1642"/>
                  <a:gd name="T54" fmla="*/ 201 w 1157"/>
                  <a:gd name="T55" fmla="*/ 912 h 1642"/>
                  <a:gd name="T56" fmla="*/ 124 w 1157"/>
                  <a:gd name="T57" fmla="*/ 839 h 1642"/>
                  <a:gd name="T58" fmla="*/ 124 w 1157"/>
                  <a:gd name="T59" fmla="*/ 824 h 1642"/>
                  <a:gd name="T60" fmla="*/ 201 w 1157"/>
                  <a:gd name="T61" fmla="*/ 752 h 1642"/>
                  <a:gd name="T62" fmla="*/ 608 w 1157"/>
                  <a:gd name="T63" fmla="*/ 752 h 1642"/>
                  <a:gd name="T64" fmla="*/ 956 w 1157"/>
                  <a:gd name="T65" fmla="*/ 752 h 1642"/>
                  <a:gd name="T66" fmla="*/ 1033 w 1157"/>
                  <a:gd name="T67" fmla="*/ 824 h 1642"/>
                  <a:gd name="T68" fmla="*/ 1033 w 1157"/>
                  <a:gd name="T69" fmla="*/ 839 h 1642"/>
                  <a:gd name="T70" fmla="*/ 1033 w 1157"/>
                  <a:gd name="T71" fmla="*/ 556 h 1642"/>
                  <a:gd name="T72" fmla="*/ 956 w 1157"/>
                  <a:gd name="T73" fmla="*/ 628 h 1642"/>
                  <a:gd name="T74" fmla="*/ 201 w 1157"/>
                  <a:gd name="T75" fmla="*/ 628 h 1642"/>
                  <a:gd name="T76" fmla="*/ 124 w 1157"/>
                  <a:gd name="T77" fmla="*/ 556 h 1642"/>
                  <a:gd name="T78" fmla="*/ 124 w 1157"/>
                  <a:gd name="T79" fmla="*/ 541 h 1642"/>
                  <a:gd name="T80" fmla="*/ 201 w 1157"/>
                  <a:gd name="T81" fmla="*/ 469 h 1642"/>
                  <a:gd name="T82" fmla="*/ 608 w 1157"/>
                  <a:gd name="T83" fmla="*/ 469 h 1642"/>
                  <a:gd name="T84" fmla="*/ 956 w 1157"/>
                  <a:gd name="T85" fmla="*/ 469 h 1642"/>
                  <a:gd name="T86" fmla="*/ 1033 w 1157"/>
                  <a:gd name="T87" fmla="*/ 541 h 1642"/>
                  <a:gd name="T88" fmla="*/ 1033 w 1157"/>
                  <a:gd name="T89" fmla="*/ 556 h 1642"/>
                  <a:gd name="T90" fmla="*/ 1033 w 1157"/>
                  <a:gd name="T91" fmla="*/ 273 h 1642"/>
                  <a:gd name="T92" fmla="*/ 956 w 1157"/>
                  <a:gd name="T93" fmla="*/ 345 h 1642"/>
                  <a:gd name="T94" fmla="*/ 201 w 1157"/>
                  <a:gd name="T95" fmla="*/ 345 h 1642"/>
                  <a:gd name="T96" fmla="*/ 124 w 1157"/>
                  <a:gd name="T97" fmla="*/ 273 h 1642"/>
                  <a:gd name="T98" fmla="*/ 124 w 1157"/>
                  <a:gd name="T99" fmla="*/ 258 h 1642"/>
                  <a:gd name="T100" fmla="*/ 201 w 1157"/>
                  <a:gd name="T101" fmla="*/ 186 h 1642"/>
                  <a:gd name="T102" fmla="*/ 608 w 1157"/>
                  <a:gd name="T103" fmla="*/ 186 h 1642"/>
                  <a:gd name="T104" fmla="*/ 956 w 1157"/>
                  <a:gd name="T105" fmla="*/ 186 h 1642"/>
                  <a:gd name="T106" fmla="*/ 1033 w 1157"/>
                  <a:gd name="T107" fmla="*/ 258 h 1642"/>
                  <a:gd name="T108" fmla="*/ 1033 w 1157"/>
                  <a:gd name="T109" fmla="*/ 273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7" h="1642">
                    <a:moveTo>
                      <a:pt x="0" y="0"/>
                    </a:moveTo>
                    <a:cubicBezTo>
                      <a:pt x="0" y="1642"/>
                      <a:pt x="0" y="1642"/>
                      <a:pt x="0" y="1642"/>
                    </a:cubicBezTo>
                    <a:cubicBezTo>
                      <a:pt x="1157" y="1642"/>
                      <a:pt x="1157" y="1642"/>
                      <a:pt x="1157" y="1642"/>
                    </a:cubicBezTo>
                    <a:cubicBezTo>
                      <a:pt x="1157" y="0"/>
                      <a:pt x="1157" y="0"/>
                      <a:pt x="1157" y="0"/>
                    </a:cubicBezTo>
                    <a:lnTo>
                      <a:pt x="0" y="0"/>
                    </a:lnTo>
                    <a:close/>
                    <a:moveTo>
                      <a:pt x="1033" y="1405"/>
                    </a:moveTo>
                    <a:cubicBezTo>
                      <a:pt x="1033" y="1478"/>
                      <a:pt x="956" y="1478"/>
                      <a:pt x="956" y="1478"/>
                    </a:cubicBezTo>
                    <a:cubicBezTo>
                      <a:pt x="201" y="1478"/>
                      <a:pt x="201" y="1478"/>
                      <a:pt x="201" y="1478"/>
                    </a:cubicBezTo>
                    <a:cubicBezTo>
                      <a:pt x="124" y="1478"/>
                      <a:pt x="124" y="1405"/>
                      <a:pt x="124" y="1405"/>
                    </a:cubicBezTo>
                    <a:cubicBezTo>
                      <a:pt x="124" y="1391"/>
                      <a:pt x="124" y="1391"/>
                      <a:pt x="124" y="1391"/>
                    </a:cubicBezTo>
                    <a:cubicBezTo>
                      <a:pt x="124" y="1318"/>
                      <a:pt x="201" y="1318"/>
                      <a:pt x="201" y="1318"/>
                    </a:cubicBezTo>
                    <a:cubicBezTo>
                      <a:pt x="608" y="1318"/>
                      <a:pt x="608" y="1318"/>
                      <a:pt x="608" y="1318"/>
                    </a:cubicBezTo>
                    <a:cubicBezTo>
                      <a:pt x="956" y="1318"/>
                      <a:pt x="956" y="1318"/>
                      <a:pt x="956" y="1318"/>
                    </a:cubicBezTo>
                    <a:cubicBezTo>
                      <a:pt x="1033" y="1318"/>
                      <a:pt x="1033" y="1391"/>
                      <a:pt x="1033" y="1391"/>
                    </a:cubicBezTo>
                    <a:lnTo>
                      <a:pt x="1033" y="1405"/>
                    </a:lnTo>
                    <a:close/>
                    <a:moveTo>
                      <a:pt x="1033" y="1122"/>
                    </a:moveTo>
                    <a:cubicBezTo>
                      <a:pt x="1033" y="1195"/>
                      <a:pt x="956" y="1195"/>
                      <a:pt x="956" y="1195"/>
                    </a:cubicBezTo>
                    <a:cubicBezTo>
                      <a:pt x="201" y="1195"/>
                      <a:pt x="201" y="1195"/>
                      <a:pt x="201" y="1195"/>
                    </a:cubicBezTo>
                    <a:cubicBezTo>
                      <a:pt x="124" y="1195"/>
                      <a:pt x="124" y="1122"/>
                      <a:pt x="124" y="1122"/>
                    </a:cubicBezTo>
                    <a:cubicBezTo>
                      <a:pt x="124" y="1108"/>
                      <a:pt x="124" y="1108"/>
                      <a:pt x="124" y="1108"/>
                    </a:cubicBezTo>
                    <a:cubicBezTo>
                      <a:pt x="124" y="1035"/>
                      <a:pt x="201" y="1035"/>
                      <a:pt x="201" y="1035"/>
                    </a:cubicBezTo>
                    <a:cubicBezTo>
                      <a:pt x="608" y="1035"/>
                      <a:pt x="608" y="1035"/>
                      <a:pt x="608" y="1035"/>
                    </a:cubicBezTo>
                    <a:cubicBezTo>
                      <a:pt x="956" y="1035"/>
                      <a:pt x="956" y="1035"/>
                      <a:pt x="956" y="1035"/>
                    </a:cubicBezTo>
                    <a:cubicBezTo>
                      <a:pt x="1033" y="1035"/>
                      <a:pt x="1033" y="1108"/>
                      <a:pt x="1033" y="1108"/>
                    </a:cubicBezTo>
                    <a:lnTo>
                      <a:pt x="1033" y="1122"/>
                    </a:lnTo>
                    <a:close/>
                    <a:moveTo>
                      <a:pt x="1033" y="839"/>
                    </a:moveTo>
                    <a:cubicBezTo>
                      <a:pt x="1033" y="912"/>
                      <a:pt x="956" y="912"/>
                      <a:pt x="956" y="912"/>
                    </a:cubicBezTo>
                    <a:cubicBezTo>
                      <a:pt x="201" y="912"/>
                      <a:pt x="201" y="912"/>
                      <a:pt x="201" y="912"/>
                    </a:cubicBezTo>
                    <a:cubicBezTo>
                      <a:pt x="124" y="912"/>
                      <a:pt x="124" y="839"/>
                      <a:pt x="124" y="839"/>
                    </a:cubicBezTo>
                    <a:cubicBezTo>
                      <a:pt x="124" y="824"/>
                      <a:pt x="124" y="824"/>
                      <a:pt x="124" y="824"/>
                    </a:cubicBezTo>
                    <a:cubicBezTo>
                      <a:pt x="124" y="752"/>
                      <a:pt x="201" y="752"/>
                      <a:pt x="201" y="752"/>
                    </a:cubicBezTo>
                    <a:cubicBezTo>
                      <a:pt x="608" y="752"/>
                      <a:pt x="608" y="752"/>
                      <a:pt x="608" y="752"/>
                    </a:cubicBezTo>
                    <a:cubicBezTo>
                      <a:pt x="956" y="752"/>
                      <a:pt x="956" y="752"/>
                      <a:pt x="956" y="752"/>
                    </a:cubicBezTo>
                    <a:cubicBezTo>
                      <a:pt x="1033" y="752"/>
                      <a:pt x="1033" y="824"/>
                      <a:pt x="1033" y="824"/>
                    </a:cubicBezTo>
                    <a:lnTo>
                      <a:pt x="1033" y="839"/>
                    </a:lnTo>
                    <a:close/>
                    <a:moveTo>
                      <a:pt x="1033" y="556"/>
                    </a:moveTo>
                    <a:cubicBezTo>
                      <a:pt x="1033" y="628"/>
                      <a:pt x="956" y="628"/>
                      <a:pt x="956" y="628"/>
                    </a:cubicBezTo>
                    <a:cubicBezTo>
                      <a:pt x="201" y="628"/>
                      <a:pt x="201" y="628"/>
                      <a:pt x="201" y="628"/>
                    </a:cubicBezTo>
                    <a:cubicBezTo>
                      <a:pt x="124" y="628"/>
                      <a:pt x="124" y="556"/>
                      <a:pt x="124" y="556"/>
                    </a:cubicBezTo>
                    <a:cubicBezTo>
                      <a:pt x="124" y="541"/>
                      <a:pt x="124" y="541"/>
                      <a:pt x="124" y="541"/>
                    </a:cubicBezTo>
                    <a:cubicBezTo>
                      <a:pt x="124" y="469"/>
                      <a:pt x="201" y="469"/>
                      <a:pt x="201" y="469"/>
                    </a:cubicBezTo>
                    <a:cubicBezTo>
                      <a:pt x="608" y="469"/>
                      <a:pt x="608" y="469"/>
                      <a:pt x="608" y="469"/>
                    </a:cubicBezTo>
                    <a:cubicBezTo>
                      <a:pt x="956" y="469"/>
                      <a:pt x="956" y="469"/>
                      <a:pt x="956" y="469"/>
                    </a:cubicBezTo>
                    <a:cubicBezTo>
                      <a:pt x="1033" y="469"/>
                      <a:pt x="1033" y="541"/>
                      <a:pt x="1033" y="541"/>
                    </a:cubicBezTo>
                    <a:lnTo>
                      <a:pt x="1033" y="556"/>
                    </a:lnTo>
                    <a:close/>
                    <a:moveTo>
                      <a:pt x="1033" y="273"/>
                    </a:moveTo>
                    <a:cubicBezTo>
                      <a:pt x="1033" y="345"/>
                      <a:pt x="956" y="345"/>
                      <a:pt x="956" y="345"/>
                    </a:cubicBezTo>
                    <a:cubicBezTo>
                      <a:pt x="201" y="345"/>
                      <a:pt x="201" y="345"/>
                      <a:pt x="201" y="345"/>
                    </a:cubicBezTo>
                    <a:cubicBezTo>
                      <a:pt x="124" y="345"/>
                      <a:pt x="124" y="273"/>
                      <a:pt x="124" y="273"/>
                    </a:cubicBezTo>
                    <a:cubicBezTo>
                      <a:pt x="124" y="258"/>
                      <a:pt x="124" y="258"/>
                      <a:pt x="124" y="258"/>
                    </a:cubicBezTo>
                    <a:cubicBezTo>
                      <a:pt x="124" y="186"/>
                      <a:pt x="201" y="186"/>
                      <a:pt x="201" y="186"/>
                    </a:cubicBezTo>
                    <a:cubicBezTo>
                      <a:pt x="608" y="186"/>
                      <a:pt x="608" y="186"/>
                      <a:pt x="608" y="186"/>
                    </a:cubicBezTo>
                    <a:cubicBezTo>
                      <a:pt x="956" y="186"/>
                      <a:pt x="956" y="186"/>
                      <a:pt x="956" y="186"/>
                    </a:cubicBezTo>
                    <a:cubicBezTo>
                      <a:pt x="1033" y="186"/>
                      <a:pt x="1033" y="258"/>
                      <a:pt x="1033" y="258"/>
                    </a:cubicBezTo>
                    <a:lnTo>
                      <a:pt x="1033" y="2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1" name="Oval 32"/>
              <p:cNvSpPr>
                <a:spLocks noChangeArrowheads="1"/>
              </p:cNvSpPr>
              <p:nvPr/>
            </p:nvSpPr>
            <p:spPr bwMode="auto">
              <a:xfrm>
                <a:off x="-13255625" y="-8405813"/>
                <a:ext cx="334963" cy="3349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2" name="Oval 33"/>
              <p:cNvSpPr>
                <a:spLocks noChangeArrowheads="1"/>
              </p:cNvSpPr>
              <p:nvPr/>
            </p:nvSpPr>
            <p:spPr bwMode="auto">
              <a:xfrm>
                <a:off x="-13255625" y="-7339013"/>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3" name="Oval 34"/>
              <p:cNvSpPr>
                <a:spLocks noChangeArrowheads="1"/>
              </p:cNvSpPr>
              <p:nvPr/>
            </p:nvSpPr>
            <p:spPr bwMode="auto">
              <a:xfrm>
                <a:off x="-13255625" y="-6275388"/>
                <a:ext cx="334963" cy="333375"/>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4" name="Oval 35"/>
              <p:cNvSpPr>
                <a:spLocks noChangeArrowheads="1"/>
              </p:cNvSpPr>
              <p:nvPr/>
            </p:nvSpPr>
            <p:spPr bwMode="auto">
              <a:xfrm>
                <a:off x="-13255625" y="-5208588"/>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5" name="Oval 36"/>
              <p:cNvSpPr>
                <a:spLocks noChangeArrowheads="1"/>
              </p:cNvSpPr>
              <p:nvPr/>
            </p:nvSpPr>
            <p:spPr bwMode="auto">
              <a:xfrm>
                <a:off x="-13255625" y="-4141788"/>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263" name="Group 262"/>
          <p:cNvGrpSpPr/>
          <p:nvPr/>
        </p:nvGrpSpPr>
        <p:grpSpPr>
          <a:xfrm>
            <a:off x="4415204" y="3520433"/>
            <a:ext cx="1903346" cy="1897122"/>
            <a:chOff x="4503738" y="3590528"/>
            <a:chExt cx="1941512" cy="1935163"/>
          </a:xfrm>
        </p:grpSpPr>
        <p:sp>
          <p:nvSpPr>
            <p:cNvPr id="108" name="Rectangle 107"/>
            <p:cNvSpPr/>
            <p:nvPr/>
          </p:nvSpPr>
          <p:spPr bwMode="auto">
            <a:xfrm>
              <a:off x="4503738" y="3590528"/>
              <a:ext cx="1941512" cy="193516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defTabSz="672451" fontAlgn="base">
                <a:spcBef>
                  <a:spcPct val="0"/>
                </a:spcBef>
                <a:spcAft>
                  <a:spcPct val="0"/>
                </a:spcAft>
                <a:defRPr/>
              </a:pPr>
              <a:r>
                <a:rPr lang="en-US" sz="3529" dirty="0">
                  <a:solidFill>
                    <a:srgbClr val="FFFFFF"/>
                  </a:solidFill>
                  <a:latin typeface="Segoe UI Light"/>
                </a:rPr>
                <a:t>67%</a:t>
              </a:r>
            </a:p>
            <a:p>
              <a:pPr defTabSz="672451" fontAlgn="base">
                <a:spcBef>
                  <a:spcPct val="0"/>
                </a:spcBef>
                <a:spcAft>
                  <a:spcPct val="0"/>
                </a:spcAft>
                <a:defRPr/>
              </a:pPr>
              <a:r>
                <a:rPr lang="en-US" sz="1176" dirty="0">
                  <a:solidFill>
                    <a:srgbClr val="FFFFFF"/>
                  </a:solidFill>
                </a:rPr>
                <a:t>servers worldwide run on Windows Server**</a:t>
              </a:r>
            </a:p>
          </p:txBody>
        </p:sp>
        <p:grpSp>
          <p:nvGrpSpPr>
            <p:cNvPr id="237" name="Group 236"/>
            <p:cNvGrpSpPr/>
            <p:nvPr/>
          </p:nvGrpSpPr>
          <p:grpSpPr>
            <a:xfrm>
              <a:off x="4681845" y="5019675"/>
              <a:ext cx="263167" cy="373004"/>
              <a:chOff x="-16489363" y="-9228138"/>
              <a:chExt cx="4351338" cy="6167438"/>
            </a:xfrm>
          </p:grpSpPr>
          <p:sp>
            <p:nvSpPr>
              <p:cNvPr id="238" name="Freeform 31"/>
              <p:cNvSpPr>
                <a:spLocks noEditPoints="1"/>
              </p:cNvSpPr>
              <p:nvPr/>
            </p:nvSpPr>
            <p:spPr bwMode="auto">
              <a:xfrm>
                <a:off x="-16489363" y="-9228138"/>
                <a:ext cx="4351338" cy="6167438"/>
              </a:xfrm>
              <a:custGeom>
                <a:avLst/>
                <a:gdLst>
                  <a:gd name="T0" fmla="*/ 0 w 1157"/>
                  <a:gd name="T1" fmla="*/ 0 h 1642"/>
                  <a:gd name="T2" fmla="*/ 0 w 1157"/>
                  <a:gd name="T3" fmla="*/ 1642 h 1642"/>
                  <a:gd name="T4" fmla="*/ 1157 w 1157"/>
                  <a:gd name="T5" fmla="*/ 1642 h 1642"/>
                  <a:gd name="T6" fmla="*/ 1157 w 1157"/>
                  <a:gd name="T7" fmla="*/ 0 h 1642"/>
                  <a:gd name="T8" fmla="*/ 0 w 1157"/>
                  <a:gd name="T9" fmla="*/ 0 h 1642"/>
                  <a:gd name="T10" fmla="*/ 1033 w 1157"/>
                  <a:gd name="T11" fmla="*/ 1405 h 1642"/>
                  <a:gd name="T12" fmla="*/ 956 w 1157"/>
                  <a:gd name="T13" fmla="*/ 1478 h 1642"/>
                  <a:gd name="T14" fmla="*/ 201 w 1157"/>
                  <a:gd name="T15" fmla="*/ 1478 h 1642"/>
                  <a:gd name="T16" fmla="*/ 124 w 1157"/>
                  <a:gd name="T17" fmla="*/ 1405 h 1642"/>
                  <a:gd name="T18" fmla="*/ 124 w 1157"/>
                  <a:gd name="T19" fmla="*/ 1391 h 1642"/>
                  <a:gd name="T20" fmla="*/ 201 w 1157"/>
                  <a:gd name="T21" fmla="*/ 1318 h 1642"/>
                  <a:gd name="T22" fmla="*/ 608 w 1157"/>
                  <a:gd name="T23" fmla="*/ 1318 h 1642"/>
                  <a:gd name="T24" fmla="*/ 956 w 1157"/>
                  <a:gd name="T25" fmla="*/ 1318 h 1642"/>
                  <a:gd name="T26" fmla="*/ 1033 w 1157"/>
                  <a:gd name="T27" fmla="*/ 1391 h 1642"/>
                  <a:gd name="T28" fmla="*/ 1033 w 1157"/>
                  <a:gd name="T29" fmla="*/ 1405 h 1642"/>
                  <a:gd name="T30" fmla="*/ 1033 w 1157"/>
                  <a:gd name="T31" fmla="*/ 1122 h 1642"/>
                  <a:gd name="T32" fmla="*/ 956 w 1157"/>
                  <a:gd name="T33" fmla="*/ 1195 h 1642"/>
                  <a:gd name="T34" fmla="*/ 201 w 1157"/>
                  <a:gd name="T35" fmla="*/ 1195 h 1642"/>
                  <a:gd name="T36" fmla="*/ 124 w 1157"/>
                  <a:gd name="T37" fmla="*/ 1122 h 1642"/>
                  <a:gd name="T38" fmla="*/ 124 w 1157"/>
                  <a:gd name="T39" fmla="*/ 1108 h 1642"/>
                  <a:gd name="T40" fmla="*/ 201 w 1157"/>
                  <a:gd name="T41" fmla="*/ 1035 h 1642"/>
                  <a:gd name="T42" fmla="*/ 608 w 1157"/>
                  <a:gd name="T43" fmla="*/ 1035 h 1642"/>
                  <a:gd name="T44" fmla="*/ 956 w 1157"/>
                  <a:gd name="T45" fmla="*/ 1035 h 1642"/>
                  <a:gd name="T46" fmla="*/ 1033 w 1157"/>
                  <a:gd name="T47" fmla="*/ 1108 h 1642"/>
                  <a:gd name="T48" fmla="*/ 1033 w 1157"/>
                  <a:gd name="T49" fmla="*/ 1122 h 1642"/>
                  <a:gd name="T50" fmla="*/ 1033 w 1157"/>
                  <a:gd name="T51" fmla="*/ 839 h 1642"/>
                  <a:gd name="T52" fmla="*/ 956 w 1157"/>
                  <a:gd name="T53" fmla="*/ 912 h 1642"/>
                  <a:gd name="T54" fmla="*/ 201 w 1157"/>
                  <a:gd name="T55" fmla="*/ 912 h 1642"/>
                  <a:gd name="T56" fmla="*/ 124 w 1157"/>
                  <a:gd name="T57" fmla="*/ 839 h 1642"/>
                  <a:gd name="T58" fmla="*/ 124 w 1157"/>
                  <a:gd name="T59" fmla="*/ 824 h 1642"/>
                  <a:gd name="T60" fmla="*/ 201 w 1157"/>
                  <a:gd name="T61" fmla="*/ 752 h 1642"/>
                  <a:gd name="T62" fmla="*/ 608 w 1157"/>
                  <a:gd name="T63" fmla="*/ 752 h 1642"/>
                  <a:gd name="T64" fmla="*/ 956 w 1157"/>
                  <a:gd name="T65" fmla="*/ 752 h 1642"/>
                  <a:gd name="T66" fmla="*/ 1033 w 1157"/>
                  <a:gd name="T67" fmla="*/ 824 h 1642"/>
                  <a:gd name="T68" fmla="*/ 1033 w 1157"/>
                  <a:gd name="T69" fmla="*/ 839 h 1642"/>
                  <a:gd name="T70" fmla="*/ 1033 w 1157"/>
                  <a:gd name="T71" fmla="*/ 556 h 1642"/>
                  <a:gd name="T72" fmla="*/ 956 w 1157"/>
                  <a:gd name="T73" fmla="*/ 628 h 1642"/>
                  <a:gd name="T74" fmla="*/ 201 w 1157"/>
                  <a:gd name="T75" fmla="*/ 628 h 1642"/>
                  <a:gd name="T76" fmla="*/ 124 w 1157"/>
                  <a:gd name="T77" fmla="*/ 556 h 1642"/>
                  <a:gd name="T78" fmla="*/ 124 w 1157"/>
                  <a:gd name="T79" fmla="*/ 541 h 1642"/>
                  <a:gd name="T80" fmla="*/ 201 w 1157"/>
                  <a:gd name="T81" fmla="*/ 469 h 1642"/>
                  <a:gd name="T82" fmla="*/ 608 w 1157"/>
                  <a:gd name="T83" fmla="*/ 469 h 1642"/>
                  <a:gd name="T84" fmla="*/ 956 w 1157"/>
                  <a:gd name="T85" fmla="*/ 469 h 1642"/>
                  <a:gd name="T86" fmla="*/ 1033 w 1157"/>
                  <a:gd name="T87" fmla="*/ 541 h 1642"/>
                  <a:gd name="T88" fmla="*/ 1033 w 1157"/>
                  <a:gd name="T89" fmla="*/ 556 h 1642"/>
                  <a:gd name="T90" fmla="*/ 1033 w 1157"/>
                  <a:gd name="T91" fmla="*/ 273 h 1642"/>
                  <a:gd name="T92" fmla="*/ 956 w 1157"/>
                  <a:gd name="T93" fmla="*/ 345 h 1642"/>
                  <a:gd name="T94" fmla="*/ 201 w 1157"/>
                  <a:gd name="T95" fmla="*/ 345 h 1642"/>
                  <a:gd name="T96" fmla="*/ 124 w 1157"/>
                  <a:gd name="T97" fmla="*/ 273 h 1642"/>
                  <a:gd name="T98" fmla="*/ 124 w 1157"/>
                  <a:gd name="T99" fmla="*/ 258 h 1642"/>
                  <a:gd name="T100" fmla="*/ 201 w 1157"/>
                  <a:gd name="T101" fmla="*/ 186 h 1642"/>
                  <a:gd name="T102" fmla="*/ 608 w 1157"/>
                  <a:gd name="T103" fmla="*/ 186 h 1642"/>
                  <a:gd name="T104" fmla="*/ 956 w 1157"/>
                  <a:gd name="T105" fmla="*/ 186 h 1642"/>
                  <a:gd name="T106" fmla="*/ 1033 w 1157"/>
                  <a:gd name="T107" fmla="*/ 258 h 1642"/>
                  <a:gd name="T108" fmla="*/ 1033 w 1157"/>
                  <a:gd name="T109" fmla="*/ 273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7" h="1642">
                    <a:moveTo>
                      <a:pt x="0" y="0"/>
                    </a:moveTo>
                    <a:cubicBezTo>
                      <a:pt x="0" y="1642"/>
                      <a:pt x="0" y="1642"/>
                      <a:pt x="0" y="1642"/>
                    </a:cubicBezTo>
                    <a:cubicBezTo>
                      <a:pt x="1157" y="1642"/>
                      <a:pt x="1157" y="1642"/>
                      <a:pt x="1157" y="1642"/>
                    </a:cubicBezTo>
                    <a:cubicBezTo>
                      <a:pt x="1157" y="0"/>
                      <a:pt x="1157" y="0"/>
                      <a:pt x="1157" y="0"/>
                    </a:cubicBezTo>
                    <a:lnTo>
                      <a:pt x="0" y="0"/>
                    </a:lnTo>
                    <a:close/>
                    <a:moveTo>
                      <a:pt x="1033" y="1405"/>
                    </a:moveTo>
                    <a:cubicBezTo>
                      <a:pt x="1033" y="1478"/>
                      <a:pt x="956" y="1478"/>
                      <a:pt x="956" y="1478"/>
                    </a:cubicBezTo>
                    <a:cubicBezTo>
                      <a:pt x="201" y="1478"/>
                      <a:pt x="201" y="1478"/>
                      <a:pt x="201" y="1478"/>
                    </a:cubicBezTo>
                    <a:cubicBezTo>
                      <a:pt x="124" y="1478"/>
                      <a:pt x="124" y="1405"/>
                      <a:pt x="124" y="1405"/>
                    </a:cubicBezTo>
                    <a:cubicBezTo>
                      <a:pt x="124" y="1391"/>
                      <a:pt x="124" y="1391"/>
                      <a:pt x="124" y="1391"/>
                    </a:cubicBezTo>
                    <a:cubicBezTo>
                      <a:pt x="124" y="1318"/>
                      <a:pt x="201" y="1318"/>
                      <a:pt x="201" y="1318"/>
                    </a:cubicBezTo>
                    <a:cubicBezTo>
                      <a:pt x="608" y="1318"/>
                      <a:pt x="608" y="1318"/>
                      <a:pt x="608" y="1318"/>
                    </a:cubicBezTo>
                    <a:cubicBezTo>
                      <a:pt x="956" y="1318"/>
                      <a:pt x="956" y="1318"/>
                      <a:pt x="956" y="1318"/>
                    </a:cubicBezTo>
                    <a:cubicBezTo>
                      <a:pt x="1033" y="1318"/>
                      <a:pt x="1033" y="1391"/>
                      <a:pt x="1033" y="1391"/>
                    </a:cubicBezTo>
                    <a:lnTo>
                      <a:pt x="1033" y="1405"/>
                    </a:lnTo>
                    <a:close/>
                    <a:moveTo>
                      <a:pt x="1033" y="1122"/>
                    </a:moveTo>
                    <a:cubicBezTo>
                      <a:pt x="1033" y="1195"/>
                      <a:pt x="956" y="1195"/>
                      <a:pt x="956" y="1195"/>
                    </a:cubicBezTo>
                    <a:cubicBezTo>
                      <a:pt x="201" y="1195"/>
                      <a:pt x="201" y="1195"/>
                      <a:pt x="201" y="1195"/>
                    </a:cubicBezTo>
                    <a:cubicBezTo>
                      <a:pt x="124" y="1195"/>
                      <a:pt x="124" y="1122"/>
                      <a:pt x="124" y="1122"/>
                    </a:cubicBezTo>
                    <a:cubicBezTo>
                      <a:pt x="124" y="1108"/>
                      <a:pt x="124" y="1108"/>
                      <a:pt x="124" y="1108"/>
                    </a:cubicBezTo>
                    <a:cubicBezTo>
                      <a:pt x="124" y="1035"/>
                      <a:pt x="201" y="1035"/>
                      <a:pt x="201" y="1035"/>
                    </a:cubicBezTo>
                    <a:cubicBezTo>
                      <a:pt x="608" y="1035"/>
                      <a:pt x="608" y="1035"/>
                      <a:pt x="608" y="1035"/>
                    </a:cubicBezTo>
                    <a:cubicBezTo>
                      <a:pt x="956" y="1035"/>
                      <a:pt x="956" y="1035"/>
                      <a:pt x="956" y="1035"/>
                    </a:cubicBezTo>
                    <a:cubicBezTo>
                      <a:pt x="1033" y="1035"/>
                      <a:pt x="1033" y="1108"/>
                      <a:pt x="1033" y="1108"/>
                    </a:cubicBezTo>
                    <a:lnTo>
                      <a:pt x="1033" y="1122"/>
                    </a:lnTo>
                    <a:close/>
                    <a:moveTo>
                      <a:pt x="1033" y="839"/>
                    </a:moveTo>
                    <a:cubicBezTo>
                      <a:pt x="1033" y="912"/>
                      <a:pt x="956" y="912"/>
                      <a:pt x="956" y="912"/>
                    </a:cubicBezTo>
                    <a:cubicBezTo>
                      <a:pt x="201" y="912"/>
                      <a:pt x="201" y="912"/>
                      <a:pt x="201" y="912"/>
                    </a:cubicBezTo>
                    <a:cubicBezTo>
                      <a:pt x="124" y="912"/>
                      <a:pt x="124" y="839"/>
                      <a:pt x="124" y="839"/>
                    </a:cubicBezTo>
                    <a:cubicBezTo>
                      <a:pt x="124" y="824"/>
                      <a:pt x="124" y="824"/>
                      <a:pt x="124" y="824"/>
                    </a:cubicBezTo>
                    <a:cubicBezTo>
                      <a:pt x="124" y="752"/>
                      <a:pt x="201" y="752"/>
                      <a:pt x="201" y="752"/>
                    </a:cubicBezTo>
                    <a:cubicBezTo>
                      <a:pt x="608" y="752"/>
                      <a:pt x="608" y="752"/>
                      <a:pt x="608" y="752"/>
                    </a:cubicBezTo>
                    <a:cubicBezTo>
                      <a:pt x="956" y="752"/>
                      <a:pt x="956" y="752"/>
                      <a:pt x="956" y="752"/>
                    </a:cubicBezTo>
                    <a:cubicBezTo>
                      <a:pt x="1033" y="752"/>
                      <a:pt x="1033" y="824"/>
                      <a:pt x="1033" y="824"/>
                    </a:cubicBezTo>
                    <a:lnTo>
                      <a:pt x="1033" y="839"/>
                    </a:lnTo>
                    <a:close/>
                    <a:moveTo>
                      <a:pt x="1033" y="556"/>
                    </a:moveTo>
                    <a:cubicBezTo>
                      <a:pt x="1033" y="628"/>
                      <a:pt x="956" y="628"/>
                      <a:pt x="956" y="628"/>
                    </a:cubicBezTo>
                    <a:cubicBezTo>
                      <a:pt x="201" y="628"/>
                      <a:pt x="201" y="628"/>
                      <a:pt x="201" y="628"/>
                    </a:cubicBezTo>
                    <a:cubicBezTo>
                      <a:pt x="124" y="628"/>
                      <a:pt x="124" y="556"/>
                      <a:pt x="124" y="556"/>
                    </a:cubicBezTo>
                    <a:cubicBezTo>
                      <a:pt x="124" y="541"/>
                      <a:pt x="124" y="541"/>
                      <a:pt x="124" y="541"/>
                    </a:cubicBezTo>
                    <a:cubicBezTo>
                      <a:pt x="124" y="469"/>
                      <a:pt x="201" y="469"/>
                      <a:pt x="201" y="469"/>
                    </a:cubicBezTo>
                    <a:cubicBezTo>
                      <a:pt x="608" y="469"/>
                      <a:pt x="608" y="469"/>
                      <a:pt x="608" y="469"/>
                    </a:cubicBezTo>
                    <a:cubicBezTo>
                      <a:pt x="956" y="469"/>
                      <a:pt x="956" y="469"/>
                      <a:pt x="956" y="469"/>
                    </a:cubicBezTo>
                    <a:cubicBezTo>
                      <a:pt x="1033" y="469"/>
                      <a:pt x="1033" y="541"/>
                      <a:pt x="1033" y="541"/>
                    </a:cubicBezTo>
                    <a:lnTo>
                      <a:pt x="1033" y="556"/>
                    </a:lnTo>
                    <a:close/>
                    <a:moveTo>
                      <a:pt x="1033" y="273"/>
                    </a:moveTo>
                    <a:cubicBezTo>
                      <a:pt x="1033" y="345"/>
                      <a:pt x="956" y="345"/>
                      <a:pt x="956" y="345"/>
                    </a:cubicBezTo>
                    <a:cubicBezTo>
                      <a:pt x="201" y="345"/>
                      <a:pt x="201" y="345"/>
                      <a:pt x="201" y="345"/>
                    </a:cubicBezTo>
                    <a:cubicBezTo>
                      <a:pt x="124" y="345"/>
                      <a:pt x="124" y="273"/>
                      <a:pt x="124" y="273"/>
                    </a:cubicBezTo>
                    <a:cubicBezTo>
                      <a:pt x="124" y="258"/>
                      <a:pt x="124" y="258"/>
                      <a:pt x="124" y="258"/>
                    </a:cubicBezTo>
                    <a:cubicBezTo>
                      <a:pt x="124" y="186"/>
                      <a:pt x="201" y="186"/>
                      <a:pt x="201" y="186"/>
                    </a:cubicBezTo>
                    <a:cubicBezTo>
                      <a:pt x="608" y="186"/>
                      <a:pt x="608" y="186"/>
                      <a:pt x="608" y="186"/>
                    </a:cubicBezTo>
                    <a:cubicBezTo>
                      <a:pt x="956" y="186"/>
                      <a:pt x="956" y="186"/>
                      <a:pt x="956" y="186"/>
                    </a:cubicBezTo>
                    <a:cubicBezTo>
                      <a:pt x="1033" y="186"/>
                      <a:pt x="1033" y="258"/>
                      <a:pt x="1033" y="258"/>
                    </a:cubicBezTo>
                    <a:lnTo>
                      <a:pt x="1033" y="2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9" name="Oval 32"/>
              <p:cNvSpPr>
                <a:spLocks noChangeArrowheads="1"/>
              </p:cNvSpPr>
              <p:nvPr/>
            </p:nvSpPr>
            <p:spPr bwMode="auto">
              <a:xfrm>
                <a:off x="-13255625" y="-8405813"/>
                <a:ext cx="334963" cy="3349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0" name="Oval 33"/>
              <p:cNvSpPr>
                <a:spLocks noChangeArrowheads="1"/>
              </p:cNvSpPr>
              <p:nvPr/>
            </p:nvSpPr>
            <p:spPr bwMode="auto">
              <a:xfrm>
                <a:off x="-13255625" y="-7339013"/>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1" name="Oval 34"/>
              <p:cNvSpPr>
                <a:spLocks noChangeArrowheads="1"/>
              </p:cNvSpPr>
              <p:nvPr/>
            </p:nvSpPr>
            <p:spPr bwMode="auto">
              <a:xfrm>
                <a:off x="-13255625" y="-6275388"/>
                <a:ext cx="334963" cy="333375"/>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2" name="Oval 35"/>
              <p:cNvSpPr>
                <a:spLocks noChangeArrowheads="1"/>
              </p:cNvSpPr>
              <p:nvPr/>
            </p:nvSpPr>
            <p:spPr bwMode="auto">
              <a:xfrm>
                <a:off x="-13255625" y="-5208588"/>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3" name="Oval 36"/>
              <p:cNvSpPr>
                <a:spLocks noChangeArrowheads="1"/>
              </p:cNvSpPr>
              <p:nvPr/>
            </p:nvSpPr>
            <p:spPr bwMode="auto">
              <a:xfrm>
                <a:off x="-13255625" y="-4141788"/>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264" name="Group 263"/>
          <p:cNvGrpSpPr/>
          <p:nvPr/>
        </p:nvGrpSpPr>
        <p:grpSpPr>
          <a:xfrm>
            <a:off x="6318551" y="3520433"/>
            <a:ext cx="1901790" cy="1897122"/>
            <a:chOff x="6445250" y="3590528"/>
            <a:chExt cx="1939925" cy="1935163"/>
          </a:xfrm>
        </p:grpSpPr>
        <p:sp>
          <p:nvSpPr>
            <p:cNvPr id="111" name="Rectangle 110"/>
            <p:cNvSpPr/>
            <p:nvPr/>
          </p:nvSpPr>
          <p:spPr bwMode="auto">
            <a:xfrm>
              <a:off x="6445250" y="3590528"/>
              <a:ext cx="1939925" cy="193516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bIns="143428"/>
            <a:lstStyle/>
            <a:p>
              <a:pPr defTabSz="672451" fontAlgn="base">
                <a:spcBef>
                  <a:spcPct val="0"/>
                </a:spcBef>
                <a:spcAft>
                  <a:spcPct val="0"/>
                </a:spcAft>
                <a:defRPr/>
              </a:pPr>
              <a:r>
                <a:rPr lang="en-US" sz="3529" dirty="0">
                  <a:solidFill>
                    <a:srgbClr val="FFFFFF"/>
                  </a:solidFill>
                  <a:latin typeface="Segoe UI Light"/>
                </a:rPr>
                <a:t>47%</a:t>
              </a:r>
            </a:p>
            <a:p>
              <a:pPr defTabSz="672451" fontAlgn="base">
                <a:spcBef>
                  <a:spcPct val="0"/>
                </a:spcBef>
                <a:spcAft>
                  <a:spcPct val="0"/>
                </a:spcAft>
                <a:defRPr/>
              </a:pPr>
              <a:r>
                <a:rPr lang="en-US" sz="1176" dirty="0">
                  <a:solidFill>
                    <a:srgbClr val="FFFFFF"/>
                  </a:solidFill>
                </a:rPr>
                <a:t>worldwide share: </a:t>
              </a:r>
            </a:p>
            <a:p>
              <a:pPr defTabSz="672451" fontAlgn="base">
                <a:spcBef>
                  <a:spcPct val="0"/>
                </a:spcBef>
                <a:spcAft>
                  <a:spcPct val="0"/>
                </a:spcAft>
                <a:defRPr/>
              </a:pPr>
              <a:r>
                <a:rPr lang="en-US" sz="1176" dirty="0">
                  <a:solidFill>
                    <a:srgbClr val="FFFFFF"/>
                  </a:solidFill>
                </a:rPr>
                <a:t>SQL Server most widely-deployed database*</a:t>
              </a:r>
            </a:p>
          </p:txBody>
        </p:sp>
        <p:grpSp>
          <p:nvGrpSpPr>
            <p:cNvPr id="244" name="Group 243"/>
            <p:cNvGrpSpPr/>
            <p:nvPr/>
          </p:nvGrpSpPr>
          <p:grpSpPr>
            <a:xfrm>
              <a:off x="6623050" y="5019675"/>
              <a:ext cx="263167" cy="373004"/>
              <a:chOff x="-16489363" y="-9228138"/>
              <a:chExt cx="4351338" cy="6167438"/>
            </a:xfrm>
          </p:grpSpPr>
          <p:sp>
            <p:nvSpPr>
              <p:cNvPr id="245" name="Freeform 31"/>
              <p:cNvSpPr>
                <a:spLocks noEditPoints="1"/>
              </p:cNvSpPr>
              <p:nvPr/>
            </p:nvSpPr>
            <p:spPr bwMode="auto">
              <a:xfrm>
                <a:off x="-16489363" y="-9228138"/>
                <a:ext cx="4351338" cy="6167438"/>
              </a:xfrm>
              <a:custGeom>
                <a:avLst/>
                <a:gdLst>
                  <a:gd name="T0" fmla="*/ 0 w 1157"/>
                  <a:gd name="T1" fmla="*/ 0 h 1642"/>
                  <a:gd name="T2" fmla="*/ 0 w 1157"/>
                  <a:gd name="T3" fmla="*/ 1642 h 1642"/>
                  <a:gd name="T4" fmla="*/ 1157 w 1157"/>
                  <a:gd name="T5" fmla="*/ 1642 h 1642"/>
                  <a:gd name="T6" fmla="*/ 1157 w 1157"/>
                  <a:gd name="T7" fmla="*/ 0 h 1642"/>
                  <a:gd name="T8" fmla="*/ 0 w 1157"/>
                  <a:gd name="T9" fmla="*/ 0 h 1642"/>
                  <a:gd name="T10" fmla="*/ 1033 w 1157"/>
                  <a:gd name="T11" fmla="*/ 1405 h 1642"/>
                  <a:gd name="T12" fmla="*/ 956 w 1157"/>
                  <a:gd name="T13" fmla="*/ 1478 h 1642"/>
                  <a:gd name="T14" fmla="*/ 201 w 1157"/>
                  <a:gd name="T15" fmla="*/ 1478 h 1642"/>
                  <a:gd name="T16" fmla="*/ 124 w 1157"/>
                  <a:gd name="T17" fmla="*/ 1405 h 1642"/>
                  <a:gd name="T18" fmla="*/ 124 w 1157"/>
                  <a:gd name="T19" fmla="*/ 1391 h 1642"/>
                  <a:gd name="T20" fmla="*/ 201 w 1157"/>
                  <a:gd name="T21" fmla="*/ 1318 h 1642"/>
                  <a:gd name="T22" fmla="*/ 608 w 1157"/>
                  <a:gd name="T23" fmla="*/ 1318 h 1642"/>
                  <a:gd name="T24" fmla="*/ 956 w 1157"/>
                  <a:gd name="T25" fmla="*/ 1318 h 1642"/>
                  <a:gd name="T26" fmla="*/ 1033 w 1157"/>
                  <a:gd name="T27" fmla="*/ 1391 h 1642"/>
                  <a:gd name="T28" fmla="*/ 1033 w 1157"/>
                  <a:gd name="T29" fmla="*/ 1405 h 1642"/>
                  <a:gd name="T30" fmla="*/ 1033 w 1157"/>
                  <a:gd name="T31" fmla="*/ 1122 h 1642"/>
                  <a:gd name="T32" fmla="*/ 956 w 1157"/>
                  <a:gd name="T33" fmla="*/ 1195 h 1642"/>
                  <a:gd name="T34" fmla="*/ 201 w 1157"/>
                  <a:gd name="T35" fmla="*/ 1195 h 1642"/>
                  <a:gd name="T36" fmla="*/ 124 w 1157"/>
                  <a:gd name="T37" fmla="*/ 1122 h 1642"/>
                  <a:gd name="T38" fmla="*/ 124 w 1157"/>
                  <a:gd name="T39" fmla="*/ 1108 h 1642"/>
                  <a:gd name="T40" fmla="*/ 201 w 1157"/>
                  <a:gd name="T41" fmla="*/ 1035 h 1642"/>
                  <a:gd name="T42" fmla="*/ 608 w 1157"/>
                  <a:gd name="T43" fmla="*/ 1035 h 1642"/>
                  <a:gd name="T44" fmla="*/ 956 w 1157"/>
                  <a:gd name="T45" fmla="*/ 1035 h 1642"/>
                  <a:gd name="T46" fmla="*/ 1033 w 1157"/>
                  <a:gd name="T47" fmla="*/ 1108 h 1642"/>
                  <a:gd name="T48" fmla="*/ 1033 w 1157"/>
                  <a:gd name="T49" fmla="*/ 1122 h 1642"/>
                  <a:gd name="T50" fmla="*/ 1033 w 1157"/>
                  <a:gd name="T51" fmla="*/ 839 h 1642"/>
                  <a:gd name="T52" fmla="*/ 956 w 1157"/>
                  <a:gd name="T53" fmla="*/ 912 h 1642"/>
                  <a:gd name="T54" fmla="*/ 201 w 1157"/>
                  <a:gd name="T55" fmla="*/ 912 h 1642"/>
                  <a:gd name="T56" fmla="*/ 124 w 1157"/>
                  <a:gd name="T57" fmla="*/ 839 h 1642"/>
                  <a:gd name="T58" fmla="*/ 124 w 1157"/>
                  <a:gd name="T59" fmla="*/ 824 h 1642"/>
                  <a:gd name="T60" fmla="*/ 201 w 1157"/>
                  <a:gd name="T61" fmla="*/ 752 h 1642"/>
                  <a:gd name="T62" fmla="*/ 608 w 1157"/>
                  <a:gd name="T63" fmla="*/ 752 h 1642"/>
                  <a:gd name="T64" fmla="*/ 956 w 1157"/>
                  <a:gd name="T65" fmla="*/ 752 h 1642"/>
                  <a:gd name="T66" fmla="*/ 1033 w 1157"/>
                  <a:gd name="T67" fmla="*/ 824 h 1642"/>
                  <a:gd name="T68" fmla="*/ 1033 w 1157"/>
                  <a:gd name="T69" fmla="*/ 839 h 1642"/>
                  <a:gd name="T70" fmla="*/ 1033 w 1157"/>
                  <a:gd name="T71" fmla="*/ 556 h 1642"/>
                  <a:gd name="T72" fmla="*/ 956 w 1157"/>
                  <a:gd name="T73" fmla="*/ 628 h 1642"/>
                  <a:gd name="T74" fmla="*/ 201 w 1157"/>
                  <a:gd name="T75" fmla="*/ 628 h 1642"/>
                  <a:gd name="T76" fmla="*/ 124 w 1157"/>
                  <a:gd name="T77" fmla="*/ 556 h 1642"/>
                  <a:gd name="T78" fmla="*/ 124 w 1157"/>
                  <a:gd name="T79" fmla="*/ 541 h 1642"/>
                  <a:gd name="T80" fmla="*/ 201 w 1157"/>
                  <a:gd name="T81" fmla="*/ 469 h 1642"/>
                  <a:gd name="T82" fmla="*/ 608 w 1157"/>
                  <a:gd name="T83" fmla="*/ 469 h 1642"/>
                  <a:gd name="T84" fmla="*/ 956 w 1157"/>
                  <a:gd name="T85" fmla="*/ 469 h 1642"/>
                  <a:gd name="T86" fmla="*/ 1033 w 1157"/>
                  <a:gd name="T87" fmla="*/ 541 h 1642"/>
                  <a:gd name="T88" fmla="*/ 1033 w 1157"/>
                  <a:gd name="T89" fmla="*/ 556 h 1642"/>
                  <a:gd name="T90" fmla="*/ 1033 w 1157"/>
                  <a:gd name="T91" fmla="*/ 273 h 1642"/>
                  <a:gd name="T92" fmla="*/ 956 w 1157"/>
                  <a:gd name="T93" fmla="*/ 345 h 1642"/>
                  <a:gd name="T94" fmla="*/ 201 w 1157"/>
                  <a:gd name="T95" fmla="*/ 345 h 1642"/>
                  <a:gd name="T96" fmla="*/ 124 w 1157"/>
                  <a:gd name="T97" fmla="*/ 273 h 1642"/>
                  <a:gd name="T98" fmla="*/ 124 w 1157"/>
                  <a:gd name="T99" fmla="*/ 258 h 1642"/>
                  <a:gd name="T100" fmla="*/ 201 w 1157"/>
                  <a:gd name="T101" fmla="*/ 186 h 1642"/>
                  <a:gd name="T102" fmla="*/ 608 w 1157"/>
                  <a:gd name="T103" fmla="*/ 186 h 1642"/>
                  <a:gd name="T104" fmla="*/ 956 w 1157"/>
                  <a:gd name="T105" fmla="*/ 186 h 1642"/>
                  <a:gd name="T106" fmla="*/ 1033 w 1157"/>
                  <a:gd name="T107" fmla="*/ 258 h 1642"/>
                  <a:gd name="T108" fmla="*/ 1033 w 1157"/>
                  <a:gd name="T109" fmla="*/ 273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7" h="1642">
                    <a:moveTo>
                      <a:pt x="0" y="0"/>
                    </a:moveTo>
                    <a:cubicBezTo>
                      <a:pt x="0" y="1642"/>
                      <a:pt x="0" y="1642"/>
                      <a:pt x="0" y="1642"/>
                    </a:cubicBezTo>
                    <a:cubicBezTo>
                      <a:pt x="1157" y="1642"/>
                      <a:pt x="1157" y="1642"/>
                      <a:pt x="1157" y="1642"/>
                    </a:cubicBezTo>
                    <a:cubicBezTo>
                      <a:pt x="1157" y="0"/>
                      <a:pt x="1157" y="0"/>
                      <a:pt x="1157" y="0"/>
                    </a:cubicBezTo>
                    <a:lnTo>
                      <a:pt x="0" y="0"/>
                    </a:lnTo>
                    <a:close/>
                    <a:moveTo>
                      <a:pt x="1033" y="1405"/>
                    </a:moveTo>
                    <a:cubicBezTo>
                      <a:pt x="1033" y="1478"/>
                      <a:pt x="956" y="1478"/>
                      <a:pt x="956" y="1478"/>
                    </a:cubicBezTo>
                    <a:cubicBezTo>
                      <a:pt x="201" y="1478"/>
                      <a:pt x="201" y="1478"/>
                      <a:pt x="201" y="1478"/>
                    </a:cubicBezTo>
                    <a:cubicBezTo>
                      <a:pt x="124" y="1478"/>
                      <a:pt x="124" y="1405"/>
                      <a:pt x="124" y="1405"/>
                    </a:cubicBezTo>
                    <a:cubicBezTo>
                      <a:pt x="124" y="1391"/>
                      <a:pt x="124" y="1391"/>
                      <a:pt x="124" y="1391"/>
                    </a:cubicBezTo>
                    <a:cubicBezTo>
                      <a:pt x="124" y="1318"/>
                      <a:pt x="201" y="1318"/>
                      <a:pt x="201" y="1318"/>
                    </a:cubicBezTo>
                    <a:cubicBezTo>
                      <a:pt x="608" y="1318"/>
                      <a:pt x="608" y="1318"/>
                      <a:pt x="608" y="1318"/>
                    </a:cubicBezTo>
                    <a:cubicBezTo>
                      <a:pt x="956" y="1318"/>
                      <a:pt x="956" y="1318"/>
                      <a:pt x="956" y="1318"/>
                    </a:cubicBezTo>
                    <a:cubicBezTo>
                      <a:pt x="1033" y="1318"/>
                      <a:pt x="1033" y="1391"/>
                      <a:pt x="1033" y="1391"/>
                    </a:cubicBezTo>
                    <a:lnTo>
                      <a:pt x="1033" y="1405"/>
                    </a:lnTo>
                    <a:close/>
                    <a:moveTo>
                      <a:pt x="1033" y="1122"/>
                    </a:moveTo>
                    <a:cubicBezTo>
                      <a:pt x="1033" y="1195"/>
                      <a:pt x="956" y="1195"/>
                      <a:pt x="956" y="1195"/>
                    </a:cubicBezTo>
                    <a:cubicBezTo>
                      <a:pt x="201" y="1195"/>
                      <a:pt x="201" y="1195"/>
                      <a:pt x="201" y="1195"/>
                    </a:cubicBezTo>
                    <a:cubicBezTo>
                      <a:pt x="124" y="1195"/>
                      <a:pt x="124" y="1122"/>
                      <a:pt x="124" y="1122"/>
                    </a:cubicBezTo>
                    <a:cubicBezTo>
                      <a:pt x="124" y="1108"/>
                      <a:pt x="124" y="1108"/>
                      <a:pt x="124" y="1108"/>
                    </a:cubicBezTo>
                    <a:cubicBezTo>
                      <a:pt x="124" y="1035"/>
                      <a:pt x="201" y="1035"/>
                      <a:pt x="201" y="1035"/>
                    </a:cubicBezTo>
                    <a:cubicBezTo>
                      <a:pt x="608" y="1035"/>
                      <a:pt x="608" y="1035"/>
                      <a:pt x="608" y="1035"/>
                    </a:cubicBezTo>
                    <a:cubicBezTo>
                      <a:pt x="956" y="1035"/>
                      <a:pt x="956" y="1035"/>
                      <a:pt x="956" y="1035"/>
                    </a:cubicBezTo>
                    <a:cubicBezTo>
                      <a:pt x="1033" y="1035"/>
                      <a:pt x="1033" y="1108"/>
                      <a:pt x="1033" y="1108"/>
                    </a:cubicBezTo>
                    <a:lnTo>
                      <a:pt x="1033" y="1122"/>
                    </a:lnTo>
                    <a:close/>
                    <a:moveTo>
                      <a:pt x="1033" y="839"/>
                    </a:moveTo>
                    <a:cubicBezTo>
                      <a:pt x="1033" y="912"/>
                      <a:pt x="956" y="912"/>
                      <a:pt x="956" y="912"/>
                    </a:cubicBezTo>
                    <a:cubicBezTo>
                      <a:pt x="201" y="912"/>
                      <a:pt x="201" y="912"/>
                      <a:pt x="201" y="912"/>
                    </a:cubicBezTo>
                    <a:cubicBezTo>
                      <a:pt x="124" y="912"/>
                      <a:pt x="124" y="839"/>
                      <a:pt x="124" y="839"/>
                    </a:cubicBezTo>
                    <a:cubicBezTo>
                      <a:pt x="124" y="824"/>
                      <a:pt x="124" y="824"/>
                      <a:pt x="124" y="824"/>
                    </a:cubicBezTo>
                    <a:cubicBezTo>
                      <a:pt x="124" y="752"/>
                      <a:pt x="201" y="752"/>
                      <a:pt x="201" y="752"/>
                    </a:cubicBezTo>
                    <a:cubicBezTo>
                      <a:pt x="608" y="752"/>
                      <a:pt x="608" y="752"/>
                      <a:pt x="608" y="752"/>
                    </a:cubicBezTo>
                    <a:cubicBezTo>
                      <a:pt x="956" y="752"/>
                      <a:pt x="956" y="752"/>
                      <a:pt x="956" y="752"/>
                    </a:cubicBezTo>
                    <a:cubicBezTo>
                      <a:pt x="1033" y="752"/>
                      <a:pt x="1033" y="824"/>
                      <a:pt x="1033" y="824"/>
                    </a:cubicBezTo>
                    <a:lnTo>
                      <a:pt x="1033" y="839"/>
                    </a:lnTo>
                    <a:close/>
                    <a:moveTo>
                      <a:pt x="1033" y="556"/>
                    </a:moveTo>
                    <a:cubicBezTo>
                      <a:pt x="1033" y="628"/>
                      <a:pt x="956" y="628"/>
                      <a:pt x="956" y="628"/>
                    </a:cubicBezTo>
                    <a:cubicBezTo>
                      <a:pt x="201" y="628"/>
                      <a:pt x="201" y="628"/>
                      <a:pt x="201" y="628"/>
                    </a:cubicBezTo>
                    <a:cubicBezTo>
                      <a:pt x="124" y="628"/>
                      <a:pt x="124" y="556"/>
                      <a:pt x="124" y="556"/>
                    </a:cubicBezTo>
                    <a:cubicBezTo>
                      <a:pt x="124" y="541"/>
                      <a:pt x="124" y="541"/>
                      <a:pt x="124" y="541"/>
                    </a:cubicBezTo>
                    <a:cubicBezTo>
                      <a:pt x="124" y="469"/>
                      <a:pt x="201" y="469"/>
                      <a:pt x="201" y="469"/>
                    </a:cubicBezTo>
                    <a:cubicBezTo>
                      <a:pt x="608" y="469"/>
                      <a:pt x="608" y="469"/>
                      <a:pt x="608" y="469"/>
                    </a:cubicBezTo>
                    <a:cubicBezTo>
                      <a:pt x="956" y="469"/>
                      <a:pt x="956" y="469"/>
                      <a:pt x="956" y="469"/>
                    </a:cubicBezTo>
                    <a:cubicBezTo>
                      <a:pt x="1033" y="469"/>
                      <a:pt x="1033" y="541"/>
                      <a:pt x="1033" y="541"/>
                    </a:cubicBezTo>
                    <a:lnTo>
                      <a:pt x="1033" y="556"/>
                    </a:lnTo>
                    <a:close/>
                    <a:moveTo>
                      <a:pt x="1033" y="273"/>
                    </a:moveTo>
                    <a:cubicBezTo>
                      <a:pt x="1033" y="345"/>
                      <a:pt x="956" y="345"/>
                      <a:pt x="956" y="345"/>
                    </a:cubicBezTo>
                    <a:cubicBezTo>
                      <a:pt x="201" y="345"/>
                      <a:pt x="201" y="345"/>
                      <a:pt x="201" y="345"/>
                    </a:cubicBezTo>
                    <a:cubicBezTo>
                      <a:pt x="124" y="345"/>
                      <a:pt x="124" y="273"/>
                      <a:pt x="124" y="273"/>
                    </a:cubicBezTo>
                    <a:cubicBezTo>
                      <a:pt x="124" y="258"/>
                      <a:pt x="124" y="258"/>
                      <a:pt x="124" y="258"/>
                    </a:cubicBezTo>
                    <a:cubicBezTo>
                      <a:pt x="124" y="186"/>
                      <a:pt x="201" y="186"/>
                      <a:pt x="201" y="186"/>
                    </a:cubicBezTo>
                    <a:cubicBezTo>
                      <a:pt x="608" y="186"/>
                      <a:pt x="608" y="186"/>
                      <a:pt x="608" y="186"/>
                    </a:cubicBezTo>
                    <a:cubicBezTo>
                      <a:pt x="956" y="186"/>
                      <a:pt x="956" y="186"/>
                      <a:pt x="956" y="186"/>
                    </a:cubicBezTo>
                    <a:cubicBezTo>
                      <a:pt x="1033" y="186"/>
                      <a:pt x="1033" y="258"/>
                      <a:pt x="1033" y="258"/>
                    </a:cubicBezTo>
                    <a:lnTo>
                      <a:pt x="1033" y="2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6" name="Oval 32"/>
              <p:cNvSpPr>
                <a:spLocks noChangeArrowheads="1"/>
              </p:cNvSpPr>
              <p:nvPr/>
            </p:nvSpPr>
            <p:spPr bwMode="auto">
              <a:xfrm>
                <a:off x="-13255625" y="-8405813"/>
                <a:ext cx="334963" cy="3349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7" name="Oval 33"/>
              <p:cNvSpPr>
                <a:spLocks noChangeArrowheads="1"/>
              </p:cNvSpPr>
              <p:nvPr/>
            </p:nvSpPr>
            <p:spPr bwMode="auto">
              <a:xfrm>
                <a:off x="-13255625" y="-7339013"/>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8" name="Oval 34"/>
              <p:cNvSpPr>
                <a:spLocks noChangeArrowheads="1"/>
              </p:cNvSpPr>
              <p:nvPr/>
            </p:nvSpPr>
            <p:spPr bwMode="auto">
              <a:xfrm>
                <a:off x="-13255625" y="-6275388"/>
                <a:ext cx="334963" cy="333375"/>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9" name="Oval 35"/>
              <p:cNvSpPr>
                <a:spLocks noChangeArrowheads="1"/>
              </p:cNvSpPr>
              <p:nvPr/>
            </p:nvSpPr>
            <p:spPr bwMode="auto">
              <a:xfrm>
                <a:off x="-13255625" y="-5208588"/>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0" name="Oval 36"/>
              <p:cNvSpPr>
                <a:spLocks noChangeArrowheads="1"/>
              </p:cNvSpPr>
              <p:nvPr/>
            </p:nvSpPr>
            <p:spPr bwMode="auto">
              <a:xfrm>
                <a:off x="-13255625" y="-4141788"/>
                <a:ext cx="334963" cy="33020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spTree>
    <p:extLst>
      <p:ext uri="{BB962C8B-B14F-4D97-AF65-F5344CB8AC3E}">
        <p14:creationId xmlns:p14="http://schemas.microsoft.com/office/powerpoint/2010/main" val="3887915555"/>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750"/>
                                        <p:tgtEl>
                                          <p:spTgt spid="116"/>
                                        </p:tgtEl>
                                      </p:cBhvr>
                                    </p:animEffect>
                                  </p:childTnLst>
                                </p:cTn>
                              </p:par>
                              <p:par>
                                <p:cTn id="8" presetID="10" presetClass="entr" presetSubtype="0" fill="hold" nodeType="withEffect">
                                  <p:stCondLst>
                                    <p:cond delay="0"/>
                                  </p:stCondLst>
                                  <p:childTnLst>
                                    <p:set>
                                      <p:cBhvr>
                                        <p:cTn id="9" dur="1" fill="hold">
                                          <p:stCondLst>
                                            <p:cond delay="0"/>
                                          </p:stCondLst>
                                        </p:cTn>
                                        <p:tgtEl>
                                          <p:spTgt spid="262"/>
                                        </p:tgtEl>
                                        <p:attrNameLst>
                                          <p:attrName>style.visibility</p:attrName>
                                        </p:attrNameLst>
                                      </p:cBhvr>
                                      <p:to>
                                        <p:strVal val="visible"/>
                                      </p:to>
                                    </p:set>
                                    <p:animEffect transition="in" filter="fade">
                                      <p:cBhvr>
                                        <p:cTn id="10" dur="750"/>
                                        <p:tgtEl>
                                          <p:spTgt spid="262"/>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19"/>
                                        </p:tgtEl>
                                        <p:attrNameLst>
                                          <p:attrName>style.visibility</p:attrName>
                                        </p:attrNameLst>
                                      </p:cBhvr>
                                      <p:to>
                                        <p:strVal val="visible"/>
                                      </p:to>
                                    </p:set>
                                    <p:animEffect transition="in" filter="fade">
                                      <p:cBhvr>
                                        <p:cTn id="14" dur="750"/>
                                        <p:tgtEl>
                                          <p:spTgt spid="119"/>
                                        </p:tgtEl>
                                      </p:cBhvr>
                                    </p:animEffect>
                                  </p:childTnLst>
                                </p:cTn>
                              </p:par>
                              <p:par>
                                <p:cTn id="15" presetID="10" presetClass="entr" presetSubtype="0" fill="hold" nodeType="withEffect">
                                  <p:stCondLst>
                                    <p:cond delay="0"/>
                                  </p:stCondLst>
                                  <p:childTnLst>
                                    <p:set>
                                      <p:cBhvr>
                                        <p:cTn id="16" dur="1" fill="hold">
                                          <p:stCondLst>
                                            <p:cond delay="0"/>
                                          </p:stCondLst>
                                        </p:cTn>
                                        <p:tgtEl>
                                          <p:spTgt spid="263"/>
                                        </p:tgtEl>
                                        <p:attrNameLst>
                                          <p:attrName>style.visibility</p:attrName>
                                        </p:attrNameLst>
                                      </p:cBhvr>
                                      <p:to>
                                        <p:strVal val="visible"/>
                                      </p:to>
                                    </p:set>
                                    <p:animEffect transition="in" filter="fade">
                                      <p:cBhvr>
                                        <p:cTn id="17" dur="750"/>
                                        <p:tgtEl>
                                          <p:spTgt spid="26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122"/>
                                        </p:tgtEl>
                                        <p:attrNameLst>
                                          <p:attrName>style.visibility</p:attrName>
                                        </p:attrNameLst>
                                      </p:cBhvr>
                                      <p:to>
                                        <p:strVal val="visible"/>
                                      </p:to>
                                    </p:set>
                                    <p:animEffect transition="in" filter="fade">
                                      <p:cBhvr>
                                        <p:cTn id="21" dur="750"/>
                                        <p:tgtEl>
                                          <p:spTgt spid="122"/>
                                        </p:tgtEl>
                                      </p:cBhvr>
                                    </p:animEffect>
                                  </p:childTnLst>
                                </p:cTn>
                              </p:par>
                              <p:par>
                                <p:cTn id="22" presetID="10" presetClass="entr" presetSubtype="0" fill="hold" nodeType="withEffect">
                                  <p:stCondLst>
                                    <p:cond delay="0"/>
                                  </p:stCondLst>
                                  <p:childTnLst>
                                    <p:set>
                                      <p:cBhvr>
                                        <p:cTn id="23" dur="1" fill="hold">
                                          <p:stCondLst>
                                            <p:cond delay="0"/>
                                          </p:stCondLst>
                                        </p:cTn>
                                        <p:tgtEl>
                                          <p:spTgt spid="264"/>
                                        </p:tgtEl>
                                        <p:attrNameLst>
                                          <p:attrName>style.visibility</p:attrName>
                                        </p:attrNameLst>
                                      </p:cBhvr>
                                      <p:to>
                                        <p:strVal val="visible"/>
                                      </p:to>
                                    </p:set>
                                    <p:animEffect transition="in" filter="fade">
                                      <p:cBhvr>
                                        <p:cTn id="24" dur="750"/>
                                        <p:tgtEl>
                                          <p:spTgt spid="264"/>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125"/>
                                        </p:tgtEl>
                                        <p:attrNameLst>
                                          <p:attrName>style.visibility</p:attrName>
                                        </p:attrNameLst>
                                      </p:cBhvr>
                                      <p:to>
                                        <p:strVal val="visible"/>
                                      </p:to>
                                    </p:set>
                                    <p:animEffect transition="in" filter="fade">
                                      <p:cBhvr>
                                        <p:cTn id="28" dur="750"/>
                                        <p:tgtEl>
                                          <p:spTgt spid="125"/>
                                        </p:tgtEl>
                                      </p:cBhvr>
                                    </p:animEffect>
                                  </p:childTnLst>
                                </p:cTn>
                              </p:par>
                              <p:par>
                                <p:cTn id="29" presetID="10" presetClass="entr" presetSubtype="0" fill="hold" nodeType="withEffect">
                                  <p:stCondLst>
                                    <p:cond delay="0"/>
                                  </p:stCondLst>
                                  <p:childTnLst>
                                    <p:set>
                                      <p:cBhvr>
                                        <p:cTn id="30" dur="1" fill="hold">
                                          <p:stCondLst>
                                            <p:cond delay="0"/>
                                          </p:stCondLst>
                                        </p:cTn>
                                        <p:tgtEl>
                                          <p:spTgt spid="265"/>
                                        </p:tgtEl>
                                        <p:attrNameLst>
                                          <p:attrName>style.visibility</p:attrName>
                                        </p:attrNameLst>
                                      </p:cBhvr>
                                      <p:to>
                                        <p:strVal val="visible"/>
                                      </p:to>
                                    </p:set>
                                    <p:animEffect transition="in" filter="fade">
                                      <p:cBhvr>
                                        <p:cTn id="31" dur="750"/>
                                        <p:tgtEl>
                                          <p:spTgt spid="265"/>
                                        </p:tgtEl>
                                      </p:cBhvr>
                                    </p:animEffect>
                                  </p:childTnLst>
                                </p:cTn>
                              </p:par>
                            </p:childTnLst>
                          </p:cTn>
                        </p:par>
                        <p:par>
                          <p:cTn id="32" fill="hold">
                            <p:stCondLst>
                              <p:cond delay="3000"/>
                            </p:stCondLst>
                            <p:childTnLst>
                              <p:par>
                                <p:cTn id="33" presetID="10" presetClass="entr" presetSubtype="0" fill="hold" nodeType="afterEffect">
                                  <p:stCondLst>
                                    <p:cond delay="0"/>
                                  </p:stCondLst>
                                  <p:childTnLst>
                                    <p:set>
                                      <p:cBhvr>
                                        <p:cTn id="34" dur="1" fill="hold">
                                          <p:stCondLst>
                                            <p:cond delay="0"/>
                                          </p:stCondLst>
                                        </p:cTn>
                                        <p:tgtEl>
                                          <p:spTgt spid="199"/>
                                        </p:tgtEl>
                                        <p:attrNameLst>
                                          <p:attrName>style.visibility</p:attrName>
                                        </p:attrNameLst>
                                      </p:cBhvr>
                                      <p:to>
                                        <p:strVal val="visible"/>
                                      </p:to>
                                    </p:set>
                                    <p:animEffect transition="in" filter="fade">
                                      <p:cBhvr>
                                        <p:cTn id="35" dur="500"/>
                                        <p:tgtEl>
                                          <p:spTgt spid="199"/>
                                        </p:tgtEl>
                                      </p:cBhvr>
                                    </p:animEffect>
                                  </p:childTnLst>
                                </p:cTn>
                              </p:par>
                              <p:par>
                                <p:cTn id="36" presetID="10" presetClass="entr" presetSubtype="0" fill="hold" nodeType="withEffect">
                                  <p:stCondLst>
                                    <p:cond delay="100"/>
                                  </p:stCondLst>
                                  <p:childTnLst>
                                    <p:set>
                                      <p:cBhvr>
                                        <p:cTn id="37" dur="1" fill="hold">
                                          <p:stCondLst>
                                            <p:cond delay="0"/>
                                          </p:stCondLst>
                                        </p:cTn>
                                        <p:tgtEl>
                                          <p:spTgt spid="166"/>
                                        </p:tgtEl>
                                        <p:attrNameLst>
                                          <p:attrName>style.visibility</p:attrName>
                                        </p:attrNameLst>
                                      </p:cBhvr>
                                      <p:to>
                                        <p:strVal val="visible"/>
                                      </p:to>
                                    </p:set>
                                    <p:animEffect transition="in" filter="fade">
                                      <p:cBhvr>
                                        <p:cTn id="38" dur="500"/>
                                        <p:tgtEl>
                                          <p:spTgt spid="166"/>
                                        </p:tgtEl>
                                      </p:cBhvr>
                                    </p:animEffect>
                                  </p:childTnLst>
                                </p:cTn>
                              </p:par>
                              <p:par>
                                <p:cTn id="39" presetID="10" presetClass="entr" presetSubtype="0" fill="hold" nodeType="withEffect">
                                  <p:stCondLst>
                                    <p:cond delay="200"/>
                                  </p:stCondLst>
                                  <p:childTnLst>
                                    <p:set>
                                      <p:cBhvr>
                                        <p:cTn id="40" dur="1" fill="hold">
                                          <p:stCondLst>
                                            <p:cond delay="0"/>
                                          </p:stCondLst>
                                        </p:cTn>
                                        <p:tgtEl>
                                          <p:spTgt spid="158"/>
                                        </p:tgtEl>
                                        <p:attrNameLst>
                                          <p:attrName>style.visibility</p:attrName>
                                        </p:attrNameLst>
                                      </p:cBhvr>
                                      <p:to>
                                        <p:strVal val="visible"/>
                                      </p:to>
                                    </p:set>
                                    <p:animEffect transition="in" filter="fade">
                                      <p:cBhvr>
                                        <p:cTn id="41" dur="500"/>
                                        <p:tgtEl>
                                          <p:spTgt spid="158"/>
                                        </p:tgtEl>
                                      </p:cBhvr>
                                    </p:animEffect>
                                  </p:childTnLst>
                                </p:cTn>
                              </p:par>
                              <p:par>
                                <p:cTn id="42" presetID="10" presetClass="entr" presetSubtype="0" fill="hold" nodeType="withEffect">
                                  <p:stCondLst>
                                    <p:cond delay="300"/>
                                  </p:stCondLst>
                                  <p:childTnLst>
                                    <p:set>
                                      <p:cBhvr>
                                        <p:cTn id="43" dur="1" fill="hold">
                                          <p:stCondLst>
                                            <p:cond delay="0"/>
                                          </p:stCondLst>
                                        </p:cTn>
                                        <p:tgtEl>
                                          <p:spTgt spid="189"/>
                                        </p:tgtEl>
                                        <p:attrNameLst>
                                          <p:attrName>style.visibility</p:attrName>
                                        </p:attrNameLst>
                                      </p:cBhvr>
                                      <p:to>
                                        <p:strVal val="visible"/>
                                      </p:to>
                                    </p:set>
                                    <p:animEffect transition="in" filter="fade">
                                      <p:cBhvr>
                                        <p:cTn id="44" dur="500"/>
                                        <p:tgtEl>
                                          <p:spTgt spid="189"/>
                                        </p:tgtEl>
                                      </p:cBhvr>
                                    </p:animEffect>
                                  </p:childTnLst>
                                </p:cTn>
                              </p:par>
                              <p:par>
                                <p:cTn id="45" presetID="10" presetClass="entr" presetSubtype="0" fill="hold" nodeType="withEffect">
                                  <p:stCondLst>
                                    <p:cond delay="40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par>
                                <p:cTn id="48" presetID="10" presetClass="entr" presetSubtype="0" fill="hold" nodeType="withEffect">
                                  <p:stCondLst>
                                    <p:cond delay="500"/>
                                  </p:stCondLst>
                                  <p:childTnLst>
                                    <p:set>
                                      <p:cBhvr>
                                        <p:cTn id="49" dur="1" fill="hold">
                                          <p:stCondLst>
                                            <p:cond delay="0"/>
                                          </p:stCondLst>
                                        </p:cTn>
                                        <p:tgtEl>
                                          <p:spTgt spid="209"/>
                                        </p:tgtEl>
                                        <p:attrNameLst>
                                          <p:attrName>style.visibility</p:attrName>
                                        </p:attrNameLst>
                                      </p:cBhvr>
                                      <p:to>
                                        <p:strVal val="visible"/>
                                      </p:to>
                                    </p:set>
                                    <p:animEffect transition="in" filter="fade">
                                      <p:cBhvr>
                                        <p:cTn id="50" dur="500"/>
                                        <p:tgtEl>
                                          <p:spTgt spid="209"/>
                                        </p:tgtEl>
                                      </p:cBhvr>
                                    </p:animEffect>
                                  </p:childTnLst>
                                </p:cTn>
                              </p:par>
                              <p:par>
                                <p:cTn id="51" presetID="10" presetClass="entr" presetSubtype="0" fill="hold" nodeType="withEffect">
                                  <p:stCondLst>
                                    <p:cond delay="600"/>
                                  </p:stCondLst>
                                  <p:childTnLst>
                                    <p:set>
                                      <p:cBhvr>
                                        <p:cTn id="52" dur="1" fill="hold">
                                          <p:stCondLst>
                                            <p:cond delay="0"/>
                                          </p:stCondLst>
                                        </p:cTn>
                                        <p:tgtEl>
                                          <p:spTgt spid="177"/>
                                        </p:tgtEl>
                                        <p:attrNameLst>
                                          <p:attrName>style.visibility</p:attrName>
                                        </p:attrNameLst>
                                      </p:cBhvr>
                                      <p:to>
                                        <p:strVal val="visible"/>
                                      </p:to>
                                    </p:set>
                                    <p:animEffect transition="in" filter="fade">
                                      <p:cBhvr>
                                        <p:cTn id="53" dur="500"/>
                                        <p:tgtEl>
                                          <p:spTgt spid="177"/>
                                        </p:tgtEl>
                                      </p:cBhvr>
                                    </p:animEffect>
                                  </p:childTnLst>
                                </p:cTn>
                              </p:par>
                              <p:par>
                                <p:cTn id="54" presetID="10" presetClass="entr" presetSubtype="0" fill="hold" nodeType="withEffect">
                                  <p:stCondLst>
                                    <p:cond delay="700"/>
                                  </p:stCondLst>
                                  <p:childTnLst>
                                    <p:set>
                                      <p:cBhvr>
                                        <p:cTn id="55" dur="1" fill="hold">
                                          <p:stCondLst>
                                            <p:cond delay="0"/>
                                          </p:stCondLst>
                                        </p:cTn>
                                        <p:tgtEl>
                                          <p:spTgt spid="203"/>
                                        </p:tgtEl>
                                        <p:attrNameLst>
                                          <p:attrName>style.visibility</p:attrName>
                                        </p:attrNameLst>
                                      </p:cBhvr>
                                      <p:to>
                                        <p:strVal val="visible"/>
                                      </p:to>
                                    </p:set>
                                    <p:animEffect transition="in" filter="fade">
                                      <p:cBhvr>
                                        <p:cTn id="56" dur="500"/>
                                        <p:tgtEl>
                                          <p:spTgt spid="203"/>
                                        </p:tgtEl>
                                      </p:cBhvr>
                                    </p:animEffect>
                                  </p:childTnLst>
                                </p:cTn>
                              </p:par>
                            </p:childTnLst>
                          </p:cTn>
                        </p:par>
                        <p:par>
                          <p:cTn id="57" fill="hold">
                            <p:stCondLst>
                              <p:cond delay="4200"/>
                            </p:stCondLst>
                            <p:childTnLst>
                              <p:par>
                                <p:cTn id="58" presetID="10" presetClass="entr" presetSubtype="0" fill="hold" grpId="0" nodeType="afterEffect">
                                  <p:stCondLst>
                                    <p:cond delay="0"/>
                                  </p:stCondLst>
                                  <p:childTnLst>
                                    <p:set>
                                      <p:cBhvr>
                                        <p:cTn id="59" dur="1" fill="hold">
                                          <p:stCondLst>
                                            <p:cond delay="0"/>
                                          </p:stCondLst>
                                        </p:cTn>
                                        <p:tgtEl>
                                          <p:spTgt spid="154"/>
                                        </p:tgtEl>
                                        <p:attrNameLst>
                                          <p:attrName>style.visibility</p:attrName>
                                        </p:attrNameLst>
                                      </p:cBhvr>
                                      <p:to>
                                        <p:strVal val="visible"/>
                                      </p:to>
                                    </p:set>
                                    <p:animEffect transition="in" filter="fade">
                                      <p:cBhvr>
                                        <p:cTn id="60" dur="500"/>
                                        <p:tgtEl>
                                          <p:spTgt spid="154"/>
                                        </p:tgtEl>
                                      </p:cBhvr>
                                    </p:animEffect>
                                  </p:childTnLst>
                                </p:cTn>
                              </p:par>
                              <p:par>
                                <p:cTn id="61" presetID="10" presetClass="entr" presetSubtype="0" fill="hold" grpId="0" nodeType="withEffect">
                                  <p:stCondLst>
                                    <p:cond delay="250"/>
                                  </p:stCondLst>
                                  <p:childTnLst>
                                    <p:set>
                                      <p:cBhvr>
                                        <p:cTn id="62" dur="1" fill="hold">
                                          <p:stCondLst>
                                            <p:cond delay="0"/>
                                          </p:stCondLst>
                                        </p:cTn>
                                        <p:tgtEl>
                                          <p:spTgt spid="155"/>
                                        </p:tgtEl>
                                        <p:attrNameLst>
                                          <p:attrName>style.visibility</p:attrName>
                                        </p:attrNameLst>
                                      </p:cBhvr>
                                      <p:to>
                                        <p:strVal val="visible"/>
                                      </p:to>
                                    </p:set>
                                    <p:animEffect transition="in" filter="fade">
                                      <p:cBhvr>
                                        <p:cTn id="63" dur="500"/>
                                        <p:tgtEl>
                                          <p:spTgt spid="155"/>
                                        </p:tgtEl>
                                      </p:cBhvr>
                                    </p:animEffect>
                                  </p:childTnLst>
                                </p:cTn>
                              </p:par>
                              <p:par>
                                <p:cTn id="64" presetID="10" presetClass="entr" presetSubtype="0" fill="hold" nodeType="withEffect">
                                  <p:stCondLst>
                                    <p:cond delay="500"/>
                                  </p:stCondLst>
                                  <p:childTnLst>
                                    <p:set>
                                      <p:cBhvr>
                                        <p:cTn id="65" dur="1" fill="hold">
                                          <p:stCondLst>
                                            <p:cond delay="0"/>
                                          </p:stCondLst>
                                        </p:cTn>
                                        <p:tgtEl>
                                          <p:spTgt spid="156"/>
                                        </p:tgtEl>
                                        <p:attrNameLst>
                                          <p:attrName>style.visibility</p:attrName>
                                        </p:attrNameLst>
                                      </p:cBhvr>
                                      <p:to>
                                        <p:strVal val="visible"/>
                                      </p:to>
                                    </p:set>
                                    <p:animEffect transition="in" filter="fade">
                                      <p:cBhvr>
                                        <p:cTn id="66" dur="500"/>
                                        <p:tgtEl>
                                          <p:spTgt spid="156"/>
                                        </p:tgtEl>
                                      </p:cBhvr>
                                    </p:animEffect>
                                  </p:childTnLst>
                                </p:cTn>
                              </p:par>
                              <p:par>
                                <p:cTn id="67" presetID="8" presetClass="emph" presetSubtype="0" decel="100000" fill="hold" nodeType="withEffect">
                                  <p:stCondLst>
                                    <p:cond delay="500"/>
                                  </p:stCondLst>
                                  <p:childTnLst>
                                    <p:animRot by="21600000">
                                      <p:cBhvr>
                                        <p:cTn id="68" dur="1000" fill="hold"/>
                                        <p:tgtEl>
                                          <p:spTgt spid="156"/>
                                        </p:tgtEl>
                                        <p:attrNameLst>
                                          <p:attrName>r</p:attrName>
                                        </p:attrNameLst>
                                      </p:cBhvr>
                                    </p:animRot>
                                  </p:childTnLst>
                                </p:cTn>
                              </p:par>
                            </p:childTnLst>
                          </p:cTn>
                        </p:par>
                        <p:par>
                          <p:cTn id="69" fill="hold">
                            <p:stCondLst>
                              <p:cond delay="5700"/>
                            </p:stCondLst>
                            <p:childTnLst>
                              <p:par>
                                <p:cTn id="70" presetID="10" presetClass="entr" presetSubtype="0" fill="hold" grpId="0" nodeType="afterEffect">
                                  <p:stCondLst>
                                    <p:cond delay="0"/>
                                  </p:stCondLst>
                                  <p:childTnLst>
                                    <p:set>
                                      <p:cBhvr>
                                        <p:cTn id="71" dur="1" fill="hold">
                                          <p:stCondLst>
                                            <p:cond delay="0"/>
                                          </p:stCondLst>
                                        </p:cTn>
                                        <p:tgtEl>
                                          <p:spTgt spid="210"/>
                                        </p:tgtEl>
                                        <p:attrNameLst>
                                          <p:attrName>style.visibility</p:attrName>
                                        </p:attrNameLst>
                                      </p:cBhvr>
                                      <p:to>
                                        <p:strVal val="visible"/>
                                      </p:to>
                                    </p:set>
                                    <p:animEffect transition="in" filter="fade">
                                      <p:cBhvr>
                                        <p:cTn id="72" dur="500"/>
                                        <p:tgtEl>
                                          <p:spTgt spid="210"/>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13"/>
                                        </p:tgtEl>
                                        <p:attrNameLst>
                                          <p:attrName>style.visibility</p:attrName>
                                        </p:attrNameLst>
                                      </p:cBhvr>
                                      <p:to>
                                        <p:strVal val="visible"/>
                                      </p:to>
                                    </p:set>
                                    <p:animEffect transition="in" filter="fade">
                                      <p:cBhvr>
                                        <p:cTn id="75" dur="500"/>
                                        <p:tgtEl>
                                          <p:spTgt spid="213"/>
                                        </p:tgtEl>
                                      </p:cBhvr>
                                    </p:animEffect>
                                  </p:childTnLst>
                                </p:cTn>
                              </p:par>
                              <p:par>
                                <p:cTn id="76" presetID="10" presetClass="entr" presetSubtype="0" fill="hold" grpId="0" nodeType="withEffect">
                                  <p:stCondLst>
                                    <p:cond delay="150"/>
                                  </p:stCondLst>
                                  <p:childTnLst>
                                    <p:set>
                                      <p:cBhvr>
                                        <p:cTn id="77" dur="1" fill="hold">
                                          <p:stCondLst>
                                            <p:cond delay="0"/>
                                          </p:stCondLst>
                                        </p:cTn>
                                        <p:tgtEl>
                                          <p:spTgt spid="207"/>
                                        </p:tgtEl>
                                        <p:attrNameLst>
                                          <p:attrName>style.visibility</p:attrName>
                                        </p:attrNameLst>
                                      </p:cBhvr>
                                      <p:to>
                                        <p:strVal val="visible"/>
                                      </p:to>
                                    </p:set>
                                    <p:animEffect transition="in" filter="fade">
                                      <p:cBhvr>
                                        <p:cTn id="78" dur="500"/>
                                        <p:tgtEl>
                                          <p:spTgt spid="207"/>
                                        </p:tgtEl>
                                      </p:cBhvr>
                                    </p:animEffect>
                                  </p:childTnLst>
                                </p:cTn>
                              </p:par>
                              <p:par>
                                <p:cTn id="79" presetID="10" presetClass="entr" presetSubtype="0" fill="hold" grpId="0" nodeType="withEffect">
                                  <p:stCondLst>
                                    <p:cond delay="150"/>
                                  </p:stCondLst>
                                  <p:childTnLst>
                                    <p:set>
                                      <p:cBhvr>
                                        <p:cTn id="80" dur="1" fill="hold">
                                          <p:stCondLst>
                                            <p:cond delay="0"/>
                                          </p:stCondLst>
                                        </p:cTn>
                                        <p:tgtEl>
                                          <p:spTgt spid="214"/>
                                        </p:tgtEl>
                                        <p:attrNameLst>
                                          <p:attrName>style.visibility</p:attrName>
                                        </p:attrNameLst>
                                      </p:cBhvr>
                                      <p:to>
                                        <p:strVal val="visible"/>
                                      </p:to>
                                    </p:set>
                                    <p:animEffect transition="in" filter="fade">
                                      <p:cBhvr>
                                        <p:cTn id="81" dur="500"/>
                                        <p:tgtEl>
                                          <p:spTgt spid="214"/>
                                        </p:tgtEl>
                                      </p:cBhvr>
                                    </p:animEffect>
                                  </p:childTnLst>
                                </p:cTn>
                              </p:par>
                              <p:par>
                                <p:cTn id="82" presetID="10" presetClass="entr" presetSubtype="0" fill="hold" grpId="0" nodeType="withEffect">
                                  <p:stCondLst>
                                    <p:cond delay="300"/>
                                  </p:stCondLst>
                                  <p:childTnLst>
                                    <p:set>
                                      <p:cBhvr>
                                        <p:cTn id="83" dur="1" fill="hold">
                                          <p:stCondLst>
                                            <p:cond delay="0"/>
                                          </p:stCondLst>
                                        </p:cTn>
                                        <p:tgtEl>
                                          <p:spTgt spid="208"/>
                                        </p:tgtEl>
                                        <p:attrNameLst>
                                          <p:attrName>style.visibility</p:attrName>
                                        </p:attrNameLst>
                                      </p:cBhvr>
                                      <p:to>
                                        <p:strVal val="visible"/>
                                      </p:to>
                                    </p:set>
                                    <p:animEffect transition="in" filter="fade">
                                      <p:cBhvr>
                                        <p:cTn id="84" dur="500"/>
                                        <p:tgtEl>
                                          <p:spTgt spid="208"/>
                                        </p:tgtEl>
                                      </p:cBhvr>
                                    </p:animEffect>
                                  </p:childTnLst>
                                </p:cTn>
                              </p:par>
                              <p:par>
                                <p:cTn id="85" presetID="10" presetClass="entr" presetSubtype="0" fill="hold" grpId="0" nodeType="withEffect">
                                  <p:stCondLst>
                                    <p:cond delay="300"/>
                                  </p:stCondLst>
                                  <p:childTnLst>
                                    <p:set>
                                      <p:cBhvr>
                                        <p:cTn id="86" dur="1" fill="hold">
                                          <p:stCondLst>
                                            <p:cond delay="0"/>
                                          </p:stCondLst>
                                        </p:cTn>
                                        <p:tgtEl>
                                          <p:spTgt spid="215"/>
                                        </p:tgtEl>
                                        <p:attrNameLst>
                                          <p:attrName>style.visibility</p:attrName>
                                        </p:attrNameLst>
                                      </p:cBhvr>
                                      <p:to>
                                        <p:strVal val="visible"/>
                                      </p:to>
                                    </p:set>
                                    <p:animEffect transition="in" filter="fade">
                                      <p:cBhvr>
                                        <p:cTn id="87" dur="500"/>
                                        <p:tgtEl>
                                          <p:spTgt spid="215"/>
                                        </p:tgtEl>
                                      </p:cBhvr>
                                    </p:animEffect>
                                  </p:childTnLst>
                                </p:cTn>
                              </p:par>
                              <p:par>
                                <p:cTn id="88" presetID="10" presetClass="entr" presetSubtype="0" fill="hold" grpId="0" nodeType="withEffect">
                                  <p:stCondLst>
                                    <p:cond delay="450"/>
                                  </p:stCondLst>
                                  <p:childTnLst>
                                    <p:set>
                                      <p:cBhvr>
                                        <p:cTn id="89" dur="1" fill="hold">
                                          <p:stCondLst>
                                            <p:cond delay="0"/>
                                          </p:stCondLst>
                                        </p:cTn>
                                        <p:tgtEl>
                                          <p:spTgt spid="206"/>
                                        </p:tgtEl>
                                        <p:attrNameLst>
                                          <p:attrName>style.visibility</p:attrName>
                                        </p:attrNameLst>
                                      </p:cBhvr>
                                      <p:to>
                                        <p:strVal val="visible"/>
                                      </p:to>
                                    </p:set>
                                    <p:animEffect transition="in" filter="fade">
                                      <p:cBhvr>
                                        <p:cTn id="90" dur="500"/>
                                        <p:tgtEl>
                                          <p:spTgt spid="206"/>
                                        </p:tgtEl>
                                      </p:cBhvr>
                                    </p:animEffect>
                                  </p:childTnLst>
                                </p:cTn>
                              </p:par>
                              <p:par>
                                <p:cTn id="91" presetID="10" presetClass="entr" presetSubtype="0" fill="hold" grpId="0" nodeType="withEffect">
                                  <p:stCondLst>
                                    <p:cond delay="450"/>
                                  </p:stCondLst>
                                  <p:childTnLst>
                                    <p:set>
                                      <p:cBhvr>
                                        <p:cTn id="92" dur="1" fill="hold">
                                          <p:stCondLst>
                                            <p:cond delay="0"/>
                                          </p:stCondLst>
                                        </p:cTn>
                                        <p:tgtEl>
                                          <p:spTgt spid="216"/>
                                        </p:tgtEl>
                                        <p:attrNameLst>
                                          <p:attrName>style.visibility</p:attrName>
                                        </p:attrNameLst>
                                      </p:cBhvr>
                                      <p:to>
                                        <p:strVal val="visible"/>
                                      </p:to>
                                    </p:set>
                                    <p:animEffect transition="in" filter="fade">
                                      <p:cBhvr>
                                        <p:cTn id="93"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animBg="1"/>
      <p:bldP spid="155" grpId="0" animBg="1"/>
      <p:bldP spid="206" grpId="0"/>
      <p:bldP spid="207" grpId="0"/>
      <p:bldP spid="208" grpId="0"/>
      <p:bldP spid="210" grpId="0"/>
      <p:bldP spid="213" grpId="0" animBg="1"/>
      <p:bldP spid="214" grpId="0" animBg="1"/>
      <p:bldP spid="215" grpId="0" animBg="1"/>
      <p:bldP spid="2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bwMode="auto">
          <a:xfrm>
            <a:off x="462797" y="1124248"/>
            <a:ext cx="5786705" cy="5786705"/>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Oval 83"/>
          <p:cNvSpPr/>
          <p:nvPr/>
        </p:nvSpPr>
        <p:spPr bwMode="auto">
          <a:xfrm>
            <a:off x="1169237" y="1830687"/>
            <a:ext cx="4373826" cy="437382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5"/>
          <p:cNvSpPr>
            <a:spLocks noChangeArrowheads="1"/>
          </p:cNvSpPr>
          <p:nvPr/>
        </p:nvSpPr>
        <p:spPr bwMode="auto">
          <a:xfrm>
            <a:off x="1182686" y="1844137"/>
            <a:ext cx="4346927" cy="4346927"/>
          </a:xfrm>
          <a:prstGeom prst="ellipse">
            <a:avLst/>
          </a:prstGeom>
          <a:noFill/>
          <a:ln w="128588" cap="flat">
            <a:solidFill>
              <a:schemeClr val="bg1">
                <a:lumMod val="8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8" name="Oval 8"/>
          <p:cNvSpPr>
            <a:spLocks noChangeArrowheads="1"/>
          </p:cNvSpPr>
          <p:nvPr/>
        </p:nvSpPr>
        <p:spPr bwMode="auto">
          <a:xfrm>
            <a:off x="3308767" y="5096691"/>
            <a:ext cx="96293" cy="97821"/>
          </a:xfrm>
          <a:prstGeom prst="ellipse">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9" name="Oval 9"/>
          <p:cNvSpPr>
            <a:spLocks noChangeArrowheads="1"/>
          </p:cNvSpPr>
          <p:nvPr/>
        </p:nvSpPr>
        <p:spPr bwMode="auto">
          <a:xfrm>
            <a:off x="3308767" y="5261762"/>
            <a:ext cx="96293" cy="99350"/>
          </a:xfrm>
          <a:prstGeom prst="ellipse">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0" name="Oval 10"/>
          <p:cNvSpPr>
            <a:spLocks noChangeArrowheads="1"/>
          </p:cNvSpPr>
          <p:nvPr/>
        </p:nvSpPr>
        <p:spPr bwMode="auto">
          <a:xfrm>
            <a:off x="3308767" y="5428364"/>
            <a:ext cx="96293" cy="97821"/>
          </a:xfrm>
          <a:prstGeom prst="ellipse">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1" name="Oval 11"/>
          <p:cNvSpPr>
            <a:spLocks noChangeArrowheads="1"/>
          </p:cNvSpPr>
          <p:nvPr/>
        </p:nvSpPr>
        <p:spPr bwMode="auto">
          <a:xfrm>
            <a:off x="3308767" y="5594968"/>
            <a:ext cx="96293" cy="97821"/>
          </a:xfrm>
          <a:prstGeom prst="ellipse">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2" name="Oval 12"/>
          <p:cNvSpPr>
            <a:spLocks noChangeArrowheads="1"/>
          </p:cNvSpPr>
          <p:nvPr/>
        </p:nvSpPr>
        <p:spPr bwMode="auto">
          <a:xfrm>
            <a:off x="3308767" y="5761567"/>
            <a:ext cx="96293" cy="96293"/>
          </a:xfrm>
          <a:prstGeom prst="ellipse">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3" name="Oval 13"/>
          <p:cNvSpPr>
            <a:spLocks noChangeArrowheads="1"/>
          </p:cNvSpPr>
          <p:nvPr/>
        </p:nvSpPr>
        <p:spPr bwMode="auto">
          <a:xfrm>
            <a:off x="3308767" y="5926641"/>
            <a:ext cx="96293" cy="96293"/>
          </a:xfrm>
          <a:prstGeom prst="ellipse">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4" name="Freeform 14"/>
          <p:cNvSpPr>
            <a:spLocks/>
          </p:cNvSpPr>
          <p:nvPr/>
        </p:nvSpPr>
        <p:spPr bwMode="auto">
          <a:xfrm>
            <a:off x="2315272" y="3413860"/>
            <a:ext cx="111578" cy="113106"/>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5" name="Freeform 15"/>
          <p:cNvSpPr>
            <a:spLocks/>
          </p:cNvSpPr>
          <p:nvPr/>
        </p:nvSpPr>
        <p:spPr bwMode="auto">
          <a:xfrm>
            <a:off x="2170068" y="3332853"/>
            <a:ext cx="111578" cy="111578"/>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6" name="Freeform 16"/>
          <p:cNvSpPr>
            <a:spLocks/>
          </p:cNvSpPr>
          <p:nvPr/>
        </p:nvSpPr>
        <p:spPr bwMode="auto">
          <a:xfrm>
            <a:off x="2024865" y="3253373"/>
            <a:ext cx="111578" cy="111578"/>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7" name="Freeform 17"/>
          <p:cNvSpPr>
            <a:spLocks/>
          </p:cNvSpPr>
          <p:nvPr/>
        </p:nvSpPr>
        <p:spPr bwMode="auto">
          <a:xfrm>
            <a:off x="1879662" y="3172364"/>
            <a:ext cx="111578" cy="111578"/>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8" name="Freeform 18"/>
          <p:cNvSpPr>
            <a:spLocks/>
          </p:cNvSpPr>
          <p:nvPr/>
        </p:nvSpPr>
        <p:spPr bwMode="auto">
          <a:xfrm>
            <a:off x="1734458" y="3092885"/>
            <a:ext cx="111578" cy="110048"/>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9" name="Freeform 19"/>
          <p:cNvSpPr>
            <a:spLocks/>
          </p:cNvSpPr>
          <p:nvPr/>
        </p:nvSpPr>
        <p:spPr bwMode="auto">
          <a:xfrm>
            <a:off x="1589256" y="3010348"/>
            <a:ext cx="111578" cy="113106"/>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0" name="Freeform 20"/>
          <p:cNvSpPr>
            <a:spLocks/>
          </p:cNvSpPr>
          <p:nvPr/>
        </p:nvSpPr>
        <p:spPr bwMode="auto">
          <a:xfrm>
            <a:off x="4286979" y="3413860"/>
            <a:ext cx="111578" cy="113106"/>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1" name="Freeform 21"/>
          <p:cNvSpPr>
            <a:spLocks/>
          </p:cNvSpPr>
          <p:nvPr/>
        </p:nvSpPr>
        <p:spPr bwMode="auto">
          <a:xfrm>
            <a:off x="4432182" y="3332853"/>
            <a:ext cx="111578" cy="111578"/>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2" name="Freeform 22"/>
          <p:cNvSpPr>
            <a:spLocks/>
          </p:cNvSpPr>
          <p:nvPr/>
        </p:nvSpPr>
        <p:spPr bwMode="auto">
          <a:xfrm>
            <a:off x="4577386" y="3253373"/>
            <a:ext cx="111578" cy="111578"/>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3" name="Freeform 23"/>
          <p:cNvSpPr>
            <a:spLocks/>
          </p:cNvSpPr>
          <p:nvPr/>
        </p:nvSpPr>
        <p:spPr bwMode="auto">
          <a:xfrm>
            <a:off x="4722589" y="3172364"/>
            <a:ext cx="111578" cy="111578"/>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4" name="Freeform 24"/>
          <p:cNvSpPr>
            <a:spLocks/>
          </p:cNvSpPr>
          <p:nvPr/>
        </p:nvSpPr>
        <p:spPr bwMode="auto">
          <a:xfrm>
            <a:off x="4867792" y="3092885"/>
            <a:ext cx="110048" cy="110048"/>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5" name="Freeform 25"/>
          <p:cNvSpPr>
            <a:spLocks/>
          </p:cNvSpPr>
          <p:nvPr/>
        </p:nvSpPr>
        <p:spPr bwMode="auto">
          <a:xfrm>
            <a:off x="5012996" y="3010348"/>
            <a:ext cx="111578" cy="113106"/>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06" name="TextBox 105"/>
          <p:cNvSpPr txBox="1"/>
          <p:nvPr/>
        </p:nvSpPr>
        <p:spPr>
          <a:xfrm>
            <a:off x="2448741" y="2209478"/>
            <a:ext cx="1838238" cy="717140"/>
          </a:xfrm>
          <a:prstGeom prst="rect">
            <a:avLst/>
          </a:prstGeom>
        </p:spPr>
        <p:txBody>
          <a:bodyPr vert="horz" wrap="square" lIns="89642" tIns="89642" rIns="89642" bIns="89642" rtlCol="0" anchor="ctr">
            <a:noAutofit/>
          </a:bodyPr>
          <a:lstStyle/>
          <a:p>
            <a:pPr algn="ctr" defTabSz="913505" fontAlgn="base">
              <a:spcBef>
                <a:spcPct val="0"/>
              </a:spcBef>
              <a:spcAft>
                <a:spcPct val="0"/>
              </a:spcAft>
            </a:pPr>
            <a:r>
              <a:rPr lang="en-US" sz="1568" b="1" dirty="0">
                <a:solidFill>
                  <a:srgbClr val="FFFFFF"/>
                </a:solidFill>
                <a:ea typeface="Segoe UI" pitchFamily="34" charset="0"/>
                <a:cs typeface="Segoe UI" pitchFamily="34" charset="0"/>
              </a:rPr>
              <a:t>CUSTOMER DATACENTER</a:t>
            </a:r>
          </a:p>
        </p:txBody>
      </p:sp>
      <p:sp>
        <p:nvSpPr>
          <p:cNvPr id="107" name="TextBox 106"/>
          <p:cNvSpPr txBox="1"/>
          <p:nvPr/>
        </p:nvSpPr>
        <p:spPr>
          <a:xfrm>
            <a:off x="3626459" y="4823288"/>
            <a:ext cx="1424347" cy="717140"/>
          </a:xfrm>
          <a:prstGeom prst="rect">
            <a:avLst/>
          </a:prstGeom>
        </p:spPr>
        <p:txBody>
          <a:bodyPr vert="horz" wrap="square" lIns="89642" tIns="89642" rIns="89642" bIns="89642" rtlCol="0" anchor="ctr">
            <a:noAutofit/>
          </a:bodyPr>
          <a:lstStyle/>
          <a:p>
            <a:pPr algn="ctr" defTabSz="913505" fontAlgn="base">
              <a:spcBef>
                <a:spcPct val="0"/>
              </a:spcBef>
              <a:spcAft>
                <a:spcPct val="0"/>
              </a:spcAft>
            </a:pPr>
            <a:r>
              <a:rPr lang="en-US" sz="1568" b="1" dirty="0">
                <a:solidFill>
                  <a:srgbClr val="FFFFFF"/>
                </a:solidFill>
                <a:ea typeface="Segoe UI" pitchFamily="34" charset="0"/>
                <a:cs typeface="Segoe UI" pitchFamily="34" charset="0"/>
              </a:rPr>
              <a:t>SERVICE PROVIDER</a:t>
            </a:r>
          </a:p>
        </p:txBody>
      </p:sp>
      <p:sp>
        <p:nvSpPr>
          <p:cNvPr id="109" name="TextBox 108"/>
          <p:cNvSpPr txBox="1"/>
          <p:nvPr/>
        </p:nvSpPr>
        <p:spPr>
          <a:xfrm>
            <a:off x="1524459" y="4823288"/>
            <a:ext cx="1424347" cy="717140"/>
          </a:xfrm>
          <a:prstGeom prst="rect">
            <a:avLst/>
          </a:prstGeom>
        </p:spPr>
        <p:txBody>
          <a:bodyPr vert="horz" wrap="square" lIns="89642" tIns="89642" rIns="89642" bIns="89642" rtlCol="0" anchor="ctr">
            <a:noAutofit/>
          </a:bodyPr>
          <a:lstStyle/>
          <a:p>
            <a:pPr algn="ctr" defTabSz="913505" fontAlgn="base">
              <a:spcBef>
                <a:spcPct val="0"/>
              </a:spcBef>
              <a:spcAft>
                <a:spcPct val="0"/>
              </a:spcAft>
            </a:pPr>
            <a:r>
              <a:rPr lang="en-US" sz="1568" b="1" dirty="0">
                <a:solidFill>
                  <a:srgbClr val="FFFFFF"/>
                </a:solidFill>
                <a:ea typeface="Segoe UI" pitchFamily="34" charset="0"/>
                <a:cs typeface="Segoe UI" pitchFamily="34" charset="0"/>
              </a:rPr>
              <a:t>MICROSOFT</a:t>
            </a:r>
            <a:br>
              <a:rPr lang="en-US" sz="1568" b="1" dirty="0">
                <a:solidFill>
                  <a:srgbClr val="FFFFFF"/>
                </a:solidFill>
                <a:ea typeface="Segoe UI" pitchFamily="34" charset="0"/>
                <a:cs typeface="Segoe UI" pitchFamily="34" charset="0"/>
              </a:rPr>
            </a:br>
            <a:r>
              <a:rPr lang="en-US" sz="1568" b="1" dirty="0">
                <a:solidFill>
                  <a:srgbClr val="FFFFFF"/>
                </a:solidFill>
                <a:ea typeface="Segoe UI" pitchFamily="34" charset="0"/>
                <a:cs typeface="Segoe UI" pitchFamily="34" charset="0"/>
              </a:rPr>
              <a:t>AZURE</a:t>
            </a:r>
          </a:p>
        </p:txBody>
      </p:sp>
      <p:sp>
        <p:nvSpPr>
          <p:cNvPr id="3" name="Title 2"/>
          <p:cNvSpPr>
            <a:spLocks noGrp="1"/>
          </p:cNvSpPr>
          <p:nvPr>
            <p:ph type="title"/>
          </p:nvPr>
        </p:nvSpPr>
        <p:spPr/>
        <p:txBody>
          <a:bodyPr/>
          <a:lstStyle/>
          <a:p>
            <a:r>
              <a:rPr lang="en-US" dirty="0" smtClean="0"/>
              <a:t>Private, public, and hybrid </a:t>
            </a:r>
            <a:r>
              <a:rPr lang="en-US" dirty="0"/>
              <a:t>c</a:t>
            </a:r>
            <a:r>
              <a:rPr lang="en-US" dirty="0" smtClean="0"/>
              <a:t>loud</a:t>
            </a:r>
            <a:endParaRPr lang="en-US" dirty="0"/>
          </a:p>
        </p:txBody>
      </p:sp>
      <p:sp>
        <p:nvSpPr>
          <p:cNvPr id="108" name="TextBox 107"/>
          <p:cNvSpPr txBox="1"/>
          <p:nvPr/>
        </p:nvSpPr>
        <p:spPr>
          <a:xfrm>
            <a:off x="269239" y="1110019"/>
            <a:ext cx="9935374" cy="507786"/>
          </a:xfrm>
          <a:prstGeom prst="rect">
            <a:avLst/>
          </a:prstGeom>
          <a:noFill/>
          <a:ln>
            <a:noFill/>
          </a:ln>
        </p:spPr>
        <p:txBody>
          <a:bodyPr wrap="square" lIns="179285" tIns="134464" rIns="179285" bIns="45699" rtlCol="0">
            <a:spAutoFit/>
          </a:bodyPr>
          <a:lstStyle/>
          <a:p>
            <a:pPr defTabSz="1218427" fontAlgn="base">
              <a:lnSpc>
                <a:spcPct val="90000"/>
              </a:lnSpc>
              <a:spcBef>
                <a:spcPct val="0"/>
              </a:spcBef>
              <a:spcAft>
                <a:spcPct val="0"/>
              </a:spcAft>
            </a:pPr>
            <a:r>
              <a:rPr lang="en-US" sz="2353" dirty="0">
                <a:solidFill>
                  <a:srgbClr val="0072C6"/>
                </a:solidFill>
                <a:latin typeface="Segoe UI Light"/>
                <a:ea typeface="ＭＳ Ｐゴシック" charset="0"/>
              </a:rPr>
              <a:t>Platform engineered with commonalities for flexibility and consistency</a:t>
            </a:r>
          </a:p>
        </p:txBody>
      </p:sp>
      <p:sp>
        <p:nvSpPr>
          <p:cNvPr id="58" name="TextBox 57"/>
          <p:cNvSpPr txBox="1"/>
          <p:nvPr/>
        </p:nvSpPr>
        <p:spPr>
          <a:xfrm>
            <a:off x="6727589" y="2431831"/>
            <a:ext cx="2763977" cy="896425"/>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72C6"/>
                </a:solidFill>
                <a:latin typeface="Segoe UI Light" panose="020B0502040204020203" pitchFamily="34" charset="0"/>
                <a:ea typeface="ＭＳ Ｐゴシック" charset="0"/>
              </a:rPr>
              <a:t>Development</a:t>
            </a:r>
          </a:p>
        </p:txBody>
      </p:sp>
      <p:sp>
        <p:nvSpPr>
          <p:cNvPr id="59" name="TextBox 58"/>
          <p:cNvSpPr txBox="1"/>
          <p:nvPr/>
        </p:nvSpPr>
        <p:spPr>
          <a:xfrm>
            <a:off x="6727590" y="2784693"/>
            <a:ext cx="2078563" cy="504432"/>
          </a:xfrm>
          <a:prstGeom prst="rect">
            <a:avLst/>
          </a:prstGeom>
          <a:noFill/>
        </p:spPr>
        <p:txBody>
          <a:bodyPr wrap="square" lIns="179285" tIns="143428" rIns="179285" bIns="143428" rtlCol="0">
            <a:noAutofit/>
          </a:bodyPr>
          <a:lstStyle/>
          <a:p>
            <a:pPr defTabSz="913505" fontAlgn="base">
              <a:lnSpc>
                <a:spcPct val="90000"/>
              </a:lnSpc>
              <a:spcBef>
                <a:spcPct val="0"/>
              </a:spcBef>
              <a:spcAft>
                <a:spcPts val="588"/>
              </a:spcAft>
            </a:pPr>
            <a:r>
              <a:rPr lang="en-US" sz="1568" dirty="0">
                <a:solidFill>
                  <a:srgbClr val="0072C6"/>
                </a:solidFill>
                <a:ea typeface="Segoe UI" panose="020B0502040204020203" pitchFamily="34" charset="0"/>
                <a:cs typeface="Segoe UI" panose="020B0502040204020203" pitchFamily="34" charset="0"/>
              </a:rPr>
              <a:t>code once, deploy VMs anywhere</a:t>
            </a:r>
          </a:p>
        </p:txBody>
      </p:sp>
      <p:sp>
        <p:nvSpPr>
          <p:cNvPr id="60" name="Freeform 101"/>
          <p:cNvSpPr>
            <a:spLocks/>
          </p:cNvSpPr>
          <p:nvPr/>
        </p:nvSpPr>
        <p:spPr bwMode="black">
          <a:xfrm rot="10800000">
            <a:off x="6486703" y="2622838"/>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372" kern="0">
              <a:solidFill>
                <a:srgbClr val="0072C6"/>
              </a:solidFill>
              <a:latin typeface="Segoe UI Light" panose="020B0502040204020203" pitchFamily="34" charset="0"/>
              <a:ea typeface="ＭＳ Ｐゴシック" charset="0"/>
            </a:endParaRPr>
          </a:p>
        </p:txBody>
      </p:sp>
      <p:sp>
        <p:nvSpPr>
          <p:cNvPr id="62" name="TextBox 61"/>
          <p:cNvSpPr txBox="1"/>
          <p:nvPr/>
        </p:nvSpPr>
        <p:spPr>
          <a:xfrm>
            <a:off x="6727589" y="3512849"/>
            <a:ext cx="2763977" cy="896425"/>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72C6"/>
                </a:solidFill>
                <a:latin typeface="Segoe UI Light" panose="020B0502040204020203" pitchFamily="34" charset="0"/>
                <a:ea typeface="ＭＳ Ｐゴシック" charset="0"/>
              </a:rPr>
              <a:t>Management</a:t>
            </a:r>
          </a:p>
        </p:txBody>
      </p:sp>
      <p:sp>
        <p:nvSpPr>
          <p:cNvPr id="63" name="TextBox 62"/>
          <p:cNvSpPr txBox="1"/>
          <p:nvPr/>
        </p:nvSpPr>
        <p:spPr>
          <a:xfrm>
            <a:off x="6727589" y="3839918"/>
            <a:ext cx="2526777" cy="536172"/>
          </a:xfrm>
          <a:prstGeom prst="rect">
            <a:avLst/>
          </a:prstGeom>
          <a:noFill/>
        </p:spPr>
        <p:txBody>
          <a:bodyPr wrap="square" lIns="179285" tIns="143428" rIns="179285" bIns="143428" rtlCol="0">
            <a:noAutofit/>
          </a:bodyPr>
          <a:lstStyle/>
          <a:p>
            <a:pPr defTabSz="913505" fontAlgn="base">
              <a:lnSpc>
                <a:spcPct val="90000"/>
              </a:lnSpc>
              <a:spcBef>
                <a:spcPct val="0"/>
              </a:spcBef>
              <a:spcAft>
                <a:spcPts val="588"/>
              </a:spcAft>
            </a:pPr>
            <a:r>
              <a:rPr lang="en-US" sz="1568" dirty="0">
                <a:solidFill>
                  <a:srgbClr val="0072C6"/>
                </a:solidFill>
                <a:ea typeface="Segoe UI" panose="020B0502040204020203" pitchFamily="34" charset="0"/>
                <a:cs typeface="Segoe UI" panose="020B0502040204020203" pitchFamily="34" charset="0"/>
              </a:rPr>
              <a:t>unified view across premises</a:t>
            </a:r>
          </a:p>
        </p:txBody>
      </p:sp>
      <p:sp>
        <p:nvSpPr>
          <p:cNvPr id="64" name="Freeform 101"/>
          <p:cNvSpPr>
            <a:spLocks/>
          </p:cNvSpPr>
          <p:nvPr/>
        </p:nvSpPr>
        <p:spPr bwMode="black">
          <a:xfrm rot="10800000">
            <a:off x="6486703" y="3702776"/>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372" kern="0">
              <a:solidFill>
                <a:srgbClr val="0072C6"/>
              </a:solidFill>
              <a:latin typeface="Segoe UI Light" panose="020B0502040204020203" pitchFamily="34" charset="0"/>
              <a:ea typeface="ＭＳ Ｐゴシック" charset="0"/>
            </a:endParaRPr>
          </a:p>
        </p:txBody>
      </p:sp>
      <p:sp>
        <p:nvSpPr>
          <p:cNvPr id="66" name="TextBox 65"/>
          <p:cNvSpPr txBox="1"/>
          <p:nvPr/>
        </p:nvSpPr>
        <p:spPr>
          <a:xfrm>
            <a:off x="6727589" y="4697889"/>
            <a:ext cx="2763977" cy="896425"/>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72C6"/>
                </a:solidFill>
                <a:latin typeface="Segoe UI Light" panose="020B0502040204020203" pitchFamily="34" charset="0"/>
                <a:ea typeface="ＭＳ Ｐゴシック" charset="0"/>
              </a:rPr>
              <a:t>Identity</a:t>
            </a:r>
          </a:p>
        </p:txBody>
      </p:sp>
      <p:sp>
        <p:nvSpPr>
          <p:cNvPr id="67" name="TextBox 66"/>
          <p:cNvSpPr txBox="1"/>
          <p:nvPr/>
        </p:nvSpPr>
        <p:spPr>
          <a:xfrm>
            <a:off x="6727590" y="5047817"/>
            <a:ext cx="3765926" cy="529129"/>
          </a:xfrm>
          <a:prstGeom prst="rect">
            <a:avLst/>
          </a:prstGeom>
          <a:noFill/>
        </p:spPr>
        <p:txBody>
          <a:bodyPr wrap="square" lIns="179285" tIns="143428" rIns="179285" bIns="143428" rtlCol="0">
            <a:noAutofit/>
          </a:bodyPr>
          <a:lstStyle/>
          <a:p>
            <a:pPr defTabSz="913505" fontAlgn="base">
              <a:lnSpc>
                <a:spcPct val="90000"/>
              </a:lnSpc>
              <a:spcBef>
                <a:spcPct val="0"/>
              </a:spcBef>
              <a:spcAft>
                <a:spcPts val="588"/>
              </a:spcAft>
            </a:pPr>
            <a:r>
              <a:rPr lang="en-US" sz="1568" dirty="0">
                <a:solidFill>
                  <a:srgbClr val="0072C6"/>
                </a:solidFill>
                <a:ea typeface="Segoe UI" panose="020B0502040204020203" pitchFamily="34" charset="0"/>
                <a:cs typeface="Segoe UI" panose="020B0502040204020203" pitchFamily="34" charset="0"/>
              </a:rPr>
              <a:t>single sign-on</a:t>
            </a:r>
          </a:p>
        </p:txBody>
      </p:sp>
      <p:sp>
        <p:nvSpPr>
          <p:cNvPr id="68" name="Freeform 101"/>
          <p:cNvSpPr>
            <a:spLocks/>
          </p:cNvSpPr>
          <p:nvPr/>
        </p:nvSpPr>
        <p:spPr bwMode="black">
          <a:xfrm rot="10800000">
            <a:off x="6486703" y="4899188"/>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372" kern="0">
              <a:solidFill>
                <a:srgbClr val="0072C6"/>
              </a:solidFill>
              <a:latin typeface="Segoe UI Light" panose="020B0502040204020203" pitchFamily="34" charset="0"/>
              <a:ea typeface="ＭＳ Ｐゴシック" charset="0"/>
            </a:endParaRPr>
          </a:p>
        </p:txBody>
      </p:sp>
      <p:sp>
        <p:nvSpPr>
          <p:cNvPr id="70" name="TextBox 69"/>
          <p:cNvSpPr txBox="1"/>
          <p:nvPr/>
        </p:nvSpPr>
        <p:spPr>
          <a:xfrm>
            <a:off x="9572606" y="2431831"/>
            <a:ext cx="2763977" cy="896425"/>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72C6"/>
                </a:solidFill>
                <a:latin typeface="Segoe UI Light" panose="020B0502040204020203" pitchFamily="34" charset="0"/>
                <a:ea typeface="ＭＳ Ｐゴシック" charset="0"/>
              </a:rPr>
              <a:t>Virtualization</a:t>
            </a:r>
          </a:p>
        </p:txBody>
      </p:sp>
      <p:sp>
        <p:nvSpPr>
          <p:cNvPr id="71" name="TextBox 70"/>
          <p:cNvSpPr txBox="1"/>
          <p:nvPr/>
        </p:nvSpPr>
        <p:spPr>
          <a:xfrm>
            <a:off x="9572606" y="2780993"/>
            <a:ext cx="3403751" cy="504432"/>
          </a:xfrm>
          <a:prstGeom prst="rect">
            <a:avLst/>
          </a:prstGeom>
          <a:noFill/>
        </p:spPr>
        <p:txBody>
          <a:bodyPr wrap="square" lIns="179285" tIns="143428" rIns="179285" bIns="143428" rtlCol="0">
            <a:noAutofit/>
          </a:bodyPr>
          <a:lstStyle/>
          <a:p>
            <a:pPr defTabSz="913505" fontAlgn="base">
              <a:lnSpc>
                <a:spcPct val="90000"/>
              </a:lnSpc>
              <a:spcBef>
                <a:spcPct val="0"/>
              </a:spcBef>
              <a:spcAft>
                <a:spcPts val="588"/>
              </a:spcAft>
            </a:pPr>
            <a:r>
              <a:rPr lang="en-US" sz="1568" dirty="0">
                <a:solidFill>
                  <a:srgbClr val="0072C6"/>
                </a:solidFill>
                <a:ea typeface="Segoe UI" panose="020B0502040204020203" pitchFamily="34" charset="0"/>
                <a:cs typeface="Segoe UI" panose="020B0502040204020203" pitchFamily="34" charset="0"/>
              </a:rPr>
              <a:t>built in, not an add-on</a:t>
            </a:r>
          </a:p>
        </p:txBody>
      </p:sp>
      <p:sp>
        <p:nvSpPr>
          <p:cNvPr id="72" name="Freeform 101"/>
          <p:cNvSpPr>
            <a:spLocks/>
          </p:cNvSpPr>
          <p:nvPr/>
        </p:nvSpPr>
        <p:spPr bwMode="black">
          <a:xfrm rot="10800000">
            <a:off x="9331719" y="2607150"/>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372" kern="0">
              <a:solidFill>
                <a:srgbClr val="0072C6"/>
              </a:solidFill>
              <a:latin typeface="Segoe UI Light" panose="020B0502040204020203" pitchFamily="34" charset="0"/>
              <a:ea typeface="ＭＳ Ｐゴシック" charset="0"/>
            </a:endParaRPr>
          </a:p>
        </p:txBody>
      </p:sp>
      <p:sp>
        <p:nvSpPr>
          <p:cNvPr id="74" name="TextBox 73"/>
          <p:cNvSpPr txBox="1"/>
          <p:nvPr/>
        </p:nvSpPr>
        <p:spPr>
          <a:xfrm>
            <a:off x="9572606" y="3512849"/>
            <a:ext cx="2775656" cy="896425"/>
          </a:xfrm>
          <a:prstGeom prst="rect">
            <a:avLst/>
          </a:prstGeom>
          <a:noFill/>
        </p:spPr>
        <p:txBody>
          <a:bodyPr wrap="none" lIns="179285" tIns="143428" rIns="179285" bIns="143428" rtlCol="0">
            <a:noAutofit/>
          </a:bodyPr>
          <a:lstStyle/>
          <a:p>
            <a:pPr defTabSz="913505" fontAlgn="base">
              <a:lnSpc>
                <a:spcPct val="90000"/>
              </a:lnSpc>
              <a:spcBef>
                <a:spcPct val="0"/>
              </a:spcBef>
              <a:spcAft>
                <a:spcPts val="588"/>
              </a:spcAft>
            </a:pPr>
            <a:r>
              <a:rPr lang="en-US" sz="2353" dirty="0">
                <a:solidFill>
                  <a:srgbClr val="0072C6"/>
                </a:solidFill>
                <a:latin typeface="Segoe UI Light" panose="020B0502040204020203" pitchFamily="34" charset="0"/>
                <a:ea typeface="ＭＳ Ｐゴシック" charset="0"/>
              </a:rPr>
              <a:t>Data</a:t>
            </a:r>
          </a:p>
        </p:txBody>
      </p:sp>
      <p:sp>
        <p:nvSpPr>
          <p:cNvPr id="75" name="TextBox 74"/>
          <p:cNvSpPr txBox="1"/>
          <p:nvPr/>
        </p:nvSpPr>
        <p:spPr>
          <a:xfrm>
            <a:off x="9572606" y="3848031"/>
            <a:ext cx="3642511" cy="526530"/>
          </a:xfrm>
          <a:prstGeom prst="rect">
            <a:avLst/>
          </a:prstGeom>
          <a:noFill/>
        </p:spPr>
        <p:txBody>
          <a:bodyPr wrap="square" lIns="179285" tIns="143428" rIns="179285" bIns="143428" rtlCol="0">
            <a:noAutofit/>
          </a:bodyPr>
          <a:lstStyle/>
          <a:p>
            <a:pPr defTabSz="913505" fontAlgn="base">
              <a:lnSpc>
                <a:spcPct val="90000"/>
              </a:lnSpc>
              <a:spcBef>
                <a:spcPct val="0"/>
              </a:spcBef>
              <a:spcAft>
                <a:spcPts val="588"/>
              </a:spcAft>
            </a:pPr>
            <a:r>
              <a:rPr lang="en-US" sz="1568" dirty="0">
                <a:solidFill>
                  <a:srgbClr val="0072C6"/>
                </a:solidFill>
                <a:ea typeface="Segoe UI" panose="020B0502040204020203" pitchFamily="34" charset="0"/>
                <a:cs typeface="Segoe UI" panose="020B0502040204020203" pitchFamily="34" charset="0"/>
              </a:rPr>
              <a:t>analytics and storage </a:t>
            </a:r>
            <a:br>
              <a:rPr lang="en-US" sz="1568" dirty="0">
                <a:solidFill>
                  <a:srgbClr val="0072C6"/>
                </a:solidFill>
                <a:ea typeface="Segoe UI" panose="020B0502040204020203" pitchFamily="34" charset="0"/>
                <a:cs typeface="Segoe UI" panose="020B0502040204020203" pitchFamily="34" charset="0"/>
              </a:rPr>
            </a:br>
            <a:r>
              <a:rPr lang="en-US" sz="1568" dirty="0">
                <a:solidFill>
                  <a:srgbClr val="0072C6"/>
                </a:solidFill>
                <a:ea typeface="Segoe UI" panose="020B0502040204020203" pitchFamily="34" charset="0"/>
                <a:cs typeface="Segoe UI" panose="020B0502040204020203" pitchFamily="34" charset="0"/>
              </a:rPr>
              <a:t>spanning clouds</a:t>
            </a:r>
          </a:p>
        </p:txBody>
      </p:sp>
      <p:sp>
        <p:nvSpPr>
          <p:cNvPr id="76" name="Freeform 101"/>
          <p:cNvSpPr>
            <a:spLocks/>
          </p:cNvSpPr>
          <p:nvPr/>
        </p:nvSpPr>
        <p:spPr bwMode="black">
          <a:xfrm rot="10800000">
            <a:off x="9331719" y="3711990"/>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372" kern="0">
              <a:solidFill>
                <a:srgbClr val="0072C6"/>
              </a:solidFill>
              <a:latin typeface="Segoe UI Light" panose="020B0502040204020203" pitchFamily="34" charset="0"/>
              <a:ea typeface="ＭＳ Ｐゴシック" charset="0"/>
            </a:endParaRPr>
          </a:p>
        </p:txBody>
      </p:sp>
      <p:sp>
        <p:nvSpPr>
          <p:cNvPr id="86" name="Freeform 6"/>
          <p:cNvSpPr>
            <a:spLocks/>
          </p:cNvSpPr>
          <p:nvPr/>
        </p:nvSpPr>
        <p:spPr bwMode="auto">
          <a:xfrm>
            <a:off x="2324442" y="3011877"/>
            <a:ext cx="2101627" cy="1114245"/>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7" name="Freeform 7"/>
          <p:cNvSpPr>
            <a:spLocks/>
          </p:cNvSpPr>
          <p:nvPr/>
        </p:nvSpPr>
        <p:spPr bwMode="auto">
          <a:xfrm>
            <a:off x="2218980" y="3928950"/>
            <a:ext cx="2097041" cy="1115772"/>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10" name="TextBox 109"/>
          <p:cNvSpPr txBox="1"/>
          <p:nvPr/>
        </p:nvSpPr>
        <p:spPr>
          <a:xfrm>
            <a:off x="2643236" y="4013785"/>
            <a:ext cx="1424347" cy="653896"/>
          </a:xfrm>
          <a:prstGeom prst="rect">
            <a:avLst/>
          </a:prstGeom>
        </p:spPr>
        <p:txBody>
          <a:bodyPr vert="horz" wrap="square" lIns="89642" tIns="89642" rIns="89642" bIns="89642" rtlCol="0" anchor="t">
            <a:noAutofit/>
          </a:bodyPr>
          <a:lstStyle/>
          <a:p>
            <a:pPr algn="ctr" defTabSz="913505" fontAlgn="base">
              <a:spcBef>
                <a:spcPct val="0"/>
              </a:spcBef>
              <a:spcAft>
                <a:spcPct val="0"/>
              </a:spcAft>
            </a:pPr>
            <a:r>
              <a:rPr lang="en-US" sz="1568" b="1" dirty="0">
                <a:solidFill>
                  <a:srgbClr val="FFFFFF"/>
                </a:solidFill>
                <a:ea typeface="Segoe UI" pitchFamily="34" charset="0"/>
                <a:cs typeface="Segoe UI" pitchFamily="34" charset="0"/>
              </a:rPr>
              <a:t>CONSISTENT</a:t>
            </a:r>
            <a:br>
              <a:rPr lang="en-US" sz="1568" b="1" dirty="0">
                <a:solidFill>
                  <a:srgbClr val="FFFFFF"/>
                </a:solidFill>
                <a:ea typeface="Segoe UI" pitchFamily="34" charset="0"/>
                <a:cs typeface="Segoe UI" pitchFamily="34" charset="0"/>
              </a:rPr>
            </a:br>
            <a:r>
              <a:rPr lang="en-US" sz="1568" b="1" dirty="0">
                <a:solidFill>
                  <a:srgbClr val="FFFFFF"/>
                </a:solidFill>
                <a:ea typeface="Segoe UI" pitchFamily="34" charset="0"/>
                <a:cs typeface="Segoe UI" pitchFamily="34" charset="0"/>
              </a:rPr>
              <a:t>PLATFORM</a:t>
            </a:r>
          </a:p>
        </p:txBody>
      </p:sp>
      <p:sp>
        <p:nvSpPr>
          <p:cNvPr id="48" name="Freeform 47"/>
          <p:cNvSpPr>
            <a:spLocks/>
          </p:cNvSpPr>
          <p:nvPr/>
        </p:nvSpPr>
        <p:spPr bwMode="auto">
          <a:xfrm>
            <a:off x="2904434" y="3414185"/>
            <a:ext cx="843120" cy="554613"/>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01600" dir="2700000" algn="tl" rotWithShape="0">
              <a:prstClr val="black">
                <a:alpha val="20000"/>
              </a:prstClr>
            </a:outerShdw>
          </a:effectLst>
        </p:spPr>
        <p:txBody>
          <a:bodyPr vert="horz" wrap="square" lIns="89642" tIns="44821" rIns="89642" bIns="44821" numCol="1" anchor="ctr" anchorCtr="0" compatLnSpc="1">
            <a:prstTxWarp prst="textNoShape">
              <a:avLst/>
            </a:prstTxWarp>
          </a:bodyPr>
          <a:lstStyle/>
          <a:p>
            <a:pPr algn="ctr" defTabSz="913505" fontAlgn="base">
              <a:spcBef>
                <a:spcPct val="0"/>
              </a:spcBef>
              <a:spcAft>
                <a:spcPct val="0"/>
              </a:spcAft>
            </a:pPr>
            <a:endParaRPr lang="en-US" sz="1765" dirty="0">
              <a:solidFill>
                <a:srgbClr val="505050"/>
              </a:solidFill>
              <a:ea typeface="ＭＳ Ｐゴシック" charset="0"/>
            </a:endParaRPr>
          </a:p>
        </p:txBody>
      </p:sp>
    </p:spTree>
    <p:extLst>
      <p:ext uri="{BB962C8B-B14F-4D97-AF65-F5344CB8AC3E}">
        <p14:creationId xmlns:p14="http://schemas.microsoft.com/office/powerpoint/2010/main" val="396102133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1"/>
          <p:cNvSpPr/>
          <p:nvPr/>
        </p:nvSpPr>
        <p:spPr bwMode="auto">
          <a:xfrm flipH="1">
            <a:off x="326789" y="1544330"/>
            <a:ext cx="11865212" cy="3841855"/>
          </a:xfrm>
          <a:prstGeom prst="rtTriangle">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7" name="Group 296"/>
          <p:cNvGrpSpPr/>
          <p:nvPr/>
        </p:nvGrpSpPr>
        <p:grpSpPr>
          <a:xfrm>
            <a:off x="866" y="3210471"/>
            <a:ext cx="4291016" cy="2175715"/>
            <a:chOff x="23806151" y="-15144750"/>
            <a:chExt cx="12201195" cy="6186491"/>
          </a:xfrm>
        </p:grpSpPr>
        <p:sp>
          <p:nvSpPr>
            <p:cNvPr id="8" name="Rectangle 5"/>
            <p:cNvSpPr>
              <a:spLocks noChangeArrowheads="1"/>
            </p:cNvSpPr>
            <p:nvPr/>
          </p:nvSpPr>
          <p:spPr bwMode="auto">
            <a:xfrm>
              <a:off x="28438475" y="-13120689"/>
              <a:ext cx="333375" cy="3171825"/>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9" name="Rectangle 6"/>
            <p:cNvSpPr>
              <a:spLocks noChangeArrowheads="1"/>
            </p:cNvSpPr>
            <p:nvPr/>
          </p:nvSpPr>
          <p:spPr bwMode="auto">
            <a:xfrm>
              <a:off x="26571575" y="-14487525"/>
              <a:ext cx="1892299" cy="4538663"/>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0" name="Rectangle 7"/>
            <p:cNvSpPr>
              <a:spLocks noChangeArrowheads="1"/>
            </p:cNvSpPr>
            <p:nvPr/>
          </p:nvSpPr>
          <p:spPr bwMode="auto">
            <a:xfrm>
              <a:off x="29159199" y="-11245850"/>
              <a:ext cx="644525" cy="1296989"/>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1" name="Rectangle 8"/>
            <p:cNvSpPr>
              <a:spLocks noChangeArrowheads="1"/>
            </p:cNvSpPr>
            <p:nvPr/>
          </p:nvSpPr>
          <p:spPr bwMode="auto">
            <a:xfrm>
              <a:off x="29417963" y="-14852650"/>
              <a:ext cx="1406525" cy="4903788"/>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2" name="Rectangle 9"/>
            <p:cNvSpPr>
              <a:spLocks noChangeArrowheads="1"/>
            </p:cNvSpPr>
            <p:nvPr/>
          </p:nvSpPr>
          <p:spPr bwMode="auto">
            <a:xfrm>
              <a:off x="33186693" y="-11598275"/>
              <a:ext cx="690561" cy="1838325"/>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3" name="Rectangle 10"/>
            <p:cNvSpPr>
              <a:spLocks noChangeArrowheads="1"/>
            </p:cNvSpPr>
            <p:nvPr/>
          </p:nvSpPr>
          <p:spPr bwMode="auto">
            <a:xfrm>
              <a:off x="32731076" y="-12309475"/>
              <a:ext cx="938214" cy="2360614"/>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4" name="Rectangle 11"/>
            <p:cNvSpPr>
              <a:spLocks noChangeArrowheads="1"/>
            </p:cNvSpPr>
            <p:nvPr/>
          </p:nvSpPr>
          <p:spPr bwMode="auto">
            <a:xfrm>
              <a:off x="31684912" y="-13120689"/>
              <a:ext cx="933450" cy="3171825"/>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5" name="Rectangle 12"/>
            <p:cNvSpPr>
              <a:spLocks noChangeArrowheads="1"/>
            </p:cNvSpPr>
            <p:nvPr/>
          </p:nvSpPr>
          <p:spPr bwMode="auto">
            <a:xfrm>
              <a:off x="31215013" y="-12309475"/>
              <a:ext cx="935039" cy="2360614"/>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6" name="Rectangle 13"/>
            <p:cNvSpPr>
              <a:spLocks noChangeArrowheads="1"/>
            </p:cNvSpPr>
            <p:nvPr/>
          </p:nvSpPr>
          <p:spPr bwMode="auto">
            <a:xfrm>
              <a:off x="32431037" y="-12109450"/>
              <a:ext cx="1058864" cy="2254250"/>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7" name="Rectangle 14"/>
            <p:cNvSpPr>
              <a:spLocks noChangeArrowheads="1"/>
            </p:cNvSpPr>
            <p:nvPr/>
          </p:nvSpPr>
          <p:spPr bwMode="auto">
            <a:xfrm>
              <a:off x="33013651" y="-10121901"/>
              <a:ext cx="138114" cy="2667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8" name="Rectangle 15"/>
            <p:cNvSpPr>
              <a:spLocks noChangeArrowheads="1"/>
            </p:cNvSpPr>
            <p:nvPr/>
          </p:nvSpPr>
          <p:spPr bwMode="auto">
            <a:xfrm>
              <a:off x="32772351" y="-10121901"/>
              <a:ext cx="139700" cy="2667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19" name="Rectangle 16"/>
            <p:cNvSpPr>
              <a:spLocks noChangeArrowheads="1"/>
            </p:cNvSpPr>
            <p:nvPr/>
          </p:nvSpPr>
          <p:spPr bwMode="auto">
            <a:xfrm>
              <a:off x="32535812" y="-11056937"/>
              <a:ext cx="852489" cy="13493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0" name="Rectangle 17"/>
            <p:cNvSpPr>
              <a:spLocks noChangeArrowheads="1"/>
            </p:cNvSpPr>
            <p:nvPr/>
          </p:nvSpPr>
          <p:spPr bwMode="auto">
            <a:xfrm>
              <a:off x="32535812" y="-10820400"/>
              <a:ext cx="852489" cy="138114"/>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1" name="Rectangle 18"/>
            <p:cNvSpPr>
              <a:spLocks noChangeArrowheads="1"/>
            </p:cNvSpPr>
            <p:nvPr/>
          </p:nvSpPr>
          <p:spPr bwMode="auto">
            <a:xfrm>
              <a:off x="32535812" y="-10583862"/>
              <a:ext cx="852489" cy="138114"/>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2" name="Rectangle 19"/>
            <p:cNvSpPr>
              <a:spLocks noChangeArrowheads="1"/>
            </p:cNvSpPr>
            <p:nvPr/>
          </p:nvSpPr>
          <p:spPr bwMode="auto">
            <a:xfrm>
              <a:off x="32535812" y="-10347326"/>
              <a:ext cx="852489" cy="138114"/>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 name="Rectangle 20"/>
            <p:cNvSpPr>
              <a:spLocks noChangeArrowheads="1"/>
            </p:cNvSpPr>
            <p:nvPr/>
          </p:nvSpPr>
          <p:spPr bwMode="auto">
            <a:xfrm>
              <a:off x="32535812" y="-11534775"/>
              <a:ext cx="852489" cy="1397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4" name="Rectangle 21"/>
            <p:cNvSpPr>
              <a:spLocks noChangeArrowheads="1"/>
            </p:cNvSpPr>
            <p:nvPr/>
          </p:nvSpPr>
          <p:spPr bwMode="auto">
            <a:xfrm>
              <a:off x="32535812" y="-11295062"/>
              <a:ext cx="852489" cy="13652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5" name="Rectangle 22"/>
            <p:cNvSpPr>
              <a:spLocks noChangeArrowheads="1"/>
            </p:cNvSpPr>
            <p:nvPr/>
          </p:nvSpPr>
          <p:spPr bwMode="auto">
            <a:xfrm>
              <a:off x="32535812" y="-12004675"/>
              <a:ext cx="852489" cy="13493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6" name="Rectangle 23"/>
            <p:cNvSpPr>
              <a:spLocks noChangeArrowheads="1"/>
            </p:cNvSpPr>
            <p:nvPr/>
          </p:nvSpPr>
          <p:spPr bwMode="auto">
            <a:xfrm>
              <a:off x="32535812" y="-11768139"/>
              <a:ext cx="852489" cy="13493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7" name="Freeform 24"/>
            <p:cNvSpPr>
              <a:spLocks/>
            </p:cNvSpPr>
            <p:nvPr/>
          </p:nvSpPr>
          <p:spPr bwMode="auto">
            <a:xfrm>
              <a:off x="25344439" y="-11185525"/>
              <a:ext cx="1576388" cy="1327150"/>
            </a:xfrm>
            <a:custGeom>
              <a:avLst/>
              <a:gdLst>
                <a:gd name="T0" fmla="*/ 547 w 993"/>
                <a:gd name="T1" fmla="*/ 142 h 836"/>
                <a:gd name="T2" fmla="*/ 547 w 993"/>
                <a:gd name="T3" fmla="*/ 0 h 836"/>
                <a:gd name="T4" fmla="*/ 655 w 993"/>
                <a:gd name="T5" fmla="*/ 0 h 836"/>
                <a:gd name="T6" fmla="*/ 655 w 993"/>
                <a:gd name="T7" fmla="*/ 142 h 836"/>
                <a:gd name="T8" fmla="*/ 693 w 993"/>
                <a:gd name="T9" fmla="*/ 142 h 836"/>
                <a:gd name="T10" fmla="*/ 693 w 993"/>
                <a:gd name="T11" fmla="*/ 0 h 836"/>
                <a:gd name="T12" fmla="*/ 800 w 993"/>
                <a:gd name="T13" fmla="*/ 0 h 836"/>
                <a:gd name="T14" fmla="*/ 800 w 993"/>
                <a:gd name="T15" fmla="*/ 142 h 836"/>
                <a:gd name="T16" fmla="*/ 993 w 993"/>
                <a:gd name="T17" fmla="*/ 142 h 836"/>
                <a:gd name="T18" fmla="*/ 993 w 993"/>
                <a:gd name="T19" fmla="*/ 175 h 836"/>
                <a:gd name="T20" fmla="*/ 948 w 993"/>
                <a:gd name="T21" fmla="*/ 175 h 836"/>
                <a:gd name="T22" fmla="*/ 948 w 993"/>
                <a:gd name="T23" fmla="*/ 836 h 836"/>
                <a:gd name="T24" fmla="*/ 45 w 993"/>
                <a:gd name="T25" fmla="*/ 836 h 836"/>
                <a:gd name="T26" fmla="*/ 45 w 993"/>
                <a:gd name="T27" fmla="*/ 175 h 836"/>
                <a:gd name="T28" fmla="*/ 0 w 993"/>
                <a:gd name="T29" fmla="*/ 175 h 836"/>
                <a:gd name="T30" fmla="*/ 0 w 993"/>
                <a:gd name="T31" fmla="*/ 142 h 836"/>
                <a:gd name="T32" fmla="*/ 547 w 993"/>
                <a:gd name="T33" fmla="*/ 142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 h="836">
                  <a:moveTo>
                    <a:pt x="547" y="142"/>
                  </a:moveTo>
                  <a:lnTo>
                    <a:pt x="547" y="0"/>
                  </a:lnTo>
                  <a:lnTo>
                    <a:pt x="655" y="0"/>
                  </a:lnTo>
                  <a:lnTo>
                    <a:pt x="655" y="142"/>
                  </a:lnTo>
                  <a:lnTo>
                    <a:pt x="693" y="142"/>
                  </a:lnTo>
                  <a:lnTo>
                    <a:pt x="693" y="0"/>
                  </a:lnTo>
                  <a:lnTo>
                    <a:pt x="800" y="0"/>
                  </a:lnTo>
                  <a:lnTo>
                    <a:pt x="800" y="142"/>
                  </a:lnTo>
                  <a:lnTo>
                    <a:pt x="993" y="142"/>
                  </a:lnTo>
                  <a:lnTo>
                    <a:pt x="993" y="175"/>
                  </a:lnTo>
                  <a:lnTo>
                    <a:pt x="948" y="175"/>
                  </a:lnTo>
                  <a:lnTo>
                    <a:pt x="948" y="836"/>
                  </a:lnTo>
                  <a:lnTo>
                    <a:pt x="45" y="836"/>
                  </a:lnTo>
                  <a:lnTo>
                    <a:pt x="45" y="175"/>
                  </a:lnTo>
                  <a:lnTo>
                    <a:pt x="0" y="175"/>
                  </a:lnTo>
                  <a:lnTo>
                    <a:pt x="0" y="142"/>
                  </a:lnTo>
                  <a:lnTo>
                    <a:pt x="547" y="142"/>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8" name="Rectangle 25"/>
            <p:cNvSpPr>
              <a:spLocks noChangeArrowheads="1"/>
            </p:cNvSpPr>
            <p:nvPr/>
          </p:nvSpPr>
          <p:spPr bwMode="auto">
            <a:xfrm>
              <a:off x="26133425" y="-12109450"/>
              <a:ext cx="1054100" cy="2254250"/>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9" name="Rectangle 26"/>
            <p:cNvSpPr>
              <a:spLocks noChangeArrowheads="1"/>
            </p:cNvSpPr>
            <p:nvPr/>
          </p:nvSpPr>
          <p:spPr bwMode="auto">
            <a:xfrm>
              <a:off x="26714450" y="-10121901"/>
              <a:ext cx="134939" cy="2667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0" name="Rectangle 27"/>
            <p:cNvSpPr>
              <a:spLocks noChangeArrowheads="1"/>
            </p:cNvSpPr>
            <p:nvPr/>
          </p:nvSpPr>
          <p:spPr bwMode="auto">
            <a:xfrm>
              <a:off x="26474739" y="-10121901"/>
              <a:ext cx="139700" cy="2667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1" name="Rectangle 28"/>
            <p:cNvSpPr>
              <a:spLocks noChangeArrowheads="1"/>
            </p:cNvSpPr>
            <p:nvPr/>
          </p:nvSpPr>
          <p:spPr bwMode="auto">
            <a:xfrm>
              <a:off x="26238200" y="-11056937"/>
              <a:ext cx="852489" cy="13493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0" name="Rectangle 29"/>
            <p:cNvSpPr>
              <a:spLocks noChangeArrowheads="1"/>
            </p:cNvSpPr>
            <p:nvPr/>
          </p:nvSpPr>
          <p:spPr bwMode="auto">
            <a:xfrm>
              <a:off x="26238200" y="-10820400"/>
              <a:ext cx="852489" cy="138114"/>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1" name="Rectangle 30"/>
            <p:cNvSpPr>
              <a:spLocks noChangeArrowheads="1"/>
            </p:cNvSpPr>
            <p:nvPr/>
          </p:nvSpPr>
          <p:spPr bwMode="auto">
            <a:xfrm>
              <a:off x="26238200" y="-10583862"/>
              <a:ext cx="852489" cy="138114"/>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2" name="Rectangle 31"/>
            <p:cNvSpPr>
              <a:spLocks noChangeArrowheads="1"/>
            </p:cNvSpPr>
            <p:nvPr/>
          </p:nvSpPr>
          <p:spPr bwMode="auto">
            <a:xfrm>
              <a:off x="26238200" y="-10347326"/>
              <a:ext cx="852489" cy="138114"/>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4" name="Rectangle 32"/>
            <p:cNvSpPr>
              <a:spLocks noChangeArrowheads="1"/>
            </p:cNvSpPr>
            <p:nvPr/>
          </p:nvSpPr>
          <p:spPr bwMode="auto">
            <a:xfrm>
              <a:off x="26238200" y="-11534775"/>
              <a:ext cx="852489" cy="139700"/>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5" name="Rectangle 33"/>
            <p:cNvSpPr>
              <a:spLocks noChangeArrowheads="1"/>
            </p:cNvSpPr>
            <p:nvPr/>
          </p:nvSpPr>
          <p:spPr bwMode="auto">
            <a:xfrm>
              <a:off x="26238200" y="-11295062"/>
              <a:ext cx="852489" cy="13652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7" name="Rectangle 34"/>
            <p:cNvSpPr>
              <a:spLocks noChangeArrowheads="1"/>
            </p:cNvSpPr>
            <p:nvPr/>
          </p:nvSpPr>
          <p:spPr bwMode="auto">
            <a:xfrm>
              <a:off x="26238200" y="-12004675"/>
              <a:ext cx="852489" cy="13493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8" name="Rectangle 35"/>
            <p:cNvSpPr>
              <a:spLocks noChangeArrowheads="1"/>
            </p:cNvSpPr>
            <p:nvPr/>
          </p:nvSpPr>
          <p:spPr bwMode="auto">
            <a:xfrm>
              <a:off x="26238200" y="-11768139"/>
              <a:ext cx="852489" cy="134939"/>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39" name="Freeform 36"/>
            <p:cNvSpPr>
              <a:spLocks/>
            </p:cNvSpPr>
            <p:nvPr/>
          </p:nvSpPr>
          <p:spPr bwMode="auto">
            <a:xfrm>
              <a:off x="30279977" y="-11185525"/>
              <a:ext cx="1576388" cy="1327150"/>
            </a:xfrm>
            <a:custGeom>
              <a:avLst/>
              <a:gdLst>
                <a:gd name="T0" fmla="*/ 547 w 993"/>
                <a:gd name="T1" fmla="*/ 142 h 836"/>
                <a:gd name="T2" fmla="*/ 547 w 993"/>
                <a:gd name="T3" fmla="*/ 0 h 836"/>
                <a:gd name="T4" fmla="*/ 655 w 993"/>
                <a:gd name="T5" fmla="*/ 0 h 836"/>
                <a:gd name="T6" fmla="*/ 655 w 993"/>
                <a:gd name="T7" fmla="*/ 142 h 836"/>
                <a:gd name="T8" fmla="*/ 691 w 993"/>
                <a:gd name="T9" fmla="*/ 142 h 836"/>
                <a:gd name="T10" fmla="*/ 691 w 993"/>
                <a:gd name="T11" fmla="*/ 0 h 836"/>
                <a:gd name="T12" fmla="*/ 800 w 993"/>
                <a:gd name="T13" fmla="*/ 0 h 836"/>
                <a:gd name="T14" fmla="*/ 800 w 993"/>
                <a:gd name="T15" fmla="*/ 142 h 836"/>
                <a:gd name="T16" fmla="*/ 993 w 993"/>
                <a:gd name="T17" fmla="*/ 142 h 836"/>
                <a:gd name="T18" fmla="*/ 993 w 993"/>
                <a:gd name="T19" fmla="*/ 175 h 836"/>
                <a:gd name="T20" fmla="*/ 949 w 993"/>
                <a:gd name="T21" fmla="*/ 175 h 836"/>
                <a:gd name="T22" fmla="*/ 949 w 993"/>
                <a:gd name="T23" fmla="*/ 836 h 836"/>
                <a:gd name="T24" fmla="*/ 45 w 993"/>
                <a:gd name="T25" fmla="*/ 836 h 836"/>
                <a:gd name="T26" fmla="*/ 45 w 993"/>
                <a:gd name="T27" fmla="*/ 175 h 836"/>
                <a:gd name="T28" fmla="*/ 0 w 993"/>
                <a:gd name="T29" fmla="*/ 175 h 836"/>
                <a:gd name="T30" fmla="*/ 0 w 993"/>
                <a:gd name="T31" fmla="*/ 142 h 836"/>
                <a:gd name="T32" fmla="*/ 547 w 993"/>
                <a:gd name="T33" fmla="*/ 142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 h="836">
                  <a:moveTo>
                    <a:pt x="547" y="142"/>
                  </a:moveTo>
                  <a:lnTo>
                    <a:pt x="547" y="0"/>
                  </a:lnTo>
                  <a:lnTo>
                    <a:pt x="655" y="0"/>
                  </a:lnTo>
                  <a:lnTo>
                    <a:pt x="655" y="142"/>
                  </a:lnTo>
                  <a:lnTo>
                    <a:pt x="691" y="142"/>
                  </a:lnTo>
                  <a:lnTo>
                    <a:pt x="691" y="0"/>
                  </a:lnTo>
                  <a:lnTo>
                    <a:pt x="800" y="0"/>
                  </a:lnTo>
                  <a:lnTo>
                    <a:pt x="800" y="142"/>
                  </a:lnTo>
                  <a:lnTo>
                    <a:pt x="993" y="142"/>
                  </a:lnTo>
                  <a:lnTo>
                    <a:pt x="993" y="175"/>
                  </a:lnTo>
                  <a:lnTo>
                    <a:pt x="949" y="175"/>
                  </a:lnTo>
                  <a:lnTo>
                    <a:pt x="949" y="836"/>
                  </a:lnTo>
                  <a:lnTo>
                    <a:pt x="45" y="836"/>
                  </a:lnTo>
                  <a:lnTo>
                    <a:pt x="45" y="175"/>
                  </a:lnTo>
                  <a:lnTo>
                    <a:pt x="0" y="175"/>
                  </a:lnTo>
                  <a:lnTo>
                    <a:pt x="0" y="142"/>
                  </a:lnTo>
                  <a:lnTo>
                    <a:pt x="547" y="142"/>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40" name="Freeform 37"/>
            <p:cNvSpPr>
              <a:spLocks/>
            </p:cNvSpPr>
            <p:nvPr/>
          </p:nvSpPr>
          <p:spPr bwMode="auto">
            <a:xfrm>
              <a:off x="29448124" y="-11185525"/>
              <a:ext cx="1576388" cy="1327150"/>
            </a:xfrm>
            <a:custGeom>
              <a:avLst/>
              <a:gdLst>
                <a:gd name="T0" fmla="*/ 546 w 993"/>
                <a:gd name="T1" fmla="*/ 142 h 836"/>
                <a:gd name="T2" fmla="*/ 546 w 993"/>
                <a:gd name="T3" fmla="*/ 0 h 836"/>
                <a:gd name="T4" fmla="*/ 655 w 993"/>
                <a:gd name="T5" fmla="*/ 0 h 836"/>
                <a:gd name="T6" fmla="*/ 655 w 993"/>
                <a:gd name="T7" fmla="*/ 142 h 836"/>
                <a:gd name="T8" fmla="*/ 692 w 993"/>
                <a:gd name="T9" fmla="*/ 142 h 836"/>
                <a:gd name="T10" fmla="*/ 692 w 993"/>
                <a:gd name="T11" fmla="*/ 0 h 836"/>
                <a:gd name="T12" fmla="*/ 799 w 993"/>
                <a:gd name="T13" fmla="*/ 0 h 836"/>
                <a:gd name="T14" fmla="*/ 799 w 993"/>
                <a:gd name="T15" fmla="*/ 142 h 836"/>
                <a:gd name="T16" fmla="*/ 993 w 993"/>
                <a:gd name="T17" fmla="*/ 142 h 836"/>
                <a:gd name="T18" fmla="*/ 993 w 993"/>
                <a:gd name="T19" fmla="*/ 175 h 836"/>
                <a:gd name="T20" fmla="*/ 948 w 993"/>
                <a:gd name="T21" fmla="*/ 175 h 836"/>
                <a:gd name="T22" fmla="*/ 948 w 993"/>
                <a:gd name="T23" fmla="*/ 836 h 836"/>
                <a:gd name="T24" fmla="*/ 45 w 993"/>
                <a:gd name="T25" fmla="*/ 836 h 836"/>
                <a:gd name="T26" fmla="*/ 45 w 993"/>
                <a:gd name="T27" fmla="*/ 175 h 836"/>
                <a:gd name="T28" fmla="*/ 0 w 993"/>
                <a:gd name="T29" fmla="*/ 175 h 836"/>
                <a:gd name="T30" fmla="*/ 0 w 993"/>
                <a:gd name="T31" fmla="*/ 142 h 836"/>
                <a:gd name="T32" fmla="*/ 546 w 993"/>
                <a:gd name="T33" fmla="*/ 142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 h="836">
                  <a:moveTo>
                    <a:pt x="546" y="142"/>
                  </a:moveTo>
                  <a:lnTo>
                    <a:pt x="546" y="0"/>
                  </a:lnTo>
                  <a:lnTo>
                    <a:pt x="655" y="0"/>
                  </a:lnTo>
                  <a:lnTo>
                    <a:pt x="655" y="142"/>
                  </a:lnTo>
                  <a:lnTo>
                    <a:pt x="692" y="142"/>
                  </a:lnTo>
                  <a:lnTo>
                    <a:pt x="692" y="0"/>
                  </a:lnTo>
                  <a:lnTo>
                    <a:pt x="799" y="0"/>
                  </a:lnTo>
                  <a:lnTo>
                    <a:pt x="799" y="142"/>
                  </a:lnTo>
                  <a:lnTo>
                    <a:pt x="993" y="142"/>
                  </a:lnTo>
                  <a:lnTo>
                    <a:pt x="993" y="175"/>
                  </a:lnTo>
                  <a:lnTo>
                    <a:pt x="948" y="175"/>
                  </a:lnTo>
                  <a:lnTo>
                    <a:pt x="948" y="836"/>
                  </a:lnTo>
                  <a:lnTo>
                    <a:pt x="45" y="836"/>
                  </a:lnTo>
                  <a:lnTo>
                    <a:pt x="45" y="175"/>
                  </a:lnTo>
                  <a:lnTo>
                    <a:pt x="0" y="175"/>
                  </a:lnTo>
                  <a:lnTo>
                    <a:pt x="0" y="142"/>
                  </a:lnTo>
                  <a:lnTo>
                    <a:pt x="546" y="142"/>
                  </a:lnTo>
                  <a:close/>
                </a:path>
              </a:pathLst>
            </a:custGeom>
            <a:solidFill>
              <a:srgbClr val="135B9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41" name="Rectangle 38"/>
            <p:cNvSpPr>
              <a:spLocks noChangeArrowheads="1"/>
            </p:cNvSpPr>
            <p:nvPr/>
          </p:nvSpPr>
          <p:spPr bwMode="auto">
            <a:xfrm>
              <a:off x="31429326" y="-11650661"/>
              <a:ext cx="1438275" cy="1795464"/>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42" name="Rectangle 39"/>
            <p:cNvSpPr>
              <a:spLocks noChangeArrowheads="1"/>
            </p:cNvSpPr>
            <p:nvPr/>
          </p:nvSpPr>
          <p:spPr bwMode="auto">
            <a:xfrm>
              <a:off x="31357888" y="-11707814"/>
              <a:ext cx="1579563" cy="5715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43" name="Rectangle 40"/>
            <p:cNvSpPr>
              <a:spLocks noChangeArrowheads="1"/>
            </p:cNvSpPr>
            <p:nvPr/>
          </p:nvSpPr>
          <p:spPr bwMode="auto">
            <a:xfrm>
              <a:off x="32221487" y="-10220326"/>
              <a:ext cx="187325" cy="36512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47" name="Rectangle 41"/>
            <p:cNvSpPr>
              <a:spLocks noChangeArrowheads="1"/>
            </p:cNvSpPr>
            <p:nvPr/>
          </p:nvSpPr>
          <p:spPr bwMode="auto">
            <a:xfrm>
              <a:off x="31894462" y="-10220326"/>
              <a:ext cx="187325" cy="36512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48" name="Rectangle 42"/>
            <p:cNvSpPr>
              <a:spLocks noChangeArrowheads="1"/>
            </p:cNvSpPr>
            <p:nvPr/>
          </p:nvSpPr>
          <p:spPr bwMode="auto">
            <a:xfrm>
              <a:off x="31572201" y="-11490325"/>
              <a:ext cx="1158875" cy="188914"/>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49" name="Rectangle 43"/>
            <p:cNvSpPr>
              <a:spLocks noChangeArrowheads="1"/>
            </p:cNvSpPr>
            <p:nvPr/>
          </p:nvSpPr>
          <p:spPr bwMode="auto">
            <a:xfrm>
              <a:off x="31572201" y="-11166475"/>
              <a:ext cx="1158875" cy="18732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50" name="Rectangle 44"/>
            <p:cNvSpPr>
              <a:spLocks noChangeArrowheads="1"/>
            </p:cNvSpPr>
            <p:nvPr/>
          </p:nvSpPr>
          <p:spPr bwMode="auto">
            <a:xfrm>
              <a:off x="31572201" y="-10844212"/>
              <a:ext cx="1158875" cy="18415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51" name="Rectangle 45"/>
            <p:cNvSpPr>
              <a:spLocks noChangeArrowheads="1"/>
            </p:cNvSpPr>
            <p:nvPr/>
          </p:nvSpPr>
          <p:spPr bwMode="auto">
            <a:xfrm>
              <a:off x="31572201" y="-10520362"/>
              <a:ext cx="1158875" cy="18415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53" name="Rectangle 47"/>
            <p:cNvSpPr>
              <a:spLocks noChangeArrowheads="1"/>
            </p:cNvSpPr>
            <p:nvPr/>
          </p:nvSpPr>
          <p:spPr bwMode="auto">
            <a:xfrm>
              <a:off x="29676724" y="-14206539"/>
              <a:ext cx="1436688" cy="4351338"/>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54" name="Rectangle 48"/>
            <p:cNvSpPr>
              <a:spLocks noChangeArrowheads="1"/>
            </p:cNvSpPr>
            <p:nvPr/>
          </p:nvSpPr>
          <p:spPr bwMode="auto">
            <a:xfrm>
              <a:off x="29605288" y="-14258925"/>
              <a:ext cx="1579563" cy="52389"/>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55" name="Rectangle 49"/>
            <p:cNvSpPr>
              <a:spLocks noChangeArrowheads="1"/>
            </p:cNvSpPr>
            <p:nvPr/>
          </p:nvSpPr>
          <p:spPr bwMode="auto">
            <a:xfrm>
              <a:off x="30464127" y="-10220326"/>
              <a:ext cx="188914" cy="365125"/>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2" name="Rectangle 50"/>
            <p:cNvSpPr>
              <a:spLocks noChangeArrowheads="1"/>
            </p:cNvSpPr>
            <p:nvPr/>
          </p:nvSpPr>
          <p:spPr bwMode="auto">
            <a:xfrm>
              <a:off x="30141863" y="-10220326"/>
              <a:ext cx="187325" cy="365125"/>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3" name="Rectangle 51"/>
            <p:cNvSpPr>
              <a:spLocks noChangeArrowheads="1"/>
            </p:cNvSpPr>
            <p:nvPr/>
          </p:nvSpPr>
          <p:spPr bwMode="auto">
            <a:xfrm>
              <a:off x="29819602" y="-11490325"/>
              <a:ext cx="1158875" cy="188914"/>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4" name="Rectangle 52"/>
            <p:cNvSpPr>
              <a:spLocks noChangeArrowheads="1"/>
            </p:cNvSpPr>
            <p:nvPr/>
          </p:nvSpPr>
          <p:spPr bwMode="auto">
            <a:xfrm>
              <a:off x="29819602" y="-11166475"/>
              <a:ext cx="1158875" cy="187325"/>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5" name="Rectangle 53"/>
            <p:cNvSpPr>
              <a:spLocks noChangeArrowheads="1"/>
            </p:cNvSpPr>
            <p:nvPr/>
          </p:nvSpPr>
          <p:spPr bwMode="auto">
            <a:xfrm>
              <a:off x="29819602" y="-10844212"/>
              <a:ext cx="1158875" cy="184150"/>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6" name="Rectangle 54"/>
            <p:cNvSpPr>
              <a:spLocks noChangeArrowheads="1"/>
            </p:cNvSpPr>
            <p:nvPr/>
          </p:nvSpPr>
          <p:spPr bwMode="auto">
            <a:xfrm>
              <a:off x="29819602" y="-10520362"/>
              <a:ext cx="1158875" cy="184150"/>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7" name="Rectangle 55"/>
            <p:cNvSpPr>
              <a:spLocks noChangeArrowheads="1"/>
            </p:cNvSpPr>
            <p:nvPr/>
          </p:nvSpPr>
          <p:spPr bwMode="auto">
            <a:xfrm>
              <a:off x="29819602" y="-12136439"/>
              <a:ext cx="1158875" cy="188914"/>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8" name="Rectangle 56"/>
            <p:cNvSpPr>
              <a:spLocks noChangeArrowheads="1"/>
            </p:cNvSpPr>
            <p:nvPr/>
          </p:nvSpPr>
          <p:spPr bwMode="auto">
            <a:xfrm>
              <a:off x="29819602" y="-11812589"/>
              <a:ext cx="1158875" cy="187325"/>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39" name="Rectangle 57"/>
            <p:cNvSpPr>
              <a:spLocks noChangeArrowheads="1"/>
            </p:cNvSpPr>
            <p:nvPr/>
          </p:nvSpPr>
          <p:spPr bwMode="auto">
            <a:xfrm>
              <a:off x="29819602" y="-13098464"/>
              <a:ext cx="1158875" cy="184150"/>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0" name="Rectangle 58"/>
            <p:cNvSpPr>
              <a:spLocks noChangeArrowheads="1"/>
            </p:cNvSpPr>
            <p:nvPr/>
          </p:nvSpPr>
          <p:spPr bwMode="auto">
            <a:xfrm>
              <a:off x="29819602" y="-12777789"/>
              <a:ext cx="1158875" cy="187325"/>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1" name="Rectangle 59"/>
            <p:cNvSpPr>
              <a:spLocks noChangeArrowheads="1"/>
            </p:cNvSpPr>
            <p:nvPr/>
          </p:nvSpPr>
          <p:spPr bwMode="auto">
            <a:xfrm>
              <a:off x="29819602" y="-12455525"/>
              <a:ext cx="1158875" cy="187325"/>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2" name="Rectangle 60"/>
            <p:cNvSpPr>
              <a:spLocks noChangeArrowheads="1"/>
            </p:cNvSpPr>
            <p:nvPr/>
          </p:nvSpPr>
          <p:spPr bwMode="auto">
            <a:xfrm>
              <a:off x="29819602" y="-13744575"/>
              <a:ext cx="1158875" cy="184150"/>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3" name="Rectangle 61"/>
            <p:cNvSpPr>
              <a:spLocks noChangeArrowheads="1"/>
            </p:cNvSpPr>
            <p:nvPr/>
          </p:nvSpPr>
          <p:spPr bwMode="auto">
            <a:xfrm>
              <a:off x="29819602" y="-13420725"/>
              <a:ext cx="1158875" cy="184150"/>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4" name="Rectangle 62"/>
            <p:cNvSpPr>
              <a:spLocks noChangeArrowheads="1"/>
            </p:cNvSpPr>
            <p:nvPr/>
          </p:nvSpPr>
          <p:spPr bwMode="auto">
            <a:xfrm>
              <a:off x="29819602" y="-14074775"/>
              <a:ext cx="1158875" cy="187325"/>
            </a:xfrm>
            <a:prstGeom prst="rect">
              <a:avLst/>
            </a:prstGeom>
            <a:solidFill>
              <a:srgbClr val="0D487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5" name="Rectangle 63"/>
            <p:cNvSpPr>
              <a:spLocks noChangeArrowheads="1"/>
            </p:cNvSpPr>
            <p:nvPr/>
          </p:nvSpPr>
          <p:spPr bwMode="auto">
            <a:xfrm>
              <a:off x="27019250" y="-12920664"/>
              <a:ext cx="1433513" cy="3304846"/>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6" name="Rectangle 64"/>
            <p:cNvSpPr>
              <a:spLocks noChangeArrowheads="1"/>
            </p:cNvSpPr>
            <p:nvPr/>
          </p:nvSpPr>
          <p:spPr bwMode="auto">
            <a:xfrm>
              <a:off x="27806650" y="-10220326"/>
              <a:ext cx="188914" cy="36512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7" name="Rectangle 65"/>
            <p:cNvSpPr>
              <a:spLocks noChangeArrowheads="1"/>
            </p:cNvSpPr>
            <p:nvPr/>
          </p:nvSpPr>
          <p:spPr bwMode="auto">
            <a:xfrm>
              <a:off x="27484389" y="-10220326"/>
              <a:ext cx="187325" cy="36512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8" name="Rectangle 66"/>
            <p:cNvSpPr>
              <a:spLocks noChangeArrowheads="1"/>
            </p:cNvSpPr>
            <p:nvPr/>
          </p:nvSpPr>
          <p:spPr bwMode="auto">
            <a:xfrm>
              <a:off x="27162125" y="-11490325"/>
              <a:ext cx="1155700" cy="188914"/>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49" name="Rectangle 67"/>
            <p:cNvSpPr>
              <a:spLocks noChangeArrowheads="1"/>
            </p:cNvSpPr>
            <p:nvPr/>
          </p:nvSpPr>
          <p:spPr bwMode="auto">
            <a:xfrm>
              <a:off x="27162125" y="-11166475"/>
              <a:ext cx="1155700" cy="18732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50" name="Rectangle 68"/>
            <p:cNvSpPr>
              <a:spLocks noChangeArrowheads="1"/>
            </p:cNvSpPr>
            <p:nvPr/>
          </p:nvSpPr>
          <p:spPr bwMode="auto">
            <a:xfrm>
              <a:off x="27162125" y="-10844212"/>
              <a:ext cx="1155700" cy="18415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51" name="Rectangle 69"/>
            <p:cNvSpPr>
              <a:spLocks noChangeArrowheads="1"/>
            </p:cNvSpPr>
            <p:nvPr/>
          </p:nvSpPr>
          <p:spPr bwMode="auto">
            <a:xfrm>
              <a:off x="27162125" y="-10520362"/>
              <a:ext cx="1155700" cy="18415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52" name="Rectangle 70"/>
            <p:cNvSpPr>
              <a:spLocks noChangeArrowheads="1"/>
            </p:cNvSpPr>
            <p:nvPr/>
          </p:nvSpPr>
          <p:spPr bwMode="auto">
            <a:xfrm>
              <a:off x="27162125" y="-12136439"/>
              <a:ext cx="1155700" cy="188914"/>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53" name="Rectangle 71"/>
            <p:cNvSpPr>
              <a:spLocks noChangeArrowheads="1"/>
            </p:cNvSpPr>
            <p:nvPr/>
          </p:nvSpPr>
          <p:spPr bwMode="auto">
            <a:xfrm>
              <a:off x="27162125" y="-11812589"/>
              <a:ext cx="1155700" cy="18732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54" name="Rectangle 72"/>
            <p:cNvSpPr>
              <a:spLocks noChangeArrowheads="1"/>
            </p:cNvSpPr>
            <p:nvPr/>
          </p:nvSpPr>
          <p:spPr bwMode="auto">
            <a:xfrm>
              <a:off x="27162125" y="-12777789"/>
              <a:ext cx="1155700" cy="18732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55" name="Rectangle 73"/>
            <p:cNvSpPr>
              <a:spLocks noChangeArrowheads="1"/>
            </p:cNvSpPr>
            <p:nvPr/>
          </p:nvSpPr>
          <p:spPr bwMode="auto">
            <a:xfrm>
              <a:off x="27162125" y="-12455525"/>
              <a:ext cx="1155700" cy="187325"/>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63" name="Rectangle 75"/>
            <p:cNvSpPr>
              <a:spLocks noChangeArrowheads="1"/>
            </p:cNvSpPr>
            <p:nvPr/>
          </p:nvSpPr>
          <p:spPr bwMode="auto">
            <a:xfrm>
              <a:off x="28455938" y="-9948862"/>
              <a:ext cx="1550988" cy="93664"/>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88" name="Rectangle 76"/>
            <p:cNvSpPr>
              <a:spLocks noChangeArrowheads="1"/>
            </p:cNvSpPr>
            <p:nvPr/>
          </p:nvSpPr>
          <p:spPr bwMode="auto">
            <a:xfrm>
              <a:off x="26879550" y="-12109450"/>
              <a:ext cx="139700" cy="2246314"/>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89" name="Rectangle 77"/>
            <p:cNvSpPr>
              <a:spLocks noChangeArrowheads="1"/>
            </p:cNvSpPr>
            <p:nvPr/>
          </p:nvSpPr>
          <p:spPr bwMode="auto">
            <a:xfrm>
              <a:off x="27019250" y="-14705014"/>
              <a:ext cx="881064" cy="277814"/>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90" name="Rectangle 78"/>
            <p:cNvSpPr>
              <a:spLocks noChangeArrowheads="1"/>
            </p:cNvSpPr>
            <p:nvPr/>
          </p:nvSpPr>
          <p:spPr bwMode="auto">
            <a:xfrm>
              <a:off x="29544963" y="-15144750"/>
              <a:ext cx="461964" cy="292100"/>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91" name="Rectangle 79"/>
            <p:cNvSpPr>
              <a:spLocks noChangeArrowheads="1"/>
            </p:cNvSpPr>
            <p:nvPr/>
          </p:nvSpPr>
          <p:spPr bwMode="auto">
            <a:xfrm>
              <a:off x="30119638" y="-14998700"/>
              <a:ext cx="209550" cy="146050"/>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92" name="Rectangle 80"/>
            <p:cNvSpPr>
              <a:spLocks noChangeArrowheads="1"/>
            </p:cNvSpPr>
            <p:nvPr/>
          </p:nvSpPr>
          <p:spPr bwMode="auto">
            <a:xfrm>
              <a:off x="32081787" y="-13236575"/>
              <a:ext cx="233364" cy="115889"/>
            </a:xfrm>
            <a:prstGeom prst="rect">
              <a:avLst/>
            </a:prstGeom>
            <a:solidFill>
              <a:schemeClr val="bg1">
                <a:lumMod val="8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93" name="Freeform 81"/>
            <p:cNvSpPr>
              <a:spLocks/>
            </p:cNvSpPr>
            <p:nvPr/>
          </p:nvSpPr>
          <p:spPr bwMode="auto">
            <a:xfrm>
              <a:off x="23806151" y="-9964737"/>
              <a:ext cx="4841874" cy="1006475"/>
            </a:xfrm>
            <a:custGeom>
              <a:avLst/>
              <a:gdLst>
                <a:gd name="T0" fmla="*/ 797 w 1290"/>
                <a:gd name="T1" fmla="*/ 13 h 268"/>
                <a:gd name="T2" fmla="*/ 783 w 1290"/>
                <a:gd name="T3" fmla="*/ 11 h 268"/>
                <a:gd name="T4" fmla="*/ 748 w 1290"/>
                <a:gd name="T5" fmla="*/ 6 h 268"/>
                <a:gd name="T6" fmla="*/ 677 w 1290"/>
                <a:gd name="T7" fmla="*/ 1 h 268"/>
                <a:gd name="T8" fmla="*/ 637 w 1290"/>
                <a:gd name="T9" fmla="*/ 0 h 268"/>
                <a:gd name="T10" fmla="*/ 0 w 1290"/>
                <a:gd name="T11" fmla="*/ 268 h 268"/>
                <a:gd name="T12" fmla="*/ 457 w 1290"/>
                <a:gd name="T13" fmla="*/ 268 h 268"/>
                <a:gd name="T14" fmla="*/ 1290 w 1290"/>
                <a:gd name="T15" fmla="*/ 268 h 268"/>
                <a:gd name="T16" fmla="*/ 797 w 1290"/>
                <a:gd name="T17" fmla="*/ 1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0" h="268">
                  <a:moveTo>
                    <a:pt x="797" y="13"/>
                  </a:moveTo>
                  <a:cubicBezTo>
                    <a:pt x="793" y="12"/>
                    <a:pt x="788" y="11"/>
                    <a:pt x="783" y="11"/>
                  </a:cubicBezTo>
                  <a:cubicBezTo>
                    <a:pt x="772" y="9"/>
                    <a:pt x="760" y="7"/>
                    <a:pt x="748" y="6"/>
                  </a:cubicBezTo>
                  <a:cubicBezTo>
                    <a:pt x="724" y="3"/>
                    <a:pt x="700" y="2"/>
                    <a:pt x="677" y="1"/>
                  </a:cubicBezTo>
                  <a:cubicBezTo>
                    <a:pt x="663" y="0"/>
                    <a:pt x="651" y="0"/>
                    <a:pt x="637" y="0"/>
                  </a:cubicBezTo>
                  <a:cubicBezTo>
                    <a:pt x="407" y="2"/>
                    <a:pt x="177" y="91"/>
                    <a:pt x="0" y="268"/>
                  </a:cubicBezTo>
                  <a:cubicBezTo>
                    <a:pt x="457" y="268"/>
                    <a:pt x="457" y="268"/>
                    <a:pt x="457" y="268"/>
                  </a:cubicBezTo>
                  <a:cubicBezTo>
                    <a:pt x="1290" y="268"/>
                    <a:pt x="1290" y="268"/>
                    <a:pt x="1290" y="268"/>
                  </a:cubicBezTo>
                  <a:cubicBezTo>
                    <a:pt x="1150" y="128"/>
                    <a:pt x="978" y="44"/>
                    <a:pt x="797" y="13"/>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94" name="Freeform 82"/>
            <p:cNvSpPr>
              <a:spLocks/>
            </p:cNvSpPr>
            <p:nvPr/>
          </p:nvSpPr>
          <p:spPr bwMode="auto">
            <a:xfrm>
              <a:off x="28852035" y="-10020300"/>
              <a:ext cx="6409515" cy="1062039"/>
            </a:xfrm>
            <a:custGeom>
              <a:avLst/>
              <a:gdLst>
                <a:gd name="T0" fmla="*/ 843 w 1363"/>
                <a:gd name="T1" fmla="*/ 14 h 283"/>
                <a:gd name="T2" fmla="*/ 828 w 1363"/>
                <a:gd name="T3" fmla="*/ 11 h 283"/>
                <a:gd name="T4" fmla="*/ 791 w 1363"/>
                <a:gd name="T5" fmla="*/ 6 h 283"/>
                <a:gd name="T6" fmla="*/ 715 w 1363"/>
                <a:gd name="T7" fmla="*/ 1 h 283"/>
                <a:gd name="T8" fmla="*/ 674 w 1363"/>
                <a:gd name="T9" fmla="*/ 0 h 283"/>
                <a:gd name="T10" fmla="*/ 0 w 1363"/>
                <a:gd name="T11" fmla="*/ 283 h 283"/>
                <a:gd name="T12" fmla="*/ 483 w 1363"/>
                <a:gd name="T13" fmla="*/ 283 h 283"/>
                <a:gd name="T14" fmla="*/ 1363 w 1363"/>
                <a:gd name="T15" fmla="*/ 283 h 283"/>
                <a:gd name="T16" fmla="*/ 843 w 1363"/>
                <a:gd name="T17" fmla="*/ 1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3" h="283">
                  <a:moveTo>
                    <a:pt x="843" y="14"/>
                  </a:moveTo>
                  <a:cubicBezTo>
                    <a:pt x="838" y="12"/>
                    <a:pt x="833" y="12"/>
                    <a:pt x="828" y="11"/>
                  </a:cubicBezTo>
                  <a:cubicBezTo>
                    <a:pt x="816" y="9"/>
                    <a:pt x="803" y="7"/>
                    <a:pt x="791" y="6"/>
                  </a:cubicBezTo>
                  <a:cubicBezTo>
                    <a:pt x="766" y="3"/>
                    <a:pt x="740" y="1"/>
                    <a:pt x="715" y="1"/>
                  </a:cubicBezTo>
                  <a:cubicBezTo>
                    <a:pt x="701" y="0"/>
                    <a:pt x="687" y="0"/>
                    <a:pt x="674" y="0"/>
                  </a:cubicBezTo>
                  <a:cubicBezTo>
                    <a:pt x="429" y="2"/>
                    <a:pt x="186" y="96"/>
                    <a:pt x="0" y="283"/>
                  </a:cubicBezTo>
                  <a:cubicBezTo>
                    <a:pt x="483" y="283"/>
                    <a:pt x="483" y="283"/>
                    <a:pt x="483" y="283"/>
                  </a:cubicBezTo>
                  <a:cubicBezTo>
                    <a:pt x="1363" y="283"/>
                    <a:pt x="1363" y="283"/>
                    <a:pt x="1363" y="283"/>
                  </a:cubicBezTo>
                  <a:cubicBezTo>
                    <a:pt x="1216" y="135"/>
                    <a:pt x="1033" y="46"/>
                    <a:pt x="843" y="14"/>
                  </a:cubicBezTo>
                  <a:close/>
                </a:path>
              </a:pathLst>
            </a:cu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95" name="Freeform 83"/>
            <p:cNvSpPr>
              <a:spLocks/>
            </p:cNvSpPr>
            <p:nvPr/>
          </p:nvSpPr>
          <p:spPr bwMode="auto">
            <a:xfrm>
              <a:off x="31168647" y="-9964734"/>
              <a:ext cx="4838699" cy="1006475"/>
            </a:xfrm>
            <a:custGeom>
              <a:avLst/>
              <a:gdLst>
                <a:gd name="T0" fmla="*/ 797 w 1289"/>
                <a:gd name="T1" fmla="*/ 13 h 268"/>
                <a:gd name="T2" fmla="*/ 782 w 1289"/>
                <a:gd name="T3" fmla="*/ 11 h 268"/>
                <a:gd name="T4" fmla="*/ 748 w 1289"/>
                <a:gd name="T5" fmla="*/ 6 h 268"/>
                <a:gd name="T6" fmla="*/ 676 w 1289"/>
                <a:gd name="T7" fmla="*/ 1 h 268"/>
                <a:gd name="T8" fmla="*/ 637 w 1289"/>
                <a:gd name="T9" fmla="*/ 0 h 268"/>
                <a:gd name="T10" fmla="*/ 0 w 1289"/>
                <a:gd name="T11" fmla="*/ 268 h 268"/>
                <a:gd name="T12" fmla="*/ 456 w 1289"/>
                <a:gd name="T13" fmla="*/ 268 h 268"/>
                <a:gd name="T14" fmla="*/ 1289 w 1289"/>
                <a:gd name="T15" fmla="*/ 268 h 268"/>
                <a:gd name="T16" fmla="*/ 797 w 1289"/>
                <a:gd name="T17" fmla="*/ 1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9" h="268">
                  <a:moveTo>
                    <a:pt x="797" y="13"/>
                  </a:moveTo>
                  <a:cubicBezTo>
                    <a:pt x="792" y="12"/>
                    <a:pt x="787" y="11"/>
                    <a:pt x="782" y="11"/>
                  </a:cubicBezTo>
                  <a:cubicBezTo>
                    <a:pt x="771" y="9"/>
                    <a:pt x="759" y="7"/>
                    <a:pt x="748" y="6"/>
                  </a:cubicBezTo>
                  <a:cubicBezTo>
                    <a:pt x="724" y="3"/>
                    <a:pt x="700" y="2"/>
                    <a:pt x="676" y="1"/>
                  </a:cubicBezTo>
                  <a:cubicBezTo>
                    <a:pt x="663" y="0"/>
                    <a:pt x="650" y="0"/>
                    <a:pt x="637" y="0"/>
                  </a:cubicBezTo>
                  <a:cubicBezTo>
                    <a:pt x="406" y="2"/>
                    <a:pt x="176" y="91"/>
                    <a:pt x="0" y="268"/>
                  </a:cubicBezTo>
                  <a:cubicBezTo>
                    <a:pt x="456" y="268"/>
                    <a:pt x="456" y="268"/>
                    <a:pt x="456" y="268"/>
                  </a:cubicBezTo>
                  <a:cubicBezTo>
                    <a:pt x="1289" y="268"/>
                    <a:pt x="1289" y="268"/>
                    <a:pt x="1289" y="268"/>
                  </a:cubicBezTo>
                  <a:cubicBezTo>
                    <a:pt x="1150" y="128"/>
                    <a:pt x="977" y="44"/>
                    <a:pt x="797" y="13"/>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sp>
          <p:nvSpPr>
            <p:cNvPr id="296" name="Freeform 84"/>
            <p:cNvSpPr>
              <a:spLocks/>
            </p:cNvSpPr>
            <p:nvPr/>
          </p:nvSpPr>
          <p:spPr bwMode="auto">
            <a:xfrm>
              <a:off x="25825450" y="-10067446"/>
              <a:ext cx="7307262" cy="1109184"/>
            </a:xfrm>
            <a:custGeom>
              <a:avLst/>
              <a:gdLst>
                <a:gd name="T0" fmla="*/ 1233 w 1947"/>
                <a:gd name="T1" fmla="*/ 21 h 344"/>
                <a:gd name="T2" fmla="*/ 1209 w 1947"/>
                <a:gd name="T3" fmla="*/ 17 h 344"/>
                <a:gd name="T4" fmla="*/ 1149 w 1947"/>
                <a:gd name="T5" fmla="*/ 9 h 344"/>
                <a:gd name="T6" fmla="*/ 1027 w 1947"/>
                <a:gd name="T7" fmla="*/ 1 h 344"/>
                <a:gd name="T8" fmla="*/ 961 w 1947"/>
                <a:gd name="T9" fmla="*/ 0 h 344"/>
                <a:gd name="T10" fmla="*/ 0 w 1947"/>
                <a:gd name="T11" fmla="*/ 344 h 344"/>
                <a:gd name="T12" fmla="*/ 1947 w 1947"/>
                <a:gd name="T13" fmla="*/ 344 h 344"/>
                <a:gd name="T14" fmla="*/ 1233 w 1947"/>
                <a:gd name="T15" fmla="*/ 21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7" h="344">
                  <a:moveTo>
                    <a:pt x="1233" y="21"/>
                  </a:moveTo>
                  <a:cubicBezTo>
                    <a:pt x="1225" y="20"/>
                    <a:pt x="1217" y="19"/>
                    <a:pt x="1209" y="17"/>
                  </a:cubicBezTo>
                  <a:cubicBezTo>
                    <a:pt x="1189" y="15"/>
                    <a:pt x="1169" y="12"/>
                    <a:pt x="1149" y="9"/>
                  </a:cubicBezTo>
                  <a:cubicBezTo>
                    <a:pt x="1109" y="5"/>
                    <a:pt x="1068" y="2"/>
                    <a:pt x="1027" y="1"/>
                  </a:cubicBezTo>
                  <a:cubicBezTo>
                    <a:pt x="1005" y="0"/>
                    <a:pt x="983" y="0"/>
                    <a:pt x="961" y="0"/>
                  </a:cubicBezTo>
                  <a:cubicBezTo>
                    <a:pt x="620" y="3"/>
                    <a:pt x="280" y="117"/>
                    <a:pt x="0" y="344"/>
                  </a:cubicBezTo>
                  <a:cubicBezTo>
                    <a:pt x="1947" y="344"/>
                    <a:pt x="1947" y="344"/>
                    <a:pt x="1947" y="344"/>
                  </a:cubicBezTo>
                  <a:cubicBezTo>
                    <a:pt x="1735" y="172"/>
                    <a:pt x="1488" y="65"/>
                    <a:pt x="1233" y="21"/>
                  </a:cubicBezTo>
                  <a:close/>
                </a:path>
              </a:pathLst>
            </a:cu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fontAlgn="base">
                <a:spcBef>
                  <a:spcPct val="0"/>
                </a:spcBef>
                <a:spcAft>
                  <a:spcPct val="0"/>
                </a:spcAft>
              </a:pPr>
              <a:endParaRPr lang="en-US" sz="1765">
                <a:solidFill>
                  <a:srgbClr val="000000"/>
                </a:solidFill>
                <a:ea typeface="ＭＳ Ｐゴシック" charset="0"/>
              </a:endParaRPr>
            </a:p>
          </p:txBody>
        </p:sp>
      </p:grpSp>
      <p:grpSp>
        <p:nvGrpSpPr>
          <p:cNvPr id="260" name="Group 259"/>
          <p:cNvGrpSpPr/>
          <p:nvPr/>
        </p:nvGrpSpPr>
        <p:grpSpPr>
          <a:xfrm>
            <a:off x="1" y="5386506"/>
            <a:ext cx="12192000" cy="1471009"/>
            <a:chOff x="0" y="5494020"/>
            <a:chExt cx="12436475" cy="1500506"/>
          </a:xfrm>
        </p:grpSpPr>
        <p:sp>
          <p:nvSpPr>
            <p:cNvPr id="3" name="Rectangle 2"/>
            <p:cNvSpPr/>
            <p:nvPr/>
          </p:nvSpPr>
          <p:spPr bwMode="auto">
            <a:xfrm>
              <a:off x="0" y="5494020"/>
              <a:ext cx="12436475" cy="15005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bwMode="auto">
            <a:xfrm>
              <a:off x="284711" y="5791666"/>
              <a:ext cx="1263953" cy="969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lIns="179285" tIns="44821" rIns="0" bIns="179285" anchor="t" anchorCtr="0">
              <a:spAutoFit/>
            </a:bodyPr>
            <a:lstStyle/>
            <a:p>
              <a:pPr defTabSz="672451" fontAlgn="base">
                <a:spcBef>
                  <a:spcPts val="392"/>
                </a:spcBef>
                <a:spcAft>
                  <a:spcPct val="0"/>
                </a:spcAft>
                <a:defRPr/>
              </a:pPr>
              <a:r>
                <a:rPr lang="en-US" sz="4705" dirty="0">
                  <a:solidFill>
                    <a:srgbClr val="FFFFFF"/>
                  </a:solidFill>
                  <a:latin typeface="Segoe UI Light"/>
                </a:rPr>
                <a:t>90+</a:t>
              </a:r>
            </a:p>
          </p:txBody>
        </p:sp>
        <p:sp>
          <p:nvSpPr>
            <p:cNvPr id="407" name="Rectangle 406"/>
            <p:cNvSpPr/>
            <p:nvPr/>
          </p:nvSpPr>
          <p:spPr bwMode="auto">
            <a:xfrm>
              <a:off x="1448461" y="5791666"/>
              <a:ext cx="2369475" cy="902727"/>
            </a:xfrm>
            <a:prstGeom prst="rect">
              <a:avLst/>
            </a:prstGeom>
            <a:noFill/>
            <a:ln w="285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89642" rIns="179285" bIns="0"/>
            <a:lstStyle/>
            <a:p>
              <a:pPr defTabSz="672451" fontAlgn="base">
                <a:spcBef>
                  <a:spcPct val="0"/>
                </a:spcBef>
                <a:spcAft>
                  <a:spcPct val="0"/>
                </a:spcAft>
                <a:defRPr/>
              </a:pPr>
              <a:r>
                <a:rPr lang="en-US" sz="1372" dirty="0">
                  <a:solidFill>
                    <a:srgbClr val="FFFFFF"/>
                  </a:solidFill>
                  <a:ea typeface="Ryo Display PlusN B" panose="02020800000000000000" pitchFamily="18" charset="-128"/>
                </a:rPr>
                <a:t>marketplaces in which our cloud services are available today</a:t>
              </a:r>
            </a:p>
            <a:p>
              <a:pPr defTabSz="672451" fontAlgn="base">
                <a:spcBef>
                  <a:spcPct val="0"/>
                </a:spcBef>
                <a:spcAft>
                  <a:spcPct val="0"/>
                </a:spcAft>
                <a:defRPr/>
              </a:pPr>
              <a:endParaRPr lang="en-US" sz="1372" dirty="0">
                <a:solidFill>
                  <a:srgbClr val="FFFFFF"/>
                </a:solidFill>
                <a:ea typeface="Ryo Display PlusN B" panose="02020800000000000000" pitchFamily="18" charset="-128"/>
              </a:endParaRPr>
            </a:p>
            <a:p>
              <a:pPr defTabSz="672451" fontAlgn="base">
                <a:spcBef>
                  <a:spcPct val="0"/>
                </a:spcBef>
                <a:spcAft>
                  <a:spcPct val="0"/>
                </a:spcAft>
                <a:defRPr/>
              </a:pPr>
              <a:endParaRPr lang="en-US" sz="1372" dirty="0">
                <a:solidFill>
                  <a:srgbClr val="FFFFFF"/>
                </a:solidFill>
                <a:ea typeface="Ryo Display PlusN B" panose="02020800000000000000" pitchFamily="18" charset="-128"/>
              </a:endParaRPr>
            </a:p>
            <a:p>
              <a:pPr defTabSz="672451" fontAlgn="base">
                <a:spcBef>
                  <a:spcPct val="0"/>
                </a:spcBef>
                <a:spcAft>
                  <a:spcPct val="0"/>
                </a:spcAft>
                <a:defRPr/>
              </a:pPr>
              <a:endParaRPr lang="en-US" sz="1372" dirty="0">
                <a:solidFill>
                  <a:srgbClr val="FFFFFF"/>
                </a:solidFill>
                <a:ea typeface="Ryo Display PlusN B" panose="02020800000000000000" pitchFamily="18" charset="-128"/>
              </a:endParaRPr>
            </a:p>
            <a:p>
              <a:pPr defTabSz="672451" fontAlgn="base">
                <a:spcBef>
                  <a:spcPct val="0"/>
                </a:spcBef>
                <a:spcAft>
                  <a:spcPct val="0"/>
                </a:spcAft>
                <a:defRPr/>
              </a:pPr>
              <a:endParaRPr lang="en-US" sz="1372" dirty="0">
                <a:solidFill>
                  <a:srgbClr val="FFFFFF"/>
                </a:solidFill>
                <a:ea typeface="Ryo Display PlusN B" panose="02020800000000000000" pitchFamily="18" charset="-128"/>
              </a:endParaRPr>
            </a:p>
            <a:p>
              <a:pPr defTabSz="672451" fontAlgn="base">
                <a:spcBef>
                  <a:spcPct val="0"/>
                </a:spcBef>
                <a:spcAft>
                  <a:spcPct val="0"/>
                </a:spcAft>
                <a:defRPr/>
              </a:pPr>
              <a:endParaRPr lang="en-US" sz="1372" dirty="0">
                <a:solidFill>
                  <a:srgbClr val="FFFFFF"/>
                </a:solidFill>
                <a:ea typeface="Ryo Display PlusN B" panose="02020800000000000000" pitchFamily="18" charset="-128"/>
              </a:endParaRPr>
            </a:p>
          </p:txBody>
        </p:sp>
        <p:sp>
          <p:nvSpPr>
            <p:cNvPr id="409" name="Rectangle 408"/>
            <p:cNvSpPr/>
            <p:nvPr/>
          </p:nvSpPr>
          <p:spPr bwMode="auto">
            <a:xfrm>
              <a:off x="5394324" y="5791666"/>
              <a:ext cx="2081213" cy="909781"/>
            </a:xfrm>
            <a:prstGeom prst="rect">
              <a:avLst/>
            </a:prstGeom>
            <a:noFill/>
            <a:ln w="285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89642" rIns="179285" bIns="0"/>
            <a:lstStyle/>
            <a:p>
              <a:pPr defTabSz="672451" fontAlgn="base">
                <a:spcBef>
                  <a:spcPct val="0"/>
                </a:spcBef>
                <a:spcAft>
                  <a:spcPct val="0"/>
                </a:spcAft>
                <a:defRPr/>
              </a:pPr>
              <a:r>
                <a:rPr lang="en-US" sz="1372" dirty="0">
                  <a:solidFill>
                    <a:srgbClr val="FFFFFF"/>
                  </a:solidFill>
                  <a:ea typeface="Ryo Display PlusN B" panose="02020800000000000000" pitchFamily="18" charset="-128"/>
                </a:rPr>
                <a:t>cloud services delivered all day, every day </a:t>
              </a:r>
            </a:p>
          </p:txBody>
        </p:sp>
        <p:sp>
          <p:nvSpPr>
            <p:cNvPr id="411" name="Rectangle 410"/>
            <p:cNvSpPr/>
            <p:nvPr/>
          </p:nvSpPr>
          <p:spPr bwMode="auto">
            <a:xfrm>
              <a:off x="9431164" y="5791666"/>
              <a:ext cx="2649923" cy="909781"/>
            </a:xfrm>
            <a:prstGeom prst="rect">
              <a:avLst/>
            </a:prstGeom>
            <a:noFill/>
            <a:ln w="285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179285" tIns="89642" rIns="179285" bIns="0"/>
            <a:lstStyle/>
            <a:p>
              <a:pPr defTabSz="672451" fontAlgn="base">
                <a:spcBef>
                  <a:spcPct val="0"/>
                </a:spcBef>
                <a:spcAft>
                  <a:spcPct val="0"/>
                </a:spcAft>
                <a:defRPr/>
              </a:pPr>
              <a:r>
                <a:rPr lang="en-US" sz="1372" dirty="0">
                  <a:solidFill>
                    <a:srgbClr val="FFFFFF"/>
                  </a:solidFill>
                  <a:ea typeface="Ryo Display PlusN B" panose="02020800000000000000" pitchFamily="18" charset="-128"/>
                </a:rPr>
                <a:t>investment in building Microsoft Cloud infrastructure (USD)</a:t>
              </a:r>
            </a:p>
          </p:txBody>
        </p:sp>
        <p:sp>
          <p:nvSpPr>
            <p:cNvPr id="413" name="Rectangle 412"/>
            <p:cNvSpPr/>
            <p:nvPr/>
          </p:nvSpPr>
          <p:spPr bwMode="auto">
            <a:xfrm>
              <a:off x="3944763" y="5791666"/>
              <a:ext cx="2005876" cy="969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lIns="179285" tIns="44821" rIns="0" bIns="179285" anchor="t" anchorCtr="0">
              <a:spAutoFit/>
            </a:bodyPr>
            <a:lstStyle/>
            <a:p>
              <a:pPr defTabSz="672451" fontAlgn="base">
                <a:spcBef>
                  <a:spcPts val="392"/>
                </a:spcBef>
                <a:spcAft>
                  <a:spcPct val="0"/>
                </a:spcAft>
                <a:defRPr/>
              </a:pPr>
              <a:r>
                <a:rPr lang="en-US" sz="4705" dirty="0">
                  <a:solidFill>
                    <a:srgbClr val="FFFFFF"/>
                  </a:solidFill>
                  <a:latin typeface="Segoe UI Light"/>
                </a:rPr>
                <a:t>200+</a:t>
              </a:r>
            </a:p>
          </p:txBody>
        </p:sp>
        <p:sp>
          <p:nvSpPr>
            <p:cNvPr id="414" name="Rectangle 413"/>
            <p:cNvSpPr/>
            <p:nvPr/>
          </p:nvSpPr>
          <p:spPr bwMode="auto">
            <a:xfrm>
              <a:off x="7602363" y="5791666"/>
              <a:ext cx="1922637" cy="9694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lIns="179285" tIns="44821" rIns="0" bIns="179285" anchor="t" anchorCtr="0">
              <a:spAutoFit/>
            </a:bodyPr>
            <a:lstStyle/>
            <a:p>
              <a:pPr defTabSz="672451" fontAlgn="base">
                <a:spcBef>
                  <a:spcPts val="392"/>
                </a:spcBef>
                <a:spcAft>
                  <a:spcPct val="0"/>
                </a:spcAft>
                <a:defRPr/>
              </a:pPr>
              <a:r>
                <a:rPr lang="en-US" sz="4705" dirty="0">
                  <a:solidFill>
                    <a:srgbClr val="FFFFFF"/>
                  </a:solidFill>
                  <a:latin typeface="Segoe UI Light"/>
                </a:rPr>
                <a:t>$15B+</a:t>
              </a:r>
            </a:p>
          </p:txBody>
        </p:sp>
      </p:grpSp>
      <p:grpSp>
        <p:nvGrpSpPr>
          <p:cNvPr id="256" name="Group 255"/>
          <p:cNvGrpSpPr/>
          <p:nvPr/>
        </p:nvGrpSpPr>
        <p:grpSpPr>
          <a:xfrm>
            <a:off x="541114" y="1888580"/>
            <a:ext cx="5232323" cy="334293"/>
            <a:chOff x="551964" y="1925954"/>
            <a:chExt cx="5337242" cy="340996"/>
          </a:xfrm>
        </p:grpSpPr>
        <p:sp>
          <p:nvSpPr>
            <p:cNvPr id="59" name="TextBox 58"/>
            <p:cNvSpPr txBox="1"/>
            <p:nvPr/>
          </p:nvSpPr>
          <p:spPr>
            <a:xfrm>
              <a:off x="676042" y="1925954"/>
              <a:ext cx="5213164" cy="340996"/>
            </a:xfrm>
            <a:prstGeom prst="rect">
              <a:avLst/>
            </a:prstGeom>
            <a:noFill/>
          </p:spPr>
          <p:txBody>
            <a:bodyPr wrap="square" lIns="179285" tIns="143428" rIns="179285" bIns="143428" rtlCol="0" anchor="ctr">
              <a:noAutofit/>
            </a:bodyPr>
            <a:lstStyle/>
            <a:p>
              <a:pPr defTabSz="913505" fontAlgn="base">
                <a:lnSpc>
                  <a:spcPct val="90000"/>
                </a:lnSpc>
                <a:spcBef>
                  <a:spcPct val="0"/>
                </a:spcBef>
                <a:spcAft>
                  <a:spcPts val="588"/>
                </a:spcAft>
              </a:pPr>
              <a:r>
                <a:rPr lang="en-US" sz="1961" dirty="0">
                  <a:solidFill>
                    <a:srgbClr val="0072C6"/>
                  </a:solidFill>
                  <a:latin typeface="Segoe UI Light"/>
                  <a:ea typeface="ＭＳ Ｐゴシック" charset="0"/>
                </a:rPr>
                <a:t>Security at the core</a:t>
              </a:r>
            </a:p>
          </p:txBody>
        </p:sp>
        <p:sp>
          <p:nvSpPr>
            <p:cNvPr id="193" name="Freeform 101"/>
            <p:cNvSpPr>
              <a:spLocks/>
            </p:cNvSpPr>
            <p:nvPr/>
          </p:nvSpPr>
          <p:spPr bwMode="black">
            <a:xfrm rot="10800000">
              <a:off x="551964" y="2032880"/>
              <a:ext cx="91146" cy="136720"/>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grpSp>
      <p:grpSp>
        <p:nvGrpSpPr>
          <p:cNvPr id="57" name="Group 56"/>
          <p:cNvGrpSpPr/>
          <p:nvPr/>
        </p:nvGrpSpPr>
        <p:grpSpPr>
          <a:xfrm>
            <a:off x="5814579" y="2992201"/>
            <a:ext cx="3263128" cy="2148722"/>
            <a:chOff x="5931172" y="3051704"/>
            <a:chExt cx="3328561" cy="2191808"/>
          </a:xfrm>
        </p:grpSpPr>
        <p:sp>
          <p:nvSpPr>
            <p:cNvPr id="127" name="Rectangle 126"/>
            <p:cNvSpPr/>
            <p:nvPr/>
          </p:nvSpPr>
          <p:spPr>
            <a:xfrm>
              <a:off x="6748142" y="3124897"/>
              <a:ext cx="2511591" cy="598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34464" rIns="179285" bIns="134464"/>
            <a:lstStyle/>
            <a:p>
              <a:pPr defTabSz="914523">
                <a:lnSpc>
                  <a:spcPct val="90000"/>
                </a:lnSpc>
                <a:spcAft>
                  <a:spcPts val="590"/>
                </a:spcAft>
                <a:defRPr/>
              </a:pPr>
              <a: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t>Extensible app</a:t>
              </a:r>
              <a:b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br>
              <a: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t>development</a:t>
              </a:r>
            </a:p>
          </p:txBody>
        </p:sp>
        <p:sp>
          <p:nvSpPr>
            <p:cNvPr id="303" name="Rectangle 302"/>
            <p:cNvSpPr/>
            <p:nvPr/>
          </p:nvSpPr>
          <p:spPr>
            <a:xfrm>
              <a:off x="6748142" y="3649662"/>
              <a:ext cx="2052302" cy="1593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34464" rIns="179285" bIns="134464"/>
            <a:lstStyle/>
            <a:p>
              <a:pPr marL="168072" lvl="1" indent="-168072" defTabSz="914523">
                <a:spcBef>
                  <a:spcPts val="588"/>
                </a:spcBef>
                <a:buFont typeface="Arial" panose="020B0604020202020204" pitchFamily="34" charset="0"/>
                <a:buChar char="•"/>
              </a:pPr>
              <a:r>
                <a:rPr lang="en-US" sz="1078" dirty="0">
                  <a:solidFill>
                    <a:srgbClr val="0072C6"/>
                  </a:solidFill>
                </a:rPr>
                <a:t>Support for Open Source and .NET</a:t>
              </a:r>
            </a:p>
            <a:p>
              <a:pPr marL="168072" lvl="1" indent="-168072" defTabSz="914523">
                <a:spcBef>
                  <a:spcPts val="588"/>
                </a:spcBef>
                <a:spcAft>
                  <a:spcPts val="590"/>
                </a:spcAft>
                <a:buFont typeface="Arial" panose="020B0604020202020204" pitchFamily="34" charset="0"/>
                <a:buChar char="•"/>
              </a:pPr>
              <a:r>
                <a:rPr lang="en-US" sz="1078" dirty="0">
                  <a:solidFill>
                    <a:srgbClr val="0072C6"/>
                  </a:solidFill>
                </a:rPr>
                <a:t>Interoperate with existing applications using Open Standards</a:t>
              </a:r>
            </a:p>
          </p:txBody>
        </p:sp>
        <p:grpSp>
          <p:nvGrpSpPr>
            <p:cNvPr id="7" name="Group 6"/>
            <p:cNvGrpSpPr/>
            <p:nvPr/>
          </p:nvGrpSpPr>
          <p:grpSpPr>
            <a:xfrm>
              <a:off x="5931172" y="3051704"/>
              <a:ext cx="750390" cy="750390"/>
              <a:chOff x="5941728" y="3148403"/>
              <a:chExt cx="750390" cy="750390"/>
            </a:xfrm>
          </p:grpSpPr>
          <p:sp>
            <p:nvSpPr>
              <p:cNvPr id="197" name="Oval 196"/>
              <p:cNvSpPr/>
              <p:nvPr/>
            </p:nvSpPr>
            <p:spPr bwMode="auto">
              <a:xfrm>
                <a:off x="5941728" y="3148403"/>
                <a:ext cx="750390" cy="750390"/>
              </a:xfrm>
              <a:prstGeom prst="ellipse">
                <a:avLst/>
              </a:prstGeom>
              <a:solidFill>
                <a:schemeClr val="accent5"/>
              </a:solidFill>
              <a:ln w="0">
                <a:noFill/>
                <a:headEnd type="none" w="med" len="med"/>
                <a:tailEnd type="none" w="med" len="med"/>
              </a:ln>
              <a:effectLst>
                <a:outerShdw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8" name="Group 197"/>
              <p:cNvGrpSpPr/>
              <p:nvPr/>
            </p:nvGrpSpPr>
            <p:grpSpPr>
              <a:xfrm>
                <a:off x="6156311" y="3342413"/>
                <a:ext cx="321224" cy="363275"/>
                <a:chOff x="3709783" y="2493168"/>
                <a:chExt cx="567056" cy="641288"/>
              </a:xfrm>
            </p:grpSpPr>
            <p:sp>
              <p:nvSpPr>
                <p:cNvPr id="199" name="Freeform 32"/>
                <p:cNvSpPr>
                  <a:spLocks/>
                </p:cNvSpPr>
                <p:nvPr/>
              </p:nvSpPr>
              <p:spPr bwMode="auto">
                <a:xfrm flipH="1">
                  <a:off x="4006465" y="2671835"/>
                  <a:ext cx="270374" cy="462620"/>
                </a:xfrm>
                <a:custGeom>
                  <a:avLst/>
                  <a:gdLst>
                    <a:gd name="T0" fmla="*/ 706 w 706"/>
                    <a:gd name="T1" fmla="*/ 400 h 1208"/>
                    <a:gd name="T2" fmla="*/ 698 w 706"/>
                    <a:gd name="T3" fmla="*/ 1208 h 1208"/>
                    <a:gd name="T4" fmla="*/ 0 w 706"/>
                    <a:gd name="T5" fmla="*/ 805 h 1208"/>
                    <a:gd name="T6" fmla="*/ 0 w 706"/>
                    <a:gd name="T7" fmla="*/ 0 h 1208"/>
                    <a:gd name="T8" fmla="*/ 706 w 706"/>
                    <a:gd name="T9" fmla="*/ 400 h 1208"/>
                    <a:gd name="T10" fmla="*/ 706 w 706"/>
                    <a:gd name="T11" fmla="*/ 400 h 1208"/>
                    <a:gd name="T12" fmla="*/ 706 w 706"/>
                    <a:gd name="T13" fmla="*/ 400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0"/>
                      </a:moveTo>
                      <a:lnTo>
                        <a:pt x="698" y="1208"/>
                      </a:lnTo>
                      <a:lnTo>
                        <a:pt x="0" y="805"/>
                      </a:lnTo>
                      <a:lnTo>
                        <a:pt x="0" y="0"/>
                      </a:lnTo>
                      <a:lnTo>
                        <a:pt x="706" y="400"/>
                      </a:lnTo>
                      <a:lnTo>
                        <a:pt x="706" y="400"/>
                      </a:lnTo>
                      <a:lnTo>
                        <a:pt x="706" y="4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0" name="Freeform 33"/>
                <p:cNvSpPr>
                  <a:spLocks/>
                </p:cNvSpPr>
                <p:nvPr/>
              </p:nvSpPr>
              <p:spPr bwMode="auto">
                <a:xfrm flipH="1">
                  <a:off x="3709783" y="2671836"/>
                  <a:ext cx="270373" cy="462620"/>
                </a:xfrm>
                <a:custGeom>
                  <a:avLst/>
                  <a:gdLst>
                    <a:gd name="T0" fmla="*/ 7 w 706"/>
                    <a:gd name="T1" fmla="*/ 400 h 1208"/>
                    <a:gd name="T2" fmla="*/ 0 w 706"/>
                    <a:gd name="T3" fmla="*/ 1208 h 1208"/>
                    <a:gd name="T4" fmla="*/ 701 w 706"/>
                    <a:gd name="T5" fmla="*/ 805 h 1208"/>
                    <a:gd name="T6" fmla="*/ 706 w 706"/>
                    <a:gd name="T7" fmla="*/ 0 h 1208"/>
                    <a:gd name="T8" fmla="*/ 7 w 706"/>
                    <a:gd name="T9" fmla="*/ 400 h 1208"/>
                    <a:gd name="T10" fmla="*/ 7 w 706"/>
                    <a:gd name="T11" fmla="*/ 400 h 1208"/>
                    <a:gd name="T12" fmla="*/ 7 w 706"/>
                    <a:gd name="T13" fmla="*/ 400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0"/>
                      </a:moveTo>
                      <a:lnTo>
                        <a:pt x="0" y="1208"/>
                      </a:lnTo>
                      <a:lnTo>
                        <a:pt x="701" y="805"/>
                      </a:lnTo>
                      <a:lnTo>
                        <a:pt x="706" y="0"/>
                      </a:lnTo>
                      <a:lnTo>
                        <a:pt x="7" y="400"/>
                      </a:lnTo>
                      <a:lnTo>
                        <a:pt x="7" y="400"/>
                      </a:lnTo>
                      <a:lnTo>
                        <a:pt x="7" y="4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1" name="Freeform 34"/>
                <p:cNvSpPr>
                  <a:spLocks/>
                </p:cNvSpPr>
                <p:nvPr/>
              </p:nvSpPr>
              <p:spPr bwMode="auto">
                <a:xfrm flipH="1">
                  <a:off x="3723894" y="2493168"/>
                  <a:ext cx="538828" cy="308283"/>
                </a:xfrm>
                <a:custGeom>
                  <a:avLst/>
                  <a:gdLst>
                    <a:gd name="T0" fmla="*/ 708 w 1407"/>
                    <a:gd name="T1" fmla="*/ 805 h 805"/>
                    <a:gd name="T2" fmla="*/ 0 w 1407"/>
                    <a:gd name="T3" fmla="*/ 398 h 805"/>
                    <a:gd name="T4" fmla="*/ 701 w 1407"/>
                    <a:gd name="T5" fmla="*/ 0 h 805"/>
                    <a:gd name="T6" fmla="*/ 1407 w 1407"/>
                    <a:gd name="T7" fmla="*/ 398 h 805"/>
                    <a:gd name="T8" fmla="*/ 708 w 1407"/>
                    <a:gd name="T9" fmla="*/ 805 h 805"/>
                    <a:gd name="T10" fmla="*/ 708 w 1407"/>
                    <a:gd name="T11" fmla="*/ 805 h 805"/>
                    <a:gd name="T12" fmla="*/ 708 w 1407"/>
                    <a:gd name="T13" fmla="*/ 805 h 805"/>
                  </a:gdLst>
                  <a:ahLst/>
                  <a:cxnLst>
                    <a:cxn ang="0">
                      <a:pos x="T0" y="T1"/>
                    </a:cxn>
                    <a:cxn ang="0">
                      <a:pos x="T2" y="T3"/>
                    </a:cxn>
                    <a:cxn ang="0">
                      <a:pos x="T4" y="T5"/>
                    </a:cxn>
                    <a:cxn ang="0">
                      <a:pos x="T6" y="T7"/>
                    </a:cxn>
                    <a:cxn ang="0">
                      <a:pos x="T8" y="T9"/>
                    </a:cxn>
                    <a:cxn ang="0">
                      <a:pos x="T10" y="T11"/>
                    </a:cxn>
                    <a:cxn ang="0">
                      <a:pos x="T12" y="T13"/>
                    </a:cxn>
                  </a:cxnLst>
                  <a:rect l="0" t="0" r="r" b="b"/>
                  <a:pathLst>
                    <a:path w="1407" h="805">
                      <a:moveTo>
                        <a:pt x="708" y="805"/>
                      </a:moveTo>
                      <a:lnTo>
                        <a:pt x="0" y="398"/>
                      </a:lnTo>
                      <a:lnTo>
                        <a:pt x="701" y="0"/>
                      </a:lnTo>
                      <a:lnTo>
                        <a:pt x="1407" y="398"/>
                      </a:lnTo>
                      <a:lnTo>
                        <a:pt x="708" y="805"/>
                      </a:lnTo>
                      <a:lnTo>
                        <a:pt x="708" y="805"/>
                      </a:lnTo>
                      <a:lnTo>
                        <a:pt x="708" y="805"/>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grpSp>
        <p:nvGrpSpPr>
          <p:cNvPr id="58" name="Group 57"/>
          <p:cNvGrpSpPr/>
          <p:nvPr/>
        </p:nvGrpSpPr>
        <p:grpSpPr>
          <a:xfrm>
            <a:off x="7762032" y="2320079"/>
            <a:ext cx="3015148" cy="2111265"/>
            <a:chOff x="7917676" y="2366105"/>
            <a:chExt cx="3075608" cy="2153600"/>
          </a:xfrm>
        </p:grpSpPr>
        <p:sp>
          <p:nvSpPr>
            <p:cNvPr id="125" name="Rectangle 124"/>
            <p:cNvSpPr/>
            <p:nvPr/>
          </p:nvSpPr>
          <p:spPr>
            <a:xfrm>
              <a:off x="8726769" y="3116262"/>
              <a:ext cx="2266515" cy="1403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34464" rIns="179285" bIns="134464"/>
            <a:lstStyle/>
            <a:p>
              <a:pPr marL="168072" lvl="1" indent="-168072" defTabSz="914523">
                <a:spcBef>
                  <a:spcPts val="588"/>
                </a:spcBef>
                <a:buFont typeface="Arial" panose="020B0604020202020204" pitchFamily="34" charset="0"/>
                <a:buChar char="•"/>
              </a:pPr>
              <a:r>
                <a:rPr lang="en-US" sz="1078" dirty="0">
                  <a:solidFill>
                    <a:srgbClr val="0072C6"/>
                  </a:solidFill>
                </a:rPr>
                <a:t>Process big data </a:t>
              </a:r>
              <a:br>
                <a:rPr lang="en-US" sz="1078" dirty="0">
                  <a:solidFill>
                    <a:srgbClr val="0072C6"/>
                  </a:solidFill>
                </a:rPr>
              </a:br>
              <a:r>
                <a:rPr lang="en-US" sz="1078" dirty="0">
                  <a:solidFill>
                    <a:srgbClr val="0072C6"/>
                  </a:solidFill>
                </a:rPr>
                <a:t>on platform you choose</a:t>
              </a:r>
            </a:p>
            <a:p>
              <a:pPr marL="168072" lvl="1" indent="-168072" defTabSz="914523">
                <a:spcBef>
                  <a:spcPts val="588"/>
                </a:spcBef>
                <a:spcAft>
                  <a:spcPts val="590"/>
                </a:spcAft>
                <a:buFont typeface="Arial" panose="020B0604020202020204" pitchFamily="34" charset="0"/>
                <a:buChar char="•"/>
              </a:pPr>
              <a:r>
                <a:rPr lang="en-US" sz="1078" dirty="0">
                  <a:solidFill>
                    <a:srgbClr val="0072C6"/>
                  </a:solidFill>
                </a:rPr>
                <a:t>Store, access, combine, and </a:t>
              </a:r>
              <a:br>
                <a:rPr lang="en-US" sz="1078" dirty="0">
                  <a:solidFill>
                    <a:srgbClr val="0072C6"/>
                  </a:solidFill>
                </a:rPr>
              </a:br>
              <a:r>
                <a:rPr lang="en-US" sz="1078" dirty="0">
                  <a:solidFill>
                    <a:srgbClr val="0072C6"/>
                  </a:solidFill>
                </a:rPr>
                <a:t>analyze data on premises </a:t>
              </a:r>
              <a:br>
                <a:rPr lang="en-US" sz="1078" dirty="0">
                  <a:solidFill>
                    <a:srgbClr val="0072C6"/>
                  </a:solidFill>
                </a:rPr>
              </a:br>
              <a:r>
                <a:rPr lang="en-US" sz="1078" dirty="0">
                  <a:solidFill>
                    <a:srgbClr val="0072C6"/>
                  </a:solidFill>
                </a:rPr>
                <a:t>to cloud, relational </a:t>
              </a:r>
              <a:br>
                <a:rPr lang="en-US" sz="1078" dirty="0">
                  <a:solidFill>
                    <a:srgbClr val="0072C6"/>
                  </a:solidFill>
                </a:rPr>
              </a:br>
              <a:r>
                <a:rPr lang="en-US" sz="1078" dirty="0">
                  <a:solidFill>
                    <a:srgbClr val="0072C6"/>
                  </a:solidFill>
                </a:rPr>
                <a:t>and non-relational </a:t>
              </a:r>
            </a:p>
            <a:p>
              <a:pPr marL="168072" lvl="1" indent="-168072" defTabSz="914523">
                <a:spcBef>
                  <a:spcPts val="588"/>
                </a:spcBef>
                <a:spcAft>
                  <a:spcPts val="590"/>
                </a:spcAft>
                <a:buFont typeface="Arial" panose="020B0604020202020204" pitchFamily="34" charset="0"/>
                <a:buChar char="•"/>
              </a:pPr>
              <a:endParaRPr lang="en-US" sz="1078" dirty="0">
                <a:solidFill>
                  <a:srgbClr val="0072C6"/>
                </a:solidFill>
              </a:endParaRPr>
            </a:p>
          </p:txBody>
        </p:sp>
        <p:sp>
          <p:nvSpPr>
            <p:cNvPr id="304" name="Rectangle 303"/>
            <p:cNvSpPr/>
            <p:nvPr/>
          </p:nvSpPr>
          <p:spPr>
            <a:xfrm>
              <a:off x="8726769" y="2366105"/>
              <a:ext cx="1776131" cy="832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34464" rIns="179285" bIns="134464"/>
            <a:lstStyle/>
            <a:p>
              <a:pPr defTabSz="914523">
                <a:lnSpc>
                  <a:spcPct val="90000"/>
                </a:lnSpc>
                <a:spcAft>
                  <a:spcPts val="590"/>
                </a:spcAft>
                <a:defRPr/>
              </a:pPr>
              <a: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t>All data, </a:t>
              </a:r>
              <a:b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br>
              <a: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t>any size, anywhere</a:t>
              </a:r>
            </a:p>
          </p:txBody>
        </p:sp>
        <p:grpSp>
          <p:nvGrpSpPr>
            <p:cNvPr id="4" name="Group 3"/>
            <p:cNvGrpSpPr/>
            <p:nvPr/>
          </p:nvGrpSpPr>
          <p:grpSpPr>
            <a:xfrm>
              <a:off x="7917676" y="2417233"/>
              <a:ext cx="750390" cy="750390"/>
              <a:chOff x="7888055" y="2542283"/>
              <a:chExt cx="750390" cy="750390"/>
            </a:xfrm>
          </p:grpSpPr>
          <p:sp>
            <p:nvSpPr>
              <p:cNvPr id="203" name="Oval 202"/>
              <p:cNvSpPr/>
              <p:nvPr/>
            </p:nvSpPr>
            <p:spPr bwMode="auto">
              <a:xfrm>
                <a:off x="7888055" y="2542283"/>
                <a:ext cx="750390" cy="750390"/>
              </a:xfrm>
              <a:prstGeom prst="ellipse">
                <a:avLst/>
              </a:prstGeom>
              <a:solidFill>
                <a:srgbClr val="DC3C00"/>
              </a:solidFill>
              <a:ln w="0">
                <a:noFill/>
                <a:headEnd type="none" w="med" len="med"/>
                <a:tailEnd type="none" w="med" len="med"/>
              </a:ln>
              <a:effectLst>
                <a:outerShdw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4" name="Group 203"/>
              <p:cNvGrpSpPr/>
              <p:nvPr/>
            </p:nvGrpSpPr>
            <p:grpSpPr>
              <a:xfrm>
                <a:off x="8099283" y="2763857"/>
                <a:ext cx="327934" cy="307243"/>
                <a:chOff x="-5364163" y="-2738437"/>
                <a:chExt cx="4327525" cy="4054475"/>
              </a:xfrm>
              <a:solidFill>
                <a:schemeClr val="bg1">
                  <a:lumMod val="95000"/>
                </a:schemeClr>
              </a:solidFill>
            </p:grpSpPr>
            <p:sp>
              <p:nvSpPr>
                <p:cNvPr id="205"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6"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7"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8"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9"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0"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1"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2"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3"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4"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5"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6"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8"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9"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grpSp>
        <p:nvGrpSpPr>
          <p:cNvPr id="60" name="Group 59"/>
          <p:cNvGrpSpPr/>
          <p:nvPr/>
        </p:nvGrpSpPr>
        <p:grpSpPr>
          <a:xfrm>
            <a:off x="9709484" y="1748204"/>
            <a:ext cx="2649039" cy="1449070"/>
            <a:chOff x="9904179" y="1782762"/>
            <a:chExt cx="2702158" cy="1478127"/>
          </a:xfrm>
        </p:grpSpPr>
        <p:sp>
          <p:nvSpPr>
            <p:cNvPr id="129" name="Rectangle 128"/>
            <p:cNvSpPr/>
            <p:nvPr/>
          </p:nvSpPr>
          <p:spPr>
            <a:xfrm>
              <a:off x="10707539" y="1827383"/>
              <a:ext cx="1898798" cy="642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34464" rIns="179285" bIns="134464"/>
            <a:lstStyle/>
            <a:p>
              <a:pPr defTabSz="914523">
                <a:lnSpc>
                  <a:spcPct val="90000"/>
                </a:lnSpc>
                <a:spcAft>
                  <a:spcPts val="590"/>
                </a:spcAft>
                <a:defRPr/>
              </a:pPr>
              <a: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t>Flexible</a:t>
              </a:r>
              <a:b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br>
              <a: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t>infrastructure</a:t>
              </a:r>
            </a:p>
          </p:txBody>
        </p:sp>
        <p:sp>
          <p:nvSpPr>
            <p:cNvPr id="305" name="Rectangle 304"/>
            <p:cNvSpPr/>
            <p:nvPr/>
          </p:nvSpPr>
          <p:spPr>
            <a:xfrm>
              <a:off x="10705670" y="2354262"/>
              <a:ext cx="1785347" cy="906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34464" rIns="179285" bIns="134464"/>
            <a:lstStyle/>
            <a:p>
              <a:pPr marL="168072" lvl="1" indent="-168072" defTabSz="914523">
                <a:spcBef>
                  <a:spcPts val="588"/>
                </a:spcBef>
                <a:buFont typeface="Arial" panose="020B0604020202020204" pitchFamily="34" charset="0"/>
                <a:buChar char="•"/>
                <a:defRPr/>
              </a:pPr>
              <a:r>
                <a:rPr lang="en-US" sz="1078" dirty="0">
                  <a:solidFill>
                    <a:srgbClr val="0072C6"/>
                  </a:solidFill>
                </a:rPr>
                <a:t>Run Windows </a:t>
              </a:r>
              <a:br>
                <a:rPr lang="en-US" sz="1078" dirty="0">
                  <a:solidFill>
                    <a:srgbClr val="0072C6"/>
                  </a:solidFill>
                </a:rPr>
              </a:br>
              <a:r>
                <a:rPr lang="en-US" sz="1078" dirty="0">
                  <a:solidFill>
                    <a:srgbClr val="0072C6"/>
                  </a:solidFill>
                </a:rPr>
                <a:t>and Linux</a:t>
              </a:r>
            </a:p>
            <a:p>
              <a:pPr marL="168072" lvl="1" indent="-168072" defTabSz="914523">
                <a:spcBef>
                  <a:spcPts val="588"/>
                </a:spcBef>
                <a:spcAft>
                  <a:spcPts val="590"/>
                </a:spcAft>
                <a:buFont typeface="Arial" panose="020B0604020202020204" pitchFamily="34" charset="0"/>
                <a:buChar char="•"/>
                <a:defRPr/>
              </a:pPr>
              <a:r>
                <a:rPr lang="en-US" sz="1078" dirty="0">
                  <a:solidFill>
                    <a:srgbClr val="0072C6"/>
                  </a:solidFill>
                </a:rPr>
                <a:t>Manage and monitor your heterogeneous IT environment </a:t>
              </a:r>
            </a:p>
          </p:txBody>
        </p:sp>
        <p:grpSp>
          <p:nvGrpSpPr>
            <p:cNvPr id="6" name="Group 5"/>
            <p:cNvGrpSpPr/>
            <p:nvPr/>
          </p:nvGrpSpPr>
          <p:grpSpPr>
            <a:xfrm>
              <a:off x="9904179" y="1782762"/>
              <a:ext cx="750390" cy="750390"/>
              <a:chOff x="9719461" y="1919011"/>
              <a:chExt cx="750390" cy="750390"/>
            </a:xfrm>
          </p:grpSpPr>
          <p:sp>
            <p:nvSpPr>
              <p:cNvPr id="221" name="Oval 220"/>
              <p:cNvSpPr/>
              <p:nvPr/>
            </p:nvSpPr>
            <p:spPr bwMode="auto">
              <a:xfrm>
                <a:off x="9719461" y="1919011"/>
                <a:ext cx="750390" cy="750390"/>
              </a:xfrm>
              <a:prstGeom prst="ellipse">
                <a:avLst/>
              </a:prstGeom>
              <a:solidFill>
                <a:schemeClr val="accent1">
                  <a:lumMod val="75000"/>
                </a:schemeClr>
              </a:solidFill>
              <a:ln w="0">
                <a:noFill/>
                <a:headEnd type="none" w="med" len="med"/>
                <a:tailEnd type="none" w="med" len="med"/>
              </a:ln>
              <a:effectLst>
                <a:outerShdw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2" name="Group 221"/>
              <p:cNvGrpSpPr/>
              <p:nvPr/>
            </p:nvGrpSpPr>
            <p:grpSpPr>
              <a:xfrm>
                <a:off x="9969533" y="2116736"/>
                <a:ext cx="250247" cy="354939"/>
                <a:chOff x="8426080" y="-127649"/>
                <a:chExt cx="720508" cy="1021936"/>
              </a:xfrm>
            </p:grpSpPr>
            <p:sp>
              <p:nvSpPr>
                <p:cNvPr id="223" name="AutoShape 97"/>
                <p:cNvSpPr>
                  <a:spLocks noChangeAspect="1" noChangeArrowheads="1" noTextEdit="1"/>
                </p:cNvSpPr>
                <p:nvPr/>
              </p:nvSpPr>
              <p:spPr bwMode="auto">
                <a:xfrm>
                  <a:off x="8426080" y="-127649"/>
                  <a:ext cx="718790" cy="10219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24" name="Rectangle 99"/>
                <p:cNvSpPr>
                  <a:spLocks noChangeArrowheads="1"/>
                </p:cNvSpPr>
                <p:nvPr/>
              </p:nvSpPr>
              <p:spPr bwMode="auto">
                <a:xfrm>
                  <a:off x="8426080" y="-127649"/>
                  <a:ext cx="720508" cy="1020218"/>
                </a:xfrm>
                <a:prstGeom prst="rect">
                  <a:avLst/>
                </a:pr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25" name="Freeform 100"/>
                <p:cNvSpPr>
                  <a:spLocks/>
                </p:cNvSpPr>
                <p:nvPr/>
              </p:nvSpPr>
              <p:spPr bwMode="auto">
                <a:xfrm>
                  <a:off x="8504228" y="-11715"/>
                  <a:ext cx="565070" cy="97900"/>
                </a:xfrm>
                <a:custGeom>
                  <a:avLst/>
                  <a:gdLst>
                    <a:gd name="T0" fmla="*/ 23 w 276"/>
                    <a:gd name="T1" fmla="*/ 0 h 48"/>
                    <a:gd name="T2" fmla="*/ 0 w 276"/>
                    <a:gd name="T3" fmla="*/ 22 h 48"/>
                    <a:gd name="T4" fmla="*/ 0 w 276"/>
                    <a:gd name="T5" fmla="*/ 26 h 48"/>
                    <a:gd name="T6" fmla="*/ 23 w 276"/>
                    <a:gd name="T7" fmla="*/ 48 h 48"/>
                    <a:gd name="T8" fmla="*/ 253 w 276"/>
                    <a:gd name="T9" fmla="*/ 48 h 48"/>
                    <a:gd name="T10" fmla="*/ 276 w 276"/>
                    <a:gd name="T11" fmla="*/ 26 h 48"/>
                    <a:gd name="T12" fmla="*/ 276 w 276"/>
                    <a:gd name="T13" fmla="*/ 22 h 48"/>
                    <a:gd name="T14" fmla="*/ 253 w 276"/>
                    <a:gd name="T15" fmla="*/ 0 h 48"/>
                    <a:gd name="T16" fmla="*/ 147 w 276"/>
                    <a:gd name="T17" fmla="*/ 0 h 48"/>
                    <a:gd name="T18" fmla="*/ 23 w 276"/>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8">
                      <a:moveTo>
                        <a:pt x="23" y="0"/>
                      </a:moveTo>
                      <a:cubicBezTo>
                        <a:pt x="23" y="0"/>
                        <a:pt x="0" y="0"/>
                        <a:pt x="0" y="22"/>
                      </a:cubicBezTo>
                      <a:cubicBezTo>
                        <a:pt x="0" y="26"/>
                        <a:pt x="0" y="26"/>
                        <a:pt x="0" y="26"/>
                      </a:cubicBezTo>
                      <a:cubicBezTo>
                        <a:pt x="0" y="26"/>
                        <a:pt x="0" y="48"/>
                        <a:pt x="23" y="48"/>
                      </a:cubicBezTo>
                      <a:cubicBezTo>
                        <a:pt x="253" y="48"/>
                        <a:pt x="253" y="48"/>
                        <a:pt x="253" y="48"/>
                      </a:cubicBezTo>
                      <a:cubicBezTo>
                        <a:pt x="253" y="48"/>
                        <a:pt x="276" y="48"/>
                        <a:pt x="276" y="26"/>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26" name="Freeform 101"/>
                <p:cNvSpPr>
                  <a:spLocks/>
                </p:cNvSpPr>
                <p:nvPr/>
              </p:nvSpPr>
              <p:spPr bwMode="auto">
                <a:xfrm>
                  <a:off x="8504228" y="164333"/>
                  <a:ext cx="565070" cy="97900"/>
                </a:xfrm>
                <a:custGeom>
                  <a:avLst/>
                  <a:gdLst>
                    <a:gd name="T0" fmla="*/ 23 w 276"/>
                    <a:gd name="T1" fmla="*/ 0 h 48"/>
                    <a:gd name="T2" fmla="*/ 0 w 276"/>
                    <a:gd name="T3" fmla="*/ 22 h 48"/>
                    <a:gd name="T4" fmla="*/ 0 w 276"/>
                    <a:gd name="T5" fmla="*/ 26 h 48"/>
                    <a:gd name="T6" fmla="*/ 23 w 276"/>
                    <a:gd name="T7" fmla="*/ 48 h 48"/>
                    <a:gd name="T8" fmla="*/ 253 w 276"/>
                    <a:gd name="T9" fmla="*/ 48 h 48"/>
                    <a:gd name="T10" fmla="*/ 276 w 276"/>
                    <a:gd name="T11" fmla="*/ 26 h 48"/>
                    <a:gd name="T12" fmla="*/ 276 w 276"/>
                    <a:gd name="T13" fmla="*/ 22 h 48"/>
                    <a:gd name="T14" fmla="*/ 253 w 276"/>
                    <a:gd name="T15" fmla="*/ 0 h 48"/>
                    <a:gd name="T16" fmla="*/ 147 w 276"/>
                    <a:gd name="T17" fmla="*/ 0 h 48"/>
                    <a:gd name="T18" fmla="*/ 23 w 276"/>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8">
                      <a:moveTo>
                        <a:pt x="23" y="0"/>
                      </a:moveTo>
                      <a:cubicBezTo>
                        <a:pt x="23" y="0"/>
                        <a:pt x="0" y="0"/>
                        <a:pt x="0" y="22"/>
                      </a:cubicBezTo>
                      <a:cubicBezTo>
                        <a:pt x="0" y="26"/>
                        <a:pt x="0" y="26"/>
                        <a:pt x="0" y="26"/>
                      </a:cubicBezTo>
                      <a:cubicBezTo>
                        <a:pt x="0" y="26"/>
                        <a:pt x="0" y="48"/>
                        <a:pt x="23" y="48"/>
                      </a:cubicBezTo>
                      <a:cubicBezTo>
                        <a:pt x="253" y="48"/>
                        <a:pt x="253" y="48"/>
                        <a:pt x="253" y="48"/>
                      </a:cubicBezTo>
                      <a:cubicBezTo>
                        <a:pt x="253" y="48"/>
                        <a:pt x="276" y="48"/>
                        <a:pt x="276" y="26"/>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27" name="Freeform 102"/>
                <p:cNvSpPr>
                  <a:spLocks/>
                </p:cNvSpPr>
                <p:nvPr/>
              </p:nvSpPr>
              <p:spPr bwMode="auto">
                <a:xfrm>
                  <a:off x="8504228" y="339522"/>
                  <a:ext cx="565070" cy="99617"/>
                </a:xfrm>
                <a:custGeom>
                  <a:avLst/>
                  <a:gdLst>
                    <a:gd name="T0" fmla="*/ 23 w 276"/>
                    <a:gd name="T1" fmla="*/ 0 h 49"/>
                    <a:gd name="T2" fmla="*/ 0 w 276"/>
                    <a:gd name="T3" fmla="*/ 22 h 49"/>
                    <a:gd name="T4" fmla="*/ 0 w 276"/>
                    <a:gd name="T5" fmla="*/ 27 h 49"/>
                    <a:gd name="T6" fmla="*/ 23 w 276"/>
                    <a:gd name="T7" fmla="*/ 49 h 49"/>
                    <a:gd name="T8" fmla="*/ 253 w 276"/>
                    <a:gd name="T9" fmla="*/ 49 h 49"/>
                    <a:gd name="T10" fmla="*/ 276 w 276"/>
                    <a:gd name="T11" fmla="*/ 27 h 49"/>
                    <a:gd name="T12" fmla="*/ 276 w 276"/>
                    <a:gd name="T13" fmla="*/ 22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2"/>
                      </a:cubicBezTo>
                      <a:cubicBezTo>
                        <a:pt x="0" y="27"/>
                        <a:pt x="0" y="27"/>
                        <a:pt x="0" y="27"/>
                      </a:cubicBezTo>
                      <a:cubicBezTo>
                        <a:pt x="0" y="27"/>
                        <a:pt x="0" y="49"/>
                        <a:pt x="23" y="49"/>
                      </a:cubicBezTo>
                      <a:cubicBezTo>
                        <a:pt x="253" y="49"/>
                        <a:pt x="253" y="49"/>
                        <a:pt x="253" y="49"/>
                      </a:cubicBezTo>
                      <a:cubicBezTo>
                        <a:pt x="253" y="49"/>
                        <a:pt x="276" y="49"/>
                        <a:pt x="276" y="27"/>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28" name="Freeform 103"/>
                <p:cNvSpPr>
                  <a:spLocks/>
                </p:cNvSpPr>
                <p:nvPr/>
              </p:nvSpPr>
              <p:spPr bwMode="auto">
                <a:xfrm>
                  <a:off x="8504228" y="514711"/>
                  <a:ext cx="565070" cy="100476"/>
                </a:xfrm>
                <a:custGeom>
                  <a:avLst/>
                  <a:gdLst>
                    <a:gd name="T0" fmla="*/ 23 w 276"/>
                    <a:gd name="T1" fmla="*/ 0 h 49"/>
                    <a:gd name="T2" fmla="*/ 0 w 276"/>
                    <a:gd name="T3" fmla="*/ 22 h 49"/>
                    <a:gd name="T4" fmla="*/ 0 w 276"/>
                    <a:gd name="T5" fmla="*/ 27 h 49"/>
                    <a:gd name="T6" fmla="*/ 23 w 276"/>
                    <a:gd name="T7" fmla="*/ 49 h 49"/>
                    <a:gd name="T8" fmla="*/ 253 w 276"/>
                    <a:gd name="T9" fmla="*/ 49 h 49"/>
                    <a:gd name="T10" fmla="*/ 276 w 276"/>
                    <a:gd name="T11" fmla="*/ 27 h 49"/>
                    <a:gd name="T12" fmla="*/ 276 w 276"/>
                    <a:gd name="T13" fmla="*/ 22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2"/>
                      </a:cubicBezTo>
                      <a:cubicBezTo>
                        <a:pt x="0" y="27"/>
                        <a:pt x="0" y="27"/>
                        <a:pt x="0" y="27"/>
                      </a:cubicBezTo>
                      <a:cubicBezTo>
                        <a:pt x="0" y="27"/>
                        <a:pt x="0" y="49"/>
                        <a:pt x="23" y="49"/>
                      </a:cubicBezTo>
                      <a:cubicBezTo>
                        <a:pt x="253" y="49"/>
                        <a:pt x="253" y="49"/>
                        <a:pt x="253" y="49"/>
                      </a:cubicBezTo>
                      <a:cubicBezTo>
                        <a:pt x="253" y="49"/>
                        <a:pt x="276" y="49"/>
                        <a:pt x="276" y="27"/>
                      </a:cubicBezTo>
                      <a:cubicBezTo>
                        <a:pt x="276" y="22"/>
                        <a:pt x="276" y="22"/>
                        <a:pt x="276" y="22"/>
                      </a:cubicBezTo>
                      <a:cubicBezTo>
                        <a:pt x="276" y="22"/>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29" name="Freeform 104"/>
                <p:cNvSpPr>
                  <a:spLocks/>
                </p:cNvSpPr>
                <p:nvPr/>
              </p:nvSpPr>
              <p:spPr bwMode="auto">
                <a:xfrm>
                  <a:off x="8504228" y="690759"/>
                  <a:ext cx="565070" cy="99617"/>
                </a:xfrm>
                <a:custGeom>
                  <a:avLst/>
                  <a:gdLst>
                    <a:gd name="T0" fmla="*/ 23 w 276"/>
                    <a:gd name="T1" fmla="*/ 0 h 49"/>
                    <a:gd name="T2" fmla="*/ 0 w 276"/>
                    <a:gd name="T3" fmla="*/ 23 h 49"/>
                    <a:gd name="T4" fmla="*/ 0 w 276"/>
                    <a:gd name="T5" fmla="*/ 27 h 49"/>
                    <a:gd name="T6" fmla="*/ 23 w 276"/>
                    <a:gd name="T7" fmla="*/ 49 h 49"/>
                    <a:gd name="T8" fmla="*/ 253 w 276"/>
                    <a:gd name="T9" fmla="*/ 49 h 49"/>
                    <a:gd name="T10" fmla="*/ 276 w 276"/>
                    <a:gd name="T11" fmla="*/ 27 h 49"/>
                    <a:gd name="T12" fmla="*/ 276 w 276"/>
                    <a:gd name="T13" fmla="*/ 23 h 49"/>
                    <a:gd name="T14" fmla="*/ 253 w 276"/>
                    <a:gd name="T15" fmla="*/ 0 h 49"/>
                    <a:gd name="T16" fmla="*/ 147 w 276"/>
                    <a:gd name="T17" fmla="*/ 0 h 49"/>
                    <a:gd name="T18" fmla="*/ 23 w 276"/>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49">
                      <a:moveTo>
                        <a:pt x="23" y="0"/>
                      </a:moveTo>
                      <a:cubicBezTo>
                        <a:pt x="23" y="0"/>
                        <a:pt x="0" y="0"/>
                        <a:pt x="0" y="23"/>
                      </a:cubicBezTo>
                      <a:cubicBezTo>
                        <a:pt x="0" y="27"/>
                        <a:pt x="0" y="27"/>
                        <a:pt x="0" y="27"/>
                      </a:cubicBezTo>
                      <a:cubicBezTo>
                        <a:pt x="0" y="27"/>
                        <a:pt x="0" y="49"/>
                        <a:pt x="23" y="49"/>
                      </a:cubicBezTo>
                      <a:cubicBezTo>
                        <a:pt x="253" y="49"/>
                        <a:pt x="253" y="49"/>
                        <a:pt x="253" y="49"/>
                      </a:cubicBezTo>
                      <a:cubicBezTo>
                        <a:pt x="253" y="49"/>
                        <a:pt x="276" y="49"/>
                        <a:pt x="276" y="27"/>
                      </a:cubicBezTo>
                      <a:cubicBezTo>
                        <a:pt x="276" y="23"/>
                        <a:pt x="276" y="23"/>
                        <a:pt x="276" y="23"/>
                      </a:cubicBezTo>
                      <a:cubicBezTo>
                        <a:pt x="276" y="23"/>
                        <a:pt x="276" y="0"/>
                        <a:pt x="253" y="0"/>
                      </a:cubicBezTo>
                      <a:cubicBezTo>
                        <a:pt x="147" y="0"/>
                        <a:pt x="147" y="0"/>
                        <a:pt x="147" y="0"/>
                      </a:cubicBezTo>
                      <a:lnTo>
                        <a:pt x="2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3" name="Oval 105"/>
                <p:cNvSpPr>
                  <a:spLocks noChangeArrowheads="1"/>
                </p:cNvSpPr>
                <p:nvPr/>
              </p:nvSpPr>
              <p:spPr bwMode="auto">
                <a:xfrm>
                  <a:off x="8962811" y="8896"/>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6" name="Oval 106"/>
                <p:cNvSpPr>
                  <a:spLocks noChangeArrowheads="1"/>
                </p:cNvSpPr>
                <p:nvPr/>
              </p:nvSpPr>
              <p:spPr bwMode="auto">
                <a:xfrm>
                  <a:off x="8962811" y="184085"/>
                  <a:ext cx="54961" cy="558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4" name="Oval 107"/>
                <p:cNvSpPr>
                  <a:spLocks noChangeArrowheads="1"/>
                </p:cNvSpPr>
                <p:nvPr/>
              </p:nvSpPr>
              <p:spPr bwMode="auto">
                <a:xfrm>
                  <a:off x="8962811" y="361850"/>
                  <a:ext cx="54961" cy="532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5" name="Oval 108"/>
                <p:cNvSpPr>
                  <a:spLocks noChangeArrowheads="1"/>
                </p:cNvSpPr>
                <p:nvPr/>
              </p:nvSpPr>
              <p:spPr bwMode="auto">
                <a:xfrm>
                  <a:off x="8962811" y="537039"/>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6" name="Oval 109"/>
                <p:cNvSpPr>
                  <a:spLocks noChangeArrowheads="1"/>
                </p:cNvSpPr>
                <p:nvPr/>
              </p:nvSpPr>
              <p:spPr bwMode="auto">
                <a:xfrm>
                  <a:off x="8962811" y="713087"/>
                  <a:ext cx="54961" cy="54961"/>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grpSp>
        <p:nvGrpSpPr>
          <p:cNvPr id="5" name="Group 4"/>
          <p:cNvGrpSpPr/>
          <p:nvPr/>
        </p:nvGrpSpPr>
        <p:grpSpPr>
          <a:xfrm>
            <a:off x="3867125" y="3586615"/>
            <a:ext cx="2775691" cy="1635235"/>
            <a:chOff x="3944668" y="3658037"/>
            <a:chExt cx="2831349" cy="1668025"/>
          </a:xfrm>
        </p:grpSpPr>
        <p:sp>
          <p:nvSpPr>
            <p:cNvPr id="123" name="Rectangle 122"/>
            <p:cNvSpPr/>
            <p:nvPr/>
          </p:nvSpPr>
          <p:spPr>
            <a:xfrm>
              <a:off x="4767175" y="3658037"/>
              <a:ext cx="1836825" cy="633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34464" rIns="179285" bIns="134464"/>
            <a:lstStyle/>
            <a:p>
              <a:pPr defTabSz="914523">
                <a:lnSpc>
                  <a:spcPct val="90000"/>
                </a:lnSpc>
                <a:spcAft>
                  <a:spcPts val="590"/>
                </a:spcAft>
                <a:defRPr/>
              </a:pPr>
              <a: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t>Consistent </a:t>
              </a:r>
              <a:b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br>
              <a:r>
                <a:rPr lang="en-US" sz="1470" dirty="0">
                  <a:solidFill>
                    <a:srgbClr val="0072C6"/>
                  </a:solidFill>
                  <a:latin typeface="Segoe UI Semilight" panose="020B0402040204020203" pitchFamily="34" charset="0"/>
                  <a:ea typeface="Segoe UI" panose="020B0502040204020203" pitchFamily="34" charset="0"/>
                  <a:cs typeface="Segoe UI Semilight" panose="020B0402040204020203" pitchFamily="34" charset="0"/>
                </a:rPr>
                <a:t>experiences across devices</a:t>
              </a:r>
            </a:p>
          </p:txBody>
        </p:sp>
        <p:sp>
          <p:nvSpPr>
            <p:cNvPr id="302" name="Rectangle 301"/>
            <p:cNvSpPr/>
            <p:nvPr/>
          </p:nvSpPr>
          <p:spPr>
            <a:xfrm>
              <a:off x="4767174" y="4335462"/>
              <a:ext cx="2008843" cy="990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285" tIns="134464" rIns="179285" bIns="134464"/>
            <a:lstStyle/>
            <a:p>
              <a:pPr marL="168072" lvl="1" indent="-168072" defTabSz="914523">
                <a:spcBef>
                  <a:spcPts val="588"/>
                </a:spcBef>
                <a:buFont typeface="Arial" panose="020B0604020202020204" pitchFamily="34" charset="0"/>
                <a:buChar char="•"/>
              </a:pPr>
              <a:r>
                <a:rPr lang="en-US" sz="1078" dirty="0">
                  <a:solidFill>
                    <a:srgbClr val="0072C6"/>
                  </a:solidFill>
                </a:rPr>
                <a:t>Windows, iOS, </a:t>
              </a:r>
              <a:br>
                <a:rPr lang="en-US" sz="1078" dirty="0">
                  <a:solidFill>
                    <a:srgbClr val="0072C6"/>
                  </a:solidFill>
                </a:rPr>
              </a:br>
              <a:r>
                <a:rPr lang="en-US" sz="1078" dirty="0">
                  <a:solidFill>
                    <a:srgbClr val="0072C6"/>
                  </a:solidFill>
                </a:rPr>
                <a:t>and Android support</a:t>
              </a:r>
            </a:p>
            <a:p>
              <a:pPr marL="168072" lvl="1" indent="-168072" defTabSz="914523">
                <a:spcBef>
                  <a:spcPts val="588"/>
                </a:spcBef>
                <a:spcAft>
                  <a:spcPts val="590"/>
                </a:spcAft>
                <a:buFont typeface="Arial" panose="020B0604020202020204" pitchFamily="34" charset="0"/>
                <a:buChar char="•"/>
              </a:pPr>
              <a:r>
                <a:rPr lang="en-US" sz="1078" dirty="0">
                  <a:solidFill>
                    <a:srgbClr val="0072C6"/>
                  </a:solidFill>
                </a:rPr>
                <a:t>Single sign-on </a:t>
              </a:r>
              <a:br>
                <a:rPr lang="en-US" sz="1078" dirty="0">
                  <a:solidFill>
                    <a:srgbClr val="0072C6"/>
                  </a:solidFill>
                </a:rPr>
              </a:br>
              <a:r>
                <a:rPr lang="en-US" sz="1078" dirty="0">
                  <a:solidFill>
                    <a:srgbClr val="0072C6"/>
                  </a:solidFill>
                </a:rPr>
                <a:t>to more than 1,400 SaaS apps </a:t>
              </a:r>
            </a:p>
            <a:p>
              <a:pPr marL="280121" indent="-280121" defTabSz="913505" fontAlgn="base">
                <a:spcBef>
                  <a:spcPct val="0"/>
                </a:spcBef>
                <a:spcAft>
                  <a:spcPct val="0"/>
                </a:spcAft>
                <a:buFont typeface="Arial" panose="020B0604020202020204" pitchFamily="34" charset="0"/>
                <a:buChar char="•"/>
              </a:pPr>
              <a:endParaRPr lang="en-US" sz="1765" dirty="0">
                <a:solidFill>
                  <a:srgbClr val="0072C6"/>
                </a:solidFill>
              </a:endParaRPr>
            </a:p>
          </p:txBody>
        </p:sp>
        <p:grpSp>
          <p:nvGrpSpPr>
            <p:cNvPr id="56" name="Group 55"/>
            <p:cNvGrpSpPr/>
            <p:nvPr/>
          </p:nvGrpSpPr>
          <p:grpSpPr>
            <a:xfrm>
              <a:off x="3944668" y="3686174"/>
              <a:ext cx="750390" cy="750390"/>
              <a:chOff x="3708886" y="3813672"/>
              <a:chExt cx="750390" cy="750390"/>
            </a:xfrm>
          </p:grpSpPr>
          <p:sp>
            <p:nvSpPr>
              <p:cNvPr id="257" name="Oval 256"/>
              <p:cNvSpPr/>
              <p:nvPr/>
            </p:nvSpPr>
            <p:spPr bwMode="auto">
              <a:xfrm>
                <a:off x="3708886" y="3813672"/>
                <a:ext cx="750390" cy="750390"/>
              </a:xfrm>
              <a:prstGeom prst="ellipse">
                <a:avLst/>
              </a:prstGeom>
              <a:solidFill>
                <a:srgbClr val="008272"/>
              </a:solidFill>
              <a:ln w="0">
                <a:noFill/>
                <a:headEnd type="none" w="med" len="med"/>
                <a:tailEnd type="none" w="med" len="med"/>
              </a:ln>
              <a:effectLst>
                <a:outerShdw dist="762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Freeform 5"/>
              <p:cNvSpPr>
                <a:spLocks noEditPoints="1"/>
              </p:cNvSpPr>
              <p:nvPr/>
            </p:nvSpPr>
            <p:spPr bwMode="auto">
              <a:xfrm>
                <a:off x="3831957" y="4048656"/>
                <a:ext cx="273632" cy="280420"/>
              </a:xfrm>
              <a:custGeom>
                <a:avLst/>
                <a:gdLst>
                  <a:gd name="T0" fmla="*/ 0 w 492"/>
                  <a:gd name="T1" fmla="*/ 19 h 504"/>
                  <a:gd name="T2" fmla="*/ 474 w 492"/>
                  <a:gd name="T3" fmla="*/ 504 h 504"/>
                  <a:gd name="T4" fmla="*/ 474 w 492"/>
                  <a:gd name="T5" fmla="*/ 0 h 504"/>
                  <a:gd name="T6" fmla="*/ 388 w 492"/>
                  <a:gd name="T7" fmla="*/ 252 h 504"/>
                  <a:gd name="T8" fmla="*/ 25 w 492"/>
                  <a:gd name="T9" fmla="*/ 56 h 504"/>
                  <a:gd name="T10" fmla="*/ 73 w 492"/>
                  <a:gd name="T11" fmla="*/ 56 h 504"/>
                  <a:gd name="T12" fmla="*/ 66 w 492"/>
                  <a:gd name="T13" fmla="*/ 90 h 504"/>
                  <a:gd name="T14" fmla="*/ 25 w 492"/>
                  <a:gd name="T15" fmla="*/ 56 h 504"/>
                  <a:gd name="T16" fmla="*/ 66 w 492"/>
                  <a:gd name="T17" fmla="*/ 128 h 504"/>
                  <a:gd name="T18" fmla="*/ 73 w 492"/>
                  <a:gd name="T19" fmla="*/ 162 h 504"/>
                  <a:gd name="T20" fmla="*/ 25 w 492"/>
                  <a:gd name="T21" fmla="*/ 162 h 504"/>
                  <a:gd name="T22" fmla="*/ 58 w 492"/>
                  <a:gd name="T23" fmla="*/ 467 h 504"/>
                  <a:gd name="T24" fmla="*/ 25 w 492"/>
                  <a:gd name="T25" fmla="*/ 434 h 504"/>
                  <a:gd name="T26" fmla="*/ 68 w 492"/>
                  <a:gd name="T27" fmla="*/ 434 h 504"/>
                  <a:gd name="T28" fmla="*/ 58 w 492"/>
                  <a:gd name="T29" fmla="*/ 408 h 504"/>
                  <a:gd name="T30" fmla="*/ 25 w 492"/>
                  <a:gd name="T31" fmla="*/ 374 h 504"/>
                  <a:gd name="T32" fmla="*/ 68 w 492"/>
                  <a:gd name="T33" fmla="*/ 374 h 504"/>
                  <a:gd name="T34" fmla="*/ 58 w 492"/>
                  <a:gd name="T35" fmla="*/ 348 h 504"/>
                  <a:gd name="T36" fmla="*/ 25 w 492"/>
                  <a:gd name="T37" fmla="*/ 315 h 504"/>
                  <a:gd name="T38" fmla="*/ 68 w 492"/>
                  <a:gd name="T39" fmla="*/ 315 h 504"/>
                  <a:gd name="T40" fmla="*/ 59 w 492"/>
                  <a:gd name="T41" fmla="*/ 234 h 504"/>
                  <a:gd name="T42" fmla="*/ 59 w 492"/>
                  <a:gd name="T43" fmla="*/ 201 h 504"/>
                  <a:gd name="T44" fmla="*/ 90 w 492"/>
                  <a:gd name="T45" fmla="*/ 217 h 504"/>
                  <a:gd name="T46" fmla="*/ 125 w 492"/>
                  <a:gd name="T47" fmla="*/ 458 h 504"/>
                  <a:gd name="T48" fmla="*/ 83 w 492"/>
                  <a:gd name="T49" fmla="*/ 458 h 504"/>
                  <a:gd name="T50" fmla="*/ 116 w 492"/>
                  <a:gd name="T51" fmla="*/ 424 h 504"/>
                  <a:gd name="T52" fmla="*/ 125 w 492"/>
                  <a:gd name="T53" fmla="*/ 398 h 504"/>
                  <a:gd name="T54" fmla="*/ 83 w 492"/>
                  <a:gd name="T55" fmla="*/ 398 h 504"/>
                  <a:gd name="T56" fmla="*/ 116 w 492"/>
                  <a:gd name="T57" fmla="*/ 365 h 504"/>
                  <a:gd name="T58" fmla="*/ 125 w 492"/>
                  <a:gd name="T59" fmla="*/ 339 h 504"/>
                  <a:gd name="T60" fmla="*/ 83 w 492"/>
                  <a:gd name="T61" fmla="*/ 339 h 504"/>
                  <a:gd name="T62" fmla="*/ 116 w 492"/>
                  <a:gd name="T63" fmla="*/ 305 h 504"/>
                  <a:gd name="T64" fmla="*/ 183 w 492"/>
                  <a:gd name="T65" fmla="*/ 458 h 504"/>
                  <a:gd name="T66" fmla="*/ 140 w 492"/>
                  <a:gd name="T67" fmla="*/ 458 h 504"/>
                  <a:gd name="T68" fmla="*/ 174 w 492"/>
                  <a:gd name="T69" fmla="*/ 424 h 504"/>
                  <a:gd name="T70" fmla="*/ 183 w 492"/>
                  <a:gd name="T71" fmla="*/ 398 h 504"/>
                  <a:gd name="T72" fmla="*/ 140 w 492"/>
                  <a:gd name="T73" fmla="*/ 398 h 504"/>
                  <a:gd name="T74" fmla="*/ 174 w 492"/>
                  <a:gd name="T75" fmla="*/ 365 h 504"/>
                  <a:gd name="T76" fmla="*/ 183 w 492"/>
                  <a:gd name="T77" fmla="*/ 339 h 504"/>
                  <a:gd name="T78" fmla="*/ 140 w 492"/>
                  <a:gd name="T79" fmla="*/ 339 h 504"/>
                  <a:gd name="T80" fmla="*/ 174 w 492"/>
                  <a:gd name="T81" fmla="*/ 305 h 504"/>
                  <a:gd name="T82" fmla="*/ 465 w 492"/>
                  <a:gd name="T83" fmla="*/ 394 h 504"/>
                  <a:gd name="T84" fmla="*/ 300 w 492"/>
                  <a:gd name="T85" fmla="*/ 405 h 504"/>
                  <a:gd name="T86" fmla="*/ 229 w 492"/>
                  <a:gd name="T87" fmla="*/ 378 h 504"/>
                  <a:gd name="T88" fmla="*/ 394 w 492"/>
                  <a:gd name="T89" fmla="*/ 368 h 504"/>
                  <a:gd name="T90" fmla="*/ 465 w 492"/>
                  <a:gd name="T91" fmla="*/ 394 h 504"/>
                  <a:gd name="T92" fmla="*/ 424 w 492"/>
                  <a:gd name="T93" fmla="*/ 234 h 504"/>
                  <a:gd name="T94" fmla="*/ 417 w 492"/>
                  <a:gd name="T95" fmla="*/ 201 h 504"/>
                  <a:gd name="T96" fmla="*/ 465 w 492"/>
                  <a:gd name="T97" fmla="*/ 201 h 504"/>
                  <a:gd name="T98" fmla="*/ 431 w 492"/>
                  <a:gd name="T99" fmla="*/ 162 h 504"/>
                  <a:gd name="T100" fmla="*/ 400 w 492"/>
                  <a:gd name="T101" fmla="*/ 145 h 504"/>
                  <a:gd name="T102" fmla="*/ 431 w 492"/>
                  <a:gd name="T103" fmla="*/ 128 h 504"/>
                  <a:gd name="T104" fmla="*/ 465 w 492"/>
                  <a:gd name="T105" fmla="*/ 90 h 504"/>
                  <a:gd name="T106" fmla="*/ 417 w 492"/>
                  <a:gd name="T107" fmla="*/ 90 h 504"/>
                  <a:gd name="T108" fmla="*/ 424 w 492"/>
                  <a:gd name="T109" fmla="*/ 56 h 504"/>
                  <a:gd name="T110" fmla="*/ 465 w 492"/>
                  <a:gd name="T111" fmla="*/ 9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504">
                    <a:moveTo>
                      <a:pt x="474" y="0"/>
                    </a:moveTo>
                    <a:cubicBezTo>
                      <a:pt x="18" y="0"/>
                      <a:pt x="18" y="0"/>
                      <a:pt x="18" y="0"/>
                    </a:cubicBezTo>
                    <a:cubicBezTo>
                      <a:pt x="8" y="0"/>
                      <a:pt x="0" y="9"/>
                      <a:pt x="0" y="19"/>
                    </a:cubicBezTo>
                    <a:cubicBezTo>
                      <a:pt x="0" y="486"/>
                      <a:pt x="0" y="486"/>
                      <a:pt x="0" y="486"/>
                    </a:cubicBezTo>
                    <a:cubicBezTo>
                      <a:pt x="0" y="496"/>
                      <a:pt x="8" y="504"/>
                      <a:pt x="18" y="504"/>
                    </a:cubicBezTo>
                    <a:cubicBezTo>
                      <a:pt x="474" y="504"/>
                      <a:pt x="474" y="504"/>
                      <a:pt x="474" y="504"/>
                    </a:cubicBezTo>
                    <a:cubicBezTo>
                      <a:pt x="484" y="504"/>
                      <a:pt x="492" y="496"/>
                      <a:pt x="492" y="486"/>
                    </a:cubicBezTo>
                    <a:cubicBezTo>
                      <a:pt x="492" y="19"/>
                      <a:pt x="492" y="19"/>
                      <a:pt x="492" y="19"/>
                    </a:cubicBezTo>
                    <a:cubicBezTo>
                      <a:pt x="492" y="9"/>
                      <a:pt x="484" y="0"/>
                      <a:pt x="474" y="0"/>
                    </a:cubicBezTo>
                    <a:close/>
                    <a:moveTo>
                      <a:pt x="104" y="38"/>
                    </a:moveTo>
                    <a:cubicBezTo>
                      <a:pt x="388" y="38"/>
                      <a:pt x="388" y="38"/>
                      <a:pt x="388" y="38"/>
                    </a:cubicBezTo>
                    <a:cubicBezTo>
                      <a:pt x="388" y="252"/>
                      <a:pt x="388" y="252"/>
                      <a:pt x="388" y="252"/>
                    </a:cubicBezTo>
                    <a:cubicBezTo>
                      <a:pt x="104" y="252"/>
                      <a:pt x="104" y="252"/>
                      <a:pt x="104" y="252"/>
                    </a:cubicBezTo>
                    <a:lnTo>
                      <a:pt x="104" y="38"/>
                    </a:lnTo>
                    <a:close/>
                    <a:moveTo>
                      <a:pt x="25" y="56"/>
                    </a:moveTo>
                    <a:cubicBezTo>
                      <a:pt x="59" y="56"/>
                      <a:pt x="59" y="56"/>
                      <a:pt x="59" y="56"/>
                    </a:cubicBezTo>
                    <a:cubicBezTo>
                      <a:pt x="66" y="56"/>
                      <a:pt x="66" y="56"/>
                      <a:pt x="66" y="56"/>
                    </a:cubicBezTo>
                    <a:cubicBezTo>
                      <a:pt x="73" y="56"/>
                      <a:pt x="73" y="56"/>
                      <a:pt x="73" y="56"/>
                    </a:cubicBezTo>
                    <a:cubicBezTo>
                      <a:pt x="90" y="73"/>
                      <a:pt x="90" y="73"/>
                      <a:pt x="90" y="73"/>
                    </a:cubicBezTo>
                    <a:cubicBezTo>
                      <a:pt x="73" y="90"/>
                      <a:pt x="73" y="90"/>
                      <a:pt x="73" y="90"/>
                    </a:cubicBezTo>
                    <a:cubicBezTo>
                      <a:pt x="66" y="90"/>
                      <a:pt x="66" y="90"/>
                      <a:pt x="66" y="90"/>
                    </a:cubicBezTo>
                    <a:cubicBezTo>
                      <a:pt x="59" y="90"/>
                      <a:pt x="59" y="90"/>
                      <a:pt x="59" y="90"/>
                    </a:cubicBezTo>
                    <a:cubicBezTo>
                      <a:pt x="25" y="90"/>
                      <a:pt x="25" y="90"/>
                      <a:pt x="25" y="90"/>
                    </a:cubicBezTo>
                    <a:lnTo>
                      <a:pt x="25" y="56"/>
                    </a:lnTo>
                    <a:close/>
                    <a:moveTo>
                      <a:pt x="25" y="128"/>
                    </a:moveTo>
                    <a:cubicBezTo>
                      <a:pt x="59" y="128"/>
                      <a:pt x="59" y="128"/>
                      <a:pt x="59" y="128"/>
                    </a:cubicBezTo>
                    <a:cubicBezTo>
                      <a:pt x="66" y="128"/>
                      <a:pt x="66" y="128"/>
                      <a:pt x="66" y="128"/>
                    </a:cubicBezTo>
                    <a:cubicBezTo>
                      <a:pt x="73" y="128"/>
                      <a:pt x="73" y="128"/>
                      <a:pt x="73" y="128"/>
                    </a:cubicBezTo>
                    <a:cubicBezTo>
                      <a:pt x="90" y="145"/>
                      <a:pt x="90" y="145"/>
                      <a:pt x="90" y="145"/>
                    </a:cubicBezTo>
                    <a:cubicBezTo>
                      <a:pt x="73" y="162"/>
                      <a:pt x="73" y="162"/>
                      <a:pt x="73" y="162"/>
                    </a:cubicBezTo>
                    <a:cubicBezTo>
                      <a:pt x="66" y="162"/>
                      <a:pt x="66" y="162"/>
                      <a:pt x="66" y="162"/>
                    </a:cubicBezTo>
                    <a:cubicBezTo>
                      <a:pt x="59" y="162"/>
                      <a:pt x="59" y="162"/>
                      <a:pt x="59" y="162"/>
                    </a:cubicBezTo>
                    <a:cubicBezTo>
                      <a:pt x="25" y="162"/>
                      <a:pt x="25" y="162"/>
                      <a:pt x="25" y="162"/>
                    </a:cubicBezTo>
                    <a:lnTo>
                      <a:pt x="25" y="128"/>
                    </a:lnTo>
                    <a:close/>
                    <a:moveTo>
                      <a:pt x="68" y="458"/>
                    </a:moveTo>
                    <a:cubicBezTo>
                      <a:pt x="68" y="463"/>
                      <a:pt x="64" y="467"/>
                      <a:pt x="58" y="467"/>
                    </a:cubicBezTo>
                    <a:cubicBezTo>
                      <a:pt x="34" y="467"/>
                      <a:pt x="34" y="467"/>
                      <a:pt x="34" y="467"/>
                    </a:cubicBezTo>
                    <a:cubicBezTo>
                      <a:pt x="29" y="467"/>
                      <a:pt x="25" y="463"/>
                      <a:pt x="25" y="458"/>
                    </a:cubicBezTo>
                    <a:cubicBezTo>
                      <a:pt x="25" y="434"/>
                      <a:pt x="25" y="434"/>
                      <a:pt x="25" y="434"/>
                    </a:cubicBezTo>
                    <a:cubicBezTo>
                      <a:pt x="25" y="429"/>
                      <a:pt x="29" y="424"/>
                      <a:pt x="34" y="424"/>
                    </a:cubicBezTo>
                    <a:cubicBezTo>
                      <a:pt x="58" y="424"/>
                      <a:pt x="58" y="424"/>
                      <a:pt x="58" y="424"/>
                    </a:cubicBezTo>
                    <a:cubicBezTo>
                      <a:pt x="64" y="424"/>
                      <a:pt x="68" y="429"/>
                      <a:pt x="68" y="434"/>
                    </a:cubicBezTo>
                    <a:lnTo>
                      <a:pt x="68" y="458"/>
                    </a:lnTo>
                    <a:close/>
                    <a:moveTo>
                      <a:pt x="68" y="398"/>
                    </a:moveTo>
                    <a:cubicBezTo>
                      <a:pt x="68" y="403"/>
                      <a:pt x="64" y="408"/>
                      <a:pt x="58" y="408"/>
                    </a:cubicBezTo>
                    <a:cubicBezTo>
                      <a:pt x="34" y="408"/>
                      <a:pt x="34" y="408"/>
                      <a:pt x="34" y="408"/>
                    </a:cubicBezTo>
                    <a:cubicBezTo>
                      <a:pt x="29" y="408"/>
                      <a:pt x="25" y="403"/>
                      <a:pt x="25" y="398"/>
                    </a:cubicBezTo>
                    <a:cubicBezTo>
                      <a:pt x="25" y="374"/>
                      <a:pt x="25" y="374"/>
                      <a:pt x="25" y="374"/>
                    </a:cubicBezTo>
                    <a:cubicBezTo>
                      <a:pt x="25" y="369"/>
                      <a:pt x="29" y="365"/>
                      <a:pt x="34" y="365"/>
                    </a:cubicBezTo>
                    <a:cubicBezTo>
                      <a:pt x="58" y="365"/>
                      <a:pt x="58" y="365"/>
                      <a:pt x="58" y="365"/>
                    </a:cubicBezTo>
                    <a:cubicBezTo>
                      <a:pt x="64" y="365"/>
                      <a:pt x="68" y="369"/>
                      <a:pt x="68" y="374"/>
                    </a:cubicBezTo>
                    <a:lnTo>
                      <a:pt x="68" y="398"/>
                    </a:lnTo>
                    <a:close/>
                    <a:moveTo>
                      <a:pt x="68" y="339"/>
                    </a:moveTo>
                    <a:cubicBezTo>
                      <a:pt x="68" y="344"/>
                      <a:pt x="64" y="348"/>
                      <a:pt x="58" y="348"/>
                    </a:cubicBezTo>
                    <a:cubicBezTo>
                      <a:pt x="34" y="348"/>
                      <a:pt x="34" y="348"/>
                      <a:pt x="34" y="348"/>
                    </a:cubicBezTo>
                    <a:cubicBezTo>
                      <a:pt x="29" y="348"/>
                      <a:pt x="25" y="344"/>
                      <a:pt x="25" y="339"/>
                    </a:cubicBezTo>
                    <a:cubicBezTo>
                      <a:pt x="25" y="315"/>
                      <a:pt x="25" y="315"/>
                      <a:pt x="25" y="315"/>
                    </a:cubicBezTo>
                    <a:cubicBezTo>
                      <a:pt x="25" y="310"/>
                      <a:pt x="29" y="305"/>
                      <a:pt x="34" y="305"/>
                    </a:cubicBezTo>
                    <a:cubicBezTo>
                      <a:pt x="58" y="305"/>
                      <a:pt x="58" y="305"/>
                      <a:pt x="58" y="305"/>
                    </a:cubicBezTo>
                    <a:cubicBezTo>
                      <a:pt x="64" y="305"/>
                      <a:pt x="68" y="310"/>
                      <a:pt x="68" y="315"/>
                    </a:cubicBezTo>
                    <a:lnTo>
                      <a:pt x="68" y="339"/>
                    </a:lnTo>
                    <a:close/>
                    <a:moveTo>
                      <a:pt x="66" y="234"/>
                    </a:moveTo>
                    <a:cubicBezTo>
                      <a:pt x="59" y="234"/>
                      <a:pt x="59" y="234"/>
                      <a:pt x="59" y="234"/>
                    </a:cubicBezTo>
                    <a:cubicBezTo>
                      <a:pt x="25" y="234"/>
                      <a:pt x="25" y="234"/>
                      <a:pt x="25" y="234"/>
                    </a:cubicBezTo>
                    <a:cubicBezTo>
                      <a:pt x="25" y="201"/>
                      <a:pt x="25" y="201"/>
                      <a:pt x="25" y="201"/>
                    </a:cubicBezTo>
                    <a:cubicBezTo>
                      <a:pt x="59" y="201"/>
                      <a:pt x="59" y="201"/>
                      <a:pt x="59" y="201"/>
                    </a:cubicBezTo>
                    <a:cubicBezTo>
                      <a:pt x="66" y="201"/>
                      <a:pt x="66" y="201"/>
                      <a:pt x="66" y="201"/>
                    </a:cubicBezTo>
                    <a:cubicBezTo>
                      <a:pt x="73" y="201"/>
                      <a:pt x="73" y="201"/>
                      <a:pt x="73" y="201"/>
                    </a:cubicBezTo>
                    <a:cubicBezTo>
                      <a:pt x="90" y="217"/>
                      <a:pt x="90" y="217"/>
                      <a:pt x="90" y="217"/>
                    </a:cubicBezTo>
                    <a:cubicBezTo>
                      <a:pt x="73" y="234"/>
                      <a:pt x="73" y="234"/>
                      <a:pt x="73" y="234"/>
                    </a:cubicBezTo>
                    <a:lnTo>
                      <a:pt x="66" y="234"/>
                    </a:lnTo>
                    <a:close/>
                    <a:moveTo>
                      <a:pt x="125" y="458"/>
                    </a:moveTo>
                    <a:cubicBezTo>
                      <a:pt x="125" y="463"/>
                      <a:pt x="121" y="467"/>
                      <a:pt x="116" y="467"/>
                    </a:cubicBezTo>
                    <a:cubicBezTo>
                      <a:pt x="92" y="467"/>
                      <a:pt x="92" y="467"/>
                      <a:pt x="92" y="467"/>
                    </a:cubicBezTo>
                    <a:cubicBezTo>
                      <a:pt x="87" y="467"/>
                      <a:pt x="83" y="463"/>
                      <a:pt x="83" y="458"/>
                    </a:cubicBezTo>
                    <a:cubicBezTo>
                      <a:pt x="83" y="434"/>
                      <a:pt x="83" y="434"/>
                      <a:pt x="83" y="434"/>
                    </a:cubicBezTo>
                    <a:cubicBezTo>
                      <a:pt x="83" y="429"/>
                      <a:pt x="87" y="424"/>
                      <a:pt x="92" y="424"/>
                    </a:cubicBezTo>
                    <a:cubicBezTo>
                      <a:pt x="116" y="424"/>
                      <a:pt x="116" y="424"/>
                      <a:pt x="116" y="424"/>
                    </a:cubicBezTo>
                    <a:cubicBezTo>
                      <a:pt x="121" y="424"/>
                      <a:pt x="125" y="429"/>
                      <a:pt x="125" y="434"/>
                    </a:cubicBezTo>
                    <a:lnTo>
                      <a:pt x="125" y="458"/>
                    </a:lnTo>
                    <a:close/>
                    <a:moveTo>
                      <a:pt x="125" y="398"/>
                    </a:moveTo>
                    <a:cubicBezTo>
                      <a:pt x="125" y="403"/>
                      <a:pt x="121" y="408"/>
                      <a:pt x="116" y="408"/>
                    </a:cubicBezTo>
                    <a:cubicBezTo>
                      <a:pt x="92" y="408"/>
                      <a:pt x="92" y="408"/>
                      <a:pt x="92" y="408"/>
                    </a:cubicBezTo>
                    <a:cubicBezTo>
                      <a:pt x="87" y="408"/>
                      <a:pt x="83" y="403"/>
                      <a:pt x="83" y="398"/>
                    </a:cubicBezTo>
                    <a:cubicBezTo>
                      <a:pt x="83" y="374"/>
                      <a:pt x="83" y="374"/>
                      <a:pt x="83" y="374"/>
                    </a:cubicBezTo>
                    <a:cubicBezTo>
                      <a:pt x="83" y="369"/>
                      <a:pt x="87" y="365"/>
                      <a:pt x="92" y="365"/>
                    </a:cubicBezTo>
                    <a:cubicBezTo>
                      <a:pt x="116" y="365"/>
                      <a:pt x="116" y="365"/>
                      <a:pt x="116" y="365"/>
                    </a:cubicBezTo>
                    <a:cubicBezTo>
                      <a:pt x="121" y="365"/>
                      <a:pt x="125" y="369"/>
                      <a:pt x="125" y="374"/>
                    </a:cubicBezTo>
                    <a:lnTo>
                      <a:pt x="125" y="398"/>
                    </a:lnTo>
                    <a:close/>
                    <a:moveTo>
                      <a:pt x="125" y="339"/>
                    </a:moveTo>
                    <a:cubicBezTo>
                      <a:pt x="125" y="344"/>
                      <a:pt x="121" y="348"/>
                      <a:pt x="116" y="348"/>
                    </a:cubicBezTo>
                    <a:cubicBezTo>
                      <a:pt x="92" y="348"/>
                      <a:pt x="92" y="348"/>
                      <a:pt x="92" y="348"/>
                    </a:cubicBezTo>
                    <a:cubicBezTo>
                      <a:pt x="87" y="348"/>
                      <a:pt x="83" y="344"/>
                      <a:pt x="83" y="339"/>
                    </a:cubicBezTo>
                    <a:cubicBezTo>
                      <a:pt x="83" y="315"/>
                      <a:pt x="83" y="315"/>
                      <a:pt x="83" y="315"/>
                    </a:cubicBezTo>
                    <a:cubicBezTo>
                      <a:pt x="83" y="310"/>
                      <a:pt x="87" y="305"/>
                      <a:pt x="92" y="305"/>
                    </a:cubicBezTo>
                    <a:cubicBezTo>
                      <a:pt x="116" y="305"/>
                      <a:pt x="116" y="305"/>
                      <a:pt x="116" y="305"/>
                    </a:cubicBezTo>
                    <a:cubicBezTo>
                      <a:pt x="121" y="305"/>
                      <a:pt x="125" y="310"/>
                      <a:pt x="125" y="315"/>
                    </a:cubicBezTo>
                    <a:lnTo>
                      <a:pt x="125" y="339"/>
                    </a:lnTo>
                    <a:close/>
                    <a:moveTo>
                      <a:pt x="183" y="458"/>
                    </a:moveTo>
                    <a:cubicBezTo>
                      <a:pt x="183" y="463"/>
                      <a:pt x="179" y="467"/>
                      <a:pt x="174" y="467"/>
                    </a:cubicBezTo>
                    <a:cubicBezTo>
                      <a:pt x="150" y="467"/>
                      <a:pt x="150" y="467"/>
                      <a:pt x="150" y="467"/>
                    </a:cubicBezTo>
                    <a:cubicBezTo>
                      <a:pt x="145" y="467"/>
                      <a:pt x="140" y="463"/>
                      <a:pt x="140" y="458"/>
                    </a:cubicBezTo>
                    <a:cubicBezTo>
                      <a:pt x="140" y="434"/>
                      <a:pt x="140" y="434"/>
                      <a:pt x="140" y="434"/>
                    </a:cubicBezTo>
                    <a:cubicBezTo>
                      <a:pt x="140" y="429"/>
                      <a:pt x="145" y="424"/>
                      <a:pt x="150" y="424"/>
                    </a:cubicBezTo>
                    <a:cubicBezTo>
                      <a:pt x="174" y="424"/>
                      <a:pt x="174" y="424"/>
                      <a:pt x="174" y="424"/>
                    </a:cubicBezTo>
                    <a:cubicBezTo>
                      <a:pt x="179" y="424"/>
                      <a:pt x="183" y="429"/>
                      <a:pt x="183" y="434"/>
                    </a:cubicBezTo>
                    <a:lnTo>
                      <a:pt x="183" y="458"/>
                    </a:lnTo>
                    <a:close/>
                    <a:moveTo>
                      <a:pt x="183" y="398"/>
                    </a:moveTo>
                    <a:cubicBezTo>
                      <a:pt x="183" y="403"/>
                      <a:pt x="179" y="408"/>
                      <a:pt x="174" y="408"/>
                    </a:cubicBezTo>
                    <a:cubicBezTo>
                      <a:pt x="150" y="408"/>
                      <a:pt x="150" y="408"/>
                      <a:pt x="150" y="408"/>
                    </a:cubicBezTo>
                    <a:cubicBezTo>
                      <a:pt x="145" y="408"/>
                      <a:pt x="140" y="403"/>
                      <a:pt x="140" y="398"/>
                    </a:cubicBezTo>
                    <a:cubicBezTo>
                      <a:pt x="140" y="374"/>
                      <a:pt x="140" y="374"/>
                      <a:pt x="140" y="374"/>
                    </a:cubicBezTo>
                    <a:cubicBezTo>
                      <a:pt x="140" y="369"/>
                      <a:pt x="145" y="365"/>
                      <a:pt x="150" y="365"/>
                    </a:cubicBezTo>
                    <a:cubicBezTo>
                      <a:pt x="174" y="365"/>
                      <a:pt x="174" y="365"/>
                      <a:pt x="174" y="365"/>
                    </a:cubicBezTo>
                    <a:cubicBezTo>
                      <a:pt x="179" y="365"/>
                      <a:pt x="183" y="369"/>
                      <a:pt x="183" y="374"/>
                    </a:cubicBezTo>
                    <a:lnTo>
                      <a:pt x="183" y="398"/>
                    </a:lnTo>
                    <a:close/>
                    <a:moveTo>
                      <a:pt x="183" y="339"/>
                    </a:moveTo>
                    <a:cubicBezTo>
                      <a:pt x="183" y="344"/>
                      <a:pt x="179" y="348"/>
                      <a:pt x="174" y="348"/>
                    </a:cubicBezTo>
                    <a:cubicBezTo>
                      <a:pt x="150" y="348"/>
                      <a:pt x="150" y="348"/>
                      <a:pt x="150" y="348"/>
                    </a:cubicBezTo>
                    <a:cubicBezTo>
                      <a:pt x="145" y="348"/>
                      <a:pt x="140" y="344"/>
                      <a:pt x="140" y="339"/>
                    </a:cubicBezTo>
                    <a:cubicBezTo>
                      <a:pt x="140" y="315"/>
                      <a:pt x="140" y="315"/>
                      <a:pt x="140" y="315"/>
                    </a:cubicBezTo>
                    <a:cubicBezTo>
                      <a:pt x="140" y="310"/>
                      <a:pt x="145" y="305"/>
                      <a:pt x="150" y="305"/>
                    </a:cubicBezTo>
                    <a:cubicBezTo>
                      <a:pt x="174" y="305"/>
                      <a:pt x="174" y="305"/>
                      <a:pt x="174" y="305"/>
                    </a:cubicBezTo>
                    <a:cubicBezTo>
                      <a:pt x="179" y="305"/>
                      <a:pt x="183" y="310"/>
                      <a:pt x="183" y="315"/>
                    </a:cubicBezTo>
                    <a:lnTo>
                      <a:pt x="183" y="339"/>
                    </a:lnTo>
                    <a:close/>
                    <a:moveTo>
                      <a:pt x="465" y="394"/>
                    </a:moveTo>
                    <a:cubicBezTo>
                      <a:pt x="394" y="394"/>
                      <a:pt x="394" y="394"/>
                      <a:pt x="394" y="394"/>
                    </a:cubicBezTo>
                    <a:cubicBezTo>
                      <a:pt x="394" y="405"/>
                      <a:pt x="394" y="405"/>
                      <a:pt x="394" y="405"/>
                    </a:cubicBezTo>
                    <a:cubicBezTo>
                      <a:pt x="300" y="405"/>
                      <a:pt x="300" y="405"/>
                      <a:pt x="300" y="405"/>
                    </a:cubicBezTo>
                    <a:cubicBezTo>
                      <a:pt x="300" y="394"/>
                      <a:pt x="300" y="394"/>
                      <a:pt x="300" y="394"/>
                    </a:cubicBezTo>
                    <a:cubicBezTo>
                      <a:pt x="229" y="394"/>
                      <a:pt x="229" y="394"/>
                      <a:pt x="229" y="394"/>
                    </a:cubicBezTo>
                    <a:cubicBezTo>
                      <a:pt x="229" y="378"/>
                      <a:pt x="229" y="378"/>
                      <a:pt x="229" y="378"/>
                    </a:cubicBezTo>
                    <a:cubicBezTo>
                      <a:pt x="300" y="378"/>
                      <a:pt x="300" y="378"/>
                      <a:pt x="300" y="378"/>
                    </a:cubicBezTo>
                    <a:cubicBezTo>
                      <a:pt x="300" y="368"/>
                      <a:pt x="300" y="368"/>
                      <a:pt x="300" y="368"/>
                    </a:cubicBezTo>
                    <a:cubicBezTo>
                      <a:pt x="394" y="368"/>
                      <a:pt x="394" y="368"/>
                      <a:pt x="394" y="368"/>
                    </a:cubicBezTo>
                    <a:cubicBezTo>
                      <a:pt x="394" y="378"/>
                      <a:pt x="394" y="378"/>
                      <a:pt x="394" y="378"/>
                    </a:cubicBezTo>
                    <a:cubicBezTo>
                      <a:pt x="465" y="378"/>
                      <a:pt x="465" y="378"/>
                      <a:pt x="465" y="378"/>
                    </a:cubicBezTo>
                    <a:lnTo>
                      <a:pt x="465" y="394"/>
                    </a:lnTo>
                    <a:close/>
                    <a:moveTo>
                      <a:pt x="465" y="234"/>
                    </a:moveTo>
                    <a:cubicBezTo>
                      <a:pt x="431" y="234"/>
                      <a:pt x="431" y="234"/>
                      <a:pt x="431" y="234"/>
                    </a:cubicBezTo>
                    <a:cubicBezTo>
                      <a:pt x="424" y="234"/>
                      <a:pt x="424" y="234"/>
                      <a:pt x="424" y="234"/>
                    </a:cubicBezTo>
                    <a:cubicBezTo>
                      <a:pt x="417" y="234"/>
                      <a:pt x="417" y="234"/>
                      <a:pt x="417" y="234"/>
                    </a:cubicBezTo>
                    <a:cubicBezTo>
                      <a:pt x="400" y="217"/>
                      <a:pt x="400" y="217"/>
                      <a:pt x="400" y="217"/>
                    </a:cubicBezTo>
                    <a:cubicBezTo>
                      <a:pt x="417" y="201"/>
                      <a:pt x="417" y="201"/>
                      <a:pt x="417" y="201"/>
                    </a:cubicBezTo>
                    <a:cubicBezTo>
                      <a:pt x="424" y="201"/>
                      <a:pt x="424" y="201"/>
                      <a:pt x="424" y="201"/>
                    </a:cubicBezTo>
                    <a:cubicBezTo>
                      <a:pt x="431" y="201"/>
                      <a:pt x="431" y="201"/>
                      <a:pt x="431" y="201"/>
                    </a:cubicBezTo>
                    <a:cubicBezTo>
                      <a:pt x="465" y="201"/>
                      <a:pt x="465" y="201"/>
                      <a:pt x="465" y="201"/>
                    </a:cubicBezTo>
                    <a:lnTo>
                      <a:pt x="465" y="234"/>
                    </a:lnTo>
                    <a:close/>
                    <a:moveTo>
                      <a:pt x="465" y="162"/>
                    </a:moveTo>
                    <a:cubicBezTo>
                      <a:pt x="431" y="162"/>
                      <a:pt x="431" y="162"/>
                      <a:pt x="431" y="162"/>
                    </a:cubicBezTo>
                    <a:cubicBezTo>
                      <a:pt x="424" y="162"/>
                      <a:pt x="424" y="162"/>
                      <a:pt x="424" y="162"/>
                    </a:cubicBezTo>
                    <a:cubicBezTo>
                      <a:pt x="417" y="162"/>
                      <a:pt x="417" y="162"/>
                      <a:pt x="417" y="162"/>
                    </a:cubicBezTo>
                    <a:cubicBezTo>
                      <a:pt x="400" y="145"/>
                      <a:pt x="400" y="145"/>
                      <a:pt x="400" y="145"/>
                    </a:cubicBezTo>
                    <a:cubicBezTo>
                      <a:pt x="417" y="128"/>
                      <a:pt x="417" y="128"/>
                      <a:pt x="417" y="128"/>
                    </a:cubicBezTo>
                    <a:cubicBezTo>
                      <a:pt x="424" y="128"/>
                      <a:pt x="424" y="128"/>
                      <a:pt x="424" y="128"/>
                    </a:cubicBezTo>
                    <a:cubicBezTo>
                      <a:pt x="431" y="128"/>
                      <a:pt x="431" y="128"/>
                      <a:pt x="431" y="128"/>
                    </a:cubicBezTo>
                    <a:cubicBezTo>
                      <a:pt x="465" y="128"/>
                      <a:pt x="465" y="128"/>
                      <a:pt x="465" y="128"/>
                    </a:cubicBezTo>
                    <a:lnTo>
                      <a:pt x="465" y="162"/>
                    </a:lnTo>
                    <a:close/>
                    <a:moveTo>
                      <a:pt x="465" y="90"/>
                    </a:moveTo>
                    <a:cubicBezTo>
                      <a:pt x="431" y="90"/>
                      <a:pt x="431" y="90"/>
                      <a:pt x="431" y="90"/>
                    </a:cubicBezTo>
                    <a:cubicBezTo>
                      <a:pt x="424" y="90"/>
                      <a:pt x="424" y="90"/>
                      <a:pt x="424" y="90"/>
                    </a:cubicBezTo>
                    <a:cubicBezTo>
                      <a:pt x="417" y="90"/>
                      <a:pt x="417" y="90"/>
                      <a:pt x="417" y="90"/>
                    </a:cubicBezTo>
                    <a:cubicBezTo>
                      <a:pt x="400" y="73"/>
                      <a:pt x="400" y="73"/>
                      <a:pt x="400" y="73"/>
                    </a:cubicBezTo>
                    <a:cubicBezTo>
                      <a:pt x="417" y="56"/>
                      <a:pt x="417" y="56"/>
                      <a:pt x="417" y="56"/>
                    </a:cubicBezTo>
                    <a:cubicBezTo>
                      <a:pt x="424" y="56"/>
                      <a:pt x="424" y="56"/>
                      <a:pt x="424" y="56"/>
                    </a:cubicBezTo>
                    <a:cubicBezTo>
                      <a:pt x="431" y="56"/>
                      <a:pt x="431" y="56"/>
                      <a:pt x="431" y="56"/>
                    </a:cubicBezTo>
                    <a:cubicBezTo>
                      <a:pt x="465" y="56"/>
                      <a:pt x="465" y="56"/>
                      <a:pt x="465" y="56"/>
                    </a:cubicBezTo>
                    <a:lnTo>
                      <a:pt x="465" y="9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9" name="Freeform 10"/>
              <p:cNvSpPr>
                <a:spLocks noEditPoints="1"/>
              </p:cNvSpPr>
              <p:nvPr/>
            </p:nvSpPr>
            <p:spPr bwMode="auto">
              <a:xfrm>
                <a:off x="4160756" y="4048656"/>
                <a:ext cx="164047" cy="280420"/>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sp>
        <p:nvSpPr>
          <p:cNvPr id="252" name="Title 251"/>
          <p:cNvSpPr>
            <a:spLocks noGrp="1"/>
          </p:cNvSpPr>
          <p:nvPr>
            <p:ph type="title"/>
          </p:nvPr>
        </p:nvSpPr>
        <p:spPr/>
        <p:txBody>
          <a:bodyPr/>
          <a:lstStyle/>
          <a:p>
            <a:r>
              <a:rPr lang="en-US" dirty="0"/>
              <a:t>Trusted, </a:t>
            </a:r>
            <a:r>
              <a:rPr lang="en-US" dirty="0" smtClean="0"/>
              <a:t>open, </a:t>
            </a:r>
            <a:r>
              <a:rPr lang="en-US" dirty="0"/>
              <a:t>and </a:t>
            </a:r>
            <a:r>
              <a:rPr lang="en-US" dirty="0" smtClean="0"/>
              <a:t>flexible</a:t>
            </a:r>
            <a:endParaRPr lang="en-US" dirty="0"/>
          </a:p>
        </p:txBody>
      </p:sp>
      <p:sp>
        <p:nvSpPr>
          <p:cNvPr id="146" name="TextBox 145"/>
          <p:cNvSpPr txBox="1"/>
          <p:nvPr/>
        </p:nvSpPr>
        <p:spPr>
          <a:xfrm>
            <a:off x="269239" y="1110019"/>
            <a:ext cx="10032743" cy="507786"/>
          </a:xfrm>
          <a:prstGeom prst="rect">
            <a:avLst/>
          </a:prstGeom>
          <a:noFill/>
          <a:ln>
            <a:noFill/>
          </a:ln>
        </p:spPr>
        <p:txBody>
          <a:bodyPr wrap="square" lIns="179285" tIns="134464" rIns="179285" bIns="45699" rtlCol="0">
            <a:spAutoFit/>
          </a:bodyPr>
          <a:lstStyle/>
          <a:p>
            <a:pPr defTabSz="1218427" fontAlgn="base">
              <a:lnSpc>
                <a:spcPct val="90000"/>
              </a:lnSpc>
              <a:spcBef>
                <a:spcPct val="0"/>
              </a:spcBef>
              <a:spcAft>
                <a:spcPct val="0"/>
              </a:spcAft>
            </a:pPr>
            <a:r>
              <a:rPr lang="en-US" sz="2353" dirty="0">
                <a:solidFill>
                  <a:srgbClr val="0072C6"/>
                </a:solidFill>
                <a:latin typeface="Segoe UI Light"/>
                <a:ea typeface="ＭＳ Ｐゴシック" charset="0"/>
              </a:rPr>
              <a:t>Deep commitments to security, privacy, and interoperability</a:t>
            </a:r>
          </a:p>
        </p:txBody>
      </p:sp>
      <p:grpSp>
        <p:nvGrpSpPr>
          <p:cNvPr id="61" name="Group 60"/>
          <p:cNvGrpSpPr/>
          <p:nvPr/>
        </p:nvGrpSpPr>
        <p:grpSpPr>
          <a:xfrm>
            <a:off x="541114" y="2234870"/>
            <a:ext cx="5232323" cy="334293"/>
            <a:chOff x="551964" y="2269536"/>
            <a:chExt cx="5337242" cy="340996"/>
          </a:xfrm>
        </p:grpSpPr>
        <p:sp>
          <p:nvSpPr>
            <p:cNvPr id="194" name="Freeform 101"/>
            <p:cNvSpPr>
              <a:spLocks/>
            </p:cNvSpPr>
            <p:nvPr/>
          </p:nvSpPr>
          <p:spPr bwMode="black">
            <a:xfrm rot="10800000">
              <a:off x="551964" y="2382130"/>
              <a:ext cx="91146" cy="136720"/>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sp>
          <p:nvSpPr>
            <p:cNvPr id="152" name="TextBox 151"/>
            <p:cNvSpPr txBox="1"/>
            <p:nvPr/>
          </p:nvSpPr>
          <p:spPr>
            <a:xfrm>
              <a:off x="676042" y="2269536"/>
              <a:ext cx="5213164" cy="340996"/>
            </a:xfrm>
            <a:prstGeom prst="rect">
              <a:avLst/>
            </a:prstGeom>
            <a:noFill/>
          </p:spPr>
          <p:txBody>
            <a:bodyPr wrap="square" lIns="179285" tIns="143428" rIns="179285" bIns="143428" rtlCol="0" anchor="ctr">
              <a:noAutofit/>
            </a:bodyPr>
            <a:lstStyle/>
            <a:p>
              <a:pPr defTabSz="913505" fontAlgn="base">
                <a:lnSpc>
                  <a:spcPct val="90000"/>
                </a:lnSpc>
                <a:spcBef>
                  <a:spcPct val="0"/>
                </a:spcBef>
                <a:spcAft>
                  <a:spcPts val="588"/>
                </a:spcAft>
              </a:pPr>
              <a:r>
                <a:rPr lang="en-US" sz="1961" dirty="0">
                  <a:solidFill>
                    <a:srgbClr val="0072C6"/>
                  </a:solidFill>
                  <a:latin typeface="Segoe UI Light"/>
                  <a:ea typeface="ＭＳ Ｐゴシック" charset="0"/>
                </a:rPr>
                <a:t>Privacy by design</a:t>
              </a:r>
            </a:p>
          </p:txBody>
        </p:sp>
      </p:grpSp>
      <p:grpSp>
        <p:nvGrpSpPr>
          <p:cNvPr id="62" name="Group 61"/>
          <p:cNvGrpSpPr/>
          <p:nvPr/>
        </p:nvGrpSpPr>
        <p:grpSpPr>
          <a:xfrm>
            <a:off x="541114" y="2581158"/>
            <a:ext cx="5232323" cy="334293"/>
            <a:chOff x="551964" y="2632419"/>
            <a:chExt cx="5337242" cy="340996"/>
          </a:xfrm>
        </p:grpSpPr>
        <p:sp>
          <p:nvSpPr>
            <p:cNvPr id="195" name="Freeform 101"/>
            <p:cNvSpPr>
              <a:spLocks/>
            </p:cNvSpPr>
            <p:nvPr/>
          </p:nvSpPr>
          <p:spPr bwMode="black">
            <a:xfrm rot="10800000">
              <a:off x="551964" y="2731380"/>
              <a:ext cx="91146" cy="136720"/>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1765" kern="0">
                <a:solidFill>
                  <a:srgbClr val="FFFFFF"/>
                </a:solidFill>
                <a:latin typeface="Segoe UI Light" panose="020B0502040204020203" pitchFamily="34" charset="0"/>
                <a:ea typeface="ＭＳ Ｐゴシック" charset="0"/>
              </a:endParaRPr>
            </a:p>
          </p:txBody>
        </p:sp>
        <p:sp>
          <p:nvSpPr>
            <p:cNvPr id="153" name="TextBox 152"/>
            <p:cNvSpPr txBox="1"/>
            <p:nvPr/>
          </p:nvSpPr>
          <p:spPr>
            <a:xfrm>
              <a:off x="676042" y="2632419"/>
              <a:ext cx="5213164" cy="340996"/>
            </a:xfrm>
            <a:prstGeom prst="rect">
              <a:avLst/>
            </a:prstGeom>
            <a:noFill/>
          </p:spPr>
          <p:txBody>
            <a:bodyPr wrap="square" lIns="179285" tIns="143428" rIns="179285" bIns="143428" rtlCol="0" anchor="ctr">
              <a:noAutofit/>
            </a:bodyPr>
            <a:lstStyle/>
            <a:p>
              <a:pPr defTabSz="913505" fontAlgn="base">
                <a:lnSpc>
                  <a:spcPct val="90000"/>
                </a:lnSpc>
                <a:spcBef>
                  <a:spcPct val="0"/>
                </a:spcBef>
                <a:spcAft>
                  <a:spcPts val="588"/>
                </a:spcAft>
              </a:pPr>
              <a:r>
                <a:rPr lang="en-US" sz="1961" dirty="0">
                  <a:solidFill>
                    <a:srgbClr val="0072C6"/>
                  </a:solidFill>
                  <a:latin typeface="Segoe UI Light"/>
                  <a:ea typeface="ＭＳ Ｐゴシック" charset="0"/>
                </a:rPr>
                <a:t>Compliance and reliability commitments</a:t>
              </a:r>
            </a:p>
          </p:txBody>
        </p:sp>
      </p:grpSp>
    </p:spTree>
    <p:extLst>
      <p:ext uri="{BB962C8B-B14F-4D97-AF65-F5344CB8AC3E}">
        <p14:creationId xmlns:p14="http://schemas.microsoft.com/office/powerpoint/2010/main" val="2046854426"/>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56"/>
                                        </p:tgtEl>
                                        <p:attrNameLst>
                                          <p:attrName>style.visibility</p:attrName>
                                        </p:attrNameLst>
                                      </p:cBhvr>
                                      <p:to>
                                        <p:strVal val="visible"/>
                                      </p:to>
                                    </p:set>
                                    <p:animEffect transition="in" filter="fade">
                                      <p:cBhvr>
                                        <p:cTn id="7" dur="500"/>
                                        <p:tgtEl>
                                          <p:spTgt spid="256"/>
                                        </p:tgtEl>
                                      </p:cBhvr>
                                    </p:animEffect>
                                  </p:childTnLst>
                                </p:cTn>
                              </p:par>
                              <p:par>
                                <p:cTn id="8" presetID="64" presetClass="path" presetSubtype="0" accel="50000" decel="50000" fill="hold" nodeType="withEffect">
                                  <p:stCondLst>
                                    <p:cond delay="0"/>
                                  </p:stCondLst>
                                  <p:childTnLst>
                                    <p:animMotion origin="layout" path="M 7.65892E-7 -1.46618E-6 L 7.65892E-7 -0.02792 " pathEditMode="relative" rAng="0" ptsTypes="AA">
                                      <p:cBhvr>
                                        <p:cTn id="9" dur="1000" spd="-100000" fill="hold"/>
                                        <p:tgtEl>
                                          <p:spTgt spid="256"/>
                                        </p:tgtEl>
                                        <p:attrNameLst>
                                          <p:attrName>ppt_x</p:attrName>
                                          <p:attrName>ppt_y</p:attrName>
                                        </p:attrNameLst>
                                      </p:cBhvr>
                                      <p:rCtr x="0" y="-1407"/>
                                    </p:animMotion>
                                  </p:childTnLst>
                                </p:cTn>
                              </p:par>
                              <p:par>
                                <p:cTn id="10" presetID="10" presetClass="entr" presetSubtype="0" fill="hold" nodeType="withEffect">
                                  <p:stCondLst>
                                    <p:cond delay="100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500"/>
                                        <p:tgtEl>
                                          <p:spTgt spid="61"/>
                                        </p:tgtEl>
                                      </p:cBhvr>
                                    </p:animEffect>
                                  </p:childTnLst>
                                </p:cTn>
                              </p:par>
                              <p:par>
                                <p:cTn id="13" presetID="64" presetClass="path" presetSubtype="0" accel="50000" decel="50000" fill="hold" nodeType="withEffect">
                                  <p:stCondLst>
                                    <p:cond delay="500"/>
                                  </p:stCondLst>
                                  <p:childTnLst>
                                    <p:animMotion origin="layout" path="M 7.65892E-7 -1.46618E-6 L 7.65892E-7 -0.02792 " pathEditMode="relative" rAng="0" ptsTypes="AA">
                                      <p:cBhvr>
                                        <p:cTn id="14" dur="1000" spd="-100000" fill="hold"/>
                                        <p:tgtEl>
                                          <p:spTgt spid="61"/>
                                        </p:tgtEl>
                                        <p:attrNameLst>
                                          <p:attrName>ppt_x</p:attrName>
                                          <p:attrName>ppt_y</p:attrName>
                                        </p:attrNameLst>
                                      </p:cBhvr>
                                      <p:rCtr x="0" y="-1407"/>
                                    </p:animMotion>
                                  </p:childTnLst>
                                </p:cTn>
                              </p:par>
                              <p:par>
                                <p:cTn id="15" presetID="10" presetClass="entr" presetSubtype="0" fill="hold" nodeType="withEffect">
                                  <p:stCondLst>
                                    <p:cond delay="150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par>
                                <p:cTn id="18" presetID="64" presetClass="path" presetSubtype="0" accel="50000" decel="50000" fill="hold" nodeType="withEffect">
                                  <p:stCondLst>
                                    <p:cond delay="1000"/>
                                  </p:stCondLst>
                                  <p:childTnLst>
                                    <p:animMotion origin="layout" path="M 7.65892E-7 -1.46618E-6 L 7.65892E-7 -0.02792 " pathEditMode="relative" rAng="0" ptsTypes="AA">
                                      <p:cBhvr>
                                        <p:cTn id="19" dur="1000" spd="-100000" fill="hold"/>
                                        <p:tgtEl>
                                          <p:spTgt spid="62"/>
                                        </p:tgtEl>
                                        <p:attrNameLst>
                                          <p:attrName>ppt_x</p:attrName>
                                          <p:attrName>ppt_y</p:attrName>
                                        </p:attrNameLst>
                                      </p:cBhvr>
                                      <p:rCtr x="0" y="-1407"/>
                                    </p:animMotion>
                                  </p:childTnLst>
                                </p:cTn>
                              </p:par>
                            </p:childTnLst>
                          </p:cTn>
                        </p:par>
                        <p:par>
                          <p:cTn id="20" fill="hold">
                            <p:stCondLst>
                              <p:cond delay="2000"/>
                            </p:stCondLst>
                            <p:childTnLst>
                              <p:par>
                                <p:cTn id="21" presetID="2" presetClass="entr" presetSubtype="4" decel="100000" fill="hold" nodeType="afterEffect">
                                  <p:stCondLst>
                                    <p:cond delay="0"/>
                                  </p:stCondLst>
                                  <p:childTnLst>
                                    <p:set>
                                      <p:cBhvr>
                                        <p:cTn id="22" dur="1" fill="hold">
                                          <p:stCondLst>
                                            <p:cond delay="0"/>
                                          </p:stCondLst>
                                        </p:cTn>
                                        <p:tgtEl>
                                          <p:spTgt spid="260"/>
                                        </p:tgtEl>
                                        <p:attrNameLst>
                                          <p:attrName>style.visibility</p:attrName>
                                        </p:attrNameLst>
                                      </p:cBhvr>
                                      <p:to>
                                        <p:strVal val="visible"/>
                                      </p:to>
                                    </p:set>
                                    <p:anim calcmode="lin" valueType="num">
                                      <p:cBhvr additive="base">
                                        <p:cTn id="23" dur="1000" fill="hold"/>
                                        <p:tgtEl>
                                          <p:spTgt spid="260"/>
                                        </p:tgtEl>
                                        <p:attrNameLst>
                                          <p:attrName>ppt_x</p:attrName>
                                        </p:attrNameLst>
                                      </p:cBhvr>
                                      <p:tavLst>
                                        <p:tav tm="0">
                                          <p:val>
                                            <p:strVal val="#ppt_x"/>
                                          </p:val>
                                        </p:tav>
                                        <p:tav tm="100000">
                                          <p:val>
                                            <p:strVal val="#ppt_x"/>
                                          </p:val>
                                        </p:tav>
                                      </p:tavLst>
                                    </p:anim>
                                    <p:anim calcmode="lin" valueType="num">
                                      <p:cBhvr additive="base">
                                        <p:cTn id="24" dur="1000" fill="hold"/>
                                        <p:tgtEl>
                                          <p:spTgt spid="260"/>
                                        </p:tgtEl>
                                        <p:attrNameLst>
                                          <p:attrName>ppt_y</p:attrName>
                                        </p:attrNameLst>
                                      </p:cBhvr>
                                      <p:tavLst>
                                        <p:tav tm="0">
                                          <p:val>
                                            <p:strVal val="1+#ppt_h/2"/>
                                          </p:val>
                                        </p:tav>
                                        <p:tav tm="100000">
                                          <p:val>
                                            <p:strVal val="#ppt_y"/>
                                          </p:val>
                                        </p:tav>
                                      </p:tavLst>
                                    </p:anim>
                                  </p:childTnLst>
                                </p:cTn>
                              </p:par>
                            </p:childTnLst>
                          </p:cTn>
                        </p:par>
                        <p:par>
                          <p:cTn id="25" fill="hold">
                            <p:stCondLst>
                              <p:cond delay="3000"/>
                            </p:stCondLst>
                            <p:childTnLst>
                              <p:par>
                                <p:cTn id="26" presetID="10" presetClass="entr" presetSubtype="0" fill="hold" nodeType="afterEffect">
                                  <p:stCondLst>
                                    <p:cond delay="0"/>
                                  </p:stCondLst>
                                  <p:childTnLst>
                                    <p:set>
                                      <p:cBhvr>
                                        <p:cTn id="27" dur="1" fill="hold">
                                          <p:stCondLst>
                                            <p:cond delay="0"/>
                                          </p:stCondLst>
                                        </p:cTn>
                                        <p:tgtEl>
                                          <p:spTgt spid="297"/>
                                        </p:tgtEl>
                                        <p:attrNameLst>
                                          <p:attrName>style.visibility</p:attrName>
                                        </p:attrNameLst>
                                      </p:cBhvr>
                                      <p:to>
                                        <p:strVal val="visible"/>
                                      </p:to>
                                    </p:set>
                                    <p:animEffect transition="in" filter="fade">
                                      <p:cBhvr>
                                        <p:cTn id="28" dur="500"/>
                                        <p:tgtEl>
                                          <p:spTgt spid="297"/>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wipe(left)">
                                      <p:cBhvr>
                                        <p:cTn id="31" dur="3000"/>
                                        <p:tgtEl>
                                          <p:spTgt spid="2"/>
                                        </p:tgtEl>
                                      </p:cBhvr>
                                    </p:animEffect>
                                  </p:childTnLst>
                                </p:cTn>
                              </p:par>
                              <p:par>
                                <p:cTn id="32" presetID="10" presetClass="entr" presetSubtype="0" fill="hold" nodeType="withEffect">
                                  <p:stCondLst>
                                    <p:cond delay="150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750"/>
                                        <p:tgtEl>
                                          <p:spTgt spid="5"/>
                                        </p:tgtEl>
                                      </p:cBhvr>
                                    </p:animEffect>
                                  </p:childTnLst>
                                </p:cTn>
                              </p:par>
                              <p:par>
                                <p:cTn id="35" presetID="35" presetClass="path" presetSubtype="0" accel="50000" decel="50000" fill="hold" nodeType="withEffect">
                                  <p:stCondLst>
                                    <p:cond delay="1000"/>
                                  </p:stCondLst>
                                  <p:childTnLst>
                                    <p:animMotion origin="layout" path="M 3.40822E-6 -2.2424E-6 L -0.09612 -2.2424E-6 " pathEditMode="relative" rAng="0" ptsTypes="AA">
                                      <p:cBhvr>
                                        <p:cTn id="36" dur="1250" spd="-100000" fill="hold"/>
                                        <p:tgtEl>
                                          <p:spTgt spid="5"/>
                                        </p:tgtEl>
                                        <p:attrNameLst>
                                          <p:attrName>ppt_x</p:attrName>
                                          <p:attrName>ppt_y</p:attrName>
                                        </p:attrNameLst>
                                      </p:cBhvr>
                                      <p:rCtr x="-4800" y="0"/>
                                    </p:animMotion>
                                  </p:childTnLst>
                                </p:cTn>
                              </p:par>
                              <p:par>
                                <p:cTn id="37" presetID="10" presetClass="entr" presetSubtype="0" fill="hold" nodeType="withEffect">
                                  <p:stCondLst>
                                    <p:cond delay="175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750"/>
                                        <p:tgtEl>
                                          <p:spTgt spid="57"/>
                                        </p:tgtEl>
                                      </p:cBhvr>
                                    </p:animEffect>
                                  </p:childTnLst>
                                </p:cTn>
                              </p:par>
                              <p:par>
                                <p:cTn id="40" presetID="35" presetClass="path" presetSubtype="0" accel="50000" decel="50000" fill="hold" nodeType="withEffect">
                                  <p:stCondLst>
                                    <p:cond delay="1250"/>
                                  </p:stCondLst>
                                  <p:childTnLst>
                                    <p:animMotion origin="layout" path="M 3.40822E-6 -2.2424E-6 L -0.09612 -2.2424E-6 " pathEditMode="relative" rAng="0" ptsTypes="AA">
                                      <p:cBhvr>
                                        <p:cTn id="41" dur="1250" spd="-100000" fill="hold"/>
                                        <p:tgtEl>
                                          <p:spTgt spid="57"/>
                                        </p:tgtEl>
                                        <p:attrNameLst>
                                          <p:attrName>ppt_x</p:attrName>
                                          <p:attrName>ppt_y</p:attrName>
                                        </p:attrNameLst>
                                      </p:cBhvr>
                                      <p:rCtr x="-4800" y="0"/>
                                    </p:animMotion>
                                  </p:childTnLst>
                                </p:cTn>
                              </p:par>
                              <p:par>
                                <p:cTn id="42" presetID="10" presetClass="entr" presetSubtype="0" fill="hold" nodeType="withEffect">
                                  <p:stCondLst>
                                    <p:cond delay="2000"/>
                                  </p:stCondLst>
                                  <p:childTnLst>
                                    <p:set>
                                      <p:cBhvr>
                                        <p:cTn id="43" dur="1" fill="hold">
                                          <p:stCondLst>
                                            <p:cond delay="0"/>
                                          </p:stCondLst>
                                        </p:cTn>
                                        <p:tgtEl>
                                          <p:spTgt spid="58"/>
                                        </p:tgtEl>
                                        <p:attrNameLst>
                                          <p:attrName>style.visibility</p:attrName>
                                        </p:attrNameLst>
                                      </p:cBhvr>
                                      <p:to>
                                        <p:strVal val="visible"/>
                                      </p:to>
                                    </p:set>
                                    <p:animEffect transition="in" filter="fade">
                                      <p:cBhvr>
                                        <p:cTn id="44" dur="750"/>
                                        <p:tgtEl>
                                          <p:spTgt spid="58"/>
                                        </p:tgtEl>
                                      </p:cBhvr>
                                    </p:animEffect>
                                  </p:childTnLst>
                                </p:cTn>
                              </p:par>
                              <p:par>
                                <p:cTn id="45" presetID="35" presetClass="path" presetSubtype="0" accel="50000" decel="50000" fill="hold" nodeType="withEffect">
                                  <p:stCondLst>
                                    <p:cond delay="1500"/>
                                  </p:stCondLst>
                                  <p:childTnLst>
                                    <p:animMotion origin="layout" path="M 3.40822E-6 -2.2424E-6 L -0.09612 -2.2424E-6 " pathEditMode="relative" rAng="0" ptsTypes="AA">
                                      <p:cBhvr>
                                        <p:cTn id="46" dur="1250" spd="-100000" fill="hold"/>
                                        <p:tgtEl>
                                          <p:spTgt spid="58"/>
                                        </p:tgtEl>
                                        <p:attrNameLst>
                                          <p:attrName>ppt_x</p:attrName>
                                          <p:attrName>ppt_y</p:attrName>
                                        </p:attrNameLst>
                                      </p:cBhvr>
                                      <p:rCtr x="-4800" y="0"/>
                                    </p:animMotion>
                                  </p:childTnLst>
                                </p:cTn>
                              </p:par>
                              <p:par>
                                <p:cTn id="47" presetID="10" presetClass="entr" presetSubtype="0" fill="hold" nodeType="withEffect">
                                  <p:stCondLst>
                                    <p:cond delay="225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750"/>
                                        <p:tgtEl>
                                          <p:spTgt spid="60"/>
                                        </p:tgtEl>
                                      </p:cBhvr>
                                    </p:animEffect>
                                  </p:childTnLst>
                                </p:cTn>
                              </p:par>
                              <p:par>
                                <p:cTn id="50" presetID="35" presetClass="path" presetSubtype="0" accel="50000" decel="50000" fill="hold" nodeType="withEffect">
                                  <p:stCondLst>
                                    <p:cond delay="1750"/>
                                  </p:stCondLst>
                                  <p:childTnLst>
                                    <p:animMotion origin="layout" path="M 3.40822E-6 -2.2424E-6 L -0.09612 -2.2424E-6 " pathEditMode="relative" rAng="0" ptsTypes="AA">
                                      <p:cBhvr>
                                        <p:cTn id="51" dur="1250" spd="-100000" fill="hold"/>
                                        <p:tgtEl>
                                          <p:spTgt spid="60"/>
                                        </p:tgtEl>
                                        <p:attrNameLst>
                                          <p:attrName>ppt_x</p:attrName>
                                          <p:attrName>ppt_y</p:attrName>
                                        </p:attrNameLst>
                                      </p:cBhvr>
                                      <p:rCtr x="-48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 y="175"/>
            <a:ext cx="12191377" cy="6857650"/>
          </a:xfrm>
          <a:prstGeom prst="rect">
            <a:avLst/>
          </a:prstGeom>
        </p:spPr>
      </p:pic>
      <p:sp>
        <p:nvSpPr>
          <p:cNvPr id="3" name="Rectangle 2"/>
          <p:cNvSpPr/>
          <p:nvPr/>
        </p:nvSpPr>
        <p:spPr bwMode="auto">
          <a:xfrm>
            <a:off x="1" y="487"/>
            <a:ext cx="5647788" cy="685765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1" y="289958"/>
            <a:ext cx="5826761" cy="1630085"/>
          </a:xfrm>
        </p:spPr>
        <p:txBody>
          <a:bodyPr/>
          <a:lstStyle/>
          <a:p>
            <a:r>
              <a:rPr lang="en-US" dirty="0" smtClean="0">
                <a:solidFill>
                  <a:schemeClr val="bg1"/>
                </a:solidFill>
              </a:rPr>
              <a:t>People-centered experiences</a:t>
            </a:r>
            <a:endParaRPr lang="en-US" dirty="0">
              <a:solidFill>
                <a:schemeClr val="bg1"/>
              </a:solidFill>
            </a:endParaRPr>
          </a:p>
        </p:txBody>
      </p:sp>
      <p:sp>
        <p:nvSpPr>
          <p:cNvPr id="42" name="TextBox 41"/>
          <p:cNvSpPr txBox="1"/>
          <p:nvPr/>
        </p:nvSpPr>
        <p:spPr>
          <a:xfrm>
            <a:off x="269240" y="1920043"/>
            <a:ext cx="4631527" cy="942272"/>
          </a:xfrm>
          <a:prstGeom prst="rect">
            <a:avLst/>
          </a:prstGeom>
          <a:noFill/>
          <a:ln>
            <a:noFill/>
          </a:ln>
        </p:spPr>
        <p:txBody>
          <a:bodyPr wrap="square" lIns="179285" tIns="134464" rIns="179285" bIns="45699" rtlCol="0">
            <a:spAutoFit/>
          </a:bodyPr>
          <a:lstStyle/>
          <a:p>
            <a:pPr defTabSz="1218427" fontAlgn="base">
              <a:lnSpc>
                <a:spcPct val="90000"/>
              </a:lnSpc>
              <a:spcBef>
                <a:spcPct val="0"/>
              </a:spcBef>
              <a:spcAft>
                <a:spcPct val="0"/>
              </a:spcAft>
            </a:pPr>
            <a:r>
              <a:rPr lang="en-US" sz="2745" dirty="0">
                <a:solidFill>
                  <a:srgbClr val="FFFFFF"/>
                </a:solidFill>
                <a:latin typeface="Segoe UI Light"/>
                <a:ea typeface="ＭＳ Ｐゴシック" charset="0"/>
              </a:rPr>
              <a:t>Experiences employees want with the control IT needs</a:t>
            </a:r>
          </a:p>
        </p:txBody>
      </p:sp>
      <p:grpSp>
        <p:nvGrpSpPr>
          <p:cNvPr id="5" name="Group 4"/>
          <p:cNvGrpSpPr/>
          <p:nvPr/>
        </p:nvGrpSpPr>
        <p:grpSpPr>
          <a:xfrm>
            <a:off x="447435" y="3208364"/>
            <a:ext cx="3407504" cy="683529"/>
            <a:chOff x="456406" y="3517650"/>
            <a:chExt cx="3132092" cy="697235"/>
          </a:xfrm>
        </p:grpSpPr>
        <p:sp>
          <p:nvSpPr>
            <p:cNvPr id="43" name="TextBox 42"/>
            <p:cNvSpPr txBox="1"/>
            <p:nvPr/>
          </p:nvSpPr>
          <p:spPr>
            <a:xfrm>
              <a:off x="768588" y="3517650"/>
              <a:ext cx="2819910" cy="697235"/>
            </a:xfrm>
            <a:prstGeom prst="rect">
              <a:avLst/>
            </a:prstGeom>
            <a:noFill/>
            <a:ln>
              <a:noFill/>
            </a:ln>
          </p:spPr>
          <p:txBody>
            <a:bodyPr wrap="square" lIns="91395" tIns="45699" rIns="91395" bIns="45699" rtlCol="0">
              <a:spAutoFit/>
            </a:bodyPr>
            <a:lstStyle/>
            <a:p>
              <a:pPr defTabSz="1218427" fontAlgn="base">
                <a:lnSpc>
                  <a:spcPct val="90000"/>
                </a:lnSpc>
                <a:spcBef>
                  <a:spcPct val="0"/>
                </a:spcBef>
                <a:spcAft>
                  <a:spcPts val="588"/>
                </a:spcAft>
              </a:pPr>
              <a:r>
                <a:rPr lang="en-US" sz="2157" dirty="0">
                  <a:solidFill>
                    <a:srgbClr val="FFFFFF"/>
                  </a:solidFill>
                  <a:latin typeface="Segoe UI Light"/>
                  <a:ea typeface="ＭＳ Ｐゴシック" charset="0"/>
                </a:rPr>
                <a:t>Extend IT impact </a:t>
              </a:r>
              <a:br>
                <a:rPr lang="en-US" sz="2157" dirty="0">
                  <a:solidFill>
                    <a:srgbClr val="FFFFFF"/>
                  </a:solidFill>
                  <a:latin typeface="Segoe UI Light"/>
                  <a:ea typeface="ＭＳ Ｐゴシック" charset="0"/>
                </a:rPr>
              </a:br>
              <a:r>
                <a:rPr lang="en-US" sz="2157" dirty="0">
                  <a:solidFill>
                    <a:srgbClr val="FFFFFF"/>
                  </a:solidFill>
                  <a:latin typeface="Segoe UI Light"/>
                  <a:ea typeface="ＭＳ Ｐゴシック" charset="0"/>
                </a:rPr>
                <a:t>with cloud capabilities</a:t>
              </a:r>
            </a:p>
          </p:txBody>
        </p:sp>
        <p:sp>
          <p:nvSpPr>
            <p:cNvPr id="44" name="Freeform 101"/>
            <p:cNvSpPr>
              <a:spLocks/>
            </p:cNvSpPr>
            <p:nvPr/>
          </p:nvSpPr>
          <p:spPr bwMode="black">
            <a:xfrm rot="10800000">
              <a:off x="456406" y="3603178"/>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2157" kern="0">
                <a:solidFill>
                  <a:srgbClr val="FFFFFF"/>
                </a:solidFill>
                <a:latin typeface="Segoe UI Light"/>
                <a:ea typeface="ＭＳ Ｐゴシック" charset="0"/>
              </a:endParaRPr>
            </a:p>
          </p:txBody>
        </p:sp>
      </p:grpSp>
      <p:grpSp>
        <p:nvGrpSpPr>
          <p:cNvPr id="4" name="Group 3"/>
          <p:cNvGrpSpPr/>
          <p:nvPr/>
        </p:nvGrpSpPr>
        <p:grpSpPr>
          <a:xfrm>
            <a:off x="447435" y="4249512"/>
            <a:ext cx="3407504" cy="689708"/>
            <a:chOff x="456406" y="4088804"/>
            <a:chExt cx="3132092" cy="703538"/>
          </a:xfrm>
        </p:grpSpPr>
        <p:sp>
          <p:nvSpPr>
            <p:cNvPr id="45" name="TextBox 44"/>
            <p:cNvSpPr txBox="1"/>
            <p:nvPr/>
          </p:nvSpPr>
          <p:spPr>
            <a:xfrm>
              <a:off x="768588" y="4088804"/>
              <a:ext cx="2819910" cy="703538"/>
            </a:xfrm>
            <a:prstGeom prst="rect">
              <a:avLst/>
            </a:prstGeom>
            <a:noFill/>
            <a:ln>
              <a:noFill/>
            </a:ln>
          </p:spPr>
          <p:txBody>
            <a:bodyPr wrap="square" lIns="91395" tIns="45699" rIns="91395" bIns="45699" rtlCol="0">
              <a:spAutoFit/>
            </a:bodyPr>
            <a:lstStyle/>
            <a:p>
              <a:pPr defTabSz="1218427" fontAlgn="base">
                <a:lnSpc>
                  <a:spcPct val="90000"/>
                </a:lnSpc>
                <a:spcBef>
                  <a:spcPct val="0"/>
                </a:spcBef>
                <a:spcAft>
                  <a:spcPts val="588"/>
                </a:spcAft>
              </a:pPr>
              <a:r>
                <a:rPr lang="en-US" sz="2157" dirty="0">
                  <a:solidFill>
                    <a:srgbClr val="FFFFFF"/>
                  </a:solidFill>
                  <a:latin typeface="Segoe UI Light"/>
                  <a:ea typeface="ＭＳ Ｐゴシック" charset="0"/>
                </a:rPr>
                <a:t>Develop apps faster, deploy everywhere</a:t>
              </a:r>
            </a:p>
          </p:txBody>
        </p:sp>
        <p:sp>
          <p:nvSpPr>
            <p:cNvPr id="46" name="Freeform 101"/>
            <p:cNvSpPr>
              <a:spLocks/>
            </p:cNvSpPr>
            <p:nvPr/>
          </p:nvSpPr>
          <p:spPr bwMode="black">
            <a:xfrm rot="10800000">
              <a:off x="456406" y="4174332"/>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2157" kern="0">
                <a:solidFill>
                  <a:srgbClr val="FFFFFF"/>
                </a:solidFill>
                <a:latin typeface="Segoe UI Light"/>
                <a:ea typeface="ＭＳ Ｐゴシック" charset="0"/>
              </a:endParaRPr>
            </a:p>
          </p:txBody>
        </p:sp>
      </p:grpSp>
      <p:grpSp>
        <p:nvGrpSpPr>
          <p:cNvPr id="48" name="Group 47"/>
          <p:cNvGrpSpPr/>
          <p:nvPr/>
        </p:nvGrpSpPr>
        <p:grpSpPr>
          <a:xfrm>
            <a:off x="447435" y="5254252"/>
            <a:ext cx="3407504" cy="689708"/>
            <a:chOff x="456406" y="4088804"/>
            <a:chExt cx="3132092" cy="703538"/>
          </a:xfrm>
        </p:grpSpPr>
        <p:sp>
          <p:nvSpPr>
            <p:cNvPr id="49" name="TextBox 48"/>
            <p:cNvSpPr txBox="1"/>
            <p:nvPr/>
          </p:nvSpPr>
          <p:spPr>
            <a:xfrm>
              <a:off x="768588" y="4088804"/>
              <a:ext cx="2819910" cy="703538"/>
            </a:xfrm>
            <a:prstGeom prst="rect">
              <a:avLst/>
            </a:prstGeom>
            <a:noFill/>
            <a:ln>
              <a:noFill/>
            </a:ln>
          </p:spPr>
          <p:txBody>
            <a:bodyPr wrap="square" lIns="91395" tIns="45699" rIns="91395" bIns="45699" rtlCol="0">
              <a:spAutoFit/>
            </a:bodyPr>
            <a:lstStyle/>
            <a:p>
              <a:pPr defTabSz="1218427" fontAlgn="base">
                <a:lnSpc>
                  <a:spcPct val="90000"/>
                </a:lnSpc>
                <a:spcBef>
                  <a:spcPct val="0"/>
                </a:spcBef>
                <a:spcAft>
                  <a:spcPts val="588"/>
                </a:spcAft>
              </a:pPr>
              <a:r>
                <a:rPr lang="en-US" sz="2157" dirty="0">
                  <a:solidFill>
                    <a:srgbClr val="FFFFFF"/>
                  </a:solidFill>
                  <a:latin typeface="Segoe UI Light"/>
                  <a:ea typeface="ＭＳ Ｐゴシック" charset="0"/>
                </a:rPr>
                <a:t>Increase employee productivity and access</a:t>
              </a:r>
            </a:p>
          </p:txBody>
        </p:sp>
        <p:sp>
          <p:nvSpPr>
            <p:cNvPr id="50" name="Freeform 101"/>
            <p:cNvSpPr>
              <a:spLocks/>
            </p:cNvSpPr>
            <p:nvPr/>
          </p:nvSpPr>
          <p:spPr bwMode="black">
            <a:xfrm rot="10800000">
              <a:off x="456406" y="4174332"/>
              <a:ext cx="130414" cy="1956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214" fontAlgn="base">
                <a:spcBef>
                  <a:spcPct val="0"/>
                </a:spcBef>
                <a:spcAft>
                  <a:spcPct val="0"/>
                </a:spcAft>
                <a:defRPr/>
              </a:pPr>
              <a:endParaRPr lang="en-US" sz="2157" kern="0">
                <a:solidFill>
                  <a:srgbClr val="FFFFFF"/>
                </a:solidFill>
                <a:latin typeface="Segoe UI Light"/>
                <a:ea typeface="ＭＳ Ｐゴシック" charset="0"/>
              </a:endParaRPr>
            </a:p>
          </p:txBody>
        </p:sp>
      </p:grpSp>
    </p:spTree>
    <p:extLst>
      <p:ext uri="{BB962C8B-B14F-4D97-AF65-F5344CB8AC3E}">
        <p14:creationId xmlns:p14="http://schemas.microsoft.com/office/powerpoint/2010/main" val="302069413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35" presetClass="path" presetSubtype="0" accel="50000" decel="50000" fill="hold" grpId="1" nodeType="withEffect">
                                  <p:stCondLst>
                                    <p:cond delay="0"/>
                                  </p:stCondLst>
                                  <p:childTnLst>
                                    <p:animMotion origin="layout" path="M 4.14348E-6 -6.8089E-8 L -0.09612 -6.8089E-8 " pathEditMode="relative" rAng="0" ptsTypes="AA">
                                      <p:cBhvr>
                                        <p:cTn id="9" dur="1250" spd="-100000" fill="hold"/>
                                        <p:tgtEl>
                                          <p:spTgt spid="3"/>
                                        </p:tgtEl>
                                        <p:attrNameLst>
                                          <p:attrName>ppt_x</p:attrName>
                                          <p:attrName>ppt_y</p:attrName>
                                        </p:attrNameLst>
                                      </p:cBhvr>
                                      <p:rCtr x="-4812" y="0"/>
                                    </p:animMotion>
                                  </p:childTnLst>
                                </p:cTn>
                              </p:par>
                              <p:par>
                                <p:cTn id="10" presetID="10" presetClass="entr" presetSubtype="0" fill="hold" grpId="0" nodeType="withEffect">
                                  <p:stCondLst>
                                    <p:cond delay="10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750"/>
                                        <p:tgtEl>
                                          <p:spTgt spid="2"/>
                                        </p:tgtEl>
                                      </p:cBhvr>
                                    </p:animEffect>
                                  </p:childTnLst>
                                </p:cTn>
                              </p:par>
                              <p:par>
                                <p:cTn id="13" presetID="35" presetClass="path" presetSubtype="0" accel="50000" decel="50000" fill="hold" grpId="1" nodeType="withEffect">
                                  <p:stCondLst>
                                    <p:cond delay="500"/>
                                  </p:stCondLst>
                                  <p:childTnLst>
                                    <p:animMotion origin="layout" path="M 4.14348E-6 -6.8089E-8 L -0.09612 -6.8089E-8 " pathEditMode="relative" rAng="0" ptsTypes="AA">
                                      <p:cBhvr>
                                        <p:cTn id="14" dur="1250" spd="-100000" fill="hold"/>
                                        <p:tgtEl>
                                          <p:spTgt spid="2"/>
                                        </p:tgtEl>
                                        <p:attrNameLst>
                                          <p:attrName>ppt_x</p:attrName>
                                          <p:attrName>ppt_y</p:attrName>
                                        </p:attrNameLst>
                                      </p:cBhvr>
                                      <p:rCtr x="-4812" y="0"/>
                                    </p:animMotion>
                                  </p:childTnLst>
                                </p:cTn>
                              </p:par>
                            </p:childTnLst>
                          </p:cTn>
                        </p:par>
                        <p:par>
                          <p:cTn id="15" fill="hold">
                            <p:stCondLst>
                              <p:cond delay="1750"/>
                            </p:stCondLst>
                            <p:childTnLst>
                              <p:par>
                                <p:cTn id="16" presetID="10" presetClass="entr" presetSubtype="0" fill="hold" grpId="0" nodeType="afterEffect">
                                  <p:stCondLst>
                                    <p:cond delay="0"/>
                                  </p:stCondLst>
                                  <p:childTnLst>
                                    <p:set>
                                      <p:cBhvr>
                                        <p:cTn id="17" dur="1" fill="hold">
                                          <p:stCondLst>
                                            <p:cond delay="0"/>
                                          </p:stCondLst>
                                        </p:cTn>
                                        <p:tgtEl>
                                          <p:spTgt spid="42"/>
                                        </p:tgtEl>
                                        <p:attrNameLst>
                                          <p:attrName>style.visibility</p:attrName>
                                        </p:attrNameLst>
                                      </p:cBhvr>
                                      <p:to>
                                        <p:strVal val="visible"/>
                                      </p:to>
                                    </p:set>
                                    <p:animEffect transition="in" filter="fade">
                                      <p:cBhvr>
                                        <p:cTn id="18" dur="750"/>
                                        <p:tgtEl>
                                          <p:spTgt spid="42"/>
                                        </p:tgtEl>
                                      </p:cBhvr>
                                    </p:animEffect>
                                  </p:childTnLst>
                                </p:cTn>
                              </p:par>
                              <p:par>
                                <p:cTn id="19" presetID="2" presetClass="entr" presetSubtype="8" decel="100000" fill="hold" nodeType="withEffect">
                                  <p:stCondLst>
                                    <p:cond delay="25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750" fill="hold"/>
                                        <p:tgtEl>
                                          <p:spTgt spid="5"/>
                                        </p:tgtEl>
                                        <p:attrNameLst>
                                          <p:attrName>ppt_x</p:attrName>
                                        </p:attrNameLst>
                                      </p:cBhvr>
                                      <p:tavLst>
                                        <p:tav tm="0">
                                          <p:val>
                                            <p:strVal val="0-#ppt_w/2"/>
                                          </p:val>
                                        </p:tav>
                                        <p:tav tm="100000">
                                          <p:val>
                                            <p:strVal val="#ppt_x"/>
                                          </p:val>
                                        </p:tav>
                                      </p:tavLst>
                                    </p:anim>
                                    <p:anim calcmode="lin" valueType="num">
                                      <p:cBhvr additive="base">
                                        <p:cTn id="22" dur="750" fill="hold"/>
                                        <p:tgtEl>
                                          <p:spTgt spid="5"/>
                                        </p:tgtEl>
                                        <p:attrNameLst>
                                          <p:attrName>ppt_y</p:attrName>
                                        </p:attrNameLst>
                                      </p:cBhvr>
                                      <p:tavLst>
                                        <p:tav tm="0">
                                          <p:val>
                                            <p:strVal val="#ppt_y"/>
                                          </p:val>
                                        </p:tav>
                                        <p:tav tm="100000">
                                          <p:val>
                                            <p:strVal val="#ppt_y"/>
                                          </p:val>
                                        </p:tav>
                                      </p:tavLst>
                                    </p:anim>
                                  </p:childTnLst>
                                </p:cTn>
                              </p:par>
                              <p:par>
                                <p:cTn id="23" presetID="2" presetClass="entr" presetSubtype="8" decel="100000" fill="hold" nodeType="withEffect">
                                  <p:stCondLst>
                                    <p:cond delay="50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750" fill="hold"/>
                                        <p:tgtEl>
                                          <p:spTgt spid="4"/>
                                        </p:tgtEl>
                                        <p:attrNameLst>
                                          <p:attrName>ppt_x</p:attrName>
                                        </p:attrNameLst>
                                      </p:cBhvr>
                                      <p:tavLst>
                                        <p:tav tm="0">
                                          <p:val>
                                            <p:strVal val="0-#ppt_w/2"/>
                                          </p:val>
                                        </p:tav>
                                        <p:tav tm="100000">
                                          <p:val>
                                            <p:strVal val="#ppt_x"/>
                                          </p:val>
                                        </p:tav>
                                      </p:tavLst>
                                    </p:anim>
                                    <p:anim calcmode="lin" valueType="num">
                                      <p:cBhvr additive="base">
                                        <p:cTn id="26" dur="75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8" decel="100000" fill="hold" nodeType="withEffect">
                                  <p:stCondLst>
                                    <p:cond delay="750"/>
                                  </p:stCondLst>
                                  <p:childTnLst>
                                    <p:set>
                                      <p:cBhvr>
                                        <p:cTn id="28" dur="1" fill="hold">
                                          <p:stCondLst>
                                            <p:cond delay="0"/>
                                          </p:stCondLst>
                                        </p:cTn>
                                        <p:tgtEl>
                                          <p:spTgt spid="48"/>
                                        </p:tgtEl>
                                        <p:attrNameLst>
                                          <p:attrName>style.visibility</p:attrName>
                                        </p:attrNameLst>
                                      </p:cBhvr>
                                      <p:to>
                                        <p:strVal val="visible"/>
                                      </p:to>
                                    </p:set>
                                    <p:anim calcmode="lin" valueType="num">
                                      <p:cBhvr additive="base">
                                        <p:cTn id="29" dur="750" fill="hold"/>
                                        <p:tgtEl>
                                          <p:spTgt spid="48"/>
                                        </p:tgtEl>
                                        <p:attrNameLst>
                                          <p:attrName>ppt_x</p:attrName>
                                        </p:attrNameLst>
                                      </p:cBhvr>
                                      <p:tavLst>
                                        <p:tav tm="0">
                                          <p:val>
                                            <p:strVal val="0-#ppt_w/2"/>
                                          </p:val>
                                        </p:tav>
                                        <p:tav tm="100000">
                                          <p:val>
                                            <p:strVal val="#ppt_x"/>
                                          </p:val>
                                        </p:tav>
                                      </p:tavLst>
                                    </p:anim>
                                    <p:anim calcmode="lin" valueType="num">
                                      <p:cBhvr additive="base">
                                        <p:cTn id="30" dur="750" fill="hold"/>
                                        <p:tgtEl>
                                          <p:spTgt spid="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2" grpId="0"/>
      <p:bldP spid="2" grpId="1"/>
      <p:bldP spid="42"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5021631"/>
          </a:xfrm>
        </p:spPr>
        <p:txBody>
          <a:bodyPr/>
          <a:lstStyle/>
          <a:p>
            <a:pPr marL="0" indent="0">
              <a:buNone/>
              <a:tabLst>
                <a:tab pos="6551713" algn="l"/>
              </a:tabLst>
            </a:pPr>
            <a:r>
              <a:rPr lang="en-US" sz="2353" b="1" dirty="0"/>
              <a:t>About this </a:t>
            </a:r>
            <a:r>
              <a:rPr lang="en-US" sz="2353" b="1" dirty="0"/>
              <a:t>presentation -  </a:t>
            </a:r>
            <a:r>
              <a:rPr lang="en-US" sz="1372" b="1" dirty="0"/>
              <a:t>Version 3.1 | 8.27.14</a:t>
            </a:r>
            <a:endParaRPr lang="en-US" sz="1372" b="1" dirty="0"/>
          </a:p>
          <a:p>
            <a:pPr>
              <a:spcBef>
                <a:spcPts val="784"/>
              </a:spcBef>
            </a:pPr>
            <a:r>
              <a:rPr lang="en-US" sz="1765" dirty="0"/>
              <a:t>Immersion is a forum for guided, open conversations regarding products and solutions coming from </a:t>
            </a:r>
            <a:br>
              <a:rPr lang="en-US" sz="1765" dirty="0"/>
            </a:br>
            <a:r>
              <a:rPr lang="en-US" sz="1765" dirty="0"/>
              <a:t>the </a:t>
            </a:r>
            <a:r>
              <a:rPr lang="en-US" sz="1765" dirty="0" smtClean="0"/>
              <a:t>Cloud + Enterprise Business </a:t>
            </a:r>
            <a:r>
              <a:rPr lang="en-US" sz="1765" dirty="0"/>
              <a:t>of Microsoft. </a:t>
            </a:r>
            <a:r>
              <a:rPr lang="en-US" sz="1765" dirty="0"/>
              <a:t>Immersion will support all of the Microsoft Cloud Platform pillars with three levels of content (L100, L200, L300)  The </a:t>
            </a:r>
            <a:r>
              <a:rPr lang="en-US" sz="1765" dirty="0"/>
              <a:t>Immersion that you are presenting today supports the Microsoft Cloud Platform pillar “TRANSFORM THE DATACENTER”.   </a:t>
            </a:r>
          </a:p>
          <a:p>
            <a:pPr>
              <a:spcBef>
                <a:spcPts val="784"/>
              </a:spcBef>
            </a:pPr>
            <a:r>
              <a:rPr lang="en-US" sz="1765" dirty="0"/>
              <a:t>You have the option to present the three modules of content either all together, or you can divide your presentations over time. </a:t>
            </a:r>
            <a:r>
              <a:rPr lang="en-US" sz="1765" dirty="0"/>
              <a:t>We do suggest that you lead with Envision, and follow with </a:t>
            </a:r>
            <a:r>
              <a:rPr lang="en-US" sz="1765" dirty="0" smtClean="0"/>
              <a:t>Evolve and </a:t>
            </a:r>
            <a:r>
              <a:rPr lang="en-US" sz="1765" dirty="0"/>
              <a:t>Experience. </a:t>
            </a:r>
          </a:p>
          <a:p>
            <a:pPr>
              <a:spcBef>
                <a:spcPts val="784"/>
              </a:spcBef>
            </a:pPr>
            <a:r>
              <a:rPr lang="en-US" sz="1765" dirty="0"/>
              <a:t>Ensure that when you are presenting that your attendees/customers are engaged. The slides are here to help you uncover “what” your customer is interested in learning about.  </a:t>
            </a:r>
          </a:p>
          <a:p>
            <a:pPr>
              <a:spcBef>
                <a:spcPts val="784"/>
              </a:spcBef>
            </a:pPr>
            <a:r>
              <a:rPr lang="en-US" sz="1765" dirty="0"/>
              <a:t>Let your attendees talk and discuss! You can find out the most interesting information about their business needs and challenges when you let them tell you. </a:t>
            </a:r>
          </a:p>
          <a:p>
            <a:pPr marL="0" indent="0">
              <a:spcBef>
                <a:spcPts val="1176"/>
              </a:spcBef>
              <a:buNone/>
            </a:pPr>
            <a:r>
              <a:rPr lang="en-US" sz="2353" b="1" dirty="0"/>
              <a:t>Location of demos and scripts</a:t>
            </a:r>
          </a:p>
          <a:p>
            <a:pPr>
              <a:spcBef>
                <a:spcPts val="784"/>
              </a:spcBef>
            </a:pPr>
            <a:r>
              <a:rPr lang="en-US" sz="1765" dirty="0"/>
              <a:t>All </a:t>
            </a:r>
            <a:r>
              <a:rPr lang="en-US" sz="1765" dirty="0"/>
              <a:t>click through demos </a:t>
            </a:r>
            <a:r>
              <a:rPr lang="en-US" sz="1765" dirty="0"/>
              <a:t>can be accessed on </a:t>
            </a:r>
            <a:r>
              <a:rPr lang="en-US" sz="1765" dirty="0">
                <a:hlinkClick r:id="rId3"/>
              </a:rPr>
              <a:t>http://</a:t>
            </a:r>
            <a:r>
              <a:rPr lang="en-US" sz="1765" dirty="0">
                <a:hlinkClick r:id="rId3"/>
              </a:rPr>
              <a:t>immersion</a:t>
            </a:r>
            <a:r>
              <a:rPr lang="en-US" sz="1765" dirty="0"/>
              <a:t>.</a:t>
            </a:r>
            <a:endParaRPr lang="en-US" sz="1765" dirty="0"/>
          </a:p>
          <a:p>
            <a:pPr lvl="1">
              <a:spcBef>
                <a:spcPts val="784"/>
              </a:spcBef>
            </a:pPr>
            <a:r>
              <a:rPr lang="en-US" sz="1372" dirty="0"/>
              <a:t>Partners can access Immersion content by visiting the PSP site:  </a:t>
            </a:r>
            <a:r>
              <a:rPr lang="en-US" sz="1372" dirty="0">
                <a:hlinkClick r:id="rId4"/>
              </a:rPr>
              <a:t>www.MicrosoftPartnerandCloud.com</a:t>
            </a:r>
            <a:r>
              <a:rPr lang="en-US" sz="1372" dirty="0"/>
              <a:t> (User </a:t>
            </a:r>
            <a:r>
              <a:rPr lang="en-US" sz="1372" dirty="0"/>
              <a:t>Name and Password = </a:t>
            </a:r>
            <a:r>
              <a:rPr lang="en-US" sz="1372" dirty="0"/>
              <a:t>immersion)</a:t>
            </a:r>
            <a:endParaRPr lang="en-US" sz="1372" dirty="0"/>
          </a:p>
          <a:p>
            <a:pPr marL="0" indent="0">
              <a:spcBef>
                <a:spcPts val="784"/>
              </a:spcBef>
              <a:buNone/>
            </a:pPr>
            <a:endParaRPr lang="en-US" sz="1765" dirty="0"/>
          </a:p>
        </p:txBody>
      </p:sp>
      <p:sp>
        <p:nvSpPr>
          <p:cNvPr id="6" name="Text Placeholder 5"/>
          <p:cNvSpPr>
            <a:spLocks noGrp="1"/>
          </p:cNvSpPr>
          <p:nvPr>
            <p:ph type="body" sz="quarter" idx="11"/>
          </p:nvPr>
        </p:nvSpPr>
        <p:spPr/>
        <p:txBody>
          <a:bodyPr/>
          <a:lstStyle/>
          <a:p>
            <a:endParaRPr lang="en-US" dirty="0"/>
          </a:p>
        </p:txBody>
      </p:sp>
      <p:sp>
        <p:nvSpPr>
          <p:cNvPr id="2" name="Title 1"/>
          <p:cNvSpPr>
            <a:spLocks noGrp="1"/>
          </p:cNvSpPr>
          <p:nvPr>
            <p:ph type="title"/>
          </p:nvPr>
        </p:nvSpPr>
        <p:spPr/>
        <p:txBody>
          <a:bodyPr/>
          <a:lstStyle/>
          <a:p>
            <a:r>
              <a:rPr lang="en-US" smtClean="0"/>
              <a:t>Presenter Instructions | Do NOT show</a:t>
            </a:r>
            <a:endParaRPr lang="en-US" dirty="0"/>
          </a:p>
        </p:txBody>
      </p:sp>
      <p:sp>
        <p:nvSpPr>
          <p:cNvPr id="4" name="TextBox 3"/>
          <p:cNvSpPr txBox="1"/>
          <p:nvPr/>
        </p:nvSpPr>
        <p:spPr>
          <a:xfrm>
            <a:off x="3710783" y="1511901"/>
            <a:ext cx="362135" cy="615522"/>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324650977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flipH="1">
            <a:off x="1" y="487"/>
            <a:ext cx="12191377" cy="6864177"/>
          </a:xfrm>
          <a:prstGeom prst="rect">
            <a:avLst/>
          </a:prstGeom>
        </p:spPr>
      </p:pic>
      <p:sp>
        <p:nvSpPr>
          <p:cNvPr id="42" name="Rectangle 41"/>
          <p:cNvSpPr/>
          <p:nvPr/>
        </p:nvSpPr>
        <p:spPr bwMode="auto">
          <a:xfrm rot="16200000">
            <a:off x="3559865" y="-1774311"/>
            <a:ext cx="5072270" cy="12192001"/>
          </a:xfrm>
          <a:prstGeom prst="rect">
            <a:avLst/>
          </a:prstGeom>
          <a:gradFill>
            <a:gsLst>
              <a:gs pos="0">
                <a:srgbClr val="000000">
                  <a:alpha val="20000"/>
                </a:srgbClr>
              </a:gs>
              <a:gs pos="5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1" y="289958"/>
            <a:ext cx="9330157" cy="899537"/>
          </a:xfrm>
        </p:spPr>
        <p:txBody>
          <a:bodyPr/>
          <a:lstStyle/>
          <a:p>
            <a:r>
              <a:rPr lang="en-US" dirty="0" smtClean="0"/>
              <a:t>What can you do with the Microsoft Cloud Platform?</a:t>
            </a:r>
            <a:endParaRPr lang="en-US" dirty="0"/>
          </a:p>
        </p:txBody>
      </p:sp>
      <p:grpSp>
        <p:nvGrpSpPr>
          <p:cNvPr id="5" name="Group 4"/>
          <p:cNvGrpSpPr/>
          <p:nvPr/>
        </p:nvGrpSpPr>
        <p:grpSpPr>
          <a:xfrm>
            <a:off x="7245292" y="2976119"/>
            <a:ext cx="2276919" cy="2276919"/>
            <a:chOff x="7415861" y="3035300"/>
            <a:chExt cx="2322576" cy="2322576"/>
          </a:xfrm>
        </p:grpSpPr>
        <p:sp>
          <p:nvSpPr>
            <p:cNvPr id="17" name="Rectangle 4"/>
            <p:cNvSpPr/>
            <p:nvPr>
              <p:custDataLst>
                <p:tags r:id="rId5"/>
              </p:custDataLst>
            </p:nvPr>
          </p:nvSpPr>
          <p:spPr bwMode="auto">
            <a:xfrm>
              <a:off x="7415861" y="3035300"/>
              <a:ext cx="2322576" cy="2322576"/>
            </a:xfrm>
            <a:prstGeom prst="rect">
              <a:avLst/>
            </a:prstGeom>
            <a:solidFill>
              <a:srgbClr val="DC3C00"/>
            </a:solid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549" b="1" kern="0" spc="-29" dirty="0">
                  <a:gradFill>
                    <a:gsLst>
                      <a:gs pos="2917">
                        <a:srgbClr val="FFFFFF"/>
                      </a:gs>
                      <a:gs pos="30000">
                        <a:srgbClr val="FFFFFF"/>
                      </a:gs>
                    </a:gsLst>
                    <a:lin ang="5400000" scaled="0"/>
                  </a:gradFill>
                  <a:latin typeface="Segoe UI Light"/>
                  <a:ea typeface="ＭＳ Ｐゴシック" charset="0"/>
                </a:rPr>
                <a:t>Unlock </a:t>
              </a:r>
              <a:br>
                <a:rPr lang="en-US" sz="2549" b="1" kern="0" spc="-29" dirty="0">
                  <a:gradFill>
                    <a:gsLst>
                      <a:gs pos="2917">
                        <a:srgbClr val="FFFFFF"/>
                      </a:gs>
                      <a:gs pos="30000">
                        <a:srgbClr val="FFFFFF"/>
                      </a:gs>
                    </a:gsLst>
                    <a:lin ang="5400000" scaled="0"/>
                  </a:gradFill>
                  <a:latin typeface="Segoe UI Light"/>
                  <a:ea typeface="ＭＳ Ｐゴシック" charset="0"/>
                </a:rPr>
              </a:br>
              <a:r>
                <a:rPr lang="en-US" sz="2549" b="1" kern="0" spc="-29" dirty="0">
                  <a:gradFill>
                    <a:gsLst>
                      <a:gs pos="2917">
                        <a:srgbClr val="FFFFFF"/>
                      </a:gs>
                      <a:gs pos="30000">
                        <a:srgbClr val="FFFFFF"/>
                      </a:gs>
                    </a:gsLst>
                    <a:lin ang="5400000" scaled="0"/>
                  </a:gradFill>
                  <a:latin typeface="Segoe UI Light"/>
                  <a:ea typeface="ＭＳ Ｐゴシック" charset="0"/>
                </a:rPr>
                <a:t>insights </a:t>
              </a:r>
              <a:br>
                <a:rPr lang="en-US" sz="2549" b="1" kern="0" spc="-29" dirty="0">
                  <a:gradFill>
                    <a:gsLst>
                      <a:gs pos="2917">
                        <a:srgbClr val="FFFFFF"/>
                      </a:gs>
                      <a:gs pos="30000">
                        <a:srgbClr val="FFFFFF"/>
                      </a:gs>
                    </a:gsLst>
                    <a:lin ang="5400000" scaled="0"/>
                  </a:gradFill>
                  <a:latin typeface="Segoe UI Light"/>
                  <a:ea typeface="ＭＳ Ｐゴシック" charset="0"/>
                </a:rPr>
              </a:br>
              <a:r>
                <a:rPr lang="en-US" sz="2549" b="1" kern="0" spc="-29" dirty="0">
                  <a:gradFill>
                    <a:gsLst>
                      <a:gs pos="2917">
                        <a:srgbClr val="FFFFFF"/>
                      </a:gs>
                      <a:gs pos="30000">
                        <a:srgbClr val="FFFFFF"/>
                      </a:gs>
                    </a:gsLst>
                    <a:lin ang="5400000" scaled="0"/>
                  </a:gradFill>
                  <a:latin typeface="Segoe UI Light"/>
                  <a:ea typeface="ＭＳ Ｐゴシック" charset="0"/>
                </a:rPr>
                <a:t>on any data</a:t>
              </a:r>
            </a:p>
          </p:txBody>
        </p:sp>
        <p:grpSp>
          <p:nvGrpSpPr>
            <p:cNvPr id="28" name="Group 27"/>
            <p:cNvGrpSpPr/>
            <p:nvPr/>
          </p:nvGrpSpPr>
          <p:grpSpPr>
            <a:xfrm>
              <a:off x="9055978" y="4729350"/>
              <a:ext cx="514867" cy="482381"/>
              <a:chOff x="-5364163" y="-2738437"/>
              <a:chExt cx="4327525" cy="4054475"/>
            </a:xfrm>
            <a:solidFill>
              <a:schemeClr val="bg1">
                <a:lumMod val="95000"/>
              </a:schemeClr>
            </a:solidFill>
          </p:grpSpPr>
          <p:sp>
            <p:nvSpPr>
              <p:cNvPr id="29"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0"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1"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2"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3"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4"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5"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6"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7"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8"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39"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41"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47"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51"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52"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grpSp>
      </p:grpSp>
      <p:grpSp>
        <p:nvGrpSpPr>
          <p:cNvPr id="4" name="Group 3"/>
          <p:cNvGrpSpPr/>
          <p:nvPr/>
        </p:nvGrpSpPr>
        <p:grpSpPr>
          <a:xfrm>
            <a:off x="9568900" y="2976115"/>
            <a:ext cx="2276919" cy="2276919"/>
            <a:chOff x="9791884" y="3035296"/>
            <a:chExt cx="2322576" cy="2322576"/>
          </a:xfrm>
        </p:grpSpPr>
        <p:sp>
          <p:nvSpPr>
            <p:cNvPr id="20" name="Rectangle 7"/>
            <p:cNvSpPr/>
            <p:nvPr>
              <p:custDataLst>
                <p:tags r:id="rId4"/>
              </p:custDataLst>
            </p:nvPr>
          </p:nvSpPr>
          <p:spPr bwMode="auto">
            <a:xfrm>
              <a:off x="9791884" y="3035296"/>
              <a:ext cx="2322576" cy="2322576"/>
            </a:xfrm>
            <a:prstGeom prst="rect">
              <a:avLst/>
            </a:prstGeom>
            <a:solidFill>
              <a:srgbClr val="0072C6"/>
            </a:solid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549" b="1" kern="0" spc="-29" dirty="0">
                  <a:gradFill>
                    <a:gsLst>
                      <a:gs pos="2917">
                        <a:srgbClr val="FFFFFF"/>
                      </a:gs>
                      <a:gs pos="30000">
                        <a:srgbClr val="FFFFFF"/>
                      </a:gs>
                    </a:gsLst>
                    <a:lin ang="5400000" scaled="0"/>
                  </a:gradFill>
                  <a:latin typeface="Segoe UI Light"/>
                  <a:ea typeface="ＭＳ Ｐゴシック" charset="0"/>
                </a:rPr>
                <a:t>Transform </a:t>
              </a:r>
              <a:br>
                <a:rPr lang="en-US" sz="2549" b="1" kern="0" spc="-29" dirty="0">
                  <a:gradFill>
                    <a:gsLst>
                      <a:gs pos="2917">
                        <a:srgbClr val="FFFFFF"/>
                      </a:gs>
                      <a:gs pos="30000">
                        <a:srgbClr val="FFFFFF"/>
                      </a:gs>
                    </a:gsLst>
                    <a:lin ang="5400000" scaled="0"/>
                  </a:gradFill>
                  <a:latin typeface="Segoe UI Light"/>
                  <a:ea typeface="ＭＳ Ｐゴシック" charset="0"/>
                </a:rPr>
              </a:br>
              <a:r>
                <a:rPr lang="en-US" sz="2549" b="1" kern="0" spc="-29" dirty="0">
                  <a:gradFill>
                    <a:gsLst>
                      <a:gs pos="2917">
                        <a:srgbClr val="FFFFFF"/>
                      </a:gs>
                      <a:gs pos="30000">
                        <a:srgbClr val="FFFFFF"/>
                      </a:gs>
                    </a:gsLst>
                    <a:lin ang="5400000" scaled="0"/>
                  </a:gradFill>
                  <a:latin typeface="Segoe UI Light"/>
                  <a:ea typeface="ＭＳ Ｐゴシック" charset="0"/>
                </a:rPr>
                <a:t>the datacenter</a:t>
              </a:r>
            </a:p>
          </p:txBody>
        </p:sp>
        <p:grpSp>
          <p:nvGrpSpPr>
            <p:cNvPr id="53" name="Group 52"/>
            <p:cNvGrpSpPr/>
            <p:nvPr/>
          </p:nvGrpSpPr>
          <p:grpSpPr>
            <a:xfrm>
              <a:off x="11486854" y="4543854"/>
              <a:ext cx="467706" cy="624082"/>
              <a:chOff x="-3844925" y="2109788"/>
              <a:chExt cx="2089150" cy="2787650"/>
            </a:xfrm>
            <a:solidFill>
              <a:schemeClr val="bg1"/>
            </a:solidFill>
          </p:grpSpPr>
          <p:sp>
            <p:nvSpPr>
              <p:cNvPr id="54" name="Freeform 21"/>
              <p:cNvSpPr>
                <a:spLocks noEditPoints="1"/>
              </p:cNvSpPr>
              <p:nvPr/>
            </p:nvSpPr>
            <p:spPr bwMode="auto">
              <a:xfrm>
                <a:off x="-3844925" y="3284538"/>
                <a:ext cx="1308100" cy="1612900"/>
              </a:xfrm>
              <a:custGeom>
                <a:avLst/>
                <a:gdLst>
                  <a:gd name="T0" fmla="*/ 0 w 824"/>
                  <a:gd name="T1" fmla="*/ 0 h 1016"/>
                  <a:gd name="T2" fmla="*/ 0 w 824"/>
                  <a:gd name="T3" fmla="*/ 1016 h 1016"/>
                  <a:gd name="T4" fmla="*/ 266 w 824"/>
                  <a:gd name="T5" fmla="*/ 1016 h 1016"/>
                  <a:gd name="T6" fmla="*/ 266 w 824"/>
                  <a:gd name="T7" fmla="*/ 807 h 1016"/>
                  <a:gd name="T8" fmla="*/ 375 w 824"/>
                  <a:gd name="T9" fmla="*/ 807 h 1016"/>
                  <a:gd name="T10" fmla="*/ 375 w 824"/>
                  <a:gd name="T11" fmla="*/ 1016 h 1016"/>
                  <a:gd name="T12" fmla="*/ 454 w 824"/>
                  <a:gd name="T13" fmla="*/ 1016 h 1016"/>
                  <a:gd name="T14" fmla="*/ 454 w 824"/>
                  <a:gd name="T15" fmla="*/ 807 h 1016"/>
                  <a:gd name="T16" fmla="*/ 560 w 824"/>
                  <a:gd name="T17" fmla="*/ 807 h 1016"/>
                  <a:gd name="T18" fmla="*/ 560 w 824"/>
                  <a:gd name="T19" fmla="*/ 1016 h 1016"/>
                  <a:gd name="T20" fmla="*/ 824 w 824"/>
                  <a:gd name="T21" fmla="*/ 1016 h 1016"/>
                  <a:gd name="T22" fmla="*/ 824 w 824"/>
                  <a:gd name="T23" fmla="*/ 0 h 1016"/>
                  <a:gd name="T24" fmla="*/ 0 w 824"/>
                  <a:gd name="T25" fmla="*/ 0 h 1016"/>
                  <a:gd name="T26" fmla="*/ 746 w 824"/>
                  <a:gd name="T27" fmla="*/ 740 h 1016"/>
                  <a:gd name="T28" fmla="*/ 81 w 824"/>
                  <a:gd name="T29" fmla="*/ 740 h 1016"/>
                  <a:gd name="T30" fmla="*/ 81 w 824"/>
                  <a:gd name="T31" fmla="*/ 634 h 1016"/>
                  <a:gd name="T32" fmla="*/ 746 w 824"/>
                  <a:gd name="T33" fmla="*/ 634 h 1016"/>
                  <a:gd name="T34" fmla="*/ 746 w 824"/>
                  <a:gd name="T35" fmla="*/ 740 h 1016"/>
                  <a:gd name="T36" fmla="*/ 746 w 824"/>
                  <a:gd name="T37" fmla="*/ 558 h 1016"/>
                  <a:gd name="T38" fmla="*/ 81 w 824"/>
                  <a:gd name="T39" fmla="*/ 558 h 1016"/>
                  <a:gd name="T40" fmla="*/ 81 w 824"/>
                  <a:gd name="T41" fmla="*/ 451 h 1016"/>
                  <a:gd name="T42" fmla="*/ 746 w 824"/>
                  <a:gd name="T43" fmla="*/ 451 h 1016"/>
                  <a:gd name="T44" fmla="*/ 746 w 824"/>
                  <a:gd name="T45" fmla="*/ 558 h 1016"/>
                  <a:gd name="T46" fmla="*/ 746 w 824"/>
                  <a:gd name="T47" fmla="*/ 373 h 1016"/>
                  <a:gd name="T48" fmla="*/ 81 w 824"/>
                  <a:gd name="T49" fmla="*/ 373 h 1016"/>
                  <a:gd name="T50" fmla="*/ 81 w 824"/>
                  <a:gd name="T51" fmla="*/ 266 h 1016"/>
                  <a:gd name="T52" fmla="*/ 746 w 824"/>
                  <a:gd name="T53" fmla="*/ 266 h 1016"/>
                  <a:gd name="T54" fmla="*/ 746 w 824"/>
                  <a:gd name="T55" fmla="*/ 373 h 1016"/>
                  <a:gd name="T56" fmla="*/ 746 w 824"/>
                  <a:gd name="T57" fmla="*/ 188 h 1016"/>
                  <a:gd name="T58" fmla="*/ 81 w 824"/>
                  <a:gd name="T59" fmla="*/ 188 h 1016"/>
                  <a:gd name="T60" fmla="*/ 81 w 824"/>
                  <a:gd name="T61" fmla="*/ 81 h 1016"/>
                  <a:gd name="T62" fmla="*/ 746 w 824"/>
                  <a:gd name="T63" fmla="*/ 81 h 1016"/>
                  <a:gd name="T64" fmla="*/ 746 w 824"/>
                  <a:gd name="T65" fmla="*/ 188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4" h="1016">
                    <a:moveTo>
                      <a:pt x="0" y="0"/>
                    </a:moveTo>
                    <a:lnTo>
                      <a:pt x="0" y="1016"/>
                    </a:lnTo>
                    <a:lnTo>
                      <a:pt x="266" y="1016"/>
                    </a:lnTo>
                    <a:lnTo>
                      <a:pt x="266" y="807"/>
                    </a:lnTo>
                    <a:lnTo>
                      <a:pt x="375" y="807"/>
                    </a:lnTo>
                    <a:lnTo>
                      <a:pt x="375" y="1016"/>
                    </a:lnTo>
                    <a:lnTo>
                      <a:pt x="454" y="1016"/>
                    </a:lnTo>
                    <a:lnTo>
                      <a:pt x="454" y="807"/>
                    </a:lnTo>
                    <a:lnTo>
                      <a:pt x="560" y="807"/>
                    </a:lnTo>
                    <a:lnTo>
                      <a:pt x="560" y="1016"/>
                    </a:lnTo>
                    <a:lnTo>
                      <a:pt x="824" y="1016"/>
                    </a:lnTo>
                    <a:lnTo>
                      <a:pt x="824" y="0"/>
                    </a:lnTo>
                    <a:lnTo>
                      <a:pt x="0" y="0"/>
                    </a:lnTo>
                    <a:close/>
                    <a:moveTo>
                      <a:pt x="746" y="740"/>
                    </a:moveTo>
                    <a:lnTo>
                      <a:pt x="81" y="740"/>
                    </a:lnTo>
                    <a:lnTo>
                      <a:pt x="81" y="634"/>
                    </a:lnTo>
                    <a:lnTo>
                      <a:pt x="746" y="634"/>
                    </a:lnTo>
                    <a:lnTo>
                      <a:pt x="746" y="740"/>
                    </a:lnTo>
                    <a:close/>
                    <a:moveTo>
                      <a:pt x="746" y="558"/>
                    </a:moveTo>
                    <a:lnTo>
                      <a:pt x="81" y="558"/>
                    </a:lnTo>
                    <a:lnTo>
                      <a:pt x="81" y="451"/>
                    </a:lnTo>
                    <a:lnTo>
                      <a:pt x="746" y="451"/>
                    </a:lnTo>
                    <a:lnTo>
                      <a:pt x="746" y="558"/>
                    </a:lnTo>
                    <a:close/>
                    <a:moveTo>
                      <a:pt x="746" y="373"/>
                    </a:moveTo>
                    <a:lnTo>
                      <a:pt x="81" y="373"/>
                    </a:lnTo>
                    <a:lnTo>
                      <a:pt x="81" y="266"/>
                    </a:lnTo>
                    <a:lnTo>
                      <a:pt x="746" y="266"/>
                    </a:lnTo>
                    <a:lnTo>
                      <a:pt x="746" y="373"/>
                    </a:lnTo>
                    <a:close/>
                    <a:moveTo>
                      <a:pt x="746" y="188"/>
                    </a:moveTo>
                    <a:lnTo>
                      <a:pt x="81" y="188"/>
                    </a:lnTo>
                    <a:lnTo>
                      <a:pt x="81" y="81"/>
                    </a:lnTo>
                    <a:lnTo>
                      <a:pt x="746" y="81"/>
                    </a:lnTo>
                    <a:lnTo>
                      <a:pt x="746"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55" name="Freeform 22"/>
              <p:cNvSpPr>
                <a:spLocks noEditPoints="1"/>
              </p:cNvSpPr>
              <p:nvPr/>
            </p:nvSpPr>
            <p:spPr bwMode="auto">
              <a:xfrm>
                <a:off x="-3063875" y="2109788"/>
                <a:ext cx="1308100" cy="2787650"/>
              </a:xfrm>
              <a:custGeom>
                <a:avLst/>
                <a:gdLst>
                  <a:gd name="T0" fmla="*/ 0 w 824"/>
                  <a:gd name="T1" fmla="*/ 0 h 1756"/>
                  <a:gd name="T2" fmla="*/ 0 w 824"/>
                  <a:gd name="T3" fmla="*/ 686 h 1756"/>
                  <a:gd name="T4" fmla="*/ 80 w 824"/>
                  <a:gd name="T5" fmla="*/ 686 h 1756"/>
                  <a:gd name="T6" fmla="*/ 80 w 824"/>
                  <a:gd name="T7" fmla="*/ 636 h 1756"/>
                  <a:gd name="T8" fmla="*/ 745 w 824"/>
                  <a:gd name="T9" fmla="*/ 636 h 1756"/>
                  <a:gd name="T10" fmla="*/ 745 w 824"/>
                  <a:gd name="T11" fmla="*/ 743 h 1756"/>
                  <a:gd name="T12" fmla="*/ 410 w 824"/>
                  <a:gd name="T13" fmla="*/ 743 h 1756"/>
                  <a:gd name="T14" fmla="*/ 410 w 824"/>
                  <a:gd name="T15" fmla="*/ 821 h 1756"/>
                  <a:gd name="T16" fmla="*/ 745 w 824"/>
                  <a:gd name="T17" fmla="*/ 821 h 1756"/>
                  <a:gd name="T18" fmla="*/ 745 w 824"/>
                  <a:gd name="T19" fmla="*/ 928 h 1756"/>
                  <a:gd name="T20" fmla="*/ 410 w 824"/>
                  <a:gd name="T21" fmla="*/ 928 h 1756"/>
                  <a:gd name="T22" fmla="*/ 410 w 824"/>
                  <a:gd name="T23" fmla="*/ 1006 h 1756"/>
                  <a:gd name="T24" fmla="*/ 745 w 824"/>
                  <a:gd name="T25" fmla="*/ 1006 h 1756"/>
                  <a:gd name="T26" fmla="*/ 745 w 824"/>
                  <a:gd name="T27" fmla="*/ 1113 h 1756"/>
                  <a:gd name="T28" fmla="*/ 410 w 824"/>
                  <a:gd name="T29" fmla="*/ 1113 h 1756"/>
                  <a:gd name="T30" fmla="*/ 410 w 824"/>
                  <a:gd name="T31" fmla="*/ 1191 h 1756"/>
                  <a:gd name="T32" fmla="*/ 745 w 824"/>
                  <a:gd name="T33" fmla="*/ 1191 h 1756"/>
                  <a:gd name="T34" fmla="*/ 745 w 824"/>
                  <a:gd name="T35" fmla="*/ 1298 h 1756"/>
                  <a:gd name="T36" fmla="*/ 410 w 824"/>
                  <a:gd name="T37" fmla="*/ 1298 h 1756"/>
                  <a:gd name="T38" fmla="*/ 410 w 824"/>
                  <a:gd name="T39" fmla="*/ 1374 h 1756"/>
                  <a:gd name="T40" fmla="*/ 745 w 824"/>
                  <a:gd name="T41" fmla="*/ 1374 h 1756"/>
                  <a:gd name="T42" fmla="*/ 745 w 824"/>
                  <a:gd name="T43" fmla="*/ 1480 h 1756"/>
                  <a:gd name="T44" fmla="*/ 410 w 824"/>
                  <a:gd name="T45" fmla="*/ 1480 h 1756"/>
                  <a:gd name="T46" fmla="*/ 410 w 824"/>
                  <a:gd name="T47" fmla="*/ 1756 h 1756"/>
                  <a:gd name="T48" fmla="*/ 451 w 824"/>
                  <a:gd name="T49" fmla="*/ 1756 h 1756"/>
                  <a:gd name="T50" fmla="*/ 451 w 824"/>
                  <a:gd name="T51" fmla="*/ 1547 h 1756"/>
                  <a:gd name="T52" fmla="*/ 560 w 824"/>
                  <a:gd name="T53" fmla="*/ 1547 h 1756"/>
                  <a:gd name="T54" fmla="*/ 560 w 824"/>
                  <a:gd name="T55" fmla="*/ 1756 h 1756"/>
                  <a:gd name="T56" fmla="*/ 824 w 824"/>
                  <a:gd name="T57" fmla="*/ 1756 h 1756"/>
                  <a:gd name="T58" fmla="*/ 824 w 824"/>
                  <a:gd name="T59" fmla="*/ 0 h 1756"/>
                  <a:gd name="T60" fmla="*/ 0 w 824"/>
                  <a:gd name="T61" fmla="*/ 0 h 1756"/>
                  <a:gd name="T62" fmla="*/ 745 w 824"/>
                  <a:gd name="T63" fmla="*/ 558 h 1756"/>
                  <a:gd name="T64" fmla="*/ 80 w 824"/>
                  <a:gd name="T65" fmla="*/ 558 h 1756"/>
                  <a:gd name="T66" fmla="*/ 80 w 824"/>
                  <a:gd name="T67" fmla="*/ 451 h 1756"/>
                  <a:gd name="T68" fmla="*/ 745 w 824"/>
                  <a:gd name="T69" fmla="*/ 451 h 1756"/>
                  <a:gd name="T70" fmla="*/ 745 w 824"/>
                  <a:gd name="T71" fmla="*/ 558 h 1756"/>
                  <a:gd name="T72" fmla="*/ 745 w 824"/>
                  <a:gd name="T73" fmla="*/ 375 h 1756"/>
                  <a:gd name="T74" fmla="*/ 80 w 824"/>
                  <a:gd name="T75" fmla="*/ 375 h 1756"/>
                  <a:gd name="T76" fmla="*/ 80 w 824"/>
                  <a:gd name="T77" fmla="*/ 268 h 1756"/>
                  <a:gd name="T78" fmla="*/ 745 w 824"/>
                  <a:gd name="T79" fmla="*/ 268 h 1756"/>
                  <a:gd name="T80" fmla="*/ 745 w 824"/>
                  <a:gd name="T81" fmla="*/ 375 h 1756"/>
                  <a:gd name="T82" fmla="*/ 745 w 824"/>
                  <a:gd name="T83" fmla="*/ 190 h 1756"/>
                  <a:gd name="T84" fmla="*/ 80 w 824"/>
                  <a:gd name="T85" fmla="*/ 190 h 1756"/>
                  <a:gd name="T86" fmla="*/ 80 w 824"/>
                  <a:gd name="T87" fmla="*/ 83 h 1756"/>
                  <a:gd name="T88" fmla="*/ 745 w 824"/>
                  <a:gd name="T89" fmla="*/ 83 h 1756"/>
                  <a:gd name="T90" fmla="*/ 745 w 824"/>
                  <a:gd name="T91" fmla="*/ 190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6">
                    <a:moveTo>
                      <a:pt x="0" y="0"/>
                    </a:moveTo>
                    <a:lnTo>
                      <a:pt x="0" y="686"/>
                    </a:lnTo>
                    <a:lnTo>
                      <a:pt x="80" y="686"/>
                    </a:lnTo>
                    <a:lnTo>
                      <a:pt x="80" y="636"/>
                    </a:lnTo>
                    <a:lnTo>
                      <a:pt x="745" y="636"/>
                    </a:lnTo>
                    <a:lnTo>
                      <a:pt x="745" y="743"/>
                    </a:lnTo>
                    <a:lnTo>
                      <a:pt x="410" y="743"/>
                    </a:lnTo>
                    <a:lnTo>
                      <a:pt x="410" y="821"/>
                    </a:lnTo>
                    <a:lnTo>
                      <a:pt x="745" y="821"/>
                    </a:lnTo>
                    <a:lnTo>
                      <a:pt x="745" y="928"/>
                    </a:lnTo>
                    <a:lnTo>
                      <a:pt x="410" y="928"/>
                    </a:lnTo>
                    <a:lnTo>
                      <a:pt x="410" y="1006"/>
                    </a:lnTo>
                    <a:lnTo>
                      <a:pt x="745" y="1006"/>
                    </a:lnTo>
                    <a:lnTo>
                      <a:pt x="745" y="1113"/>
                    </a:lnTo>
                    <a:lnTo>
                      <a:pt x="410" y="1113"/>
                    </a:lnTo>
                    <a:lnTo>
                      <a:pt x="410" y="1191"/>
                    </a:lnTo>
                    <a:lnTo>
                      <a:pt x="745" y="1191"/>
                    </a:lnTo>
                    <a:lnTo>
                      <a:pt x="745" y="1298"/>
                    </a:lnTo>
                    <a:lnTo>
                      <a:pt x="410" y="1298"/>
                    </a:lnTo>
                    <a:lnTo>
                      <a:pt x="410" y="1374"/>
                    </a:lnTo>
                    <a:lnTo>
                      <a:pt x="745" y="1374"/>
                    </a:lnTo>
                    <a:lnTo>
                      <a:pt x="745" y="1480"/>
                    </a:lnTo>
                    <a:lnTo>
                      <a:pt x="410" y="1480"/>
                    </a:lnTo>
                    <a:lnTo>
                      <a:pt x="410" y="1756"/>
                    </a:lnTo>
                    <a:lnTo>
                      <a:pt x="451" y="1756"/>
                    </a:lnTo>
                    <a:lnTo>
                      <a:pt x="451" y="1547"/>
                    </a:lnTo>
                    <a:lnTo>
                      <a:pt x="560" y="1547"/>
                    </a:lnTo>
                    <a:lnTo>
                      <a:pt x="560" y="1756"/>
                    </a:lnTo>
                    <a:lnTo>
                      <a:pt x="824" y="1756"/>
                    </a:lnTo>
                    <a:lnTo>
                      <a:pt x="824" y="0"/>
                    </a:lnTo>
                    <a:lnTo>
                      <a:pt x="0" y="0"/>
                    </a:lnTo>
                    <a:close/>
                    <a:moveTo>
                      <a:pt x="745" y="558"/>
                    </a:moveTo>
                    <a:lnTo>
                      <a:pt x="80" y="558"/>
                    </a:lnTo>
                    <a:lnTo>
                      <a:pt x="80" y="451"/>
                    </a:lnTo>
                    <a:lnTo>
                      <a:pt x="745" y="451"/>
                    </a:lnTo>
                    <a:lnTo>
                      <a:pt x="745" y="558"/>
                    </a:lnTo>
                    <a:close/>
                    <a:moveTo>
                      <a:pt x="745" y="375"/>
                    </a:moveTo>
                    <a:lnTo>
                      <a:pt x="80" y="375"/>
                    </a:lnTo>
                    <a:lnTo>
                      <a:pt x="80" y="268"/>
                    </a:lnTo>
                    <a:lnTo>
                      <a:pt x="745" y="268"/>
                    </a:lnTo>
                    <a:lnTo>
                      <a:pt x="745" y="375"/>
                    </a:lnTo>
                    <a:close/>
                    <a:moveTo>
                      <a:pt x="745" y="190"/>
                    </a:moveTo>
                    <a:lnTo>
                      <a:pt x="80" y="190"/>
                    </a:lnTo>
                    <a:lnTo>
                      <a:pt x="80" y="83"/>
                    </a:lnTo>
                    <a:lnTo>
                      <a:pt x="745" y="83"/>
                    </a:lnTo>
                    <a:lnTo>
                      <a:pt x="745" y="19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grpSp>
      </p:grpSp>
      <p:grpSp>
        <p:nvGrpSpPr>
          <p:cNvPr id="7" name="Group 6"/>
          <p:cNvGrpSpPr/>
          <p:nvPr/>
        </p:nvGrpSpPr>
        <p:grpSpPr>
          <a:xfrm>
            <a:off x="2599782" y="2976119"/>
            <a:ext cx="2276919" cy="2276919"/>
            <a:chOff x="2670793" y="3035300"/>
            <a:chExt cx="2322576" cy="2322576"/>
          </a:xfrm>
        </p:grpSpPr>
        <p:sp>
          <p:nvSpPr>
            <p:cNvPr id="18" name="Rectangle 5"/>
            <p:cNvSpPr/>
            <p:nvPr>
              <p:custDataLst>
                <p:tags r:id="rId3"/>
              </p:custDataLst>
            </p:nvPr>
          </p:nvSpPr>
          <p:spPr bwMode="auto">
            <a:xfrm>
              <a:off x="2670793" y="3035300"/>
              <a:ext cx="2322576" cy="2322576"/>
            </a:xfrm>
            <a:prstGeom prst="rect">
              <a:avLst/>
            </a:prstGeom>
            <a:solidFill>
              <a:srgbClr val="00188F"/>
            </a:solid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549" b="1" kern="0" spc="-29" dirty="0">
                  <a:gradFill>
                    <a:gsLst>
                      <a:gs pos="2917">
                        <a:srgbClr val="FFFFFF"/>
                      </a:gs>
                      <a:gs pos="30000">
                        <a:srgbClr val="FFFFFF"/>
                      </a:gs>
                    </a:gsLst>
                    <a:lin ang="5400000" scaled="0"/>
                  </a:gradFill>
                  <a:latin typeface="Segoe UI Light"/>
                  <a:ea typeface="ＭＳ Ｐゴシック" charset="0"/>
                </a:rPr>
                <a:t>Create </a:t>
              </a:r>
              <a:br>
                <a:rPr lang="en-US" sz="2549" b="1" kern="0" spc="-29" dirty="0">
                  <a:gradFill>
                    <a:gsLst>
                      <a:gs pos="2917">
                        <a:srgbClr val="FFFFFF"/>
                      </a:gs>
                      <a:gs pos="30000">
                        <a:srgbClr val="FFFFFF"/>
                      </a:gs>
                    </a:gsLst>
                    <a:lin ang="5400000" scaled="0"/>
                  </a:gradFill>
                  <a:latin typeface="Segoe UI Light"/>
                  <a:ea typeface="ＭＳ Ｐゴシック" charset="0"/>
                </a:rPr>
              </a:br>
              <a:r>
                <a:rPr lang="en-US" sz="2549" b="1" kern="0" spc="-29" dirty="0">
                  <a:gradFill>
                    <a:gsLst>
                      <a:gs pos="2917">
                        <a:srgbClr val="FFFFFF"/>
                      </a:gs>
                      <a:gs pos="30000">
                        <a:srgbClr val="FFFFFF"/>
                      </a:gs>
                    </a:gsLst>
                    <a:lin ang="5400000" scaled="0"/>
                  </a:gradFill>
                  <a:latin typeface="Segoe UI Light"/>
                  <a:ea typeface="ＭＳ Ｐゴシック" charset="0"/>
                </a:rPr>
                <a:t>the Internet </a:t>
              </a:r>
              <a:br>
                <a:rPr lang="en-US" sz="2549" b="1" kern="0" spc="-29" dirty="0">
                  <a:gradFill>
                    <a:gsLst>
                      <a:gs pos="2917">
                        <a:srgbClr val="FFFFFF"/>
                      </a:gs>
                      <a:gs pos="30000">
                        <a:srgbClr val="FFFFFF"/>
                      </a:gs>
                    </a:gsLst>
                    <a:lin ang="5400000" scaled="0"/>
                  </a:gradFill>
                  <a:latin typeface="Segoe UI Light"/>
                  <a:ea typeface="ＭＳ Ｐゴシック" charset="0"/>
                </a:rPr>
              </a:br>
              <a:r>
                <a:rPr lang="en-US" sz="2549" b="1" kern="0" spc="-29" dirty="0">
                  <a:gradFill>
                    <a:gsLst>
                      <a:gs pos="2917">
                        <a:srgbClr val="FFFFFF"/>
                      </a:gs>
                      <a:gs pos="30000">
                        <a:srgbClr val="FFFFFF"/>
                      </a:gs>
                    </a:gsLst>
                    <a:lin ang="5400000" scaled="0"/>
                  </a:gradFill>
                  <a:latin typeface="Segoe UI Light"/>
                  <a:ea typeface="ＭＳ Ｐゴシック" charset="0"/>
                </a:rPr>
                <a:t>of Your Things</a:t>
              </a:r>
            </a:p>
            <a:p>
              <a:pPr defTabSz="914347">
                <a:lnSpc>
                  <a:spcPct val="90000"/>
                </a:lnSpc>
                <a:defRPr/>
              </a:pPr>
              <a:endParaRPr lang="en-US" sz="2549" b="1" kern="0" spc="-29" dirty="0">
                <a:gradFill>
                  <a:gsLst>
                    <a:gs pos="2917">
                      <a:srgbClr val="FFFFFF"/>
                    </a:gs>
                    <a:gs pos="30000">
                      <a:srgbClr val="FFFFFF"/>
                    </a:gs>
                  </a:gsLst>
                  <a:lin ang="5400000" scaled="0"/>
                </a:gradFill>
                <a:latin typeface="Segoe UI Light"/>
                <a:ea typeface="ＭＳ Ｐゴシック" charset="0"/>
              </a:endParaRPr>
            </a:p>
          </p:txBody>
        </p:sp>
        <p:sp>
          <p:nvSpPr>
            <p:cNvPr id="56" name="Freeform 5"/>
            <p:cNvSpPr>
              <a:spLocks noEditPoints="1"/>
            </p:cNvSpPr>
            <p:nvPr/>
          </p:nvSpPr>
          <p:spPr bwMode="auto">
            <a:xfrm>
              <a:off x="4324191" y="4718824"/>
              <a:ext cx="457256" cy="468600"/>
            </a:xfrm>
            <a:custGeom>
              <a:avLst/>
              <a:gdLst>
                <a:gd name="T0" fmla="*/ 0 w 492"/>
                <a:gd name="T1" fmla="*/ 19 h 504"/>
                <a:gd name="T2" fmla="*/ 474 w 492"/>
                <a:gd name="T3" fmla="*/ 504 h 504"/>
                <a:gd name="T4" fmla="*/ 474 w 492"/>
                <a:gd name="T5" fmla="*/ 0 h 504"/>
                <a:gd name="T6" fmla="*/ 388 w 492"/>
                <a:gd name="T7" fmla="*/ 252 h 504"/>
                <a:gd name="T8" fmla="*/ 25 w 492"/>
                <a:gd name="T9" fmla="*/ 56 h 504"/>
                <a:gd name="T10" fmla="*/ 73 w 492"/>
                <a:gd name="T11" fmla="*/ 56 h 504"/>
                <a:gd name="T12" fmla="*/ 66 w 492"/>
                <a:gd name="T13" fmla="*/ 90 h 504"/>
                <a:gd name="T14" fmla="*/ 25 w 492"/>
                <a:gd name="T15" fmla="*/ 56 h 504"/>
                <a:gd name="T16" fmla="*/ 66 w 492"/>
                <a:gd name="T17" fmla="*/ 128 h 504"/>
                <a:gd name="T18" fmla="*/ 73 w 492"/>
                <a:gd name="T19" fmla="*/ 162 h 504"/>
                <a:gd name="T20" fmla="*/ 25 w 492"/>
                <a:gd name="T21" fmla="*/ 162 h 504"/>
                <a:gd name="T22" fmla="*/ 58 w 492"/>
                <a:gd name="T23" fmla="*/ 467 h 504"/>
                <a:gd name="T24" fmla="*/ 25 w 492"/>
                <a:gd name="T25" fmla="*/ 434 h 504"/>
                <a:gd name="T26" fmla="*/ 68 w 492"/>
                <a:gd name="T27" fmla="*/ 434 h 504"/>
                <a:gd name="T28" fmla="*/ 58 w 492"/>
                <a:gd name="T29" fmla="*/ 408 h 504"/>
                <a:gd name="T30" fmla="*/ 25 w 492"/>
                <a:gd name="T31" fmla="*/ 374 h 504"/>
                <a:gd name="T32" fmla="*/ 68 w 492"/>
                <a:gd name="T33" fmla="*/ 374 h 504"/>
                <a:gd name="T34" fmla="*/ 58 w 492"/>
                <a:gd name="T35" fmla="*/ 348 h 504"/>
                <a:gd name="T36" fmla="*/ 25 w 492"/>
                <a:gd name="T37" fmla="*/ 315 h 504"/>
                <a:gd name="T38" fmla="*/ 68 w 492"/>
                <a:gd name="T39" fmla="*/ 315 h 504"/>
                <a:gd name="T40" fmla="*/ 59 w 492"/>
                <a:gd name="T41" fmla="*/ 234 h 504"/>
                <a:gd name="T42" fmla="*/ 59 w 492"/>
                <a:gd name="T43" fmla="*/ 201 h 504"/>
                <a:gd name="T44" fmla="*/ 90 w 492"/>
                <a:gd name="T45" fmla="*/ 217 h 504"/>
                <a:gd name="T46" fmla="*/ 125 w 492"/>
                <a:gd name="T47" fmla="*/ 458 h 504"/>
                <a:gd name="T48" fmla="*/ 83 w 492"/>
                <a:gd name="T49" fmla="*/ 458 h 504"/>
                <a:gd name="T50" fmla="*/ 116 w 492"/>
                <a:gd name="T51" fmla="*/ 424 h 504"/>
                <a:gd name="T52" fmla="*/ 125 w 492"/>
                <a:gd name="T53" fmla="*/ 398 h 504"/>
                <a:gd name="T54" fmla="*/ 83 w 492"/>
                <a:gd name="T55" fmla="*/ 398 h 504"/>
                <a:gd name="T56" fmla="*/ 116 w 492"/>
                <a:gd name="T57" fmla="*/ 365 h 504"/>
                <a:gd name="T58" fmla="*/ 125 w 492"/>
                <a:gd name="T59" fmla="*/ 339 h 504"/>
                <a:gd name="T60" fmla="*/ 83 w 492"/>
                <a:gd name="T61" fmla="*/ 339 h 504"/>
                <a:gd name="T62" fmla="*/ 116 w 492"/>
                <a:gd name="T63" fmla="*/ 305 h 504"/>
                <a:gd name="T64" fmla="*/ 183 w 492"/>
                <a:gd name="T65" fmla="*/ 458 h 504"/>
                <a:gd name="T66" fmla="*/ 140 w 492"/>
                <a:gd name="T67" fmla="*/ 458 h 504"/>
                <a:gd name="T68" fmla="*/ 174 w 492"/>
                <a:gd name="T69" fmla="*/ 424 h 504"/>
                <a:gd name="T70" fmla="*/ 183 w 492"/>
                <a:gd name="T71" fmla="*/ 398 h 504"/>
                <a:gd name="T72" fmla="*/ 140 w 492"/>
                <a:gd name="T73" fmla="*/ 398 h 504"/>
                <a:gd name="T74" fmla="*/ 174 w 492"/>
                <a:gd name="T75" fmla="*/ 365 h 504"/>
                <a:gd name="T76" fmla="*/ 183 w 492"/>
                <a:gd name="T77" fmla="*/ 339 h 504"/>
                <a:gd name="T78" fmla="*/ 140 w 492"/>
                <a:gd name="T79" fmla="*/ 339 h 504"/>
                <a:gd name="T80" fmla="*/ 174 w 492"/>
                <a:gd name="T81" fmla="*/ 305 h 504"/>
                <a:gd name="T82" fmla="*/ 465 w 492"/>
                <a:gd name="T83" fmla="*/ 394 h 504"/>
                <a:gd name="T84" fmla="*/ 300 w 492"/>
                <a:gd name="T85" fmla="*/ 405 h 504"/>
                <a:gd name="T86" fmla="*/ 229 w 492"/>
                <a:gd name="T87" fmla="*/ 378 h 504"/>
                <a:gd name="T88" fmla="*/ 394 w 492"/>
                <a:gd name="T89" fmla="*/ 368 h 504"/>
                <a:gd name="T90" fmla="*/ 465 w 492"/>
                <a:gd name="T91" fmla="*/ 394 h 504"/>
                <a:gd name="T92" fmla="*/ 424 w 492"/>
                <a:gd name="T93" fmla="*/ 234 h 504"/>
                <a:gd name="T94" fmla="*/ 417 w 492"/>
                <a:gd name="T95" fmla="*/ 201 h 504"/>
                <a:gd name="T96" fmla="*/ 465 w 492"/>
                <a:gd name="T97" fmla="*/ 201 h 504"/>
                <a:gd name="T98" fmla="*/ 431 w 492"/>
                <a:gd name="T99" fmla="*/ 162 h 504"/>
                <a:gd name="T100" fmla="*/ 400 w 492"/>
                <a:gd name="T101" fmla="*/ 145 h 504"/>
                <a:gd name="T102" fmla="*/ 431 w 492"/>
                <a:gd name="T103" fmla="*/ 128 h 504"/>
                <a:gd name="T104" fmla="*/ 465 w 492"/>
                <a:gd name="T105" fmla="*/ 90 h 504"/>
                <a:gd name="T106" fmla="*/ 417 w 492"/>
                <a:gd name="T107" fmla="*/ 90 h 504"/>
                <a:gd name="T108" fmla="*/ 424 w 492"/>
                <a:gd name="T109" fmla="*/ 56 h 504"/>
                <a:gd name="T110" fmla="*/ 465 w 492"/>
                <a:gd name="T111" fmla="*/ 9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504">
                  <a:moveTo>
                    <a:pt x="474" y="0"/>
                  </a:moveTo>
                  <a:cubicBezTo>
                    <a:pt x="18" y="0"/>
                    <a:pt x="18" y="0"/>
                    <a:pt x="18" y="0"/>
                  </a:cubicBezTo>
                  <a:cubicBezTo>
                    <a:pt x="8" y="0"/>
                    <a:pt x="0" y="9"/>
                    <a:pt x="0" y="19"/>
                  </a:cubicBezTo>
                  <a:cubicBezTo>
                    <a:pt x="0" y="486"/>
                    <a:pt x="0" y="486"/>
                    <a:pt x="0" y="486"/>
                  </a:cubicBezTo>
                  <a:cubicBezTo>
                    <a:pt x="0" y="496"/>
                    <a:pt x="8" y="504"/>
                    <a:pt x="18" y="504"/>
                  </a:cubicBezTo>
                  <a:cubicBezTo>
                    <a:pt x="474" y="504"/>
                    <a:pt x="474" y="504"/>
                    <a:pt x="474" y="504"/>
                  </a:cubicBezTo>
                  <a:cubicBezTo>
                    <a:pt x="484" y="504"/>
                    <a:pt x="492" y="496"/>
                    <a:pt x="492" y="486"/>
                  </a:cubicBezTo>
                  <a:cubicBezTo>
                    <a:pt x="492" y="19"/>
                    <a:pt x="492" y="19"/>
                    <a:pt x="492" y="19"/>
                  </a:cubicBezTo>
                  <a:cubicBezTo>
                    <a:pt x="492" y="9"/>
                    <a:pt x="484" y="0"/>
                    <a:pt x="474" y="0"/>
                  </a:cubicBezTo>
                  <a:close/>
                  <a:moveTo>
                    <a:pt x="104" y="38"/>
                  </a:moveTo>
                  <a:cubicBezTo>
                    <a:pt x="388" y="38"/>
                    <a:pt x="388" y="38"/>
                    <a:pt x="388" y="38"/>
                  </a:cubicBezTo>
                  <a:cubicBezTo>
                    <a:pt x="388" y="252"/>
                    <a:pt x="388" y="252"/>
                    <a:pt x="388" y="252"/>
                  </a:cubicBezTo>
                  <a:cubicBezTo>
                    <a:pt x="104" y="252"/>
                    <a:pt x="104" y="252"/>
                    <a:pt x="104" y="252"/>
                  </a:cubicBezTo>
                  <a:lnTo>
                    <a:pt x="104" y="38"/>
                  </a:lnTo>
                  <a:close/>
                  <a:moveTo>
                    <a:pt x="25" y="56"/>
                  </a:moveTo>
                  <a:cubicBezTo>
                    <a:pt x="59" y="56"/>
                    <a:pt x="59" y="56"/>
                    <a:pt x="59" y="56"/>
                  </a:cubicBezTo>
                  <a:cubicBezTo>
                    <a:pt x="66" y="56"/>
                    <a:pt x="66" y="56"/>
                    <a:pt x="66" y="56"/>
                  </a:cubicBezTo>
                  <a:cubicBezTo>
                    <a:pt x="73" y="56"/>
                    <a:pt x="73" y="56"/>
                    <a:pt x="73" y="56"/>
                  </a:cubicBezTo>
                  <a:cubicBezTo>
                    <a:pt x="90" y="73"/>
                    <a:pt x="90" y="73"/>
                    <a:pt x="90" y="73"/>
                  </a:cubicBezTo>
                  <a:cubicBezTo>
                    <a:pt x="73" y="90"/>
                    <a:pt x="73" y="90"/>
                    <a:pt x="73" y="90"/>
                  </a:cubicBezTo>
                  <a:cubicBezTo>
                    <a:pt x="66" y="90"/>
                    <a:pt x="66" y="90"/>
                    <a:pt x="66" y="90"/>
                  </a:cubicBezTo>
                  <a:cubicBezTo>
                    <a:pt x="59" y="90"/>
                    <a:pt x="59" y="90"/>
                    <a:pt x="59" y="90"/>
                  </a:cubicBezTo>
                  <a:cubicBezTo>
                    <a:pt x="25" y="90"/>
                    <a:pt x="25" y="90"/>
                    <a:pt x="25" y="90"/>
                  </a:cubicBezTo>
                  <a:lnTo>
                    <a:pt x="25" y="56"/>
                  </a:lnTo>
                  <a:close/>
                  <a:moveTo>
                    <a:pt x="25" y="128"/>
                  </a:moveTo>
                  <a:cubicBezTo>
                    <a:pt x="59" y="128"/>
                    <a:pt x="59" y="128"/>
                    <a:pt x="59" y="128"/>
                  </a:cubicBezTo>
                  <a:cubicBezTo>
                    <a:pt x="66" y="128"/>
                    <a:pt x="66" y="128"/>
                    <a:pt x="66" y="128"/>
                  </a:cubicBezTo>
                  <a:cubicBezTo>
                    <a:pt x="73" y="128"/>
                    <a:pt x="73" y="128"/>
                    <a:pt x="73" y="128"/>
                  </a:cubicBezTo>
                  <a:cubicBezTo>
                    <a:pt x="90" y="145"/>
                    <a:pt x="90" y="145"/>
                    <a:pt x="90" y="145"/>
                  </a:cubicBezTo>
                  <a:cubicBezTo>
                    <a:pt x="73" y="162"/>
                    <a:pt x="73" y="162"/>
                    <a:pt x="73" y="162"/>
                  </a:cubicBezTo>
                  <a:cubicBezTo>
                    <a:pt x="66" y="162"/>
                    <a:pt x="66" y="162"/>
                    <a:pt x="66" y="162"/>
                  </a:cubicBezTo>
                  <a:cubicBezTo>
                    <a:pt x="59" y="162"/>
                    <a:pt x="59" y="162"/>
                    <a:pt x="59" y="162"/>
                  </a:cubicBezTo>
                  <a:cubicBezTo>
                    <a:pt x="25" y="162"/>
                    <a:pt x="25" y="162"/>
                    <a:pt x="25" y="162"/>
                  </a:cubicBezTo>
                  <a:lnTo>
                    <a:pt x="25" y="128"/>
                  </a:lnTo>
                  <a:close/>
                  <a:moveTo>
                    <a:pt x="68" y="458"/>
                  </a:moveTo>
                  <a:cubicBezTo>
                    <a:pt x="68" y="463"/>
                    <a:pt x="64" y="467"/>
                    <a:pt x="58" y="467"/>
                  </a:cubicBezTo>
                  <a:cubicBezTo>
                    <a:pt x="34" y="467"/>
                    <a:pt x="34" y="467"/>
                    <a:pt x="34" y="467"/>
                  </a:cubicBezTo>
                  <a:cubicBezTo>
                    <a:pt x="29" y="467"/>
                    <a:pt x="25" y="463"/>
                    <a:pt x="25" y="458"/>
                  </a:cubicBezTo>
                  <a:cubicBezTo>
                    <a:pt x="25" y="434"/>
                    <a:pt x="25" y="434"/>
                    <a:pt x="25" y="434"/>
                  </a:cubicBezTo>
                  <a:cubicBezTo>
                    <a:pt x="25" y="429"/>
                    <a:pt x="29" y="424"/>
                    <a:pt x="34" y="424"/>
                  </a:cubicBezTo>
                  <a:cubicBezTo>
                    <a:pt x="58" y="424"/>
                    <a:pt x="58" y="424"/>
                    <a:pt x="58" y="424"/>
                  </a:cubicBezTo>
                  <a:cubicBezTo>
                    <a:pt x="64" y="424"/>
                    <a:pt x="68" y="429"/>
                    <a:pt x="68" y="434"/>
                  </a:cubicBezTo>
                  <a:lnTo>
                    <a:pt x="68" y="458"/>
                  </a:lnTo>
                  <a:close/>
                  <a:moveTo>
                    <a:pt x="68" y="398"/>
                  </a:moveTo>
                  <a:cubicBezTo>
                    <a:pt x="68" y="403"/>
                    <a:pt x="64" y="408"/>
                    <a:pt x="58" y="408"/>
                  </a:cubicBezTo>
                  <a:cubicBezTo>
                    <a:pt x="34" y="408"/>
                    <a:pt x="34" y="408"/>
                    <a:pt x="34" y="408"/>
                  </a:cubicBezTo>
                  <a:cubicBezTo>
                    <a:pt x="29" y="408"/>
                    <a:pt x="25" y="403"/>
                    <a:pt x="25" y="398"/>
                  </a:cubicBezTo>
                  <a:cubicBezTo>
                    <a:pt x="25" y="374"/>
                    <a:pt x="25" y="374"/>
                    <a:pt x="25" y="374"/>
                  </a:cubicBezTo>
                  <a:cubicBezTo>
                    <a:pt x="25" y="369"/>
                    <a:pt x="29" y="365"/>
                    <a:pt x="34" y="365"/>
                  </a:cubicBezTo>
                  <a:cubicBezTo>
                    <a:pt x="58" y="365"/>
                    <a:pt x="58" y="365"/>
                    <a:pt x="58" y="365"/>
                  </a:cubicBezTo>
                  <a:cubicBezTo>
                    <a:pt x="64" y="365"/>
                    <a:pt x="68" y="369"/>
                    <a:pt x="68" y="374"/>
                  </a:cubicBezTo>
                  <a:lnTo>
                    <a:pt x="68" y="398"/>
                  </a:lnTo>
                  <a:close/>
                  <a:moveTo>
                    <a:pt x="68" y="339"/>
                  </a:moveTo>
                  <a:cubicBezTo>
                    <a:pt x="68" y="344"/>
                    <a:pt x="64" y="348"/>
                    <a:pt x="58" y="348"/>
                  </a:cubicBezTo>
                  <a:cubicBezTo>
                    <a:pt x="34" y="348"/>
                    <a:pt x="34" y="348"/>
                    <a:pt x="34" y="348"/>
                  </a:cubicBezTo>
                  <a:cubicBezTo>
                    <a:pt x="29" y="348"/>
                    <a:pt x="25" y="344"/>
                    <a:pt x="25" y="339"/>
                  </a:cubicBezTo>
                  <a:cubicBezTo>
                    <a:pt x="25" y="315"/>
                    <a:pt x="25" y="315"/>
                    <a:pt x="25" y="315"/>
                  </a:cubicBezTo>
                  <a:cubicBezTo>
                    <a:pt x="25" y="310"/>
                    <a:pt x="29" y="305"/>
                    <a:pt x="34" y="305"/>
                  </a:cubicBezTo>
                  <a:cubicBezTo>
                    <a:pt x="58" y="305"/>
                    <a:pt x="58" y="305"/>
                    <a:pt x="58" y="305"/>
                  </a:cubicBezTo>
                  <a:cubicBezTo>
                    <a:pt x="64" y="305"/>
                    <a:pt x="68" y="310"/>
                    <a:pt x="68" y="315"/>
                  </a:cubicBezTo>
                  <a:lnTo>
                    <a:pt x="68" y="339"/>
                  </a:lnTo>
                  <a:close/>
                  <a:moveTo>
                    <a:pt x="66" y="234"/>
                  </a:moveTo>
                  <a:cubicBezTo>
                    <a:pt x="59" y="234"/>
                    <a:pt x="59" y="234"/>
                    <a:pt x="59" y="234"/>
                  </a:cubicBezTo>
                  <a:cubicBezTo>
                    <a:pt x="25" y="234"/>
                    <a:pt x="25" y="234"/>
                    <a:pt x="25" y="234"/>
                  </a:cubicBezTo>
                  <a:cubicBezTo>
                    <a:pt x="25" y="201"/>
                    <a:pt x="25" y="201"/>
                    <a:pt x="25" y="201"/>
                  </a:cubicBezTo>
                  <a:cubicBezTo>
                    <a:pt x="59" y="201"/>
                    <a:pt x="59" y="201"/>
                    <a:pt x="59" y="201"/>
                  </a:cubicBezTo>
                  <a:cubicBezTo>
                    <a:pt x="66" y="201"/>
                    <a:pt x="66" y="201"/>
                    <a:pt x="66" y="201"/>
                  </a:cubicBezTo>
                  <a:cubicBezTo>
                    <a:pt x="73" y="201"/>
                    <a:pt x="73" y="201"/>
                    <a:pt x="73" y="201"/>
                  </a:cubicBezTo>
                  <a:cubicBezTo>
                    <a:pt x="90" y="217"/>
                    <a:pt x="90" y="217"/>
                    <a:pt x="90" y="217"/>
                  </a:cubicBezTo>
                  <a:cubicBezTo>
                    <a:pt x="73" y="234"/>
                    <a:pt x="73" y="234"/>
                    <a:pt x="73" y="234"/>
                  </a:cubicBezTo>
                  <a:lnTo>
                    <a:pt x="66" y="234"/>
                  </a:lnTo>
                  <a:close/>
                  <a:moveTo>
                    <a:pt x="125" y="458"/>
                  </a:moveTo>
                  <a:cubicBezTo>
                    <a:pt x="125" y="463"/>
                    <a:pt x="121" y="467"/>
                    <a:pt x="116" y="467"/>
                  </a:cubicBezTo>
                  <a:cubicBezTo>
                    <a:pt x="92" y="467"/>
                    <a:pt x="92" y="467"/>
                    <a:pt x="92" y="467"/>
                  </a:cubicBezTo>
                  <a:cubicBezTo>
                    <a:pt x="87" y="467"/>
                    <a:pt x="83" y="463"/>
                    <a:pt x="83" y="458"/>
                  </a:cubicBezTo>
                  <a:cubicBezTo>
                    <a:pt x="83" y="434"/>
                    <a:pt x="83" y="434"/>
                    <a:pt x="83" y="434"/>
                  </a:cubicBezTo>
                  <a:cubicBezTo>
                    <a:pt x="83" y="429"/>
                    <a:pt x="87" y="424"/>
                    <a:pt x="92" y="424"/>
                  </a:cubicBezTo>
                  <a:cubicBezTo>
                    <a:pt x="116" y="424"/>
                    <a:pt x="116" y="424"/>
                    <a:pt x="116" y="424"/>
                  </a:cubicBezTo>
                  <a:cubicBezTo>
                    <a:pt x="121" y="424"/>
                    <a:pt x="125" y="429"/>
                    <a:pt x="125" y="434"/>
                  </a:cubicBezTo>
                  <a:lnTo>
                    <a:pt x="125" y="458"/>
                  </a:lnTo>
                  <a:close/>
                  <a:moveTo>
                    <a:pt x="125" y="398"/>
                  </a:moveTo>
                  <a:cubicBezTo>
                    <a:pt x="125" y="403"/>
                    <a:pt x="121" y="408"/>
                    <a:pt x="116" y="408"/>
                  </a:cubicBezTo>
                  <a:cubicBezTo>
                    <a:pt x="92" y="408"/>
                    <a:pt x="92" y="408"/>
                    <a:pt x="92" y="408"/>
                  </a:cubicBezTo>
                  <a:cubicBezTo>
                    <a:pt x="87" y="408"/>
                    <a:pt x="83" y="403"/>
                    <a:pt x="83" y="398"/>
                  </a:cubicBezTo>
                  <a:cubicBezTo>
                    <a:pt x="83" y="374"/>
                    <a:pt x="83" y="374"/>
                    <a:pt x="83" y="374"/>
                  </a:cubicBezTo>
                  <a:cubicBezTo>
                    <a:pt x="83" y="369"/>
                    <a:pt x="87" y="365"/>
                    <a:pt x="92" y="365"/>
                  </a:cubicBezTo>
                  <a:cubicBezTo>
                    <a:pt x="116" y="365"/>
                    <a:pt x="116" y="365"/>
                    <a:pt x="116" y="365"/>
                  </a:cubicBezTo>
                  <a:cubicBezTo>
                    <a:pt x="121" y="365"/>
                    <a:pt x="125" y="369"/>
                    <a:pt x="125" y="374"/>
                  </a:cubicBezTo>
                  <a:lnTo>
                    <a:pt x="125" y="398"/>
                  </a:lnTo>
                  <a:close/>
                  <a:moveTo>
                    <a:pt x="125" y="339"/>
                  </a:moveTo>
                  <a:cubicBezTo>
                    <a:pt x="125" y="344"/>
                    <a:pt x="121" y="348"/>
                    <a:pt x="116" y="348"/>
                  </a:cubicBezTo>
                  <a:cubicBezTo>
                    <a:pt x="92" y="348"/>
                    <a:pt x="92" y="348"/>
                    <a:pt x="92" y="348"/>
                  </a:cubicBezTo>
                  <a:cubicBezTo>
                    <a:pt x="87" y="348"/>
                    <a:pt x="83" y="344"/>
                    <a:pt x="83" y="339"/>
                  </a:cubicBezTo>
                  <a:cubicBezTo>
                    <a:pt x="83" y="315"/>
                    <a:pt x="83" y="315"/>
                    <a:pt x="83" y="315"/>
                  </a:cubicBezTo>
                  <a:cubicBezTo>
                    <a:pt x="83" y="310"/>
                    <a:pt x="87" y="305"/>
                    <a:pt x="92" y="305"/>
                  </a:cubicBezTo>
                  <a:cubicBezTo>
                    <a:pt x="116" y="305"/>
                    <a:pt x="116" y="305"/>
                    <a:pt x="116" y="305"/>
                  </a:cubicBezTo>
                  <a:cubicBezTo>
                    <a:pt x="121" y="305"/>
                    <a:pt x="125" y="310"/>
                    <a:pt x="125" y="315"/>
                  </a:cubicBezTo>
                  <a:lnTo>
                    <a:pt x="125" y="339"/>
                  </a:lnTo>
                  <a:close/>
                  <a:moveTo>
                    <a:pt x="183" y="458"/>
                  </a:moveTo>
                  <a:cubicBezTo>
                    <a:pt x="183" y="463"/>
                    <a:pt x="179" y="467"/>
                    <a:pt x="174" y="467"/>
                  </a:cubicBezTo>
                  <a:cubicBezTo>
                    <a:pt x="150" y="467"/>
                    <a:pt x="150" y="467"/>
                    <a:pt x="150" y="467"/>
                  </a:cubicBezTo>
                  <a:cubicBezTo>
                    <a:pt x="145" y="467"/>
                    <a:pt x="140" y="463"/>
                    <a:pt x="140" y="458"/>
                  </a:cubicBezTo>
                  <a:cubicBezTo>
                    <a:pt x="140" y="434"/>
                    <a:pt x="140" y="434"/>
                    <a:pt x="140" y="434"/>
                  </a:cubicBezTo>
                  <a:cubicBezTo>
                    <a:pt x="140" y="429"/>
                    <a:pt x="145" y="424"/>
                    <a:pt x="150" y="424"/>
                  </a:cubicBezTo>
                  <a:cubicBezTo>
                    <a:pt x="174" y="424"/>
                    <a:pt x="174" y="424"/>
                    <a:pt x="174" y="424"/>
                  </a:cubicBezTo>
                  <a:cubicBezTo>
                    <a:pt x="179" y="424"/>
                    <a:pt x="183" y="429"/>
                    <a:pt x="183" y="434"/>
                  </a:cubicBezTo>
                  <a:lnTo>
                    <a:pt x="183" y="458"/>
                  </a:lnTo>
                  <a:close/>
                  <a:moveTo>
                    <a:pt x="183" y="398"/>
                  </a:moveTo>
                  <a:cubicBezTo>
                    <a:pt x="183" y="403"/>
                    <a:pt x="179" y="408"/>
                    <a:pt x="174" y="408"/>
                  </a:cubicBezTo>
                  <a:cubicBezTo>
                    <a:pt x="150" y="408"/>
                    <a:pt x="150" y="408"/>
                    <a:pt x="150" y="408"/>
                  </a:cubicBezTo>
                  <a:cubicBezTo>
                    <a:pt x="145" y="408"/>
                    <a:pt x="140" y="403"/>
                    <a:pt x="140" y="398"/>
                  </a:cubicBezTo>
                  <a:cubicBezTo>
                    <a:pt x="140" y="374"/>
                    <a:pt x="140" y="374"/>
                    <a:pt x="140" y="374"/>
                  </a:cubicBezTo>
                  <a:cubicBezTo>
                    <a:pt x="140" y="369"/>
                    <a:pt x="145" y="365"/>
                    <a:pt x="150" y="365"/>
                  </a:cubicBezTo>
                  <a:cubicBezTo>
                    <a:pt x="174" y="365"/>
                    <a:pt x="174" y="365"/>
                    <a:pt x="174" y="365"/>
                  </a:cubicBezTo>
                  <a:cubicBezTo>
                    <a:pt x="179" y="365"/>
                    <a:pt x="183" y="369"/>
                    <a:pt x="183" y="374"/>
                  </a:cubicBezTo>
                  <a:lnTo>
                    <a:pt x="183" y="398"/>
                  </a:lnTo>
                  <a:close/>
                  <a:moveTo>
                    <a:pt x="183" y="339"/>
                  </a:moveTo>
                  <a:cubicBezTo>
                    <a:pt x="183" y="344"/>
                    <a:pt x="179" y="348"/>
                    <a:pt x="174" y="348"/>
                  </a:cubicBezTo>
                  <a:cubicBezTo>
                    <a:pt x="150" y="348"/>
                    <a:pt x="150" y="348"/>
                    <a:pt x="150" y="348"/>
                  </a:cubicBezTo>
                  <a:cubicBezTo>
                    <a:pt x="145" y="348"/>
                    <a:pt x="140" y="344"/>
                    <a:pt x="140" y="339"/>
                  </a:cubicBezTo>
                  <a:cubicBezTo>
                    <a:pt x="140" y="315"/>
                    <a:pt x="140" y="315"/>
                    <a:pt x="140" y="315"/>
                  </a:cubicBezTo>
                  <a:cubicBezTo>
                    <a:pt x="140" y="310"/>
                    <a:pt x="145" y="305"/>
                    <a:pt x="150" y="305"/>
                  </a:cubicBezTo>
                  <a:cubicBezTo>
                    <a:pt x="174" y="305"/>
                    <a:pt x="174" y="305"/>
                    <a:pt x="174" y="305"/>
                  </a:cubicBezTo>
                  <a:cubicBezTo>
                    <a:pt x="179" y="305"/>
                    <a:pt x="183" y="310"/>
                    <a:pt x="183" y="315"/>
                  </a:cubicBezTo>
                  <a:lnTo>
                    <a:pt x="183" y="339"/>
                  </a:lnTo>
                  <a:close/>
                  <a:moveTo>
                    <a:pt x="465" y="394"/>
                  </a:moveTo>
                  <a:cubicBezTo>
                    <a:pt x="394" y="394"/>
                    <a:pt x="394" y="394"/>
                    <a:pt x="394" y="394"/>
                  </a:cubicBezTo>
                  <a:cubicBezTo>
                    <a:pt x="394" y="405"/>
                    <a:pt x="394" y="405"/>
                    <a:pt x="394" y="405"/>
                  </a:cubicBezTo>
                  <a:cubicBezTo>
                    <a:pt x="300" y="405"/>
                    <a:pt x="300" y="405"/>
                    <a:pt x="300" y="405"/>
                  </a:cubicBezTo>
                  <a:cubicBezTo>
                    <a:pt x="300" y="394"/>
                    <a:pt x="300" y="394"/>
                    <a:pt x="300" y="394"/>
                  </a:cubicBezTo>
                  <a:cubicBezTo>
                    <a:pt x="229" y="394"/>
                    <a:pt x="229" y="394"/>
                    <a:pt x="229" y="394"/>
                  </a:cubicBezTo>
                  <a:cubicBezTo>
                    <a:pt x="229" y="378"/>
                    <a:pt x="229" y="378"/>
                    <a:pt x="229" y="378"/>
                  </a:cubicBezTo>
                  <a:cubicBezTo>
                    <a:pt x="300" y="378"/>
                    <a:pt x="300" y="378"/>
                    <a:pt x="300" y="378"/>
                  </a:cubicBezTo>
                  <a:cubicBezTo>
                    <a:pt x="300" y="368"/>
                    <a:pt x="300" y="368"/>
                    <a:pt x="300" y="368"/>
                  </a:cubicBezTo>
                  <a:cubicBezTo>
                    <a:pt x="394" y="368"/>
                    <a:pt x="394" y="368"/>
                    <a:pt x="394" y="368"/>
                  </a:cubicBezTo>
                  <a:cubicBezTo>
                    <a:pt x="394" y="378"/>
                    <a:pt x="394" y="378"/>
                    <a:pt x="394" y="378"/>
                  </a:cubicBezTo>
                  <a:cubicBezTo>
                    <a:pt x="465" y="378"/>
                    <a:pt x="465" y="378"/>
                    <a:pt x="465" y="378"/>
                  </a:cubicBezTo>
                  <a:lnTo>
                    <a:pt x="465" y="394"/>
                  </a:lnTo>
                  <a:close/>
                  <a:moveTo>
                    <a:pt x="465" y="234"/>
                  </a:moveTo>
                  <a:cubicBezTo>
                    <a:pt x="431" y="234"/>
                    <a:pt x="431" y="234"/>
                    <a:pt x="431" y="234"/>
                  </a:cubicBezTo>
                  <a:cubicBezTo>
                    <a:pt x="424" y="234"/>
                    <a:pt x="424" y="234"/>
                    <a:pt x="424" y="234"/>
                  </a:cubicBezTo>
                  <a:cubicBezTo>
                    <a:pt x="417" y="234"/>
                    <a:pt x="417" y="234"/>
                    <a:pt x="417" y="234"/>
                  </a:cubicBezTo>
                  <a:cubicBezTo>
                    <a:pt x="400" y="217"/>
                    <a:pt x="400" y="217"/>
                    <a:pt x="400" y="217"/>
                  </a:cubicBezTo>
                  <a:cubicBezTo>
                    <a:pt x="417" y="201"/>
                    <a:pt x="417" y="201"/>
                    <a:pt x="417" y="201"/>
                  </a:cubicBezTo>
                  <a:cubicBezTo>
                    <a:pt x="424" y="201"/>
                    <a:pt x="424" y="201"/>
                    <a:pt x="424" y="201"/>
                  </a:cubicBezTo>
                  <a:cubicBezTo>
                    <a:pt x="431" y="201"/>
                    <a:pt x="431" y="201"/>
                    <a:pt x="431" y="201"/>
                  </a:cubicBezTo>
                  <a:cubicBezTo>
                    <a:pt x="465" y="201"/>
                    <a:pt x="465" y="201"/>
                    <a:pt x="465" y="201"/>
                  </a:cubicBezTo>
                  <a:lnTo>
                    <a:pt x="465" y="234"/>
                  </a:lnTo>
                  <a:close/>
                  <a:moveTo>
                    <a:pt x="465" y="162"/>
                  </a:moveTo>
                  <a:cubicBezTo>
                    <a:pt x="431" y="162"/>
                    <a:pt x="431" y="162"/>
                    <a:pt x="431" y="162"/>
                  </a:cubicBezTo>
                  <a:cubicBezTo>
                    <a:pt x="424" y="162"/>
                    <a:pt x="424" y="162"/>
                    <a:pt x="424" y="162"/>
                  </a:cubicBezTo>
                  <a:cubicBezTo>
                    <a:pt x="417" y="162"/>
                    <a:pt x="417" y="162"/>
                    <a:pt x="417" y="162"/>
                  </a:cubicBezTo>
                  <a:cubicBezTo>
                    <a:pt x="400" y="145"/>
                    <a:pt x="400" y="145"/>
                    <a:pt x="400" y="145"/>
                  </a:cubicBezTo>
                  <a:cubicBezTo>
                    <a:pt x="417" y="128"/>
                    <a:pt x="417" y="128"/>
                    <a:pt x="417" y="128"/>
                  </a:cubicBezTo>
                  <a:cubicBezTo>
                    <a:pt x="424" y="128"/>
                    <a:pt x="424" y="128"/>
                    <a:pt x="424" y="128"/>
                  </a:cubicBezTo>
                  <a:cubicBezTo>
                    <a:pt x="431" y="128"/>
                    <a:pt x="431" y="128"/>
                    <a:pt x="431" y="128"/>
                  </a:cubicBezTo>
                  <a:cubicBezTo>
                    <a:pt x="465" y="128"/>
                    <a:pt x="465" y="128"/>
                    <a:pt x="465" y="128"/>
                  </a:cubicBezTo>
                  <a:lnTo>
                    <a:pt x="465" y="162"/>
                  </a:lnTo>
                  <a:close/>
                  <a:moveTo>
                    <a:pt x="465" y="90"/>
                  </a:moveTo>
                  <a:cubicBezTo>
                    <a:pt x="431" y="90"/>
                    <a:pt x="431" y="90"/>
                    <a:pt x="431" y="90"/>
                  </a:cubicBezTo>
                  <a:cubicBezTo>
                    <a:pt x="424" y="90"/>
                    <a:pt x="424" y="90"/>
                    <a:pt x="424" y="90"/>
                  </a:cubicBezTo>
                  <a:cubicBezTo>
                    <a:pt x="417" y="90"/>
                    <a:pt x="417" y="90"/>
                    <a:pt x="417" y="90"/>
                  </a:cubicBezTo>
                  <a:cubicBezTo>
                    <a:pt x="400" y="73"/>
                    <a:pt x="400" y="73"/>
                    <a:pt x="400" y="73"/>
                  </a:cubicBezTo>
                  <a:cubicBezTo>
                    <a:pt x="417" y="56"/>
                    <a:pt x="417" y="56"/>
                    <a:pt x="417" y="56"/>
                  </a:cubicBezTo>
                  <a:cubicBezTo>
                    <a:pt x="424" y="56"/>
                    <a:pt x="424" y="56"/>
                    <a:pt x="424" y="56"/>
                  </a:cubicBezTo>
                  <a:cubicBezTo>
                    <a:pt x="431" y="56"/>
                    <a:pt x="431" y="56"/>
                    <a:pt x="431" y="56"/>
                  </a:cubicBezTo>
                  <a:cubicBezTo>
                    <a:pt x="465" y="56"/>
                    <a:pt x="465" y="56"/>
                    <a:pt x="465" y="56"/>
                  </a:cubicBezTo>
                  <a:lnTo>
                    <a:pt x="465" y="9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grpSp>
      <p:grpSp>
        <p:nvGrpSpPr>
          <p:cNvPr id="8" name="Group 7"/>
          <p:cNvGrpSpPr/>
          <p:nvPr/>
        </p:nvGrpSpPr>
        <p:grpSpPr>
          <a:xfrm>
            <a:off x="269240" y="2976117"/>
            <a:ext cx="2276919" cy="2276919"/>
            <a:chOff x="274638" y="3035298"/>
            <a:chExt cx="2322576" cy="2322576"/>
          </a:xfrm>
        </p:grpSpPr>
        <p:sp>
          <p:nvSpPr>
            <p:cNvPr id="21" name="Rectangle 9"/>
            <p:cNvSpPr/>
            <p:nvPr>
              <p:custDataLst>
                <p:tags r:id="rId2"/>
              </p:custDataLst>
            </p:nvPr>
          </p:nvSpPr>
          <p:spPr bwMode="auto">
            <a:xfrm>
              <a:off x="274638" y="3035298"/>
              <a:ext cx="2322576" cy="2322576"/>
            </a:xfrm>
            <a:prstGeom prst="rect">
              <a:avLst/>
            </a:prstGeom>
            <a:solidFill>
              <a:srgbClr val="008272"/>
            </a:solid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549" b="1" kern="0" spc="-29" dirty="0">
                  <a:gradFill>
                    <a:gsLst>
                      <a:gs pos="2917">
                        <a:srgbClr val="FFFFFF"/>
                      </a:gs>
                      <a:gs pos="30000">
                        <a:srgbClr val="FFFFFF"/>
                      </a:gs>
                    </a:gsLst>
                    <a:lin ang="5400000" scaled="0"/>
                  </a:gradFill>
                  <a:latin typeface="Segoe UI Light"/>
                  <a:ea typeface="ＭＳ Ｐゴシック" charset="0"/>
                </a:rPr>
                <a:t>Empower enterprise </a:t>
              </a:r>
              <a:br>
                <a:rPr lang="en-US" sz="2549" b="1" kern="0" spc="-29" dirty="0">
                  <a:gradFill>
                    <a:gsLst>
                      <a:gs pos="2917">
                        <a:srgbClr val="FFFFFF"/>
                      </a:gs>
                      <a:gs pos="30000">
                        <a:srgbClr val="FFFFFF"/>
                      </a:gs>
                    </a:gsLst>
                    <a:lin ang="5400000" scaled="0"/>
                  </a:gradFill>
                  <a:latin typeface="Segoe UI Light"/>
                  <a:ea typeface="ＭＳ Ｐゴシック" charset="0"/>
                </a:rPr>
              </a:br>
              <a:r>
                <a:rPr lang="en-US" sz="2549" b="1" kern="0" spc="-29" dirty="0">
                  <a:gradFill>
                    <a:gsLst>
                      <a:gs pos="2917">
                        <a:srgbClr val="FFFFFF"/>
                      </a:gs>
                      <a:gs pos="30000">
                        <a:srgbClr val="FFFFFF"/>
                      </a:gs>
                    </a:gsLst>
                    <a:lin ang="5400000" scaled="0"/>
                  </a:gradFill>
                  <a:latin typeface="Segoe UI Light"/>
                  <a:ea typeface="ＭＳ Ｐゴシック" charset="0"/>
                </a:rPr>
                <a:t>mobility</a:t>
              </a:r>
            </a:p>
            <a:p>
              <a:pPr defTabSz="914347">
                <a:lnSpc>
                  <a:spcPct val="90000"/>
                </a:lnSpc>
                <a:defRPr/>
              </a:pPr>
              <a:endParaRPr lang="en-US" sz="2549" b="1" kern="0" spc="-29" dirty="0">
                <a:gradFill>
                  <a:gsLst>
                    <a:gs pos="2917">
                      <a:srgbClr val="FFFFFF"/>
                    </a:gs>
                    <a:gs pos="30000">
                      <a:srgbClr val="FFFFFF"/>
                    </a:gs>
                  </a:gsLst>
                  <a:lin ang="5400000" scaled="0"/>
                </a:gradFill>
                <a:latin typeface="Segoe UI Light"/>
                <a:ea typeface="ＭＳ Ｐゴシック" charset="0"/>
              </a:endParaRPr>
            </a:p>
          </p:txBody>
        </p:sp>
        <p:sp>
          <p:nvSpPr>
            <p:cNvPr id="57" name="Freeform 10"/>
            <p:cNvSpPr>
              <a:spLocks noEditPoints="1"/>
            </p:cNvSpPr>
            <p:nvPr/>
          </p:nvSpPr>
          <p:spPr bwMode="auto">
            <a:xfrm>
              <a:off x="2131671" y="4662333"/>
              <a:ext cx="314637" cy="537838"/>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grpSp>
      <p:grpSp>
        <p:nvGrpSpPr>
          <p:cNvPr id="6" name="Group 5"/>
          <p:cNvGrpSpPr/>
          <p:nvPr/>
        </p:nvGrpSpPr>
        <p:grpSpPr>
          <a:xfrm>
            <a:off x="4922884" y="2976119"/>
            <a:ext cx="2276919" cy="2276919"/>
            <a:chOff x="5040142" y="3035300"/>
            <a:chExt cx="2322576" cy="2322576"/>
          </a:xfrm>
        </p:grpSpPr>
        <p:sp>
          <p:nvSpPr>
            <p:cNvPr id="19" name="Rectangle 6"/>
            <p:cNvSpPr/>
            <p:nvPr>
              <p:custDataLst>
                <p:tags r:id="rId1"/>
              </p:custDataLst>
            </p:nvPr>
          </p:nvSpPr>
          <p:spPr bwMode="auto">
            <a:xfrm>
              <a:off x="5040142" y="3035300"/>
              <a:ext cx="2322576" cy="2322576"/>
            </a:xfrm>
            <a:prstGeom prst="rect">
              <a:avLst/>
            </a:prstGeom>
            <a:solidFill>
              <a:srgbClr val="68217A"/>
            </a:solid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549" b="1" kern="0" spc="-29" dirty="0">
                  <a:gradFill>
                    <a:gsLst>
                      <a:gs pos="2917">
                        <a:srgbClr val="FFFFFF"/>
                      </a:gs>
                      <a:gs pos="30000">
                        <a:srgbClr val="FFFFFF"/>
                      </a:gs>
                    </a:gsLst>
                    <a:lin ang="5400000" scaled="0"/>
                  </a:gradFill>
                  <a:latin typeface="Segoe UI Light"/>
                  <a:ea typeface="ＭＳ Ｐゴシック" charset="0"/>
                </a:rPr>
                <a:t>Enable application</a:t>
              </a:r>
            </a:p>
            <a:p>
              <a:pPr defTabSz="914347">
                <a:lnSpc>
                  <a:spcPct val="90000"/>
                </a:lnSpc>
                <a:defRPr/>
              </a:pPr>
              <a:r>
                <a:rPr lang="en-US" sz="2549" b="1" kern="0" spc="-29" dirty="0">
                  <a:gradFill>
                    <a:gsLst>
                      <a:gs pos="2917">
                        <a:srgbClr val="FFFFFF"/>
                      </a:gs>
                      <a:gs pos="30000">
                        <a:srgbClr val="FFFFFF"/>
                      </a:gs>
                    </a:gsLst>
                    <a:lin ang="5400000" scaled="0"/>
                  </a:gradFill>
                  <a:latin typeface="Segoe UI Light"/>
                  <a:ea typeface="ＭＳ Ｐゴシック" charset="0"/>
                </a:rPr>
                <a:t>innovation</a:t>
              </a:r>
            </a:p>
          </p:txBody>
        </p:sp>
        <p:grpSp>
          <p:nvGrpSpPr>
            <p:cNvPr id="58" name="Group 57"/>
            <p:cNvGrpSpPr/>
            <p:nvPr/>
          </p:nvGrpSpPr>
          <p:grpSpPr>
            <a:xfrm>
              <a:off x="6779449" y="4750344"/>
              <a:ext cx="407980" cy="461387"/>
              <a:chOff x="3939306" y="2443166"/>
              <a:chExt cx="656218" cy="742121"/>
            </a:xfrm>
          </p:grpSpPr>
          <p:sp>
            <p:nvSpPr>
              <p:cNvPr id="59" name="Freeform 32"/>
              <p:cNvSpPr>
                <a:spLocks/>
              </p:cNvSpPr>
              <p:nvPr/>
            </p:nvSpPr>
            <p:spPr bwMode="auto">
              <a:xfrm flipH="1">
                <a:off x="4282637" y="2649926"/>
                <a:ext cx="312887" cy="535360"/>
              </a:xfrm>
              <a:custGeom>
                <a:avLst/>
                <a:gdLst>
                  <a:gd name="T0" fmla="*/ 706 w 706"/>
                  <a:gd name="T1" fmla="*/ 400 h 1208"/>
                  <a:gd name="T2" fmla="*/ 698 w 706"/>
                  <a:gd name="T3" fmla="*/ 1208 h 1208"/>
                  <a:gd name="T4" fmla="*/ 0 w 706"/>
                  <a:gd name="T5" fmla="*/ 805 h 1208"/>
                  <a:gd name="T6" fmla="*/ 0 w 706"/>
                  <a:gd name="T7" fmla="*/ 0 h 1208"/>
                  <a:gd name="T8" fmla="*/ 706 w 706"/>
                  <a:gd name="T9" fmla="*/ 400 h 1208"/>
                  <a:gd name="T10" fmla="*/ 706 w 706"/>
                  <a:gd name="T11" fmla="*/ 400 h 1208"/>
                  <a:gd name="T12" fmla="*/ 706 w 706"/>
                  <a:gd name="T13" fmla="*/ 400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0"/>
                    </a:moveTo>
                    <a:lnTo>
                      <a:pt x="698" y="1208"/>
                    </a:lnTo>
                    <a:lnTo>
                      <a:pt x="0" y="805"/>
                    </a:lnTo>
                    <a:lnTo>
                      <a:pt x="0" y="0"/>
                    </a:lnTo>
                    <a:lnTo>
                      <a:pt x="706" y="400"/>
                    </a:lnTo>
                    <a:lnTo>
                      <a:pt x="706" y="400"/>
                    </a:lnTo>
                    <a:lnTo>
                      <a:pt x="706" y="4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60" name="Freeform 33"/>
              <p:cNvSpPr>
                <a:spLocks/>
              </p:cNvSpPr>
              <p:nvPr/>
            </p:nvSpPr>
            <p:spPr bwMode="auto">
              <a:xfrm flipH="1">
                <a:off x="3939306" y="2649927"/>
                <a:ext cx="312886" cy="535360"/>
              </a:xfrm>
              <a:custGeom>
                <a:avLst/>
                <a:gdLst>
                  <a:gd name="T0" fmla="*/ 7 w 706"/>
                  <a:gd name="T1" fmla="*/ 400 h 1208"/>
                  <a:gd name="T2" fmla="*/ 0 w 706"/>
                  <a:gd name="T3" fmla="*/ 1208 h 1208"/>
                  <a:gd name="T4" fmla="*/ 701 w 706"/>
                  <a:gd name="T5" fmla="*/ 805 h 1208"/>
                  <a:gd name="T6" fmla="*/ 706 w 706"/>
                  <a:gd name="T7" fmla="*/ 0 h 1208"/>
                  <a:gd name="T8" fmla="*/ 7 w 706"/>
                  <a:gd name="T9" fmla="*/ 400 h 1208"/>
                  <a:gd name="T10" fmla="*/ 7 w 706"/>
                  <a:gd name="T11" fmla="*/ 400 h 1208"/>
                  <a:gd name="T12" fmla="*/ 7 w 706"/>
                  <a:gd name="T13" fmla="*/ 400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0"/>
                    </a:moveTo>
                    <a:lnTo>
                      <a:pt x="0" y="1208"/>
                    </a:lnTo>
                    <a:lnTo>
                      <a:pt x="701" y="805"/>
                    </a:lnTo>
                    <a:lnTo>
                      <a:pt x="706" y="0"/>
                    </a:lnTo>
                    <a:lnTo>
                      <a:pt x="7" y="400"/>
                    </a:lnTo>
                    <a:lnTo>
                      <a:pt x="7" y="400"/>
                    </a:lnTo>
                    <a:lnTo>
                      <a:pt x="7" y="4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sp>
            <p:nvSpPr>
              <p:cNvPr id="61" name="Freeform 34"/>
              <p:cNvSpPr>
                <a:spLocks/>
              </p:cNvSpPr>
              <p:nvPr/>
            </p:nvSpPr>
            <p:spPr bwMode="auto">
              <a:xfrm flipH="1">
                <a:off x="3955636" y="2443166"/>
                <a:ext cx="623552" cy="356756"/>
              </a:xfrm>
              <a:custGeom>
                <a:avLst/>
                <a:gdLst>
                  <a:gd name="T0" fmla="*/ 708 w 1407"/>
                  <a:gd name="T1" fmla="*/ 805 h 805"/>
                  <a:gd name="T2" fmla="*/ 0 w 1407"/>
                  <a:gd name="T3" fmla="*/ 398 h 805"/>
                  <a:gd name="T4" fmla="*/ 701 w 1407"/>
                  <a:gd name="T5" fmla="*/ 0 h 805"/>
                  <a:gd name="T6" fmla="*/ 1407 w 1407"/>
                  <a:gd name="T7" fmla="*/ 398 h 805"/>
                  <a:gd name="T8" fmla="*/ 708 w 1407"/>
                  <a:gd name="T9" fmla="*/ 805 h 805"/>
                  <a:gd name="T10" fmla="*/ 708 w 1407"/>
                  <a:gd name="T11" fmla="*/ 805 h 805"/>
                  <a:gd name="T12" fmla="*/ 708 w 1407"/>
                  <a:gd name="T13" fmla="*/ 805 h 805"/>
                </a:gdLst>
                <a:ahLst/>
                <a:cxnLst>
                  <a:cxn ang="0">
                    <a:pos x="T0" y="T1"/>
                  </a:cxn>
                  <a:cxn ang="0">
                    <a:pos x="T2" y="T3"/>
                  </a:cxn>
                  <a:cxn ang="0">
                    <a:pos x="T4" y="T5"/>
                  </a:cxn>
                  <a:cxn ang="0">
                    <a:pos x="T6" y="T7"/>
                  </a:cxn>
                  <a:cxn ang="0">
                    <a:pos x="T8" y="T9"/>
                  </a:cxn>
                  <a:cxn ang="0">
                    <a:pos x="T10" y="T11"/>
                  </a:cxn>
                  <a:cxn ang="0">
                    <a:pos x="T12" y="T13"/>
                  </a:cxn>
                </a:cxnLst>
                <a:rect l="0" t="0" r="r" b="b"/>
                <a:pathLst>
                  <a:path w="1407" h="805">
                    <a:moveTo>
                      <a:pt x="708" y="805"/>
                    </a:moveTo>
                    <a:lnTo>
                      <a:pt x="0" y="398"/>
                    </a:lnTo>
                    <a:lnTo>
                      <a:pt x="701" y="0"/>
                    </a:lnTo>
                    <a:lnTo>
                      <a:pt x="1407" y="398"/>
                    </a:lnTo>
                    <a:lnTo>
                      <a:pt x="708" y="805"/>
                    </a:lnTo>
                    <a:lnTo>
                      <a:pt x="708" y="805"/>
                    </a:lnTo>
                    <a:lnTo>
                      <a:pt x="708" y="805"/>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b="1">
                  <a:solidFill>
                    <a:srgbClr val="505050"/>
                  </a:solidFill>
                  <a:ea typeface="ＭＳ Ｐゴシック" charset="0"/>
                </a:endParaRPr>
              </a:p>
            </p:txBody>
          </p:sp>
        </p:grpSp>
      </p:grpSp>
    </p:spTree>
    <p:extLst>
      <p:ext uri="{BB962C8B-B14F-4D97-AF65-F5344CB8AC3E}">
        <p14:creationId xmlns:p14="http://schemas.microsoft.com/office/powerpoint/2010/main" val="12506200"/>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0-#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750" fill="hold"/>
                                        <p:tgtEl>
                                          <p:spTgt spid="6"/>
                                        </p:tgtEl>
                                        <p:attrNameLst>
                                          <p:attrName>ppt_x</p:attrName>
                                        </p:attrNameLst>
                                      </p:cBhvr>
                                      <p:tavLst>
                                        <p:tav tm="0">
                                          <p:val>
                                            <p:strVal val="0-#ppt_w/2"/>
                                          </p:val>
                                        </p:tav>
                                        <p:tav tm="100000">
                                          <p:val>
                                            <p:strVal val="#ppt_x"/>
                                          </p:val>
                                        </p:tav>
                                      </p:tavLst>
                                    </p:anim>
                                    <p:anim calcmode="lin" valueType="num">
                                      <p:cBhvr additive="base">
                                        <p:cTn id="16" dur="75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75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750" fill="hold"/>
                                        <p:tgtEl>
                                          <p:spTgt spid="7"/>
                                        </p:tgtEl>
                                        <p:attrNameLst>
                                          <p:attrName>ppt_x</p:attrName>
                                        </p:attrNameLst>
                                      </p:cBhvr>
                                      <p:tavLst>
                                        <p:tav tm="0">
                                          <p:val>
                                            <p:strVal val="0-#ppt_w/2"/>
                                          </p:val>
                                        </p:tav>
                                        <p:tav tm="100000">
                                          <p:val>
                                            <p:strVal val="#ppt_x"/>
                                          </p:val>
                                        </p:tav>
                                      </p:tavLst>
                                    </p:anim>
                                    <p:anim calcmode="lin" valueType="num">
                                      <p:cBhvr additive="base">
                                        <p:cTn id="20" dur="75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0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750" fill="hold"/>
                                        <p:tgtEl>
                                          <p:spTgt spid="8"/>
                                        </p:tgtEl>
                                        <p:attrNameLst>
                                          <p:attrName>ppt_x</p:attrName>
                                        </p:attrNameLst>
                                      </p:cBhvr>
                                      <p:tavLst>
                                        <p:tav tm="0">
                                          <p:val>
                                            <p:strVal val="0-#ppt_w/2"/>
                                          </p:val>
                                        </p:tav>
                                        <p:tav tm="100000">
                                          <p:val>
                                            <p:strVal val="#ppt_x"/>
                                          </p:val>
                                        </p:tav>
                                      </p:tavLst>
                                    </p:anim>
                                    <p:anim calcmode="lin" valueType="num">
                                      <p:cBhvr additive="base">
                                        <p:cTn id="24" dur="7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3560"/>
            <a:ext cx="12199783" cy="6865120"/>
          </a:xfrm>
          <a:prstGeom prst="rect">
            <a:avLst/>
          </a:prstGeom>
        </p:spPr>
      </p:pic>
      <p:sp>
        <p:nvSpPr>
          <p:cNvPr id="13" name="Rectangle 12"/>
          <p:cNvSpPr/>
          <p:nvPr/>
        </p:nvSpPr>
        <p:spPr bwMode="auto">
          <a:xfrm>
            <a:off x="5647788" y="291514"/>
            <a:ext cx="6274974" cy="6274974"/>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Subtitle 2"/>
          <p:cNvSpPr txBox="1">
            <a:spLocks/>
          </p:cNvSpPr>
          <p:nvPr/>
        </p:nvSpPr>
        <p:spPr>
          <a:xfrm>
            <a:off x="5951265" y="3454470"/>
            <a:ext cx="3515666" cy="896425"/>
          </a:xfrm>
          <a:prstGeom prst="rect">
            <a:avLst/>
          </a:prstGeom>
        </p:spPr>
        <p:txBody>
          <a:bodyPr lIns="268927" tIns="143428" rIns="179285" bIns="143428"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72" b="1" dirty="0"/>
              <a:t>BILL CONNAGHAN</a:t>
            </a:r>
          </a:p>
          <a:p>
            <a:pPr fontAlgn="base">
              <a:lnSpc>
                <a:spcPct val="100000"/>
              </a:lnSpc>
              <a:spcBef>
                <a:spcPts val="0"/>
              </a:spcBef>
              <a:spcAft>
                <a:spcPct val="0"/>
              </a:spcAft>
            </a:pPr>
            <a:r>
              <a:rPr lang="en-US" sz="1372" dirty="0"/>
              <a:t>GLOBAL DESKTOP SYSTEM ADMINISTRATOR</a:t>
            </a:r>
          </a:p>
          <a:p>
            <a:pPr fontAlgn="base">
              <a:lnSpc>
                <a:spcPct val="100000"/>
              </a:lnSpc>
              <a:spcBef>
                <a:spcPts val="0"/>
              </a:spcBef>
              <a:spcAft>
                <a:spcPct val="0"/>
              </a:spcAft>
            </a:pPr>
            <a:r>
              <a:rPr lang="en-US" sz="1372" dirty="0"/>
              <a:t>CALLAWAY GOLF </a:t>
            </a:r>
          </a:p>
        </p:txBody>
      </p:sp>
      <p:sp>
        <p:nvSpPr>
          <p:cNvPr id="12" name="Rectangle 11"/>
          <p:cNvSpPr/>
          <p:nvPr/>
        </p:nvSpPr>
        <p:spPr>
          <a:xfrm>
            <a:off x="5901464" y="597440"/>
            <a:ext cx="6021298" cy="2896573"/>
          </a:xfrm>
          <a:prstGeom prst="rect">
            <a:avLst/>
          </a:prstGeom>
        </p:spPr>
        <p:txBody>
          <a:bodyPr wrap="square" lIns="179285" tIns="143428" rIns="179285" bIns="143428">
            <a:spAutoFit/>
          </a:bodyPr>
          <a:lstStyle/>
          <a:p>
            <a:pPr marL="115161" indent="-115161" defTabSz="914367" fontAlgn="base">
              <a:lnSpc>
                <a:spcPct val="90000"/>
              </a:lnSpc>
              <a:spcBef>
                <a:spcPts val="2400"/>
              </a:spcBef>
              <a:spcAft>
                <a:spcPct val="0"/>
              </a:spcAft>
            </a:pPr>
            <a:r>
              <a:rPr lang="en-US" sz="3137" dirty="0">
                <a:gradFill>
                  <a:gsLst>
                    <a:gs pos="67257">
                      <a:srgbClr val="FFFFFF"/>
                    </a:gs>
                    <a:gs pos="37000">
                      <a:srgbClr val="FFFFFF"/>
                    </a:gs>
                  </a:gsLst>
                  <a:lin ang="5400000" scaled="0"/>
                </a:gradFill>
                <a:latin typeface="Segoe UI Light"/>
                <a:ea typeface="ＭＳ Ｐゴシック" charset="0"/>
              </a:rPr>
              <a:t>“Our outside sales representatives are our revenue source. With Microsoft Intune watching over their computers, we can keep orders and money flowing into the company.” </a:t>
            </a:r>
          </a:p>
        </p:txBody>
      </p:sp>
      <p:grpSp>
        <p:nvGrpSpPr>
          <p:cNvPr id="25" name="Group 24"/>
          <p:cNvGrpSpPr/>
          <p:nvPr/>
        </p:nvGrpSpPr>
        <p:grpSpPr>
          <a:xfrm>
            <a:off x="9084083" y="4619565"/>
            <a:ext cx="2534716" cy="1597432"/>
            <a:chOff x="12117388" y="-19894551"/>
            <a:chExt cx="43210162" cy="27231976"/>
          </a:xfrm>
        </p:grpSpPr>
        <p:sp>
          <p:nvSpPr>
            <p:cNvPr id="26" name="Freeform 25"/>
            <p:cNvSpPr>
              <a:spLocks noEditPoints="1"/>
            </p:cNvSpPr>
            <p:nvPr/>
          </p:nvSpPr>
          <p:spPr bwMode="auto">
            <a:xfrm>
              <a:off x="12117388" y="-14762163"/>
              <a:ext cx="8435975" cy="10402888"/>
            </a:xfrm>
            <a:custGeom>
              <a:avLst/>
              <a:gdLst>
                <a:gd name="T0" fmla="*/ 2167 w 2249"/>
                <a:gd name="T1" fmla="*/ 1624 h 2773"/>
                <a:gd name="T2" fmla="*/ 1968 w 2249"/>
                <a:gd name="T3" fmla="*/ 1744 h 2773"/>
                <a:gd name="T4" fmla="*/ 1566 w 2249"/>
                <a:gd name="T5" fmla="*/ 2150 h 2773"/>
                <a:gd name="T6" fmla="*/ 1071 w 2249"/>
                <a:gd name="T7" fmla="*/ 2184 h 2773"/>
                <a:gd name="T8" fmla="*/ 1064 w 2249"/>
                <a:gd name="T9" fmla="*/ 1865 h 2773"/>
                <a:gd name="T10" fmla="*/ 954 w 2249"/>
                <a:gd name="T11" fmla="*/ 1291 h 2773"/>
                <a:gd name="T12" fmla="*/ 772 w 2249"/>
                <a:gd name="T13" fmla="*/ 652 h 2773"/>
                <a:gd name="T14" fmla="*/ 1191 w 2249"/>
                <a:gd name="T15" fmla="*/ 539 h 2773"/>
                <a:gd name="T16" fmla="*/ 1504 w 2249"/>
                <a:gd name="T17" fmla="*/ 216 h 2773"/>
                <a:gd name="T18" fmla="*/ 1246 w 2249"/>
                <a:gd name="T19" fmla="*/ 192 h 2773"/>
                <a:gd name="T20" fmla="*/ 607 w 2249"/>
                <a:gd name="T21" fmla="*/ 326 h 2773"/>
                <a:gd name="T22" fmla="*/ 13 w 2249"/>
                <a:gd name="T23" fmla="*/ 1295 h 2773"/>
                <a:gd name="T24" fmla="*/ 748 w 2249"/>
                <a:gd name="T25" fmla="*/ 2510 h 2773"/>
                <a:gd name="T26" fmla="*/ 2146 w 2249"/>
                <a:gd name="T27" fmla="*/ 1892 h 2773"/>
                <a:gd name="T28" fmla="*/ 2167 w 2249"/>
                <a:gd name="T29" fmla="*/ 1624 h 2773"/>
                <a:gd name="T30" fmla="*/ 793 w 2249"/>
                <a:gd name="T31" fmla="*/ 2050 h 2773"/>
                <a:gd name="T32" fmla="*/ 377 w 2249"/>
                <a:gd name="T33" fmla="*/ 1765 h 2773"/>
                <a:gd name="T34" fmla="*/ 504 w 2249"/>
                <a:gd name="T35" fmla="*/ 759 h 2773"/>
                <a:gd name="T36" fmla="*/ 528 w 2249"/>
                <a:gd name="T37" fmla="*/ 1003 h 2773"/>
                <a:gd name="T38" fmla="*/ 556 w 2249"/>
                <a:gd name="T39" fmla="*/ 1305 h 2773"/>
                <a:gd name="T40" fmla="*/ 803 w 2249"/>
                <a:gd name="T41" fmla="*/ 1827 h 2773"/>
                <a:gd name="T42" fmla="*/ 793 w 2249"/>
                <a:gd name="T43" fmla="*/ 2050 h 2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9" h="2773">
                  <a:moveTo>
                    <a:pt x="2167" y="1624"/>
                  </a:moveTo>
                  <a:cubicBezTo>
                    <a:pt x="2084" y="1576"/>
                    <a:pt x="2002" y="1683"/>
                    <a:pt x="1968" y="1744"/>
                  </a:cubicBezTo>
                  <a:cubicBezTo>
                    <a:pt x="1933" y="1806"/>
                    <a:pt x="1823" y="2036"/>
                    <a:pt x="1566" y="2150"/>
                  </a:cubicBezTo>
                  <a:cubicBezTo>
                    <a:pt x="1308" y="2263"/>
                    <a:pt x="1123" y="2243"/>
                    <a:pt x="1071" y="2184"/>
                  </a:cubicBezTo>
                  <a:cubicBezTo>
                    <a:pt x="1020" y="2126"/>
                    <a:pt x="1006" y="2074"/>
                    <a:pt x="1064" y="1865"/>
                  </a:cubicBezTo>
                  <a:cubicBezTo>
                    <a:pt x="1123" y="1655"/>
                    <a:pt x="1044" y="1463"/>
                    <a:pt x="954" y="1291"/>
                  </a:cubicBezTo>
                  <a:cubicBezTo>
                    <a:pt x="865" y="1119"/>
                    <a:pt x="655" y="832"/>
                    <a:pt x="772" y="652"/>
                  </a:cubicBezTo>
                  <a:cubicBezTo>
                    <a:pt x="824" y="573"/>
                    <a:pt x="1020" y="529"/>
                    <a:pt x="1191" y="539"/>
                  </a:cubicBezTo>
                  <a:cubicBezTo>
                    <a:pt x="1363" y="549"/>
                    <a:pt x="1507" y="433"/>
                    <a:pt x="1504" y="216"/>
                  </a:cubicBezTo>
                  <a:cubicBezTo>
                    <a:pt x="1500" y="0"/>
                    <a:pt x="1315" y="168"/>
                    <a:pt x="1246" y="192"/>
                  </a:cubicBezTo>
                  <a:cubicBezTo>
                    <a:pt x="1178" y="216"/>
                    <a:pt x="737" y="252"/>
                    <a:pt x="607" y="326"/>
                  </a:cubicBezTo>
                  <a:cubicBezTo>
                    <a:pt x="261" y="525"/>
                    <a:pt x="27" y="972"/>
                    <a:pt x="13" y="1295"/>
                  </a:cubicBezTo>
                  <a:cubicBezTo>
                    <a:pt x="0" y="1617"/>
                    <a:pt x="91" y="2281"/>
                    <a:pt x="748" y="2510"/>
                  </a:cubicBezTo>
                  <a:cubicBezTo>
                    <a:pt x="1054" y="2617"/>
                    <a:pt x="1734" y="2773"/>
                    <a:pt x="2146" y="1892"/>
                  </a:cubicBezTo>
                  <a:cubicBezTo>
                    <a:pt x="2222" y="1731"/>
                    <a:pt x="2249" y="1672"/>
                    <a:pt x="2167" y="1624"/>
                  </a:cubicBezTo>
                  <a:close/>
                  <a:moveTo>
                    <a:pt x="793" y="2050"/>
                  </a:moveTo>
                  <a:cubicBezTo>
                    <a:pt x="717" y="2078"/>
                    <a:pt x="566" y="2050"/>
                    <a:pt x="377" y="1765"/>
                  </a:cubicBezTo>
                  <a:cubicBezTo>
                    <a:pt x="61" y="1288"/>
                    <a:pt x="405" y="721"/>
                    <a:pt x="504" y="759"/>
                  </a:cubicBezTo>
                  <a:cubicBezTo>
                    <a:pt x="554" y="778"/>
                    <a:pt x="563" y="889"/>
                    <a:pt x="528" y="1003"/>
                  </a:cubicBezTo>
                  <a:cubicBezTo>
                    <a:pt x="494" y="1116"/>
                    <a:pt x="508" y="1219"/>
                    <a:pt x="556" y="1305"/>
                  </a:cubicBezTo>
                  <a:cubicBezTo>
                    <a:pt x="604" y="1391"/>
                    <a:pt x="772" y="1724"/>
                    <a:pt x="803" y="1827"/>
                  </a:cubicBezTo>
                  <a:cubicBezTo>
                    <a:pt x="834" y="1930"/>
                    <a:pt x="868" y="2023"/>
                    <a:pt x="793" y="20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7" name="Freeform 26"/>
            <p:cNvSpPr>
              <a:spLocks noEditPoints="1"/>
            </p:cNvSpPr>
            <p:nvPr/>
          </p:nvSpPr>
          <p:spPr bwMode="auto">
            <a:xfrm>
              <a:off x="19059525" y="-15032038"/>
              <a:ext cx="6016625" cy="6684963"/>
            </a:xfrm>
            <a:custGeom>
              <a:avLst/>
              <a:gdLst>
                <a:gd name="T0" fmla="*/ 1501 w 1604"/>
                <a:gd name="T1" fmla="*/ 1109 h 1782"/>
                <a:gd name="T2" fmla="*/ 1363 w 1604"/>
                <a:gd name="T3" fmla="*/ 1078 h 1782"/>
                <a:gd name="T4" fmla="*/ 975 w 1604"/>
                <a:gd name="T5" fmla="*/ 178 h 1782"/>
                <a:gd name="T6" fmla="*/ 621 w 1604"/>
                <a:gd name="T7" fmla="*/ 20 h 1782"/>
                <a:gd name="T8" fmla="*/ 213 w 1604"/>
                <a:gd name="T9" fmla="*/ 158 h 1782"/>
                <a:gd name="T10" fmla="*/ 48 w 1604"/>
                <a:gd name="T11" fmla="*/ 298 h 1782"/>
                <a:gd name="T12" fmla="*/ 65 w 1604"/>
                <a:gd name="T13" fmla="*/ 367 h 1782"/>
                <a:gd name="T14" fmla="*/ 522 w 1604"/>
                <a:gd name="T15" fmla="*/ 340 h 1782"/>
                <a:gd name="T16" fmla="*/ 659 w 1604"/>
                <a:gd name="T17" fmla="*/ 422 h 1782"/>
                <a:gd name="T18" fmla="*/ 770 w 1604"/>
                <a:gd name="T19" fmla="*/ 680 h 1782"/>
                <a:gd name="T20" fmla="*/ 463 w 1604"/>
                <a:gd name="T21" fmla="*/ 687 h 1782"/>
                <a:gd name="T22" fmla="*/ 336 w 1604"/>
                <a:gd name="T23" fmla="*/ 869 h 1782"/>
                <a:gd name="T24" fmla="*/ 295 w 1604"/>
                <a:gd name="T25" fmla="*/ 1422 h 1782"/>
                <a:gd name="T26" fmla="*/ 659 w 1604"/>
                <a:gd name="T27" fmla="*/ 1751 h 1782"/>
                <a:gd name="T28" fmla="*/ 889 w 1604"/>
                <a:gd name="T29" fmla="*/ 1566 h 1782"/>
                <a:gd name="T30" fmla="*/ 1106 w 1604"/>
                <a:gd name="T31" fmla="*/ 1370 h 1782"/>
                <a:gd name="T32" fmla="*/ 1298 w 1604"/>
                <a:gd name="T33" fmla="*/ 1514 h 1782"/>
                <a:gd name="T34" fmla="*/ 1411 w 1604"/>
                <a:gd name="T35" fmla="*/ 1480 h 1782"/>
                <a:gd name="T36" fmla="*/ 1573 w 1604"/>
                <a:gd name="T37" fmla="*/ 1164 h 1782"/>
                <a:gd name="T38" fmla="*/ 1501 w 1604"/>
                <a:gd name="T39" fmla="*/ 1109 h 1782"/>
                <a:gd name="T40" fmla="*/ 943 w 1604"/>
                <a:gd name="T41" fmla="*/ 1235 h 1782"/>
                <a:gd name="T42" fmla="*/ 845 w 1604"/>
                <a:gd name="T43" fmla="*/ 1380 h 1782"/>
                <a:gd name="T44" fmla="*/ 542 w 1604"/>
                <a:gd name="T45" fmla="*/ 1173 h 1782"/>
                <a:gd name="T46" fmla="*/ 538 w 1604"/>
                <a:gd name="T47" fmla="*/ 824 h 1782"/>
                <a:gd name="T48" fmla="*/ 822 w 1604"/>
                <a:gd name="T49" fmla="*/ 822 h 1782"/>
                <a:gd name="T50" fmla="*/ 934 w 1604"/>
                <a:gd name="T51" fmla="*/ 1102 h 1782"/>
                <a:gd name="T52" fmla="*/ 943 w 1604"/>
                <a:gd name="T53" fmla="*/ 1235 h 1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4" h="1782">
                  <a:moveTo>
                    <a:pt x="1501" y="1109"/>
                  </a:moveTo>
                  <a:cubicBezTo>
                    <a:pt x="1446" y="1154"/>
                    <a:pt x="1398" y="1161"/>
                    <a:pt x="1363" y="1078"/>
                  </a:cubicBezTo>
                  <a:cubicBezTo>
                    <a:pt x="1329" y="996"/>
                    <a:pt x="1009" y="268"/>
                    <a:pt x="975" y="178"/>
                  </a:cubicBezTo>
                  <a:cubicBezTo>
                    <a:pt x="941" y="89"/>
                    <a:pt x="848" y="7"/>
                    <a:pt x="621" y="20"/>
                  </a:cubicBezTo>
                  <a:cubicBezTo>
                    <a:pt x="384" y="34"/>
                    <a:pt x="281" y="0"/>
                    <a:pt x="213" y="158"/>
                  </a:cubicBezTo>
                  <a:cubicBezTo>
                    <a:pt x="179" y="235"/>
                    <a:pt x="96" y="278"/>
                    <a:pt x="48" y="298"/>
                  </a:cubicBezTo>
                  <a:cubicBezTo>
                    <a:pt x="0" y="319"/>
                    <a:pt x="17" y="367"/>
                    <a:pt x="65" y="367"/>
                  </a:cubicBezTo>
                  <a:cubicBezTo>
                    <a:pt x="113" y="367"/>
                    <a:pt x="467" y="340"/>
                    <a:pt x="522" y="340"/>
                  </a:cubicBezTo>
                  <a:cubicBezTo>
                    <a:pt x="577" y="340"/>
                    <a:pt x="625" y="340"/>
                    <a:pt x="659" y="422"/>
                  </a:cubicBezTo>
                  <a:cubicBezTo>
                    <a:pt x="694" y="505"/>
                    <a:pt x="770" y="680"/>
                    <a:pt x="770" y="680"/>
                  </a:cubicBezTo>
                  <a:cubicBezTo>
                    <a:pt x="770" y="680"/>
                    <a:pt x="529" y="687"/>
                    <a:pt x="463" y="687"/>
                  </a:cubicBezTo>
                  <a:cubicBezTo>
                    <a:pt x="398" y="687"/>
                    <a:pt x="360" y="786"/>
                    <a:pt x="336" y="869"/>
                  </a:cubicBezTo>
                  <a:cubicBezTo>
                    <a:pt x="312" y="951"/>
                    <a:pt x="220" y="1222"/>
                    <a:pt x="295" y="1422"/>
                  </a:cubicBezTo>
                  <a:cubicBezTo>
                    <a:pt x="371" y="1621"/>
                    <a:pt x="469" y="1714"/>
                    <a:pt x="659" y="1751"/>
                  </a:cubicBezTo>
                  <a:cubicBezTo>
                    <a:pt x="817" y="1782"/>
                    <a:pt x="823" y="1690"/>
                    <a:pt x="889" y="1566"/>
                  </a:cubicBezTo>
                  <a:cubicBezTo>
                    <a:pt x="992" y="1373"/>
                    <a:pt x="1013" y="1294"/>
                    <a:pt x="1106" y="1370"/>
                  </a:cubicBezTo>
                  <a:cubicBezTo>
                    <a:pt x="1198" y="1446"/>
                    <a:pt x="1246" y="1487"/>
                    <a:pt x="1298" y="1514"/>
                  </a:cubicBezTo>
                  <a:cubicBezTo>
                    <a:pt x="1349" y="1542"/>
                    <a:pt x="1384" y="1535"/>
                    <a:pt x="1411" y="1480"/>
                  </a:cubicBezTo>
                  <a:cubicBezTo>
                    <a:pt x="1439" y="1425"/>
                    <a:pt x="1542" y="1212"/>
                    <a:pt x="1573" y="1164"/>
                  </a:cubicBezTo>
                  <a:cubicBezTo>
                    <a:pt x="1604" y="1116"/>
                    <a:pt x="1556" y="1064"/>
                    <a:pt x="1501" y="1109"/>
                  </a:cubicBezTo>
                  <a:close/>
                  <a:moveTo>
                    <a:pt x="943" y="1235"/>
                  </a:moveTo>
                  <a:cubicBezTo>
                    <a:pt x="915" y="1297"/>
                    <a:pt x="873" y="1378"/>
                    <a:pt x="845" y="1380"/>
                  </a:cubicBezTo>
                  <a:cubicBezTo>
                    <a:pt x="779" y="1387"/>
                    <a:pt x="613" y="1314"/>
                    <a:pt x="542" y="1173"/>
                  </a:cubicBezTo>
                  <a:cubicBezTo>
                    <a:pt x="471" y="1032"/>
                    <a:pt x="442" y="824"/>
                    <a:pt x="538" y="824"/>
                  </a:cubicBezTo>
                  <a:cubicBezTo>
                    <a:pt x="635" y="824"/>
                    <a:pt x="817" y="814"/>
                    <a:pt x="822" y="822"/>
                  </a:cubicBezTo>
                  <a:cubicBezTo>
                    <a:pt x="822" y="822"/>
                    <a:pt x="911" y="1050"/>
                    <a:pt x="934" y="1102"/>
                  </a:cubicBezTo>
                  <a:cubicBezTo>
                    <a:pt x="968" y="1181"/>
                    <a:pt x="970" y="1174"/>
                    <a:pt x="943" y="123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8" name="Freeform 27"/>
            <p:cNvSpPr>
              <a:spLocks noEditPoints="1"/>
            </p:cNvSpPr>
            <p:nvPr/>
          </p:nvSpPr>
          <p:spPr bwMode="auto">
            <a:xfrm>
              <a:off x="30687963" y="-17657763"/>
              <a:ext cx="4995862" cy="6951663"/>
            </a:xfrm>
            <a:custGeom>
              <a:avLst/>
              <a:gdLst>
                <a:gd name="T0" fmla="*/ 1239 w 1332"/>
                <a:gd name="T1" fmla="*/ 1485 h 1853"/>
                <a:gd name="T2" fmla="*/ 1124 w 1332"/>
                <a:gd name="T3" fmla="*/ 1405 h 1853"/>
                <a:gd name="T4" fmla="*/ 1101 w 1332"/>
                <a:gd name="T5" fmla="*/ 425 h 1853"/>
                <a:gd name="T6" fmla="*/ 832 w 1332"/>
                <a:gd name="T7" fmla="*/ 146 h 1853"/>
                <a:gd name="T8" fmla="*/ 402 w 1332"/>
                <a:gd name="T9" fmla="*/ 121 h 1853"/>
                <a:gd name="T10" fmla="*/ 196 w 1332"/>
                <a:gd name="T11" fmla="*/ 189 h 1853"/>
                <a:gd name="T12" fmla="*/ 186 w 1332"/>
                <a:gd name="T13" fmla="*/ 260 h 1853"/>
                <a:gd name="T14" fmla="*/ 620 w 1332"/>
                <a:gd name="T15" fmla="*/ 405 h 1853"/>
                <a:gd name="T16" fmla="*/ 717 w 1332"/>
                <a:gd name="T17" fmla="*/ 533 h 1853"/>
                <a:gd name="T18" fmla="*/ 723 w 1332"/>
                <a:gd name="T19" fmla="*/ 813 h 1853"/>
                <a:gd name="T20" fmla="*/ 436 w 1332"/>
                <a:gd name="T21" fmla="*/ 705 h 1853"/>
                <a:gd name="T22" fmla="*/ 250 w 1332"/>
                <a:gd name="T23" fmla="*/ 826 h 1853"/>
                <a:gd name="T24" fmla="*/ 5 w 1332"/>
                <a:gd name="T25" fmla="*/ 1323 h 1853"/>
                <a:gd name="T26" fmla="*/ 219 w 1332"/>
                <a:gd name="T27" fmla="*/ 1765 h 1853"/>
                <a:gd name="T28" fmla="*/ 501 w 1332"/>
                <a:gd name="T29" fmla="*/ 1680 h 1853"/>
                <a:gd name="T30" fmla="*/ 775 w 1332"/>
                <a:gd name="T31" fmla="*/ 1579 h 1853"/>
                <a:gd name="T32" fmla="*/ 900 w 1332"/>
                <a:gd name="T33" fmla="*/ 1785 h 1853"/>
                <a:gd name="T34" fmla="*/ 1018 w 1332"/>
                <a:gd name="T35" fmla="*/ 1796 h 1853"/>
                <a:gd name="T36" fmla="*/ 1286 w 1332"/>
                <a:gd name="T37" fmla="*/ 1563 h 1853"/>
                <a:gd name="T38" fmla="*/ 1239 w 1332"/>
                <a:gd name="T39" fmla="*/ 1485 h 1853"/>
                <a:gd name="T40" fmla="*/ 675 w 1332"/>
                <a:gd name="T41" fmla="*/ 1393 h 1853"/>
                <a:gd name="T42" fmla="*/ 529 w 1332"/>
                <a:gd name="T43" fmla="*/ 1491 h 1853"/>
                <a:gd name="T44" fmla="*/ 327 w 1332"/>
                <a:gd name="T45" fmla="*/ 1185 h 1853"/>
                <a:gd name="T46" fmla="*/ 454 w 1332"/>
                <a:gd name="T47" fmla="*/ 860 h 1853"/>
                <a:gd name="T48" fmla="*/ 717 w 1332"/>
                <a:gd name="T49" fmla="*/ 965 h 1853"/>
                <a:gd name="T50" fmla="*/ 717 w 1332"/>
                <a:gd name="T51" fmla="*/ 1267 h 1853"/>
                <a:gd name="T52" fmla="*/ 675 w 1332"/>
                <a:gd name="T53" fmla="*/ 1393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2" h="1853">
                  <a:moveTo>
                    <a:pt x="1239" y="1485"/>
                  </a:moveTo>
                  <a:cubicBezTo>
                    <a:pt x="1172" y="1506"/>
                    <a:pt x="1125" y="1494"/>
                    <a:pt x="1124" y="1405"/>
                  </a:cubicBezTo>
                  <a:cubicBezTo>
                    <a:pt x="1123" y="1316"/>
                    <a:pt x="1099" y="521"/>
                    <a:pt x="1101" y="425"/>
                  </a:cubicBezTo>
                  <a:cubicBezTo>
                    <a:pt x="1103" y="330"/>
                    <a:pt x="1047" y="219"/>
                    <a:pt x="832" y="146"/>
                  </a:cubicBezTo>
                  <a:cubicBezTo>
                    <a:pt x="607" y="70"/>
                    <a:pt x="525" y="0"/>
                    <a:pt x="402" y="121"/>
                  </a:cubicBezTo>
                  <a:cubicBezTo>
                    <a:pt x="342" y="179"/>
                    <a:pt x="249" y="188"/>
                    <a:pt x="196" y="189"/>
                  </a:cubicBezTo>
                  <a:cubicBezTo>
                    <a:pt x="144" y="190"/>
                    <a:pt x="142" y="241"/>
                    <a:pt x="186" y="260"/>
                  </a:cubicBezTo>
                  <a:cubicBezTo>
                    <a:pt x="231" y="278"/>
                    <a:pt x="569" y="385"/>
                    <a:pt x="620" y="405"/>
                  </a:cubicBezTo>
                  <a:cubicBezTo>
                    <a:pt x="671" y="426"/>
                    <a:pt x="716" y="444"/>
                    <a:pt x="717" y="533"/>
                  </a:cubicBezTo>
                  <a:cubicBezTo>
                    <a:pt x="718" y="622"/>
                    <a:pt x="723" y="813"/>
                    <a:pt x="723" y="813"/>
                  </a:cubicBezTo>
                  <a:cubicBezTo>
                    <a:pt x="723" y="813"/>
                    <a:pt x="497" y="729"/>
                    <a:pt x="436" y="705"/>
                  </a:cubicBezTo>
                  <a:cubicBezTo>
                    <a:pt x="376" y="681"/>
                    <a:pt x="303" y="759"/>
                    <a:pt x="250" y="826"/>
                  </a:cubicBezTo>
                  <a:cubicBezTo>
                    <a:pt x="197" y="894"/>
                    <a:pt x="9" y="1110"/>
                    <a:pt x="5" y="1323"/>
                  </a:cubicBezTo>
                  <a:cubicBezTo>
                    <a:pt x="0" y="1536"/>
                    <a:pt x="56" y="1659"/>
                    <a:pt x="219" y="1765"/>
                  </a:cubicBezTo>
                  <a:cubicBezTo>
                    <a:pt x="353" y="1853"/>
                    <a:pt x="393" y="1770"/>
                    <a:pt x="501" y="1680"/>
                  </a:cubicBezTo>
                  <a:cubicBezTo>
                    <a:pt x="669" y="1540"/>
                    <a:pt x="718" y="1474"/>
                    <a:pt x="775" y="1579"/>
                  </a:cubicBezTo>
                  <a:cubicBezTo>
                    <a:pt x="833" y="1684"/>
                    <a:pt x="862" y="1740"/>
                    <a:pt x="900" y="1785"/>
                  </a:cubicBezTo>
                  <a:cubicBezTo>
                    <a:pt x="937" y="1830"/>
                    <a:pt x="971" y="1836"/>
                    <a:pt x="1018" y="1796"/>
                  </a:cubicBezTo>
                  <a:cubicBezTo>
                    <a:pt x="1064" y="1755"/>
                    <a:pt x="1239" y="1596"/>
                    <a:pt x="1286" y="1563"/>
                  </a:cubicBezTo>
                  <a:cubicBezTo>
                    <a:pt x="1332" y="1530"/>
                    <a:pt x="1307" y="1465"/>
                    <a:pt x="1239" y="1485"/>
                  </a:cubicBezTo>
                  <a:close/>
                  <a:moveTo>
                    <a:pt x="675" y="1393"/>
                  </a:moveTo>
                  <a:cubicBezTo>
                    <a:pt x="626" y="1440"/>
                    <a:pt x="557" y="1499"/>
                    <a:pt x="529" y="1491"/>
                  </a:cubicBezTo>
                  <a:cubicBezTo>
                    <a:pt x="466" y="1472"/>
                    <a:pt x="340" y="1343"/>
                    <a:pt x="327" y="1185"/>
                  </a:cubicBezTo>
                  <a:cubicBezTo>
                    <a:pt x="313" y="1028"/>
                    <a:pt x="365" y="824"/>
                    <a:pt x="454" y="860"/>
                  </a:cubicBezTo>
                  <a:cubicBezTo>
                    <a:pt x="543" y="896"/>
                    <a:pt x="716" y="955"/>
                    <a:pt x="717" y="965"/>
                  </a:cubicBezTo>
                  <a:cubicBezTo>
                    <a:pt x="717" y="965"/>
                    <a:pt x="715" y="1210"/>
                    <a:pt x="717" y="1267"/>
                  </a:cubicBezTo>
                  <a:cubicBezTo>
                    <a:pt x="719" y="1353"/>
                    <a:pt x="723" y="1346"/>
                    <a:pt x="675" y="139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9" name="Freeform 28"/>
            <p:cNvSpPr>
              <a:spLocks noEditPoints="1"/>
            </p:cNvSpPr>
            <p:nvPr/>
          </p:nvSpPr>
          <p:spPr bwMode="auto">
            <a:xfrm>
              <a:off x="43159363" y="-14139863"/>
              <a:ext cx="5757862" cy="6915150"/>
            </a:xfrm>
            <a:custGeom>
              <a:avLst/>
              <a:gdLst>
                <a:gd name="T0" fmla="*/ 1135 w 1535"/>
                <a:gd name="T1" fmla="*/ 1650 h 1843"/>
                <a:gd name="T2" fmla="*/ 1068 w 1535"/>
                <a:gd name="T3" fmla="*/ 1527 h 1843"/>
                <a:gd name="T4" fmla="*/ 1490 w 1535"/>
                <a:gd name="T5" fmla="*/ 642 h 1843"/>
                <a:gd name="T6" fmla="*/ 1376 w 1535"/>
                <a:gd name="T7" fmla="*/ 272 h 1843"/>
                <a:gd name="T8" fmla="*/ 1004 w 1535"/>
                <a:gd name="T9" fmla="*/ 55 h 1843"/>
                <a:gd name="T10" fmla="*/ 789 w 1535"/>
                <a:gd name="T11" fmla="*/ 23 h 1843"/>
                <a:gd name="T12" fmla="*/ 749 w 1535"/>
                <a:gd name="T13" fmla="*/ 81 h 1843"/>
                <a:gd name="T14" fmla="*/ 1070 w 1535"/>
                <a:gd name="T15" fmla="*/ 407 h 1843"/>
                <a:gd name="T16" fmla="*/ 1098 w 1535"/>
                <a:gd name="T17" fmla="*/ 565 h 1843"/>
                <a:gd name="T18" fmla="*/ 978 w 1535"/>
                <a:gd name="T19" fmla="*/ 818 h 1843"/>
                <a:gd name="T20" fmla="*/ 771 w 1535"/>
                <a:gd name="T21" fmla="*/ 591 h 1843"/>
                <a:gd name="T22" fmla="*/ 550 w 1535"/>
                <a:gd name="T23" fmla="*/ 616 h 1843"/>
                <a:gd name="T24" fmla="*/ 106 w 1535"/>
                <a:gd name="T25" fmla="*/ 948 h 1843"/>
                <a:gd name="T26" fmla="*/ 98 w 1535"/>
                <a:gd name="T27" fmla="*/ 1439 h 1843"/>
                <a:gd name="T28" fmla="*/ 389 w 1535"/>
                <a:gd name="T29" fmla="*/ 1491 h 1843"/>
                <a:gd name="T30" fmla="*/ 679 w 1535"/>
                <a:gd name="T31" fmla="*/ 1525 h 1843"/>
                <a:gd name="T32" fmla="*/ 696 w 1535"/>
                <a:gd name="T33" fmla="*/ 1765 h 1843"/>
                <a:gd name="T34" fmla="*/ 797 w 1535"/>
                <a:gd name="T35" fmla="*/ 1827 h 1843"/>
                <a:gd name="T36" fmla="*/ 1141 w 1535"/>
                <a:gd name="T37" fmla="*/ 1741 h 1843"/>
                <a:gd name="T38" fmla="*/ 1135 w 1535"/>
                <a:gd name="T39" fmla="*/ 1650 h 1843"/>
                <a:gd name="T40" fmla="*/ 673 w 1535"/>
                <a:gd name="T41" fmla="*/ 1314 h 1843"/>
                <a:gd name="T42" fmla="*/ 499 w 1535"/>
                <a:gd name="T43" fmla="*/ 1335 h 1843"/>
                <a:gd name="T44" fmla="*/ 456 w 1535"/>
                <a:gd name="T45" fmla="*/ 971 h 1843"/>
                <a:gd name="T46" fmla="*/ 717 w 1535"/>
                <a:gd name="T47" fmla="*/ 738 h 1843"/>
                <a:gd name="T48" fmla="*/ 904 w 1535"/>
                <a:gd name="T49" fmla="*/ 950 h 1843"/>
                <a:gd name="T50" fmla="*/ 767 w 1535"/>
                <a:gd name="T51" fmla="*/ 1219 h 1843"/>
                <a:gd name="T52" fmla="*/ 673 w 1535"/>
                <a:gd name="T53" fmla="*/ 1314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5" h="1843">
                  <a:moveTo>
                    <a:pt x="1135" y="1650"/>
                  </a:moveTo>
                  <a:cubicBezTo>
                    <a:pt x="1065" y="1638"/>
                    <a:pt x="1028" y="1607"/>
                    <a:pt x="1068" y="1527"/>
                  </a:cubicBezTo>
                  <a:cubicBezTo>
                    <a:pt x="1107" y="1447"/>
                    <a:pt x="1445" y="727"/>
                    <a:pt x="1490" y="642"/>
                  </a:cubicBezTo>
                  <a:cubicBezTo>
                    <a:pt x="1535" y="558"/>
                    <a:pt x="1535" y="434"/>
                    <a:pt x="1376" y="272"/>
                  </a:cubicBezTo>
                  <a:cubicBezTo>
                    <a:pt x="1210" y="103"/>
                    <a:pt x="1168" y="2"/>
                    <a:pt x="1004" y="55"/>
                  </a:cubicBezTo>
                  <a:cubicBezTo>
                    <a:pt x="924" y="80"/>
                    <a:pt x="836" y="46"/>
                    <a:pt x="789" y="23"/>
                  </a:cubicBezTo>
                  <a:cubicBezTo>
                    <a:pt x="742" y="0"/>
                    <a:pt x="717" y="45"/>
                    <a:pt x="749" y="81"/>
                  </a:cubicBezTo>
                  <a:cubicBezTo>
                    <a:pt x="781" y="117"/>
                    <a:pt x="1034" y="366"/>
                    <a:pt x="1070" y="407"/>
                  </a:cubicBezTo>
                  <a:cubicBezTo>
                    <a:pt x="1106" y="449"/>
                    <a:pt x="1138" y="485"/>
                    <a:pt x="1098" y="565"/>
                  </a:cubicBezTo>
                  <a:cubicBezTo>
                    <a:pt x="1059" y="645"/>
                    <a:pt x="978" y="818"/>
                    <a:pt x="978" y="818"/>
                  </a:cubicBezTo>
                  <a:cubicBezTo>
                    <a:pt x="978" y="818"/>
                    <a:pt x="813" y="641"/>
                    <a:pt x="771" y="591"/>
                  </a:cubicBezTo>
                  <a:cubicBezTo>
                    <a:pt x="728" y="542"/>
                    <a:pt x="628" y="579"/>
                    <a:pt x="550" y="616"/>
                  </a:cubicBezTo>
                  <a:cubicBezTo>
                    <a:pt x="472" y="652"/>
                    <a:pt x="207" y="760"/>
                    <a:pt x="106" y="948"/>
                  </a:cubicBezTo>
                  <a:cubicBezTo>
                    <a:pt x="6" y="1136"/>
                    <a:pt x="0" y="1272"/>
                    <a:pt x="98" y="1439"/>
                  </a:cubicBezTo>
                  <a:cubicBezTo>
                    <a:pt x="178" y="1579"/>
                    <a:pt x="251" y="1522"/>
                    <a:pt x="389" y="1491"/>
                  </a:cubicBezTo>
                  <a:cubicBezTo>
                    <a:pt x="601" y="1442"/>
                    <a:pt x="674" y="1405"/>
                    <a:pt x="679" y="1525"/>
                  </a:cubicBezTo>
                  <a:cubicBezTo>
                    <a:pt x="683" y="1644"/>
                    <a:pt x="683" y="1708"/>
                    <a:pt x="696" y="1765"/>
                  </a:cubicBezTo>
                  <a:cubicBezTo>
                    <a:pt x="710" y="1821"/>
                    <a:pt x="737" y="1843"/>
                    <a:pt x="797" y="1827"/>
                  </a:cubicBezTo>
                  <a:cubicBezTo>
                    <a:pt x="856" y="1812"/>
                    <a:pt x="1085" y="1749"/>
                    <a:pt x="1141" y="1741"/>
                  </a:cubicBezTo>
                  <a:cubicBezTo>
                    <a:pt x="1198" y="1733"/>
                    <a:pt x="1205" y="1662"/>
                    <a:pt x="1135" y="1650"/>
                  </a:cubicBezTo>
                  <a:close/>
                  <a:moveTo>
                    <a:pt x="673" y="1314"/>
                  </a:moveTo>
                  <a:cubicBezTo>
                    <a:pt x="608" y="1334"/>
                    <a:pt x="520" y="1354"/>
                    <a:pt x="499" y="1335"/>
                  </a:cubicBezTo>
                  <a:cubicBezTo>
                    <a:pt x="451" y="1290"/>
                    <a:pt x="397" y="1117"/>
                    <a:pt x="456" y="971"/>
                  </a:cubicBezTo>
                  <a:cubicBezTo>
                    <a:pt x="515" y="824"/>
                    <a:pt x="653" y="666"/>
                    <a:pt x="717" y="738"/>
                  </a:cubicBezTo>
                  <a:cubicBezTo>
                    <a:pt x="780" y="811"/>
                    <a:pt x="908" y="941"/>
                    <a:pt x="904" y="950"/>
                  </a:cubicBezTo>
                  <a:cubicBezTo>
                    <a:pt x="904" y="950"/>
                    <a:pt x="792" y="1168"/>
                    <a:pt x="767" y="1219"/>
                  </a:cubicBezTo>
                  <a:cubicBezTo>
                    <a:pt x="730" y="1297"/>
                    <a:pt x="737" y="1294"/>
                    <a:pt x="673" y="131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0" name="Freeform 29"/>
            <p:cNvSpPr>
              <a:spLocks/>
            </p:cNvSpPr>
            <p:nvPr/>
          </p:nvSpPr>
          <p:spPr bwMode="auto">
            <a:xfrm>
              <a:off x="23914100" y="-19234150"/>
              <a:ext cx="3581400" cy="9097963"/>
            </a:xfrm>
            <a:custGeom>
              <a:avLst/>
              <a:gdLst>
                <a:gd name="T0" fmla="*/ 424 w 955"/>
                <a:gd name="T1" fmla="*/ 2097 h 2425"/>
                <a:gd name="T2" fmla="*/ 379 w 955"/>
                <a:gd name="T3" fmla="*/ 2231 h 2425"/>
                <a:gd name="T4" fmla="*/ 415 w 955"/>
                <a:gd name="T5" fmla="*/ 2300 h 2425"/>
                <a:gd name="T6" fmla="*/ 789 w 955"/>
                <a:gd name="T7" fmla="*/ 2361 h 2425"/>
                <a:gd name="T8" fmla="*/ 914 w 955"/>
                <a:gd name="T9" fmla="*/ 2414 h 2425"/>
                <a:gd name="T10" fmla="*/ 939 w 955"/>
                <a:gd name="T11" fmla="*/ 2325 h 2425"/>
                <a:gd name="T12" fmla="*/ 525 w 955"/>
                <a:gd name="T13" fmla="*/ 1016 h 2425"/>
                <a:gd name="T14" fmla="*/ 315 w 955"/>
                <a:gd name="T15" fmla="*/ 227 h 2425"/>
                <a:gd name="T16" fmla="*/ 365 w 955"/>
                <a:gd name="T17" fmla="*/ 47 h 2425"/>
                <a:gd name="T18" fmla="*/ 205 w 955"/>
                <a:gd name="T19" fmla="*/ 127 h 2425"/>
                <a:gd name="T20" fmla="*/ 12 w 955"/>
                <a:gd name="T21" fmla="*/ 545 h 2425"/>
                <a:gd name="T22" fmla="*/ 178 w 955"/>
                <a:gd name="T23" fmla="*/ 1246 h 2425"/>
                <a:gd name="T24" fmla="*/ 424 w 955"/>
                <a:gd name="T25" fmla="*/ 2097 h 2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5" h="2425">
                  <a:moveTo>
                    <a:pt x="424" y="2097"/>
                  </a:moveTo>
                  <a:cubicBezTo>
                    <a:pt x="422" y="2159"/>
                    <a:pt x="404" y="2215"/>
                    <a:pt x="379" y="2231"/>
                  </a:cubicBezTo>
                  <a:cubicBezTo>
                    <a:pt x="354" y="2247"/>
                    <a:pt x="353" y="2302"/>
                    <a:pt x="415" y="2300"/>
                  </a:cubicBezTo>
                  <a:cubicBezTo>
                    <a:pt x="477" y="2298"/>
                    <a:pt x="714" y="2314"/>
                    <a:pt x="789" y="2361"/>
                  </a:cubicBezTo>
                  <a:cubicBezTo>
                    <a:pt x="864" y="2407"/>
                    <a:pt x="880" y="2425"/>
                    <a:pt x="914" y="2414"/>
                  </a:cubicBezTo>
                  <a:cubicBezTo>
                    <a:pt x="948" y="2403"/>
                    <a:pt x="955" y="2379"/>
                    <a:pt x="939" y="2325"/>
                  </a:cubicBezTo>
                  <a:cubicBezTo>
                    <a:pt x="923" y="2272"/>
                    <a:pt x="611" y="1318"/>
                    <a:pt x="525" y="1016"/>
                  </a:cubicBezTo>
                  <a:cubicBezTo>
                    <a:pt x="401" y="578"/>
                    <a:pt x="279" y="349"/>
                    <a:pt x="315" y="227"/>
                  </a:cubicBezTo>
                  <a:cubicBezTo>
                    <a:pt x="351" y="104"/>
                    <a:pt x="404" y="93"/>
                    <a:pt x="365" y="47"/>
                  </a:cubicBezTo>
                  <a:cubicBezTo>
                    <a:pt x="326" y="0"/>
                    <a:pt x="237" y="95"/>
                    <a:pt x="205" y="127"/>
                  </a:cubicBezTo>
                  <a:cubicBezTo>
                    <a:pt x="173" y="159"/>
                    <a:pt x="25" y="332"/>
                    <a:pt x="12" y="545"/>
                  </a:cubicBezTo>
                  <a:cubicBezTo>
                    <a:pt x="0" y="750"/>
                    <a:pt x="135" y="1101"/>
                    <a:pt x="178" y="1246"/>
                  </a:cubicBezTo>
                  <a:cubicBezTo>
                    <a:pt x="221" y="1390"/>
                    <a:pt x="426" y="2033"/>
                    <a:pt x="424" y="209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1" name="Freeform 10"/>
            <p:cNvSpPr>
              <a:spLocks/>
            </p:cNvSpPr>
            <p:nvPr/>
          </p:nvSpPr>
          <p:spPr bwMode="auto">
            <a:xfrm>
              <a:off x="27473275" y="-19894551"/>
              <a:ext cx="2744787" cy="9293225"/>
            </a:xfrm>
            <a:custGeom>
              <a:avLst/>
              <a:gdLst>
                <a:gd name="T0" fmla="*/ 242 w 732"/>
                <a:gd name="T1" fmla="*/ 2092 h 2477"/>
                <a:gd name="T2" fmla="*/ 181 w 732"/>
                <a:gd name="T3" fmla="*/ 2218 h 2477"/>
                <a:gd name="T4" fmla="*/ 207 w 732"/>
                <a:gd name="T5" fmla="*/ 2292 h 2477"/>
                <a:gd name="T6" fmla="*/ 570 w 732"/>
                <a:gd name="T7" fmla="*/ 2401 h 2477"/>
                <a:gd name="T8" fmla="*/ 686 w 732"/>
                <a:gd name="T9" fmla="*/ 2471 h 2477"/>
                <a:gd name="T10" fmla="*/ 723 w 732"/>
                <a:gd name="T11" fmla="*/ 2386 h 2477"/>
                <a:gd name="T12" fmla="*/ 486 w 732"/>
                <a:gd name="T13" fmla="*/ 1033 h 2477"/>
                <a:gd name="T14" fmla="*/ 382 w 732"/>
                <a:gd name="T15" fmla="*/ 223 h 2477"/>
                <a:gd name="T16" fmla="*/ 455 w 732"/>
                <a:gd name="T17" fmla="*/ 52 h 2477"/>
                <a:gd name="T18" fmla="*/ 286 w 732"/>
                <a:gd name="T19" fmla="*/ 110 h 2477"/>
                <a:gd name="T20" fmla="*/ 40 w 732"/>
                <a:gd name="T21" fmla="*/ 499 h 2477"/>
                <a:gd name="T22" fmla="*/ 111 w 732"/>
                <a:gd name="T23" fmla="*/ 1215 h 2477"/>
                <a:gd name="T24" fmla="*/ 242 w 732"/>
                <a:gd name="T25" fmla="*/ 2092 h 2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2" h="2477">
                  <a:moveTo>
                    <a:pt x="242" y="2092"/>
                  </a:moveTo>
                  <a:cubicBezTo>
                    <a:pt x="233" y="2153"/>
                    <a:pt x="208" y="2206"/>
                    <a:pt x="181" y="2218"/>
                  </a:cubicBezTo>
                  <a:cubicBezTo>
                    <a:pt x="154" y="2231"/>
                    <a:pt x="145" y="2285"/>
                    <a:pt x="207" y="2292"/>
                  </a:cubicBezTo>
                  <a:cubicBezTo>
                    <a:pt x="269" y="2298"/>
                    <a:pt x="502" y="2346"/>
                    <a:pt x="570" y="2401"/>
                  </a:cubicBezTo>
                  <a:cubicBezTo>
                    <a:pt x="638" y="2457"/>
                    <a:pt x="651" y="2477"/>
                    <a:pt x="686" y="2471"/>
                  </a:cubicBezTo>
                  <a:cubicBezTo>
                    <a:pt x="721" y="2465"/>
                    <a:pt x="732" y="2441"/>
                    <a:pt x="723" y="2386"/>
                  </a:cubicBezTo>
                  <a:cubicBezTo>
                    <a:pt x="714" y="2331"/>
                    <a:pt x="531" y="1344"/>
                    <a:pt x="486" y="1033"/>
                  </a:cubicBezTo>
                  <a:cubicBezTo>
                    <a:pt x="420" y="582"/>
                    <a:pt x="330" y="340"/>
                    <a:pt x="382" y="223"/>
                  </a:cubicBezTo>
                  <a:cubicBezTo>
                    <a:pt x="433" y="106"/>
                    <a:pt x="488" y="103"/>
                    <a:pt x="455" y="52"/>
                  </a:cubicBezTo>
                  <a:cubicBezTo>
                    <a:pt x="422" y="0"/>
                    <a:pt x="322" y="82"/>
                    <a:pt x="286" y="110"/>
                  </a:cubicBezTo>
                  <a:cubicBezTo>
                    <a:pt x="250" y="137"/>
                    <a:pt x="81" y="290"/>
                    <a:pt x="40" y="499"/>
                  </a:cubicBezTo>
                  <a:cubicBezTo>
                    <a:pt x="0" y="701"/>
                    <a:pt x="88" y="1067"/>
                    <a:pt x="111" y="1215"/>
                  </a:cubicBezTo>
                  <a:cubicBezTo>
                    <a:pt x="135" y="1364"/>
                    <a:pt x="253" y="2028"/>
                    <a:pt x="242" y="209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2" name="Freeform 11"/>
            <p:cNvSpPr>
              <a:spLocks/>
            </p:cNvSpPr>
            <p:nvPr/>
          </p:nvSpPr>
          <p:spPr bwMode="auto">
            <a:xfrm>
              <a:off x="35961638" y="-17632363"/>
              <a:ext cx="8199437" cy="7942263"/>
            </a:xfrm>
            <a:custGeom>
              <a:avLst/>
              <a:gdLst>
                <a:gd name="T0" fmla="*/ 307 w 2186"/>
                <a:gd name="T1" fmla="*/ 18 h 2117"/>
                <a:gd name="T2" fmla="*/ 235 w 2186"/>
                <a:gd name="T3" fmla="*/ 69 h 2117"/>
                <a:gd name="T4" fmla="*/ 288 w 2186"/>
                <a:gd name="T5" fmla="*/ 285 h 2117"/>
                <a:gd name="T6" fmla="*/ 155 w 2186"/>
                <a:gd name="T7" fmla="*/ 1319 h 2117"/>
                <a:gd name="T8" fmla="*/ 64 w 2186"/>
                <a:gd name="T9" fmla="*/ 1504 h 2117"/>
                <a:gd name="T10" fmla="*/ 77 w 2186"/>
                <a:gd name="T11" fmla="*/ 1597 h 2117"/>
                <a:gd name="T12" fmla="*/ 478 w 2186"/>
                <a:gd name="T13" fmla="*/ 1859 h 2117"/>
                <a:gd name="T14" fmla="*/ 627 w 2186"/>
                <a:gd name="T15" fmla="*/ 1895 h 2117"/>
                <a:gd name="T16" fmla="*/ 798 w 2186"/>
                <a:gd name="T17" fmla="*/ 1823 h 2117"/>
                <a:gd name="T18" fmla="*/ 955 w 2186"/>
                <a:gd name="T19" fmla="*/ 1891 h 2117"/>
                <a:gd name="T20" fmla="*/ 1170 w 2186"/>
                <a:gd name="T21" fmla="*/ 2051 h 2117"/>
                <a:gd name="T22" fmla="*/ 1323 w 2186"/>
                <a:gd name="T23" fmla="*/ 2073 h 2117"/>
                <a:gd name="T24" fmla="*/ 1689 w 2186"/>
                <a:gd name="T25" fmla="*/ 1989 h 2117"/>
                <a:gd name="T26" fmla="*/ 1803 w 2186"/>
                <a:gd name="T27" fmla="*/ 1925 h 2117"/>
                <a:gd name="T28" fmla="*/ 2107 w 2186"/>
                <a:gd name="T29" fmla="*/ 1031 h 2117"/>
                <a:gd name="T30" fmla="*/ 2041 w 2186"/>
                <a:gd name="T31" fmla="*/ 528 h 2117"/>
                <a:gd name="T32" fmla="*/ 1945 w 2186"/>
                <a:gd name="T33" fmla="*/ 500 h 2117"/>
                <a:gd name="T34" fmla="*/ 1722 w 2186"/>
                <a:gd name="T35" fmla="*/ 592 h 2117"/>
                <a:gd name="T36" fmla="*/ 1703 w 2186"/>
                <a:gd name="T37" fmla="*/ 662 h 2117"/>
                <a:gd name="T38" fmla="*/ 1751 w 2186"/>
                <a:gd name="T39" fmla="*/ 870 h 2117"/>
                <a:gd name="T40" fmla="*/ 1468 w 2186"/>
                <a:gd name="T41" fmla="*/ 1750 h 2117"/>
                <a:gd name="T42" fmla="*/ 1402 w 2186"/>
                <a:gd name="T43" fmla="*/ 1773 h 2117"/>
                <a:gd name="T44" fmla="*/ 1215 w 2186"/>
                <a:gd name="T45" fmla="*/ 1640 h 2117"/>
                <a:gd name="T46" fmla="*/ 1210 w 2186"/>
                <a:gd name="T47" fmla="*/ 1501 h 2117"/>
                <a:gd name="T48" fmla="*/ 1380 w 2186"/>
                <a:gd name="T49" fmla="*/ 849 h 2117"/>
                <a:gd name="T50" fmla="*/ 1276 w 2186"/>
                <a:gd name="T51" fmla="*/ 353 h 2117"/>
                <a:gd name="T52" fmla="*/ 1178 w 2186"/>
                <a:gd name="T53" fmla="*/ 332 h 2117"/>
                <a:gd name="T54" fmla="*/ 971 w 2186"/>
                <a:gd name="T55" fmla="*/ 448 h 2117"/>
                <a:gd name="T56" fmla="*/ 956 w 2186"/>
                <a:gd name="T57" fmla="*/ 519 h 2117"/>
                <a:gd name="T58" fmla="*/ 1024 w 2186"/>
                <a:gd name="T59" fmla="*/ 726 h 2117"/>
                <a:gd name="T60" fmla="*/ 831 w 2186"/>
                <a:gd name="T61" fmla="*/ 1490 h 2117"/>
                <a:gd name="T62" fmla="*/ 728 w 2186"/>
                <a:gd name="T63" fmla="*/ 1608 h 2117"/>
                <a:gd name="T64" fmla="*/ 543 w 2186"/>
                <a:gd name="T65" fmla="*/ 1490 h 2117"/>
                <a:gd name="T66" fmla="*/ 524 w 2186"/>
                <a:gd name="T67" fmla="*/ 1308 h 2117"/>
                <a:gd name="T68" fmla="*/ 673 w 2186"/>
                <a:gd name="T69" fmla="*/ 334 h 2117"/>
                <a:gd name="T70" fmla="*/ 307 w 2186"/>
                <a:gd name="T71" fmla="*/ 18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6" h="2117">
                  <a:moveTo>
                    <a:pt x="307" y="18"/>
                  </a:moveTo>
                  <a:cubicBezTo>
                    <a:pt x="227" y="0"/>
                    <a:pt x="200" y="39"/>
                    <a:pt x="235" y="69"/>
                  </a:cubicBezTo>
                  <a:cubicBezTo>
                    <a:pt x="270" y="98"/>
                    <a:pt x="302" y="117"/>
                    <a:pt x="288" y="285"/>
                  </a:cubicBezTo>
                  <a:cubicBezTo>
                    <a:pt x="275" y="453"/>
                    <a:pt x="171" y="1210"/>
                    <a:pt x="155" y="1319"/>
                  </a:cubicBezTo>
                  <a:cubicBezTo>
                    <a:pt x="139" y="1429"/>
                    <a:pt x="128" y="1463"/>
                    <a:pt x="64" y="1504"/>
                  </a:cubicBezTo>
                  <a:cubicBezTo>
                    <a:pt x="0" y="1544"/>
                    <a:pt x="13" y="1581"/>
                    <a:pt x="77" y="1597"/>
                  </a:cubicBezTo>
                  <a:cubicBezTo>
                    <a:pt x="141" y="1613"/>
                    <a:pt x="414" y="1763"/>
                    <a:pt x="478" y="1859"/>
                  </a:cubicBezTo>
                  <a:cubicBezTo>
                    <a:pt x="542" y="1955"/>
                    <a:pt x="579" y="1919"/>
                    <a:pt x="627" y="1895"/>
                  </a:cubicBezTo>
                  <a:cubicBezTo>
                    <a:pt x="675" y="1870"/>
                    <a:pt x="755" y="1823"/>
                    <a:pt x="798" y="1823"/>
                  </a:cubicBezTo>
                  <a:cubicBezTo>
                    <a:pt x="841" y="1823"/>
                    <a:pt x="878" y="1838"/>
                    <a:pt x="955" y="1891"/>
                  </a:cubicBezTo>
                  <a:cubicBezTo>
                    <a:pt x="1031" y="1944"/>
                    <a:pt x="1138" y="2025"/>
                    <a:pt x="1170" y="2051"/>
                  </a:cubicBezTo>
                  <a:cubicBezTo>
                    <a:pt x="1218" y="2090"/>
                    <a:pt x="1243" y="2117"/>
                    <a:pt x="1323" y="2073"/>
                  </a:cubicBezTo>
                  <a:cubicBezTo>
                    <a:pt x="1404" y="2028"/>
                    <a:pt x="1561" y="1980"/>
                    <a:pt x="1689" y="1989"/>
                  </a:cubicBezTo>
                  <a:cubicBezTo>
                    <a:pt x="1740" y="1993"/>
                    <a:pt x="1774" y="2016"/>
                    <a:pt x="1803" y="1925"/>
                  </a:cubicBezTo>
                  <a:cubicBezTo>
                    <a:pt x="1831" y="1834"/>
                    <a:pt x="2029" y="1278"/>
                    <a:pt x="2107" y="1031"/>
                  </a:cubicBezTo>
                  <a:cubicBezTo>
                    <a:pt x="2186" y="783"/>
                    <a:pt x="2122" y="638"/>
                    <a:pt x="2041" y="528"/>
                  </a:cubicBezTo>
                  <a:cubicBezTo>
                    <a:pt x="2011" y="487"/>
                    <a:pt x="1988" y="482"/>
                    <a:pt x="1945" y="500"/>
                  </a:cubicBezTo>
                  <a:cubicBezTo>
                    <a:pt x="1902" y="517"/>
                    <a:pt x="1756" y="580"/>
                    <a:pt x="1722" y="592"/>
                  </a:cubicBezTo>
                  <a:cubicBezTo>
                    <a:pt x="1689" y="605"/>
                    <a:pt x="1680" y="623"/>
                    <a:pt x="1703" y="662"/>
                  </a:cubicBezTo>
                  <a:cubicBezTo>
                    <a:pt x="1726" y="701"/>
                    <a:pt x="1780" y="745"/>
                    <a:pt x="1751" y="870"/>
                  </a:cubicBezTo>
                  <a:cubicBezTo>
                    <a:pt x="1722" y="995"/>
                    <a:pt x="1480" y="1711"/>
                    <a:pt x="1468" y="1750"/>
                  </a:cubicBezTo>
                  <a:cubicBezTo>
                    <a:pt x="1455" y="1789"/>
                    <a:pt x="1448" y="1805"/>
                    <a:pt x="1402" y="1773"/>
                  </a:cubicBezTo>
                  <a:cubicBezTo>
                    <a:pt x="1356" y="1741"/>
                    <a:pt x="1232" y="1651"/>
                    <a:pt x="1215" y="1640"/>
                  </a:cubicBezTo>
                  <a:cubicBezTo>
                    <a:pt x="1190" y="1624"/>
                    <a:pt x="1188" y="1583"/>
                    <a:pt x="1210" y="1501"/>
                  </a:cubicBezTo>
                  <a:cubicBezTo>
                    <a:pt x="1268" y="1290"/>
                    <a:pt x="1336" y="1005"/>
                    <a:pt x="1380" y="849"/>
                  </a:cubicBezTo>
                  <a:cubicBezTo>
                    <a:pt x="1450" y="603"/>
                    <a:pt x="1420" y="530"/>
                    <a:pt x="1276" y="353"/>
                  </a:cubicBezTo>
                  <a:cubicBezTo>
                    <a:pt x="1244" y="313"/>
                    <a:pt x="1219" y="311"/>
                    <a:pt x="1178" y="332"/>
                  </a:cubicBezTo>
                  <a:cubicBezTo>
                    <a:pt x="1137" y="353"/>
                    <a:pt x="1003" y="433"/>
                    <a:pt x="971" y="448"/>
                  </a:cubicBezTo>
                  <a:cubicBezTo>
                    <a:pt x="938" y="463"/>
                    <a:pt x="923" y="488"/>
                    <a:pt x="956" y="519"/>
                  </a:cubicBezTo>
                  <a:cubicBezTo>
                    <a:pt x="992" y="551"/>
                    <a:pt x="1043" y="599"/>
                    <a:pt x="1024" y="726"/>
                  </a:cubicBezTo>
                  <a:cubicBezTo>
                    <a:pt x="1010" y="823"/>
                    <a:pt x="897" y="1270"/>
                    <a:pt x="831" y="1490"/>
                  </a:cubicBezTo>
                  <a:cubicBezTo>
                    <a:pt x="807" y="1572"/>
                    <a:pt x="793" y="1643"/>
                    <a:pt x="728" y="1608"/>
                  </a:cubicBezTo>
                  <a:cubicBezTo>
                    <a:pt x="664" y="1572"/>
                    <a:pt x="577" y="1513"/>
                    <a:pt x="543" y="1490"/>
                  </a:cubicBezTo>
                  <a:cubicBezTo>
                    <a:pt x="509" y="1467"/>
                    <a:pt x="511" y="1383"/>
                    <a:pt x="524" y="1308"/>
                  </a:cubicBezTo>
                  <a:cubicBezTo>
                    <a:pt x="536" y="1234"/>
                    <a:pt x="662" y="412"/>
                    <a:pt x="673" y="334"/>
                  </a:cubicBezTo>
                  <a:cubicBezTo>
                    <a:pt x="695" y="181"/>
                    <a:pt x="545" y="70"/>
                    <a:pt x="307" y="1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3" name="Freeform 12"/>
            <p:cNvSpPr>
              <a:spLocks/>
            </p:cNvSpPr>
            <p:nvPr/>
          </p:nvSpPr>
          <p:spPr bwMode="auto">
            <a:xfrm>
              <a:off x="45848588" y="-11179175"/>
              <a:ext cx="7780337" cy="7150100"/>
            </a:xfrm>
            <a:custGeom>
              <a:avLst/>
              <a:gdLst>
                <a:gd name="T0" fmla="*/ 1114 w 2074"/>
                <a:gd name="T1" fmla="*/ 53 h 1906"/>
                <a:gd name="T2" fmla="*/ 1028 w 2074"/>
                <a:gd name="T3" fmla="*/ 105 h 1906"/>
                <a:gd name="T4" fmla="*/ 1085 w 2074"/>
                <a:gd name="T5" fmla="*/ 153 h 1906"/>
                <a:gd name="T6" fmla="*/ 1107 w 2074"/>
                <a:gd name="T7" fmla="*/ 271 h 1906"/>
                <a:gd name="T8" fmla="*/ 718 w 2074"/>
                <a:gd name="T9" fmla="*/ 910 h 1906"/>
                <a:gd name="T10" fmla="*/ 613 w 2074"/>
                <a:gd name="T11" fmla="*/ 1345 h 1906"/>
                <a:gd name="T12" fmla="*/ 554 w 2074"/>
                <a:gd name="T13" fmla="*/ 1619 h 1906"/>
                <a:gd name="T14" fmla="*/ 278 w 2074"/>
                <a:gd name="T15" fmla="*/ 1402 h 1906"/>
                <a:gd name="T16" fmla="*/ 145 w 2074"/>
                <a:gd name="T17" fmla="*/ 1418 h 1906"/>
                <a:gd name="T18" fmla="*/ 18 w 2074"/>
                <a:gd name="T19" fmla="*/ 1523 h 1906"/>
                <a:gd name="T20" fmla="*/ 36 w 2074"/>
                <a:gd name="T21" fmla="*/ 1575 h 1906"/>
                <a:gd name="T22" fmla="*/ 303 w 2074"/>
                <a:gd name="T23" fmla="*/ 1785 h 1906"/>
                <a:gd name="T24" fmla="*/ 587 w 2074"/>
                <a:gd name="T25" fmla="*/ 1847 h 1906"/>
                <a:gd name="T26" fmla="*/ 861 w 2074"/>
                <a:gd name="T27" fmla="*/ 1578 h 1906"/>
                <a:gd name="T28" fmla="*/ 895 w 2074"/>
                <a:gd name="T29" fmla="*/ 1566 h 1906"/>
                <a:gd name="T30" fmla="*/ 1160 w 2074"/>
                <a:gd name="T31" fmla="*/ 1600 h 1906"/>
                <a:gd name="T32" fmla="*/ 1857 w 2074"/>
                <a:gd name="T33" fmla="*/ 1085 h 1906"/>
                <a:gd name="T34" fmla="*/ 2047 w 2074"/>
                <a:gd name="T35" fmla="*/ 463 h 1906"/>
                <a:gd name="T36" fmla="*/ 1953 w 2074"/>
                <a:gd name="T37" fmla="*/ 376 h 1906"/>
                <a:gd name="T38" fmla="*/ 1752 w 2074"/>
                <a:gd name="T39" fmla="*/ 395 h 1906"/>
                <a:gd name="T40" fmla="*/ 1679 w 2074"/>
                <a:gd name="T41" fmla="*/ 481 h 1906"/>
                <a:gd name="T42" fmla="*/ 1543 w 2074"/>
                <a:gd name="T43" fmla="*/ 957 h 1906"/>
                <a:gd name="T44" fmla="*/ 1027 w 2074"/>
                <a:gd name="T45" fmla="*/ 1251 h 1906"/>
                <a:gd name="T46" fmla="*/ 991 w 2074"/>
                <a:gd name="T47" fmla="*/ 1153 h 1906"/>
                <a:gd name="T48" fmla="*/ 1433 w 2074"/>
                <a:gd name="T49" fmla="*/ 472 h 1906"/>
                <a:gd name="T50" fmla="*/ 1491 w 2074"/>
                <a:gd name="T51" fmla="*/ 75 h 1906"/>
                <a:gd name="T52" fmla="*/ 1374 w 2074"/>
                <a:gd name="T53" fmla="*/ 9 h 1906"/>
                <a:gd name="T54" fmla="*/ 1114 w 2074"/>
                <a:gd name="T55" fmla="*/ 53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4" h="1906">
                  <a:moveTo>
                    <a:pt x="1114" y="53"/>
                  </a:moveTo>
                  <a:cubicBezTo>
                    <a:pt x="1026" y="69"/>
                    <a:pt x="1023" y="87"/>
                    <a:pt x="1028" y="105"/>
                  </a:cubicBezTo>
                  <a:cubicBezTo>
                    <a:pt x="1034" y="123"/>
                    <a:pt x="1059" y="137"/>
                    <a:pt x="1085" y="153"/>
                  </a:cubicBezTo>
                  <a:cubicBezTo>
                    <a:pt x="1112" y="169"/>
                    <a:pt x="1149" y="201"/>
                    <a:pt x="1107" y="271"/>
                  </a:cubicBezTo>
                  <a:cubicBezTo>
                    <a:pt x="1064" y="340"/>
                    <a:pt x="807" y="764"/>
                    <a:pt x="718" y="910"/>
                  </a:cubicBezTo>
                  <a:cubicBezTo>
                    <a:pt x="629" y="1056"/>
                    <a:pt x="590" y="1263"/>
                    <a:pt x="613" y="1345"/>
                  </a:cubicBezTo>
                  <a:cubicBezTo>
                    <a:pt x="636" y="1427"/>
                    <a:pt x="638" y="1493"/>
                    <a:pt x="554" y="1619"/>
                  </a:cubicBezTo>
                  <a:cubicBezTo>
                    <a:pt x="554" y="1619"/>
                    <a:pt x="504" y="1505"/>
                    <a:pt x="278" y="1402"/>
                  </a:cubicBezTo>
                  <a:cubicBezTo>
                    <a:pt x="236" y="1382"/>
                    <a:pt x="180" y="1391"/>
                    <a:pt x="145" y="1418"/>
                  </a:cubicBezTo>
                  <a:cubicBezTo>
                    <a:pt x="109" y="1445"/>
                    <a:pt x="36" y="1505"/>
                    <a:pt x="18" y="1523"/>
                  </a:cubicBezTo>
                  <a:cubicBezTo>
                    <a:pt x="0" y="1541"/>
                    <a:pt x="0" y="1568"/>
                    <a:pt x="36" y="1575"/>
                  </a:cubicBezTo>
                  <a:cubicBezTo>
                    <a:pt x="72" y="1582"/>
                    <a:pt x="250" y="1698"/>
                    <a:pt x="303" y="1785"/>
                  </a:cubicBezTo>
                  <a:cubicBezTo>
                    <a:pt x="357" y="1872"/>
                    <a:pt x="471" y="1906"/>
                    <a:pt x="587" y="1847"/>
                  </a:cubicBezTo>
                  <a:cubicBezTo>
                    <a:pt x="702" y="1789"/>
                    <a:pt x="793" y="1701"/>
                    <a:pt x="861" y="1578"/>
                  </a:cubicBezTo>
                  <a:cubicBezTo>
                    <a:pt x="870" y="1562"/>
                    <a:pt x="877" y="1557"/>
                    <a:pt x="895" y="1566"/>
                  </a:cubicBezTo>
                  <a:cubicBezTo>
                    <a:pt x="912" y="1575"/>
                    <a:pt x="1028" y="1632"/>
                    <a:pt x="1160" y="1600"/>
                  </a:cubicBezTo>
                  <a:cubicBezTo>
                    <a:pt x="1292" y="1568"/>
                    <a:pt x="1610" y="1391"/>
                    <a:pt x="1857" y="1085"/>
                  </a:cubicBezTo>
                  <a:cubicBezTo>
                    <a:pt x="2074" y="816"/>
                    <a:pt x="2047" y="509"/>
                    <a:pt x="2047" y="463"/>
                  </a:cubicBezTo>
                  <a:cubicBezTo>
                    <a:pt x="2047" y="417"/>
                    <a:pt x="2017" y="367"/>
                    <a:pt x="1953" y="376"/>
                  </a:cubicBezTo>
                  <a:cubicBezTo>
                    <a:pt x="1889" y="385"/>
                    <a:pt x="1798" y="392"/>
                    <a:pt x="1752" y="395"/>
                  </a:cubicBezTo>
                  <a:cubicBezTo>
                    <a:pt x="1705" y="399"/>
                    <a:pt x="1677" y="420"/>
                    <a:pt x="1679" y="481"/>
                  </a:cubicBezTo>
                  <a:cubicBezTo>
                    <a:pt x="1680" y="542"/>
                    <a:pt x="1671" y="796"/>
                    <a:pt x="1543" y="957"/>
                  </a:cubicBezTo>
                  <a:cubicBezTo>
                    <a:pt x="1415" y="1117"/>
                    <a:pt x="1257" y="1222"/>
                    <a:pt x="1027" y="1251"/>
                  </a:cubicBezTo>
                  <a:cubicBezTo>
                    <a:pt x="969" y="1258"/>
                    <a:pt x="948" y="1224"/>
                    <a:pt x="991" y="1153"/>
                  </a:cubicBezTo>
                  <a:cubicBezTo>
                    <a:pt x="1034" y="1081"/>
                    <a:pt x="1294" y="650"/>
                    <a:pt x="1433" y="472"/>
                  </a:cubicBezTo>
                  <a:cubicBezTo>
                    <a:pt x="1572" y="294"/>
                    <a:pt x="1527" y="126"/>
                    <a:pt x="1491" y="75"/>
                  </a:cubicBezTo>
                  <a:cubicBezTo>
                    <a:pt x="1456" y="23"/>
                    <a:pt x="1440" y="0"/>
                    <a:pt x="1374" y="9"/>
                  </a:cubicBezTo>
                  <a:cubicBezTo>
                    <a:pt x="1308" y="18"/>
                    <a:pt x="1164" y="45"/>
                    <a:pt x="1114" y="5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4" name="Freeform 13"/>
            <p:cNvSpPr>
              <a:spLocks noEditPoints="1"/>
            </p:cNvSpPr>
            <p:nvPr/>
          </p:nvSpPr>
          <p:spPr bwMode="auto">
            <a:xfrm>
              <a:off x="54063900" y="-10006013"/>
              <a:ext cx="1263650" cy="1265238"/>
            </a:xfrm>
            <a:custGeom>
              <a:avLst/>
              <a:gdLst>
                <a:gd name="T0" fmla="*/ 0 w 337"/>
                <a:gd name="T1" fmla="*/ 168 h 337"/>
                <a:gd name="T2" fmla="*/ 168 w 337"/>
                <a:gd name="T3" fmla="*/ 0 h 337"/>
                <a:gd name="T4" fmla="*/ 337 w 337"/>
                <a:gd name="T5" fmla="*/ 168 h 337"/>
                <a:gd name="T6" fmla="*/ 168 w 337"/>
                <a:gd name="T7" fmla="*/ 337 h 337"/>
                <a:gd name="T8" fmla="*/ 0 w 337"/>
                <a:gd name="T9" fmla="*/ 168 h 337"/>
                <a:gd name="T10" fmla="*/ 305 w 337"/>
                <a:gd name="T11" fmla="*/ 168 h 337"/>
                <a:gd name="T12" fmla="*/ 168 w 337"/>
                <a:gd name="T13" fmla="*/ 31 h 337"/>
                <a:gd name="T14" fmla="*/ 31 w 337"/>
                <a:gd name="T15" fmla="*/ 168 h 337"/>
                <a:gd name="T16" fmla="*/ 168 w 337"/>
                <a:gd name="T17" fmla="*/ 306 h 337"/>
                <a:gd name="T18" fmla="*/ 305 w 337"/>
                <a:gd name="T19" fmla="*/ 168 h 337"/>
                <a:gd name="T20" fmla="*/ 252 w 337"/>
                <a:gd name="T21" fmla="*/ 260 h 337"/>
                <a:gd name="T22" fmla="*/ 211 w 337"/>
                <a:gd name="T23" fmla="*/ 260 h 337"/>
                <a:gd name="T24" fmla="*/ 170 w 337"/>
                <a:gd name="T25" fmla="*/ 183 h 337"/>
                <a:gd name="T26" fmla="*/ 134 w 337"/>
                <a:gd name="T27" fmla="*/ 183 h 337"/>
                <a:gd name="T28" fmla="*/ 134 w 337"/>
                <a:gd name="T29" fmla="*/ 260 h 337"/>
                <a:gd name="T30" fmla="*/ 99 w 337"/>
                <a:gd name="T31" fmla="*/ 260 h 337"/>
                <a:gd name="T32" fmla="*/ 99 w 337"/>
                <a:gd name="T33" fmla="*/ 78 h 337"/>
                <a:gd name="T34" fmla="*/ 187 w 337"/>
                <a:gd name="T35" fmla="*/ 78 h 337"/>
                <a:gd name="T36" fmla="*/ 236 w 337"/>
                <a:gd name="T37" fmla="*/ 87 h 337"/>
                <a:gd name="T38" fmla="*/ 258 w 337"/>
                <a:gd name="T39" fmla="*/ 134 h 337"/>
                <a:gd name="T40" fmla="*/ 208 w 337"/>
                <a:gd name="T41" fmla="*/ 183 h 337"/>
                <a:gd name="T42" fmla="*/ 252 w 337"/>
                <a:gd name="T43" fmla="*/ 260 h 337"/>
                <a:gd name="T44" fmla="*/ 188 w 337"/>
                <a:gd name="T45" fmla="*/ 156 h 337"/>
                <a:gd name="T46" fmla="*/ 222 w 337"/>
                <a:gd name="T47" fmla="*/ 129 h 337"/>
                <a:gd name="T48" fmla="*/ 179 w 337"/>
                <a:gd name="T49" fmla="*/ 104 h 337"/>
                <a:gd name="T50" fmla="*/ 134 w 337"/>
                <a:gd name="T51" fmla="*/ 104 h 337"/>
                <a:gd name="T52" fmla="*/ 134 w 337"/>
                <a:gd name="T53" fmla="*/ 156 h 337"/>
                <a:gd name="T54" fmla="*/ 188 w 337"/>
                <a:gd name="T55" fmla="*/ 15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337">
                  <a:moveTo>
                    <a:pt x="0" y="168"/>
                  </a:moveTo>
                  <a:cubicBezTo>
                    <a:pt x="0" y="75"/>
                    <a:pt x="75" y="0"/>
                    <a:pt x="168" y="0"/>
                  </a:cubicBezTo>
                  <a:cubicBezTo>
                    <a:pt x="261" y="0"/>
                    <a:pt x="337" y="75"/>
                    <a:pt x="337" y="168"/>
                  </a:cubicBezTo>
                  <a:cubicBezTo>
                    <a:pt x="337" y="262"/>
                    <a:pt x="261" y="337"/>
                    <a:pt x="168" y="337"/>
                  </a:cubicBezTo>
                  <a:cubicBezTo>
                    <a:pt x="75" y="337"/>
                    <a:pt x="0" y="262"/>
                    <a:pt x="0" y="168"/>
                  </a:cubicBezTo>
                  <a:close/>
                  <a:moveTo>
                    <a:pt x="305" y="168"/>
                  </a:moveTo>
                  <a:cubicBezTo>
                    <a:pt x="305" y="92"/>
                    <a:pt x="244" y="31"/>
                    <a:pt x="168" y="31"/>
                  </a:cubicBezTo>
                  <a:cubicBezTo>
                    <a:pt x="92" y="31"/>
                    <a:pt x="31" y="92"/>
                    <a:pt x="31" y="168"/>
                  </a:cubicBezTo>
                  <a:cubicBezTo>
                    <a:pt x="31" y="244"/>
                    <a:pt x="92" y="306"/>
                    <a:pt x="168" y="306"/>
                  </a:cubicBezTo>
                  <a:cubicBezTo>
                    <a:pt x="244" y="306"/>
                    <a:pt x="305" y="244"/>
                    <a:pt x="305" y="168"/>
                  </a:cubicBezTo>
                  <a:close/>
                  <a:moveTo>
                    <a:pt x="252" y="260"/>
                  </a:moveTo>
                  <a:cubicBezTo>
                    <a:pt x="211" y="260"/>
                    <a:pt x="211" y="260"/>
                    <a:pt x="211" y="260"/>
                  </a:cubicBezTo>
                  <a:cubicBezTo>
                    <a:pt x="170" y="183"/>
                    <a:pt x="170" y="183"/>
                    <a:pt x="170" y="183"/>
                  </a:cubicBezTo>
                  <a:cubicBezTo>
                    <a:pt x="134" y="183"/>
                    <a:pt x="134" y="183"/>
                    <a:pt x="134" y="183"/>
                  </a:cubicBezTo>
                  <a:cubicBezTo>
                    <a:pt x="134" y="260"/>
                    <a:pt x="134" y="260"/>
                    <a:pt x="134" y="260"/>
                  </a:cubicBezTo>
                  <a:cubicBezTo>
                    <a:pt x="99" y="260"/>
                    <a:pt x="99" y="260"/>
                    <a:pt x="99" y="260"/>
                  </a:cubicBezTo>
                  <a:cubicBezTo>
                    <a:pt x="99" y="78"/>
                    <a:pt x="99" y="78"/>
                    <a:pt x="99" y="78"/>
                  </a:cubicBezTo>
                  <a:cubicBezTo>
                    <a:pt x="187" y="78"/>
                    <a:pt x="187" y="78"/>
                    <a:pt x="187" y="78"/>
                  </a:cubicBezTo>
                  <a:cubicBezTo>
                    <a:pt x="203" y="78"/>
                    <a:pt x="222" y="78"/>
                    <a:pt x="236" y="87"/>
                  </a:cubicBezTo>
                  <a:cubicBezTo>
                    <a:pt x="252" y="98"/>
                    <a:pt x="258" y="115"/>
                    <a:pt x="258" y="134"/>
                  </a:cubicBezTo>
                  <a:cubicBezTo>
                    <a:pt x="258" y="167"/>
                    <a:pt x="240" y="181"/>
                    <a:pt x="208" y="183"/>
                  </a:cubicBezTo>
                  <a:lnTo>
                    <a:pt x="252" y="260"/>
                  </a:lnTo>
                  <a:close/>
                  <a:moveTo>
                    <a:pt x="188" y="156"/>
                  </a:moveTo>
                  <a:cubicBezTo>
                    <a:pt x="208" y="156"/>
                    <a:pt x="222" y="152"/>
                    <a:pt x="222" y="129"/>
                  </a:cubicBezTo>
                  <a:cubicBezTo>
                    <a:pt x="222" y="104"/>
                    <a:pt x="196" y="104"/>
                    <a:pt x="179" y="104"/>
                  </a:cubicBezTo>
                  <a:cubicBezTo>
                    <a:pt x="134" y="104"/>
                    <a:pt x="134" y="104"/>
                    <a:pt x="134" y="104"/>
                  </a:cubicBezTo>
                  <a:cubicBezTo>
                    <a:pt x="134" y="156"/>
                    <a:pt x="134" y="156"/>
                    <a:pt x="134" y="156"/>
                  </a:cubicBezTo>
                  <a:lnTo>
                    <a:pt x="188" y="15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5" name="Freeform 14"/>
            <p:cNvSpPr>
              <a:spLocks/>
            </p:cNvSpPr>
            <p:nvPr/>
          </p:nvSpPr>
          <p:spPr bwMode="auto">
            <a:xfrm>
              <a:off x="27657425" y="-1565275"/>
              <a:ext cx="11131550" cy="8902700"/>
            </a:xfrm>
            <a:custGeom>
              <a:avLst/>
              <a:gdLst>
                <a:gd name="T0" fmla="*/ 1484 w 2968"/>
                <a:gd name="T1" fmla="*/ 2373 h 2373"/>
                <a:gd name="T2" fmla="*/ 1690 w 2968"/>
                <a:gd name="T3" fmla="*/ 2222 h 2373"/>
                <a:gd name="T4" fmla="*/ 2863 w 2968"/>
                <a:gd name="T5" fmla="*/ 371 h 2373"/>
                <a:gd name="T6" fmla="*/ 2890 w 2968"/>
                <a:gd name="T7" fmla="*/ 64 h 2373"/>
                <a:gd name="T8" fmla="*/ 2600 w 2968"/>
                <a:gd name="T9" fmla="*/ 169 h 2373"/>
                <a:gd name="T10" fmla="*/ 1770 w 2968"/>
                <a:gd name="T11" fmla="*/ 1065 h 2373"/>
                <a:gd name="T12" fmla="*/ 1484 w 2968"/>
                <a:gd name="T13" fmla="*/ 1302 h 2373"/>
                <a:gd name="T14" fmla="*/ 1197 w 2968"/>
                <a:gd name="T15" fmla="*/ 1065 h 2373"/>
                <a:gd name="T16" fmla="*/ 367 w 2968"/>
                <a:gd name="T17" fmla="*/ 169 h 2373"/>
                <a:gd name="T18" fmla="*/ 78 w 2968"/>
                <a:gd name="T19" fmla="*/ 64 h 2373"/>
                <a:gd name="T20" fmla="*/ 105 w 2968"/>
                <a:gd name="T21" fmla="*/ 371 h 2373"/>
                <a:gd name="T22" fmla="*/ 1278 w 2968"/>
                <a:gd name="T23" fmla="*/ 2222 h 2373"/>
                <a:gd name="T24" fmla="*/ 1484 w 2968"/>
                <a:gd name="T25" fmla="*/ 2373 h 2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8" h="2373">
                  <a:moveTo>
                    <a:pt x="1484" y="2373"/>
                  </a:moveTo>
                  <a:cubicBezTo>
                    <a:pt x="1543" y="2373"/>
                    <a:pt x="1630" y="2327"/>
                    <a:pt x="1690" y="2222"/>
                  </a:cubicBezTo>
                  <a:cubicBezTo>
                    <a:pt x="1750" y="2116"/>
                    <a:pt x="2780" y="504"/>
                    <a:pt x="2863" y="371"/>
                  </a:cubicBezTo>
                  <a:cubicBezTo>
                    <a:pt x="2945" y="238"/>
                    <a:pt x="2968" y="128"/>
                    <a:pt x="2890" y="64"/>
                  </a:cubicBezTo>
                  <a:cubicBezTo>
                    <a:pt x="2812" y="0"/>
                    <a:pt x="2708" y="55"/>
                    <a:pt x="2600" y="169"/>
                  </a:cubicBezTo>
                  <a:cubicBezTo>
                    <a:pt x="2543" y="230"/>
                    <a:pt x="2190" y="600"/>
                    <a:pt x="1770" y="1065"/>
                  </a:cubicBezTo>
                  <a:cubicBezTo>
                    <a:pt x="1644" y="1205"/>
                    <a:pt x="1589" y="1300"/>
                    <a:pt x="1484" y="1302"/>
                  </a:cubicBezTo>
                  <a:cubicBezTo>
                    <a:pt x="1379" y="1300"/>
                    <a:pt x="1324" y="1205"/>
                    <a:pt x="1197" y="1065"/>
                  </a:cubicBezTo>
                  <a:cubicBezTo>
                    <a:pt x="778" y="600"/>
                    <a:pt x="425" y="230"/>
                    <a:pt x="367" y="169"/>
                  </a:cubicBezTo>
                  <a:cubicBezTo>
                    <a:pt x="260" y="55"/>
                    <a:pt x="155" y="0"/>
                    <a:pt x="78" y="64"/>
                  </a:cubicBezTo>
                  <a:cubicBezTo>
                    <a:pt x="0" y="128"/>
                    <a:pt x="23" y="238"/>
                    <a:pt x="105" y="371"/>
                  </a:cubicBezTo>
                  <a:cubicBezTo>
                    <a:pt x="188" y="504"/>
                    <a:pt x="1218" y="2116"/>
                    <a:pt x="1278" y="2222"/>
                  </a:cubicBezTo>
                  <a:cubicBezTo>
                    <a:pt x="1337" y="2327"/>
                    <a:pt x="1424" y="2373"/>
                    <a:pt x="1484" y="237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6" name="Freeform 15"/>
            <p:cNvSpPr>
              <a:spLocks noEditPoints="1"/>
            </p:cNvSpPr>
            <p:nvPr/>
          </p:nvSpPr>
          <p:spPr bwMode="auto">
            <a:xfrm>
              <a:off x="29589413" y="-5740400"/>
              <a:ext cx="3033712" cy="2968625"/>
            </a:xfrm>
            <a:custGeom>
              <a:avLst/>
              <a:gdLst>
                <a:gd name="T0" fmla="*/ 405 w 809"/>
                <a:gd name="T1" fmla="*/ 0 h 791"/>
                <a:gd name="T2" fmla="*/ 0 w 809"/>
                <a:gd name="T3" fmla="*/ 395 h 791"/>
                <a:gd name="T4" fmla="*/ 405 w 809"/>
                <a:gd name="T5" fmla="*/ 791 h 791"/>
                <a:gd name="T6" fmla="*/ 809 w 809"/>
                <a:gd name="T7" fmla="*/ 395 h 791"/>
                <a:gd name="T8" fmla="*/ 405 w 809"/>
                <a:gd name="T9" fmla="*/ 0 h 791"/>
                <a:gd name="T10" fmla="*/ 397 w 809"/>
                <a:gd name="T11" fmla="*/ 628 h 791"/>
                <a:gd name="T12" fmla="*/ 166 w 809"/>
                <a:gd name="T13" fmla="*/ 395 h 791"/>
                <a:gd name="T14" fmla="*/ 397 w 809"/>
                <a:gd name="T15" fmla="*/ 162 h 791"/>
                <a:gd name="T16" fmla="*/ 628 w 809"/>
                <a:gd name="T17" fmla="*/ 395 h 791"/>
                <a:gd name="T18" fmla="*/ 397 w 809"/>
                <a:gd name="T19" fmla="*/ 628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9" h="791">
                  <a:moveTo>
                    <a:pt x="405" y="0"/>
                  </a:moveTo>
                  <a:cubicBezTo>
                    <a:pt x="181" y="0"/>
                    <a:pt x="0" y="177"/>
                    <a:pt x="0" y="395"/>
                  </a:cubicBezTo>
                  <a:cubicBezTo>
                    <a:pt x="0" y="614"/>
                    <a:pt x="181" y="791"/>
                    <a:pt x="405" y="791"/>
                  </a:cubicBezTo>
                  <a:cubicBezTo>
                    <a:pt x="628" y="791"/>
                    <a:pt x="809" y="614"/>
                    <a:pt x="809" y="395"/>
                  </a:cubicBezTo>
                  <a:cubicBezTo>
                    <a:pt x="809" y="177"/>
                    <a:pt x="628" y="0"/>
                    <a:pt x="405" y="0"/>
                  </a:cubicBezTo>
                  <a:close/>
                  <a:moveTo>
                    <a:pt x="397" y="628"/>
                  </a:moveTo>
                  <a:cubicBezTo>
                    <a:pt x="270" y="628"/>
                    <a:pt x="166" y="524"/>
                    <a:pt x="166" y="395"/>
                  </a:cubicBezTo>
                  <a:cubicBezTo>
                    <a:pt x="166" y="266"/>
                    <a:pt x="270" y="162"/>
                    <a:pt x="397" y="162"/>
                  </a:cubicBezTo>
                  <a:cubicBezTo>
                    <a:pt x="525" y="162"/>
                    <a:pt x="628" y="266"/>
                    <a:pt x="628" y="395"/>
                  </a:cubicBezTo>
                  <a:cubicBezTo>
                    <a:pt x="628" y="524"/>
                    <a:pt x="525" y="628"/>
                    <a:pt x="397" y="62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7" name="Freeform 16"/>
            <p:cNvSpPr>
              <a:spLocks/>
            </p:cNvSpPr>
            <p:nvPr/>
          </p:nvSpPr>
          <p:spPr bwMode="auto">
            <a:xfrm>
              <a:off x="24274463" y="-5740400"/>
              <a:ext cx="2667000" cy="2968625"/>
            </a:xfrm>
            <a:custGeom>
              <a:avLst/>
              <a:gdLst>
                <a:gd name="T0" fmla="*/ 652 w 711"/>
                <a:gd name="T1" fmla="*/ 323 h 791"/>
                <a:gd name="T2" fmla="*/ 552 w 711"/>
                <a:gd name="T3" fmla="*/ 323 h 791"/>
                <a:gd name="T4" fmla="*/ 423 w 711"/>
                <a:gd name="T5" fmla="*/ 323 h 791"/>
                <a:gd name="T6" fmla="*/ 423 w 711"/>
                <a:gd name="T7" fmla="*/ 476 h 791"/>
                <a:gd name="T8" fmla="*/ 552 w 711"/>
                <a:gd name="T9" fmla="*/ 476 h 791"/>
                <a:gd name="T10" fmla="*/ 552 w 711"/>
                <a:gd name="T11" fmla="*/ 591 h 791"/>
                <a:gd name="T12" fmla="*/ 419 w 711"/>
                <a:gd name="T13" fmla="*/ 628 h 791"/>
                <a:gd name="T14" fmla="*/ 175 w 711"/>
                <a:gd name="T15" fmla="*/ 395 h 791"/>
                <a:gd name="T16" fmla="*/ 419 w 711"/>
                <a:gd name="T17" fmla="*/ 162 h 791"/>
                <a:gd name="T18" fmla="*/ 585 w 711"/>
                <a:gd name="T19" fmla="*/ 224 h 791"/>
                <a:gd name="T20" fmla="*/ 705 w 711"/>
                <a:gd name="T21" fmla="*/ 95 h 791"/>
                <a:gd name="T22" fmla="*/ 427 w 711"/>
                <a:gd name="T23" fmla="*/ 0 h 791"/>
                <a:gd name="T24" fmla="*/ 0 w 711"/>
                <a:gd name="T25" fmla="*/ 395 h 791"/>
                <a:gd name="T26" fmla="*/ 427 w 711"/>
                <a:gd name="T27" fmla="*/ 791 h 791"/>
                <a:gd name="T28" fmla="*/ 552 w 711"/>
                <a:gd name="T29" fmla="*/ 773 h 791"/>
                <a:gd name="T30" fmla="*/ 711 w 711"/>
                <a:gd name="T31" fmla="*/ 690 h 791"/>
                <a:gd name="T32" fmla="*/ 711 w 711"/>
                <a:gd name="T33" fmla="*/ 476 h 791"/>
                <a:gd name="T34" fmla="*/ 711 w 711"/>
                <a:gd name="T35" fmla="*/ 323 h 791"/>
                <a:gd name="T36" fmla="*/ 652 w 711"/>
                <a:gd name="T37" fmla="*/ 323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1" h="791">
                  <a:moveTo>
                    <a:pt x="652" y="323"/>
                  </a:moveTo>
                  <a:cubicBezTo>
                    <a:pt x="552" y="323"/>
                    <a:pt x="552" y="323"/>
                    <a:pt x="552" y="323"/>
                  </a:cubicBezTo>
                  <a:cubicBezTo>
                    <a:pt x="423" y="323"/>
                    <a:pt x="423" y="323"/>
                    <a:pt x="423" y="323"/>
                  </a:cubicBezTo>
                  <a:cubicBezTo>
                    <a:pt x="423" y="476"/>
                    <a:pt x="423" y="476"/>
                    <a:pt x="423" y="476"/>
                  </a:cubicBezTo>
                  <a:cubicBezTo>
                    <a:pt x="552" y="476"/>
                    <a:pt x="552" y="476"/>
                    <a:pt x="552" y="476"/>
                  </a:cubicBezTo>
                  <a:cubicBezTo>
                    <a:pt x="552" y="591"/>
                    <a:pt x="552" y="591"/>
                    <a:pt x="552" y="591"/>
                  </a:cubicBezTo>
                  <a:cubicBezTo>
                    <a:pt x="514" y="615"/>
                    <a:pt x="468" y="628"/>
                    <a:pt x="419" y="628"/>
                  </a:cubicBezTo>
                  <a:cubicBezTo>
                    <a:pt x="285" y="628"/>
                    <a:pt x="175" y="524"/>
                    <a:pt x="175" y="395"/>
                  </a:cubicBezTo>
                  <a:cubicBezTo>
                    <a:pt x="175" y="266"/>
                    <a:pt x="285" y="162"/>
                    <a:pt x="419" y="162"/>
                  </a:cubicBezTo>
                  <a:cubicBezTo>
                    <a:pt x="483" y="162"/>
                    <a:pt x="541" y="185"/>
                    <a:pt x="585" y="224"/>
                  </a:cubicBezTo>
                  <a:cubicBezTo>
                    <a:pt x="705" y="95"/>
                    <a:pt x="705" y="95"/>
                    <a:pt x="705" y="95"/>
                  </a:cubicBezTo>
                  <a:cubicBezTo>
                    <a:pt x="631" y="35"/>
                    <a:pt x="534" y="0"/>
                    <a:pt x="427" y="0"/>
                  </a:cubicBezTo>
                  <a:cubicBezTo>
                    <a:pt x="191" y="0"/>
                    <a:pt x="0" y="177"/>
                    <a:pt x="0" y="395"/>
                  </a:cubicBezTo>
                  <a:cubicBezTo>
                    <a:pt x="0" y="614"/>
                    <a:pt x="191" y="791"/>
                    <a:pt x="427" y="791"/>
                  </a:cubicBezTo>
                  <a:cubicBezTo>
                    <a:pt x="471" y="791"/>
                    <a:pt x="513" y="785"/>
                    <a:pt x="552" y="773"/>
                  </a:cubicBezTo>
                  <a:cubicBezTo>
                    <a:pt x="612" y="757"/>
                    <a:pt x="666" y="728"/>
                    <a:pt x="711" y="690"/>
                  </a:cubicBezTo>
                  <a:cubicBezTo>
                    <a:pt x="711" y="476"/>
                    <a:pt x="711" y="476"/>
                    <a:pt x="711" y="476"/>
                  </a:cubicBezTo>
                  <a:cubicBezTo>
                    <a:pt x="711" y="323"/>
                    <a:pt x="711" y="323"/>
                    <a:pt x="711" y="323"/>
                  </a:cubicBezTo>
                  <a:lnTo>
                    <a:pt x="652" y="3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8" name="Freeform 17"/>
            <p:cNvSpPr>
              <a:spLocks/>
            </p:cNvSpPr>
            <p:nvPr/>
          </p:nvSpPr>
          <p:spPr bwMode="auto">
            <a:xfrm>
              <a:off x="35339338" y="-5627688"/>
              <a:ext cx="1712912" cy="2732088"/>
            </a:xfrm>
            <a:custGeom>
              <a:avLst/>
              <a:gdLst>
                <a:gd name="T0" fmla="*/ 375 w 1079"/>
                <a:gd name="T1" fmla="*/ 0 h 1721"/>
                <a:gd name="T2" fmla="*/ 0 w 1079"/>
                <a:gd name="T3" fmla="*/ 0 h 1721"/>
                <a:gd name="T4" fmla="*/ 0 w 1079"/>
                <a:gd name="T5" fmla="*/ 1361 h 1721"/>
                <a:gd name="T6" fmla="*/ 0 w 1079"/>
                <a:gd name="T7" fmla="*/ 1721 h 1721"/>
                <a:gd name="T8" fmla="*/ 375 w 1079"/>
                <a:gd name="T9" fmla="*/ 1721 h 1721"/>
                <a:gd name="T10" fmla="*/ 1079 w 1079"/>
                <a:gd name="T11" fmla="*/ 1721 h 1721"/>
                <a:gd name="T12" fmla="*/ 1079 w 1079"/>
                <a:gd name="T13" fmla="*/ 1361 h 1721"/>
                <a:gd name="T14" fmla="*/ 375 w 1079"/>
                <a:gd name="T15" fmla="*/ 1361 h 1721"/>
                <a:gd name="T16" fmla="*/ 375 w 1079"/>
                <a:gd name="T17" fmla="*/ 0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9" h="1721">
                  <a:moveTo>
                    <a:pt x="375" y="0"/>
                  </a:moveTo>
                  <a:lnTo>
                    <a:pt x="0" y="0"/>
                  </a:lnTo>
                  <a:lnTo>
                    <a:pt x="0" y="1361"/>
                  </a:lnTo>
                  <a:lnTo>
                    <a:pt x="0" y="1721"/>
                  </a:lnTo>
                  <a:lnTo>
                    <a:pt x="375" y="1721"/>
                  </a:lnTo>
                  <a:lnTo>
                    <a:pt x="1079" y="1721"/>
                  </a:lnTo>
                  <a:lnTo>
                    <a:pt x="1079" y="1361"/>
                  </a:lnTo>
                  <a:lnTo>
                    <a:pt x="375" y="1361"/>
                  </a:lnTo>
                  <a:lnTo>
                    <a:pt x="37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9" name="Freeform 18"/>
            <p:cNvSpPr>
              <a:spLocks/>
            </p:cNvSpPr>
            <p:nvPr/>
          </p:nvSpPr>
          <p:spPr bwMode="auto">
            <a:xfrm>
              <a:off x="39719250" y="-5630863"/>
              <a:ext cx="1819275" cy="2735263"/>
            </a:xfrm>
            <a:custGeom>
              <a:avLst/>
              <a:gdLst>
                <a:gd name="T0" fmla="*/ 378 w 1146"/>
                <a:gd name="T1" fmla="*/ 0 h 1723"/>
                <a:gd name="T2" fmla="*/ 0 w 1146"/>
                <a:gd name="T3" fmla="*/ 0 h 1723"/>
                <a:gd name="T4" fmla="*/ 0 w 1146"/>
                <a:gd name="T5" fmla="*/ 2 h 1723"/>
                <a:gd name="T6" fmla="*/ 0 w 1146"/>
                <a:gd name="T7" fmla="*/ 359 h 1723"/>
                <a:gd name="T8" fmla="*/ 0 w 1146"/>
                <a:gd name="T9" fmla="*/ 697 h 1723"/>
                <a:gd name="T10" fmla="*/ 0 w 1146"/>
                <a:gd name="T11" fmla="*/ 1056 h 1723"/>
                <a:gd name="T12" fmla="*/ 0 w 1146"/>
                <a:gd name="T13" fmla="*/ 1723 h 1723"/>
                <a:gd name="T14" fmla="*/ 378 w 1146"/>
                <a:gd name="T15" fmla="*/ 1723 h 1723"/>
                <a:gd name="T16" fmla="*/ 378 w 1146"/>
                <a:gd name="T17" fmla="*/ 1056 h 1723"/>
                <a:gd name="T18" fmla="*/ 1083 w 1146"/>
                <a:gd name="T19" fmla="*/ 1056 h 1723"/>
                <a:gd name="T20" fmla="*/ 1083 w 1146"/>
                <a:gd name="T21" fmla="*/ 697 h 1723"/>
                <a:gd name="T22" fmla="*/ 378 w 1146"/>
                <a:gd name="T23" fmla="*/ 697 h 1723"/>
                <a:gd name="T24" fmla="*/ 378 w 1146"/>
                <a:gd name="T25" fmla="*/ 359 h 1723"/>
                <a:gd name="T26" fmla="*/ 1146 w 1146"/>
                <a:gd name="T27" fmla="*/ 359 h 1723"/>
                <a:gd name="T28" fmla="*/ 1146 w 1146"/>
                <a:gd name="T29" fmla="*/ 2 h 1723"/>
                <a:gd name="T30" fmla="*/ 1146 w 1146"/>
                <a:gd name="T31" fmla="*/ 0 h 1723"/>
                <a:gd name="T32" fmla="*/ 378 w 1146"/>
                <a:gd name="T33" fmla="*/ 0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6" h="1723">
                  <a:moveTo>
                    <a:pt x="378" y="0"/>
                  </a:moveTo>
                  <a:lnTo>
                    <a:pt x="0" y="0"/>
                  </a:lnTo>
                  <a:lnTo>
                    <a:pt x="0" y="2"/>
                  </a:lnTo>
                  <a:lnTo>
                    <a:pt x="0" y="359"/>
                  </a:lnTo>
                  <a:lnTo>
                    <a:pt x="0" y="697"/>
                  </a:lnTo>
                  <a:lnTo>
                    <a:pt x="0" y="1056"/>
                  </a:lnTo>
                  <a:lnTo>
                    <a:pt x="0" y="1723"/>
                  </a:lnTo>
                  <a:lnTo>
                    <a:pt x="378" y="1723"/>
                  </a:lnTo>
                  <a:lnTo>
                    <a:pt x="378" y="1056"/>
                  </a:lnTo>
                  <a:lnTo>
                    <a:pt x="1083" y="1056"/>
                  </a:lnTo>
                  <a:lnTo>
                    <a:pt x="1083" y="697"/>
                  </a:lnTo>
                  <a:lnTo>
                    <a:pt x="378" y="697"/>
                  </a:lnTo>
                  <a:lnTo>
                    <a:pt x="378" y="359"/>
                  </a:lnTo>
                  <a:lnTo>
                    <a:pt x="1146" y="359"/>
                  </a:lnTo>
                  <a:lnTo>
                    <a:pt x="1146" y="2"/>
                  </a:lnTo>
                  <a:lnTo>
                    <a:pt x="1146" y="0"/>
                  </a:lnTo>
                  <a:lnTo>
                    <a:pt x="378"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24" name="Rectangle 23"/>
          <p:cNvSpPr/>
          <p:nvPr/>
        </p:nvSpPr>
        <p:spPr bwMode="auto">
          <a:xfrm rot="16200000">
            <a:off x="0" y="2011529"/>
            <a:ext cx="4846297" cy="4846297"/>
          </a:xfrm>
          <a:prstGeom prst="rect">
            <a:avLst/>
          </a:prstGeom>
          <a:gradFill>
            <a:gsLst>
              <a:gs pos="0">
                <a:srgbClr val="000000">
                  <a:alpha val="67000"/>
                </a:srgbClr>
              </a:gs>
              <a:gs pos="50000">
                <a:srgbClr val="000000">
                  <a:alpha val="0"/>
                </a:srgbClr>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9"/>
          <p:cNvSpPr/>
          <p:nvPr>
            <p:custDataLst>
              <p:tags r:id="rId1"/>
            </p:custDataLst>
          </p:nvPr>
        </p:nvSpPr>
        <p:spPr bwMode="auto">
          <a:xfrm>
            <a:off x="289471" y="5992363"/>
            <a:ext cx="5433020" cy="896425"/>
          </a:xfrm>
          <a:prstGeom prst="rect">
            <a:avLst/>
          </a:prstGeom>
          <a:no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353" kern="0" spc="-29" dirty="0">
                <a:gradFill>
                  <a:gsLst>
                    <a:gs pos="2917">
                      <a:srgbClr val="FFFFFF"/>
                    </a:gs>
                    <a:gs pos="30000">
                      <a:srgbClr val="FFFFFF"/>
                    </a:gs>
                  </a:gsLst>
                  <a:lin ang="5400000" scaled="0"/>
                </a:gradFill>
                <a:latin typeface="Segoe UI Light"/>
                <a:ea typeface="ＭＳ Ｐゴシック" charset="0"/>
              </a:rPr>
              <a:t>Empower enterprise mobility</a:t>
            </a:r>
          </a:p>
          <a:p>
            <a:pPr defTabSz="914347">
              <a:lnSpc>
                <a:spcPct val="90000"/>
              </a:lnSpc>
              <a:defRPr/>
            </a:pPr>
            <a:endParaRPr lang="en-US" sz="2353" kern="0" spc="-29" dirty="0">
              <a:gradFill>
                <a:gsLst>
                  <a:gs pos="2917">
                    <a:srgbClr val="FFFFFF"/>
                  </a:gs>
                  <a:gs pos="30000">
                    <a:srgbClr val="FFFFFF"/>
                  </a:gs>
                </a:gsLst>
                <a:lin ang="5400000" scaled="0"/>
              </a:gradFill>
              <a:latin typeface="Segoe UI Light"/>
              <a:ea typeface="ＭＳ Ｐゴシック" charset="0"/>
            </a:endParaRPr>
          </a:p>
        </p:txBody>
      </p:sp>
    </p:spTree>
    <p:extLst>
      <p:ext uri="{BB962C8B-B14F-4D97-AF65-F5344CB8AC3E}">
        <p14:creationId xmlns:p14="http://schemas.microsoft.com/office/powerpoint/2010/main" val="3556879741"/>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1722" r="9537" b="8074"/>
          <a:stretch/>
        </p:blipFill>
        <p:spPr>
          <a:xfrm>
            <a:off x="-17119" y="-11963"/>
            <a:ext cx="12191999" cy="6869478"/>
          </a:xfrm>
          <a:prstGeom prst="rect">
            <a:avLst/>
          </a:prstGeom>
        </p:spPr>
      </p:pic>
      <p:sp>
        <p:nvSpPr>
          <p:cNvPr id="11" name="Rectangle 10"/>
          <p:cNvSpPr/>
          <p:nvPr/>
        </p:nvSpPr>
        <p:spPr bwMode="auto">
          <a:xfrm>
            <a:off x="5647788" y="291514"/>
            <a:ext cx="6274974" cy="6237623"/>
          </a:xfrm>
          <a:prstGeom prst="rect">
            <a:avLst/>
          </a:prstGeom>
          <a:solidFill>
            <a:srgbClr val="00188F">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6" name="Rectangle 15"/>
          <p:cNvSpPr/>
          <p:nvPr/>
        </p:nvSpPr>
        <p:spPr>
          <a:xfrm>
            <a:off x="5901462" y="597440"/>
            <a:ext cx="6145015" cy="3331058"/>
          </a:xfrm>
          <a:prstGeom prst="rect">
            <a:avLst/>
          </a:prstGeom>
        </p:spPr>
        <p:txBody>
          <a:bodyPr wrap="square" lIns="179285" tIns="143428" rIns="179285" bIns="143428">
            <a:spAutoFit/>
          </a:bodyPr>
          <a:lstStyle/>
          <a:p>
            <a:pPr marL="115161" indent="-115161" defTabSz="914367" fontAlgn="base">
              <a:lnSpc>
                <a:spcPct val="90000"/>
              </a:lnSpc>
              <a:spcBef>
                <a:spcPts val="2400"/>
              </a:spcBef>
              <a:spcAft>
                <a:spcPct val="0"/>
              </a:spcAft>
            </a:pPr>
            <a:r>
              <a:rPr lang="en-US" sz="3137" dirty="0">
                <a:gradFill>
                  <a:gsLst>
                    <a:gs pos="67257">
                      <a:srgbClr val="FFFFFF"/>
                    </a:gs>
                    <a:gs pos="37000">
                      <a:srgbClr val="FFFFFF"/>
                    </a:gs>
                  </a:gsLst>
                  <a:lin ang="5400000" scaled="0"/>
                </a:gradFill>
                <a:latin typeface="Segoe UI Light"/>
                <a:ea typeface="ＭＳ Ｐゴシック" charset="0"/>
              </a:rPr>
              <a:t>“We wanted to go beyond the industry standard of preventative maintenance, to offer predictive and even preemptive maintenance, so we can guarantee a higher uptime percentage on our elevators.”</a:t>
            </a:r>
          </a:p>
        </p:txBody>
      </p:sp>
      <p:grpSp>
        <p:nvGrpSpPr>
          <p:cNvPr id="14" name="Group 13"/>
          <p:cNvGrpSpPr/>
          <p:nvPr/>
        </p:nvGrpSpPr>
        <p:grpSpPr>
          <a:xfrm>
            <a:off x="8075006" y="5517101"/>
            <a:ext cx="3363429" cy="702493"/>
            <a:chOff x="-2538413" y="1627188"/>
            <a:chExt cx="17268826" cy="3606800"/>
          </a:xfrm>
          <a:solidFill>
            <a:schemeClr val="bg1"/>
          </a:solidFill>
        </p:grpSpPr>
        <p:sp>
          <p:nvSpPr>
            <p:cNvPr id="15" name="Freeform 14"/>
            <p:cNvSpPr>
              <a:spLocks/>
            </p:cNvSpPr>
            <p:nvPr/>
          </p:nvSpPr>
          <p:spPr bwMode="auto">
            <a:xfrm>
              <a:off x="1941512" y="2365376"/>
              <a:ext cx="1036638" cy="1649413"/>
            </a:xfrm>
            <a:custGeom>
              <a:avLst/>
              <a:gdLst>
                <a:gd name="T0" fmla="*/ 0 w 653"/>
                <a:gd name="T1" fmla="*/ 0 h 1039"/>
                <a:gd name="T2" fmla="*/ 653 w 653"/>
                <a:gd name="T3" fmla="*/ 0 h 1039"/>
                <a:gd name="T4" fmla="*/ 653 w 653"/>
                <a:gd name="T5" fmla="*/ 147 h 1039"/>
                <a:gd name="T6" fmla="*/ 416 w 653"/>
                <a:gd name="T7" fmla="*/ 147 h 1039"/>
                <a:gd name="T8" fmla="*/ 416 w 653"/>
                <a:gd name="T9" fmla="*/ 1039 h 1039"/>
                <a:gd name="T10" fmla="*/ 237 w 653"/>
                <a:gd name="T11" fmla="*/ 1039 h 1039"/>
                <a:gd name="T12" fmla="*/ 237 w 653"/>
                <a:gd name="T13" fmla="*/ 147 h 1039"/>
                <a:gd name="T14" fmla="*/ 0 w 653"/>
                <a:gd name="T15" fmla="*/ 147 h 1039"/>
                <a:gd name="T16" fmla="*/ 0 w 653"/>
                <a:gd name="T17" fmla="*/ 0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3" h="1039">
                  <a:moveTo>
                    <a:pt x="0" y="0"/>
                  </a:moveTo>
                  <a:lnTo>
                    <a:pt x="653" y="0"/>
                  </a:lnTo>
                  <a:lnTo>
                    <a:pt x="653" y="147"/>
                  </a:lnTo>
                  <a:lnTo>
                    <a:pt x="416" y="147"/>
                  </a:lnTo>
                  <a:lnTo>
                    <a:pt x="416" y="1039"/>
                  </a:lnTo>
                  <a:lnTo>
                    <a:pt x="237" y="1039"/>
                  </a:lnTo>
                  <a:lnTo>
                    <a:pt x="237" y="147"/>
                  </a:lnTo>
                  <a:lnTo>
                    <a:pt x="0" y="147"/>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7" name="Freeform 16"/>
            <p:cNvSpPr>
              <a:spLocks/>
            </p:cNvSpPr>
            <p:nvPr/>
          </p:nvSpPr>
          <p:spPr bwMode="auto">
            <a:xfrm>
              <a:off x="3094037" y="2365376"/>
              <a:ext cx="869950" cy="1649413"/>
            </a:xfrm>
            <a:custGeom>
              <a:avLst/>
              <a:gdLst>
                <a:gd name="T0" fmla="*/ 0 w 232"/>
                <a:gd name="T1" fmla="*/ 0 h 439"/>
                <a:gd name="T2" fmla="*/ 69 w 232"/>
                <a:gd name="T3" fmla="*/ 0 h 439"/>
                <a:gd name="T4" fmla="*/ 69 w 232"/>
                <a:gd name="T5" fmla="*/ 157 h 439"/>
                <a:gd name="T6" fmla="*/ 149 w 232"/>
                <a:gd name="T7" fmla="*/ 106 h 439"/>
                <a:gd name="T8" fmla="*/ 197 w 232"/>
                <a:gd name="T9" fmla="*/ 119 h 439"/>
                <a:gd name="T10" fmla="*/ 225 w 232"/>
                <a:gd name="T11" fmla="*/ 154 h 439"/>
                <a:gd name="T12" fmla="*/ 232 w 232"/>
                <a:gd name="T13" fmla="*/ 234 h 439"/>
                <a:gd name="T14" fmla="*/ 232 w 232"/>
                <a:gd name="T15" fmla="*/ 439 h 439"/>
                <a:gd name="T16" fmla="*/ 163 w 232"/>
                <a:gd name="T17" fmla="*/ 439 h 439"/>
                <a:gd name="T18" fmla="*/ 163 w 232"/>
                <a:gd name="T19" fmla="*/ 234 h 439"/>
                <a:gd name="T20" fmla="*/ 151 w 232"/>
                <a:gd name="T21" fmla="*/ 172 h 439"/>
                <a:gd name="T22" fmla="*/ 122 w 232"/>
                <a:gd name="T23" fmla="*/ 160 h 439"/>
                <a:gd name="T24" fmla="*/ 69 w 232"/>
                <a:gd name="T25" fmla="*/ 253 h 439"/>
                <a:gd name="T26" fmla="*/ 69 w 232"/>
                <a:gd name="T27" fmla="*/ 439 h 439"/>
                <a:gd name="T28" fmla="*/ 0 w 232"/>
                <a:gd name="T29" fmla="*/ 439 h 439"/>
                <a:gd name="T30" fmla="*/ 0 w 232"/>
                <a:gd name="T31"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 h="439">
                  <a:moveTo>
                    <a:pt x="0" y="0"/>
                  </a:moveTo>
                  <a:cubicBezTo>
                    <a:pt x="69" y="0"/>
                    <a:pt x="69" y="0"/>
                    <a:pt x="69" y="0"/>
                  </a:cubicBezTo>
                  <a:cubicBezTo>
                    <a:pt x="69" y="157"/>
                    <a:pt x="69" y="157"/>
                    <a:pt x="69" y="157"/>
                  </a:cubicBezTo>
                  <a:cubicBezTo>
                    <a:pt x="85" y="123"/>
                    <a:pt x="111" y="106"/>
                    <a:pt x="149" y="106"/>
                  </a:cubicBezTo>
                  <a:cubicBezTo>
                    <a:pt x="168" y="106"/>
                    <a:pt x="184" y="111"/>
                    <a:pt x="197" y="119"/>
                  </a:cubicBezTo>
                  <a:cubicBezTo>
                    <a:pt x="210" y="128"/>
                    <a:pt x="219" y="139"/>
                    <a:pt x="225" y="154"/>
                  </a:cubicBezTo>
                  <a:cubicBezTo>
                    <a:pt x="230" y="168"/>
                    <a:pt x="232" y="195"/>
                    <a:pt x="232" y="234"/>
                  </a:cubicBezTo>
                  <a:cubicBezTo>
                    <a:pt x="232" y="439"/>
                    <a:pt x="232" y="439"/>
                    <a:pt x="232" y="439"/>
                  </a:cubicBezTo>
                  <a:cubicBezTo>
                    <a:pt x="163" y="439"/>
                    <a:pt x="163" y="439"/>
                    <a:pt x="163" y="439"/>
                  </a:cubicBezTo>
                  <a:cubicBezTo>
                    <a:pt x="163" y="234"/>
                    <a:pt x="163" y="234"/>
                    <a:pt x="163" y="234"/>
                  </a:cubicBezTo>
                  <a:cubicBezTo>
                    <a:pt x="163" y="201"/>
                    <a:pt x="159" y="180"/>
                    <a:pt x="151" y="172"/>
                  </a:cubicBezTo>
                  <a:cubicBezTo>
                    <a:pt x="143" y="164"/>
                    <a:pt x="133" y="160"/>
                    <a:pt x="122" y="160"/>
                  </a:cubicBezTo>
                  <a:cubicBezTo>
                    <a:pt x="87" y="160"/>
                    <a:pt x="69" y="191"/>
                    <a:pt x="69" y="253"/>
                  </a:cubicBezTo>
                  <a:cubicBezTo>
                    <a:pt x="69" y="439"/>
                    <a:pt x="69" y="439"/>
                    <a:pt x="69" y="439"/>
                  </a:cubicBezTo>
                  <a:cubicBezTo>
                    <a:pt x="0" y="439"/>
                    <a:pt x="0" y="439"/>
                    <a:pt x="0" y="439"/>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8" name="Freeform 17"/>
            <p:cNvSpPr>
              <a:spLocks/>
            </p:cNvSpPr>
            <p:nvPr/>
          </p:nvSpPr>
          <p:spPr bwMode="auto">
            <a:xfrm>
              <a:off x="4095750" y="2794001"/>
              <a:ext cx="941388" cy="1657350"/>
            </a:xfrm>
            <a:custGeom>
              <a:avLst/>
              <a:gdLst>
                <a:gd name="T0" fmla="*/ 0 w 251"/>
                <a:gd name="T1" fmla="*/ 0 h 441"/>
                <a:gd name="T2" fmla="*/ 68 w 251"/>
                <a:gd name="T3" fmla="*/ 0 h 441"/>
                <a:gd name="T4" fmla="*/ 127 w 251"/>
                <a:gd name="T5" fmla="*/ 226 h 441"/>
                <a:gd name="T6" fmla="*/ 188 w 251"/>
                <a:gd name="T7" fmla="*/ 0 h 441"/>
                <a:gd name="T8" fmla="*/ 251 w 251"/>
                <a:gd name="T9" fmla="*/ 0 h 441"/>
                <a:gd name="T10" fmla="*/ 142 w 251"/>
                <a:gd name="T11" fmla="*/ 346 h 441"/>
                <a:gd name="T12" fmla="*/ 120 w 251"/>
                <a:gd name="T13" fmla="*/ 401 h 441"/>
                <a:gd name="T14" fmla="*/ 91 w 251"/>
                <a:gd name="T15" fmla="*/ 430 h 441"/>
                <a:gd name="T16" fmla="*/ 44 w 251"/>
                <a:gd name="T17" fmla="*/ 441 h 441"/>
                <a:gd name="T18" fmla="*/ 8 w 251"/>
                <a:gd name="T19" fmla="*/ 437 h 441"/>
                <a:gd name="T20" fmla="*/ 8 w 251"/>
                <a:gd name="T21" fmla="*/ 383 h 441"/>
                <a:gd name="T22" fmla="*/ 33 w 251"/>
                <a:gd name="T23" fmla="*/ 385 h 441"/>
                <a:gd name="T24" fmla="*/ 71 w 251"/>
                <a:gd name="T25" fmla="*/ 373 h 441"/>
                <a:gd name="T26" fmla="*/ 95 w 251"/>
                <a:gd name="T27" fmla="*/ 314 h 441"/>
                <a:gd name="T28" fmla="*/ 0 w 251"/>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1" h="441">
                  <a:moveTo>
                    <a:pt x="0" y="0"/>
                  </a:moveTo>
                  <a:cubicBezTo>
                    <a:pt x="68" y="0"/>
                    <a:pt x="68" y="0"/>
                    <a:pt x="68" y="0"/>
                  </a:cubicBezTo>
                  <a:cubicBezTo>
                    <a:pt x="127" y="226"/>
                    <a:pt x="127" y="226"/>
                    <a:pt x="127" y="226"/>
                  </a:cubicBezTo>
                  <a:cubicBezTo>
                    <a:pt x="188" y="0"/>
                    <a:pt x="188" y="0"/>
                    <a:pt x="188" y="0"/>
                  </a:cubicBezTo>
                  <a:cubicBezTo>
                    <a:pt x="251" y="0"/>
                    <a:pt x="251" y="0"/>
                    <a:pt x="251" y="0"/>
                  </a:cubicBezTo>
                  <a:cubicBezTo>
                    <a:pt x="142" y="346"/>
                    <a:pt x="142" y="346"/>
                    <a:pt x="142" y="346"/>
                  </a:cubicBezTo>
                  <a:cubicBezTo>
                    <a:pt x="134" y="371"/>
                    <a:pt x="126" y="389"/>
                    <a:pt x="120" y="401"/>
                  </a:cubicBezTo>
                  <a:cubicBezTo>
                    <a:pt x="113" y="413"/>
                    <a:pt x="104" y="423"/>
                    <a:pt x="91" y="430"/>
                  </a:cubicBezTo>
                  <a:cubicBezTo>
                    <a:pt x="79" y="438"/>
                    <a:pt x="63" y="441"/>
                    <a:pt x="44" y="441"/>
                  </a:cubicBezTo>
                  <a:cubicBezTo>
                    <a:pt x="33" y="441"/>
                    <a:pt x="21" y="440"/>
                    <a:pt x="8" y="437"/>
                  </a:cubicBezTo>
                  <a:cubicBezTo>
                    <a:pt x="8" y="383"/>
                    <a:pt x="8" y="383"/>
                    <a:pt x="8" y="383"/>
                  </a:cubicBezTo>
                  <a:cubicBezTo>
                    <a:pt x="17" y="385"/>
                    <a:pt x="26" y="385"/>
                    <a:pt x="33" y="385"/>
                  </a:cubicBezTo>
                  <a:cubicBezTo>
                    <a:pt x="51" y="385"/>
                    <a:pt x="64" y="381"/>
                    <a:pt x="71" y="373"/>
                  </a:cubicBezTo>
                  <a:cubicBezTo>
                    <a:pt x="79" y="364"/>
                    <a:pt x="87" y="345"/>
                    <a:pt x="95" y="314"/>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19" name="Freeform 18"/>
            <p:cNvSpPr>
              <a:spLocks/>
            </p:cNvSpPr>
            <p:nvPr/>
          </p:nvSpPr>
          <p:spPr bwMode="auto">
            <a:xfrm>
              <a:off x="5067300" y="2763838"/>
              <a:ext cx="915988" cy="1281113"/>
            </a:xfrm>
            <a:custGeom>
              <a:avLst/>
              <a:gdLst>
                <a:gd name="T0" fmla="*/ 232 w 244"/>
                <a:gd name="T1" fmla="*/ 84 h 341"/>
                <a:gd name="T2" fmla="*/ 177 w 244"/>
                <a:gd name="T3" fmla="*/ 98 h 341"/>
                <a:gd name="T4" fmla="*/ 121 w 244"/>
                <a:gd name="T5" fmla="*/ 50 h 341"/>
                <a:gd name="T6" fmla="*/ 90 w 244"/>
                <a:gd name="T7" fmla="*/ 61 h 341"/>
                <a:gd name="T8" fmla="*/ 78 w 244"/>
                <a:gd name="T9" fmla="*/ 90 h 341"/>
                <a:gd name="T10" fmla="*/ 90 w 244"/>
                <a:gd name="T11" fmla="*/ 118 h 341"/>
                <a:gd name="T12" fmla="*/ 145 w 244"/>
                <a:gd name="T13" fmla="*/ 140 h 341"/>
                <a:gd name="T14" fmla="*/ 220 w 244"/>
                <a:gd name="T15" fmla="*/ 179 h 341"/>
                <a:gd name="T16" fmla="*/ 244 w 244"/>
                <a:gd name="T17" fmla="*/ 238 h 341"/>
                <a:gd name="T18" fmla="*/ 211 w 244"/>
                <a:gd name="T19" fmla="*/ 311 h 341"/>
                <a:gd name="T20" fmla="*/ 121 w 244"/>
                <a:gd name="T21" fmla="*/ 341 h 341"/>
                <a:gd name="T22" fmla="*/ 0 w 244"/>
                <a:gd name="T23" fmla="*/ 246 h 341"/>
                <a:gd name="T24" fmla="*/ 59 w 244"/>
                <a:gd name="T25" fmla="*/ 236 h 341"/>
                <a:gd name="T26" fmla="*/ 122 w 244"/>
                <a:gd name="T27" fmla="*/ 292 h 341"/>
                <a:gd name="T28" fmla="*/ 161 w 244"/>
                <a:gd name="T29" fmla="*/ 279 h 341"/>
                <a:gd name="T30" fmla="*/ 174 w 244"/>
                <a:gd name="T31" fmla="*/ 248 h 341"/>
                <a:gd name="T32" fmla="*/ 165 w 244"/>
                <a:gd name="T33" fmla="*/ 224 h 341"/>
                <a:gd name="T34" fmla="*/ 116 w 244"/>
                <a:gd name="T35" fmla="*/ 199 h 341"/>
                <a:gd name="T36" fmla="*/ 57 w 244"/>
                <a:gd name="T37" fmla="*/ 176 h 341"/>
                <a:gd name="T38" fmla="*/ 25 w 244"/>
                <a:gd name="T39" fmla="*/ 146 h 341"/>
                <a:gd name="T40" fmla="*/ 12 w 244"/>
                <a:gd name="T41" fmla="*/ 100 h 341"/>
                <a:gd name="T42" fmla="*/ 43 w 244"/>
                <a:gd name="T43" fmla="*/ 30 h 341"/>
                <a:gd name="T44" fmla="*/ 124 w 244"/>
                <a:gd name="T45" fmla="*/ 0 h 341"/>
                <a:gd name="T46" fmla="*/ 232 w 244"/>
                <a:gd name="T47" fmla="*/ 8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341">
                  <a:moveTo>
                    <a:pt x="232" y="84"/>
                  </a:moveTo>
                  <a:cubicBezTo>
                    <a:pt x="177" y="98"/>
                    <a:pt x="177" y="98"/>
                    <a:pt x="177" y="98"/>
                  </a:cubicBezTo>
                  <a:cubicBezTo>
                    <a:pt x="168" y="66"/>
                    <a:pt x="149" y="50"/>
                    <a:pt x="121" y="50"/>
                  </a:cubicBezTo>
                  <a:cubicBezTo>
                    <a:pt x="108" y="50"/>
                    <a:pt x="98" y="53"/>
                    <a:pt x="90" y="61"/>
                  </a:cubicBezTo>
                  <a:cubicBezTo>
                    <a:pt x="82" y="69"/>
                    <a:pt x="78" y="78"/>
                    <a:pt x="78" y="90"/>
                  </a:cubicBezTo>
                  <a:cubicBezTo>
                    <a:pt x="78" y="102"/>
                    <a:pt x="82" y="112"/>
                    <a:pt x="90" y="118"/>
                  </a:cubicBezTo>
                  <a:cubicBezTo>
                    <a:pt x="98" y="124"/>
                    <a:pt x="116" y="131"/>
                    <a:pt x="145" y="140"/>
                  </a:cubicBezTo>
                  <a:cubicBezTo>
                    <a:pt x="180" y="152"/>
                    <a:pt x="205" y="164"/>
                    <a:pt x="220" y="179"/>
                  </a:cubicBezTo>
                  <a:cubicBezTo>
                    <a:pt x="236" y="193"/>
                    <a:pt x="244" y="213"/>
                    <a:pt x="244" y="238"/>
                  </a:cubicBezTo>
                  <a:cubicBezTo>
                    <a:pt x="244" y="267"/>
                    <a:pt x="233" y="291"/>
                    <a:pt x="211" y="311"/>
                  </a:cubicBezTo>
                  <a:cubicBezTo>
                    <a:pt x="188" y="331"/>
                    <a:pt x="159" y="341"/>
                    <a:pt x="121" y="341"/>
                  </a:cubicBezTo>
                  <a:cubicBezTo>
                    <a:pt x="50" y="341"/>
                    <a:pt x="10" y="309"/>
                    <a:pt x="0" y="246"/>
                  </a:cubicBezTo>
                  <a:cubicBezTo>
                    <a:pt x="59" y="236"/>
                    <a:pt x="59" y="236"/>
                    <a:pt x="59" y="236"/>
                  </a:cubicBezTo>
                  <a:cubicBezTo>
                    <a:pt x="67" y="273"/>
                    <a:pt x="88" y="292"/>
                    <a:pt x="122" y="292"/>
                  </a:cubicBezTo>
                  <a:cubicBezTo>
                    <a:pt x="140" y="292"/>
                    <a:pt x="153" y="288"/>
                    <a:pt x="161" y="279"/>
                  </a:cubicBezTo>
                  <a:cubicBezTo>
                    <a:pt x="170" y="270"/>
                    <a:pt x="174" y="260"/>
                    <a:pt x="174" y="248"/>
                  </a:cubicBezTo>
                  <a:cubicBezTo>
                    <a:pt x="174" y="240"/>
                    <a:pt x="171" y="232"/>
                    <a:pt x="165" y="224"/>
                  </a:cubicBezTo>
                  <a:cubicBezTo>
                    <a:pt x="159" y="216"/>
                    <a:pt x="143" y="208"/>
                    <a:pt x="116" y="199"/>
                  </a:cubicBezTo>
                  <a:cubicBezTo>
                    <a:pt x="90" y="191"/>
                    <a:pt x="71" y="183"/>
                    <a:pt x="57" y="176"/>
                  </a:cubicBezTo>
                  <a:cubicBezTo>
                    <a:pt x="44" y="169"/>
                    <a:pt x="33" y="159"/>
                    <a:pt x="25" y="146"/>
                  </a:cubicBezTo>
                  <a:cubicBezTo>
                    <a:pt x="16" y="132"/>
                    <a:pt x="12" y="117"/>
                    <a:pt x="12" y="100"/>
                  </a:cubicBezTo>
                  <a:cubicBezTo>
                    <a:pt x="12" y="72"/>
                    <a:pt x="23" y="49"/>
                    <a:pt x="43" y="30"/>
                  </a:cubicBezTo>
                  <a:cubicBezTo>
                    <a:pt x="64" y="10"/>
                    <a:pt x="91" y="0"/>
                    <a:pt x="124" y="0"/>
                  </a:cubicBezTo>
                  <a:cubicBezTo>
                    <a:pt x="180" y="0"/>
                    <a:pt x="216" y="28"/>
                    <a:pt x="232" y="8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0" name="Freeform 19"/>
            <p:cNvSpPr>
              <a:spLocks/>
            </p:cNvSpPr>
            <p:nvPr/>
          </p:nvSpPr>
          <p:spPr bwMode="auto">
            <a:xfrm>
              <a:off x="6069012" y="2763838"/>
              <a:ext cx="912813" cy="1281113"/>
            </a:xfrm>
            <a:custGeom>
              <a:avLst/>
              <a:gdLst>
                <a:gd name="T0" fmla="*/ 232 w 243"/>
                <a:gd name="T1" fmla="*/ 84 h 341"/>
                <a:gd name="T2" fmla="*/ 177 w 243"/>
                <a:gd name="T3" fmla="*/ 98 h 341"/>
                <a:gd name="T4" fmla="*/ 121 w 243"/>
                <a:gd name="T5" fmla="*/ 50 h 341"/>
                <a:gd name="T6" fmla="*/ 90 w 243"/>
                <a:gd name="T7" fmla="*/ 61 h 341"/>
                <a:gd name="T8" fmla="*/ 78 w 243"/>
                <a:gd name="T9" fmla="*/ 90 h 341"/>
                <a:gd name="T10" fmla="*/ 90 w 243"/>
                <a:gd name="T11" fmla="*/ 118 h 341"/>
                <a:gd name="T12" fmla="*/ 144 w 243"/>
                <a:gd name="T13" fmla="*/ 140 h 341"/>
                <a:gd name="T14" fmla="*/ 220 w 243"/>
                <a:gd name="T15" fmla="*/ 179 h 341"/>
                <a:gd name="T16" fmla="*/ 243 w 243"/>
                <a:gd name="T17" fmla="*/ 238 h 341"/>
                <a:gd name="T18" fmla="*/ 210 w 243"/>
                <a:gd name="T19" fmla="*/ 311 h 341"/>
                <a:gd name="T20" fmla="*/ 121 w 243"/>
                <a:gd name="T21" fmla="*/ 341 h 341"/>
                <a:gd name="T22" fmla="*/ 0 w 243"/>
                <a:gd name="T23" fmla="*/ 246 h 341"/>
                <a:gd name="T24" fmla="*/ 59 w 243"/>
                <a:gd name="T25" fmla="*/ 236 h 341"/>
                <a:gd name="T26" fmla="*/ 122 w 243"/>
                <a:gd name="T27" fmla="*/ 292 h 341"/>
                <a:gd name="T28" fmla="*/ 161 w 243"/>
                <a:gd name="T29" fmla="*/ 279 h 341"/>
                <a:gd name="T30" fmla="*/ 174 w 243"/>
                <a:gd name="T31" fmla="*/ 248 h 341"/>
                <a:gd name="T32" fmla="*/ 165 w 243"/>
                <a:gd name="T33" fmla="*/ 224 h 341"/>
                <a:gd name="T34" fmla="*/ 116 w 243"/>
                <a:gd name="T35" fmla="*/ 199 h 341"/>
                <a:gd name="T36" fmla="*/ 57 w 243"/>
                <a:gd name="T37" fmla="*/ 176 h 341"/>
                <a:gd name="T38" fmla="*/ 25 w 243"/>
                <a:gd name="T39" fmla="*/ 146 h 341"/>
                <a:gd name="T40" fmla="*/ 12 w 243"/>
                <a:gd name="T41" fmla="*/ 100 h 341"/>
                <a:gd name="T42" fmla="*/ 43 w 243"/>
                <a:gd name="T43" fmla="*/ 30 h 341"/>
                <a:gd name="T44" fmla="*/ 123 w 243"/>
                <a:gd name="T45" fmla="*/ 0 h 341"/>
                <a:gd name="T46" fmla="*/ 232 w 243"/>
                <a:gd name="T47" fmla="*/ 8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341">
                  <a:moveTo>
                    <a:pt x="232" y="84"/>
                  </a:moveTo>
                  <a:cubicBezTo>
                    <a:pt x="177" y="98"/>
                    <a:pt x="177" y="98"/>
                    <a:pt x="177" y="98"/>
                  </a:cubicBezTo>
                  <a:cubicBezTo>
                    <a:pt x="167" y="66"/>
                    <a:pt x="148" y="50"/>
                    <a:pt x="121" y="50"/>
                  </a:cubicBezTo>
                  <a:cubicBezTo>
                    <a:pt x="108" y="50"/>
                    <a:pt x="98" y="53"/>
                    <a:pt x="90" y="61"/>
                  </a:cubicBezTo>
                  <a:cubicBezTo>
                    <a:pt x="82" y="69"/>
                    <a:pt x="78" y="78"/>
                    <a:pt x="78" y="90"/>
                  </a:cubicBezTo>
                  <a:cubicBezTo>
                    <a:pt x="78" y="102"/>
                    <a:pt x="82" y="112"/>
                    <a:pt x="90" y="118"/>
                  </a:cubicBezTo>
                  <a:cubicBezTo>
                    <a:pt x="98" y="124"/>
                    <a:pt x="116" y="131"/>
                    <a:pt x="144" y="140"/>
                  </a:cubicBezTo>
                  <a:cubicBezTo>
                    <a:pt x="179" y="152"/>
                    <a:pt x="205" y="164"/>
                    <a:pt x="220" y="179"/>
                  </a:cubicBezTo>
                  <a:cubicBezTo>
                    <a:pt x="236" y="193"/>
                    <a:pt x="243" y="213"/>
                    <a:pt x="243" y="238"/>
                  </a:cubicBezTo>
                  <a:cubicBezTo>
                    <a:pt x="243" y="267"/>
                    <a:pt x="232" y="291"/>
                    <a:pt x="210" y="311"/>
                  </a:cubicBezTo>
                  <a:cubicBezTo>
                    <a:pt x="188" y="331"/>
                    <a:pt x="158" y="341"/>
                    <a:pt x="121" y="341"/>
                  </a:cubicBezTo>
                  <a:cubicBezTo>
                    <a:pt x="50" y="341"/>
                    <a:pt x="10" y="309"/>
                    <a:pt x="0" y="246"/>
                  </a:cubicBezTo>
                  <a:cubicBezTo>
                    <a:pt x="59" y="236"/>
                    <a:pt x="59" y="236"/>
                    <a:pt x="59" y="236"/>
                  </a:cubicBezTo>
                  <a:cubicBezTo>
                    <a:pt x="66" y="273"/>
                    <a:pt x="87" y="292"/>
                    <a:pt x="122" y="292"/>
                  </a:cubicBezTo>
                  <a:cubicBezTo>
                    <a:pt x="139" y="292"/>
                    <a:pt x="152" y="288"/>
                    <a:pt x="161" y="279"/>
                  </a:cubicBezTo>
                  <a:cubicBezTo>
                    <a:pt x="169" y="270"/>
                    <a:pt x="174" y="260"/>
                    <a:pt x="174" y="248"/>
                  </a:cubicBezTo>
                  <a:cubicBezTo>
                    <a:pt x="174" y="240"/>
                    <a:pt x="171" y="232"/>
                    <a:pt x="165" y="224"/>
                  </a:cubicBezTo>
                  <a:cubicBezTo>
                    <a:pt x="159" y="216"/>
                    <a:pt x="142" y="208"/>
                    <a:pt x="116" y="199"/>
                  </a:cubicBezTo>
                  <a:cubicBezTo>
                    <a:pt x="90" y="191"/>
                    <a:pt x="70" y="183"/>
                    <a:pt x="57" y="176"/>
                  </a:cubicBezTo>
                  <a:cubicBezTo>
                    <a:pt x="44" y="169"/>
                    <a:pt x="33" y="159"/>
                    <a:pt x="25" y="146"/>
                  </a:cubicBezTo>
                  <a:cubicBezTo>
                    <a:pt x="16" y="132"/>
                    <a:pt x="12" y="117"/>
                    <a:pt x="12" y="100"/>
                  </a:cubicBezTo>
                  <a:cubicBezTo>
                    <a:pt x="12" y="72"/>
                    <a:pt x="22" y="49"/>
                    <a:pt x="43" y="30"/>
                  </a:cubicBezTo>
                  <a:cubicBezTo>
                    <a:pt x="64" y="10"/>
                    <a:pt x="91" y="0"/>
                    <a:pt x="123" y="0"/>
                  </a:cubicBezTo>
                  <a:cubicBezTo>
                    <a:pt x="179" y="0"/>
                    <a:pt x="215" y="28"/>
                    <a:pt x="232" y="8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1" name="Freeform 20"/>
            <p:cNvSpPr>
              <a:spLocks noEditPoints="1"/>
            </p:cNvSpPr>
            <p:nvPr/>
          </p:nvSpPr>
          <p:spPr bwMode="auto">
            <a:xfrm>
              <a:off x="7119938" y="2763838"/>
              <a:ext cx="973138" cy="1281113"/>
            </a:xfrm>
            <a:custGeom>
              <a:avLst/>
              <a:gdLst>
                <a:gd name="T0" fmla="*/ 259 w 259"/>
                <a:gd name="T1" fmla="*/ 181 h 341"/>
                <a:gd name="T2" fmla="*/ 71 w 259"/>
                <a:gd name="T3" fmla="*/ 181 h 341"/>
                <a:gd name="T4" fmla="*/ 89 w 259"/>
                <a:gd name="T5" fmla="*/ 269 h 341"/>
                <a:gd name="T6" fmla="*/ 135 w 259"/>
                <a:gd name="T7" fmla="*/ 291 h 341"/>
                <a:gd name="T8" fmla="*/ 192 w 259"/>
                <a:gd name="T9" fmla="*/ 230 h 341"/>
                <a:gd name="T10" fmla="*/ 256 w 259"/>
                <a:gd name="T11" fmla="*/ 238 h 341"/>
                <a:gd name="T12" fmla="*/ 132 w 259"/>
                <a:gd name="T13" fmla="*/ 341 h 341"/>
                <a:gd name="T14" fmla="*/ 36 w 259"/>
                <a:gd name="T15" fmla="*/ 299 h 341"/>
                <a:gd name="T16" fmla="*/ 0 w 259"/>
                <a:gd name="T17" fmla="*/ 175 h 341"/>
                <a:gd name="T18" fmla="*/ 36 w 259"/>
                <a:gd name="T19" fmla="*/ 46 h 341"/>
                <a:gd name="T20" fmla="*/ 134 w 259"/>
                <a:gd name="T21" fmla="*/ 0 h 341"/>
                <a:gd name="T22" fmla="*/ 206 w 259"/>
                <a:gd name="T23" fmla="*/ 23 h 341"/>
                <a:gd name="T24" fmla="*/ 247 w 259"/>
                <a:gd name="T25" fmla="*/ 83 h 341"/>
                <a:gd name="T26" fmla="*/ 259 w 259"/>
                <a:gd name="T27" fmla="*/ 181 h 341"/>
                <a:gd name="T28" fmla="*/ 189 w 259"/>
                <a:gd name="T29" fmla="*/ 134 h 341"/>
                <a:gd name="T30" fmla="*/ 132 w 259"/>
                <a:gd name="T31" fmla="*/ 50 h 341"/>
                <a:gd name="T32" fmla="*/ 73 w 259"/>
                <a:gd name="T33" fmla="*/ 134 h 341"/>
                <a:gd name="T34" fmla="*/ 189 w 259"/>
                <a:gd name="T35" fmla="*/ 13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9" h="341">
                  <a:moveTo>
                    <a:pt x="259" y="181"/>
                  </a:moveTo>
                  <a:cubicBezTo>
                    <a:pt x="71" y="181"/>
                    <a:pt x="71" y="181"/>
                    <a:pt x="71" y="181"/>
                  </a:cubicBezTo>
                  <a:cubicBezTo>
                    <a:pt x="71" y="225"/>
                    <a:pt x="77" y="254"/>
                    <a:pt x="89" y="269"/>
                  </a:cubicBezTo>
                  <a:cubicBezTo>
                    <a:pt x="101" y="283"/>
                    <a:pt x="116" y="291"/>
                    <a:pt x="135" y="291"/>
                  </a:cubicBezTo>
                  <a:cubicBezTo>
                    <a:pt x="165" y="291"/>
                    <a:pt x="184" y="270"/>
                    <a:pt x="192" y="230"/>
                  </a:cubicBezTo>
                  <a:cubicBezTo>
                    <a:pt x="256" y="238"/>
                    <a:pt x="256" y="238"/>
                    <a:pt x="256" y="238"/>
                  </a:cubicBezTo>
                  <a:cubicBezTo>
                    <a:pt x="239" y="307"/>
                    <a:pt x="198" y="341"/>
                    <a:pt x="132" y="341"/>
                  </a:cubicBezTo>
                  <a:cubicBezTo>
                    <a:pt x="92" y="341"/>
                    <a:pt x="60" y="327"/>
                    <a:pt x="36" y="299"/>
                  </a:cubicBezTo>
                  <a:cubicBezTo>
                    <a:pt x="12" y="271"/>
                    <a:pt x="0" y="230"/>
                    <a:pt x="0" y="175"/>
                  </a:cubicBezTo>
                  <a:cubicBezTo>
                    <a:pt x="0" y="120"/>
                    <a:pt x="12" y="77"/>
                    <a:pt x="36" y="46"/>
                  </a:cubicBezTo>
                  <a:cubicBezTo>
                    <a:pt x="60" y="16"/>
                    <a:pt x="93" y="0"/>
                    <a:pt x="134" y="0"/>
                  </a:cubicBezTo>
                  <a:cubicBezTo>
                    <a:pt x="162" y="0"/>
                    <a:pt x="186" y="8"/>
                    <a:pt x="206" y="23"/>
                  </a:cubicBezTo>
                  <a:cubicBezTo>
                    <a:pt x="225" y="39"/>
                    <a:pt x="239" y="59"/>
                    <a:pt x="247" y="83"/>
                  </a:cubicBezTo>
                  <a:cubicBezTo>
                    <a:pt x="255" y="108"/>
                    <a:pt x="259" y="141"/>
                    <a:pt x="259" y="181"/>
                  </a:cubicBezTo>
                  <a:close/>
                  <a:moveTo>
                    <a:pt x="189" y="134"/>
                  </a:moveTo>
                  <a:cubicBezTo>
                    <a:pt x="189" y="78"/>
                    <a:pt x="170" y="50"/>
                    <a:pt x="132" y="50"/>
                  </a:cubicBezTo>
                  <a:cubicBezTo>
                    <a:pt x="96" y="50"/>
                    <a:pt x="76" y="78"/>
                    <a:pt x="73" y="134"/>
                  </a:cubicBezTo>
                  <a:lnTo>
                    <a:pt x="189" y="1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2" name="Freeform 21"/>
            <p:cNvSpPr>
              <a:spLocks/>
            </p:cNvSpPr>
            <p:nvPr/>
          </p:nvSpPr>
          <p:spPr bwMode="auto">
            <a:xfrm>
              <a:off x="8310563" y="2763838"/>
              <a:ext cx="873125" cy="1250950"/>
            </a:xfrm>
            <a:custGeom>
              <a:avLst/>
              <a:gdLst>
                <a:gd name="T0" fmla="*/ 0 w 233"/>
                <a:gd name="T1" fmla="*/ 8 h 333"/>
                <a:gd name="T2" fmla="*/ 64 w 233"/>
                <a:gd name="T3" fmla="*/ 8 h 333"/>
                <a:gd name="T4" fmla="*/ 64 w 233"/>
                <a:gd name="T5" fmla="*/ 58 h 333"/>
                <a:gd name="T6" fmla="*/ 147 w 233"/>
                <a:gd name="T7" fmla="*/ 0 h 333"/>
                <a:gd name="T8" fmla="*/ 201 w 233"/>
                <a:gd name="T9" fmla="*/ 16 h 333"/>
                <a:gd name="T10" fmla="*/ 228 w 233"/>
                <a:gd name="T11" fmla="*/ 54 h 333"/>
                <a:gd name="T12" fmla="*/ 233 w 233"/>
                <a:gd name="T13" fmla="*/ 124 h 333"/>
                <a:gd name="T14" fmla="*/ 233 w 233"/>
                <a:gd name="T15" fmla="*/ 333 h 333"/>
                <a:gd name="T16" fmla="*/ 163 w 233"/>
                <a:gd name="T17" fmla="*/ 333 h 333"/>
                <a:gd name="T18" fmla="*/ 163 w 233"/>
                <a:gd name="T19" fmla="*/ 127 h 333"/>
                <a:gd name="T20" fmla="*/ 156 w 233"/>
                <a:gd name="T21" fmla="*/ 69 h 333"/>
                <a:gd name="T22" fmla="*/ 124 w 233"/>
                <a:gd name="T23" fmla="*/ 54 h 333"/>
                <a:gd name="T24" fmla="*/ 84 w 233"/>
                <a:gd name="T25" fmla="*/ 74 h 333"/>
                <a:gd name="T26" fmla="*/ 70 w 233"/>
                <a:gd name="T27" fmla="*/ 151 h 333"/>
                <a:gd name="T28" fmla="*/ 70 w 233"/>
                <a:gd name="T29" fmla="*/ 333 h 333"/>
                <a:gd name="T30" fmla="*/ 0 w 233"/>
                <a:gd name="T31" fmla="*/ 333 h 333"/>
                <a:gd name="T32" fmla="*/ 0 w 233"/>
                <a:gd name="T33" fmla="*/ 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333">
                  <a:moveTo>
                    <a:pt x="0" y="8"/>
                  </a:moveTo>
                  <a:cubicBezTo>
                    <a:pt x="64" y="8"/>
                    <a:pt x="64" y="8"/>
                    <a:pt x="64" y="8"/>
                  </a:cubicBezTo>
                  <a:cubicBezTo>
                    <a:pt x="64" y="58"/>
                    <a:pt x="64" y="58"/>
                    <a:pt x="64" y="58"/>
                  </a:cubicBezTo>
                  <a:cubicBezTo>
                    <a:pt x="80" y="20"/>
                    <a:pt x="107" y="0"/>
                    <a:pt x="147" y="0"/>
                  </a:cubicBezTo>
                  <a:cubicBezTo>
                    <a:pt x="169" y="0"/>
                    <a:pt x="188" y="6"/>
                    <a:pt x="201" y="16"/>
                  </a:cubicBezTo>
                  <a:cubicBezTo>
                    <a:pt x="215" y="27"/>
                    <a:pt x="224" y="39"/>
                    <a:pt x="228" y="54"/>
                  </a:cubicBezTo>
                  <a:cubicBezTo>
                    <a:pt x="231" y="69"/>
                    <a:pt x="233" y="92"/>
                    <a:pt x="233" y="124"/>
                  </a:cubicBezTo>
                  <a:cubicBezTo>
                    <a:pt x="233" y="333"/>
                    <a:pt x="233" y="333"/>
                    <a:pt x="233" y="333"/>
                  </a:cubicBezTo>
                  <a:cubicBezTo>
                    <a:pt x="163" y="333"/>
                    <a:pt x="163" y="333"/>
                    <a:pt x="163" y="333"/>
                  </a:cubicBezTo>
                  <a:cubicBezTo>
                    <a:pt x="163" y="127"/>
                    <a:pt x="163" y="127"/>
                    <a:pt x="163" y="127"/>
                  </a:cubicBezTo>
                  <a:cubicBezTo>
                    <a:pt x="163" y="99"/>
                    <a:pt x="161" y="80"/>
                    <a:pt x="156" y="69"/>
                  </a:cubicBezTo>
                  <a:cubicBezTo>
                    <a:pt x="151" y="59"/>
                    <a:pt x="140" y="54"/>
                    <a:pt x="124" y="54"/>
                  </a:cubicBezTo>
                  <a:cubicBezTo>
                    <a:pt x="107" y="54"/>
                    <a:pt x="94" y="61"/>
                    <a:pt x="84" y="74"/>
                  </a:cubicBezTo>
                  <a:cubicBezTo>
                    <a:pt x="75" y="87"/>
                    <a:pt x="70" y="112"/>
                    <a:pt x="70" y="151"/>
                  </a:cubicBezTo>
                  <a:cubicBezTo>
                    <a:pt x="70" y="333"/>
                    <a:pt x="70" y="333"/>
                    <a:pt x="70" y="333"/>
                  </a:cubicBezTo>
                  <a:cubicBezTo>
                    <a:pt x="0" y="333"/>
                    <a:pt x="0" y="333"/>
                    <a:pt x="0" y="333"/>
                  </a:cubicBezTo>
                  <a:lnTo>
                    <a:pt x="0"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3" name="Freeform 22"/>
            <p:cNvSpPr>
              <a:spLocks/>
            </p:cNvSpPr>
            <p:nvPr/>
          </p:nvSpPr>
          <p:spPr bwMode="auto">
            <a:xfrm>
              <a:off x="9496425" y="2365376"/>
              <a:ext cx="1162050" cy="1649413"/>
            </a:xfrm>
            <a:custGeom>
              <a:avLst/>
              <a:gdLst>
                <a:gd name="T0" fmla="*/ 0 w 732"/>
                <a:gd name="T1" fmla="*/ 0 h 1039"/>
                <a:gd name="T2" fmla="*/ 177 w 732"/>
                <a:gd name="T3" fmla="*/ 0 h 1039"/>
                <a:gd name="T4" fmla="*/ 177 w 732"/>
                <a:gd name="T5" fmla="*/ 499 h 1039"/>
                <a:gd name="T6" fmla="*/ 501 w 732"/>
                <a:gd name="T7" fmla="*/ 0 h 1039"/>
                <a:gd name="T8" fmla="*/ 685 w 732"/>
                <a:gd name="T9" fmla="*/ 0 h 1039"/>
                <a:gd name="T10" fmla="*/ 411 w 732"/>
                <a:gd name="T11" fmla="*/ 381 h 1039"/>
                <a:gd name="T12" fmla="*/ 732 w 732"/>
                <a:gd name="T13" fmla="*/ 1039 h 1039"/>
                <a:gd name="T14" fmla="*/ 541 w 732"/>
                <a:gd name="T15" fmla="*/ 1039 h 1039"/>
                <a:gd name="T16" fmla="*/ 302 w 732"/>
                <a:gd name="T17" fmla="*/ 523 h 1039"/>
                <a:gd name="T18" fmla="*/ 177 w 732"/>
                <a:gd name="T19" fmla="*/ 698 h 1039"/>
                <a:gd name="T20" fmla="*/ 177 w 732"/>
                <a:gd name="T21" fmla="*/ 1039 h 1039"/>
                <a:gd name="T22" fmla="*/ 0 w 732"/>
                <a:gd name="T23" fmla="*/ 1039 h 1039"/>
                <a:gd name="T24" fmla="*/ 0 w 732"/>
                <a:gd name="T25" fmla="*/ 0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2" h="1039">
                  <a:moveTo>
                    <a:pt x="0" y="0"/>
                  </a:moveTo>
                  <a:lnTo>
                    <a:pt x="177" y="0"/>
                  </a:lnTo>
                  <a:lnTo>
                    <a:pt x="177" y="499"/>
                  </a:lnTo>
                  <a:lnTo>
                    <a:pt x="501" y="0"/>
                  </a:lnTo>
                  <a:lnTo>
                    <a:pt x="685" y="0"/>
                  </a:lnTo>
                  <a:lnTo>
                    <a:pt x="411" y="381"/>
                  </a:lnTo>
                  <a:lnTo>
                    <a:pt x="732" y="1039"/>
                  </a:lnTo>
                  <a:lnTo>
                    <a:pt x="541" y="1039"/>
                  </a:lnTo>
                  <a:lnTo>
                    <a:pt x="302" y="523"/>
                  </a:lnTo>
                  <a:lnTo>
                    <a:pt x="177" y="698"/>
                  </a:lnTo>
                  <a:lnTo>
                    <a:pt x="177" y="1039"/>
                  </a:lnTo>
                  <a:lnTo>
                    <a:pt x="0" y="1039"/>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4" name="Freeform 23"/>
            <p:cNvSpPr>
              <a:spLocks/>
            </p:cNvSpPr>
            <p:nvPr/>
          </p:nvSpPr>
          <p:spPr bwMode="auto">
            <a:xfrm>
              <a:off x="10790238" y="2763838"/>
              <a:ext cx="588963" cy="1250950"/>
            </a:xfrm>
            <a:custGeom>
              <a:avLst/>
              <a:gdLst>
                <a:gd name="T0" fmla="*/ 0 w 157"/>
                <a:gd name="T1" fmla="*/ 8 h 333"/>
                <a:gd name="T2" fmla="*/ 61 w 157"/>
                <a:gd name="T3" fmla="*/ 8 h 333"/>
                <a:gd name="T4" fmla="*/ 61 w 157"/>
                <a:gd name="T5" fmla="*/ 81 h 333"/>
                <a:gd name="T6" fmla="*/ 145 w 157"/>
                <a:gd name="T7" fmla="*/ 0 h 333"/>
                <a:gd name="T8" fmla="*/ 157 w 157"/>
                <a:gd name="T9" fmla="*/ 1 h 333"/>
                <a:gd name="T10" fmla="*/ 157 w 157"/>
                <a:gd name="T11" fmla="*/ 72 h 333"/>
                <a:gd name="T12" fmla="*/ 143 w 157"/>
                <a:gd name="T13" fmla="*/ 71 h 333"/>
                <a:gd name="T14" fmla="*/ 70 w 157"/>
                <a:gd name="T15" fmla="*/ 168 h 333"/>
                <a:gd name="T16" fmla="*/ 70 w 157"/>
                <a:gd name="T17" fmla="*/ 333 h 333"/>
                <a:gd name="T18" fmla="*/ 0 w 157"/>
                <a:gd name="T19" fmla="*/ 333 h 333"/>
                <a:gd name="T20" fmla="*/ 0 w 157"/>
                <a:gd name="T21" fmla="*/ 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333">
                  <a:moveTo>
                    <a:pt x="0" y="8"/>
                  </a:moveTo>
                  <a:cubicBezTo>
                    <a:pt x="61" y="8"/>
                    <a:pt x="61" y="8"/>
                    <a:pt x="61" y="8"/>
                  </a:cubicBezTo>
                  <a:cubicBezTo>
                    <a:pt x="61" y="81"/>
                    <a:pt x="61" y="81"/>
                    <a:pt x="61" y="81"/>
                  </a:cubicBezTo>
                  <a:cubicBezTo>
                    <a:pt x="80" y="27"/>
                    <a:pt x="108" y="0"/>
                    <a:pt x="145" y="0"/>
                  </a:cubicBezTo>
                  <a:cubicBezTo>
                    <a:pt x="148" y="0"/>
                    <a:pt x="152" y="1"/>
                    <a:pt x="157" y="1"/>
                  </a:cubicBezTo>
                  <a:cubicBezTo>
                    <a:pt x="157" y="72"/>
                    <a:pt x="157" y="72"/>
                    <a:pt x="157" y="72"/>
                  </a:cubicBezTo>
                  <a:cubicBezTo>
                    <a:pt x="151" y="72"/>
                    <a:pt x="147" y="71"/>
                    <a:pt x="143" y="71"/>
                  </a:cubicBezTo>
                  <a:cubicBezTo>
                    <a:pt x="94" y="71"/>
                    <a:pt x="70" y="103"/>
                    <a:pt x="70" y="168"/>
                  </a:cubicBezTo>
                  <a:cubicBezTo>
                    <a:pt x="70" y="333"/>
                    <a:pt x="70" y="333"/>
                    <a:pt x="70" y="333"/>
                  </a:cubicBezTo>
                  <a:cubicBezTo>
                    <a:pt x="0" y="333"/>
                    <a:pt x="0" y="333"/>
                    <a:pt x="0" y="333"/>
                  </a:cubicBezTo>
                  <a:lnTo>
                    <a:pt x="0"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5" name="Freeform 24"/>
            <p:cNvSpPr>
              <a:spLocks/>
            </p:cNvSpPr>
            <p:nvPr/>
          </p:nvSpPr>
          <p:spPr bwMode="auto">
            <a:xfrm>
              <a:off x="11477625" y="2794001"/>
              <a:ext cx="873125" cy="1250950"/>
            </a:xfrm>
            <a:custGeom>
              <a:avLst/>
              <a:gdLst>
                <a:gd name="T0" fmla="*/ 0 w 233"/>
                <a:gd name="T1" fmla="*/ 0 h 333"/>
                <a:gd name="T2" fmla="*/ 70 w 233"/>
                <a:gd name="T3" fmla="*/ 0 h 333"/>
                <a:gd name="T4" fmla="*/ 70 w 233"/>
                <a:gd name="T5" fmla="*/ 207 h 333"/>
                <a:gd name="T6" fmla="*/ 77 w 233"/>
                <a:gd name="T7" fmla="*/ 265 h 333"/>
                <a:gd name="T8" fmla="*/ 109 w 233"/>
                <a:gd name="T9" fmla="*/ 279 h 333"/>
                <a:gd name="T10" fmla="*/ 151 w 233"/>
                <a:gd name="T11" fmla="*/ 253 h 333"/>
                <a:gd name="T12" fmla="*/ 163 w 233"/>
                <a:gd name="T13" fmla="*/ 157 h 333"/>
                <a:gd name="T14" fmla="*/ 163 w 233"/>
                <a:gd name="T15" fmla="*/ 0 h 333"/>
                <a:gd name="T16" fmla="*/ 233 w 233"/>
                <a:gd name="T17" fmla="*/ 0 h 333"/>
                <a:gd name="T18" fmla="*/ 233 w 233"/>
                <a:gd name="T19" fmla="*/ 325 h 333"/>
                <a:gd name="T20" fmla="*/ 169 w 233"/>
                <a:gd name="T21" fmla="*/ 325 h 333"/>
                <a:gd name="T22" fmla="*/ 169 w 233"/>
                <a:gd name="T23" fmla="*/ 276 h 333"/>
                <a:gd name="T24" fmla="*/ 84 w 233"/>
                <a:gd name="T25" fmla="*/ 333 h 333"/>
                <a:gd name="T26" fmla="*/ 35 w 233"/>
                <a:gd name="T27" fmla="*/ 321 h 333"/>
                <a:gd name="T28" fmla="*/ 8 w 233"/>
                <a:gd name="T29" fmla="*/ 286 h 333"/>
                <a:gd name="T30" fmla="*/ 0 w 233"/>
                <a:gd name="T31" fmla="*/ 208 h 333"/>
                <a:gd name="T32" fmla="*/ 0 w 233"/>
                <a:gd name="T33"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333">
                  <a:moveTo>
                    <a:pt x="0" y="0"/>
                  </a:moveTo>
                  <a:cubicBezTo>
                    <a:pt x="70" y="0"/>
                    <a:pt x="70" y="0"/>
                    <a:pt x="70" y="0"/>
                  </a:cubicBezTo>
                  <a:cubicBezTo>
                    <a:pt x="70" y="207"/>
                    <a:pt x="70" y="207"/>
                    <a:pt x="70" y="207"/>
                  </a:cubicBezTo>
                  <a:cubicBezTo>
                    <a:pt x="70" y="236"/>
                    <a:pt x="72" y="255"/>
                    <a:pt x="77" y="265"/>
                  </a:cubicBezTo>
                  <a:cubicBezTo>
                    <a:pt x="82" y="274"/>
                    <a:pt x="92" y="279"/>
                    <a:pt x="109" y="279"/>
                  </a:cubicBezTo>
                  <a:cubicBezTo>
                    <a:pt x="129" y="279"/>
                    <a:pt x="143" y="271"/>
                    <a:pt x="151" y="253"/>
                  </a:cubicBezTo>
                  <a:cubicBezTo>
                    <a:pt x="159" y="236"/>
                    <a:pt x="163" y="204"/>
                    <a:pt x="163" y="157"/>
                  </a:cubicBezTo>
                  <a:cubicBezTo>
                    <a:pt x="163" y="0"/>
                    <a:pt x="163" y="0"/>
                    <a:pt x="163" y="0"/>
                  </a:cubicBezTo>
                  <a:cubicBezTo>
                    <a:pt x="233" y="0"/>
                    <a:pt x="233" y="0"/>
                    <a:pt x="233" y="0"/>
                  </a:cubicBezTo>
                  <a:cubicBezTo>
                    <a:pt x="233" y="325"/>
                    <a:pt x="233" y="325"/>
                    <a:pt x="233" y="325"/>
                  </a:cubicBezTo>
                  <a:cubicBezTo>
                    <a:pt x="169" y="325"/>
                    <a:pt x="169" y="325"/>
                    <a:pt x="169" y="325"/>
                  </a:cubicBezTo>
                  <a:cubicBezTo>
                    <a:pt x="169" y="276"/>
                    <a:pt x="169" y="276"/>
                    <a:pt x="169" y="276"/>
                  </a:cubicBezTo>
                  <a:cubicBezTo>
                    <a:pt x="151" y="314"/>
                    <a:pt x="123" y="333"/>
                    <a:pt x="84" y="333"/>
                  </a:cubicBezTo>
                  <a:cubicBezTo>
                    <a:pt x="64" y="333"/>
                    <a:pt x="48" y="329"/>
                    <a:pt x="35" y="321"/>
                  </a:cubicBezTo>
                  <a:cubicBezTo>
                    <a:pt x="23" y="313"/>
                    <a:pt x="14" y="301"/>
                    <a:pt x="8" y="286"/>
                  </a:cubicBezTo>
                  <a:cubicBezTo>
                    <a:pt x="3" y="271"/>
                    <a:pt x="0" y="245"/>
                    <a:pt x="0" y="208"/>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6" name="Freeform 25"/>
            <p:cNvSpPr>
              <a:spLocks noEditPoints="1"/>
            </p:cNvSpPr>
            <p:nvPr/>
          </p:nvSpPr>
          <p:spPr bwMode="auto">
            <a:xfrm>
              <a:off x="12565063" y="2774951"/>
              <a:ext cx="971550" cy="1654175"/>
            </a:xfrm>
            <a:custGeom>
              <a:avLst/>
              <a:gdLst>
                <a:gd name="T0" fmla="*/ 0 w 259"/>
                <a:gd name="T1" fmla="*/ 5 h 440"/>
                <a:gd name="T2" fmla="*/ 64 w 259"/>
                <a:gd name="T3" fmla="*/ 5 h 440"/>
                <a:gd name="T4" fmla="*/ 64 w 259"/>
                <a:gd name="T5" fmla="*/ 59 h 440"/>
                <a:gd name="T6" fmla="*/ 147 w 259"/>
                <a:gd name="T7" fmla="*/ 0 h 440"/>
                <a:gd name="T8" fmla="*/ 228 w 259"/>
                <a:gd name="T9" fmla="*/ 43 h 440"/>
                <a:gd name="T10" fmla="*/ 259 w 259"/>
                <a:gd name="T11" fmla="*/ 165 h 440"/>
                <a:gd name="T12" fmla="*/ 231 w 259"/>
                <a:gd name="T13" fmla="*/ 286 h 440"/>
                <a:gd name="T14" fmla="*/ 144 w 259"/>
                <a:gd name="T15" fmla="*/ 336 h 440"/>
                <a:gd name="T16" fmla="*/ 70 w 259"/>
                <a:gd name="T17" fmla="*/ 296 h 440"/>
                <a:gd name="T18" fmla="*/ 70 w 259"/>
                <a:gd name="T19" fmla="*/ 440 h 440"/>
                <a:gd name="T20" fmla="*/ 0 w 259"/>
                <a:gd name="T21" fmla="*/ 440 h 440"/>
                <a:gd name="T22" fmla="*/ 0 w 259"/>
                <a:gd name="T23" fmla="*/ 5 h 440"/>
                <a:gd name="T24" fmla="*/ 70 w 259"/>
                <a:gd name="T25" fmla="*/ 194 h 440"/>
                <a:gd name="T26" fmla="*/ 75 w 259"/>
                <a:gd name="T27" fmla="*/ 243 h 440"/>
                <a:gd name="T28" fmla="*/ 94 w 259"/>
                <a:gd name="T29" fmla="*/ 273 h 440"/>
                <a:gd name="T30" fmla="*/ 127 w 259"/>
                <a:gd name="T31" fmla="*/ 285 h 440"/>
                <a:gd name="T32" fmla="*/ 186 w 259"/>
                <a:gd name="T33" fmla="*/ 165 h 440"/>
                <a:gd name="T34" fmla="*/ 129 w 259"/>
                <a:gd name="T35" fmla="*/ 49 h 440"/>
                <a:gd name="T36" fmla="*/ 87 w 259"/>
                <a:gd name="T37" fmla="*/ 73 h 440"/>
                <a:gd name="T38" fmla="*/ 70 w 259"/>
                <a:gd name="T39" fmla="*/ 140 h 440"/>
                <a:gd name="T40" fmla="*/ 70 w 259"/>
                <a:gd name="T41" fmla="*/ 19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440">
                  <a:moveTo>
                    <a:pt x="0" y="5"/>
                  </a:moveTo>
                  <a:cubicBezTo>
                    <a:pt x="64" y="5"/>
                    <a:pt x="64" y="5"/>
                    <a:pt x="64" y="5"/>
                  </a:cubicBezTo>
                  <a:cubicBezTo>
                    <a:pt x="64" y="59"/>
                    <a:pt x="64" y="59"/>
                    <a:pt x="64" y="59"/>
                  </a:cubicBezTo>
                  <a:cubicBezTo>
                    <a:pt x="82" y="19"/>
                    <a:pt x="109" y="0"/>
                    <a:pt x="147" y="0"/>
                  </a:cubicBezTo>
                  <a:cubicBezTo>
                    <a:pt x="180" y="0"/>
                    <a:pt x="207" y="14"/>
                    <a:pt x="228" y="43"/>
                  </a:cubicBezTo>
                  <a:cubicBezTo>
                    <a:pt x="249" y="71"/>
                    <a:pt x="259" y="112"/>
                    <a:pt x="259" y="165"/>
                  </a:cubicBezTo>
                  <a:cubicBezTo>
                    <a:pt x="259" y="212"/>
                    <a:pt x="250" y="253"/>
                    <a:pt x="231" y="286"/>
                  </a:cubicBezTo>
                  <a:cubicBezTo>
                    <a:pt x="212" y="319"/>
                    <a:pt x="183" y="336"/>
                    <a:pt x="144" y="336"/>
                  </a:cubicBezTo>
                  <a:cubicBezTo>
                    <a:pt x="112" y="336"/>
                    <a:pt x="88" y="323"/>
                    <a:pt x="70" y="296"/>
                  </a:cubicBezTo>
                  <a:cubicBezTo>
                    <a:pt x="70" y="440"/>
                    <a:pt x="70" y="440"/>
                    <a:pt x="70" y="440"/>
                  </a:cubicBezTo>
                  <a:cubicBezTo>
                    <a:pt x="0" y="440"/>
                    <a:pt x="0" y="440"/>
                    <a:pt x="0" y="440"/>
                  </a:cubicBezTo>
                  <a:lnTo>
                    <a:pt x="0" y="5"/>
                  </a:lnTo>
                  <a:close/>
                  <a:moveTo>
                    <a:pt x="70" y="194"/>
                  </a:moveTo>
                  <a:cubicBezTo>
                    <a:pt x="70" y="215"/>
                    <a:pt x="72" y="231"/>
                    <a:pt x="75" y="243"/>
                  </a:cubicBezTo>
                  <a:cubicBezTo>
                    <a:pt x="78" y="255"/>
                    <a:pt x="84" y="265"/>
                    <a:pt x="94" y="273"/>
                  </a:cubicBezTo>
                  <a:cubicBezTo>
                    <a:pt x="104" y="281"/>
                    <a:pt x="115" y="285"/>
                    <a:pt x="127" y="285"/>
                  </a:cubicBezTo>
                  <a:cubicBezTo>
                    <a:pt x="166" y="285"/>
                    <a:pt x="186" y="245"/>
                    <a:pt x="186" y="165"/>
                  </a:cubicBezTo>
                  <a:cubicBezTo>
                    <a:pt x="186" y="88"/>
                    <a:pt x="167" y="49"/>
                    <a:pt x="129" y="49"/>
                  </a:cubicBezTo>
                  <a:cubicBezTo>
                    <a:pt x="112" y="49"/>
                    <a:pt x="98" y="57"/>
                    <a:pt x="87" y="73"/>
                  </a:cubicBezTo>
                  <a:cubicBezTo>
                    <a:pt x="76" y="88"/>
                    <a:pt x="70" y="111"/>
                    <a:pt x="70" y="140"/>
                  </a:cubicBezTo>
                  <a:lnTo>
                    <a:pt x="70"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7" name="Freeform 26"/>
            <p:cNvSpPr>
              <a:spLocks noEditPoints="1"/>
            </p:cNvSpPr>
            <p:nvPr/>
          </p:nvSpPr>
          <p:spPr bwMode="auto">
            <a:xfrm>
              <a:off x="13762038" y="2774951"/>
              <a:ext cx="968375" cy="1654175"/>
            </a:xfrm>
            <a:custGeom>
              <a:avLst/>
              <a:gdLst>
                <a:gd name="T0" fmla="*/ 0 w 258"/>
                <a:gd name="T1" fmla="*/ 5 h 440"/>
                <a:gd name="T2" fmla="*/ 63 w 258"/>
                <a:gd name="T3" fmla="*/ 5 h 440"/>
                <a:gd name="T4" fmla="*/ 63 w 258"/>
                <a:gd name="T5" fmla="*/ 59 h 440"/>
                <a:gd name="T6" fmla="*/ 146 w 258"/>
                <a:gd name="T7" fmla="*/ 0 h 440"/>
                <a:gd name="T8" fmla="*/ 227 w 258"/>
                <a:gd name="T9" fmla="*/ 43 h 440"/>
                <a:gd name="T10" fmla="*/ 258 w 258"/>
                <a:gd name="T11" fmla="*/ 165 h 440"/>
                <a:gd name="T12" fmla="*/ 230 w 258"/>
                <a:gd name="T13" fmla="*/ 286 h 440"/>
                <a:gd name="T14" fmla="*/ 143 w 258"/>
                <a:gd name="T15" fmla="*/ 336 h 440"/>
                <a:gd name="T16" fmla="*/ 69 w 258"/>
                <a:gd name="T17" fmla="*/ 296 h 440"/>
                <a:gd name="T18" fmla="*/ 69 w 258"/>
                <a:gd name="T19" fmla="*/ 440 h 440"/>
                <a:gd name="T20" fmla="*/ 0 w 258"/>
                <a:gd name="T21" fmla="*/ 440 h 440"/>
                <a:gd name="T22" fmla="*/ 0 w 258"/>
                <a:gd name="T23" fmla="*/ 5 h 440"/>
                <a:gd name="T24" fmla="*/ 69 w 258"/>
                <a:gd name="T25" fmla="*/ 194 h 440"/>
                <a:gd name="T26" fmla="*/ 74 w 258"/>
                <a:gd name="T27" fmla="*/ 243 h 440"/>
                <a:gd name="T28" fmla="*/ 93 w 258"/>
                <a:gd name="T29" fmla="*/ 273 h 440"/>
                <a:gd name="T30" fmla="*/ 127 w 258"/>
                <a:gd name="T31" fmla="*/ 285 h 440"/>
                <a:gd name="T32" fmla="*/ 185 w 258"/>
                <a:gd name="T33" fmla="*/ 165 h 440"/>
                <a:gd name="T34" fmla="*/ 128 w 258"/>
                <a:gd name="T35" fmla="*/ 49 h 440"/>
                <a:gd name="T36" fmla="*/ 86 w 258"/>
                <a:gd name="T37" fmla="*/ 73 h 440"/>
                <a:gd name="T38" fmla="*/ 69 w 258"/>
                <a:gd name="T39" fmla="*/ 140 h 440"/>
                <a:gd name="T40" fmla="*/ 69 w 258"/>
                <a:gd name="T41" fmla="*/ 19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440">
                  <a:moveTo>
                    <a:pt x="0" y="5"/>
                  </a:moveTo>
                  <a:cubicBezTo>
                    <a:pt x="63" y="5"/>
                    <a:pt x="63" y="5"/>
                    <a:pt x="63" y="5"/>
                  </a:cubicBezTo>
                  <a:cubicBezTo>
                    <a:pt x="63" y="59"/>
                    <a:pt x="63" y="59"/>
                    <a:pt x="63" y="59"/>
                  </a:cubicBezTo>
                  <a:cubicBezTo>
                    <a:pt x="81" y="19"/>
                    <a:pt x="108" y="0"/>
                    <a:pt x="146" y="0"/>
                  </a:cubicBezTo>
                  <a:cubicBezTo>
                    <a:pt x="179" y="0"/>
                    <a:pt x="206" y="14"/>
                    <a:pt x="227" y="43"/>
                  </a:cubicBezTo>
                  <a:cubicBezTo>
                    <a:pt x="248" y="71"/>
                    <a:pt x="258" y="112"/>
                    <a:pt x="258" y="165"/>
                  </a:cubicBezTo>
                  <a:cubicBezTo>
                    <a:pt x="258" y="212"/>
                    <a:pt x="249" y="253"/>
                    <a:pt x="230" y="286"/>
                  </a:cubicBezTo>
                  <a:cubicBezTo>
                    <a:pt x="211" y="319"/>
                    <a:pt x="182" y="336"/>
                    <a:pt x="143" y="336"/>
                  </a:cubicBezTo>
                  <a:cubicBezTo>
                    <a:pt x="111" y="336"/>
                    <a:pt x="87" y="323"/>
                    <a:pt x="69" y="296"/>
                  </a:cubicBezTo>
                  <a:cubicBezTo>
                    <a:pt x="69" y="440"/>
                    <a:pt x="69" y="440"/>
                    <a:pt x="69" y="440"/>
                  </a:cubicBezTo>
                  <a:cubicBezTo>
                    <a:pt x="0" y="440"/>
                    <a:pt x="0" y="440"/>
                    <a:pt x="0" y="440"/>
                  </a:cubicBezTo>
                  <a:lnTo>
                    <a:pt x="0" y="5"/>
                  </a:lnTo>
                  <a:close/>
                  <a:moveTo>
                    <a:pt x="69" y="194"/>
                  </a:moveTo>
                  <a:cubicBezTo>
                    <a:pt x="69" y="215"/>
                    <a:pt x="71" y="231"/>
                    <a:pt x="74" y="243"/>
                  </a:cubicBezTo>
                  <a:cubicBezTo>
                    <a:pt x="77" y="255"/>
                    <a:pt x="83" y="265"/>
                    <a:pt x="93" y="273"/>
                  </a:cubicBezTo>
                  <a:cubicBezTo>
                    <a:pt x="103" y="281"/>
                    <a:pt x="114" y="285"/>
                    <a:pt x="127" y="285"/>
                  </a:cubicBezTo>
                  <a:cubicBezTo>
                    <a:pt x="165" y="285"/>
                    <a:pt x="185" y="245"/>
                    <a:pt x="185" y="165"/>
                  </a:cubicBezTo>
                  <a:cubicBezTo>
                    <a:pt x="185" y="88"/>
                    <a:pt x="166" y="49"/>
                    <a:pt x="128" y="49"/>
                  </a:cubicBezTo>
                  <a:cubicBezTo>
                    <a:pt x="111" y="49"/>
                    <a:pt x="97" y="57"/>
                    <a:pt x="86" y="73"/>
                  </a:cubicBezTo>
                  <a:cubicBezTo>
                    <a:pt x="75" y="88"/>
                    <a:pt x="69" y="111"/>
                    <a:pt x="69" y="140"/>
                  </a:cubicBezTo>
                  <a:lnTo>
                    <a:pt x="69"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8" name="Freeform 27"/>
            <p:cNvSpPr>
              <a:spLocks/>
            </p:cNvSpPr>
            <p:nvPr/>
          </p:nvSpPr>
          <p:spPr bwMode="auto">
            <a:xfrm>
              <a:off x="-942975" y="4008438"/>
              <a:ext cx="393700" cy="412750"/>
            </a:xfrm>
            <a:custGeom>
              <a:avLst/>
              <a:gdLst>
                <a:gd name="T0" fmla="*/ 105 w 105"/>
                <a:gd name="T1" fmla="*/ 0 h 110"/>
                <a:gd name="T2" fmla="*/ 52 w 105"/>
                <a:gd name="T3" fmla="*/ 9 h 110"/>
                <a:gd name="T4" fmla="*/ 0 w 105"/>
                <a:gd name="T5" fmla="*/ 0 h 110"/>
                <a:gd name="T6" fmla="*/ 53 w 105"/>
                <a:gd name="T7" fmla="*/ 110 h 110"/>
                <a:gd name="T8" fmla="*/ 105 w 105"/>
                <a:gd name="T9" fmla="*/ 0 h 110"/>
              </a:gdLst>
              <a:ahLst/>
              <a:cxnLst>
                <a:cxn ang="0">
                  <a:pos x="T0" y="T1"/>
                </a:cxn>
                <a:cxn ang="0">
                  <a:pos x="T2" y="T3"/>
                </a:cxn>
                <a:cxn ang="0">
                  <a:pos x="T4" y="T5"/>
                </a:cxn>
                <a:cxn ang="0">
                  <a:pos x="T6" y="T7"/>
                </a:cxn>
                <a:cxn ang="0">
                  <a:pos x="T8" y="T9"/>
                </a:cxn>
              </a:cxnLst>
              <a:rect l="0" t="0" r="r" b="b"/>
              <a:pathLst>
                <a:path w="105" h="110">
                  <a:moveTo>
                    <a:pt x="105" y="0"/>
                  </a:moveTo>
                  <a:cubicBezTo>
                    <a:pt x="88" y="6"/>
                    <a:pt x="71" y="9"/>
                    <a:pt x="52" y="9"/>
                  </a:cubicBezTo>
                  <a:cubicBezTo>
                    <a:pt x="34" y="9"/>
                    <a:pt x="17" y="6"/>
                    <a:pt x="0" y="0"/>
                  </a:cubicBezTo>
                  <a:cubicBezTo>
                    <a:pt x="1" y="44"/>
                    <a:pt x="21" y="84"/>
                    <a:pt x="53" y="110"/>
                  </a:cubicBezTo>
                  <a:cubicBezTo>
                    <a:pt x="84" y="84"/>
                    <a:pt x="104" y="44"/>
                    <a:pt x="10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29" name="Freeform 28"/>
            <p:cNvSpPr>
              <a:spLocks/>
            </p:cNvSpPr>
            <p:nvPr/>
          </p:nvSpPr>
          <p:spPr bwMode="auto">
            <a:xfrm>
              <a:off x="-681038" y="3451226"/>
              <a:ext cx="476250" cy="444500"/>
            </a:xfrm>
            <a:custGeom>
              <a:avLst/>
              <a:gdLst>
                <a:gd name="T0" fmla="*/ 0 w 127"/>
                <a:gd name="T1" fmla="*/ 23 h 118"/>
                <a:gd name="T2" fmla="*/ 53 w 127"/>
                <a:gd name="T3" fmla="*/ 118 h 118"/>
                <a:gd name="T4" fmla="*/ 127 w 127"/>
                <a:gd name="T5" fmla="*/ 10 h 118"/>
                <a:gd name="T6" fmla="*/ 77 w 127"/>
                <a:gd name="T7" fmla="*/ 0 h 118"/>
                <a:gd name="T8" fmla="*/ 0 w 127"/>
                <a:gd name="T9" fmla="*/ 23 h 118"/>
              </a:gdLst>
              <a:ahLst/>
              <a:cxnLst>
                <a:cxn ang="0">
                  <a:pos x="T0" y="T1"/>
                </a:cxn>
                <a:cxn ang="0">
                  <a:pos x="T2" y="T3"/>
                </a:cxn>
                <a:cxn ang="0">
                  <a:pos x="T4" y="T5"/>
                </a:cxn>
                <a:cxn ang="0">
                  <a:pos x="T6" y="T7"/>
                </a:cxn>
                <a:cxn ang="0">
                  <a:pos x="T8" y="T9"/>
                </a:cxn>
              </a:cxnLst>
              <a:rect l="0" t="0" r="r" b="b"/>
              <a:pathLst>
                <a:path w="127" h="118">
                  <a:moveTo>
                    <a:pt x="0" y="23"/>
                  </a:moveTo>
                  <a:cubicBezTo>
                    <a:pt x="27" y="47"/>
                    <a:pt x="46" y="80"/>
                    <a:pt x="53" y="118"/>
                  </a:cubicBezTo>
                  <a:cubicBezTo>
                    <a:pt x="93" y="96"/>
                    <a:pt x="121" y="56"/>
                    <a:pt x="127" y="10"/>
                  </a:cubicBezTo>
                  <a:cubicBezTo>
                    <a:pt x="111" y="4"/>
                    <a:pt x="95" y="0"/>
                    <a:pt x="77" y="0"/>
                  </a:cubicBezTo>
                  <a:cubicBezTo>
                    <a:pt x="48" y="0"/>
                    <a:pt x="22" y="9"/>
                    <a:pt x="0"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0" name="Freeform 29"/>
            <p:cNvSpPr>
              <a:spLocks/>
            </p:cNvSpPr>
            <p:nvPr/>
          </p:nvSpPr>
          <p:spPr bwMode="auto">
            <a:xfrm>
              <a:off x="-1296988" y="2860676"/>
              <a:ext cx="1100138" cy="620713"/>
            </a:xfrm>
            <a:custGeom>
              <a:avLst/>
              <a:gdLst>
                <a:gd name="T0" fmla="*/ 147 w 293"/>
                <a:gd name="T1" fmla="*/ 165 h 165"/>
                <a:gd name="T2" fmla="*/ 241 w 293"/>
                <a:gd name="T3" fmla="*/ 136 h 165"/>
                <a:gd name="T4" fmla="*/ 293 w 293"/>
                <a:gd name="T5" fmla="*/ 145 h 165"/>
                <a:gd name="T6" fmla="*/ 146 w 293"/>
                <a:gd name="T7" fmla="*/ 0 h 165"/>
                <a:gd name="T8" fmla="*/ 0 w 293"/>
                <a:gd name="T9" fmla="*/ 145 h 165"/>
                <a:gd name="T10" fmla="*/ 52 w 293"/>
                <a:gd name="T11" fmla="*/ 136 h 165"/>
                <a:gd name="T12" fmla="*/ 147 w 293"/>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293" h="165">
                  <a:moveTo>
                    <a:pt x="147" y="165"/>
                  </a:moveTo>
                  <a:cubicBezTo>
                    <a:pt x="173" y="147"/>
                    <a:pt x="206" y="136"/>
                    <a:pt x="241" y="136"/>
                  </a:cubicBezTo>
                  <a:cubicBezTo>
                    <a:pt x="259" y="136"/>
                    <a:pt x="276" y="140"/>
                    <a:pt x="293" y="145"/>
                  </a:cubicBezTo>
                  <a:cubicBezTo>
                    <a:pt x="292" y="65"/>
                    <a:pt x="227" y="0"/>
                    <a:pt x="146" y="0"/>
                  </a:cubicBezTo>
                  <a:cubicBezTo>
                    <a:pt x="66" y="0"/>
                    <a:pt x="1" y="65"/>
                    <a:pt x="0" y="145"/>
                  </a:cubicBezTo>
                  <a:cubicBezTo>
                    <a:pt x="17" y="140"/>
                    <a:pt x="34" y="136"/>
                    <a:pt x="52" y="136"/>
                  </a:cubicBezTo>
                  <a:cubicBezTo>
                    <a:pt x="87" y="136"/>
                    <a:pt x="120" y="147"/>
                    <a:pt x="147" y="1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1" name="Freeform 30"/>
            <p:cNvSpPr>
              <a:spLocks/>
            </p:cNvSpPr>
            <p:nvPr/>
          </p:nvSpPr>
          <p:spPr bwMode="auto">
            <a:xfrm>
              <a:off x="-1289050" y="3451226"/>
              <a:ext cx="476250" cy="439738"/>
            </a:xfrm>
            <a:custGeom>
              <a:avLst/>
              <a:gdLst>
                <a:gd name="T0" fmla="*/ 74 w 127"/>
                <a:gd name="T1" fmla="*/ 117 h 117"/>
                <a:gd name="T2" fmla="*/ 127 w 127"/>
                <a:gd name="T3" fmla="*/ 22 h 117"/>
                <a:gd name="T4" fmla="*/ 50 w 127"/>
                <a:gd name="T5" fmla="*/ 0 h 117"/>
                <a:gd name="T6" fmla="*/ 0 w 127"/>
                <a:gd name="T7" fmla="*/ 10 h 117"/>
                <a:gd name="T8" fmla="*/ 74 w 127"/>
                <a:gd name="T9" fmla="*/ 117 h 117"/>
              </a:gdLst>
              <a:ahLst/>
              <a:cxnLst>
                <a:cxn ang="0">
                  <a:pos x="T0" y="T1"/>
                </a:cxn>
                <a:cxn ang="0">
                  <a:pos x="T2" y="T3"/>
                </a:cxn>
                <a:cxn ang="0">
                  <a:pos x="T4" y="T5"/>
                </a:cxn>
                <a:cxn ang="0">
                  <a:pos x="T6" y="T7"/>
                </a:cxn>
                <a:cxn ang="0">
                  <a:pos x="T8" y="T9"/>
                </a:cxn>
              </a:cxnLst>
              <a:rect l="0" t="0" r="r" b="b"/>
              <a:pathLst>
                <a:path w="127" h="117">
                  <a:moveTo>
                    <a:pt x="74" y="117"/>
                  </a:moveTo>
                  <a:cubicBezTo>
                    <a:pt x="81" y="80"/>
                    <a:pt x="100" y="47"/>
                    <a:pt x="127" y="22"/>
                  </a:cubicBezTo>
                  <a:cubicBezTo>
                    <a:pt x="105" y="9"/>
                    <a:pt x="79" y="0"/>
                    <a:pt x="50" y="0"/>
                  </a:cubicBezTo>
                  <a:cubicBezTo>
                    <a:pt x="32" y="0"/>
                    <a:pt x="16" y="4"/>
                    <a:pt x="0" y="10"/>
                  </a:cubicBezTo>
                  <a:cubicBezTo>
                    <a:pt x="6" y="56"/>
                    <a:pt x="34" y="96"/>
                    <a:pt x="74"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2" name="Freeform 31"/>
            <p:cNvSpPr>
              <a:spLocks/>
            </p:cNvSpPr>
            <p:nvPr/>
          </p:nvSpPr>
          <p:spPr bwMode="auto">
            <a:xfrm>
              <a:off x="-1649413" y="3522663"/>
              <a:ext cx="836613" cy="1030288"/>
            </a:xfrm>
            <a:custGeom>
              <a:avLst/>
              <a:gdLst>
                <a:gd name="T0" fmla="*/ 167 w 223"/>
                <a:gd name="T1" fmla="*/ 128 h 274"/>
                <a:gd name="T2" fmla="*/ 168 w 223"/>
                <a:gd name="T3" fmla="*/ 121 h 274"/>
                <a:gd name="T4" fmla="*/ 76 w 223"/>
                <a:gd name="T5" fmla="*/ 0 h 274"/>
                <a:gd name="T6" fmla="*/ 0 w 223"/>
                <a:gd name="T7" fmla="*/ 128 h 274"/>
                <a:gd name="T8" fmla="*/ 146 w 223"/>
                <a:gd name="T9" fmla="*/ 274 h 274"/>
                <a:gd name="T10" fmla="*/ 223 w 223"/>
                <a:gd name="T11" fmla="*/ 252 h 274"/>
                <a:gd name="T12" fmla="*/ 167 w 223"/>
                <a:gd name="T13" fmla="*/ 128 h 274"/>
              </a:gdLst>
              <a:ahLst/>
              <a:cxnLst>
                <a:cxn ang="0">
                  <a:pos x="T0" y="T1"/>
                </a:cxn>
                <a:cxn ang="0">
                  <a:pos x="T2" y="T3"/>
                </a:cxn>
                <a:cxn ang="0">
                  <a:pos x="T4" y="T5"/>
                </a:cxn>
                <a:cxn ang="0">
                  <a:pos x="T6" y="T7"/>
                </a:cxn>
                <a:cxn ang="0">
                  <a:pos x="T8" y="T9"/>
                </a:cxn>
                <a:cxn ang="0">
                  <a:pos x="T10" y="T11"/>
                </a:cxn>
                <a:cxn ang="0">
                  <a:pos x="T12" y="T13"/>
                </a:cxn>
              </a:cxnLst>
              <a:rect l="0" t="0" r="r" b="b"/>
              <a:pathLst>
                <a:path w="223" h="274">
                  <a:moveTo>
                    <a:pt x="167" y="128"/>
                  </a:moveTo>
                  <a:cubicBezTo>
                    <a:pt x="167" y="125"/>
                    <a:pt x="168" y="123"/>
                    <a:pt x="168" y="121"/>
                  </a:cubicBezTo>
                  <a:cubicBezTo>
                    <a:pt x="120" y="98"/>
                    <a:pt x="85" y="54"/>
                    <a:pt x="76" y="0"/>
                  </a:cubicBezTo>
                  <a:cubicBezTo>
                    <a:pt x="31" y="25"/>
                    <a:pt x="0" y="72"/>
                    <a:pt x="0" y="128"/>
                  </a:cubicBezTo>
                  <a:cubicBezTo>
                    <a:pt x="0" y="209"/>
                    <a:pt x="65" y="274"/>
                    <a:pt x="146" y="274"/>
                  </a:cubicBezTo>
                  <a:cubicBezTo>
                    <a:pt x="175" y="274"/>
                    <a:pt x="201" y="266"/>
                    <a:pt x="223" y="252"/>
                  </a:cubicBezTo>
                  <a:cubicBezTo>
                    <a:pt x="189" y="221"/>
                    <a:pt x="167" y="177"/>
                    <a:pt x="16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3" name="Freeform 32"/>
            <p:cNvSpPr>
              <a:spLocks/>
            </p:cNvSpPr>
            <p:nvPr/>
          </p:nvSpPr>
          <p:spPr bwMode="auto">
            <a:xfrm>
              <a:off x="-681038" y="3522663"/>
              <a:ext cx="836613" cy="1030288"/>
            </a:xfrm>
            <a:custGeom>
              <a:avLst/>
              <a:gdLst>
                <a:gd name="T0" fmla="*/ 55 w 223"/>
                <a:gd name="T1" fmla="*/ 121 h 274"/>
                <a:gd name="T2" fmla="*/ 56 w 223"/>
                <a:gd name="T3" fmla="*/ 128 h 274"/>
                <a:gd name="T4" fmla="*/ 0 w 223"/>
                <a:gd name="T5" fmla="*/ 252 h 274"/>
                <a:gd name="T6" fmla="*/ 77 w 223"/>
                <a:gd name="T7" fmla="*/ 274 h 274"/>
                <a:gd name="T8" fmla="*/ 223 w 223"/>
                <a:gd name="T9" fmla="*/ 128 h 274"/>
                <a:gd name="T10" fmla="*/ 147 w 223"/>
                <a:gd name="T11" fmla="*/ 0 h 274"/>
                <a:gd name="T12" fmla="*/ 55 w 223"/>
                <a:gd name="T13" fmla="*/ 121 h 274"/>
              </a:gdLst>
              <a:ahLst/>
              <a:cxnLst>
                <a:cxn ang="0">
                  <a:pos x="T0" y="T1"/>
                </a:cxn>
                <a:cxn ang="0">
                  <a:pos x="T2" y="T3"/>
                </a:cxn>
                <a:cxn ang="0">
                  <a:pos x="T4" y="T5"/>
                </a:cxn>
                <a:cxn ang="0">
                  <a:pos x="T6" y="T7"/>
                </a:cxn>
                <a:cxn ang="0">
                  <a:pos x="T8" y="T9"/>
                </a:cxn>
                <a:cxn ang="0">
                  <a:pos x="T10" y="T11"/>
                </a:cxn>
                <a:cxn ang="0">
                  <a:pos x="T12" y="T13"/>
                </a:cxn>
              </a:cxnLst>
              <a:rect l="0" t="0" r="r" b="b"/>
              <a:pathLst>
                <a:path w="223" h="274">
                  <a:moveTo>
                    <a:pt x="55" y="121"/>
                  </a:moveTo>
                  <a:cubicBezTo>
                    <a:pt x="55" y="123"/>
                    <a:pt x="56" y="125"/>
                    <a:pt x="56" y="128"/>
                  </a:cubicBezTo>
                  <a:cubicBezTo>
                    <a:pt x="56" y="177"/>
                    <a:pt x="34" y="221"/>
                    <a:pt x="0" y="252"/>
                  </a:cubicBezTo>
                  <a:cubicBezTo>
                    <a:pt x="22" y="266"/>
                    <a:pt x="48" y="274"/>
                    <a:pt x="77" y="274"/>
                  </a:cubicBezTo>
                  <a:cubicBezTo>
                    <a:pt x="158" y="274"/>
                    <a:pt x="223" y="209"/>
                    <a:pt x="223" y="128"/>
                  </a:cubicBezTo>
                  <a:cubicBezTo>
                    <a:pt x="223" y="72"/>
                    <a:pt x="192" y="25"/>
                    <a:pt x="147" y="0"/>
                  </a:cubicBezTo>
                  <a:cubicBezTo>
                    <a:pt x="138" y="54"/>
                    <a:pt x="103" y="98"/>
                    <a:pt x="55" y="1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4" name="Freeform 33"/>
            <p:cNvSpPr>
              <a:spLocks noEditPoints="1"/>
            </p:cNvSpPr>
            <p:nvPr/>
          </p:nvSpPr>
          <p:spPr bwMode="auto">
            <a:xfrm>
              <a:off x="-2538413" y="1627188"/>
              <a:ext cx="3602038" cy="3606800"/>
            </a:xfrm>
            <a:custGeom>
              <a:avLst/>
              <a:gdLst>
                <a:gd name="T0" fmla="*/ 480 w 960"/>
                <a:gd name="T1" fmla="*/ 0 h 959"/>
                <a:gd name="T2" fmla="*/ 0 w 960"/>
                <a:gd name="T3" fmla="*/ 479 h 959"/>
                <a:gd name="T4" fmla="*/ 480 w 960"/>
                <a:gd name="T5" fmla="*/ 959 h 959"/>
                <a:gd name="T6" fmla="*/ 960 w 960"/>
                <a:gd name="T7" fmla="*/ 479 h 959"/>
                <a:gd name="T8" fmla="*/ 480 w 960"/>
                <a:gd name="T9" fmla="*/ 0 h 959"/>
                <a:gd name="T10" fmla="*/ 572 w 960"/>
                <a:gd name="T11" fmla="*/ 799 h 959"/>
                <a:gd name="T12" fmla="*/ 478 w 960"/>
                <a:gd name="T13" fmla="*/ 770 h 959"/>
                <a:gd name="T14" fmla="*/ 383 w 960"/>
                <a:gd name="T15" fmla="*/ 799 h 959"/>
                <a:gd name="T16" fmla="*/ 216 w 960"/>
                <a:gd name="T17" fmla="*/ 632 h 959"/>
                <a:gd name="T18" fmla="*/ 311 w 960"/>
                <a:gd name="T19" fmla="*/ 481 h 959"/>
                <a:gd name="T20" fmla="*/ 310 w 960"/>
                <a:gd name="T21" fmla="*/ 475 h 959"/>
                <a:gd name="T22" fmla="*/ 477 w 960"/>
                <a:gd name="T23" fmla="*/ 307 h 959"/>
                <a:gd name="T24" fmla="*/ 645 w 960"/>
                <a:gd name="T25" fmla="*/ 475 h 959"/>
                <a:gd name="T26" fmla="*/ 644 w 960"/>
                <a:gd name="T27" fmla="*/ 481 h 959"/>
                <a:gd name="T28" fmla="*/ 739 w 960"/>
                <a:gd name="T29" fmla="*/ 632 h 959"/>
                <a:gd name="T30" fmla="*/ 572 w 960"/>
                <a:gd name="T31" fmla="*/ 799 h 959"/>
                <a:gd name="T32" fmla="*/ 789 w 960"/>
                <a:gd name="T33" fmla="*/ 721 h 959"/>
                <a:gd name="T34" fmla="*/ 477 w 960"/>
                <a:gd name="T35" fmla="*/ 197 h 959"/>
                <a:gd name="T36" fmla="*/ 166 w 960"/>
                <a:gd name="T37" fmla="*/ 721 h 959"/>
                <a:gd name="T38" fmla="*/ 152 w 960"/>
                <a:gd name="T39" fmla="*/ 721 h 959"/>
                <a:gd name="T40" fmla="*/ 477 w 960"/>
                <a:gd name="T41" fmla="*/ 82 h 959"/>
                <a:gd name="T42" fmla="*/ 803 w 960"/>
                <a:gd name="T43" fmla="*/ 721 h 959"/>
                <a:gd name="T44" fmla="*/ 789 w 960"/>
                <a:gd name="T45" fmla="*/ 721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0" h="959">
                  <a:moveTo>
                    <a:pt x="480" y="0"/>
                  </a:moveTo>
                  <a:cubicBezTo>
                    <a:pt x="215" y="0"/>
                    <a:pt x="0" y="215"/>
                    <a:pt x="0" y="479"/>
                  </a:cubicBezTo>
                  <a:cubicBezTo>
                    <a:pt x="0" y="744"/>
                    <a:pt x="215" y="959"/>
                    <a:pt x="480" y="959"/>
                  </a:cubicBezTo>
                  <a:cubicBezTo>
                    <a:pt x="745" y="959"/>
                    <a:pt x="960" y="744"/>
                    <a:pt x="960" y="479"/>
                  </a:cubicBezTo>
                  <a:cubicBezTo>
                    <a:pt x="960" y="215"/>
                    <a:pt x="745" y="0"/>
                    <a:pt x="480" y="0"/>
                  </a:cubicBezTo>
                  <a:close/>
                  <a:moveTo>
                    <a:pt x="572" y="799"/>
                  </a:moveTo>
                  <a:cubicBezTo>
                    <a:pt x="537" y="799"/>
                    <a:pt x="504" y="789"/>
                    <a:pt x="478" y="770"/>
                  </a:cubicBezTo>
                  <a:cubicBezTo>
                    <a:pt x="451" y="789"/>
                    <a:pt x="418" y="799"/>
                    <a:pt x="383" y="799"/>
                  </a:cubicBezTo>
                  <a:cubicBezTo>
                    <a:pt x="291" y="799"/>
                    <a:pt x="216" y="724"/>
                    <a:pt x="216" y="632"/>
                  </a:cubicBezTo>
                  <a:cubicBezTo>
                    <a:pt x="216" y="565"/>
                    <a:pt x="255" y="509"/>
                    <a:pt x="311" y="481"/>
                  </a:cubicBezTo>
                  <a:cubicBezTo>
                    <a:pt x="311" y="479"/>
                    <a:pt x="310" y="477"/>
                    <a:pt x="310" y="475"/>
                  </a:cubicBezTo>
                  <a:cubicBezTo>
                    <a:pt x="310" y="382"/>
                    <a:pt x="385" y="307"/>
                    <a:pt x="477" y="307"/>
                  </a:cubicBezTo>
                  <a:cubicBezTo>
                    <a:pt x="570" y="307"/>
                    <a:pt x="645" y="382"/>
                    <a:pt x="645" y="475"/>
                  </a:cubicBezTo>
                  <a:cubicBezTo>
                    <a:pt x="645" y="477"/>
                    <a:pt x="644" y="479"/>
                    <a:pt x="644" y="481"/>
                  </a:cubicBezTo>
                  <a:cubicBezTo>
                    <a:pt x="700" y="509"/>
                    <a:pt x="739" y="565"/>
                    <a:pt x="739" y="632"/>
                  </a:cubicBezTo>
                  <a:cubicBezTo>
                    <a:pt x="739" y="724"/>
                    <a:pt x="664" y="799"/>
                    <a:pt x="572" y="799"/>
                  </a:cubicBezTo>
                  <a:close/>
                  <a:moveTo>
                    <a:pt x="789" y="721"/>
                  </a:moveTo>
                  <a:cubicBezTo>
                    <a:pt x="717" y="402"/>
                    <a:pt x="604" y="197"/>
                    <a:pt x="477" y="197"/>
                  </a:cubicBezTo>
                  <a:cubicBezTo>
                    <a:pt x="351" y="197"/>
                    <a:pt x="238" y="402"/>
                    <a:pt x="166" y="721"/>
                  </a:cubicBezTo>
                  <a:cubicBezTo>
                    <a:pt x="161" y="721"/>
                    <a:pt x="157" y="721"/>
                    <a:pt x="152" y="721"/>
                  </a:cubicBezTo>
                  <a:cubicBezTo>
                    <a:pt x="219" y="338"/>
                    <a:pt x="340" y="82"/>
                    <a:pt x="477" y="82"/>
                  </a:cubicBezTo>
                  <a:cubicBezTo>
                    <a:pt x="615" y="82"/>
                    <a:pt x="736" y="338"/>
                    <a:pt x="803" y="721"/>
                  </a:cubicBezTo>
                  <a:cubicBezTo>
                    <a:pt x="798" y="721"/>
                    <a:pt x="793" y="721"/>
                    <a:pt x="789" y="7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5" name="Freeform 34"/>
            <p:cNvSpPr>
              <a:spLocks/>
            </p:cNvSpPr>
            <p:nvPr/>
          </p:nvSpPr>
          <p:spPr bwMode="auto">
            <a:xfrm>
              <a:off x="-936625" y="3582988"/>
              <a:ext cx="379413" cy="379413"/>
            </a:xfrm>
            <a:custGeom>
              <a:avLst/>
              <a:gdLst>
                <a:gd name="T0" fmla="*/ 0 w 101"/>
                <a:gd name="T1" fmla="*/ 92 h 101"/>
                <a:gd name="T2" fmla="*/ 50 w 101"/>
                <a:gd name="T3" fmla="*/ 101 h 101"/>
                <a:gd name="T4" fmla="*/ 101 w 101"/>
                <a:gd name="T5" fmla="*/ 92 h 101"/>
                <a:gd name="T6" fmla="*/ 51 w 101"/>
                <a:gd name="T7" fmla="*/ 0 h 101"/>
                <a:gd name="T8" fmla="*/ 0 w 101"/>
                <a:gd name="T9" fmla="*/ 92 h 101"/>
              </a:gdLst>
              <a:ahLst/>
              <a:cxnLst>
                <a:cxn ang="0">
                  <a:pos x="T0" y="T1"/>
                </a:cxn>
                <a:cxn ang="0">
                  <a:pos x="T2" y="T3"/>
                </a:cxn>
                <a:cxn ang="0">
                  <a:pos x="T4" y="T5"/>
                </a:cxn>
                <a:cxn ang="0">
                  <a:pos x="T6" y="T7"/>
                </a:cxn>
                <a:cxn ang="0">
                  <a:pos x="T8" y="T9"/>
                </a:cxn>
              </a:cxnLst>
              <a:rect l="0" t="0" r="r" b="b"/>
              <a:pathLst>
                <a:path w="101" h="101">
                  <a:moveTo>
                    <a:pt x="0" y="92"/>
                  </a:moveTo>
                  <a:cubicBezTo>
                    <a:pt x="16" y="98"/>
                    <a:pt x="33" y="101"/>
                    <a:pt x="50" y="101"/>
                  </a:cubicBezTo>
                  <a:cubicBezTo>
                    <a:pt x="68" y="101"/>
                    <a:pt x="85" y="98"/>
                    <a:pt x="101" y="92"/>
                  </a:cubicBezTo>
                  <a:cubicBezTo>
                    <a:pt x="96" y="55"/>
                    <a:pt x="77" y="23"/>
                    <a:pt x="51" y="0"/>
                  </a:cubicBezTo>
                  <a:cubicBezTo>
                    <a:pt x="24" y="23"/>
                    <a:pt x="5" y="55"/>
                    <a:pt x="0" y="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39" name="Rectangle 38"/>
          <p:cNvSpPr/>
          <p:nvPr/>
        </p:nvSpPr>
        <p:spPr bwMode="auto">
          <a:xfrm rot="16200000">
            <a:off x="0" y="2011529"/>
            <a:ext cx="4846297" cy="4846297"/>
          </a:xfrm>
          <a:prstGeom prst="rect">
            <a:avLst/>
          </a:prstGeom>
          <a:gradFill>
            <a:gsLst>
              <a:gs pos="0">
                <a:srgbClr val="000000">
                  <a:alpha val="67000"/>
                </a:srgbClr>
              </a:gs>
              <a:gs pos="50000">
                <a:srgbClr val="000000">
                  <a:alpha val="0"/>
                </a:srgbClr>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9"/>
          <p:cNvSpPr/>
          <p:nvPr>
            <p:custDataLst>
              <p:tags r:id="rId1"/>
            </p:custDataLst>
          </p:nvPr>
        </p:nvSpPr>
        <p:spPr bwMode="auto">
          <a:xfrm>
            <a:off x="289472" y="5670063"/>
            <a:ext cx="4573522" cy="896425"/>
          </a:xfrm>
          <a:prstGeom prst="rect">
            <a:avLst/>
          </a:prstGeom>
          <a:no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353" kern="0" spc="-29" dirty="0">
                <a:gradFill>
                  <a:gsLst>
                    <a:gs pos="2917">
                      <a:srgbClr val="FFFFFF"/>
                    </a:gs>
                    <a:gs pos="30000">
                      <a:srgbClr val="FFFFFF"/>
                    </a:gs>
                  </a:gsLst>
                  <a:lin ang="5400000" scaled="0"/>
                </a:gradFill>
                <a:latin typeface="Segoe UI Light"/>
                <a:ea typeface="ＭＳ Ｐゴシック" charset="0"/>
              </a:rPr>
              <a:t>Create the Internet </a:t>
            </a:r>
          </a:p>
          <a:p>
            <a:pPr defTabSz="914347">
              <a:lnSpc>
                <a:spcPct val="90000"/>
              </a:lnSpc>
              <a:defRPr/>
            </a:pPr>
            <a:r>
              <a:rPr lang="en-US" sz="2353" kern="0" spc="-29" dirty="0">
                <a:gradFill>
                  <a:gsLst>
                    <a:gs pos="2917">
                      <a:srgbClr val="FFFFFF"/>
                    </a:gs>
                    <a:gs pos="30000">
                      <a:srgbClr val="FFFFFF"/>
                    </a:gs>
                  </a:gsLst>
                  <a:lin ang="5400000" scaled="0"/>
                </a:gradFill>
                <a:latin typeface="Segoe UI Light"/>
                <a:ea typeface="ＭＳ Ｐゴシック" charset="0"/>
              </a:rPr>
              <a:t>of Your Things</a:t>
            </a:r>
          </a:p>
        </p:txBody>
      </p:sp>
      <p:sp>
        <p:nvSpPr>
          <p:cNvPr id="36" name="Subtitle 2"/>
          <p:cNvSpPr txBox="1">
            <a:spLocks/>
          </p:cNvSpPr>
          <p:nvPr/>
        </p:nvSpPr>
        <p:spPr>
          <a:xfrm>
            <a:off x="5951265" y="3927951"/>
            <a:ext cx="3515666" cy="896425"/>
          </a:xfrm>
          <a:prstGeom prst="rect">
            <a:avLst/>
          </a:prstGeom>
        </p:spPr>
        <p:txBody>
          <a:bodyPr lIns="268927" tIns="143428" rIns="179285" bIns="143428"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72" b="1" dirty="0"/>
              <a:t>ANDREAS SCHIERENBECK</a:t>
            </a:r>
          </a:p>
          <a:p>
            <a:pPr fontAlgn="base">
              <a:lnSpc>
                <a:spcPct val="100000"/>
              </a:lnSpc>
              <a:spcBef>
                <a:spcPts val="0"/>
              </a:spcBef>
              <a:spcAft>
                <a:spcPct val="0"/>
              </a:spcAft>
            </a:pPr>
            <a:r>
              <a:rPr lang="en-US" sz="1372" dirty="0"/>
              <a:t>CEO</a:t>
            </a:r>
          </a:p>
          <a:p>
            <a:pPr fontAlgn="base">
              <a:lnSpc>
                <a:spcPct val="100000"/>
              </a:lnSpc>
              <a:spcBef>
                <a:spcPts val="0"/>
              </a:spcBef>
              <a:spcAft>
                <a:spcPct val="0"/>
              </a:spcAft>
            </a:pPr>
            <a:r>
              <a:rPr lang="en-US" sz="1372" dirty="0"/>
              <a:t>THYSSEN KRUPP</a:t>
            </a:r>
          </a:p>
        </p:txBody>
      </p:sp>
    </p:spTree>
    <p:extLst>
      <p:ext uri="{BB962C8B-B14F-4D97-AF65-F5344CB8AC3E}">
        <p14:creationId xmlns:p14="http://schemas.microsoft.com/office/powerpoint/2010/main" val="560926293"/>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312" y="175"/>
            <a:ext cx="12191377" cy="6857650"/>
          </a:xfrm>
          <a:prstGeom prst="rect">
            <a:avLst/>
          </a:prstGeom>
        </p:spPr>
      </p:pic>
      <p:sp>
        <p:nvSpPr>
          <p:cNvPr id="11" name="Rectangle 10"/>
          <p:cNvSpPr/>
          <p:nvPr/>
        </p:nvSpPr>
        <p:spPr bwMode="auto">
          <a:xfrm>
            <a:off x="5647788" y="291514"/>
            <a:ext cx="6274974" cy="6237623"/>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Subtitle 2"/>
          <p:cNvSpPr txBox="1">
            <a:spLocks/>
          </p:cNvSpPr>
          <p:nvPr/>
        </p:nvSpPr>
        <p:spPr>
          <a:xfrm>
            <a:off x="5951265" y="3471663"/>
            <a:ext cx="3515666" cy="896425"/>
          </a:xfrm>
          <a:prstGeom prst="rect">
            <a:avLst/>
          </a:prstGeom>
        </p:spPr>
        <p:txBody>
          <a:bodyPr lIns="268927" tIns="143428" rIns="179285" bIns="143428"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72" b="1" dirty="0"/>
              <a:t>PETER PROUD</a:t>
            </a:r>
          </a:p>
          <a:p>
            <a:pPr fontAlgn="base">
              <a:lnSpc>
                <a:spcPct val="100000"/>
              </a:lnSpc>
              <a:spcBef>
                <a:spcPts val="0"/>
              </a:spcBef>
              <a:spcAft>
                <a:spcPct val="0"/>
              </a:spcAft>
            </a:pPr>
            <a:r>
              <a:rPr lang="en-US" sz="1372" dirty="0"/>
              <a:t>MANAGING DIRECTOR FOR I/AM</a:t>
            </a:r>
            <a:br>
              <a:rPr lang="en-US" sz="1372" dirty="0"/>
            </a:br>
            <a:r>
              <a:rPr lang="en-US" sz="1372" dirty="0"/>
              <a:t>HOGARTH WORLDWIDE</a:t>
            </a:r>
          </a:p>
        </p:txBody>
      </p:sp>
      <p:sp>
        <p:nvSpPr>
          <p:cNvPr id="16" name="Rectangle 15"/>
          <p:cNvSpPr/>
          <p:nvPr/>
        </p:nvSpPr>
        <p:spPr>
          <a:xfrm>
            <a:off x="5901464" y="597440"/>
            <a:ext cx="6021298" cy="2896573"/>
          </a:xfrm>
          <a:prstGeom prst="rect">
            <a:avLst/>
          </a:prstGeom>
        </p:spPr>
        <p:txBody>
          <a:bodyPr wrap="square" lIns="179285" tIns="143428" rIns="179285" bIns="143428">
            <a:spAutoFit/>
          </a:bodyPr>
          <a:lstStyle/>
          <a:p>
            <a:pPr marL="115161" indent="-115161" defTabSz="914367" fontAlgn="base">
              <a:lnSpc>
                <a:spcPct val="90000"/>
              </a:lnSpc>
              <a:spcBef>
                <a:spcPts val="2400"/>
              </a:spcBef>
              <a:spcAft>
                <a:spcPct val="0"/>
              </a:spcAft>
            </a:pPr>
            <a:r>
              <a:rPr lang="en-US" sz="3137" dirty="0">
                <a:gradFill>
                  <a:gsLst>
                    <a:gs pos="67257">
                      <a:srgbClr val="FFFFFF"/>
                    </a:gs>
                    <a:gs pos="37000">
                      <a:srgbClr val="FFFFFF"/>
                    </a:gs>
                  </a:gsLst>
                  <a:lin ang="5400000" scaled="0"/>
                </a:gradFill>
                <a:latin typeface="Segoe UI Light"/>
                <a:ea typeface="ＭＳ Ｐゴシック" charset="0"/>
              </a:rPr>
              <a:t>“There are great advantages to being cloud-based. There’s no wait time to get started. Changes can be completed instantly. And that helps us be more responsive to our customers.” </a:t>
            </a:r>
          </a:p>
        </p:txBody>
      </p:sp>
      <p:sp>
        <p:nvSpPr>
          <p:cNvPr id="3" name="Rectangle 2"/>
          <p:cNvSpPr/>
          <p:nvPr/>
        </p:nvSpPr>
        <p:spPr bwMode="auto">
          <a:xfrm rot="16200000">
            <a:off x="0" y="2011529"/>
            <a:ext cx="4846297" cy="4846297"/>
          </a:xfrm>
          <a:prstGeom prst="rect">
            <a:avLst/>
          </a:prstGeom>
          <a:gradFill>
            <a:gsLst>
              <a:gs pos="0">
                <a:srgbClr val="000000">
                  <a:alpha val="67000"/>
                </a:srgbClr>
              </a:gs>
              <a:gs pos="50000">
                <a:srgbClr val="000000">
                  <a:alpha val="0"/>
                </a:srgbClr>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9"/>
          <p:cNvSpPr/>
          <p:nvPr>
            <p:custDataLst>
              <p:tags r:id="rId1"/>
            </p:custDataLst>
          </p:nvPr>
        </p:nvSpPr>
        <p:spPr bwMode="auto">
          <a:xfrm>
            <a:off x="289471" y="5670063"/>
            <a:ext cx="4237786" cy="896425"/>
          </a:xfrm>
          <a:prstGeom prst="rect">
            <a:avLst/>
          </a:prstGeom>
          <a:no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353" kern="0" spc="-29" dirty="0">
                <a:gradFill>
                  <a:gsLst>
                    <a:gs pos="2917">
                      <a:srgbClr val="FFFFFF"/>
                    </a:gs>
                    <a:gs pos="30000">
                      <a:srgbClr val="FFFFFF"/>
                    </a:gs>
                  </a:gsLst>
                  <a:lin ang="5400000" scaled="0"/>
                </a:gradFill>
                <a:latin typeface="Segoe UI Light"/>
                <a:ea typeface="ＭＳ Ｐゴシック" charset="0"/>
              </a:rPr>
              <a:t>Enable application </a:t>
            </a:r>
          </a:p>
          <a:p>
            <a:pPr defTabSz="914347">
              <a:lnSpc>
                <a:spcPct val="90000"/>
              </a:lnSpc>
              <a:defRPr/>
            </a:pPr>
            <a:r>
              <a:rPr lang="en-US" sz="2353" kern="0" spc="-29" dirty="0">
                <a:gradFill>
                  <a:gsLst>
                    <a:gs pos="2917">
                      <a:srgbClr val="FFFFFF"/>
                    </a:gs>
                    <a:gs pos="30000">
                      <a:srgbClr val="FFFFFF"/>
                    </a:gs>
                  </a:gsLst>
                  <a:lin ang="5400000" scaled="0"/>
                </a:gradFill>
                <a:latin typeface="Segoe UI Light"/>
                <a:ea typeface="ＭＳ Ｐゴシック" charset="0"/>
              </a:rPr>
              <a:t>innovation</a:t>
            </a:r>
          </a:p>
        </p:txBody>
      </p:sp>
      <p:pic>
        <p:nvPicPr>
          <p:cNvPr id="9" name="Picture 8" descr="logo-hogarth.png"/>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49537" y="5635875"/>
            <a:ext cx="3108160" cy="725237"/>
          </a:xfrm>
          <a:prstGeom prst="rect">
            <a:avLst/>
          </a:prstGeom>
        </p:spPr>
      </p:pic>
    </p:spTree>
    <p:extLst>
      <p:ext uri="{BB962C8B-B14F-4D97-AF65-F5344CB8AC3E}">
        <p14:creationId xmlns:p14="http://schemas.microsoft.com/office/powerpoint/2010/main" val="206565714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2" y="175"/>
            <a:ext cx="12191377" cy="6857650"/>
          </a:xfrm>
          <a:prstGeom prst="rect">
            <a:avLst/>
          </a:prstGeom>
        </p:spPr>
      </p:pic>
      <p:sp>
        <p:nvSpPr>
          <p:cNvPr id="11" name="Rectangle 10"/>
          <p:cNvSpPr/>
          <p:nvPr/>
        </p:nvSpPr>
        <p:spPr bwMode="auto">
          <a:xfrm>
            <a:off x="5647788" y="291514"/>
            <a:ext cx="6274974" cy="6237623"/>
          </a:xfrm>
          <a:prstGeom prst="rect">
            <a:avLst/>
          </a:prstGeom>
          <a:solidFill>
            <a:srgbClr val="DC3C00">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Subtitle 2"/>
          <p:cNvSpPr txBox="1">
            <a:spLocks/>
          </p:cNvSpPr>
          <p:nvPr/>
        </p:nvSpPr>
        <p:spPr>
          <a:xfrm>
            <a:off x="5951264" y="2959420"/>
            <a:ext cx="4253349" cy="896425"/>
          </a:xfrm>
          <a:prstGeom prst="rect">
            <a:avLst/>
          </a:prstGeom>
        </p:spPr>
        <p:txBody>
          <a:bodyPr lIns="268927" tIns="143428" rIns="179285" bIns="143428"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72" b="1" dirty="0"/>
              <a:t>LLUIS SANZ MARCO</a:t>
            </a:r>
          </a:p>
          <a:p>
            <a:pPr fontAlgn="base">
              <a:lnSpc>
                <a:spcPct val="100000"/>
              </a:lnSpc>
              <a:spcBef>
                <a:spcPts val="0"/>
              </a:spcBef>
              <a:spcAft>
                <a:spcPct val="0"/>
              </a:spcAft>
            </a:pPr>
            <a:r>
              <a:rPr lang="en-US" sz="1372" dirty="0"/>
              <a:t>DIRECTOR OF INFORMATION</a:t>
            </a:r>
            <a:br>
              <a:rPr lang="en-US" sz="1372" dirty="0"/>
            </a:br>
            <a:r>
              <a:rPr lang="en-US" sz="1372" dirty="0"/>
              <a:t>MUNICIPAL, INSTITUTE OF INFORMATION</a:t>
            </a:r>
          </a:p>
        </p:txBody>
      </p:sp>
      <p:sp>
        <p:nvSpPr>
          <p:cNvPr id="16" name="Rectangle 15"/>
          <p:cNvSpPr/>
          <p:nvPr/>
        </p:nvSpPr>
        <p:spPr>
          <a:xfrm>
            <a:off x="5901464" y="597440"/>
            <a:ext cx="6021298" cy="2462087"/>
          </a:xfrm>
          <a:prstGeom prst="rect">
            <a:avLst/>
          </a:prstGeom>
        </p:spPr>
        <p:txBody>
          <a:bodyPr wrap="square" lIns="179285" tIns="143428" rIns="179285" bIns="143428">
            <a:spAutoFit/>
          </a:bodyPr>
          <a:lstStyle/>
          <a:p>
            <a:pPr marL="115161" indent="-115161" defTabSz="914367" fontAlgn="base">
              <a:lnSpc>
                <a:spcPct val="90000"/>
              </a:lnSpc>
              <a:spcAft>
                <a:spcPct val="0"/>
              </a:spcAft>
            </a:pPr>
            <a:r>
              <a:rPr lang="en-US" sz="3137" dirty="0">
                <a:gradFill>
                  <a:gsLst>
                    <a:gs pos="67257">
                      <a:srgbClr val="FFFFFF"/>
                    </a:gs>
                    <a:gs pos="37000">
                      <a:srgbClr val="FFFFFF"/>
                    </a:gs>
                  </a:gsLst>
                  <a:lin ang="5400000" scaled="0"/>
                </a:gradFill>
                <a:latin typeface="Segoe UI Light"/>
                <a:ea typeface="ＭＳ Ｐゴシック" charset="0"/>
              </a:rPr>
              <a:t>“We can collect, analyze, and generate near real-time BI with big data collected from social media feeds, GPS signals, and data from government systems.”</a:t>
            </a:r>
          </a:p>
        </p:txBody>
      </p:sp>
      <p:grpSp>
        <p:nvGrpSpPr>
          <p:cNvPr id="17" name="Group 8"/>
          <p:cNvGrpSpPr>
            <a:grpSpLocks/>
          </p:cNvGrpSpPr>
          <p:nvPr/>
        </p:nvGrpSpPr>
        <p:grpSpPr bwMode="auto">
          <a:xfrm>
            <a:off x="9226086" y="3859425"/>
            <a:ext cx="2413937" cy="2416924"/>
            <a:chOff x="917312" y="1791590"/>
            <a:chExt cx="3187391" cy="3190740"/>
          </a:xfrm>
        </p:grpSpPr>
        <p:pic>
          <p:nvPicPr>
            <p:cNvPr id="18" name="Picture 109" descr="C:\Users\sigurdg\Desktop\Ajuntament_de_Barcelona.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46980" y="1791590"/>
              <a:ext cx="1928058" cy="25052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Rectangle 10"/>
            <p:cNvSpPr>
              <a:spLocks noChangeArrowheads="1"/>
            </p:cNvSpPr>
            <p:nvPr/>
          </p:nvSpPr>
          <p:spPr bwMode="auto">
            <a:xfrm>
              <a:off x="917312" y="4504335"/>
              <a:ext cx="3187391" cy="4779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defTabSz="913505" fontAlgn="base">
                <a:spcBef>
                  <a:spcPct val="0"/>
                </a:spcBef>
                <a:spcAft>
                  <a:spcPct val="0"/>
                </a:spcAft>
              </a:pPr>
              <a:r>
                <a:rPr lang="en-US" sz="1765" b="1" dirty="0">
                  <a:solidFill>
                    <a:srgbClr val="FFFFFF"/>
                  </a:solidFill>
                  <a:ea typeface="ＭＳ Ｐゴシック" charset="0"/>
                </a:rPr>
                <a:t>CITY OF BARCELONA</a:t>
              </a:r>
            </a:p>
          </p:txBody>
        </p:sp>
      </p:grpSp>
      <p:sp>
        <p:nvSpPr>
          <p:cNvPr id="14" name="Rectangle 13"/>
          <p:cNvSpPr/>
          <p:nvPr/>
        </p:nvSpPr>
        <p:spPr bwMode="auto">
          <a:xfrm rot="16200000">
            <a:off x="0" y="2011529"/>
            <a:ext cx="4846297" cy="4846297"/>
          </a:xfrm>
          <a:prstGeom prst="rect">
            <a:avLst/>
          </a:prstGeom>
          <a:gradFill>
            <a:gsLst>
              <a:gs pos="0">
                <a:srgbClr val="000000">
                  <a:alpha val="80000"/>
                </a:srgbClr>
              </a:gs>
              <a:gs pos="50000">
                <a:srgbClr val="000000">
                  <a:alpha val="0"/>
                </a:srgbClr>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9"/>
          <p:cNvSpPr/>
          <p:nvPr>
            <p:custDataLst>
              <p:tags r:id="rId1"/>
            </p:custDataLst>
          </p:nvPr>
        </p:nvSpPr>
        <p:spPr bwMode="auto">
          <a:xfrm>
            <a:off x="289472" y="5670063"/>
            <a:ext cx="2669043" cy="896425"/>
          </a:xfrm>
          <a:prstGeom prst="rect">
            <a:avLst/>
          </a:prstGeom>
          <a:no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353" kern="0" spc="-29" dirty="0">
                <a:gradFill>
                  <a:gsLst>
                    <a:gs pos="2917">
                      <a:srgbClr val="FFFFFF"/>
                    </a:gs>
                    <a:gs pos="30000">
                      <a:srgbClr val="FFFFFF"/>
                    </a:gs>
                  </a:gsLst>
                  <a:lin ang="5400000" scaled="0"/>
                </a:gradFill>
                <a:latin typeface="Segoe UI Light"/>
                <a:ea typeface="ＭＳ Ｐゴシック" charset="0"/>
              </a:rPr>
              <a:t>Unlock </a:t>
            </a:r>
            <a:r>
              <a:rPr lang="en-US" sz="2353" kern="0" spc="-29">
                <a:gradFill>
                  <a:gsLst>
                    <a:gs pos="2917">
                      <a:srgbClr val="FFFFFF"/>
                    </a:gs>
                    <a:gs pos="30000">
                      <a:srgbClr val="FFFFFF"/>
                    </a:gs>
                  </a:gsLst>
                  <a:lin ang="5400000" scaled="0"/>
                </a:gradFill>
                <a:latin typeface="Segoe UI Light"/>
                <a:ea typeface="ＭＳ Ｐゴシック" charset="0"/>
              </a:rPr>
              <a:t>insights </a:t>
            </a:r>
          </a:p>
          <a:p>
            <a:pPr defTabSz="914347">
              <a:lnSpc>
                <a:spcPct val="90000"/>
              </a:lnSpc>
              <a:defRPr/>
            </a:pPr>
            <a:r>
              <a:rPr lang="en-US" sz="2353" kern="0" spc="-29">
                <a:gradFill>
                  <a:gsLst>
                    <a:gs pos="2917">
                      <a:srgbClr val="FFFFFF"/>
                    </a:gs>
                    <a:gs pos="30000">
                      <a:srgbClr val="FFFFFF"/>
                    </a:gs>
                  </a:gsLst>
                  <a:lin ang="5400000" scaled="0"/>
                </a:gradFill>
                <a:latin typeface="Segoe UI Light"/>
                <a:ea typeface="ＭＳ Ｐゴシック" charset="0"/>
              </a:rPr>
              <a:t>on </a:t>
            </a:r>
            <a:r>
              <a:rPr lang="en-US" sz="2353" kern="0" spc="-29" dirty="0">
                <a:gradFill>
                  <a:gsLst>
                    <a:gs pos="2917">
                      <a:srgbClr val="FFFFFF"/>
                    </a:gs>
                    <a:gs pos="30000">
                      <a:srgbClr val="FFFFFF"/>
                    </a:gs>
                  </a:gsLst>
                  <a:lin ang="5400000" scaled="0"/>
                </a:gradFill>
                <a:latin typeface="Segoe UI Light"/>
                <a:ea typeface="ＭＳ Ｐゴシック" charset="0"/>
              </a:rPr>
              <a:t>any data</a:t>
            </a:r>
          </a:p>
        </p:txBody>
      </p:sp>
    </p:spTree>
    <p:extLst>
      <p:ext uri="{BB962C8B-B14F-4D97-AF65-F5344CB8AC3E}">
        <p14:creationId xmlns:p14="http://schemas.microsoft.com/office/powerpoint/2010/main" val="2878496494"/>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2" y="175"/>
            <a:ext cx="12191377" cy="6857650"/>
          </a:xfrm>
          <a:prstGeom prst="rect">
            <a:avLst/>
          </a:prstGeom>
        </p:spPr>
      </p:pic>
      <p:sp>
        <p:nvSpPr>
          <p:cNvPr id="9" name="Rectangle 8"/>
          <p:cNvSpPr/>
          <p:nvPr/>
        </p:nvSpPr>
        <p:spPr bwMode="auto">
          <a:xfrm>
            <a:off x="5647788" y="291514"/>
            <a:ext cx="6274974" cy="6237623"/>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Subtitle 2"/>
          <p:cNvSpPr txBox="1">
            <a:spLocks/>
          </p:cNvSpPr>
          <p:nvPr/>
        </p:nvSpPr>
        <p:spPr>
          <a:xfrm>
            <a:off x="5951264" y="2962112"/>
            <a:ext cx="4253349" cy="896425"/>
          </a:xfrm>
          <a:prstGeom prst="rect">
            <a:avLst/>
          </a:prstGeom>
        </p:spPr>
        <p:txBody>
          <a:bodyPr lIns="268927" tIns="143428" rIns="179285" bIns="143428"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72" b="1" dirty="0"/>
              <a:t>LEE BINGHAM</a:t>
            </a:r>
          </a:p>
          <a:p>
            <a:pPr fontAlgn="base">
              <a:lnSpc>
                <a:spcPct val="100000"/>
              </a:lnSpc>
              <a:spcBef>
                <a:spcPts val="0"/>
              </a:spcBef>
              <a:spcAft>
                <a:spcPct val="0"/>
              </a:spcAft>
            </a:pPr>
            <a:r>
              <a:rPr lang="en-US" sz="1372" dirty="0"/>
              <a:t>HEAD OF IT</a:t>
            </a:r>
          </a:p>
          <a:p>
            <a:pPr fontAlgn="base">
              <a:lnSpc>
                <a:spcPct val="100000"/>
              </a:lnSpc>
              <a:spcBef>
                <a:spcPts val="0"/>
              </a:spcBef>
              <a:spcAft>
                <a:spcPct val="0"/>
              </a:spcAft>
            </a:pPr>
            <a:r>
              <a:rPr lang="en-US" sz="1372" dirty="0"/>
              <a:t>PAUL SMITH</a:t>
            </a:r>
          </a:p>
        </p:txBody>
      </p:sp>
      <p:sp>
        <p:nvSpPr>
          <p:cNvPr id="11" name="Rectangle 10"/>
          <p:cNvSpPr/>
          <p:nvPr/>
        </p:nvSpPr>
        <p:spPr>
          <a:xfrm>
            <a:off x="5901464" y="597440"/>
            <a:ext cx="6021298" cy="2462087"/>
          </a:xfrm>
          <a:prstGeom prst="rect">
            <a:avLst/>
          </a:prstGeom>
        </p:spPr>
        <p:txBody>
          <a:bodyPr wrap="square" lIns="179285" tIns="143428" rIns="179285" bIns="143428">
            <a:spAutoFit/>
          </a:bodyPr>
          <a:lstStyle/>
          <a:p>
            <a:pPr marL="115161" indent="-115161" defTabSz="914367" fontAlgn="base">
              <a:lnSpc>
                <a:spcPct val="90000"/>
              </a:lnSpc>
              <a:spcAft>
                <a:spcPct val="0"/>
              </a:spcAft>
            </a:pPr>
            <a:r>
              <a:rPr lang="en-US" sz="3137" dirty="0">
                <a:gradFill>
                  <a:gsLst>
                    <a:gs pos="67257">
                      <a:srgbClr val="FFFFFF"/>
                    </a:gs>
                    <a:gs pos="37000">
                      <a:srgbClr val="FFFFFF"/>
                    </a:gs>
                  </a:gsLst>
                  <a:lin ang="5400000" scaled="0"/>
                </a:gradFill>
                <a:latin typeface="Segoe UI Light"/>
                <a:ea typeface="ＭＳ Ｐゴシック" charset="0"/>
              </a:rPr>
              <a:t>“Hybrid cloud computing really does give us the ability to tailor our infrastructure so that we can provide more services, more quickly, at less cost."</a:t>
            </a:r>
          </a:p>
        </p:txBody>
      </p:sp>
      <p:pic>
        <p:nvPicPr>
          <p:cNvPr id="15" name="Picture 1"/>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123850" y="5457078"/>
            <a:ext cx="3389606" cy="6300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p:cNvSpPr/>
          <p:nvPr/>
        </p:nvSpPr>
        <p:spPr bwMode="auto">
          <a:xfrm rot="16200000">
            <a:off x="0" y="2011529"/>
            <a:ext cx="4846297" cy="4846297"/>
          </a:xfrm>
          <a:prstGeom prst="rect">
            <a:avLst/>
          </a:prstGeom>
          <a:gradFill>
            <a:gsLst>
              <a:gs pos="0">
                <a:srgbClr val="000000">
                  <a:alpha val="67000"/>
                </a:srgbClr>
              </a:gs>
              <a:gs pos="50000">
                <a:srgbClr val="000000">
                  <a:alpha val="0"/>
                </a:srgbClr>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9"/>
          <p:cNvSpPr/>
          <p:nvPr>
            <p:custDataLst>
              <p:tags r:id="rId1"/>
            </p:custDataLst>
          </p:nvPr>
        </p:nvSpPr>
        <p:spPr bwMode="auto">
          <a:xfrm>
            <a:off x="289472" y="5670063"/>
            <a:ext cx="2669043" cy="896425"/>
          </a:xfrm>
          <a:prstGeom prst="rect">
            <a:avLst/>
          </a:prstGeom>
          <a:noFill/>
          <a:ln w="10795" cap="flat" cmpd="sng" algn="ctr">
            <a:noFill/>
            <a:prstDash val="solid"/>
            <a:headEnd type="none" w="med" len="med"/>
            <a:tailEnd type="none" w="med" len="med"/>
          </a:ln>
          <a:effectLst/>
        </p:spPr>
        <p:txBody>
          <a:bodyPr vert="horz" wrap="square" lIns="179285" tIns="134464" rIns="89642" bIns="89628" numCol="1" rtlCol="0" anchor="t" anchorCtr="0" compatLnSpc="1">
            <a:prstTxWarp prst="textNoShape">
              <a:avLst/>
            </a:prstTxWarp>
          </a:bodyPr>
          <a:lstStyle/>
          <a:p>
            <a:pPr defTabSz="914347">
              <a:lnSpc>
                <a:spcPct val="90000"/>
              </a:lnSpc>
              <a:defRPr/>
            </a:pPr>
            <a:r>
              <a:rPr lang="en-US" sz="2353" kern="0" spc="-29" dirty="0">
                <a:gradFill>
                  <a:gsLst>
                    <a:gs pos="2917">
                      <a:srgbClr val="FFFFFF"/>
                    </a:gs>
                    <a:gs pos="30000">
                      <a:srgbClr val="FFFFFF"/>
                    </a:gs>
                  </a:gsLst>
                  <a:lin ang="5400000" scaled="0"/>
                </a:gradFill>
                <a:latin typeface="Segoe UI Light"/>
                <a:ea typeface="ＭＳ Ｐゴシック" charset="0"/>
              </a:rPr>
              <a:t>Transform </a:t>
            </a:r>
            <a:br>
              <a:rPr lang="en-US" sz="2353" kern="0" spc="-29" dirty="0">
                <a:gradFill>
                  <a:gsLst>
                    <a:gs pos="2917">
                      <a:srgbClr val="FFFFFF"/>
                    </a:gs>
                    <a:gs pos="30000">
                      <a:srgbClr val="FFFFFF"/>
                    </a:gs>
                  </a:gsLst>
                  <a:lin ang="5400000" scaled="0"/>
                </a:gradFill>
                <a:latin typeface="Segoe UI Light"/>
                <a:ea typeface="ＭＳ Ｐゴシック" charset="0"/>
              </a:rPr>
            </a:br>
            <a:r>
              <a:rPr lang="en-US" sz="2353" kern="0" spc="-29" dirty="0">
                <a:gradFill>
                  <a:gsLst>
                    <a:gs pos="2917">
                      <a:srgbClr val="FFFFFF"/>
                    </a:gs>
                    <a:gs pos="30000">
                      <a:srgbClr val="FFFFFF"/>
                    </a:gs>
                  </a:gsLst>
                  <a:lin ang="5400000" scaled="0"/>
                </a:gradFill>
                <a:latin typeface="Segoe UI Light"/>
                <a:ea typeface="ＭＳ Ｐゴシック" charset="0"/>
              </a:rPr>
              <a:t>the datacenter</a:t>
            </a:r>
          </a:p>
        </p:txBody>
      </p:sp>
    </p:spTree>
    <p:extLst>
      <p:ext uri="{BB962C8B-B14F-4D97-AF65-F5344CB8AC3E}">
        <p14:creationId xmlns:p14="http://schemas.microsoft.com/office/powerpoint/2010/main" val="122637410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9" y="-7295"/>
            <a:ext cx="12206318" cy="6872590"/>
          </a:xfrm>
          <a:prstGeom prst="rect">
            <a:avLst/>
          </a:prstGeom>
        </p:spPr>
      </p:pic>
      <p:sp>
        <p:nvSpPr>
          <p:cNvPr id="3" name="Rectangle 2"/>
          <p:cNvSpPr/>
          <p:nvPr/>
        </p:nvSpPr>
        <p:spPr bwMode="auto">
          <a:xfrm>
            <a:off x="291825" y="301646"/>
            <a:ext cx="7157727" cy="62648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5294" dirty="0">
                <a:solidFill>
                  <a:srgbClr val="0072C6"/>
                </a:solidFill>
                <a:latin typeface="Segoe UI Light"/>
                <a:ea typeface="Segoe UI" pitchFamily="34" charset="0"/>
                <a:cs typeface="Segoe UI" pitchFamily="34" charset="0"/>
              </a:rPr>
              <a:t>Betting on Microsoft </a:t>
            </a:r>
            <a:br>
              <a:rPr lang="en-US" sz="5294" dirty="0">
                <a:solidFill>
                  <a:srgbClr val="0072C6"/>
                </a:solidFill>
                <a:latin typeface="Segoe UI Light"/>
                <a:ea typeface="Segoe UI" pitchFamily="34" charset="0"/>
                <a:cs typeface="Segoe UI" pitchFamily="34" charset="0"/>
              </a:rPr>
            </a:br>
            <a:r>
              <a:rPr lang="en-US" sz="5294" dirty="0">
                <a:solidFill>
                  <a:srgbClr val="0072C6"/>
                </a:solidFill>
                <a:latin typeface="Segoe UI Light"/>
                <a:ea typeface="Segoe UI" pitchFamily="34" charset="0"/>
                <a:cs typeface="Segoe UI" pitchFamily="34" charset="0"/>
              </a:rPr>
              <a:t>Cloud Platform </a:t>
            </a:r>
          </a:p>
        </p:txBody>
      </p:sp>
      <p:grpSp>
        <p:nvGrpSpPr>
          <p:cNvPr id="2" name="Group 1"/>
          <p:cNvGrpSpPr/>
          <p:nvPr/>
        </p:nvGrpSpPr>
        <p:grpSpPr>
          <a:xfrm>
            <a:off x="540483" y="2233767"/>
            <a:ext cx="6551733" cy="4099193"/>
            <a:chOff x="551320" y="2278062"/>
            <a:chExt cx="6683109" cy="4181390"/>
          </a:xfrm>
        </p:grpSpPr>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51037" y="2418351"/>
              <a:ext cx="1151048" cy="200677"/>
            </a:xfrm>
            <a:prstGeom prst="rect">
              <a:avLst/>
            </a:prstGeom>
          </p:spPr>
        </p:pic>
        <p:pic>
          <p:nvPicPr>
            <p:cNvPr id="37" name="Pictur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54211" y="2412287"/>
              <a:ext cx="1584489" cy="190476"/>
            </a:xfrm>
            <a:prstGeom prst="rect">
              <a:avLst/>
            </a:prstGeom>
          </p:spPr>
        </p:pic>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35619" y="2278466"/>
              <a:ext cx="1184120" cy="404670"/>
            </a:xfrm>
            <a:prstGeom prst="rect">
              <a:avLst/>
            </a:prstGeom>
          </p:spPr>
        </p:pic>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6632" y="3405631"/>
              <a:ext cx="1420556" cy="256931"/>
            </a:xfrm>
            <a:prstGeom prst="rect">
              <a:avLst/>
            </a:prstGeom>
          </p:spPr>
        </p:pic>
        <p:pic>
          <p:nvPicPr>
            <p:cNvPr id="44" name="Picture 43"/>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51320" y="2899319"/>
              <a:ext cx="1716357" cy="190890"/>
            </a:xfrm>
            <a:prstGeom prst="rect">
              <a:avLst/>
            </a:prstGeom>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89323" y="2798697"/>
              <a:ext cx="724114" cy="375864"/>
            </a:xfrm>
            <a:prstGeom prst="rect">
              <a:avLst/>
            </a:prstGeom>
          </p:spPr>
        </p:pic>
        <p:pic>
          <p:nvPicPr>
            <p:cNvPr id="46" name="Picture 4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2522821" y="2835607"/>
              <a:ext cx="1017844" cy="292934"/>
            </a:xfrm>
            <a:prstGeom prst="rect">
              <a:avLst/>
            </a:prstGeom>
          </p:spPr>
        </p:pic>
        <p:pic>
          <p:nvPicPr>
            <p:cNvPr id="47" name="Picture 4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3792928" y="2744689"/>
              <a:ext cx="1186173" cy="401434"/>
            </a:xfrm>
            <a:prstGeom prst="rect">
              <a:avLst/>
            </a:prstGeom>
          </p:spPr>
        </p:pic>
        <p:pic>
          <p:nvPicPr>
            <p:cNvPr id="48" name="Picture 47"/>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3551237" y="5157518"/>
              <a:ext cx="2253571" cy="223716"/>
            </a:xfrm>
            <a:prstGeom prst="rect">
              <a:avLst/>
            </a:prstGeom>
          </p:spPr>
        </p:pic>
        <p:pic>
          <p:nvPicPr>
            <p:cNvPr id="49" name="Picture 4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17837" y="3241740"/>
              <a:ext cx="571880" cy="599612"/>
            </a:xfrm>
            <a:prstGeom prst="rect">
              <a:avLst/>
            </a:prstGeom>
          </p:spPr>
        </p:pic>
        <p:pic>
          <p:nvPicPr>
            <p:cNvPr id="50" name="Picture 4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898487" y="3388466"/>
              <a:ext cx="719550" cy="264434"/>
            </a:xfrm>
            <a:prstGeom prst="rect">
              <a:avLst/>
            </a:prstGeom>
          </p:spPr>
        </p:pic>
        <p:pic>
          <p:nvPicPr>
            <p:cNvPr id="51" name="Picture 5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47098" y="2803144"/>
              <a:ext cx="580740" cy="340698"/>
            </a:xfrm>
            <a:prstGeom prst="rect">
              <a:avLst/>
            </a:prstGeom>
          </p:spPr>
        </p:pic>
        <p:grpSp>
          <p:nvGrpSpPr>
            <p:cNvPr id="54" name="Group 53"/>
            <p:cNvGrpSpPr/>
            <p:nvPr/>
          </p:nvGrpSpPr>
          <p:grpSpPr>
            <a:xfrm>
              <a:off x="5539990" y="3333531"/>
              <a:ext cx="731976" cy="461306"/>
              <a:chOff x="17127989" y="-19894551"/>
              <a:chExt cx="43210211" cy="27231976"/>
            </a:xfrm>
            <a:solidFill>
              <a:schemeClr val="bg1"/>
            </a:solidFill>
          </p:grpSpPr>
          <p:sp>
            <p:nvSpPr>
              <p:cNvPr id="55" name="Freeform 54"/>
              <p:cNvSpPr>
                <a:spLocks noEditPoints="1"/>
              </p:cNvSpPr>
              <p:nvPr/>
            </p:nvSpPr>
            <p:spPr bwMode="auto">
              <a:xfrm>
                <a:off x="17127989" y="-14762161"/>
                <a:ext cx="8435949" cy="10402916"/>
              </a:xfrm>
              <a:custGeom>
                <a:avLst/>
                <a:gdLst>
                  <a:gd name="T0" fmla="*/ 2167 w 2249"/>
                  <a:gd name="T1" fmla="*/ 1624 h 2773"/>
                  <a:gd name="T2" fmla="*/ 1968 w 2249"/>
                  <a:gd name="T3" fmla="*/ 1744 h 2773"/>
                  <a:gd name="T4" fmla="*/ 1566 w 2249"/>
                  <a:gd name="T5" fmla="*/ 2150 h 2773"/>
                  <a:gd name="T6" fmla="*/ 1071 w 2249"/>
                  <a:gd name="T7" fmla="*/ 2184 h 2773"/>
                  <a:gd name="T8" fmla="*/ 1064 w 2249"/>
                  <a:gd name="T9" fmla="*/ 1865 h 2773"/>
                  <a:gd name="T10" fmla="*/ 954 w 2249"/>
                  <a:gd name="T11" fmla="*/ 1291 h 2773"/>
                  <a:gd name="T12" fmla="*/ 772 w 2249"/>
                  <a:gd name="T13" fmla="*/ 652 h 2773"/>
                  <a:gd name="T14" fmla="*/ 1191 w 2249"/>
                  <a:gd name="T15" fmla="*/ 539 h 2773"/>
                  <a:gd name="T16" fmla="*/ 1504 w 2249"/>
                  <a:gd name="T17" fmla="*/ 216 h 2773"/>
                  <a:gd name="T18" fmla="*/ 1246 w 2249"/>
                  <a:gd name="T19" fmla="*/ 192 h 2773"/>
                  <a:gd name="T20" fmla="*/ 607 w 2249"/>
                  <a:gd name="T21" fmla="*/ 326 h 2773"/>
                  <a:gd name="T22" fmla="*/ 13 w 2249"/>
                  <a:gd name="T23" fmla="*/ 1295 h 2773"/>
                  <a:gd name="T24" fmla="*/ 748 w 2249"/>
                  <a:gd name="T25" fmla="*/ 2510 h 2773"/>
                  <a:gd name="T26" fmla="*/ 2146 w 2249"/>
                  <a:gd name="T27" fmla="*/ 1892 h 2773"/>
                  <a:gd name="T28" fmla="*/ 2167 w 2249"/>
                  <a:gd name="T29" fmla="*/ 1624 h 2773"/>
                  <a:gd name="T30" fmla="*/ 793 w 2249"/>
                  <a:gd name="T31" fmla="*/ 2050 h 2773"/>
                  <a:gd name="T32" fmla="*/ 377 w 2249"/>
                  <a:gd name="T33" fmla="*/ 1765 h 2773"/>
                  <a:gd name="T34" fmla="*/ 504 w 2249"/>
                  <a:gd name="T35" fmla="*/ 759 h 2773"/>
                  <a:gd name="T36" fmla="*/ 528 w 2249"/>
                  <a:gd name="T37" fmla="*/ 1003 h 2773"/>
                  <a:gd name="T38" fmla="*/ 556 w 2249"/>
                  <a:gd name="T39" fmla="*/ 1305 h 2773"/>
                  <a:gd name="T40" fmla="*/ 803 w 2249"/>
                  <a:gd name="T41" fmla="*/ 1827 h 2773"/>
                  <a:gd name="T42" fmla="*/ 793 w 2249"/>
                  <a:gd name="T43" fmla="*/ 2050 h 2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9" h="2773">
                    <a:moveTo>
                      <a:pt x="2167" y="1624"/>
                    </a:moveTo>
                    <a:cubicBezTo>
                      <a:pt x="2084" y="1576"/>
                      <a:pt x="2002" y="1683"/>
                      <a:pt x="1968" y="1744"/>
                    </a:cubicBezTo>
                    <a:cubicBezTo>
                      <a:pt x="1933" y="1806"/>
                      <a:pt x="1823" y="2036"/>
                      <a:pt x="1566" y="2150"/>
                    </a:cubicBezTo>
                    <a:cubicBezTo>
                      <a:pt x="1308" y="2263"/>
                      <a:pt x="1123" y="2243"/>
                      <a:pt x="1071" y="2184"/>
                    </a:cubicBezTo>
                    <a:cubicBezTo>
                      <a:pt x="1020" y="2126"/>
                      <a:pt x="1006" y="2074"/>
                      <a:pt x="1064" y="1865"/>
                    </a:cubicBezTo>
                    <a:cubicBezTo>
                      <a:pt x="1123" y="1655"/>
                      <a:pt x="1044" y="1463"/>
                      <a:pt x="954" y="1291"/>
                    </a:cubicBezTo>
                    <a:cubicBezTo>
                      <a:pt x="865" y="1119"/>
                      <a:pt x="655" y="832"/>
                      <a:pt x="772" y="652"/>
                    </a:cubicBezTo>
                    <a:cubicBezTo>
                      <a:pt x="824" y="573"/>
                      <a:pt x="1020" y="529"/>
                      <a:pt x="1191" y="539"/>
                    </a:cubicBezTo>
                    <a:cubicBezTo>
                      <a:pt x="1363" y="549"/>
                      <a:pt x="1507" y="433"/>
                      <a:pt x="1504" y="216"/>
                    </a:cubicBezTo>
                    <a:cubicBezTo>
                      <a:pt x="1500" y="0"/>
                      <a:pt x="1315" y="168"/>
                      <a:pt x="1246" y="192"/>
                    </a:cubicBezTo>
                    <a:cubicBezTo>
                      <a:pt x="1178" y="216"/>
                      <a:pt x="737" y="252"/>
                      <a:pt x="607" y="326"/>
                    </a:cubicBezTo>
                    <a:cubicBezTo>
                      <a:pt x="261" y="525"/>
                      <a:pt x="27" y="972"/>
                      <a:pt x="13" y="1295"/>
                    </a:cubicBezTo>
                    <a:cubicBezTo>
                      <a:pt x="0" y="1617"/>
                      <a:pt x="91" y="2281"/>
                      <a:pt x="748" y="2510"/>
                    </a:cubicBezTo>
                    <a:cubicBezTo>
                      <a:pt x="1054" y="2617"/>
                      <a:pt x="1734" y="2773"/>
                      <a:pt x="2146" y="1892"/>
                    </a:cubicBezTo>
                    <a:cubicBezTo>
                      <a:pt x="2222" y="1731"/>
                      <a:pt x="2249" y="1672"/>
                      <a:pt x="2167" y="1624"/>
                    </a:cubicBezTo>
                    <a:close/>
                    <a:moveTo>
                      <a:pt x="793" y="2050"/>
                    </a:moveTo>
                    <a:cubicBezTo>
                      <a:pt x="717" y="2078"/>
                      <a:pt x="566" y="2050"/>
                      <a:pt x="377" y="1765"/>
                    </a:cubicBezTo>
                    <a:cubicBezTo>
                      <a:pt x="61" y="1288"/>
                      <a:pt x="405" y="721"/>
                      <a:pt x="504" y="759"/>
                    </a:cubicBezTo>
                    <a:cubicBezTo>
                      <a:pt x="554" y="778"/>
                      <a:pt x="563" y="889"/>
                      <a:pt x="528" y="1003"/>
                    </a:cubicBezTo>
                    <a:cubicBezTo>
                      <a:pt x="494" y="1116"/>
                      <a:pt x="508" y="1219"/>
                      <a:pt x="556" y="1305"/>
                    </a:cubicBezTo>
                    <a:cubicBezTo>
                      <a:pt x="604" y="1391"/>
                      <a:pt x="772" y="1724"/>
                      <a:pt x="803" y="1827"/>
                    </a:cubicBezTo>
                    <a:cubicBezTo>
                      <a:pt x="834" y="1930"/>
                      <a:pt x="868" y="2023"/>
                      <a:pt x="793" y="20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56" name="Freeform 55"/>
              <p:cNvSpPr>
                <a:spLocks noEditPoints="1"/>
              </p:cNvSpPr>
              <p:nvPr/>
            </p:nvSpPr>
            <p:spPr bwMode="auto">
              <a:xfrm>
                <a:off x="24070126" y="-15032057"/>
                <a:ext cx="6016629" cy="6684941"/>
              </a:xfrm>
              <a:custGeom>
                <a:avLst/>
                <a:gdLst>
                  <a:gd name="T0" fmla="*/ 1501 w 1604"/>
                  <a:gd name="T1" fmla="*/ 1109 h 1782"/>
                  <a:gd name="T2" fmla="*/ 1363 w 1604"/>
                  <a:gd name="T3" fmla="*/ 1078 h 1782"/>
                  <a:gd name="T4" fmla="*/ 975 w 1604"/>
                  <a:gd name="T5" fmla="*/ 178 h 1782"/>
                  <a:gd name="T6" fmla="*/ 621 w 1604"/>
                  <a:gd name="T7" fmla="*/ 20 h 1782"/>
                  <a:gd name="T8" fmla="*/ 213 w 1604"/>
                  <a:gd name="T9" fmla="*/ 158 h 1782"/>
                  <a:gd name="T10" fmla="*/ 48 w 1604"/>
                  <a:gd name="T11" fmla="*/ 298 h 1782"/>
                  <a:gd name="T12" fmla="*/ 65 w 1604"/>
                  <a:gd name="T13" fmla="*/ 367 h 1782"/>
                  <a:gd name="T14" fmla="*/ 522 w 1604"/>
                  <a:gd name="T15" fmla="*/ 340 h 1782"/>
                  <a:gd name="T16" fmla="*/ 659 w 1604"/>
                  <a:gd name="T17" fmla="*/ 422 h 1782"/>
                  <a:gd name="T18" fmla="*/ 770 w 1604"/>
                  <a:gd name="T19" fmla="*/ 680 h 1782"/>
                  <a:gd name="T20" fmla="*/ 463 w 1604"/>
                  <a:gd name="T21" fmla="*/ 687 h 1782"/>
                  <a:gd name="T22" fmla="*/ 336 w 1604"/>
                  <a:gd name="T23" fmla="*/ 869 h 1782"/>
                  <a:gd name="T24" fmla="*/ 295 w 1604"/>
                  <a:gd name="T25" fmla="*/ 1422 h 1782"/>
                  <a:gd name="T26" fmla="*/ 659 w 1604"/>
                  <a:gd name="T27" fmla="*/ 1751 h 1782"/>
                  <a:gd name="T28" fmla="*/ 889 w 1604"/>
                  <a:gd name="T29" fmla="*/ 1566 h 1782"/>
                  <a:gd name="T30" fmla="*/ 1106 w 1604"/>
                  <a:gd name="T31" fmla="*/ 1370 h 1782"/>
                  <a:gd name="T32" fmla="*/ 1298 w 1604"/>
                  <a:gd name="T33" fmla="*/ 1514 h 1782"/>
                  <a:gd name="T34" fmla="*/ 1411 w 1604"/>
                  <a:gd name="T35" fmla="*/ 1480 h 1782"/>
                  <a:gd name="T36" fmla="*/ 1573 w 1604"/>
                  <a:gd name="T37" fmla="*/ 1164 h 1782"/>
                  <a:gd name="T38" fmla="*/ 1501 w 1604"/>
                  <a:gd name="T39" fmla="*/ 1109 h 1782"/>
                  <a:gd name="T40" fmla="*/ 943 w 1604"/>
                  <a:gd name="T41" fmla="*/ 1235 h 1782"/>
                  <a:gd name="T42" fmla="*/ 845 w 1604"/>
                  <a:gd name="T43" fmla="*/ 1380 h 1782"/>
                  <a:gd name="T44" fmla="*/ 542 w 1604"/>
                  <a:gd name="T45" fmla="*/ 1173 h 1782"/>
                  <a:gd name="T46" fmla="*/ 538 w 1604"/>
                  <a:gd name="T47" fmla="*/ 824 h 1782"/>
                  <a:gd name="T48" fmla="*/ 822 w 1604"/>
                  <a:gd name="T49" fmla="*/ 822 h 1782"/>
                  <a:gd name="T50" fmla="*/ 934 w 1604"/>
                  <a:gd name="T51" fmla="*/ 1102 h 1782"/>
                  <a:gd name="T52" fmla="*/ 943 w 1604"/>
                  <a:gd name="T53" fmla="*/ 1235 h 1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4" h="1782">
                    <a:moveTo>
                      <a:pt x="1501" y="1109"/>
                    </a:moveTo>
                    <a:cubicBezTo>
                      <a:pt x="1446" y="1154"/>
                      <a:pt x="1398" y="1161"/>
                      <a:pt x="1363" y="1078"/>
                    </a:cubicBezTo>
                    <a:cubicBezTo>
                      <a:pt x="1329" y="996"/>
                      <a:pt x="1009" y="268"/>
                      <a:pt x="975" y="178"/>
                    </a:cubicBezTo>
                    <a:cubicBezTo>
                      <a:pt x="941" y="89"/>
                      <a:pt x="848" y="7"/>
                      <a:pt x="621" y="20"/>
                    </a:cubicBezTo>
                    <a:cubicBezTo>
                      <a:pt x="384" y="34"/>
                      <a:pt x="281" y="0"/>
                      <a:pt x="213" y="158"/>
                    </a:cubicBezTo>
                    <a:cubicBezTo>
                      <a:pt x="179" y="235"/>
                      <a:pt x="96" y="278"/>
                      <a:pt x="48" y="298"/>
                    </a:cubicBezTo>
                    <a:cubicBezTo>
                      <a:pt x="0" y="319"/>
                      <a:pt x="17" y="367"/>
                      <a:pt x="65" y="367"/>
                    </a:cubicBezTo>
                    <a:cubicBezTo>
                      <a:pt x="113" y="367"/>
                      <a:pt x="467" y="340"/>
                      <a:pt x="522" y="340"/>
                    </a:cubicBezTo>
                    <a:cubicBezTo>
                      <a:pt x="577" y="340"/>
                      <a:pt x="625" y="340"/>
                      <a:pt x="659" y="422"/>
                    </a:cubicBezTo>
                    <a:cubicBezTo>
                      <a:pt x="694" y="505"/>
                      <a:pt x="770" y="680"/>
                      <a:pt x="770" y="680"/>
                    </a:cubicBezTo>
                    <a:cubicBezTo>
                      <a:pt x="770" y="680"/>
                      <a:pt x="529" y="687"/>
                      <a:pt x="463" y="687"/>
                    </a:cubicBezTo>
                    <a:cubicBezTo>
                      <a:pt x="398" y="687"/>
                      <a:pt x="360" y="786"/>
                      <a:pt x="336" y="869"/>
                    </a:cubicBezTo>
                    <a:cubicBezTo>
                      <a:pt x="312" y="951"/>
                      <a:pt x="220" y="1222"/>
                      <a:pt x="295" y="1422"/>
                    </a:cubicBezTo>
                    <a:cubicBezTo>
                      <a:pt x="371" y="1621"/>
                      <a:pt x="469" y="1714"/>
                      <a:pt x="659" y="1751"/>
                    </a:cubicBezTo>
                    <a:cubicBezTo>
                      <a:pt x="817" y="1782"/>
                      <a:pt x="823" y="1690"/>
                      <a:pt x="889" y="1566"/>
                    </a:cubicBezTo>
                    <a:cubicBezTo>
                      <a:pt x="992" y="1373"/>
                      <a:pt x="1013" y="1294"/>
                      <a:pt x="1106" y="1370"/>
                    </a:cubicBezTo>
                    <a:cubicBezTo>
                      <a:pt x="1198" y="1446"/>
                      <a:pt x="1246" y="1487"/>
                      <a:pt x="1298" y="1514"/>
                    </a:cubicBezTo>
                    <a:cubicBezTo>
                      <a:pt x="1349" y="1542"/>
                      <a:pt x="1384" y="1535"/>
                      <a:pt x="1411" y="1480"/>
                    </a:cubicBezTo>
                    <a:cubicBezTo>
                      <a:pt x="1439" y="1425"/>
                      <a:pt x="1542" y="1212"/>
                      <a:pt x="1573" y="1164"/>
                    </a:cubicBezTo>
                    <a:cubicBezTo>
                      <a:pt x="1604" y="1116"/>
                      <a:pt x="1556" y="1064"/>
                      <a:pt x="1501" y="1109"/>
                    </a:cubicBezTo>
                    <a:close/>
                    <a:moveTo>
                      <a:pt x="943" y="1235"/>
                    </a:moveTo>
                    <a:cubicBezTo>
                      <a:pt x="915" y="1297"/>
                      <a:pt x="873" y="1378"/>
                      <a:pt x="845" y="1380"/>
                    </a:cubicBezTo>
                    <a:cubicBezTo>
                      <a:pt x="779" y="1387"/>
                      <a:pt x="613" y="1314"/>
                      <a:pt x="542" y="1173"/>
                    </a:cubicBezTo>
                    <a:cubicBezTo>
                      <a:pt x="471" y="1032"/>
                      <a:pt x="442" y="824"/>
                      <a:pt x="538" y="824"/>
                    </a:cubicBezTo>
                    <a:cubicBezTo>
                      <a:pt x="635" y="824"/>
                      <a:pt x="817" y="814"/>
                      <a:pt x="822" y="822"/>
                    </a:cubicBezTo>
                    <a:cubicBezTo>
                      <a:pt x="822" y="822"/>
                      <a:pt x="911" y="1050"/>
                      <a:pt x="934" y="1102"/>
                    </a:cubicBezTo>
                    <a:cubicBezTo>
                      <a:pt x="968" y="1181"/>
                      <a:pt x="970" y="1174"/>
                      <a:pt x="943" y="12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57" name="Freeform 56"/>
              <p:cNvSpPr>
                <a:spLocks noEditPoints="1"/>
              </p:cNvSpPr>
              <p:nvPr/>
            </p:nvSpPr>
            <p:spPr bwMode="auto">
              <a:xfrm>
                <a:off x="35698540" y="-17657756"/>
                <a:ext cx="4995843" cy="6951649"/>
              </a:xfrm>
              <a:custGeom>
                <a:avLst/>
                <a:gdLst>
                  <a:gd name="T0" fmla="*/ 1239 w 1332"/>
                  <a:gd name="T1" fmla="*/ 1485 h 1853"/>
                  <a:gd name="T2" fmla="*/ 1124 w 1332"/>
                  <a:gd name="T3" fmla="*/ 1405 h 1853"/>
                  <a:gd name="T4" fmla="*/ 1101 w 1332"/>
                  <a:gd name="T5" fmla="*/ 425 h 1853"/>
                  <a:gd name="T6" fmla="*/ 832 w 1332"/>
                  <a:gd name="T7" fmla="*/ 146 h 1853"/>
                  <a:gd name="T8" fmla="*/ 402 w 1332"/>
                  <a:gd name="T9" fmla="*/ 121 h 1853"/>
                  <a:gd name="T10" fmla="*/ 196 w 1332"/>
                  <a:gd name="T11" fmla="*/ 189 h 1853"/>
                  <a:gd name="T12" fmla="*/ 186 w 1332"/>
                  <a:gd name="T13" fmla="*/ 260 h 1853"/>
                  <a:gd name="T14" fmla="*/ 620 w 1332"/>
                  <a:gd name="T15" fmla="*/ 405 h 1853"/>
                  <a:gd name="T16" fmla="*/ 717 w 1332"/>
                  <a:gd name="T17" fmla="*/ 533 h 1853"/>
                  <a:gd name="T18" fmla="*/ 723 w 1332"/>
                  <a:gd name="T19" fmla="*/ 813 h 1853"/>
                  <a:gd name="T20" fmla="*/ 436 w 1332"/>
                  <a:gd name="T21" fmla="*/ 705 h 1853"/>
                  <a:gd name="T22" fmla="*/ 250 w 1332"/>
                  <a:gd name="T23" fmla="*/ 826 h 1853"/>
                  <a:gd name="T24" fmla="*/ 5 w 1332"/>
                  <a:gd name="T25" fmla="*/ 1323 h 1853"/>
                  <a:gd name="T26" fmla="*/ 219 w 1332"/>
                  <a:gd name="T27" fmla="*/ 1765 h 1853"/>
                  <a:gd name="T28" fmla="*/ 501 w 1332"/>
                  <a:gd name="T29" fmla="*/ 1680 h 1853"/>
                  <a:gd name="T30" fmla="*/ 775 w 1332"/>
                  <a:gd name="T31" fmla="*/ 1579 h 1853"/>
                  <a:gd name="T32" fmla="*/ 900 w 1332"/>
                  <a:gd name="T33" fmla="*/ 1785 h 1853"/>
                  <a:gd name="T34" fmla="*/ 1018 w 1332"/>
                  <a:gd name="T35" fmla="*/ 1796 h 1853"/>
                  <a:gd name="T36" fmla="*/ 1286 w 1332"/>
                  <a:gd name="T37" fmla="*/ 1563 h 1853"/>
                  <a:gd name="T38" fmla="*/ 1239 w 1332"/>
                  <a:gd name="T39" fmla="*/ 1485 h 1853"/>
                  <a:gd name="T40" fmla="*/ 675 w 1332"/>
                  <a:gd name="T41" fmla="*/ 1393 h 1853"/>
                  <a:gd name="T42" fmla="*/ 529 w 1332"/>
                  <a:gd name="T43" fmla="*/ 1491 h 1853"/>
                  <a:gd name="T44" fmla="*/ 327 w 1332"/>
                  <a:gd name="T45" fmla="*/ 1185 h 1853"/>
                  <a:gd name="T46" fmla="*/ 454 w 1332"/>
                  <a:gd name="T47" fmla="*/ 860 h 1853"/>
                  <a:gd name="T48" fmla="*/ 717 w 1332"/>
                  <a:gd name="T49" fmla="*/ 965 h 1853"/>
                  <a:gd name="T50" fmla="*/ 717 w 1332"/>
                  <a:gd name="T51" fmla="*/ 1267 h 1853"/>
                  <a:gd name="T52" fmla="*/ 675 w 1332"/>
                  <a:gd name="T53" fmla="*/ 1393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2" h="1853">
                    <a:moveTo>
                      <a:pt x="1239" y="1485"/>
                    </a:moveTo>
                    <a:cubicBezTo>
                      <a:pt x="1172" y="1506"/>
                      <a:pt x="1125" y="1494"/>
                      <a:pt x="1124" y="1405"/>
                    </a:cubicBezTo>
                    <a:cubicBezTo>
                      <a:pt x="1123" y="1316"/>
                      <a:pt x="1099" y="521"/>
                      <a:pt x="1101" y="425"/>
                    </a:cubicBezTo>
                    <a:cubicBezTo>
                      <a:pt x="1103" y="330"/>
                      <a:pt x="1047" y="219"/>
                      <a:pt x="832" y="146"/>
                    </a:cubicBezTo>
                    <a:cubicBezTo>
                      <a:pt x="607" y="70"/>
                      <a:pt x="525" y="0"/>
                      <a:pt x="402" y="121"/>
                    </a:cubicBezTo>
                    <a:cubicBezTo>
                      <a:pt x="342" y="179"/>
                      <a:pt x="249" y="188"/>
                      <a:pt x="196" y="189"/>
                    </a:cubicBezTo>
                    <a:cubicBezTo>
                      <a:pt x="144" y="190"/>
                      <a:pt x="142" y="241"/>
                      <a:pt x="186" y="260"/>
                    </a:cubicBezTo>
                    <a:cubicBezTo>
                      <a:pt x="231" y="278"/>
                      <a:pt x="569" y="385"/>
                      <a:pt x="620" y="405"/>
                    </a:cubicBezTo>
                    <a:cubicBezTo>
                      <a:pt x="671" y="426"/>
                      <a:pt x="716" y="444"/>
                      <a:pt x="717" y="533"/>
                    </a:cubicBezTo>
                    <a:cubicBezTo>
                      <a:pt x="718" y="622"/>
                      <a:pt x="723" y="813"/>
                      <a:pt x="723" y="813"/>
                    </a:cubicBezTo>
                    <a:cubicBezTo>
                      <a:pt x="723" y="813"/>
                      <a:pt x="497" y="729"/>
                      <a:pt x="436" y="705"/>
                    </a:cubicBezTo>
                    <a:cubicBezTo>
                      <a:pt x="376" y="681"/>
                      <a:pt x="303" y="759"/>
                      <a:pt x="250" y="826"/>
                    </a:cubicBezTo>
                    <a:cubicBezTo>
                      <a:pt x="197" y="894"/>
                      <a:pt x="9" y="1110"/>
                      <a:pt x="5" y="1323"/>
                    </a:cubicBezTo>
                    <a:cubicBezTo>
                      <a:pt x="0" y="1536"/>
                      <a:pt x="56" y="1659"/>
                      <a:pt x="219" y="1765"/>
                    </a:cubicBezTo>
                    <a:cubicBezTo>
                      <a:pt x="353" y="1853"/>
                      <a:pt x="393" y="1770"/>
                      <a:pt x="501" y="1680"/>
                    </a:cubicBezTo>
                    <a:cubicBezTo>
                      <a:pt x="669" y="1540"/>
                      <a:pt x="718" y="1474"/>
                      <a:pt x="775" y="1579"/>
                    </a:cubicBezTo>
                    <a:cubicBezTo>
                      <a:pt x="833" y="1684"/>
                      <a:pt x="862" y="1740"/>
                      <a:pt x="900" y="1785"/>
                    </a:cubicBezTo>
                    <a:cubicBezTo>
                      <a:pt x="937" y="1830"/>
                      <a:pt x="971" y="1836"/>
                      <a:pt x="1018" y="1796"/>
                    </a:cubicBezTo>
                    <a:cubicBezTo>
                      <a:pt x="1064" y="1755"/>
                      <a:pt x="1239" y="1596"/>
                      <a:pt x="1286" y="1563"/>
                    </a:cubicBezTo>
                    <a:cubicBezTo>
                      <a:pt x="1332" y="1530"/>
                      <a:pt x="1307" y="1465"/>
                      <a:pt x="1239" y="1485"/>
                    </a:cubicBezTo>
                    <a:close/>
                    <a:moveTo>
                      <a:pt x="675" y="1393"/>
                    </a:moveTo>
                    <a:cubicBezTo>
                      <a:pt x="626" y="1440"/>
                      <a:pt x="557" y="1499"/>
                      <a:pt x="529" y="1491"/>
                    </a:cubicBezTo>
                    <a:cubicBezTo>
                      <a:pt x="466" y="1472"/>
                      <a:pt x="340" y="1343"/>
                      <a:pt x="327" y="1185"/>
                    </a:cubicBezTo>
                    <a:cubicBezTo>
                      <a:pt x="313" y="1028"/>
                      <a:pt x="365" y="824"/>
                      <a:pt x="454" y="860"/>
                    </a:cubicBezTo>
                    <a:cubicBezTo>
                      <a:pt x="543" y="896"/>
                      <a:pt x="716" y="955"/>
                      <a:pt x="717" y="965"/>
                    </a:cubicBezTo>
                    <a:cubicBezTo>
                      <a:pt x="717" y="965"/>
                      <a:pt x="715" y="1210"/>
                      <a:pt x="717" y="1267"/>
                    </a:cubicBezTo>
                    <a:cubicBezTo>
                      <a:pt x="719" y="1353"/>
                      <a:pt x="723" y="1346"/>
                      <a:pt x="675" y="1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59" name="Freeform 58"/>
              <p:cNvSpPr>
                <a:spLocks noEditPoints="1"/>
              </p:cNvSpPr>
              <p:nvPr/>
            </p:nvSpPr>
            <p:spPr bwMode="auto">
              <a:xfrm>
                <a:off x="48169935" y="-14139842"/>
                <a:ext cx="5757890" cy="6915167"/>
              </a:xfrm>
              <a:custGeom>
                <a:avLst/>
                <a:gdLst>
                  <a:gd name="T0" fmla="*/ 1135 w 1535"/>
                  <a:gd name="T1" fmla="*/ 1650 h 1843"/>
                  <a:gd name="T2" fmla="*/ 1068 w 1535"/>
                  <a:gd name="T3" fmla="*/ 1527 h 1843"/>
                  <a:gd name="T4" fmla="*/ 1490 w 1535"/>
                  <a:gd name="T5" fmla="*/ 642 h 1843"/>
                  <a:gd name="T6" fmla="*/ 1376 w 1535"/>
                  <a:gd name="T7" fmla="*/ 272 h 1843"/>
                  <a:gd name="T8" fmla="*/ 1004 w 1535"/>
                  <a:gd name="T9" fmla="*/ 55 h 1843"/>
                  <a:gd name="T10" fmla="*/ 789 w 1535"/>
                  <a:gd name="T11" fmla="*/ 23 h 1843"/>
                  <a:gd name="T12" fmla="*/ 749 w 1535"/>
                  <a:gd name="T13" fmla="*/ 81 h 1843"/>
                  <a:gd name="T14" fmla="*/ 1070 w 1535"/>
                  <a:gd name="T15" fmla="*/ 407 h 1843"/>
                  <a:gd name="T16" fmla="*/ 1098 w 1535"/>
                  <a:gd name="T17" fmla="*/ 565 h 1843"/>
                  <a:gd name="T18" fmla="*/ 978 w 1535"/>
                  <a:gd name="T19" fmla="*/ 818 h 1843"/>
                  <a:gd name="T20" fmla="*/ 771 w 1535"/>
                  <a:gd name="T21" fmla="*/ 591 h 1843"/>
                  <a:gd name="T22" fmla="*/ 550 w 1535"/>
                  <a:gd name="T23" fmla="*/ 616 h 1843"/>
                  <a:gd name="T24" fmla="*/ 106 w 1535"/>
                  <a:gd name="T25" fmla="*/ 948 h 1843"/>
                  <a:gd name="T26" fmla="*/ 98 w 1535"/>
                  <a:gd name="T27" fmla="*/ 1439 h 1843"/>
                  <a:gd name="T28" fmla="*/ 389 w 1535"/>
                  <a:gd name="T29" fmla="*/ 1491 h 1843"/>
                  <a:gd name="T30" fmla="*/ 679 w 1535"/>
                  <a:gd name="T31" fmla="*/ 1525 h 1843"/>
                  <a:gd name="T32" fmla="*/ 696 w 1535"/>
                  <a:gd name="T33" fmla="*/ 1765 h 1843"/>
                  <a:gd name="T34" fmla="*/ 797 w 1535"/>
                  <a:gd name="T35" fmla="*/ 1827 h 1843"/>
                  <a:gd name="T36" fmla="*/ 1141 w 1535"/>
                  <a:gd name="T37" fmla="*/ 1741 h 1843"/>
                  <a:gd name="T38" fmla="*/ 1135 w 1535"/>
                  <a:gd name="T39" fmla="*/ 1650 h 1843"/>
                  <a:gd name="T40" fmla="*/ 673 w 1535"/>
                  <a:gd name="T41" fmla="*/ 1314 h 1843"/>
                  <a:gd name="T42" fmla="*/ 499 w 1535"/>
                  <a:gd name="T43" fmla="*/ 1335 h 1843"/>
                  <a:gd name="T44" fmla="*/ 456 w 1535"/>
                  <a:gd name="T45" fmla="*/ 971 h 1843"/>
                  <a:gd name="T46" fmla="*/ 717 w 1535"/>
                  <a:gd name="T47" fmla="*/ 738 h 1843"/>
                  <a:gd name="T48" fmla="*/ 904 w 1535"/>
                  <a:gd name="T49" fmla="*/ 950 h 1843"/>
                  <a:gd name="T50" fmla="*/ 767 w 1535"/>
                  <a:gd name="T51" fmla="*/ 1219 h 1843"/>
                  <a:gd name="T52" fmla="*/ 673 w 1535"/>
                  <a:gd name="T53" fmla="*/ 1314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5" h="1843">
                    <a:moveTo>
                      <a:pt x="1135" y="1650"/>
                    </a:moveTo>
                    <a:cubicBezTo>
                      <a:pt x="1065" y="1638"/>
                      <a:pt x="1028" y="1607"/>
                      <a:pt x="1068" y="1527"/>
                    </a:cubicBezTo>
                    <a:cubicBezTo>
                      <a:pt x="1107" y="1447"/>
                      <a:pt x="1445" y="727"/>
                      <a:pt x="1490" y="642"/>
                    </a:cubicBezTo>
                    <a:cubicBezTo>
                      <a:pt x="1535" y="558"/>
                      <a:pt x="1535" y="434"/>
                      <a:pt x="1376" y="272"/>
                    </a:cubicBezTo>
                    <a:cubicBezTo>
                      <a:pt x="1210" y="103"/>
                      <a:pt x="1168" y="2"/>
                      <a:pt x="1004" y="55"/>
                    </a:cubicBezTo>
                    <a:cubicBezTo>
                      <a:pt x="924" y="80"/>
                      <a:pt x="836" y="46"/>
                      <a:pt x="789" y="23"/>
                    </a:cubicBezTo>
                    <a:cubicBezTo>
                      <a:pt x="742" y="0"/>
                      <a:pt x="717" y="45"/>
                      <a:pt x="749" y="81"/>
                    </a:cubicBezTo>
                    <a:cubicBezTo>
                      <a:pt x="781" y="117"/>
                      <a:pt x="1034" y="366"/>
                      <a:pt x="1070" y="407"/>
                    </a:cubicBezTo>
                    <a:cubicBezTo>
                      <a:pt x="1106" y="449"/>
                      <a:pt x="1138" y="485"/>
                      <a:pt x="1098" y="565"/>
                    </a:cubicBezTo>
                    <a:cubicBezTo>
                      <a:pt x="1059" y="645"/>
                      <a:pt x="978" y="818"/>
                      <a:pt x="978" y="818"/>
                    </a:cubicBezTo>
                    <a:cubicBezTo>
                      <a:pt x="978" y="818"/>
                      <a:pt x="813" y="641"/>
                      <a:pt x="771" y="591"/>
                    </a:cubicBezTo>
                    <a:cubicBezTo>
                      <a:pt x="728" y="542"/>
                      <a:pt x="628" y="579"/>
                      <a:pt x="550" y="616"/>
                    </a:cubicBezTo>
                    <a:cubicBezTo>
                      <a:pt x="472" y="652"/>
                      <a:pt x="207" y="760"/>
                      <a:pt x="106" y="948"/>
                    </a:cubicBezTo>
                    <a:cubicBezTo>
                      <a:pt x="6" y="1136"/>
                      <a:pt x="0" y="1272"/>
                      <a:pt x="98" y="1439"/>
                    </a:cubicBezTo>
                    <a:cubicBezTo>
                      <a:pt x="178" y="1579"/>
                      <a:pt x="251" y="1522"/>
                      <a:pt x="389" y="1491"/>
                    </a:cubicBezTo>
                    <a:cubicBezTo>
                      <a:pt x="601" y="1442"/>
                      <a:pt x="674" y="1405"/>
                      <a:pt x="679" y="1525"/>
                    </a:cubicBezTo>
                    <a:cubicBezTo>
                      <a:pt x="683" y="1644"/>
                      <a:pt x="683" y="1708"/>
                      <a:pt x="696" y="1765"/>
                    </a:cubicBezTo>
                    <a:cubicBezTo>
                      <a:pt x="710" y="1821"/>
                      <a:pt x="737" y="1843"/>
                      <a:pt x="797" y="1827"/>
                    </a:cubicBezTo>
                    <a:cubicBezTo>
                      <a:pt x="856" y="1812"/>
                      <a:pt x="1085" y="1749"/>
                      <a:pt x="1141" y="1741"/>
                    </a:cubicBezTo>
                    <a:cubicBezTo>
                      <a:pt x="1198" y="1733"/>
                      <a:pt x="1205" y="1662"/>
                      <a:pt x="1135" y="1650"/>
                    </a:cubicBezTo>
                    <a:close/>
                    <a:moveTo>
                      <a:pt x="673" y="1314"/>
                    </a:moveTo>
                    <a:cubicBezTo>
                      <a:pt x="608" y="1334"/>
                      <a:pt x="520" y="1354"/>
                      <a:pt x="499" y="1335"/>
                    </a:cubicBezTo>
                    <a:cubicBezTo>
                      <a:pt x="451" y="1290"/>
                      <a:pt x="397" y="1117"/>
                      <a:pt x="456" y="971"/>
                    </a:cubicBezTo>
                    <a:cubicBezTo>
                      <a:pt x="515" y="824"/>
                      <a:pt x="653" y="666"/>
                      <a:pt x="717" y="738"/>
                    </a:cubicBezTo>
                    <a:cubicBezTo>
                      <a:pt x="780" y="811"/>
                      <a:pt x="908" y="941"/>
                      <a:pt x="904" y="950"/>
                    </a:cubicBezTo>
                    <a:cubicBezTo>
                      <a:pt x="904" y="950"/>
                      <a:pt x="792" y="1168"/>
                      <a:pt x="767" y="1219"/>
                    </a:cubicBezTo>
                    <a:cubicBezTo>
                      <a:pt x="730" y="1297"/>
                      <a:pt x="737" y="1294"/>
                      <a:pt x="673" y="13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0" name="Freeform 59"/>
              <p:cNvSpPr>
                <a:spLocks/>
              </p:cNvSpPr>
              <p:nvPr/>
            </p:nvSpPr>
            <p:spPr bwMode="auto">
              <a:xfrm>
                <a:off x="28924704" y="-19234156"/>
                <a:ext cx="3581429" cy="9097947"/>
              </a:xfrm>
              <a:custGeom>
                <a:avLst/>
                <a:gdLst>
                  <a:gd name="T0" fmla="*/ 424 w 955"/>
                  <a:gd name="T1" fmla="*/ 2097 h 2425"/>
                  <a:gd name="T2" fmla="*/ 379 w 955"/>
                  <a:gd name="T3" fmla="*/ 2231 h 2425"/>
                  <a:gd name="T4" fmla="*/ 415 w 955"/>
                  <a:gd name="T5" fmla="*/ 2300 h 2425"/>
                  <a:gd name="T6" fmla="*/ 789 w 955"/>
                  <a:gd name="T7" fmla="*/ 2361 h 2425"/>
                  <a:gd name="T8" fmla="*/ 914 w 955"/>
                  <a:gd name="T9" fmla="*/ 2414 h 2425"/>
                  <a:gd name="T10" fmla="*/ 939 w 955"/>
                  <a:gd name="T11" fmla="*/ 2325 h 2425"/>
                  <a:gd name="T12" fmla="*/ 525 w 955"/>
                  <a:gd name="T13" fmla="*/ 1016 h 2425"/>
                  <a:gd name="T14" fmla="*/ 315 w 955"/>
                  <a:gd name="T15" fmla="*/ 227 h 2425"/>
                  <a:gd name="T16" fmla="*/ 365 w 955"/>
                  <a:gd name="T17" fmla="*/ 47 h 2425"/>
                  <a:gd name="T18" fmla="*/ 205 w 955"/>
                  <a:gd name="T19" fmla="*/ 127 h 2425"/>
                  <a:gd name="T20" fmla="*/ 12 w 955"/>
                  <a:gd name="T21" fmla="*/ 545 h 2425"/>
                  <a:gd name="T22" fmla="*/ 178 w 955"/>
                  <a:gd name="T23" fmla="*/ 1246 h 2425"/>
                  <a:gd name="T24" fmla="*/ 424 w 955"/>
                  <a:gd name="T25" fmla="*/ 2097 h 2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5" h="2425">
                    <a:moveTo>
                      <a:pt x="424" y="2097"/>
                    </a:moveTo>
                    <a:cubicBezTo>
                      <a:pt x="422" y="2159"/>
                      <a:pt x="404" y="2215"/>
                      <a:pt x="379" y="2231"/>
                    </a:cubicBezTo>
                    <a:cubicBezTo>
                      <a:pt x="354" y="2247"/>
                      <a:pt x="353" y="2302"/>
                      <a:pt x="415" y="2300"/>
                    </a:cubicBezTo>
                    <a:cubicBezTo>
                      <a:pt x="477" y="2298"/>
                      <a:pt x="714" y="2314"/>
                      <a:pt x="789" y="2361"/>
                    </a:cubicBezTo>
                    <a:cubicBezTo>
                      <a:pt x="864" y="2407"/>
                      <a:pt x="880" y="2425"/>
                      <a:pt x="914" y="2414"/>
                    </a:cubicBezTo>
                    <a:cubicBezTo>
                      <a:pt x="948" y="2403"/>
                      <a:pt x="955" y="2379"/>
                      <a:pt x="939" y="2325"/>
                    </a:cubicBezTo>
                    <a:cubicBezTo>
                      <a:pt x="923" y="2272"/>
                      <a:pt x="611" y="1318"/>
                      <a:pt x="525" y="1016"/>
                    </a:cubicBezTo>
                    <a:cubicBezTo>
                      <a:pt x="401" y="578"/>
                      <a:pt x="279" y="349"/>
                      <a:pt x="315" y="227"/>
                    </a:cubicBezTo>
                    <a:cubicBezTo>
                      <a:pt x="351" y="104"/>
                      <a:pt x="404" y="93"/>
                      <a:pt x="365" y="47"/>
                    </a:cubicBezTo>
                    <a:cubicBezTo>
                      <a:pt x="326" y="0"/>
                      <a:pt x="237" y="95"/>
                      <a:pt x="205" y="127"/>
                    </a:cubicBezTo>
                    <a:cubicBezTo>
                      <a:pt x="173" y="159"/>
                      <a:pt x="25" y="332"/>
                      <a:pt x="12" y="545"/>
                    </a:cubicBezTo>
                    <a:cubicBezTo>
                      <a:pt x="0" y="750"/>
                      <a:pt x="135" y="1101"/>
                      <a:pt x="178" y="1246"/>
                    </a:cubicBezTo>
                    <a:cubicBezTo>
                      <a:pt x="221" y="1390"/>
                      <a:pt x="426" y="2033"/>
                      <a:pt x="424" y="209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1" name="Freeform 10"/>
              <p:cNvSpPr>
                <a:spLocks/>
              </p:cNvSpPr>
              <p:nvPr/>
            </p:nvSpPr>
            <p:spPr bwMode="auto">
              <a:xfrm>
                <a:off x="32483878" y="-19894551"/>
                <a:ext cx="2744765" cy="9293226"/>
              </a:xfrm>
              <a:custGeom>
                <a:avLst/>
                <a:gdLst>
                  <a:gd name="T0" fmla="*/ 242 w 732"/>
                  <a:gd name="T1" fmla="*/ 2092 h 2477"/>
                  <a:gd name="T2" fmla="*/ 181 w 732"/>
                  <a:gd name="T3" fmla="*/ 2218 h 2477"/>
                  <a:gd name="T4" fmla="*/ 207 w 732"/>
                  <a:gd name="T5" fmla="*/ 2292 h 2477"/>
                  <a:gd name="T6" fmla="*/ 570 w 732"/>
                  <a:gd name="T7" fmla="*/ 2401 h 2477"/>
                  <a:gd name="T8" fmla="*/ 686 w 732"/>
                  <a:gd name="T9" fmla="*/ 2471 h 2477"/>
                  <a:gd name="T10" fmla="*/ 723 w 732"/>
                  <a:gd name="T11" fmla="*/ 2386 h 2477"/>
                  <a:gd name="T12" fmla="*/ 486 w 732"/>
                  <a:gd name="T13" fmla="*/ 1033 h 2477"/>
                  <a:gd name="T14" fmla="*/ 382 w 732"/>
                  <a:gd name="T15" fmla="*/ 223 h 2477"/>
                  <a:gd name="T16" fmla="*/ 455 w 732"/>
                  <a:gd name="T17" fmla="*/ 52 h 2477"/>
                  <a:gd name="T18" fmla="*/ 286 w 732"/>
                  <a:gd name="T19" fmla="*/ 110 h 2477"/>
                  <a:gd name="T20" fmla="*/ 40 w 732"/>
                  <a:gd name="T21" fmla="*/ 499 h 2477"/>
                  <a:gd name="T22" fmla="*/ 111 w 732"/>
                  <a:gd name="T23" fmla="*/ 1215 h 2477"/>
                  <a:gd name="T24" fmla="*/ 242 w 732"/>
                  <a:gd name="T25" fmla="*/ 2092 h 2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2" h="2477">
                    <a:moveTo>
                      <a:pt x="242" y="2092"/>
                    </a:moveTo>
                    <a:cubicBezTo>
                      <a:pt x="233" y="2153"/>
                      <a:pt x="208" y="2206"/>
                      <a:pt x="181" y="2218"/>
                    </a:cubicBezTo>
                    <a:cubicBezTo>
                      <a:pt x="154" y="2231"/>
                      <a:pt x="145" y="2285"/>
                      <a:pt x="207" y="2292"/>
                    </a:cubicBezTo>
                    <a:cubicBezTo>
                      <a:pt x="269" y="2298"/>
                      <a:pt x="502" y="2346"/>
                      <a:pt x="570" y="2401"/>
                    </a:cubicBezTo>
                    <a:cubicBezTo>
                      <a:pt x="638" y="2457"/>
                      <a:pt x="651" y="2477"/>
                      <a:pt x="686" y="2471"/>
                    </a:cubicBezTo>
                    <a:cubicBezTo>
                      <a:pt x="721" y="2465"/>
                      <a:pt x="732" y="2441"/>
                      <a:pt x="723" y="2386"/>
                    </a:cubicBezTo>
                    <a:cubicBezTo>
                      <a:pt x="714" y="2331"/>
                      <a:pt x="531" y="1344"/>
                      <a:pt x="486" y="1033"/>
                    </a:cubicBezTo>
                    <a:cubicBezTo>
                      <a:pt x="420" y="582"/>
                      <a:pt x="330" y="340"/>
                      <a:pt x="382" y="223"/>
                    </a:cubicBezTo>
                    <a:cubicBezTo>
                      <a:pt x="433" y="106"/>
                      <a:pt x="488" y="103"/>
                      <a:pt x="455" y="52"/>
                    </a:cubicBezTo>
                    <a:cubicBezTo>
                      <a:pt x="422" y="0"/>
                      <a:pt x="322" y="82"/>
                      <a:pt x="286" y="110"/>
                    </a:cubicBezTo>
                    <a:cubicBezTo>
                      <a:pt x="250" y="137"/>
                      <a:pt x="81" y="290"/>
                      <a:pt x="40" y="499"/>
                    </a:cubicBezTo>
                    <a:cubicBezTo>
                      <a:pt x="0" y="701"/>
                      <a:pt x="88" y="1067"/>
                      <a:pt x="111" y="1215"/>
                    </a:cubicBezTo>
                    <a:cubicBezTo>
                      <a:pt x="135" y="1364"/>
                      <a:pt x="253" y="2028"/>
                      <a:pt x="242" y="20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2" name="Freeform 11"/>
              <p:cNvSpPr>
                <a:spLocks/>
              </p:cNvSpPr>
              <p:nvPr/>
            </p:nvSpPr>
            <p:spPr bwMode="auto">
              <a:xfrm>
                <a:off x="40972248" y="-17632372"/>
                <a:ext cx="8199465" cy="7942271"/>
              </a:xfrm>
              <a:custGeom>
                <a:avLst/>
                <a:gdLst>
                  <a:gd name="T0" fmla="*/ 307 w 2186"/>
                  <a:gd name="T1" fmla="*/ 18 h 2117"/>
                  <a:gd name="T2" fmla="*/ 235 w 2186"/>
                  <a:gd name="T3" fmla="*/ 69 h 2117"/>
                  <a:gd name="T4" fmla="*/ 288 w 2186"/>
                  <a:gd name="T5" fmla="*/ 285 h 2117"/>
                  <a:gd name="T6" fmla="*/ 155 w 2186"/>
                  <a:gd name="T7" fmla="*/ 1319 h 2117"/>
                  <a:gd name="T8" fmla="*/ 64 w 2186"/>
                  <a:gd name="T9" fmla="*/ 1504 h 2117"/>
                  <a:gd name="T10" fmla="*/ 77 w 2186"/>
                  <a:gd name="T11" fmla="*/ 1597 h 2117"/>
                  <a:gd name="T12" fmla="*/ 478 w 2186"/>
                  <a:gd name="T13" fmla="*/ 1859 h 2117"/>
                  <a:gd name="T14" fmla="*/ 627 w 2186"/>
                  <a:gd name="T15" fmla="*/ 1895 h 2117"/>
                  <a:gd name="T16" fmla="*/ 798 w 2186"/>
                  <a:gd name="T17" fmla="*/ 1823 h 2117"/>
                  <a:gd name="T18" fmla="*/ 955 w 2186"/>
                  <a:gd name="T19" fmla="*/ 1891 h 2117"/>
                  <a:gd name="T20" fmla="*/ 1170 w 2186"/>
                  <a:gd name="T21" fmla="*/ 2051 h 2117"/>
                  <a:gd name="T22" fmla="*/ 1323 w 2186"/>
                  <a:gd name="T23" fmla="*/ 2073 h 2117"/>
                  <a:gd name="T24" fmla="*/ 1689 w 2186"/>
                  <a:gd name="T25" fmla="*/ 1989 h 2117"/>
                  <a:gd name="T26" fmla="*/ 1803 w 2186"/>
                  <a:gd name="T27" fmla="*/ 1925 h 2117"/>
                  <a:gd name="T28" fmla="*/ 2107 w 2186"/>
                  <a:gd name="T29" fmla="*/ 1031 h 2117"/>
                  <a:gd name="T30" fmla="*/ 2041 w 2186"/>
                  <a:gd name="T31" fmla="*/ 528 h 2117"/>
                  <a:gd name="T32" fmla="*/ 1945 w 2186"/>
                  <a:gd name="T33" fmla="*/ 500 h 2117"/>
                  <a:gd name="T34" fmla="*/ 1722 w 2186"/>
                  <a:gd name="T35" fmla="*/ 592 h 2117"/>
                  <a:gd name="T36" fmla="*/ 1703 w 2186"/>
                  <a:gd name="T37" fmla="*/ 662 h 2117"/>
                  <a:gd name="T38" fmla="*/ 1751 w 2186"/>
                  <a:gd name="T39" fmla="*/ 870 h 2117"/>
                  <a:gd name="T40" fmla="*/ 1468 w 2186"/>
                  <a:gd name="T41" fmla="*/ 1750 h 2117"/>
                  <a:gd name="T42" fmla="*/ 1402 w 2186"/>
                  <a:gd name="T43" fmla="*/ 1773 h 2117"/>
                  <a:gd name="T44" fmla="*/ 1215 w 2186"/>
                  <a:gd name="T45" fmla="*/ 1640 h 2117"/>
                  <a:gd name="T46" fmla="*/ 1210 w 2186"/>
                  <a:gd name="T47" fmla="*/ 1501 h 2117"/>
                  <a:gd name="T48" fmla="*/ 1380 w 2186"/>
                  <a:gd name="T49" fmla="*/ 849 h 2117"/>
                  <a:gd name="T50" fmla="*/ 1276 w 2186"/>
                  <a:gd name="T51" fmla="*/ 353 h 2117"/>
                  <a:gd name="T52" fmla="*/ 1178 w 2186"/>
                  <a:gd name="T53" fmla="*/ 332 h 2117"/>
                  <a:gd name="T54" fmla="*/ 971 w 2186"/>
                  <a:gd name="T55" fmla="*/ 448 h 2117"/>
                  <a:gd name="T56" fmla="*/ 956 w 2186"/>
                  <a:gd name="T57" fmla="*/ 519 h 2117"/>
                  <a:gd name="T58" fmla="*/ 1024 w 2186"/>
                  <a:gd name="T59" fmla="*/ 726 h 2117"/>
                  <a:gd name="T60" fmla="*/ 831 w 2186"/>
                  <a:gd name="T61" fmla="*/ 1490 h 2117"/>
                  <a:gd name="T62" fmla="*/ 728 w 2186"/>
                  <a:gd name="T63" fmla="*/ 1608 h 2117"/>
                  <a:gd name="T64" fmla="*/ 543 w 2186"/>
                  <a:gd name="T65" fmla="*/ 1490 h 2117"/>
                  <a:gd name="T66" fmla="*/ 524 w 2186"/>
                  <a:gd name="T67" fmla="*/ 1308 h 2117"/>
                  <a:gd name="T68" fmla="*/ 673 w 2186"/>
                  <a:gd name="T69" fmla="*/ 334 h 2117"/>
                  <a:gd name="T70" fmla="*/ 307 w 2186"/>
                  <a:gd name="T71" fmla="*/ 18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6" h="2117">
                    <a:moveTo>
                      <a:pt x="307" y="18"/>
                    </a:moveTo>
                    <a:cubicBezTo>
                      <a:pt x="227" y="0"/>
                      <a:pt x="200" y="39"/>
                      <a:pt x="235" y="69"/>
                    </a:cubicBezTo>
                    <a:cubicBezTo>
                      <a:pt x="270" y="98"/>
                      <a:pt x="302" y="117"/>
                      <a:pt x="288" y="285"/>
                    </a:cubicBezTo>
                    <a:cubicBezTo>
                      <a:pt x="275" y="453"/>
                      <a:pt x="171" y="1210"/>
                      <a:pt x="155" y="1319"/>
                    </a:cubicBezTo>
                    <a:cubicBezTo>
                      <a:pt x="139" y="1429"/>
                      <a:pt x="128" y="1463"/>
                      <a:pt x="64" y="1504"/>
                    </a:cubicBezTo>
                    <a:cubicBezTo>
                      <a:pt x="0" y="1544"/>
                      <a:pt x="13" y="1581"/>
                      <a:pt x="77" y="1597"/>
                    </a:cubicBezTo>
                    <a:cubicBezTo>
                      <a:pt x="141" y="1613"/>
                      <a:pt x="414" y="1763"/>
                      <a:pt x="478" y="1859"/>
                    </a:cubicBezTo>
                    <a:cubicBezTo>
                      <a:pt x="542" y="1955"/>
                      <a:pt x="579" y="1919"/>
                      <a:pt x="627" y="1895"/>
                    </a:cubicBezTo>
                    <a:cubicBezTo>
                      <a:pt x="675" y="1870"/>
                      <a:pt x="755" y="1823"/>
                      <a:pt x="798" y="1823"/>
                    </a:cubicBezTo>
                    <a:cubicBezTo>
                      <a:pt x="841" y="1823"/>
                      <a:pt x="878" y="1838"/>
                      <a:pt x="955" y="1891"/>
                    </a:cubicBezTo>
                    <a:cubicBezTo>
                      <a:pt x="1031" y="1944"/>
                      <a:pt x="1138" y="2025"/>
                      <a:pt x="1170" y="2051"/>
                    </a:cubicBezTo>
                    <a:cubicBezTo>
                      <a:pt x="1218" y="2090"/>
                      <a:pt x="1243" y="2117"/>
                      <a:pt x="1323" y="2073"/>
                    </a:cubicBezTo>
                    <a:cubicBezTo>
                      <a:pt x="1404" y="2028"/>
                      <a:pt x="1561" y="1980"/>
                      <a:pt x="1689" y="1989"/>
                    </a:cubicBezTo>
                    <a:cubicBezTo>
                      <a:pt x="1740" y="1993"/>
                      <a:pt x="1774" y="2016"/>
                      <a:pt x="1803" y="1925"/>
                    </a:cubicBezTo>
                    <a:cubicBezTo>
                      <a:pt x="1831" y="1834"/>
                      <a:pt x="2029" y="1278"/>
                      <a:pt x="2107" y="1031"/>
                    </a:cubicBezTo>
                    <a:cubicBezTo>
                      <a:pt x="2186" y="783"/>
                      <a:pt x="2122" y="638"/>
                      <a:pt x="2041" y="528"/>
                    </a:cubicBezTo>
                    <a:cubicBezTo>
                      <a:pt x="2011" y="487"/>
                      <a:pt x="1988" y="482"/>
                      <a:pt x="1945" y="500"/>
                    </a:cubicBezTo>
                    <a:cubicBezTo>
                      <a:pt x="1902" y="517"/>
                      <a:pt x="1756" y="580"/>
                      <a:pt x="1722" y="592"/>
                    </a:cubicBezTo>
                    <a:cubicBezTo>
                      <a:pt x="1689" y="605"/>
                      <a:pt x="1680" y="623"/>
                      <a:pt x="1703" y="662"/>
                    </a:cubicBezTo>
                    <a:cubicBezTo>
                      <a:pt x="1726" y="701"/>
                      <a:pt x="1780" y="745"/>
                      <a:pt x="1751" y="870"/>
                    </a:cubicBezTo>
                    <a:cubicBezTo>
                      <a:pt x="1722" y="995"/>
                      <a:pt x="1480" y="1711"/>
                      <a:pt x="1468" y="1750"/>
                    </a:cubicBezTo>
                    <a:cubicBezTo>
                      <a:pt x="1455" y="1789"/>
                      <a:pt x="1448" y="1805"/>
                      <a:pt x="1402" y="1773"/>
                    </a:cubicBezTo>
                    <a:cubicBezTo>
                      <a:pt x="1356" y="1741"/>
                      <a:pt x="1232" y="1651"/>
                      <a:pt x="1215" y="1640"/>
                    </a:cubicBezTo>
                    <a:cubicBezTo>
                      <a:pt x="1190" y="1624"/>
                      <a:pt x="1188" y="1583"/>
                      <a:pt x="1210" y="1501"/>
                    </a:cubicBezTo>
                    <a:cubicBezTo>
                      <a:pt x="1268" y="1290"/>
                      <a:pt x="1336" y="1005"/>
                      <a:pt x="1380" y="849"/>
                    </a:cubicBezTo>
                    <a:cubicBezTo>
                      <a:pt x="1450" y="603"/>
                      <a:pt x="1420" y="530"/>
                      <a:pt x="1276" y="353"/>
                    </a:cubicBezTo>
                    <a:cubicBezTo>
                      <a:pt x="1244" y="313"/>
                      <a:pt x="1219" y="311"/>
                      <a:pt x="1178" y="332"/>
                    </a:cubicBezTo>
                    <a:cubicBezTo>
                      <a:pt x="1137" y="353"/>
                      <a:pt x="1003" y="433"/>
                      <a:pt x="971" y="448"/>
                    </a:cubicBezTo>
                    <a:cubicBezTo>
                      <a:pt x="938" y="463"/>
                      <a:pt x="923" y="488"/>
                      <a:pt x="956" y="519"/>
                    </a:cubicBezTo>
                    <a:cubicBezTo>
                      <a:pt x="992" y="551"/>
                      <a:pt x="1043" y="599"/>
                      <a:pt x="1024" y="726"/>
                    </a:cubicBezTo>
                    <a:cubicBezTo>
                      <a:pt x="1010" y="823"/>
                      <a:pt x="897" y="1270"/>
                      <a:pt x="831" y="1490"/>
                    </a:cubicBezTo>
                    <a:cubicBezTo>
                      <a:pt x="807" y="1572"/>
                      <a:pt x="793" y="1643"/>
                      <a:pt x="728" y="1608"/>
                    </a:cubicBezTo>
                    <a:cubicBezTo>
                      <a:pt x="664" y="1572"/>
                      <a:pt x="577" y="1513"/>
                      <a:pt x="543" y="1490"/>
                    </a:cubicBezTo>
                    <a:cubicBezTo>
                      <a:pt x="509" y="1467"/>
                      <a:pt x="511" y="1383"/>
                      <a:pt x="524" y="1308"/>
                    </a:cubicBezTo>
                    <a:cubicBezTo>
                      <a:pt x="536" y="1234"/>
                      <a:pt x="662" y="412"/>
                      <a:pt x="673" y="334"/>
                    </a:cubicBezTo>
                    <a:cubicBezTo>
                      <a:pt x="695" y="181"/>
                      <a:pt x="545" y="70"/>
                      <a:pt x="307" y="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3" name="Freeform 12"/>
              <p:cNvSpPr>
                <a:spLocks/>
              </p:cNvSpPr>
              <p:nvPr/>
            </p:nvSpPr>
            <p:spPr bwMode="auto">
              <a:xfrm>
                <a:off x="50859210" y="-11179192"/>
                <a:ext cx="7780336" cy="7150116"/>
              </a:xfrm>
              <a:custGeom>
                <a:avLst/>
                <a:gdLst>
                  <a:gd name="T0" fmla="*/ 1114 w 2074"/>
                  <a:gd name="T1" fmla="*/ 53 h 1906"/>
                  <a:gd name="T2" fmla="*/ 1028 w 2074"/>
                  <a:gd name="T3" fmla="*/ 105 h 1906"/>
                  <a:gd name="T4" fmla="*/ 1085 w 2074"/>
                  <a:gd name="T5" fmla="*/ 153 h 1906"/>
                  <a:gd name="T6" fmla="*/ 1107 w 2074"/>
                  <a:gd name="T7" fmla="*/ 271 h 1906"/>
                  <a:gd name="T8" fmla="*/ 718 w 2074"/>
                  <a:gd name="T9" fmla="*/ 910 h 1906"/>
                  <a:gd name="T10" fmla="*/ 613 w 2074"/>
                  <a:gd name="T11" fmla="*/ 1345 h 1906"/>
                  <a:gd name="T12" fmla="*/ 554 w 2074"/>
                  <a:gd name="T13" fmla="*/ 1619 h 1906"/>
                  <a:gd name="T14" fmla="*/ 278 w 2074"/>
                  <a:gd name="T15" fmla="*/ 1402 h 1906"/>
                  <a:gd name="T16" fmla="*/ 145 w 2074"/>
                  <a:gd name="T17" fmla="*/ 1418 h 1906"/>
                  <a:gd name="T18" fmla="*/ 18 w 2074"/>
                  <a:gd name="T19" fmla="*/ 1523 h 1906"/>
                  <a:gd name="T20" fmla="*/ 36 w 2074"/>
                  <a:gd name="T21" fmla="*/ 1575 h 1906"/>
                  <a:gd name="T22" fmla="*/ 303 w 2074"/>
                  <a:gd name="T23" fmla="*/ 1785 h 1906"/>
                  <a:gd name="T24" fmla="*/ 587 w 2074"/>
                  <a:gd name="T25" fmla="*/ 1847 h 1906"/>
                  <a:gd name="T26" fmla="*/ 861 w 2074"/>
                  <a:gd name="T27" fmla="*/ 1578 h 1906"/>
                  <a:gd name="T28" fmla="*/ 895 w 2074"/>
                  <a:gd name="T29" fmla="*/ 1566 h 1906"/>
                  <a:gd name="T30" fmla="*/ 1160 w 2074"/>
                  <a:gd name="T31" fmla="*/ 1600 h 1906"/>
                  <a:gd name="T32" fmla="*/ 1857 w 2074"/>
                  <a:gd name="T33" fmla="*/ 1085 h 1906"/>
                  <a:gd name="T34" fmla="*/ 2047 w 2074"/>
                  <a:gd name="T35" fmla="*/ 463 h 1906"/>
                  <a:gd name="T36" fmla="*/ 1953 w 2074"/>
                  <a:gd name="T37" fmla="*/ 376 h 1906"/>
                  <a:gd name="T38" fmla="*/ 1752 w 2074"/>
                  <a:gd name="T39" fmla="*/ 395 h 1906"/>
                  <a:gd name="T40" fmla="*/ 1679 w 2074"/>
                  <a:gd name="T41" fmla="*/ 481 h 1906"/>
                  <a:gd name="T42" fmla="*/ 1543 w 2074"/>
                  <a:gd name="T43" fmla="*/ 957 h 1906"/>
                  <a:gd name="T44" fmla="*/ 1027 w 2074"/>
                  <a:gd name="T45" fmla="*/ 1251 h 1906"/>
                  <a:gd name="T46" fmla="*/ 991 w 2074"/>
                  <a:gd name="T47" fmla="*/ 1153 h 1906"/>
                  <a:gd name="T48" fmla="*/ 1433 w 2074"/>
                  <a:gd name="T49" fmla="*/ 472 h 1906"/>
                  <a:gd name="T50" fmla="*/ 1491 w 2074"/>
                  <a:gd name="T51" fmla="*/ 75 h 1906"/>
                  <a:gd name="T52" fmla="*/ 1374 w 2074"/>
                  <a:gd name="T53" fmla="*/ 9 h 1906"/>
                  <a:gd name="T54" fmla="*/ 1114 w 2074"/>
                  <a:gd name="T55" fmla="*/ 53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4" h="1906">
                    <a:moveTo>
                      <a:pt x="1114" y="53"/>
                    </a:moveTo>
                    <a:cubicBezTo>
                      <a:pt x="1026" y="69"/>
                      <a:pt x="1023" y="87"/>
                      <a:pt x="1028" y="105"/>
                    </a:cubicBezTo>
                    <a:cubicBezTo>
                      <a:pt x="1034" y="123"/>
                      <a:pt x="1059" y="137"/>
                      <a:pt x="1085" y="153"/>
                    </a:cubicBezTo>
                    <a:cubicBezTo>
                      <a:pt x="1112" y="169"/>
                      <a:pt x="1149" y="201"/>
                      <a:pt x="1107" y="271"/>
                    </a:cubicBezTo>
                    <a:cubicBezTo>
                      <a:pt x="1064" y="340"/>
                      <a:pt x="807" y="764"/>
                      <a:pt x="718" y="910"/>
                    </a:cubicBezTo>
                    <a:cubicBezTo>
                      <a:pt x="629" y="1056"/>
                      <a:pt x="590" y="1263"/>
                      <a:pt x="613" y="1345"/>
                    </a:cubicBezTo>
                    <a:cubicBezTo>
                      <a:pt x="636" y="1427"/>
                      <a:pt x="638" y="1493"/>
                      <a:pt x="554" y="1619"/>
                    </a:cubicBezTo>
                    <a:cubicBezTo>
                      <a:pt x="554" y="1619"/>
                      <a:pt x="504" y="1505"/>
                      <a:pt x="278" y="1402"/>
                    </a:cubicBezTo>
                    <a:cubicBezTo>
                      <a:pt x="236" y="1382"/>
                      <a:pt x="180" y="1391"/>
                      <a:pt x="145" y="1418"/>
                    </a:cubicBezTo>
                    <a:cubicBezTo>
                      <a:pt x="109" y="1445"/>
                      <a:pt x="36" y="1505"/>
                      <a:pt x="18" y="1523"/>
                    </a:cubicBezTo>
                    <a:cubicBezTo>
                      <a:pt x="0" y="1541"/>
                      <a:pt x="0" y="1568"/>
                      <a:pt x="36" y="1575"/>
                    </a:cubicBezTo>
                    <a:cubicBezTo>
                      <a:pt x="72" y="1582"/>
                      <a:pt x="250" y="1698"/>
                      <a:pt x="303" y="1785"/>
                    </a:cubicBezTo>
                    <a:cubicBezTo>
                      <a:pt x="357" y="1872"/>
                      <a:pt x="471" y="1906"/>
                      <a:pt x="587" y="1847"/>
                    </a:cubicBezTo>
                    <a:cubicBezTo>
                      <a:pt x="702" y="1789"/>
                      <a:pt x="793" y="1701"/>
                      <a:pt x="861" y="1578"/>
                    </a:cubicBezTo>
                    <a:cubicBezTo>
                      <a:pt x="870" y="1562"/>
                      <a:pt x="877" y="1557"/>
                      <a:pt x="895" y="1566"/>
                    </a:cubicBezTo>
                    <a:cubicBezTo>
                      <a:pt x="912" y="1575"/>
                      <a:pt x="1028" y="1632"/>
                      <a:pt x="1160" y="1600"/>
                    </a:cubicBezTo>
                    <a:cubicBezTo>
                      <a:pt x="1292" y="1568"/>
                      <a:pt x="1610" y="1391"/>
                      <a:pt x="1857" y="1085"/>
                    </a:cubicBezTo>
                    <a:cubicBezTo>
                      <a:pt x="2074" y="816"/>
                      <a:pt x="2047" y="509"/>
                      <a:pt x="2047" y="463"/>
                    </a:cubicBezTo>
                    <a:cubicBezTo>
                      <a:pt x="2047" y="417"/>
                      <a:pt x="2017" y="367"/>
                      <a:pt x="1953" y="376"/>
                    </a:cubicBezTo>
                    <a:cubicBezTo>
                      <a:pt x="1889" y="385"/>
                      <a:pt x="1798" y="392"/>
                      <a:pt x="1752" y="395"/>
                    </a:cubicBezTo>
                    <a:cubicBezTo>
                      <a:pt x="1705" y="399"/>
                      <a:pt x="1677" y="420"/>
                      <a:pt x="1679" y="481"/>
                    </a:cubicBezTo>
                    <a:cubicBezTo>
                      <a:pt x="1680" y="542"/>
                      <a:pt x="1671" y="796"/>
                      <a:pt x="1543" y="957"/>
                    </a:cubicBezTo>
                    <a:cubicBezTo>
                      <a:pt x="1415" y="1117"/>
                      <a:pt x="1257" y="1222"/>
                      <a:pt x="1027" y="1251"/>
                    </a:cubicBezTo>
                    <a:cubicBezTo>
                      <a:pt x="969" y="1258"/>
                      <a:pt x="948" y="1224"/>
                      <a:pt x="991" y="1153"/>
                    </a:cubicBezTo>
                    <a:cubicBezTo>
                      <a:pt x="1034" y="1081"/>
                      <a:pt x="1294" y="650"/>
                      <a:pt x="1433" y="472"/>
                    </a:cubicBezTo>
                    <a:cubicBezTo>
                      <a:pt x="1572" y="294"/>
                      <a:pt x="1527" y="126"/>
                      <a:pt x="1491" y="75"/>
                    </a:cubicBezTo>
                    <a:cubicBezTo>
                      <a:pt x="1456" y="23"/>
                      <a:pt x="1440" y="0"/>
                      <a:pt x="1374" y="9"/>
                    </a:cubicBezTo>
                    <a:cubicBezTo>
                      <a:pt x="1308" y="18"/>
                      <a:pt x="1164" y="45"/>
                      <a:pt x="1114"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4" name="Freeform 13"/>
              <p:cNvSpPr>
                <a:spLocks noEditPoints="1"/>
              </p:cNvSpPr>
              <p:nvPr/>
            </p:nvSpPr>
            <p:spPr bwMode="auto">
              <a:xfrm>
                <a:off x="59074555" y="-10006043"/>
                <a:ext cx="1263645" cy="1265240"/>
              </a:xfrm>
              <a:custGeom>
                <a:avLst/>
                <a:gdLst>
                  <a:gd name="T0" fmla="*/ 0 w 337"/>
                  <a:gd name="T1" fmla="*/ 168 h 337"/>
                  <a:gd name="T2" fmla="*/ 168 w 337"/>
                  <a:gd name="T3" fmla="*/ 0 h 337"/>
                  <a:gd name="T4" fmla="*/ 337 w 337"/>
                  <a:gd name="T5" fmla="*/ 168 h 337"/>
                  <a:gd name="T6" fmla="*/ 168 w 337"/>
                  <a:gd name="T7" fmla="*/ 337 h 337"/>
                  <a:gd name="T8" fmla="*/ 0 w 337"/>
                  <a:gd name="T9" fmla="*/ 168 h 337"/>
                  <a:gd name="T10" fmla="*/ 305 w 337"/>
                  <a:gd name="T11" fmla="*/ 168 h 337"/>
                  <a:gd name="T12" fmla="*/ 168 w 337"/>
                  <a:gd name="T13" fmla="*/ 31 h 337"/>
                  <a:gd name="T14" fmla="*/ 31 w 337"/>
                  <a:gd name="T15" fmla="*/ 168 h 337"/>
                  <a:gd name="T16" fmla="*/ 168 w 337"/>
                  <a:gd name="T17" fmla="*/ 306 h 337"/>
                  <a:gd name="T18" fmla="*/ 305 w 337"/>
                  <a:gd name="T19" fmla="*/ 168 h 337"/>
                  <a:gd name="T20" fmla="*/ 252 w 337"/>
                  <a:gd name="T21" fmla="*/ 260 h 337"/>
                  <a:gd name="T22" fmla="*/ 211 w 337"/>
                  <a:gd name="T23" fmla="*/ 260 h 337"/>
                  <a:gd name="T24" fmla="*/ 170 w 337"/>
                  <a:gd name="T25" fmla="*/ 183 h 337"/>
                  <a:gd name="T26" fmla="*/ 134 w 337"/>
                  <a:gd name="T27" fmla="*/ 183 h 337"/>
                  <a:gd name="T28" fmla="*/ 134 w 337"/>
                  <a:gd name="T29" fmla="*/ 260 h 337"/>
                  <a:gd name="T30" fmla="*/ 99 w 337"/>
                  <a:gd name="T31" fmla="*/ 260 h 337"/>
                  <a:gd name="T32" fmla="*/ 99 w 337"/>
                  <a:gd name="T33" fmla="*/ 78 h 337"/>
                  <a:gd name="T34" fmla="*/ 187 w 337"/>
                  <a:gd name="T35" fmla="*/ 78 h 337"/>
                  <a:gd name="T36" fmla="*/ 236 w 337"/>
                  <a:gd name="T37" fmla="*/ 87 h 337"/>
                  <a:gd name="T38" fmla="*/ 258 w 337"/>
                  <a:gd name="T39" fmla="*/ 134 h 337"/>
                  <a:gd name="T40" fmla="*/ 208 w 337"/>
                  <a:gd name="T41" fmla="*/ 183 h 337"/>
                  <a:gd name="T42" fmla="*/ 252 w 337"/>
                  <a:gd name="T43" fmla="*/ 260 h 337"/>
                  <a:gd name="T44" fmla="*/ 188 w 337"/>
                  <a:gd name="T45" fmla="*/ 156 h 337"/>
                  <a:gd name="T46" fmla="*/ 222 w 337"/>
                  <a:gd name="T47" fmla="*/ 129 h 337"/>
                  <a:gd name="T48" fmla="*/ 179 w 337"/>
                  <a:gd name="T49" fmla="*/ 104 h 337"/>
                  <a:gd name="T50" fmla="*/ 134 w 337"/>
                  <a:gd name="T51" fmla="*/ 104 h 337"/>
                  <a:gd name="T52" fmla="*/ 134 w 337"/>
                  <a:gd name="T53" fmla="*/ 156 h 337"/>
                  <a:gd name="T54" fmla="*/ 188 w 337"/>
                  <a:gd name="T55" fmla="*/ 15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7" h="337">
                    <a:moveTo>
                      <a:pt x="0" y="168"/>
                    </a:moveTo>
                    <a:cubicBezTo>
                      <a:pt x="0" y="75"/>
                      <a:pt x="75" y="0"/>
                      <a:pt x="168" y="0"/>
                    </a:cubicBezTo>
                    <a:cubicBezTo>
                      <a:pt x="261" y="0"/>
                      <a:pt x="337" y="75"/>
                      <a:pt x="337" y="168"/>
                    </a:cubicBezTo>
                    <a:cubicBezTo>
                      <a:pt x="337" y="262"/>
                      <a:pt x="261" y="337"/>
                      <a:pt x="168" y="337"/>
                    </a:cubicBezTo>
                    <a:cubicBezTo>
                      <a:pt x="75" y="337"/>
                      <a:pt x="0" y="262"/>
                      <a:pt x="0" y="168"/>
                    </a:cubicBezTo>
                    <a:close/>
                    <a:moveTo>
                      <a:pt x="305" y="168"/>
                    </a:moveTo>
                    <a:cubicBezTo>
                      <a:pt x="305" y="92"/>
                      <a:pt x="244" y="31"/>
                      <a:pt x="168" y="31"/>
                    </a:cubicBezTo>
                    <a:cubicBezTo>
                      <a:pt x="92" y="31"/>
                      <a:pt x="31" y="92"/>
                      <a:pt x="31" y="168"/>
                    </a:cubicBezTo>
                    <a:cubicBezTo>
                      <a:pt x="31" y="244"/>
                      <a:pt x="92" y="306"/>
                      <a:pt x="168" y="306"/>
                    </a:cubicBezTo>
                    <a:cubicBezTo>
                      <a:pt x="244" y="306"/>
                      <a:pt x="305" y="244"/>
                      <a:pt x="305" y="168"/>
                    </a:cubicBezTo>
                    <a:close/>
                    <a:moveTo>
                      <a:pt x="252" y="260"/>
                    </a:moveTo>
                    <a:cubicBezTo>
                      <a:pt x="211" y="260"/>
                      <a:pt x="211" y="260"/>
                      <a:pt x="211" y="260"/>
                    </a:cubicBezTo>
                    <a:cubicBezTo>
                      <a:pt x="170" y="183"/>
                      <a:pt x="170" y="183"/>
                      <a:pt x="170" y="183"/>
                    </a:cubicBezTo>
                    <a:cubicBezTo>
                      <a:pt x="134" y="183"/>
                      <a:pt x="134" y="183"/>
                      <a:pt x="134" y="183"/>
                    </a:cubicBezTo>
                    <a:cubicBezTo>
                      <a:pt x="134" y="260"/>
                      <a:pt x="134" y="260"/>
                      <a:pt x="134" y="260"/>
                    </a:cubicBezTo>
                    <a:cubicBezTo>
                      <a:pt x="99" y="260"/>
                      <a:pt x="99" y="260"/>
                      <a:pt x="99" y="260"/>
                    </a:cubicBezTo>
                    <a:cubicBezTo>
                      <a:pt x="99" y="78"/>
                      <a:pt x="99" y="78"/>
                      <a:pt x="99" y="78"/>
                    </a:cubicBezTo>
                    <a:cubicBezTo>
                      <a:pt x="187" y="78"/>
                      <a:pt x="187" y="78"/>
                      <a:pt x="187" y="78"/>
                    </a:cubicBezTo>
                    <a:cubicBezTo>
                      <a:pt x="203" y="78"/>
                      <a:pt x="222" y="78"/>
                      <a:pt x="236" y="87"/>
                    </a:cubicBezTo>
                    <a:cubicBezTo>
                      <a:pt x="252" y="98"/>
                      <a:pt x="258" y="115"/>
                      <a:pt x="258" y="134"/>
                    </a:cubicBezTo>
                    <a:cubicBezTo>
                      <a:pt x="258" y="167"/>
                      <a:pt x="240" y="181"/>
                      <a:pt x="208" y="183"/>
                    </a:cubicBezTo>
                    <a:lnTo>
                      <a:pt x="252" y="260"/>
                    </a:lnTo>
                    <a:close/>
                    <a:moveTo>
                      <a:pt x="188" y="156"/>
                    </a:moveTo>
                    <a:cubicBezTo>
                      <a:pt x="208" y="156"/>
                      <a:pt x="222" y="152"/>
                      <a:pt x="222" y="129"/>
                    </a:cubicBezTo>
                    <a:cubicBezTo>
                      <a:pt x="222" y="104"/>
                      <a:pt x="196" y="104"/>
                      <a:pt x="179" y="104"/>
                    </a:cubicBezTo>
                    <a:cubicBezTo>
                      <a:pt x="134" y="104"/>
                      <a:pt x="134" y="104"/>
                      <a:pt x="134" y="104"/>
                    </a:cubicBezTo>
                    <a:cubicBezTo>
                      <a:pt x="134" y="156"/>
                      <a:pt x="134" y="156"/>
                      <a:pt x="134" y="156"/>
                    </a:cubicBezTo>
                    <a:lnTo>
                      <a:pt x="188" y="1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5" name="Freeform 14"/>
              <p:cNvSpPr>
                <a:spLocks/>
              </p:cNvSpPr>
              <p:nvPr/>
            </p:nvSpPr>
            <p:spPr bwMode="auto">
              <a:xfrm>
                <a:off x="32668059" y="-1565302"/>
                <a:ext cx="11131540" cy="8902727"/>
              </a:xfrm>
              <a:custGeom>
                <a:avLst/>
                <a:gdLst>
                  <a:gd name="T0" fmla="*/ 1484 w 2968"/>
                  <a:gd name="T1" fmla="*/ 2373 h 2373"/>
                  <a:gd name="T2" fmla="*/ 1690 w 2968"/>
                  <a:gd name="T3" fmla="*/ 2222 h 2373"/>
                  <a:gd name="T4" fmla="*/ 2863 w 2968"/>
                  <a:gd name="T5" fmla="*/ 371 h 2373"/>
                  <a:gd name="T6" fmla="*/ 2890 w 2968"/>
                  <a:gd name="T7" fmla="*/ 64 h 2373"/>
                  <a:gd name="T8" fmla="*/ 2600 w 2968"/>
                  <a:gd name="T9" fmla="*/ 169 h 2373"/>
                  <a:gd name="T10" fmla="*/ 1770 w 2968"/>
                  <a:gd name="T11" fmla="*/ 1065 h 2373"/>
                  <a:gd name="T12" fmla="*/ 1484 w 2968"/>
                  <a:gd name="T13" fmla="*/ 1302 h 2373"/>
                  <a:gd name="T14" fmla="*/ 1197 w 2968"/>
                  <a:gd name="T15" fmla="*/ 1065 h 2373"/>
                  <a:gd name="T16" fmla="*/ 367 w 2968"/>
                  <a:gd name="T17" fmla="*/ 169 h 2373"/>
                  <a:gd name="T18" fmla="*/ 78 w 2968"/>
                  <a:gd name="T19" fmla="*/ 64 h 2373"/>
                  <a:gd name="T20" fmla="*/ 105 w 2968"/>
                  <a:gd name="T21" fmla="*/ 371 h 2373"/>
                  <a:gd name="T22" fmla="*/ 1278 w 2968"/>
                  <a:gd name="T23" fmla="*/ 2222 h 2373"/>
                  <a:gd name="T24" fmla="*/ 1484 w 2968"/>
                  <a:gd name="T25" fmla="*/ 2373 h 2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68" h="2373">
                    <a:moveTo>
                      <a:pt x="1484" y="2373"/>
                    </a:moveTo>
                    <a:cubicBezTo>
                      <a:pt x="1543" y="2373"/>
                      <a:pt x="1630" y="2327"/>
                      <a:pt x="1690" y="2222"/>
                    </a:cubicBezTo>
                    <a:cubicBezTo>
                      <a:pt x="1750" y="2116"/>
                      <a:pt x="2780" y="504"/>
                      <a:pt x="2863" y="371"/>
                    </a:cubicBezTo>
                    <a:cubicBezTo>
                      <a:pt x="2945" y="238"/>
                      <a:pt x="2968" y="128"/>
                      <a:pt x="2890" y="64"/>
                    </a:cubicBezTo>
                    <a:cubicBezTo>
                      <a:pt x="2812" y="0"/>
                      <a:pt x="2708" y="55"/>
                      <a:pt x="2600" y="169"/>
                    </a:cubicBezTo>
                    <a:cubicBezTo>
                      <a:pt x="2543" y="230"/>
                      <a:pt x="2190" y="600"/>
                      <a:pt x="1770" y="1065"/>
                    </a:cubicBezTo>
                    <a:cubicBezTo>
                      <a:pt x="1644" y="1205"/>
                      <a:pt x="1589" y="1300"/>
                      <a:pt x="1484" y="1302"/>
                    </a:cubicBezTo>
                    <a:cubicBezTo>
                      <a:pt x="1379" y="1300"/>
                      <a:pt x="1324" y="1205"/>
                      <a:pt x="1197" y="1065"/>
                    </a:cubicBezTo>
                    <a:cubicBezTo>
                      <a:pt x="778" y="600"/>
                      <a:pt x="425" y="230"/>
                      <a:pt x="367" y="169"/>
                    </a:cubicBezTo>
                    <a:cubicBezTo>
                      <a:pt x="260" y="55"/>
                      <a:pt x="155" y="0"/>
                      <a:pt x="78" y="64"/>
                    </a:cubicBezTo>
                    <a:cubicBezTo>
                      <a:pt x="0" y="128"/>
                      <a:pt x="23" y="238"/>
                      <a:pt x="105" y="371"/>
                    </a:cubicBezTo>
                    <a:cubicBezTo>
                      <a:pt x="188" y="504"/>
                      <a:pt x="1218" y="2116"/>
                      <a:pt x="1278" y="2222"/>
                    </a:cubicBezTo>
                    <a:cubicBezTo>
                      <a:pt x="1337" y="2327"/>
                      <a:pt x="1424" y="2373"/>
                      <a:pt x="1484" y="23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6" name="Freeform 15"/>
              <p:cNvSpPr>
                <a:spLocks noEditPoints="1"/>
              </p:cNvSpPr>
              <p:nvPr/>
            </p:nvSpPr>
            <p:spPr bwMode="auto">
              <a:xfrm>
                <a:off x="34600008" y="-5740424"/>
                <a:ext cx="3033728" cy="2968619"/>
              </a:xfrm>
              <a:custGeom>
                <a:avLst/>
                <a:gdLst>
                  <a:gd name="T0" fmla="*/ 405 w 809"/>
                  <a:gd name="T1" fmla="*/ 0 h 791"/>
                  <a:gd name="T2" fmla="*/ 0 w 809"/>
                  <a:gd name="T3" fmla="*/ 395 h 791"/>
                  <a:gd name="T4" fmla="*/ 405 w 809"/>
                  <a:gd name="T5" fmla="*/ 791 h 791"/>
                  <a:gd name="T6" fmla="*/ 809 w 809"/>
                  <a:gd name="T7" fmla="*/ 395 h 791"/>
                  <a:gd name="T8" fmla="*/ 405 w 809"/>
                  <a:gd name="T9" fmla="*/ 0 h 791"/>
                  <a:gd name="T10" fmla="*/ 397 w 809"/>
                  <a:gd name="T11" fmla="*/ 628 h 791"/>
                  <a:gd name="T12" fmla="*/ 166 w 809"/>
                  <a:gd name="T13" fmla="*/ 395 h 791"/>
                  <a:gd name="T14" fmla="*/ 397 w 809"/>
                  <a:gd name="T15" fmla="*/ 162 h 791"/>
                  <a:gd name="T16" fmla="*/ 628 w 809"/>
                  <a:gd name="T17" fmla="*/ 395 h 791"/>
                  <a:gd name="T18" fmla="*/ 397 w 809"/>
                  <a:gd name="T19" fmla="*/ 628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9" h="791">
                    <a:moveTo>
                      <a:pt x="405" y="0"/>
                    </a:moveTo>
                    <a:cubicBezTo>
                      <a:pt x="181" y="0"/>
                      <a:pt x="0" y="177"/>
                      <a:pt x="0" y="395"/>
                    </a:cubicBezTo>
                    <a:cubicBezTo>
                      <a:pt x="0" y="614"/>
                      <a:pt x="181" y="791"/>
                      <a:pt x="405" y="791"/>
                    </a:cubicBezTo>
                    <a:cubicBezTo>
                      <a:pt x="628" y="791"/>
                      <a:pt x="809" y="614"/>
                      <a:pt x="809" y="395"/>
                    </a:cubicBezTo>
                    <a:cubicBezTo>
                      <a:pt x="809" y="177"/>
                      <a:pt x="628" y="0"/>
                      <a:pt x="405" y="0"/>
                    </a:cubicBezTo>
                    <a:close/>
                    <a:moveTo>
                      <a:pt x="397" y="628"/>
                    </a:moveTo>
                    <a:cubicBezTo>
                      <a:pt x="270" y="628"/>
                      <a:pt x="166" y="524"/>
                      <a:pt x="166" y="395"/>
                    </a:cubicBezTo>
                    <a:cubicBezTo>
                      <a:pt x="166" y="266"/>
                      <a:pt x="270" y="162"/>
                      <a:pt x="397" y="162"/>
                    </a:cubicBezTo>
                    <a:cubicBezTo>
                      <a:pt x="525" y="162"/>
                      <a:pt x="628" y="266"/>
                      <a:pt x="628" y="395"/>
                    </a:cubicBezTo>
                    <a:cubicBezTo>
                      <a:pt x="628" y="524"/>
                      <a:pt x="525" y="628"/>
                      <a:pt x="397" y="6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7" name="Freeform 16"/>
              <p:cNvSpPr>
                <a:spLocks/>
              </p:cNvSpPr>
              <p:nvPr/>
            </p:nvSpPr>
            <p:spPr bwMode="auto">
              <a:xfrm>
                <a:off x="29285096" y="-5740424"/>
                <a:ext cx="2667019" cy="2968619"/>
              </a:xfrm>
              <a:custGeom>
                <a:avLst/>
                <a:gdLst>
                  <a:gd name="T0" fmla="*/ 652 w 711"/>
                  <a:gd name="T1" fmla="*/ 323 h 791"/>
                  <a:gd name="T2" fmla="*/ 552 w 711"/>
                  <a:gd name="T3" fmla="*/ 323 h 791"/>
                  <a:gd name="T4" fmla="*/ 423 w 711"/>
                  <a:gd name="T5" fmla="*/ 323 h 791"/>
                  <a:gd name="T6" fmla="*/ 423 w 711"/>
                  <a:gd name="T7" fmla="*/ 476 h 791"/>
                  <a:gd name="T8" fmla="*/ 552 w 711"/>
                  <a:gd name="T9" fmla="*/ 476 h 791"/>
                  <a:gd name="T10" fmla="*/ 552 w 711"/>
                  <a:gd name="T11" fmla="*/ 591 h 791"/>
                  <a:gd name="T12" fmla="*/ 419 w 711"/>
                  <a:gd name="T13" fmla="*/ 628 h 791"/>
                  <a:gd name="T14" fmla="*/ 175 w 711"/>
                  <a:gd name="T15" fmla="*/ 395 h 791"/>
                  <a:gd name="T16" fmla="*/ 419 w 711"/>
                  <a:gd name="T17" fmla="*/ 162 h 791"/>
                  <a:gd name="T18" fmla="*/ 585 w 711"/>
                  <a:gd name="T19" fmla="*/ 224 h 791"/>
                  <a:gd name="T20" fmla="*/ 705 w 711"/>
                  <a:gd name="T21" fmla="*/ 95 h 791"/>
                  <a:gd name="T22" fmla="*/ 427 w 711"/>
                  <a:gd name="T23" fmla="*/ 0 h 791"/>
                  <a:gd name="T24" fmla="*/ 0 w 711"/>
                  <a:gd name="T25" fmla="*/ 395 h 791"/>
                  <a:gd name="T26" fmla="*/ 427 w 711"/>
                  <a:gd name="T27" fmla="*/ 791 h 791"/>
                  <a:gd name="T28" fmla="*/ 552 w 711"/>
                  <a:gd name="T29" fmla="*/ 773 h 791"/>
                  <a:gd name="T30" fmla="*/ 711 w 711"/>
                  <a:gd name="T31" fmla="*/ 690 h 791"/>
                  <a:gd name="T32" fmla="*/ 711 w 711"/>
                  <a:gd name="T33" fmla="*/ 476 h 791"/>
                  <a:gd name="T34" fmla="*/ 711 w 711"/>
                  <a:gd name="T35" fmla="*/ 323 h 791"/>
                  <a:gd name="T36" fmla="*/ 652 w 711"/>
                  <a:gd name="T37" fmla="*/ 323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1" h="791">
                    <a:moveTo>
                      <a:pt x="652" y="323"/>
                    </a:moveTo>
                    <a:cubicBezTo>
                      <a:pt x="552" y="323"/>
                      <a:pt x="552" y="323"/>
                      <a:pt x="552" y="323"/>
                    </a:cubicBezTo>
                    <a:cubicBezTo>
                      <a:pt x="423" y="323"/>
                      <a:pt x="423" y="323"/>
                      <a:pt x="423" y="323"/>
                    </a:cubicBezTo>
                    <a:cubicBezTo>
                      <a:pt x="423" y="476"/>
                      <a:pt x="423" y="476"/>
                      <a:pt x="423" y="476"/>
                    </a:cubicBezTo>
                    <a:cubicBezTo>
                      <a:pt x="552" y="476"/>
                      <a:pt x="552" y="476"/>
                      <a:pt x="552" y="476"/>
                    </a:cubicBezTo>
                    <a:cubicBezTo>
                      <a:pt x="552" y="591"/>
                      <a:pt x="552" y="591"/>
                      <a:pt x="552" y="591"/>
                    </a:cubicBezTo>
                    <a:cubicBezTo>
                      <a:pt x="514" y="615"/>
                      <a:pt x="468" y="628"/>
                      <a:pt x="419" y="628"/>
                    </a:cubicBezTo>
                    <a:cubicBezTo>
                      <a:pt x="285" y="628"/>
                      <a:pt x="175" y="524"/>
                      <a:pt x="175" y="395"/>
                    </a:cubicBezTo>
                    <a:cubicBezTo>
                      <a:pt x="175" y="266"/>
                      <a:pt x="285" y="162"/>
                      <a:pt x="419" y="162"/>
                    </a:cubicBezTo>
                    <a:cubicBezTo>
                      <a:pt x="483" y="162"/>
                      <a:pt x="541" y="185"/>
                      <a:pt x="585" y="224"/>
                    </a:cubicBezTo>
                    <a:cubicBezTo>
                      <a:pt x="705" y="95"/>
                      <a:pt x="705" y="95"/>
                      <a:pt x="705" y="95"/>
                    </a:cubicBezTo>
                    <a:cubicBezTo>
                      <a:pt x="631" y="35"/>
                      <a:pt x="534" y="0"/>
                      <a:pt x="427" y="0"/>
                    </a:cubicBezTo>
                    <a:cubicBezTo>
                      <a:pt x="191" y="0"/>
                      <a:pt x="0" y="177"/>
                      <a:pt x="0" y="395"/>
                    </a:cubicBezTo>
                    <a:cubicBezTo>
                      <a:pt x="0" y="614"/>
                      <a:pt x="191" y="791"/>
                      <a:pt x="427" y="791"/>
                    </a:cubicBezTo>
                    <a:cubicBezTo>
                      <a:pt x="471" y="791"/>
                      <a:pt x="513" y="785"/>
                      <a:pt x="552" y="773"/>
                    </a:cubicBezTo>
                    <a:cubicBezTo>
                      <a:pt x="612" y="757"/>
                      <a:pt x="666" y="728"/>
                      <a:pt x="711" y="690"/>
                    </a:cubicBezTo>
                    <a:cubicBezTo>
                      <a:pt x="711" y="476"/>
                      <a:pt x="711" y="476"/>
                      <a:pt x="711" y="476"/>
                    </a:cubicBezTo>
                    <a:cubicBezTo>
                      <a:pt x="711" y="323"/>
                      <a:pt x="711" y="323"/>
                      <a:pt x="711" y="323"/>
                    </a:cubicBezTo>
                    <a:lnTo>
                      <a:pt x="65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8" name="Freeform 17"/>
              <p:cNvSpPr>
                <a:spLocks/>
              </p:cNvSpPr>
              <p:nvPr/>
            </p:nvSpPr>
            <p:spPr bwMode="auto">
              <a:xfrm>
                <a:off x="40349988" y="-5627672"/>
                <a:ext cx="1712940" cy="2732076"/>
              </a:xfrm>
              <a:custGeom>
                <a:avLst/>
                <a:gdLst>
                  <a:gd name="T0" fmla="*/ 375 w 1079"/>
                  <a:gd name="T1" fmla="*/ 0 h 1721"/>
                  <a:gd name="T2" fmla="*/ 0 w 1079"/>
                  <a:gd name="T3" fmla="*/ 0 h 1721"/>
                  <a:gd name="T4" fmla="*/ 0 w 1079"/>
                  <a:gd name="T5" fmla="*/ 1361 h 1721"/>
                  <a:gd name="T6" fmla="*/ 0 w 1079"/>
                  <a:gd name="T7" fmla="*/ 1721 h 1721"/>
                  <a:gd name="T8" fmla="*/ 375 w 1079"/>
                  <a:gd name="T9" fmla="*/ 1721 h 1721"/>
                  <a:gd name="T10" fmla="*/ 1079 w 1079"/>
                  <a:gd name="T11" fmla="*/ 1721 h 1721"/>
                  <a:gd name="T12" fmla="*/ 1079 w 1079"/>
                  <a:gd name="T13" fmla="*/ 1361 h 1721"/>
                  <a:gd name="T14" fmla="*/ 375 w 1079"/>
                  <a:gd name="T15" fmla="*/ 1361 h 1721"/>
                  <a:gd name="T16" fmla="*/ 375 w 1079"/>
                  <a:gd name="T17" fmla="*/ 0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9" h="1721">
                    <a:moveTo>
                      <a:pt x="375" y="0"/>
                    </a:moveTo>
                    <a:lnTo>
                      <a:pt x="0" y="0"/>
                    </a:lnTo>
                    <a:lnTo>
                      <a:pt x="0" y="1361"/>
                    </a:lnTo>
                    <a:lnTo>
                      <a:pt x="0" y="1721"/>
                    </a:lnTo>
                    <a:lnTo>
                      <a:pt x="375" y="1721"/>
                    </a:lnTo>
                    <a:lnTo>
                      <a:pt x="1079" y="1721"/>
                    </a:lnTo>
                    <a:lnTo>
                      <a:pt x="1079" y="1361"/>
                    </a:lnTo>
                    <a:lnTo>
                      <a:pt x="375" y="1361"/>
                    </a:lnTo>
                    <a:lnTo>
                      <a:pt x="37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sp>
            <p:nvSpPr>
              <p:cNvPr id="69" name="Freeform 18"/>
              <p:cNvSpPr>
                <a:spLocks/>
              </p:cNvSpPr>
              <p:nvPr/>
            </p:nvSpPr>
            <p:spPr bwMode="auto">
              <a:xfrm>
                <a:off x="44729888" y="-5630860"/>
                <a:ext cx="1819257" cy="2735264"/>
              </a:xfrm>
              <a:custGeom>
                <a:avLst/>
                <a:gdLst>
                  <a:gd name="T0" fmla="*/ 378 w 1146"/>
                  <a:gd name="T1" fmla="*/ 0 h 1723"/>
                  <a:gd name="T2" fmla="*/ 0 w 1146"/>
                  <a:gd name="T3" fmla="*/ 0 h 1723"/>
                  <a:gd name="T4" fmla="*/ 0 w 1146"/>
                  <a:gd name="T5" fmla="*/ 2 h 1723"/>
                  <a:gd name="T6" fmla="*/ 0 w 1146"/>
                  <a:gd name="T7" fmla="*/ 359 h 1723"/>
                  <a:gd name="T8" fmla="*/ 0 w 1146"/>
                  <a:gd name="T9" fmla="*/ 697 h 1723"/>
                  <a:gd name="T10" fmla="*/ 0 w 1146"/>
                  <a:gd name="T11" fmla="*/ 1056 h 1723"/>
                  <a:gd name="T12" fmla="*/ 0 w 1146"/>
                  <a:gd name="T13" fmla="*/ 1723 h 1723"/>
                  <a:gd name="T14" fmla="*/ 378 w 1146"/>
                  <a:gd name="T15" fmla="*/ 1723 h 1723"/>
                  <a:gd name="T16" fmla="*/ 378 w 1146"/>
                  <a:gd name="T17" fmla="*/ 1056 h 1723"/>
                  <a:gd name="T18" fmla="*/ 1083 w 1146"/>
                  <a:gd name="T19" fmla="*/ 1056 h 1723"/>
                  <a:gd name="T20" fmla="*/ 1083 w 1146"/>
                  <a:gd name="T21" fmla="*/ 697 h 1723"/>
                  <a:gd name="T22" fmla="*/ 378 w 1146"/>
                  <a:gd name="T23" fmla="*/ 697 h 1723"/>
                  <a:gd name="T24" fmla="*/ 378 w 1146"/>
                  <a:gd name="T25" fmla="*/ 359 h 1723"/>
                  <a:gd name="T26" fmla="*/ 1146 w 1146"/>
                  <a:gd name="T27" fmla="*/ 359 h 1723"/>
                  <a:gd name="T28" fmla="*/ 1146 w 1146"/>
                  <a:gd name="T29" fmla="*/ 2 h 1723"/>
                  <a:gd name="T30" fmla="*/ 1146 w 1146"/>
                  <a:gd name="T31" fmla="*/ 0 h 1723"/>
                  <a:gd name="T32" fmla="*/ 378 w 1146"/>
                  <a:gd name="T33" fmla="*/ 0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6" h="1723">
                    <a:moveTo>
                      <a:pt x="378" y="0"/>
                    </a:moveTo>
                    <a:lnTo>
                      <a:pt x="0" y="0"/>
                    </a:lnTo>
                    <a:lnTo>
                      <a:pt x="0" y="2"/>
                    </a:lnTo>
                    <a:lnTo>
                      <a:pt x="0" y="359"/>
                    </a:lnTo>
                    <a:lnTo>
                      <a:pt x="0" y="697"/>
                    </a:lnTo>
                    <a:lnTo>
                      <a:pt x="0" y="1056"/>
                    </a:lnTo>
                    <a:lnTo>
                      <a:pt x="0" y="1723"/>
                    </a:lnTo>
                    <a:lnTo>
                      <a:pt x="378" y="1723"/>
                    </a:lnTo>
                    <a:lnTo>
                      <a:pt x="378" y="1056"/>
                    </a:lnTo>
                    <a:lnTo>
                      <a:pt x="1083" y="1056"/>
                    </a:lnTo>
                    <a:lnTo>
                      <a:pt x="1083" y="697"/>
                    </a:lnTo>
                    <a:lnTo>
                      <a:pt x="378" y="697"/>
                    </a:lnTo>
                    <a:lnTo>
                      <a:pt x="378" y="359"/>
                    </a:lnTo>
                    <a:lnTo>
                      <a:pt x="1146" y="359"/>
                    </a:lnTo>
                    <a:lnTo>
                      <a:pt x="1146" y="2"/>
                    </a:lnTo>
                    <a:lnTo>
                      <a:pt x="1146" y="0"/>
                    </a:lnTo>
                    <a:lnTo>
                      <a:pt x="37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FFFFFF"/>
                  </a:solidFill>
                  <a:ea typeface="ＭＳ Ｐゴシック" charset="0"/>
                </a:endParaRPr>
              </a:p>
            </p:txBody>
          </p:sp>
        </p:grpSp>
        <p:pic>
          <p:nvPicPr>
            <p:cNvPr id="71" name="Picture 7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95815" y="3299580"/>
              <a:ext cx="504257" cy="529470"/>
            </a:xfrm>
            <a:prstGeom prst="rect">
              <a:avLst/>
            </a:prstGeom>
          </p:spPr>
        </p:pic>
        <p:pic>
          <p:nvPicPr>
            <p:cNvPr id="72" name="Picture 7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600415" y="4411662"/>
              <a:ext cx="771231" cy="549701"/>
            </a:xfrm>
            <a:prstGeom prst="rect">
              <a:avLst/>
            </a:prstGeom>
          </p:spPr>
        </p:pic>
        <p:pic>
          <p:nvPicPr>
            <p:cNvPr id="73" name="Picture 7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02386" y="5578758"/>
              <a:ext cx="892572" cy="296586"/>
            </a:xfrm>
            <a:prstGeom prst="rect">
              <a:avLst/>
            </a:prstGeom>
          </p:spPr>
        </p:pic>
        <p:pic>
          <p:nvPicPr>
            <p:cNvPr id="74" name="Picture 73"/>
            <p:cNvPicPr>
              <a:picLocks noChangeAspect="1"/>
            </p:cNvPicPr>
            <p:nvPr/>
          </p:nvPicPr>
          <p:blipFill rotWithShape="1">
            <a:blip r:embed="rId19" cstate="print">
              <a:extLst>
                <a:ext uri="{28A0092B-C50C-407E-A947-70E740481C1C}">
                  <a14:useLocalDpi xmlns:a14="http://schemas.microsoft.com/office/drawing/2010/main" val="0"/>
                </a:ext>
              </a:extLst>
            </a:blip>
            <a:srcRect/>
            <a:stretch/>
          </p:blipFill>
          <p:spPr>
            <a:xfrm>
              <a:off x="566546" y="3981097"/>
              <a:ext cx="1223044" cy="256001"/>
            </a:xfrm>
            <a:prstGeom prst="rect">
              <a:avLst/>
            </a:prstGeom>
          </p:spPr>
        </p:pic>
        <p:pic>
          <p:nvPicPr>
            <p:cNvPr id="77" name="Picture 76"/>
            <p:cNvPicPr>
              <a:picLocks noChangeAspect="1"/>
            </p:cNvPicPr>
            <p:nvPr/>
          </p:nvPicPr>
          <p:blipFill rotWithShape="1">
            <a:blip r:embed="rId20" cstate="print">
              <a:extLst>
                <a:ext uri="{28A0092B-C50C-407E-A947-70E740481C1C}">
                  <a14:useLocalDpi xmlns:a14="http://schemas.microsoft.com/office/drawing/2010/main" val="0"/>
                </a:ext>
              </a:extLst>
            </a:blip>
            <a:srcRect t="36528" b="36528"/>
            <a:stretch/>
          </p:blipFill>
          <p:spPr>
            <a:xfrm>
              <a:off x="4598168" y="4438983"/>
              <a:ext cx="938834" cy="252962"/>
            </a:xfrm>
            <a:prstGeom prst="rect">
              <a:avLst/>
            </a:prstGeom>
          </p:spPr>
        </p:pic>
        <p:pic>
          <p:nvPicPr>
            <p:cNvPr id="78" name="Picture 7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446837" y="3470174"/>
              <a:ext cx="579042" cy="230366"/>
            </a:xfrm>
            <a:prstGeom prst="rect">
              <a:avLst/>
            </a:prstGeom>
          </p:spPr>
        </p:pic>
        <p:pic>
          <p:nvPicPr>
            <p:cNvPr id="79" name="Picture 78"/>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038305" y="3966942"/>
              <a:ext cx="1219890" cy="318777"/>
            </a:xfrm>
            <a:prstGeom prst="rect">
              <a:avLst/>
            </a:prstGeom>
          </p:spPr>
        </p:pic>
        <p:pic>
          <p:nvPicPr>
            <p:cNvPr id="80" name="Picture 7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801490" y="4398751"/>
              <a:ext cx="586610" cy="637621"/>
            </a:xfrm>
            <a:prstGeom prst="rect">
              <a:avLst/>
            </a:prstGeom>
          </p:spPr>
        </p:pic>
        <p:pic>
          <p:nvPicPr>
            <p:cNvPr id="81" name="Picture 8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205990" y="3953410"/>
              <a:ext cx="1230382" cy="267608"/>
            </a:xfrm>
            <a:prstGeom prst="rect">
              <a:avLst/>
            </a:prstGeom>
          </p:spPr>
        </p:pic>
        <p:pic>
          <p:nvPicPr>
            <p:cNvPr id="82" name="Picture 8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663859" y="4442481"/>
              <a:ext cx="740542" cy="769068"/>
            </a:xfrm>
            <a:prstGeom prst="rect">
              <a:avLst/>
            </a:prstGeom>
          </p:spPr>
        </p:pic>
        <p:pic>
          <p:nvPicPr>
            <p:cNvPr id="83" name="Picture 8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71295" y="5510133"/>
              <a:ext cx="1143886" cy="384095"/>
            </a:xfrm>
            <a:prstGeom prst="rect">
              <a:avLst/>
            </a:prstGeom>
          </p:spPr>
        </p:pic>
        <p:pic>
          <p:nvPicPr>
            <p:cNvPr id="84" name="Picture 83"/>
            <p:cNvPicPr>
              <a:picLocks noChangeAspect="1"/>
            </p:cNvPicPr>
            <p:nvPr/>
          </p:nvPicPr>
          <p:blipFill rotWithShape="1">
            <a:blip r:embed="rId27" cstate="print">
              <a:extLst>
                <a:ext uri="{28A0092B-C50C-407E-A947-70E740481C1C}">
                  <a14:useLocalDpi xmlns:a14="http://schemas.microsoft.com/office/drawing/2010/main" val="0"/>
                </a:ext>
              </a:extLst>
            </a:blip>
            <a:srcRect/>
            <a:stretch/>
          </p:blipFill>
          <p:spPr>
            <a:xfrm>
              <a:off x="5340949" y="5478463"/>
              <a:ext cx="1197854" cy="560388"/>
            </a:xfrm>
            <a:prstGeom prst="rect">
              <a:avLst/>
            </a:prstGeom>
          </p:spPr>
        </p:pic>
        <p:pic>
          <p:nvPicPr>
            <p:cNvPr id="85" name="Picture 84"/>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6587294" y="3894091"/>
              <a:ext cx="552754" cy="683908"/>
            </a:xfrm>
            <a:prstGeom prst="rect">
              <a:avLst/>
            </a:prstGeom>
          </p:spPr>
        </p:pic>
        <p:pic>
          <p:nvPicPr>
            <p:cNvPr id="86" name="Picture 85"/>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593721" y="4672267"/>
              <a:ext cx="640708" cy="798260"/>
            </a:xfrm>
            <a:prstGeom prst="rect">
              <a:avLst/>
            </a:prstGeom>
          </p:spPr>
        </p:pic>
        <p:pic>
          <p:nvPicPr>
            <p:cNvPr id="87" name="Picture 86"/>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596542" y="4796216"/>
              <a:ext cx="928911" cy="165234"/>
            </a:xfrm>
            <a:prstGeom prst="rect">
              <a:avLst/>
            </a:prstGeom>
          </p:spPr>
        </p:pic>
        <p:pic>
          <p:nvPicPr>
            <p:cNvPr id="88" name="Picture 8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553777" y="5528654"/>
              <a:ext cx="631453" cy="440438"/>
            </a:xfrm>
            <a:prstGeom prst="rect">
              <a:avLst/>
            </a:prstGeom>
          </p:spPr>
        </p:pic>
        <p:pic>
          <p:nvPicPr>
            <p:cNvPr id="89" name="Picture 8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743238" y="3964730"/>
              <a:ext cx="974941" cy="363060"/>
            </a:xfrm>
            <a:prstGeom prst="rect">
              <a:avLst/>
            </a:prstGeom>
          </p:spPr>
        </p:pic>
        <p:pic>
          <p:nvPicPr>
            <p:cNvPr id="90" name="Picture 89"/>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480404" y="6115080"/>
              <a:ext cx="1326297" cy="344372"/>
            </a:xfrm>
            <a:prstGeom prst="rect">
              <a:avLst/>
            </a:prstGeom>
          </p:spPr>
        </p:pic>
        <p:pic>
          <p:nvPicPr>
            <p:cNvPr id="92" name="Picture 91"/>
            <p:cNvPicPr>
              <a:picLocks noChangeAspect="1"/>
            </p:cNvPicPr>
            <p:nvPr/>
          </p:nvPicPr>
          <p:blipFill rotWithShape="1">
            <a:blip r:embed="rId34" cstate="print">
              <a:extLst>
                <a:ext uri="{28A0092B-C50C-407E-A947-70E740481C1C}">
                  <a14:useLocalDpi xmlns:a14="http://schemas.microsoft.com/office/drawing/2010/main" val="0"/>
                </a:ext>
              </a:extLst>
            </a:blip>
            <a:srcRect t="30016" b="40485"/>
            <a:stretch/>
          </p:blipFill>
          <p:spPr>
            <a:xfrm>
              <a:off x="1652897" y="5521294"/>
              <a:ext cx="1503164" cy="318097"/>
            </a:xfrm>
            <a:prstGeom prst="rect">
              <a:avLst/>
            </a:prstGeom>
          </p:spPr>
        </p:pic>
        <p:pic>
          <p:nvPicPr>
            <p:cNvPr id="93" name="Picture 92"/>
            <p:cNvPicPr>
              <a:picLocks noChangeAspect="1"/>
            </p:cNvPicPr>
            <p:nvPr/>
          </p:nvPicPr>
          <p:blipFill rotWithShape="1">
            <a:blip r:embed="rId35" cstate="print">
              <a:extLst>
                <a:ext uri="{28A0092B-C50C-407E-A947-70E740481C1C}">
                  <a14:useLocalDpi xmlns:a14="http://schemas.microsoft.com/office/drawing/2010/main" val="0"/>
                </a:ext>
              </a:extLst>
            </a:blip>
            <a:srcRect/>
            <a:stretch/>
          </p:blipFill>
          <p:spPr>
            <a:xfrm>
              <a:off x="649546" y="6064059"/>
              <a:ext cx="850128" cy="325614"/>
            </a:xfrm>
            <a:prstGeom prst="rect">
              <a:avLst/>
            </a:prstGeom>
          </p:spPr>
        </p:pic>
        <p:pic>
          <p:nvPicPr>
            <p:cNvPr id="94" name="Picture 93"/>
            <p:cNvPicPr>
              <a:picLocks noChangeAspect="1"/>
            </p:cNvPicPr>
            <p:nvPr/>
          </p:nvPicPr>
          <p:blipFill rotWithShape="1">
            <a:blip r:embed="rId36" cstate="print">
              <a:extLst>
                <a:ext uri="{28A0092B-C50C-407E-A947-70E740481C1C}">
                  <a14:useLocalDpi xmlns:a14="http://schemas.microsoft.com/office/drawing/2010/main" val="0"/>
                </a:ext>
              </a:extLst>
            </a:blip>
            <a:srcRect/>
            <a:stretch/>
          </p:blipFill>
          <p:spPr>
            <a:xfrm>
              <a:off x="1751764" y="6148952"/>
              <a:ext cx="1478125" cy="264456"/>
            </a:xfrm>
            <a:prstGeom prst="rect">
              <a:avLst/>
            </a:prstGeom>
          </p:spPr>
        </p:pic>
        <p:pic>
          <p:nvPicPr>
            <p:cNvPr id="95" name="Picture 94"/>
            <p:cNvPicPr>
              <a:picLocks noChangeAspect="1"/>
            </p:cNvPicPr>
            <p:nvPr/>
          </p:nvPicPr>
          <p:blipFill rotWithShape="1">
            <a:blip r:embed="rId37" cstate="print">
              <a:extLst>
                <a:ext uri="{28A0092B-C50C-407E-A947-70E740481C1C}">
                  <a14:useLocalDpi xmlns:a14="http://schemas.microsoft.com/office/drawing/2010/main" val="0"/>
                </a:ext>
              </a:extLst>
            </a:blip>
            <a:srcRect/>
            <a:stretch/>
          </p:blipFill>
          <p:spPr>
            <a:xfrm>
              <a:off x="4991453" y="6172200"/>
              <a:ext cx="1318669" cy="211326"/>
            </a:xfrm>
            <a:prstGeom prst="rect">
              <a:avLst/>
            </a:prstGeom>
          </p:spPr>
        </p:pic>
        <p:pic>
          <p:nvPicPr>
            <p:cNvPr id="96" name="Picture 95"/>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6211292" y="2278062"/>
              <a:ext cx="974558" cy="451374"/>
            </a:xfrm>
            <a:prstGeom prst="rect">
              <a:avLst/>
            </a:prstGeom>
          </p:spPr>
        </p:pic>
        <p:pic>
          <p:nvPicPr>
            <p:cNvPr id="75" name="Picture 74"/>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700982" y="5470931"/>
              <a:ext cx="461007" cy="459624"/>
            </a:xfrm>
            <a:prstGeom prst="rect">
              <a:avLst/>
            </a:prstGeom>
          </p:spPr>
        </p:pic>
        <p:pic>
          <p:nvPicPr>
            <p:cNvPr id="91" name="Picture 9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72206" y="2453807"/>
              <a:ext cx="1128739" cy="129055"/>
            </a:xfrm>
            <a:prstGeom prst="rect">
              <a:avLst/>
            </a:prstGeom>
          </p:spPr>
        </p:pic>
        <p:pic>
          <p:nvPicPr>
            <p:cNvPr id="98" name="Picture 97"/>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6461730" y="6083396"/>
              <a:ext cx="742127" cy="329834"/>
            </a:xfrm>
            <a:prstGeom prst="rect">
              <a:avLst/>
            </a:prstGeom>
          </p:spPr>
        </p:pic>
        <p:pic>
          <p:nvPicPr>
            <p:cNvPr id="99" name="Picture 98"/>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2179637" y="3344862"/>
              <a:ext cx="660917" cy="346665"/>
            </a:xfrm>
            <a:prstGeom prst="rect">
              <a:avLst/>
            </a:prstGeom>
          </p:spPr>
        </p:pic>
        <p:pic>
          <p:nvPicPr>
            <p:cNvPr id="100" name="Picture 99"/>
            <p:cNvPicPr>
              <a:picLocks noChangeAspect="1"/>
            </p:cNvPicPr>
            <p:nvPr/>
          </p:nvPicPr>
          <p:blipFill rotWithShape="1">
            <a:blip r:embed="rId43" cstate="print">
              <a:extLst>
                <a:ext uri="{28A0092B-C50C-407E-A947-70E740481C1C}">
                  <a14:useLocalDpi xmlns:a14="http://schemas.microsoft.com/office/drawing/2010/main" val="0"/>
                </a:ext>
              </a:extLst>
            </a:blip>
            <a:srcRect/>
            <a:stretch/>
          </p:blipFill>
          <p:spPr>
            <a:xfrm>
              <a:off x="1915370" y="4564062"/>
              <a:ext cx="594465" cy="876706"/>
            </a:xfrm>
            <a:prstGeom prst="rect">
              <a:avLst/>
            </a:prstGeom>
          </p:spPr>
        </p:pic>
        <p:pic>
          <p:nvPicPr>
            <p:cNvPr id="76" name="Picture 75"/>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556164" y="4517315"/>
              <a:ext cx="1342731" cy="188927"/>
            </a:xfrm>
            <a:prstGeom prst="rect">
              <a:avLst/>
            </a:prstGeom>
          </p:spPr>
        </p:pic>
        <p:pic>
          <p:nvPicPr>
            <p:cNvPr id="70" name="Picture 69"/>
            <p:cNvPicPr>
              <a:picLocks noChangeAspect="1"/>
            </p:cNvPicPr>
            <p:nvPr/>
          </p:nvPicPr>
          <p:blipFill rotWithShape="1">
            <a:blip r:embed="rId45" cstate="print">
              <a:extLst>
                <a:ext uri="{28A0092B-C50C-407E-A947-70E740481C1C}">
                  <a14:useLocalDpi xmlns:a14="http://schemas.microsoft.com/office/drawing/2010/main" val="0"/>
                </a:ext>
              </a:extLst>
            </a:blip>
            <a:srcRect/>
            <a:stretch/>
          </p:blipFill>
          <p:spPr>
            <a:xfrm>
              <a:off x="572150" y="4945062"/>
              <a:ext cx="1108658" cy="462017"/>
            </a:xfrm>
            <a:prstGeom prst="rect">
              <a:avLst/>
            </a:prstGeom>
          </p:spPr>
        </p:pic>
      </p:grpSp>
    </p:spTree>
    <p:extLst>
      <p:ext uri="{BB962C8B-B14F-4D97-AF65-F5344CB8AC3E}">
        <p14:creationId xmlns:p14="http://schemas.microsoft.com/office/powerpoint/2010/main" val="150515206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35" presetClass="path" presetSubtype="0" accel="50000" decel="50000" fill="hold" grpId="1" nodeType="withEffect">
                                  <p:stCondLst>
                                    <p:cond delay="0"/>
                                  </p:stCondLst>
                                  <p:childTnLst>
                                    <p:animMotion origin="layout" path="M -2.34363E-6 -8.89696E-7 L -0.09612 -8.89696E-7 " pathEditMode="relative" rAng="0" ptsTypes="AA">
                                      <p:cBhvr>
                                        <p:cTn id="9" dur="1250" spd="-100000" fill="hold"/>
                                        <p:tgtEl>
                                          <p:spTgt spid="3"/>
                                        </p:tgtEl>
                                        <p:attrNameLst>
                                          <p:attrName>ppt_x</p:attrName>
                                          <p:attrName>ppt_y</p:attrName>
                                        </p:attrNameLst>
                                      </p:cBhvr>
                                      <p:rCtr x="-4812" y="0"/>
                                    </p:animMotion>
                                  </p:childTnLst>
                                </p:cTn>
                              </p:par>
                              <p:par>
                                <p:cTn id="10" presetID="18" presetClass="entr" presetSubtype="12" fill="hold" nodeType="withEffect">
                                  <p:stCondLst>
                                    <p:cond delay="1000"/>
                                  </p:stCondLst>
                                  <p:childTnLst>
                                    <p:set>
                                      <p:cBhvr>
                                        <p:cTn id="11" dur="1" fill="hold">
                                          <p:stCondLst>
                                            <p:cond delay="0"/>
                                          </p:stCondLst>
                                        </p:cTn>
                                        <p:tgtEl>
                                          <p:spTgt spid="2"/>
                                        </p:tgtEl>
                                        <p:attrNameLst>
                                          <p:attrName>style.visibility</p:attrName>
                                        </p:attrNameLst>
                                      </p:cBhvr>
                                      <p:to>
                                        <p:strVal val="visible"/>
                                      </p:to>
                                    </p:set>
                                    <p:animEffect transition="in" filter="strips(downLeft)">
                                      <p:cBhvr>
                                        <p:cTn id="12" dur="750"/>
                                        <p:tgtEl>
                                          <p:spTgt spid="2"/>
                                        </p:tgtEl>
                                      </p:cBhvr>
                                    </p:animEffect>
                                  </p:childTnLst>
                                </p:cTn>
                              </p:par>
                              <p:par>
                                <p:cTn id="13" presetID="35" presetClass="path" presetSubtype="0" accel="50000" decel="50000" fill="hold" nodeType="withEffect">
                                  <p:stCondLst>
                                    <p:cond delay="500"/>
                                  </p:stCondLst>
                                  <p:childTnLst>
                                    <p:animMotion origin="layout" path="M -2.34363E-6 -8.89696E-7 L -0.09612 -8.89696E-7 " pathEditMode="relative" rAng="0" ptsTypes="AA">
                                      <p:cBhvr>
                                        <p:cTn id="14" dur="1250" spd="-100000" fill="hold"/>
                                        <p:tgtEl>
                                          <p:spTgt spid="2"/>
                                        </p:tgtEl>
                                        <p:attrNameLst>
                                          <p:attrName>ppt_x</p:attrName>
                                          <p:attrName>ppt_y</p:attrName>
                                        </p:attrNameLst>
                                      </p:cBhvr>
                                      <p:rCtr x="-481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Oval 2a" hidden="1"/>
          <p:cNvSpPr/>
          <p:nvPr/>
        </p:nvSpPr>
        <p:spPr bwMode="auto">
          <a:xfrm>
            <a:off x="2062089" y="2020555"/>
            <a:ext cx="3585699" cy="358569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30" rIns="179285" bIns="143430"/>
          <a:lstStyle/>
          <a:p>
            <a:pPr algn="ctr" defTabSz="914258" fontAlgn="base">
              <a:lnSpc>
                <a:spcPct val="90000"/>
              </a:lnSpc>
              <a:spcBef>
                <a:spcPct val="0"/>
              </a:spcBef>
              <a:spcAft>
                <a:spcPct val="0"/>
              </a:spcAft>
              <a:defRPr/>
            </a:pPr>
            <a:endParaRPr lang="en-US" sz="2355"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a" hidden="1"/>
          <p:cNvSpPr/>
          <p:nvPr/>
        </p:nvSpPr>
        <p:spPr bwMode="auto">
          <a:xfrm>
            <a:off x="6544214" y="2020555"/>
            <a:ext cx="3585699" cy="35856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30" rIns="179285" bIns="143430"/>
          <a:lstStyle/>
          <a:p>
            <a:pPr algn="ctr" defTabSz="914258" fontAlgn="base">
              <a:lnSpc>
                <a:spcPct val="90000"/>
              </a:lnSpc>
              <a:spcBef>
                <a:spcPct val="0"/>
              </a:spcBef>
              <a:spcAft>
                <a:spcPct val="0"/>
              </a:spcAft>
              <a:defRPr/>
            </a:pPr>
            <a:endParaRPr lang="en-US" sz="2355"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2a" hidden="1"/>
          <p:cNvSpPr/>
          <p:nvPr/>
        </p:nvSpPr>
        <p:spPr>
          <a:xfrm>
            <a:off x="2062091" y="3527213"/>
            <a:ext cx="3585700" cy="633751"/>
          </a:xfrm>
          <a:prstGeom prst="rect">
            <a:avLst/>
          </a:prstGeom>
        </p:spPr>
        <p:txBody>
          <a:bodyPr>
            <a:spAutoFit/>
          </a:bodyPr>
          <a:lstStyle/>
          <a:p>
            <a:pPr algn="ctr" defTabSz="914523">
              <a:defRPr/>
            </a:pPr>
            <a:r>
              <a:rPr lang="en-US" sz="3530" dirty="0">
                <a:gradFill>
                  <a:gsLst>
                    <a:gs pos="2917">
                      <a:srgbClr val="FFFFFF"/>
                    </a:gs>
                    <a:gs pos="100000">
                      <a:srgbClr val="FFFFFF"/>
                    </a:gs>
                  </a:gsLst>
                  <a:lin ang="5400000" scaled="0"/>
                </a:gradFill>
                <a:latin typeface="Segoe UI Light"/>
                <a:ea typeface="ＭＳ Ｐゴシック" charset="0"/>
              </a:rPr>
              <a:t>On premise</a:t>
            </a:r>
          </a:p>
        </p:txBody>
      </p:sp>
      <p:sp>
        <p:nvSpPr>
          <p:cNvPr id="14" name="text 1a" hidden="1"/>
          <p:cNvSpPr/>
          <p:nvPr/>
        </p:nvSpPr>
        <p:spPr>
          <a:xfrm>
            <a:off x="7176080" y="3527213"/>
            <a:ext cx="2321970" cy="633751"/>
          </a:xfrm>
          <a:prstGeom prst="rect">
            <a:avLst/>
          </a:prstGeom>
        </p:spPr>
        <p:txBody>
          <a:bodyPr>
            <a:spAutoFit/>
          </a:bodyPr>
          <a:lstStyle/>
          <a:p>
            <a:pPr algn="ctr" defTabSz="914523">
              <a:defRPr/>
            </a:pPr>
            <a:r>
              <a:rPr lang="en-US" sz="3530" dirty="0">
                <a:gradFill>
                  <a:gsLst>
                    <a:gs pos="2917">
                      <a:srgbClr val="FFFFFF"/>
                    </a:gs>
                    <a:gs pos="100000">
                      <a:srgbClr val="FFFFFF"/>
                    </a:gs>
                  </a:gsLst>
                  <a:lin ang="5400000" scaled="0"/>
                </a:gradFill>
                <a:latin typeface="Segoe UI Light"/>
                <a:ea typeface="ＭＳ Ｐゴシック" charset="0"/>
              </a:rPr>
              <a:t>Cloud</a:t>
            </a:r>
          </a:p>
        </p:txBody>
      </p:sp>
      <p:sp>
        <p:nvSpPr>
          <p:cNvPr id="18" name="Rectangle 17"/>
          <p:cNvSpPr/>
          <p:nvPr/>
        </p:nvSpPr>
        <p:spPr bwMode="auto">
          <a:xfrm>
            <a:off x="1" y="-292"/>
            <a:ext cx="5638512"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243212" y="2298603"/>
            <a:ext cx="5169852" cy="3218414"/>
          </a:xfrm>
          <a:prstGeom prst="rect">
            <a:avLst/>
          </a:prstGeom>
          <a:noFill/>
        </p:spPr>
        <p:txBody>
          <a:bodyPr lIns="179285" tIns="143430" rIns="179285" bIns="143430" anchor="ctr"/>
          <a:lstStyle/>
          <a:p>
            <a:pPr defTabSz="914523">
              <a:lnSpc>
                <a:spcPts val="3725"/>
              </a:lnSpc>
              <a:spcAft>
                <a:spcPts val="1765"/>
              </a:spcAft>
              <a:defRPr/>
            </a:pPr>
            <a:r>
              <a:rPr lang="en-US" sz="3137" dirty="0">
                <a:solidFill>
                  <a:srgbClr val="FFFFFF"/>
                </a:solidFill>
                <a:latin typeface="Segoe UI Light"/>
                <a:ea typeface="ＭＳ Ｐゴシック" charset="0"/>
              </a:rPr>
              <a:t>Microsoft Azure</a:t>
            </a:r>
          </a:p>
          <a:p>
            <a:pPr defTabSz="914523">
              <a:lnSpc>
                <a:spcPts val="3725"/>
              </a:lnSpc>
              <a:spcAft>
                <a:spcPts val="1765"/>
              </a:spcAft>
              <a:defRPr/>
            </a:pPr>
            <a:r>
              <a:rPr lang="en-US" sz="3137" dirty="0">
                <a:solidFill>
                  <a:srgbClr val="FFFFFF"/>
                </a:solidFill>
                <a:latin typeface="Segoe UI Light"/>
                <a:ea typeface="ＭＳ Ｐゴシック" charset="0"/>
              </a:rPr>
              <a:t>Windows Server</a:t>
            </a:r>
          </a:p>
          <a:p>
            <a:pPr defTabSz="914523">
              <a:lnSpc>
                <a:spcPts val="3725"/>
              </a:lnSpc>
              <a:spcAft>
                <a:spcPts val="1765"/>
              </a:spcAft>
              <a:defRPr/>
            </a:pPr>
            <a:r>
              <a:rPr lang="en-US" sz="3137" dirty="0">
                <a:solidFill>
                  <a:srgbClr val="FFFFFF"/>
                </a:solidFill>
                <a:latin typeface="Segoe UI Light"/>
                <a:ea typeface="ＭＳ Ｐゴシック" charset="0"/>
              </a:rPr>
              <a:t>Microsoft System Center</a:t>
            </a:r>
          </a:p>
          <a:p>
            <a:pPr defTabSz="914523">
              <a:lnSpc>
                <a:spcPts val="3725"/>
              </a:lnSpc>
              <a:spcAft>
                <a:spcPts val="1765"/>
              </a:spcAft>
              <a:defRPr/>
            </a:pPr>
            <a:r>
              <a:rPr lang="en-US" sz="3137" dirty="0">
                <a:solidFill>
                  <a:srgbClr val="FFFFFF"/>
                </a:solidFill>
                <a:latin typeface="Segoe UI Light"/>
                <a:ea typeface="ＭＳ Ｐゴシック" charset="0"/>
              </a:rPr>
              <a:t>Microsoft SQL Server</a:t>
            </a:r>
          </a:p>
          <a:p>
            <a:pPr defTabSz="914523">
              <a:lnSpc>
                <a:spcPts val="3725"/>
              </a:lnSpc>
              <a:spcAft>
                <a:spcPts val="1765"/>
              </a:spcAft>
              <a:defRPr/>
            </a:pPr>
            <a:r>
              <a:rPr lang="en-US" sz="3137" dirty="0">
                <a:solidFill>
                  <a:srgbClr val="FFFFFF"/>
                </a:solidFill>
                <a:latin typeface="Segoe UI Light"/>
                <a:ea typeface="ＭＳ Ｐゴシック" charset="0"/>
              </a:rPr>
              <a:t>Visual Studio</a:t>
            </a:r>
          </a:p>
        </p:txBody>
      </p:sp>
      <p:sp>
        <p:nvSpPr>
          <p:cNvPr id="370" name="TextBox 369"/>
          <p:cNvSpPr txBox="1"/>
          <p:nvPr/>
        </p:nvSpPr>
        <p:spPr>
          <a:xfrm>
            <a:off x="6699081" y="5296552"/>
            <a:ext cx="4613844" cy="1008106"/>
          </a:xfrm>
          <a:prstGeom prst="rect">
            <a:avLst/>
          </a:prstGeom>
          <a:noFill/>
        </p:spPr>
        <p:txBody>
          <a:bodyPr wrap="square" lIns="175761" tIns="140609" rIns="175761" bIns="140609" rtlCol="0">
            <a:spAutoFit/>
          </a:bodyPr>
          <a:lstStyle>
            <a:defPPr>
              <a:defRPr lang="en-US"/>
            </a:defPPr>
            <a:lvl1pPr marR="0" lvl="0" indent="0" defTabSz="914400" fontAlgn="auto">
              <a:lnSpc>
                <a:spcPct val="90000"/>
              </a:lnSpc>
              <a:spcBef>
                <a:spcPts val="0"/>
              </a:spcBef>
              <a:spcAft>
                <a:spcPts val="588"/>
              </a:spcAft>
              <a:buClrTx/>
              <a:buSzTx/>
              <a:buFontTx/>
              <a:buNone/>
              <a:tabLst/>
              <a:defRPr kumimoji="0" sz="3200" b="1" i="0" u="none" strike="noStrike" kern="0" cap="none" spc="0" normalizeH="0" baseline="0">
                <a:ln>
                  <a:noFill/>
                </a:ln>
                <a:solidFill>
                  <a:schemeClr val="tx2"/>
                </a:solidFill>
                <a:effectLst/>
                <a:uLnTx/>
                <a:uFillTx/>
                <a:latin typeface="Segoe UI Light"/>
              </a:defRPr>
            </a:lvl1pPr>
          </a:lstStyle>
          <a:p>
            <a:pPr>
              <a:lnSpc>
                <a:spcPct val="100000"/>
              </a:lnSpc>
              <a:spcAft>
                <a:spcPts val="0"/>
              </a:spcAft>
            </a:pPr>
            <a:r>
              <a:rPr lang="en-US" sz="4705" b="0" dirty="0">
                <a:solidFill>
                  <a:srgbClr val="0072C6">
                    <a:lumMod val="50000"/>
                  </a:srgbClr>
                </a:solidFill>
                <a:ea typeface="ＭＳ Ｐゴシック" charset="0"/>
              </a:rPr>
              <a:t>Platfor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5641"/>
          <a:stretch/>
        </p:blipFill>
        <p:spPr>
          <a:xfrm>
            <a:off x="6699081" y="-293"/>
            <a:ext cx="5492920" cy="5147440"/>
          </a:xfrm>
          <a:prstGeom prst="rect">
            <a:avLst/>
          </a:prstGeom>
        </p:spPr>
      </p:pic>
      <p:sp>
        <p:nvSpPr>
          <p:cNvPr id="3" name="Title 2"/>
          <p:cNvSpPr>
            <a:spLocks noGrp="1"/>
          </p:cNvSpPr>
          <p:nvPr>
            <p:ph type="title"/>
          </p:nvPr>
        </p:nvSpPr>
        <p:spPr>
          <a:xfrm>
            <a:off x="110561" y="289958"/>
            <a:ext cx="5527952" cy="1719703"/>
          </a:xfrm>
        </p:spPr>
        <p:txBody>
          <a:bodyPr/>
          <a:lstStyle/>
          <a:p>
            <a:r>
              <a:rPr lang="en-US" spc="0" dirty="0">
                <a:solidFill>
                  <a:schemeClr val="bg1"/>
                </a:solidFill>
              </a:rPr>
              <a:t>Powering </a:t>
            </a:r>
            <a:r>
              <a:rPr lang="en-US" spc="0" dirty="0">
                <a:solidFill>
                  <a:schemeClr val="bg1"/>
                </a:solidFill>
              </a:rPr>
              <a:t>Microsoft </a:t>
            </a:r>
            <a:r>
              <a:rPr lang="en-US" spc="0" dirty="0">
                <a:solidFill>
                  <a:schemeClr val="bg1"/>
                </a:solidFill>
              </a:rPr>
              <a:t>Cloud Platform</a:t>
            </a:r>
            <a:br>
              <a:rPr lang="en-US" spc="0" dirty="0">
                <a:solidFill>
                  <a:schemeClr val="bg1"/>
                </a:solidFill>
              </a:rPr>
            </a:br>
            <a:endParaRPr lang="en-US" spc="0" dirty="0">
              <a:solidFill>
                <a:schemeClr val="bg1"/>
              </a:solidFill>
            </a:endParaRPr>
          </a:p>
        </p:txBody>
      </p:sp>
    </p:spTree>
    <p:extLst>
      <p:ext uri="{BB962C8B-B14F-4D97-AF65-F5344CB8AC3E}">
        <p14:creationId xmlns:p14="http://schemas.microsoft.com/office/powerpoint/2010/main" val="3320960924"/>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path" presetSubtype="0" accel="50000" decel="50000" fill="hold" grpId="0" nodeType="clickEffect">
                                  <p:stCondLst>
                                    <p:cond delay="0"/>
                                  </p:stCondLst>
                                  <p:childTnLst>
                                    <p:animMotion origin="layout" path="M 0 0 L 0 0.25 E" pathEditMode="relative" ptsTypes="">
                                      <p:cBhvr>
                                        <p:cTn id="6" dur="2000" fill="hold"/>
                                        <p:tgtEl>
                                          <p:spTgt spid="11"/>
                                        </p:tgtEl>
                                        <p:attrNameLst>
                                          <p:attrName>ppt_x</p:attrName>
                                          <p:attrName>ppt_y</p:attrName>
                                        </p:attrNameLst>
                                      </p:cBhvr>
                                    </p:animMotion>
                                  </p:childTnLst>
                                </p:cTn>
                              </p:par>
                              <p:par>
                                <p:cTn id="7" presetID="42" presetClass="path" presetSubtype="0" accel="50000" decel="50000" fill="hold" grpId="0" nodeType="withEffect">
                                  <p:stCondLst>
                                    <p:cond delay="0"/>
                                  </p:stCondLst>
                                  <p:childTnLst>
                                    <p:animMotion origin="layout" path="M 0 0 L 0 0.25 E" pathEditMode="relative" ptsTypes="">
                                      <p:cBhvr>
                                        <p:cTn id="8" dur="2000" fill="hold"/>
                                        <p:tgtEl>
                                          <p:spTgt spid="10"/>
                                        </p:tgtEl>
                                        <p:attrNameLst>
                                          <p:attrName>ppt_x</p:attrName>
                                          <p:attrName>ppt_y</p:attrName>
                                        </p:attrNameLst>
                                      </p:cBhvr>
                                    </p:animMotion>
                                  </p:childTnLst>
                                </p:cTn>
                              </p:par>
                            </p:childTnLst>
                          </p:cTn>
                        </p:par>
                      </p:childTnLst>
                    </p:cTn>
                  </p:par>
                  <p:par>
                    <p:cTn id="9" fill="hold" nodeType="clickPar">
                      <p:stCondLst>
                        <p:cond delay="indefinite"/>
                      </p:stCondLst>
                      <p:childTnLst>
                        <p:par>
                          <p:cTn id="10" fill="hold" nodeType="withGroup">
                            <p:stCondLst>
                              <p:cond delay="0"/>
                            </p:stCondLst>
                            <p:childTnLst>
                              <p:par>
                                <p:cTn id="11" presetID="42" presetClass="path" presetSubtype="0" accel="50000" decel="50000" fill="hold" nodeType="clickEffect">
                                  <p:stCondLst>
                                    <p:cond delay="0"/>
                                  </p:stCondLst>
                                  <p:childTnLst>
                                    <p:animMotion origin="layout" path="M 0 0 L 0 0.25 E" pathEditMode="relative" ptsTypes="">
                                      <p:cBhvr>
                                        <p:cTn id="12" dur="2000" fill="hold"/>
                                        <p:tgtEl>
                                          <p:spTgt spid="14"/>
                                        </p:tgtEl>
                                        <p:attrNameLst>
                                          <p:attrName>ppt_x</p:attrName>
                                          <p:attrName>ppt_y</p:attrName>
                                        </p:attrNameLst>
                                      </p:cBhvr>
                                    </p:animMotion>
                                  </p:childTnLst>
                                </p:cTn>
                              </p:par>
                              <p:par>
                                <p:cTn id="13" presetID="42" presetClass="path" presetSubtype="0" accel="50000" decel="50000" fill="hold" nodeType="withEffect">
                                  <p:stCondLst>
                                    <p:cond delay="0"/>
                                  </p:stCondLst>
                                  <p:childTnLst>
                                    <p:animMotion origin="layout" path="M 0 0 L 0 0.25 E" pathEditMode="relative" ptsTypes="">
                                      <p:cBhvr>
                                        <p:cTn id="14" dur="2000" fill="hold"/>
                                        <p:tgtEl>
                                          <p:spTgt spid="13"/>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72352" y="2084364"/>
            <a:ext cx="10757098" cy="4482124"/>
          </a:xfrm>
          <a:prstGeom prst="rect">
            <a:avLst/>
          </a:prstGeom>
          <a:solidFill>
            <a:schemeClr val="accent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a:solidFill>
                <a:srgbClr val="FFFFFF"/>
              </a:solidFill>
            </a:endParaRPr>
          </a:p>
        </p:txBody>
      </p:sp>
      <p:pic>
        <p:nvPicPr>
          <p:cNvPr id="43010" name="Picture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2221" y="2271119"/>
            <a:ext cx="1277716" cy="2801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Box 4"/>
          <p:cNvSpPr txBox="1"/>
          <p:nvPr/>
        </p:nvSpPr>
        <p:spPr>
          <a:xfrm>
            <a:off x="465333" y="2959370"/>
            <a:ext cx="5826761" cy="875006"/>
          </a:xfrm>
          <a:prstGeom prst="rect">
            <a:avLst/>
          </a:prstGeom>
          <a:noFill/>
        </p:spPr>
        <p:txBody>
          <a:bodyPr>
            <a:spAutoFit/>
          </a:bodyPr>
          <a:lstStyle/>
          <a:p>
            <a:pPr defTabSz="914367">
              <a:defRPr/>
            </a:pPr>
            <a:r>
              <a:rPr lang="en-US" sz="5098" dirty="0">
                <a:gradFill>
                  <a:gsLst>
                    <a:gs pos="2917">
                      <a:srgbClr val="FFFFFF"/>
                    </a:gs>
                    <a:gs pos="100000">
                      <a:srgbClr val="FFFFFF"/>
                    </a:gs>
                  </a:gsLst>
                  <a:lin ang="5400000" scaled="0"/>
                </a:gradFill>
                <a:latin typeface="Segoe UI Light"/>
                <a:ea typeface="ＭＳ Ｐゴシック" charset="0"/>
              </a:rPr>
              <a:t>Get started today!</a:t>
            </a:r>
          </a:p>
        </p:txBody>
      </p:sp>
      <p:sp>
        <p:nvSpPr>
          <p:cNvPr id="6" name="TextBox 5"/>
          <p:cNvSpPr txBox="1"/>
          <p:nvPr/>
        </p:nvSpPr>
        <p:spPr>
          <a:xfrm>
            <a:off x="465333" y="4028769"/>
            <a:ext cx="9381327" cy="1478459"/>
          </a:xfrm>
          <a:prstGeom prst="rect">
            <a:avLst/>
          </a:prstGeom>
          <a:noFill/>
        </p:spPr>
        <p:txBody>
          <a:bodyPr>
            <a:spAutoFit/>
          </a:bodyPr>
          <a:lstStyle/>
          <a:p>
            <a:pPr marL="280121" indent="-280121" defTabSz="914367">
              <a:spcAft>
                <a:spcPts val="1176"/>
              </a:spcAft>
              <a:buFont typeface="Wingdings" pitchFamily="2" charset="2"/>
              <a:buChar char="§"/>
              <a:defRPr/>
            </a:pPr>
            <a:r>
              <a:rPr lang="en-US" sz="2353" dirty="0">
                <a:gradFill>
                  <a:gsLst>
                    <a:gs pos="2917">
                      <a:srgbClr val="FFFFFF"/>
                    </a:gs>
                    <a:gs pos="100000">
                      <a:srgbClr val="FFFFFF"/>
                    </a:gs>
                  </a:gsLst>
                  <a:lin ang="5400000" scaled="0"/>
                </a:gradFill>
                <a:latin typeface="Segoe UI Light"/>
                <a:ea typeface="ＭＳ Ｐゴシック" charset="0"/>
                <a:cs typeface="Segoe UI Light"/>
              </a:rPr>
              <a:t>Have a deeper conversation with our solution experts</a:t>
            </a:r>
            <a:endParaRPr lang="en-US" sz="2353" dirty="0">
              <a:gradFill>
                <a:gsLst>
                  <a:gs pos="2917">
                    <a:srgbClr val="FFFFFF"/>
                  </a:gs>
                  <a:gs pos="100000">
                    <a:srgbClr val="FFFFFF"/>
                  </a:gs>
                </a:gsLst>
                <a:lin ang="5400000" scaled="0"/>
              </a:gradFill>
              <a:latin typeface="Segoe UI Light"/>
              <a:ea typeface="ＭＳ Ｐゴシック" charset="0"/>
            </a:endParaRPr>
          </a:p>
          <a:p>
            <a:pPr marL="280121" lvl="1" indent="-280121" defTabSz="896091" fontAlgn="base">
              <a:spcBef>
                <a:spcPct val="0"/>
              </a:spcBef>
              <a:spcAft>
                <a:spcPts val="1176"/>
              </a:spcAft>
              <a:buFont typeface="Wingdings" pitchFamily="2" charset="2"/>
              <a:buChar char="§"/>
              <a:defRPr/>
            </a:pPr>
            <a:r>
              <a:rPr lang="en-US" sz="2353" dirty="0">
                <a:gradFill>
                  <a:gsLst>
                    <a:gs pos="2917">
                      <a:srgbClr val="FFFFFF"/>
                    </a:gs>
                    <a:gs pos="100000">
                      <a:srgbClr val="FFFFFF"/>
                    </a:gs>
                  </a:gsLst>
                  <a:lin ang="5400000" scaled="0"/>
                </a:gradFill>
                <a:latin typeface="Segoe UI Light"/>
                <a:ea typeface="ＭＳ Ｐゴシック" charset="0"/>
                <a:cs typeface="Segoe UI Light"/>
              </a:rPr>
              <a:t>Explore Microsoft’s datacenters</a:t>
            </a:r>
            <a:endParaRPr lang="en-US" sz="2353" dirty="0">
              <a:solidFill>
                <a:srgbClr val="FFFFFF"/>
              </a:solidFill>
              <a:latin typeface="Segoe UI Light"/>
              <a:ea typeface="ＭＳ Ｐゴシック" charset="0"/>
            </a:endParaRPr>
          </a:p>
          <a:p>
            <a:pPr marL="280121" lvl="1" indent="-280121" defTabSz="896091" fontAlgn="base">
              <a:spcBef>
                <a:spcPct val="0"/>
              </a:spcBef>
              <a:spcAft>
                <a:spcPts val="1176"/>
              </a:spcAft>
              <a:buFont typeface="Wingdings" pitchFamily="2" charset="2"/>
              <a:buChar char="§"/>
              <a:defRPr/>
            </a:pPr>
            <a:r>
              <a:rPr lang="en-US" sz="2353" dirty="0">
                <a:gradFill>
                  <a:gsLst>
                    <a:gs pos="2917">
                      <a:srgbClr val="FFFFFF"/>
                    </a:gs>
                    <a:gs pos="100000">
                      <a:srgbClr val="FFFFFF"/>
                    </a:gs>
                  </a:gsLst>
                  <a:lin ang="5400000" scaled="0"/>
                </a:gradFill>
                <a:latin typeface="Segoe UI Light"/>
                <a:ea typeface="ＭＳ Ｐゴシック" charset="0"/>
                <a:cs typeface="Segoe UI Light"/>
              </a:rPr>
              <a:t>Experience our solutions firsthand with our immersion programs</a:t>
            </a:r>
            <a:endParaRPr lang="en-US" sz="2353" dirty="0">
              <a:gradFill>
                <a:gsLst>
                  <a:gs pos="2917">
                    <a:srgbClr val="FFFFFF"/>
                  </a:gs>
                  <a:gs pos="100000">
                    <a:srgbClr val="FFFFFF"/>
                  </a:gs>
                </a:gsLst>
                <a:lin ang="5400000" scaled="0"/>
              </a:gradFill>
              <a:latin typeface="Segoe UI Light"/>
              <a:ea typeface="ＭＳ Ｐゴシック" charset="0"/>
            </a:endParaRPr>
          </a:p>
        </p:txBody>
      </p:sp>
    </p:spTree>
    <p:extLst>
      <p:ext uri="{BB962C8B-B14F-4D97-AF65-F5344CB8AC3E}">
        <p14:creationId xmlns:p14="http://schemas.microsoft.com/office/powerpoint/2010/main" val="169268297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4034" name="Picture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85564" y="3951915"/>
            <a:ext cx="2376460" cy="5073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4035" name="TextBox 4"/>
          <p:cNvSpPr txBox="1">
            <a:spLocks noChangeArrowheads="1"/>
          </p:cNvSpPr>
          <p:nvPr/>
        </p:nvSpPr>
        <p:spPr bwMode="auto">
          <a:xfrm>
            <a:off x="266127" y="5819467"/>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85" tIns="143430" rIns="179285" bIns="14343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505" fontAlgn="base">
              <a:lnSpc>
                <a:spcPts val="1176"/>
              </a:lnSpc>
              <a:spcBef>
                <a:spcPct val="0"/>
              </a:spcBef>
              <a:spcAft>
                <a:spcPct val="0"/>
              </a:spcAft>
            </a:pPr>
            <a:r>
              <a:rPr lang="en-US" sz="980">
                <a:solidFill>
                  <a:srgbClr val="FFFFFF"/>
                </a:solidFill>
              </a:rPr>
              <a:t>© 2015 </a:t>
            </a:r>
            <a:r>
              <a:rPr lang="en-US" sz="980" dirty="0">
                <a:solidFill>
                  <a:srgbClr val="FFFFFF"/>
                </a:solidFill>
              </a:rPr>
              <a:t>Microsoft Corporation. All rights reserved. Microsoft, Windows, Windows Vista and other product names are or may be registered trademarks and/or trademarks in the U.S. and/or other countries.</a:t>
            </a:r>
          </a:p>
          <a:p>
            <a:pPr defTabSz="913505" fontAlgn="base">
              <a:lnSpc>
                <a:spcPts val="1176"/>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505" fontAlgn="base">
              <a:lnSpc>
                <a:spcPts val="1176"/>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505" fontAlgn="base">
              <a:lnSpc>
                <a:spcPts val="1176"/>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806699518"/>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3" name="Rectangle 2"/>
          <p:cNvSpPr/>
          <p:nvPr/>
        </p:nvSpPr>
        <p:spPr bwMode="auto">
          <a:xfrm>
            <a:off x="1" y="487"/>
            <a:ext cx="12192000" cy="6299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solidFill>
                  <a:srgbClr val="FFFFFF"/>
                </a:solidFill>
                <a:ea typeface="Segoe UI" pitchFamily="34" charset="0"/>
                <a:cs typeface="Segoe UI" pitchFamily="34" charset="0"/>
              </a:rPr>
              <a:t>DO NOT SHOW – FACILITATOR NOTES</a:t>
            </a:r>
          </a:p>
        </p:txBody>
      </p:sp>
      <p:sp>
        <p:nvSpPr>
          <p:cNvPr id="2" name="TextBox 1"/>
          <p:cNvSpPr txBox="1"/>
          <p:nvPr/>
        </p:nvSpPr>
        <p:spPr>
          <a:xfrm>
            <a:off x="1" y="538324"/>
            <a:ext cx="11023603" cy="5930497"/>
          </a:xfrm>
          <a:prstGeom prst="rect">
            <a:avLst/>
          </a:prstGeom>
          <a:noFill/>
        </p:spPr>
        <p:txBody>
          <a:bodyPr wrap="square" lIns="179285" tIns="143428" rIns="179285" bIns="143428" rtlCol="0">
            <a:spAutoFit/>
          </a:bodyPr>
          <a:lstStyle/>
          <a:p>
            <a:pPr defTabSz="914367">
              <a:lnSpc>
                <a:spcPct val="90000"/>
              </a:lnSpc>
              <a:spcAft>
                <a:spcPts val="1176"/>
              </a:spcAft>
            </a:pPr>
            <a:r>
              <a:rPr lang="en-US" sz="3529" dirty="0">
                <a:solidFill>
                  <a:srgbClr val="282828"/>
                </a:solidFill>
              </a:rPr>
              <a:t>Facilitators:  </a:t>
            </a:r>
          </a:p>
          <a:p>
            <a:pPr defTabSz="914367">
              <a:lnSpc>
                <a:spcPct val="90000"/>
              </a:lnSpc>
              <a:spcAft>
                <a:spcPts val="1765"/>
              </a:spcAft>
            </a:pPr>
            <a:r>
              <a:rPr lang="en-US" sz="2745" dirty="0" smtClean="0">
                <a:solidFill>
                  <a:srgbClr val="282828"/>
                </a:solidFill>
              </a:rPr>
              <a:t>Envision (L100):  </a:t>
            </a:r>
            <a:r>
              <a:rPr lang="en-US" sz="1961" dirty="0">
                <a:solidFill>
                  <a:srgbClr val="282828"/>
                </a:solidFill>
              </a:rPr>
              <a:t>Present </a:t>
            </a:r>
            <a:r>
              <a:rPr lang="en-US" sz="1961" dirty="0">
                <a:solidFill>
                  <a:srgbClr val="282828"/>
                </a:solidFill>
              </a:rPr>
              <a:t>the </a:t>
            </a:r>
            <a:r>
              <a:rPr lang="en-US" sz="1961" dirty="0">
                <a:solidFill>
                  <a:srgbClr val="282828"/>
                </a:solidFill>
              </a:rPr>
              <a:t>Microsoft Cloud Platform slides for the Envision </a:t>
            </a:r>
            <a:r>
              <a:rPr lang="en-US" sz="1961" dirty="0" smtClean="0">
                <a:solidFill>
                  <a:srgbClr val="282828"/>
                </a:solidFill>
              </a:rPr>
              <a:t>session.</a:t>
            </a:r>
          </a:p>
          <a:p>
            <a:pPr lvl="1" defTabSz="914367">
              <a:lnSpc>
                <a:spcPct val="90000"/>
              </a:lnSpc>
              <a:spcAft>
                <a:spcPts val="1800"/>
              </a:spcAft>
            </a:pPr>
            <a:r>
              <a:rPr lang="en-US" dirty="0" smtClean="0">
                <a:solidFill>
                  <a:srgbClr val="282828"/>
                </a:solidFill>
              </a:rPr>
              <a:t>More information on how to deliver the Microsoft Cloud Platform messaging can be found on the </a:t>
            </a:r>
            <a:r>
              <a:rPr lang="en-US" dirty="0" smtClean="0">
                <a:solidFill>
                  <a:srgbClr val="282828"/>
                </a:solidFill>
                <a:hlinkClick r:id="rId2"/>
              </a:rPr>
              <a:t>Cloud Platform Resource page</a:t>
            </a:r>
            <a:r>
              <a:rPr lang="en-US" dirty="0" smtClean="0">
                <a:solidFill>
                  <a:srgbClr val="282828"/>
                </a:solidFill>
              </a:rPr>
              <a:t>.</a:t>
            </a:r>
          </a:p>
          <a:p>
            <a:pPr defTabSz="914367">
              <a:lnSpc>
                <a:spcPct val="90000"/>
              </a:lnSpc>
              <a:spcAft>
                <a:spcPts val="1765"/>
              </a:spcAft>
            </a:pPr>
            <a:r>
              <a:rPr lang="en-US" sz="2745" dirty="0">
                <a:solidFill>
                  <a:srgbClr val="282828"/>
                </a:solidFill>
              </a:rPr>
              <a:t>Evolve (L200): </a:t>
            </a:r>
            <a:r>
              <a:rPr lang="en-US" sz="1961" dirty="0" smtClean="0">
                <a:solidFill>
                  <a:srgbClr val="282828"/>
                </a:solidFill>
              </a:rPr>
              <a:t>Present the Transform the Datacenter slides for the Evolve session.</a:t>
            </a:r>
          </a:p>
          <a:p>
            <a:pPr marL="457183" lvl="1" defTabSz="914367">
              <a:lnSpc>
                <a:spcPct val="90000"/>
              </a:lnSpc>
              <a:spcAft>
                <a:spcPts val="1800"/>
              </a:spcAft>
            </a:pPr>
            <a:r>
              <a:rPr lang="en-US" dirty="0" smtClean="0">
                <a:solidFill>
                  <a:srgbClr val="282828"/>
                </a:solidFill>
              </a:rPr>
              <a:t>More information on how to deliver the Transform the Datacenter messaging can be found on the </a:t>
            </a:r>
            <a:r>
              <a:rPr lang="en-US" dirty="0" smtClean="0">
                <a:solidFill>
                  <a:srgbClr val="282828"/>
                </a:solidFill>
                <a:hlinkClick r:id="rId3"/>
              </a:rPr>
              <a:t>Transform the Datacenter Resource page</a:t>
            </a:r>
            <a:r>
              <a:rPr lang="en-US" dirty="0" smtClean="0">
                <a:solidFill>
                  <a:srgbClr val="282828"/>
                </a:solidFill>
              </a:rPr>
              <a:t>.</a:t>
            </a:r>
          </a:p>
          <a:p>
            <a:pPr indent="-17" defTabSz="914367">
              <a:lnSpc>
                <a:spcPct val="90000"/>
              </a:lnSpc>
              <a:spcAft>
                <a:spcPts val="1800"/>
              </a:spcAft>
            </a:pPr>
            <a:r>
              <a:rPr lang="en-US" sz="2745" dirty="0" smtClean="0">
                <a:solidFill>
                  <a:srgbClr val="282828"/>
                </a:solidFill>
              </a:rPr>
              <a:t>Experience (L300):  </a:t>
            </a:r>
            <a:r>
              <a:rPr lang="en-US" sz="1961" dirty="0">
                <a:solidFill>
                  <a:srgbClr val="282828"/>
                </a:solidFill>
              </a:rPr>
              <a:t>Begin with Experience slides for E1A, then perform the E1A labs in the Immersion Environment. Continue with E1B, E2A, etc. </a:t>
            </a:r>
            <a:r>
              <a:rPr lang="en-US" sz="1961" dirty="0">
                <a:solidFill>
                  <a:srgbClr val="282828"/>
                </a:solidFill>
              </a:rPr>
              <a:t>You do </a:t>
            </a:r>
            <a:r>
              <a:rPr lang="en-US" sz="1961" dirty="0" smtClean="0">
                <a:solidFill>
                  <a:srgbClr val="282828"/>
                </a:solidFill>
              </a:rPr>
              <a:t>NOT </a:t>
            </a:r>
            <a:r>
              <a:rPr lang="en-US" sz="1961" dirty="0">
                <a:solidFill>
                  <a:srgbClr val="282828"/>
                </a:solidFill>
              </a:rPr>
              <a:t>have to present all experiences and </a:t>
            </a:r>
            <a:r>
              <a:rPr lang="en-US" sz="1961" dirty="0" smtClean="0">
                <a:solidFill>
                  <a:srgbClr val="282828"/>
                </a:solidFill>
              </a:rPr>
              <a:t>stories, nor do you need to present them in order. Present the experiences and stories that are relevant to your customers.</a:t>
            </a:r>
            <a:endParaRPr lang="en-US" sz="1961" dirty="0">
              <a:solidFill>
                <a:srgbClr val="282828"/>
              </a:solidFill>
            </a:endParaRPr>
          </a:p>
          <a:p>
            <a:pPr defTabSz="914367">
              <a:lnSpc>
                <a:spcPct val="90000"/>
              </a:lnSpc>
              <a:spcAft>
                <a:spcPts val="588"/>
              </a:spcAft>
            </a:pPr>
            <a:r>
              <a:rPr lang="en-US" sz="1765" dirty="0" smtClean="0">
                <a:solidFill>
                  <a:srgbClr val="282828"/>
                </a:solidFill>
              </a:rPr>
              <a:t>These 3 modules of content may be presented in a single day, or over a course of several days. Feel free to customize the presentation as you feel necessary.</a:t>
            </a:r>
            <a:endParaRPr lang="en-US" sz="1765" dirty="0">
              <a:solidFill>
                <a:srgbClr val="282828"/>
              </a:solidFill>
            </a:endParaRPr>
          </a:p>
          <a:p>
            <a:pPr defTabSz="914367">
              <a:lnSpc>
                <a:spcPct val="90000"/>
              </a:lnSpc>
              <a:spcAft>
                <a:spcPts val="588"/>
              </a:spcAft>
            </a:pPr>
            <a:endParaRPr lang="en-US" sz="2353" dirty="0" err="1">
              <a:solidFill>
                <a:srgbClr val="282828"/>
              </a:solidFill>
            </a:endParaRPr>
          </a:p>
        </p:txBody>
      </p:sp>
    </p:spTree>
    <p:extLst>
      <p:ext uri="{BB962C8B-B14F-4D97-AF65-F5344CB8AC3E}">
        <p14:creationId xmlns:p14="http://schemas.microsoft.com/office/powerpoint/2010/main" val="341652240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6" name="TextBox 105"/>
          <p:cNvSpPr txBox="1"/>
          <p:nvPr/>
        </p:nvSpPr>
        <p:spPr>
          <a:xfrm>
            <a:off x="1557" y="2355534"/>
            <a:ext cx="5557834" cy="1373831"/>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fontAlgn="base">
              <a:lnSpc>
                <a:spcPct val="90000"/>
              </a:lnSpc>
              <a:spcBef>
                <a:spcPct val="0"/>
              </a:spcBef>
              <a:spcAft>
                <a:spcPts val="980"/>
              </a:spcAft>
              <a:defRPr/>
            </a:pPr>
            <a:r>
              <a:rPr lang="en-US" sz="2745" dirty="0">
                <a:solidFill>
                  <a:srgbClr val="008272"/>
                </a:solidFill>
                <a:latin typeface="Segoe UI Light"/>
                <a:ea typeface="ＭＳ Ｐゴシック" charset="0"/>
              </a:rPr>
              <a:t>Empower your users</a:t>
            </a:r>
          </a:p>
          <a:p>
            <a:pPr fontAlgn="base">
              <a:lnSpc>
                <a:spcPct val="90000"/>
              </a:lnSpc>
              <a:spcBef>
                <a:spcPct val="0"/>
              </a:spcBef>
              <a:spcAft>
                <a:spcPts val="980"/>
              </a:spcAft>
              <a:defRPr/>
            </a:pPr>
            <a:r>
              <a:rPr lang="en-US" sz="1372" dirty="0">
                <a:ea typeface="ＭＳ Ｐゴシック" charset="0"/>
              </a:rPr>
              <a:t>Enable users to be more productive by providing consistent self-service access to corporate apps and data across a wide range of devices.</a:t>
            </a:r>
            <a:endParaRPr lang="en-US" sz="1371" dirty="0">
              <a:ea typeface="ＭＳ Ｐゴシック" charset="0"/>
            </a:endParaRPr>
          </a:p>
        </p:txBody>
      </p:sp>
      <p:sp>
        <p:nvSpPr>
          <p:cNvPr id="113" name="TextBox 112"/>
          <p:cNvSpPr txBox="1"/>
          <p:nvPr/>
        </p:nvSpPr>
        <p:spPr>
          <a:xfrm>
            <a:off x="-8425" y="3757378"/>
            <a:ext cx="5557834" cy="1195234"/>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fontAlgn="base">
              <a:lnSpc>
                <a:spcPct val="90000"/>
              </a:lnSpc>
              <a:spcBef>
                <a:spcPct val="0"/>
              </a:spcBef>
              <a:spcAft>
                <a:spcPts val="980"/>
              </a:spcAft>
              <a:defRPr/>
            </a:pPr>
            <a:r>
              <a:rPr lang="en-US" sz="2745" dirty="0">
                <a:solidFill>
                  <a:srgbClr val="008272"/>
                </a:solidFill>
                <a:latin typeface="Segoe UI Light"/>
                <a:ea typeface="ＭＳ Ｐゴシック" charset="0"/>
              </a:rPr>
              <a:t>Help IT protect your data</a:t>
            </a:r>
          </a:p>
          <a:p>
            <a:pPr fontAlgn="base">
              <a:lnSpc>
                <a:spcPct val="90000"/>
              </a:lnSpc>
              <a:spcBef>
                <a:spcPct val="0"/>
              </a:spcBef>
              <a:spcAft>
                <a:spcPts val="980"/>
              </a:spcAft>
              <a:defRPr/>
            </a:pPr>
            <a:r>
              <a:rPr lang="en-US" sz="1372" dirty="0">
                <a:ea typeface="ＭＳ Ｐゴシック" charset="0"/>
              </a:rPr>
              <a:t>Give IT the tools to protect corporate data, manage devices, and ensure users have approved access on approved devices.</a:t>
            </a:r>
            <a:endParaRPr lang="en-US" sz="1371" dirty="0">
              <a:ea typeface="ＭＳ Ｐゴシック" charset="0"/>
            </a:endParaRPr>
          </a:p>
        </p:txBody>
      </p:sp>
      <p:sp>
        <p:nvSpPr>
          <p:cNvPr id="114" name="TextBox 113"/>
          <p:cNvSpPr txBox="1"/>
          <p:nvPr/>
        </p:nvSpPr>
        <p:spPr>
          <a:xfrm>
            <a:off x="1557" y="5056884"/>
            <a:ext cx="4969936" cy="1777287"/>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fontAlgn="base">
              <a:lnSpc>
                <a:spcPct val="90000"/>
              </a:lnSpc>
              <a:spcBef>
                <a:spcPct val="0"/>
              </a:spcBef>
              <a:spcAft>
                <a:spcPts val="980"/>
              </a:spcAft>
              <a:defRPr/>
            </a:pPr>
            <a:r>
              <a:rPr lang="en-US" sz="2745" dirty="0">
                <a:solidFill>
                  <a:srgbClr val="008272"/>
                </a:solidFill>
                <a:latin typeface="Segoe UI Light"/>
                <a:ea typeface="ＭＳ Ｐゴシック" charset="0"/>
              </a:rPr>
              <a:t>Unify your environment</a:t>
            </a:r>
          </a:p>
          <a:p>
            <a:pPr fontAlgn="base">
              <a:lnSpc>
                <a:spcPct val="90000"/>
              </a:lnSpc>
              <a:spcBef>
                <a:spcPct val="0"/>
              </a:spcBef>
              <a:spcAft>
                <a:spcPts val="980"/>
              </a:spcAft>
              <a:defRPr/>
            </a:pPr>
            <a:r>
              <a:rPr lang="en-US" sz="1372" dirty="0">
                <a:ea typeface="ＭＳ Ｐゴシック" charset="0"/>
              </a:rPr>
              <a:t>Build on existing technology and skillset investments, extend workloads to the cloud for efficiency and increased functionality, and build a forward-looking approach to managing the technologies your people use to be as productive as possible.</a:t>
            </a:r>
            <a:endParaRPr lang="en-US" sz="1371" dirty="0">
              <a:ea typeface="ＭＳ Ｐゴシック" charset="0"/>
            </a:endParaRPr>
          </a:p>
        </p:txBody>
      </p:sp>
      <p:sp>
        <p:nvSpPr>
          <p:cNvPr id="43" name="Rectangle 42"/>
          <p:cNvSpPr/>
          <p:nvPr/>
        </p:nvSpPr>
        <p:spPr bwMode="auto">
          <a:xfrm>
            <a:off x="1557" y="3600"/>
            <a:ext cx="12188887" cy="223794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itle 1"/>
          <p:cNvSpPr txBox="1">
            <a:spLocks/>
          </p:cNvSpPr>
          <p:nvPr/>
        </p:nvSpPr>
        <p:spPr>
          <a:xfrm>
            <a:off x="270796" y="291515"/>
            <a:ext cx="11651967" cy="899537"/>
          </a:xfrm>
          <a:prstGeom prst="rect">
            <a:avLst/>
          </a:prstGeom>
        </p:spPr>
        <p:txBody>
          <a:bodyPr/>
          <a:lstStyle>
            <a:lvl1pPr algn="l" defTabSz="932901" rtl="0" eaLnBrk="1" latinLnBrk="0" hangingPunct="1">
              <a:lnSpc>
                <a:spcPct val="90000"/>
              </a:lnSpc>
              <a:spcBef>
                <a:spcPct val="0"/>
              </a:spcBef>
              <a:buNone/>
              <a:defRPr lang="en-US" sz="5200" b="0" kern="1200" cap="none" spc="-102" baseline="0">
                <a:ln w="3175">
                  <a:noFill/>
                </a:ln>
                <a:solidFill>
                  <a:schemeClr val="tx2"/>
                </a:solidFill>
                <a:effectLst/>
                <a:latin typeface="+mj-lt"/>
                <a:ea typeface="+mn-ea"/>
                <a:cs typeface="Segoe UI" pitchFamily="34" charset="0"/>
              </a:defRPr>
            </a:lvl1pPr>
          </a:lstStyle>
          <a:p>
            <a:pPr fontAlgn="base">
              <a:spcAft>
                <a:spcPct val="0"/>
              </a:spcAft>
              <a:defRPr/>
            </a:pPr>
            <a:r>
              <a:rPr sz="5294" spc="0" dirty="0">
                <a:solidFill>
                  <a:srgbClr val="FFFFFF"/>
                </a:solidFill>
              </a:rPr>
              <a:t>Empower enterprise mobility</a:t>
            </a:r>
          </a:p>
          <a:p>
            <a:pPr fontAlgn="base">
              <a:spcBef>
                <a:spcPts val="294"/>
              </a:spcBef>
              <a:spcAft>
                <a:spcPct val="0"/>
              </a:spcAft>
              <a:defRPr/>
            </a:pPr>
            <a:r>
              <a:rPr sz="2745" spc="0" dirty="0">
                <a:solidFill>
                  <a:srgbClr val="FFFFFF"/>
                </a:solidFill>
              </a:rPr>
              <a:t>Microsoft gives you innovative solutions to unify user, data, and device management in a people-centric approach to expanding productivity</a:t>
            </a:r>
          </a:p>
        </p:txBody>
      </p:sp>
      <p:grpSp>
        <p:nvGrpSpPr>
          <p:cNvPr id="100" name="Group 80"/>
          <p:cNvGrpSpPr>
            <a:grpSpLocks/>
          </p:cNvGrpSpPr>
          <p:nvPr/>
        </p:nvGrpSpPr>
        <p:grpSpPr bwMode="auto">
          <a:xfrm>
            <a:off x="4966133" y="4056187"/>
            <a:ext cx="7247652" cy="2805998"/>
            <a:chOff x="13708067" y="7750176"/>
            <a:chExt cx="17978434" cy="6962779"/>
          </a:xfrm>
        </p:grpSpPr>
        <p:sp>
          <p:nvSpPr>
            <p:cNvPr id="101" name="Freeform 5"/>
            <p:cNvSpPr>
              <a:spLocks/>
            </p:cNvSpPr>
            <p:nvPr/>
          </p:nvSpPr>
          <p:spPr bwMode="auto">
            <a:xfrm>
              <a:off x="21027614" y="10279638"/>
              <a:ext cx="3783310" cy="3263196"/>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02" name="Freeform 6"/>
            <p:cNvSpPr>
              <a:spLocks/>
            </p:cNvSpPr>
            <p:nvPr/>
          </p:nvSpPr>
          <p:spPr bwMode="auto">
            <a:xfrm>
              <a:off x="21853766" y="13056251"/>
              <a:ext cx="108095" cy="166057"/>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03" name="Freeform 7"/>
            <p:cNvSpPr>
              <a:spLocks/>
            </p:cNvSpPr>
            <p:nvPr/>
          </p:nvSpPr>
          <p:spPr bwMode="auto">
            <a:xfrm>
              <a:off x="21892371" y="12897920"/>
              <a:ext cx="108095" cy="169918"/>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04" name="Freeform 8"/>
            <p:cNvSpPr>
              <a:spLocks/>
            </p:cNvSpPr>
            <p:nvPr/>
          </p:nvSpPr>
          <p:spPr bwMode="auto">
            <a:xfrm>
              <a:off x="21927114" y="12739586"/>
              <a:ext cx="104235" cy="169918"/>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05" name="Freeform 9"/>
            <p:cNvSpPr>
              <a:spLocks/>
            </p:cNvSpPr>
            <p:nvPr/>
          </p:nvSpPr>
          <p:spPr bwMode="auto">
            <a:xfrm>
              <a:off x="21965720" y="12588978"/>
              <a:ext cx="104235" cy="162194"/>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07" name="Freeform 10"/>
            <p:cNvSpPr>
              <a:spLocks/>
            </p:cNvSpPr>
            <p:nvPr/>
          </p:nvSpPr>
          <p:spPr bwMode="auto">
            <a:xfrm>
              <a:off x="22243677" y="12913367"/>
              <a:ext cx="617683" cy="1799586"/>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08" name="Freeform 11"/>
            <p:cNvSpPr>
              <a:spLocks/>
            </p:cNvSpPr>
            <p:nvPr/>
          </p:nvSpPr>
          <p:spPr bwMode="auto">
            <a:xfrm>
              <a:off x="23648907" y="12913367"/>
              <a:ext cx="617683" cy="1799586"/>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09" name="Freeform 12"/>
            <p:cNvSpPr>
              <a:spLocks/>
            </p:cNvSpPr>
            <p:nvPr/>
          </p:nvSpPr>
          <p:spPr bwMode="auto">
            <a:xfrm>
              <a:off x="20741936" y="13372916"/>
              <a:ext cx="1026899" cy="1340036"/>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10" name="Freeform 13"/>
            <p:cNvSpPr>
              <a:spLocks/>
            </p:cNvSpPr>
            <p:nvPr/>
          </p:nvSpPr>
          <p:spPr bwMode="auto">
            <a:xfrm>
              <a:off x="27011421" y="10974757"/>
              <a:ext cx="1092526" cy="1757105"/>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11" name="Freeform 14"/>
            <p:cNvSpPr>
              <a:spLocks/>
            </p:cNvSpPr>
            <p:nvPr/>
          </p:nvSpPr>
          <p:spPr bwMode="auto">
            <a:xfrm>
              <a:off x="26382155" y="12542637"/>
              <a:ext cx="1397508" cy="2170316"/>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12" name="Freeform 15"/>
            <p:cNvSpPr>
              <a:spLocks/>
            </p:cNvSpPr>
            <p:nvPr/>
          </p:nvSpPr>
          <p:spPr bwMode="auto">
            <a:xfrm>
              <a:off x="24448036" y="10974757"/>
              <a:ext cx="1131131" cy="1757105"/>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15" name="Freeform 16"/>
            <p:cNvSpPr>
              <a:spLocks/>
            </p:cNvSpPr>
            <p:nvPr/>
          </p:nvSpPr>
          <p:spPr bwMode="auto">
            <a:xfrm>
              <a:off x="24787761" y="12542637"/>
              <a:ext cx="1447694" cy="2170316"/>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16" name="Freeform 17"/>
            <p:cNvSpPr>
              <a:spLocks/>
            </p:cNvSpPr>
            <p:nvPr/>
          </p:nvSpPr>
          <p:spPr bwMode="auto">
            <a:xfrm>
              <a:off x="13993746" y="10279638"/>
              <a:ext cx="3783310" cy="3263196"/>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17" name="Freeform 18"/>
            <p:cNvSpPr>
              <a:spLocks/>
            </p:cNvSpPr>
            <p:nvPr/>
          </p:nvSpPr>
          <p:spPr bwMode="auto">
            <a:xfrm>
              <a:off x="14819897" y="13056251"/>
              <a:ext cx="108095" cy="166057"/>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18" name="Freeform 19"/>
            <p:cNvSpPr>
              <a:spLocks/>
            </p:cNvSpPr>
            <p:nvPr/>
          </p:nvSpPr>
          <p:spPr bwMode="auto">
            <a:xfrm>
              <a:off x="14854640" y="12897920"/>
              <a:ext cx="104235" cy="169918"/>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19" name="Freeform 20"/>
            <p:cNvSpPr>
              <a:spLocks/>
            </p:cNvSpPr>
            <p:nvPr/>
          </p:nvSpPr>
          <p:spPr bwMode="auto">
            <a:xfrm>
              <a:off x="14893246" y="12739586"/>
              <a:ext cx="104235" cy="169918"/>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0" name="Freeform 21"/>
            <p:cNvSpPr>
              <a:spLocks/>
            </p:cNvSpPr>
            <p:nvPr/>
          </p:nvSpPr>
          <p:spPr bwMode="auto">
            <a:xfrm>
              <a:off x="14927992" y="12588978"/>
              <a:ext cx="108095" cy="162194"/>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1" name="Freeform 22"/>
            <p:cNvSpPr>
              <a:spLocks/>
            </p:cNvSpPr>
            <p:nvPr/>
          </p:nvSpPr>
          <p:spPr bwMode="auto">
            <a:xfrm>
              <a:off x="15209808" y="12913367"/>
              <a:ext cx="617683" cy="1799586"/>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2" name="Freeform 23"/>
            <p:cNvSpPr>
              <a:spLocks/>
            </p:cNvSpPr>
            <p:nvPr/>
          </p:nvSpPr>
          <p:spPr bwMode="auto">
            <a:xfrm>
              <a:off x="16611179" y="12913367"/>
              <a:ext cx="617683" cy="1799586"/>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3" name="Freeform 24"/>
            <p:cNvSpPr>
              <a:spLocks/>
            </p:cNvSpPr>
            <p:nvPr/>
          </p:nvSpPr>
          <p:spPr bwMode="auto">
            <a:xfrm>
              <a:off x="13708067" y="13372916"/>
              <a:ext cx="1019177" cy="1340036"/>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4" name="Freeform 25"/>
            <p:cNvSpPr>
              <a:spLocks/>
            </p:cNvSpPr>
            <p:nvPr/>
          </p:nvSpPr>
          <p:spPr bwMode="auto">
            <a:xfrm>
              <a:off x="17414167" y="10974757"/>
              <a:ext cx="1131131" cy="1757105"/>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5" name="Freeform 26"/>
            <p:cNvSpPr>
              <a:spLocks/>
            </p:cNvSpPr>
            <p:nvPr/>
          </p:nvSpPr>
          <p:spPr bwMode="auto">
            <a:xfrm>
              <a:off x="17753893" y="12542637"/>
              <a:ext cx="1447694" cy="2170316"/>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6" name="Freeform 27"/>
            <p:cNvSpPr>
              <a:spLocks/>
            </p:cNvSpPr>
            <p:nvPr/>
          </p:nvSpPr>
          <p:spPr bwMode="auto">
            <a:xfrm>
              <a:off x="20016158" y="10951586"/>
              <a:ext cx="1216063" cy="1757105"/>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7" name="Freeform 28"/>
            <p:cNvSpPr>
              <a:spLocks/>
            </p:cNvSpPr>
            <p:nvPr/>
          </p:nvSpPr>
          <p:spPr bwMode="auto">
            <a:xfrm>
              <a:off x="19313543" y="12515603"/>
              <a:ext cx="1555789" cy="2170316"/>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8" name="Freeform 30"/>
            <p:cNvSpPr>
              <a:spLocks/>
            </p:cNvSpPr>
            <p:nvPr/>
          </p:nvSpPr>
          <p:spPr bwMode="auto">
            <a:xfrm>
              <a:off x="30593985" y="13056251"/>
              <a:ext cx="108095" cy="166057"/>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29" name="Freeform 31"/>
            <p:cNvSpPr>
              <a:spLocks/>
            </p:cNvSpPr>
            <p:nvPr/>
          </p:nvSpPr>
          <p:spPr bwMode="auto">
            <a:xfrm>
              <a:off x="30632590" y="12897920"/>
              <a:ext cx="104233" cy="169918"/>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30" name="Freeform 32"/>
            <p:cNvSpPr>
              <a:spLocks/>
            </p:cNvSpPr>
            <p:nvPr/>
          </p:nvSpPr>
          <p:spPr bwMode="auto">
            <a:xfrm>
              <a:off x="30671195" y="12739586"/>
              <a:ext cx="104233" cy="169918"/>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31" name="Freeform 33"/>
            <p:cNvSpPr>
              <a:spLocks/>
            </p:cNvSpPr>
            <p:nvPr/>
          </p:nvSpPr>
          <p:spPr bwMode="auto">
            <a:xfrm>
              <a:off x="30702079" y="12588978"/>
              <a:ext cx="111954" cy="162194"/>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32" name="Freeform 37"/>
            <p:cNvSpPr>
              <a:spLocks/>
            </p:cNvSpPr>
            <p:nvPr/>
          </p:nvSpPr>
          <p:spPr bwMode="auto">
            <a:xfrm>
              <a:off x="17796357" y="7750176"/>
              <a:ext cx="4949188" cy="3436977"/>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33" name="Rectangle 38"/>
            <p:cNvSpPr>
              <a:spLocks noChangeArrowheads="1"/>
            </p:cNvSpPr>
            <p:nvPr/>
          </p:nvSpPr>
          <p:spPr bwMode="auto">
            <a:xfrm>
              <a:off x="17954640" y="7900786"/>
              <a:ext cx="4632625" cy="2633729"/>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defTabSz="914314">
                <a:defRPr/>
              </a:pPr>
              <a:endParaRPr lang="en-US">
                <a:solidFill>
                  <a:srgbClr val="505050"/>
                </a:solidFill>
                <a:ea typeface="ＭＳ Ｐゴシック" charset="0"/>
              </a:endParaRPr>
            </a:p>
          </p:txBody>
        </p:sp>
        <p:sp>
          <p:nvSpPr>
            <p:cNvPr id="134" name="Freeform 39"/>
            <p:cNvSpPr>
              <a:spLocks/>
            </p:cNvSpPr>
            <p:nvPr/>
          </p:nvSpPr>
          <p:spPr bwMode="auto">
            <a:xfrm>
              <a:off x="24448036" y="10322116"/>
              <a:ext cx="2374219" cy="764631"/>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35" name="Freeform 40"/>
            <p:cNvSpPr>
              <a:spLocks/>
            </p:cNvSpPr>
            <p:nvPr/>
          </p:nvSpPr>
          <p:spPr bwMode="auto">
            <a:xfrm>
              <a:off x="18105199" y="11187153"/>
              <a:ext cx="1729513" cy="55609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36" name="Freeform 41"/>
            <p:cNvSpPr>
              <a:spLocks/>
            </p:cNvSpPr>
            <p:nvPr/>
          </p:nvSpPr>
          <p:spPr bwMode="auto">
            <a:xfrm>
              <a:off x="20768958" y="11187153"/>
              <a:ext cx="1733375" cy="55609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37" name="Rectangle 42"/>
            <p:cNvSpPr>
              <a:spLocks noChangeArrowheads="1"/>
            </p:cNvSpPr>
            <p:nvPr/>
          </p:nvSpPr>
          <p:spPr bwMode="auto">
            <a:xfrm>
              <a:off x="25590750" y="11086747"/>
              <a:ext cx="999874" cy="196952"/>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defTabSz="914314">
                <a:defRPr/>
              </a:pPr>
              <a:endParaRPr lang="en-US">
                <a:solidFill>
                  <a:srgbClr val="505050"/>
                </a:solidFill>
                <a:ea typeface="ＭＳ Ｐゴシック" charset="0"/>
              </a:endParaRPr>
            </a:p>
          </p:txBody>
        </p:sp>
        <p:sp>
          <p:nvSpPr>
            <p:cNvPr id="138" name="Freeform 43"/>
            <p:cNvSpPr>
              <a:spLocks/>
            </p:cNvSpPr>
            <p:nvPr/>
          </p:nvSpPr>
          <p:spPr bwMode="auto">
            <a:xfrm>
              <a:off x="27937946" y="11333901"/>
              <a:ext cx="2308591" cy="76077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39" name="Rectangle 44"/>
            <p:cNvSpPr>
              <a:spLocks noChangeArrowheads="1"/>
            </p:cNvSpPr>
            <p:nvPr/>
          </p:nvSpPr>
          <p:spPr bwMode="auto">
            <a:xfrm>
              <a:off x="28173437" y="12094671"/>
              <a:ext cx="965130" cy="200812"/>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defTabSz="914314">
                <a:defRPr/>
              </a:pPr>
              <a:endParaRPr lang="en-US">
                <a:solidFill>
                  <a:srgbClr val="505050"/>
                </a:solidFill>
                <a:ea typeface="ＭＳ Ｐゴシック" charset="0"/>
              </a:endParaRPr>
            </a:p>
          </p:txBody>
        </p:sp>
        <p:sp>
          <p:nvSpPr>
            <p:cNvPr id="140" name="Freeform 45"/>
            <p:cNvSpPr>
              <a:spLocks/>
            </p:cNvSpPr>
            <p:nvPr/>
          </p:nvSpPr>
          <p:spPr bwMode="auto">
            <a:xfrm>
              <a:off x="23382532" y="10132891"/>
              <a:ext cx="4416436" cy="181502"/>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41" name="Freeform 46"/>
            <p:cNvSpPr>
              <a:spLocks/>
            </p:cNvSpPr>
            <p:nvPr/>
          </p:nvSpPr>
          <p:spPr bwMode="auto">
            <a:xfrm>
              <a:off x="23382532" y="10059516"/>
              <a:ext cx="4416436" cy="73375"/>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145" name="Freeform 47"/>
            <p:cNvSpPr>
              <a:spLocks/>
            </p:cNvSpPr>
            <p:nvPr/>
          </p:nvSpPr>
          <p:spPr bwMode="auto">
            <a:xfrm>
              <a:off x="24085147" y="8047534"/>
              <a:ext cx="3022787" cy="1892268"/>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35" name="Freeform 48"/>
            <p:cNvSpPr>
              <a:spLocks noEditPoints="1"/>
            </p:cNvSpPr>
            <p:nvPr/>
          </p:nvSpPr>
          <p:spPr bwMode="auto">
            <a:xfrm>
              <a:off x="23946168" y="7939404"/>
              <a:ext cx="3296885" cy="2120112"/>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36" name="Freeform 49"/>
            <p:cNvSpPr>
              <a:spLocks/>
            </p:cNvSpPr>
            <p:nvPr/>
          </p:nvSpPr>
          <p:spPr bwMode="auto">
            <a:xfrm>
              <a:off x="27548032" y="9256267"/>
              <a:ext cx="3266001" cy="2069910"/>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37" name="Rectangle 50"/>
            <p:cNvSpPr>
              <a:spLocks noChangeArrowheads="1"/>
            </p:cNvSpPr>
            <p:nvPr/>
          </p:nvSpPr>
          <p:spPr bwMode="auto">
            <a:xfrm>
              <a:off x="27744920" y="9457079"/>
              <a:ext cx="2625154" cy="1672149"/>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defTabSz="914314">
                <a:defRPr/>
              </a:pPr>
              <a:endParaRPr lang="en-US">
                <a:solidFill>
                  <a:srgbClr val="505050"/>
                </a:solidFill>
                <a:ea typeface="ＭＳ Ｐゴシック" charset="0"/>
              </a:endParaRPr>
            </a:p>
          </p:txBody>
        </p:sp>
        <p:sp>
          <p:nvSpPr>
            <p:cNvPr id="238" name="Freeform 51"/>
            <p:cNvSpPr>
              <a:spLocks/>
            </p:cNvSpPr>
            <p:nvPr/>
          </p:nvSpPr>
          <p:spPr bwMode="auto">
            <a:xfrm>
              <a:off x="23961610" y="10708293"/>
              <a:ext cx="169863" cy="258740"/>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39" name="Freeform 52"/>
            <p:cNvSpPr>
              <a:spLocks/>
            </p:cNvSpPr>
            <p:nvPr/>
          </p:nvSpPr>
          <p:spPr bwMode="auto">
            <a:xfrm>
              <a:off x="23899842" y="10461140"/>
              <a:ext cx="169863" cy="262601"/>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0" name="Freeform 53"/>
            <p:cNvSpPr>
              <a:spLocks/>
            </p:cNvSpPr>
            <p:nvPr/>
          </p:nvSpPr>
          <p:spPr bwMode="auto">
            <a:xfrm>
              <a:off x="23841933" y="10217849"/>
              <a:ext cx="169863" cy="262601"/>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1" name="Freeform 54"/>
            <p:cNvSpPr>
              <a:spLocks/>
            </p:cNvSpPr>
            <p:nvPr/>
          </p:nvSpPr>
          <p:spPr bwMode="auto">
            <a:xfrm>
              <a:off x="23776305" y="9974557"/>
              <a:ext cx="173722" cy="258740"/>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2" name="Freeform 55"/>
            <p:cNvSpPr>
              <a:spLocks/>
            </p:cNvSpPr>
            <p:nvPr/>
          </p:nvSpPr>
          <p:spPr bwMode="auto">
            <a:xfrm>
              <a:off x="22567961" y="9206065"/>
              <a:ext cx="1521045" cy="229389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3" name="Freeform 56"/>
            <p:cNvSpPr>
              <a:spLocks/>
            </p:cNvSpPr>
            <p:nvPr/>
          </p:nvSpPr>
          <p:spPr bwMode="auto">
            <a:xfrm>
              <a:off x="22776429" y="9677201"/>
              <a:ext cx="1131134" cy="1455887"/>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4" name="Freeform 57"/>
            <p:cNvSpPr>
              <a:spLocks/>
            </p:cNvSpPr>
            <p:nvPr/>
          </p:nvSpPr>
          <p:spPr bwMode="auto">
            <a:xfrm>
              <a:off x="22444424" y="9955249"/>
              <a:ext cx="1590535" cy="1679870"/>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5" name="Freeform 58"/>
            <p:cNvSpPr>
              <a:spLocks/>
            </p:cNvSpPr>
            <p:nvPr/>
          </p:nvSpPr>
          <p:spPr bwMode="auto">
            <a:xfrm>
              <a:off x="22950153" y="11372518"/>
              <a:ext cx="1138852" cy="420934"/>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6" name="Freeform 59"/>
            <p:cNvSpPr>
              <a:spLocks/>
            </p:cNvSpPr>
            <p:nvPr/>
          </p:nvSpPr>
          <p:spPr bwMode="auto">
            <a:xfrm>
              <a:off x="18101339" y="12110118"/>
              <a:ext cx="169863" cy="262601"/>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7" name="Freeform 60"/>
            <p:cNvSpPr>
              <a:spLocks/>
            </p:cNvSpPr>
            <p:nvPr/>
          </p:nvSpPr>
          <p:spPr bwMode="auto">
            <a:xfrm>
              <a:off x="18159246" y="11866825"/>
              <a:ext cx="166004" cy="258740"/>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8" name="Freeform 61"/>
            <p:cNvSpPr>
              <a:spLocks/>
            </p:cNvSpPr>
            <p:nvPr/>
          </p:nvSpPr>
          <p:spPr bwMode="auto">
            <a:xfrm>
              <a:off x="18217155" y="11619672"/>
              <a:ext cx="169863" cy="262601"/>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49" name="Freeform 62"/>
            <p:cNvSpPr>
              <a:spLocks/>
            </p:cNvSpPr>
            <p:nvPr/>
          </p:nvSpPr>
          <p:spPr bwMode="auto">
            <a:xfrm>
              <a:off x="18275062" y="11372518"/>
              <a:ext cx="169863" cy="262601"/>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0" name="Freeform 63"/>
            <p:cNvSpPr>
              <a:spLocks/>
            </p:cNvSpPr>
            <p:nvPr/>
          </p:nvSpPr>
          <p:spPr bwMode="auto">
            <a:xfrm>
              <a:off x="17012673" y="10345287"/>
              <a:ext cx="1501741" cy="2293893"/>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1" name="Freeform 64"/>
            <p:cNvSpPr>
              <a:spLocks/>
            </p:cNvSpPr>
            <p:nvPr/>
          </p:nvSpPr>
          <p:spPr bwMode="auto">
            <a:xfrm>
              <a:off x="17194116" y="10820286"/>
              <a:ext cx="1119551" cy="1452026"/>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2" name="Freeform 65"/>
            <p:cNvSpPr>
              <a:spLocks/>
            </p:cNvSpPr>
            <p:nvPr/>
          </p:nvSpPr>
          <p:spPr bwMode="auto">
            <a:xfrm>
              <a:off x="16819646" y="10766224"/>
              <a:ext cx="1162016" cy="1961780"/>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3" name="Freeform 66"/>
            <p:cNvSpPr>
              <a:spLocks/>
            </p:cNvSpPr>
            <p:nvPr/>
          </p:nvSpPr>
          <p:spPr bwMode="auto">
            <a:xfrm>
              <a:off x="16808064" y="12473127"/>
              <a:ext cx="1138855" cy="409348"/>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4" name="Freeform 67"/>
            <p:cNvSpPr>
              <a:spLocks/>
            </p:cNvSpPr>
            <p:nvPr/>
          </p:nvSpPr>
          <p:spPr bwMode="auto">
            <a:xfrm>
              <a:off x="31427857" y="12388168"/>
              <a:ext cx="142838" cy="258738"/>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5" name="Freeform 68"/>
            <p:cNvSpPr>
              <a:spLocks/>
            </p:cNvSpPr>
            <p:nvPr/>
          </p:nvSpPr>
          <p:spPr bwMode="auto">
            <a:xfrm>
              <a:off x="31400832" y="12137152"/>
              <a:ext cx="146700" cy="258740"/>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6" name="Freeform 69"/>
            <p:cNvSpPr>
              <a:spLocks/>
            </p:cNvSpPr>
            <p:nvPr/>
          </p:nvSpPr>
          <p:spPr bwMode="auto">
            <a:xfrm>
              <a:off x="31381531" y="11886138"/>
              <a:ext cx="138979" cy="258738"/>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7" name="Freeform 70"/>
            <p:cNvSpPr>
              <a:spLocks/>
            </p:cNvSpPr>
            <p:nvPr/>
          </p:nvSpPr>
          <p:spPr bwMode="auto">
            <a:xfrm>
              <a:off x="31354506" y="11635121"/>
              <a:ext cx="142840" cy="258740"/>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8" name="Freeform 71"/>
            <p:cNvSpPr>
              <a:spLocks/>
            </p:cNvSpPr>
            <p:nvPr/>
          </p:nvSpPr>
          <p:spPr bwMode="auto">
            <a:xfrm>
              <a:off x="30231096" y="10831870"/>
              <a:ext cx="1246947" cy="2201210"/>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59" name="Freeform 72"/>
            <p:cNvSpPr>
              <a:spLocks/>
            </p:cNvSpPr>
            <p:nvPr/>
          </p:nvSpPr>
          <p:spPr bwMode="auto">
            <a:xfrm>
              <a:off x="30377795" y="11306870"/>
              <a:ext cx="965130" cy="1367067"/>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0" name="Freeform 73"/>
            <p:cNvSpPr>
              <a:spLocks/>
            </p:cNvSpPr>
            <p:nvPr/>
          </p:nvSpPr>
          <p:spPr bwMode="auto">
            <a:xfrm>
              <a:off x="30034208" y="11430446"/>
              <a:ext cx="1385928" cy="1722350"/>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1" name="Freeform 74"/>
            <p:cNvSpPr>
              <a:spLocks/>
            </p:cNvSpPr>
            <p:nvPr/>
          </p:nvSpPr>
          <p:spPr bwMode="auto">
            <a:xfrm>
              <a:off x="30292864" y="13048528"/>
              <a:ext cx="1146573" cy="262600"/>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2" name="Freeform 75"/>
            <p:cNvSpPr>
              <a:spLocks/>
            </p:cNvSpPr>
            <p:nvPr/>
          </p:nvSpPr>
          <p:spPr bwMode="auto">
            <a:xfrm>
              <a:off x="25490376" y="11283699"/>
              <a:ext cx="1127272" cy="3429253"/>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3" name="Freeform 76"/>
            <p:cNvSpPr>
              <a:spLocks/>
            </p:cNvSpPr>
            <p:nvPr/>
          </p:nvSpPr>
          <p:spPr bwMode="auto">
            <a:xfrm>
              <a:off x="18715161" y="11886136"/>
              <a:ext cx="968992" cy="2826817"/>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4" name="Freeform 77"/>
            <p:cNvSpPr>
              <a:spLocks/>
            </p:cNvSpPr>
            <p:nvPr/>
          </p:nvSpPr>
          <p:spPr bwMode="auto">
            <a:xfrm>
              <a:off x="20919520" y="11886136"/>
              <a:ext cx="972851" cy="2826817"/>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5" name="Freeform 78"/>
            <p:cNvSpPr>
              <a:spLocks/>
            </p:cNvSpPr>
            <p:nvPr/>
          </p:nvSpPr>
          <p:spPr bwMode="auto">
            <a:xfrm>
              <a:off x="28057621" y="12295483"/>
              <a:ext cx="1111830" cy="2417469"/>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6" name="Freeform 79"/>
            <p:cNvSpPr>
              <a:spLocks/>
            </p:cNvSpPr>
            <p:nvPr/>
          </p:nvSpPr>
          <p:spPr bwMode="auto">
            <a:xfrm>
              <a:off x="22934711" y="11507682"/>
              <a:ext cx="2111704" cy="3205271"/>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7" name="Freeform 80"/>
            <p:cNvSpPr>
              <a:spLocks/>
            </p:cNvSpPr>
            <p:nvPr/>
          </p:nvSpPr>
          <p:spPr bwMode="auto">
            <a:xfrm>
              <a:off x="16356384" y="12608288"/>
              <a:ext cx="1605977" cy="2104667"/>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sp>
          <p:nvSpPr>
            <p:cNvPr id="268" name="Freeform 81"/>
            <p:cNvSpPr>
              <a:spLocks/>
            </p:cNvSpPr>
            <p:nvPr/>
          </p:nvSpPr>
          <p:spPr bwMode="auto">
            <a:xfrm>
              <a:off x="30254249" y="13195273"/>
              <a:ext cx="1432252" cy="1517678"/>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a:solidFill>
                  <a:srgbClr val="505050"/>
                </a:solidFill>
                <a:ea typeface="ＭＳ Ｐゴシック" charset="0"/>
              </a:endParaRPr>
            </a:p>
          </p:txBody>
        </p:sp>
      </p:grpSp>
    </p:spTree>
    <p:extLst>
      <p:ext uri="{BB962C8B-B14F-4D97-AF65-F5344CB8AC3E}">
        <p14:creationId xmlns:p14="http://schemas.microsoft.com/office/powerpoint/2010/main" val="1852705244"/>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106"/>
                                        </p:tgtEl>
                                        <p:attrNameLst>
                                          <p:attrName>style.visibility</p:attrName>
                                        </p:attrNameLst>
                                      </p:cBhvr>
                                      <p:to>
                                        <p:strVal val="visible"/>
                                      </p:to>
                                    </p:set>
                                    <p:anim calcmode="lin" valueType="num">
                                      <p:cBhvr additive="base">
                                        <p:cTn id="7" dur="750" fill="hold"/>
                                        <p:tgtEl>
                                          <p:spTgt spid="106"/>
                                        </p:tgtEl>
                                        <p:attrNameLst>
                                          <p:attrName>ppt_x</p:attrName>
                                        </p:attrNameLst>
                                      </p:cBhvr>
                                      <p:tavLst>
                                        <p:tav tm="0">
                                          <p:val>
                                            <p:strVal val="#ppt_x"/>
                                          </p:val>
                                        </p:tav>
                                        <p:tav tm="100000">
                                          <p:val>
                                            <p:strVal val="#ppt_x"/>
                                          </p:val>
                                        </p:tav>
                                      </p:tavLst>
                                    </p:anim>
                                    <p:anim calcmode="lin" valueType="num">
                                      <p:cBhvr additive="base">
                                        <p:cTn id="8" dur="750" fill="hold"/>
                                        <p:tgtEl>
                                          <p:spTgt spid="106"/>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250"/>
                                  </p:stCondLst>
                                  <p:childTnLst>
                                    <p:set>
                                      <p:cBhvr>
                                        <p:cTn id="10" dur="1" fill="hold">
                                          <p:stCondLst>
                                            <p:cond delay="0"/>
                                          </p:stCondLst>
                                        </p:cTn>
                                        <p:tgtEl>
                                          <p:spTgt spid="113"/>
                                        </p:tgtEl>
                                        <p:attrNameLst>
                                          <p:attrName>style.visibility</p:attrName>
                                        </p:attrNameLst>
                                      </p:cBhvr>
                                      <p:to>
                                        <p:strVal val="visible"/>
                                      </p:to>
                                    </p:set>
                                    <p:anim calcmode="lin" valueType="num">
                                      <p:cBhvr additive="base">
                                        <p:cTn id="11" dur="750" fill="hold"/>
                                        <p:tgtEl>
                                          <p:spTgt spid="113"/>
                                        </p:tgtEl>
                                        <p:attrNameLst>
                                          <p:attrName>ppt_x</p:attrName>
                                        </p:attrNameLst>
                                      </p:cBhvr>
                                      <p:tavLst>
                                        <p:tav tm="0">
                                          <p:val>
                                            <p:strVal val="#ppt_x"/>
                                          </p:val>
                                        </p:tav>
                                        <p:tav tm="100000">
                                          <p:val>
                                            <p:strVal val="#ppt_x"/>
                                          </p:val>
                                        </p:tav>
                                      </p:tavLst>
                                    </p:anim>
                                    <p:anim calcmode="lin" valueType="num">
                                      <p:cBhvr additive="base">
                                        <p:cTn id="12" dur="750" fill="hold"/>
                                        <p:tgtEl>
                                          <p:spTgt spid="113"/>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250"/>
                                  </p:stCondLst>
                                  <p:childTnLst>
                                    <p:set>
                                      <p:cBhvr>
                                        <p:cTn id="14" dur="1" fill="hold">
                                          <p:stCondLst>
                                            <p:cond delay="0"/>
                                          </p:stCondLst>
                                        </p:cTn>
                                        <p:tgtEl>
                                          <p:spTgt spid="114"/>
                                        </p:tgtEl>
                                        <p:attrNameLst>
                                          <p:attrName>style.visibility</p:attrName>
                                        </p:attrNameLst>
                                      </p:cBhvr>
                                      <p:to>
                                        <p:strVal val="visible"/>
                                      </p:to>
                                    </p:set>
                                    <p:anim calcmode="lin" valueType="num">
                                      <p:cBhvr additive="base">
                                        <p:cTn id="15" dur="750" fill="hold"/>
                                        <p:tgtEl>
                                          <p:spTgt spid="114"/>
                                        </p:tgtEl>
                                        <p:attrNameLst>
                                          <p:attrName>ppt_x</p:attrName>
                                        </p:attrNameLst>
                                      </p:cBhvr>
                                      <p:tavLst>
                                        <p:tav tm="0">
                                          <p:val>
                                            <p:strVal val="#ppt_x"/>
                                          </p:val>
                                        </p:tav>
                                        <p:tav tm="100000">
                                          <p:val>
                                            <p:strVal val="#ppt_x"/>
                                          </p:val>
                                        </p:tav>
                                      </p:tavLst>
                                    </p:anim>
                                    <p:anim calcmode="lin" valueType="num">
                                      <p:cBhvr additive="base">
                                        <p:cTn id="16" dur="750" fill="hold"/>
                                        <p:tgtEl>
                                          <p:spTgt spid="1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P spid="113" grpId="0"/>
      <p:bldP spid="114" grpId="0"/>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6" name="TextBox 105"/>
          <p:cNvSpPr txBox="1"/>
          <p:nvPr/>
        </p:nvSpPr>
        <p:spPr>
          <a:xfrm>
            <a:off x="1557" y="2355534"/>
            <a:ext cx="5557834" cy="1373831"/>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fontAlgn="base">
              <a:lnSpc>
                <a:spcPct val="90000"/>
              </a:lnSpc>
              <a:spcBef>
                <a:spcPct val="0"/>
              </a:spcBef>
              <a:spcAft>
                <a:spcPts val="980"/>
              </a:spcAft>
              <a:defRPr/>
            </a:pPr>
            <a:r>
              <a:rPr lang="en-US" sz="2745" dirty="0">
                <a:solidFill>
                  <a:srgbClr val="00188F"/>
                </a:solidFill>
                <a:latin typeface="Segoe UI Light"/>
                <a:ea typeface="ＭＳ Ｐゴシック" charset="0"/>
              </a:rPr>
              <a:t>Experience</a:t>
            </a:r>
          </a:p>
          <a:p>
            <a:pPr fontAlgn="base">
              <a:lnSpc>
                <a:spcPct val="90000"/>
              </a:lnSpc>
              <a:spcBef>
                <a:spcPct val="0"/>
              </a:spcBef>
              <a:spcAft>
                <a:spcPts val="980"/>
              </a:spcAft>
              <a:defRPr/>
            </a:pPr>
            <a:r>
              <a:rPr lang="en-US" sz="1372" dirty="0">
                <a:ea typeface="ＭＳ Ｐゴシック" charset="0"/>
              </a:rPr>
              <a:t>The Internet of Things isn’t new to Microsoft. We have a proven track record of helping customers realize the benefits of the Internet of Things for more than 15 years.</a:t>
            </a:r>
          </a:p>
          <a:p>
            <a:pPr fontAlgn="base">
              <a:lnSpc>
                <a:spcPct val="90000"/>
              </a:lnSpc>
              <a:spcBef>
                <a:spcPct val="0"/>
              </a:spcBef>
              <a:spcAft>
                <a:spcPts val="980"/>
              </a:spcAft>
              <a:defRPr/>
            </a:pPr>
            <a:r>
              <a:rPr lang="en-US" sz="1372" dirty="0">
                <a:ea typeface="ＭＳ Ｐゴシック" charset="0"/>
              </a:rPr>
              <a:t> </a:t>
            </a:r>
            <a:endParaRPr lang="en-US" sz="1078" dirty="0">
              <a:ea typeface="ＭＳ Ｐゴシック" charset="0"/>
            </a:endParaRPr>
          </a:p>
          <a:p>
            <a:pPr fontAlgn="base">
              <a:lnSpc>
                <a:spcPct val="90000"/>
              </a:lnSpc>
              <a:spcBef>
                <a:spcPct val="0"/>
              </a:spcBef>
              <a:spcAft>
                <a:spcPts val="980"/>
              </a:spcAft>
              <a:defRPr/>
            </a:pPr>
            <a:endParaRPr lang="en-US" sz="1371" dirty="0">
              <a:ea typeface="ＭＳ Ｐゴシック" charset="0"/>
            </a:endParaRPr>
          </a:p>
        </p:txBody>
      </p:sp>
      <p:sp>
        <p:nvSpPr>
          <p:cNvPr id="113" name="TextBox 112"/>
          <p:cNvSpPr txBox="1"/>
          <p:nvPr/>
        </p:nvSpPr>
        <p:spPr>
          <a:xfrm>
            <a:off x="-8425" y="3757378"/>
            <a:ext cx="5557834" cy="1195234"/>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fontAlgn="base">
              <a:lnSpc>
                <a:spcPct val="90000"/>
              </a:lnSpc>
              <a:spcBef>
                <a:spcPct val="0"/>
              </a:spcBef>
              <a:spcAft>
                <a:spcPts val="980"/>
              </a:spcAft>
              <a:defRPr/>
            </a:pPr>
            <a:r>
              <a:rPr lang="en-US" sz="2745" dirty="0">
                <a:solidFill>
                  <a:srgbClr val="00188F"/>
                </a:solidFill>
                <a:latin typeface="Segoe UI Light"/>
                <a:ea typeface="ＭＳ Ｐゴシック" charset="0"/>
              </a:rPr>
              <a:t>Devices and services</a:t>
            </a:r>
          </a:p>
          <a:p>
            <a:pPr fontAlgn="base">
              <a:lnSpc>
                <a:spcPct val="90000"/>
              </a:lnSpc>
              <a:spcBef>
                <a:spcPct val="0"/>
              </a:spcBef>
              <a:spcAft>
                <a:spcPts val="980"/>
              </a:spcAft>
              <a:defRPr/>
            </a:pPr>
            <a:r>
              <a:rPr lang="en-US" sz="1372" dirty="0">
                <a:ea typeface="ＭＳ Ｐゴシック" charset="0"/>
              </a:rPr>
              <a:t>A wide portfolio of devices, services, and software offerings that customers need to take advantage of the Internet of Things.</a:t>
            </a:r>
          </a:p>
          <a:p>
            <a:pPr fontAlgn="base">
              <a:lnSpc>
                <a:spcPct val="90000"/>
              </a:lnSpc>
              <a:spcBef>
                <a:spcPct val="0"/>
              </a:spcBef>
              <a:spcAft>
                <a:spcPts val="980"/>
              </a:spcAft>
              <a:defRPr/>
            </a:pPr>
            <a:r>
              <a:rPr lang="en-US" sz="1372" dirty="0">
                <a:ea typeface="ＭＳ Ｐゴシック" charset="0"/>
              </a:rPr>
              <a:t> </a:t>
            </a:r>
            <a:endParaRPr lang="en-US" sz="784" dirty="0">
              <a:ea typeface="ＭＳ Ｐゴシック" charset="0"/>
            </a:endParaRPr>
          </a:p>
        </p:txBody>
      </p:sp>
      <p:sp>
        <p:nvSpPr>
          <p:cNvPr id="114" name="TextBox 113"/>
          <p:cNvSpPr txBox="1"/>
          <p:nvPr/>
        </p:nvSpPr>
        <p:spPr>
          <a:xfrm>
            <a:off x="1557" y="5056884"/>
            <a:ext cx="5945039" cy="1777287"/>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fontAlgn="base">
              <a:lnSpc>
                <a:spcPct val="90000"/>
              </a:lnSpc>
              <a:spcBef>
                <a:spcPct val="0"/>
              </a:spcBef>
              <a:spcAft>
                <a:spcPts val="980"/>
              </a:spcAft>
              <a:defRPr/>
            </a:pPr>
            <a:r>
              <a:rPr lang="en-US" sz="2745" dirty="0">
                <a:solidFill>
                  <a:srgbClr val="00188F"/>
                </a:solidFill>
                <a:latin typeface="Segoe UI Light"/>
                <a:ea typeface="ＭＳ Ｐゴシック" charset="0"/>
              </a:rPr>
              <a:t>Ecosystem</a:t>
            </a:r>
          </a:p>
          <a:p>
            <a:pPr fontAlgn="base">
              <a:lnSpc>
                <a:spcPct val="90000"/>
              </a:lnSpc>
              <a:spcBef>
                <a:spcPct val="0"/>
              </a:spcBef>
              <a:spcAft>
                <a:spcPts val="980"/>
              </a:spcAft>
              <a:defRPr/>
            </a:pPr>
            <a:r>
              <a:rPr lang="en-US" sz="1372" dirty="0">
                <a:ea typeface="ＭＳ Ｐゴシック" charset="0"/>
              </a:rPr>
              <a:t>Partners with the solutions and expertise to accelerate deployment, deliver better results, and reduce customer risk.</a:t>
            </a:r>
          </a:p>
          <a:p>
            <a:pPr fontAlgn="base">
              <a:lnSpc>
                <a:spcPct val="90000"/>
              </a:lnSpc>
              <a:spcBef>
                <a:spcPct val="0"/>
              </a:spcBef>
              <a:spcAft>
                <a:spcPts val="980"/>
              </a:spcAft>
              <a:defRPr/>
            </a:pPr>
            <a:r>
              <a:rPr lang="en-US" sz="1372" dirty="0">
                <a:ea typeface="ＭＳ Ｐゴシック" charset="0"/>
              </a:rPr>
              <a:t> </a:t>
            </a:r>
            <a:endParaRPr lang="en-US" sz="784" dirty="0">
              <a:ea typeface="ＭＳ Ｐゴシック" charset="0"/>
            </a:endParaRPr>
          </a:p>
        </p:txBody>
      </p:sp>
      <p:sp>
        <p:nvSpPr>
          <p:cNvPr id="43" name="Rectangle 42"/>
          <p:cNvSpPr/>
          <p:nvPr/>
        </p:nvSpPr>
        <p:spPr bwMode="auto">
          <a:xfrm>
            <a:off x="1557" y="3600"/>
            <a:ext cx="12188887" cy="223794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itle 1"/>
          <p:cNvSpPr txBox="1">
            <a:spLocks/>
          </p:cNvSpPr>
          <p:nvPr/>
        </p:nvSpPr>
        <p:spPr>
          <a:xfrm>
            <a:off x="270796" y="291515"/>
            <a:ext cx="11651967" cy="899537"/>
          </a:xfrm>
          <a:prstGeom prst="rect">
            <a:avLst/>
          </a:prstGeom>
        </p:spPr>
        <p:txBody>
          <a:bodyPr/>
          <a:lstStyle>
            <a:lvl1pPr algn="l" defTabSz="932901" rtl="0" eaLnBrk="1" latinLnBrk="0" hangingPunct="1">
              <a:lnSpc>
                <a:spcPct val="90000"/>
              </a:lnSpc>
              <a:spcBef>
                <a:spcPct val="0"/>
              </a:spcBef>
              <a:buNone/>
              <a:defRPr lang="en-US" sz="5200" b="0" kern="1200" cap="none" spc="-102" baseline="0">
                <a:ln w="3175">
                  <a:noFill/>
                </a:ln>
                <a:solidFill>
                  <a:schemeClr val="tx2"/>
                </a:solidFill>
                <a:effectLst/>
                <a:latin typeface="+mj-lt"/>
                <a:ea typeface="+mn-ea"/>
                <a:cs typeface="Segoe UI" pitchFamily="34" charset="0"/>
              </a:defRPr>
            </a:lvl1pPr>
          </a:lstStyle>
          <a:p>
            <a:pPr fontAlgn="base">
              <a:spcAft>
                <a:spcPct val="0"/>
              </a:spcAft>
              <a:defRPr/>
            </a:pPr>
            <a:r>
              <a:rPr sz="5294" spc="0" dirty="0">
                <a:solidFill>
                  <a:srgbClr val="FFFFFF"/>
                </a:solidFill>
              </a:rPr>
              <a:t>Create the Internet of Your Things</a:t>
            </a:r>
          </a:p>
          <a:p>
            <a:pPr fontAlgn="base">
              <a:spcBef>
                <a:spcPts val="294"/>
              </a:spcBef>
              <a:spcAft>
                <a:spcPct val="0"/>
              </a:spcAft>
              <a:defRPr/>
            </a:pPr>
            <a:r>
              <a:rPr sz="2745" spc="0" dirty="0">
                <a:solidFill>
                  <a:srgbClr val="FFFFFF"/>
                </a:solidFill>
              </a:rPr>
              <a:t>Microsoft helps you drive business value while building on existing </a:t>
            </a:r>
            <a:br>
              <a:rPr sz="2745" spc="0" dirty="0">
                <a:solidFill>
                  <a:srgbClr val="FFFFFF"/>
                </a:solidFill>
              </a:rPr>
            </a:br>
            <a:r>
              <a:rPr sz="2745" spc="0" dirty="0">
                <a:solidFill>
                  <a:srgbClr val="FFFFFF"/>
                </a:solidFill>
              </a:rPr>
              <a:t>technology assets including devices, services, and data</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320107" y="3964568"/>
            <a:ext cx="7256995" cy="2911621"/>
          </a:xfrm>
          <a:prstGeom prst="rect">
            <a:avLst/>
          </a:prstGeom>
        </p:spPr>
      </p:pic>
      <p:grpSp>
        <p:nvGrpSpPr>
          <p:cNvPr id="4" name="Group 3"/>
          <p:cNvGrpSpPr/>
          <p:nvPr/>
        </p:nvGrpSpPr>
        <p:grpSpPr>
          <a:xfrm>
            <a:off x="7216531" y="5990882"/>
            <a:ext cx="1410239" cy="799712"/>
            <a:chOff x="2817193" y="-1156549"/>
            <a:chExt cx="1105921" cy="627141"/>
          </a:xfrm>
        </p:grpSpPr>
        <p:grpSp>
          <p:nvGrpSpPr>
            <p:cNvPr id="63" name="Group 62"/>
            <p:cNvGrpSpPr/>
            <p:nvPr/>
          </p:nvGrpSpPr>
          <p:grpSpPr>
            <a:xfrm>
              <a:off x="2817193" y="-1156549"/>
              <a:ext cx="816774" cy="627141"/>
              <a:chOff x="777916" y="1858293"/>
              <a:chExt cx="929085" cy="713377"/>
            </a:xfrm>
          </p:grpSpPr>
          <p:sp>
            <p:nvSpPr>
              <p:cNvPr id="72" name="Rectangle 20"/>
              <p:cNvSpPr>
                <a:spLocks noChangeArrowheads="1"/>
              </p:cNvSpPr>
              <p:nvPr/>
            </p:nvSpPr>
            <p:spPr bwMode="auto">
              <a:xfrm>
                <a:off x="811427" y="1889108"/>
                <a:ext cx="870150" cy="562381"/>
              </a:xfrm>
              <a:prstGeom prst="rect">
                <a:avLst/>
              </a:prstGeom>
              <a:solidFill>
                <a:schemeClr val="accent2">
                  <a:lumMod val="75000"/>
                  <a:lumOff val="2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 name="Freeform 22"/>
              <p:cNvSpPr>
                <a:spLocks noEditPoints="1"/>
              </p:cNvSpPr>
              <p:nvPr/>
            </p:nvSpPr>
            <p:spPr bwMode="auto">
              <a:xfrm>
                <a:off x="777916" y="1858293"/>
                <a:ext cx="929085" cy="713377"/>
              </a:xfrm>
              <a:custGeom>
                <a:avLst/>
                <a:gdLst>
                  <a:gd name="T0" fmla="*/ 988 w 1020"/>
                  <a:gd name="T1" fmla="*/ 0 h 783"/>
                  <a:gd name="T2" fmla="*/ 34 w 1020"/>
                  <a:gd name="T3" fmla="*/ 0 h 783"/>
                  <a:gd name="T4" fmla="*/ 0 w 1020"/>
                  <a:gd name="T5" fmla="*/ 29 h 783"/>
                  <a:gd name="T6" fmla="*/ 0 w 1020"/>
                  <a:gd name="T7" fmla="*/ 649 h 783"/>
                  <a:gd name="T8" fmla="*/ 34 w 1020"/>
                  <a:gd name="T9" fmla="*/ 678 h 783"/>
                  <a:gd name="T10" fmla="*/ 348 w 1020"/>
                  <a:gd name="T11" fmla="*/ 678 h 783"/>
                  <a:gd name="T12" fmla="*/ 348 w 1020"/>
                  <a:gd name="T13" fmla="*/ 723 h 783"/>
                  <a:gd name="T14" fmla="*/ 278 w 1020"/>
                  <a:gd name="T15" fmla="*/ 783 h 783"/>
                  <a:gd name="T16" fmla="*/ 760 w 1020"/>
                  <a:gd name="T17" fmla="*/ 783 h 783"/>
                  <a:gd name="T18" fmla="*/ 692 w 1020"/>
                  <a:gd name="T19" fmla="*/ 723 h 783"/>
                  <a:gd name="T20" fmla="*/ 692 w 1020"/>
                  <a:gd name="T21" fmla="*/ 678 h 783"/>
                  <a:gd name="T22" fmla="*/ 988 w 1020"/>
                  <a:gd name="T23" fmla="*/ 678 h 783"/>
                  <a:gd name="T24" fmla="*/ 1020 w 1020"/>
                  <a:gd name="T25" fmla="*/ 649 h 783"/>
                  <a:gd name="T26" fmla="*/ 1020 w 1020"/>
                  <a:gd name="T27" fmla="*/ 29 h 783"/>
                  <a:gd name="T28" fmla="*/ 988 w 1020"/>
                  <a:gd name="T29" fmla="*/ 0 h 783"/>
                  <a:gd name="T30" fmla="*/ 962 w 1020"/>
                  <a:gd name="T31" fmla="*/ 603 h 783"/>
                  <a:gd name="T32" fmla="*/ 934 w 1020"/>
                  <a:gd name="T33" fmla="*/ 628 h 783"/>
                  <a:gd name="T34" fmla="*/ 88 w 1020"/>
                  <a:gd name="T35" fmla="*/ 628 h 783"/>
                  <a:gd name="T36" fmla="*/ 60 w 1020"/>
                  <a:gd name="T37" fmla="*/ 603 h 783"/>
                  <a:gd name="T38" fmla="*/ 60 w 1020"/>
                  <a:gd name="T39" fmla="*/ 76 h 783"/>
                  <a:gd name="T40" fmla="*/ 88 w 1020"/>
                  <a:gd name="T41" fmla="*/ 51 h 783"/>
                  <a:gd name="T42" fmla="*/ 934 w 1020"/>
                  <a:gd name="T43" fmla="*/ 51 h 783"/>
                  <a:gd name="T44" fmla="*/ 962 w 1020"/>
                  <a:gd name="T45" fmla="*/ 76 h 783"/>
                  <a:gd name="T46" fmla="*/ 962 w 1020"/>
                  <a:gd name="T47" fmla="*/ 603 h 783"/>
                  <a:gd name="T48" fmla="*/ 962 w 1020"/>
                  <a:gd name="T49" fmla="*/ 60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0" h="783">
                    <a:moveTo>
                      <a:pt x="988" y="0"/>
                    </a:moveTo>
                    <a:cubicBezTo>
                      <a:pt x="34" y="0"/>
                      <a:pt x="34" y="0"/>
                      <a:pt x="34" y="0"/>
                    </a:cubicBezTo>
                    <a:cubicBezTo>
                      <a:pt x="16" y="0"/>
                      <a:pt x="0" y="13"/>
                      <a:pt x="0" y="29"/>
                    </a:cubicBezTo>
                    <a:cubicBezTo>
                      <a:pt x="0" y="649"/>
                      <a:pt x="0" y="649"/>
                      <a:pt x="0" y="649"/>
                    </a:cubicBezTo>
                    <a:cubicBezTo>
                      <a:pt x="0" y="666"/>
                      <a:pt x="16" y="678"/>
                      <a:pt x="34" y="678"/>
                    </a:cubicBezTo>
                    <a:cubicBezTo>
                      <a:pt x="348" y="678"/>
                      <a:pt x="348" y="678"/>
                      <a:pt x="348" y="678"/>
                    </a:cubicBezTo>
                    <a:cubicBezTo>
                      <a:pt x="348" y="723"/>
                      <a:pt x="348" y="723"/>
                      <a:pt x="348" y="723"/>
                    </a:cubicBezTo>
                    <a:cubicBezTo>
                      <a:pt x="278" y="783"/>
                      <a:pt x="278" y="783"/>
                      <a:pt x="278" y="783"/>
                    </a:cubicBezTo>
                    <a:cubicBezTo>
                      <a:pt x="760" y="783"/>
                      <a:pt x="760" y="783"/>
                      <a:pt x="760" y="783"/>
                    </a:cubicBezTo>
                    <a:cubicBezTo>
                      <a:pt x="692" y="723"/>
                      <a:pt x="692" y="723"/>
                      <a:pt x="692" y="723"/>
                    </a:cubicBezTo>
                    <a:cubicBezTo>
                      <a:pt x="692" y="678"/>
                      <a:pt x="692" y="678"/>
                      <a:pt x="692" y="678"/>
                    </a:cubicBezTo>
                    <a:cubicBezTo>
                      <a:pt x="988" y="678"/>
                      <a:pt x="988" y="678"/>
                      <a:pt x="988" y="678"/>
                    </a:cubicBezTo>
                    <a:cubicBezTo>
                      <a:pt x="1006" y="678"/>
                      <a:pt x="1020" y="666"/>
                      <a:pt x="1020" y="649"/>
                    </a:cubicBezTo>
                    <a:cubicBezTo>
                      <a:pt x="1020" y="29"/>
                      <a:pt x="1020" y="29"/>
                      <a:pt x="1020" y="29"/>
                    </a:cubicBezTo>
                    <a:cubicBezTo>
                      <a:pt x="1020" y="13"/>
                      <a:pt x="1006" y="0"/>
                      <a:pt x="988" y="0"/>
                    </a:cubicBezTo>
                    <a:close/>
                    <a:moveTo>
                      <a:pt x="962" y="603"/>
                    </a:moveTo>
                    <a:cubicBezTo>
                      <a:pt x="962" y="617"/>
                      <a:pt x="950" y="628"/>
                      <a:pt x="934" y="628"/>
                    </a:cubicBezTo>
                    <a:cubicBezTo>
                      <a:pt x="88" y="628"/>
                      <a:pt x="88" y="628"/>
                      <a:pt x="88" y="628"/>
                    </a:cubicBezTo>
                    <a:cubicBezTo>
                      <a:pt x="72" y="628"/>
                      <a:pt x="60" y="617"/>
                      <a:pt x="60" y="603"/>
                    </a:cubicBezTo>
                    <a:cubicBezTo>
                      <a:pt x="60" y="76"/>
                      <a:pt x="60" y="76"/>
                      <a:pt x="60" y="76"/>
                    </a:cubicBezTo>
                    <a:cubicBezTo>
                      <a:pt x="60" y="61"/>
                      <a:pt x="72" y="51"/>
                      <a:pt x="88" y="51"/>
                    </a:cubicBezTo>
                    <a:cubicBezTo>
                      <a:pt x="934" y="51"/>
                      <a:pt x="934" y="51"/>
                      <a:pt x="934" y="51"/>
                    </a:cubicBezTo>
                    <a:cubicBezTo>
                      <a:pt x="950" y="51"/>
                      <a:pt x="962" y="61"/>
                      <a:pt x="962" y="76"/>
                    </a:cubicBezTo>
                    <a:cubicBezTo>
                      <a:pt x="962" y="603"/>
                      <a:pt x="962" y="603"/>
                      <a:pt x="962" y="603"/>
                    </a:cubicBezTo>
                    <a:cubicBezTo>
                      <a:pt x="962" y="603"/>
                      <a:pt x="962" y="603"/>
                      <a:pt x="962" y="6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nvGrpSpPr>
            <p:cNvPr id="64" name="Group 63"/>
            <p:cNvGrpSpPr/>
            <p:nvPr/>
          </p:nvGrpSpPr>
          <p:grpSpPr>
            <a:xfrm>
              <a:off x="3683469" y="-1082421"/>
              <a:ext cx="239645" cy="550703"/>
              <a:chOff x="3634254" y="-2946888"/>
              <a:chExt cx="1736725" cy="3990975"/>
            </a:xfrm>
          </p:grpSpPr>
          <p:sp>
            <p:nvSpPr>
              <p:cNvPr id="65" name="Rectangle 23"/>
              <p:cNvSpPr>
                <a:spLocks noChangeArrowheads="1"/>
              </p:cNvSpPr>
              <p:nvPr/>
            </p:nvSpPr>
            <p:spPr bwMode="auto">
              <a:xfrm>
                <a:off x="3634254" y="-2946888"/>
                <a:ext cx="1736725" cy="3990975"/>
              </a:xfrm>
              <a:prstGeom prst="rect">
                <a:avLst/>
              </a:prstGeom>
              <a:solidFill>
                <a:schemeClr val="accent2">
                  <a:lumMod val="75000"/>
                  <a:lumOff val="2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6" name="Rectangle 24"/>
              <p:cNvSpPr>
                <a:spLocks noChangeArrowheads="1"/>
              </p:cNvSpPr>
              <p:nvPr/>
            </p:nvSpPr>
            <p:spPr bwMode="auto">
              <a:xfrm>
                <a:off x="3634254" y="555137"/>
                <a:ext cx="1736725" cy="488950"/>
              </a:xfrm>
              <a:prstGeom prst="rect">
                <a:avLst/>
              </a:prstGeom>
              <a:solidFill>
                <a:schemeClr val="accent2">
                  <a:lumMod val="90000"/>
                  <a:lumOff val="1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7" name="Rectangle 25"/>
              <p:cNvSpPr>
                <a:spLocks noChangeArrowheads="1"/>
              </p:cNvSpPr>
              <p:nvPr/>
            </p:nvSpPr>
            <p:spPr bwMode="auto">
              <a:xfrm>
                <a:off x="3837454" y="-2645263"/>
                <a:ext cx="404813" cy="112713"/>
              </a:xfrm>
              <a:prstGeom prst="rect">
                <a:avLst/>
              </a:prstGeom>
              <a:solidFill>
                <a:schemeClr val="accent2">
                  <a:lumMod val="50000"/>
                  <a:lumOff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8" name="Rectangle 26"/>
              <p:cNvSpPr>
                <a:spLocks noChangeArrowheads="1"/>
              </p:cNvSpPr>
              <p:nvPr/>
            </p:nvSpPr>
            <p:spPr bwMode="auto">
              <a:xfrm>
                <a:off x="4347042" y="-2645263"/>
                <a:ext cx="404813" cy="112713"/>
              </a:xfrm>
              <a:prstGeom prst="rect">
                <a:avLst/>
              </a:prstGeom>
              <a:solidFill>
                <a:schemeClr val="accent2">
                  <a:lumMod val="50000"/>
                  <a:lumOff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9" name="Rectangle 27"/>
              <p:cNvSpPr>
                <a:spLocks noChangeArrowheads="1"/>
              </p:cNvSpPr>
              <p:nvPr/>
            </p:nvSpPr>
            <p:spPr bwMode="auto">
              <a:xfrm>
                <a:off x="3837454" y="-2469050"/>
                <a:ext cx="404813" cy="117475"/>
              </a:xfrm>
              <a:prstGeom prst="rect">
                <a:avLst/>
              </a:prstGeom>
              <a:solidFill>
                <a:schemeClr val="accent2">
                  <a:lumMod val="50000"/>
                  <a:lumOff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0" name="Rectangle 28"/>
              <p:cNvSpPr>
                <a:spLocks noChangeArrowheads="1"/>
              </p:cNvSpPr>
              <p:nvPr/>
            </p:nvSpPr>
            <p:spPr bwMode="auto">
              <a:xfrm>
                <a:off x="4347042" y="-2469050"/>
                <a:ext cx="404813" cy="117475"/>
              </a:xfrm>
              <a:prstGeom prst="rect">
                <a:avLst/>
              </a:prstGeom>
              <a:solidFill>
                <a:schemeClr val="accent2">
                  <a:lumMod val="50000"/>
                  <a:lumOff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 name="Oval 29"/>
              <p:cNvSpPr>
                <a:spLocks noChangeArrowheads="1"/>
              </p:cNvSpPr>
              <p:nvPr/>
            </p:nvSpPr>
            <p:spPr bwMode="auto">
              <a:xfrm>
                <a:off x="4253379" y="-1197463"/>
                <a:ext cx="493713" cy="492125"/>
              </a:xfrm>
              <a:prstGeom prst="ellipse">
                <a:avLst/>
              </a:prstGeom>
              <a:solidFill>
                <a:schemeClr val="accent2">
                  <a:lumMod val="50000"/>
                  <a:lumOff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grpSp>
        <p:nvGrpSpPr>
          <p:cNvPr id="6" name="Group 5"/>
          <p:cNvGrpSpPr/>
          <p:nvPr/>
        </p:nvGrpSpPr>
        <p:grpSpPr>
          <a:xfrm>
            <a:off x="7937033" y="5166520"/>
            <a:ext cx="771094" cy="771094"/>
            <a:chOff x="4234724" y="-2138576"/>
            <a:chExt cx="1387876" cy="1387876"/>
          </a:xfrm>
        </p:grpSpPr>
        <p:sp>
          <p:nvSpPr>
            <p:cNvPr id="75" name="Freeform 67"/>
            <p:cNvSpPr>
              <a:spLocks/>
            </p:cNvSpPr>
            <p:nvPr/>
          </p:nvSpPr>
          <p:spPr bwMode="auto">
            <a:xfrm rot="5400000">
              <a:off x="4234724" y="-2138576"/>
              <a:ext cx="1387876" cy="1387876"/>
            </a:xfrm>
            <a:custGeom>
              <a:avLst/>
              <a:gdLst>
                <a:gd name="T0" fmla="*/ 1492 w 1632"/>
                <a:gd name="T1" fmla="*/ 1632 h 1632"/>
                <a:gd name="T2" fmla="*/ 140 w 1632"/>
                <a:gd name="T3" fmla="*/ 1632 h 1632"/>
                <a:gd name="T4" fmla="*/ 0 w 1632"/>
                <a:gd name="T5" fmla="*/ 1492 h 1632"/>
                <a:gd name="T6" fmla="*/ 0 w 1632"/>
                <a:gd name="T7" fmla="*/ 140 h 1632"/>
                <a:gd name="T8" fmla="*/ 140 w 1632"/>
                <a:gd name="T9" fmla="*/ 0 h 1632"/>
                <a:gd name="T10" fmla="*/ 1492 w 1632"/>
                <a:gd name="T11" fmla="*/ 0 h 1632"/>
                <a:gd name="T12" fmla="*/ 1632 w 1632"/>
                <a:gd name="T13" fmla="*/ 140 h 1632"/>
                <a:gd name="T14" fmla="*/ 1632 w 1632"/>
                <a:gd name="T15" fmla="*/ 1492 h 1632"/>
                <a:gd name="T16" fmla="*/ 1492 w 1632"/>
                <a:gd name="T17" fmla="*/ 1632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2" h="1632">
                  <a:moveTo>
                    <a:pt x="1492" y="1632"/>
                  </a:moveTo>
                  <a:cubicBezTo>
                    <a:pt x="140" y="1632"/>
                    <a:pt x="140" y="1632"/>
                    <a:pt x="140" y="1632"/>
                  </a:cubicBezTo>
                  <a:cubicBezTo>
                    <a:pt x="63" y="1632"/>
                    <a:pt x="0" y="1569"/>
                    <a:pt x="0" y="1492"/>
                  </a:cubicBezTo>
                  <a:cubicBezTo>
                    <a:pt x="0" y="140"/>
                    <a:pt x="0" y="140"/>
                    <a:pt x="0" y="140"/>
                  </a:cubicBezTo>
                  <a:cubicBezTo>
                    <a:pt x="0" y="63"/>
                    <a:pt x="63" y="0"/>
                    <a:pt x="140" y="0"/>
                  </a:cubicBezTo>
                  <a:cubicBezTo>
                    <a:pt x="1492" y="0"/>
                    <a:pt x="1492" y="0"/>
                    <a:pt x="1492" y="0"/>
                  </a:cubicBezTo>
                  <a:cubicBezTo>
                    <a:pt x="1569" y="0"/>
                    <a:pt x="1632" y="63"/>
                    <a:pt x="1632" y="140"/>
                  </a:cubicBezTo>
                  <a:cubicBezTo>
                    <a:pt x="1632" y="1492"/>
                    <a:pt x="1632" y="1492"/>
                    <a:pt x="1632" y="1492"/>
                  </a:cubicBezTo>
                  <a:cubicBezTo>
                    <a:pt x="1632" y="1569"/>
                    <a:pt x="1569" y="1632"/>
                    <a:pt x="1492" y="1632"/>
                  </a:cubicBezTo>
                  <a:close/>
                </a:path>
              </a:pathLst>
            </a:custGeom>
            <a:solidFill>
              <a:schemeClr val="accent1">
                <a:lumMod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nvGrpSpPr>
            <p:cNvPr id="5" name="Group 4"/>
            <p:cNvGrpSpPr/>
            <p:nvPr/>
          </p:nvGrpSpPr>
          <p:grpSpPr>
            <a:xfrm>
              <a:off x="4369130" y="-2004175"/>
              <a:ext cx="1119069" cy="1119429"/>
              <a:chOff x="4369130" y="-2004175"/>
              <a:chExt cx="1119069" cy="1119429"/>
            </a:xfrm>
          </p:grpSpPr>
          <p:sp>
            <p:nvSpPr>
              <p:cNvPr id="76" name="Freeform 68"/>
              <p:cNvSpPr>
                <a:spLocks noEditPoints="1"/>
              </p:cNvSpPr>
              <p:nvPr/>
            </p:nvSpPr>
            <p:spPr bwMode="auto">
              <a:xfrm rot="5400000">
                <a:off x="4368950" y="-2003995"/>
                <a:ext cx="1119429" cy="1119069"/>
              </a:xfrm>
              <a:custGeom>
                <a:avLst/>
                <a:gdLst>
                  <a:gd name="T0" fmla="*/ 1290 w 1316"/>
                  <a:gd name="T1" fmla="*/ 0 h 1316"/>
                  <a:gd name="T2" fmla="*/ 26 w 1316"/>
                  <a:gd name="T3" fmla="*/ 0 h 1316"/>
                  <a:gd name="T4" fmla="*/ 0 w 1316"/>
                  <a:gd name="T5" fmla="*/ 26 h 1316"/>
                  <a:gd name="T6" fmla="*/ 0 w 1316"/>
                  <a:gd name="T7" fmla="*/ 1290 h 1316"/>
                  <a:gd name="T8" fmla="*/ 26 w 1316"/>
                  <a:gd name="T9" fmla="*/ 1316 h 1316"/>
                  <a:gd name="T10" fmla="*/ 1290 w 1316"/>
                  <a:gd name="T11" fmla="*/ 1316 h 1316"/>
                  <a:gd name="T12" fmla="*/ 1316 w 1316"/>
                  <a:gd name="T13" fmla="*/ 1290 h 1316"/>
                  <a:gd name="T14" fmla="*/ 1316 w 1316"/>
                  <a:gd name="T15" fmla="*/ 26 h 1316"/>
                  <a:gd name="T16" fmla="*/ 1290 w 1316"/>
                  <a:gd name="T17" fmla="*/ 0 h 1316"/>
                  <a:gd name="T18" fmla="*/ 1265 w 1316"/>
                  <a:gd name="T19" fmla="*/ 1265 h 1316"/>
                  <a:gd name="T20" fmla="*/ 51 w 1316"/>
                  <a:gd name="T21" fmla="*/ 1265 h 1316"/>
                  <a:gd name="T22" fmla="*/ 51 w 1316"/>
                  <a:gd name="T23" fmla="*/ 51 h 1316"/>
                  <a:gd name="T24" fmla="*/ 1265 w 1316"/>
                  <a:gd name="T25" fmla="*/ 51 h 1316"/>
                  <a:gd name="T26" fmla="*/ 1265 w 1316"/>
                  <a:gd name="T27" fmla="*/ 1265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6" h="1316">
                    <a:moveTo>
                      <a:pt x="1290" y="0"/>
                    </a:moveTo>
                    <a:cubicBezTo>
                      <a:pt x="26" y="0"/>
                      <a:pt x="26" y="0"/>
                      <a:pt x="26" y="0"/>
                    </a:cubicBezTo>
                    <a:cubicBezTo>
                      <a:pt x="12" y="0"/>
                      <a:pt x="0" y="12"/>
                      <a:pt x="0" y="26"/>
                    </a:cubicBezTo>
                    <a:cubicBezTo>
                      <a:pt x="0" y="1290"/>
                      <a:pt x="0" y="1290"/>
                      <a:pt x="0" y="1290"/>
                    </a:cubicBezTo>
                    <a:cubicBezTo>
                      <a:pt x="0" y="1304"/>
                      <a:pt x="12" y="1316"/>
                      <a:pt x="26" y="1316"/>
                    </a:cubicBezTo>
                    <a:cubicBezTo>
                      <a:pt x="1290" y="1316"/>
                      <a:pt x="1290" y="1316"/>
                      <a:pt x="1290" y="1316"/>
                    </a:cubicBezTo>
                    <a:cubicBezTo>
                      <a:pt x="1304" y="1316"/>
                      <a:pt x="1316" y="1304"/>
                      <a:pt x="1316" y="1290"/>
                    </a:cubicBezTo>
                    <a:cubicBezTo>
                      <a:pt x="1316" y="26"/>
                      <a:pt x="1316" y="26"/>
                      <a:pt x="1316" y="26"/>
                    </a:cubicBezTo>
                    <a:cubicBezTo>
                      <a:pt x="1316" y="12"/>
                      <a:pt x="1304" y="0"/>
                      <a:pt x="1290" y="0"/>
                    </a:cubicBezTo>
                    <a:close/>
                    <a:moveTo>
                      <a:pt x="1265" y="1265"/>
                    </a:moveTo>
                    <a:cubicBezTo>
                      <a:pt x="51" y="1265"/>
                      <a:pt x="51" y="1265"/>
                      <a:pt x="51" y="1265"/>
                    </a:cubicBezTo>
                    <a:cubicBezTo>
                      <a:pt x="51" y="51"/>
                      <a:pt x="51" y="51"/>
                      <a:pt x="51" y="51"/>
                    </a:cubicBezTo>
                    <a:cubicBezTo>
                      <a:pt x="1265" y="51"/>
                      <a:pt x="1265" y="51"/>
                      <a:pt x="1265" y="51"/>
                    </a:cubicBezTo>
                    <a:lnTo>
                      <a:pt x="1265" y="1265"/>
                    </a:lnTo>
                    <a:close/>
                  </a:path>
                </a:pathLst>
              </a:custGeom>
              <a:solidFill>
                <a:schemeClr val="accent2">
                  <a:lumMod val="50000"/>
                  <a:lumOff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7" name="Freeform 69"/>
              <p:cNvSpPr>
                <a:spLocks noEditPoints="1"/>
              </p:cNvSpPr>
              <p:nvPr/>
            </p:nvSpPr>
            <p:spPr bwMode="auto">
              <a:xfrm rot="5400000">
                <a:off x="4459148" y="-1914871"/>
                <a:ext cx="939027" cy="940821"/>
              </a:xfrm>
              <a:custGeom>
                <a:avLst/>
                <a:gdLst>
                  <a:gd name="T0" fmla="*/ 25 w 1104"/>
                  <a:gd name="T1" fmla="*/ 1106 h 1106"/>
                  <a:gd name="T2" fmla="*/ 1079 w 1104"/>
                  <a:gd name="T3" fmla="*/ 1106 h 1106"/>
                  <a:gd name="T4" fmla="*/ 1104 w 1104"/>
                  <a:gd name="T5" fmla="*/ 1080 h 1106"/>
                  <a:gd name="T6" fmla="*/ 1104 w 1104"/>
                  <a:gd name="T7" fmla="*/ 26 h 1106"/>
                  <a:gd name="T8" fmla="*/ 1079 w 1104"/>
                  <a:gd name="T9" fmla="*/ 0 h 1106"/>
                  <a:gd name="T10" fmla="*/ 25 w 1104"/>
                  <a:gd name="T11" fmla="*/ 0 h 1106"/>
                  <a:gd name="T12" fmla="*/ 0 w 1104"/>
                  <a:gd name="T13" fmla="*/ 26 h 1106"/>
                  <a:gd name="T14" fmla="*/ 0 w 1104"/>
                  <a:gd name="T15" fmla="*/ 1080 h 1106"/>
                  <a:gd name="T16" fmla="*/ 25 w 1104"/>
                  <a:gd name="T17" fmla="*/ 1106 h 1106"/>
                  <a:gd name="T18" fmla="*/ 51 w 1104"/>
                  <a:gd name="T19" fmla="*/ 51 h 1106"/>
                  <a:gd name="T20" fmla="*/ 1053 w 1104"/>
                  <a:gd name="T21" fmla="*/ 51 h 1106"/>
                  <a:gd name="T22" fmla="*/ 1053 w 1104"/>
                  <a:gd name="T23" fmla="*/ 1055 h 1106"/>
                  <a:gd name="T24" fmla="*/ 51 w 1104"/>
                  <a:gd name="T25" fmla="*/ 1055 h 1106"/>
                  <a:gd name="T26" fmla="*/ 51 w 1104"/>
                  <a:gd name="T27" fmla="*/ 51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4" h="1106">
                    <a:moveTo>
                      <a:pt x="25" y="1106"/>
                    </a:moveTo>
                    <a:cubicBezTo>
                      <a:pt x="1079" y="1106"/>
                      <a:pt x="1079" y="1106"/>
                      <a:pt x="1079" y="1106"/>
                    </a:cubicBezTo>
                    <a:cubicBezTo>
                      <a:pt x="1093" y="1106"/>
                      <a:pt x="1104" y="1094"/>
                      <a:pt x="1104" y="1080"/>
                    </a:cubicBezTo>
                    <a:cubicBezTo>
                      <a:pt x="1104" y="26"/>
                      <a:pt x="1104" y="26"/>
                      <a:pt x="1104" y="26"/>
                    </a:cubicBezTo>
                    <a:cubicBezTo>
                      <a:pt x="1104" y="12"/>
                      <a:pt x="1093" y="0"/>
                      <a:pt x="1079" y="0"/>
                    </a:cubicBezTo>
                    <a:cubicBezTo>
                      <a:pt x="25" y="0"/>
                      <a:pt x="25" y="0"/>
                      <a:pt x="25" y="0"/>
                    </a:cubicBezTo>
                    <a:cubicBezTo>
                      <a:pt x="11" y="0"/>
                      <a:pt x="0" y="12"/>
                      <a:pt x="0" y="26"/>
                    </a:cubicBezTo>
                    <a:cubicBezTo>
                      <a:pt x="0" y="1080"/>
                      <a:pt x="0" y="1080"/>
                      <a:pt x="0" y="1080"/>
                    </a:cubicBezTo>
                    <a:cubicBezTo>
                      <a:pt x="0" y="1094"/>
                      <a:pt x="11" y="1106"/>
                      <a:pt x="25" y="1106"/>
                    </a:cubicBezTo>
                    <a:close/>
                    <a:moveTo>
                      <a:pt x="51" y="51"/>
                    </a:moveTo>
                    <a:cubicBezTo>
                      <a:pt x="1053" y="51"/>
                      <a:pt x="1053" y="51"/>
                      <a:pt x="1053" y="51"/>
                    </a:cubicBezTo>
                    <a:cubicBezTo>
                      <a:pt x="1053" y="1055"/>
                      <a:pt x="1053" y="1055"/>
                      <a:pt x="1053" y="1055"/>
                    </a:cubicBezTo>
                    <a:cubicBezTo>
                      <a:pt x="51" y="1055"/>
                      <a:pt x="51" y="1055"/>
                      <a:pt x="51" y="1055"/>
                    </a:cubicBezTo>
                    <a:lnTo>
                      <a:pt x="51" y="51"/>
                    </a:lnTo>
                    <a:close/>
                  </a:path>
                </a:pathLst>
              </a:custGeom>
              <a:solidFill>
                <a:schemeClr val="accent2">
                  <a:lumMod val="50000"/>
                  <a:lumOff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8" name="Freeform 70"/>
              <p:cNvSpPr>
                <a:spLocks noEditPoints="1"/>
              </p:cNvSpPr>
              <p:nvPr/>
            </p:nvSpPr>
            <p:spPr bwMode="auto">
              <a:xfrm rot="5400000">
                <a:off x="4549352" y="-1823588"/>
                <a:ext cx="758625" cy="758265"/>
              </a:xfrm>
              <a:custGeom>
                <a:avLst/>
                <a:gdLst>
                  <a:gd name="T0" fmla="*/ 867 w 892"/>
                  <a:gd name="T1" fmla="*/ 0 h 892"/>
                  <a:gd name="T2" fmla="*/ 25 w 892"/>
                  <a:gd name="T3" fmla="*/ 0 h 892"/>
                  <a:gd name="T4" fmla="*/ 0 w 892"/>
                  <a:gd name="T5" fmla="*/ 25 h 892"/>
                  <a:gd name="T6" fmla="*/ 0 w 892"/>
                  <a:gd name="T7" fmla="*/ 867 h 892"/>
                  <a:gd name="T8" fmla="*/ 25 w 892"/>
                  <a:gd name="T9" fmla="*/ 892 h 892"/>
                  <a:gd name="T10" fmla="*/ 867 w 892"/>
                  <a:gd name="T11" fmla="*/ 892 h 892"/>
                  <a:gd name="T12" fmla="*/ 892 w 892"/>
                  <a:gd name="T13" fmla="*/ 867 h 892"/>
                  <a:gd name="T14" fmla="*/ 892 w 892"/>
                  <a:gd name="T15" fmla="*/ 25 h 892"/>
                  <a:gd name="T16" fmla="*/ 867 w 892"/>
                  <a:gd name="T17" fmla="*/ 0 h 892"/>
                  <a:gd name="T18" fmla="*/ 51 w 892"/>
                  <a:gd name="T19" fmla="*/ 841 h 892"/>
                  <a:gd name="T20" fmla="*/ 51 w 892"/>
                  <a:gd name="T21" fmla="*/ 51 h 892"/>
                  <a:gd name="T22" fmla="*/ 841 w 892"/>
                  <a:gd name="T23" fmla="*/ 51 h 892"/>
                  <a:gd name="T24" fmla="*/ 841 w 892"/>
                  <a:gd name="T25" fmla="*/ 420 h 892"/>
                  <a:gd name="T26" fmla="*/ 633 w 892"/>
                  <a:gd name="T27" fmla="*/ 420 h 892"/>
                  <a:gd name="T28" fmla="*/ 633 w 892"/>
                  <a:gd name="T29" fmla="*/ 285 h 892"/>
                  <a:gd name="T30" fmla="*/ 608 w 892"/>
                  <a:gd name="T31" fmla="*/ 259 h 892"/>
                  <a:gd name="T32" fmla="*/ 284 w 892"/>
                  <a:gd name="T33" fmla="*/ 259 h 892"/>
                  <a:gd name="T34" fmla="*/ 259 w 892"/>
                  <a:gd name="T35" fmla="*/ 285 h 892"/>
                  <a:gd name="T36" fmla="*/ 259 w 892"/>
                  <a:gd name="T37" fmla="*/ 607 h 892"/>
                  <a:gd name="T38" fmla="*/ 284 w 892"/>
                  <a:gd name="T39" fmla="*/ 633 h 892"/>
                  <a:gd name="T40" fmla="*/ 608 w 892"/>
                  <a:gd name="T41" fmla="*/ 633 h 892"/>
                  <a:gd name="T42" fmla="*/ 633 w 892"/>
                  <a:gd name="T43" fmla="*/ 607 h 892"/>
                  <a:gd name="T44" fmla="*/ 633 w 892"/>
                  <a:gd name="T45" fmla="*/ 471 h 892"/>
                  <a:gd name="T46" fmla="*/ 841 w 892"/>
                  <a:gd name="T47" fmla="*/ 471 h 892"/>
                  <a:gd name="T48" fmla="*/ 841 w 892"/>
                  <a:gd name="T49" fmla="*/ 841 h 892"/>
                  <a:gd name="T50" fmla="*/ 51 w 892"/>
                  <a:gd name="T51" fmla="*/ 841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2" h="892">
                    <a:moveTo>
                      <a:pt x="867" y="0"/>
                    </a:moveTo>
                    <a:cubicBezTo>
                      <a:pt x="25" y="0"/>
                      <a:pt x="25" y="0"/>
                      <a:pt x="25" y="0"/>
                    </a:cubicBezTo>
                    <a:cubicBezTo>
                      <a:pt x="11" y="0"/>
                      <a:pt x="0" y="11"/>
                      <a:pt x="0" y="25"/>
                    </a:cubicBezTo>
                    <a:cubicBezTo>
                      <a:pt x="0" y="867"/>
                      <a:pt x="0" y="867"/>
                      <a:pt x="0" y="867"/>
                    </a:cubicBezTo>
                    <a:cubicBezTo>
                      <a:pt x="0" y="881"/>
                      <a:pt x="11" y="892"/>
                      <a:pt x="25" y="892"/>
                    </a:cubicBezTo>
                    <a:cubicBezTo>
                      <a:pt x="867" y="892"/>
                      <a:pt x="867" y="892"/>
                      <a:pt x="867" y="892"/>
                    </a:cubicBezTo>
                    <a:cubicBezTo>
                      <a:pt x="881" y="892"/>
                      <a:pt x="892" y="881"/>
                      <a:pt x="892" y="867"/>
                    </a:cubicBezTo>
                    <a:cubicBezTo>
                      <a:pt x="892" y="25"/>
                      <a:pt x="892" y="25"/>
                      <a:pt x="892" y="25"/>
                    </a:cubicBezTo>
                    <a:cubicBezTo>
                      <a:pt x="892" y="11"/>
                      <a:pt x="881" y="0"/>
                      <a:pt x="867" y="0"/>
                    </a:cubicBezTo>
                    <a:close/>
                    <a:moveTo>
                      <a:pt x="51" y="841"/>
                    </a:moveTo>
                    <a:cubicBezTo>
                      <a:pt x="51" y="51"/>
                      <a:pt x="51" y="51"/>
                      <a:pt x="51" y="51"/>
                    </a:cubicBezTo>
                    <a:cubicBezTo>
                      <a:pt x="841" y="51"/>
                      <a:pt x="841" y="51"/>
                      <a:pt x="841" y="51"/>
                    </a:cubicBezTo>
                    <a:cubicBezTo>
                      <a:pt x="841" y="420"/>
                      <a:pt x="841" y="420"/>
                      <a:pt x="841" y="420"/>
                    </a:cubicBezTo>
                    <a:cubicBezTo>
                      <a:pt x="633" y="420"/>
                      <a:pt x="633" y="420"/>
                      <a:pt x="633" y="420"/>
                    </a:cubicBezTo>
                    <a:cubicBezTo>
                      <a:pt x="633" y="285"/>
                      <a:pt x="633" y="285"/>
                      <a:pt x="633" y="285"/>
                    </a:cubicBezTo>
                    <a:cubicBezTo>
                      <a:pt x="633" y="270"/>
                      <a:pt x="622" y="259"/>
                      <a:pt x="608" y="259"/>
                    </a:cubicBezTo>
                    <a:cubicBezTo>
                      <a:pt x="284" y="259"/>
                      <a:pt x="284" y="259"/>
                      <a:pt x="284" y="259"/>
                    </a:cubicBezTo>
                    <a:cubicBezTo>
                      <a:pt x="270" y="259"/>
                      <a:pt x="259" y="270"/>
                      <a:pt x="259" y="285"/>
                    </a:cubicBezTo>
                    <a:cubicBezTo>
                      <a:pt x="259" y="607"/>
                      <a:pt x="259" y="607"/>
                      <a:pt x="259" y="607"/>
                    </a:cubicBezTo>
                    <a:cubicBezTo>
                      <a:pt x="259" y="622"/>
                      <a:pt x="270" y="633"/>
                      <a:pt x="284" y="633"/>
                    </a:cubicBezTo>
                    <a:cubicBezTo>
                      <a:pt x="608" y="633"/>
                      <a:pt x="608" y="633"/>
                      <a:pt x="608" y="633"/>
                    </a:cubicBezTo>
                    <a:cubicBezTo>
                      <a:pt x="622" y="633"/>
                      <a:pt x="633" y="622"/>
                      <a:pt x="633" y="607"/>
                    </a:cubicBezTo>
                    <a:cubicBezTo>
                      <a:pt x="633" y="471"/>
                      <a:pt x="633" y="471"/>
                      <a:pt x="633" y="471"/>
                    </a:cubicBezTo>
                    <a:cubicBezTo>
                      <a:pt x="841" y="471"/>
                      <a:pt x="841" y="471"/>
                      <a:pt x="841" y="471"/>
                    </a:cubicBezTo>
                    <a:cubicBezTo>
                      <a:pt x="841" y="841"/>
                      <a:pt x="841" y="841"/>
                      <a:pt x="841" y="841"/>
                    </a:cubicBezTo>
                    <a:lnTo>
                      <a:pt x="51" y="841"/>
                    </a:lnTo>
                    <a:close/>
                  </a:path>
                </a:pathLst>
              </a:custGeom>
              <a:solidFill>
                <a:schemeClr val="accent2">
                  <a:lumMod val="50000"/>
                  <a:lumOff val="5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grpSp>
    </p:spTree>
    <p:extLst>
      <p:ext uri="{BB962C8B-B14F-4D97-AF65-F5344CB8AC3E}">
        <p14:creationId xmlns:p14="http://schemas.microsoft.com/office/powerpoint/2010/main" val="3559582067"/>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106"/>
                                        </p:tgtEl>
                                        <p:attrNameLst>
                                          <p:attrName>style.visibility</p:attrName>
                                        </p:attrNameLst>
                                      </p:cBhvr>
                                      <p:to>
                                        <p:strVal val="visible"/>
                                      </p:to>
                                    </p:set>
                                    <p:anim calcmode="lin" valueType="num">
                                      <p:cBhvr additive="base">
                                        <p:cTn id="7" dur="750" fill="hold"/>
                                        <p:tgtEl>
                                          <p:spTgt spid="106"/>
                                        </p:tgtEl>
                                        <p:attrNameLst>
                                          <p:attrName>ppt_x</p:attrName>
                                        </p:attrNameLst>
                                      </p:cBhvr>
                                      <p:tavLst>
                                        <p:tav tm="0">
                                          <p:val>
                                            <p:strVal val="#ppt_x"/>
                                          </p:val>
                                        </p:tav>
                                        <p:tav tm="100000">
                                          <p:val>
                                            <p:strVal val="#ppt_x"/>
                                          </p:val>
                                        </p:tav>
                                      </p:tavLst>
                                    </p:anim>
                                    <p:anim calcmode="lin" valueType="num">
                                      <p:cBhvr additive="base">
                                        <p:cTn id="8" dur="750" fill="hold"/>
                                        <p:tgtEl>
                                          <p:spTgt spid="106"/>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250"/>
                                  </p:stCondLst>
                                  <p:childTnLst>
                                    <p:set>
                                      <p:cBhvr>
                                        <p:cTn id="10" dur="1" fill="hold">
                                          <p:stCondLst>
                                            <p:cond delay="0"/>
                                          </p:stCondLst>
                                        </p:cTn>
                                        <p:tgtEl>
                                          <p:spTgt spid="113"/>
                                        </p:tgtEl>
                                        <p:attrNameLst>
                                          <p:attrName>style.visibility</p:attrName>
                                        </p:attrNameLst>
                                      </p:cBhvr>
                                      <p:to>
                                        <p:strVal val="visible"/>
                                      </p:to>
                                    </p:set>
                                    <p:anim calcmode="lin" valueType="num">
                                      <p:cBhvr additive="base">
                                        <p:cTn id="11" dur="750" fill="hold"/>
                                        <p:tgtEl>
                                          <p:spTgt spid="113"/>
                                        </p:tgtEl>
                                        <p:attrNameLst>
                                          <p:attrName>ppt_x</p:attrName>
                                        </p:attrNameLst>
                                      </p:cBhvr>
                                      <p:tavLst>
                                        <p:tav tm="0">
                                          <p:val>
                                            <p:strVal val="#ppt_x"/>
                                          </p:val>
                                        </p:tav>
                                        <p:tav tm="100000">
                                          <p:val>
                                            <p:strVal val="#ppt_x"/>
                                          </p:val>
                                        </p:tav>
                                      </p:tavLst>
                                    </p:anim>
                                    <p:anim calcmode="lin" valueType="num">
                                      <p:cBhvr additive="base">
                                        <p:cTn id="12" dur="750" fill="hold"/>
                                        <p:tgtEl>
                                          <p:spTgt spid="113"/>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250"/>
                                  </p:stCondLst>
                                  <p:childTnLst>
                                    <p:set>
                                      <p:cBhvr>
                                        <p:cTn id="14" dur="1" fill="hold">
                                          <p:stCondLst>
                                            <p:cond delay="0"/>
                                          </p:stCondLst>
                                        </p:cTn>
                                        <p:tgtEl>
                                          <p:spTgt spid="114"/>
                                        </p:tgtEl>
                                        <p:attrNameLst>
                                          <p:attrName>style.visibility</p:attrName>
                                        </p:attrNameLst>
                                      </p:cBhvr>
                                      <p:to>
                                        <p:strVal val="visible"/>
                                      </p:to>
                                    </p:set>
                                    <p:anim calcmode="lin" valueType="num">
                                      <p:cBhvr additive="base">
                                        <p:cTn id="15" dur="750" fill="hold"/>
                                        <p:tgtEl>
                                          <p:spTgt spid="114"/>
                                        </p:tgtEl>
                                        <p:attrNameLst>
                                          <p:attrName>ppt_x</p:attrName>
                                        </p:attrNameLst>
                                      </p:cBhvr>
                                      <p:tavLst>
                                        <p:tav tm="0">
                                          <p:val>
                                            <p:strVal val="#ppt_x"/>
                                          </p:val>
                                        </p:tav>
                                        <p:tav tm="100000">
                                          <p:val>
                                            <p:strVal val="#ppt_x"/>
                                          </p:val>
                                        </p:tav>
                                      </p:tavLst>
                                    </p:anim>
                                    <p:anim calcmode="lin" valueType="num">
                                      <p:cBhvr additive="base">
                                        <p:cTn id="16" dur="750" fill="hold"/>
                                        <p:tgtEl>
                                          <p:spTgt spid="1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P spid="113" grpId="0"/>
      <p:bldP spid="114"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 name="TextBox 50"/>
          <p:cNvSpPr txBox="1"/>
          <p:nvPr/>
        </p:nvSpPr>
        <p:spPr>
          <a:xfrm>
            <a:off x="7783" y="2485888"/>
            <a:ext cx="4295368" cy="1777287"/>
          </a:xfrm>
          <a:prstGeom prst="rect">
            <a:avLst/>
          </a:prstGeom>
          <a:noFill/>
        </p:spPr>
        <p:txBody>
          <a:bodyPr lIns="448212" tIns="131821" rIns="179285"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68217A"/>
                </a:solidFill>
                <a:latin typeface="Segoe UI Light"/>
                <a:ea typeface="ＭＳ Ｐゴシック" charset="0"/>
              </a:rPr>
              <a:t>Faster business outcomes</a:t>
            </a:r>
          </a:p>
          <a:p>
            <a:pPr>
              <a:defRPr/>
            </a:pPr>
            <a:r>
              <a:rPr lang="en-US" sz="1372" dirty="0">
                <a:ea typeface="ＭＳ Ｐゴシック" charset="0"/>
              </a:rPr>
              <a:t>Deliver innovation at the pace your business expects and the quality it needs.</a:t>
            </a:r>
          </a:p>
        </p:txBody>
      </p:sp>
      <p:sp>
        <p:nvSpPr>
          <p:cNvPr id="52" name="TextBox 51"/>
          <p:cNvSpPr txBox="1"/>
          <p:nvPr/>
        </p:nvSpPr>
        <p:spPr>
          <a:xfrm>
            <a:off x="4113284" y="2485888"/>
            <a:ext cx="3615268" cy="1777287"/>
          </a:xfrm>
          <a:prstGeom prst="rect">
            <a:avLst/>
          </a:prstGeom>
          <a:noFill/>
        </p:spPr>
        <p:txBody>
          <a:bodyPr lIns="448212" tIns="131821" rIns="179285"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68217A"/>
                </a:solidFill>
                <a:latin typeface="Segoe UI Light"/>
                <a:ea typeface="ＭＳ Ｐゴシック" charset="0"/>
              </a:rPr>
              <a:t>Flexible platform</a:t>
            </a:r>
          </a:p>
          <a:p>
            <a:pPr>
              <a:defRPr/>
            </a:pPr>
            <a:r>
              <a:rPr lang="en-US" sz="1372" dirty="0">
                <a:ea typeface="ＭＳ Ｐゴシック" charset="0"/>
              </a:rPr>
              <a:t>Connect what you have today with where you need to go in the future.</a:t>
            </a:r>
          </a:p>
        </p:txBody>
      </p:sp>
      <p:sp>
        <p:nvSpPr>
          <p:cNvPr id="53" name="TextBox 52"/>
          <p:cNvSpPr txBox="1"/>
          <p:nvPr/>
        </p:nvSpPr>
        <p:spPr>
          <a:xfrm>
            <a:off x="7783" y="4386121"/>
            <a:ext cx="3697751" cy="1778843"/>
          </a:xfrm>
          <a:prstGeom prst="rect">
            <a:avLst/>
          </a:prstGeom>
          <a:noFill/>
        </p:spPr>
        <p:txBody>
          <a:bodyPr lIns="448212" tIns="131821" rIns="179285"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68217A"/>
                </a:solidFill>
                <a:latin typeface="Segoe UI Light"/>
                <a:ea typeface="ＭＳ Ｐゴシック" charset="0"/>
              </a:rPr>
              <a:t>Enterprise proven </a:t>
            </a:r>
            <a:endParaRPr lang="en-US" sz="1372" dirty="0">
              <a:solidFill>
                <a:srgbClr val="68217A"/>
              </a:solidFill>
              <a:ea typeface="ＭＳ Ｐゴシック" charset="0"/>
            </a:endParaRPr>
          </a:p>
          <a:p>
            <a:pPr>
              <a:defRPr/>
            </a:pPr>
            <a:r>
              <a:rPr lang="en-US" sz="1372" dirty="0">
                <a:ea typeface="ＭＳ Ｐゴシック" charset="0"/>
              </a:rPr>
              <a:t>Capabilities you expect and a track record of delivering enterprise value.</a:t>
            </a:r>
          </a:p>
        </p:txBody>
      </p:sp>
      <p:sp>
        <p:nvSpPr>
          <p:cNvPr id="47" name="Rectangle 46"/>
          <p:cNvSpPr/>
          <p:nvPr/>
        </p:nvSpPr>
        <p:spPr bwMode="auto">
          <a:xfrm>
            <a:off x="1" y="3600"/>
            <a:ext cx="12192000" cy="223794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Title 1"/>
          <p:cNvSpPr txBox="1">
            <a:spLocks/>
          </p:cNvSpPr>
          <p:nvPr/>
        </p:nvSpPr>
        <p:spPr>
          <a:xfrm>
            <a:off x="269240" y="291514"/>
            <a:ext cx="11655078" cy="1590532"/>
          </a:xfrm>
          <a:prstGeom prst="rect">
            <a:avLst/>
          </a:prstGeom>
        </p:spPr>
        <p:txBody>
          <a:bodyPr/>
          <a:lstStyle>
            <a:lvl1pPr algn="l" defTabSz="932901" rtl="0" eaLnBrk="1" latinLnBrk="0" hangingPunct="1">
              <a:lnSpc>
                <a:spcPct val="90000"/>
              </a:lnSpc>
              <a:spcBef>
                <a:spcPct val="0"/>
              </a:spcBef>
              <a:buNone/>
              <a:defRPr lang="en-US" sz="5200" b="0" kern="1200" cap="none" spc="-102" baseline="0">
                <a:ln w="3175">
                  <a:noFill/>
                </a:ln>
                <a:solidFill>
                  <a:schemeClr val="tx2"/>
                </a:solidFill>
                <a:effectLst/>
                <a:latin typeface="+mj-lt"/>
                <a:ea typeface="+mn-ea"/>
                <a:cs typeface="Segoe UI" pitchFamily="34" charset="0"/>
              </a:defRPr>
            </a:lvl1pPr>
          </a:lstStyle>
          <a:p>
            <a:pPr>
              <a:defRPr/>
            </a:pPr>
            <a:r>
              <a:rPr sz="5294" spc="0" dirty="0">
                <a:solidFill>
                  <a:srgbClr val="FFFFFF"/>
                </a:solidFill>
              </a:rPr>
              <a:t>Enable application innovation </a:t>
            </a:r>
          </a:p>
          <a:p>
            <a:pPr>
              <a:spcBef>
                <a:spcPts val="294"/>
              </a:spcBef>
              <a:defRPr/>
            </a:pPr>
            <a:r>
              <a:rPr sz="2745" spc="0" dirty="0">
                <a:solidFill>
                  <a:srgbClr val="FFFFFF"/>
                </a:solidFill>
              </a:rPr>
              <a:t>Microsoft helps you architect the future of business innovation</a:t>
            </a:r>
          </a:p>
        </p:txBody>
      </p:sp>
      <p:grpSp>
        <p:nvGrpSpPr>
          <p:cNvPr id="36" name="Group 35"/>
          <p:cNvGrpSpPr/>
          <p:nvPr/>
        </p:nvGrpSpPr>
        <p:grpSpPr>
          <a:xfrm>
            <a:off x="8486466" y="2856518"/>
            <a:ext cx="2472397" cy="3563594"/>
            <a:chOff x="9258840" y="3905330"/>
            <a:chExt cx="1784514" cy="2572112"/>
          </a:xfrm>
        </p:grpSpPr>
        <p:sp>
          <p:nvSpPr>
            <p:cNvPr id="38" name="Rectangle 47"/>
            <p:cNvSpPr>
              <a:spLocks noChangeArrowheads="1"/>
            </p:cNvSpPr>
            <p:nvPr/>
          </p:nvSpPr>
          <p:spPr bwMode="auto">
            <a:xfrm>
              <a:off x="10152871" y="4825969"/>
              <a:ext cx="890483" cy="4612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39" name="Rectangle 48"/>
            <p:cNvSpPr>
              <a:spLocks noChangeArrowheads="1"/>
            </p:cNvSpPr>
            <p:nvPr/>
          </p:nvSpPr>
          <p:spPr bwMode="auto">
            <a:xfrm>
              <a:off x="10392786" y="5287175"/>
              <a:ext cx="410651" cy="1190267"/>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0" name="Rectangle 49"/>
            <p:cNvSpPr>
              <a:spLocks noChangeArrowheads="1"/>
            </p:cNvSpPr>
            <p:nvPr/>
          </p:nvSpPr>
          <p:spPr bwMode="auto">
            <a:xfrm>
              <a:off x="10184357" y="4675190"/>
              <a:ext cx="253663" cy="381382"/>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1" name="Freeform 50"/>
            <p:cNvSpPr>
              <a:spLocks/>
            </p:cNvSpPr>
            <p:nvPr/>
          </p:nvSpPr>
          <p:spPr bwMode="auto">
            <a:xfrm>
              <a:off x="9258840" y="3905330"/>
              <a:ext cx="1067870" cy="1239492"/>
            </a:xfrm>
            <a:custGeom>
              <a:avLst/>
              <a:gdLst>
                <a:gd name="T0" fmla="*/ 2408 w 2408"/>
                <a:gd name="T1" fmla="*/ 2409 h 2795"/>
                <a:gd name="T2" fmla="*/ 2153 w 2408"/>
                <a:gd name="T3" fmla="*/ 2795 h 2795"/>
                <a:gd name="T4" fmla="*/ 0 w 2408"/>
                <a:gd name="T5" fmla="*/ 116 h 2795"/>
                <a:gd name="T6" fmla="*/ 144 w 2408"/>
                <a:gd name="T7" fmla="*/ 0 h 2795"/>
                <a:gd name="T8" fmla="*/ 2408 w 2408"/>
                <a:gd name="T9" fmla="*/ 2409 h 2795"/>
              </a:gdLst>
              <a:ahLst/>
              <a:cxnLst>
                <a:cxn ang="0">
                  <a:pos x="T0" y="T1"/>
                </a:cxn>
                <a:cxn ang="0">
                  <a:pos x="T2" y="T3"/>
                </a:cxn>
                <a:cxn ang="0">
                  <a:pos x="T4" y="T5"/>
                </a:cxn>
                <a:cxn ang="0">
                  <a:pos x="T6" y="T7"/>
                </a:cxn>
                <a:cxn ang="0">
                  <a:pos x="T8" y="T9"/>
                </a:cxn>
              </a:cxnLst>
              <a:rect l="0" t="0" r="r" b="b"/>
              <a:pathLst>
                <a:path w="2408" h="2795">
                  <a:moveTo>
                    <a:pt x="2408" y="2409"/>
                  </a:moveTo>
                  <a:lnTo>
                    <a:pt x="2153" y="2795"/>
                  </a:lnTo>
                  <a:lnTo>
                    <a:pt x="0" y="116"/>
                  </a:lnTo>
                  <a:lnTo>
                    <a:pt x="144" y="0"/>
                  </a:lnTo>
                  <a:lnTo>
                    <a:pt x="2408" y="2409"/>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2" name="Rectangle 51"/>
            <p:cNvSpPr>
              <a:spLocks noChangeArrowheads="1"/>
            </p:cNvSpPr>
            <p:nvPr/>
          </p:nvSpPr>
          <p:spPr bwMode="auto">
            <a:xfrm>
              <a:off x="9280570" y="3985154"/>
              <a:ext cx="32817" cy="1045253"/>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43" name="Rectangle 42"/>
          <p:cNvSpPr>
            <a:spLocks noChangeArrowheads="1"/>
          </p:cNvSpPr>
          <p:nvPr/>
        </p:nvSpPr>
        <p:spPr bwMode="auto">
          <a:xfrm>
            <a:off x="11020730" y="5311449"/>
            <a:ext cx="1015009" cy="1284737"/>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4" name="Rectangle 6"/>
          <p:cNvSpPr>
            <a:spLocks noChangeArrowheads="1"/>
          </p:cNvSpPr>
          <p:nvPr/>
        </p:nvSpPr>
        <p:spPr bwMode="auto">
          <a:xfrm>
            <a:off x="11020730" y="5512630"/>
            <a:ext cx="1015009" cy="174493"/>
          </a:xfrm>
          <a:prstGeom prst="rect">
            <a:avLst/>
          </a:prstGeom>
          <a:solidFill>
            <a:srgbClr val="6DC2E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5" name="Rectangle 7"/>
          <p:cNvSpPr>
            <a:spLocks noChangeArrowheads="1"/>
          </p:cNvSpPr>
          <p:nvPr/>
        </p:nvSpPr>
        <p:spPr bwMode="auto">
          <a:xfrm>
            <a:off x="11020730" y="5389597"/>
            <a:ext cx="1015009" cy="174493"/>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6" name="Rectangle 8"/>
          <p:cNvSpPr>
            <a:spLocks noChangeArrowheads="1"/>
          </p:cNvSpPr>
          <p:nvPr/>
        </p:nvSpPr>
        <p:spPr bwMode="auto">
          <a:xfrm>
            <a:off x="11020730" y="5353372"/>
            <a:ext cx="1015009" cy="8724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8" name="Rectangle 9"/>
          <p:cNvSpPr>
            <a:spLocks noChangeArrowheads="1"/>
          </p:cNvSpPr>
          <p:nvPr/>
        </p:nvSpPr>
        <p:spPr bwMode="auto">
          <a:xfrm>
            <a:off x="11626075" y="6244127"/>
            <a:ext cx="171422" cy="35205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49" name="Rectangle 10"/>
          <p:cNvSpPr>
            <a:spLocks noChangeArrowheads="1"/>
          </p:cNvSpPr>
          <p:nvPr/>
        </p:nvSpPr>
        <p:spPr bwMode="auto">
          <a:xfrm>
            <a:off x="7806182" y="5802628"/>
            <a:ext cx="561572" cy="61748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54" name="Rectangle 11"/>
          <p:cNvSpPr>
            <a:spLocks noChangeArrowheads="1"/>
          </p:cNvSpPr>
          <p:nvPr/>
        </p:nvSpPr>
        <p:spPr bwMode="auto">
          <a:xfrm>
            <a:off x="7888108" y="5802628"/>
            <a:ext cx="281400" cy="617484"/>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55" name="Rectangle 12"/>
          <p:cNvSpPr>
            <a:spLocks noChangeArrowheads="1"/>
          </p:cNvSpPr>
          <p:nvPr/>
        </p:nvSpPr>
        <p:spPr bwMode="auto">
          <a:xfrm>
            <a:off x="7895602" y="6312687"/>
            <a:ext cx="316948"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56" name="Rectangle 13"/>
          <p:cNvSpPr>
            <a:spLocks noChangeArrowheads="1"/>
          </p:cNvSpPr>
          <p:nvPr/>
        </p:nvSpPr>
        <p:spPr bwMode="auto">
          <a:xfrm>
            <a:off x="8237273" y="5802626"/>
            <a:ext cx="562188" cy="617485"/>
          </a:xfrm>
          <a:prstGeom prst="rect">
            <a:avLst/>
          </a:prstGeom>
          <a:solidFill>
            <a:srgbClr val="B4009E"/>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57" name="Rectangle 14"/>
          <p:cNvSpPr>
            <a:spLocks noChangeArrowheads="1"/>
          </p:cNvSpPr>
          <p:nvPr/>
        </p:nvSpPr>
        <p:spPr bwMode="auto">
          <a:xfrm>
            <a:off x="8319200" y="5802626"/>
            <a:ext cx="282016" cy="617485"/>
          </a:xfrm>
          <a:prstGeom prst="rect">
            <a:avLst/>
          </a:prstGeom>
          <a:solidFill>
            <a:srgbClr val="91007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58" name="Rectangle 15"/>
          <p:cNvSpPr>
            <a:spLocks noChangeArrowheads="1"/>
          </p:cNvSpPr>
          <p:nvPr/>
        </p:nvSpPr>
        <p:spPr bwMode="auto">
          <a:xfrm>
            <a:off x="8325709" y="6312687"/>
            <a:ext cx="318546"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59" name="Rectangle 16"/>
          <p:cNvSpPr>
            <a:spLocks noChangeArrowheads="1"/>
          </p:cNvSpPr>
          <p:nvPr/>
        </p:nvSpPr>
        <p:spPr bwMode="auto">
          <a:xfrm>
            <a:off x="8669849" y="5802626"/>
            <a:ext cx="562188" cy="617485"/>
          </a:xfrm>
          <a:prstGeom prst="rect">
            <a:avLst/>
          </a:prstGeom>
          <a:solidFill>
            <a:srgbClr val="B4009E"/>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0" name="Rectangle 17"/>
          <p:cNvSpPr>
            <a:spLocks noChangeArrowheads="1"/>
          </p:cNvSpPr>
          <p:nvPr/>
        </p:nvSpPr>
        <p:spPr bwMode="auto">
          <a:xfrm>
            <a:off x="8751776" y="5802626"/>
            <a:ext cx="282016" cy="617485"/>
          </a:xfrm>
          <a:prstGeom prst="rect">
            <a:avLst/>
          </a:prstGeom>
          <a:solidFill>
            <a:srgbClr val="91007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1" name="Rectangle 18"/>
          <p:cNvSpPr>
            <a:spLocks noChangeArrowheads="1"/>
          </p:cNvSpPr>
          <p:nvPr/>
        </p:nvSpPr>
        <p:spPr bwMode="auto">
          <a:xfrm>
            <a:off x="8758285" y="6312687"/>
            <a:ext cx="318546"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2" name="Rectangle 19"/>
          <p:cNvSpPr>
            <a:spLocks noChangeArrowheads="1"/>
          </p:cNvSpPr>
          <p:nvPr/>
        </p:nvSpPr>
        <p:spPr bwMode="auto">
          <a:xfrm>
            <a:off x="9109997" y="5802628"/>
            <a:ext cx="561572" cy="61748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3" name="Rectangle 20"/>
          <p:cNvSpPr>
            <a:spLocks noChangeArrowheads="1"/>
          </p:cNvSpPr>
          <p:nvPr/>
        </p:nvSpPr>
        <p:spPr bwMode="auto">
          <a:xfrm>
            <a:off x="9191923" y="5802628"/>
            <a:ext cx="281400" cy="617484"/>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4" name="Rectangle 21"/>
          <p:cNvSpPr>
            <a:spLocks noChangeArrowheads="1"/>
          </p:cNvSpPr>
          <p:nvPr/>
        </p:nvSpPr>
        <p:spPr bwMode="auto">
          <a:xfrm>
            <a:off x="9199416" y="6312687"/>
            <a:ext cx="316948"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5" name="Rectangle 22"/>
          <p:cNvSpPr>
            <a:spLocks noChangeArrowheads="1"/>
          </p:cNvSpPr>
          <p:nvPr/>
        </p:nvSpPr>
        <p:spPr bwMode="auto">
          <a:xfrm>
            <a:off x="8237273" y="5353530"/>
            <a:ext cx="562188" cy="61748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6" name="Rectangle 23"/>
          <p:cNvSpPr>
            <a:spLocks noChangeArrowheads="1"/>
          </p:cNvSpPr>
          <p:nvPr/>
        </p:nvSpPr>
        <p:spPr bwMode="auto">
          <a:xfrm>
            <a:off x="8319200" y="5353530"/>
            <a:ext cx="282016" cy="61748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67" name="Rectangle 24"/>
          <p:cNvSpPr>
            <a:spLocks noChangeArrowheads="1"/>
          </p:cNvSpPr>
          <p:nvPr/>
        </p:nvSpPr>
        <p:spPr bwMode="auto">
          <a:xfrm>
            <a:off x="8336706" y="5863591"/>
            <a:ext cx="307549"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nvGrpSpPr>
          <p:cNvPr id="68" name="Group 67"/>
          <p:cNvGrpSpPr/>
          <p:nvPr/>
        </p:nvGrpSpPr>
        <p:grpSpPr>
          <a:xfrm>
            <a:off x="8885244" y="4820962"/>
            <a:ext cx="561572" cy="617484"/>
            <a:chOff x="9094313" y="5030407"/>
            <a:chExt cx="405329" cy="445685"/>
          </a:xfrm>
        </p:grpSpPr>
        <p:sp>
          <p:nvSpPr>
            <p:cNvPr id="69" name="Rectangle 25"/>
            <p:cNvSpPr>
              <a:spLocks noChangeArrowheads="1"/>
            </p:cNvSpPr>
            <p:nvPr/>
          </p:nvSpPr>
          <p:spPr bwMode="auto">
            <a:xfrm>
              <a:off x="9094313" y="5030407"/>
              <a:ext cx="405329" cy="44568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0" name="Rectangle 26"/>
            <p:cNvSpPr>
              <a:spLocks noChangeArrowheads="1"/>
            </p:cNvSpPr>
            <p:nvPr/>
          </p:nvSpPr>
          <p:spPr bwMode="auto">
            <a:xfrm>
              <a:off x="9094313" y="5030407"/>
              <a:ext cx="203108" cy="445685"/>
            </a:xfrm>
            <a:prstGeom prst="rect">
              <a:avLst/>
            </a:prstGeom>
            <a:solidFill>
              <a:srgbClr val="44235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1" name="Rectangle 27"/>
            <p:cNvSpPr>
              <a:spLocks noChangeArrowheads="1"/>
            </p:cNvSpPr>
            <p:nvPr/>
          </p:nvSpPr>
          <p:spPr bwMode="auto">
            <a:xfrm>
              <a:off x="9253518" y="5399372"/>
              <a:ext cx="88250" cy="12861"/>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grpSp>
      <p:sp>
        <p:nvSpPr>
          <p:cNvPr id="72" name="Rectangle 28"/>
          <p:cNvSpPr>
            <a:spLocks noChangeArrowheads="1"/>
          </p:cNvSpPr>
          <p:nvPr/>
        </p:nvSpPr>
        <p:spPr bwMode="auto">
          <a:xfrm>
            <a:off x="9109997" y="5353531"/>
            <a:ext cx="561572" cy="617484"/>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3" name="Rectangle 29"/>
          <p:cNvSpPr>
            <a:spLocks noChangeArrowheads="1"/>
          </p:cNvSpPr>
          <p:nvPr/>
        </p:nvSpPr>
        <p:spPr bwMode="auto">
          <a:xfrm>
            <a:off x="9191923" y="5353531"/>
            <a:ext cx="281400" cy="617484"/>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4" name="Rectangle 30"/>
          <p:cNvSpPr>
            <a:spLocks noChangeArrowheads="1"/>
          </p:cNvSpPr>
          <p:nvPr/>
        </p:nvSpPr>
        <p:spPr bwMode="auto">
          <a:xfrm>
            <a:off x="9210359" y="5863591"/>
            <a:ext cx="306005"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5" name="Rectangle 31"/>
          <p:cNvSpPr>
            <a:spLocks noChangeArrowheads="1"/>
          </p:cNvSpPr>
          <p:nvPr/>
        </p:nvSpPr>
        <p:spPr bwMode="auto">
          <a:xfrm>
            <a:off x="9551703" y="5802628"/>
            <a:ext cx="561572" cy="617484"/>
          </a:xfrm>
          <a:prstGeom prst="rect">
            <a:avLst/>
          </a:prstGeom>
          <a:solidFill>
            <a:srgbClr val="B4009E"/>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6" name="Rectangle 32"/>
          <p:cNvSpPr>
            <a:spLocks noChangeArrowheads="1"/>
          </p:cNvSpPr>
          <p:nvPr/>
        </p:nvSpPr>
        <p:spPr bwMode="auto">
          <a:xfrm>
            <a:off x="9633988" y="5802626"/>
            <a:ext cx="280172" cy="617485"/>
          </a:xfrm>
          <a:prstGeom prst="rect">
            <a:avLst/>
          </a:prstGeom>
          <a:solidFill>
            <a:srgbClr val="91007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7" name="Rectangle 33"/>
          <p:cNvSpPr>
            <a:spLocks noChangeArrowheads="1"/>
          </p:cNvSpPr>
          <p:nvPr/>
        </p:nvSpPr>
        <p:spPr bwMode="auto">
          <a:xfrm>
            <a:off x="9640253" y="6312687"/>
            <a:ext cx="316948"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8" name="Rectangle 34"/>
          <p:cNvSpPr>
            <a:spLocks noChangeArrowheads="1"/>
          </p:cNvSpPr>
          <p:nvPr/>
        </p:nvSpPr>
        <p:spPr bwMode="auto">
          <a:xfrm>
            <a:off x="9991055" y="5802626"/>
            <a:ext cx="562188" cy="61748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79" name="Rectangle 35"/>
          <p:cNvSpPr>
            <a:spLocks noChangeArrowheads="1"/>
          </p:cNvSpPr>
          <p:nvPr/>
        </p:nvSpPr>
        <p:spPr bwMode="auto">
          <a:xfrm>
            <a:off x="10073520" y="5802626"/>
            <a:ext cx="280172" cy="61748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0" name="Rectangle 36"/>
          <p:cNvSpPr>
            <a:spLocks noChangeArrowheads="1"/>
          </p:cNvSpPr>
          <p:nvPr/>
        </p:nvSpPr>
        <p:spPr bwMode="auto">
          <a:xfrm>
            <a:off x="10078620" y="6312687"/>
            <a:ext cx="318546"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1" name="Rectangle 37"/>
          <p:cNvSpPr>
            <a:spLocks noChangeArrowheads="1"/>
          </p:cNvSpPr>
          <p:nvPr/>
        </p:nvSpPr>
        <p:spPr bwMode="auto">
          <a:xfrm>
            <a:off x="9551703" y="5353531"/>
            <a:ext cx="561572" cy="617484"/>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2" name="Rectangle 38"/>
          <p:cNvSpPr>
            <a:spLocks noChangeArrowheads="1"/>
          </p:cNvSpPr>
          <p:nvPr/>
        </p:nvSpPr>
        <p:spPr bwMode="auto">
          <a:xfrm>
            <a:off x="9633988" y="5353530"/>
            <a:ext cx="280172" cy="617485"/>
          </a:xfrm>
          <a:prstGeom prst="rect">
            <a:avLst/>
          </a:prstGeom>
          <a:solidFill>
            <a:srgbClr val="44235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3" name="Rectangle 39"/>
          <p:cNvSpPr>
            <a:spLocks noChangeArrowheads="1"/>
          </p:cNvSpPr>
          <p:nvPr/>
        </p:nvSpPr>
        <p:spPr bwMode="auto">
          <a:xfrm>
            <a:off x="9651195" y="5863591"/>
            <a:ext cx="306005"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4" name="Rectangle 40"/>
          <p:cNvSpPr>
            <a:spLocks noChangeArrowheads="1"/>
          </p:cNvSpPr>
          <p:nvPr/>
        </p:nvSpPr>
        <p:spPr bwMode="auto">
          <a:xfrm>
            <a:off x="9991055" y="5353530"/>
            <a:ext cx="562188" cy="617485"/>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5" name="Rectangle 41"/>
          <p:cNvSpPr>
            <a:spLocks noChangeArrowheads="1"/>
          </p:cNvSpPr>
          <p:nvPr/>
        </p:nvSpPr>
        <p:spPr bwMode="auto">
          <a:xfrm>
            <a:off x="10073520" y="5353530"/>
            <a:ext cx="280172" cy="617485"/>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6" name="Rectangle 42"/>
          <p:cNvSpPr>
            <a:spLocks noChangeArrowheads="1"/>
          </p:cNvSpPr>
          <p:nvPr/>
        </p:nvSpPr>
        <p:spPr bwMode="auto">
          <a:xfrm>
            <a:off x="10089618" y="5863591"/>
            <a:ext cx="307549" cy="4482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7" name="Freeform 43"/>
          <p:cNvSpPr>
            <a:spLocks/>
          </p:cNvSpPr>
          <p:nvPr/>
        </p:nvSpPr>
        <p:spPr bwMode="auto">
          <a:xfrm>
            <a:off x="5488594" y="6312494"/>
            <a:ext cx="6877120" cy="368033"/>
          </a:xfrm>
          <a:custGeom>
            <a:avLst/>
            <a:gdLst>
              <a:gd name="T0" fmla="*/ 4736 w 4736"/>
              <a:gd name="T1" fmla="*/ 171 h 253"/>
              <a:gd name="T2" fmla="*/ 3635 w 4736"/>
              <a:gd name="T3" fmla="*/ 171 h 253"/>
              <a:gd name="T4" fmla="*/ 3464 w 4736"/>
              <a:gd name="T5" fmla="*/ 0 h 253"/>
              <a:gd name="T6" fmla="*/ 0 w 4736"/>
              <a:gd name="T7" fmla="*/ 0 h 253"/>
              <a:gd name="T8" fmla="*/ 168 w 4736"/>
              <a:gd name="T9" fmla="*/ 253 h 253"/>
              <a:gd name="T10" fmla="*/ 4736 w 4736"/>
              <a:gd name="T11" fmla="*/ 253 h 253"/>
              <a:gd name="T12" fmla="*/ 4736 w 4736"/>
              <a:gd name="T13" fmla="*/ 171 h 253"/>
            </a:gdLst>
            <a:ahLst/>
            <a:cxnLst>
              <a:cxn ang="0">
                <a:pos x="T0" y="T1"/>
              </a:cxn>
              <a:cxn ang="0">
                <a:pos x="T2" y="T3"/>
              </a:cxn>
              <a:cxn ang="0">
                <a:pos x="T4" y="T5"/>
              </a:cxn>
              <a:cxn ang="0">
                <a:pos x="T6" y="T7"/>
              </a:cxn>
              <a:cxn ang="0">
                <a:pos x="T8" y="T9"/>
              </a:cxn>
              <a:cxn ang="0">
                <a:pos x="T10" y="T11"/>
              </a:cxn>
              <a:cxn ang="0">
                <a:pos x="T12" y="T13"/>
              </a:cxn>
            </a:cxnLst>
            <a:rect l="0" t="0" r="r" b="b"/>
            <a:pathLst>
              <a:path w="4736" h="253">
                <a:moveTo>
                  <a:pt x="4736" y="171"/>
                </a:moveTo>
                <a:cubicBezTo>
                  <a:pt x="3635" y="171"/>
                  <a:pt x="3635" y="171"/>
                  <a:pt x="3635" y="171"/>
                </a:cubicBezTo>
                <a:cubicBezTo>
                  <a:pt x="3540" y="171"/>
                  <a:pt x="3464" y="94"/>
                  <a:pt x="3464" y="0"/>
                </a:cubicBezTo>
                <a:cubicBezTo>
                  <a:pt x="0" y="0"/>
                  <a:pt x="0" y="0"/>
                  <a:pt x="0" y="0"/>
                </a:cubicBezTo>
                <a:cubicBezTo>
                  <a:pt x="168" y="253"/>
                  <a:pt x="168" y="253"/>
                  <a:pt x="168" y="253"/>
                </a:cubicBezTo>
                <a:cubicBezTo>
                  <a:pt x="4736" y="253"/>
                  <a:pt x="4736" y="253"/>
                  <a:pt x="4736" y="253"/>
                </a:cubicBezTo>
                <a:lnTo>
                  <a:pt x="4736" y="171"/>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8" name="Freeform 44"/>
          <p:cNvSpPr>
            <a:spLocks/>
          </p:cNvSpPr>
          <p:nvPr/>
        </p:nvSpPr>
        <p:spPr bwMode="auto">
          <a:xfrm>
            <a:off x="5337449" y="6604169"/>
            <a:ext cx="7028266" cy="261126"/>
          </a:xfrm>
          <a:custGeom>
            <a:avLst/>
            <a:gdLst>
              <a:gd name="T0" fmla="*/ 272 w 4840"/>
              <a:gd name="T1" fmla="*/ 0 h 180"/>
              <a:gd name="T2" fmla="*/ 331 w 4840"/>
              <a:gd name="T3" fmla="*/ 88 h 180"/>
              <a:gd name="T4" fmla="*/ 92 w 4840"/>
              <a:gd name="T5" fmla="*/ 88 h 180"/>
              <a:gd name="T6" fmla="*/ 0 w 4840"/>
              <a:gd name="T7" fmla="*/ 180 h 180"/>
              <a:gd name="T8" fmla="*/ 92 w 4840"/>
              <a:gd name="T9" fmla="*/ 180 h 180"/>
              <a:gd name="T10" fmla="*/ 184 w 4840"/>
              <a:gd name="T11" fmla="*/ 180 h 180"/>
              <a:gd name="T12" fmla="*/ 392 w 4840"/>
              <a:gd name="T13" fmla="*/ 180 h 180"/>
              <a:gd name="T14" fmla="*/ 464 w 4840"/>
              <a:gd name="T15" fmla="*/ 180 h 180"/>
              <a:gd name="T16" fmla="*/ 4840 w 4840"/>
              <a:gd name="T17" fmla="*/ 180 h 180"/>
              <a:gd name="T18" fmla="*/ 4840 w 4840"/>
              <a:gd name="T19" fmla="*/ 0 h 180"/>
              <a:gd name="T20" fmla="*/ 272 w 4840"/>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40" h="180">
                <a:moveTo>
                  <a:pt x="272" y="0"/>
                </a:moveTo>
                <a:cubicBezTo>
                  <a:pt x="331" y="88"/>
                  <a:pt x="331" y="88"/>
                  <a:pt x="331" y="88"/>
                </a:cubicBezTo>
                <a:cubicBezTo>
                  <a:pt x="92" y="88"/>
                  <a:pt x="92" y="88"/>
                  <a:pt x="92" y="88"/>
                </a:cubicBezTo>
                <a:cubicBezTo>
                  <a:pt x="41" y="88"/>
                  <a:pt x="0" y="129"/>
                  <a:pt x="0" y="180"/>
                </a:cubicBezTo>
                <a:cubicBezTo>
                  <a:pt x="92" y="180"/>
                  <a:pt x="92" y="180"/>
                  <a:pt x="92" y="180"/>
                </a:cubicBezTo>
                <a:cubicBezTo>
                  <a:pt x="184" y="180"/>
                  <a:pt x="184" y="180"/>
                  <a:pt x="184" y="180"/>
                </a:cubicBezTo>
                <a:cubicBezTo>
                  <a:pt x="392" y="180"/>
                  <a:pt x="392" y="180"/>
                  <a:pt x="392" y="180"/>
                </a:cubicBezTo>
                <a:cubicBezTo>
                  <a:pt x="464" y="180"/>
                  <a:pt x="464" y="180"/>
                  <a:pt x="464" y="180"/>
                </a:cubicBezTo>
                <a:cubicBezTo>
                  <a:pt x="4840" y="180"/>
                  <a:pt x="4840" y="180"/>
                  <a:pt x="4840" y="180"/>
                </a:cubicBezTo>
                <a:cubicBezTo>
                  <a:pt x="4840" y="0"/>
                  <a:pt x="4840" y="0"/>
                  <a:pt x="4840" y="0"/>
                </a:cubicBezTo>
                <a:lnTo>
                  <a:pt x="272" y="0"/>
                </a:lnTo>
                <a:close/>
              </a:path>
            </a:pathLst>
          </a:custGeom>
          <a:solidFill>
            <a:srgbClr val="BA14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89" name="Rectangle 46"/>
          <p:cNvSpPr>
            <a:spLocks noChangeArrowheads="1"/>
          </p:cNvSpPr>
          <p:nvPr/>
        </p:nvSpPr>
        <p:spPr bwMode="auto">
          <a:xfrm>
            <a:off x="7719617" y="6484715"/>
            <a:ext cx="316423" cy="92777"/>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0" name="Rectangle 6"/>
          <p:cNvSpPr>
            <a:spLocks noChangeArrowheads="1"/>
          </p:cNvSpPr>
          <p:nvPr/>
        </p:nvSpPr>
        <p:spPr bwMode="auto">
          <a:xfrm>
            <a:off x="11221053" y="5512628"/>
            <a:ext cx="329941" cy="174494"/>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a:solidFill>
                <a:srgbClr val="505050"/>
              </a:solidFill>
              <a:ea typeface="ＭＳ Ｐゴシック" charset="0"/>
            </a:endParaRPr>
          </a:p>
        </p:txBody>
      </p:sp>
      <p:sp>
        <p:nvSpPr>
          <p:cNvPr id="91" name="Freeform 5"/>
          <p:cNvSpPr>
            <a:spLocks/>
          </p:cNvSpPr>
          <p:nvPr/>
        </p:nvSpPr>
        <p:spPr bwMode="auto">
          <a:xfrm>
            <a:off x="10012222" y="2769326"/>
            <a:ext cx="1732518" cy="1161205"/>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765" dirty="0">
              <a:solidFill>
                <a:srgbClr val="505050"/>
              </a:solidFill>
              <a:ea typeface="ＭＳ Ｐゴシック" charset="0"/>
            </a:endParaRPr>
          </a:p>
        </p:txBody>
      </p:sp>
    </p:spTree>
    <p:extLst>
      <p:ext uri="{BB962C8B-B14F-4D97-AF65-F5344CB8AC3E}">
        <p14:creationId xmlns:p14="http://schemas.microsoft.com/office/powerpoint/2010/main" val="483172068"/>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750" fill="hold"/>
                                        <p:tgtEl>
                                          <p:spTgt spid="51"/>
                                        </p:tgtEl>
                                        <p:attrNameLst>
                                          <p:attrName>ppt_x</p:attrName>
                                        </p:attrNameLst>
                                      </p:cBhvr>
                                      <p:tavLst>
                                        <p:tav tm="0">
                                          <p:val>
                                            <p:strVal val="#ppt_x"/>
                                          </p:val>
                                        </p:tav>
                                        <p:tav tm="100000">
                                          <p:val>
                                            <p:strVal val="#ppt_x"/>
                                          </p:val>
                                        </p:tav>
                                      </p:tavLst>
                                    </p:anim>
                                    <p:anim calcmode="lin" valueType="num">
                                      <p:cBhvr additive="base">
                                        <p:cTn id="8" dur="750" fill="hold"/>
                                        <p:tgtEl>
                                          <p:spTgt spid="51"/>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750" fill="hold"/>
                                        <p:tgtEl>
                                          <p:spTgt spid="52"/>
                                        </p:tgtEl>
                                        <p:attrNameLst>
                                          <p:attrName>ppt_x</p:attrName>
                                        </p:attrNameLst>
                                      </p:cBhvr>
                                      <p:tavLst>
                                        <p:tav tm="0">
                                          <p:val>
                                            <p:strVal val="#ppt_x"/>
                                          </p:val>
                                        </p:tav>
                                        <p:tav tm="100000">
                                          <p:val>
                                            <p:strVal val="#ppt_x"/>
                                          </p:val>
                                        </p:tav>
                                      </p:tavLst>
                                    </p:anim>
                                    <p:anim calcmode="lin" valueType="num">
                                      <p:cBhvr additive="base">
                                        <p:cTn id="12" dur="750" fill="hold"/>
                                        <p:tgtEl>
                                          <p:spTgt spid="52"/>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0"/>
                                  </p:stCondLst>
                                  <p:childTnLst>
                                    <p:set>
                                      <p:cBhvr>
                                        <p:cTn id="14" dur="1" fill="hold">
                                          <p:stCondLst>
                                            <p:cond delay="0"/>
                                          </p:stCondLst>
                                        </p:cTn>
                                        <p:tgtEl>
                                          <p:spTgt spid="53"/>
                                        </p:tgtEl>
                                        <p:attrNameLst>
                                          <p:attrName>style.visibility</p:attrName>
                                        </p:attrNameLst>
                                      </p:cBhvr>
                                      <p:to>
                                        <p:strVal val="visible"/>
                                      </p:to>
                                    </p:set>
                                    <p:anim calcmode="lin" valueType="num">
                                      <p:cBhvr additive="base">
                                        <p:cTn id="15" dur="750" fill="hold"/>
                                        <p:tgtEl>
                                          <p:spTgt spid="53"/>
                                        </p:tgtEl>
                                        <p:attrNameLst>
                                          <p:attrName>ppt_x</p:attrName>
                                        </p:attrNameLst>
                                      </p:cBhvr>
                                      <p:tavLst>
                                        <p:tav tm="0">
                                          <p:val>
                                            <p:strVal val="#ppt_x"/>
                                          </p:val>
                                        </p:tav>
                                        <p:tav tm="100000">
                                          <p:val>
                                            <p:strVal val="#ppt_x"/>
                                          </p:val>
                                        </p:tav>
                                      </p:tavLst>
                                    </p:anim>
                                    <p:anim calcmode="lin" valueType="num">
                                      <p:cBhvr additive="base">
                                        <p:cTn id="16" dur="750" fill="hold"/>
                                        <p:tgtEl>
                                          <p:spTgt spid="5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5" name="TextBox 124"/>
          <p:cNvSpPr txBox="1"/>
          <p:nvPr/>
        </p:nvSpPr>
        <p:spPr>
          <a:xfrm>
            <a:off x="8560" y="2994795"/>
            <a:ext cx="3585699" cy="1792850"/>
          </a:xfrm>
          <a:prstGeom prst="rect">
            <a:avLst/>
          </a:prstGeom>
          <a:noFill/>
        </p:spPr>
        <p:txBody>
          <a:bodyPr lIns="448212" tIns="131821" rIns="179285"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DC3C00"/>
                </a:solidFill>
                <a:latin typeface="Segoe UI Light"/>
                <a:ea typeface="ＭＳ Ｐゴシック" charset="0"/>
              </a:rPr>
              <a:t>Capture + manage</a:t>
            </a:r>
          </a:p>
          <a:p>
            <a:pPr>
              <a:lnSpc>
                <a:spcPct val="114000"/>
              </a:lnSpc>
            </a:pPr>
            <a:r>
              <a:rPr lang="en-US" sz="1372">
                <a:ea typeface="ＭＳ Ｐゴシック" charset="0"/>
              </a:rPr>
              <a:t>Capture </a:t>
            </a:r>
            <a:r>
              <a:rPr lang="en-US" sz="1372" dirty="0">
                <a:ea typeface="ＭＳ Ｐゴシック" charset="0"/>
              </a:rPr>
              <a:t>and manage diverse data types with breakthrough speed.</a:t>
            </a:r>
            <a:endParaRPr lang="en-US" sz="1372" dirty="0">
              <a:ea typeface="ＭＳ Ｐゴシック" charset="0"/>
              <a:cs typeface="Segoe UI"/>
            </a:endParaRPr>
          </a:p>
        </p:txBody>
      </p:sp>
      <p:sp>
        <p:nvSpPr>
          <p:cNvPr id="126" name="TextBox 125"/>
          <p:cNvSpPr txBox="1"/>
          <p:nvPr/>
        </p:nvSpPr>
        <p:spPr>
          <a:xfrm>
            <a:off x="3519557" y="2994795"/>
            <a:ext cx="3630832" cy="1792850"/>
          </a:xfrm>
          <a:prstGeom prst="rect">
            <a:avLst/>
          </a:prstGeom>
          <a:noFill/>
        </p:spPr>
        <p:txBody>
          <a:bodyPr lIns="448212" tIns="131821" rIns="179285"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DC3C00"/>
                </a:solidFill>
                <a:latin typeface="Segoe UI Light"/>
                <a:ea typeface="ＭＳ Ｐゴシック" charset="0"/>
              </a:rPr>
              <a:t>Transform + analyze</a:t>
            </a:r>
          </a:p>
          <a:p>
            <a:pPr>
              <a:lnSpc>
                <a:spcPct val="114000"/>
              </a:lnSpc>
            </a:pPr>
            <a:r>
              <a:rPr lang="en-US" sz="1372" dirty="0">
                <a:ea typeface="ＭＳ Ｐゴシック" charset="0"/>
              </a:rPr>
              <a:t>Transform and analyze data for anyone to access from anywhere.</a:t>
            </a:r>
            <a:endParaRPr lang="en-US" sz="1372" dirty="0">
              <a:ea typeface="ＭＳ Ｐゴシック" charset="0"/>
              <a:cs typeface="Segoe UI"/>
            </a:endParaRPr>
          </a:p>
        </p:txBody>
      </p:sp>
      <p:sp>
        <p:nvSpPr>
          <p:cNvPr id="127" name="TextBox 126"/>
          <p:cNvSpPr txBox="1"/>
          <p:nvPr/>
        </p:nvSpPr>
        <p:spPr>
          <a:xfrm>
            <a:off x="8560" y="4912148"/>
            <a:ext cx="3585699" cy="1792850"/>
          </a:xfrm>
          <a:prstGeom prst="rect">
            <a:avLst/>
          </a:prstGeom>
          <a:noFill/>
        </p:spPr>
        <p:txBody>
          <a:bodyPr lIns="448212" tIns="131821" rIns="179285"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DC3C00"/>
                </a:solidFill>
                <a:latin typeface="Segoe UI Light"/>
                <a:ea typeface="ＭＳ Ｐゴシック" charset="0"/>
              </a:rPr>
              <a:t>Visualize + decide</a:t>
            </a:r>
          </a:p>
          <a:p>
            <a:pPr>
              <a:lnSpc>
                <a:spcPct val="114000"/>
              </a:lnSpc>
              <a:spcAft>
                <a:spcPts val="0"/>
              </a:spcAft>
            </a:pPr>
            <a:r>
              <a:rPr lang="en-US" sz="1372" dirty="0">
                <a:ea typeface="ＭＳ Ｐゴシック" charset="0"/>
              </a:rPr>
              <a:t>Visualize data to clarify and speed </a:t>
            </a:r>
          </a:p>
          <a:p>
            <a:pPr>
              <a:lnSpc>
                <a:spcPct val="114000"/>
              </a:lnSpc>
            </a:pPr>
            <a:r>
              <a:rPr lang="en-US" sz="1372" dirty="0">
                <a:ea typeface="ＭＳ Ｐゴシック" charset="0"/>
              </a:rPr>
              <a:t>key decisions.</a:t>
            </a:r>
            <a:endParaRPr lang="en-US" sz="1372" dirty="0">
              <a:ea typeface="ＭＳ Ｐゴシック" charset="0"/>
              <a:cs typeface="Segoe UI"/>
            </a:endParaRPr>
          </a:p>
        </p:txBody>
      </p:sp>
      <p:grpSp>
        <p:nvGrpSpPr>
          <p:cNvPr id="33793" name="Group 18"/>
          <p:cNvGrpSpPr>
            <a:grpSpLocks/>
          </p:cNvGrpSpPr>
          <p:nvPr/>
        </p:nvGrpSpPr>
        <p:grpSpPr bwMode="auto">
          <a:xfrm>
            <a:off x="6634479" y="3223571"/>
            <a:ext cx="5560635" cy="3643282"/>
            <a:chOff x="5969000" y="2765425"/>
            <a:chExt cx="6470651" cy="4238626"/>
          </a:xfrm>
        </p:grpSpPr>
        <p:sp>
          <p:nvSpPr>
            <p:cNvPr id="20" name="Rectangle 19"/>
            <p:cNvSpPr>
              <a:spLocks noChangeArrowheads="1"/>
            </p:cNvSpPr>
            <p:nvPr/>
          </p:nvSpPr>
          <p:spPr bwMode="auto">
            <a:xfrm>
              <a:off x="7164250" y="6019082"/>
              <a:ext cx="95982" cy="360311"/>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defTabSz="913949">
                <a:defRPr/>
              </a:pPr>
              <a:endParaRPr lang="en-US">
                <a:solidFill>
                  <a:srgbClr val="505050"/>
                </a:solidFill>
                <a:ea typeface="ＭＳ Ｐゴシック" charset="0"/>
              </a:endParaRPr>
            </a:p>
          </p:txBody>
        </p:sp>
        <p:sp>
          <p:nvSpPr>
            <p:cNvPr id="21" name="Oval 20"/>
            <p:cNvSpPr>
              <a:spLocks noChangeArrowheads="1"/>
            </p:cNvSpPr>
            <p:nvPr/>
          </p:nvSpPr>
          <p:spPr bwMode="auto">
            <a:xfrm>
              <a:off x="6970474" y="5709469"/>
              <a:ext cx="474478" cy="47256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2" name="Oval 8"/>
            <p:cNvSpPr>
              <a:spLocks noChangeArrowheads="1"/>
            </p:cNvSpPr>
            <p:nvPr/>
          </p:nvSpPr>
          <p:spPr bwMode="auto">
            <a:xfrm>
              <a:off x="7033860" y="5463227"/>
              <a:ext cx="347709" cy="347636"/>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3" name="Freeform 9"/>
            <p:cNvSpPr>
              <a:spLocks/>
            </p:cNvSpPr>
            <p:nvPr/>
          </p:nvSpPr>
          <p:spPr bwMode="auto">
            <a:xfrm>
              <a:off x="5969000" y="6325075"/>
              <a:ext cx="3270640" cy="678976"/>
            </a:xfrm>
            <a:custGeom>
              <a:avLst/>
              <a:gdLst>
                <a:gd name="T0" fmla="*/ 709 w 1146"/>
                <a:gd name="T1" fmla="*/ 12 h 238"/>
                <a:gd name="T2" fmla="*/ 696 w 1146"/>
                <a:gd name="T3" fmla="*/ 10 h 238"/>
                <a:gd name="T4" fmla="*/ 673 w 1146"/>
                <a:gd name="T5" fmla="*/ 38 h 238"/>
                <a:gd name="T6" fmla="*/ 613 w 1146"/>
                <a:gd name="T7" fmla="*/ 65 h 238"/>
                <a:gd name="T8" fmla="*/ 566 w 1146"/>
                <a:gd name="T9" fmla="*/ 39 h 238"/>
                <a:gd name="T10" fmla="*/ 566 w 1146"/>
                <a:gd name="T11" fmla="*/ 0 h 238"/>
                <a:gd name="T12" fmla="*/ 0 w 1146"/>
                <a:gd name="T13" fmla="*/ 238 h 238"/>
                <a:gd name="T14" fmla="*/ 406 w 1146"/>
                <a:gd name="T15" fmla="*/ 238 h 238"/>
                <a:gd name="T16" fmla="*/ 1146 w 1146"/>
                <a:gd name="T17" fmla="*/ 238 h 238"/>
                <a:gd name="T18" fmla="*/ 709 w 1146"/>
                <a:gd name="T19" fmla="*/ 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6" h="238">
                  <a:moveTo>
                    <a:pt x="709" y="12"/>
                  </a:moveTo>
                  <a:cubicBezTo>
                    <a:pt x="705" y="11"/>
                    <a:pt x="700" y="10"/>
                    <a:pt x="696" y="10"/>
                  </a:cubicBezTo>
                  <a:cubicBezTo>
                    <a:pt x="688" y="21"/>
                    <a:pt x="680" y="30"/>
                    <a:pt x="673" y="38"/>
                  </a:cubicBezTo>
                  <a:cubicBezTo>
                    <a:pt x="655" y="57"/>
                    <a:pt x="637" y="65"/>
                    <a:pt x="613" y="65"/>
                  </a:cubicBezTo>
                  <a:cubicBezTo>
                    <a:pt x="591" y="65"/>
                    <a:pt x="574" y="57"/>
                    <a:pt x="566" y="39"/>
                  </a:cubicBezTo>
                  <a:cubicBezTo>
                    <a:pt x="562" y="29"/>
                    <a:pt x="561" y="16"/>
                    <a:pt x="566" y="0"/>
                  </a:cubicBezTo>
                  <a:cubicBezTo>
                    <a:pt x="361" y="2"/>
                    <a:pt x="157" y="81"/>
                    <a:pt x="0" y="238"/>
                  </a:cubicBezTo>
                  <a:cubicBezTo>
                    <a:pt x="406" y="238"/>
                    <a:pt x="406" y="238"/>
                    <a:pt x="406" y="238"/>
                  </a:cubicBezTo>
                  <a:cubicBezTo>
                    <a:pt x="1146" y="238"/>
                    <a:pt x="1146" y="238"/>
                    <a:pt x="1146" y="238"/>
                  </a:cubicBezTo>
                  <a:cubicBezTo>
                    <a:pt x="1023" y="114"/>
                    <a:pt x="869" y="39"/>
                    <a:pt x="709" y="12"/>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4" name="Freeform 10"/>
            <p:cNvSpPr>
              <a:spLocks/>
            </p:cNvSpPr>
            <p:nvPr/>
          </p:nvSpPr>
          <p:spPr bwMode="auto">
            <a:xfrm>
              <a:off x="7660461" y="6326885"/>
              <a:ext cx="206452" cy="108636"/>
            </a:xfrm>
            <a:custGeom>
              <a:avLst/>
              <a:gdLst>
                <a:gd name="T0" fmla="*/ 27 w 72"/>
                <a:gd name="T1" fmla="*/ 38 h 38"/>
                <a:gd name="T2" fmla="*/ 72 w 72"/>
                <a:gd name="T3" fmla="*/ 5 h 38"/>
                <a:gd name="T4" fmla="*/ 8 w 72"/>
                <a:gd name="T5" fmla="*/ 0 h 38"/>
                <a:gd name="T6" fmla="*/ 27 w 72"/>
                <a:gd name="T7" fmla="*/ 38 h 38"/>
              </a:gdLst>
              <a:ahLst/>
              <a:cxnLst>
                <a:cxn ang="0">
                  <a:pos x="T0" y="T1"/>
                </a:cxn>
                <a:cxn ang="0">
                  <a:pos x="T2" y="T3"/>
                </a:cxn>
                <a:cxn ang="0">
                  <a:pos x="T4" y="T5"/>
                </a:cxn>
                <a:cxn ang="0">
                  <a:pos x="T6" y="T7"/>
                </a:cxn>
              </a:cxnLst>
              <a:rect l="0" t="0" r="r" b="b"/>
              <a:pathLst>
                <a:path w="72" h="38">
                  <a:moveTo>
                    <a:pt x="27" y="38"/>
                  </a:moveTo>
                  <a:cubicBezTo>
                    <a:pt x="44" y="38"/>
                    <a:pt x="55" y="27"/>
                    <a:pt x="72" y="5"/>
                  </a:cubicBezTo>
                  <a:cubicBezTo>
                    <a:pt x="51" y="2"/>
                    <a:pt x="30" y="1"/>
                    <a:pt x="8" y="0"/>
                  </a:cubicBezTo>
                  <a:cubicBezTo>
                    <a:pt x="0" y="26"/>
                    <a:pt x="11" y="38"/>
                    <a:pt x="27" y="38"/>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5" name="Freeform 11"/>
            <p:cNvSpPr>
              <a:spLocks/>
            </p:cNvSpPr>
            <p:nvPr/>
          </p:nvSpPr>
          <p:spPr bwMode="auto">
            <a:xfrm>
              <a:off x="7569911" y="6325075"/>
              <a:ext cx="385739" cy="184682"/>
            </a:xfrm>
            <a:custGeom>
              <a:avLst/>
              <a:gdLst>
                <a:gd name="T0" fmla="*/ 5 w 135"/>
                <a:gd name="T1" fmla="*/ 39 h 65"/>
                <a:gd name="T2" fmla="*/ 52 w 135"/>
                <a:gd name="T3" fmla="*/ 65 h 65"/>
                <a:gd name="T4" fmla="*/ 112 w 135"/>
                <a:gd name="T5" fmla="*/ 38 h 65"/>
                <a:gd name="T6" fmla="*/ 135 w 135"/>
                <a:gd name="T7" fmla="*/ 10 h 65"/>
                <a:gd name="T8" fmla="*/ 104 w 135"/>
                <a:gd name="T9" fmla="*/ 6 h 65"/>
                <a:gd name="T10" fmla="*/ 59 w 135"/>
                <a:gd name="T11" fmla="*/ 39 h 65"/>
                <a:gd name="T12" fmla="*/ 40 w 135"/>
                <a:gd name="T13" fmla="*/ 1 h 65"/>
                <a:gd name="T14" fmla="*/ 5 w 135"/>
                <a:gd name="T15" fmla="*/ 0 h 65"/>
                <a:gd name="T16" fmla="*/ 5 w 135"/>
                <a:gd name="T17" fmla="*/ 3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65">
                  <a:moveTo>
                    <a:pt x="5" y="39"/>
                  </a:moveTo>
                  <a:cubicBezTo>
                    <a:pt x="13" y="57"/>
                    <a:pt x="30" y="65"/>
                    <a:pt x="52" y="65"/>
                  </a:cubicBezTo>
                  <a:cubicBezTo>
                    <a:pt x="76" y="65"/>
                    <a:pt x="94" y="57"/>
                    <a:pt x="112" y="38"/>
                  </a:cubicBezTo>
                  <a:cubicBezTo>
                    <a:pt x="119" y="30"/>
                    <a:pt x="127" y="21"/>
                    <a:pt x="135" y="10"/>
                  </a:cubicBezTo>
                  <a:cubicBezTo>
                    <a:pt x="125" y="8"/>
                    <a:pt x="115" y="7"/>
                    <a:pt x="104" y="6"/>
                  </a:cubicBezTo>
                  <a:cubicBezTo>
                    <a:pt x="87" y="28"/>
                    <a:pt x="76" y="39"/>
                    <a:pt x="59" y="39"/>
                  </a:cubicBezTo>
                  <a:cubicBezTo>
                    <a:pt x="43" y="39"/>
                    <a:pt x="32" y="27"/>
                    <a:pt x="40" y="1"/>
                  </a:cubicBezTo>
                  <a:cubicBezTo>
                    <a:pt x="29" y="0"/>
                    <a:pt x="17" y="0"/>
                    <a:pt x="5" y="0"/>
                  </a:cubicBezTo>
                  <a:cubicBezTo>
                    <a:pt x="0" y="16"/>
                    <a:pt x="1" y="29"/>
                    <a:pt x="5" y="39"/>
                  </a:cubicBezTo>
                  <a:close/>
                </a:path>
              </a:pathLst>
            </a:custGeom>
            <a:solidFill>
              <a:srgbClr val="6E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6" name="Freeform 12"/>
            <p:cNvSpPr>
              <a:spLocks noEditPoints="1"/>
            </p:cNvSpPr>
            <p:nvPr/>
          </p:nvSpPr>
          <p:spPr bwMode="auto">
            <a:xfrm>
              <a:off x="7506526" y="5856127"/>
              <a:ext cx="432826" cy="651818"/>
            </a:xfrm>
            <a:custGeom>
              <a:avLst/>
              <a:gdLst>
                <a:gd name="T0" fmla="*/ 73 w 151"/>
                <a:gd name="T1" fmla="*/ 228 h 228"/>
                <a:gd name="T2" fmla="*/ 19 w 151"/>
                <a:gd name="T3" fmla="*/ 200 h 228"/>
                <a:gd name="T4" fmla="*/ 0 w 151"/>
                <a:gd name="T5" fmla="*/ 118 h 228"/>
                <a:gd name="T6" fmla="*/ 20 w 151"/>
                <a:gd name="T7" fmla="*/ 30 h 228"/>
                <a:gd name="T8" fmla="*/ 78 w 151"/>
                <a:gd name="T9" fmla="*/ 0 h 228"/>
                <a:gd name="T10" fmla="*/ 151 w 151"/>
                <a:gd name="T11" fmla="*/ 113 h 228"/>
                <a:gd name="T12" fmla="*/ 130 w 151"/>
                <a:gd name="T13" fmla="*/ 198 h 228"/>
                <a:gd name="T14" fmla="*/ 73 w 151"/>
                <a:gd name="T15" fmla="*/ 228 h 228"/>
                <a:gd name="T16" fmla="*/ 76 w 151"/>
                <a:gd name="T17" fmla="*/ 28 h 228"/>
                <a:gd name="T18" fmla="*/ 36 w 151"/>
                <a:gd name="T19" fmla="*/ 117 h 228"/>
                <a:gd name="T20" fmla="*/ 76 w 151"/>
                <a:gd name="T21" fmla="*/ 199 h 228"/>
                <a:gd name="T22" fmla="*/ 114 w 151"/>
                <a:gd name="T23" fmla="*/ 115 h 228"/>
                <a:gd name="T24" fmla="*/ 76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19" y="200"/>
                  </a:cubicBezTo>
                  <a:cubicBezTo>
                    <a:pt x="6" y="181"/>
                    <a:pt x="0" y="154"/>
                    <a:pt x="0" y="118"/>
                  </a:cubicBezTo>
                  <a:cubicBezTo>
                    <a:pt x="0" y="79"/>
                    <a:pt x="6" y="50"/>
                    <a:pt x="20" y="30"/>
                  </a:cubicBezTo>
                  <a:cubicBezTo>
                    <a:pt x="33" y="10"/>
                    <a:pt x="53" y="0"/>
                    <a:pt x="78" y="0"/>
                  </a:cubicBezTo>
                  <a:cubicBezTo>
                    <a:pt x="126" y="0"/>
                    <a:pt x="151" y="38"/>
                    <a:pt x="151" y="113"/>
                  </a:cubicBezTo>
                  <a:cubicBezTo>
                    <a:pt x="151" y="150"/>
                    <a:pt x="144" y="179"/>
                    <a:pt x="130" y="198"/>
                  </a:cubicBezTo>
                  <a:cubicBezTo>
                    <a:pt x="117" y="218"/>
                    <a:pt x="97" y="228"/>
                    <a:pt x="73" y="228"/>
                  </a:cubicBezTo>
                  <a:close/>
                  <a:moveTo>
                    <a:pt x="76" y="28"/>
                  </a:moveTo>
                  <a:cubicBezTo>
                    <a:pt x="50" y="28"/>
                    <a:pt x="36" y="58"/>
                    <a:pt x="36" y="117"/>
                  </a:cubicBezTo>
                  <a:cubicBezTo>
                    <a:pt x="36" y="172"/>
                    <a:pt x="49" y="199"/>
                    <a:pt x="76" y="199"/>
                  </a:cubicBezTo>
                  <a:cubicBezTo>
                    <a:pt x="101" y="199"/>
                    <a:pt x="114" y="171"/>
                    <a:pt x="114" y="115"/>
                  </a:cubicBezTo>
                  <a:cubicBezTo>
                    <a:pt x="114" y="57"/>
                    <a:pt x="102" y="28"/>
                    <a:pt x="76" y="28"/>
                  </a:cubicBez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7" name="Freeform 13"/>
            <p:cNvSpPr>
              <a:spLocks/>
            </p:cNvSpPr>
            <p:nvPr/>
          </p:nvSpPr>
          <p:spPr bwMode="auto">
            <a:xfrm>
              <a:off x="7982816" y="5865181"/>
              <a:ext cx="226373" cy="624658"/>
            </a:xfrm>
            <a:custGeom>
              <a:avLst/>
              <a:gdLst>
                <a:gd name="T0" fmla="*/ 80 w 80"/>
                <a:gd name="T1" fmla="*/ 0 h 219"/>
                <a:gd name="T2" fmla="*/ 80 w 80"/>
                <a:gd name="T3" fmla="*/ 219 h 219"/>
                <a:gd name="T4" fmla="*/ 45 w 80"/>
                <a:gd name="T5" fmla="*/ 219 h 219"/>
                <a:gd name="T6" fmla="*/ 45 w 80"/>
                <a:gd name="T7" fmla="*/ 42 h 219"/>
                <a:gd name="T8" fmla="*/ 25 w 80"/>
                <a:gd name="T9" fmla="*/ 54 h 219"/>
                <a:gd name="T10" fmla="*/ 0 w 80"/>
                <a:gd name="T11" fmla="*/ 62 h 219"/>
                <a:gd name="T12" fmla="*/ 0 w 80"/>
                <a:gd name="T13" fmla="*/ 32 h 219"/>
                <a:gd name="T14" fmla="*/ 17 w 80"/>
                <a:gd name="T15" fmla="*/ 26 h 219"/>
                <a:gd name="T16" fmla="*/ 33 w 80"/>
                <a:gd name="T17" fmla="*/ 19 h 219"/>
                <a:gd name="T18" fmla="*/ 49 w 80"/>
                <a:gd name="T19" fmla="*/ 11 h 219"/>
                <a:gd name="T20" fmla="*/ 65 w 80"/>
                <a:gd name="T21" fmla="*/ 0 h 219"/>
                <a:gd name="T22" fmla="*/ 80 w 80"/>
                <a:gd name="T2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219">
                  <a:moveTo>
                    <a:pt x="80" y="0"/>
                  </a:moveTo>
                  <a:cubicBezTo>
                    <a:pt x="80" y="219"/>
                    <a:pt x="80" y="219"/>
                    <a:pt x="80" y="219"/>
                  </a:cubicBezTo>
                  <a:cubicBezTo>
                    <a:pt x="45" y="219"/>
                    <a:pt x="45" y="219"/>
                    <a:pt x="45" y="219"/>
                  </a:cubicBezTo>
                  <a:cubicBezTo>
                    <a:pt x="45" y="42"/>
                    <a:pt x="45" y="42"/>
                    <a:pt x="45" y="42"/>
                  </a:cubicBezTo>
                  <a:cubicBezTo>
                    <a:pt x="39" y="47"/>
                    <a:pt x="32" y="50"/>
                    <a:pt x="25" y="54"/>
                  </a:cubicBezTo>
                  <a:cubicBezTo>
                    <a:pt x="18" y="57"/>
                    <a:pt x="9" y="60"/>
                    <a:pt x="0" y="62"/>
                  </a:cubicBezTo>
                  <a:cubicBezTo>
                    <a:pt x="0" y="32"/>
                    <a:pt x="0" y="32"/>
                    <a:pt x="0" y="32"/>
                  </a:cubicBezTo>
                  <a:cubicBezTo>
                    <a:pt x="6" y="30"/>
                    <a:pt x="12" y="28"/>
                    <a:pt x="17" y="26"/>
                  </a:cubicBezTo>
                  <a:cubicBezTo>
                    <a:pt x="22" y="24"/>
                    <a:pt x="28" y="22"/>
                    <a:pt x="33" y="19"/>
                  </a:cubicBezTo>
                  <a:cubicBezTo>
                    <a:pt x="38" y="17"/>
                    <a:pt x="43" y="14"/>
                    <a:pt x="49" y="11"/>
                  </a:cubicBezTo>
                  <a:cubicBezTo>
                    <a:pt x="54" y="7"/>
                    <a:pt x="60" y="4"/>
                    <a:pt x="65" y="0"/>
                  </a:cubicBezTo>
                  <a:lnTo>
                    <a:pt x="80" y="0"/>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8" name="Freeform 14"/>
            <p:cNvSpPr>
              <a:spLocks noEditPoints="1"/>
            </p:cNvSpPr>
            <p:nvPr/>
          </p:nvSpPr>
          <p:spPr bwMode="auto">
            <a:xfrm>
              <a:off x="8308793" y="5856127"/>
              <a:ext cx="432825" cy="651818"/>
            </a:xfrm>
            <a:custGeom>
              <a:avLst/>
              <a:gdLst>
                <a:gd name="T0" fmla="*/ 73 w 151"/>
                <a:gd name="T1" fmla="*/ 228 h 228"/>
                <a:gd name="T2" fmla="*/ 20 w 151"/>
                <a:gd name="T3" fmla="*/ 200 h 228"/>
                <a:gd name="T4" fmla="*/ 0 w 151"/>
                <a:gd name="T5" fmla="*/ 118 h 228"/>
                <a:gd name="T6" fmla="*/ 20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20" y="200"/>
                  </a:cubicBezTo>
                  <a:cubicBezTo>
                    <a:pt x="7" y="181"/>
                    <a:pt x="0" y="154"/>
                    <a:pt x="0" y="118"/>
                  </a:cubicBezTo>
                  <a:cubicBezTo>
                    <a:pt x="0" y="79"/>
                    <a:pt x="7" y="50"/>
                    <a:pt x="20" y="30"/>
                  </a:cubicBezTo>
                  <a:cubicBezTo>
                    <a:pt x="34" y="10"/>
                    <a:pt x="53" y="0"/>
                    <a:pt x="79" y="0"/>
                  </a:cubicBezTo>
                  <a:cubicBezTo>
                    <a:pt x="127" y="0"/>
                    <a:pt x="151" y="38"/>
                    <a:pt x="151" y="113"/>
                  </a:cubicBezTo>
                  <a:cubicBezTo>
                    <a:pt x="151" y="150"/>
                    <a:pt x="144"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29" name="Freeform 15"/>
            <p:cNvSpPr>
              <a:spLocks noEditPoints="1"/>
            </p:cNvSpPr>
            <p:nvPr/>
          </p:nvSpPr>
          <p:spPr bwMode="auto">
            <a:xfrm>
              <a:off x="8808625" y="5856127"/>
              <a:ext cx="431015" cy="651818"/>
            </a:xfrm>
            <a:custGeom>
              <a:avLst/>
              <a:gdLst>
                <a:gd name="T0" fmla="*/ 73 w 151"/>
                <a:gd name="T1" fmla="*/ 228 h 228"/>
                <a:gd name="T2" fmla="*/ 20 w 151"/>
                <a:gd name="T3" fmla="*/ 200 h 228"/>
                <a:gd name="T4" fmla="*/ 0 w 151"/>
                <a:gd name="T5" fmla="*/ 118 h 228"/>
                <a:gd name="T6" fmla="*/ 20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20" y="200"/>
                  </a:cubicBezTo>
                  <a:cubicBezTo>
                    <a:pt x="7" y="181"/>
                    <a:pt x="0" y="154"/>
                    <a:pt x="0" y="118"/>
                  </a:cubicBezTo>
                  <a:cubicBezTo>
                    <a:pt x="0" y="79"/>
                    <a:pt x="7" y="50"/>
                    <a:pt x="20" y="30"/>
                  </a:cubicBezTo>
                  <a:cubicBezTo>
                    <a:pt x="34" y="10"/>
                    <a:pt x="53" y="0"/>
                    <a:pt x="79" y="0"/>
                  </a:cubicBezTo>
                  <a:cubicBezTo>
                    <a:pt x="127" y="0"/>
                    <a:pt x="151" y="38"/>
                    <a:pt x="151" y="113"/>
                  </a:cubicBezTo>
                  <a:cubicBezTo>
                    <a:pt x="151" y="150"/>
                    <a:pt x="144"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0" name="Freeform 16"/>
            <p:cNvSpPr>
              <a:spLocks noEditPoints="1"/>
            </p:cNvSpPr>
            <p:nvPr/>
          </p:nvSpPr>
          <p:spPr bwMode="auto">
            <a:xfrm>
              <a:off x="9337433" y="5856127"/>
              <a:ext cx="431015" cy="651818"/>
            </a:xfrm>
            <a:custGeom>
              <a:avLst/>
              <a:gdLst>
                <a:gd name="T0" fmla="*/ 73 w 151"/>
                <a:gd name="T1" fmla="*/ 228 h 228"/>
                <a:gd name="T2" fmla="*/ 20 w 151"/>
                <a:gd name="T3" fmla="*/ 200 h 228"/>
                <a:gd name="T4" fmla="*/ 0 w 151"/>
                <a:gd name="T5" fmla="*/ 118 h 228"/>
                <a:gd name="T6" fmla="*/ 21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1" y="228"/>
                    <a:pt x="33" y="218"/>
                    <a:pt x="20" y="200"/>
                  </a:cubicBezTo>
                  <a:cubicBezTo>
                    <a:pt x="7" y="181"/>
                    <a:pt x="0" y="154"/>
                    <a:pt x="0" y="118"/>
                  </a:cubicBezTo>
                  <a:cubicBezTo>
                    <a:pt x="0" y="79"/>
                    <a:pt x="7" y="50"/>
                    <a:pt x="21" y="30"/>
                  </a:cubicBezTo>
                  <a:cubicBezTo>
                    <a:pt x="34" y="10"/>
                    <a:pt x="53" y="0"/>
                    <a:pt x="79" y="0"/>
                  </a:cubicBezTo>
                  <a:cubicBezTo>
                    <a:pt x="127" y="0"/>
                    <a:pt x="151" y="38"/>
                    <a:pt x="151" y="113"/>
                  </a:cubicBezTo>
                  <a:cubicBezTo>
                    <a:pt x="151" y="150"/>
                    <a:pt x="145"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1" name="Freeform 17"/>
            <p:cNvSpPr>
              <a:spLocks/>
            </p:cNvSpPr>
            <p:nvPr/>
          </p:nvSpPr>
          <p:spPr bwMode="auto">
            <a:xfrm>
              <a:off x="10270090" y="6131339"/>
              <a:ext cx="2169561" cy="872712"/>
            </a:xfrm>
            <a:custGeom>
              <a:avLst/>
              <a:gdLst>
                <a:gd name="T0" fmla="*/ 0 w 760"/>
                <a:gd name="T1" fmla="*/ 306 h 306"/>
                <a:gd name="T2" fmla="*/ 499 w 760"/>
                <a:gd name="T3" fmla="*/ 306 h 306"/>
                <a:gd name="T4" fmla="*/ 760 w 760"/>
                <a:gd name="T5" fmla="*/ 306 h 306"/>
                <a:gd name="T6" fmla="*/ 760 w 760"/>
                <a:gd name="T7" fmla="*/ 15 h 306"/>
                <a:gd name="T8" fmla="*/ 0 w 760"/>
                <a:gd name="T9" fmla="*/ 306 h 306"/>
              </a:gdLst>
              <a:ahLst/>
              <a:cxnLst>
                <a:cxn ang="0">
                  <a:pos x="T0" y="T1"/>
                </a:cxn>
                <a:cxn ang="0">
                  <a:pos x="T2" y="T3"/>
                </a:cxn>
                <a:cxn ang="0">
                  <a:pos x="T4" y="T5"/>
                </a:cxn>
                <a:cxn ang="0">
                  <a:pos x="T6" y="T7"/>
                </a:cxn>
                <a:cxn ang="0">
                  <a:pos x="T8" y="T9"/>
                </a:cxn>
              </a:cxnLst>
              <a:rect l="0" t="0" r="r" b="b"/>
              <a:pathLst>
                <a:path w="760" h="306">
                  <a:moveTo>
                    <a:pt x="0" y="306"/>
                  </a:moveTo>
                  <a:cubicBezTo>
                    <a:pt x="499" y="306"/>
                    <a:pt x="499" y="306"/>
                    <a:pt x="499" y="306"/>
                  </a:cubicBezTo>
                  <a:cubicBezTo>
                    <a:pt x="760" y="306"/>
                    <a:pt x="760" y="306"/>
                    <a:pt x="760" y="306"/>
                  </a:cubicBezTo>
                  <a:cubicBezTo>
                    <a:pt x="760" y="15"/>
                    <a:pt x="760" y="15"/>
                    <a:pt x="760" y="15"/>
                  </a:cubicBezTo>
                  <a:cubicBezTo>
                    <a:pt x="487" y="0"/>
                    <a:pt x="208" y="97"/>
                    <a:pt x="0" y="306"/>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2" name="Freeform 18"/>
            <p:cNvSpPr>
              <a:spLocks/>
            </p:cNvSpPr>
            <p:nvPr/>
          </p:nvSpPr>
          <p:spPr bwMode="auto">
            <a:xfrm>
              <a:off x="9761204" y="4434803"/>
              <a:ext cx="689985" cy="1890272"/>
            </a:xfrm>
            <a:custGeom>
              <a:avLst/>
              <a:gdLst>
                <a:gd name="T0" fmla="*/ 241 w 241"/>
                <a:gd name="T1" fmla="*/ 0 h 662"/>
                <a:gd name="T2" fmla="*/ 241 w 241"/>
                <a:gd name="T3" fmla="*/ 662 h 662"/>
                <a:gd name="T4" fmla="*/ 136 w 241"/>
                <a:gd name="T5" fmla="*/ 662 h 662"/>
                <a:gd name="T6" fmla="*/ 136 w 241"/>
                <a:gd name="T7" fmla="*/ 128 h 662"/>
                <a:gd name="T8" fmla="*/ 75 w 241"/>
                <a:gd name="T9" fmla="*/ 163 h 662"/>
                <a:gd name="T10" fmla="*/ 0 w 241"/>
                <a:gd name="T11" fmla="*/ 188 h 662"/>
                <a:gd name="T12" fmla="*/ 0 w 241"/>
                <a:gd name="T13" fmla="*/ 98 h 662"/>
                <a:gd name="T14" fmla="*/ 51 w 241"/>
                <a:gd name="T15" fmla="*/ 80 h 662"/>
                <a:gd name="T16" fmla="*/ 99 w 241"/>
                <a:gd name="T17" fmla="*/ 59 h 662"/>
                <a:gd name="T18" fmla="*/ 147 w 241"/>
                <a:gd name="T19" fmla="*/ 33 h 662"/>
                <a:gd name="T20" fmla="*/ 197 w 241"/>
                <a:gd name="T21" fmla="*/ 0 h 662"/>
                <a:gd name="T22" fmla="*/ 241 w 241"/>
                <a:gd name="T2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662">
                  <a:moveTo>
                    <a:pt x="241" y="0"/>
                  </a:moveTo>
                  <a:cubicBezTo>
                    <a:pt x="241" y="662"/>
                    <a:pt x="241" y="662"/>
                    <a:pt x="241" y="662"/>
                  </a:cubicBezTo>
                  <a:cubicBezTo>
                    <a:pt x="136" y="662"/>
                    <a:pt x="136" y="662"/>
                    <a:pt x="136" y="662"/>
                  </a:cubicBezTo>
                  <a:cubicBezTo>
                    <a:pt x="136" y="128"/>
                    <a:pt x="136" y="128"/>
                    <a:pt x="136" y="128"/>
                  </a:cubicBezTo>
                  <a:cubicBezTo>
                    <a:pt x="118" y="142"/>
                    <a:pt x="97" y="153"/>
                    <a:pt x="75" y="163"/>
                  </a:cubicBezTo>
                  <a:cubicBezTo>
                    <a:pt x="53" y="172"/>
                    <a:pt x="28" y="181"/>
                    <a:pt x="0" y="188"/>
                  </a:cubicBezTo>
                  <a:cubicBezTo>
                    <a:pt x="0" y="98"/>
                    <a:pt x="0" y="98"/>
                    <a:pt x="0" y="98"/>
                  </a:cubicBezTo>
                  <a:cubicBezTo>
                    <a:pt x="18" y="93"/>
                    <a:pt x="35" y="87"/>
                    <a:pt x="51" y="80"/>
                  </a:cubicBezTo>
                  <a:cubicBezTo>
                    <a:pt x="67" y="74"/>
                    <a:pt x="83" y="67"/>
                    <a:pt x="99" y="59"/>
                  </a:cubicBezTo>
                  <a:cubicBezTo>
                    <a:pt x="115" y="51"/>
                    <a:pt x="131" y="43"/>
                    <a:pt x="147" y="33"/>
                  </a:cubicBezTo>
                  <a:cubicBezTo>
                    <a:pt x="163" y="23"/>
                    <a:pt x="180" y="12"/>
                    <a:pt x="197" y="0"/>
                  </a:cubicBezTo>
                  <a:lnTo>
                    <a:pt x="241" y="0"/>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3" name="Freeform 19"/>
            <p:cNvSpPr>
              <a:spLocks noEditPoints="1"/>
            </p:cNvSpPr>
            <p:nvPr/>
          </p:nvSpPr>
          <p:spPr bwMode="auto">
            <a:xfrm>
              <a:off x="10630477" y="4411264"/>
              <a:ext cx="1347373" cy="2033310"/>
            </a:xfrm>
            <a:custGeom>
              <a:avLst/>
              <a:gdLst>
                <a:gd name="T0" fmla="*/ 228 w 472"/>
                <a:gd name="T1" fmla="*/ 712 h 712"/>
                <a:gd name="T2" fmla="*/ 60 w 472"/>
                <a:gd name="T3" fmla="*/ 624 h 712"/>
                <a:gd name="T4" fmla="*/ 0 w 472"/>
                <a:gd name="T5" fmla="*/ 370 h 712"/>
                <a:gd name="T6" fmla="*/ 63 w 472"/>
                <a:gd name="T7" fmla="*/ 93 h 712"/>
                <a:gd name="T8" fmla="*/ 245 w 472"/>
                <a:gd name="T9" fmla="*/ 0 h 712"/>
                <a:gd name="T10" fmla="*/ 472 w 472"/>
                <a:gd name="T11" fmla="*/ 353 h 712"/>
                <a:gd name="T12" fmla="*/ 408 w 472"/>
                <a:gd name="T13" fmla="*/ 620 h 712"/>
                <a:gd name="T14" fmla="*/ 228 w 472"/>
                <a:gd name="T15" fmla="*/ 712 h 712"/>
                <a:gd name="T16" fmla="*/ 239 w 472"/>
                <a:gd name="T17" fmla="*/ 89 h 712"/>
                <a:gd name="T18" fmla="*/ 114 w 472"/>
                <a:gd name="T19" fmla="*/ 365 h 712"/>
                <a:gd name="T20" fmla="*/ 237 w 472"/>
                <a:gd name="T21" fmla="*/ 623 h 712"/>
                <a:gd name="T22" fmla="*/ 358 w 472"/>
                <a:gd name="T23" fmla="*/ 360 h 712"/>
                <a:gd name="T24" fmla="*/ 239 w 472"/>
                <a:gd name="T25" fmla="*/ 89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2" h="712">
                  <a:moveTo>
                    <a:pt x="228" y="712"/>
                  </a:moveTo>
                  <a:cubicBezTo>
                    <a:pt x="157" y="712"/>
                    <a:pt x="101" y="682"/>
                    <a:pt x="60" y="624"/>
                  </a:cubicBezTo>
                  <a:cubicBezTo>
                    <a:pt x="20" y="565"/>
                    <a:pt x="0" y="480"/>
                    <a:pt x="0" y="370"/>
                  </a:cubicBezTo>
                  <a:cubicBezTo>
                    <a:pt x="0" y="248"/>
                    <a:pt x="21" y="156"/>
                    <a:pt x="63" y="93"/>
                  </a:cubicBezTo>
                  <a:cubicBezTo>
                    <a:pt x="105" y="31"/>
                    <a:pt x="166" y="0"/>
                    <a:pt x="245" y="0"/>
                  </a:cubicBezTo>
                  <a:cubicBezTo>
                    <a:pt x="396" y="0"/>
                    <a:pt x="472" y="117"/>
                    <a:pt x="472" y="353"/>
                  </a:cubicBezTo>
                  <a:cubicBezTo>
                    <a:pt x="472" y="469"/>
                    <a:pt x="450" y="558"/>
                    <a:pt x="408" y="620"/>
                  </a:cubicBezTo>
                  <a:cubicBezTo>
                    <a:pt x="365" y="681"/>
                    <a:pt x="305" y="712"/>
                    <a:pt x="228" y="712"/>
                  </a:cubicBezTo>
                  <a:close/>
                  <a:moveTo>
                    <a:pt x="239" y="89"/>
                  </a:moveTo>
                  <a:cubicBezTo>
                    <a:pt x="156" y="89"/>
                    <a:pt x="114" y="181"/>
                    <a:pt x="114" y="365"/>
                  </a:cubicBezTo>
                  <a:cubicBezTo>
                    <a:pt x="114" y="537"/>
                    <a:pt x="155" y="623"/>
                    <a:pt x="237" y="623"/>
                  </a:cubicBezTo>
                  <a:cubicBezTo>
                    <a:pt x="318" y="623"/>
                    <a:pt x="358" y="536"/>
                    <a:pt x="358" y="360"/>
                  </a:cubicBezTo>
                  <a:cubicBezTo>
                    <a:pt x="358" y="179"/>
                    <a:pt x="318" y="89"/>
                    <a:pt x="239" y="89"/>
                  </a:cubicBez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4" name="Freeform 20"/>
            <p:cNvSpPr>
              <a:spLocks/>
            </p:cNvSpPr>
            <p:nvPr/>
          </p:nvSpPr>
          <p:spPr bwMode="auto">
            <a:xfrm>
              <a:off x="7468496" y="5548324"/>
              <a:ext cx="4971155" cy="1455727"/>
            </a:xfrm>
            <a:custGeom>
              <a:avLst/>
              <a:gdLst>
                <a:gd name="T0" fmla="*/ 0 w 1742"/>
                <a:gd name="T1" fmla="*/ 510 h 510"/>
                <a:gd name="T2" fmla="*/ 1742 w 1742"/>
                <a:gd name="T3" fmla="*/ 510 h 510"/>
                <a:gd name="T4" fmla="*/ 1742 w 1742"/>
                <a:gd name="T5" fmla="*/ 410 h 510"/>
                <a:gd name="T6" fmla="*/ 0 w 1742"/>
                <a:gd name="T7" fmla="*/ 510 h 510"/>
              </a:gdLst>
              <a:ahLst/>
              <a:cxnLst>
                <a:cxn ang="0">
                  <a:pos x="T0" y="T1"/>
                </a:cxn>
                <a:cxn ang="0">
                  <a:pos x="T2" y="T3"/>
                </a:cxn>
                <a:cxn ang="0">
                  <a:pos x="T4" y="T5"/>
                </a:cxn>
                <a:cxn ang="0">
                  <a:pos x="T6" y="T7"/>
                </a:cxn>
              </a:cxnLst>
              <a:rect l="0" t="0" r="r" b="b"/>
              <a:pathLst>
                <a:path w="1742" h="510">
                  <a:moveTo>
                    <a:pt x="0" y="510"/>
                  </a:moveTo>
                  <a:cubicBezTo>
                    <a:pt x="1742" y="510"/>
                    <a:pt x="1742" y="510"/>
                    <a:pt x="1742" y="510"/>
                  </a:cubicBezTo>
                  <a:cubicBezTo>
                    <a:pt x="1742" y="410"/>
                    <a:pt x="1742" y="410"/>
                    <a:pt x="1742" y="410"/>
                  </a:cubicBezTo>
                  <a:cubicBezTo>
                    <a:pt x="1227" y="0"/>
                    <a:pt x="476" y="33"/>
                    <a:pt x="0" y="510"/>
                  </a:cubicBezTo>
                  <a:close/>
                </a:path>
              </a:pathLst>
            </a:cu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5" name="Freeform 21"/>
            <p:cNvSpPr>
              <a:spLocks/>
            </p:cNvSpPr>
            <p:nvPr/>
          </p:nvSpPr>
          <p:spPr bwMode="auto">
            <a:xfrm>
              <a:off x="8915473" y="5948469"/>
              <a:ext cx="637467" cy="778560"/>
            </a:xfrm>
            <a:custGeom>
              <a:avLst/>
              <a:gdLst>
                <a:gd name="T0" fmla="*/ 74 w 224"/>
                <a:gd name="T1" fmla="*/ 273 h 273"/>
                <a:gd name="T2" fmla="*/ 224 w 224"/>
                <a:gd name="T3" fmla="*/ 0 h 273"/>
                <a:gd name="T4" fmla="*/ 133 w 224"/>
                <a:gd name="T5" fmla="*/ 17 h 273"/>
                <a:gd name="T6" fmla="*/ 0 w 224"/>
                <a:gd name="T7" fmla="*/ 273 h 273"/>
                <a:gd name="T8" fmla="*/ 74 w 224"/>
                <a:gd name="T9" fmla="*/ 273 h 273"/>
              </a:gdLst>
              <a:ahLst/>
              <a:cxnLst>
                <a:cxn ang="0">
                  <a:pos x="T0" y="T1"/>
                </a:cxn>
                <a:cxn ang="0">
                  <a:pos x="T2" y="T3"/>
                </a:cxn>
                <a:cxn ang="0">
                  <a:pos x="T4" y="T5"/>
                </a:cxn>
                <a:cxn ang="0">
                  <a:pos x="T6" y="T7"/>
                </a:cxn>
                <a:cxn ang="0">
                  <a:pos x="T8" y="T9"/>
                </a:cxn>
              </a:cxnLst>
              <a:rect l="0" t="0" r="r" b="b"/>
              <a:pathLst>
                <a:path w="224" h="273">
                  <a:moveTo>
                    <a:pt x="74" y="273"/>
                  </a:moveTo>
                  <a:cubicBezTo>
                    <a:pt x="83" y="188"/>
                    <a:pt x="133" y="87"/>
                    <a:pt x="224" y="0"/>
                  </a:cubicBezTo>
                  <a:cubicBezTo>
                    <a:pt x="194" y="5"/>
                    <a:pt x="163" y="11"/>
                    <a:pt x="133" y="17"/>
                  </a:cubicBezTo>
                  <a:cubicBezTo>
                    <a:pt x="53" y="100"/>
                    <a:pt x="9" y="193"/>
                    <a:pt x="0" y="273"/>
                  </a:cubicBezTo>
                  <a:cubicBezTo>
                    <a:pt x="25" y="273"/>
                    <a:pt x="49" y="273"/>
                    <a:pt x="74" y="273"/>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6" name="Freeform 22"/>
            <p:cNvSpPr>
              <a:spLocks/>
            </p:cNvSpPr>
            <p:nvPr/>
          </p:nvSpPr>
          <p:spPr bwMode="auto">
            <a:xfrm>
              <a:off x="10969131" y="5977438"/>
              <a:ext cx="193776" cy="72424"/>
            </a:xfrm>
            <a:custGeom>
              <a:avLst/>
              <a:gdLst>
                <a:gd name="T0" fmla="*/ 68 w 68"/>
                <a:gd name="T1" fmla="*/ 17 h 26"/>
                <a:gd name="T2" fmla="*/ 10 w 68"/>
                <a:gd name="T3" fmla="*/ 0 h 26"/>
                <a:gd name="T4" fmla="*/ 0 w 68"/>
                <a:gd name="T5" fmla="*/ 11 h 26"/>
                <a:gd name="T6" fmla="*/ 60 w 68"/>
                <a:gd name="T7" fmla="*/ 26 h 26"/>
                <a:gd name="T8" fmla="*/ 68 w 68"/>
                <a:gd name="T9" fmla="*/ 17 h 26"/>
              </a:gdLst>
              <a:ahLst/>
              <a:cxnLst>
                <a:cxn ang="0">
                  <a:pos x="T0" y="T1"/>
                </a:cxn>
                <a:cxn ang="0">
                  <a:pos x="T2" y="T3"/>
                </a:cxn>
                <a:cxn ang="0">
                  <a:pos x="T4" y="T5"/>
                </a:cxn>
                <a:cxn ang="0">
                  <a:pos x="T6" y="T7"/>
                </a:cxn>
                <a:cxn ang="0">
                  <a:pos x="T8" y="T9"/>
                </a:cxn>
              </a:cxnLst>
              <a:rect l="0" t="0" r="r" b="b"/>
              <a:pathLst>
                <a:path w="68" h="26">
                  <a:moveTo>
                    <a:pt x="68" y="17"/>
                  </a:moveTo>
                  <a:cubicBezTo>
                    <a:pt x="49" y="11"/>
                    <a:pt x="30" y="5"/>
                    <a:pt x="10" y="0"/>
                  </a:cubicBezTo>
                  <a:cubicBezTo>
                    <a:pt x="7" y="4"/>
                    <a:pt x="4" y="7"/>
                    <a:pt x="0" y="11"/>
                  </a:cubicBezTo>
                  <a:cubicBezTo>
                    <a:pt x="20" y="15"/>
                    <a:pt x="40" y="21"/>
                    <a:pt x="60" y="26"/>
                  </a:cubicBezTo>
                  <a:cubicBezTo>
                    <a:pt x="63" y="23"/>
                    <a:pt x="65" y="20"/>
                    <a:pt x="68" y="17"/>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7" name="Freeform 23"/>
            <p:cNvSpPr>
              <a:spLocks/>
            </p:cNvSpPr>
            <p:nvPr/>
          </p:nvSpPr>
          <p:spPr bwMode="auto">
            <a:xfrm>
              <a:off x="10601501" y="6006408"/>
              <a:ext cx="539674" cy="720621"/>
            </a:xfrm>
            <a:custGeom>
              <a:avLst/>
              <a:gdLst>
                <a:gd name="T0" fmla="*/ 73 w 189"/>
                <a:gd name="T1" fmla="*/ 252 h 252"/>
                <a:gd name="T2" fmla="*/ 189 w 189"/>
                <a:gd name="T3" fmla="*/ 15 h 252"/>
                <a:gd name="T4" fmla="*/ 129 w 189"/>
                <a:gd name="T5" fmla="*/ 0 h 252"/>
                <a:gd name="T6" fmla="*/ 0 w 189"/>
                <a:gd name="T7" fmla="*/ 252 h 252"/>
                <a:gd name="T8" fmla="*/ 73 w 189"/>
                <a:gd name="T9" fmla="*/ 252 h 252"/>
              </a:gdLst>
              <a:ahLst/>
              <a:cxnLst>
                <a:cxn ang="0">
                  <a:pos x="T0" y="T1"/>
                </a:cxn>
                <a:cxn ang="0">
                  <a:pos x="T2" y="T3"/>
                </a:cxn>
                <a:cxn ang="0">
                  <a:pos x="T4" y="T5"/>
                </a:cxn>
                <a:cxn ang="0">
                  <a:pos x="T6" y="T7"/>
                </a:cxn>
                <a:cxn ang="0">
                  <a:pos x="T8" y="T9"/>
                </a:cxn>
              </a:cxnLst>
              <a:rect l="0" t="0" r="r" b="b"/>
              <a:pathLst>
                <a:path w="189" h="252">
                  <a:moveTo>
                    <a:pt x="73" y="252"/>
                  </a:moveTo>
                  <a:cubicBezTo>
                    <a:pt x="81" y="178"/>
                    <a:pt x="120" y="93"/>
                    <a:pt x="189" y="15"/>
                  </a:cubicBezTo>
                  <a:cubicBezTo>
                    <a:pt x="169" y="10"/>
                    <a:pt x="149" y="4"/>
                    <a:pt x="129" y="0"/>
                  </a:cubicBezTo>
                  <a:cubicBezTo>
                    <a:pt x="51" y="82"/>
                    <a:pt x="8" y="173"/>
                    <a:pt x="0" y="252"/>
                  </a:cubicBezTo>
                  <a:cubicBezTo>
                    <a:pt x="24" y="252"/>
                    <a:pt x="49" y="252"/>
                    <a:pt x="73" y="252"/>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8" name="Freeform 24"/>
            <p:cNvSpPr>
              <a:spLocks/>
            </p:cNvSpPr>
            <p:nvPr/>
          </p:nvSpPr>
          <p:spPr bwMode="auto">
            <a:xfrm>
              <a:off x="9420739" y="5906824"/>
              <a:ext cx="1240525" cy="850984"/>
            </a:xfrm>
            <a:custGeom>
              <a:avLst/>
              <a:gdLst>
                <a:gd name="T0" fmla="*/ 70 w 435"/>
                <a:gd name="T1" fmla="*/ 65 h 298"/>
                <a:gd name="T2" fmla="*/ 16 w 435"/>
                <a:gd name="T3" fmla="*/ 240 h 298"/>
                <a:gd name="T4" fmla="*/ 120 w 435"/>
                <a:gd name="T5" fmla="*/ 298 h 298"/>
                <a:gd name="T6" fmla="*/ 252 w 435"/>
                <a:gd name="T7" fmla="*/ 238 h 298"/>
                <a:gd name="T8" fmla="*/ 399 w 435"/>
                <a:gd name="T9" fmla="*/ 53 h 298"/>
                <a:gd name="T10" fmla="*/ 435 w 435"/>
                <a:gd name="T11" fmla="*/ 14 h 298"/>
                <a:gd name="T12" fmla="*/ 366 w 435"/>
                <a:gd name="T13" fmla="*/ 6 h 298"/>
                <a:gd name="T14" fmla="*/ 317 w 435"/>
                <a:gd name="T15" fmla="*/ 58 h 298"/>
                <a:gd name="T16" fmla="*/ 136 w 435"/>
                <a:gd name="T17" fmla="*/ 240 h 298"/>
                <a:gd name="T18" fmla="*/ 150 w 435"/>
                <a:gd name="T19" fmla="*/ 61 h 298"/>
                <a:gd name="T20" fmla="*/ 212 w 435"/>
                <a:gd name="T21" fmla="*/ 0 h 298"/>
                <a:gd name="T22" fmla="*/ 130 w 435"/>
                <a:gd name="T23" fmla="*/ 5 h 298"/>
                <a:gd name="T24" fmla="*/ 70 w 435"/>
                <a:gd name="T25" fmla="*/ 6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5" h="298">
                  <a:moveTo>
                    <a:pt x="70" y="65"/>
                  </a:moveTo>
                  <a:cubicBezTo>
                    <a:pt x="8" y="141"/>
                    <a:pt x="0" y="201"/>
                    <a:pt x="16" y="240"/>
                  </a:cubicBezTo>
                  <a:cubicBezTo>
                    <a:pt x="34" y="280"/>
                    <a:pt x="72" y="298"/>
                    <a:pt x="120" y="298"/>
                  </a:cubicBezTo>
                  <a:cubicBezTo>
                    <a:pt x="173" y="298"/>
                    <a:pt x="212" y="279"/>
                    <a:pt x="252" y="238"/>
                  </a:cubicBezTo>
                  <a:cubicBezTo>
                    <a:pt x="292" y="197"/>
                    <a:pt x="330" y="133"/>
                    <a:pt x="399" y="53"/>
                  </a:cubicBezTo>
                  <a:cubicBezTo>
                    <a:pt x="411" y="39"/>
                    <a:pt x="423" y="26"/>
                    <a:pt x="435" y="14"/>
                  </a:cubicBezTo>
                  <a:cubicBezTo>
                    <a:pt x="412" y="11"/>
                    <a:pt x="389" y="8"/>
                    <a:pt x="366" y="6"/>
                  </a:cubicBezTo>
                  <a:cubicBezTo>
                    <a:pt x="350" y="21"/>
                    <a:pt x="334" y="39"/>
                    <a:pt x="317" y="58"/>
                  </a:cubicBezTo>
                  <a:cubicBezTo>
                    <a:pt x="220" y="180"/>
                    <a:pt x="194" y="241"/>
                    <a:pt x="136" y="240"/>
                  </a:cubicBezTo>
                  <a:cubicBezTo>
                    <a:pt x="84" y="241"/>
                    <a:pt x="55" y="181"/>
                    <a:pt x="150" y="61"/>
                  </a:cubicBezTo>
                  <a:cubicBezTo>
                    <a:pt x="169" y="38"/>
                    <a:pt x="190" y="18"/>
                    <a:pt x="212" y="0"/>
                  </a:cubicBezTo>
                  <a:cubicBezTo>
                    <a:pt x="185" y="1"/>
                    <a:pt x="158" y="2"/>
                    <a:pt x="130" y="5"/>
                  </a:cubicBezTo>
                  <a:cubicBezTo>
                    <a:pt x="109" y="23"/>
                    <a:pt x="88" y="43"/>
                    <a:pt x="70" y="65"/>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39" name="Freeform 25"/>
            <p:cNvSpPr>
              <a:spLocks/>
            </p:cNvSpPr>
            <p:nvPr/>
          </p:nvSpPr>
          <p:spPr bwMode="auto">
            <a:xfrm>
              <a:off x="11117632" y="6102370"/>
              <a:ext cx="865651" cy="655439"/>
            </a:xfrm>
            <a:custGeom>
              <a:avLst/>
              <a:gdLst>
                <a:gd name="T0" fmla="*/ 16 w 303"/>
                <a:gd name="T1" fmla="*/ 172 h 230"/>
                <a:gd name="T2" fmla="*/ 120 w 303"/>
                <a:gd name="T3" fmla="*/ 230 h 230"/>
                <a:gd name="T4" fmla="*/ 251 w 303"/>
                <a:gd name="T5" fmla="*/ 170 h 230"/>
                <a:gd name="T6" fmla="*/ 303 w 303"/>
                <a:gd name="T7" fmla="*/ 107 h 230"/>
                <a:gd name="T8" fmla="*/ 249 w 303"/>
                <a:gd name="T9" fmla="*/ 78 h 230"/>
                <a:gd name="T10" fmla="*/ 135 w 303"/>
                <a:gd name="T11" fmla="*/ 172 h 230"/>
                <a:gd name="T12" fmla="*/ 127 w 303"/>
                <a:gd name="T13" fmla="*/ 23 h 230"/>
                <a:gd name="T14" fmla="*/ 67 w 303"/>
                <a:gd name="T15" fmla="*/ 0 h 230"/>
                <a:gd name="T16" fmla="*/ 16 w 303"/>
                <a:gd name="T17" fmla="*/ 17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 h="230">
                  <a:moveTo>
                    <a:pt x="16" y="172"/>
                  </a:moveTo>
                  <a:cubicBezTo>
                    <a:pt x="33" y="212"/>
                    <a:pt x="72" y="230"/>
                    <a:pt x="120" y="230"/>
                  </a:cubicBezTo>
                  <a:cubicBezTo>
                    <a:pt x="172" y="230"/>
                    <a:pt x="212" y="211"/>
                    <a:pt x="251" y="170"/>
                  </a:cubicBezTo>
                  <a:cubicBezTo>
                    <a:pt x="268" y="152"/>
                    <a:pt x="284" y="132"/>
                    <a:pt x="303" y="107"/>
                  </a:cubicBezTo>
                  <a:cubicBezTo>
                    <a:pt x="285" y="97"/>
                    <a:pt x="267" y="87"/>
                    <a:pt x="249" y="78"/>
                  </a:cubicBezTo>
                  <a:cubicBezTo>
                    <a:pt x="204" y="142"/>
                    <a:pt x="176" y="172"/>
                    <a:pt x="135" y="172"/>
                  </a:cubicBezTo>
                  <a:cubicBezTo>
                    <a:pt x="88" y="172"/>
                    <a:pt x="61" y="123"/>
                    <a:pt x="127" y="23"/>
                  </a:cubicBezTo>
                  <a:cubicBezTo>
                    <a:pt x="107" y="15"/>
                    <a:pt x="87" y="7"/>
                    <a:pt x="67" y="0"/>
                  </a:cubicBezTo>
                  <a:cubicBezTo>
                    <a:pt x="7" y="75"/>
                    <a:pt x="0" y="134"/>
                    <a:pt x="16" y="172"/>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40" name="Freeform 26"/>
            <p:cNvSpPr>
              <a:spLocks/>
            </p:cNvSpPr>
            <p:nvPr/>
          </p:nvSpPr>
          <p:spPr bwMode="auto">
            <a:xfrm>
              <a:off x="12236821" y="6571317"/>
              <a:ext cx="202830" cy="182871"/>
            </a:xfrm>
            <a:custGeom>
              <a:avLst/>
              <a:gdLst>
                <a:gd name="T0" fmla="*/ 0 w 71"/>
                <a:gd name="T1" fmla="*/ 0 h 65"/>
                <a:gd name="T2" fmla="*/ 0 w 71"/>
                <a:gd name="T3" fmla="*/ 8 h 65"/>
                <a:gd name="T4" fmla="*/ 65 w 71"/>
                <a:gd name="T5" fmla="*/ 65 h 65"/>
                <a:gd name="T6" fmla="*/ 71 w 71"/>
                <a:gd name="T7" fmla="*/ 55 h 65"/>
                <a:gd name="T8" fmla="*/ 71 w 71"/>
                <a:gd name="T9" fmla="*/ 52 h 65"/>
                <a:gd name="T10" fmla="*/ 0 w 71"/>
                <a:gd name="T11" fmla="*/ 0 h 65"/>
              </a:gdLst>
              <a:ahLst/>
              <a:cxnLst>
                <a:cxn ang="0">
                  <a:pos x="T0" y="T1"/>
                </a:cxn>
                <a:cxn ang="0">
                  <a:pos x="T2" y="T3"/>
                </a:cxn>
                <a:cxn ang="0">
                  <a:pos x="T4" y="T5"/>
                </a:cxn>
                <a:cxn ang="0">
                  <a:pos x="T6" y="T7"/>
                </a:cxn>
                <a:cxn ang="0">
                  <a:pos x="T8" y="T9"/>
                </a:cxn>
                <a:cxn ang="0">
                  <a:pos x="T10" y="T11"/>
                </a:cxn>
              </a:cxnLst>
              <a:rect l="0" t="0" r="r" b="b"/>
              <a:pathLst>
                <a:path w="71" h="65">
                  <a:moveTo>
                    <a:pt x="0" y="0"/>
                  </a:moveTo>
                  <a:cubicBezTo>
                    <a:pt x="0" y="3"/>
                    <a:pt x="0" y="6"/>
                    <a:pt x="0" y="8"/>
                  </a:cubicBezTo>
                  <a:cubicBezTo>
                    <a:pt x="4" y="43"/>
                    <a:pt x="26" y="62"/>
                    <a:pt x="65" y="65"/>
                  </a:cubicBezTo>
                  <a:cubicBezTo>
                    <a:pt x="71" y="55"/>
                    <a:pt x="71" y="55"/>
                    <a:pt x="71" y="55"/>
                  </a:cubicBezTo>
                  <a:cubicBezTo>
                    <a:pt x="71" y="52"/>
                    <a:pt x="71" y="52"/>
                    <a:pt x="71" y="52"/>
                  </a:cubicBezTo>
                  <a:cubicBezTo>
                    <a:pt x="48" y="34"/>
                    <a:pt x="24" y="17"/>
                    <a:pt x="0" y="0"/>
                  </a:cubicBezTo>
                  <a:close/>
                </a:path>
              </a:pathLst>
            </a:custGeom>
            <a:solidFill>
              <a:srgbClr val="79A5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55" name="Freeform 27"/>
            <p:cNvSpPr>
              <a:spLocks/>
            </p:cNvSpPr>
            <p:nvPr/>
          </p:nvSpPr>
          <p:spPr bwMode="auto">
            <a:xfrm>
              <a:off x="8654691" y="5441499"/>
              <a:ext cx="469046" cy="1285530"/>
            </a:xfrm>
            <a:custGeom>
              <a:avLst/>
              <a:gdLst>
                <a:gd name="T0" fmla="*/ 164 w 164"/>
                <a:gd name="T1" fmla="*/ 0 h 450"/>
                <a:gd name="T2" fmla="*/ 164 w 164"/>
                <a:gd name="T3" fmla="*/ 450 h 450"/>
                <a:gd name="T4" fmla="*/ 93 w 164"/>
                <a:gd name="T5" fmla="*/ 450 h 450"/>
                <a:gd name="T6" fmla="*/ 93 w 164"/>
                <a:gd name="T7" fmla="*/ 87 h 450"/>
                <a:gd name="T8" fmla="*/ 51 w 164"/>
                <a:gd name="T9" fmla="*/ 111 h 450"/>
                <a:gd name="T10" fmla="*/ 0 w 164"/>
                <a:gd name="T11" fmla="*/ 128 h 450"/>
                <a:gd name="T12" fmla="*/ 0 w 164"/>
                <a:gd name="T13" fmla="*/ 67 h 450"/>
                <a:gd name="T14" fmla="*/ 35 w 164"/>
                <a:gd name="T15" fmla="*/ 55 h 450"/>
                <a:gd name="T16" fmla="*/ 67 w 164"/>
                <a:gd name="T17" fmla="*/ 40 h 450"/>
                <a:gd name="T18" fmla="*/ 100 w 164"/>
                <a:gd name="T19" fmla="*/ 22 h 450"/>
                <a:gd name="T20" fmla="*/ 134 w 164"/>
                <a:gd name="T21" fmla="*/ 0 h 450"/>
                <a:gd name="T22" fmla="*/ 164 w 164"/>
                <a:gd name="T2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0">
                  <a:moveTo>
                    <a:pt x="164" y="0"/>
                  </a:moveTo>
                  <a:cubicBezTo>
                    <a:pt x="164" y="450"/>
                    <a:pt x="164" y="450"/>
                    <a:pt x="164" y="450"/>
                  </a:cubicBezTo>
                  <a:cubicBezTo>
                    <a:pt x="93" y="450"/>
                    <a:pt x="93" y="450"/>
                    <a:pt x="93" y="450"/>
                  </a:cubicBezTo>
                  <a:cubicBezTo>
                    <a:pt x="93" y="87"/>
                    <a:pt x="93" y="87"/>
                    <a:pt x="93" y="87"/>
                  </a:cubicBezTo>
                  <a:cubicBezTo>
                    <a:pt x="80" y="96"/>
                    <a:pt x="66" y="104"/>
                    <a:pt x="51" y="111"/>
                  </a:cubicBezTo>
                  <a:cubicBezTo>
                    <a:pt x="36" y="117"/>
                    <a:pt x="19" y="123"/>
                    <a:pt x="0" y="128"/>
                  </a:cubicBezTo>
                  <a:cubicBezTo>
                    <a:pt x="0" y="67"/>
                    <a:pt x="0" y="67"/>
                    <a:pt x="0" y="67"/>
                  </a:cubicBezTo>
                  <a:cubicBezTo>
                    <a:pt x="12" y="63"/>
                    <a:pt x="24" y="59"/>
                    <a:pt x="35" y="55"/>
                  </a:cubicBezTo>
                  <a:cubicBezTo>
                    <a:pt x="46" y="50"/>
                    <a:pt x="57" y="46"/>
                    <a:pt x="67" y="40"/>
                  </a:cubicBezTo>
                  <a:cubicBezTo>
                    <a:pt x="78" y="35"/>
                    <a:pt x="89" y="29"/>
                    <a:pt x="100" y="22"/>
                  </a:cubicBezTo>
                  <a:cubicBezTo>
                    <a:pt x="111" y="16"/>
                    <a:pt x="122" y="8"/>
                    <a:pt x="134" y="0"/>
                  </a:cubicBezTo>
                  <a:lnTo>
                    <a:pt x="164" y="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56" name="Freeform 28"/>
            <p:cNvSpPr>
              <a:spLocks/>
            </p:cNvSpPr>
            <p:nvPr/>
          </p:nvSpPr>
          <p:spPr bwMode="auto">
            <a:xfrm>
              <a:off x="10286390" y="5441499"/>
              <a:ext cx="469045" cy="1285530"/>
            </a:xfrm>
            <a:custGeom>
              <a:avLst/>
              <a:gdLst>
                <a:gd name="T0" fmla="*/ 164 w 164"/>
                <a:gd name="T1" fmla="*/ 0 h 450"/>
                <a:gd name="T2" fmla="*/ 164 w 164"/>
                <a:gd name="T3" fmla="*/ 450 h 450"/>
                <a:gd name="T4" fmla="*/ 93 w 164"/>
                <a:gd name="T5" fmla="*/ 450 h 450"/>
                <a:gd name="T6" fmla="*/ 93 w 164"/>
                <a:gd name="T7" fmla="*/ 87 h 450"/>
                <a:gd name="T8" fmla="*/ 51 w 164"/>
                <a:gd name="T9" fmla="*/ 111 h 450"/>
                <a:gd name="T10" fmla="*/ 0 w 164"/>
                <a:gd name="T11" fmla="*/ 128 h 450"/>
                <a:gd name="T12" fmla="*/ 0 w 164"/>
                <a:gd name="T13" fmla="*/ 67 h 450"/>
                <a:gd name="T14" fmla="*/ 35 w 164"/>
                <a:gd name="T15" fmla="*/ 55 h 450"/>
                <a:gd name="T16" fmla="*/ 67 w 164"/>
                <a:gd name="T17" fmla="*/ 40 h 450"/>
                <a:gd name="T18" fmla="*/ 100 w 164"/>
                <a:gd name="T19" fmla="*/ 22 h 450"/>
                <a:gd name="T20" fmla="*/ 134 w 164"/>
                <a:gd name="T21" fmla="*/ 0 h 450"/>
                <a:gd name="T22" fmla="*/ 164 w 164"/>
                <a:gd name="T2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0">
                  <a:moveTo>
                    <a:pt x="164" y="0"/>
                  </a:moveTo>
                  <a:cubicBezTo>
                    <a:pt x="164" y="450"/>
                    <a:pt x="164" y="450"/>
                    <a:pt x="164" y="450"/>
                  </a:cubicBezTo>
                  <a:cubicBezTo>
                    <a:pt x="93" y="450"/>
                    <a:pt x="93" y="450"/>
                    <a:pt x="93" y="450"/>
                  </a:cubicBezTo>
                  <a:cubicBezTo>
                    <a:pt x="93" y="87"/>
                    <a:pt x="93" y="87"/>
                    <a:pt x="93" y="87"/>
                  </a:cubicBezTo>
                  <a:cubicBezTo>
                    <a:pt x="80" y="96"/>
                    <a:pt x="66" y="104"/>
                    <a:pt x="51" y="111"/>
                  </a:cubicBezTo>
                  <a:cubicBezTo>
                    <a:pt x="36" y="117"/>
                    <a:pt x="19" y="123"/>
                    <a:pt x="0" y="128"/>
                  </a:cubicBezTo>
                  <a:cubicBezTo>
                    <a:pt x="0" y="67"/>
                    <a:pt x="0" y="67"/>
                    <a:pt x="0" y="67"/>
                  </a:cubicBezTo>
                  <a:cubicBezTo>
                    <a:pt x="12" y="63"/>
                    <a:pt x="24" y="59"/>
                    <a:pt x="35" y="55"/>
                  </a:cubicBezTo>
                  <a:cubicBezTo>
                    <a:pt x="46" y="50"/>
                    <a:pt x="57" y="46"/>
                    <a:pt x="67" y="40"/>
                  </a:cubicBezTo>
                  <a:cubicBezTo>
                    <a:pt x="78" y="35"/>
                    <a:pt x="89" y="29"/>
                    <a:pt x="100" y="22"/>
                  </a:cubicBezTo>
                  <a:cubicBezTo>
                    <a:pt x="111" y="16"/>
                    <a:pt x="122" y="8"/>
                    <a:pt x="134" y="0"/>
                  </a:cubicBezTo>
                  <a:lnTo>
                    <a:pt x="164" y="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57" name="Freeform 29"/>
            <p:cNvSpPr>
              <a:spLocks noEditPoints="1"/>
            </p:cNvSpPr>
            <p:nvPr/>
          </p:nvSpPr>
          <p:spPr bwMode="auto">
            <a:xfrm>
              <a:off x="9317512" y="5427015"/>
              <a:ext cx="881951" cy="1330794"/>
            </a:xfrm>
            <a:custGeom>
              <a:avLst/>
              <a:gdLst>
                <a:gd name="T0" fmla="*/ 149 w 309"/>
                <a:gd name="T1" fmla="*/ 466 h 466"/>
                <a:gd name="T2" fmla="*/ 39 w 309"/>
                <a:gd name="T3" fmla="*/ 408 h 466"/>
                <a:gd name="T4" fmla="*/ 0 w 309"/>
                <a:gd name="T5" fmla="*/ 242 h 466"/>
                <a:gd name="T6" fmla="*/ 41 w 309"/>
                <a:gd name="T7" fmla="*/ 61 h 466"/>
                <a:gd name="T8" fmla="*/ 160 w 309"/>
                <a:gd name="T9" fmla="*/ 0 h 466"/>
                <a:gd name="T10" fmla="*/ 309 w 309"/>
                <a:gd name="T11" fmla="*/ 231 h 466"/>
                <a:gd name="T12" fmla="*/ 267 w 309"/>
                <a:gd name="T13" fmla="*/ 406 h 466"/>
                <a:gd name="T14" fmla="*/ 149 w 309"/>
                <a:gd name="T15" fmla="*/ 466 h 466"/>
                <a:gd name="T16" fmla="*/ 156 w 309"/>
                <a:gd name="T17" fmla="*/ 58 h 466"/>
                <a:gd name="T18" fmla="*/ 74 w 309"/>
                <a:gd name="T19" fmla="*/ 239 h 466"/>
                <a:gd name="T20" fmla="*/ 155 w 309"/>
                <a:gd name="T21" fmla="*/ 408 h 466"/>
                <a:gd name="T22" fmla="*/ 234 w 309"/>
                <a:gd name="T23" fmla="*/ 236 h 466"/>
                <a:gd name="T24" fmla="*/ 156 w 309"/>
                <a:gd name="T25" fmla="*/ 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66">
                  <a:moveTo>
                    <a:pt x="149" y="466"/>
                  </a:moveTo>
                  <a:cubicBezTo>
                    <a:pt x="102" y="466"/>
                    <a:pt x="66" y="447"/>
                    <a:pt x="39" y="408"/>
                  </a:cubicBezTo>
                  <a:cubicBezTo>
                    <a:pt x="13" y="370"/>
                    <a:pt x="0" y="314"/>
                    <a:pt x="0" y="242"/>
                  </a:cubicBezTo>
                  <a:cubicBezTo>
                    <a:pt x="0" y="162"/>
                    <a:pt x="14" y="102"/>
                    <a:pt x="41" y="61"/>
                  </a:cubicBezTo>
                  <a:cubicBezTo>
                    <a:pt x="69" y="20"/>
                    <a:pt x="108" y="0"/>
                    <a:pt x="160" y="0"/>
                  </a:cubicBezTo>
                  <a:cubicBezTo>
                    <a:pt x="259" y="0"/>
                    <a:pt x="309" y="77"/>
                    <a:pt x="309" y="231"/>
                  </a:cubicBezTo>
                  <a:cubicBezTo>
                    <a:pt x="309" y="307"/>
                    <a:pt x="295" y="365"/>
                    <a:pt x="267" y="406"/>
                  </a:cubicBezTo>
                  <a:cubicBezTo>
                    <a:pt x="239" y="446"/>
                    <a:pt x="200" y="466"/>
                    <a:pt x="149" y="466"/>
                  </a:cubicBezTo>
                  <a:close/>
                  <a:moveTo>
                    <a:pt x="156" y="58"/>
                  </a:moveTo>
                  <a:cubicBezTo>
                    <a:pt x="102" y="58"/>
                    <a:pt x="74" y="118"/>
                    <a:pt x="74" y="239"/>
                  </a:cubicBezTo>
                  <a:cubicBezTo>
                    <a:pt x="74" y="351"/>
                    <a:pt x="101" y="408"/>
                    <a:pt x="155" y="408"/>
                  </a:cubicBezTo>
                  <a:cubicBezTo>
                    <a:pt x="208" y="408"/>
                    <a:pt x="234" y="351"/>
                    <a:pt x="234" y="236"/>
                  </a:cubicBezTo>
                  <a:cubicBezTo>
                    <a:pt x="234" y="117"/>
                    <a:pt x="208" y="58"/>
                    <a:pt x="156" y="58"/>
                  </a:cubicBez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58" name="Freeform 30"/>
            <p:cNvSpPr>
              <a:spLocks noEditPoints="1"/>
            </p:cNvSpPr>
            <p:nvPr/>
          </p:nvSpPr>
          <p:spPr bwMode="auto">
            <a:xfrm>
              <a:off x="10961887" y="5427015"/>
              <a:ext cx="880139" cy="1330794"/>
            </a:xfrm>
            <a:custGeom>
              <a:avLst/>
              <a:gdLst>
                <a:gd name="T0" fmla="*/ 149 w 309"/>
                <a:gd name="T1" fmla="*/ 466 h 466"/>
                <a:gd name="T2" fmla="*/ 39 w 309"/>
                <a:gd name="T3" fmla="*/ 408 h 466"/>
                <a:gd name="T4" fmla="*/ 0 w 309"/>
                <a:gd name="T5" fmla="*/ 242 h 466"/>
                <a:gd name="T6" fmla="*/ 41 w 309"/>
                <a:gd name="T7" fmla="*/ 61 h 466"/>
                <a:gd name="T8" fmla="*/ 160 w 309"/>
                <a:gd name="T9" fmla="*/ 0 h 466"/>
                <a:gd name="T10" fmla="*/ 309 w 309"/>
                <a:gd name="T11" fmla="*/ 231 h 466"/>
                <a:gd name="T12" fmla="*/ 267 w 309"/>
                <a:gd name="T13" fmla="*/ 406 h 466"/>
                <a:gd name="T14" fmla="*/ 149 w 309"/>
                <a:gd name="T15" fmla="*/ 466 h 466"/>
                <a:gd name="T16" fmla="*/ 156 w 309"/>
                <a:gd name="T17" fmla="*/ 58 h 466"/>
                <a:gd name="T18" fmla="*/ 74 w 309"/>
                <a:gd name="T19" fmla="*/ 239 h 466"/>
                <a:gd name="T20" fmla="*/ 155 w 309"/>
                <a:gd name="T21" fmla="*/ 408 h 466"/>
                <a:gd name="T22" fmla="*/ 234 w 309"/>
                <a:gd name="T23" fmla="*/ 236 h 466"/>
                <a:gd name="T24" fmla="*/ 156 w 309"/>
                <a:gd name="T25" fmla="*/ 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66">
                  <a:moveTo>
                    <a:pt x="149" y="466"/>
                  </a:moveTo>
                  <a:cubicBezTo>
                    <a:pt x="102" y="466"/>
                    <a:pt x="66" y="447"/>
                    <a:pt x="39" y="408"/>
                  </a:cubicBezTo>
                  <a:cubicBezTo>
                    <a:pt x="13" y="370"/>
                    <a:pt x="0" y="314"/>
                    <a:pt x="0" y="242"/>
                  </a:cubicBezTo>
                  <a:cubicBezTo>
                    <a:pt x="0" y="162"/>
                    <a:pt x="14" y="102"/>
                    <a:pt x="41" y="61"/>
                  </a:cubicBezTo>
                  <a:cubicBezTo>
                    <a:pt x="69" y="20"/>
                    <a:pt x="108" y="0"/>
                    <a:pt x="160" y="0"/>
                  </a:cubicBezTo>
                  <a:cubicBezTo>
                    <a:pt x="259" y="0"/>
                    <a:pt x="309" y="77"/>
                    <a:pt x="309" y="231"/>
                  </a:cubicBezTo>
                  <a:cubicBezTo>
                    <a:pt x="309" y="307"/>
                    <a:pt x="295" y="365"/>
                    <a:pt x="267" y="406"/>
                  </a:cubicBezTo>
                  <a:cubicBezTo>
                    <a:pt x="239" y="446"/>
                    <a:pt x="200" y="466"/>
                    <a:pt x="149" y="466"/>
                  </a:cubicBezTo>
                  <a:close/>
                  <a:moveTo>
                    <a:pt x="156" y="58"/>
                  </a:moveTo>
                  <a:cubicBezTo>
                    <a:pt x="102" y="58"/>
                    <a:pt x="74" y="118"/>
                    <a:pt x="74" y="239"/>
                  </a:cubicBezTo>
                  <a:cubicBezTo>
                    <a:pt x="74" y="351"/>
                    <a:pt x="101" y="408"/>
                    <a:pt x="155" y="408"/>
                  </a:cubicBezTo>
                  <a:cubicBezTo>
                    <a:pt x="208" y="408"/>
                    <a:pt x="234" y="351"/>
                    <a:pt x="234" y="236"/>
                  </a:cubicBezTo>
                  <a:cubicBezTo>
                    <a:pt x="234" y="117"/>
                    <a:pt x="208" y="58"/>
                    <a:pt x="156" y="58"/>
                  </a:cubicBez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59" name="Freeform 31"/>
            <p:cNvSpPr>
              <a:spLocks/>
            </p:cNvSpPr>
            <p:nvPr/>
          </p:nvSpPr>
          <p:spPr bwMode="auto">
            <a:xfrm>
              <a:off x="9359165" y="6364908"/>
              <a:ext cx="2727344" cy="639143"/>
            </a:xfrm>
            <a:custGeom>
              <a:avLst/>
              <a:gdLst>
                <a:gd name="T0" fmla="*/ 591 w 955"/>
                <a:gd name="T1" fmla="*/ 35 h 224"/>
                <a:gd name="T2" fmla="*/ 0 w 955"/>
                <a:gd name="T3" fmla="*/ 224 h 224"/>
                <a:gd name="T4" fmla="*/ 338 w 955"/>
                <a:gd name="T5" fmla="*/ 224 h 224"/>
                <a:gd name="T6" fmla="*/ 955 w 955"/>
                <a:gd name="T7" fmla="*/ 224 h 224"/>
                <a:gd name="T8" fmla="*/ 591 w 955"/>
                <a:gd name="T9" fmla="*/ 35 h 224"/>
              </a:gdLst>
              <a:ahLst/>
              <a:cxnLst>
                <a:cxn ang="0">
                  <a:pos x="T0" y="T1"/>
                </a:cxn>
                <a:cxn ang="0">
                  <a:pos x="T2" y="T3"/>
                </a:cxn>
                <a:cxn ang="0">
                  <a:pos x="T4" y="T5"/>
                </a:cxn>
                <a:cxn ang="0">
                  <a:pos x="T6" y="T7"/>
                </a:cxn>
                <a:cxn ang="0">
                  <a:pos x="T8" y="T9"/>
                </a:cxn>
              </a:cxnLst>
              <a:rect l="0" t="0" r="r" b="b"/>
              <a:pathLst>
                <a:path w="955" h="224">
                  <a:moveTo>
                    <a:pt x="591" y="35"/>
                  </a:moveTo>
                  <a:cubicBezTo>
                    <a:pt x="383" y="0"/>
                    <a:pt x="161" y="63"/>
                    <a:pt x="0" y="224"/>
                  </a:cubicBezTo>
                  <a:cubicBezTo>
                    <a:pt x="338" y="224"/>
                    <a:pt x="338" y="224"/>
                    <a:pt x="338" y="224"/>
                  </a:cubicBezTo>
                  <a:cubicBezTo>
                    <a:pt x="955" y="224"/>
                    <a:pt x="955" y="224"/>
                    <a:pt x="955" y="224"/>
                  </a:cubicBezTo>
                  <a:cubicBezTo>
                    <a:pt x="852" y="121"/>
                    <a:pt x="724" y="58"/>
                    <a:pt x="591" y="35"/>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60" name="Freeform 32"/>
            <p:cNvSpPr>
              <a:spLocks/>
            </p:cNvSpPr>
            <p:nvPr/>
          </p:nvSpPr>
          <p:spPr bwMode="auto">
            <a:xfrm>
              <a:off x="12157137" y="4561545"/>
              <a:ext cx="282514" cy="1754476"/>
            </a:xfrm>
            <a:custGeom>
              <a:avLst/>
              <a:gdLst>
                <a:gd name="T0" fmla="*/ 63 w 99"/>
                <a:gd name="T1" fmla="*/ 41 h 615"/>
                <a:gd name="T2" fmla="*/ 0 w 99"/>
                <a:gd name="T3" fmla="*/ 318 h 615"/>
                <a:gd name="T4" fmla="*/ 60 w 99"/>
                <a:gd name="T5" fmla="*/ 572 h 615"/>
                <a:gd name="T6" fmla="*/ 99 w 99"/>
                <a:gd name="T7" fmla="*/ 615 h 615"/>
                <a:gd name="T8" fmla="*/ 99 w 99"/>
                <a:gd name="T9" fmla="*/ 0 h 615"/>
                <a:gd name="T10" fmla="*/ 63 w 99"/>
                <a:gd name="T11" fmla="*/ 41 h 615"/>
              </a:gdLst>
              <a:ahLst/>
              <a:cxnLst>
                <a:cxn ang="0">
                  <a:pos x="T0" y="T1"/>
                </a:cxn>
                <a:cxn ang="0">
                  <a:pos x="T2" y="T3"/>
                </a:cxn>
                <a:cxn ang="0">
                  <a:pos x="T4" y="T5"/>
                </a:cxn>
                <a:cxn ang="0">
                  <a:pos x="T6" y="T7"/>
                </a:cxn>
                <a:cxn ang="0">
                  <a:pos x="T8" y="T9"/>
                </a:cxn>
                <a:cxn ang="0">
                  <a:pos x="T10" y="T11"/>
                </a:cxn>
              </a:cxnLst>
              <a:rect l="0" t="0" r="r" b="b"/>
              <a:pathLst>
                <a:path w="99" h="615">
                  <a:moveTo>
                    <a:pt x="63" y="41"/>
                  </a:moveTo>
                  <a:cubicBezTo>
                    <a:pt x="21" y="104"/>
                    <a:pt x="0" y="196"/>
                    <a:pt x="0" y="318"/>
                  </a:cubicBezTo>
                  <a:cubicBezTo>
                    <a:pt x="0" y="428"/>
                    <a:pt x="20" y="513"/>
                    <a:pt x="60" y="572"/>
                  </a:cubicBezTo>
                  <a:cubicBezTo>
                    <a:pt x="72" y="588"/>
                    <a:pt x="85" y="603"/>
                    <a:pt x="99" y="615"/>
                  </a:cubicBezTo>
                  <a:cubicBezTo>
                    <a:pt x="99" y="0"/>
                    <a:pt x="99" y="0"/>
                    <a:pt x="99" y="0"/>
                  </a:cubicBezTo>
                  <a:cubicBezTo>
                    <a:pt x="86" y="12"/>
                    <a:pt x="74" y="25"/>
                    <a:pt x="63" y="41"/>
                  </a:cubicBez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sp>
          <p:nvSpPr>
            <p:cNvPr id="61" name="Freeform 33"/>
            <p:cNvSpPr>
              <a:spLocks/>
            </p:cNvSpPr>
            <p:nvPr/>
          </p:nvSpPr>
          <p:spPr bwMode="auto">
            <a:xfrm>
              <a:off x="12048478" y="5430636"/>
              <a:ext cx="391173" cy="1323552"/>
            </a:xfrm>
            <a:custGeom>
              <a:avLst/>
              <a:gdLst>
                <a:gd name="T0" fmla="*/ 75 w 137"/>
                <a:gd name="T1" fmla="*/ 238 h 464"/>
                <a:gd name="T2" fmla="*/ 137 w 137"/>
                <a:gd name="T3" fmla="*/ 60 h 464"/>
                <a:gd name="T4" fmla="*/ 137 w 137"/>
                <a:gd name="T5" fmla="*/ 0 h 464"/>
                <a:gd name="T6" fmla="*/ 41 w 137"/>
                <a:gd name="T7" fmla="*/ 60 h 464"/>
                <a:gd name="T8" fmla="*/ 0 w 137"/>
                <a:gd name="T9" fmla="*/ 241 h 464"/>
                <a:gd name="T10" fmla="*/ 40 w 137"/>
                <a:gd name="T11" fmla="*/ 407 h 464"/>
                <a:gd name="T12" fmla="*/ 137 w 137"/>
                <a:gd name="T13" fmla="*/ 464 h 464"/>
                <a:gd name="T14" fmla="*/ 137 w 137"/>
                <a:gd name="T15" fmla="*/ 404 h 464"/>
                <a:gd name="T16" fmla="*/ 75 w 137"/>
                <a:gd name="T17" fmla="*/ 23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464">
                  <a:moveTo>
                    <a:pt x="75" y="238"/>
                  </a:moveTo>
                  <a:cubicBezTo>
                    <a:pt x="75" y="133"/>
                    <a:pt x="95" y="74"/>
                    <a:pt x="137" y="60"/>
                  </a:cubicBezTo>
                  <a:cubicBezTo>
                    <a:pt x="137" y="0"/>
                    <a:pt x="137" y="0"/>
                    <a:pt x="137" y="0"/>
                  </a:cubicBezTo>
                  <a:cubicBezTo>
                    <a:pt x="96" y="6"/>
                    <a:pt x="65" y="26"/>
                    <a:pt x="41" y="60"/>
                  </a:cubicBezTo>
                  <a:cubicBezTo>
                    <a:pt x="14" y="101"/>
                    <a:pt x="0" y="161"/>
                    <a:pt x="0" y="241"/>
                  </a:cubicBezTo>
                  <a:cubicBezTo>
                    <a:pt x="0" y="313"/>
                    <a:pt x="13" y="369"/>
                    <a:pt x="40" y="407"/>
                  </a:cubicBezTo>
                  <a:cubicBezTo>
                    <a:pt x="63" y="442"/>
                    <a:pt x="96" y="461"/>
                    <a:pt x="137" y="464"/>
                  </a:cubicBezTo>
                  <a:cubicBezTo>
                    <a:pt x="137" y="404"/>
                    <a:pt x="137" y="404"/>
                    <a:pt x="137" y="404"/>
                  </a:cubicBezTo>
                  <a:cubicBezTo>
                    <a:pt x="95" y="392"/>
                    <a:pt x="75" y="337"/>
                    <a:pt x="75" y="238"/>
                  </a:cubicBez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3949">
                <a:defRPr/>
              </a:pPr>
              <a:endParaRPr lang="en-US">
                <a:solidFill>
                  <a:srgbClr val="505050"/>
                </a:solidFill>
                <a:ea typeface="ＭＳ Ｐゴシック" charset="0"/>
              </a:endParaRPr>
            </a:p>
          </p:txBody>
        </p:sp>
        <p:grpSp>
          <p:nvGrpSpPr>
            <p:cNvPr id="33828" name="Group 61"/>
            <p:cNvGrpSpPr>
              <a:grpSpLocks/>
            </p:cNvGrpSpPr>
            <p:nvPr/>
          </p:nvGrpSpPr>
          <p:grpSpPr bwMode="auto">
            <a:xfrm>
              <a:off x="7824788" y="2765425"/>
              <a:ext cx="1971675" cy="1347788"/>
              <a:chOff x="7824788" y="2765425"/>
              <a:chExt cx="1971675" cy="1347788"/>
            </a:xfrm>
          </p:grpSpPr>
          <p:sp>
            <p:nvSpPr>
              <p:cNvPr id="93" name="Freeform 34"/>
              <p:cNvSpPr>
                <a:spLocks/>
              </p:cNvSpPr>
              <p:nvPr/>
            </p:nvSpPr>
            <p:spPr bwMode="auto">
              <a:xfrm>
                <a:off x="8830357" y="3801091"/>
                <a:ext cx="112281" cy="304182"/>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4" name="Freeform 35"/>
              <p:cNvSpPr>
                <a:spLocks/>
              </p:cNvSpPr>
              <p:nvPr/>
            </p:nvSpPr>
            <p:spPr bwMode="auto">
              <a:xfrm>
                <a:off x="9219718" y="3801091"/>
                <a:ext cx="108659" cy="304182"/>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5" name="Freeform 36"/>
              <p:cNvSpPr>
                <a:spLocks noEditPoints="1"/>
              </p:cNvSpPr>
              <p:nvPr/>
            </p:nvSpPr>
            <p:spPr bwMode="auto">
              <a:xfrm>
                <a:off x="8987912" y="3797470"/>
                <a:ext cx="208264" cy="31504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6" name="Freeform 37"/>
              <p:cNvSpPr>
                <a:spLocks noEditPoints="1"/>
              </p:cNvSpPr>
              <p:nvPr/>
            </p:nvSpPr>
            <p:spPr bwMode="auto">
              <a:xfrm>
                <a:off x="9377275" y="3797470"/>
                <a:ext cx="210074" cy="31504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7" name="Freeform 38"/>
              <p:cNvSpPr>
                <a:spLocks/>
              </p:cNvSpPr>
              <p:nvPr/>
            </p:nvSpPr>
            <p:spPr bwMode="auto">
              <a:xfrm>
                <a:off x="8040767" y="3801091"/>
                <a:ext cx="110470" cy="304182"/>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8" name="Freeform 39"/>
              <p:cNvSpPr>
                <a:spLocks/>
              </p:cNvSpPr>
              <p:nvPr/>
            </p:nvSpPr>
            <p:spPr bwMode="auto">
              <a:xfrm>
                <a:off x="8214622" y="3458886"/>
                <a:ext cx="112281" cy="304182"/>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9" name="Freeform 40"/>
              <p:cNvSpPr>
                <a:spLocks/>
              </p:cNvSpPr>
              <p:nvPr/>
            </p:nvSpPr>
            <p:spPr bwMode="auto">
              <a:xfrm>
                <a:off x="8372177" y="3458886"/>
                <a:ext cx="112281" cy="304182"/>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0" name="Freeform 41"/>
              <p:cNvSpPr>
                <a:spLocks/>
              </p:cNvSpPr>
              <p:nvPr/>
            </p:nvSpPr>
            <p:spPr bwMode="auto">
              <a:xfrm>
                <a:off x="8533355" y="3458886"/>
                <a:ext cx="110470" cy="304182"/>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1" name="Freeform 42"/>
              <p:cNvSpPr>
                <a:spLocks/>
              </p:cNvSpPr>
              <p:nvPr/>
            </p:nvSpPr>
            <p:spPr bwMode="auto">
              <a:xfrm>
                <a:off x="9427982" y="3458886"/>
                <a:ext cx="106848" cy="304182"/>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2" name="Freeform 43"/>
              <p:cNvSpPr>
                <a:spLocks/>
              </p:cNvSpPr>
              <p:nvPr/>
            </p:nvSpPr>
            <p:spPr bwMode="auto">
              <a:xfrm>
                <a:off x="7825259" y="3458886"/>
                <a:ext cx="110471" cy="304182"/>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3" name="Freeform 44"/>
              <p:cNvSpPr>
                <a:spLocks/>
              </p:cNvSpPr>
              <p:nvPr/>
            </p:nvSpPr>
            <p:spPr bwMode="auto">
              <a:xfrm>
                <a:off x="8426507" y="3801091"/>
                <a:ext cx="110471" cy="304182"/>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4" name="Freeform 45"/>
              <p:cNvSpPr>
                <a:spLocks noEditPoints="1"/>
              </p:cNvSpPr>
              <p:nvPr/>
            </p:nvSpPr>
            <p:spPr bwMode="auto">
              <a:xfrm>
                <a:off x="8198322" y="3797470"/>
                <a:ext cx="208264" cy="31504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5" name="Freeform 46"/>
              <p:cNvSpPr>
                <a:spLocks noEditPoints="1"/>
              </p:cNvSpPr>
              <p:nvPr/>
            </p:nvSpPr>
            <p:spPr bwMode="auto">
              <a:xfrm>
                <a:off x="7971950" y="3451644"/>
                <a:ext cx="208263" cy="318666"/>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6" name="Freeform 47"/>
              <p:cNvSpPr>
                <a:spLocks noEditPoints="1"/>
              </p:cNvSpPr>
              <p:nvPr/>
            </p:nvSpPr>
            <p:spPr bwMode="auto">
              <a:xfrm>
                <a:off x="8690910" y="3451644"/>
                <a:ext cx="210074" cy="318666"/>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7" name="Freeform 48"/>
              <p:cNvSpPr>
                <a:spLocks noEditPoints="1"/>
              </p:cNvSpPr>
              <p:nvPr/>
            </p:nvSpPr>
            <p:spPr bwMode="auto">
              <a:xfrm>
                <a:off x="8942638" y="3451644"/>
                <a:ext cx="208263" cy="318666"/>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8" name="Freeform 49"/>
              <p:cNvSpPr>
                <a:spLocks/>
              </p:cNvSpPr>
              <p:nvPr/>
            </p:nvSpPr>
            <p:spPr bwMode="auto">
              <a:xfrm>
                <a:off x="8676423" y="2772667"/>
                <a:ext cx="112281" cy="300560"/>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09" name="Freeform 50"/>
              <p:cNvSpPr>
                <a:spLocks noEditPoints="1"/>
              </p:cNvSpPr>
              <p:nvPr/>
            </p:nvSpPr>
            <p:spPr bwMode="auto">
              <a:xfrm>
                <a:off x="8837601" y="2765425"/>
                <a:ext cx="208263" cy="31504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0" name="Freeform 51"/>
              <p:cNvSpPr>
                <a:spLocks noEditPoints="1"/>
              </p:cNvSpPr>
              <p:nvPr/>
            </p:nvSpPr>
            <p:spPr bwMode="auto">
              <a:xfrm>
                <a:off x="9087517" y="2765425"/>
                <a:ext cx="211885" cy="31504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1" name="Freeform 52"/>
              <p:cNvSpPr>
                <a:spLocks noEditPoints="1"/>
              </p:cNvSpPr>
              <p:nvPr/>
            </p:nvSpPr>
            <p:spPr bwMode="auto">
              <a:xfrm>
                <a:off x="9196176" y="3451644"/>
                <a:ext cx="210074" cy="318666"/>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2" name="Freeform 53"/>
              <p:cNvSpPr>
                <a:spLocks noEditPoints="1"/>
              </p:cNvSpPr>
              <p:nvPr/>
            </p:nvSpPr>
            <p:spPr bwMode="auto">
              <a:xfrm>
                <a:off x="9587349" y="3451644"/>
                <a:ext cx="208263" cy="318666"/>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3" name="Freeform 54"/>
              <p:cNvSpPr>
                <a:spLocks noEditPoints="1"/>
              </p:cNvSpPr>
              <p:nvPr/>
            </p:nvSpPr>
            <p:spPr bwMode="auto">
              <a:xfrm>
                <a:off x="8585873" y="3797470"/>
                <a:ext cx="208264" cy="31504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4" name="Freeform 55"/>
              <p:cNvSpPr>
                <a:spLocks/>
              </p:cNvSpPr>
              <p:nvPr/>
            </p:nvSpPr>
            <p:spPr bwMode="auto">
              <a:xfrm>
                <a:off x="8830357" y="3109440"/>
                <a:ext cx="112281" cy="305992"/>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5" name="Freeform 56"/>
              <p:cNvSpPr>
                <a:spLocks noEditPoints="1"/>
              </p:cNvSpPr>
              <p:nvPr/>
            </p:nvSpPr>
            <p:spPr bwMode="auto">
              <a:xfrm>
                <a:off x="8987912" y="3107629"/>
                <a:ext cx="208264" cy="316856"/>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6" name="Freeform 57"/>
              <p:cNvSpPr>
                <a:spLocks/>
              </p:cNvSpPr>
              <p:nvPr/>
            </p:nvSpPr>
            <p:spPr bwMode="auto">
              <a:xfrm>
                <a:off x="9223340" y="3109440"/>
                <a:ext cx="110471" cy="305992"/>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7" name="Freeform 58"/>
              <p:cNvSpPr>
                <a:spLocks noEditPoints="1"/>
              </p:cNvSpPr>
              <p:nvPr/>
            </p:nvSpPr>
            <p:spPr bwMode="auto">
              <a:xfrm>
                <a:off x="9379085" y="3107629"/>
                <a:ext cx="208264" cy="316856"/>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8" name="Freeform 59"/>
              <p:cNvSpPr>
                <a:spLocks/>
              </p:cNvSpPr>
              <p:nvPr/>
            </p:nvSpPr>
            <p:spPr bwMode="auto">
              <a:xfrm>
                <a:off x="8040767" y="3109440"/>
                <a:ext cx="110470" cy="305992"/>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19" name="Freeform 60"/>
              <p:cNvSpPr>
                <a:spLocks/>
              </p:cNvSpPr>
              <p:nvPr/>
            </p:nvSpPr>
            <p:spPr bwMode="auto">
              <a:xfrm>
                <a:off x="8426507" y="3109440"/>
                <a:ext cx="110471" cy="305992"/>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20" name="Freeform 61"/>
              <p:cNvSpPr>
                <a:spLocks noEditPoints="1"/>
              </p:cNvSpPr>
              <p:nvPr/>
            </p:nvSpPr>
            <p:spPr bwMode="auto">
              <a:xfrm>
                <a:off x="8198322" y="3107629"/>
                <a:ext cx="208264" cy="316856"/>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121" name="Freeform 62"/>
              <p:cNvSpPr>
                <a:spLocks noEditPoints="1"/>
              </p:cNvSpPr>
              <p:nvPr/>
            </p:nvSpPr>
            <p:spPr bwMode="auto">
              <a:xfrm>
                <a:off x="8585873" y="3107629"/>
                <a:ext cx="208264" cy="316856"/>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grpSp>
        <p:grpSp>
          <p:nvGrpSpPr>
            <p:cNvPr id="33829" name="Group 62"/>
            <p:cNvGrpSpPr>
              <a:grpSpLocks/>
            </p:cNvGrpSpPr>
            <p:nvPr/>
          </p:nvGrpSpPr>
          <p:grpSpPr bwMode="auto">
            <a:xfrm>
              <a:off x="10236200" y="3170238"/>
              <a:ext cx="1062038" cy="725487"/>
              <a:chOff x="10236200" y="3170238"/>
              <a:chExt cx="1062038" cy="725487"/>
            </a:xfrm>
          </p:grpSpPr>
          <p:sp>
            <p:nvSpPr>
              <p:cNvPr id="64" name="Freeform 63"/>
              <p:cNvSpPr>
                <a:spLocks/>
              </p:cNvSpPr>
              <p:nvPr/>
            </p:nvSpPr>
            <p:spPr bwMode="auto">
              <a:xfrm>
                <a:off x="10778978" y="3726856"/>
                <a:ext cx="59762" cy="164766"/>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65" name="Freeform 64"/>
              <p:cNvSpPr>
                <a:spLocks/>
              </p:cNvSpPr>
              <p:nvPr/>
            </p:nvSpPr>
            <p:spPr bwMode="auto">
              <a:xfrm>
                <a:off x="10987240" y="3726856"/>
                <a:ext cx="59763" cy="164766"/>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66" name="Freeform 65"/>
              <p:cNvSpPr>
                <a:spLocks noEditPoints="1"/>
              </p:cNvSpPr>
              <p:nvPr/>
            </p:nvSpPr>
            <p:spPr bwMode="auto">
              <a:xfrm>
                <a:off x="10864093" y="3723235"/>
                <a:ext cx="112281" cy="172008"/>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67" name="Freeform 66"/>
              <p:cNvSpPr>
                <a:spLocks noEditPoints="1"/>
              </p:cNvSpPr>
              <p:nvPr/>
            </p:nvSpPr>
            <p:spPr bwMode="auto">
              <a:xfrm>
                <a:off x="11072357" y="3723235"/>
                <a:ext cx="112281" cy="172008"/>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68" name="Freeform 67"/>
              <p:cNvSpPr>
                <a:spLocks/>
              </p:cNvSpPr>
              <p:nvPr/>
            </p:nvSpPr>
            <p:spPr bwMode="auto">
              <a:xfrm>
                <a:off x="10353396" y="3726856"/>
                <a:ext cx="57952" cy="164766"/>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69" name="Freeform 68"/>
              <p:cNvSpPr>
                <a:spLocks/>
              </p:cNvSpPr>
              <p:nvPr/>
            </p:nvSpPr>
            <p:spPr bwMode="auto">
              <a:xfrm>
                <a:off x="10447567" y="3545795"/>
                <a:ext cx="59763" cy="161144"/>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0" name="Freeform 69"/>
              <p:cNvSpPr>
                <a:spLocks/>
              </p:cNvSpPr>
              <p:nvPr/>
            </p:nvSpPr>
            <p:spPr bwMode="auto">
              <a:xfrm>
                <a:off x="10529062" y="3545795"/>
                <a:ext cx="61573" cy="161144"/>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1" name="Freeform 70"/>
              <p:cNvSpPr>
                <a:spLocks/>
              </p:cNvSpPr>
              <p:nvPr/>
            </p:nvSpPr>
            <p:spPr bwMode="auto">
              <a:xfrm>
                <a:off x="10615989" y="3545795"/>
                <a:ext cx="59762" cy="161144"/>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2" name="Freeform 71"/>
              <p:cNvSpPr>
                <a:spLocks/>
              </p:cNvSpPr>
              <p:nvPr/>
            </p:nvSpPr>
            <p:spPr bwMode="auto">
              <a:xfrm>
                <a:off x="11097711" y="3545795"/>
                <a:ext cx="61573" cy="161144"/>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3" name="Freeform 72"/>
              <p:cNvSpPr>
                <a:spLocks/>
              </p:cNvSpPr>
              <p:nvPr/>
            </p:nvSpPr>
            <p:spPr bwMode="auto">
              <a:xfrm>
                <a:off x="10235682" y="3545795"/>
                <a:ext cx="59762" cy="161144"/>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4" name="Freeform 73"/>
              <p:cNvSpPr>
                <a:spLocks/>
              </p:cNvSpPr>
              <p:nvPr/>
            </p:nvSpPr>
            <p:spPr bwMode="auto">
              <a:xfrm>
                <a:off x="10561659" y="3726856"/>
                <a:ext cx="59762" cy="164766"/>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5" name="Freeform 74"/>
              <p:cNvSpPr>
                <a:spLocks noEditPoints="1"/>
              </p:cNvSpPr>
              <p:nvPr/>
            </p:nvSpPr>
            <p:spPr bwMode="auto">
              <a:xfrm>
                <a:off x="10436701" y="3723235"/>
                <a:ext cx="114093" cy="172008"/>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6" name="Freeform 75"/>
              <p:cNvSpPr>
                <a:spLocks noEditPoints="1"/>
              </p:cNvSpPr>
              <p:nvPr/>
            </p:nvSpPr>
            <p:spPr bwMode="auto">
              <a:xfrm>
                <a:off x="10315365" y="3542174"/>
                <a:ext cx="114091" cy="168387"/>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7" name="Freeform 76"/>
              <p:cNvSpPr>
                <a:spLocks noEditPoints="1"/>
              </p:cNvSpPr>
              <p:nvPr/>
            </p:nvSpPr>
            <p:spPr bwMode="auto">
              <a:xfrm>
                <a:off x="10704727" y="3542174"/>
                <a:ext cx="110471" cy="168387"/>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8" name="Freeform 77"/>
              <p:cNvSpPr>
                <a:spLocks noEditPoints="1"/>
              </p:cNvSpPr>
              <p:nvPr/>
            </p:nvSpPr>
            <p:spPr bwMode="auto">
              <a:xfrm>
                <a:off x="10838740" y="3542174"/>
                <a:ext cx="110471" cy="168387"/>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79" name="Freeform 78"/>
              <p:cNvSpPr>
                <a:spLocks/>
              </p:cNvSpPr>
              <p:nvPr/>
            </p:nvSpPr>
            <p:spPr bwMode="auto">
              <a:xfrm>
                <a:off x="10695672" y="3174622"/>
                <a:ext cx="59762" cy="162954"/>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0" name="Freeform 79"/>
              <p:cNvSpPr>
                <a:spLocks noEditPoints="1"/>
              </p:cNvSpPr>
              <p:nvPr/>
            </p:nvSpPr>
            <p:spPr bwMode="auto">
              <a:xfrm>
                <a:off x="10780788" y="3171001"/>
                <a:ext cx="114093" cy="168386"/>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1" name="Freeform 80"/>
              <p:cNvSpPr>
                <a:spLocks noEditPoints="1"/>
              </p:cNvSpPr>
              <p:nvPr/>
            </p:nvSpPr>
            <p:spPr bwMode="auto">
              <a:xfrm>
                <a:off x="10918423" y="3171001"/>
                <a:ext cx="112281" cy="168386"/>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2" name="Freeform 81"/>
              <p:cNvSpPr>
                <a:spLocks noEditPoints="1"/>
              </p:cNvSpPr>
              <p:nvPr/>
            </p:nvSpPr>
            <p:spPr bwMode="auto">
              <a:xfrm>
                <a:off x="10976374" y="3542174"/>
                <a:ext cx="110471" cy="168387"/>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3" name="Freeform 82"/>
              <p:cNvSpPr>
                <a:spLocks noEditPoints="1"/>
              </p:cNvSpPr>
              <p:nvPr/>
            </p:nvSpPr>
            <p:spPr bwMode="auto">
              <a:xfrm>
                <a:off x="11184638" y="3542174"/>
                <a:ext cx="114091" cy="168387"/>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4" name="Freeform 83"/>
              <p:cNvSpPr>
                <a:spLocks noEditPoints="1"/>
              </p:cNvSpPr>
              <p:nvPr/>
            </p:nvSpPr>
            <p:spPr bwMode="auto">
              <a:xfrm>
                <a:off x="10646775" y="3723235"/>
                <a:ext cx="112281" cy="172008"/>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5" name="Freeform 84"/>
              <p:cNvSpPr>
                <a:spLocks/>
              </p:cNvSpPr>
              <p:nvPr/>
            </p:nvSpPr>
            <p:spPr bwMode="auto">
              <a:xfrm>
                <a:off x="10778978" y="3355683"/>
                <a:ext cx="59762" cy="164764"/>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6" name="Freeform 85"/>
              <p:cNvSpPr>
                <a:spLocks noEditPoints="1"/>
              </p:cNvSpPr>
              <p:nvPr/>
            </p:nvSpPr>
            <p:spPr bwMode="auto">
              <a:xfrm>
                <a:off x="10864093" y="3353871"/>
                <a:ext cx="112281" cy="170197"/>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7" name="Freeform 86"/>
              <p:cNvSpPr>
                <a:spLocks/>
              </p:cNvSpPr>
              <p:nvPr/>
            </p:nvSpPr>
            <p:spPr bwMode="auto">
              <a:xfrm>
                <a:off x="10990862" y="3355683"/>
                <a:ext cx="57952" cy="164764"/>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8" name="Freeform 87"/>
              <p:cNvSpPr>
                <a:spLocks noEditPoints="1"/>
              </p:cNvSpPr>
              <p:nvPr/>
            </p:nvSpPr>
            <p:spPr bwMode="auto">
              <a:xfrm>
                <a:off x="11072357" y="3353871"/>
                <a:ext cx="115903" cy="170197"/>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89" name="Freeform 88"/>
              <p:cNvSpPr>
                <a:spLocks/>
              </p:cNvSpPr>
              <p:nvPr/>
            </p:nvSpPr>
            <p:spPr bwMode="auto">
              <a:xfrm>
                <a:off x="10353396" y="3355683"/>
                <a:ext cx="57952" cy="164764"/>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0" name="Freeform 89"/>
              <p:cNvSpPr>
                <a:spLocks/>
              </p:cNvSpPr>
              <p:nvPr/>
            </p:nvSpPr>
            <p:spPr bwMode="auto">
              <a:xfrm>
                <a:off x="10561659" y="3355683"/>
                <a:ext cx="59762" cy="164764"/>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1" name="Freeform 90"/>
              <p:cNvSpPr>
                <a:spLocks noEditPoints="1"/>
              </p:cNvSpPr>
              <p:nvPr/>
            </p:nvSpPr>
            <p:spPr bwMode="auto">
              <a:xfrm>
                <a:off x="10436701" y="3353871"/>
                <a:ext cx="114093" cy="170197"/>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sp>
            <p:nvSpPr>
              <p:cNvPr id="92" name="Freeform 91"/>
              <p:cNvSpPr>
                <a:spLocks noEditPoints="1"/>
              </p:cNvSpPr>
              <p:nvPr/>
            </p:nvSpPr>
            <p:spPr bwMode="auto">
              <a:xfrm>
                <a:off x="10646775" y="3353871"/>
                <a:ext cx="112281" cy="170197"/>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solidFill>
                <a:srgbClr val="6DC2E9"/>
              </a:solidFill>
              <a:ln>
                <a:noFill/>
              </a:ln>
            </p:spPr>
            <p:txBody>
              <a:bodyPr/>
              <a:lstStyle/>
              <a:p>
                <a:pPr defTabSz="913949">
                  <a:defRPr/>
                </a:pPr>
                <a:endParaRPr lang="en-US">
                  <a:solidFill>
                    <a:srgbClr val="505050"/>
                  </a:solidFill>
                  <a:ea typeface="ＭＳ Ｐゴシック" charset="0"/>
                </a:endParaRPr>
              </a:p>
            </p:txBody>
          </p:sp>
        </p:grpSp>
      </p:grpSp>
      <p:sp>
        <p:nvSpPr>
          <p:cNvPr id="123" name="Rectangle 122"/>
          <p:cNvSpPr/>
          <p:nvPr/>
        </p:nvSpPr>
        <p:spPr bwMode="auto">
          <a:xfrm>
            <a:off x="-29570" y="488"/>
            <a:ext cx="12221570" cy="22379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Title 1"/>
          <p:cNvSpPr txBox="1">
            <a:spLocks/>
          </p:cNvSpPr>
          <p:nvPr/>
        </p:nvSpPr>
        <p:spPr>
          <a:xfrm>
            <a:off x="269240" y="291514"/>
            <a:ext cx="11687761" cy="1590532"/>
          </a:xfrm>
          <a:prstGeom prst="rect">
            <a:avLst/>
          </a:prstGeom>
        </p:spPr>
        <p:txBody>
          <a:bodyPr/>
          <a:lstStyle>
            <a:lvl1pPr algn="l" defTabSz="932901" rtl="0" eaLnBrk="1" latinLnBrk="0" hangingPunct="1">
              <a:lnSpc>
                <a:spcPct val="90000"/>
              </a:lnSpc>
              <a:spcBef>
                <a:spcPct val="0"/>
              </a:spcBef>
              <a:buNone/>
              <a:defRPr lang="en-US" sz="5200" b="0" kern="1200" cap="none" spc="-102" baseline="0">
                <a:ln w="3175">
                  <a:noFill/>
                </a:ln>
                <a:solidFill>
                  <a:schemeClr val="tx2"/>
                </a:solidFill>
                <a:effectLst/>
                <a:latin typeface="+mj-lt"/>
                <a:ea typeface="+mn-ea"/>
                <a:cs typeface="Segoe UI" pitchFamily="34" charset="0"/>
              </a:defRPr>
            </a:lvl1pPr>
          </a:lstStyle>
          <a:p>
            <a:pPr>
              <a:defRPr/>
            </a:pPr>
            <a:r>
              <a:rPr sz="4902" dirty="0">
                <a:solidFill>
                  <a:srgbClr val="FFFFFF"/>
                </a:solidFill>
              </a:rPr>
              <a:t>To unlock insights on any data, </a:t>
            </a:r>
          </a:p>
          <a:p>
            <a:pPr>
              <a:defRPr/>
            </a:pPr>
            <a:r>
              <a:rPr sz="2745" dirty="0">
                <a:solidFill>
                  <a:srgbClr val="FFFFFF"/>
                </a:solidFill>
              </a:rPr>
              <a:t>Microsoft solutions help everyone, not just the experts, </a:t>
            </a:r>
            <a:br>
              <a:rPr sz="2745" dirty="0">
                <a:solidFill>
                  <a:srgbClr val="FFFFFF"/>
                </a:solidFill>
              </a:rPr>
            </a:br>
            <a:r>
              <a:rPr sz="2745" dirty="0">
                <a:solidFill>
                  <a:srgbClr val="FFFFFF"/>
                </a:solidFill>
              </a:rPr>
              <a:t>uncover business insights faster</a:t>
            </a:r>
          </a:p>
        </p:txBody>
      </p:sp>
    </p:spTree>
    <p:extLst>
      <p:ext uri="{BB962C8B-B14F-4D97-AF65-F5344CB8AC3E}">
        <p14:creationId xmlns:p14="http://schemas.microsoft.com/office/powerpoint/2010/main" val="2296982647"/>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125"/>
                                        </p:tgtEl>
                                        <p:attrNameLst>
                                          <p:attrName>style.visibility</p:attrName>
                                        </p:attrNameLst>
                                      </p:cBhvr>
                                      <p:to>
                                        <p:strVal val="visible"/>
                                      </p:to>
                                    </p:set>
                                    <p:anim calcmode="lin" valueType="num">
                                      <p:cBhvr additive="base">
                                        <p:cTn id="7" dur="750" fill="hold"/>
                                        <p:tgtEl>
                                          <p:spTgt spid="125"/>
                                        </p:tgtEl>
                                        <p:attrNameLst>
                                          <p:attrName>ppt_x</p:attrName>
                                        </p:attrNameLst>
                                      </p:cBhvr>
                                      <p:tavLst>
                                        <p:tav tm="0">
                                          <p:val>
                                            <p:strVal val="#ppt_x"/>
                                          </p:val>
                                        </p:tav>
                                        <p:tav tm="100000">
                                          <p:val>
                                            <p:strVal val="#ppt_x"/>
                                          </p:val>
                                        </p:tav>
                                      </p:tavLst>
                                    </p:anim>
                                    <p:anim calcmode="lin" valueType="num">
                                      <p:cBhvr additive="base">
                                        <p:cTn id="8" dur="750" fill="hold"/>
                                        <p:tgtEl>
                                          <p:spTgt spid="125"/>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250"/>
                                  </p:stCondLst>
                                  <p:childTnLst>
                                    <p:set>
                                      <p:cBhvr>
                                        <p:cTn id="10" dur="1" fill="hold">
                                          <p:stCondLst>
                                            <p:cond delay="0"/>
                                          </p:stCondLst>
                                        </p:cTn>
                                        <p:tgtEl>
                                          <p:spTgt spid="126"/>
                                        </p:tgtEl>
                                        <p:attrNameLst>
                                          <p:attrName>style.visibility</p:attrName>
                                        </p:attrNameLst>
                                      </p:cBhvr>
                                      <p:to>
                                        <p:strVal val="visible"/>
                                      </p:to>
                                    </p:set>
                                    <p:anim calcmode="lin" valueType="num">
                                      <p:cBhvr additive="base">
                                        <p:cTn id="11" dur="750" fill="hold"/>
                                        <p:tgtEl>
                                          <p:spTgt spid="126"/>
                                        </p:tgtEl>
                                        <p:attrNameLst>
                                          <p:attrName>ppt_x</p:attrName>
                                        </p:attrNameLst>
                                      </p:cBhvr>
                                      <p:tavLst>
                                        <p:tav tm="0">
                                          <p:val>
                                            <p:strVal val="#ppt_x"/>
                                          </p:val>
                                        </p:tav>
                                        <p:tav tm="100000">
                                          <p:val>
                                            <p:strVal val="#ppt_x"/>
                                          </p:val>
                                        </p:tav>
                                      </p:tavLst>
                                    </p:anim>
                                    <p:anim calcmode="lin" valueType="num">
                                      <p:cBhvr additive="base">
                                        <p:cTn id="12" dur="750" fill="hold"/>
                                        <p:tgtEl>
                                          <p:spTgt spid="126"/>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250"/>
                                  </p:stCondLst>
                                  <p:childTnLst>
                                    <p:set>
                                      <p:cBhvr>
                                        <p:cTn id="14" dur="1" fill="hold">
                                          <p:stCondLst>
                                            <p:cond delay="0"/>
                                          </p:stCondLst>
                                        </p:cTn>
                                        <p:tgtEl>
                                          <p:spTgt spid="127"/>
                                        </p:tgtEl>
                                        <p:attrNameLst>
                                          <p:attrName>style.visibility</p:attrName>
                                        </p:attrNameLst>
                                      </p:cBhvr>
                                      <p:to>
                                        <p:strVal val="visible"/>
                                      </p:to>
                                    </p:set>
                                    <p:anim calcmode="lin" valueType="num">
                                      <p:cBhvr additive="base">
                                        <p:cTn id="15" dur="750" fill="hold"/>
                                        <p:tgtEl>
                                          <p:spTgt spid="127"/>
                                        </p:tgtEl>
                                        <p:attrNameLst>
                                          <p:attrName>ppt_x</p:attrName>
                                        </p:attrNameLst>
                                      </p:cBhvr>
                                      <p:tavLst>
                                        <p:tav tm="0">
                                          <p:val>
                                            <p:strVal val="#ppt_x"/>
                                          </p:val>
                                        </p:tav>
                                        <p:tav tm="100000">
                                          <p:val>
                                            <p:strVal val="#ppt_x"/>
                                          </p:val>
                                        </p:tav>
                                      </p:tavLst>
                                    </p:anim>
                                    <p:anim calcmode="lin" valueType="num">
                                      <p:cBhvr additive="base">
                                        <p:cTn id="16" dur="750" fill="hold"/>
                                        <p:tgtEl>
                                          <p:spTgt spid="12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p:bldP spid="126" grpId="0"/>
      <p:bldP spid="127" grpId="0"/>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6" name="TextBox 105"/>
          <p:cNvSpPr txBox="1"/>
          <p:nvPr/>
        </p:nvSpPr>
        <p:spPr>
          <a:xfrm>
            <a:off x="7783" y="2485888"/>
            <a:ext cx="3613713" cy="1777287"/>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0072C6"/>
                </a:solidFill>
                <a:latin typeface="Segoe UI Light"/>
                <a:ea typeface="ＭＳ Ｐゴシック" charset="0"/>
              </a:rPr>
              <a:t>Reduced cost </a:t>
            </a:r>
            <a:br>
              <a:rPr lang="en-US" sz="2745" dirty="0">
                <a:solidFill>
                  <a:srgbClr val="0072C6"/>
                </a:solidFill>
                <a:latin typeface="Segoe UI Light"/>
                <a:ea typeface="ＭＳ Ｐゴシック" charset="0"/>
              </a:rPr>
            </a:br>
            <a:r>
              <a:rPr lang="en-US" sz="2745" dirty="0">
                <a:solidFill>
                  <a:srgbClr val="0072C6"/>
                </a:solidFill>
                <a:latin typeface="Segoe UI Light"/>
                <a:ea typeface="ＭＳ Ｐゴシック" charset="0"/>
              </a:rPr>
              <a:t>and complexity</a:t>
            </a:r>
          </a:p>
          <a:p>
            <a:pPr>
              <a:lnSpc>
                <a:spcPct val="90000"/>
              </a:lnSpc>
              <a:spcAft>
                <a:spcPts val="980"/>
              </a:spcAft>
              <a:defRPr/>
            </a:pPr>
            <a:r>
              <a:rPr lang="en-US" sz="1371" dirty="0">
                <a:ea typeface="ＭＳ Ｐゴシック" charset="0"/>
              </a:rPr>
              <a:t>Take advantage of innovation </a:t>
            </a:r>
            <a:br>
              <a:rPr lang="en-US" sz="1371" dirty="0">
                <a:ea typeface="ＭＳ Ｐゴシック" charset="0"/>
              </a:rPr>
            </a:br>
            <a:r>
              <a:rPr lang="en-US" sz="1371" dirty="0">
                <a:ea typeface="ＭＳ Ｐゴシック" charset="0"/>
              </a:rPr>
              <a:t>in compute, storage, and networking.</a:t>
            </a:r>
          </a:p>
        </p:txBody>
      </p:sp>
      <p:sp>
        <p:nvSpPr>
          <p:cNvPr id="113" name="TextBox 112"/>
          <p:cNvSpPr txBox="1"/>
          <p:nvPr/>
        </p:nvSpPr>
        <p:spPr>
          <a:xfrm>
            <a:off x="3518780" y="2485888"/>
            <a:ext cx="3615268" cy="1777287"/>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0072C6"/>
                </a:solidFill>
                <a:latin typeface="Segoe UI Light"/>
                <a:ea typeface="ＭＳ Ｐゴシック" charset="0"/>
              </a:rPr>
              <a:t>Rapid response </a:t>
            </a:r>
            <a:br>
              <a:rPr lang="en-US" sz="2745" dirty="0">
                <a:solidFill>
                  <a:srgbClr val="0072C6"/>
                </a:solidFill>
                <a:latin typeface="Segoe UI Light"/>
                <a:ea typeface="ＭＳ Ｐゴシック" charset="0"/>
              </a:rPr>
            </a:br>
            <a:r>
              <a:rPr lang="en-US" sz="2745" dirty="0">
                <a:solidFill>
                  <a:srgbClr val="0072C6"/>
                </a:solidFill>
                <a:latin typeface="Segoe UI Light"/>
                <a:ea typeface="ＭＳ Ｐゴシック" charset="0"/>
              </a:rPr>
              <a:t>to the business </a:t>
            </a:r>
          </a:p>
          <a:p>
            <a:pPr>
              <a:lnSpc>
                <a:spcPct val="90000"/>
              </a:lnSpc>
              <a:spcAft>
                <a:spcPts val="980"/>
              </a:spcAft>
              <a:defRPr/>
            </a:pPr>
            <a:r>
              <a:rPr lang="en-US" sz="1371" dirty="0">
                <a:ea typeface="ＭＳ Ｐゴシック" charset="0"/>
              </a:rPr>
              <a:t>Speed delivery of services </a:t>
            </a:r>
            <a:br>
              <a:rPr lang="en-US" sz="1371" dirty="0">
                <a:ea typeface="ＭＳ Ｐゴシック" charset="0"/>
              </a:rPr>
            </a:br>
            <a:r>
              <a:rPr lang="en-US" sz="1371" dirty="0">
                <a:ea typeface="ＭＳ Ｐゴシック" charset="0"/>
              </a:rPr>
              <a:t>with a flexible approach and unified management.</a:t>
            </a:r>
          </a:p>
        </p:txBody>
      </p:sp>
      <p:sp>
        <p:nvSpPr>
          <p:cNvPr id="114" name="TextBox 113"/>
          <p:cNvSpPr txBox="1"/>
          <p:nvPr/>
        </p:nvSpPr>
        <p:spPr>
          <a:xfrm>
            <a:off x="1558" y="4397016"/>
            <a:ext cx="3619938" cy="1777287"/>
          </a:xfrm>
          <a:prstGeom prst="rect">
            <a:avLst/>
          </a:prstGeom>
          <a:noFill/>
        </p:spPr>
        <p:txBody>
          <a:bodyPr lIns="448149" tIns="131802" rIns="179259" bIns="0"/>
          <a:lstStyle>
            <a:defPPr>
              <a:defRPr lang="en-US"/>
            </a:defPPr>
            <a:lvl1pPr defTabSz="913949">
              <a:spcAft>
                <a:spcPts val="1176"/>
              </a:spcAft>
              <a:defRPr sz="1400" kern="0">
                <a:solidFill>
                  <a:srgbClr val="505050"/>
                </a:solidFill>
              </a:defRPr>
            </a:lvl1pPr>
          </a:lstStyle>
          <a:p>
            <a:pPr>
              <a:lnSpc>
                <a:spcPct val="90000"/>
              </a:lnSpc>
              <a:spcAft>
                <a:spcPts val="980"/>
              </a:spcAft>
              <a:defRPr/>
            </a:pPr>
            <a:r>
              <a:rPr lang="en-US" sz="2745" dirty="0">
                <a:solidFill>
                  <a:srgbClr val="0072C6"/>
                </a:solidFill>
                <a:latin typeface="Segoe UI Light"/>
                <a:ea typeface="ＭＳ Ｐゴシック" charset="0"/>
              </a:rPr>
              <a:t>Cloud options </a:t>
            </a:r>
            <a:br>
              <a:rPr lang="en-US" sz="2745" dirty="0">
                <a:solidFill>
                  <a:srgbClr val="0072C6"/>
                </a:solidFill>
                <a:latin typeface="Segoe UI Light"/>
                <a:ea typeface="ＭＳ Ｐゴシック" charset="0"/>
              </a:rPr>
            </a:br>
            <a:r>
              <a:rPr lang="en-US" sz="2745" dirty="0">
                <a:solidFill>
                  <a:srgbClr val="0072C6"/>
                </a:solidFill>
                <a:latin typeface="Segoe UI Light"/>
                <a:ea typeface="ＭＳ Ｐゴシック" charset="0"/>
              </a:rPr>
              <a:t>on demand</a:t>
            </a:r>
          </a:p>
          <a:p>
            <a:pPr>
              <a:lnSpc>
                <a:spcPct val="90000"/>
              </a:lnSpc>
              <a:spcAft>
                <a:spcPts val="980"/>
              </a:spcAft>
              <a:defRPr/>
            </a:pPr>
            <a:r>
              <a:rPr lang="en-US" sz="1371" dirty="0">
                <a:ea typeface="ＭＳ Ｐゴシック" charset="0"/>
              </a:rPr>
              <a:t>Extend to the cloud with hybrid capabilities that offer concrete benefits to your business.</a:t>
            </a:r>
          </a:p>
        </p:txBody>
      </p:sp>
      <p:sp>
        <p:nvSpPr>
          <p:cNvPr id="43" name="Rectangle 42"/>
          <p:cNvSpPr/>
          <p:nvPr/>
        </p:nvSpPr>
        <p:spPr bwMode="auto">
          <a:xfrm>
            <a:off x="1557" y="3600"/>
            <a:ext cx="12188887" cy="2237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itle 1"/>
          <p:cNvSpPr txBox="1">
            <a:spLocks/>
          </p:cNvSpPr>
          <p:nvPr/>
        </p:nvSpPr>
        <p:spPr>
          <a:xfrm>
            <a:off x="270796" y="291515"/>
            <a:ext cx="11651967" cy="899537"/>
          </a:xfrm>
          <a:prstGeom prst="rect">
            <a:avLst/>
          </a:prstGeom>
        </p:spPr>
        <p:txBody>
          <a:bodyPr/>
          <a:lstStyle>
            <a:lvl1pPr algn="l" defTabSz="932901" rtl="0" eaLnBrk="1" latinLnBrk="0" hangingPunct="1">
              <a:lnSpc>
                <a:spcPct val="90000"/>
              </a:lnSpc>
              <a:spcBef>
                <a:spcPct val="0"/>
              </a:spcBef>
              <a:buNone/>
              <a:defRPr lang="en-US" sz="5200" b="0" kern="1200" cap="none" spc="-102" baseline="0">
                <a:ln w="3175">
                  <a:noFill/>
                </a:ln>
                <a:solidFill>
                  <a:schemeClr val="tx2"/>
                </a:solidFill>
                <a:effectLst/>
                <a:latin typeface="+mj-lt"/>
                <a:ea typeface="+mn-ea"/>
                <a:cs typeface="Segoe UI" pitchFamily="34" charset="0"/>
              </a:defRPr>
            </a:lvl1pPr>
          </a:lstStyle>
          <a:p>
            <a:pPr>
              <a:defRPr/>
            </a:pPr>
            <a:r>
              <a:rPr sz="5294" spc="0" dirty="0">
                <a:solidFill>
                  <a:srgbClr val="FFFFFF"/>
                </a:solidFill>
              </a:rPr>
              <a:t>Transform the datacenter</a:t>
            </a:r>
          </a:p>
          <a:p>
            <a:pPr>
              <a:spcBef>
                <a:spcPts val="294"/>
              </a:spcBef>
              <a:defRPr/>
            </a:pPr>
            <a:r>
              <a:rPr sz="2745" spc="0" dirty="0">
                <a:solidFill>
                  <a:srgbClr val="FFFFFF"/>
                </a:solidFill>
              </a:rPr>
              <a:t>Microsoft gives you innovative solutions across compute, storage, and networking, in your datacenter and in the cloud</a:t>
            </a:r>
          </a:p>
        </p:txBody>
      </p:sp>
      <p:grpSp>
        <p:nvGrpSpPr>
          <p:cNvPr id="31748" name="Group 140"/>
          <p:cNvGrpSpPr>
            <a:grpSpLocks/>
          </p:cNvGrpSpPr>
          <p:nvPr/>
        </p:nvGrpSpPr>
        <p:grpSpPr bwMode="auto">
          <a:xfrm>
            <a:off x="6604909" y="2681981"/>
            <a:ext cx="5585536" cy="4208216"/>
            <a:chOff x="19056350" y="1811338"/>
            <a:chExt cx="6880226" cy="5183187"/>
          </a:xfrm>
        </p:grpSpPr>
        <p:sp>
          <p:nvSpPr>
            <p:cNvPr id="142" name="Freeform 141"/>
            <p:cNvSpPr>
              <a:spLocks/>
            </p:cNvSpPr>
            <p:nvPr/>
          </p:nvSpPr>
          <p:spPr bwMode="auto">
            <a:xfrm>
              <a:off x="24801693" y="2948035"/>
              <a:ext cx="835826" cy="550139"/>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43" name="Freeform 142"/>
            <p:cNvSpPr>
              <a:spLocks/>
            </p:cNvSpPr>
            <p:nvPr/>
          </p:nvSpPr>
          <p:spPr bwMode="auto">
            <a:xfrm>
              <a:off x="22127434" y="5656557"/>
              <a:ext cx="1579634" cy="1334134"/>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44" name="Freeform 143"/>
            <p:cNvSpPr>
              <a:spLocks/>
            </p:cNvSpPr>
            <p:nvPr/>
          </p:nvSpPr>
          <p:spPr bwMode="auto">
            <a:xfrm>
              <a:off x="22959426" y="5656557"/>
              <a:ext cx="1577717" cy="1334134"/>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46" name="Rectangle 10"/>
            <p:cNvSpPr>
              <a:spLocks noChangeArrowheads="1"/>
            </p:cNvSpPr>
            <p:nvPr/>
          </p:nvSpPr>
          <p:spPr bwMode="auto">
            <a:xfrm>
              <a:off x="21115242" y="5186926"/>
              <a:ext cx="1439691" cy="1807599"/>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47" name="Rectangle 11"/>
            <p:cNvSpPr>
              <a:spLocks noChangeArrowheads="1"/>
            </p:cNvSpPr>
            <p:nvPr/>
          </p:nvSpPr>
          <p:spPr bwMode="auto">
            <a:xfrm>
              <a:off x="21044312" y="5131338"/>
              <a:ext cx="1581550" cy="555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48" name="Rectangle 12"/>
            <p:cNvSpPr>
              <a:spLocks noChangeArrowheads="1"/>
            </p:cNvSpPr>
            <p:nvPr/>
          </p:nvSpPr>
          <p:spPr bwMode="auto">
            <a:xfrm>
              <a:off x="21249434" y="5351776"/>
              <a:ext cx="187869" cy="187852"/>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49" name="Rectangle 13"/>
            <p:cNvSpPr>
              <a:spLocks noChangeArrowheads="1"/>
            </p:cNvSpPr>
            <p:nvPr/>
          </p:nvSpPr>
          <p:spPr bwMode="auto">
            <a:xfrm>
              <a:off x="21249434" y="5351776"/>
              <a:ext cx="187869" cy="93927"/>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0" name="Rectangle 14"/>
            <p:cNvSpPr>
              <a:spLocks noChangeArrowheads="1"/>
            </p:cNvSpPr>
            <p:nvPr/>
          </p:nvSpPr>
          <p:spPr bwMode="auto">
            <a:xfrm>
              <a:off x="21575329" y="5351776"/>
              <a:ext cx="187869" cy="187852"/>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1" name="Rectangle 15"/>
            <p:cNvSpPr>
              <a:spLocks noChangeArrowheads="1"/>
            </p:cNvSpPr>
            <p:nvPr/>
          </p:nvSpPr>
          <p:spPr bwMode="auto">
            <a:xfrm>
              <a:off x="21897390" y="5351776"/>
              <a:ext cx="189787" cy="187852"/>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2" name="Rectangle 16"/>
            <p:cNvSpPr>
              <a:spLocks noChangeArrowheads="1"/>
            </p:cNvSpPr>
            <p:nvPr/>
          </p:nvSpPr>
          <p:spPr bwMode="auto">
            <a:xfrm>
              <a:off x="21575329" y="6628404"/>
              <a:ext cx="187869" cy="366121"/>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3" name="Rectangle 17"/>
            <p:cNvSpPr>
              <a:spLocks noChangeArrowheads="1"/>
            </p:cNvSpPr>
            <p:nvPr/>
          </p:nvSpPr>
          <p:spPr bwMode="auto">
            <a:xfrm>
              <a:off x="21897390" y="6628404"/>
              <a:ext cx="189787" cy="366121"/>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4" name="Rectangle 18"/>
            <p:cNvSpPr>
              <a:spLocks noChangeArrowheads="1"/>
            </p:cNvSpPr>
            <p:nvPr/>
          </p:nvSpPr>
          <p:spPr bwMode="auto">
            <a:xfrm>
              <a:off x="22225203" y="5351776"/>
              <a:ext cx="187869" cy="187852"/>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5" name="Rectangle 19"/>
            <p:cNvSpPr>
              <a:spLocks noChangeArrowheads="1"/>
            </p:cNvSpPr>
            <p:nvPr/>
          </p:nvSpPr>
          <p:spPr bwMode="auto">
            <a:xfrm>
              <a:off x="21249434" y="5673808"/>
              <a:ext cx="187869" cy="18977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6" name="Rectangle 20"/>
            <p:cNvSpPr>
              <a:spLocks noChangeArrowheads="1"/>
            </p:cNvSpPr>
            <p:nvPr/>
          </p:nvSpPr>
          <p:spPr bwMode="auto">
            <a:xfrm>
              <a:off x="21575329" y="5673808"/>
              <a:ext cx="187869" cy="18977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7" name="Rectangle 21"/>
            <p:cNvSpPr>
              <a:spLocks noChangeArrowheads="1"/>
            </p:cNvSpPr>
            <p:nvPr/>
          </p:nvSpPr>
          <p:spPr bwMode="auto">
            <a:xfrm>
              <a:off x="21897390" y="5673808"/>
              <a:ext cx="189787" cy="18977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8" name="Rectangle 22"/>
            <p:cNvSpPr>
              <a:spLocks noChangeArrowheads="1"/>
            </p:cNvSpPr>
            <p:nvPr/>
          </p:nvSpPr>
          <p:spPr bwMode="auto">
            <a:xfrm>
              <a:off x="22225203" y="5673808"/>
              <a:ext cx="187869" cy="18977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59" name="Rectangle 23"/>
            <p:cNvSpPr>
              <a:spLocks noChangeArrowheads="1"/>
            </p:cNvSpPr>
            <p:nvPr/>
          </p:nvSpPr>
          <p:spPr bwMode="auto">
            <a:xfrm>
              <a:off x="21249434" y="6001592"/>
              <a:ext cx="187869" cy="18593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0" name="Rectangle 24"/>
            <p:cNvSpPr>
              <a:spLocks noChangeArrowheads="1"/>
            </p:cNvSpPr>
            <p:nvPr/>
          </p:nvSpPr>
          <p:spPr bwMode="auto">
            <a:xfrm>
              <a:off x="21575329" y="6001592"/>
              <a:ext cx="187869" cy="18593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1" name="Rectangle 25"/>
            <p:cNvSpPr>
              <a:spLocks noChangeArrowheads="1"/>
            </p:cNvSpPr>
            <p:nvPr/>
          </p:nvSpPr>
          <p:spPr bwMode="auto">
            <a:xfrm>
              <a:off x="21897390" y="6001592"/>
              <a:ext cx="189787" cy="18593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2" name="Rectangle 26"/>
            <p:cNvSpPr>
              <a:spLocks noChangeArrowheads="1"/>
            </p:cNvSpPr>
            <p:nvPr/>
          </p:nvSpPr>
          <p:spPr bwMode="auto">
            <a:xfrm>
              <a:off x="22225203" y="6001592"/>
              <a:ext cx="187869" cy="18593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3" name="Rectangle 27"/>
            <p:cNvSpPr>
              <a:spLocks noChangeArrowheads="1"/>
            </p:cNvSpPr>
            <p:nvPr/>
          </p:nvSpPr>
          <p:spPr bwMode="auto">
            <a:xfrm>
              <a:off x="21249434" y="6323624"/>
              <a:ext cx="187869" cy="18593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4" name="Rectangle 28"/>
            <p:cNvSpPr>
              <a:spLocks noChangeArrowheads="1"/>
            </p:cNvSpPr>
            <p:nvPr/>
          </p:nvSpPr>
          <p:spPr bwMode="auto">
            <a:xfrm>
              <a:off x="21575329" y="6323624"/>
              <a:ext cx="187869" cy="18593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5" name="Rectangle 29"/>
            <p:cNvSpPr>
              <a:spLocks noChangeArrowheads="1"/>
            </p:cNvSpPr>
            <p:nvPr/>
          </p:nvSpPr>
          <p:spPr bwMode="auto">
            <a:xfrm>
              <a:off x="21897390" y="6323624"/>
              <a:ext cx="189787" cy="18593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6" name="Rectangle 30"/>
            <p:cNvSpPr>
              <a:spLocks noChangeArrowheads="1"/>
            </p:cNvSpPr>
            <p:nvPr/>
          </p:nvSpPr>
          <p:spPr bwMode="auto">
            <a:xfrm>
              <a:off x="22225203" y="6323624"/>
              <a:ext cx="187869" cy="18593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7" name="Rectangle 31"/>
            <p:cNvSpPr>
              <a:spLocks noChangeArrowheads="1"/>
            </p:cNvSpPr>
            <p:nvPr/>
          </p:nvSpPr>
          <p:spPr bwMode="auto">
            <a:xfrm>
              <a:off x="21249434" y="6001592"/>
              <a:ext cx="187869" cy="92009"/>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8" name="Rectangle 32"/>
            <p:cNvSpPr>
              <a:spLocks noChangeArrowheads="1"/>
            </p:cNvSpPr>
            <p:nvPr/>
          </p:nvSpPr>
          <p:spPr bwMode="auto">
            <a:xfrm>
              <a:off x="22225203" y="6001592"/>
              <a:ext cx="187869" cy="92009"/>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69" name="Rectangle 33"/>
            <p:cNvSpPr>
              <a:spLocks noChangeArrowheads="1"/>
            </p:cNvSpPr>
            <p:nvPr/>
          </p:nvSpPr>
          <p:spPr bwMode="auto">
            <a:xfrm>
              <a:off x="22225203" y="5673808"/>
              <a:ext cx="187869" cy="95843"/>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0" name="Rectangle 34"/>
            <p:cNvSpPr>
              <a:spLocks noChangeArrowheads="1"/>
            </p:cNvSpPr>
            <p:nvPr/>
          </p:nvSpPr>
          <p:spPr bwMode="auto">
            <a:xfrm>
              <a:off x="19056350" y="6900598"/>
              <a:ext cx="2058892" cy="93927"/>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1" name="Rectangle 35"/>
            <p:cNvSpPr>
              <a:spLocks noChangeArrowheads="1"/>
            </p:cNvSpPr>
            <p:nvPr/>
          </p:nvSpPr>
          <p:spPr bwMode="auto">
            <a:xfrm>
              <a:off x="20187398" y="6590067"/>
              <a:ext cx="82433" cy="310531"/>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2" name="Oval 36"/>
            <p:cNvSpPr>
              <a:spLocks noChangeArrowheads="1"/>
            </p:cNvSpPr>
            <p:nvPr/>
          </p:nvSpPr>
          <p:spPr bwMode="auto">
            <a:xfrm>
              <a:off x="20020617" y="6315957"/>
              <a:ext cx="412161" cy="41212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3" name="Oval 37"/>
            <p:cNvSpPr>
              <a:spLocks noChangeArrowheads="1"/>
            </p:cNvSpPr>
            <p:nvPr/>
          </p:nvSpPr>
          <p:spPr bwMode="auto">
            <a:xfrm>
              <a:off x="20076211" y="6103185"/>
              <a:ext cx="304809" cy="30286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4" name="Rectangle 38"/>
            <p:cNvSpPr>
              <a:spLocks noChangeArrowheads="1"/>
            </p:cNvSpPr>
            <p:nvPr/>
          </p:nvSpPr>
          <p:spPr bwMode="auto">
            <a:xfrm>
              <a:off x="20729919" y="6590067"/>
              <a:ext cx="80515" cy="310531"/>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5" name="Oval 39"/>
            <p:cNvSpPr>
              <a:spLocks noChangeArrowheads="1"/>
            </p:cNvSpPr>
            <p:nvPr/>
          </p:nvSpPr>
          <p:spPr bwMode="auto">
            <a:xfrm>
              <a:off x="20559303" y="6315957"/>
              <a:ext cx="415996" cy="41212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6" name="Oval 40"/>
            <p:cNvSpPr>
              <a:spLocks noChangeArrowheads="1"/>
            </p:cNvSpPr>
            <p:nvPr/>
          </p:nvSpPr>
          <p:spPr bwMode="auto">
            <a:xfrm>
              <a:off x="20616813" y="6103185"/>
              <a:ext cx="302891" cy="30286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7" name="Rectangle 41"/>
            <p:cNvSpPr>
              <a:spLocks noChangeArrowheads="1"/>
            </p:cNvSpPr>
            <p:nvPr/>
          </p:nvSpPr>
          <p:spPr bwMode="auto">
            <a:xfrm>
              <a:off x="21763198" y="4905149"/>
              <a:ext cx="555939" cy="22618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8" name="Rectangle 42"/>
            <p:cNvSpPr>
              <a:spLocks noChangeArrowheads="1"/>
            </p:cNvSpPr>
            <p:nvPr/>
          </p:nvSpPr>
          <p:spPr bwMode="auto">
            <a:xfrm>
              <a:off x="24629161" y="5846326"/>
              <a:ext cx="1307415" cy="1148199"/>
            </a:xfrm>
            <a:prstGeom prst="rect">
              <a:avLst/>
            </a:prstGeom>
            <a:solidFill>
              <a:srgbClr val="009E4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79" name="Rectangle 43"/>
            <p:cNvSpPr>
              <a:spLocks noChangeArrowheads="1"/>
            </p:cNvSpPr>
            <p:nvPr/>
          </p:nvSpPr>
          <p:spPr bwMode="auto">
            <a:xfrm>
              <a:off x="24556313" y="5790737"/>
              <a:ext cx="1380263" cy="555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0" name="Rectangle 44"/>
            <p:cNvSpPr>
              <a:spLocks noChangeArrowheads="1"/>
            </p:cNvSpPr>
            <p:nvPr/>
          </p:nvSpPr>
          <p:spPr bwMode="auto">
            <a:xfrm>
              <a:off x="25091165" y="6628404"/>
              <a:ext cx="185953" cy="366121"/>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1" name="Rectangle 45"/>
            <p:cNvSpPr>
              <a:spLocks noChangeArrowheads="1"/>
            </p:cNvSpPr>
            <p:nvPr/>
          </p:nvSpPr>
          <p:spPr bwMode="auto">
            <a:xfrm>
              <a:off x="25413226" y="6628404"/>
              <a:ext cx="185953" cy="366121"/>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2" name="Rectangle 46"/>
            <p:cNvSpPr>
              <a:spLocks noChangeArrowheads="1"/>
            </p:cNvSpPr>
            <p:nvPr/>
          </p:nvSpPr>
          <p:spPr bwMode="auto">
            <a:xfrm>
              <a:off x="24763353" y="6001592"/>
              <a:ext cx="187869" cy="18593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3" name="Rectangle 47"/>
            <p:cNvSpPr>
              <a:spLocks noChangeArrowheads="1"/>
            </p:cNvSpPr>
            <p:nvPr/>
          </p:nvSpPr>
          <p:spPr bwMode="auto">
            <a:xfrm>
              <a:off x="25091165" y="6001592"/>
              <a:ext cx="185953" cy="18593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4" name="Rectangle 48"/>
            <p:cNvSpPr>
              <a:spLocks noChangeArrowheads="1"/>
            </p:cNvSpPr>
            <p:nvPr/>
          </p:nvSpPr>
          <p:spPr bwMode="auto">
            <a:xfrm>
              <a:off x="25413226" y="6001592"/>
              <a:ext cx="185953" cy="18593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5" name="Rectangle 49"/>
            <p:cNvSpPr>
              <a:spLocks noChangeArrowheads="1"/>
            </p:cNvSpPr>
            <p:nvPr/>
          </p:nvSpPr>
          <p:spPr bwMode="auto">
            <a:xfrm>
              <a:off x="25737205" y="6001592"/>
              <a:ext cx="187869" cy="18593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6" name="Rectangle 50"/>
            <p:cNvSpPr>
              <a:spLocks noChangeArrowheads="1"/>
            </p:cNvSpPr>
            <p:nvPr/>
          </p:nvSpPr>
          <p:spPr bwMode="auto">
            <a:xfrm>
              <a:off x="24763353" y="6323624"/>
              <a:ext cx="187869" cy="18593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7" name="Rectangle 51"/>
            <p:cNvSpPr>
              <a:spLocks noChangeArrowheads="1"/>
            </p:cNvSpPr>
            <p:nvPr/>
          </p:nvSpPr>
          <p:spPr bwMode="auto">
            <a:xfrm>
              <a:off x="25091165" y="6323624"/>
              <a:ext cx="185953" cy="18593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8" name="Rectangle 52"/>
            <p:cNvSpPr>
              <a:spLocks noChangeArrowheads="1"/>
            </p:cNvSpPr>
            <p:nvPr/>
          </p:nvSpPr>
          <p:spPr bwMode="auto">
            <a:xfrm>
              <a:off x="25413226" y="6323624"/>
              <a:ext cx="185953" cy="18593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89" name="Rectangle 53"/>
            <p:cNvSpPr>
              <a:spLocks noChangeArrowheads="1"/>
            </p:cNvSpPr>
            <p:nvPr/>
          </p:nvSpPr>
          <p:spPr bwMode="auto">
            <a:xfrm>
              <a:off x="25737205" y="6323624"/>
              <a:ext cx="187869" cy="18593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0" name="Rectangle 54"/>
            <p:cNvSpPr>
              <a:spLocks noChangeArrowheads="1"/>
            </p:cNvSpPr>
            <p:nvPr/>
          </p:nvSpPr>
          <p:spPr bwMode="auto">
            <a:xfrm>
              <a:off x="24763353" y="6001592"/>
              <a:ext cx="187869" cy="92009"/>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1" name="Rectangle 55"/>
            <p:cNvSpPr>
              <a:spLocks noChangeArrowheads="1"/>
            </p:cNvSpPr>
            <p:nvPr/>
          </p:nvSpPr>
          <p:spPr bwMode="auto">
            <a:xfrm>
              <a:off x="25737205" y="6001592"/>
              <a:ext cx="187869" cy="92009"/>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2" name="Rectangle 56"/>
            <p:cNvSpPr>
              <a:spLocks noChangeArrowheads="1"/>
            </p:cNvSpPr>
            <p:nvPr/>
          </p:nvSpPr>
          <p:spPr bwMode="auto">
            <a:xfrm>
              <a:off x="25277117" y="5566464"/>
              <a:ext cx="554021" cy="224273"/>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3" name="Rectangle 57"/>
            <p:cNvSpPr>
              <a:spLocks noChangeArrowheads="1"/>
            </p:cNvSpPr>
            <p:nvPr/>
          </p:nvSpPr>
          <p:spPr bwMode="auto">
            <a:xfrm>
              <a:off x="22875076" y="4540945"/>
              <a:ext cx="1433939" cy="245358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4" name="Rectangle 58"/>
            <p:cNvSpPr>
              <a:spLocks noChangeArrowheads="1"/>
            </p:cNvSpPr>
            <p:nvPr/>
          </p:nvSpPr>
          <p:spPr bwMode="auto">
            <a:xfrm>
              <a:off x="22802229" y="4485356"/>
              <a:ext cx="1577717" cy="5559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5" name="Rectangle 59"/>
            <p:cNvSpPr>
              <a:spLocks noChangeArrowheads="1"/>
            </p:cNvSpPr>
            <p:nvPr/>
          </p:nvSpPr>
          <p:spPr bwMode="auto">
            <a:xfrm>
              <a:off x="23009269" y="5351776"/>
              <a:ext cx="187869" cy="187852"/>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6" name="Rectangle 60"/>
            <p:cNvSpPr>
              <a:spLocks noChangeArrowheads="1"/>
            </p:cNvSpPr>
            <p:nvPr/>
          </p:nvSpPr>
          <p:spPr bwMode="auto">
            <a:xfrm>
              <a:off x="23009269" y="5351776"/>
              <a:ext cx="187869" cy="939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7" name="Rectangle 61"/>
            <p:cNvSpPr>
              <a:spLocks noChangeArrowheads="1"/>
            </p:cNvSpPr>
            <p:nvPr/>
          </p:nvSpPr>
          <p:spPr bwMode="auto">
            <a:xfrm>
              <a:off x="23331330" y="5351776"/>
              <a:ext cx="187869" cy="18785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8" name="Rectangle 62"/>
            <p:cNvSpPr>
              <a:spLocks noChangeArrowheads="1"/>
            </p:cNvSpPr>
            <p:nvPr/>
          </p:nvSpPr>
          <p:spPr bwMode="auto">
            <a:xfrm>
              <a:off x="23657225" y="5351776"/>
              <a:ext cx="187869" cy="187852"/>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199" name="Rectangle 63"/>
            <p:cNvSpPr>
              <a:spLocks noChangeArrowheads="1"/>
            </p:cNvSpPr>
            <p:nvPr/>
          </p:nvSpPr>
          <p:spPr bwMode="auto">
            <a:xfrm>
              <a:off x="23331330" y="6628404"/>
              <a:ext cx="187869" cy="366121"/>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0" name="Rectangle 64"/>
            <p:cNvSpPr>
              <a:spLocks noChangeArrowheads="1"/>
            </p:cNvSpPr>
            <p:nvPr/>
          </p:nvSpPr>
          <p:spPr bwMode="auto">
            <a:xfrm>
              <a:off x="23657225" y="6628404"/>
              <a:ext cx="187869" cy="366121"/>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1" name="Rectangle 65"/>
            <p:cNvSpPr>
              <a:spLocks noChangeArrowheads="1"/>
            </p:cNvSpPr>
            <p:nvPr/>
          </p:nvSpPr>
          <p:spPr bwMode="auto">
            <a:xfrm>
              <a:off x="23979286" y="5351776"/>
              <a:ext cx="187869" cy="18785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2" name="Rectangle 66"/>
            <p:cNvSpPr>
              <a:spLocks noChangeArrowheads="1"/>
            </p:cNvSpPr>
            <p:nvPr/>
          </p:nvSpPr>
          <p:spPr bwMode="auto">
            <a:xfrm>
              <a:off x="23009269" y="5673808"/>
              <a:ext cx="187869" cy="189770"/>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3" name="Rectangle 67"/>
            <p:cNvSpPr>
              <a:spLocks noChangeArrowheads="1"/>
            </p:cNvSpPr>
            <p:nvPr/>
          </p:nvSpPr>
          <p:spPr bwMode="auto">
            <a:xfrm>
              <a:off x="23331330" y="5673808"/>
              <a:ext cx="187869" cy="1897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4" name="Rectangle 68"/>
            <p:cNvSpPr>
              <a:spLocks noChangeArrowheads="1"/>
            </p:cNvSpPr>
            <p:nvPr/>
          </p:nvSpPr>
          <p:spPr bwMode="auto">
            <a:xfrm>
              <a:off x="23657225" y="5673808"/>
              <a:ext cx="187869" cy="18977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5" name="Rectangle 69"/>
            <p:cNvSpPr>
              <a:spLocks noChangeArrowheads="1"/>
            </p:cNvSpPr>
            <p:nvPr/>
          </p:nvSpPr>
          <p:spPr bwMode="auto">
            <a:xfrm>
              <a:off x="23979286" y="5673808"/>
              <a:ext cx="187869" cy="18977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6" name="Rectangle 70"/>
            <p:cNvSpPr>
              <a:spLocks noChangeArrowheads="1"/>
            </p:cNvSpPr>
            <p:nvPr/>
          </p:nvSpPr>
          <p:spPr bwMode="auto">
            <a:xfrm>
              <a:off x="23009269" y="6001592"/>
              <a:ext cx="187869" cy="18593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7" name="Rectangle 71"/>
            <p:cNvSpPr>
              <a:spLocks noChangeArrowheads="1"/>
            </p:cNvSpPr>
            <p:nvPr/>
          </p:nvSpPr>
          <p:spPr bwMode="auto">
            <a:xfrm>
              <a:off x="23331330" y="6001592"/>
              <a:ext cx="187869" cy="18593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8" name="Rectangle 72"/>
            <p:cNvSpPr>
              <a:spLocks noChangeArrowheads="1"/>
            </p:cNvSpPr>
            <p:nvPr/>
          </p:nvSpPr>
          <p:spPr bwMode="auto">
            <a:xfrm>
              <a:off x="23657225" y="6001592"/>
              <a:ext cx="187869" cy="18593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09" name="Rectangle 73"/>
            <p:cNvSpPr>
              <a:spLocks noChangeArrowheads="1"/>
            </p:cNvSpPr>
            <p:nvPr/>
          </p:nvSpPr>
          <p:spPr bwMode="auto">
            <a:xfrm>
              <a:off x="23979286" y="6001592"/>
              <a:ext cx="187869" cy="18593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0" name="Rectangle 74"/>
            <p:cNvSpPr>
              <a:spLocks noChangeArrowheads="1"/>
            </p:cNvSpPr>
            <p:nvPr/>
          </p:nvSpPr>
          <p:spPr bwMode="auto">
            <a:xfrm>
              <a:off x="23009269" y="6323624"/>
              <a:ext cx="187869" cy="18593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1" name="Rectangle 75"/>
            <p:cNvSpPr>
              <a:spLocks noChangeArrowheads="1"/>
            </p:cNvSpPr>
            <p:nvPr/>
          </p:nvSpPr>
          <p:spPr bwMode="auto">
            <a:xfrm>
              <a:off x="23331330" y="6323624"/>
              <a:ext cx="187869" cy="18593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2" name="Rectangle 76"/>
            <p:cNvSpPr>
              <a:spLocks noChangeArrowheads="1"/>
            </p:cNvSpPr>
            <p:nvPr/>
          </p:nvSpPr>
          <p:spPr bwMode="auto">
            <a:xfrm>
              <a:off x="23657225" y="6323624"/>
              <a:ext cx="187869" cy="18593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3" name="Rectangle 77"/>
            <p:cNvSpPr>
              <a:spLocks noChangeArrowheads="1"/>
            </p:cNvSpPr>
            <p:nvPr/>
          </p:nvSpPr>
          <p:spPr bwMode="auto">
            <a:xfrm>
              <a:off x="23979286" y="6323624"/>
              <a:ext cx="187869" cy="18593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4" name="Rectangle 78"/>
            <p:cNvSpPr>
              <a:spLocks noChangeArrowheads="1"/>
            </p:cNvSpPr>
            <p:nvPr/>
          </p:nvSpPr>
          <p:spPr bwMode="auto">
            <a:xfrm>
              <a:off x="23009269" y="6001592"/>
              <a:ext cx="187869" cy="9200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5" name="Rectangle 79"/>
            <p:cNvSpPr>
              <a:spLocks noChangeArrowheads="1"/>
            </p:cNvSpPr>
            <p:nvPr/>
          </p:nvSpPr>
          <p:spPr bwMode="auto">
            <a:xfrm>
              <a:off x="23979286" y="6001592"/>
              <a:ext cx="187869" cy="9200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6" name="Rectangle 80"/>
            <p:cNvSpPr>
              <a:spLocks noChangeArrowheads="1"/>
            </p:cNvSpPr>
            <p:nvPr/>
          </p:nvSpPr>
          <p:spPr bwMode="auto">
            <a:xfrm>
              <a:off x="23979286" y="5673808"/>
              <a:ext cx="187869" cy="95843"/>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7" name="Rectangle 81"/>
            <p:cNvSpPr>
              <a:spLocks noChangeArrowheads="1"/>
            </p:cNvSpPr>
            <p:nvPr/>
          </p:nvSpPr>
          <p:spPr bwMode="auto">
            <a:xfrm>
              <a:off x="23009269" y="4698128"/>
              <a:ext cx="187869" cy="187852"/>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8" name="Rectangle 82"/>
            <p:cNvSpPr>
              <a:spLocks noChangeArrowheads="1"/>
            </p:cNvSpPr>
            <p:nvPr/>
          </p:nvSpPr>
          <p:spPr bwMode="auto">
            <a:xfrm>
              <a:off x="23009269" y="4698128"/>
              <a:ext cx="187869" cy="939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19" name="Rectangle 83"/>
            <p:cNvSpPr>
              <a:spLocks noChangeArrowheads="1"/>
            </p:cNvSpPr>
            <p:nvPr/>
          </p:nvSpPr>
          <p:spPr bwMode="auto">
            <a:xfrm>
              <a:off x="23331330" y="4698128"/>
              <a:ext cx="187869" cy="18785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0" name="Rectangle 84"/>
            <p:cNvSpPr>
              <a:spLocks noChangeArrowheads="1"/>
            </p:cNvSpPr>
            <p:nvPr/>
          </p:nvSpPr>
          <p:spPr bwMode="auto">
            <a:xfrm>
              <a:off x="23657225" y="4698128"/>
              <a:ext cx="187869" cy="187852"/>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1" name="Rectangle 85"/>
            <p:cNvSpPr>
              <a:spLocks noChangeArrowheads="1"/>
            </p:cNvSpPr>
            <p:nvPr/>
          </p:nvSpPr>
          <p:spPr bwMode="auto">
            <a:xfrm>
              <a:off x="23979286" y="4698128"/>
              <a:ext cx="187869" cy="18785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2" name="Rectangle 86"/>
            <p:cNvSpPr>
              <a:spLocks noChangeArrowheads="1"/>
            </p:cNvSpPr>
            <p:nvPr/>
          </p:nvSpPr>
          <p:spPr bwMode="auto">
            <a:xfrm>
              <a:off x="23009269" y="5025910"/>
              <a:ext cx="187869" cy="187852"/>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3" name="Rectangle 87"/>
            <p:cNvSpPr>
              <a:spLocks noChangeArrowheads="1"/>
            </p:cNvSpPr>
            <p:nvPr/>
          </p:nvSpPr>
          <p:spPr bwMode="auto">
            <a:xfrm>
              <a:off x="23331330" y="5025910"/>
              <a:ext cx="187869" cy="18785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4" name="Rectangle 88"/>
            <p:cNvSpPr>
              <a:spLocks noChangeArrowheads="1"/>
            </p:cNvSpPr>
            <p:nvPr/>
          </p:nvSpPr>
          <p:spPr bwMode="auto">
            <a:xfrm>
              <a:off x="23657225" y="5025910"/>
              <a:ext cx="187869" cy="187852"/>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5" name="Rectangle 89"/>
            <p:cNvSpPr>
              <a:spLocks noChangeArrowheads="1"/>
            </p:cNvSpPr>
            <p:nvPr/>
          </p:nvSpPr>
          <p:spPr bwMode="auto">
            <a:xfrm>
              <a:off x="23979286" y="5025910"/>
              <a:ext cx="187869" cy="187852"/>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6" name="Rectangle 90"/>
            <p:cNvSpPr>
              <a:spLocks noChangeArrowheads="1"/>
            </p:cNvSpPr>
            <p:nvPr/>
          </p:nvSpPr>
          <p:spPr bwMode="auto">
            <a:xfrm>
              <a:off x="23979286" y="5025910"/>
              <a:ext cx="187869" cy="9392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7" name="Rectangle 91"/>
            <p:cNvSpPr>
              <a:spLocks noChangeArrowheads="1"/>
            </p:cNvSpPr>
            <p:nvPr/>
          </p:nvSpPr>
          <p:spPr bwMode="auto">
            <a:xfrm>
              <a:off x="23108954" y="4261084"/>
              <a:ext cx="172533" cy="224272"/>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8" name="Rectangle 92"/>
            <p:cNvSpPr>
              <a:spLocks noChangeArrowheads="1"/>
            </p:cNvSpPr>
            <p:nvPr/>
          </p:nvSpPr>
          <p:spPr bwMode="auto">
            <a:xfrm>
              <a:off x="23338998" y="4261084"/>
              <a:ext cx="172533" cy="224272"/>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29" name="Rectangle 93"/>
            <p:cNvSpPr>
              <a:spLocks noChangeArrowheads="1"/>
            </p:cNvSpPr>
            <p:nvPr/>
          </p:nvSpPr>
          <p:spPr bwMode="auto">
            <a:xfrm>
              <a:off x="22441827" y="6900598"/>
              <a:ext cx="540603" cy="93927"/>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30" name="Rectangle 94"/>
            <p:cNvSpPr>
              <a:spLocks noChangeArrowheads="1"/>
            </p:cNvSpPr>
            <p:nvPr/>
          </p:nvSpPr>
          <p:spPr bwMode="auto">
            <a:xfrm>
              <a:off x="23979286" y="6900598"/>
              <a:ext cx="784066" cy="93927"/>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31" name="Freeform 95"/>
            <p:cNvSpPr>
              <a:spLocks/>
            </p:cNvSpPr>
            <p:nvPr/>
          </p:nvSpPr>
          <p:spPr bwMode="auto">
            <a:xfrm>
              <a:off x="20116469" y="1845841"/>
              <a:ext cx="2760525" cy="181526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32" name="Freeform 96"/>
            <p:cNvSpPr>
              <a:spLocks/>
            </p:cNvSpPr>
            <p:nvPr/>
          </p:nvSpPr>
          <p:spPr bwMode="auto">
            <a:xfrm>
              <a:off x="20076211" y="3053463"/>
              <a:ext cx="3362473" cy="3419677"/>
            </a:xfrm>
            <a:custGeom>
              <a:avLst/>
              <a:gdLst>
                <a:gd name="T0" fmla="*/ 891 w 897"/>
                <a:gd name="T1" fmla="*/ 900 h 912"/>
                <a:gd name="T2" fmla="*/ 709 w 897"/>
                <a:gd name="T3" fmla="*/ 653 h 912"/>
                <a:gd name="T4" fmla="*/ 631 w 897"/>
                <a:gd name="T5" fmla="*/ 50 h 912"/>
                <a:gd name="T6" fmla="*/ 642 w 897"/>
                <a:gd name="T7" fmla="*/ 49 h 912"/>
                <a:gd name="T8" fmla="*/ 757 w 897"/>
                <a:gd name="T9" fmla="*/ 6 h 912"/>
                <a:gd name="T10" fmla="*/ 751 w 897"/>
                <a:gd name="T11" fmla="*/ 0 h 912"/>
                <a:gd name="T12" fmla="*/ 745 w 897"/>
                <a:gd name="T13" fmla="*/ 6 h 912"/>
                <a:gd name="T14" fmla="*/ 641 w 897"/>
                <a:gd name="T15" fmla="*/ 37 h 912"/>
                <a:gd name="T16" fmla="*/ 378 w 897"/>
                <a:gd name="T17" fmla="*/ 52 h 912"/>
                <a:gd name="T18" fmla="*/ 116 w 897"/>
                <a:gd name="T19" fmla="*/ 37 h 912"/>
                <a:gd name="T20" fmla="*/ 12 w 897"/>
                <a:gd name="T21" fmla="*/ 6 h 912"/>
                <a:gd name="T22" fmla="*/ 6 w 897"/>
                <a:gd name="T23" fmla="*/ 0 h 912"/>
                <a:gd name="T24" fmla="*/ 0 w 897"/>
                <a:gd name="T25" fmla="*/ 6 h 912"/>
                <a:gd name="T26" fmla="*/ 114 w 897"/>
                <a:gd name="T27" fmla="*/ 49 h 912"/>
                <a:gd name="T28" fmla="*/ 378 w 897"/>
                <a:gd name="T29" fmla="*/ 64 h 912"/>
                <a:gd name="T30" fmla="*/ 619 w 897"/>
                <a:gd name="T31" fmla="*/ 52 h 912"/>
                <a:gd name="T32" fmla="*/ 697 w 897"/>
                <a:gd name="T33" fmla="*/ 657 h 912"/>
                <a:gd name="T34" fmla="*/ 891 w 897"/>
                <a:gd name="T35" fmla="*/ 912 h 912"/>
                <a:gd name="T36" fmla="*/ 897 w 897"/>
                <a:gd name="T37" fmla="*/ 906 h 912"/>
                <a:gd name="T38" fmla="*/ 891 w 897"/>
                <a:gd name="T39" fmla="*/ 900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7" h="912">
                  <a:moveTo>
                    <a:pt x="891" y="900"/>
                  </a:moveTo>
                  <a:cubicBezTo>
                    <a:pt x="823" y="900"/>
                    <a:pt x="757" y="810"/>
                    <a:pt x="709" y="653"/>
                  </a:cubicBezTo>
                  <a:cubicBezTo>
                    <a:pt x="659" y="493"/>
                    <a:pt x="631" y="278"/>
                    <a:pt x="631" y="50"/>
                  </a:cubicBezTo>
                  <a:cubicBezTo>
                    <a:pt x="635" y="50"/>
                    <a:pt x="639" y="49"/>
                    <a:pt x="642" y="49"/>
                  </a:cubicBezTo>
                  <a:cubicBezTo>
                    <a:pt x="757" y="33"/>
                    <a:pt x="757" y="12"/>
                    <a:pt x="757" y="6"/>
                  </a:cubicBezTo>
                  <a:cubicBezTo>
                    <a:pt x="757" y="2"/>
                    <a:pt x="754" y="0"/>
                    <a:pt x="751" y="0"/>
                  </a:cubicBezTo>
                  <a:cubicBezTo>
                    <a:pt x="747" y="0"/>
                    <a:pt x="745" y="2"/>
                    <a:pt x="745" y="6"/>
                  </a:cubicBezTo>
                  <a:cubicBezTo>
                    <a:pt x="745" y="6"/>
                    <a:pt x="743" y="23"/>
                    <a:pt x="641" y="37"/>
                  </a:cubicBezTo>
                  <a:cubicBezTo>
                    <a:pt x="571" y="47"/>
                    <a:pt x="478" y="52"/>
                    <a:pt x="378" y="52"/>
                  </a:cubicBezTo>
                  <a:cubicBezTo>
                    <a:pt x="279" y="52"/>
                    <a:pt x="186" y="47"/>
                    <a:pt x="116" y="37"/>
                  </a:cubicBezTo>
                  <a:cubicBezTo>
                    <a:pt x="13" y="23"/>
                    <a:pt x="12" y="6"/>
                    <a:pt x="12" y="6"/>
                  </a:cubicBezTo>
                  <a:cubicBezTo>
                    <a:pt x="12" y="2"/>
                    <a:pt x="10" y="0"/>
                    <a:pt x="6" y="0"/>
                  </a:cubicBezTo>
                  <a:cubicBezTo>
                    <a:pt x="3" y="0"/>
                    <a:pt x="0" y="2"/>
                    <a:pt x="0" y="6"/>
                  </a:cubicBezTo>
                  <a:cubicBezTo>
                    <a:pt x="0" y="12"/>
                    <a:pt x="0" y="33"/>
                    <a:pt x="114" y="49"/>
                  </a:cubicBezTo>
                  <a:cubicBezTo>
                    <a:pt x="185" y="59"/>
                    <a:pt x="279" y="64"/>
                    <a:pt x="378" y="64"/>
                  </a:cubicBezTo>
                  <a:cubicBezTo>
                    <a:pt x="468" y="64"/>
                    <a:pt x="552" y="60"/>
                    <a:pt x="619" y="52"/>
                  </a:cubicBezTo>
                  <a:cubicBezTo>
                    <a:pt x="619" y="281"/>
                    <a:pt x="647" y="495"/>
                    <a:pt x="697" y="657"/>
                  </a:cubicBezTo>
                  <a:cubicBezTo>
                    <a:pt x="748" y="821"/>
                    <a:pt x="817" y="912"/>
                    <a:pt x="891" y="912"/>
                  </a:cubicBezTo>
                  <a:cubicBezTo>
                    <a:pt x="894" y="912"/>
                    <a:pt x="897" y="909"/>
                    <a:pt x="897" y="906"/>
                  </a:cubicBezTo>
                  <a:cubicBezTo>
                    <a:pt x="897" y="902"/>
                    <a:pt x="894" y="900"/>
                    <a:pt x="891" y="90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33" name="Freeform 97"/>
            <p:cNvSpPr>
              <a:spLocks/>
            </p:cNvSpPr>
            <p:nvPr/>
          </p:nvSpPr>
          <p:spPr bwMode="auto">
            <a:xfrm>
              <a:off x="23034191" y="1811338"/>
              <a:ext cx="1798175" cy="1180785"/>
            </a:xfrm>
            <a:custGeom>
              <a:avLst/>
              <a:gdLst>
                <a:gd name="T0" fmla="*/ 403 w 479"/>
                <a:gd name="T1" fmla="*/ 138 h 315"/>
                <a:gd name="T2" fmla="*/ 403 w 479"/>
                <a:gd name="T3" fmla="*/ 132 h 315"/>
                <a:gd name="T4" fmla="*/ 271 w 479"/>
                <a:gd name="T5" fmla="*/ 0 h 315"/>
                <a:gd name="T6" fmla="*/ 161 w 479"/>
                <a:gd name="T7" fmla="*/ 59 h 315"/>
                <a:gd name="T8" fmla="*/ 125 w 479"/>
                <a:gd name="T9" fmla="*/ 50 h 315"/>
                <a:gd name="T10" fmla="*/ 82 w 479"/>
                <a:gd name="T11" fmla="*/ 62 h 315"/>
                <a:gd name="T12" fmla="*/ 48 w 479"/>
                <a:gd name="T13" fmla="*/ 124 h 315"/>
                <a:gd name="T14" fmla="*/ 0 w 479"/>
                <a:gd name="T15" fmla="*/ 211 h 315"/>
                <a:gd name="T16" fmla="*/ 93 w 479"/>
                <a:gd name="T17" fmla="*/ 315 h 315"/>
                <a:gd name="T18" fmla="*/ 104 w 479"/>
                <a:gd name="T19" fmla="*/ 315 h 315"/>
                <a:gd name="T20" fmla="*/ 115 w 479"/>
                <a:gd name="T21" fmla="*/ 315 h 315"/>
                <a:gd name="T22" fmla="*/ 330 w 479"/>
                <a:gd name="T23" fmla="*/ 315 h 315"/>
                <a:gd name="T24" fmla="*/ 335 w 479"/>
                <a:gd name="T25" fmla="*/ 315 h 315"/>
                <a:gd name="T26" fmla="*/ 340 w 479"/>
                <a:gd name="T27" fmla="*/ 315 h 315"/>
                <a:gd name="T28" fmla="*/ 356 w 479"/>
                <a:gd name="T29" fmla="*/ 315 h 315"/>
                <a:gd name="T30" fmla="*/ 390 w 479"/>
                <a:gd name="T31" fmla="*/ 315 h 315"/>
                <a:gd name="T32" fmla="*/ 479 w 479"/>
                <a:gd name="T33" fmla="*/ 226 h 315"/>
                <a:gd name="T34" fmla="*/ 403 w 479"/>
                <a:gd name="T35" fmla="*/ 13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9" h="315">
                  <a:moveTo>
                    <a:pt x="403" y="138"/>
                  </a:moveTo>
                  <a:cubicBezTo>
                    <a:pt x="403" y="137"/>
                    <a:pt x="403" y="134"/>
                    <a:pt x="403" y="132"/>
                  </a:cubicBezTo>
                  <a:cubicBezTo>
                    <a:pt x="403" y="59"/>
                    <a:pt x="344" y="0"/>
                    <a:pt x="271" y="0"/>
                  </a:cubicBezTo>
                  <a:cubicBezTo>
                    <a:pt x="225" y="0"/>
                    <a:pt x="184" y="24"/>
                    <a:pt x="161" y="59"/>
                  </a:cubicBezTo>
                  <a:cubicBezTo>
                    <a:pt x="150" y="53"/>
                    <a:pt x="138" y="50"/>
                    <a:pt x="125" y="50"/>
                  </a:cubicBezTo>
                  <a:cubicBezTo>
                    <a:pt x="109" y="50"/>
                    <a:pt x="94" y="54"/>
                    <a:pt x="82" y="62"/>
                  </a:cubicBezTo>
                  <a:cubicBezTo>
                    <a:pt x="62" y="76"/>
                    <a:pt x="48" y="99"/>
                    <a:pt x="48" y="124"/>
                  </a:cubicBezTo>
                  <a:cubicBezTo>
                    <a:pt x="20" y="143"/>
                    <a:pt x="0" y="175"/>
                    <a:pt x="0" y="211"/>
                  </a:cubicBezTo>
                  <a:cubicBezTo>
                    <a:pt x="0" y="265"/>
                    <a:pt x="41" y="309"/>
                    <a:pt x="93" y="315"/>
                  </a:cubicBezTo>
                  <a:cubicBezTo>
                    <a:pt x="96" y="315"/>
                    <a:pt x="101" y="315"/>
                    <a:pt x="104" y="315"/>
                  </a:cubicBezTo>
                  <a:cubicBezTo>
                    <a:pt x="108" y="315"/>
                    <a:pt x="111" y="315"/>
                    <a:pt x="115" y="315"/>
                  </a:cubicBezTo>
                  <a:cubicBezTo>
                    <a:pt x="163" y="315"/>
                    <a:pt x="277" y="315"/>
                    <a:pt x="330" y="315"/>
                  </a:cubicBezTo>
                  <a:cubicBezTo>
                    <a:pt x="332" y="315"/>
                    <a:pt x="333" y="315"/>
                    <a:pt x="335" y="315"/>
                  </a:cubicBezTo>
                  <a:cubicBezTo>
                    <a:pt x="340" y="315"/>
                    <a:pt x="340" y="315"/>
                    <a:pt x="340" y="315"/>
                  </a:cubicBezTo>
                  <a:cubicBezTo>
                    <a:pt x="343" y="315"/>
                    <a:pt x="351" y="315"/>
                    <a:pt x="356" y="315"/>
                  </a:cubicBezTo>
                  <a:cubicBezTo>
                    <a:pt x="390" y="315"/>
                    <a:pt x="390" y="315"/>
                    <a:pt x="390" y="315"/>
                  </a:cubicBezTo>
                  <a:cubicBezTo>
                    <a:pt x="440" y="314"/>
                    <a:pt x="479" y="275"/>
                    <a:pt x="479" y="226"/>
                  </a:cubicBezTo>
                  <a:cubicBezTo>
                    <a:pt x="479" y="182"/>
                    <a:pt x="446" y="145"/>
                    <a:pt x="403" y="138"/>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sp>
          <p:nvSpPr>
            <p:cNvPr id="234" name="Freeform 98"/>
            <p:cNvSpPr>
              <a:spLocks/>
            </p:cNvSpPr>
            <p:nvPr/>
          </p:nvSpPr>
          <p:spPr bwMode="auto">
            <a:xfrm>
              <a:off x="22997766" y="2603000"/>
              <a:ext cx="1871023" cy="3870139"/>
            </a:xfrm>
            <a:custGeom>
              <a:avLst/>
              <a:gdLst>
                <a:gd name="T0" fmla="*/ 493 w 499"/>
                <a:gd name="T1" fmla="*/ 1020 h 1032"/>
                <a:gd name="T2" fmla="*/ 266 w 499"/>
                <a:gd name="T3" fmla="*/ 735 h 1032"/>
                <a:gd name="T4" fmla="*/ 171 w 499"/>
                <a:gd name="T5" fmla="*/ 44 h 1032"/>
                <a:gd name="T6" fmla="*/ 250 w 499"/>
                <a:gd name="T7" fmla="*/ 46 h 1032"/>
                <a:gd name="T8" fmla="*/ 499 w 499"/>
                <a:gd name="T9" fmla="*/ 6 h 1032"/>
                <a:gd name="T10" fmla="*/ 493 w 499"/>
                <a:gd name="T11" fmla="*/ 0 h 1032"/>
                <a:gd name="T12" fmla="*/ 487 w 499"/>
                <a:gd name="T13" fmla="*/ 5 h 1032"/>
                <a:gd name="T14" fmla="*/ 250 w 499"/>
                <a:gd name="T15" fmla="*/ 34 h 1032"/>
                <a:gd name="T16" fmla="*/ 12 w 499"/>
                <a:gd name="T17" fmla="*/ 6 h 1032"/>
                <a:gd name="T18" fmla="*/ 6 w 499"/>
                <a:gd name="T19" fmla="*/ 0 h 1032"/>
                <a:gd name="T20" fmla="*/ 0 w 499"/>
                <a:gd name="T21" fmla="*/ 6 h 1032"/>
                <a:gd name="T22" fmla="*/ 159 w 499"/>
                <a:gd name="T23" fmla="*/ 43 h 1032"/>
                <a:gd name="T24" fmla="*/ 255 w 499"/>
                <a:gd name="T25" fmla="*/ 739 h 1032"/>
                <a:gd name="T26" fmla="*/ 493 w 499"/>
                <a:gd name="T27" fmla="*/ 1032 h 1032"/>
                <a:gd name="T28" fmla="*/ 499 w 499"/>
                <a:gd name="T29" fmla="*/ 1026 h 1032"/>
                <a:gd name="T30" fmla="*/ 493 w 499"/>
                <a:gd name="T31" fmla="*/ 102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9" h="1032">
                  <a:moveTo>
                    <a:pt x="493" y="1020"/>
                  </a:moveTo>
                  <a:cubicBezTo>
                    <a:pt x="408" y="1020"/>
                    <a:pt x="327" y="919"/>
                    <a:pt x="266" y="735"/>
                  </a:cubicBezTo>
                  <a:cubicBezTo>
                    <a:pt x="205" y="551"/>
                    <a:pt x="171" y="305"/>
                    <a:pt x="171" y="44"/>
                  </a:cubicBezTo>
                  <a:cubicBezTo>
                    <a:pt x="212" y="46"/>
                    <a:pt x="246" y="46"/>
                    <a:pt x="250" y="46"/>
                  </a:cubicBezTo>
                  <a:cubicBezTo>
                    <a:pt x="260" y="46"/>
                    <a:pt x="499" y="46"/>
                    <a:pt x="499" y="6"/>
                  </a:cubicBezTo>
                  <a:cubicBezTo>
                    <a:pt x="499" y="2"/>
                    <a:pt x="496" y="0"/>
                    <a:pt x="493" y="0"/>
                  </a:cubicBezTo>
                  <a:cubicBezTo>
                    <a:pt x="490" y="0"/>
                    <a:pt x="487" y="2"/>
                    <a:pt x="487" y="5"/>
                  </a:cubicBezTo>
                  <a:cubicBezTo>
                    <a:pt x="483" y="16"/>
                    <a:pt x="400" y="34"/>
                    <a:pt x="250" y="34"/>
                  </a:cubicBezTo>
                  <a:cubicBezTo>
                    <a:pt x="99" y="34"/>
                    <a:pt x="16" y="16"/>
                    <a:pt x="12" y="6"/>
                  </a:cubicBezTo>
                  <a:cubicBezTo>
                    <a:pt x="12" y="2"/>
                    <a:pt x="10" y="0"/>
                    <a:pt x="6" y="0"/>
                  </a:cubicBezTo>
                  <a:cubicBezTo>
                    <a:pt x="3" y="0"/>
                    <a:pt x="0" y="2"/>
                    <a:pt x="0" y="6"/>
                  </a:cubicBezTo>
                  <a:cubicBezTo>
                    <a:pt x="0" y="30"/>
                    <a:pt x="87" y="40"/>
                    <a:pt x="159" y="43"/>
                  </a:cubicBezTo>
                  <a:cubicBezTo>
                    <a:pt x="159" y="306"/>
                    <a:pt x="193" y="553"/>
                    <a:pt x="255" y="739"/>
                  </a:cubicBezTo>
                  <a:cubicBezTo>
                    <a:pt x="318" y="928"/>
                    <a:pt x="402" y="1032"/>
                    <a:pt x="493" y="1032"/>
                  </a:cubicBezTo>
                  <a:cubicBezTo>
                    <a:pt x="496" y="1032"/>
                    <a:pt x="499" y="1029"/>
                    <a:pt x="499" y="1026"/>
                  </a:cubicBezTo>
                  <a:cubicBezTo>
                    <a:pt x="499" y="1022"/>
                    <a:pt x="496" y="1020"/>
                    <a:pt x="493" y="102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lIns="89630" tIns="44814" rIns="89630" bIns="44814"/>
            <a:lstStyle/>
            <a:p>
              <a:pPr defTabSz="913774">
                <a:defRPr/>
              </a:pPr>
              <a:endParaRPr lang="en-US" sz="1836">
                <a:solidFill>
                  <a:srgbClr val="000000"/>
                </a:solidFill>
                <a:ea typeface="ＭＳ Ｐゴシック" charset="0"/>
              </a:endParaRPr>
            </a:p>
          </p:txBody>
        </p:sp>
      </p:grpSp>
    </p:spTree>
    <p:extLst>
      <p:ext uri="{BB962C8B-B14F-4D97-AF65-F5344CB8AC3E}">
        <p14:creationId xmlns:p14="http://schemas.microsoft.com/office/powerpoint/2010/main" val="2218568719"/>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106"/>
                                        </p:tgtEl>
                                        <p:attrNameLst>
                                          <p:attrName>style.visibility</p:attrName>
                                        </p:attrNameLst>
                                      </p:cBhvr>
                                      <p:to>
                                        <p:strVal val="visible"/>
                                      </p:to>
                                    </p:set>
                                    <p:anim calcmode="lin" valueType="num">
                                      <p:cBhvr additive="base">
                                        <p:cTn id="7" dur="750" fill="hold"/>
                                        <p:tgtEl>
                                          <p:spTgt spid="106"/>
                                        </p:tgtEl>
                                        <p:attrNameLst>
                                          <p:attrName>ppt_x</p:attrName>
                                        </p:attrNameLst>
                                      </p:cBhvr>
                                      <p:tavLst>
                                        <p:tav tm="0">
                                          <p:val>
                                            <p:strVal val="#ppt_x"/>
                                          </p:val>
                                        </p:tav>
                                        <p:tav tm="100000">
                                          <p:val>
                                            <p:strVal val="#ppt_x"/>
                                          </p:val>
                                        </p:tav>
                                      </p:tavLst>
                                    </p:anim>
                                    <p:anim calcmode="lin" valueType="num">
                                      <p:cBhvr additive="base">
                                        <p:cTn id="8" dur="750" fill="hold"/>
                                        <p:tgtEl>
                                          <p:spTgt spid="106"/>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250"/>
                                  </p:stCondLst>
                                  <p:childTnLst>
                                    <p:set>
                                      <p:cBhvr>
                                        <p:cTn id="10" dur="1" fill="hold">
                                          <p:stCondLst>
                                            <p:cond delay="0"/>
                                          </p:stCondLst>
                                        </p:cTn>
                                        <p:tgtEl>
                                          <p:spTgt spid="113"/>
                                        </p:tgtEl>
                                        <p:attrNameLst>
                                          <p:attrName>style.visibility</p:attrName>
                                        </p:attrNameLst>
                                      </p:cBhvr>
                                      <p:to>
                                        <p:strVal val="visible"/>
                                      </p:to>
                                    </p:set>
                                    <p:anim calcmode="lin" valueType="num">
                                      <p:cBhvr additive="base">
                                        <p:cTn id="11" dur="750" fill="hold"/>
                                        <p:tgtEl>
                                          <p:spTgt spid="113"/>
                                        </p:tgtEl>
                                        <p:attrNameLst>
                                          <p:attrName>ppt_x</p:attrName>
                                        </p:attrNameLst>
                                      </p:cBhvr>
                                      <p:tavLst>
                                        <p:tav tm="0">
                                          <p:val>
                                            <p:strVal val="#ppt_x"/>
                                          </p:val>
                                        </p:tav>
                                        <p:tav tm="100000">
                                          <p:val>
                                            <p:strVal val="#ppt_x"/>
                                          </p:val>
                                        </p:tav>
                                      </p:tavLst>
                                    </p:anim>
                                    <p:anim calcmode="lin" valueType="num">
                                      <p:cBhvr additive="base">
                                        <p:cTn id="12" dur="750" fill="hold"/>
                                        <p:tgtEl>
                                          <p:spTgt spid="113"/>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250"/>
                                  </p:stCondLst>
                                  <p:childTnLst>
                                    <p:set>
                                      <p:cBhvr>
                                        <p:cTn id="14" dur="1" fill="hold">
                                          <p:stCondLst>
                                            <p:cond delay="0"/>
                                          </p:stCondLst>
                                        </p:cTn>
                                        <p:tgtEl>
                                          <p:spTgt spid="114"/>
                                        </p:tgtEl>
                                        <p:attrNameLst>
                                          <p:attrName>style.visibility</p:attrName>
                                        </p:attrNameLst>
                                      </p:cBhvr>
                                      <p:to>
                                        <p:strVal val="visible"/>
                                      </p:to>
                                    </p:set>
                                    <p:anim calcmode="lin" valueType="num">
                                      <p:cBhvr additive="base">
                                        <p:cTn id="15" dur="750" fill="hold"/>
                                        <p:tgtEl>
                                          <p:spTgt spid="114"/>
                                        </p:tgtEl>
                                        <p:attrNameLst>
                                          <p:attrName>ppt_x</p:attrName>
                                        </p:attrNameLst>
                                      </p:cBhvr>
                                      <p:tavLst>
                                        <p:tav tm="0">
                                          <p:val>
                                            <p:strVal val="#ppt_x"/>
                                          </p:val>
                                        </p:tav>
                                        <p:tav tm="100000">
                                          <p:val>
                                            <p:strVal val="#ppt_x"/>
                                          </p:val>
                                        </p:tav>
                                      </p:tavLst>
                                    </p:anim>
                                    <p:anim calcmode="lin" valueType="num">
                                      <p:cBhvr additive="base">
                                        <p:cTn id="16" dur="750" fill="hold"/>
                                        <p:tgtEl>
                                          <p:spTgt spid="1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P spid="113" grpId="0"/>
      <p:bldP spid="114" grpId="0"/>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4152" y="3504"/>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4152" y="3504"/>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TDC: Conversation Map</a:t>
            </a:r>
            <a:endParaRPr lang="en-US" dirty="0"/>
          </a:p>
        </p:txBody>
      </p:sp>
      <p:sp>
        <p:nvSpPr>
          <p:cNvPr id="27" name="TextBox 26"/>
          <p:cNvSpPr txBox="1"/>
          <p:nvPr/>
        </p:nvSpPr>
        <p:spPr>
          <a:xfrm>
            <a:off x="120488" y="1238227"/>
            <a:ext cx="1184382" cy="271613"/>
          </a:xfrm>
          <a:prstGeom prst="rect">
            <a:avLst/>
          </a:prstGeom>
          <a:noFill/>
        </p:spPr>
        <p:txBody>
          <a:bodyPr wrap="square" lIns="0" tIns="0" rIns="0" bIns="0" rtlCol="0">
            <a:spAutoFit/>
          </a:bodyPr>
          <a:lstStyle/>
          <a:p>
            <a:pPr defTabSz="913841"/>
            <a:r>
              <a:rPr lang="en-US" sz="1765" dirty="0">
                <a:gradFill>
                  <a:gsLst>
                    <a:gs pos="0">
                      <a:srgbClr val="FFFFFF"/>
                    </a:gs>
                    <a:gs pos="100000">
                      <a:srgbClr val="FFFFFF"/>
                    </a:gs>
                  </a:gsLst>
                  <a:lin ang="5400000" scaled="1"/>
                </a:gradFill>
                <a:cs typeface="Segoe UI" panose="020B0502040204020203" pitchFamily="34" charset="0"/>
              </a:rPr>
              <a:t>Intro </a:t>
            </a:r>
          </a:p>
        </p:txBody>
      </p:sp>
      <p:sp>
        <p:nvSpPr>
          <p:cNvPr id="5" name="Rectangle 4"/>
          <p:cNvSpPr/>
          <p:nvPr/>
        </p:nvSpPr>
        <p:spPr>
          <a:xfrm>
            <a:off x="1339442" y="2257394"/>
            <a:ext cx="3495066" cy="54307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2" fontAlgn="base">
              <a:spcBef>
                <a:spcPct val="0"/>
              </a:spcBef>
              <a:spcAft>
                <a:spcPct val="0"/>
              </a:spcAft>
              <a:defRPr/>
            </a:pPr>
            <a:r>
              <a:rPr lang="en-US" sz="1765" kern="0" spc="-50" dirty="0">
                <a:gradFill>
                  <a:gsLst>
                    <a:gs pos="0">
                      <a:srgbClr val="FFFFFF"/>
                    </a:gs>
                    <a:gs pos="100000">
                      <a:srgbClr val="FFFFFF"/>
                    </a:gs>
                  </a:gsLst>
                  <a:lin ang="5400000" scaled="0"/>
                </a:gradFill>
                <a:ea typeface="Segoe UI" pitchFamily="34" charset="0"/>
                <a:cs typeface="Segoe UI" pitchFamily="34" charset="0"/>
              </a:rPr>
              <a:t>Software-defined datacenter </a:t>
            </a:r>
            <a:endParaRPr lang="en-US" sz="137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a:xfrm>
            <a:off x="4935898" y="2257396"/>
            <a:ext cx="3495066" cy="53261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2" fontAlgn="base">
              <a:spcBef>
                <a:spcPct val="0"/>
              </a:spcBef>
              <a:spcAft>
                <a:spcPct val="0"/>
              </a:spcAft>
              <a:defRPr/>
            </a:pPr>
            <a:r>
              <a:rPr lang="en-US" sz="1765" kern="0" spc="-50" dirty="0">
                <a:gradFill>
                  <a:gsLst>
                    <a:gs pos="0">
                      <a:srgbClr val="FFFFFF"/>
                    </a:gs>
                    <a:gs pos="100000">
                      <a:srgbClr val="FFFFFF"/>
                    </a:gs>
                  </a:gsLst>
                  <a:lin ang="5400000" scaled="0"/>
                </a:gradFill>
                <a:ea typeface="Segoe UI" pitchFamily="34" charset="0"/>
                <a:cs typeface="Segoe UI" pitchFamily="34" charset="0"/>
              </a:rPr>
              <a:t>Management and automation</a:t>
            </a:r>
            <a:endParaRPr lang="en-US" sz="137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a:xfrm>
            <a:off x="8534571" y="2257395"/>
            <a:ext cx="3495066" cy="54307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26885" rIns="17924" rtlCol="0" anchor="ctr"/>
          <a:lstStyle/>
          <a:p>
            <a:pPr algn="ctr" defTabSz="913732" fontAlgn="base">
              <a:spcBef>
                <a:spcPct val="0"/>
              </a:spcBef>
              <a:spcAft>
                <a:spcPct val="0"/>
              </a:spcAft>
              <a:defRPr/>
            </a:pPr>
            <a:r>
              <a:rPr lang="en-US" sz="1765" kern="100" spc="-98" dirty="0">
                <a:gradFill>
                  <a:gsLst>
                    <a:gs pos="0">
                      <a:srgbClr val="FFFFFF"/>
                    </a:gs>
                    <a:gs pos="100000">
                      <a:srgbClr val="FFFFFF"/>
                    </a:gs>
                  </a:gsLst>
                  <a:lin ang="5400000" scaled="0"/>
                </a:gradFill>
                <a:ea typeface="Segoe UI" pitchFamily="34" charset="0"/>
                <a:cs typeface="Segoe UI" pitchFamily="34" charset="0"/>
              </a:rPr>
              <a:t>Hybrid cloud</a:t>
            </a:r>
            <a:endParaRPr lang="en-US" sz="1370" kern="100" spc="-98" dirty="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82304" y="2257394"/>
            <a:ext cx="1184382" cy="543226"/>
          </a:xfrm>
          <a:prstGeom prst="rect">
            <a:avLst/>
          </a:prstGeom>
          <a:noFill/>
        </p:spPr>
        <p:txBody>
          <a:bodyPr wrap="square" lIns="0" tIns="0" rIns="0" bIns="0" rtlCol="0">
            <a:spAutoFit/>
          </a:bodyPr>
          <a:lstStyle/>
          <a:p>
            <a:pPr defTabSz="913841"/>
            <a:r>
              <a:rPr lang="en-US" sz="1765" dirty="0">
                <a:gradFill>
                  <a:gsLst>
                    <a:gs pos="0">
                      <a:srgbClr val="FFFFFF"/>
                    </a:gs>
                    <a:gs pos="100000">
                      <a:srgbClr val="FFFFFF"/>
                    </a:gs>
                  </a:gsLst>
                  <a:lin ang="5400000" scaled="1"/>
                </a:gradFill>
                <a:cs typeface="Segoe UI" panose="020B0502040204020203" pitchFamily="34" charset="0"/>
              </a:rPr>
              <a:t>Pillar Theme</a:t>
            </a:r>
          </a:p>
        </p:txBody>
      </p:sp>
      <p:sp>
        <p:nvSpPr>
          <p:cNvPr id="44" name="TextBox 43"/>
          <p:cNvSpPr txBox="1"/>
          <p:nvPr/>
        </p:nvSpPr>
        <p:spPr>
          <a:xfrm>
            <a:off x="82304" y="3054466"/>
            <a:ext cx="1184382" cy="271613"/>
          </a:xfrm>
          <a:prstGeom prst="rect">
            <a:avLst/>
          </a:prstGeom>
          <a:noFill/>
        </p:spPr>
        <p:txBody>
          <a:bodyPr wrap="square" lIns="0" tIns="0" rIns="0" bIns="0" rtlCol="0">
            <a:spAutoFit/>
          </a:bodyPr>
          <a:lstStyle/>
          <a:p>
            <a:pPr defTabSz="913841"/>
            <a:r>
              <a:rPr lang="en-US" sz="1765" dirty="0">
                <a:gradFill>
                  <a:gsLst>
                    <a:gs pos="0">
                      <a:srgbClr val="FFFFFF"/>
                    </a:gs>
                    <a:gs pos="100000">
                      <a:srgbClr val="FFFFFF"/>
                    </a:gs>
                  </a:gsLst>
                  <a:lin ang="5400000" scaled="1"/>
                </a:gradFill>
                <a:cs typeface="Segoe UI" panose="020B0502040204020203" pitchFamily="34" charset="0"/>
              </a:rPr>
              <a:t>Chapters</a:t>
            </a:r>
          </a:p>
        </p:txBody>
      </p:sp>
      <p:sp>
        <p:nvSpPr>
          <p:cNvPr id="49" name="TextBox 48"/>
          <p:cNvSpPr txBox="1"/>
          <p:nvPr/>
        </p:nvSpPr>
        <p:spPr>
          <a:xfrm>
            <a:off x="105263" y="6169206"/>
            <a:ext cx="1041362" cy="271613"/>
          </a:xfrm>
          <a:prstGeom prst="rect">
            <a:avLst/>
          </a:prstGeom>
          <a:noFill/>
        </p:spPr>
        <p:txBody>
          <a:bodyPr wrap="square" lIns="0" tIns="0" rIns="0" bIns="0" rtlCol="0">
            <a:spAutoFit/>
          </a:bodyPr>
          <a:lstStyle/>
          <a:p>
            <a:pPr defTabSz="913841"/>
            <a:r>
              <a:rPr lang="en-US" sz="1765" dirty="0">
                <a:gradFill>
                  <a:gsLst>
                    <a:gs pos="0">
                      <a:srgbClr val="FFFFFF"/>
                    </a:gs>
                    <a:gs pos="100000">
                      <a:srgbClr val="FFFFFF"/>
                    </a:gs>
                  </a:gsLst>
                  <a:lin ang="5400000" scaled="1"/>
                </a:gradFill>
                <a:cs typeface="Segoe UI" panose="020B0502040204020203" pitchFamily="34" charset="0"/>
              </a:rPr>
              <a:t>Benefits</a:t>
            </a:r>
          </a:p>
        </p:txBody>
      </p:sp>
      <p:sp>
        <p:nvSpPr>
          <p:cNvPr id="50" name="Rectangle 49"/>
          <p:cNvSpPr/>
          <p:nvPr/>
        </p:nvSpPr>
        <p:spPr bwMode="auto">
          <a:xfrm>
            <a:off x="1339442" y="3301285"/>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Compute (TPM)</a:t>
            </a:r>
          </a:p>
        </p:txBody>
      </p:sp>
      <p:sp>
        <p:nvSpPr>
          <p:cNvPr id="54" name="Rectangle 53"/>
          <p:cNvSpPr/>
          <p:nvPr/>
        </p:nvSpPr>
        <p:spPr bwMode="auto">
          <a:xfrm>
            <a:off x="4935898" y="3301285"/>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Provisioning</a:t>
            </a:r>
          </a:p>
        </p:txBody>
      </p:sp>
      <p:sp>
        <p:nvSpPr>
          <p:cNvPr id="55" name="Rectangle 54"/>
          <p:cNvSpPr/>
          <p:nvPr/>
        </p:nvSpPr>
        <p:spPr bwMode="auto">
          <a:xfrm>
            <a:off x="4935898" y="3727785"/>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Management &amp; Monitoring</a:t>
            </a:r>
          </a:p>
        </p:txBody>
      </p:sp>
      <p:sp>
        <p:nvSpPr>
          <p:cNvPr id="56" name="Rectangle 55"/>
          <p:cNvSpPr/>
          <p:nvPr/>
        </p:nvSpPr>
        <p:spPr bwMode="auto">
          <a:xfrm>
            <a:off x="4935898" y="4157536"/>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Service Delivery (WAP)</a:t>
            </a:r>
          </a:p>
        </p:txBody>
      </p:sp>
      <p:sp>
        <p:nvSpPr>
          <p:cNvPr id="57" name="Rectangle 56"/>
          <p:cNvSpPr/>
          <p:nvPr/>
        </p:nvSpPr>
        <p:spPr bwMode="auto">
          <a:xfrm>
            <a:off x="4935898" y="4586459"/>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DevOps </a:t>
            </a:r>
          </a:p>
        </p:txBody>
      </p:sp>
      <p:sp>
        <p:nvSpPr>
          <p:cNvPr id="60" name="Rectangle 59"/>
          <p:cNvSpPr/>
          <p:nvPr/>
        </p:nvSpPr>
        <p:spPr bwMode="auto">
          <a:xfrm>
            <a:off x="8534571" y="3727785"/>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 </a:t>
            </a:r>
            <a:r>
              <a:rPr lang="en-US" sz="1567" spc="-5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rPr>
              <a:t>IaaS</a:t>
            </a:r>
            <a:endPar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61" name="Rectangle 60"/>
          <p:cNvSpPr/>
          <p:nvPr/>
        </p:nvSpPr>
        <p:spPr bwMode="auto">
          <a:xfrm>
            <a:off x="8534571" y="5437436"/>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Business Continuity (Site recovery)</a:t>
            </a:r>
          </a:p>
        </p:txBody>
      </p:sp>
      <p:sp>
        <p:nvSpPr>
          <p:cNvPr id="66" name="Rectangle 65"/>
          <p:cNvSpPr/>
          <p:nvPr/>
        </p:nvSpPr>
        <p:spPr bwMode="auto">
          <a:xfrm>
            <a:off x="1338118" y="1241783"/>
            <a:ext cx="10683385" cy="351362"/>
          </a:xfrm>
          <a:prstGeom prst="rect">
            <a:avLst/>
          </a:prstGeom>
          <a:solidFill>
            <a:srgbClr val="FFFFFF">
              <a:lumMod val="90000"/>
            </a:srgbClr>
          </a:solidFill>
          <a:ln w="9525" cap="flat" cmpd="sng" algn="ctr">
            <a:noFill/>
            <a:prstDash val="solid"/>
            <a:headEnd type="none" w="med" len="med"/>
            <a:tailEnd type="none" w="med" len="med"/>
          </a:ln>
          <a:effectLst/>
        </p:spPr>
        <p:txBody>
          <a:bodyPr rot="0" spcFirstLastPara="0" vertOverflow="overflow" horzOverflow="overflow" vert="horz" wrap="square" lIns="93239" tIns="46616" rIns="46616" bIns="93239" numCol="1" spcCol="0" rtlCol="0" fromWordArt="0" anchor="ctr" anchorCtr="0" forceAA="0" compatLnSpc="1">
            <a:prstTxWarp prst="textNoShape">
              <a:avLst/>
            </a:prstTxWarp>
            <a:noAutofit/>
          </a:bodyPr>
          <a:lstStyle/>
          <a:p>
            <a:pPr defTabSz="932094" fontAlgn="base">
              <a:spcBef>
                <a:spcPct val="0"/>
              </a:spcBef>
              <a:spcAft>
                <a:spcPct val="0"/>
              </a:spcAft>
            </a:pPr>
            <a:r>
              <a:rPr lang="en-US" sz="1400" kern="0" spc="-51" dirty="0">
                <a:gradFill>
                  <a:gsLst>
                    <a:gs pos="0">
                      <a:srgbClr val="505050"/>
                    </a:gs>
                    <a:gs pos="100000">
                      <a:srgbClr val="505050"/>
                    </a:gs>
                  </a:gsLst>
                  <a:lin ang="5400000" scaled="0"/>
                </a:gradFill>
                <a:ea typeface="Segoe UI" panose="020B0502040204020203" pitchFamily="34" charset="0"/>
                <a:cs typeface="Segoe UI" panose="020B0502040204020203" pitchFamily="34" charset="0"/>
              </a:rPr>
              <a:t>The Cloud is here.  What does the cloud mean for IT and for my </a:t>
            </a:r>
            <a:r>
              <a:rPr lang="en-US" sz="1400" kern="0" spc="-51">
                <a:gradFill>
                  <a:gsLst>
                    <a:gs pos="0">
                      <a:srgbClr val="505050"/>
                    </a:gs>
                    <a:gs pos="100000">
                      <a:srgbClr val="505050"/>
                    </a:gs>
                  </a:gsLst>
                  <a:lin ang="5400000" scaled="0"/>
                </a:gradFill>
                <a:ea typeface="Segoe UI" panose="020B0502040204020203" pitchFamily="34" charset="0"/>
                <a:cs typeface="Segoe UI" panose="020B0502040204020203" pitchFamily="34" charset="0"/>
              </a:rPr>
              <a:t>infrastructure strategy?</a:t>
            </a:r>
            <a:endParaRPr lang="en-US" sz="1400" kern="0" spc="-51" dirty="0">
              <a:gradFill>
                <a:gsLst>
                  <a:gs pos="0">
                    <a:srgbClr val="505050"/>
                  </a:gs>
                  <a:gs pos="100000">
                    <a:srgbClr val="505050"/>
                  </a:gs>
                </a:gsLst>
                <a:lin ang="5400000" scaled="0"/>
              </a:gradFill>
              <a:ea typeface="Segoe UI" panose="020B0502040204020203" pitchFamily="34" charset="0"/>
              <a:cs typeface="Segoe UI" panose="020B0502040204020203" pitchFamily="34" charset="0"/>
            </a:endParaRPr>
          </a:p>
        </p:txBody>
      </p:sp>
      <p:cxnSp>
        <p:nvCxnSpPr>
          <p:cNvPr id="8" name="Straight Connector 7"/>
          <p:cNvCxnSpPr/>
          <p:nvPr/>
        </p:nvCxnSpPr>
        <p:spPr>
          <a:xfrm>
            <a:off x="4883061" y="1386040"/>
            <a:ext cx="0" cy="5287405"/>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477883" y="1386040"/>
            <a:ext cx="0" cy="5287405"/>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auto">
          <a:xfrm>
            <a:off x="8534571" y="5011696"/>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Storage (</a:t>
            </a:r>
            <a:r>
              <a:rPr lang="en-US" sz="1567" spc="-5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rPr>
              <a:t>StorSimple</a:t>
            </a: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a:t>
            </a:r>
          </a:p>
        </p:txBody>
      </p:sp>
      <p:sp>
        <p:nvSpPr>
          <p:cNvPr id="59" name="Rectangle 58"/>
          <p:cNvSpPr/>
          <p:nvPr/>
        </p:nvSpPr>
        <p:spPr bwMode="auto">
          <a:xfrm>
            <a:off x="8534571" y="4586459"/>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Networking (Express Route)</a:t>
            </a:r>
          </a:p>
        </p:txBody>
      </p:sp>
      <p:sp>
        <p:nvSpPr>
          <p:cNvPr id="51" name="Rectangle 50"/>
          <p:cNvSpPr/>
          <p:nvPr/>
        </p:nvSpPr>
        <p:spPr bwMode="auto">
          <a:xfrm>
            <a:off x="1331206" y="3727785"/>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Networking</a:t>
            </a:r>
          </a:p>
        </p:txBody>
      </p:sp>
      <p:sp>
        <p:nvSpPr>
          <p:cNvPr id="52" name="Rectangle 51"/>
          <p:cNvSpPr/>
          <p:nvPr/>
        </p:nvSpPr>
        <p:spPr bwMode="auto">
          <a:xfrm>
            <a:off x="1331205" y="4157536"/>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Storage (Storage Spaces)</a:t>
            </a:r>
          </a:p>
        </p:txBody>
      </p:sp>
      <p:sp>
        <p:nvSpPr>
          <p:cNvPr id="34" name="Rectangle 33"/>
          <p:cNvSpPr/>
          <p:nvPr/>
        </p:nvSpPr>
        <p:spPr>
          <a:xfrm>
            <a:off x="1339442" y="1637415"/>
            <a:ext cx="3495066" cy="5430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2" fontAlgn="base">
              <a:spcBef>
                <a:spcPct val="0"/>
              </a:spcBef>
              <a:spcAft>
                <a:spcPct val="0"/>
              </a:spcAft>
              <a:defRPr/>
            </a:pPr>
            <a:r>
              <a:rPr lang="en-US" sz="1765" kern="0" spc="-50" dirty="0">
                <a:gradFill>
                  <a:gsLst>
                    <a:gs pos="0">
                      <a:srgbClr val="FFFFFF"/>
                    </a:gs>
                    <a:gs pos="100000">
                      <a:srgbClr val="FFFFFF"/>
                    </a:gs>
                  </a:gsLst>
                  <a:lin ang="5400000" scaled="0"/>
                </a:gradFill>
                <a:ea typeface="Segoe UI" pitchFamily="34" charset="0"/>
                <a:cs typeface="Segoe UI" pitchFamily="34" charset="0"/>
              </a:rPr>
              <a:t>Build a software-defined foundation</a:t>
            </a:r>
            <a:endParaRPr lang="en-US" sz="137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a:xfrm>
            <a:off x="4935898" y="1637605"/>
            <a:ext cx="3495066" cy="5430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2" fontAlgn="base">
              <a:spcBef>
                <a:spcPct val="0"/>
              </a:spcBef>
              <a:spcAft>
                <a:spcPct val="0"/>
              </a:spcAft>
              <a:defRPr/>
            </a:pPr>
            <a:r>
              <a:rPr lang="en-US" sz="1765" kern="0" spc="-50" dirty="0">
                <a:gradFill>
                  <a:gsLst>
                    <a:gs pos="0">
                      <a:srgbClr val="FFFFFF"/>
                    </a:gs>
                    <a:gs pos="100000">
                      <a:srgbClr val="FFFFFF"/>
                    </a:gs>
                  </a:gsLst>
                  <a:lin ang="5400000" scaled="0"/>
                </a:gradFill>
                <a:ea typeface="Segoe UI" pitchFamily="34" charset="0"/>
                <a:cs typeface="Segoe UI" pitchFamily="34" charset="0"/>
              </a:rPr>
              <a:t>Automate and secure your infrastructure</a:t>
            </a:r>
            <a:endParaRPr lang="en-US" sz="137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a:xfrm>
            <a:off x="8534571" y="1653867"/>
            <a:ext cx="3495066" cy="5430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2" fontAlgn="base">
              <a:spcBef>
                <a:spcPct val="0"/>
              </a:spcBef>
              <a:spcAft>
                <a:spcPct val="0"/>
              </a:spcAft>
              <a:defRPr/>
            </a:pPr>
            <a:r>
              <a:rPr lang="en-US" sz="1765" kern="0" spc="-50" dirty="0">
                <a:gradFill>
                  <a:gsLst>
                    <a:gs pos="0">
                      <a:srgbClr val="FFFFFF"/>
                    </a:gs>
                    <a:gs pos="100000">
                      <a:srgbClr val="FFFFFF"/>
                    </a:gs>
                  </a:gsLst>
                  <a:lin ang="5400000" scaled="0"/>
                </a:gradFill>
                <a:ea typeface="Segoe UI" pitchFamily="34" charset="0"/>
                <a:cs typeface="Segoe UI" pitchFamily="34" charset="0"/>
              </a:rPr>
              <a:t>Extend to the cloud on demand</a:t>
            </a:r>
            <a:endParaRPr lang="en-US" sz="137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82304" y="1654777"/>
            <a:ext cx="1184382" cy="271613"/>
          </a:xfrm>
          <a:prstGeom prst="rect">
            <a:avLst/>
          </a:prstGeom>
          <a:noFill/>
        </p:spPr>
        <p:txBody>
          <a:bodyPr wrap="square" lIns="0" tIns="0" rIns="0" bIns="0" rtlCol="0">
            <a:spAutoFit/>
          </a:bodyPr>
          <a:lstStyle/>
          <a:p>
            <a:pPr defTabSz="913841"/>
            <a:r>
              <a:rPr lang="en-US" sz="1765" dirty="0">
                <a:gradFill>
                  <a:gsLst>
                    <a:gs pos="0">
                      <a:srgbClr val="FFFFFF"/>
                    </a:gs>
                    <a:gs pos="100000">
                      <a:srgbClr val="FFFFFF"/>
                    </a:gs>
                  </a:gsLst>
                  <a:lin ang="5400000" scaled="1"/>
                </a:gradFill>
                <a:cs typeface="Segoe UI" panose="020B0502040204020203" pitchFamily="34" charset="0"/>
              </a:rPr>
              <a:t>Pillar Name</a:t>
            </a:r>
          </a:p>
        </p:txBody>
      </p:sp>
      <p:sp>
        <p:nvSpPr>
          <p:cNvPr id="38" name="Rectangle 37"/>
          <p:cNvSpPr/>
          <p:nvPr/>
        </p:nvSpPr>
        <p:spPr>
          <a:xfrm>
            <a:off x="1331207" y="5897668"/>
            <a:ext cx="3495066" cy="54307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2" fontAlgn="base">
              <a:spcBef>
                <a:spcPct val="0"/>
              </a:spcBef>
              <a:spcAft>
                <a:spcPct val="0"/>
              </a:spcAft>
              <a:defRPr/>
            </a:pPr>
            <a:r>
              <a:rPr lang="en-US" sz="1765" kern="0" spc="-50" dirty="0">
                <a:gradFill>
                  <a:gsLst>
                    <a:gs pos="0">
                      <a:srgbClr val="FFFFFF"/>
                    </a:gs>
                    <a:gs pos="100000">
                      <a:srgbClr val="FFFFFF"/>
                    </a:gs>
                  </a:gsLst>
                  <a:lin ang="5400000" scaled="0"/>
                </a:gradFill>
                <a:ea typeface="Segoe UI" pitchFamily="34" charset="0"/>
                <a:cs typeface="Segoe UI" pitchFamily="34" charset="0"/>
              </a:rPr>
              <a:t>Reduced cost and complexity</a:t>
            </a:r>
            <a:endParaRPr lang="en-US" sz="137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a:xfrm>
            <a:off x="8534571" y="5883515"/>
            <a:ext cx="3495066" cy="54307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2" fontAlgn="base">
              <a:spcBef>
                <a:spcPct val="0"/>
              </a:spcBef>
              <a:spcAft>
                <a:spcPct val="0"/>
              </a:spcAft>
              <a:defRPr/>
            </a:pPr>
            <a:r>
              <a:rPr lang="en-US" sz="1765" kern="0" spc="-50" dirty="0">
                <a:gradFill>
                  <a:gsLst>
                    <a:gs pos="0">
                      <a:srgbClr val="FFFFFF"/>
                    </a:gs>
                    <a:gs pos="100000">
                      <a:srgbClr val="FFFFFF"/>
                    </a:gs>
                  </a:gsLst>
                  <a:lin ang="5400000" scaled="0"/>
                </a:gradFill>
                <a:ea typeface="Segoe UI" pitchFamily="34" charset="0"/>
                <a:cs typeface="Segoe UI" pitchFamily="34" charset="0"/>
              </a:rPr>
              <a:t>Cloud options on demand</a:t>
            </a:r>
            <a:endParaRPr lang="en-US" sz="137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a:xfrm>
            <a:off x="4935898" y="5897668"/>
            <a:ext cx="3495066" cy="54307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2" fontAlgn="base">
              <a:spcBef>
                <a:spcPct val="0"/>
              </a:spcBef>
              <a:spcAft>
                <a:spcPct val="0"/>
              </a:spcAft>
              <a:defRPr/>
            </a:pPr>
            <a:r>
              <a:rPr lang="en-US" sz="1765" kern="0" spc="-50" dirty="0">
                <a:gradFill>
                  <a:gsLst>
                    <a:gs pos="0">
                      <a:srgbClr val="FFFFFF"/>
                    </a:gs>
                    <a:gs pos="100000">
                      <a:srgbClr val="FFFFFF"/>
                    </a:gs>
                  </a:gsLst>
                  <a:lin ang="5400000" scaled="0"/>
                </a:gradFill>
                <a:ea typeface="Segoe UI" pitchFamily="34" charset="0"/>
                <a:cs typeface="Segoe UI" pitchFamily="34" charset="0"/>
              </a:rPr>
              <a:t>Rapid response to the business</a:t>
            </a:r>
            <a:endParaRPr lang="en-US" sz="137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1331207" y="2873967"/>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What is the software-defined DC?</a:t>
            </a:r>
          </a:p>
        </p:txBody>
      </p:sp>
      <p:sp>
        <p:nvSpPr>
          <p:cNvPr id="46" name="Rectangle 45"/>
          <p:cNvSpPr/>
          <p:nvPr/>
        </p:nvSpPr>
        <p:spPr bwMode="auto">
          <a:xfrm>
            <a:off x="4935898" y="2873967"/>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Why automate?</a:t>
            </a:r>
          </a:p>
        </p:txBody>
      </p:sp>
      <p:sp>
        <p:nvSpPr>
          <p:cNvPr id="63" name="Rectangle 62"/>
          <p:cNvSpPr/>
          <p:nvPr/>
        </p:nvSpPr>
        <p:spPr bwMode="auto">
          <a:xfrm>
            <a:off x="8534571" y="3301285"/>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 Security</a:t>
            </a:r>
          </a:p>
        </p:txBody>
      </p:sp>
      <p:sp>
        <p:nvSpPr>
          <p:cNvPr id="64" name="Rectangle 63"/>
          <p:cNvSpPr/>
          <p:nvPr/>
        </p:nvSpPr>
        <p:spPr bwMode="auto">
          <a:xfrm>
            <a:off x="8534571" y="2873967"/>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 Microsoft Azure basics</a:t>
            </a:r>
          </a:p>
        </p:txBody>
      </p:sp>
      <p:sp>
        <p:nvSpPr>
          <p:cNvPr id="65" name="Rectangle 64"/>
          <p:cNvSpPr/>
          <p:nvPr/>
        </p:nvSpPr>
        <p:spPr bwMode="auto">
          <a:xfrm>
            <a:off x="4935898" y="5011696"/>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 Security</a:t>
            </a:r>
          </a:p>
        </p:txBody>
      </p:sp>
      <p:sp>
        <p:nvSpPr>
          <p:cNvPr id="67" name="Rectangle 66"/>
          <p:cNvSpPr/>
          <p:nvPr/>
        </p:nvSpPr>
        <p:spPr bwMode="auto">
          <a:xfrm>
            <a:off x="8534571" y="4157536"/>
            <a:ext cx="3495066" cy="377534"/>
          </a:xfrm>
          <a:prstGeom prst="rect">
            <a:avLst/>
          </a:prstGeom>
          <a:solidFill>
            <a:srgbClr val="0072C6">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89602" tIns="44801" rIns="44801" bIns="89602" numCol="1" spcCol="0" rtlCol="0" fromWordArt="0" anchor="t" anchorCtr="0" forceAA="0" compatLnSpc="1">
            <a:prstTxWarp prst="textNoShape">
              <a:avLst/>
            </a:prstTxWarp>
            <a:noAutofit/>
          </a:bodyPr>
          <a:lstStyle/>
          <a:p>
            <a:pPr defTabSz="913732" fontAlgn="base">
              <a:spcBef>
                <a:spcPct val="0"/>
              </a:spcBef>
              <a:spcAft>
                <a:spcPct val="0"/>
              </a:spcAft>
              <a:defRPr/>
            </a:pPr>
            <a:r>
              <a:rPr lang="en-US" sz="1567" spc="-5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 Hybrid Identity</a:t>
            </a:r>
          </a:p>
        </p:txBody>
      </p:sp>
    </p:spTree>
    <p:extLst>
      <p:ext uri="{BB962C8B-B14F-4D97-AF65-F5344CB8AC3E}">
        <p14:creationId xmlns:p14="http://schemas.microsoft.com/office/powerpoint/2010/main" val="37952331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a:spLocks noChangeArrowheads="1"/>
          </p:cNvSpPr>
          <p:nvPr/>
        </p:nvSpPr>
        <p:spPr bwMode="white">
          <a:xfrm>
            <a:off x="273355" y="1187677"/>
            <a:ext cx="2688180" cy="5453638"/>
          </a:xfrm>
          <a:prstGeom prst="rect">
            <a:avLst/>
          </a:prstGeom>
          <a:solidFill>
            <a:srgbClr val="333333">
              <a:alpha val="50195"/>
            </a:srgbClr>
          </a:solidFill>
          <a:extLs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wrap="none" lIns="129352" tIns="64668" rIns="129352" bIns="64668" anchor="ctr"/>
          <a:lstStyle/>
          <a:p>
            <a:pPr algn="ctr" defTabSz="1293542" fontAlgn="base">
              <a:spcBef>
                <a:spcPct val="0"/>
              </a:spcBef>
              <a:spcAft>
                <a:spcPct val="0"/>
              </a:spcAft>
            </a:pPr>
            <a:endParaRPr lang="en-US" sz="3333" dirty="0">
              <a:solidFill>
                <a:srgbClr val="FFFFFF"/>
              </a:solidFill>
              <a:cs typeface="Arial" pitchFamily="34" charset="0"/>
            </a:endParaRPr>
          </a:p>
        </p:txBody>
      </p:sp>
      <p:sp>
        <p:nvSpPr>
          <p:cNvPr id="4" name="Line 3"/>
          <p:cNvSpPr>
            <a:spLocks noChangeShapeType="1"/>
          </p:cNvSpPr>
          <p:nvPr/>
        </p:nvSpPr>
        <p:spPr bwMode="white">
          <a:xfrm>
            <a:off x="344746" y="2084377"/>
            <a:ext cx="10308934"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cs typeface="Arial" pitchFamily="34" charset="0"/>
            </a:endParaRPr>
          </a:p>
        </p:txBody>
      </p:sp>
      <p:sp>
        <p:nvSpPr>
          <p:cNvPr id="5" name="Line 7"/>
          <p:cNvSpPr>
            <a:spLocks noChangeShapeType="1"/>
          </p:cNvSpPr>
          <p:nvPr/>
        </p:nvSpPr>
        <p:spPr bwMode="white">
          <a:xfrm>
            <a:off x="344746" y="2553115"/>
            <a:ext cx="10308934"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cs typeface="Arial" pitchFamily="34" charset="0"/>
            </a:endParaRPr>
          </a:p>
        </p:txBody>
      </p:sp>
      <p:sp>
        <p:nvSpPr>
          <p:cNvPr id="6" name="Line 9"/>
          <p:cNvSpPr>
            <a:spLocks noChangeShapeType="1"/>
          </p:cNvSpPr>
          <p:nvPr/>
        </p:nvSpPr>
        <p:spPr bwMode="white">
          <a:xfrm>
            <a:off x="5771446" y="686199"/>
            <a:ext cx="0" cy="5718952"/>
          </a:xfrm>
          <a:prstGeom prst="line">
            <a:avLst/>
          </a:prstGeom>
          <a:noFill/>
          <a:ln w="9525">
            <a:noFill/>
            <a:round/>
            <a:headEnd type="none" w="sm" len="sm"/>
            <a:tailEnd type="none" w="sm" len="sm"/>
          </a:ln>
        </p:spPr>
        <p:txBody>
          <a:bodyPr lIns="130255" tIns="65120" rIns="130255" bIns="65120" anchor="ctr">
            <a:spAutoFit/>
          </a:bodyPr>
          <a:lstStyle/>
          <a:p>
            <a:pPr defTabSz="1293384">
              <a:defRPr/>
            </a:pPr>
            <a:endParaRPr lang="en-US" sz="1667" dirty="0">
              <a:solidFill>
                <a:srgbClr val="FFFFFF"/>
              </a:solidFill>
              <a:effectLst>
                <a:outerShdw blurRad="38100" dist="38100" dir="2700000" algn="tl">
                  <a:srgbClr val="000000">
                    <a:alpha val="43137"/>
                  </a:srgbClr>
                </a:outerShdw>
              </a:effectLst>
              <a:cs typeface="Arial" pitchFamily="34" charset="0"/>
            </a:endParaRPr>
          </a:p>
        </p:txBody>
      </p:sp>
      <p:sp>
        <p:nvSpPr>
          <p:cNvPr id="7" name="Rectangle 14"/>
          <p:cNvSpPr>
            <a:spLocks noChangeArrowheads="1"/>
          </p:cNvSpPr>
          <p:nvPr/>
        </p:nvSpPr>
        <p:spPr bwMode="white">
          <a:xfrm>
            <a:off x="5539621" y="4373787"/>
            <a:ext cx="6809161" cy="327640"/>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30243" tIns="65119" rIns="130243" bIns="65119" anchor="ctr">
            <a:spAutoFit/>
          </a:bodyPr>
          <a:lstStyle/>
          <a:p>
            <a:pPr defTabSz="1293542" fontAlgn="base">
              <a:spcBef>
                <a:spcPct val="0"/>
              </a:spcBef>
              <a:spcAft>
                <a:spcPct val="0"/>
              </a:spcAft>
            </a:pPr>
            <a:endParaRPr lang="en-US" sz="1274" dirty="0">
              <a:solidFill>
                <a:srgbClr val="FFFFFF"/>
              </a:solidFill>
              <a:cs typeface="Arial" pitchFamily="34" charset="0"/>
            </a:endParaRPr>
          </a:p>
        </p:txBody>
      </p:sp>
      <p:sp>
        <p:nvSpPr>
          <p:cNvPr id="9" name="Rectangle 13"/>
          <p:cNvSpPr>
            <a:spLocks noChangeArrowheads="1"/>
          </p:cNvSpPr>
          <p:nvPr/>
        </p:nvSpPr>
        <p:spPr bwMode="white">
          <a:xfrm>
            <a:off x="3080917" y="2124445"/>
            <a:ext cx="8333484" cy="371070"/>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73" tIns="53635" rIns="107273" bIns="53635" anchor="ctr">
            <a:spAutoFit/>
          </a:bodyPr>
          <a:lstStyle/>
          <a:p>
            <a:pPr defTabSz="1293542" eaLnBrk="0" fontAlgn="base" hangingPunct="0">
              <a:lnSpc>
                <a:spcPct val="90000"/>
              </a:lnSpc>
              <a:spcBef>
                <a:spcPct val="30000"/>
              </a:spcBef>
              <a:spcAft>
                <a:spcPct val="0"/>
              </a:spcAft>
              <a:buClr>
                <a:srgbClr val="FFFF99"/>
              </a:buClr>
              <a:buSzPct val="75000"/>
            </a:pPr>
            <a:r>
              <a:rPr lang="en-US" altLang="ja-JP" sz="1863" dirty="0">
                <a:solidFill>
                  <a:srgbClr val="FFFFFF"/>
                </a:solidFill>
                <a:cs typeface="Arial" pitchFamily="34" charset="0"/>
              </a:rPr>
              <a:t>Transform the datacenter</a:t>
            </a:r>
            <a:endParaRPr lang="en-US" altLang="ja-JP" sz="1863" dirty="0">
              <a:solidFill>
                <a:srgbClr val="FFFFFF"/>
              </a:solidFill>
              <a:ea typeface="MS PGothic" pitchFamily="34" charset="-128"/>
              <a:cs typeface="Arial" pitchFamily="34" charset="0"/>
            </a:endParaRPr>
          </a:p>
        </p:txBody>
      </p:sp>
      <p:sp>
        <p:nvSpPr>
          <p:cNvPr id="10" name="Rectangle 20"/>
          <p:cNvSpPr>
            <a:spLocks noChangeArrowheads="1"/>
          </p:cNvSpPr>
          <p:nvPr/>
        </p:nvSpPr>
        <p:spPr bwMode="white">
          <a:xfrm>
            <a:off x="-227559" y="2126832"/>
            <a:ext cx="3207529" cy="36629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Title:</a:t>
            </a:r>
          </a:p>
        </p:txBody>
      </p:sp>
      <p:sp>
        <p:nvSpPr>
          <p:cNvPr id="11" name="Line 25"/>
          <p:cNvSpPr>
            <a:spLocks noChangeShapeType="1"/>
          </p:cNvSpPr>
          <p:nvPr/>
        </p:nvSpPr>
        <p:spPr bwMode="white">
          <a:xfrm>
            <a:off x="344746" y="3490590"/>
            <a:ext cx="10308934"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cs typeface="Arial" pitchFamily="34" charset="0"/>
            </a:endParaRPr>
          </a:p>
        </p:txBody>
      </p:sp>
      <p:sp>
        <p:nvSpPr>
          <p:cNvPr id="13" name="Rectangle 11"/>
          <p:cNvSpPr>
            <a:spLocks noChangeArrowheads="1"/>
          </p:cNvSpPr>
          <p:nvPr/>
        </p:nvSpPr>
        <p:spPr bwMode="white">
          <a:xfrm>
            <a:off x="3080917" y="1254340"/>
            <a:ext cx="8239084" cy="379870"/>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defTabSz="913188" eaLnBrk="0" fontAlgn="base" hangingPunct="0">
              <a:lnSpc>
                <a:spcPct val="90000"/>
              </a:lnSpc>
              <a:spcBef>
                <a:spcPct val="30000"/>
              </a:spcBef>
              <a:spcAft>
                <a:spcPct val="0"/>
              </a:spcAft>
              <a:buClr>
                <a:srgbClr val="FFFF99"/>
              </a:buClr>
              <a:buSzPct val="75000"/>
            </a:pPr>
            <a:r>
              <a:rPr lang="en-US" sz="1961" dirty="0">
                <a:solidFill>
                  <a:srgbClr val="FFFFFF"/>
                </a:solidFill>
                <a:cs typeface="Segoe UI" pitchFamily="34" charset="0"/>
              </a:rPr>
              <a:t>Field Marketer, AM/ATS/Executive EBC presenter</a:t>
            </a:r>
          </a:p>
        </p:txBody>
      </p:sp>
      <p:sp>
        <p:nvSpPr>
          <p:cNvPr id="14" name="Rectangle 19"/>
          <p:cNvSpPr>
            <a:spLocks noChangeArrowheads="1"/>
          </p:cNvSpPr>
          <p:nvPr/>
        </p:nvSpPr>
        <p:spPr bwMode="white">
          <a:xfrm>
            <a:off x="-227560" y="1261127"/>
            <a:ext cx="3207530" cy="36629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Speaker:</a:t>
            </a:r>
          </a:p>
        </p:txBody>
      </p:sp>
      <p:sp>
        <p:nvSpPr>
          <p:cNvPr id="52" name="Rectangle 11"/>
          <p:cNvSpPr>
            <a:spLocks noChangeArrowheads="1"/>
          </p:cNvSpPr>
          <p:nvPr/>
        </p:nvSpPr>
        <p:spPr bwMode="white">
          <a:xfrm>
            <a:off x="3080917" y="1688090"/>
            <a:ext cx="8239084" cy="35271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defTabSz="913188" eaLnBrk="0" fontAlgn="base" hangingPunct="0">
              <a:lnSpc>
                <a:spcPct val="90000"/>
              </a:lnSpc>
              <a:spcAft>
                <a:spcPct val="0"/>
              </a:spcAft>
              <a:buClr>
                <a:srgbClr val="FFFF99"/>
              </a:buClr>
              <a:buSzPct val="75000"/>
            </a:pPr>
            <a:r>
              <a:rPr lang="en-US" sz="1765" dirty="0">
                <a:solidFill>
                  <a:srgbClr val="FFFFFF"/>
                </a:solidFill>
                <a:cs typeface="Segoe UI" pitchFamily="34" charset="0"/>
              </a:rPr>
              <a:t>CIO, IT Technical Decision Makers, and Hosting Providers </a:t>
            </a:r>
          </a:p>
        </p:txBody>
      </p:sp>
      <p:sp>
        <p:nvSpPr>
          <p:cNvPr id="53" name="Rectangle 19"/>
          <p:cNvSpPr>
            <a:spLocks noChangeArrowheads="1"/>
          </p:cNvSpPr>
          <p:nvPr/>
        </p:nvSpPr>
        <p:spPr bwMode="white">
          <a:xfrm>
            <a:off x="-238894" y="1681300"/>
            <a:ext cx="3207530" cy="36629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Audience:</a:t>
            </a:r>
          </a:p>
        </p:txBody>
      </p:sp>
      <p:sp>
        <p:nvSpPr>
          <p:cNvPr id="16" name="Rectangle 23"/>
          <p:cNvSpPr>
            <a:spLocks noChangeArrowheads="1"/>
          </p:cNvSpPr>
          <p:nvPr/>
        </p:nvSpPr>
        <p:spPr bwMode="white">
          <a:xfrm>
            <a:off x="-1523998" y="2595571"/>
            <a:ext cx="4503969" cy="36629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Length &amp; Version:</a:t>
            </a:r>
          </a:p>
        </p:txBody>
      </p:sp>
      <p:sp>
        <p:nvSpPr>
          <p:cNvPr id="17" name="Rectangle 13"/>
          <p:cNvSpPr>
            <a:spLocks noChangeArrowheads="1"/>
          </p:cNvSpPr>
          <p:nvPr/>
        </p:nvSpPr>
        <p:spPr bwMode="white">
          <a:xfrm>
            <a:off x="3080917" y="2593183"/>
            <a:ext cx="9219469" cy="371070"/>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73" tIns="53635" rIns="107273" bIns="53635" anchor="ctr">
            <a:spAutoFit/>
          </a:bodyPr>
          <a:lstStyle/>
          <a:p>
            <a:pP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30-45 minutes, last updated November 2014</a:t>
            </a:r>
          </a:p>
        </p:txBody>
      </p:sp>
      <p:sp>
        <p:nvSpPr>
          <p:cNvPr id="18" name="Line 25"/>
          <p:cNvSpPr>
            <a:spLocks noChangeShapeType="1"/>
          </p:cNvSpPr>
          <p:nvPr/>
        </p:nvSpPr>
        <p:spPr bwMode="white">
          <a:xfrm>
            <a:off x="344746" y="3021852"/>
            <a:ext cx="10308934"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cs typeface="Arial" pitchFamily="34" charset="0"/>
            </a:endParaRPr>
          </a:p>
        </p:txBody>
      </p:sp>
      <p:sp>
        <p:nvSpPr>
          <p:cNvPr id="19" name="Line 25"/>
          <p:cNvSpPr>
            <a:spLocks noChangeShapeType="1"/>
          </p:cNvSpPr>
          <p:nvPr/>
        </p:nvSpPr>
        <p:spPr bwMode="white">
          <a:xfrm>
            <a:off x="344746" y="3978346"/>
            <a:ext cx="10308934"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cs typeface="Arial" pitchFamily="34" charset="0"/>
            </a:endParaRPr>
          </a:p>
        </p:txBody>
      </p:sp>
      <p:sp>
        <p:nvSpPr>
          <p:cNvPr id="20" name="Title 1"/>
          <p:cNvSpPr txBox="1">
            <a:spLocks/>
          </p:cNvSpPr>
          <p:nvPr/>
        </p:nvSpPr>
        <p:spPr>
          <a:xfrm>
            <a:off x="624737" y="126803"/>
            <a:ext cx="11464548" cy="629594"/>
          </a:xfrm>
          <a:prstGeom prst="rect">
            <a:avLst/>
          </a:prstGeom>
        </p:spPr>
        <p:txBody>
          <a:bodyPr vert="horz" wrap="square" lIns="0" tIns="0" rIns="0" bIns="0" rtlCol="0" anchor="t">
            <a:noAutofit/>
          </a:bodyPr>
          <a:lstStyle>
            <a:lvl1pPr algn="l" defTabSz="768113" rtl="0" eaLnBrk="1" latinLnBrk="0" hangingPunct="1">
              <a:lnSpc>
                <a:spcPct val="90000"/>
              </a:lnSpc>
              <a:spcBef>
                <a:spcPct val="0"/>
              </a:spcBef>
              <a:buNone/>
              <a:defRPr lang="en-US" sz="4900" b="0" kern="1200" cap="none" spc="-247" baseline="0" dirty="0">
                <a:ln w="3175">
                  <a:noFill/>
                </a:ln>
                <a:gradFill flip="none" rotWithShape="1">
                  <a:gsLst>
                    <a:gs pos="7500">
                      <a:srgbClr val="FFFFFF"/>
                    </a:gs>
                    <a:gs pos="15417">
                      <a:srgbClr val="FFFFFF"/>
                    </a:gs>
                  </a:gsLst>
                  <a:lin ang="5400000" scaled="0"/>
                  <a:tileRect/>
                </a:gradFill>
                <a:effectLst/>
                <a:latin typeface="Segoe UI Light" pitchFamily="34" charset="0"/>
                <a:ea typeface="+mn-ea"/>
                <a:cs typeface="Arial" charset="0"/>
              </a:defRPr>
            </a:lvl1pPr>
          </a:lstStyle>
          <a:p>
            <a:pPr>
              <a:spcBef>
                <a:spcPts val="0"/>
              </a:spcBef>
              <a:spcAft>
                <a:spcPts val="715"/>
              </a:spcAft>
            </a:pPr>
            <a:r>
              <a:rPr sz="3333">
                <a:solidFill>
                  <a:srgbClr val="FFC000"/>
                </a:solidFill>
              </a:rPr>
              <a:t>(DO NOT SHOW)</a:t>
            </a:r>
            <a:r>
              <a:rPr sz="3333"/>
              <a:t/>
            </a:r>
            <a:br>
              <a:rPr sz="3333"/>
            </a:br>
            <a:r>
              <a:rPr sz="3137" spc="0"/>
              <a:t>C+E Cloud Platform Conversation Deck – </a:t>
            </a:r>
            <a:r>
              <a:rPr sz="3137" spc="0">
                <a:solidFill>
                  <a:srgbClr val="00BCF2"/>
                </a:solidFill>
              </a:rPr>
              <a:t>Transform the datacenter</a:t>
            </a:r>
          </a:p>
        </p:txBody>
      </p:sp>
      <p:sp>
        <p:nvSpPr>
          <p:cNvPr id="24" name="Line 25"/>
          <p:cNvSpPr>
            <a:spLocks noChangeShapeType="1"/>
          </p:cNvSpPr>
          <p:nvPr/>
        </p:nvSpPr>
        <p:spPr bwMode="white">
          <a:xfrm>
            <a:off x="344746" y="4896804"/>
            <a:ext cx="10308934"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cs typeface="Arial" pitchFamily="34" charset="0"/>
            </a:endParaRPr>
          </a:p>
        </p:txBody>
      </p:sp>
      <p:sp>
        <p:nvSpPr>
          <p:cNvPr id="26" name="Rectangle 24"/>
          <p:cNvSpPr>
            <a:spLocks noChangeArrowheads="1"/>
          </p:cNvSpPr>
          <p:nvPr/>
        </p:nvSpPr>
        <p:spPr bwMode="white">
          <a:xfrm>
            <a:off x="-227561" y="3064308"/>
            <a:ext cx="3207531" cy="36629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Content Level:</a:t>
            </a:r>
          </a:p>
        </p:txBody>
      </p:sp>
      <p:sp>
        <p:nvSpPr>
          <p:cNvPr id="27" name="Rectangle 13"/>
          <p:cNvSpPr>
            <a:spLocks noChangeArrowheads="1"/>
          </p:cNvSpPr>
          <p:nvPr/>
        </p:nvSpPr>
        <p:spPr bwMode="white">
          <a:xfrm>
            <a:off x="3080917" y="3061920"/>
            <a:ext cx="9349798" cy="371070"/>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73" tIns="53635" rIns="107273" bIns="53635" anchor="ctr">
            <a:spAutoFit/>
          </a:bodyPr>
          <a:lstStyle/>
          <a:p>
            <a:pP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Level 50-100 for external and internal use</a:t>
            </a:r>
            <a:endParaRPr lang="en-US" altLang="ja-JP" sz="1863" dirty="0">
              <a:solidFill>
                <a:srgbClr val="FFFFFF"/>
              </a:solidFill>
              <a:ea typeface="MS PGothic" pitchFamily="34" charset="-128"/>
              <a:cs typeface="Arial" pitchFamily="34" charset="0"/>
            </a:endParaRPr>
          </a:p>
        </p:txBody>
      </p:sp>
      <p:sp>
        <p:nvSpPr>
          <p:cNvPr id="28" name="Rectangle 27"/>
          <p:cNvSpPr>
            <a:spLocks noChangeArrowheads="1"/>
          </p:cNvSpPr>
          <p:nvPr/>
        </p:nvSpPr>
        <p:spPr bwMode="white">
          <a:xfrm>
            <a:off x="329118" y="4970631"/>
            <a:ext cx="2650852" cy="36629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Usage Guide:</a:t>
            </a:r>
          </a:p>
        </p:txBody>
      </p:sp>
      <p:sp>
        <p:nvSpPr>
          <p:cNvPr id="29" name="Rectangle 13"/>
          <p:cNvSpPr>
            <a:spLocks noChangeArrowheads="1"/>
          </p:cNvSpPr>
          <p:nvPr/>
        </p:nvSpPr>
        <p:spPr bwMode="white">
          <a:xfrm>
            <a:off x="3080917" y="5007554"/>
            <a:ext cx="8919033" cy="1886561"/>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73" tIns="53635" rIns="107273" bIns="53635" anchor="t">
            <a:spAutoFit/>
          </a:bodyPr>
          <a:lstStyle/>
          <a:p>
            <a:pPr defTabSz="1293542" eaLnBrk="0" fontAlgn="base" hangingPunct="0">
              <a:lnSpc>
                <a:spcPct val="90000"/>
              </a:lnSpc>
              <a:spcBef>
                <a:spcPct val="30000"/>
              </a:spcBef>
              <a:spcAft>
                <a:spcPct val="0"/>
              </a:spcAft>
              <a:buClr>
                <a:srgbClr val="FFFF99"/>
              </a:buClr>
              <a:buSzPct val="75000"/>
            </a:pPr>
            <a:r>
              <a:rPr lang="en-US" sz="1863" dirty="0">
                <a:solidFill>
                  <a:srgbClr val="FF0000"/>
                </a:solidFill>
                <a:cs typeface="Arial" pitchFamily="34" charset="0"/>
              </a:rPr>
              <a:t>DO NOT edit slides or text</a:t>
            </a:r>
          </a:p>
          <a:p>
            <a:pPr marL="797286" lvl="1" indent="-340102" defTabSz="1293542" eaLnBrk="0" fontAlgn="base" hangingPunct="0">
              <a:lnSpc>
                <a:spcPct val="90000"/>
              </a:lnSpc>
              <a:spcAft>
                <a:spcPct val="0"/>
              </a:spcAft>
              <a:buClr>
                <a:srgbClr val="FFFF99"/>
              </a:buClr>
              <a:buSzPct val="75000"/>
              <a:buFont typeface="Arial" pitchFamily="34" charset="0"/>
              <a:buChar char="•"/>
            </a:pPr>
            <a:r>
              <a:rPr lang="en-US" sz="1568" dirty="0">
                <a:solidFill>
                  <a:srgbClr val="FFFFFF"/>
                </a:solidFill>
                <a:cs typeface="Arial" pitchFamily="34" charset="0"/>
              </a:rPr>
              <a:t>This is a CORE C+E story.  ALL messages &amp; wording on slides have been reviewed &amp; tested by EPG, M&amp;O, CATM &amp; MCS  stakeholders, and approved by C+E marketing leadership.</a:t>
            </a:r>
          </a:p>
          <a:p>
            <a:pPr marL="797286" lvl="1" indent="-340102" defTabSz="1293542" eaLnBrk="0" fontAlgn="base" hangingPunct="0">
              <a:lnSpc>
                <a:spcPct val="90000"/>
              </a:lnSpc>
              <a:spcAft>
                <a:spcPct val="0"/>
              </a:spcAft>
              <a:buClr>
                <a:srgbClr val="FFFF99"/>
              </a:buClr>
              <a:buSzPct val="75000"/>
              <a:buFont typeface="Arial" pitchFamily="34" charset="0"/>
              <a:buChar char="•"/>
            </a:pPr>
            <a:r>
              <a:rPr lang="en-US" sz="1568" dirty="0">
                <a:solidFill>
                  <a:srgbClr val="FFFFFF"/>
                </a:solidFill>
                <a:cs typeface="Arial" pitchFamily="34" charset="0"/>
              </a:rPr>
              <a:t>Send any suggested edits to deck contact</a:t>
            </a:r>
          </a:p>
          <a:p>
            <a:pPr marL="797286" lvl="1" indent="-340102" defTabSz="1293542" eaLnBrk="0" fontAlgn="base" hangingPunct="0">
              <a:lnSpc>
                <a:spcPct val="90000"/>
              </a:lnSpc>
              <a:spcAft>
                <a:spcPct val="0"/>
              </a:spcAft>
              <a:buClr>
                <a:srgbClr val="FFFF99"/>
              </a:buClr>
              <a:buSzPct val="75000"/>
              <a:buFont typeface="Arial" pitchFamily="34" charset="0"/>
              <a:buChar char="•"/>
            </a:pPr>
            <a:r>
              <a:rPr lang="en-US" sz="1568" dirty="0">
                <a:solidFill>
                  <a:srgbClr val="FFFFFF"/>
                </a:solidFill>
                <a:cs typeface="Arial" pitchFamily="34" charset="0"/>
              </a:rPr>
              <a:t>Translation of content is allowed</a:t>
            </a:r>
          </a:p>
          <a:p>
            <a:pPr marL="797286" lvl="1" indent="-340102" defTabSz="1293542" eaLnBrk="0" fontAlgn="base" hangingPunct="0">
              <a:lnSpc>
                <a:spcPct val="90000"/>
              </a:lnSpc>
              <a:spcAft>
                <a:spcPct val="0"/>
              </a:spcAft>
              <a:buClr>
                <a:srgbClr val="FFFF99"/>
              </a:buClr>
              <a:buSzPct val="75000"/>
              <a:buFont typeface="Arial" pitchFamily="34" charset="0"/>
              <a:buChar char="•"/>
            </a:pPr>
            <a:r>
              <a:rPr lang="en-US" sz="1568" dirty="0">
                <a:solidFill>
                  <a:srgbClr val="FFFFFF"/>
                </a:solidFill>
                <a:cs typeface="Arial" pitchFamily="34" charset="0"/>
              </a:rPr>
              <a:t>Augment content with local customer stories</a:t>
            </a:r>
          </a:p>
          <a:p>
            <a:pPr marL="797286" lvl="1" indent="-340102" defTabSz="1293542" eaLnBrk="0" fontAlgn="base" hangingPunct="0">
              <a:lnSpc>
                <a:spcPct val="90000"/>
              </a:lnSpc>
              <a:spcAft>
                <a:spcPct val="0"/>
              </a:spcAft>
              <a:buClr>
                <a:srgbClr val="FFFF99"/>
              </a:buClr>
              <a:buSzPct val="75000"/>
              <a:buFont typeface="Arial" pitchFamily="34" charset="0"/>
              <a:buChar char="•"/>
            </a:pPr>
            <a:r>
              <a:rPr lang="en-US" sz="1568" dirty="0">
                <a:solidFill>
                  <a:srgbClr val="FFFFFF"/>
                </a:solidFill>
                <a:cs typeface="Arial" pitchFamily="34" charset="0"/>
              </a:rPr>
              <a:t>Content will be reviewed quarterly for updates</a:t>
            </a:r>
          </a:p>
        </p:txBody>
      </p:sp>
      <p:sp>
        <p:nvSpPr>
          <p:cNvPr id="31" name="Rectangle 27"/>
          <p:cNvSpPr>
            <a:spLocks noChangeArrowheads="1"/>
          </p:cNvSpPr>
          <p:nvPr/>
        </p:nvSpPr>
        <p:spPr bwMode="white">
          <a:xfrm>
            <a:off x="-227560" y="3562521"/>
            <a:ext cx="3207530" cy="36629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Deck Contacts:</a:t>
            </a:r>
          </a:p>
        </p:txBody>
      </p:sp>
      <p:sp>
        <p:nvSpPr>
          <p:cNvPr id="32" name="Rectangle 13"/>
          <p:cNvSpPr>
            <a:spLocks noChangeArrowheads="1"/>
          </p:cNvSpPr>
          <p:nvPr/>
        </p:nvSpPr>
        <p:spPr bwMode="white">
          <a:xfrm>
            <a:off x="3080917" y="3579648"/>
            <a:ext cx="9207507" cy="371070"/>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73" tIns="53635" rIns="107273" bIns="53635" anchor="t">
            <a:spAutoFit/>
          </a:bodyPr>
          <a:lstStyle/>
          <a:p>
            <a:pPr defTabSz="1293542" eaLnBrk="0" fontAlgn="base" hangingPunct="0">
              <a:lnSpc>
                <a:spcPct val="90000"/>
              </a:lnSpc>
              <a:spcBef>
                <a:spcPct val="30000"/>
              </a:spcBef>
              <a:spcAft>
                <a:spcPct val="0"/>
              </a:spcAft>
              <a:buClr>
                <a:srgbClr val="FFFF99"/>
              </a:buClr>
              <a:buSzPct val="75000"/>
            </a:pPr>
            <a:r>
              <a:rPr lang="en-US" altLang="ja-JP" sz="1863" dirty="0">
                <a:solidFill>
                  <a:srgbClr val="FFFFFF"/>
                </a:solidFill>
                <a:ea typeface="MS PGothic" pitchFamily="34" charset="-128"/>
                <a:cs typeface="Arial" pitchFamily="34" charset="0"/>
              </a:rPr>
              <a:t>Transform the datacenter team  (alias: </a:t>
            </a:r>
            <a:r>
              <a:rPr lang="en-US" altLang="ja-JP" sz="1863" dirty="0" err="1">
                <a:solidFill>
                  <a:srgbClr val="FFFFFF"/>
                </a:solidFill>
                <a:ea typeface="MS PGothic" pitchFamily="34" charset="-128"/>
                <a:cs typeface="Arial" pitchFamily="34" charset="0"/>
              </a:rPr>
              <a:t>liberg</a:t>
            </a:r>
            <a:r>
              <a:rPr lang="en-US" altLang="ja-JP" sz="1863" dirty="0">
                <a:solidFill>
                  <a:srgbClr val="FFFFFF"/>
                </a:solidFill>
                <a:ea typeface="MS PGothic" pitchFamily="34" charset="-128"/>
                <a:cs typeface="Arial" pitchFamily="34" charset="0"/>
              </a:rPr>
              <a:t>)</a:t>
            </a:r>
          </a:p>
        </p:txBody>
      </p:sp>
      <p:sp>
        <p:nvSpPr>
          <p:cNvPr id="38" name="Line 25"/>
          <p:cNvSpPr>
            <a:spLocks noChangeShapeType="1"/>
          </p:cNvSpPr>
          <p:nvPr/>
        </p:nvSpPr>
        <p:spPr bwMode="white">
          <a:xfrm>
            <a:off x="359067" y="4435482"/>
            <a:ext cx="10308934"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cs typeface="Arial" pitchFamily="34" charset="0"/>
            </a:endParaRPr>
          </a:p>
        </p:txBody>
      </p:sp>
      <p:sp>
        <p:nvSpPr>
          <p:cNvPr id="37" name="Rectangle 13"/>
          <p:cNvSpPr>
            <a:spLocks noChangeArrowheads="1"/>
          </p:cNvSpPr>
          <p:nvPr/>
        </p:nvSpPr>
        <p:spPr bwMode="white">
          <a:xfrm>
            <a:off x="3080917" y="4500224"/>
            <a:ext cx="8593582" cy="348987"/>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90135" tIns="45065" rIns="90135" bIns="45065" anchor="ctr">
            <a:spAutoFit/>
          </a:bodyPr>
          <a:lstStyle/>
          <a:p>
            <a:pPr defTabSz="1086879" eaLnBrk="0" fontAlgn="base" hangingPunct="0">
              <a:lnSpc>
                <a:spcPct val="90000"/>
              </a:lnSpc>
              <a:spcBef>
                <a:spcPct val="30000"/>
              </a:spcBef>
              <a:spcAft>
                <a:spcPct val="0"/>
              </a:spcAft>
              <a:buClr>
                <a:srgbClr val="FFFF99"/>
              </a:buClr>
              <a:buSzPct val="75000"/>
            </a:pPr>
            <a:r>
              <a:rPr lang="en-US" altLang="ja-JP" sz="1863" dirty="0">
                <a:solidFill>
                  <a:srgbClr val="FFFFFF"/>
                </a:solidFill>
                <a:ea typeface="MS PGothic" pitchFamily="34" charset="-128"/>
                <a:cs typeface="Arial" pitchFamily="34" charset="0"/>
              </a:rPr>
              <a:t>Activity that leads to qualified sales prospect; r</a:t>
            </a:r>
            <a:r>
              <a:rPr lang="en-US" sz="1863" dirty="0">
                <a:solidFill>
                  <a:srgbClr val="FFFFFF"/>
                </a:solidFill>
                <a:ea typeface="MS PGothic" pitchFamily="34" charset="-128"/>
                <a:cs typeface="Arial" pitchFamily="34" charset="0"/>
              </a:rPr>
              <a:t>equest for EBC briefing</a:t>
            </a:r>
          </a:p>
        </p:txBody>
      </p:sp>
      <p:sp>
        <p:nvSpPr>
          <p:cNvPr id="39" name="Rectangle 27"/>
          <p:cNvSpPr>
            <a:spLocks noChangeArrowheads="1"/>
          </p:cNvSpPr>
          <p:nvPr/>
        </p:nvSpPr>
        <p:spPr bwMode="white">
          <a:xfrm>
            <a:off x="-238894" y="4491570"/>
            <a:ext cx="3207530" cy="36629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Desired Outcomes:</a:t>
            </a:r>
          </a:p>
        </p:txBody>
      </p:sp>
      <p:sp>
        <p:nvSpPr>
          <p:cNvPr id="40" name="Rectangle 13"/>
          <p:cNvSpPr>
            <a:spLocks noChangeArrowheads="1"/>
          </p:cNvSpPr>
          <p:nvPr/>
        </p:nvSpPr>
        <p:spPr bwMode="white">
          <a:xfrm>
            <a:off x="3080917" y="4031512"/>
            <a:ext cx="7686872" cy="348987"/>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90135" tIns="45065" rIns="90135" bIns="45065" anchor="ctr">
            <a:spAutoFit/>
          </a:bodyPr>
          <a:lstStyle/>
          <a:p>
            <a:pPr defTabSz="1086879" eaLnBrk="0" fontAlgn="base" hangingPunct="0">
              <a:lnSpc>
                <a:spcPct val="90000"/>
              </a:lnSpc>
              <a:spcBef>
                <a:spcPct val="30000"/>
              </a:spcBef>
              <a:spcAft>
                <a:spcPct val="0"/>
              </a:spcAft>
              <a:buClr>
                <a:srgbClr val="FFFF99"/>
              </a:buClr>
              <a:buSzPct val="75000"/>
            </a:pPr>
            <a:r>
              <a:rPr lang="en-US" altLang="ja-JP" sz="1863" dirty="0">
                <a:solidFill>
                  <a:srgbClr val="FFFFFF"/>
                </a:solidFill>
                <a:ea typeface="MS PGothic" pitchFamily="34" charset="-128"/>
                <a:cs typeface="Arial" pitchFamily="34" charset="0"/>
              </a:rPr>
              <a:t>0-20%</a:t>
            </a:r>
            <a:endParaRPr lang="en-US" sz="1863" dirty="0">
              <a:solidFill>
                <a:srgbClr val="FFFFFF"/>
              </a:solidFill>
              <a:ea typeface="MS PGothic" pitchFamily="34" charset="-128"/>
              <a:cs typeface="Arial" pitchFamily="34" charset="0"/>
            </a:endParaRPr>
          </a:p>
        </p:txBody>
      </p:sp>
      <p:sp>
        <p:nvSpPr>
          <p:cNvPr id="41" name="Rectangle 27"/>
          <p:cNvSpPr>
            <a:spLocks noChangeArrowheads="1"/>
          </p:cNvSpPr>
          <p:nvPr/>
        </p:nvSpPr>
        <p:spPr bwMode="white">
          <a:xfrm>
            <a:off x="-241465" y="4022859"/>
            <a:ext cx="3207530" cy="36629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73" tIns="53635" rIns="107273" bIns="53635" anchor="ctr">
            <a:spAutoFit/>
          </a:bodyPr>
          <a:lstStyle/>
          <a:p>
            <a:pPr marL="478352" indent="-478352" algn="r" defTabSz="1293542" eaLnBrk="0" fontAlgn="base" hangingPunct="0">
              <a:lnSpc>
                <a:spcPct val="90000"/>
              </a:lnSpc>
              <a:spcBef>
                <a:spcPct val="30000"/>
              </a:spcBef>
              <a:spcAft>
                <a:spcPct val="0"/>
              </a:spcAft>
              <a:buClr>
                <a:srgbClr val="FFFF99"/>
              </a:buClr>
              <a:buSzPct val="75000"/>
            </a:pPr>
            <a:r>
              <a:rPr lang="en-US" sz="1863" dirty="0">
                <a:solidFill>
                  <a:srgbClr val="FFFFFF"/>
                </a:solidFill>
                <a:cs typeface="Arial" pitchFamily="34" charset="0"/>
              </a:rPr>
              <a:t>Sales Cycle:</a:t>
            </a:r>
          </a:p>
        </p:txBody>
      </p:sp>
      <p:sp>
        <p:nvSpPr>
          <p:cNvPr id="51" name="Line 3"/>
          <p:cNvSpPr>
            <a:spLocks noChangeShapeType="1"/>
          </p:cNvSpPr>
          <p:nvPr/>
        </p:nvSpPr>
        <p:spPr bwMode="white">
          <a:xfrm>
            <a:off x="344746" y="1634208"/>
            <a:ext cx="10308934"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cs typeface="Arial" pitchFamily="34" charset="0"/>
            </a:endParaRPr>
          </a:p>
        </p:txBody>
      </p:sp>
      <p:sp>
        <p:nvSpPr>
          <p:cNvPr id="8" name="TextBox 7"/>
          <p:cNvSpPr txBox="1"/>
          <p:nvPr/>
        </p:nvSpPr>
        <p:spPr>
          <a:xfrm>
            <a:off x="8880226" y="6405151"/>
            <a:ext cx="3311775" cy="510923"/>
          </a:xfrm>
          <a:prstGeom prst="rect">
            <a:avLst/>
          </a:prstGeom>
          <a:noFill/>
        </p:spPr>
        <p:txBody>
          <a:bodyPr wrap="square" lIns="179285" tIns="143428" rIns="179285" bIns="143428" rtlCol="0">
            <a:spAutoFit/>
          </a:bodyPr>
          <a:lstStyle/>
          <a:p>
            <a:pPr defTabSz="914367">
              <a:lnSpc>
                <a:spcPct val="90000"/>
              </a:lnSpc>
            </a:pPr>
            <a:r>
              <a:rPr lang="en-US" sz="1568" dirty="0">
                <a:gradFill>
                  <a:gsLst>
                    <a:gs pos="2917">
                      <a:srgbClr val="EFEFEF"/>
                    </a:gs>
                    <a:gs pos="30000">
                      <a:srgbClr val="EFEFEF"/>
                    </a:gs>
                  </a:gsLst>
                  <a:lin ang="5400000" scaled="0"/>
                </a:gradFill>
              </a:rPr>
              <a:t>Last update: November 2014</a:t>
            </a:r>
          </a:p>
        </p:txBody>
      </p:sp>
    </p:spTree>
    <p:extLst>
      <p:ext uri="{BB962C8B-B14F-4D97-AF65-F5344CB8AC3E}">
        <p14:creationId xmlns:p14="http://schemas.microsoft.com/office/powerpoint/2010/main" val="3538658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25" name="Object 3" hidden="1"/>
          <p:cNvGraphicFramePr>
            <a:graphicFrameLocks noChangeAspect="1"/>
          </p:cNvGraphicFramePr>
          <p:nvPr>
            <p:custDataLst>
              <p:tags r:id="rId2"/>
            </p:custDataLst>
          </p:nvPr>
        </p:nvGraphicFramePr>
        <p:xfrm>
          <a:off x="3113" y="2044"/>
          <a:ext cx="1557" cy="1556"/>
        </p:xfrm>
        <a:graphic>
          <a:graphicData uri="http://schemas.openxmlformats.org/presentationml/2006/ole">
            <mc:AlternateContent xmlns:mc="http://schemas.openxmlformats.org/markup-compatibility/2006">
              <mc:Choice xmlns:v="urn:schemas-microsoft-com:vml" Requires="v">
                <p:oleObj spid="_x0000_s3075"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13" y="2044"/>
                        <a:ext cx="1557" cy="15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nvPr>
        </p:nvSpPr>
        <p:spPr/>
        <p:txBody>
          <a:bodyPr/>
          <a:lstStyle/>
          <a:p>
            <a:pPr defTabSz="914523" fontAlgn="auto">
              <a:spcAft>
                <a:spcPts val="0"/>
              </a:spcAft>
              <a:defRPr/>
            </a:pPr>
            <a:r>
              <a:rPr sz="5295" dirty="0">
                <a:ea typeface="+mn-ea"/>
              </a:rPr>
              <a:t>Mapping the conversations</a:t>
            </a:r>
            <a:endParaRPr sz="5295" dirty="0">
              <a:ea typeface="+mn-ea"/>
            </a:endParaRPr>
          </a:p>
        </p:txBody>
      </p:sp>
      <p:sp>
        <p:nvSpPr>
          <p:cNvPr id="9" name="Rectangle 8"/>
          <p:cNvSpPr/>
          <p:nvPr/>
        </p:nvSpPr>
        <p:spPr bwMode="auto">
          <a:xfrm>
            <a:off x="1165663" y="2445423"/>
            <a:ext cx="1748028" cy="336346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The Microsoft </a:t>
            </a:r>
          </a:p>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Cloud</a:t>
            </a:r>
          </a:p>
          <a:p>
            <a:pPr defTabSz="914083" fontAlgn="base">
              <a:lnSpc>
                <a:spcPct val="90000"/>
              </a:lnSpc>
              <a:defRPr/>
            </a:pPr>
            <a:endParaRPr lang="en-US" sz="1079" dirty="0">
              <a:solidFill>
                <a:srgbClr val="FFFFFF"/>
              </a:solidFill>
              <a:ea typeface="Segoe UI" panose="020B0502040204020203" pitchFamily="34" charset="0"/>
              <a:cs typeface="Segoe UI" panose="020B0502040204020203" pitchFamily="34" charset="0"/>
            </a:endParaRPr>
          </a:p>
          <a:p>
            <a:pPr defTabSz="914083" fontAlgn="base">
              <a:lnSpc>
                <a:spcPct val="90000"/>
              </a:lnSpc>
              <a:defRPr/>
            </a:pPr>
            <a:r>
              <a:rPr lang="en-US" sz="1029" dirty="0">
                <a:solidFill>
                  <a:srgbClr val="FFFFFF"/>
                </a:solidFill>
                <a:ea typeface="Segoe UI" panose="020B0502040204020203" pitchFamily="34" charset="0"/>
                <a:cs typeface="Segoe UI" panose="020B0502040204020203" pitchFamily="34" charset="0"/>
              </a:rPr>
              <a:t>Content: One Microsoft commercial cloud strategy, setting common differentiators (L50). </a:t>
            </a:r>
          </a:p>
          <a:p>
            <a:pPr defTabSz="914083" fontAlgn="base">
              <a:lnSpc>
                <a:spcPct val="90000"/>
              </a:lnSpc>
              <a:defRPr/>
            </a:pPr>
            <a:endParaRPr lang="en-US" sz="1029" dirty="0">
              <a:solidFill>
                <a:srgbClr val="FFFFFF"/>
              </a:solidFill>
              <a:ea typeface="Segoe UI" panose="020B0502040204020203" pitchFamily="34" charset="0"/>
              <a:cs typeface="Segoe UI" panose="020B0502040204020203" pitchFamily="34" charset="0"/>
            </a:endParaRPr>
          </a:p>
          <a:p>
            <a:pPr defTabSz="914083" fontAlgn="base">
              <a:lnSpc>
                <a:spcPct val="90000"/>
              </a:lnSpc>
              <a:defRPr/>
            </a:pPr>
            <a:r>
              <a:rPr lang="en-US" sz="1029" dirty="0">
                <a:solidFill>
                  <a:srgbClr val="FFFFFF"/>
                </a:solidFill>
                <a:ea typeface="Segoe UI" panose="020B0502040204020203" pitchFamily="34" charset="0"/>
                <a:cs typeface="Segoe UI" panose="020B0502040204020203" pitchFamily="34" charset="0"/>
              </a:rPr>
              <a:t>Use:  1:1 and 1:many customer conversations. Use alone or incorporate into decks</a:t>
            </a:r>
          </a:p>
        </p:txBody>
      </p:sp>
      <p:sp>
        <p:nvSpPr>
          <p:cNvPr id="46" name="Rectangle 45"/>
          <p:cNvSpPr/>
          <p:nvPr/>
        </p:nvSpPr>
        <p:spPr bwMode="auto">
          <a:xfrm>
            <a:off x="2971260" y="2445423"/>
            <a:ext cx="1780102" cy="33634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Microsoft Cloud Platform</a:t>
            </a:r>
          </a:p>
          <a:p>
            <a:pPr defTabSz="896075" fontAlgn="base">
              <a:lnSpc>
                <a:spcPct val="90000"/>
              </a:lnSpc>
              <a:defRPr/>
            </a:pPr>
            <a:endParaRPr lang="en-US" sz="1077" dirty="0">
              <a:solidFill>
                <a:srgbClr val="FFFFFF"/>
              </a:solidFill>
              <a:ea typeface="Segoe UI" panose="020B0502040204020203" pitchFamily="34" charset="0"/>
              <a:cs typeface="Segoe UI" panose="020B0502040204020203" pitchFamily="34" charset="0"/>
            </a:endParaRPr>
          </a:p>
          <a:p>
            <a:pPr defTabSz="896075" fontAlgn="base">
              <a:lnSpc>
                <a:spcPct val="90000"/>
              </a:lnSpc>
              <a:defRPr/>
            </a:pPr>
            <a:r>
              <a:rPr lang="en-US" sz="1029" dirty="0">
                <a:solidFill>
                  <a:srgbClr val="FFFFFF"/>
                </a:solidFill>
                <a:ea typeface="Segoe UI" panose="020B0502040204020203" pitchFamily="34" charset="0"/>
                <a:cs typeface="Segoe UI" panose="020B0502040204020203" pitchFamily="34" charset="0"/>
              </a:rPr>
              <a:t>Content: Strategy-oriented story, setting common differentiators across five conversations  (L50)</a:t>
            </a:r>
          </a:p>
          <a:p>
            <a:pPr defTabSz="896075" fontAlgn="base">
              <a:lnSpc>
                <a:spcPct val="90000"/>
              </a:lnSpc>
              <a:defRPr/>
            </a:pPr>
            <a:endParaRPr lang="en-US" sz="1029" dirty="0">
              <a:solidFill>
                <a:srgbClr val="FFFFFF"/>
              </a:solidFill>
              <a:ea typeface="Segoe UI" panose="020B0502040204020203" pitchFamily="34" charset="0"/>
              <a:cs typeface="Segoe UI" panose="020B0502040204020203" pitchFamily="34" charset="0"/>
            </a:endParaRPr>
          </a:p>
          <a:p>
            <a:pPr defTabSz="896075" fontAlgn="base">
              <a:lnSpc>
                <a:spcPct val="90000"/>
              </a:lnSpc>
              <a:defRPr/>
            </a:pPr>
            <a:r>
              <a:rPr lang="en-US" sz="1029" dirty="0">
                <a:solidFill>
                  <a:srgbClr val="FFFFFF"/>
                </a:solidFill>
                <a:ea typeface="Segoe UI" panose="020B0502040204020203" pitchFamily="34" charset="0"/>
                <a:cs typeface="Segoe UI" panose="020B0502040204020203" pitchFamily="34" charset="0"/>
              </a:rPr>
              <a:t>Use:  1:1 and 1:many customer conversations. Use alone or incorporate single slide into decks and add content from one or more Microsoft Cloud Platform conversations below to dive deeper into a specific area. </a:t>
            </a:r>
          </a:p>
        </p:txBody>
      </p:sp>
      <p:sp>
        <p:nvSpPr>
          <p:cNvPr id="65" name="TextBox 64"/>
          <p:cNvSpPr txBox="1"/>
          <p:nvPr/>
        </p:nvSpPr>
        <p:spPr>
          <a:xfrm>
            <a:off x="281987" y="6221690"/>
            <a:ext cx="896425" cy="241381"/>
          </a:xfrm>
          <a:prstGeom prst="rect">
            <a:avLst/>
          </a:prstGeom>
          <a:noFill/>
        </p:spPr>
        <p:txBody>
          <a:bodyPr lIns="0" tIns="0" rIns="0" bIns="0" anchor="ctr">
            <a:spAutoFit/>
          </a:bodyPr>
          <a:lstStyle/>
          <a:p>
            <a:pPr defTabSz="914192">
              <a:defRPr/>
            </a:pPr>
            <a:r>
              <a:rPr lang="en-US" sz="1568" dirty="0">
                <a:gradFill>
                  <a:gsLst>
                    <a:gs pos="0">
                      <a:srgbClr val="FFFFFF"/>
                    </a:gs>
                    <a:gs pos="100000">
                      <a:srgbClr val="FFFFFF"/>
                    </a:gs>
                  </a:gsLst>
                  <a:lin ang="5400000" scaled="1"/>
                </a:gradFill>
                <a:ea typeface="ＭＳ Ｐゴシック" charset="0"/>
                <a:cs typeface="Segoe UI" panose="020B0502040204020203" pitchFamily="34" charset="0"/>
              </a:rPr>
              <a:t>Tools</a:t>
            </a:r>
          </a:p>
        </p:txBody>
      </p:sp>
      <p:sp>
        <p:nvSpPr>
          <p:cNvPr id="30" name="TextBox 29"/>
          <p:cNvSpPr txBox="1"/>
          <p:nvPr/>
        </p:nvSpPr>
        <p:spPr>
          <a:xfrm>
            <a:off x="281987" y="3964107"/>
            <a:ext cx="896425" cy="241381"/>
          </a:xfrm>
          <a:prstGeom prst="rect">
            <a:avLst/>
          </a:prstGeom>
          <a:noFill/>
        </p:spPr>
        <p:txBody>
          <a:bodyPr lIns="0" tIns="0" rIns="0" bIns="0" anchor="ctr">
            <a:spAutoFit/>
          </a:bodyPr>
          <a:lstStyle/>
          <a:p>
            <a:pPr defTabSz="914192">
              <a:defRPr/>
            </a:pPr>
            <a:r>
              <a:rPr lang="en-US" sz="1568" dirty="0">
                <a:gradFill>
                  <a:gsLst>
                    <a:gs pos="0">
                      <a:srgbClr val="FFFFFF"/>
                    </a:gs>
                    <a:gs pos="100000">
                      <a:srgbClr val="FFFFFF"/>
                    </a:gs>
                  </a:gsLst>
                  <a:lin ang="5400000" scaled="1"/>
                </a:gradFill>
                <a:ea typeface="ＭＳ Ｐゴシック" charset="0"/>
                <a:cs typeface="Segoe UI" panose="020B0502040204020203" pitchFamily="34" charset="0"/>
              </a:rPr>
              <a:t>Stories</a:t>
            </a:r>
          </a:p>
        </p:txBody>
      </p:sp>
      <p:sp>
        <p:nvSpPr>
          <p:cNvPr id="34" name="Rectangle 33"/>
          <p:cNvSpPr/>
          <p:nvPr/>
        </p:nvSpPr>
        <p:spPr bwMode="auto">
          <a:xfrm>
            <a:off x="4907843" y="2445423"/>
            <a:ext cx="1658386" cy="1658386"/>
          </a:xfrm>
          <a:prstGeom prst="rect">
            <a:avLst/>
          </a:prstGeom>
          <a:solidFill>
            <a:schemeClr val="accent1"/>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Transform </a:t>
            </a:r>
            <a:b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b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the datacenter</a:t>
            </a:r>
          </a:p>
          <a:p>
            <a:pPr defTabSz="914083" fontAlgn="base">
              <a:lnSpc>
                <a:spcPct val="90000"/>
              </a:lnSpc>
              <a:defRPr/>
            </a:pPr>
            <a:endParaRPr lang="en-US" sz="107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 Cross-C+E conversation that lands products within story (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36" name="Rectangle 35"/>
          <p:cNvSpPr/>
          <p:nvPr/>
        </p:nvSpPr>
        <p:spPr bwMode="auto">
          <a:xfrm>
            <a:off x="6607376" y="2445423"/>
            <a:ext cx="1706372" cy="1658386"/>
          </a:xfrm>
          <a:prstGeom prst="rect">
            <a:avLst/>
          </a:prstGeom>
          <a:solidFill>
            <a:srgbClr val="DC3C00"/>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Unlock insights on </a:t>
            </a:r>
            <a:b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b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any data</a:t>
            </a:r>
          </a:p>
          <a:p>
            <a:pPr defTabSz="914083" fontAlgn="base">
              <a:lnSpc>
                <a:spcPct val="90000"/>
              </a:lnSpc>
              <a:defRPr/>
            </a:pPr>
            <a:endParaRPr lang="en-US" sz="107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 Cross-C+E conversation that lands products within story </a:t>
            </a:r>
            <a:br>
              <a:rPr lang="en-US" sz="1029" kern="0" dirty="0">
                <a:solidFill>
                  <a:srgbClr val="FFFFFF"/>
                </a:solidFill>
                <a:ea typeface="Segoe UI" pitchFamily="34" charset="0"/>
                <a:cs typeface="Segoe UI" pitchFamily="34" charset="0"/>
              </a:rPr>
            </a:br>
            <a:r>
              <a:rPr lang="en-US" sz="1029" kern="0" dirty="0">
                <a:solidFill>
                  <a:srgbClr val="FFFFFF"/>
                </a:solidFill>
                <a:ea typeface="Segoe UI" pitchFamily="34" charset="0"/>
                <a:cs typeface="Segoe UI" pitchFamily="34" charset="0"/>
              </a:rPr>
              <a:t>(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38" name="Rectangle 37"/>
          <p:cNvSpPr/>
          <p:nvPr/>
        </p:nvSpPr>
        <p:spPr bwMode="auto">
          <a:xfrm>
            <a:off x="5765817" y="4150497"/>
            <a:ext cx="1645687" cy="1658386"/>
          </a:xfrm>
          <a:prstGeom prst="rect">
            <a:avLst/>
          </a:prstGeom>
          <a:solidFill>
            <a:srgbClr val="008272"/>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Empower enterprise mobility</a:t>
            </a:r>
          </a:p>
          <a:p>
            <a:pPr defTabSz="914083" fontAlgn="base">
              <a:lnSpc>
                <a:spcPct val="90000"/>
              </a:lnSpc>
              <a:defRPr/>
            </a:pPr>
            <a:endParaRPr lang="en-US" sz="1079" b="1"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a:t>
            </a:r>
            <a:r>
              <a:rPr lang="en-US" sz="1029" b="1" kern="0" dirty="0">
                <a:solidFill>
                  <a:srgbClr val="FFFFFF"/>
                </a:solidFill>
                <a:ea typeface="Segoe UI" pitchFamily="34" charset="0"/>
                <a:cs typeface="Segoe UI" pitchFamily="34" charset="0"/>
              </a:rPr>
              <a:t>: </a:t>
            </a:r>
            <a:r>
              <a:rPr lang="en-US" sz="1029" kern="0" dirty="0">
                <a:solidFill>
                  <a:srgbClr val="FFFFFF"/>
                </a:solidFill>
                <a:ea typeface="Segoe UI" pitchFamily="34" charset="0"/>
                <a:cs typeface="Segoe UI" pitchFamily="34" charset="0"/>
              </a:rPr>
              <a:t>Cross-STB conversation that lands products within story (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23" name="Rectangle 22"/>
          <p:cNvSpPr/>
          <p:nvPr/>
        </p:nvSpPr>
        <p:spPr bwMode="auto">
          <a:xfrm>
            <a:off x="10241654" y="2445423"/>
            <a:ext cx="1681874" cy="1658386"/>
          </a:xfrm>
          <a:prstGeom prst="rect">
            <a:avLst/>
          </a:prstGeom>
          <a:solidFill>
            <a:srgbClr val="00188F"/>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Internet </a:t>
            </a:r>
            <a:b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b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of Your Things</a:t>
            </a:r>
          </a:p>
          <a:p>
            <a:pPr defTabSz="914083" fontAlgn="base">
              <a:lnSpc>
                <a:spcPct val="90000"/>
              </a:lnSpc>
              <a:defRPr/>
            </a:pPr>
            <a:endParaRPr lang="en-US" sz="107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a:t>
            </a:r>
            <a:r>
              <a:rPr lang="en-US" sz="1029" kern="0">
                <a:solidFill>
                  <a:srgbClr val="FFFFFF"/>
                </a:solidFill>
                <a:ea typeface="Segoe UI" pitchFamily="34" charset="0"/>
                <a:cs typeface="Segoe UI" pitchFamily="34" charset="0"/>
              </a:rPr>
              <a:t>: Cross-C+E </a:t>
            </a:r>
            <a:r>
              <a:rPr lang="en-US" sz="1029" kern="0" dirty="0">
                <a:solidFill>
                  <a:srgbClr val="FFFFFF"/>
                </a:solidFill>
                <a:ea typeface="Segoe UI" pitchFamily="34" charset="0"/>
                <a:cs typeface="Segoe UI" pitchFamily="34" charset="0"/>
              </a:rPr>
              <a:t>conversation that lands products within story (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26" name="Rectangle 25"/>
          <p:cNvSpPr/>
          <p:nvPr/>
        </p:nvSpPr>
        <p:spPr bwMode="auto">
          <a:xfrm>
            <a:off x="1165664" y="1686936"/>
            <a:ext cx="3585699"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Segoe UI" pitchFamily="34" charset="0"/>
                <a:cs typeface="Segoe UI" pitchFamily="34" charset="0"/>
              </a:rPr>
              <a:t>Country Mgrs., Account Mgrs., BG leads, </a:t>
            </a:r>
            <a:br>
              <a:rPr lang="en-US" sz="1078" kern="0" dirty="0">
                <a:solidFill>
                  <a:srgbClr val="505050"/>
                </a:solidFill>
                <a:ea typeface="Segoe UI" pitchFamily="34" charset="0"/>
                <a:cs typeface="Segoe UI" pitchFamily="34" charset="0"/>
              </a:rPr>
            </a:br>
            <a:r>
              <a:rPr lang="en-US" sz="1078" kern="0" dirty="0">
                <a:solidFill>
                  <a:srgbClr val="505050"/>
                </a:solidFill>
                <a:ea typeface="Segoe UI" pitchFamily="34" charset="0"/>
                <a:cs typeface="Segoe UI" pitchFamily="34" charset="0"/>
              </a:rPr>
              <a:t>BG execs, and speakers</a:t>
            </a:r>
            <a:r>
              <a:rPr lang="en-US" sz="1078" b="1" kern="0" dirty="0">
                <a:solidFill>
                  <a:srgbClr val="505050"/>
                </a:solidFill>
                <a:ea typeface="ＭＳ Ｐゴシック" charset="0"/>
              </a:rPr>
              <a:t> </a:t>
            </a:r>
          </a:p>
        </p:txBody>
      </p:sp>
      <p:sp>
        <p:nvSpPr>
          <p:cNvPr id="27" name="TextBox 26"/>
          <p:cNvSpPr txBox="1"/>
          <p:nvPr/>
        </p:nvSpPr>
        <p:spPr>
          <a:xfrm>
            <a:off x="281987" y="1208871"/>
            <a:ext cx="896425" cy="241381"/>
          </a:xfrm>
          <a:prstGeom prst="rect">
            <a:avLst/>
          </a:prstGeom>
          <a:noFill/>
        </p:spPr>
        <p:txBody>
          <a:bodyPr lIns="0" tIns="0" rIns="0" bIns="0" anchor="ctr">
            <a:spAutoFit/>
          </a:bodyPr>
          <a:lstStyle/>
          <a:p>
            <a:pPr defTabSz="914192">
              <a:defRPr/>
            </a:pPr>
            <a:r>
              <a:rPr lang="en-US" sz="1568" dirty="0">
                <a:gradFill>
                  <a:gsLst>
                    <a:gs pos="0">
                      <a:srgbClr val="FFFFFF"/>
                    </a:gs>
                    <a:gs pos="100000">
                      <a:srgbClr val="FFFFFF"/>
                    </a:gs>
                  </a:gsLst>
                  <a:lin ang="5400000" scaled="1"/>
                </a:gradFill>
                <a:ea typeface="ＭＳ Ｐゴシック" charset="0"/>
                <a:cs typeface="Segoe UI" panose="020B0502040204020203" pitchFamily="34" charset="0"/>
              </a:rPr>
              <a:t>Audience</a:t>
            </a:r>
          </a:p>
        </p:txBody>
      </p:sp>
      <p:sp>
        <p:nvSpPr>
          <p:cNvPr id="5" name="Rectangle 4"/>
          <p:cNvSpPr/>
          <p:nvPr/>
        </p:nvSpPr>
        <p:spPr>
          <a:xfrm>
            <a:off x="1165664" y="1187939"/>
            <a:ext cx="3585699" cy="44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tIns="0" rIns="0" bIns="0" anchor="ctr"/>
          <a:lstStyle/>
          <a:p>
            <a:pPr defTabSz="914083" fontAlgn="base">
              <a:defRPr/>
            </a:pPr>
            <a:r>
              <a:rPr lang="en-US" sz="1961" kern="0" spc="-5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CIOs</a:t>
            </a:r>
          </a:p>
        </p:txBody>
      </p:sp>
      <p:sp>
        <p:nvSpPr>
          <p:cNvPr id="28" name="Rectangle 27"/>
          <p:cNvSpPr/>
          <p:nvPr/>
        </p:nvSpPr>
        <p:spPr>
          <a:xfrm>
            <a:off x="10241654" y="1187939"/>
            <a:ext cx="1681874" cy="44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tIns="0" rIns="0" bIns="0" anchor="ctr"/>
          <a:lstStyle/>
          <a:p>
            <a:pPr defTabSz="914083" fontAlgn="base">
              <a:defRPr/>
            </a:pPr>
            <a:r>
              <a:rPr lang="en-US" sz="1961" kern="0" spc="-50"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LoB</a:t>
            </a:r>
            <a:r>
              <a:rPr lang="en-US" sz="1961" kern="0" spc="-5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 DMs</a:t>
            </a:r>
          </a:p>
        </p:txBody>
      </p:sp>
      <p:sp>
        <p:nvSpPr>
          <p:cNvPr id="29" name="Rectangle 28"/>
          <p:cNvSpPr/>
          <p:nvPr/>
        </p:nvSpPr>
        <p:spPr>
          <a:xfrm>
            <a:off x="4907844" y="1187939"/>
            <a:ext cx="3405905" cy="44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tIns="0" rIns="0" bIns="0" anchor="ctr"/>
          <a:lstStyle/>
          <a:p>
            <a:pPr defTabSz="914083" fontAlgn="base">
              <a:defRPr/>
            </a:pPr>
            <a:r>
              <a:rPr lang="en-US" sz="1961" kern="0" spc="-5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ITDMs</a:t>
            </a:r>
          </a:p>
        </p:txBody>
      </p:sp>
      <p:sp>
        <p:nvSpPr>
          <p:cNvPr id="35" name="TextBox 34"/>
          <p:cNvSpPr txBox="1"/>
          <p:nvPr/>
        </p:nvSpPr>
        <p:spPr>
          <a:xfrm>
            <a:off x="281987" y="1790352"/>
            <a:ext cx="896425" cy="241381"/>
          </a:xfrm>
          <a:prstGeom prst="rect">
            <a:avLst/>
          </a:prstGeom>
          <a:noFill/>
        </p:spPr>
        <p:txBody>
          <a:bodyPr lIns="0" tIns="0" rIns="0" bIns="0" anchor="ctr">
            <a:spAutoFit/>
          </a:bodyPr>
          <a:lstStyle/>
          <a:p>
            <a:pPr defTabSz="914192">
              <a:defRPr/>
            </a:pPr>
            <a:r>
              <a:rPr lang="en-US" sz="1568" dirty="0">
                <a:gradFill>
                  <a:gsLst>
                    <a:gs pos="0">
                      <a:srgbClr val="FFFFFF"/>
                    </a:gs>
                    <a:gs pos="100000">
                      <a:srgbClr val="FFFFFF"/>
                    </a:gs>
                  </a:gsLst>
                  <a:lin ang="5400000" scaled="1"/>
                </a:gradFill>
                <a:ea typeface="ＭＳ Ｐゴシック" charset="0"/>
                <a:cs typeface="Segoe UI" panose="020B0502040204020203" pitchFamily="34" charset="0"/>
              </a:rPr>
              <a:t>Speakers</a:t>
            </a:r>
          </a:p>
        </p:txBody>
      </p:sp>
      <p:sp>
        <p:nvSpPr>
          <p:cNvPr id="37" name="Rectangle 36"/>
          <p:cNvSpPr/>
          <p:nvPr/>
        </p:nvSpPr>
        <p:spPr bwMode="auto">
          <a:xfrm>
            <a:off x="8439715" y="2445423"/>
            <a:ext cx="1658386" cy="1658386"/>
          </a:xfrm>
          <a:prstGeom prst="rect">
            <a:avLst/>
          </a:prstGeom>
          <a:solidFill>
            <a:srgbClr val="68217A"/>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Enable application innovation</a:t>
            </a:r>
          </a:p>
          <a:p>
            <a:pPr defTabSz="914083" fontAlgn="base">
              <a:lnSpc>
                <a:spcPct val="90000"/>
              </a:lnSpc>
              <a:defRPr/>
            </a:pPr>
            <a:endParaRPr lang="en-US" sz="107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 Cross-C+E conversation that lands products within story (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33" name="Rectangle 32"/>
          <p:cNvSpPr/>
          <p:nvPr/>
        </p:nvSpPr>
        <p:spPr>
          <a:xfrm>
            <a:off x="8439714" y="1187939"/>
            <a:ext cx="1667476" cy="44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tIns="0" rIns="0" bIns="0" anchor="ctr"/>
          <a:lstStyle/>
          <a:p>
            <a:pPr defTabSz="914083" fontAlgn="base">
              <a:defRPr/>
            </a:pPr>
            <a:r>
              <a:rPr lang="en-US" sz="1961" kern="100" spc="-98"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Ent. Architects</a:t>
            </a:r>
          </a:p>
        </p:txBody>
      </p:sp>
      <p:cxnSp>
        <p:nvCxnSpPr>
          <p:cNvPr id="8" name="Straight Connector 7"/>
          <p:cNvCxnSpPr/>
          <p:nvPr/>
        </p:nvCxnSpPr>
        <p:spPr>
          <a:xfrm>
            <a:off x="4826065" y="1196420"/>
            <a:ext cx="0" cy="535917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8372483" y="1208871"/>
            <a:ext cx="1800320" cy="4833146"/>
            <a:chOff x="8540368" y="1232614"/>
            <a:chExt cx="1836420" cy="4909106"/>
          </a:xfrm>
        </p:grpSpPr>
        <p:cxnSp>
          <p:nvCxnSpPr>
            <p:cNvPr id="31" name="Straight Connector 30"/>
            <p:cNvCxnSpPr/>
            <p:nvPr/>
          </p:nvCxnSpPr>
          <p:spPr>
            <a:xfrm>
              <a:off x="10376788" y="1232614"/>
              <a:ext cx="0" cy="490148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540368" y="1232614"/>
              <a:ext cx="0" cy="490910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sp>
        <p:nvSpPr>
          <p:cNvPr id="41" name="Rectangle 40"/>
          <p:cNvSpPr/>
          <p:nvPr/>
        </p:nvSpPr>
        <p:spPr bwMode="auto">
          <a:xfrm>
            <a:off x="1165664" y="6118275"/>
            <a:ext cx="1748027"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Segoe UI" pitchFamily="34" charset="0"/>
                <a:cs typeface="Segoe UI" pitchFamily="34" charset="0"/>
              </a:rPr>
              <a:t>Two to three-slide deck, script</a:t>
            </a:r>
          </a:p>
        </p:txBody>
      </p:sp>
      <p:sp>
        <p:nvSpPr>
          <p:cNvPr id="44" name="Rectangle 43"/>
          <p:cNvSpPr/>
          <p:nvPr/>
        </p:nvSpPr>
        <p:spPr bwMode="auto">
          <a:xfrm>
            <a:off x="4907843" y="6118275"/>
            <a:ext cx="7014918"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ＭＳ Ｐゴシック" charset="0"/>
              </a:rPr>
              <a:t>Each of the five conversations will have its own core BOM </a:t>
            </a:r>
          </a:p>
        </p:txBody>
      </p:sp>
      <p:sp>
        <p:nvSpPr>
          <p:cNvPr id="45" name="Rectangle 44"/>
          <p:cNvSpPr/>
          <p:nvPr/>
        </p:nvSpPr>
        <p:spPr bwMode="auto">
          <a:xfrm>
            <a:off x="2971260" y="6118275"/>
            <a:ext cx="1780102"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Segoe UI" pitchFamily="34" charset="0"/>
                <a:cs typeface="Segoe UI" pitchFamily="34" charset="0"/>
              </a:rPr>
              <a:t>Short deck, script, </a:t>
            </a:r>
            <a:br>
              <a:rPr lang="en-US" sz="1078" kern="0" dirty="0">
                <a:solidFill>
                  <a:srgbClr val="505050"/>
                </a:solidFill>
                <a:ea typeface="Segoe UI" pitchFamily="34" charset="0"/>
                <a:cs typeface="Segoe UI" pitchFamily="34" charset="0"/>
              </a:rPr>
            </a:br>
            <a:r>
              <a:rPr lang="en-US" sz="1078" kern="0" dirty="0">
                <a:solidFill>
                  <a:srgbClr val="505050"/>
                </a:solidFill>
                <a:ea typeface="Segoe UI" pitchFamily="34" charset="0"/>
                <a:cs typeface="Segoe UI" pitchFamily="34" charset="0"/>
              </a:rPr>
              <a:t>one-slide version</a:t>
            </a:r>
          </a:p>
        </p:txBody>
      </p:sp>
      <p:sp>
        <p:nvSpPr>
          <p:cNvPr id="25" name="Rectangle 24"/>
          <p:cNvSpPr/>
          <p:nvPr/>
        </p:nvSpPr>
        <p:spPr bwMode="auto">
          <a:xfrm>
            <a:off x="4907843" y="1686936"/>
            <a:ext cx="7014918"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ＭＳ Ｐゴシック" charset="0"/>
              </a:rPr>
              <a:t>Field Marketer, AM/ATS/Executive EBC presenter</a:t>
            </a:r>
          </a:p>
        </p:txBody>
      </p:sp>
    </p:spTree>
    <p:extLst>
      <p:ext uri="{BB962C8B-B14F-4D97-AF65-F5344CB8AC3E}">
        <p14:creationId xmlns:p14="http://schemas.microsoft.com/office/powerpoint/2010/main" val="14153614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4" dirty="0">
                <a:solidFill>
                  <a:srgbClr val="FFFFFF"/>
                </a:solidFill>
              </a:rPr>
              <a:t>Transform the datacenter - storyline</a:t>
            </a:r>
            <a:endParaRPr lang="en-US" sz="4704" dirty="0">
              <a:solidFill>
                <a:srgbClr val="FFFFFF"/>
              </a:solidFill>
            </a:endParaRPr>
          </a:p>
        </p:txBody>
      </p:sp>
      <p:sp>
        <p:nvSpPr>
          <p:cNvPr id="3" name="Slide Number Placeholder 2"/>
          <p:cNvSpPr>
            <a:spLocks noGrp="1"/>
          </p:cNvSpPr>
          <p:nvPr>
            <p:ph type="sldNum" sz="quarter" idx="11"/>
          </p:nvPr>
        </p:nvSpPr>
        <p:spPr>
          <a:prstGeom prst="rect">
            <a:avLst/>
          </a:prstGeom>
        </p:spPr>
        <p:txBody>
          <a:bodyPr/>
          <a:lstStyle/>
          <a:p>
            <a:pPr defTabSz="1218996">
              <a:lnSpc>
                <a:spcPct val="90000"/>
              </a:lnSpc>
            </a:pPr>
            <a:fld id="{1BC86A1F-E589-44B2-A543-2EC98F5547A7}" type="slidenum">
              <a:rPr>
                <a:gradFill>
                  <a:gsLst>
                    <a:gs pos="0">
                      <a:srgbClr val="505050"/>
                    </a:gs>
                    <a:gs pos="100000">
                      <a:srgbClr val="505050"/>
                    </a:gs>
                  </a:gsLst>
                  <a:lin ang="5400000" scaled="0"/>
                </a:gradFill>
              </a:rPr>
              <a:pPr defTabSz="1218996">
                <a:lnSpc>
                  <a:spcPct val="90000"/>
                </a:lnSpc>
              </a:pPr>
              <a:t>38</a:t>
            </a:fld>
            <a:endParaRPr dirty="0">
              <a:gradFill>
                <a:gsLst>
                  <a:gs pos="0">
                    <a:srgbClr val="505050"/>
                  </a:gs>
                  <a:gs pos="100000">
                    <a:srgbClr val="505050"/>
                  </a:gs>
                </a:gsLst>
                <a:lin ang="5400000" scaled="0"/>
              </a:gradFill>
            </a:endParaRPr>
          </a:p>
        </p:txBody>
      </p:sp>
      <p:grpSp>
        <p:nvGrpSpPr>
          <p:cNvPr id="10" name="Group 9"/>
          <p:cNvGrpSpPr/>
          <p:nvPr/>
        </p:nvGrpSpPr>
        <p:grpSpPr>
          <a:xfrm>
            <a:off x="486425" y="964880"/>
            <a:ext cx="2610418" cy="5679586"/>
            <a:chOff x="650420" y="983731"/>
            <a:chExt cx="2662762" cy="5793474"/>
          </a:xfrm>
        </p:grpSpPr>
        <p:sp>
          <p:nvSpPr>
            <p:cNvPr id="5" name="Rectangle 4"/>
            <p:cNvSpPr/>
            <p:nvPr/>
          </p:nvSpPr>
          <p:spPr bwMode="auto">
            <a:xfrm>
              <a:off x="650420" y="1481180"/>
              <a:ext cx="2662762" cy="52960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766" dirty="0">
                <a:gradFill>
                  <a:gsLst>
                    <a:gs pos="0">
                      <a:srgbClr val="FFFFFF"/>
                    </a:gs>
                    <a:gs pos="100000">
                      <a:srgbClr val="FFFFFF"/>
                    </a:gs>
                  </a:gsLst>
                  <a:lin ang="5400000" scaled="0"/>
                </a:gradFill>
              </a:endParaRPr>
            </a:p>
          </p:txBody>
        </p:sp>
        <p:sp>
          <p:nvSpPr>
            <p:cNvPr id="13" name="TextBox 12"/>
            <p:cNvSpPr txBox="1"/>
            <p:nvPr/>
          </p:nvSpPr>
          <p:spPr>
            <a:xfrm>
              <a:off x="683280" y="1514816"/>
              <a:ext cx="2427936" cy="1043705"/>
            </a:xfrm>
            <a:prstGeom prst="rect">
              <a:avLst/>
            </a:prstGeom>
            <a:noFill/>
          </p:spPr>
          <p:txBody>
            <a:bodyPr wrap="square" lIns="179259" tIns="143407" rIns="179259" bIns="143407" rtlCol="0">
              <a:spAutoFit/>
            </a:bodyPr>
            <a:lstStyle/>
            <a:p>
              <a:pPr defTabSz="914072">
                <a:lnSpc>
                  <a:spcPct val="90000"/>
                </a:lnSpc>
              </a:pPr>
              <a:r>
                <a:rPr lang="en-US" sz="1766" spc="-49" dirty="0">
                  <a:gradFill>
                    <a:gsLst>
                      <a:gs pos="2917">
                        <a:srgbClr val="505050"/>
                      </a:gs>
                      <a:gs pos="30000">
                        <a:srgbClr val="505050"/>
                      </a:gs>
                    </a:gsLst>
                    <a:lin ang="5400000" scaled="0"/>
                  </a:gradFill>
                </a:rPr>
                <a:t>Establish landscape and current business situation</a:t>
              </a:r>
            </a:p>
          </p:txBody>
        </p:sp>
        <p:sp>
          <p:nvSpPr>
            <p:cNvPr id="29" name="TextBox 28"/>
            <p:cNvSpPr txBox="1"/>
            <p:nvPr/>
          </p:nvSpPr>
          <p:spPr>
            <a:xfrm>
              <a:off x="650420" y="983731"/>
              <a:ext cx="2662762" cy="489322"/>
            </a:xfrm>
            <a:prstGeom prst="rect">
              <a:avLst/>
            </a:prstGeom>
            <a:noFill/>
          </p:spPr>
          <p:txBody>
            <a:bodyPr wrap="square" lIns="179259" tIns="143407" rIns="179259" bIns="143407" rtlCol="0">
              <a:spAutoFit/>
            </a:bodyPr>
            <a:lstStyle/>
            <a:p>
              <a:pPr algn="ctr" defTabSz="914072">
                <a:lnSpc>
                  <a:spcPct val="90000"/>
                </a:lnSpc>
              </a:pPr>
              <a:r>
                <a:rPr lang="en-US" sz="1372" spc="-49" dirty="0">
                  <a:solidFill>
                    <a:srgbClr val="EFEFEF"/>
                  </a:solidFill>
                </a:rPr>
                <a:t>Opening</a:t>
              </a:r>
            </a:p>
          </p:txBody>
        </p:sp>
        <p:pic>
          <p:nvPicPr>
            <p:cNvPr id="1026" name="Picture 2"/>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791735" y="2629739"/>
              <a:ext cx="2374533" cy="1334538"/>
            </a:xfrm>
            <a:prstGeom prst="rect">
              <a:avLst/>
            </a:prstGeom>
            <a:noFill/>
            <a:extLst>
              <a:ext uri="{909E8E84-426E-40dd-AFC4-6F175D3DCCD1}">
                <a14:hiddenFill xmlns="" xmlns:a14="http://schemas.microsoft.com/office/drawing/2010/main">
                  <a:solidFill>
                    <a:srgbClr val="FFFFFF"/>
                  </a:solidFill>
                </a14:hiddenFill>
              </a:ext>
            </a:extLst>
          </p:spPr>
        </p:pic>
        <p:pic>
          <p:nvPicPr>
            <p:cNvPr id="1027" name="Picture 3"/>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703675" y="5244882"/>
              <a:ext cx="2597987" cy="1460125"/>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1" name="Group 10"/>
          <p:cNvGrpSpPr/>
          <p:nvPr/>
        </p:nvGrpSpPr>
        <p:grpSpPr>
          <a:xfrm>
            <a:off x="3304275" y="964880"/>
            <a:ext cx="2621836" cy="5679586"/>
            <a:chOff x="3469480" y="983731"/>
            <a:chExt cx="2674409" cy="5793474"/>
          </a:xfrm>
        </p:grpSpPr>
        <p:sp>
          <p:nvSpPr>
            <p:cNvPr id="6" name="Rectangle 5"/>
            <p:cNvSpPr/>
            <p:nvPr/>
          </p:nvSpPr>
          <p:spPr bwMode="auto">
            <a:xfrm>
              <a:off x="3470496" y="1491910"/>
              <a:ext cx="2662762" cy="528529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766" dirty="0">
                <a:gradFill>
                  <a:gsLst>
                    <a:gs pos="0">
                      <a:srgbClr val="FFFFFF"/>
                    </a:gs>
                    <a:gs pos="100000">
                      <a:srgbClr val="FFFFFF"/>
                    </a:gs>
                  </a:gsLst>
                  <a:lin ang="5400000" scaled="0"/>
                </a:gradFill>
              </a:endParaRPr>
            </a:p>
          </p:txBody>
        </p:sp>
        <p:sp>
          <p:nvSpPr>
            <p:cNvPr id="24" name="TextBox 23"/>
            <p:cNvSpPr txBox="1"/>
            <p:nvPr/>
          </p:nvSpPr>
          <p:spPr>
            <a:xfrm>
              <a:off x="3470497" y="1558539"/>
              <a:ext cx="2577224" cy="544850"/>
            </a:xfrm>
            <a:prstGeom prst="rect">
              <a:avLst/>
            </a:prstGeom>
            <a:noFill/>
          </p:spPr>
          <p:txBody>
            <a:bodyPr wrap="square" lIns="179259" tIns="143407" rIns="179259" bIns="143407" rtlCol="0">
              <a:spAutoFit/>
            </a:bodyPr>
            <a:lstStyle/>
            <a:p>
              <a:pPr defTabSz="914072">
                <a:lnSpc>
                  <a:spcPct val="90000"/>
                </a:lnSpc>
              </a:pPr>
              <a:r>
                <a:rPr lang="en-US" sz="1766" spc="-49" dirty="0">
                  <a:gradFill>
                    <a:gsLst>
                      <a:gs pos="2917">
                        <a:srgbClr val="505050"/>
                      </a:gs>
                      <a:gs pos="30000">
                        <a:srgbClr val="505050"/>
                      </a:gs>
                    </a:gsLst>
                    <a:lin ang="5400000" scaled="0"/>
                  </a:gradFill>
                </a:rPr>
                <a:t> </a:t>
              </a:r>
            </a:p>
          </p:txBody>
        </p:sp>
        <p:sp>
          <p:nvSpPr>
            <p:cNvPr id="28" name="TextBox 27"/>
            <p:cNvSpPr txBox="1"/>
            <p:nvPr/>
          </p:nvSpPr>
          <p:spPr>
            <a:xfrm>
              <a:off x="3469481" y="4071782"/>
              <a:ext cx="2674408" cy="2041414"/>
            </a:xfrm>
            <a:prstGeom prst="rect">
              <a:avLst/>
            </a:prstGeom>
            <a:noFill/>
          </p:spPr>
          <p:txBody>
            <a:bodyPr wrap="square" lIns="179259" tIns="143407" rIns="179259" bIns="143407" rtlCol="0">
              <a:spAutoFit/>
            </a:bodyPr>
            <a:lstStyle/>
            <a:p>
              <a:pPr marL="280102" lvl="1" indent="-280102" defTabSz="914072">
                <a:lnSpc>
                  <a:spcPct val="90000"/>
                </a:lnSpc>
                <a:buFont typeface="Arial" panose="020B0604020202020204" pitchFamily="34" charset="0"/>
                <a:buChar char="•"/>
              </a:pPr>
              <a:endParaRPr lang="en-US" sz="1766" spc="-49" dirty="0">
                <a:gradFill>
                  <a:gsLst>
                    <a:gs pos="2917">
                      <a:srgbClr val="505050"/>
                    </a:gs>
                    <a:gs pos="30000">
                      <a:srgbClr val="505050"/>
                    </a:gs>
                  </a:gsLst>
                  <a:lin ang="5400000" scaled="0"/>
                </a:gradFill>
              </a:endParaRPr>
            </a:p>
            <a:p>
              <a:pPr marL="280102" lvl="1" indent="-280102" defTabSz="914072">
                <a:lnSpc>
                  <a:spcPct val="90000"/>
                </a:lnSpc>
                <a:buFont typeface="Arial" panose="020B0604020202020204" pitchFamily="34" charset="0"/>
                <a:buChar char="•"/>
              </a:pPr>
              <a:r>
                <a:rPr lang="en-US" sz="1766" spc="-49" dirty="0">
                  <a:gradFill>
                    <a:gsLst>
                      <a:gs pos="2917">
                        <a:srgbClr val="505050"/>
                      </a:gs>
                      <a:gs pos="30000">
                        <a:srgbClr val="505050"/>
                      </a:gs>
                    </a:gsLst>
                    <a:lin ang="5400000" scaled="0"/>
                  </a:gradFill>
                </a:rPr>
                <a:t>Standardize your approach</a:t>
              </a:r>
            </a:p>
            <a:p>
              <a:pPr marL="280102" lvl="1" indent="-280102" defTabSz="914072">
                <a:lnSpc>
                  <a:spcPct val="90000"/>
                </a:lnSpc>
                <a:buFont typeface="Arial" panose="020B0604020202020204" pitchFamily="34" charset="0"/>
                <a:buChar char="•"/>
              </a:pPr>
              <a:r>
                <a:rPr lang="en-US" sz="1766" spc="-49" dirty="0">
                  <a:gradFill>
                    <a:gsLst>
                      <a:gs pos="2917">
                        <a:srgbClr val="505050"/>
                      </a:gs>
                      <a:gs pos="30000">
                        <a:srgbClr val="505050"/>
                      </a:gs>
                    </a:gsLst>
                    <a:lin ang="5400000" scaled="0"/>
                  </a:gradFill>
                </a:rPr>
                <a:t>Automate manual processes</a:t>
              </a:r>
            </a:p>
            <a:p>
              <a:pPr marL="280102" lvl="1" indent="-280102" defTabSz="914072">
                <a:lnSpc>
                  <a:spcPct val="90000"/>
                </a:lnSpc>
                <a:buFont typeface="Arial" panose="020B0604020202020204" pitchFamily="34" charset="0"/>
                <a:buChar char="•"/>
              </a:pPr>
              <a:r>
                <a:rPr lang="en-US" sz="1766" spc="-49" dirty="0">
                  <a:gradFill>
                    <a:gsLst>
                      <a:gs pos="2917">
                        <a:srgbClr val="505050"/>
                      </a:gs>
                      <a:gs pos="30000">
                        <a:srgbClr val="505050"/>
                      </a:gs>
                    </a:gsLst>
                    <a:lin ang="5400000" scaled="0"/>
                  </a:gradFill>
                </a:rPr>
                <a:t>Increase resilience and scale</a:t>
              </a:r>
            </a:p>
          </p:txBody>
        </p:sp>
        <p:sp>
          <p:nvSpPr>
            <p:cNvPr id="31" name="TextBox 30"/>
            <p:cNvSpPr txBox="1"/>
            <p:nvPr/>
          </p:nvSpPr>
          <p:spPr>
            <a:xfrm>
              <a:off x="3469480" y="983731"/>
              <a:ext cx="2663777" cy="489322"/>
            </a:xfrm>
            <a:prstGeom prst="rect">
              <a:avLst/>
            </a:prstGeom>
            <a:noFill/>
          </p:spPr>
          <p:txBody>
            <a:bodyPr wrap="square" lIns="179259" tIns="143407" rIns="179259" bIns="143407" rtlCol="0">
              <a:spAutoFit/>
            </a:bodyPr>
            <a:lstStyle/>
            <a:p>
              <a:pPr algn="ctr" defTabSz="914072">
                <a:lnSpc>
                  <a:spcPct val="90000"/>
                </a:lnSpc>
              </a:pPr>
              <a:r>
                <a:rPr lang="en-US" sz="1372" spc="-49" dirty="0">
                  <a:solidFill>
                    <a:srgbClr val="EFEFEF"/>
                  </a:solidFill>
                </a:rPr>
                <a:t>The goal</a:t>
              </a:r>
            </a:p>
          </p:txBody>
        </p:sp>
        <p:pic>
          <p:nvPicPr>
            <p:cNvPr id="1028" name="Picture 4"/>
            <p:cNvPicPr>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3621862" y="2895671"/>
              <a:ext cx="2383868" cy="1339785"/>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9" name="Group 8"/>
          <p:cNvGrpSpPr/>
          <p:nvPr/>
        </p:nvGrpSpPr>
        <p:grpSpPr>
          <a:xfrm>
            <a:off x="6133543" y="964880"/>
            <a:ext cx="2620842" cy="5679586"/>
            <a:chOff x="6207902" y="983731"/>
            <a:chExt cx="2673395" cy="5793474"/>
          </a:xfrm>
        </p:grpSpPr>
        <p:sp>
          <p:nvSpPr>
            <p:cNvPr id="7" name="Rectangle 6"/>
            <p:cNvSpPr/>
            <p:nvPr/>
          </p:nvSpPr>
          <p:spPr bwMode="auto">
            <a:xfrm>
              <a:off x="6207903" y="1491910"/>
              <a:ext cx="2662762" cy="528529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766" dirty="0">
                <a:gradFill>
                  <a:gsLst>
                    <a:gs pos="0">
                      <a:srgbClr val="FFFFFF"/>
                    </a:gs>
                    <a:gs pos="100000">
                      <a:srgbClr val="FFFFFF"/>
                    </a:gs>
                  </a:gsLst>
                  <a:lin ang="5400000" scaled="0"/>
                </a:gradFill>
              </a:endParaRPr>
            </a:p>
          </p:txBody>
        </p:sp>
        <p:sp>
          <p:nvSpPr>
            <p:cNvPr id="32" name="TextBox 31"/>
            <p:cNvSpPr txBox="1"/>
            <p:nvPr/>
          </p:nvSpPr>
          <p:spPr>
            <a:xfrm>
              <a:off x="6207903" y="983731"/>
              <a:ext cx="2662344" cy="489322"/>
            </a:xfrm>
            <a:prstGeom prst="rect">
              <a:avLst/>
            </a:prstGeom>
            <a:noFill/>
          </p:spPr>
          <p:txBody>
            <a:bodyPr wrap="square" lIns="179259" tIns="143407" rIns="179259" bIns="143407" rtlCol="0">
              <a:spAutoFit/>
            </a:bodyPr>
            <a:lstStyle/>
            <a:p>
              <a:pPr algn="ctr" defTabSz="914072">
                <a:lnSpc>
                  <a:spcPct val="90000"/>
                </a:lnSpc>
              </a:pPr>
              <a:r>
                <a:rPr lang="en-US" sz="1372" spc="-49" dirty="0">
                  <a:solidFill>
                    <a:srgbClr val="EFEFEF"/>
                  </a:solidFill>
                </a:rPr>
                <a:t>The pillars</a:t>
              </a:r>
            </a:p>
          </p:txBody>
        </p:sp>
        <p:pic>
          <p:nvPicPr>
            <p:cNvPr id="1029" name="Picture 5"/>
            <p:cNvPicPr>
              <a:picLocks noChangeAspect="1" noChangeArrowheads="1"/>
            </p:cNvPicPr>
            <p:nvPr/>
          </p:nvPicPr>
          <p:blipFill>
            <a:blip r:embed="rId6" cstate="screen">
              <a:extLst>
                <a:ext uri="{28A0092B-C50C-407E-A947-70E740481C1C}">
                  <a14:useLocalDpi xmlns:a14="http://schemas.microsoft.com/office/drawing/2010/main" val="0"/>
                </a:ext>
              </a:extLst>
            </a:blip>
            <a:stretch>
              <a:fillRect/>
            </a:stretch>
          </p:blipFill>
          <p:spPr bwMode="auto">
            <a:xfrm>
              <a:off x="6260450" y="1560827"/>
              <a:ext cx="2609796" cy="1466761"/>
            </a:xfrm>
            <a:prstGeom prst="rect">
              <a:avLst/>
            </a:prstGeom>
            <a:noFill/>
            <a:extLst>
              <a:ext uri="{909E8E84-426E-40dd-AFC4-6F175D3DCCD1}">
                <a14:hiddenFill xmlns="" xmlns:a14="http://schemas.microsoft.com/office/drawing/2010/main">
                  <a:solidFill>
                    <a:srgbClr val="FFFFFF"/>
                  </a:solidFill>
                </a14:hiddenFill>
              </a:ext>
            </a:extLst>
          </p:spPr>
        </p:pic>
        <p:sp>
          <p:nvSpPr>
            <p:cNvPr id="27" name="TextBox 26"/>
            <p:cNvSpPr txBox="1"/>
            <p:nvPr/>
          </p:nvSpPr>
          <p:spPr>
            <a:xfrm>
              <a:off x="6207904" y="2376631"/>
              <a:ext cx="2669382" cy="920378"/>
            </a:xfrm>
            <a:prstGeom prst="rect">
              <a:avLst/>
            </a:prstGeom>
            <a:solidFill>
              <a:schemeClr val="accent6">
                <a:alpha val="75000"/>
              </a:schemeClr>
            </a:solidFill>
          </p:spPr>
          <p:txBody>
            <a:bodyPr wrap="square" lIns="179259" tIns="143407" rIns="179259" bIns="143407" rtlCol="0" anchor="ctr">
              <a:noAutofit/>
            </a:bodyPr>
            <a:lstStyle/>
            <a:p>
              <a:pPr algn="ctr" defTabSz="914072">
                <a:lnSpc>
                  <a:spcPct val="90000"/>
                </a:lnSpc>
              </a:pPr>
              <a:r>
                <a:rPr lang="en-US" sz="1765" spc="-49" dirty="0">
                  <a:solidFill>
                    <a:srgbClr val="FFFFFF"/>
                  </a:solidFill>
                </a:rPr>
                <a:t>Build a software-defined foundation</a:t>
              </a:r>
            </a:p>
          </p:txBody>
        </p:sp>
        <p:pic>
          <p:nvPicPr>
            <p:cNvPr id="1030" name="Picture 6"/>
            <p:cNvPicPr>
              <a:picLocks noChangeAspect="1" noChangeArrowheads="1"/>
            </p:cNvPicPr>
            <p:nvPr/>
          </p:nvPicPr>
          <p:blipFill>
            <a:blip r:embed="rId7" cstate="screen">
              <a:extLst>
                <a:ext uri="{28A0092B-C50C-407E-A947-70E740481C1C}">
                  <a14:useLocalDpi xmlns:a14="http://schemas.microsoft.com/office/drawing/2010/main" val="0"/>
                </a:ext>
              </a:extLst>
            </a:blip>
            <a:stretch>
              <a:fillRect/>
            </a:stretch>
          </p:blipFill>
          <p:spPr bwMode="auto">
            <a:xfrm>
              <a:off x="6281277" y="3427530"/>
              <a:ext cx="2516012" cy="1414052"/>
            </a:xfrm>
            <a:prstGeom prst="rect">
              <a:avLst/>
            </a:prstGeom>
            <a:noFill/>
            <a:extLst>
              <a:ext uri="{909E8E84-426E-40dd-AFC4-6F175D3DCCD1}">
                <a14:hiddenFill xmlns="" xmlns:a14="http://schemas.microsoft.com/office/drawing/2010/main">
                  <a:solidFill>
                    <a:srgbClr val="FFFFFF"/>
                  </a:solidFill>
                </a14:hiddenFill>
              </a:ext>
            </a:extLst>
          </p:spPr>
        </p:pic>
        <p:sp>
          <p:nvSpPr>
            <p:cNvPr id="30" name="TextBox 29"/>
            <p:cNvSpPr txBox="1"/>
            <p:nvPr/>
          </p:nvSpPr>
          <p:spPr>
            <a:xfrm>
              <a:off x="6207902" y="4134557"/>
              <a:ext cx="2673395" cy="920378"/>
            </a:xfrm>
            <a:prstGeom prst="rect">
              <a:avLst/>
            </a:prstGeom>
            <a:solidFill>
              <a:schemeClr val="accent6">
                <a:alpha val="75000"/>
              </a:schemeClr>
            </a:solidFill>
          </p:spPr>
          <p:txBody>
            <a:bodyPr wrap="square" lIns="179259" tIns="143407" rIns="179259" bIns="143407" rtlCol="0" anchor="ctr">
              <a:noAutofit/>
            </a:bodyPr>
            <a:lstStyle/>
            <a:p>
              <a:pPr algn="ctr" defTabSz="914072">
                <a:lnSpc>
                  <a:spcPct val="90000"/>
                </a:lnSpc>
              </a:pPr>
              <a:r>
                <a:rPr lang="en-US" sz="1765" spc="-49" dirty="0">
                  <a:solidFill>
                    <a:srgbClr val="FFFFFF"/>
                  </a:solidFill>
                </a:rPr>
                <a:t>Automate and secure your infrastructure</a:t>
              </a:r>
            </a:p>
          </p:txBody>
        </p:sp>
        <p:pic>
          <p:nvPicPr>
            <p:cNvPr id="1031" name="Picture 7"/>
            <p:cNvPicPr>
              <a:picLocks noChangeAspect="1" noChangeArrowheads="1"/>
            </p:cNvPicPr>
            <p:nvPr/>
          </p:nvPicPr>
          <p:blipFill>
            <a:blip r:embed="rId8" cstate="screen">
              <a:extLst>
                <a:ext uri="{28A0092B-C50C-407E-A947-70E740481C1C}">
                  <a14:useLocalDpi xmlns:a14="http://schemas.microsoft.com/office/drawing/2010/main" val="0"/>
                </a:ext>
              </a:extLst>
            </a:blip>
            <a:stretch>
              <a:fillRect/>
            </a:stretch>
          </p:blipFill>
          <p:spPr bwMode="auto">
            <a:xfrm>
              <a:off x="6306205" y="5114973"/>
              <a:ext cx="2453678" cy="1379019"/>
            </a:xfrm>
            <a:prstGeom prst="rect">
              <a:avLst/>
            </a:prstGeom>
            <a:noFill/>
            <a:extLst>
              <a:ext uri="{909E8E84-426E-40dd-AFC4-6F175D3DCCD1}">
                <a14:hiddenFill xmlns="" xmlns:a14="http://schemas.microsoft.com/office/drawing/2010/main">
                  <a:solidFill>
                    <a:srgbClr val="FFFFFF"/>
                  </a:solidFill>
                </a14:hiddenFill>
              </a:ext>
            </a:extLst>
          </p:spPr>
        </p:pic>
        <p:sp>
          <p:nvSpPr>
            <p:cNvPr id="34" name="TextBox 33"/>
            <p:cNvSpPr txBox="1"/>
            <p:nvPr/>
          </p:nvSpPr>
          <p:spPr>
            <a:xfrm>
              <a:off x="6207903" y="5840119"/>
              <a:ext cx="2673394" cy="937086"/>
            </a:xfrm>
            <a:prstGeom prst="rect">
              <a:avLst/>
            </a:prstGeom>
            <a:solidFill>
              <a:schemeClr val="accent6">
                <a:alpha val="75000"/>
              </a:schemeClr>
            </a:solidFill>
          </p:spPr>
          <p:txBody>
            <a:bodyPr wrap="square" lIns="0" tIns="143407" rIns="0" bIns="143407" rtlCol="0" anchor="ctr">
              <a:noAutofit/>
            </a:bodyPr>
            <a:lstStyle/>
            <a:p>
              <a:pPr algn="ctr" defTabSz="914072">
                <a:lnSpc>
                  <a:spcPct val="90000"/>
                </a:lnSpc>
              </a:pPr>
              <a:r>
                <a:rPr lang="en-US" sz="1765" spc="-49" dirty="0">
                  <a:solidFill>
                    <a:srgbClr val="FFFFFF"/>
                  </a:solidFill>
                </a:rPr>
                <a:t>Extend to the cloud on demand</a:t>
              </a:r>
            </a:p>
          </p:txBody>
        </p:sp>
      </p:grpSp>
      <p:grpSp>
        <p:nvGrpSpPr>
          <p:cNvPr id="4" name="Group 3"/>
          <p:cNvGrpSpPr/>
          <p:nvPr/>
        </p:nvGrpSpPr>
        <p:grpSpPr>
          <a:xfrm>
            <a:off x="8961815" y="964880"/>
            <a:ext cx="2611291" cy="5669067"/>
            <a:chOff x="8985752" y="983731"/>
            <a:chExt cx="2663653" cy="5782744"/>
          </a:xfrm>
        </p:grpSpPr>
        <p:sp>
          <p:nvSpPr>
            <p:cNvPr id="8" name="Rectangle 7"/>
            <p:cNvSpPr/>
            <p:nvPr/>
          </p:nvSpPr>
          <p:spPr bwMode="auto">
            <a:xfrm>
              <a:off x="8986643" y="1481180"/>
              <a:ext cx="2662762" cy="528529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4043" fontAlgn="base">
                <a:spcBef>
                  <a:spcPct val="0"/>
                </a:spcBef>
                <a:spcAft>
                  <a:spcPct val="0"/>
                </a:spcAft>
              </a:pPr>
              <a:endParaRPr lang="en-US" sz="1766" dirty="0">
                <a:gradFill>
                  <a:gsLst>
                    <a:gs pos="0">
                      <a:srgbClr val="FFFFFF"/>
                    </a:gs>
                    <a:gs pos="100000">
                      <a:srgbClr val="FFFFFF"/>
                    </a:gs>
                  </a:gsLst>
                  <a:lin ang="5400000" scaled="0"/>
                </a:gradFill>
              </a:endParaRPr>
            </a:p>
          </p:txBody>
        </p:sp>
        <p:sp>
          <p:nvSpPr>
            <p:cNvPr id="18" name="TextBox 17"/>
            <p:cNvSpPr txBox="1"/>
            <p:nvPr/>
          </p:nvSpPr>
          <p:spPr>
            <a:xfrm>
              <a:off x="9046067" y="1639493"/>
              <a:ext cx="2427936" cy="794278"/>
            </a:xfrm>
            <a:prstGeom prst="rect">
              <a:avLst/>
            </a:prstGeom>
            <a:noFill/>
          </p:spPr>
          <p:txBody>
            <a:bodyPr wrap="square" lIns="179259" tIns="143407" rIns="179259" bIns="143407" rtlCol="0">
              <a:spAutoFit/>
            </a:bodyPr>
            <a:lstStyle/>
            <a:p>
              <a:pPr defTabSz="914072">
                <a:lnSpc>
                  <a:spcPct val="90000"/>
                </a:lnSpc>
              </a:pPr>
              <a:r>
                <a:rPr lang="en-US" sz="1766" spc="-49" dirty="0">
                  <a:gradFill>
                    <a:gsLst>
                      <a:gs pos="2917">
                        <a:srgbClr val="505050"/>
                      </a:gs>
                      <a:gs pos="30000">
                        <a:srgbClr val="505050"/>
                      </a:gs>
                    </a:gsLst>
                    <a:lin ang="5400000" scaled="0"/>
                  </a:gradFill>
                </a:rPr>
                <a:t>Cloud is integral to everything you do:</a:t>
              </a:r>
            </a:p>
          </p:txBody>
        </p:sp>
        <p:sp>
          <p:nvSpPr>
            <p:cNvPr id="19" name="TextBox 18"/>
            <p:cNvSpPr txBox="1"/>
            <p:nvPr/>
          </p:nvSpPr>
          <p:spPr>
            <a:xfrm>
              <a:off x="9088084" y="4341499"/>
              <a:ext cx="2427936" cy="1791987"/>
            </a:xfrm>
            <a:prstGeom prst="rect">
              <a:avLst/>
            </a:prstGeom>
            <a:noFill/>
          </p:spPr>
          <p:txBody>
            <a:bodyPr wrap="square" lIns="179259" tIns="143407" rIns="179259" bIns="143407" rtlCol="0">
              <a:spAutoFit/>
            </a:bodyPr>
            <a:lstStyle/>
            <a:p>
              <a:pPr marL="280102" lvl="1" indent="-280102" defTabSz="914072">
                <a:lnSpc>
                  <a:spcPct val="90000"/>
                </a:lnSpc>
                <a:buFont typeface="Arial" panose="020B0604020202020204" pitchFamily="34" charset="0"/>
                <a:buChar char="•"/>
              </a:pPr>
              <a:r>
                <a:rPr lang="en-US" sz="1766" spc="-49" dirty="0">
                  <a:gradFill>
                    <a:gsLst>
                      <a:gs pos="2917">
                        <a:srgbClr val="505050"/>
                      </a:gs>
                      <a:gs pos="30000">
                        <a:srgbClr val="505050"/>
                      </a:gs>
                    </a:gsLst>
                    <a:lin ang="5400000" scaled="0"/>
                  </a:gradFill>
                </a:rPr>
                <a:t>Reduce cost and complexity</a:t>
              </a:r>
            </a:p>
            <a:p>
              <a:pPr marL="280102" lvl="1" indent="-280102" defTabSz="914072">
                <a:lnSpc>
                  <a:spcPct val="90000"/>
                </a:lnSpc>
                <a:buFont typeface="Arial" panose="020B0604020202020204" pitchFamily="34" charset="0"/>
                <a:buChar char="•"/>
              </a:pPr>
              <a:r>
                <a:rPr lang="en-US" sz="1766" spc="-49" dirty="0">
                  <a:gradFill>
                    <a:gsLst>
                      <a:gs pos="2917">
                        <a:srgbClr val="505050"/>
                      </a:gs>
                      <a:gs pos="30000">
                        <a:srgbClr val="505050"/>
                      </a:gs>
                    </a:gsLst>
                    <a:lin ang="5400000" scaled="0"/>
                  </a:gradFill>
                </a:rPr>
                <a:t>Rapid response to the business</a:t>
              </a:r>
            </a:p>
            <a:p>
              <a:pPr marL="280102" lvl="1" indent="-280102" defTabSz="914072">
                <a:lnSpc>
                  <a:spcPct val="90000"/>
                </a:lnSpc>
                <a:buFont typeface="Arial" panose="020B0604020202020204" pitchFamily="34" charset="0"/>
                <a:buChar char="•"/>
              </a:pPr>
              <a:r>
                <a:rPr lang="en-US" sz="1766" spc="-49" dirty="0">
                  <a:gradFill>
                    <a:gsLst>
                      <a:gs pos="2917">
                        <a:srgbClr val="505050"/>
                      </a:gs>
                      <a:gs pos="30000">
                        <a:srgbClr val="505050"/>
                      </a:gs>
                    </a:gsLst>
                    <a:lin ang="5400000" scaled="0"/>
                  </a:gradFill>
                </a:rPr>
                <a:t>Cloud options on demand</a:t>
              </a:r>
            </a:p>
          </p:txBody>
        </p:sp>
        <p:sp>
          <p:nvSpPr>
            <p:cNvPr id="33" name="TextBox 32"/>
            <p:cNvSpPr txBox="1"/>
            <p:nvPr/>
          </p:nvSpPr>
          <p:spPr>
            <a:xfrm>
              <a:off x="8985752" y="983731"/>
              <a:ext cx="2632601" cy="489322"/>
            </a:xfrm>
            <a:prstGeom prst="rect">
              <a:avLst/>
            </a:prstGeom>
            <a:noFill/>
          </p:spPr>
          <p:txBody>
            <a:bodyPr wrap="square" lIns="179259" tIns="143407" rIns="179259" bIns="143407" rtlCol="0">
              <a:spAutoFit/>
            </a:bodyPr>
            <a:lstStyle/>
            <a:p>
              <a:pPr algn="ctr" defTabSz="914072">
                <a:lnSpc>
                  <a:spcPct val="90000"/>
                </a:lnSpc>
              </a:pPr>
              <a:r>
                <a:rPr lang="en-US" sz="1372" spc="-49" dirty="0">
                  <a:solidFill>
                    <a:srgbClr val="EFEFEF"/>
                  </a:solidFill>
                </a:rPr>
                <a:t>Close</a:t>
              </a:r>
            </a:p>
          </p:txBody>
        </p:sp>
        <p:pic>
          <p:nvPicPr>
            <p:cNvPr id="1032" name="Picture 8"/>
            <p:cNvPicPr>
              <a:picLocks noChangeAspect="1" noChangeArrowheads="1"/>
            </p:cNvPicPr>
            <p:nvPr/>
          </p:nvPicPr>
          <p:blipFill>
            <a:blip r:embed="rId9" cstate="screen">
              <a:extLst>
                <a:ext uri="{28A0092B-C50C-407E-A947-70E740481C1C}">
                  <a14:useLocalDpi xmlns:a14="http://schemas.microsoft.com/office/drawing/2010/main" val="0"/>
                </a:ext>
              </a:extLst>
            </a:blip>
            <a:stretch>
              <a:fillRect/>
            </a:stretch>
          </p:blipFill>
          <p:spPr bwMode="auto">
            <a:xfrm>
              <a:off x="9113484" y="3028522"/>
              <a:ext cx="2377439" cy="1336172"/>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36" name="TextBox 35"/>
          <p:cNvSpPr txBox="1"/>
          <p:nvPr/>
        </p:nvSpPr>
        <p:spPr>
          <a:xfrm>
            <a:off x="3314697" y="1492595"/>
            <a:ext cx="2380208" cy="1512236"/>
          </a:xfrm>
          <a:prstGeom prst="rect">
            <a:avLst/>
          </a:prstGeom>
          <a:noFill/>
        </p:spPr>
        <p:txBody>
          <a:bodyPr wrap="square" lIns="179259" tIns="143407" rIns="179259" bIns="143407" rtlCol="0">
            <a:spAutoFit/>
          </a:bodyPr>
          <a:lstStyle/>
          <a:p>
            <a:pPr defTabSz="914072">
              <a:lnSpc>
                <a:spcPct val="90000"/>
              </a:lnSpc>
            </a:pPr>
            <a:r>
              <a:rPr lang="en-US" sz="1766" spc="-49" dirty="0">
                <a:gradFill>
                  <a:gsLst>
                    <a:gs pos="2917">
                      <a:srgbClr val="505050"/>
                    </a:gs>
                    <a:gs pos="30000">
                      <a:srgbClr val="505050"/>
                    </a:gs>
                  </a:gsLst>
                  <a:lin ang="5400000" scaled="0"/>
                </a:gradFill>
              </a:rPr>
              <a:t>Microsoft’s position on what we are learning from cloud and how that helps customers</a:t>
            </a:r>
          </a:p>
        </p:txBody>
      </p:sp>
      <p:sp>
        <p:nvSpPr>
          <p:cNvPr id="37" name="TextBox 36"/>
          <p:cNvSpPr txBox="1"/>
          <p:nvPr/>
        </p:nvSpPr>
        <p:spPr>
          <a:xfrm>
            <a:off x="518639" y="3894802"/>
            <a:ext cx="2380208" cy="1023188"/>
          </a:xfrm>
          <a:prstGeom prst="rect">
            <a:avLst/>
          </a:prstGeom>
          <a:noFill/>
        </p:spPr>
        <p:txBody>
          <a:bodyPr wrap="square" lIns="179259" tIns="143407" rIns="179259" bIns="143407" rtlCol="0">
            <a:spAutoFit/>
          </a:bodyPr>
          <a:lstStyle/>
          <a:p>
            <a:pPr defTabSz="914072">
              <a:lnSpc>
                <a:spcPct val="90000"/>
              </a:lnSpc>
            </a:pPr>
            <a:r>
              <a:rPr lang="en-US" sz="1766" spc="-49" dirty="0">
                <a:gradFill>
                  <a:gsLst>
                    <a:gs pos="2917">
                      <a:srgbClr val="505050"/>
                    </a:gs>
                    <a:gs pos="30000">
                      <a:srgbClr val="505050"/>
                    </a:gs>
                  </a:gsLst>
                  <a:lin ang="5400000" scaled="0"/>
                </a:gradFill>
              </a:rPr>
              <a:t>The Microsoft approach: Transform the datacenter</a:t>
            </a:r>
          </a:p>
        </p:txBody>
      </p:sp>
    </p:spTree>
    <p:extLst>
      <p:ext uri="{BB962C8B-B14F-4D97-AF65-F5344CB8AC3E}">
        <p14:creationId xmlns:p14="http://schemas.microsoft.com/office/powerpoint/2010/main" val="3362175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21478" y="2003278"/>
            <a:ext cx="5378548" cy="879785"/>
          </a:xfrm>
        </p:spPr>
        <p:txBody>
          <a:bodyPr/>
          <a:lstStyle/>
          <a:p>
            <a:pPr>
              <a:defRPr/>
            </a:pPr>
            <a:r>
              <a:rPr lang="en-US" sz="5882" dirty="0"/>
              <a:t>Transform</a:t>
            </a:r>
            <a:br>
              <a:rPr lang="en-US" sz="5882" dirty="0"/>
            </a:br>
            <a:r>
              <a:rPr lang="en-US" sz="5882" dirty="0"/>
              <a:t>the datacenter</a:t>
            </a:r>
            <a:endParaRPr sz="5882" dirty="0"/>
          </a:p>
        </p:txBody>
      </p:sp>
      <p:sp>
        <p:nvSpPr>
          <p:cNvPr id="4" name="Title 4"/>
          <p:cNvSpPr txBox="1">
            <a:spLocks/>
          </p:cNvSpPr>
          <p:nvPr/>
        </p:nvSpPr>
        <p:spPr>
          <a:xfrm>
            <a:off x="321541" y="5385535"/>
            <a:ext cx="5557836" cy="1073863"/>
          </a:xfrm>
          <a:prstGeom prst="rect">
            <a:avLst/>
          </a:prstGeom>
        </p:spPr>
        <p:txBody>
          <a:bodyPr vert="horz" wrap="square" lIns="143386" tIns="89616" rIns="143386" bIns="8961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14367">
              <a:lnSpc>
                <a:spcPts val="2941"/>
              </a:lnSpc>
              <a:spcBef>
                <a:spcPts val="0"/>
              </a:spcBef>
              <a:spcAft>
                <a:spcPts val="1176"/>
              </a:spcAft>
              <a:defRPr/>
            </a:pPr>
            <a:r>
              <a:rPr sz="2157" dirty="0">
                <a:solidFill>
                  <a:srgbClr val="FFFFFF"/>
                </a:solidFill>
              </a:rPr>
              <a:t>Speaker Name</a:t>
            </a:r>
            <a:br>
              <a:rPr sz="2157" dirty="0">
                <a:solidFill>
                  <a:srgbClr val="FFFFFF"/>
                </a:solidFill>
              </a:rPr>
            </a:br>
            <a:r>
              <a:rPr sz="2157" dirty="0">
                <a:solidFill>
                  <a:srgbClr val="FFFFFF"/>
                </a:solidFill>
              </a:rPr>
              <a:t>Date</a:t>
            </a:r>
          </a:p>
        </p:txBody>
      </p:sp>
    </p:spTree>
    <p:extLst>
      <p:ext uri="{BB962C8B-B14F-4D97-AF65-F5344CB8AC3E}">
        <p14:creationId xmlns:p14="http://schemas.microsoft.com/office/powerpoint/2010/main" val="3970536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4" name="Title 3"/>
          <p:cNvSpPr>
            <a:spLocks noGrp="1"/>
          </p:cNvSpPr>
          <p:nvPr>
            <p:ph type="title"/>
          </p:nvPr>
        </p:nvSpPr>
        <p:spPr/>
        <p:txBody>
          <a:bodyPr/>
          <a:lstStyle/>
          <a:p>
            <a:r>
              <a:rPr lang="en-US" dirty="0" smtClean="0"/>
              <a:t>Microsoft Cloud Platform |</a:t>
            </a:r>
            <a:br>
              <a:rPr lang="en-US" dirty="0" smtClean="0"/>
            </a:br>
            <a:r>
              <a:rPr lang="en-US" dirty="0" smtClean="0"/>
              <a:t>         </a:t>
            </a:r>
            <a:r>
              <a:rPr lang="en-US" sz="4705" dirty="0">
                <a:solidFill>
                  <a:schemeClr val="accent5"/>
                </a:solidFill>
              </a:rPr>
              <a:t>Transform the Datacenter</a:t>
            </a:r>
            <a:endParaRPr lang="en-US" dirty="0">
              <a:solidFill>
                <a:schemeClr val="accent5"/>
              </a:solidFill>
            </a:endParaRPr>
          </a:p>
        </p:txBody>
      </p:sp>
    </p:spTree>
    <p:extLst>
      <p:ext uri="{BB962C8B-B14F-4D97-AF65-F5344CB8AC3E}">
        <p14:creationId xmlns:p14="http://schemas.microsoft.com/office/powerpoint/2010/main" val="26768325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 y="963"/>
            <a:ext cx="6096155" cy="5963868"/>
          </a:xfrm>
          <a:prstGeom prst="rect">
            <a:avLst/>
          </a:prstGeom>
          <a:solidFill>
            <a:schemeClr val="accent1">
              <a:lumMod val="50000"/>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txBox="1">
            <a:spLocks/>
          </p:cNvSpPr>
          <p:nvPr/>
        </p:nvSpPr>
        <p:spPr>
          <a:xfrm>
            <a:off x="269248" y="263103"/>
            <a:ext cx="5005166" cy="812190"/>
          </a:xfrm>
          <a:prstGeom prst="rect">
            <a:avLst/>
          </a:prstGeom>
        </p:spPr>
        <p:txBody>
          <a:bodyPr anchor="t">
            <a:noAutofit/>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sz="5294">
                <a:solidFill>
                  <a:srgbClr val="FFFFFF"/>
                </a:solidFill>
              </a:rPr>
              <a:t>Microsoft Cloud Platform</a:t>
            </a:r>
          </a:p>
        </p:txBody>
      </p:sp>
      <p:grpSp>
        <p:nvGrpSpPr>
          <p:cNvPr id="4" name="Group 3"/>
          <p:cNvGrpSpPr/>
          <p:nvPr/>
        </p:nvGrpSpPr>
        <p:grpSpPr>
          <a:xfrm>
            <a:off x="3831751" y="1094851"/>
            <a:ext cx="4515918" cy="4515916"/>
            <a:chOff x="1242265" y="2379913"/>
            <a:chExt cx="3749111" cy="3749111"/>
          </a:xfrm>
        </p:grpSpPr>
        <p:sp>
          <p:nvSpPr>
            <p:cNvPr id="5" name="Oval 4"/>
            <p:cNvSpPr/>
            <p:nvPr/>
          </p:nvSpPr>
          <p:spPr bwMode="auto">
            <a:xfrm>
              <a:off x="1242265" y="2379913"/>
              <a:ext cx="3749111" cy="3749111"/>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922" dirty="0" err="1">
                <a:solidFill>
                  <a:srgbClr val="FFFFFF"/>
                </a:solidFill>
                <a:ea typeface="Segoe UI" pitchFamily="34" charset="0"/>
                <a:cs typeface="Segoe UI" pitchFamily="34" charset="0"/>
              </a:endParaRPr>
            </a:p>
          </p:txBody>
        </p:sp>
        <p:sp>
          <p:nvSpPr>
            <p:cNvPr id="6" name="Oval 5"/>
            <p:cNvSpPr>
              <a:spLocks noChangeArrowheads="1"/>
            </p:cNvSpPr>
            <p:nvPr/>
          </p:nvSpPr>
          <p:spPr bwMode="auto">
            <a:xfrm>
              <a:off x="1253793" y="2391440"/>
              <a:ext cx="3726054" cy="3726054"/>
            </a:xfrm>
            <a:prstGeom prst="ellipse">
              <a:avLst/>
            </a:prstGeom>
            <a:solidFill>
              <a:srgbClr val="0072C6">
                <a:alpha val="90000"/>
              </a:srgbClr>
            </a:solidFill>
            <a:ln w="76200" cap="flat">
              <a:solidFill>
                <a:schemeClr val="bg1"/>
              </a:solidFill>
              <a:prstDash val="solid"/>
              <a:miter lim="800000"/>
              <a:headEnd/>
              <a:tailEnd/>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7" name="Oval 8"/>
            <p:cNvSpPr>
              <a:spLocks noChangeArrowheads="1"/>
            </p:cNvSpPr>
            <p:nvPr/>
          </p:nvSpPr>
          <p:spPr bwMode="auto">
            <a:xfrm>
              <a:off x="3076205" y="5179432"/>
              <a:ext cx="82540" cy="83850"/>
            </a:xfrm>
            <a:prstGeom prst="ellipse">
              <a:avLst/>
            </a:pr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8" name="Oval 9"/>
            <p:cNvSpPr>
              <a:spLocks noChangeArrowheads="1"/>
            </p:cNvSpPr>
            <p:nvPr/>
          </p:nvSpPr>
          <p:spPr bwMode="auto">
            <a:xfrm>
              <a:off x="3076205" y="5320926"/>
              <a:ext cx="82540" cy="85160"/>
            </a:xfrm>
            <a:prstGeom prst="ellipse">
              <a:avLst/>
            </a:pr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9" name="Oval 10"/>
            <p:cNvSpPr>
              <a:spLocks noChangeArrowheads="1"/>
            </p:cNvSpPr>
            <p:nvPr/>
          </p:nvSpPr>
          <p:spPr bwMode="auto">
            <a:xfrm>
              <a:off x="3076205" y="5463732"/>
              <a:ext cx="82540" cy="83850"/>
            </a:xfrm>
            <a:prstGeom prst="ellipse">
              <a:avLst/>
            </a:pr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0" name="Oval 11"/>
            <p:cNvSpPr>
              <a:spLocks noChangeArrowheads="1"/>
            </p:cNvSpPr>
            <p:nvPr/>
          </p:nvSpPr>
          <p:spPr bwMode="auto">
            <a:xfrm>
              <a:off x="3076205" y="5606539"/>
              <a:ext cx="82540" cy="83850"/>
            </a:xfrm>
            <a:prstGeom prst="ellipse">
              <a:avLst/>
            </a:pr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1" name="Oval 12"/>
            <p:cNvSpPr>
              <a:spLocks noChangeArrowheads="1"/>
            </p:cNvSpPr>
            <p:nvPr/>
          </p:nvSpPr>
          <p:spPr bwMode="auto">
            <a:xfrm>
              <a:off x="3076205" y="5749344"/>
              <a:ext cx="82540" cy="82540"/>
            </a:xfrm>
            <a:prstGeom prst="ellipse">
              <a:avLst/>
            </a:pr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2" name="Oval 13"/>
            <p:cNvSpPr>
              <a:spLocks noChangeArrowheads="1"/>
            </p:cNvSpPr>
            <p:nvPr/>
          </p:nvSpPr>
          <p:spPr bwMode="auto">
            <a:xfrm>
              <a:off x="3076205" y="5890840"/>
              <a:ext cx="82540" cy="82540"/>
            </a:xfrm>
            <a:prstGeom prst="ellipse">
              <a:avLst/>
            </a:pr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3" name="Freeform 14"/>
            <p:cNvSpPr>
              <a:spLocks/>
            </p:cNvSpPr>
            <p:nvPr/>
          </p:nvSpPr>
          <p:spPr bwMode="auto">
            <a:xfrm>
              <a:off x="2224611" y="3736960"/>
              <a:ext cx="95641" cy="9695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4" name="Freeform 15"/>
            <p:cNvSpPr>
              <a:spLocks/>
            </p:cNvSpPr>
            <p:nvPr/>
          </p:nvSpPr>
          <p:spPr bwMode="auto">
            <a:xfrm>
              <a:off x="2100147" y="3667524"/>
              <a:ext cx="95641" cy="95641"/>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5" name="Freeform 16"/>
            <p:cNvSpPr>
              <a:spLocks/>
            </p:cNvSpPr>
            <p:nvPr/>
          </p:nvSpPr>
          <p:spPr bwMode="auto">
            <a:xfrm>
              <a:off x="1975683" y="3599396"/>
              <a:ext cx="95641" cy="95641"/>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6" name="Freeform 17"/>
            <p:cNvSpPr>
              <a:spLocks/>
            </p:cNvSpPr>
            <p:nvPr/>
          </p:nvSpPr>
          <p:spPr bwMode="auto">
            <a:xfrm>
              <a:off x="1851219" y="3529958"/>
              <a:ext cx="95641" cy="95641"/>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7" name="Freeform 18"/>
            <p:cNvSpPr>
              <a:spLocks/>
            </p:cNvSpPr>
            <p:nvPr/>
          </p:nvSpPr>
          <p:spPr bwMode="auto">
            <a:xfrm>
              <a:off x="1726755" y="3461830"/>
              <a:ext cx="95641" cy="94330"/>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8" name="Freeform 19"/>
            <p:cNvSpPr>
              <a:spLocks/>
            </p:cNvSpPr>
            <p:nvPr/>
          </p:nvSpPr>
          <p:spPr bwMode="auto">
            <a:xfrm>
              <a:off x="1602292" y="3391082"/>
              <a:ext cx="95641" cy="9695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19" name="Freeform 20"/>
            <p:cNvSpPr>
              <a:spLocks/>
            </p:cNvSpPr>
            <p:nvPr/>
          </p:nvSpPr>
          <p:spPr bwMode="auto">
            <a:xfrm>
              <a:off x="3914699" y="3736960"/>
              <a:ext cx="95641" cy="9695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20" name="Freeform 21"/>
            <p:cNvSpPr>
              <a:spLocks/>
            </p:cNvSpPr>
            <p:nvPr/>
          </p:nvSpPr>
          <p:spPr bwMode="auto">
            <a:xfrm>
              <a:off x="4039163" y="3667524"/>
              <a:ext cx="95641" cy="95641"/>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21" name="Freeform 22"/>
            <p:cNvSpPr>
              <a:spLocks/>
            </p:cNvSpPr>
            <p:nvPr/>
          </p:nvSpPr>
          <p:spPr bwMode="auto">
            <a:xfrm>
              <a:off x="4163627" y="3599396"/>
              <a:ext cx="95641" cy="95641"/>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22" name="Freeform 23"/>
            <p:cNvSpPr>
              <a:spLocks/>
            </p:cNvSpPr>
            <p:nvPr/>
          </p:nvSpPr>
          <p:spPr bwMode="auto">
            <a:xfrm>
              <a:off x="4288091" y="3529958"/>
              <a:ext cx="95641" cy="9564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23" name="Freeform 24"/>
            <p:cNvSpPr>
              <a:spLocks/>
            </p:cNvSpPr>
            <p:nvPr/>
          </p:nvSpPr>
          <p:spPr bwMode="auto">
            <a:xfrm>
              <a:off x="4412554" y="3461830"/>
              <a:ext cx="94330" cy="94330"/>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24" name="Freeform 25"/>
            <p:cNvSpPr>
              <a:spLocks/>
            </p:cNvSpPr>
            <p:nvPr/>
          </p:nvSpPr>
          <p:spPr bwMode="auto">
            <a:xfrm>
              <a:off x="4537019" y="3391082"/>
              <a:ext cx="95641" cy="9695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25" name="TextBox 24"/>
            <p:cNvSpPr txBox="1"/>
            <p:nvPr/>
          </p:nvSpPr>
          <p:spPr>
            <a:xfrm>
              <a:off x="2339017" y="2768633"/>
              <a:ext cx="1575682" cy="541807"/>
            </a:xfrm>
            <a:prstGeom prst="rect">
              <a:avLst/>
            </a:prstGeom>
          </p:spPr>
          <p:txBody>
            <a:bodyPr vert="horz" wrap="square" lIns="87880" tIns="87880" rIns="87880" bIns="87880" rtlCol="0" anchor="t">
              <a:noAutofit/>
            </a:bodyPr>
            <a:lstStyle/>
            <a:p>
              <a:pPr algn="ctr" defTabSz="914367"/>
              <a:r>
                <a:rPr lang="en-US" sz="1345" b="1" dirty="0">
                  <a:solidFill>
                    <a:srgbClr val="FFFFFF"/>
                  </a:solidFill>
                  <a:ea typeface="Segoe UI" pitchFamily="34" charset="0"/>
                  <a:cs typeface="Segoe UI" pitchFamily="34" charset="0"/>
                </a:rPr>
                <a:t>CUSTOMER DATACENTER</a:t>
              </a:r>
            </a:p>
          </p:txBody>
        </p:sp>
        <p:sp>
          <p:nvSpPr>
            <p:cNvPr id="26" name="TextBox 25"/>
            <p:cNvSpPr txBox="1"/>
            <p:nvPr/>
          </p:nvSpPr>
          <p:spPr>
            <a:xfrm>
              <a:off x="3348522" y="4945079"/>
              <a:ext cx="1220907" cy="271759"/>
            </a:xfrm>
            <a:prstGeom prst="rect">
              <a:avLst/>
            </a:prstGeom>
          </p:spPr>
          <p:txBody>
            <a:bodyPr vert="horz" wrap="square" lIns="87880" tIns="87880" rIns="87880" bIns="87880" rtlCol="0" anchor="t">
              <a:noAutofit/>
            </a:bodyPr>
            <a:lstStyle/>
            <a:p>
              <a:pPr algn="ctr" defTabSz="914367"/>
              <a:r>
                <a:rPr lang="en-US" sz="1345" b="1" dirty="0">
                  <a:solidFill>
                    <a:srgbClr val="FFFFFF"/>
                  </a:solidFill>
                  <a:ea typeface="Segoe UI" pitchFamily="34" charset="0"/>
                  <a:cs typeface="Segoe UI" pitchFamily="34" charset="0"/>
                </a:rPr>
                <a:t>SERVICE PROVIDER</a:t>
              </a:r>
            </a:p>
          </p:txBody>
        </p:sp>
        <p:sp>
          <p:nvSpPr>
            <p:cNvPr id="27" name="TextBox 26"/>
            <p:cNvSpPr txBox="1"/>
            <p:nvPr/>
          </p:nvSpPr>
          <p:spPr>
            <a:xfrm>
              <a:off x="1546751" y="4945079"/>
              <a:ext cx="1220907" cy="271759"/>
            </a:xfrm>
            <a:prstGeom prst="rect">
              <a:avLst/>
            </a:prstGeom>
          </p:spPr>
          <p:txBody>
            <a:bodyPr vert="horz" wrap="square" lIns="87880" tIns="87880" rIns="87880" bIns="87880" rtlCol="0" anchor="t">
              <a:noAutofit/>
            </a:bodyPr>
            <a:lstStyle/>
            <a:p>
              <a:pPr algn="ctr" defTabSz="914367"/>
              <a:r>
                <a:rPr lang="en-US" sz="1345" b="1" dirty="0">
                  <a:solidFill>
                    <a:srgbClr val="FFFFFF"/>
                  </a:solidFill>
                  <a:ea typeface="Segoe UI" pitchFamily="34" charset="0"/>
                  <a:cs typeface="Segoe UI" pitchFamily="34" charset="0"/>
                </a:rPr>
                <a:t>MICROSOFT</a:t>
              </a:r>
              <a:br>
                <a:rPr lang="en-US" sz="1345" b="1" dirty="0">
                  <a:solidFill>
                    <a:srgbClr val="FFFFFF"/>
                  </a:solidFill>
                  <a:ea typeface="Segoe UI" pitchFamily="34" charset="0"/>
                  <a:cs typeface="Segoe UI" pitchFamily="34" charset="0"/>
                </a:rPr>
              </a:br>
              <a:r>
                <a:rPr lang="en-US" sz="1345" b="1" dirty="0">
                  <a:solidFill>
                    <a:srgbClr val="FFFFFF"/>
                  </a:solidFill>
                  <a:ea typeface="Segoe UI" pitchFamily="34" charset="0"/>
                  <a:cs typeface="Segoe UI" pitchFamily="34" charset="0"/>
                </a:rPr>
                <a:t>AZURE</a:t>
              </a:r>
            </a:p>
          </p:txBody>
        </p:sp>
        <p:sp>
          <p:nvSpPr>
            <p:cNvPr id="28" name="Freeform 6"/>
            <p:cNvSpPr>
              <a:spLocks/>
            </p:cNvSpPr>
            <p:nvPr/>
          </p:nvSpPr>
          <p:spPr bwMode="auto">
            <a:xfrm>
              <a:off x="2232472" y="3392393"/>
              <a:ext cx="1801451" cy="955097"/>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29" name="Freeform 7"/>
            <p:cNvSpPr>
              <a:spLocks/>
            </p:cNvSpPr>
            <p:nvPr/>
          </p:nvSpPr>
          <p:spPr bwMode="auto">
            <a:xfrm>
              <a:off x="2142072" y="4178480"/>
              <a:ext cx="1797520" cy="956406"/>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pPr defTabSz="914367"/>
              <a:endParaRPr lang="en-US" sz="1537">
                <a:solidFill>
                  <a:srgbClr val="FFFFFF"/>
                </a:solidFill>
              </a:endParaRPr>
            </a:p>
          </p:txBody>
        </p:sp>
        <p:sp>
          <p:nvSpPr>
            <p:cNvPr id="30" name="TextBox 29"/>
            <p:cNvSpPr txBox="1"/>
            <p:nvPr/>
          </p:nvSpPr>
          <p:spPr>
            <a:xfrm>
              <a:off x="2371114" y="4275064"/>
              <a:ext cx="1428750" cy="560500"/>
            </a:xfrm>
            <a:prstGeom prst="rect">
              <a:avLst/>
            </a:prstGeom>
          </p:spPr>
          <p:txBody>
            <a:bodyPr vert="horz" wrap="square" lIns="87880" tIns="87880" rIns="87880" bIns="87880" rtlCol="0" anchor="t">
              <a:noAutofit/>
            </a:bodyPr>
            <a:lstStyle/>
            <a:p>
              <a:pPr algn="ctr" defTabSz="914367"/>
              <a:r>
                <a:rPr lang="en-US" sz="1441" b="1" dirty="0">
                  <a:solidFill>
                    <a:srgbClr val="FFFFFF"/>
                  </a:solidFill>
                  <a:ea typeface="Segoe UI" pitchFamily="34" charset="0"/>
                  <a:cs typeface="Segoe UI" pitchFamily="34" charset="0"/>
                </a:rPr>
                <a:t>CONSISTENT</a:t>
              </a:r>
              <a:br>
                <a:rPr lang="en-US" sz="1441" b="1" dirty="0">
                  <a:solidFill>
                    <a:srgbClr val="FFFFFF"/>
                  </a:solidFill>
                  <a:ea typeface="Segoe UI" pitchFamily="34" charset="0"/>
                  <a:cs typeface="Segoe UI" pitchFamily="34" charset="0"/>
                </a:rPr>
              </a:br>
              <a:r>
                <a:rPr lang="en-US" sz="1441" b="1" dirty="0">
                  <a:solidFill>
                    <a:srgbClr val="FFFFFF"/>
                  </a:solidFill>
                  <a:ea typeface="Segoe UI" pitchFamily="34" charset="0"/>
                  <a:cs typeface="Segoe UI" pitchFamily="34" charset="0"/>
                </a:rPr>
                <a:t>PLATFORM</a:t>
              </a:r>
            </a:p>
          </p:txBody>
        </p:sp>
      </p:grpSp>
      <p:sp>
        <p:nvSpPr>
          <p:cNvPr id="31" name="Freeform 30"/>
          <p:cNvSpPr>
            <a:spLocks/>
          </p:cNvSpPr>
          <p:nvPr/>
        </p:nvSpPr>
        <p:spPr bwMode="auto">
          <a:xfrm>
            <a:off x="5686457" y="2792205"/>
            <a:ext cx="731026" cy="480878"/>
          </a:xfrm>
          <a:custGeom>
            <a:avLst/>
            <a:gdLst>
              <a:gd name="T0" fmla="*/ 7215 w 8588"/>
              <a:gd name="T1" fmla="*/ 2477 h 5648"/>
              <a:gd name="T2" fmla="*/ 7215 w 8588"/>
              <a:gd name="T3" fmla="*/ 2367 h 5648"/>
              <a:gd name="T4" fmla="*/ 4847 w 8588"/>
              <a:gd name="T5" fmla="*/ 0 h 5648"/>
              <a:gd name="T6" fmla="*/ 2873 w 8588"/>
              <a:gd name="T7" fmla="*/ 1057 h 5648"/>
              <a:gd name="T8" fmla="*/ 2226 w 8588"/>
              <a:gd name="T9" fmla="*/ 884 h 5648"/>
              <a:gd name="T10" fmla="*/ 1461 w 8588"/>
              <a:gd name="T11" fmla="*/ 1114 h 5648"/>
              <a:gd name="T12" fmla="*/ 853 w 8588"/>
              <a:gd name="T13" fmla="*/ 2225 h 5648"/>
              <a:gd name="T14" fmla="*/ 0 w 8588"/>
              <a:gd name="T15" fmla="*/ 3787 h 5648"/>
              <a:gd name="T16" fmla="*/ 1658 w 8588"/>
              <a:gd name="T17" fmla="*/ 5648 h 5648"/>
              <a:gd name="T18" fmla="*/ 1863 w 8588"/>
              <a:gd name="T19" fmla="*/ 5648 h 5648"/>
              <a:gd name="T20" fmla="*/ 2052 w 8588"/>
              <a:gd name="T21" fmla="*/ 5648 h 5648"/>
              <a:gd name="T22" fmla="*/ 5920 w 8588"/>
              <a:gd name="T23" fmla="*/ 5648 h 5648"/>
              <a:gd name="T24" fmla="*/ 5996 w 8588"/>
              <a:gd name="T25" fmla="*/ 5648 h 5648"/>
              <a:gd name="T26" fmla="*/ 6094 w 8588"/>
              <a:gd name="T27" fmla="*/ 5648 h 5648"/>
              <a:gd name="T28" fmla="*/ 6378 w 8588"/>
              <a:gd name="T29" fmla="*/ 5648 h 5648"/>
              <a:gd name="T30" fmla="*/ 6994 w 8588"/>
              <a:gd name="T31" fmla="*/ 5648 h 5648"/>
              <a:gd name="T32" fmla="*/ 8588 w 8588"/>
              <a:gd name="T33" fmla="*/ 4055 h 5648"/>
              <a:gd name="T34" fmla="*/ 7215 w 8588"/>
              <a:gd name="T35" fmla="*/ 2477 h 5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88" h="5648">
                <a:moveTo>
                  <a:pt x="7215" y="2477"/>
                </a:moveTo>
                <a:cubicBezTo>
                  <a:pt x="7215" y="2446"/>
                  <a:pt x="7215" y="2398"/>
                  <a:pt x="7215" y="2367"/>
                </a:cubicBezTo>
                <a:cubicBezTo>
                  <a:pt x="7215" y="1057"/>
                  <a:pt x="6157" y="0"/>
                  <a:pt x="4847" y="0"/>
                </a:cubicBezTo>
                <a:cubicBezTo>
                  <a:pt x="4026" y="0"/>
                  <a:pt x="3300" y="426"/>
                  <a:pt x="2873" y="1057"/>
                </a:cubicBezTo>
                <a:cubicBezTo>
                  <a:pt x="2684" y="947"/>
                  <a:pt x="2463" y="884"/>
                  <a:pt x="2226" y="884"/>
                </a:cubicBezTo>
                <a:cubicBezTo>
                  <a:pt x="1941" y="884"/>
                  <a:pt x="1679" y="968"/>
                  <a:pt x="1461" y="1114"/>
                </a:cubicBezTo>
                <a:cubicBezTo>
                  <a:pt x="1100" y="1355"/>
                  <a:pt x="862" y="1762"/>
                  <a:pt x="853" y="2225"/>
                </a:cubicBezTo>
                <a:cubicBezTo>
                  <a:pt x="347" y="2556"/>
                  <a:pt x="0" y="3140"/>
                  <a:pt x="0" y="3787"/>
                </a:cubicBezTo>
                <a:cubicBezTo>
                  <a:pt x="0" y="4749"/>
                  <a:pt x="726" y="5538"/>
                  <a:pt x="1658" y="5648"/>
                </a:cubicBezTo>
                <a:cubicBezTo>
                  <a:pt x="1721" y="5648"/>
                  <a:pt x="1800" y="5648"/>
                  <a:pt x="1863" y="5648"/>
                </a:cubicBezTo>
                <a:cubicBezTo>
                  <a:pt x="1926" y="5648"/>
                  <a:pt x="1989" y="5648"/>
                  <a:pt x="2052" y="5648"/>
                </a:cubicBezTo>
                <a:cubicBezTo>
                  <a:pt x="2921" y="5648"/>
                  <a:pt x="4957" y="5648"/>
                  <a:pt x="5920" y="5648"/>
                </a:cubicBezTo>
                <a:cubicBezTo>
                  <a:pt x="5951" y="5648"/>
                  <a:pt x="5975" y="5648"/>
                  <a:pt x="5996" y="5648"/>
                </a:cubicBezTo>
                <a:cubicBezTo>
                  <a:pt x="6094" y="5648"/>
                  <a:pt x="6094" y="5648"/>
                  <a:pt x="6094" y="5648"/>
                </a:cubicBezTo>
                <a:cubicBezTo>
                  <a:pt x="6141" y="5648"/>
                  <a:pt x="6283" y="5648"/>
                  <a:pt x="6378" y="5648"/>
                </a:cubicBezTo>
                <a:cubicBezTo>
                  <a:pt x="6994" y="5648"/>
                  <a:pt x="6994" y="5648"/>
                  <a:pt x="6994" y="5648"/>
                </a:cubicBezTo>
                <a:cubicBezTo>
                  <a:pt x="7878" y="5633"/>
                  <a:pt x="8588" y="4923"/>
                  <a:pt x="8588" y="4055"/>
                </a:cubicBezTo>
                <a:cubicBezTo>
                  <a:pt x="8588" y="3250"/>
                  <a:pt x="7988" y="2588"/>
                  <a:pt x="7215" y="2477"/>
                </a:cubicBezTo>
                <a:close/>
              </a:path>
            </a:pathLst>
          </a:custGeom>
          <a:solidFill>
            <a:schemeClr val="bg1"/>
          </a:solidFill>
          <a:ln>
            <a:noFill/>
          </a:ln>
          <a:effectLst>
            <a:outerShdw dist="127000" dir="2700000" algn="tl" rotWithShape="0">
              <a:prstClr val="black">
                <a:alpha val="20000"/>
              </a:prstClr>
            </a:outerShdw>
          </a:effectLst>
        </p:spPr>
        <p:txBody>
          <a:bodyPr vert="horz" wrap="square" lIns="87880" tIns="43940" rIns="87880" bIns="43940" numCol="1" anchor="ctr" anchorCtr="0" compatLnSpc="1">
            <a:prstTxWarp prst="textNoShape">
              <a:avLst/>
            </a:prstTxWarp>
          </a:bodyPr>
          <a:lstStyle/>
          <a:p>
            <a:pPr algn="ctr" defTabSz="914367"/>
            <a:endParaRPr lang="en-US" sz="1153" dirty="0">
              <a:solidFill>
                <a:srgbClr val="000000"/>
              </a:solidFill>
            </a:endParaRPr>
          </a:p>
        </p:txBody>
      </p:sp>
      <p:sp>
        <p:nvSpPr>
          <p:cNvPr id="32" name="Rectangle 31"/>
          <p:cNvSpPr/>
          <p:nvPr/>
        </p:nvSpPr>
        <p:spPr bwMode="auto">
          <a:xfrm>
            <a:off x="3" y="5961719"/>
            <a:ext cx="12191998" cy="896447"/>
          </a:xfrm>
          <a:prstGeom prst="rect">
            <a:avLst/>
          </a:prstGeom>
          <a:solidFill>
            <a:srgbClr val="001F36">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4"/>
          <p:cNvSpPr/>
          <p:nvPr>
            <p:custDataLst>
              <p:tags r:id="rId1"/>
            </p:custDataLst>
          </p:nvPr>
        </p:nvSpPr>
        <p:spPr bwMode="auto">
          <a:xfrm>
            <a:off x="7083931" y="6059742"/>
            <a:ext cx="2276977" cy="692877"/>
          </a:xfrm>
          <a:prstGeom prst="rect">
            <a:avLst/>
          </a:prstGeom>
          <a:noFill/>
          <a:ln w="10795" cap="flat" cmpd="sng" algn="ctr">
            <a:noFill/>
            <a:prstDash val="solid"/>
            <a:headEnd type="none" w="med" len="med"/>
            <a:tailEnd type="none" w="med" len="med"/>
          </a:ln>
          <a:effectLst/>
        </p:spPr>
        <p:txBody>
          <a:bodyPr vert="horz" wrap="square" lIns="175761" tIns="131821" rIns="87880" bIns="87866" numCol="1" rtlCol="0" anchor="t" anchorCtr="0" compatLnSpc="1">
            <a:prstTxWarp prst="textNoShape">
              <a:avLst/>
            </a:prstTxWarp>
          </a:bodyPr>
          <a:lstStyle/>
          <a:p>
            <a:pPr defTabSz="896334">
              <a:lnSpc>
                <a:spcPct val="90000"/>
              </a:lnSpc>
              <a:defRPr/>
            </a:pP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Enterprise </a:t>
            </a:r>
            <a:b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b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mobility</a:t>
            </a:r>
          </a:p>
        </p:txBody>
      </p:sp>
      <p:sp>
        <p:nvSpPr>
          <p:cNvPr id="34" name="Rectangle 7"/>
          <p:cNvSpPr/>
          <p:nvPr>
            <p:custDataLst>
              <p:tags r:id="rId2"/>
            </p:custDataLst>
          </p:nvPr>
        </p:nvSpPr>
        <p:spPr bwMode="auto">
          <a:xfrm>
            <a:off x="9413306" y="6059737"/>
            <a:ext cx="2276977" cy="692877"/>
          </a:xfrm>
          <a:prstGeom prst="rect">
            <a:avLst/>
          </a:prstGeom>
          <a:noFill/>
          <a:ln w="10795" cap="flat" cmpd="sng" algn="ctr">
            <a:noFill/>
            <a:prstDash val="solid"/>
            <a:headEnd type="none" w="med" len="med"/>
            <a:tailEnd type="none" w="med" len="med"/>
          </a:ln>
          <a:effectLst/>
        </p:spPr>
        <p:txBody>
          <a:bodyPr vert="horz" wrap="square" lIns="175761" tIns="131821" rIns="87880" bIns="87866" numCol="1" rtlCol="0" anchor="t" anchorCtr="0" compatLnSpc="1">
            <a:prstTxWarp prst="textNoShape">
              <a:avLst/>
            </a:prstTxWarp>
          </a:bodyPr>
          <a:lstStyle/>
          <a:p>
            <a:pPr defTabSz="896334">
              <a:lnSpc>
                <a:spcPct val="90000"/>
              </a:lnSpc>
              <a:defRPr/>
            </a:pP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The Internet </a:t>
            </a:r>
            <a:b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b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of Things</a:t>
            </a:r>
          </a:p>
        </p:txBody>
      </p:sp>
      <p:sp>
        <p:nvSpPr>
          <p:cNvPr id="35" name="Rectangle 5"/>
          <p:cNvSpPr/>
          <p:nvPr>
            <p:custDataLst>
              <p:tags r:id="rId3"/>
            </p:custDataLst>
          </p:nvPr>
        </p:nvSpPr>
        <p:spPr bwMode="auto">
          <a:xfrm>
            <a:off x="2432023" y="6059742"/>
            <a:ext cx="2276977" cy="692877"/>
          </a:xfrm>
          <a:prstGeom prst="rect">
            <a:avLst/>
          </a:prstGeom>
          <a:noFill/>
          <a:ln w="10795" cap="flat" cmpd="sng" algn="ctr">
            <a:noFill/>
            <a:prstDash val="solid"/>
            <a:headEnd type="none" w="med" len="med"/>
            <a:tailEnd type="none" w="med" len="med"/>
          </a:ln>
          <a:effectLst/>
        </p:spPr>
        <p:txBody>
          <a:bodyPr vert="horz" wrap="square" lIns="175761" tIns="131821" rIns="87880" bIns="87866" numCol="1" rtlCol="0" anchor="t" anchorCtr="0" compatLnSpc="1">
            <a:prstTxWarp prst="textNoShape">
              <a:avLst/>
            </a:prstTxWarp>
          </a:bodyPr>
          <a:lstStyle/>
          <a:p>
            <a:pPr defTabSz="896334">
              <a:lnSpc>
                <a:spcPct val="90000"/>
              </a:lnSpc>
              <a:defRPr/>
            </a:pP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Application </a:t>
            </a:r>
            <a:b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b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development</a:t>
            </a:r>
          </a:p>
        </p:txBody>
      </p:sp>
      <p:sp>
        <p:nvSpPr>
          <p:cNvPr id="36" name="Rectangle 9"/>
          <p:cNvSpPr/>
          <p:nvPr>
            <p:custDataLst>
              <p:tags r:id="rId4"/>
            </p:custDataLst>
          </p:nvPr>
        </p:nvSpPr>
        <p:spPr bwMode="auto">
          <a:xfrm>
            <a:off x="82911" y="6059740"/>
            <a:ext cx="2276977" cy="692877"/>
          </a:xfrm>
          <a:prstGeom prst="rect">
            <a:avLst/>
          </a:prstGeom>
          <a:noFill/>
          <a:ln w="10795" cap="flat" cmpd="sng" algn="ctr">
            <a:noFill/>
            <a:prstDash val="solid"/>
            <a:headEnd type="none" w="med" len="med"/>
            <a:tailEnd type="none" w="med" len="med"/>
          </a:ln>
          <a:effectLst/>
        </p:spPr>
        <p:txBody>
          <a:bodyPr vert="horz" wrap="square" lIns="175761" tIns="131821" rIns="87880" bIns="87866" numCol="1" rtlCol="0" anchor="t" anchorCtr="0" compatLnSpc="1">
            <a:prstTxWarp prst="textNoShape">
              <a:avLst/>
            </a:prstTxWarp>
          </a:bodyPr>
          <a:lstStyle/>
          <a:p>
            <a:pPr defTabSz="896334">
              <a:lnSpc>
                <a:spcPct val="90000"/>
              </a:lnSpc>
              <a:defRPr/>
            </a:pP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Cloud </a:t>
            </a:r>
            <a:b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b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infrastructure</a:t>
            </a:r>
          </a:p>
        </p:txBody>
      </p:sp>
      <p:sp>
        <p:nvSpPr>
          <p:cNvPr id="37" name="Rectangle 6"/>
          <p:cNvSpPr/>
          <p:nvPr>
            <p:custDataLst>
              <p:tags r:id="rId5"/>
            </p:custDataLst>
          </p:nvPr>
        </p:nvSpPr>
        <p:spPr bwMode="auto">
          <a:xfrm>
            <a:off x="4754854" y="6059742"/>
            <a:ext cx="2276977" cy="692877"/>
          </a:xfrm>
          <a:prstGeom prst="rect">
            <a:avLst/>
          </a:prstGeom>
          <a:noFill/>
          <a:ln w="10795" cap="flat" cmpd="sng" algn="ctr">
            <a:noFill/>
            <a:prstDash val="solid"/>
            <a:headEnd type="none" w="med" len="med"/>
            <a:tailEnd type="none" w="med" len="med"/>
          </a:ln>
          <a:effectLst/>
        </p:spPr>
        <p:txBody>
          <a:bodyPr vert="horz" wrap="square" lIns="175761" tIns="131821" rIns="87880" bIns="87866" numCol="1" rtlCol="0" anchor="t" anchorCtr="0" compatLnSpc="1">
            <a:prstTxWarp prst="textNoShape">
              <a:avLst/>
            </a:prstTxWarp>
          </a:bodyPr>
          <a:lstStyle/>
          <a:p>
            <a:pPr defTabSz="896334">
              <a:lnSpc>
                <a:spcPct val="90000"/>
              </a:lnSpc>
              <a:defRPr/>
            </a:pP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Data management </a:t>
            </a:r>
            <a:b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br>
            <a:r>
              <a:rPr lang="en-US" sz="1537" kern="0" spc="-28" dirty="0">
                <a:gradFill>
                  <a:gsLst>
                    <a:gs pos="2917">
                      <a:srgbClr val="FFFFFF"/>
                    </a:gs>
                    <a:gs pos="30000">
                      <a:srgbClr val="FFFFFF"/>
                    </a:gs>
                  </a:gsLst>
                  <a:lin ang="5400000" scaled="0"/>
                </a:gradFill>
                <a:latin typeface="Segoe UI Semilight" panose="020B0402040204020203" pitchFamily="34" charset="0"/>
                <a:ea typeface="Segoe UI" panose="020B0502040204020203" pitchFamily="34" charset="0"/>
                <a:cs typeface="Segoe UI Semilight" panose="020B0402040204020203" pitchFamily="34" charset="0"/>
              </a:rPr>
              <a:t>and analytics</a:t>
            </a:r>
          </a:p>
        </p:txBody>
      </p:sp>
      <p:sp>
        <p:nvSpPr>
          <p:cNvPr id="38" name="Rectangle 37"/>
          <p:cNvSpPr/>
          <p:nvPr/>
        </p:nvSpPr>
        <p:spPr bwMode="auto">
          <a:xfrm>
            <a:off x="266654" y="2185441"/>
            <a:ext cx="3380305" cy="2696770"/>
          </a:xfrm>
          <a:prstGeom prst="rect">
            <a:avLst/>
          </a:prstGeom>
          <a:noFill/>
          <a:ln w="10795" cap="flat" cmpd="sng" algn="ctr">
            <a:noFill/>
            <a:prstDash val="solid"/>
            <a:headEnd type="none" w="med" len="med"/>
            <a:tailEnd type="none" w="med" len="med"/>
          </a:ln>
          <a:effectLst/>
        </p:spPr>
        <p:txBody>
          <a:bodyPr vert="horz" wrap="square" lIns="175736" tIns="179285" rIns="0" bIns="89642" numCol="1" rtlCol="0" anchor="t" anchorCtr="0" compatLnSpc="1">
            <a:prstTxWarp prst="textNoShape">
              <a:avLst/>
            </a:prstTxWarp>
          </a:bodyPr>
          <a:lstStyle/>
          <a:p>
            <a:pPr marL="336145" indent="-336145" defTabSz="896334">
              <a:lnSpc>
                <a:spcPct val="90000"/>
              </a:lnSpc>
              <a:spcAft>
                <a:spcPts val="1176"/>
              </a:spcAft>
              <a:buFont typeface="Arial" panose="020B0604020202020204" pitchFamily="34" charset="0"/>
              <a:buChar char="•"/>
              <a:defRPr/>
            </a:pPr>
            <a:r>
              <a:rPr lang="en-US" sz="2353" kern="0" dirty="0">
                <a:solidFill>
                  <a:srgbClr val="FFFFFF"/>
                </a:solidFill>
                <a:latin typeface="Segoe UI Light"/>
                <a:cs typeface="Segoe UI Semilight" panose="020B0402040204020203" pitchFamily="34" charset="0"/>
              </a:rPr>
              <a:t>Global scale</a:t>
            </a:r>
          </a:p>
          <a:p>
            <a:pPr marL="336145" indent="-336145" defTabSz="896334">
              <a:lnSpc>
                <a:spcPct val="90000"/>
              </a:lnSpc>
              <a:spcAft>
                <a:spcPts val="1176"/>
              </a:spcAft>
              <a:buFont typeface="Arial" panose="020B0604020202020204" pitchFamily="34" charset="0"/>
              <a:buChar char="•"/>
              <a:defRPr/>
            </a:pPr>
            <a:r>
              <a:rPr lang="en-US" sz="2353" kern="0">
                <a:solidFill>
                  <a:srgbClr val="FFFFFF"/>
                </a:solidFill>
                <a:latin typeface="Segoe UI Light"/>
                <a:cs typeface="Segoe UI Semilight" panose="020B0402040204020203" pitchFamily="34" charset="0"/>
              </a:rPr>
              <a:t>Enterprise-grade</a:t>
            </a:r>
            <a:endParaRPr lang="en-US" sz="2353" kern="0" dirty="0">
              <a:solidFill>
                <a:srgbClr val="FFFFFF"/>
              </a:solidFill>
              <a:latin typeface="Segoe UI Light"/>
              <a:cs typeface="Segoe UI Semilight" panose="020B0402040204020203" pitchFamily="34" charset="0"/>
            </a:endParaRPr>
          </a:p>
          <a:p>
            <a:pPr marL="336145" indent="-336145" defTabSz="896334">
              <a:lnSpc>
                <a:spcPct val="90000"/>
              </a:lnSpc>
              <a:spcAft>
                <a:spcPts val="1176"/>
              </a:spcAft>
              <a:buFont typeface="Arial" panose="020B0604020202020204" pitchFamily="34" charset="0"/>
              <a:buChar char="•"/>
              <a:defRPr/>
            </a:pPr>
            <a:r>
              <a:rPr lang="en-US" sz="2353" kern="0" dirty="0">
                <a:solidFill>
                  <a:srgbClr val="FFFFFF"/>
                </a:solidFill>
                <a:latin typeface="Segoe UI Light"/>
                <a:cs typeface="Segoe UI Semilight" panose="020B0402040204020203" pitchFamily="34" charset="0"/>
              </a:rPr>
              <a:t>Comprehensive</a:t>
            </a:r>
          </a:p>
          <a:p>
            <a:pPr marL="336145" indent="-336145" defTabSz="896334">
              <a:lnSpc>
                <a:spcPct val="90000"/>
              </a:lnSpc>
              <a:spcAft>
                <a:spcPts val="1176"/>
              </a:spcAft>
              <a:buFont typeface="Arial" panose="020B0604020202020204" pitchFamily="34" charset="0"/>
              <a:buChar char="•"/>
              <a:defRPr/>
            </a:pPr>
            <a:r>
              <a:rPr lang="en-US" sz="2353" kern="0" dirty="0">
                <a:solidFill>
                  <a:srgbClr val="FFFFFF"/>
                </a:solidFill>
                <a:latin typeface="Segoe UI Light"/>
                <a:cs typeface="Segoe UI Semilight" panose="020B0402040204020203" pitchFamily="34" charset="0"/>
              </a:rPr>
              <a:t>Hybrid cloud</a:t>
            </a:r>
          </a:p>
          <a:p>
            <a:pPr marL="336145" indent="-336145" defTabSz="896334">
              <a:lnSpc>
                <a:spcPct val="90000"/>
              </a:lnSpc>
              <a:spcAft>
                <a:spcPts val="1176"/>
              </a:spcAft>
              <a:buFont typeface="Arial" panose="020B0604020202020204" pitchFamily="34" charset="0"/>
              <a:buChar char="•"/>
              <a:defRPr/>
            </a:pPr>
            <a:r>
              <a:rPr lang="en-US" sz="2353" kern="0" dirty="0">
                <a:solidFill>
                  <a:srgbClr val="FFFFFF"/>
                </a:solidFill>
                <a:latin typeface="Segoe UI Light"/>
                <a:cs typeface="Segoe UI Semilight" panose="020B0402040204020203" pitchFamily="34" charset="0"/>
              </a:rPr>
              <a:t>People-centered experiences</a:t>
            </a:r>
          </a:p>
          <a:p>
            <a:pPr marL="336145" indent="-336145" defTabSz="896334">
              <a:lnSpc>
                <a:spcPct val="90000"/>
              </a:lnSpc>
              <a:spcAft>
                <a:spcPts val="1176"/>
              </a:spcAft>
              <a:buFont typeface="Arial" panose="020B0604020202020204" pitchFamily="34" charset="0"/>
              <a:buChar char="•"/>
              <a:defRPr/>
            </a:pPr>
            <a:endParaRPr lang="en-US" sz="2353" kern="0" dirty="0">
              <a:solidFill>
                <a:srgbClr val="FFFFFF"/>
              </a:solidFill>
              <a:latin typeface="Segoe UI Light"/>
              <a:cs typeface="Segoe UI Semilight" panose="020B0402040204020203" pitchFamily="34" charset="0"/>
            </a:endParaRPr>
          </a:p>
          <a:p>
            <a:pPr marL="336145" indent="-336145" defTabSz="896334">
              <a:lnSpc>
                <a:spcPct val="90000"/>
              </a:lnSpc>
              <a:spcAft>
                <a:spcPts val="1176"/>
              </a:spcAft>
              <a:buFont typeface="Arial" panose="020B0604020202020204" pitchFamily="34" charset="0"/>
              <a:buChar char="•"/>
              <a:defRPr/>
            </a:pPr>
            <a:endParaRPr lang="en-US" sz="2353" kern="0" dirty="0">
              <a:solidFill>
                <a:srgbClr val="FFFFFF"/>
              </a:solidFill>
              <a:latin typeface="Segoe UI Light"/>
              <a:cs typeface="Segoe UI Semilight" panose="020B0402040204020203" pitchFamily="34" charset="0"/>
            </a:endParaRPr>
          </a:p>
          <a:p>
            <a:pPr marL="336145" indent="-336145" defTabSz="896334">
              <a:lnSpc>
                <a:spcPct val="90000"/>
              </a:lnSpc>
              <a:spcAft>
                <a:spcPts val="1176"/>
              </a:spcAft>
              <a:buFont typeface="Arial" panose="020B0604020202020204" pitchFamily="34" charset="0"/>
              <a:buChar char="•"/>
              <a:defRPr/>
            </a:pPr>
            <a:endParaRPr lang="en-US" sz="2353" kern="0" dirty="0">
              <a:solidFill>
                <a:srgbClr val="FFFFFF"/>
              </a:solidFill>
              <a:latin typeface="Segoe UI Light"/>
              <a:cs typeface="Segoe UI Semilight" panose="020B0402040204020203" pitchFamily="34" charset="0"/>
            </a:endParaRPr>
          </a:p>
          <a:p>
            <a:pPr marL="336145" indent="-336145" defTabSz="896334">
              <a:lnSpc>
                <a:spcPct val="90000"/>
              </a:lnSpc>
              <a:spcAft>
                <a:spcPts val="1176"/>
              </a:spcAft>
              <a:buFont typeface="Arial" panose="020B0604020202020204" pitchFamily="34" charset="0"/>
              <a:buChar char="•"/>
              <a:defRPr/>
            </a:pPr>
            <a:endParaRPr lang="en-US" sz="2353" kern="0" dirty="0">
              <a:solidFill>
                <a:srgbClr val="FFFFFF"/>
              </a:solidFill>
              <a:latin typeface="Segoe UI Light"/>
              <a:cs typeface="Segoe UI Semilight" panose="020B0402040204020203" pitchFamily="34" charset="0"/>
            </a:endParaRPr>
          </a:p>
        </p:txBody>
      </p:sp>
    </p:spTree>
    <p:extLst>
      <p:ext uri="{BB962C8B-B14F-4D97-AF65-F5344CB8AC3E}">
        <p14:creationId xmlns:p14="http://schemas.microsoft.com/office/powerpoint/2010/main" val="18886054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487"/>
            <a:ext cx="12192000" cy="403391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5"/>
          <p:cNvSpPr>
            <a:spLocks/>
          </p:cNvSpPr>
          <p:nvPr/>
        </p:nvSpPr>
        <p:spPr bwMode="auto">
          <a:xfrm>
            <a:off x="389566" y="567779"/>
            <a:ext cx="7768598" cy="5045095"/>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7FDFF">
              <a:alpha val="25882"/>
            </a:srgbClr>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sp>
        <p:nvSpPr>
          <p:cNvPr id="4" name="Text Placeholder 3"/>
          <p:cNvSpPr>
            <a:spLocks noGrp="1"/>
          </p:cNvSpPr>
          <p:nvPr>
            <p:ph type="body" sz="quarter" idx="12"/>
          </p:nvPr>
        </p:nvSpPr>
        <p:spPr/>
        <p:txBody>
          <a:bodyPr/>
          <a:lstStyle/>
          <a:p>
            <a:r>
              <a:rPr lang="en-US" dirty="0" smtClean="0">
                <a:solidFill>
                  <a:schemeClr val="bg1"/>
                </a:solidFill>
              </a:rPr>
              <a:t>What do we know?</a:t>
            </a:r>
            <a:endParaRPr lang="en-US" dirty="0">
              <a:solidFill>
                <a:schemeClr val="bg1"/>
              </a:solidFill>
            </a:endParaRPr>
          </a:p>
        </p:txBody>
      </p:sp>
      <p:sp>
        <p:nvSpPr>
          <p:cNvPr id="13" name="Text Placeholder 12"/>
          <p:cNvSpPr>
            <a:spLocks noGrp="1"/>
          </p:cNvSpPr>
          <p:nvPr>
            <p:ph type="body" sz="quarter" idx="13"/>
          </p:nvPr>
        </p:nvSpPr>
        <p:spPr/>
        <p:txBody>
          <a:bodyPr/>
          <a:lstStyle/>
          <a:p>
            <a:r>
              <a:rPr lang="en-US" dirty="0" smtClean="0">
                <a:solidFill>
                  <a:schemeClr val="bg1"/>
                </a:solidFill>
              </a:rPr>
              <a:t>Cloud is here.</a:t>
            </a:r>
            <a:endParaRPr lang="en-US" dirty="0">
              <a:solidFill>
                <a:schemeClr val="bg1"/>
              </a:solidFill>
            </a:endParaRPr>
          </a:p>
        </p:txBody>
      </p:sp>
      <p:sp>
        <p:nvSpPr>
          <p:cNvPr id="63" name="TextBox 62"/>
          <p:cNvSpPr txBox="1"/>
          <p:nvPr/>
        </p:nvSpPr>
        <p:spPr>
          <a:xfrm>
            <a:off x="269240" y="4304530"/>
            <a:ext cx="5720409" cy="1036732"/>
          </a:xfrm>
          <a:prstGeom prst="rect">
            <a:avLst/>
          </a:prstGeom>
          <a:noFill/>
        </p:spPr>
        <p:txBody>
          <a:bodyPr wrap="none" lIns="179285" tIns="143428" rIns="179285" bIns="143428" rtlCol="0">
            <a:noAutofit/>
          </a:bodyPr>
          <a:lstStyle/>
          <a:p>
            <a:pPr defTabSz="914367">
              <a:lnSpc>
                <a:spcPct val="90000"/>
              </a:lnSpc>
              <a:spcAft>
                <a:spcPts val="588"/>
              </a:spcAft>
            </a:pPr>
            <a:r>
              <a:rPr lang="en-US" sz="2941" dirty="0">
                <a:solidFill>
                  <a:srgbClr val="00188F"/>
                </a:solidFill>
                <a:latin typeface="Segoe UI Light"/>
              </a:rPr>
              <a:t>Questions remain:</a:t>
            </a:r>
          </a:p>
        </p:txBody>
      </p:sp>
      <p:grpSp>
        <p:nvGrpSpPr>
          <p:cNvPr id="10" name="Group 9"/>
          <p:cNvGrpSpPr/>
          <p:nvPr/>
        </p:nvGrpSpPr>
        <p:grpSpPr>
          <a:xfrm>
            <a:off x="4408309" y="2343767"/>
            <a:ext cx="2060879" cy="1590917"/>
            <a:chOff x="1499952" y="2075259"/>
            <a:chExt cx="2102204" cy="1622818"/>
          </a:xfrm>
        </p:grpSpPr>
        <p:sp>
          <p:nvSpPr>
            <p:cNvPr id="75" name="TextBox 74"/>
            <p:cNvSpPr txBox="1"/>
            <p:nvPr/>
          </p:nvSpPr>
          <p:spPr>
            <a:xfrm>
              <a:off x="1499952" y="3020369"/>
              <a:ext cx="2102204" cy="677708"/>
            </a:xfrm>
            <a:prstGeom prst="rect">
              <a:avLst/>
            </a:prstGeom>
            <a:noFill/>
          </p:spPr>
          <p:txBody>
            <a:bodyPr wrap="none" lIns="179285" tIns="143428" rIns="179285" bIns="143428" rtlCol="0">
              <a:noAutofit/>
            </a:bodyPr>
            <a:lstStyle/>
            <a:p>
              <a:pPr algn="ctr" defTabSz="914367">
                <a:lnSpc>
                  <a:spcPct val="90000"/>
                </a:lnSpc>
                <a:spcAft>
                  <a:spcPts val="588"/>
                </a:spcAft>
              </a:pPr>
              <a:r>
                <a:rPr lang="en-US" sz="2353" dirty="0">
                  <a:solidFill>
                    <a:srgbClr val="FFFFFF"/>
                  </a:solidFill>
                  <a:latin typeface="Segoe UI Light"/>
                </a:rPr>
                <a:t>Speed</a:t>
              </a:r>
            </a:p>
          </p:txBody>
        </p:sp>
        <p:pic>
          <p:nvPicPr>
            <p:cNvPr id="78" name="Picture 7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42299" y="2075259"/>
              <a:ext cx="1417511" cy="968549"/>
            </a:xfrm>
            <a:prstGeom prst="rect">
              <a:avLst/>
            </a:prstGeom>
          </p:spPr>
        </p:pic>
      </p:grpSp>
      <p:grpSp>
        <p:nvGrpSpPr>
          <p:cNvPr id="16" name="Group 15"/>
          <p:cNvGrpSpPr/>
          <p:nvPr/>
        </p:nvGrpSpPr>
        <p:grpSpPr>
          <a:xfrm>
            <a:off x="919640" y="5153551"/>
            <a:ext cx="3796086" cy="1058796"/>
            <a:chOff x="938080" y="5256393"/>
            <a:chExt cx="3872205" cy="1080027"/>
          </a:xfrm>
        </p:grpSpPr>
        <p:sp>
          <p:nvSpPr>
            <p:cNvPr id="65" name="TextBox 64"/>
            <p:cNvSpPr txBox="1"/>
            <p:nvPr/>
          </p:nvSpPr>
          <p:spPr>
            <a:xfrm>
              <a:off x="1498835" y="5302694"/>
              <a:ext cx="3311450" cy="1033726"/>
            </a:xfrm>
            <a:prstGeom prst="rect">
              <a:avLst/>
            </a:prstGeom>
            <a:noFill/>
          </p:spPr>
          <p:txBody>
            <a:bodyPr wrap="square" lIns="179285" tIns="143428" rIns="179285" bIns="143428" rtlCol="0">
              <a:noAutofit/>
            </a:bodyPr>
            <a:lstStyle/>
            <a:p>
              <a:pPr defTabSz="914367">
                <a:lnSpc>
                  <a:spcPts val="2784"/>
                </a:lnSpc>
                <a:spcAft>
                  <a:spcPts val="588"/>
                </a:spcAft>
                <a:buSzPct val="80000"/>
              </a:pPr>
              <a:r>
                <a:rPr lang="en-US" sz="2353" dirty="0">
                  <a:solidFill>
                    <a:srgbClr val="00188F"/>
                  </a:solidFill>
                  <a:latin typeface="Segoe UI Light"/>
                  <a:cs typeface="Segoe UI Light"/>
                </a:rPr>
                <a:t>What does this mean for my IT strategy?</a:t>
              </a:r>
            </a:p>
          </p:txBody>
        </p:sp>
        <p:sp>
          <p:nvSpPr>
            <p:cNvPr id="29" name="Text Placeholder 3"/>
            <p:cNvSpPr txBox="1">
              <a:spLocks/>
            </p:cNvSpPr>
            <p:nvPr/>
          </p:nvSpPr>
          <p:spPr>
            <a:xfrm>
              <a:off x="938080" y="5256393"/>
              <a:ext cx="649963" cy="1024684"/>
            </a:xfrm>
            <a:prstGeom prst="rect">
              <a:avLst/>
            </a:prstGeom>
          </p:spPr>
          <p:txBody>
            <a:bodyPr vert="horz" wrap="square" lIns="143428" tIns="89642" rIns="143428" bIns="89642" rtlCol="0">
              <a:noAutofit/>
            </a:bodyPr>
            <a:lstStyle>
              <a:lvl1pPr marL="0" marR="0" indent="0" algn="l" defTabSz="932742" rtl="0" eaLnBrk="1" fontAlgn="auto" latinLnBrk="0" hangingPunct="1">
                <a:lnSpc>
                  <a:spcPct val="90000"/>
                </a:lnSpc>
                <a:spcBef>
                  <a:spcPts val="1200"/>
                </a:spcBef>
                <a:spcAft>
                  <a:spcPts val="2400"/>
                </a:spcAft>
                <a:buClrTx/>
                <a:buSzPct val="90000"/>
                <a:buFontTx/>
                <a:buNone/>
                <a:tabLst/>
                <a:defRPr lang="en-US" sz="5200" b="0" i="0" kern="1200" spc="0" baseline="0" dirty="0" smtClean="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7058" b="1">
                  <a:solidFill>
                    <a:srgbClr val="0072C6"/>
                  </a:solidFill>
                  <a:latin typeface="Segoe UI"/>
                </a:rPr>
                <a:t>?</a:t>
              </a:r>
              <a:endParaRPr sz="7058" b="1">
                <a:solidFill>
                  <a:srgbClr val="0072C6"/>
                </a:solidFill>
                <a:latin typeface="Segoe UI"/>
              </a:endParaRPr>
            </a:p>
          </p:txBody>
        </p:sp>
      </p:grpSp>
      <p:grpSp>
        <p:nvGrpSpPr>
          <p:cNvPr id="7" name="Group 6"/>
          <p:cNvGrpSpPr/>
          <p:nvPr/>
        </p:nvGrpSpPr>
        <p:grpSpPr>
          <a:xfrm>
            <a:off x="9321228" y="2262077"/>
            <a:ext cx="2060879" cy="1672608"/>
            <a:chOff x="8504238" y="1991930"/>
            <a:chExt cx="2102204" cy="1706147"/>
          </a:xfrm>
        </p:grpSpPr>
        <p:pic>
          <p:nvPicPr>
            <p:cNvPr id="81" name="Picture 8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796848" y="1991930"/>
              <a:ext cx="1516985" cy="1023879"/>
            </a:xfrm>
            <a:prstGeom prst="rect">
              <a:avLst/>
            </a:prstGeom>
          </p:spPr>
        </p:pic>
        <p:sp>
          <p:nvSpPr>
            <p:cNvPr id="31" name="TextBox 30"/>
            <p:cNvSpPr txBox="1"/>
            <p:nvPr/>
          </p:nvSpPr>
          <p:spPr>
            <a:xfrm>
              <a:off x="8504238" y="3020369"/>
              <a:ext cx="2102204" cy="677708"/>
            </a:xfrm>
            <a:prstGeom prst="rect">
              <a:avLst/>
            </a:prstGeom>
            <a:noFill/>
          </p:spPr>
          <p:txBody>
            <a:bodyPr wrap="none" lIns="179285" tIns="143428" rIns="179285" bIns="143428" rtlCol="0">
              <a:noAutofit/>
            </a:bodyPr>
            <a:lstStyle/>
            <a:p>
              <a:pPr algn="ctr" defTabSz="914367">
                <a:lnSpc>
                  <a:spcPct val="90000"/>
                </a:lnSpc>
                <a:spcAft>
                  <a:spcPts val="588"/>
                </a:spcAft>
              </a:pPr>
              <a:r>
                <a:rPr lang="en-US" sz="2353" dirty="0">
                  <a:solidFill>
                    <a:srgbClr val="FFFFFF"/>
                  </a:solidFill>
                  <a:latin typeface="Segoe UI Light"/>
                </a:rPr>
                <a:t>Economics</a:t>
              </a:r>
            </a:p>
          </p:txBody>
        </p:sp>
      </p:grpSp>
      <p:grpSp>
        <p:nvGrpSpPr>
          <p:cNvPr id="17" name="Group 16"/>
          <p:cNvGrpSpPr/>
          <p:nvPr/>
        </p:nvGrpSpPr>
        <p:grpSpPr>
          <a:xfrm>
            <a:off x="4439758" y="5153551"/>
            <a:ext cx="3649092" cy="1185472"/>
            <a:chOff x="4528784" y="5256393"/>
            <a:chExt cx="3722264" cy="1209243"/>
          </a:xfrm>
        </p:grpSpPr>
        <p:sp>
          <p:nvSpPr>
            <p:cNvPr id="66" name="TextBox 65"/>
            <p:cNvSpPr txBox="1"/>
            <p:nvPr/>
          </p:nvSpPr>
          <p:spPr>
            <a:xfrm>
              <a:off x="5075223" y="5302694"/>
              <a:ext cx="3175825" cy="1162942"/>
            </a:xfrm>
            <a:prstGeom prst="rect">
              <a:avLst/>
            </a:prstGeom>
            <a:noFill/>
          </p:spPr>
          <p:txBody>
            <a:bodyPr wrap="square" lIns="179285" tIns="143428" rIns="179285" bIns="143428" rtlCol="0">
              <a:noAutofit/>
            </a:bodyPr>
            <a:lstStyle/>
            <a:p>
              <a:pPr defTabSz="914367">
                <a:lnSpc>
                  <a:spcPts val="2784"/>
                </a:lnSpc>
                <a:spcAft>
                  <a:spcPts val="588"/>
                </a:spcAft>
                <a:buSzPct val="80000"/>
              </a:pPr>
              <a:r>
                <a:rPr lang="en-US" sz="2353" dirty="0">
                  <a:solidFill>
                    <a:srgbClr val="00188F"/>
                  </a:solidFill>
                  <a:latin typeface="Segoe UI Light"/>
                  <a:cs typeface="Segoe UI Light"/>
                </a:rPr>
                <a:t>What does this mean for my datacenter?</a:t>
              </a:r>
            </a:p>
          </p:txBody>
        </p:sp>
        <p:sp>
          <p:nvSpPr>
            <p:cNvPr id="43" name="Text Placeholder 3"/>
            <p:cNvSpPr txBox="1">
              <a:spLocks/>
            </p:cNvSpPr>
            <p:nvPr/>
          </p:nvSpPr>
          <p:spPr>
            <a:xfrm>
              <a:off x="4528784" y="5256393"/>
              <a:ext cx="649963" cy="1024684"/>
            </a:xfrm>
            <a:prstGeom prst="rect">
              <a:avLst/>
            </a:prstGeom>
          </p:spPr>
          <p:txBody>
            <a:bodyPr vert="horz" wrap="square" lIns="143428" tIns="89642" rIns="143428" bIns="89642" rtlCol="0">
              <a:noAutofit/>
            </a:bodyPr>
            <a:lstStyle>
              <a:lvl1pPr marL="0" marR="0" indent="0" algn="l" defTabSz="932742" rtl="0" eaLnBrk="1" fontAlgn="auto" latinLnBrk="0" hangingPunct="1">
                <a:lnSpc>
                  <a:spcPct val="90000"/>
                </a:lnSpc>
                <a:spcBef>
                  <a:spcPts val="1200"/>
                </a:spcBef>
                <a:spcAft>
                  <a:spcPts val="2400"/>
                </a:spcAft>
                <a:buClrTx/>
                <a:buSzPct val="90000"/>
                <a:buFontTx/>
                <a:buNone/>
                <a:tabLst/>
                <a:defRPr lang="en-US" sz="5200" b="0" i="0" kern="1200" spc="0" baseline="0" dirty="0" smtClean="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7058" b="1">
                  <a:solidFill>
                    <a:srgbClr val="0072C6"/>
                  </a:solidFill>
                  <a:latin typeface="Segoe UI"/>
                </a:rPr>
                <a:t>?</a:t>
              </a:r>
              <a:endParaRPr sz="7058" b="1">
                <a:solidFill>
                  <a:srgbClr val="0072C6"/>
                </a:solidFill>
                <a:latin typeface="Segoe UI"/>
              </a:endParaRPr>
            </a:p>
          </p:txBody>
        </p:sp>
      </p:grpSp>
      <p:grpSp>
        <p:nvGrpSpPr>
          <p:cNvPr id="18" name="Group 17"/>
          <p:cNvGrpSpPr/>
          <p:nvPr/>
        </p:nvGrpSpPr>
        <p:grpSpPr>
          <a:xfrm>
            <a:off x="7897924" y="5153551"/>
            <a:ext cx="4024839" cy="1152993"/>
            <a:chOff x="8056293" y="5256393"/>
            <a:chExt cx="4105545" cy="1176113"/>
          </a:xfrm>
        </p:grpSpPr>
        <p:sp>
          <p:nvSpPr>
            <p:cNvPr id="64" name="TextBox 63"/>
            <p:cNvSpPr txBox="1"/>
            <p:nvPr/>
          </p:nvSpPr>
          <p:spPr>
            <a:xfrm>
              <a:off x="8604032" y="5302694"/>
              <a:ext cx="3557806" cy="1129812"/>
            </a:xfrm>
            <a:prstGeom prst="rect">
              <a:avLst/>
            </a:prstGeom>
            <a:noFill/>
          </p:spPr>
          <p:txBody>
            <a:bodyPr wrap="square" lIns="179285" tIns="143428" rIns="179285" bIns="143428" rtlCol="0">
              <a:noAutofit/>
            </a:bodyPr>
            <a:lstStyle/>
            <a:p>
              <a:pPr defTabSz="914367">
                <a:lnSpc>
                  <a:spcPts val="2784"/>
                </a:lnSpc>
                <a:spcAft>
                  <a:spcPts val="588"/>
                </a:spcAft>
                <a:buSzPct val="80000"/>
              </a:pPr>
              <a:r>
                <a:rPr lang="en-US" sz="2353" dirty="0">
                  <a:solidFill>
                    <a:srgbClr val="00188F"/>
                  </a:solidFill>
                  <a:latin typeface="Segoe UI Light"/>
                  <a:cs typeface="Segoe UI Light"/>
                </a:rPr>
                <a:t>For what scenarios should I use the cloud?</a:t>
              </a:r>
            </a:p>
          </p:txBody>
        </p:sp>
        <p:sp>
          <p:nvSpPr>
            <p:cNvPr id="44" name="Text Placeholder 3"/>
            <p:cNvSpPr txBox="1">
              <a:spLocks/>
            </p:cNvSpPr>
            <p:nvPr/>
          </p:nvSpPr>
          <p:spPr>
            <a:xfrm>
              <a:off x="8056293" y="5256393"/>
              <a:ext cx="649963" cy="1024684"/>
            </a:xfrm>
            <a:prstGeom prst="rect">
              <a:avLst/>
            </a:prstGeom>
          </p:spPr>
          <p:txBody>
            <a:bodyPr vert="horz" wrap="square" lIns="143428" tIns="89642" rIns="143428" bIns="89642" rtlCol="0">
              <a:noAutofit/>
            </a:bodyPr>
            <a:lstStyle>
              <a:lvl1pPr marL="0" marR="0" indent="0" algn="l" defTabSz="932742" rtl="0" eaLnBrk="1" fontAlgn="auto" latinLnBrk="0" hangingPunct="1">
                <a:lnSpc>
                  <a:spcPct val="90000"/>
                </a:lnSpc>
                <a:spcBef>
                  <a:spcPts val="1200"/>
                </a:spcBef>
                <a:spcAft>
                  <a:spcPts val="2400"/>
                </a:spcAft>
                <a:buClrTx/>
                <a:buSzPct val="90000"/>
                <a:buFontTx/>
                <a:buNone/>
                <a:tabLst/>
                <a:defRPr lang="en-US" sz="5200" b="0" i="0" kern="1200" spc="0" baseline="0" dirty="0" smtClean="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7058" b="1">
                  <a:solidFill>
                    <a:srgbClr val="0072C6"/>
                  </a:solidFill>
                  <a:latin typeface="Segoe UI"/>
                </a:rPr>
                <a:t>?</a:t>
              </a:r>
              <a:endParaRPr sz="7058" b="1">
                <a:solidFill>
                  <a:srgbClr val="0072C6"/>
                </a:solidFill>
                <a:latin typeface="Segoe UI"/>
              </a:endParaRPr>
            </a:p>
          </p:txBody>
        </p:sp>
      </p:grpSp>
      <p:grpSp>
        <p:nvGrpSpPr>
          <p:cNvPr id="6" name="Group 5"/>
          <p:cNvGrpSpPr/>
          <p:nvPr/>
        </p:nvGrpSpPr>
        <p:grpSpPr>
          <a:xfrm>
            <a:off x="6846724" y="2289564"/>
            <a:ext cx="2060879" cy="1645120"/>
            <a:chOff x="6984015" y="2334978"/>
            <a:chExt cx="2102204" cy="1678108"/>
          </a:xfrm>
        </p:grpSpPr>
        <p:sp>
          <p:nvSpPr>
            <p:cNvPr id="30" name="TextBox 29"/>
            <p:cNvSpPr txBox="1"/>
            <p:nvPr/>
          </p:nvSpPr>
          <p:spPr>
            <a:xfrm>
              <a:off x="6984015" y="3335378"/>
              <a:ext cx="2102204" cy="677708"/>
            </a:xfrm>
            <a:prstGeom prst="rect">
              <a:avLst/>
            </a:prstGeom>
            <a:noFill/>
          </p:spPr>
          <p:txBody>
            <a:bodyPr wrap="none" lIns="179285" tIns="143428" rIns="179285" bIns="143428" rtlCol="0">
              <a:noAutofit/>
            </a:bodyPr>
            <a:lstStyle/>
            <a:p>
              <a:pPr algn="ctr" defTabSz="914367">
                <a:lnSpc>
                  <a:spcPct val="90000"/>
                </a:lnSpc>
                <a:spcAft>
                  <a:spcPts val="588"/>
                </a:spcAft>
              </a:pPr>
              <a:r>
                <a:rPr lang="en-US" sz="2353" dirty="0">
                  <a:solidFill>
                    <a:srgbClr val="FFFFFF"/>
                  </a:solidFill>
                  <a:latin typeface="Segoe UI Light"/>
                </a:rPr>
                <a:t>Scale</a:t>
              </a:r>
            </a:p>
          </p:txBody>
        </p:sp>
        <p:grpSp>
          <p:nvGrpSpPr>
            <p:cNvPr id="3" name="Group 2"/>
            <p:cNvGrpSpPr/>
            <p:nvPr/>
          </p:nvGrpSpPr>
          <p:grpSpPr>
            <a:xfrm flipH="1">
              <a:off x="7288394" y="2334978"/>
              <a:ext cx="1575172" cy="1022949"/>
              <a:chOff x="7212576" y="2334978"/>
              <a:chExt cx="1575172" cy="1022949"/>
            </a:xfrm>
          </p:grpSpPr>
          <p:sp>
            <p:nvSpPr>
              <p:cNvPr id="25" name="Freeform 5"/>
              <p:cNvSpPr>
                <a:spLocks/>
              </p:cNvSpPr>
              <p:nvPr/>
            </p:nvSpPr>
            <p:spPr bwMode="auto">
              <a:xfrm flipH="1">
                <a:off x="7212576" y="2334978"/>
                <a:ext cx="1575172" cy="102294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235295"/>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sp>
            <p:nvSpPr>
              <p:cNvPr id="27" name="Freeform 5"/>
              <p:cNvSpPr>
                <a:spLocks/>
              </p:cNvSpPr>
              <p:nvPr/>
            </p:nvSpPr>
            <p:spPr bwMode="auto">
              <a:xfrm flipH="1">
                <a:off x="7424096" y="2500842"/>
                <a:ext cx="1275988" cy="828653"/>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1"/>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sp>
            <p:nvSpPr>
              <p:cNvPr id="28" name="Freeform 5"/>
              <p:cNvSpPr>
                <a:spLocks/>
              </p:cNvSpPr>
              <p:nvPr/>
            </p:nvSpPr>
            <p:spPr bwMode="auto">
              <a:xfrm flipH="1">
                <a:off x="7591542" y="2641931"/>
                <a:ext cx="1013768" cy="658363"/>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24BCF0"/>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grpSp>
      </p:grpSp>
    </p:spTree>
    <p:extLst>
      <p:ext uri="{BB962C8B-B14F-4D97-AF65-F5344CB8AC3E}">
        <p14:creationId xmlns:p14="http://schemas.microsoft.com/office/powerpoint/2010/main" val="33344669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13" grpId="0" build="p"/>
      <p:bldP spid="6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1" y="5606699"/>
            <a:ext cx="12192000" cy="12508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1" y="487"/>
            <a:ext cx="12192000" cy="18800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3"/>
          </p:nvPr>
        </p:nvSpPr>
        <p:spPr/>
        <p:txBody>
          <a:bodyPr/>
          <a:lstStyle/>
          <a:p>
            <a:r>
              <a:rPr lang="en-US" dirty="0" smtClean="0">
                <a:solidFill>
                  <a:schemeClr val="bg1"/>
                </a:solidFill>
              </a:rPr>
              <a:t>Attention, on July 14, 2015</a:t>
            </a:r>
            <a:endParaRPr lang="en-US" dirty="0">
              <a:solidFill>
                <a:schemeClr val="bg1"/>
              </a:solidFill>
            </a:endParaRPr>
          </a:p>
        </p:txBody>
      </p:sp>
      <p:sp>
        <p:nvSpPr>
          <p:cNvPr id="4" name="Text Placeholder 1"/>
          <p:cNvSpPr txBox="1">
            <a:spLocks/>
          </p:cNvSpPr>
          <p:nvPr/>
        </p:nvSpPr>
        <p:spPr>
          <a:xfrm>
            <a:off x="269240" y="1172175"/>
            <a:ext cx="11683092" cy="1004541"/>
          </a:xfrm>
          <a:prstGeom prst="rect">
            <a:avLst/>
          </a:prstGeom>
        </p:spPr>
        <p:txBody>
          <a:bodyPr vert="horz" wrap="square" lIns="143428" tIns="89642" rIns="143428" bIns="89642" rtlCol="0">
            <a:noAutofit/>
          </a:bodyPr>
          <a:lstStyle>
            <a:lvl1pPr marL="0" marR="0" indent="0" algn="l" defTabSz="932742" rtl="0" eaLnBrk="1" fontAlgn="auto" latinLnBrk="0" hangingPunct="1">
              <a:lnSpc>
                <a:spcPct val="90000"/>
              </a:lnSpc>
              <a:spcBef>
                <a:spcPts val="1200"/>
              </a:spcBef>
              <a:spcAft>
                <a:spcPts val="2400"/>
              </a:spcAft>
              <a:buClrTx/>
              <a:buSzPct val="90000"/>
              <a:buFontTx/>
              <a:buNone/>
              <a:tabLst/>
              <a:defRPr lang="en-US" sz="5200" b="0" i="0" kern="1200" spc="0" baseline="0" dirty="0" smtClean="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2745">
                <a:solidFill>
                  <a:srgbClr val="FFFFFF"/>
                </a:solidFill>
              </a:rPr>
              <a:t>Microsoft will end support for Windows Server 2003/R2 </a:t>
            </a:r>
            <a:endParaRPr sz="2745">
              <a:solidFill>
                <a:srgbClr val="FFFFFF"/>
              </a:solidFill>
            </a:endParaRPr>
          </a:p>
        </p:txBody>
      </p:sp>
      <p:sp>
        <p:nvSpPr>
          <p:cNvPr id="5" name="Freeform 36"/>
          <p:cNvSpPr>
            <a:spLocks noEditPoints="1"/>
          </p:cNvSpPr>
          <p:nvPr/>
        </p:nvSpPr>
        <p:spPr bwMode="black">
          <a:xfrm>
            <a:off x="10659051" y="340311"/>
            <a:ext cx="1185896" cy="1200354"/>
          </a:xfrm>
          <a:custGeom>
            <a:avLst/>
            <a:gdLst>
              <a:gd name="T0" fmla="*/ 82 w 149"/>
              <a:gd name="T1" fmla="*/ 41 h 150"/>
              <a:gd name="T2" fmla="*/ 80 w 149"/>
              <a:gd name="T3" fmla="*/ 87 h 150"/>
              <a:gd name="T4" fmla="*/ 68 w 149"/>
              <a:gd name="T5" fmla="*/ 87 h 150"/>
              <a:gd name="T6" fmla="*/ 67 w 149"/>
              <a:gd name="T7" fmla="*/ 41 h 150"/>
              <a:gd name="T8" fmla="*/ 82 w 149"/>
              <a:gd name="T9" fmla="*/ 41 h 150"/>
              <a:gd name="T10" fmla="*/ 83 w 149"/>
              <a:gd name="T11" fmla="*/ 102 h 150"/>
              <a:gd name="T12" fmla="*/ 81 w 149"/>
              <a:gd name="T13" fmla="*/ 107 h 150"/>
              <a:gd name="T14" fmla="*/ 75 w 149"/>
              <a:gd name="T15" fmla="*/ 109 h 150"/>
              <a:gd name="T16" fmla="*/ 68 w 149"/>
              <a:gd name="T17" fmla="*/ 107 h 150"/>
              <a:gd name="T18" fmla="*/ 66 w 149"/>
              <a:gd name="T19" fmla="*/ 102 h 150"/>
              <a:gd name="T20" fmla="*/ 68 w 149"/>
              <a:gd name="T21" fmla="*/ 96 h 150"/>
              <a:gd name="T22" fmla="*/ 75 w 149"/>
              <a:gd name="T23" fmla="*/ 94 h 150"/>
              <a:gd name="T24" fmla="*/ 81 w 149"/>
              <a:gd name="T25" fmla="*/ 96 h 150"/>
              <a:gd name="T26" fmla="*/ 83 w 149"/>
              <a:gd name="T27" fmla="*/ 102 h 150"/>
              <a:gd name="T28" fmla="*/ 74 w 149"/>
              <a:gd name="T29" fmla="*/ 10 h 150"/>
              <a:gd name="T30" fmla="*/ 9 w 149"/>
              <a:gd name="T31" fmla="*/ 75 h 150"/>
              <a:gd name="T32" fmla="*/ 74 w 149"/>
              <a:gd name="T33" fmla="*/ 140 h 150"/>
              <a:gd name="T34" fmla="*/ 140 w 149"/>
              <a:gd name="T35" fmla="*/ 75 h 150"/>
              <a:gd name="T36" fmla="*/ 74 w 149"/>
              <a:gd name="T37" fmla="*/ 10 h 150"/>
              <a:gd name="T38" fmla="*/ 74 w 149"/>
              <a:gd name="T39" fmla="*/ 0 h 150"/>
              <a:gd name="T40" fmla="*/ 149 w 149"/>
              <a:gd name="T41" fmla="*/ 75 h 150"/>
              <a:gd name="T42" fmla="*/ 74 w 149"/>
              <a:gd name="T43" fmla="*/ 150 h 150"/>
              <a:gd name="T44" fmla="*/ 0 w 149"/>
              <a:gd name="T45" fmla="*/ 75 h 150"/>
              <a:gd name="T46" fmla="*/ 74 w 149"/>
              <a:gd name="T4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 h="150">
                <a:moveTo>
                  <a:pt x="82" y="41"/>
                </a:moveTo>
                <a:cubicBezTo>
                  <a:pt x="80" y="87"/>
                  <a:pt x="80" y="87"/>
                  <a:pt x="80" y="87"/>
                </a:cubicBezTo>
                <a:cubicBezTo>
                  <a:pt x="68" y="87"/>
                  <a:pt x="68" y="87"/>
                  <a:pt x="68" y="87"/>
                </a:cubicBezTo>
                <a:cubicBezTo>
                  <a:pt x="67" y="41"/>
                  <a:pt x="67" y="41"/>
                  <a:pt x="67" y="41"/>
                </a:cubicBezTo>
                <a:lnTo>
                  <a:pt x="82" y="41"/>
                </a:lnTo>
                <a:close/>
                <a:moveTo>
                  <a:pt x="83" y="102"/>
                </a:moveTo>
                <a:cubicBezTo>
                  <a:pt x="83" y="104"/>
                  <a:pt x="82" y="106"/>
                  <a:pt x="81" y="107"/>
                </a:cubicBezTo>
                <a:cubicBezTo>
                  <a:pt x="79" y="109"/>
                  <a:pt x="77" y="109"/>
                  <a:pt x="75" y="109"/>
                </a:cubicBezTo>
                <a:cubicBezTo>
                  <a:pt x="72" y="109"/>
                  <a:pt x="70" y="109"/>
                  <a:pt x="68" y="107"/>
                </a:cubicBezTo>
                <a:cubicBezTo>
                  <a:pt x="67" y="105"/>
                  <a:pt x="66" y="104"/>
                  <a:pt x="66" y="102"/>
                </a:cubicBezTo>
                <a:cubicBezTo>
                  <a:pt x="66" y="99"/>
                  <a:pt x="67" y="97"/>
                  <a:pt x="68" y="96"/>
                </a:cubicBezTo>
                <a:cubicBezTo>
                  <a:pt x="70" y="94"/>
                  <a:pt x="72" y="94"/>
                  <a:pt x="75" y="94"/>
                </a:cubicBezTo>
                <a:cubicBezTo>
                  <a:pt x="77" y="94"/>
                  <a:pt x="79" y="94"/>
                  <a:pt x="81" y="96"/>
                </a:cubicBezTo>
                <a:cubicBezTo>
                  <a:pt x="82" y="97"/>
                  <a:pt x="83" y="99"/>
                  <a:pt x="83" y="102"/>
                </a:cubicBezTo>
                <a:moveTo>
                  <a:pt x="74" y="10"/>
                </a:moveTo>
                <a:cubicBezTo>
                  <a:pt x="38" y="10"/>
                  <a:pt x="9" y="39"/>
                  <a:pt x="9" y="75"/>
                </a:cubicBezTo>
                <a:cubicBezTo>
                  <a:pt x="9" y="111"/>
                  <a:pt x="38" y="140"/>
                  <a:pt x="74" y="140"/>
                </a:cubicBezTo>
                <a:cubicBezTo>
                  <a:pt x="111" y="140"/>
                  <a:pt x="140" y="111"/>
                  <a:pt x="140" y="75"/>
                </a:cubicBezTo>
                <a:cubicBezTo>
                  <a:pt x="140" y="39"/>
                  <a:pt x="111" y="10"/>
                  <a:pt x="74" y="10"/>
                </a:cubicBezTo>
                <a:moveTo>
                  <a:pt x="74" y="0"/>
                </a:moveTo>
                <a:cubicBezTo>
                  <a:pt x="116" y="0"/>
                  <a:pt x="149" y="34"/>
                  <a:pt x="149" y="75"/>
                </a:cubicBezTo>
                <a:cubicBezTo>
                  <a:pt x="149" y="116"/>
                  <a:pt x="116" y="150"/>
                  <a:pt x="74" y="150"/>
                </a:cubicBezTo>
                <a:cubicBezTo>
                  <a:pt x="33" y="150"/>
                  <a:pt x="0" y="116"/>
                  <a:pt x="0" y="75"/>
                </a:cubicBezTo>
                <a:cubicBezTo>
                  <a:pt x="0" y="34"/>
                  <a:pt x="33"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4" tIns="45722" rIns="91444" bIns="45722" numCol="1" anchor="t" anchorCtr="0" compatLnSpc="1">
            <a:prstTxWarp prst="textNoShape">
              <a:avLst/>
            </a:prstTxWarp>
          </a:bodyPr>
          <a:lstStyle/>
          <a:p>
            <a:pPr defTabSz="914367"/>
            <a:endParaRPr lang="en-US" sz="1765" dirty="0">
              <a:solidFill>
                <a:srgbClr val="000000"/>
              </a:solidFill>
            </a:endParaRPr>
          </a:p>
        </p:txBody>
      </p:sp>
      <p:sp>
        <p:nvSpPr>
          <p:cNvPr id="6" name="TextBox 5"/>
          <p:cNvSpPr txBox="1"/>
          <p:nvPr/>
        </p:nvSpPr>
        <p:spPr>
          <a:xfrm>
            <a:off x="281690" y="1897035"/>
            <a:ext cx="3426607" cy="482771"/>
          </a:xfrm>
          <a:prstGeom prst="rect">
            <a:avLst/>
          </a:prstGeom>
          <a:noFill/>
        </p:spPr>
        <p:txBody>
          <a:bodyPr wrap="square" lIns="179285" tIns="143428" rIns="179285" bIns="143428" rtlCol="0">
            <a:noAutofit/>
          </a:bodyPr>
          <a:lstStyle/>
          <a:p>
            <a:pPr defTabSz="914367">
              <a:lnSpc>
                <a:spcPct val="90000"/>
              </a:lnSpc>
              <a:spcAft>
                <a:spcPts val="588"/>
              </a:spcAft>
            </a:pPr>
            <a:r>
              <a:rPr lang="en-US" sz="2353" dirty="0">
                <a:solidFill>
                  <a:srgbClr val="0072C6"/>
                </a:solidFill>
                <a:latin typeface="Segoe UI Light"/>
              </a:rPr>
              <a:t>Consequences</a:t>
            </a:r>
          </a:p>
        </p:txBody>
      </p:sp>
      <p:sp>
        <p:nvSpPr>
          <p:cNvPr id="16" name="TextBox 15"/>
          <p:cNvSpPr txBox="1"/>
          <p:nvPr/>
        </p:nvSpPr>
        <p:spPr>
          <a:xfrm>
            <a:off x="281690" y="4323388"/>
            <a:ext cx="3426607" cy="482771"/>
          </a:xfrm>
          <a:prstGeom prst="rect">
            <a:avLst/>
          </a:prstGeom>
          <a:noFill/>
        </p:spPr>
        <p:txBody>
          <a:bodyPr wrap="square" lIns="179285" tIns="143428" rIns="179285" bIns="143428" rtlCol="0">
            <a:noAutofit/>
          </a:bodyPr>
          <a:lstStyle/>
          <a:p>
            <a:pPr defTabSz="914367">
              <a:lnSpc>
                <a:spcPct val="90000"/>
              </a:lnSpc>
              <a:spcAft>
                <a:spcPts val="588"/>
              </a:spcAft>
            </a:pPr>
            <a:r>
              <a:rPr lang="en-US" sz="2353" dirty="0">
                <a:solidFill>
                  <a:srgbClr val="0072C6"/>
                </a:solidFill>
                <a:latin typeface="Segoe UI Light"/>
              </a:rPr>
              <a:t>Opportunities</a:t>
            </a:r>
          </a:p>
        </p:txBody>
      </p:sp>
      <p:sp>
        <p:nvSpPr>
          <p:cNvPr id="17" name="TextBox 16"/>
          <p:cNvSpPr txBox="1"/>
          <p:nvPr/>
        </p:nvSpPr>
        <p:spPr>
          <a:xfrm>
            <a:off x="281691" y="4737876"/>
            <a:ext cx="2903515" cy="659960"/>
          </a:xfrm>
          <a:prstGeom prst="rect">
            <a:avLst/>
          </a:prstGeom>
          <a:noFill/>
        </p:spPr>
        <p:txBody>
          <a:bodyPr wrap="square" lIns="179285" tIns="143428" rIns="179285" bIns="143428" rtlCol="0" anchor="t">
            <a:noAutofit/>
          </a:bodyPr>
          <a:lstStyle/>
          <a:p>
            <a:pPr defTabSz="914367">
              <a:lnSpc>
                <a:spcPct val="90000"/>
              </a:lnSpc>
              <a:spcAft>
                <a:spcPts val="588"/>
              </a:spcAft>
            </a:pPr>
            <a:r>
              <a:rPr lang="en-US" sz="1470" dirty="0">
                <a:solidFill>
                  <a:srgbClr val="505050"/>
                </a:solidFill>
                <a:latin typeface="Segoe UI Semibold" panose="020B0702040204020203" pitchFamily="34" charset="0"/>
              </a:rPr>
              <a:t>Standardized datacenter environment</a:t>
            </a:r>
          </a:p>
        </p:txBody>
      </p:sp>
      <p:sp>
        <p:nvSpPr>
          <p:cNvPr id="18" name="TextBox 17"/>
          <p:cNvSpPr txBox="1"/>
          <p:nvPr/>
        </p:nvSpPr>
        <p:spPr>
          <a:xfrm>
            <a:off x="3185206" y="4737876"/>
            <a:ext cx="2654007" cy="659960"/>
          </a:xfrm>
          <a:prstGeom prst="rect">
            <a:avLst/>
          </a:prstGeom>
          <a:noFill/>
        </p:spPr>
        <p:txBody>
          <a:bodyPr wrap="square" lIns="179285" tIns="143428" rIns="179285" bIns="143428" rtlCol="0" anchor="t">
            <a:noAutofit/>
          </a:bodyPr>
          <a:lstStyle/>
          <a:p>
            <a:pPr defTabSz="914367">
              <a:lnSpc>
                <a:spcPct val="90000"/>
              </a:lnSpc>
              <a:spcAft>
                <a:spcPts val="588"/>
              </a:spcAft>
            </a:pPr>
            <a:r>
              <a:rPr lang="en-US" sz="1470" dirty="0">
                <a:solidFill>
                  <a:srgbClr val="505050"/>
                </a:solidFill>
                <a:latin typeface="Segoe UI Semibold" panose="020B0702040204020203" pitchFamily="34" charset="0"/>
              </a:rPr>
              <a:t>Improved resource utilization</a:t>
            </a:r>
          </a:p>
        </p:txBody>
      </p:sp>
      <p:sp>
        <p:nvSpPr>
          <p:cNvPr id="19" name="TextBox 18"/>
          <p:cNvSpPr txBox="1"/>
          <p:nvPr/>
        </p:nvSpPr>
        <p:spPr>
          <a:xfrm>
            <a:off x="6102227" y="4737876"/>
            <a:ext cx="2903515" cy="659960"/>
          </a:xfrm>
          <a:prstGeom prst="rect">
            <a:avLst/>
          </a:prstGeom>
          <a:noFill/>
        </p:spPr>
        <p:txBody>
          <a:bodyPr wrap="square" lIns="179285" tIns="143428" rIns="179285" bIns="143428" rtlCol="0" anchor="t">
            <a:noAutofit/>
          </a:bodyPr>
          <a:lstStyle/>
          <a:p>
            <a:pPr defTabSz="914367">
              <a:lnSpc>
                <a:spcPct val="90000"/>
              </a:lnSpc>
              <a:spcAft>
                <a:spcPts val="588"/>
              </a:spcAft>
            </a:pPr>
            <a:r>
              <a:rPr lang="en-US" sz="1470" dirty="0">
                <a:solidFill>
                  <a:srgbClr val="505050"/>
                </a:solidFill>
                <a:latin typeface="Segoe UI Semibold" panose="020B0702040204020203" pitchFamily="34" charset="0"/>
              </a:rPr>
              <a:t>Compliance and Security</a:t>
            </a:r>
          </a:p>
        </p:txBody>
      </p:sp>
      <p:sp>
        <p:nvSpPr>
          <p:cNvPr id="20" name="TextBox 19"/>
          <p:cNvSpPr txBox="1"/>
          <p:nvPr/>
        </p:nvSpPr>
        <p:spPr>
          <a:xfrm>
            <a:off x="9019248" y="4737876"/>
            <a:ext cx="2903515" cy="659960"/>
          </a:xfrm>
          <a:prstGeom prst="rect">
            <a:avLst/>
          </a:prstGeom>
          <a:noFill/>
        </p:spPr>
        <p:txBody>
          <a:bodyPr wrap="square" lIns="179285" tIns="143428" rIns="179285" bIns="143428" rtlCol="0" anchor="t">
            <a:noAutofit/>
          </a:bodyPr>
          <a:lstStyle/>
          <a:p>
            <a:pPr defTabSz="914367">
              <a:lnSpc>
                <a:spcPct val="90000"/>
              </a:lnSpc>
              <a:spcAft>
                <a:spcPts val="588"/>
              </a:spcAft>
            </a:pPr>
            <a:r>
              <a:rPr lang="en-US" sz="1470" dirty="0">
                <a:solidFill>
                  <a:srgbClr val="505050"/>
                </a:solidFill>
                <a:latin typeface="Segoe UI Semibold" panose="020B0702040204020203" pitchFamily="34" charset="0"/>
              </a:rPr>
              <a:t>Application Innovation</a:t>
            </a:r>
          </a:p>
        </p:txBody>
      </p:sp>
      <p:sp>
        <p:nvSpPr>
          <p:cNvPr id="21" name="TextBox 20"/>
          <p:cNvSpPr txBox="1"/>
          <p:nvPr/>
        </p:nvSpPr>
        <p:spPr>
          <a:xfrm>
            <a:off x="281690" y="5606700"/>
            <a:ext cx="3426607" cy="482771"/>
          </a:xfrm>
          <a:prstGeom prst="rect">
            <a:avLst/>
          </a:prstGeom>
          <a:noFill/>
        </p:spPr>
        <p:txBody>
          <a:bodyPr wrap="square" lIns="179285" tIns="143428" rIns="179285" bIns="143428" rtlCol="0">
            <a:noAutofit/>
          </a:bodyPr>
          <a:lstStyle/>
          <a:p>
            <a:pPr defTabSz="914367">
              <a:lnSpc>
                <a:spcPct val="90000"/>
              </a:lnSpc>
              <a:spcAft>
                <a:spcPts val="588"/>
              </a:spcAft>
            </a:pPr>
            <a:r>
              <a:rPr lang="en-US" sz="2353" dirty="0">
                <a:solidFill>
                  <a:srgbClr val="0072C6"/>
                </a:solidFill>
                <a:latin typeface="Segoe UI Light"/>
              </a:rPr>
              <a:t>Action</a:t>
            </a:r>
          </a:p>
        </p:txBody>
      </p:sp>
      <p:sp>
        <p:nvSpPr>
          <p:cNvPr id="24" name="Oval 23"/>
          <p:cNvSpPr/>
          <p:nvPr/>
        </p:nvSpPr>
        <p:spPr bwMode="auto">
          <a:xfrm>
            <a:off x="1817750" y="5900195"/>
            <a:ext cx="364500" cy="3645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372" dirty="0">
                <a:solidFill>
                  <a:srgbClr val="505050"/>
                </a:solidFill>
                <a:ea typeface="Segoe UI" panose="020B0502040204020203" pitchFamily="34" charset="0"/>
                <a:cs typeface="Segoe UI" panose="020B0502040204020203" pitchFamily="34" charset="0"/>
              </a:rPr>
              <a:t>1</a:t>
            </a:r>
          </a:p>
        </p:txBody>
      </p:sp>
      <p:sp>
        <p:nvSpPr>
          <p:cNvPr id="25" name="TextBox 24"/>
          <p:cNvSpPr txBox="1"/>
          <p:nvPr/>
        </p:nvSpPr>
        <p:spPr>
          <a:xfrm>
            <a:off x="2182250" y="5796874"/>
            <a:ext cx="1767772" cy="880417"/>
          </a:xfrm>
          <a:prstGeom prst="rect">
            <a:avLst/>
          </a:prstGeom>
          <a:noFill/>
        </p:spPr>
        <p:txBody>
          <a:bodyPr wrap="square" lIns="179285" tIns="143428" rIns="179285" bIns="143428" rtlCol="0" anchor="t">
            <a:noAutofit/>
          </a:bodyPr>
          <a:lstStyle/>
          <a:p>
            <a:pPr defTabSz="914367">
              <a:spcAft>
                <a:spcPts val="588"/>
              </a:spcAft>
            </a:pPr>
            <a:r>
              <a:rPr lang="en-US" sz="1568" dirty="0">
                <a:solidFill>
                  <a:srgbClr val="505050"/>
                </a:solidFill>
              </a:rPr>
              <a:t>Start migration planning today</a:t>
            </a:r>
          </a:p>
        </p:txBody>
      </p:sp>
      <p:sp>
        <p:nvSpPr>
          <p:cNvPr id="26" name="Oval 25"/>
          <p:cNvSpPr/>
          <p:nvPr/>
        </p:nvSpPr>
        <p:spPr bwMode="auto">
          <a:xfrm>
            <a:off x="4007106" y="5900195"/>
            <a:ext cx="364500" cy="3645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372" dirty="0">
                <a:solidFill>
                  <a:srgbClr val="505050"/>
                </a:solidFill>
                <a:ea typeface="Segoe UI" panose="020B0502040204020203" pitchFamily="34" charset="0"/>
                <a:cs typeface="Segoe UI" panose="020B0502040204020203" pitchFamily="34" charset="0"/>
              </a:rPr>
              <a:t>2</a:t>
            </a:r>
          </a:p>
        </p:txBody>
      </p:sp>
      <p:sp>
        <p:nvSpPr>
          <p:cNvPr id="27" name="TextBox 26"/>
          <p:cNvSpPr txBox="1"/>
          <p:nvPr/>
        </p:nvSpPr>
        <p:spPr>
          <a:xfrm>
            <a:off x="4371606" y="5796874"/>
            <a:ext cx="1767772" cy="880417"/>
          </a:xfrm>
          <a:prstGeom prst="rect">
            <a:avLst/>
          </a:prstGeom>
          <a:noFill/>
        </p:spPr>
        <p:txBody>
          <a:bodyPr wrap="square" lIns="179285" tIns="143428" rIns="179285" bIns="143428" rtlCol="0" anchor="t">
            <a:noAutofit/>
          </a:bodyPr>
          <a:lstStyle/>
          <a:p>
            <a:pPr defTabSz="914367">
              <a:spcAft>
                <a:spcPts val="588"/>
              </a:spcAft>
            </a:pPr>
            <a:r>
              <a:rPr lang="en-US" sz="1568" dirty="0">
                <a:solidFill>
                  <a:srgbClr val="505050"/>
                </a:solidFill>
              </a:rPr>
              <a:t>Identify your migration team</a:t>
            </a:r>
          </a:p>
        </p:txBody>
      </p:sp>
      <p:sp>
        <p:nvSpPr>
          <p:cNvPr id="28" name="Oval 27"/>
          <p:cNvSpPr/>
          <p:nvPr/>
        </p:nvSpPr>
        <p:spPr bwMode="auto">
          <a:xfrm>
            <a:off x="6196462" y="5900195"/>
            <a:ext cx="364500" cy="3645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372" dirty="0">
                <a:solidFill>
                  <a:srgbClr val="505050"/>
                </a:solidFill>
                <a:ea typeface="Segoe UI" panose="020B0502040204020203" pitchFamily="34" charset="0"/>
                <a:cs typeface="Segoe UI" panose="020B0502040204020203" pitchFamily="34" charset="0"/>
              </a:rPr>
              <a:t>3</a:t>
            </a:r>
          </a:p>
        </p:txBody>
      </p:sp>
      <p:sp>
        <p:nvSpPr>
          <p:cNvPr id="29" name="TextBox 28"/>
          <p:cNvSpPr txBox="1"/>
          <p:nvPr/>
        </p:nvSpPr>
        <p:spPr>
          <a:xfrm>
            <a:off x="6560962" y="5796873"/>
            <a:ext cx="2453088" cy="1188257"/>
          </a:xfrm>
          <a:prstGeom prst="rect">
            <a:avLst/>
          </a:prstGeom>
          <a:noFill/>
        </p:spPr>
        <p:txBody>
          <a:bodyPr wrap="square" lIns="179285" tIns="143428" rIns="179285" bIns="143428" rtlCol="0" anchor="t">
            <a:noAutofit/>
          </a:bodyPr>
          <a:lstStyle/>
          <a:p>
            <a:pPr defTabSz="914367">
              <a:spcAft>
                <a:spcPts val="588"/>
              </a:spcAft>
            </a:pPr>
            <a:r>
              <a:rPr lang="en-US" sz="1568" dirty="0">
                <a:solidFill>
                  <a:srgbClr val="505050"/>
                </a:solidFill>
              </a:rPr>
              <a:t>Utilize available resources and tools</a:t>
            </a:r>
          </a:p>
          <a:p>
            <a:pPr defTabSz="914367">
              <a:spcAft>
                <a:spcPts val="588"/>
              </a:spcAft>
            </a:pPr>
            <a:r>
              <a:rPr lang="en-US" sz="1078" dirty="0">
                <a:solidFill>
                  <a:srgbClr val="505050"/>
                </a:solidFill>
              </a:rPr>
              <a:t>www.microsoft.com/ws2003eos</a:t>
            </a:r>
          </a:p>
        </p:txBody>
      </p:sp>
      <p:sp>
        <p:nvSpPr>
          <p:cNvPr id="30" name="Oval 29"/>
          <p:cNvSpPr/>
          <p:nvPr/>
        </p:nvSpPr>
        <p:spPr bwMode="auto">
          <a:xfrm>
            <a:off x="8940050" y="5900195"/>
            <a:ext cx="364500" cy="364500"/>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372" dirty="0">
                <a:solidFill>
                  <a:srgbClr val="505050"/>
                </a:solidFill>
                <a:ea typeface="Segoe UI" panose="020B0502040204020203" pitchFamily="34" charset="0"/>
                <a:cs typeface="Segoe UI" panose="020B0502040204020203" pitchFamily="34" charset="0"/>
              </a:rPr>
              <a:t>4</a:t>
            </a:r>
          </a:p>
        </p:txBody>
      </p:sp>
      <p:sp>
        <p:nvSpPr>
          <p:cNvPr id="31" name="TextBox 30"/>
          <p:cNvSpPr txBox="1"/>
          <p:nvPr/>
        </p:nvSpPr>
        <p:spPr>
          <a:xfrm>
            <a:off x="9304550" y="5796874"/>
            <a:ext cx="2379088" cy="880417"/>
          </a:xfrm>
          <a:prstGeom prst="rect">
            <a:avLst/>
          </a:prstGeom>
          <a:noFill/>
        </p:spPr>
        <p:txBody>
          <a:bodyPr wrap="square" lIns="179285" tIns="143428" rIns="179285" bIns="143428" rtlCol="0" anchor="t">
            <a:noAutofit/>
          </a:bodyPr>
          <a:lstStyle/>
          <a:p>
            <a:pPr defTabSz="914367">
              <a:spcAft>
                <a:spcPts val="588"/>
              </a:spcAft>
            </a:pPr>
            <a:r>
              <a:rPr lang="en-US" sz="1568" dirty="0">
                <a:solidFill>
                  <a:srgbClr val="505050"/>
                </a:solidFill>
              </a:rPr>
              <a:t>Engage with Microsoft or a Partner to assist </a:t>
            </a:r>
          </a:p>
        </p:txBody>
      </p:sp>
      <p:sp>
        <p:nvSpPr>
          <p:cNvPr id="32" name="TextBox 31"/>
          <p:cNvSpPr txBox="1"/>
          <p:nvPr/>
        </p:nvSpPr>
        <p:spPr>
          <a:xfrm>
            <a:off x="7544659" y="321533"/>
            <a:ext cx="1411281" cy="659960"/>
          </a:xfrm>
          <a:prstGeom prst="rect">
            <a:avLst/>
          </a:prstGeom>
          <a:noFill/>
        </p:spPr>
        <p:txBody>
          <a:bodyPr wrap="square" lIns="179285" tIns="143428" rIns="179285" bIns="143428" rtlCol="0" anchor="t">
            <a:noAutofit/>
          </a:bodyPr>
          <a:lstStyle/>
          <a:p>
            <a:pPr defTabSz="914367">
              <a:lnSpc>
                <a:spcPct val="90000"/>
              </a:lnSpc>
            </a:pPr>
            <a:r>
              <a:rPr lang="en-US" sz="1470" dirty="0">
                <a:solidFill>
                  <a:srgbClr val="FFFFFF"/>
                </a:solidFill>
              </a:rPr>
              <a:t>11:59:59 PM</a:t>
            </a:r>
          </a:p>
          <a:p>
            <a:pPr defTabSz="914367">
              <a:lnSpc>
                <a:spcPct val="90000"/>
              </a:lnSpc>
            </a:pPr>
            <a:r>
              <a:rPr lang="en-US" sz="1470" dirty="0">
                <a:solidFill>
                  <a:srgbClr val="FFFFFF"/>
                </a:solidFill>
              </a:rPr>
              <a:t>PDT</a:t>
            </a:r>
          </a:p>
        </p:txBody>
      </p:sp>
      <p:sp>
        <p:nvSpPr>
          <p:cNvPr id="33" name="TextBox 32"/>
          <p:cNvSpPr txBox="1"/>
          <p:nvPr/>
        </p:nvSpPr>
        <p:spPr>
          <a:xfrm>
            <a:off x="281690" y="2292496"/>
            <a:ext cx="2924443" cy="1808824"/>
          </a:xfrm>
          <a:prstGeom prst="rect">
            <a:avLst/>
          </a:prstGeom>
          <a:noFill/>
        </p:spPr>
        <p:txBody>
          <a:bodyPr wrap="square" lIns="179285" tIns="143428" rIns="179285" bIns="143428" rtlCol="0" anchor="t">
            <a:noAutofit/>
          </a:bodyPr>
          <a:lstStyle/>
          <a:p>
            <a:pPr defTabSz="914367">
              <a:lnSpc>
                <a:spcPct val="114000"/>
              </a:lnSpc>
              <a:spcAft>
                <a:spcPts val="588"/>
              </a:spcAft>
            </a:pPr>
            <a:r>
              <a:rPr lang="en-US" sz="1470" dirty="0">
                <a:solidFill>
                  <a:srgbClr val="505050"/>
                </a:solidFill>
                <a:latin typeface="Segoe UI Semibold" panose="020B0702040204020203" pitchFamily="34" charset="0"/>
              </a:rPr>
              <a:t>No updates or patches</a:t>
            </a:r>
          </a:p>
          <a:p>
            <a:pPr defTabSz="914367">
              <a:lnSpc>
                <a:spcPct val="114000"/>
              </a:lnSpc>
              <a:spcAft>
                <a:spcPts val="588"/>
              </a:spcAft>
            </a:pPr>
            <a:r>
              <a:rPr lang="en-US" sz="1078" dirty="0">
                <a:solidFill>
                  <a:srgbClr val="505050"/>
                </a:solidFill>
              </a:rPr>
              <a:t>Microsoft will no longer develop or release any updates or patches after ending support. To put this in perspective, 37 critical updates were released in 2013 for Windows Server 2003 R2 under extended support. Imagine what affect zero updates could have on your infrastructure after end of support (EOS).</a:t>
            </a:r>
            <a:endParaRPr lang="en-US" sz="1029" dirty="0">
              <a:solidFill>
                <a:srgbClr val="505050"/>
              </a:solidFill>
            </a:endParaRPr>
          </a:p>
          <a:p>
            <a:pPr defTabSz="914367">
              <a:lnSpc>
                <a:spcPct val="114000"/>
              </a:lnSpc>
              <a:spcAft>
                <a:spcPts val="588"/>
              </a:spcAft>
            </a:pPr>
            <a:endParaRPr lang="en-US" sz="1568" dirty="0">
              <a:solidFill>
                <a:srgbClr val="505050"/>
              </a:solidFill>
            </a:endParaRPr>
          </a:p>
        </p:txBody>
      </p:sp>
      <p:sp>
        <p:nvSpPr>
          <p:cNvPr id="34" name="TextBox 33"/>
          <p:cNvSpPr txBox="1"/>
          <p:nvPr/>
        </p:nvSpPr>
        <p:spPr>
          <a:xfrm>
            <a:off x="3185206" y="2292496"/>
            <a:ext cx="2903515" cy="1808824"/>
          </a:xfrm>
          <a:prstGeom prst="rect">
            <a:avLst/>
          </a:prstGeom>
          <a:noFill/>
        </p:spPr>
        <p:txBody>
          <a:bodyPr wrap="square" lIns="179285" tIns="143428" rIns="179285" bIns="143428" rtlCol="0" anchor="t">
            <a:noAutofit/>
          </a:bodyPr>
          <a:lstStyle/>
          <a:p>
            <a:pPr defTabSz="914367">
              <a:lnSpc>
                <a:spcPct val="114000"/>
              </a:lnSpc>
              <a:spcAft>
                <a:spcPts val="588"/>
              </a:spcAft>
            </a:pPr>
            <a:r>
              <a:rPr lang="en-US" sz="1470" dirty="0">
                <a:solidFill>
                  <a:srgbClr val="505050"/>
                </a:solidFill>
                <a:latin typeface="Segoe UI Semibold" panose="020B0702040204020203" pitchFamily="34" charset="0"/>
              </a:rPr>
              <a:t>No savings</a:t>
            </a:r>
          </a:p>
          <a:p>
            <a:pPr defTabSz="914367">
              <a:lnSpc>
                <a:spcPct val="114000"/>
              </a:lnSpc>
              <a:spcAft>
                <a:spcPts val="588"/>
              </a:spcAft>
            </a:pPr>
            <a:r>
              <a:rPr lang="en-US" sz="1078" dirty="0">
                <a:solidFill>
                  <a:srgbClr val="505050"/>
                </a:solidFill>
              </a:rPr>
              <a:t>The cost of maintaining your legacy servers can add up quickly, including maintenance costs for aging hardware and added costs for intrusion detection systems, more advanced firewalls, and network segmentation. Staying put will likely cost more in the end.</a:t>
            </a:r>
            <a:endParaRPr lang="en-US" sz="1568" dirty="0">
              <a:solidFill>
                <a:srgbClr val="505050"/>
              </a:solidFill>
            </a:endParaRPr>
          </a:p>
        </p:txBody>
      </p:sp>
      <p:sp>
        <p:nvSpPr>
          <p:cNvPr id="35" name="TextBox 34"/>
          <p:cNvSpPr txBox="1"/>
          <p:nvPr/>
        </p:nvSpPr>
        <p:spPr>
          <a:xfrm>
            <a:off x="6102227" y="2292496"/>
            <a:ext cx="2903515" cy="1808824"/>
          </a:xfrm>
          <a:prstGeom prst="rect">
            <a:avLst/>
          </a:prstGeom>
          <a:noFill/>
        </p:spPr>
        <p:txBody>
          <a:bodyPr wrap="square" lIns="179285" tIns="143428" rIns="179285" bIns="143428" rtlCol="0" anchor="t">
            <a:noAutofit/>
          </a:bodyPr>
          <a:lstStyle/>
          <a:p>
            <a:pPr defTabSz="914367">
              <a:lnSpc>
                <a:spcPct val="114000"/>
              </a:lnSpc>
              <a:spcAft>
                <a:spcPts val="588"/>
              </a:spcAft>
            </a:pPr>
            <a:r>
              <a:rPr lang="en-US" sz="1470" dirty="0">
                <a:solidFill>
                  <a:srgbClr val="505050"/>
                </a:solidFill>
                <a:latin typeface="Segoe UI Semibold" panose="020B0702040204020203" pitchFamily="34" charset="0"/>
              </a:rPr>
              <a:t>No compliance</a:t>
            </a:r>
          </a:p>
          <a:p>
            <a:pPr defTabSz="914367">
              <a:lnSpc>
                <a:spcPct val="114000"/>
              </a:lnSpc>
              <a:spcAft>
                <a:spcPts val="588"/>
              </a:spcAft>
            </a:pPr>
            <a:r>
              <a:rPr lang="en-US" sz="1078" dirty="0">
                <a:solidFill>
                  <a:srgbClr val="505050"/>
                </a:solidFill>
              </a:rPr>
              <a:t>After support ends, your organization will likely fail to meet most industry-wide compliance standards and regulations. This could result in lost business or dramatically increase the cost of doing business, in the form of high transaction fees and penalties.</a:t>
            </a:r>
            <a:endParaRPr lang="en-US" sz="1568" dirty="0">
              <a:solidFill>
                <a:srgbClr val="505050"/>
              </a:solidFill>
            </a:endParaRPr>
          </a:p>
        </p:txBody>
      </p:sp>
      <p:sp>
        <p:nvSpPr>
          <p:cNvPr id="36" name="TextBox 35"/>
          <p:cNvSpPr txBox="1"/>
          <p:nvPr/>
        </p:nvSpPr>
        <p:spPr>
          <a:xfrm>
            <a:off x="9019248" y="2292496"/>
            <a:ext cx="2903515" cy="1808824"/>
          </a:xfrm>
          <a:prstGeom prst="rect">
            <a:avLst/>
          </a:prstGeom>
          <a:noFill/>
        </p:spPr>
        <p:txBody>
          <a:bodyPr wrap="square" lIns="179285" tIns="143428" rIns="179285" bIns="143428" rtlCol="0" anchor="t">
            <a:noAutofit/>
          </a:bodyPr>
          <a:lstStyle/>
          <a:p>
            <a:pPr defTabSz="914367">
              <a:lnSpc>
                <a:spcPct val="114000"/>
              </a:lnSpc>
              <a:spcAft>
                <a:spcPts val="588"/>
              </a:spcAft>
            </a:pPr>
            <a:r>
              <a:rPr lang="en-US" sz="1470" dirty="0">
                <a:solidFill>
                  <a:srgbClr val="505050"/>
                </a:solidFill>
                <a:latin typeface="Segoe UI Semibold" panose="020B0702040204020203" pitchFamily="34" charset="0"/>
              </a:rPr>
              <a:t>No safe haven</a:t>
            </a:r>
          </a:p>
          <a:p>
            <a:pPr defTabSz="914367">
              <a:lnSpc>
                <a:spcPct val="114000"/>
              </a:lnSpc>
              <a:spcAft>
                <a:spcPts val="588"/>
              </a:spcAft>
            </a:pPr>
            <a:r>
              <a:rPr lang="en-US" sz="1078" dirty="0">
                <a:solidFill>
                  <a:srgbClr val="505050"/>
                </a:solidFill>
              </a:rPr>
              <a:t>Without continued support from Microsoft, your virtualized and physical instances of Windows Server 2003 R2 will not pass a compliance audit. Microsoft Small Business Server (SBS) 2003 will also be affected.</a:t>
            </a:r>
            <a:endParaRPr lang="en-US" sz="1568" dirty="0">
              <a:solidFill>
                <a:srgbClr val="505050"/>
              </a:solidFill>
            </a:endParaRPr>
          </a:p>
        </p:txBody>
      </p:sp>
    </p:spTree>
    <p:extLst>
      <p:ext uri="{BB962C8B-B14F-4D97-AF65-F5344CB8AC3E}">
        <p14:creationId xmlns:p14="http://schemas.microsoft.com/office/powerpoint/2010/main" val="15860854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8962974" y="2337834"/>
            <a:ext cx="2776355" cy="1830883"/>
            <a:chOff x="9295099" y="2536616"/>
            <a:chExt cx="2832027" cy="1867596"/>
          </a:xfrm>
          <a:solidFill>
            <a:schemeClr val="accent1"/>
          </a:solidFill>
        </p:grpSpPr>
        <p:sp>
          <p:nvSpPr>
            <p:cNvPr id="192" name="Freeform 5"/>
            <p:cNvSpPr>
              <a:spLocks/>
            </p:cNvSpPr>
            <p:nvPr/>
          </p:nvSpPr>
          <p:spPr bwMode="auto">
            <a:xfrm>
              <a:off x="10193016" y="2536616"/>
              <a:ext cx="1934110" cy="1753825"/>
            </a:xfrm>
            <a:custGeom>
              <a:avLst/>
              <a:gdLst>
                <a:gd name="T0" fmla="*/ 466 w 466"/>
                <a:gd name="T1" fmla="*/ 300 h 421"/>
                <a:gd name="T2" fmla="*/ 398 w 466"/>
                <a:gd name="T3" fmla="*/ 176 h 421"/>
                <a:gd name="T4" fmla="*/ 350 w 466"/>
                <a:gd name="T5" fmla="*/ 88 h 421"/>
                <a:gd name="T6" fmla="*/ 289 w 466"/>
                <a:gd name="T7" fmla="*/ 70 h 421"/>
                <a:gd name="T8" fmla="*/ 238 w 466"/>
                <a:gd name="T9" fmla="*/ 83 h 421"/>
                <a:gd name="T10" fmla="*/ 81 w 466"/>
                <a:gd name="T11" fmla="*/ 0 h 421"/>
                <a:gd name="T12" fmla="*/ 0 w 466"/>
                <a:gd name="T13" fmla="*/ 18 h 421"/>
                <a:gd name="T14" fmla="*/ 403 w 466"/>
                <a:gd name="T15" fmla="*/ 421 h 421"/>
                <a:gd name="T16" fmla="*/ 466 w 466"/>
                <a:gd name="T17" fmla="*/ 30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421">
                  <a:moveTo>
                    <a:pt x="466" y="300"/>
                  </a:moveTo>
                  <a:cubicBezTo>
                    <a:pt x="466" y="249"/>
                    <a:pt x="438" y="202"/>
                    <a:pt x="398" y="176"/>
                  </a:cubicBezTo>
                  <a:cubicBezTo>
                    <a:pt x="397" y="139"/>
                    <a:pt x="378" y="107"/>
                    <a:pt x="350" y="88"/>
                  </a:cubicBezTo>
                  <a:cubicBezTo>
                    <a:pt x="332" y="76"/>
                    <a:pt x="312" y="70"/>
                    <a:pt x="289" y="70"/>
                  </a:cubicBezTo>
                  <a:cubicBezTo>
                    <a:pt x="270" y="70"/>
                    <a:pt x="253" y="75"/>
                    <a:pt x="238" y="83"/>
                  </a:cubicBezTo>
                  <a:cubicBezTo>
                    <a:pt x="204" y="33"/>
                    <a:pt x="146" y="0"/>
                    <a:pt x="81" y="0"/>
                  </a:cubicBezTo>
                  <a:cubicBezTo>
                    <a:pt x="52" y="0"/>
                    <a:pt x="25" y="6"/>
                    <a:pt x="0" y="18"/>
                  </a:cubicBezTo>
                  <a:cubicBezTo>
                    <a:pt x="403" y="421"/>
                    <a:pt x="403" y="421"/>
                    <a:pt x="403" y="421"/>
                  </a:cubicBezTo>
                  <a:cubicBezTo>
                    <a:pt x="441" y="394"/>
                    <a:pt x="466" y="350"/>
                    <a:pt x="466" y="300"/>
                  </a:cubicBez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3" name="Freeform 6"/>
            <p:cNvSpPr>
              <a:spLocks/>
            </p:cNvSpPr>
            <p:nvPr/>
          </p:nvSpPr>
          <p:spPr bwMode="auto">
            <a:xfrm>
              <a:off x="9295099" y="2611879"/>
              <a:ext cx="2571228" cy="1792333"/>
            </a:xfrm>
            <a:custGeom>
              <a:avLst/>
              <a:gdLst>
                <a:gd name="T0" fmla="*/ 216 w 619"/>
                <a:gd name="T1" fmla="*/ 0 h 430"/>
                <a:gd name="T2" fmla="*/ 109 w 619"/>
                <a:gd name="T3" fmla="*/ 169 h 430"/>
                <a:gd name="T4" fmla="*/ 109 w 619"/>
                <a:gd name="T5" fmla="*/ 178 h 430"/>
                <a:gd name="T6" fmla="*/ 0 w 619"/>
                <a:gd name="T7" fmla="*/ 303 h 430"/>
                <a:gd name="T8" fmla="*/ 127 w 619"/>
                <a:gd name="T9" fmla="*/ 430 h 430"/>
                <a:gd name="T10" fmla="*/ 176 w 619"/>
                <a:gd name="T11" fmla="*/ 430 h 430"/>
                <a:gd name="T12" fmla="*/ 198 w 619"/>
                <a:gd name="T13" fmla="*/ 430 h 430"/>
                <a:gd name="T14" fmla="*/ 206 w 619"/>
                <a:gd name="T15" fmla="*/ 430 h 430"/>
                <a:gd name="T16" fmla="*/ 212 w 619"/>
                <a:gd name="T17" fmla="*/ 430 h 430"/>
                <a:gd name="T18" fmla="*/ 519 w 619"/>
                <a:gd name="T19" fmla="*/ 430 h 430"/>
                <a:gd name="T20" fmla="*/ 534 w 619"/>
                <a:gd name="T21" fmla="*/ 430 h 430"/>
                <a:gd name="T22" fmla="*/ 550 w 619"/>
                <a:gd name="T23" fmla="*/ 430 h 430"/>
                <a:gd name="T24" fmla="*/ 619 w 619"/>
                <a:gd name="T25" fmla="*/ 403 h 430"/>
                <a:gd name="T26" fmla="*/ 216 w 619"/>
                <a:gd name="T27"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9" h="430">
                  <a:moveTo>
                    <a:pt x="216" y="0"/>
                  </a:moveTo>
                  <a:cubicBezTo>
                    <a:pt x="153" y="30"/>
                    <a:pt x="109" y="94"/>
                    <a:pt x="109" y="169"/>
                  </a:cubicBezTo>
                  <a:cubicBezTo>
                    <a:pt x="109" y="172"/>
                    <a:pt x="109" y="176"/>
                    <a:pt x="109" y="178"/>
                  </a:cubicBezTo>
                  <a:cubicBezTo>
                    <a:pt x="48" y="187"/>
                    <a:pt x="0" y="239"/>
                    <a:pt x="0" y="303"/>
                  </a:cubicBezTo>
                  <a:cubicBezTo>
                    <a:pt x="0" y="372"/>
                    <a:pt x="57" y="427"/>
                    <a:pt x="127" y="430"/>
                  </a:cubicBezTo>
                  <a:cubicBezTo>
                    <a:pt x="127" y="430"/>
                    <a:pt x="127" y="430"/>
                    <a:pt x="176" y="430"/>
                  </a:cubicBezTo>
                  <a:cubicBezTo>
                    <a:pt x="183" y="430"/>
                    <a:pt x="194" y="430"/>
                    <a:pt x="198" y="430"/>
                  </a:cubicBezTo>
                  <a:cubicBezTo>
                    <a:pt x="198" y="430"/>
                    <a:pt x="198" y="430"/>
                    <a:pt x="206" y="430"/>
                  </a:cubicBezTo>
                  <a:cubicBezTo>
                    <a:pt x="208" y="430"/>
                    <a:pt x="210" y="430"/>
                    <a:pt x="212" y="430"/>
                  </a:cubicBezTo>
                  <a:cubicBezTo>
                    <a:pt x="288" y="430"/>
                    <a:pt x="450" y="430"/>
                    <a:pt x="519" y="430"/>
                  </a:cubicBezTo>
                  <a:cubicBezTo>
                    <a:pt x="524" y="430"/>
                    <a:pt x="529" y="430"/>
                    <a:pt x="534" y="430"/>
                  </a:cubicBezTo>
                  <a:cubicBezTo>
                    <a:pt x="539" y="430"/>
                    <a:pt x="545" y="430"/>
                    <a:pt x="550" y="430"/>
                  </a:cubicBezTo>
                  <a:cubicBezTo>
                    <a:pt x="576" y="427"/>
                    <a:pt x="599" y="417"/>
                    <a:pt x="619" y="403"/>
                  </a:cubicBezTo>
                  <a:lnTo>
                    <a:pt x="216" y="0"/>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198" name="Right Arrow 197"/>
          <p:cNvSpPr/>
          <p:nvPr/>
        </p:nvSpPr>
        <p:spPr bwMode="auto">
          <a:xfrm rot="5400000">
            <a:off x="10247207" y="4296281"/>
            <a:ext cx="929669" cy="451475"/>
          </a:xfrm>
          <a:prstGeom prst="rightArrow">
            <a:avLst>
              <a:gd name="adj1" fmla="val 50000"/>
              <a:gd name="adj2" fmla="val 6754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p:nvPr>
        </p:nvSpPr>
        <p:spPr/>
        <p:txBody>
          <a:bodyPr/>
          <a:lstStyle/>
          <a:p>
            <a:r>
              <a:rPr lang="en-US" smtClean="0"/>
              <a:t>What are we learning from cloud?</a:t>
            </a:r>
            <a:endParaRPr lang="en-US" dirty="0"/>
          </a:p>
        </p:txBody>
      </p:sp>
      <p:sp>
        <p:nvSpPr>
          <p:cNvPr id="7" name="Text Placeholder 6"/>
          <p:cNvSpPr>
            <a:spLocks noGrp="1"/>
          </p:cNvSpPr>
          <p:nvPr>
            <p:ph type="body" sz="quarter" idx="13"/>
          </p:nvPr>
        </p:nvSpPr>
        <p:spPr/>
        <p:txBody>
          <a:bodyPr/>
          <a:lstStyle/>
          <a:p>
            <a:r>
              <a:rPr lang="en-US" smtClean="0"/>
              <a:t>To make the most of your IT infrastructure, you need to: </a:t>
            </a:r>
            <a:endParaRPr lang="en-US" dirty="0"/>
          </a:p>
        </p:txBody>
      </p:sp>
      <p:sp>
        <p:nvSpPr>
          <p:cNvPr id="8" name="TextBox 7"/>
          <p:cNvSpPr txBox="1"/>
          <p:nvPr/>
        </p:nvSpPr>
        <p:spPr>
          <a:xfrm>
            <a:off x="277390" y="2087839"/>
            <a:ext cx="2686162" cy="2687356"/>
          </a:xfrm>
          <a:prstGeom prst="rect">
            <a:avLst/>
          </a:prstGeom>
          <a:solidFill>
            <a:srgbClr val="002050"/>
          </a:solidFill>
        </p:spPr>
        <p:txBody>
          <a:bodyPr wrap="square" lIns="179285" tIns="179285" rtlCol="0">
            <a:noAutofit/>
          </a:bodyPr>
          <a:lstStyle>
            <a:defPPr>
              <a:defRPr lang="en-US"/>
            </a:defPPr>
            <a:lvl1pPr>
              <a:defRPr sz="2800">
                <a:solidFill>
                  <a:srgbClr val="969696"/>
                </a:solidFill>
                <a:latin typeface="+mj-lt"/>
              </a:defRPr>
            </a:lvl1pPr>
          </a:lstStyle>
          <a:p>
            <a:pPr defTabSz="914367">
              <a:lnSpc>
                <a:spcPts val="2902"/>
              </a:lnSpc>
            </a:pPr>
            <a:r>
              <a:rPr lang="en-US" sz="2745" dirty="0">
                <a:solidFill>
                  <a:srgbClr val="FFFFFF"/>
                </a:solidFill>
              </a:rPr>
              <a:t>Standardize your </a:t>
            </a:r>
          </a:p>
          <a:p>
            <a:pPr defTabSz="914367">
              <a:lnSpc>
                <a:spcPts val="2902"/>
              </a:lnSpc>
            </a:pPr>
            <a:r>
              <a:rPr lang="en-US" sz="2745" dirty="0">
                <a:solidFill>
                  <a:srgbClr val="FFFFFF"/>
                </a:solidFill>
              </a:rPr>
              <a:t>approach</a:t>
            </a:r>
          </a:p>
        </p:txBody>
      </p:sp>
      <p:sp>
        <p:nvSpPr>
          <p:cNvPr id="9" name="TextBox 8"/>
          <p:cNvSpPr txBox="1"/>
          <p:nvPr/>
        </p:nvSpPr>
        <p:spPr>
          <a:xfrm>
            <a:off x="5647788" y="2089033"/>
            <a:ext cx="2686162" cy="2686162"/>
          </a:xfrm>
          <a:prstGeom prst="rect">
            <a:avLst/>
          </a:prstGeom>
          <a:solidFill>
            <a:srgbClr val="0072C6"/>
          </a:solidFill>
        </p:spPr>
        <p:txBody>
          <a:bodyPr wrap="square" lIns="179285" tIns="179285" rtlCol="0">
            <a:noAutofit/>
          </a:bodyPr>
          <a:lstStyle/>
          <a:p>
            <a:pPr defTabSz="914367">
              <a:lnSpc>
                <a:spcPts val="2902"/>
              </a:lnSpc>
            </a:pPr>
            <a:r>
              <a:rPr lang="en-US" sz="2745" dirty="0">
                <a:solidFill>
                  <a:srgbClr val="FFFFFF"/>
                </a:solidFill>
                <a:latin typeface="Segoe UI Light"/>
              </a:rPr>
              <a:t>Increase resilience and scale</a:t>
            </a:r>
          </a:p>
        </p:txBody>
      </p:sp>
      <p:sp>
        <p:nvSpPr>
          <p:cNvPr id="10" name="TextBox 9"/>
          <p:cNvSpPr txBox="1"/>
          <p:nvPr/>
        </p:nvSpPr>
        <p:spPr>
          <a:xfrm>
            <a:off x="2961627" y="2089033"/>
            <a:ext cx="2686162" cy="2686162"/>
          </a:xfrm>
          <a:prstGeom prst="rect">
            <a:avLst/>
          </a:prstGeom>
          <a:solidFill>
            <a:srgbClr val="00188F"/>
          </a:solidFill>
        </p:spPr>
        <p:txBody>
          <a:bodyPr wrap="square" lIns="179285" tIns="179285" rtlCol="0">
            <a:noAutofit/>
          </a:bodyPr>
          <a:lstStyle/>
          <a:p>
            <a:pPr defTabSz="914367">
              <a:lnSpc>
                <a:spcPts val="2902"/>
              </a:lnSpc>
            </a:pPr>
            <a:r>
              <a:rPr lang="en-US" sz="2745" dirty="0">
                <a:solidFill>
                  <a:srgbClr val="FFFFFF"/>
                </a:solidFill>
                <a:latin typeface="Segoe UI Light"/>
              </a:rPr>
              <a:t>Automate manual processes </a:t>
            </a:r>
          </a:p>
        </p:txBody>
      </p:sp>
      <p:grpSp>
        <p:nvGrpSpPr>
          <p:cNvPr id="6" name="Group 5"/>
          <p:cNvGrpSpPr/>
          <p:nvPr/>
        </p:nvGrpSpPr>
        <p:grpSpPr>
          <a:xfrm>
            <a:off x="8962974" y="2337834"/>
            <a:ext cx="2776355" cy="1830883"/>
            <a:chOff x="9142699" y="2384216"/>
            <a:chExt cx="2832027" cy="1867596"/>
          </a:xfrm>
        </p:grpSpPr>
        <p:sp>
          <p:nvSpPr>
            <p:cNvPr id="188" name="Freeform 5"/>
            <p:cNvSpPr>
              <a:spLocks/>
            </p:cNvSpPr>
            <p:nvPr/>
          </p:nvSpPr>
          <p:spPr bwMode="auto">
            <a:xfrm>
              <a:off x="10040616" y="2384216"/>
              <a:ext cx="1934110" cy="1753825"/>
            </a:xfrm>
            <a:custGeom>
              <a:avLst/>
              <a:gdLst>
                <a:gd name="T0" fmla="*/ 466 w 466"/>
                <a:gd name="T1" fmla="*/ 300 h 421"/>
                <a:gd name="T2" fmla="*/ 398 w 466"/>
                <a:gd name="T3" fmla="*/ 176 h 421"/>
                <a:gd name="T4" fmla="*/ 350 w 466"/>
                <a:gd name="T5" fmla="*/ 88 h 421"/>
                <a:gd name="T6" fmla="*/ 289 w 466"/>
                <a:gd name="T7" fmla="*/ 70 h 421"/>
                <a:gd name="T8" fmla="*/ 238 w 466"/>
                <a:gd name="T9" fmla="*/ 83 h 421"/>
                <a:gd name="T10" fmla="*/ 81 w 466"/>
                <a:gd name="T11" fmla="*/ 0 h 421"/>
                <a:gd name="T12" fmla="*/ 0 w 466"/>
                <a:gd name="T13" fmla="*/ 18 h 421"/>
                <a:gd name="T14" fmla="*/ 403 w 466"/>
                <a:gd name="T15" fmla="*/ 421 h 421"/>
                <a:gd name="T16" fmla="*/ 466 w 466"/>
                <a:gd name="T17" fmla="*/ 30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421">
                  <a:moveTo>
                    <a:pt x="466" y="300"/>
                  </a:moveTo>
                  <a:cubicBezTo>
                    <a:pt x="466" y="249"/>
                    <a:pt x="438" y="202"/>
                    <a:pt x="398" y="176"/>
                  </a:cubicBezTo>
                  <a:cubicBezTo>
                    <a:pt x="397" y="139"/>
                    <a:pt x="378" y="107"/>
                    <a:pt x="350" y="88"/>
                  </a:cubicBezTo>
                  <a:cubicBezTo>
                    <a:pt x="332" y="76"/>
                    <a:pt x="312" y="70"/>
                    <a:pt x="289" y="70"/>
                  </a:cubicBezTo>
                  <a:cubicBezTo>
                    <a:pt x="270" y="70"/>
                    <a:pt x="253" y="75"/>
                    <a:pt x="238" y="83"/>
                  </a:cubicBezTo>
                  <a:cubicBezTo>
                    <a:pt x="204" y="33"/>
                    <a:pt x="146" y="0"/>
                    <a:pt x="81" y="0"/>
                  </a:cubicBezTo>
                  <a:cubicBezTo>
                    <a:pt x="52" y="0"/>
                    <a:pt x="25" y="6"/>
                    <a:pt x="0" y="18"/>
                  </a:cubicBezTo>
                  <a:cubicBezTo>
                    <a:pt x="403" y="421"/>
                    <a:pt x="403" y="421"/>
                    <a:pt x="403" y="421"/>
                  </a:cubicBezTo>
                  <a:cubicBezTo>
                    <a:pt x="441" y="394"/>
                    <a:pt x="466" y="350"/>
                    <a:pt x="466" y="30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9" name="Freeform 6"/>
            <p:cNvSpPr>
              <a:spLocks/>
            </p:cNvSpPr>
            <p:nvPr/>
          </p:nvSpPr>
          <p:spPr bwMode="auto">
            <a:xfrm>
              <a:off x="9142699" y="2459479"/>
              <a:ext cx="2571228" cy="1792333"/>
            </a:xfrm>
            <a:custGeom>
              <a:avLst/>
              <a:gdLst>
                <a:gd name="T0" fmla="*/ 216 w 619"/>
                <a:gd name="T1" fmla="*/ 0 h 430"/>
                <a:gd name="T2" fmla="*/ 109 w 619"/>
                <a:gd name="T3" fmla="*/ 169 h 430"/>
                <a:gd name="T4" fmla="*/ 109 w 619"/>
                <a:gd name="T5" fmla="*/ 178 h 430"/>
                <a:gd name="T6" fmla="*/ 0 w 619"/>
                <a:gd name="T7" fmla="*/ 303 h 430"/>
                <a:gd name="T8" fmla="*/ 127 w 619"/>
                <a:gd name="T9" fmla="*/ 430 h 430"/>
                <a:gd name="T10" fmla="*/ 176 w 619"/>
                <a:gd name="T11" fmla="*/ 430 h 430"/>
                <a:gd name="T12" fmla="*/ 198 w 619"/>
                <a:gd name="T13" fmla="*/ 430 h 430"/>
                <a:gd name="T14" fmla="*/ 206 w 619"/>
                <a:gd name="T15" fmla="*/ 430 h 430"/>
                <a:gd name="T16" fmla="*/ 212 w 619"/>
                <a:gd name="T17" fmla="*/ 430 h 430"/>
                <a:gd name="T18" fmla="*/ 519 w 619"/>
                <a:gd name="T19" fmla="*/ 430 h 430"/>
                <a:gd name="T20" fmla="*/ 534 w 619"/>
                <a:gd name="T21" fmla="*/ 430 h 430"/>
                <a:gd name="T22" fmla="*/ 550 w 619"/>
                <a:gd name="T23" fmla="*/ 430 h 430"/>
                <a:gd name="T24" fmla="*/ 619 w 619"/>
                <a:gd name="T25" fmla="*/ 403 h 430"/>
                <a:gd name="T26" fmla="*/ 216 w 619"/>
                <a:gd name="T27"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9" h="430">
                  <a:moveTo>
                    <a:pt x="216" y="0"/>
                  </a:moveTo>
                  <a:cubicBezTo>
                    <a:pt x="153" y="30"/>
                    <a:pt x="109" y="94"/>
                    <a:pt x="109" y="169"/>
                  </a:cubicBezTo>
                  <a:cubicBezTo>
                    <a:pt x="109" y="172"/>
                    <a:pt x="109" y="176"/>
                    <a:pt x="109" y="178"/>
                  </a:cubicBezTo>
                  <a:cubicBezTo>
                    <a:pt x="48" y="187"/>
                    <a:pt x="0" y="239"/>
                    <a:pt x="0" y="303"/>
                  </a:cubicBezTo>
                  <a:cubicBezTo>
                    <a:pt x="0" y="372"/>
                    <a:pt x="57" y="427"/>
                    <a:pt x="127" y="430"/>
                  </a:cubicBezTo>
                  <a:cubicBezTo>
                    <a:pt x="127" y="430"/>
                    <a:pt x="127" y="430"/>
                    <a:pt x="176" y="430"/>
                  </a:cubicBezTo>
                  <a:cubicBezTo>
                    <a:pt x="183" y="430"/>
                    <a:pt x="194" y="430"/>
                    <a:pt x="198" y="430"/>
                  </a:cubicBezTo>
                  <a:cubicBezTo>
                    <a:pt x="198" y="430"/>
                    <a:pt x="198" y="430"/>
                    <a:pt x="206" y="430"/>
                  </a:cubicBezTo>
                  <a:cubicBezTo>
                    <a:pt x="208" y="430"/>
                    <a:pt x="210" y="430"/>
                    <a:pt x="212" y="430"/>
                  </a:cubicBezTo>
                  <a:cubicBezTo>
                    <a:pt x="288" y="430"/>
                    <a:pt x="450" y="430"/>
                    <a:pt x="519" y="430"/>
                  </a:cubicBezTo>
                  <a:cubicBezTo>
                    <a:pt x="524" y="430"/>
                    <a:pt x="529" y="430"/>
                    <a:pt x="534" y="430"/>
                  </a:cubicBezTo>
                  <a:cubicBezTo>
                    <a:pt x="539" y="430"/>
                    <a:pt x="545" y="430"/>
                    <a:pt x="550" y="430"/>
                  </a:cubicBezTo>
                  <a:cubicBezTo>
                    <a:pt x="576" y="427"/>
                    <a:pt x="599" y="417"/>
                    <a:pt x="619" y="403"/>
                  </a:cubicBezTo>
                  <a:lnTo>
                    <a:pt x="216" y="0"/>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197" name="Freeform 9"/>
          <p:cNvSpPr>
            <a:spLocks noEditPoints="1"/>
          </p:cNvSpPr>
          <p:nvPr/>
        </p:nvSpPr>
        <p:spPr bwMode="auto">
          <a:xfrm>
            <a:off x="9920878" y="2983003"/>
            <a:ext cx="1035427" cy="840681"/>
          </a:xfrm>
          <a:custGeom>
            <a:avLst/>
            <a:gdLst>
              <a:gd name="T0" fmla="*/ 421 w 587"/>
              <a:gd name="T1" fmla="*/ 211 h 476"/>
              <a:gd name="T2" fmla="*/ 352 w 587"/>
              <a:gd name="T3" fmla="*/ 201 h 476"/>
              <a:gd name="T4" fmla="*/ 372 w 587"/>
              <a:gd name="T5" fmla="*/ 131 h 476"/>
              <a:gd name="T6" fmla="*/ 337 w 587"/>
              <a:gd name="T7" fmla="*/ 94 h 476"/>
              <a:gd name="T8" fmla="*/ 275 w 587"/>
              <a:gd name="T9" fmla="*/ 129 h 476"/>
              <a:gd name="T10" fmla="*/ 245 w 587"/>
              <a:gd name="T11" fmla="*/ 54 h 476"/>
              <a:gd name="T12" fmla="*/ 196 w 587"/>
              <a:gd name="T13" fmla="*/ 47 h 476"/>
              <a:gd name="T14" fmla="*/ 171 w 587"/>
              <a:gd name="T15" fmla="*/ 124 h 476"/>
              <a:gd name="T16" fmla="*/ 107 w 587"/>
              <a:gd name="T17" fmla="*/ 92 h 476"/>
              <a:gd name="T18" fmla="*/ 62 w 587"/>
              <a:gd name="T19" fmla="*/ 119 h 476"/>
              <a:gd name="T20" fmla="*/ 87 w 587"/>
              <a:gd name="T21" fmla="*/ 186 h 476"/>
              <a:gd name="T22" fmla="*/ 20 w 587"/>
              <a:gd name="T23" fmla="*/ 203 h 476"/>
              <a:gd name="T24" fmla="*/ 0 w 587"/>
              <a:gd name="T25" fmla="*/ 251 h 476"/>
              <a:gd name="T26" fmla="*/ 64 w 587"/>
              <a:gd name="T27" fmla="*/ 288 h 476"/>
              <a:gd name="T28" fmla="*/ 22 w 587"/>
              <a:gd name="T29" fmla="*/ 345 h 476"/>
              <a:gd name="T30" fmla="*/ 40 w 587"/>
              <a:gd name="T31" fmla="*/ 395 h 476"/>
              <a:gd name="T32" fmla="*/ 111 w 587"/>
              <a:gd name="T33" fmla="*/ 380 h 476"/>
              <a:gd name="T34" fmla="*/ 117 w 587"/>
              <a:gd name="T35" fmla="*/ 452 h 476"/>
              <a:gd name="T36" fmla="*/ 161 w 587"/>
              <a:gd name="T37" fmla="*/ 476 h 476"/>
              <a:gd name="T38" fmla="*/ 206 w 587"/>
              <a:gd name="T39" fmla="*/ 419 h 476"/>
              <a:gd name="T40" fmla="*/ 223 w 587"/>
              <a:gd name="T41" fmla="*/ 419 h 476"/>
              <a:gd name="T42" fmla="*/ 270 w 587"/>
              <a:gd name="T43" fmla="*/ 476 h 476"/>
              <a:gd name="T44" fmla="*/ 315 w 587"/>
              <a:gd name="T45" fmla="*/ 452 h 476"/>
              <a:gd name="T46" fmla="*/ 320 w 587"/>
              <a:gd name="T47" fmla="*/ 380 h 476"/>
              <a:gd name="T48" fmla="*/ 389 w 587"/>
              <a:gd name="T49" fmla="*/ 395 h 476"/>
              <a:gd name="T50" fmla="*/ 409 w 587"/>
              <a:gd name="T51" fmla="*/ 345 h 476"/>
              <a:gd name="T52" fmla="*/ 367 w 587"/>
              <a:gd name="T53" fmla="*/ 288 h 476"/>
              <a:gd name="T54" fmla="*/ 429 w 587"/>
              <a:gd name="T55" fmla="*/ 251 h 476"/>
              <a:gd name="T56" fmla="*/ 275 w 587"/>
              <a:gd name="T57" fmla="*/ 330 h 476"/>
              <a:gd name="T58" fmla="*/ 156 w 587"/>
              <a:gd name="T59" fmla="*/ 330 h 476"/>
              <a:gd name="T60" fmla="*/ 156 w 587"/>
              <a:gd name="T61" fmla="*/ 208 h 476"/>
              <a:gd name="T62" fmla="*/ 275 w 587"/>
              <a:gd name="T63" fmla="*/ 208 h 476"/>
              <a:gd name="T64" fmla="*/ 176 w 587"/>
              <a:gd name="T65" fmla="*/ 268 h 476"/>
              <a:gd name="T66" fmla="*/ 255 w 587"/>
              <a:gd name="T67" fmla="*/ 268 h 476"/>
              <a:gd name="T68" fmla="*/ 176 w 587"/>
              <a:gd name="T69" fmla="*/ 268 h 476"/>
              <a:gd name="T70" fmla="*/ 563 w 587"/>
              <a:gd name="T71" fmla="*/ 116 h 476"/>
              <a:gd name="T72" fmla="*/ 582 w 587"/>
              <a:gd name="T73" fmla="*/ 79 h 476"/>
              <a:gd name="T74" fmla="*/ 587 w 587"/>
              <a:gd name="T75" fmla="*/ 67 h 476"/>
              <a:gd name="T76" fmla="*/ 565 w 587"/>
              <a:gd name="T77" fmla="*/ 44 h 476"/>
              <a:gd name="T78" fmla="*/ 533 w 587"/>
              <a:gd name="T79" fmla="*/ 54 h 476"/>
              <a:gd name="T80" fmla="*/ 498 w 587"/>
              <a:gd name="T81" fmla="*/ 7 h 476"/>
              <a:gd name="T82" fmla="*/ 469 w 587"/>
              <a:gd name="T83" fmla="*/ 0 h 476"/>
              <a:gd name="T84" fmla="*/ 451 w 587"/>
              <a:gd name="T85" fmla="*/ 39 h 476"/>
              <a:gd name="T86" fmla="*/ 394 w 587"/>
              <a:gd name="T87" fmla="*/ 44 h 476"/>
              <a:gd name="T88" fmla="*/ 382 w 587"/>
              <a:gd name="T89" fmla="*/ 49 h 476"/>
              <a:gd name="T90" fmla="*/ 369 w 587"/>
              <a:gd name="T91" fmla="*/ 72 h 476"/>
              <a:gd name="T92" fmla="*/ 399 w 587"/>
              <a:gd name="T93" fmla="*/ 101 h 476"/>
              <a:gd name="T94" fmla="*/ 399 w 587"/>
              <a:gd name="T95" fmla="*/ 131 h 476"/>
              <a:gd name="T96" fmla="*/ 369 w 587"/>
              <a:gd name="T97" fmla="*/ 161 h 476"/>
              <a:gd name="T98" fmla="*/ 382 w 587"/>
              <a:gd name="T99" fmla="*/ 183 h 476"/>
              <a:gd name="T100" fmla="*/ 394 w 587"/>
              <a:gd name="T101" fmla="*/ 188 h 476"/>
              <a:gd name="T102" fmla="*/ 451 w 587"/>
              <a:gd name="T103" fmla="*/ 193 h 476"/>
              <a:gd name="T104" fmla="*/ 469 w 587"/>
              <a:gd name="T105" fmla="*/ 233 h 476"/>
              <a:gd name="T106" fmla="*/ 498 w 587"/>
              <a:gd name="T107" fmla="*/ 226 h 476"/>
              <a:gd name="T108" fmla="*/ 533 w 587"/>
              <a:gd name="T109" fmla="*/ 179 h 476"/>
              <a:gd name="T110" fmla="*/ 565 w 587"/>
              <a:gd name="T111" fmla="*/ 188 h 476"/>
              <a:gd name="T112" fmla="*/ 587 w 587"/>
              <a:gd name="T113" fmla="*/ 166 h 476"/>
              <a:gd name="T114" fmla="*/ 582 w 587"/>
              <a:gd name="T115" fmla="*/ 154 h 476"/>
              <a:gd name="T116" fmla="*/ 560 w 587"/>
              <a:gd name="T117" fmla="*/ 131 h 476"/>
              <a:gd name="T118" fmla="*/ 479 w 587"/>
              <a:gd name="T119" fmla="*/ 149 h 476"/>
              <a:gd name="T120" fmla="*/ 479 w 587"/>
              <a:gd name="T121" fmla="*/ 84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7" h="476">
                <a:moveTo>
                  <a:pt x="429" y="251"/>
                </a:moveTo>
                <a:cubicBezTo>
                  <a:pt x="421" y="211"/>
                  <a:pt x="421" y="211"/>
                  <a:pt x="421" y="211"/>
                </a:cubicBezTo>
                <a:cubicBezTo>
                  <a:pt x="421" y="208"/>
                  <a:pt x="419" y="203"/>
                  <a:pt x="411" y="203"/>
                </a:cubicBezTo>
                <a:cubicBezTo>
                  <a:pt x="352" y="201"/>
                  <a:pt x="352" y="201"/>
                  <a:pt x="352" y="201"/>
                </a:cubicBezTo>
                <a:cubicBezTo>
                  <a:pt x="349" y="196"/>
                  <a:pt x="347" y="191"/>
                  <a:pt x="342" y="186"/>
                </a:cubicBezTo>
                <a:cubicBezTo>
                  <a:pt x="372" y="131"/>
                  <a:pt x="372" y="131"/>
                  <a:pt x="372" y="131"/>
                </a:cubicBezTo>
                <a:cubicBezTo>
                  <a:pt x="374" y="126"/>
                  <a:pt x="372" y="121"/>
                  <a:pt x="367" y="119"/>
                </a:cubicBezTo>
                <a:cubicBezTo>
                  <a:pt x="337" y="94"/>
                  <a:pt x="337" y="94"/>
                  <a:pt x="337" y="94"/>
                </a:cubicBezTo>
                <a:cubicBezTo>
                  <a:pt x="335" y="89"/>
                  <a:pt x="327" y="89"/>
                  <a:pt x="325" y="92"/>
                </a:cubicBezTo>
                <a:cubicBezTo>
                  <a:pt x="275" y="129"/>
                  <a:pt x="275" y="129"/>
                  <a:pt x="275" y="129"/>
                </a:cubicBezTo>
                <a:cubicBezTo>
                  <a:pt x="270" y="126"/>
                  <a:pt x="268" y="126"/>
                  <a:pt x="260" y="124"/>
                </a:cubicBezTo>
                <a:cubicBezTo>
                  <a:pt x="245" y="54"/>
                  <a:pt x="245" y="54"/>
                  <a:pt x="245" y="54"/>
                </a:cubicBezTo>
                <a:cubicBezTo>
                  <a:pt x="245" y="49"/>
                  <a:pt x="241" y="47"/>
                  <a:pt x="235" y="47"/>
                </a:cubicBezTo>
                <a:cubicBezTo>
                  <a:pt x="196" y="47"/>
                  <a:pt x="196" y="47"/>
                  <a:pt x="196" y="47"/>
                </a:cubicBezTo>
                <a:cubicBezTo>
                  <a:pt x="191" y="47"/>
                  <a:pt x="186" y="49"/>
                  <a:pt x="183" y="54"/>
                </a:cubicBezTo>
                <a:cubicBezTo>
                  <a:pt x="171" y="124"/>
                  <a:pt x="171" y="124"/>
                  <a:pt x="171" y="124"/>
                </a:cubicBezTo>
                <a:cubicBezTo>
                  <a:pt x="164" y="126"/>
                  <a:pt x="159" y="126"/>
                  <a:pt x="156" y="129"/>
                </a:cubicBezTo>
                <a:cubicBezTo>
                  <a:pt x="107" y="92"/>
                  <a:pt x="107" y="92"/>
                  <a:pt x="107" y="92"/>
                </a:cubicBezTo>
                <a:cubicBezTo>
                  <a:pt x="102" y="89"/>
                  <a:pt x="97" y="89"/>
                  <a:pt x="94" y="92"/>
                </a:cubicBezTo>
                <a:cubicBezTo>
                  <a:pt x="62" y="119"/>
                  <a:pt x="62" y="119"/>
                  <a:pt x="62" y="119"/>
                </a:cubicBezTo>
                <a:cubicBezTo>
                  <a:pt x="60" y="121"/>
                  <a:pt x="60" y="126"/>
                  <a:pt x="60" y="131"/>
                </a:cubicBezTo>
                <a:cubicBezTo>
                  <a:pt x="87" y="186"/>
                  <a:pt x="87" y="186"/>
                  <a:pt x="87" y="186"/>
                </a:cubicBezTo>
                <a:cubicBezTo>
                  <a:pt x="84" y="191"/>
                  <a:pt x="82" y="196"/>
                  <a:pt x="79" y="201"/>
                </a:cubicBezTo>
                <a:cubicBezTo>
                  <a:pt x="20" y="203"/>
                  <a:pt x="20" y="203"/>
                  <a:pt x="20" y="203"/>
                </a:cubicBezTo>
                <a:cubicBezTo>
                  <a:pt x="12" y="203"/>
                  <a:pt x="10" y="208"/>
                  <a:pt x="7" y="211"/>
                </a:cubicBezTo>
                <a:cubicBezTo>
                  <a:pt x="0" y="251"/>
                  <a:pt x="0" y="251"/>
                  <a:pt x="0" y="251"/>
                </a:cubicBezTo>
                <a:cubicBezTo>
                  <a:pt x="0" y="256"/>
                  <a:pt x="2" y="260"/>
                  <a:pt x="7" y="263"/>
                </a:cubicBezTo>
                <a:cubicBezTo>
                  <a:pt x="64" y="288"/>
                  <a:pt x="64" y="288"/>
                  <a:pt x="64" y="288"/>
                </a:cubicBezTo>
                <a:cubicBezTo>
                  <a:pt x="64" y="293"/>
                  <a:pt x="64" y="298"/>
                  <a:pt x="67" y="305"/>
                </a:cubicBezTo>
                <a:cubicBezTo>
                  <a:pt x="22" y="345"/>
                  <a:pt x="22" y="345"/>
                  <a:pt x="22" y="345"/>
                </a:cubicBezTo>
                <a:cubicBezTo>
                  <a:pt x="20" y="347"/>
                  <a:pt x="17" y="355"/>
                  <a:pt x="20" y="360"/>
                </a:cubicBezTo>
                <a:cubicBezTo>
                  <a:pt x="40" y="395"/>
                  <a:pt x="40" y="395"/>
                  <a:pt x="40" y="395"/>
                </a:cubicBezTo>
                <a:cubicBezTo>
                  <a:pt x="42" y="397"/>
                  <a:pt x="47" y="400"/>
                  <a:pt x="52" y="397"/>
                </a:cubicBezTo>
                <a:cubicBezTo>
                  <a:pt x="111" y="380"/>
                  <a:pt x="111" y="380"/>
                  <a:pt x="111" y="380"/>
                </a:cubicBezTo>
                <a:cubicBezTo>
                  <a:pt x="117" y="385"/>
                  <a:pt x="119" y="387"/>
                  <a:pt x="124" y="392"/>
                </a:cubicBezTo>
                <a:cubicBezTo>
                  <a:pt x="117" y="452"/>
                  <a:pt x="117" y="452"/>
                  <a:pt x="117" y="452"/>
                </a:cubicBezTo>
                <a:cubicBezTo>
                  <a:pt x="117" y="457"/>
                  <a:pt x="119" y="462"/>
                  <a:pt x="124" y="462"/>
                </a:cubicBezTo>
                <a:cubicBezTo>
                  <a:pt x="161" y="476"/>
                  <a:pt x="161" y="476"/>
                  <a:pt x="161" y="476"/>
                </a:cubicBezTo>
                <a:cubicBezTo>
                  <a:pt x="166" y="476"/>
                  <a:pt x="171" y="476"/>
                  <a:pt x="174" y="474"/>
                </a:cubicBezTo>
                <a:cubicBezTo>
                  <a:pt x="206" y="419"/>
                  <a:pt x="206" y="419"/>
                  <a:pt x="206" y="419"/>
                </a:cubicBezTo>
                <a:cubicBezTo>
                  <a:pt x="208" y="419"/>
                  <a:pt x="213" y="422"/>
                  <a:pt x="216" y="422"/>
                </a:cubicBezTo>
                <a:cubicBezTo>
                  <a:pt x="218" y="422"/>
                  <a:pt x="221" y="419"/>
                  <a:pt x="223" y="419"/>
                </a:cubicBezTo>
                <a:cubicBezTo>
                  <a:pt x="255" y="474"/>
                  <a:pt x="255" y="474"/>
                  <a:pt x="255" y="474"/>
                </a:cubicBezTo>
                <a:cubicBezTo>
                  <a:pt x="260" y="476"/>
                  <a:pt x="265" y="476"/>
                  <a:pt x="270" y="476"/>
                </a:cubicBezTo>
                <a:cubicBezTo>
                  <a:pt x="307" y="462"/>
                  <a:pt x="307" y="462"/>
                  <a:pt x="307" y="462"/>
                </a:cubicBezTo>
                <a:cubicBezTo>
                  <a:pt x="312" y="462"/>
                  <a:pt x="315" y="457"/>
                  <a:pt x="315" y="452"/>
                </a:cubicBezTo>
                <a:cubicBezTo>
                  <a:pt x="307" y="392"/>
                  <a:pt x="307" y="392"/>
                  <a:pt x="307" y="392"/>
                </a:cubicBezTo>
                <a:cubicBezTo>
                  <a:pt x="310" y="387"/>
                  <a:pt x="315" y="385"/>
                  <a:pt x="320" y="380"/>
                </a:cubicBezTo>
                <a:cubicBezTo>
                  <a:pt x="379" y="397"/>
                  <a:pt x="379" y="397"/>
                  <a:pt x="379" y="397"/>
                </a:cubicBezTo>
                <a:cubicBezTo>
                  <a:pt x="382" y="400"/>
                  <a:pt x="389" y="397"/>
                  <a:pt x="389" y="395"/>
                </a:cubicBezTo>
                <a:cubicBezTo>
                  <a:pt x="411" y="360"/>
                  <a:pt x="411" y="360"/>
                  <a:pt x="411" y="360"/>
                </a:cubicBezTo>
                <a:cubicBezTo>
                  <a:pt x="414" y="355"/>
                  <a:pt x="411" y="347"/>
                  <a:pt x="409" y="345"/>
                </a:cubicBezTo>
                <a:cubicBezTo>
                  <a:pt x="364" y="305"/>
                  <a:pt x="364" y="305"/>
                  <a:pt x="364" y="305"/>
                </a:cubicBezTo>
                <a:cubicBezTo>
                  <a:pt x="364" y="298"/>
                  <a:pt x="364" y="293"/>
                  <a:pt x="367" y="288"/>
                </a:cubicBezTo>
                <a:cubicBezTo>
                  <a:pt x="424" y="263"/>
                  <a:pt x="424" y="263"/>
                  <a:pt x="424" y="263"/>
                </a:cubicBezTo>
                <a:cubicBezTo>
                  <a:pt x="429" y="260"/>
                  <a:pt x="429" y="258"/>
                  <a:pt x="429" y="251"/>
                </a:cubicBezTo>
                <a:close/>
                <a:moveTo>
                  <a:pt x="300" y="268"/>
                </a:moveTo>
                <a:cubicBezTo>
                  <a:pt x="300" y="293"/>
                  <a:pt x="290" y="313"/>
                  <a:pt x="275" y="330"/>
                </a:cubicBezTo>
                <a:cubicBezTo>
                  <a:pt x="260" y="345"/>
                  <a:pt x="238" y="355"/>
                  <a:pt x="216" y="355"/>
                </a:cubicBezTo>
                <a:cubicBezTo>
                  <a:pt x="191" y="355"/>
                  <a:pt x="171" y="345"/>
                  <a:pt x="156" y="330"/>
                </a:cubicBezTo>
                <a:cubicBezTo>
                  <a:pt x="141" y="313"/>
                  <a:pt x="131" y="293"/>
                  <a:pt x="131" y="268"/>
                </a:cubicBezTo>
                <a:cubicBezTo>
                  <a:pt x="131" y="246"/>
                  <a:pt x="141" y="223"/>
                  <a:pt x="156" y="208"/>
                </a:cubicBezTo>
                <a:cubicBezTo>
                  <a:pt x="171" y="193"/>
                  <a:pt x="191" y="183"/>
                  <a:pt x="216" y="183"/>
                </a:cubicBezTo>
                <a:cubicBezTo>
                  <a:pt x="238" y="183"/>
                  <a:pt x="260" y="193"/>
                  <a:pt x="275" y="208"/>
                </a:cubicBezTo>
                <a:cubicBezTo>
                  <a:pt x="290" y="223"/>
                  <a:pt x="300" y="246"/>
                  <a:pt x="300" y="268"/>
                </a:cubicBezTo>
                <a:close/>
                <a:moveTo>
                  <a:pt x="176" y="268"/>
                </a:moveTo>
                <a:cubicBezTo>
                  <a:pt x="176" y="248"/>
                  <a:pt x="193" y="231"/>
                  <a:pt x="216" y="231"/>
                </a:cubicBezTo>
                <a:cubicBezTo>
                  <a:pt x="238" y="231"/>
                  <a:pt x="255" y="248"/>
                  <a:pt x="255" y="268"/>
                </a:cubicBezTo>
                <a:cubicBezTo>
                  <a:pt x="255" y="290"/>
                  <a:pt x="238" y="308"/>
                  <a:pt x="216" y="308"/>
                </a:cubicBezTo>
                <a:cubicBezTo>
                  <a:pt x="193" y="308"/>
                  <a:pt x="176" y="290"/>
                  <a:pt x="176" y="268"/>
                </a:cubicBezTo>
                <a:close/>
                <a:moveTo>
                  <a:pt x="560" y="131"/>
                </a:moveTo>
                <a:cubicBezTo>
                  <a:pt x="560" y="129"/>
                  <a:pt x="563" y="121"/>
                  <a:pt x="563" y="116"/>
                </a:cubicBezTo>
                <a:cubicBezTo>
                  <a:pt x="563" y="111"/>
                  <a:pt x="560" y="107"/>
                  <a:pt x="560" y="101"/>
                </a:cubicBezTo>
                <a:cubicBezTo>
                  <a:pt x="582" y="79"/>
                  <a:pt x="582" y="79"/>
                  <a:pt x="582" y="79"/>
                </a:cubicBezTo>
                <a:cubicBezTo>
                  <a:pt x="587" y="79"/>
                  <a:pt x="587" y="74"/>
                  <a:pt x="587" y="72"/>
                </a:cubicBezTo>
                <a:cubicBezTo>
                  <a:pt x="587" y="72"/>
                  <a:pt x="587" y="69"/>
                  <a:pt x="587" y="67"/>
                </a:cubicBezTo>
                <a:cubicBezTo>
                  <a:pt x="575" y="49"/>
                  <a:pt x="575" y="49"/>
                  <a:pt x="575" y="49"/>
                </a:cubicBezTo>
                <a:cubicBezTo>
                  <a:pt x="573" y="47"/>
                  <a:pt x="570" y="44"/>
                  <a:pt x="565" y="44"/>
                </a:cubicBezTo>
                <a:cubicBezTo>
                  <a:pt x="565" y="44"/>
                  <a:pt x="565" y="44"/>
                  <a:pt x="563" y="44"/>
                </a:cubicBezTo>
                <a:cubicBezTo>
                  <a:pt x="533" y="54"/>
                  <a:pt x="533" y="54"/>
                  <a:pt x="533" y="54"/>
                </a:cubicBezTo>
                <a:cubicBezTo>
                  <a:pt x="526" y="47"/>
                  <a:pt x="516" y="42"/>
                  <a:pt x="506" y="39"/>
                </a:cubicBezTo>
                <a:cubicBezTo>
                  <a:pt x="498" y="7"/>
                  <a:pt x="498" y="7"/>
                  <a:pt x="498" y="7"/>
                </a:cubicBezTo>
                <a:cubicBezTo>
                  <a:pt x="498" y="5"/>
                  <a:pt x="493" y="0"/>
                  <a:pt x="488" y="0"/>
                </a:cubicBezTo>
                <a:cubicBezTo>
                  <a:pt x="469" y="0"/>
                  <a:pt x="469" y="0"/>
                  <a:pt x="469" y="0"/>
                </a:cubicBezTo>
                <a:cubicBezTo>
                  <a:pt x="464" y="0"/>
                  <a:pt x="459" y="5"/>
                  <a:pt x="459" y="7"/>
                </a:cubicBezTo>
                <a:cubicBezTo>
                  <a:pt x="451" y="39"/>
                  <a:pt x="451" y="39"/>
                  <a:pt x="451" y="39"/>
                </a:cubicBezTo>
                <a:cubicBezTo>
                  <a:pt x="441" y="42"/>
                  <a:pt x="431" y="47"/>
                  <a:pt x="424" y="54"/>
                </a:cubicBezTo>
                <a:cubicBezTo>
                  <a:pt x="394" y="44"/>
                  <a:pt x="394" y="44"/>
                  <a:pt x="394" y="44"/>
                </a:cubicBezTo>
                <a:cubicBezTo>
                  <a:pt x="392" y="44"/>
                  <a:pt x="392" y="44"/>
                  <a:pt x="392" y="44"/>
                </a:cubicBezTo>
                <a:cubicBezTo>
                  <a:pt x="387" y="44"/>
                  <a:pt x="384" y="47"/>
                  <a:pt x="382" y="49"/>
                </a:cubicBezTo>
                <a:cubicBezTo>
                  <a:pt x="372" y="67"/>
                  <a:pt x="372" y="67"/>
                  <a:pt x="372" y="67"/>
                </a:cubicBezTo>
                <a:cubicBezTo>
                  <a:pt x="369" y="69"/>
                  <a:pt x="369" y="72"/>
                  <a:pt x="369" y="72"/>
                </a:cubicBezTo>
                <a:cubicBezTo>
                  <a:pt x="369" y="74"/>
                  <a:pt x="372" y="79"/>
                  <a:pt x="372" y="79"/>
                </a:cubicBezTo>
                <a:cubicBezTo>
                  <a:pt x="399" y="101"/>
                  <a:pt x="399" y="101"/>
                  <a:pt x="399" y="101"/>
                </a:cubicBezTo>
                <a:cubicBezTo>
                  <a:pt x="397" y="107"/>
                  <a:pt x="394" y="111"/>
                  <a:pt x="394" y="116"/>
                </a:cubicBezTo>
                <a:cubicBezTo>
                  <a:pt x="394" y="121"/>
                  <a:pt x="397" y="126"/>
                  <a:pt x="399" y="131"/>
                </a:cubicBezTo>
                <a:cubicBezTo>
                  <a:pt x="372" y="154"/>
                  <a:pt x="372" y="154"/>
                  <a:pt x="372" y="154"/>
                </a:cubicBezTo>
                <a:cubicBezTo>
                  <a:pt x="372" y="156"/>
                  <a:pt x="369" y="159"/>
                  <a:pt x="369" y="161"/>
                </a:cubicBezTo>
                <a:cubicBezTo>
                  <a:pt x="369" y="164"/>
                  <a:pt x="369" y="164"/>
                  <a:pt x="372" y="166"/>
                </a:cubicBezTo>
                <a:cubicBezTo>
                  <a:pt x="382" y="183"/>
                  <a:pt x="382" y="183"/>
                  <a:pt x="382" y="183"/>
                </a:cubicBezTo>
                <a:cubicBezTo>
                  <a:pt x="384" y="188"/>
                  <a:pt x="387" y="188"/>
                  <a:pt x="392" y="188"/>
                </a:cubicBezTo>
                <a:cubicBezTo>
                  <a:pt x="392" y="188"/>
                  <a:pt x="392" y="188"/>
                  <a:pt x="394" y="188"/>
                </a:cubicBezTo>
                <a:cubicBezTo>
                  <a:pt x="424" y="179"/>
                  <a:pt x="424" y="179"/>
                  <a:pt x="424" y="179"/>
                </a:cubicBezTo>
                <a:cubicBezTo>
                  <a:pt x="431" y="186"/>
                  <a:pt x="441" y="191"/>
                  <a:pt x="451" y="193"/>
                </a:cubicBezTo>
                <a:cubicBezTo>
                  <a:pt x="459" y="226"/>
                  <a:pt x="459" y="226"/>
                  <a:pt x="459" y="226"/>
                </a:cubicBezTo>
                <a:cubicBezTo>
                  <a:pt x="459" y="231"/>
                  <a:pt x="464" y="233"/>
                  <a:pt x="469" y="233"/>
                </a:cubicBezTo>
                <a:cubicBezTo>
                  <a:pt x="488" y="233"/>
                  <a:pt x="488" y="233"/>
                  <a:pt x="488" y="233"/>
                </a:cubicBezTo>
                <a:cubicBezTo>
                  <a:pt x="493" y="233"/>
                  <a:pt x="498" y="231"/>
                  <a:pt x="498" y="226"/>
                </a:cubicBezTo>
                <a:cubicBezTo>
                  <a:pt x="506" y="196"/>
                  <a:pt x="506" y="196"/>
                  <a:pt x="506" y="196"/>
                </a:cubicBezTo>
                <a:cubicBezTo>
                  <a:pt x="516" y="191"/>
                  <a:pt x="526" y="186"/>
                  <a:pt x="533" y="179"/>
                </a:cubicBezTo>
                <a:cubicBezTo>
                  <a:pt x="563" y="188"/>
                  <a:pt x="563" y="188"/>
                  <a:pt x="563" y="188"/>
                </a:cubicBezTo>
                <a:cubicBezTo>
                  <a:pt x="565" y="188"/>
                  <a:pt x="565" y="188"/>
                  <a:pt x="565" y="188"/>
                </a:cubicBezTo>
                <a:cubicBezTo>
                  <a:pt x="570" y="188"/>
                  <a:pt x="573" y="188"/>
                  <a:pt x="575" y="183"/>
                </a:cubicBezTo>
                <a:cubicBezTo>
                  <a:pt x="587" y="166"/>
                  <a:pt x="587" y="166"/>
                  <a:pt x="587" y="166"/>
                </a:cubicBezTo>
                <a:cubicBezTo>
                  <a:pt x="587" y="164"/>
                  <a:pt x="587" y="164"/>
                  <a:pt x="587" y="161"/>
                </a:cubicBezTo>
                <a:cubicBezTo>
                  <a:pt x="587" y="159"/>
                  <a:pt x="587" y="156"/>
                  <a:pt x="582" y="154"/>
                </a:cubicBezTo>
                <a:cubicBezTo>
                  <a:pt x="560" y="131"/>
                  <a:pt x="560" y="131"/>
                  <a:pt x="560" y="131"/>
                </a:cubicBezTo>
                <a:cubicBezTo>
                  <a:pt x="560" y="131"/>
                  <a:pt x="560" y="131"/>
                  <a:pt x="560" y="131"/>
                </a:cubicBezTo>
                <a:close/>
                <a:moveTo>
                  <a:pt x="511" y="116"/>
                </a:moveTo>
                <a:cubicBezTo>
                  <a:pt x="511" y="134"/>
                  <a:pt x="496" y="149"/>
                  <a:pt x="479" y="149"/>
                </a:cubicBezTo>
                <a:cubicBezTo>
                  <a:pt x="461" y="149"/>
                  <a:pt x="446" y="134"/>
                  <a:pt x="446" y="116"/>
                </a:cubicBezTo>
                <a:cubicBezTo>
                  <a:pt x="446" y="99"/>
                  <a:pt x="461" y="84"/>
                  <a:pt x="479" y="84"/>
                </a:cubicBezTo>
                <a:cubicBezTo>
                  <a:pt x="496" y="84"/>
                  <a:pt x="511" y="99"/>
                  <a:pt x="511" y="11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9" name="Rectangle 198"/>
          <p:cNvSpPr/>
          <p:nvPr/>
        </p:nvSpPr>
        <p:spPr bwMode="auto">
          <a:xfrm>
            <a:off x="10597233" y="4171159"/>
            <a:ext cx="227564" cy="15407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7187153" y="4869815"/>
            <a:ext cx="5004848" cy="1987699"/>
            <a:chOff x="7331270" y="4966968"/>
            <a:chExt cx="5105206" cy="2027557"/>
          </a:xfrm>
        </p:grpSpPr>
        <p:grpSp>
          <p:nvGrpSpPr>
            <p:cNvPr id="101" name="Group 100"/>
            <p:cNvGrpSpPr/>
            <p:nvPr/>
          </p:nvGrpSpPr>
          <p:grpSpPr>
            <a:xfrm>
              <a:off x="7331270" y="4966968"/>
              <a:ext cx="5105206" cy="2027557"/>
              <a:chOff x="19854863" y="-19948526"/>
              <a:chExt cx="28455937" cy="11301413"/>
            </a:xfrm>
          </p:grpSpPr>
          <p:sp>
            <p:nvSpPr>
              <p:cNvPr id="104" name="Freeform 6"/>
              <p:cNvSpPr>
                <a:spLocks/>
              </p:cNvSpPr>
              <p:nvPr/>
            </p:nvSpPr>
            <p:spPr bwMode="auto">
              <a:xfrm>
                <a:off x="32554863" y="-14177963"/>
                <a:ext cx="6534150" cy="5527675"/>
              </a:xfrm>
              <a:custGeom>
                <a:avLst/>
                <a:gdLst>
                  <a:gd name="T0" fmla="*/ 1850 w 4116"/>
                  <a:gd name="T1" fmla="*/ 586 h 3482"/>
                  <a:gd name="T2" fmla="*/ 1850 w 4116"/>
                  <a:gd name="T3" fmla="*/ 0 h 3482"/>
                  <a:gd name="T4" fmla="*/ 1403 w 4116"/>
                  <a:gd name="T5" fmla="*/ 0 h 3482"/>
                  <a:gd name="T6" fmla="*/ 1403 w 4116"/>
                  <a:gd name="T7" fmla="*/ 586 h 3482"/>
                  <a:gd name="T8" fmla="*/ 1250 w 4116"/>
                  <a:gd name="T9" fmla="*/ 586 h 3482"/>
                  <a:gd name="T10" fmla="*/ 1250 w 4116"/>
                  <a:gd name="T11" fmla="*/ 0 h 3482"/>
                  <a:gd name="T12" fmla="*/ 801 w 4116"/>
                  <a:gd name="T13" fmla="*/ 0 h 3482"/>
                  <a:gd name="T14" fmla="*/ 801 w 4116"/>
                  <a:gd name="T15" fmla="*/ 586 h 3482"/>
                  <a:gd name="T16" fmla="*/ 0 w 4116"/>
                  <a:gd name="T17" fmla="*/ 586 h 3482"/>
                  <a:gd name="T18" fmla="*/ 0 w 4116"/>
                  <a:gd name="T19" fmla="*/ 731 h 3482"/>
                  <a:gd name="T20" fmla="*/ 184 w 4116"/>
                  <a:gd name="T21" fmla="*/ 731 h 3482"/>
                  <a:gd name="T22" fmla="*/ 184 w 4116"/>
                  <a:gd name="T23" fmla="*/ 3482 h 3482"/>
                  <a:gd name="T24" fmla="*/ 3932 w 4116"/>
                  <a:gd name="T25" fmla="*/ 3482 h 3482"/>
                  <a:gd name="T26" fmla="*/ 3932 w 4116"/>
                  <a:gd name="T27" fmla="*/ 731 h 3482"/>
                  <a:gd name="T28" fmla="*/ 4116 w 4116"/>
                  <a:gd name="T29" fmla="*/ 731 h 3482"/>
                  <a:gd name="T30" fmla="*/ 4116 w 4116"/>
                  <a:gd name="T31" fmla="*/ 586 h 3482"/>
                  <a:gd name="T32" fmla="*/ 1850 w 4116"/>
                  <a:gd name="T33" fmla="*/ 586 h 3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16" h="3482">
                    <a:moveTo>
                      <a:pt x="1850" y="586"/>
                    </a:moveTo>
                    <a:lnTo>
                      <a:pt x="1850" y="0"/>
                    </a:lnTo>
                    <a:lnTo>
                      <a:pt x="1403" y="0"/>
                    </a:lnTo>
                    <a:lnTo>
                      <a:pt x="1403" y="586"/>
                    </a:lnTo>
                    <a:lnTo>
                      <a:pt x="1250" y="586"/>
                    </a:lnTo>
                    <a:lnTo>
                      <a:pt x="1250" y="0"/>
                    </a:lnTo>
                    <a:lnTo>
                      <a:pt x="801" y="0"/>
                    </a:lnTo>
                    <a:lnTo>
                      <a:pt x="801" y="586"/>
                    </a:lnTo>
                    <a:lnTo>
                      <a:pt x="0" y="586"/>
                    </a:lnTo>
                    <a:lnTo>
                      <a:pt x="0" y="731"/>
                    </a:lnTo>
                    <a:lnTo>
                      <a:pt x="184" y="731"/>
                    </a:lnTo>
                    <a:lnTo>
                      <a:pt x="184" y="3482"/>
                    </a:lnTo>
                    <a:lnTo>
                      <a:pt x="3932" y="3482"/>
                    </a:lnTo>
                    <a:lnTo>
                      <a:pt x="3932" y="731"/>
                    </a:lnTo>
                    <a:lnTo>
                      <a:pt x="4116" y="731"/>
                    </a:lnTo>
                    <a:lnTo>
                      <a:pt x="4116" y="586"/>
                    </a:lnTo>
                    <a:lnTo>
                      <a:pt x="1850" y="586"/>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5" name="Freeform 7"/>
              <p:cNvSpPr>
                <a:spLocks/>
              </p:cNvSpPr>
              <p:nvPr/>
            </p:nvSpPr>
            <p:spPr bwMode="auto">
              <a:xfrm>
                <a:off x="36001325" y="-14177963"/>
                <a:ext cx="6538913" cy="5527675"/>
              </a:xfrm>
              <a:custGeom>
                <a:avLst/>
                <a:gdLst>
                  <a:gd name="T0" fmla="*/ 1853 w 4119"/>
                  <a:gd name="T1" fmla="*/ 586 h 3482"/>
                  <a:gd name="T2" fmla="*/ 1853 w 4119"/>
                  <a:gd name="T3" fmla="*/ 0 h 3482"/>
                  <a:gd name="T4" fmla="*/ 1404 w 4119"/>
                  <a:gd name="T5" fmla="*/ 0 h 3482"/>
                  <a:gd name="T6" fmla="*/ 1404 w 4119"/>
                  <a:gd name="T7" fmla="*/ 586 h 3482"/>
                  <a:gd name="T8" fmla="*/ 1250 w 4119"/>
                  <a:gd name="T9" fmla="*/ 586 h 3482"/>
                  <a:gd name="T10" fmla="*/ 1250 w 4119"/>
                  <a:gd name="T11" fmla="*/ 0 h 3482"/>
                  <a:gd name="T12" fmla="*/ 801 w 4119"/>
                  <a:gd name="T13" fmla="*/ 0 h 3482"/>
                  <a:gd name="T14" fmla="*/ 801 w 4119"/>
                  <a:gd name="T15" fmla="*/ 586 h 3482"/>
                  <a:gd name="T16" fmla="*/ 0 w 4119"/>
                  <a:gd name="T17" fmla="*/ 586 h 3482"/>
                  <a:gd name="T18" fmla="*/ 0 w 4119"/>
                  <a:gd name="T19" fmla="*/ 731 h 3482"/>
                  <a:gd name="T20" fmla="*/ 185 w 4119"/>
                  <a:gd name="T21" fmla="*/ 731 h 3482"/>
                  <a:gd name="T22" fmla="*/ 185 w 4119"/>
                  <a:gd name="T23" fmla="*/ 3482 h 3482"/>
                  <a:gd name="T24" fmla="*/ 3932 w 4119"/>
                  <a:gd name="T25" fmla="*/ 3482 h 3482"/>
                  <a:gd name="T26" fmla="*/ 3932 w 4119"/>
                  <a:gd name="T27" fmla="*/ 731 h 3482"/>
                  <a:gd name="T28" fmla="*/ 4119 w 4119"/>
                  <a:gd name="T29" fmla="*/ 731 h 3482"/>
                  <a:gd name="T30" fmla="*/ 4119 w 4119"/>
                  <a:gd name="T31" fmla="*/ 586 h 3482"/>
                  <a:gd name="T32" fmla="*/ 1853 w 4119"/>
                  <a:gd name="T33" fmla="*/ 586 h 3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19" h="3482">
                    <a:moveTo>
                      <a:pt x="1853" y="586"/>
                    </a:moveTo>
                    <a:lnTo>
                      <a:pt x="1853" y="0"/>
                    </a:lnTo>
                    <a:lnTo>
                      <a:pt x="1404" y="0"/>
                    </a:lnTo>
                    <a:lnTo>
                      <a:pt x="1404" y="586"/>
                    </a:lnTo>
                    <a:lnTo>
                      <a:pt x="1250" y="586"/>
                    </a:lnTo>
                    <a:lnTo>
                      <a:pt x="1250" y="0"/>
                    </a:lnTo>
                    <a:lnTo>
                      <a:pt x="801" y="0"/>
                    </a:lnTo>
                    <a:lnTo>
                      <a:pt x="801" y="586"/>
                    </a:lnTo>
                    <a:lnTo>
                      <a:pt x="0" y="586"/>
                    </a:lnTo>
                    <a:lnTo>
                      <a:pt x="0" y="731"/>
                    </a:lnTo>
                    <a:lnTo>
                      <a:pt x="185" y="731"/>
                    </a:lnTo>
                    <a:lnTo>
                      <a:pt x="185" y="3482"/>
                    </a:lnTo>
                    <a:lnTo>
                      <a:pt x="3932" y="3482"/>
                    </a:lnTo>
                    <a:lnTo>
                      <a:pt x="3932" y="731"/>
                    </a:lnTo>
                    <a:lnTo>
                      <a:pt x="4119" y="731"/>
                    </a:lnTo>
                    <a:lnTo>
                      <a:pt x="4119" y="586"/>
                    </a:lnTo>
                    <a:lnTo>
                      <a:pt x="1853" y="586"/>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6" name="Rectangle 9"/>
              <p:cNvSpPr>
                <a:spLocks noChangeArrowheads="1"/>
              </p:cNvSpPr>
              <p:nvPr/>
            </p:nvSpPr>
            <p:spPr bwMode="auto">
              <a:xfrm>
                <a:off x="28371800" y="-16117888"/>
                <a:ext cx="5949950" cy="7470775"/>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7" name="Rectangle 10"/>
              <p:cNvSpPr>
                <a:spLocks noChangeArrowheads="1"/>
              </p:cNvSpPr>
              <p:nvPr/>
            </p:nvSpPr>
            <p:spPr bwMode="auto">
              <a:xfrm>
                <a:off x="28078113" y="-16346488"/>
                <a:ext cx="6535738" cy="22860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8" name="Rectangle 11"/>
              <p:cNvSpPr>
                <a:spLocks noChangeArrowheads="1"/>
              </p:cNvSpPr>
              <p:nvPr/>
            </p:nvSpPr>
            <p:spPr bwMode="auto">
              <a:xfrm>
                <a:off x="28930600" y="-1544478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9" name="Rectangle 12"/>
              <p:cNvSpPr>
                <a:spLocks noChangeArrowheads="1"/>
              </p:cNvSpPr>
              <p:nvPr/>
            </p:nvSpPr>
            <p:spPr bwMode="auto">
              <a:xfrm>
                <a:off x="28930600" y="-15444788"/>
                <a:ext cx="776288" cy="38893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0" name="Rectangle 13"/>
              <p:cNvSpPr>
                <a:spLocks noChangeArrowheads="1"/>
              </p:cNvSpPr>
              <p:nvPr/>
            </p:nvSpPr>
            <p:spPr bwMode="auto">
              <a:xfrm>
                <a:off x="30273625" y="-15444788"/>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1" name="Rectangle 14"/>
              <p:cNvSpPr>
                <a:spLocks noChangeArrowheads="1"/>
              </p:cNvSpPr>
              <p:nvPr/>
            </p:nvSpPr>
            <p:spPr bwMode="auto">
              <a:xfrm>
                <a:off x="31616650" y="-15444788"/>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2" name="Rectangle 15"/>
              <p:cNvSpPr>
                <a:spLocks noChangeArrowheads="1"/>
              </p:cNvSpPr>
              <p:nvPr/>
            </p:nvSpPr>
            <p:spPr bwMode="auto">
              <a:xfrm>
                <a:off x="30273625" y="-10158413"/>
                <a:ext cx="776288" cy="151130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3" name="Rectangle 16"/>
              <p:cNvSpPr>
                <a:spLocks noChangeArrowheads="1"/>
              </p:cNvSpPr>
              <p:nvPr/>
            </p:nvSpPr>
            <p:spPr bwMode="auto">
              <a:xfrm>
                <a:off x="31616650" y="-10158413"/>
                <a:ext cx="776288" cy="151130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4" name="Rectangle 17"/>
              <p:cNvSpPr>
                <a:spLocks noChangeArrowheads="1"/>
              </p:cNvSpPr>
              <p:nvPr/>
            </p:nvSpPr>
            <p:spPr bwMode="auto">
              <a:xfrm>
                <a:off x="32959675" y="-15444788"/>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5" name="Rectangle 18"/>
              <p:cNvSpPr>
                <a:spLocks noChangeArrowheads="1"/>
              </p:cNvSpPr>
              <p:nvPr/>
            </p:nvSpPr>
            <p:spPr bwMode="auto">
              <a:xfrm>
                <a:off x="28930600" y="-1410176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6" name="Rectangle 19"/>
              <p:cNvSpPr>
                <a:spLocks noChangeArrowheads="1"/>
              </p:cNvSpPr>
              <p:nvPr/>
            </p:nvSpPr>
            <p:spPr bwMode="auto">
              <a:xfrm>
                <a:off x="30273625" y="-14101763"/>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7" name="Rectangle 20"/>
              <p:cNvSpPr>
                <a:spLocks noChangeArrowheads="1"/>
              </p:cNvSpPr>
              <p:nvPr/>
            </p:nvSpPr>
            <p:spPr bwMode="auto">
              <a:xfrm>
                <a:off x="31616650" y="-14101763"/>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8" name="Rectangle 21"/>
              <p:cNvSpPr>
                <a:spLocks noChangeArrowheads="1"/>
              </p:cNvSpPr>
              <p:nvPr/>
            </p:nvSpPr>
            <p:spPr bwMode="auto">
              <a:xfrm>
                <a:off x="32959675" y="-14101763"/>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9" name="Rectangle 22"/>
              <p:cNvSpPr>
                <a:spLocks noChangeArrowheads="1"/>
              </p:cNvSpPr>
              <p:nvPr/>
            </p:nvSpPr>
            <p:spPr bwMode="auto">
              <a:xfrm>
                <a:off x="28930600" y="-1275873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0" name="Rectangle 23"/>
              <p:cNvSpPr>
                <a:spLocks noChangeArrowheads="1"/>
              </p:cNvSpPr>
              <p:nvPr/>
            </p:nvSpPr>
            <p:spPr bwMode="auto">
              <a:xfrm>
                <a:off x="30273625" y="-12758738"/>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1" name="Rectangle 24"/>
              <p:cNvSpPr>
                <a:spLocks noChangeArrowheads="1"/>
              </p:cNvSpPr>
              <p:nvPr/>
            </p:nvSpPr>
            <p:spPr bwMode="auto">
              <a:xfrm>
                <a:off x="31616650" y="-12758738"/>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2" name="Rectangle 25"/>
              <p:cNvSpPr>
                <a:spLocks noChangeArrowheads="1"/>
              </p:cNvSpPr>
              <p:nvPr/>
            </p:nvSpPr>
            <p:spPr bwMode="auto">
              <a:xfrm>
                <a:off x="32959675" y="-1275873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3" name="Rectangle 26"/>
              <p:cNvSpPr>
                <a:spLocks noChangeArrowheads="1"/>
              </p:cNvSpPr>
              <p:nvPr/>
            </p:nvSpPr>
            <p:spPr bwMode="auto">
              <a:xfrm>
                <a:off x="28930600" y="-11415713"/>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4" name="Rectangle 27"/>
              <p:cNvSpPr>
                <a:spLocks noChangeArrowheads="1"/>
              </p:cNvSpPr>
              <p:nvPr/>
            </p:nvSpPr>
            <p:spPr bwMode="auto">
              <a:xfrm>
                <a:off x="30273625" y="-1141571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5" name="Rectangle 28"/>
              <p:cNvSpPr>
                <a:spLocks noChangeArrowheads="1"/>
              </p:cNvSpPr>
              <p:nvPr/>
            </p:nvSpPr>
            <p:spPr bwMode="auto">
              <a:xfrm>
                <a:off x="31616650" y="-1141571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6" name="Rectangle 29"/>
              <p:cNvSpPr>
                <a:spLocks noChangeArrowheads="1"/>
              </p:cNvSpPr>
              <p:nvPr/>
            </p:nvSpPr>
            <p:spPr bwMode="auto">
              <a:xfrm>
                <a:off x="32959675" y="-11415713"/>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7" name="Rectangle 30"/>
              <p:cNvSpPr>
                <a:spLocks noChangeArrowheads="1"/>
              </p:cNvSpPr>
              <p:nvPr/>
            </p:nvSpPr>
            <p:spPr bwMode="auto">
              <a:xfrm>
                <a:off x="28930600" y="-12758738"/>
                <a:ext cx="776288" cy="39052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8" name="Rectangle 31"/>
              <p:cNvSpPr>
                <a:spLocks noChangeArrowheads="1"/>
              </p:cNvSpPr>
              <p:nvPr/>
            </p:nvSpPr>
            <p:spPr bwMode="auto">
              <a:xfrm>
                <a:off x="32959675" y="-12758738"/>
                <a:ext cx="776288" cy="39052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9" name="Rectangle 32"/>
              <p:cNvSpPr>
                <a:spLocks noChangeArrowheads="1"/>
              </p:cNvSpPr>
              <p:nvPr/>
            </p:nvSpPr>
            <p:spPr bwMode="auto">
              <a:xfrm>
                <a:off x="32959675" y="-14101763"/>
                <a:ext cx="776288" cy="38893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0" name="Rectangle 33"/>
              <p:cNvSpPr>
                <a:spLocks noChangeArrowheads="1"/>
              </p:cNvSpPr>
              <p:nvPr/>
            </p:nvSpPr>
            <p:spPr bwMode="auto">
              <a:xfrm>
                <a:off x="19854863" y="-9032876"/>
                <a:ext cx="8516938" cy="385763"/>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1" name="Rectangle 40"/>
              <p:cNvSpPr>
                <a:spLocks noChangeArrowheads="1"/>
              </p:cNvSpPr>
              <p:nvPr/>
            </p:nvSpPr>
            <p:spPr bwMode="auto">
              <a:xfrm>
                <a:off x="31049913" y="-17279938"/>
                <a:ext cx="2298700" cy="93345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2" name="Rectangle 41"/>
              <p:cNvSpPr>
                <a:spLocks noChangeArrowheads="1"/>
              </p:cNvSpPr>
              <p:nvPr/>
            </p:nvSpPr>
            <p:spPr bwMode="auto">
              <a:xfrm>
                <a:off x="42903775" y="-13388976"/>
                <a:ext cx="5407025" cy="4741863"/>
              </a:xfrm>
              <a:prstGeom prst="rect">
                <a:avLst/>
              </a:prstGeom>
              <a:solidFill>
                <a:srgbClr val="009E4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3" name="Rectangle 42"/>
              <p:cNvSpPr>
                <a:spLocks noChangeArrowheads="1"/>
              </p:cNvSpPr>
              <p:nvPr/>
            </p:nvSpPr>
            <p:spPr bwMode="auto">
              <a:xfrm>
                <a:off x="42611675" y="-13614401"/>
                <a:ext cx="5699125" cy="22542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4" name="Rectangle 43"/>
              <p:cNvSpPr>
                <a:spLocks noChangeArrowheads="1"/>
              </p:cNvSpPr>
              <p:nvPr/>
            </p:nvSpPr>
            <p:spPr bwMode="auto">
              <a:xfrm>
                <a:off x="44805600" y="-10158413"/>
                <a:ext cx="777875" cy="1511300"/>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5" name="Rectangle 44"/>
              <p:cNvSpPr>
                <a:spLocks noChangeArrowheads="1"/>
              </p:cNvSpPr>
              <p:nvPr/>
            </p:nvSpPr>
            <p:spPr bwMode="auto">
              <a:xfrm>
                <a:off x="46148625" y="-10158413"/>
                <a:ext cx="777875" cy="1511300"/>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6" name="Rectangle 45"/>
              <p:cNvSpPr>
                <a:spLocks noChangeArrowheads="1"/>
              </p:cNvSpPr>
              <p:nvPr/>
            </p:nvSpPr>
            <p:spPr bwMode="auto">
              <a:xfrm>
                <a:off x="43462575" y="-12758738"/>
                <a:ext cx="777875"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7" name="Rectangle 46"/>
              <p:cNvSpPr>
                <a:spLocks noChangeArrowheads="1"/>
              </p:cNvSpPr>
              <p:nvPr/>
            </p:nvSpPr>
            <p:spPr bwMode="auto">
              <a:xfrm>
                <a:off x="44805600" y="-12758738"/>
                <a:ext cx="777875"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8" name="Rectangle 47"/>
              <p:cNvSpPr>
                <a:spLocks noChangeArrowheads="1"/>
              </p:cNvSpPr>
              <p:nvPr/>
            </p:nvSpPr>
            <p:spPr bwMode="auto">
              <a:xfrm>
                <a:off x="46148625" y="-12758738"/>
                <a:ext cx="777875" cy="7762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9" name="Rectangle 48"/>
              <p:cNvSpPr>
                <a:spLocks noChangeArrowheads="1"/>
              </p:cNvSpPr>
              <p:nvPr/>
            </p:nvSpPr>
            <p:spPr bwMode="auto">
              <a:xfrm>
                <a:off x="47491650" y="-12758738"/>
                <a:ext cx="777875"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0" name="Rectangle 49"/>
              <p:cNvSpPr>
                <a:spLocks noChangeArrowheads="1"/>
              </p:cNvSpPr>
              <p:nvPr/>
            </p:nvSpPr>
            <p:spPr bwMode="auto">
              <a:xfrm>
                <a:off x="43462575" y="-11415713"/>
                <a:ext cx="777875" cy="7762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1" name="Rectangle 50"/>
              <p:cNvSpPr>
                <a:spLocks noChangeArrowheads="1"/>
              </p:cNvSpPr>
              <p:nvPr/>
            </p:nvSpPr>
            <p:spPr bwMode="auto">
              <a:xfrm>
                <a:off x="44805600" y="-11415713"/>
                <a:ext cx="777875"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2" name="Rectangle 51"/>
              <p:cNvSpPr>
                <a:spLocks noChangeArrowheads="1"/>
              </p:cNvSpPr>
              <p:nvPr/>
            </p:nvSpPr>
            <p:spPr bwMode="auto">
              <a:xfrm>
                <a:off x="46148625" y="-11415713"/>
                <a:ext cx="777875"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3" name="Rectangle 52"/>
              <p:cNvSpPr>
                <a:spLocks noChangeArrowheads="1"/>
              </p:cNvSpPr>
              <p:nvPr/>
            </p:nvSpPr>
            <p:spPr bwMode="auto">
              <a:xfrm>
                <a:off x="47491650" y="-11415713"/>
                <a:ext cx="777875" cy="7762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4" name="Rectangle 53"/>
              <p:cNvSpPr>
                <a:spLocks noChangeArrowheads="1"/>
              </p:cNvSpPr>
              <p:nvPr/>
            </p:nvSpPr>
            <p:spPr bwMode="auto">
              <a:xfrm>
                <a:off x="43462575" y="-12758738"/>
                <a:ext cx="777875" cy="39052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5" name="Rectangle 54"/>
              <p:cNvSpPr>
                <a:spLocks noChangeArrowheads="1"/>
              </p:cNvSpPr>
              <p:nvPr/>
            </p:nvSpPr>
            <p:spPr bwMode="auto">
              <a:xfrm>
                <a:off x="47491650" y="-12758738"/>
                <a:ext cx="777875" cy="39052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6" name="Rectangle 55"/>
              <p:cNvSpPr>
                <a:spLocks noChangeArrowheads="1"/>
              </p:cNvSpPr>
              <p:nvPr/>
            </p:nvSpPr>
            <p:spPr bwMode="auto">
              <a:xfrm>
                <a:off x="45583475" y="-14549438"/>
                <a:ext cx="2295525" cy="93503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7" name="Rectangle 56"/>
              <p:cNvSpPr>
                <a:spLocks noChangeArrowheads="1"/>
              </p:cNvSpPr>
              <p:nvPr/>
            </p:nvSpPr>
            <p:spPr bwMode="auto">
              <a:xfrm>
                <a:off x="35637788" y="-18784888"/>
                <a:ext cx="5949950" cy="10137775"/>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8" name="Rectangle 57"/>
              <p:cNvSpPr>
                <a:spLocks noChangeArrowheads="1"/>
              </p:cNvSpPr>
              <p:nvPr/>
            </p:nvSpPr>
            <p:spPr bwMode="auto">
              <a:xfrm>
                <a:off x="35345688" y="-19013488"/>
                <a:ext cx="6534150" cy="2286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9" name="Rectangle 58"/>
              <p:cNvSpPr>
                <a:spLocks noChangeArrowheads="1"/>
              </p:cNvSpPr>
              <p:nvPr/>
            </p:nvSpPr>
            <p:spPr bwMode="auto">
              <a:xfrm>
                <a:off x="36196588" y="-1544478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0" name="Rectangle 59"/>
              <p:cNvSpPr>
                <a:spLocks noChangeArrowheads="1"/>
              </p:cNvSpPr>
              <p:nvPr/>
            </p:nvSpPr>
            <p:spPr bwMode="auto">
              <a:xfrm>
                <a:off x="36196588" y="-15444788"/>
                <a:ext cx="776288" cy="38893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1" name="Rectangle 60"/>
              <p:cNvSpPr>
                <a:spLocks noChangeArrowheads="1"/>
              </p:cNvSpPr>
              <p:nvPr/>
            </p:nvSpPr>
            <p:spPr bwMode="auto">
              <a:xfrm>
                <a:off x="37539613" y="-15444788"/>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2" name="Rectangle 61"/>
              <p:cNvSpPr>
                <a:spLocks noChangeArrowheads="1"/>
              </p:cNvSpPr>
              <p:nvPr/>
            </p:nvSpPr>
            <p:spPr bwMode="auto">
              <a:xfrm>
                <a:off x="38882638" y="-15444788"/>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3" name="Rectangle 62"/>
              <p:cNvSpPr>
                <a:spLocks noChangeArrowheads="1"/>
              </p:cNvSpPr>
              <p:nvPr/>
            </p:nvSpPr>
            <p:spPr bwMode="auto">
              <a:xfrm>
                <a:off x="37539613" y="-10158413"/>
                <a:ext cx="776288" cy="15113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4" name="Rectangle 63"/>
              <p:cNvSpPr>
                <a:spLocks noChangeArrowheads="1"/>
              </p:cNvSpPr>
              <p:nvPr/>
            </p:nvSpPr>
            <p:spPr bwMode="auto">
              <a:xfrm>
                <a:off x="38882638" y="-10158413"/>
                <a:ext cx="776288" cy="15113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5" name="Rectangle 64"/>
              <p:cNvSpPr>
                <a:spLocks noChangeArrowheads="1"/>
              </p:cNvSpPr>
              <p:nvPr/>
            </p:nvSpPr>
            <p:spPr bwMode="auto">
              <a:xfrm>
                <a:off x="40225663" y="-15444788"/>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6" name="Rectangle 65"/>
              <p:cNvSpPr>
                <a:spLocks noChangeArrowheads="1"/>
              </p:cNvSpPr>
              <p:nvPr/>
            </p:nvSpPr>
            <p:spPr bwMode="auto">
              <a:xfrm>
                <a:off x="36196588" y="-1410176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7" name="Rectangle 66"/>
              <p:cNvSpPr>
                <a:spLocks noChangeArrowheads="1"/>
              </p:cNvSpPr>
              <p:nvPr/>
            </p:nvSpPr>
            <p:spPr bwMode="auto">
              <a:xfrm>
                <a:off x="37539613" y="-1410176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8" name="Rectangle 67"/>
              <p:cNvSpPr>
                <a:spLocks noChangeArrowheads="1"/>
              </p:cNvSpPr>
              <p:nvPr/>
            </p:nvSpPr>
            <p:spPr bwMode="auto">
              <a:xfrm>
                <a:off x="38882638" y="-1410176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9" name="Rectangle 68"/>
              <p:cNvSpPr>
                <a:spLocks noChangeArrowheads="1"/>
              </p:cNvSpPr>
              <p:nvPr/>
            </p:nvSpPr>
            <p:spPr bwMode="auto">
              <a:xfrm>
                <a:off x="40225663" y="-14101763"/>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0" name="Rectangle 69"/>
              <p:cNvSpPr>
                <a:spLocks noChangeArrowheads="1"/>
              </p:cNvSpPr>
              <p:nvPr/>
            </p:nvSpPr>
            <p:spPr bwMode="auto">
              <a:xfrm>
                <a:off x="36196588" y="-1275873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1" name="Rectangle 70"/>
              <p:cNvSpPr>
                <a:spLocks noChangeArrowheads="1"/>
              </p:cNvSpPr>
              <p:nvPr/>
            </p:nvSpPr>
            <p:spPr bwMode="auto">
              <a:xfrm>
                <a:off x="37539613" y="-12758738"/>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2" name="Rectangle 71"/>
              <p:cNvSpPr>
                <a:spLocks noChangeArrowheads="1"/>
              </p:cNvSpPr>
              <p:nvPr/>
            </p:nvSpPr>
            <p:spPr bwMode="auto">
              <a:xfrm>
                <a:off x="38882638" y="-12758738"/>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3" name="Rectangle 72"/>
              <p:cNvSpPr>
                <a:spLocks noChangeArrowheads="1"/>
              </p:cNvSpPr>
              <p:nvPr/>
            </p:nvSpPr>
            <p:spPr bwMode="auto">
              <a:xfrm>
                <a:off x="40225663" y="-1275873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4" name="Rectangle 73"/>
              <p:cNvSpPr>
                <a:spLocks noChangeArrowheads="1"/>
              </p:cNvSpPr>
              <p:nvPr/>
            </p:nvSpPr>
            <p:spPr bwMode="auto">
              <a:xfrm>
                <a:off x="36196588" y="-1141571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5" name="Rectangle 74"/>
              <p:cNvSpPr>
                <a:spLocks noChangeArrowheads="1"/>
              </p:cNvSpPr>
              <p:nvPr/>
            </p:nvSpPr>
            <p:spPr bwMode="auto">
              <a:xfrm>
                <a:off x="37539613" y="-1141571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6" name="Rectangle 75"/>
              <p:cNvSpPr>
                <a:spLocks noChangeArrowheads="1"/>
              </p:cNvSpPr>
              <p:nvPr/>
            </p:nvSpPr>
            <p:spPr bwMode="auto">
              <a:xfrm>
                <a:off x="38882638" y="-1141571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7" name="Rectangle 76"/>
              <p:cNvSpPr>
                <a:spLocks noChangeArrowheads="1"/>
              </p:cNvSpPr>
              <p:nvPr/>
            </p:nvSpPr>
            <p:spPr bwMode="auto">
              <a:xfrm>
                <a:off x="40225663" y="-1141571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8" name="Rectangle 77"/>
              <p:cNvSpPr>
                <a:spLocks noChangeArrowheads="1"/>
              </p:cNvSpPr>
              <p:nvPr/>
            </p:nvSpPr>
            <p:spPr bwMode="auto">
              <a:xfrm>
                <a:off x="36196588" y="-12758738"/>
                <a:ext cx="776288" cy="3905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9" name="Rectangle 78"/>
              <p:cNvSpPr>
                <a:spLocks noChangeArrowheads="1"/>
              </p:cNvSpPr>
              <p:nvPr/>
            </p:nvSpPr>
            <p:spPr bwMode="auto">
              <a:xfrm>
                <a:off x="40225663" y="-12758738"/>
                <a:ext cx="776288" cy="3905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0" name="Rectangle 79"/>
              <p:cNvSpPr>
                <a:spLocks noChangeArrowheads="1"/>
              </p:cNvSpPr>
              <p:nvPr/>
            </p:nvSpPr>
            <p:spPr bwMode="auto">
              <a:xfrm>
                <a:off x="40225663" y="-14101763"/>
                <a:ext cx="776288" cy="38893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1" name="Rectangle 80"/>
              <p:cNvSpPr>
                <a:spLocks noChangeArrowheads="1"/>
              </p:cNvSpPr>
              <p:nvPr/>
            </p:nvSpPr>
            <p:spPr bwMode="auto">
              <a:xfrm>
                <a:off x="36196588" y="-18132426"/>
                <a:ext cx="776288" cy="77787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2" name="Rectangle 81"/>
              <p:cNvSpPr>
                <a:spLocks noChangeArrowheads="1"/>
              </p:cNvSpPr>
              <p:nvPr/>
            </p:nvSpPr>
            <p:spPr bwMode="auto">
              <a:xfrm>
                <a:off x="36196588" y="-18132426"/>
                <a:ext cx="776288" cy="3905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3" name="Rectangle 82"/>
              <p:cNvSpPr>
                <a:spLocks noChangeArrowheads="1"/>
              </p:cNvSpPr>
              <p:nvPr/>
            </p:nvSpPr>
            <p:spPr bwMode="auto">
              <a:xfrm>
                <a:off x="37539613" y="-18132426"/>
                <a:ext cx="776288" cy="777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4" name="Rectangle 83"/>
              <p:cNvSpPr>
                <a:spLocks noChangeArrowheads="1"/>
              </p:cNvSpPr>
              <p:nvPr/>
            </p:nvSpPr>
            <p:spPr bwMode="auto">
              <a:xfrm>
                <a:off x="38882638" y="-18132426"/>
                <a:ext cx="776288" cy="77787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5" name="Rectangle 84"/>
              <p:cNvSpPr>
                <a:spLocks noChangeArrowheads="1"/>
              </p:cNvSpPr>
              <p:nvPr/>
            </p:nvSpPr>
            <p:spPr bwMode="auto">
              <a:xfrm>
                <a:off x="40225663" y="-18132426"/>
                <a:ext cx="776288" cy="777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6" name="Rectangle 85"/>
              <p:cNvSpPr>
                <a:spLocks noChangeArrowheads="1"/>
              </p:cNvSpPr>
              <p:nvPr/>
            </p:nvSpPr>
            <p:spPr bwMode="auto">
              <a:xfrm>
                <a:off x="36196588" y="-16789401"/>
                <a:ext cx="776288" cy="77787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7" name="Rectangle 86"/>
              <p:cNvSpPr>
                <a:spLocks noChangeArrowheads="1"/>
              </p:cNvSpPr>
              <p:nvPr/>
            </p:nvSpPr>
            <p:spPr bwMode="auto">
              <a:xfrm>
                <a:off x="37539613" y="-16789401"/>
                <a:ext cx="776288" cy="777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8" name="Rectangle 87"/>
              <p:cNvSpPr>
                <a:spLocks noChangeArrowheads="1"/>
              </p:cNvSpPr>
              <p:nvPr/>
            </p:nvSpPr>
            <p:spPr bwMode="auto">
              <a:xfrm>
                <a:off x="38882638" y="-16789401"/>
                <a:ext cx="776288" cy="777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9" name="Rectangle 88"/>
              <p:cNvSpPr>
                <a:spLocks noChangeArrowheads="1"/>
              </p:cNvSpPr>
              <p:nvPr/>
            </p:nvSpPr>
            <p:spPr bwMode="auto">
              <a:xfrm>
                <a:off x="40225663" y="-16789401"/>
                <a:ext cx="776288" cy="77787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0" name="Rectangle 89"/>
              <p:cNvSpPr>
                <a:spLocks noChangeArrowheads="1"/>
              </p:cNvSpPr>
              <p:nvPr/>
            </p:nvSpPr>
            <p:spPr bwMode="auto">
              <a:xfrm>
                <a:off x="40225663" y="-16789401"/>
                <a:ext cx="776288" cy="3905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1" name="Rectangle 90"/>
              <p:cNvSpPr>
                <a:spLocks noChangeArrowheads="1"/>
              </p:cNvSpPr>
              <p:nvPr/>
            </p:nvSpPr>
            <p:spPr bwMode="auto">
              <a:xfrm>
                <a:off x="36617275" y="-19948526"/>
                <a:ext cx="708025" cy="93503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2" name="Rectangle 91"/>
              <p:cNvSpPr>
                <a:spLocks noChangeArrowheads="1"/>
              </p:cNvSpPr>
              <p:nvPr/>
            </p:nvSpPr>
            <p:spPr bwMode="auto">
              <a:xfrm>
                <a:off x="37572950" y="-19948526"/>
                <a:ext cx="709613" cy="93503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3" name="Rectangle 92"/>
              <p:cNvSpPr>
                <a:spLocks noChangeArrowheads="1"/>
              </p:cNvSpPr>
              <p:nvPr/>
            </p:nvSpPr>
            <p:spPr bwMode="auto">
              <a:xfrm>
                <a:off x="33862963" y="-9032876"/>
                <a:ext cx="2232025" cy="385763"/>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4" name="Rectangle 93"/>
              <p:cNvSpPr>
                <a:spLocks noChangeArrowheads="1"/>
              </p:cNvSpPr>
              <p:nvPr/>
            </p:nvSpPr>
            <p:spPr bwMode="auto">
              <a:xfrm>
                <a:off x="40225663" y="-9032876"/>
                <a:ext cx="3236913" cy="385763"/>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98" name="Group 97"/>
            <p:cNvGrpSpPr/>
            <p:nvPr/>
          </p:nvGrpSpPr>
          <p:grpSpPr>
            <a:xfrm>
              <a:off x="8228030" y="6287431"/>
              <a:ext cx="546063" cy="681825"/>
              <a:chOff x="3487336" y="6247475"/>
              <a:chExt cx="546063" cy="681825"/>
            </a:xfrm>
          </p:grpSpPr>
          <p:sp>
            <p:nvSpPr>
              <p:cNvPr id="99"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3"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85"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86"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90"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91"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spTree>
    <p:extLst>
      <p:ext uri="{BB962C8B-B14F-4D97-AF65-F5344CB8AC3E}">
        <p14:creationId xmlns:p14="http://schemas.microsoft.com/office/powerpoint/2010/main" val="2309428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750"/>
                                        <p:tgtEl>
                                          <p:spTgt spid="10"/>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487"/>
            <a:ext cx="12192000" cy="403391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Freeform 9"/>
          <p:cNvSpPr>
            <a:spLocks/>
          </p:cNvSpPr>
          <p:nvPr/>
        </p:nvSpPr>
        <p:spPr bwMode="auto">
          <a:xfrm>
            <a:off x="1140600" y="403697"/>
            <a:ext cx="10689823" cy="5067699"/>
          </a:xfrm>
          <a:custGeom>
            <a:avLst/>
            <a:gdLst>
              <a:gd name="T0" fmla="*/ 8083 w 8098"/>
              <a:gd name="T1" fmla="*/ 2604 h 3839"/>
              <a:gd name="T2" fmla="*/ 8043 w 8098"/>
              <a:gd name="T3" fmla="*/ 2414 h 3839"/>
              <a:gd name="T4" fmla="*/ 7975 w 8098"/>
              <a:gd name="T5" fmla="*/ 2234 h 3839"/>
              <a:gd name="T6" fmla="*/ 7882 w 8098"/>
              <a:gd name="T7" fmla="*/ 2064 h 3839"/>
              <a:gd name="T8" fmla="*/ 7771 w 8098"/>
              <a:gd name="T9" fmla="*/ 1905 h 3839"/>
              <a:gd name="T10" fmla="*/ 7641 w 8098"/>
              <a:gd name="T11" fmla="*/ 1771 h 3839"/>
              <a:gd name="T12" fmla="*/ 7490 w 8098"/>
              <a:gd name="T13" fmla="*/ 1652 h 3839"/>
              <a:gd name="T14" fmla="*/ 7327 w 8098"/>
              <a:gd name="T15" fmla="*/ 1560 h 3839"/>
              <a:gd name="T16" fmla="*/ 7303 w 8098"/>
              <a:gd name="T17" fmla="*/ 1543 h 3839"/>
              <a:gd name="T18" fmla="*/ 7301 w 8098"/>
              <a:gd name="T19" fmla="*/ 1449 h 3839"/>
              <a:gd name="T20" fmla="*/ 7284 w 8098"/>
              <a:gd name="T21" fmla="*/ 1354 h 3839"/>
              <a:gd name="T22" fmla="*/ 7261 w 8098"/>
              <a:gd name="T23" fmla="*/ 1264 h 3839"/>
              <a:gd name="T24" fmla="*/ 7230 w 8098"/>
              <a:gd name="T25" fmla="*/ 1179 h 3839"/>
              <a:gd name="T26" fmla="*/ 7192 w 8098"/>
              <a:gd name="T27" fmla="*/ 1096 h 3839"/>
              <a:gd name="T28" fmla="*/ 7145 w 8098"/>
              <a:gd name="T29" fmla="*/ 1018 h 3839"/>
              <a:gd name="T30" fmla="*/ 7093 w 8098"/>
              <a:gd name="T31" fmla="*/ 945 h 3839"/>
              <a:gd name="T32" fmla="*/ 7036 w 8098"/>
              <a:gd name="T33" fmla="*/ 878 h 3839"/>
              <a:gd name="T34" fmla="*/ 6970 w 8098"/>
              <a:gd name="T35" fmla="*/ 819 h 3839"/>
              <a:gd name="T36" fmla="*/ 6901 w 8098"/>
              <a:gd name="T37" fmla="*/ 765 h 3839"/>
              <a:gd name="T38" fmla="*/ 6828 w 8098"/>
              <a:gd name="T39" fmla="*/ 717 h 3839"/>
              <a:gd name="T40" fmla="*/ 6750 w 8098"/>
              <a:gd name="T41" fmla="*/ 680 h 3839"/>
              <a:gd name="T42" fmla="*/ 6665 w 8098"/>
              <a:gd name="T43" fmla="*/ 649 h 3839"/>
              <a:gd name="T44" fmla="*/ 6582 w 8098"/>
              <a:gd name="T45" fmla="*/ 625 h 3839"/>
              <a:gd name="T46" fmla="*/ 6492 w 8098"/>
              <a:gd name="T47" fmla="*/ 609 h 3839"/>
              <a:gd name="T48" fmla="*/ 6400 w 8098"/>
              <a:gd name="T49" fmla="*/ 606 h 3839"/>
              <a:gd name="T50" fmla="*/ 6258 w 8098"/>
              <a:gd name="T51" fmla="*/ 616 h 3839"/>
              <a:gd name="T52" fmla="*/ 6123 w 8098"/>
              <a:gd name="T53" fmla="*/ 651 h 3839"/>
              <a:gd name="T54" fmla="*/ 6000 w 8098"/>
              <a:gd name="T55" fmla="*/ 706 h 3839"/>
              <a:gd name="T56" fmla="*/ 5880 w 8098"/>
              <a:gd name="T57" fmla="*/ 777 h 3839"/>
              <a:gd name="T58" fmla="*/ 5771 w 8098"/>
              <a:gd name="T59" fmla="*/ 613 h 3839"/>
              <a:gd name="T60" fmla="*/ 5643 w 8098"/>
              <a:gd name="T61" fmla="*/ 462 h 3839"/>
              <a:gd name="T62" fmla="*/ 5497 w 8098"/>
              <a:gd name="T63" fmla="*/ 327 h 3839"/>
              <a:gd name="T64" fmla="*/ 5338 w 8098"/>
              <a:gd name="T65" fmla="*/ 216 h 3839"/>
              <a:gd name="T66" fmla="*/ 5166 w 8098"/>
              <a:gd name="T67" fmla="*/ 126 h 3839"/>
              <a:gd name="T68" fmla="*/ 4977 w 8098"/>
              <a:gd name="T69" fmla="*/ 57 h 3839"/>
              <a:gd name="T70" fmla="*/ 4785 w 8098"/>
              <a:gd name="T71" fmla="*/ 17 h 3839"/>
              <a:gd name="T72" fmla="*/ 4580 w 8098"/>
              <a:gd name="T73" fmla="*/ 0 h 3839"/>
              <a:gd name="T74" fmla="*/ 4424 w 8098"/>
              <a:gd name="T75" fmla="*/ 12 h 3839"/>
              <a:gd name="T76" fmla="*/ 4275 w 8098"/>
              <a:gd name="T77" fmla="*/ 33 h 3839"/>
              <a:gd name="T78" fmla="*/ 4128 w 8098"/>
              <a:gd name="T79" fmla="*/ 74 h 3839"/>
              <a:gd name="T80" fmla="*/ 3989 w 8098"/>
              <a:gd name="T81" fmla="*/ 130 h 3839"/>
              <a:gd name="T82" fmla="*/ 3894 w 8098"/>
              <a:gd name="T83" fmla="*/ 173 h 3839"/>
              <a:gd name="T84" fmla="*/ 0 w 8098"/>
              <a:gd name="T85" fmla="*/ 2455 h 3839"/>
              <a:gd name="T86" fmla="*/ 3156 w 8098"/>
              <a:gd name="T87" fmla="*/ 3825 h 3839"/>
              <a:gd name="T88" fmla="*/ 3237 w 8098"/>
              <a:gd name="T89" fmla="*/ 3832 h 3839"/>
              <a:gd name="T90" fmla="*/ 3303 w 8098"/>
              <a:gd name="T91" fmla="*/ 3839 h 3839"/>
              <a:gd name="T92" fmla="*/ 3355 w 8098"/>
              <a:gd name="T93" fmla="*/ 3837 h 3839"/>
              <a:gd name="T94" fmla="*/ 7034 w 8098"/>
              <a:gd name="T95" fmla="*/ 3820 h 3839"/>
              <a:gd name="T96" fmla="*/ 7268 w 8098"/>
              <a:gd name="T97" fmla="*/ 3770 h 3839"/>
              <a:gd name="T98" fmla="*/ 7428 w 8098"/>
              <a:gd name="T99" fmla="*/ 3718 h 3839"/>
              <a:gd name="T100" fmla="*/ 7533 w 8098"/>
              <a:gd name="T101" fmla="*/ 3676 h 3839"/>
              <a:gd name="T102" fmla="*/ 7625 w 8098"/>
              <a:gd name="T103" fmla="*/ 3626 h 3839"/>
              <a:gd name="T104" fmla="*/ 7715 w 8098"/>
              <a:gd name="T105" fmla="*/ 3569 h 3839"/>
              <a:gd name="T106" fmla="*/ 7793 w 8098"/>
              <a:gd name="T107" fmla="*/ 3508 h 3839"/>
              <a:gd name="T108" fmla="*/ 7863 w 8098"/>
              <a:gd name="T109" fmla="*/ 3439 h 3839"/>
              <a:gd name="T110" fmla="*/ 7930 w 8098"/>
              <a:gd name="T111" fmla="*/ 3363 h 3839"/>
              <a:gd name="T112" fmla="*/ 7984 w 8098"/>
              <a:gd name="T113" fmla="*/ 3276 h 3839"/>
              <a:gd name="T114" fmla="*/ 8027 w 8098"/>
              <a:gd name="T115" fmla="*/ 3186 h 3839"/>
              <a:gd name="T116" fmla="*/ 8060 w 8098"/>
              <a:gd name="T117" fmla="*/ 3086 h 3839"/>
              <a:gd name="T118" fmla="*/ 8086 w 8098"/>
              <a:gd name="T119" fmla="*/ 2978 h 3839"/>
              <a:gd name="T120" fmla="*/ 8098 w 8098"/>
              <a:gd name="T121" fmla="*/ 2859 h 3839"/>
              <a:gd name="T122" fmla="*/ 8095 w 8098"/>
              <a:gd name="T123" fmla="*/ 2701 h 3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98" h="3839">
                <a:moveTo>
                  <a:pt x="8095" y="2701"/>
                </a:moveTo>
                <a:lnTo>
                  <a:pt x="8083" y="2604"/>
                </a:lnTo>
                <a:lnTo>
                  <a:pt x="8067" y="2507"/>
                </a:lnTo>
                <a:lnTo>
                  <a:pt x="8043" y="2414"/>
                </a:lnTo>
                <a:lnTo>
                  <a:pt x="8010" y="2322"/>
                </a:lnTo>
                <a:lnTo>
                  <a:pt x="7975" y="2234"/>
                </a:lnTo>
                <a:lnTo>
                  <a:pt x="7932" y="2144"/>
                </a:lnTo>
                <a:lnTo>
                  <a:pt x="7882" y="2064"/>
                </a:lnTo>
                <a:lnTo>
                  <a:pt x="7830" y="1984"/>
                </a:lnTo>
                <a:lnTo>
                  <a:pt x="7771" y="1905"/>
                </a:lnTo>
                <a:lnTo>
                  <a:pt x="7710" y="1837"/>
                </a:lnTo>
                <a:lnTo>
                  <a:pt x="7641" y="1771"/>
                </a:lnTo>
                <a:lnTo>
                  <a:pt x="7566" y="1709"/>
                </a:lnTo>
                <a:lnTo>
                  <a:pt x="7490" y="1652"/>
                </a:lnTo>
                <a:lnTo>
                  <a:pt x="7410" y="1603"/>
                </a:lnTo>
                <a:lnTo>
                  <a:pt x="7327" y="1560"/>
                </a:lnTo>
                <a:lnTo>
                  <a:pt x="7313" y="1553"/>
                </a:lnTo>
                <a:lnTo>
                  <a:pt x="7303" y="1543"/>
                </a:lnTo>
                <a:lnTo>
                  <a:pt x="7303" y="1494"/>
                </a:lnTo>
                <a:lnTo>
                  <a:pt x="7301" y="1449"/>
                </a:lnTo>
                <a:lnTo>
                  <a:pt x="7291" y="1401"/>
                </a:lnTo>
                <a:lnTo>
                  <a:pt x="7284" y="1354"/>
                </a:lnTo>
                <a:lnTo>
                  <a:pt x="7272" y="1309"/>
                </a:lnTo>
                <a:lnTo>
                  <a:pt x="7261" y="1264"/>
                </a:lnTo>
                <a:lnTo>
                  <a:pt x="7249" y="1221"/>
                </a:lnTo>
                <a:lnTo>
                  <a:pt x="7230" y="1179"/>
                </a:lnTo>
                <a:lnTo>
                  <a:pt x="7211" y="1136"/>
                </a:lnTo>
                <a:lnTo>
                  <a:pt x="7192" y="1096"/>
                </a:lnTo>
                <a:lnTo>
                  <a:pt x="7171" y="1056"/>
                </a:lnTo>
                <a:lnTo>
                  <a:pt x="7145" y="1018"/>
                </a:lnTo>
                <a:lnTo>
                  <a:pt x="7121" y="980"/>
                </a:lnTo>
                <a:lnTo>
                  <a:pt x="7093" y="945"/>
                </a:lnTo>
                <a:lnTo>
                  <a:pt x="7064" y="911"/>
                </a:lnTo>
                <a:lnTo>
                  <a:pt x="7036" y="878"/>
                </a:lnTo>
                <a:lnTo>
                  <a:pt x="7005" y="850"/>
                </a:lnTo>
                <a:lnTo>
                  <a:pt x="6970" y="819"/>
                </a:lnTo>
                <a:lnTo>
                  <a:pt x="6937" y="791"/>
                </a:lnTo>
                <a:lnTo>
                  <a:pt x="6901" y="765"/>
                </a:lnTo>
                <a:lnTo>
                  <a:pt x="6866" y="741"/>
                </a:lnTo>
                <a:lnTo>
                  <a:pt x="6828" y="717"/>
                </a:lnTo>
                <a:lnTo>
                  <a:pt x="6790" y="698"/>
                </a:lnTo>
                <a:lnTo>
                  <a:pt x="6750" y="680"/>
                </a:lnTo>
                <a:lnTo>
                  <a:pt x="6710" y="663"/>
                </a:lnTo>
                <a:lnTo>
                  <a:pt x="6665" y="649"/>
                </a:lnTo>
                <a:lnTo>
                  <a:pt x="6625" y="637"/>
                </a:lnTo>
                <a:lnTo>
                  <a:pt x="6582" y="625"/>
                </a:lnTo>
                <a:lnTo>
                  <a:pt x="6537" y="616"/>
                </a:lnTo>
                <a:lnTo>
                  <a:pt x="6492" y="609"/>
                </a:lnTo>
                <a:lnTo>
                  <a:pt x="6447" y="606"/>
                </a:lnTo>
                <a:lnTo>
                  <a:pt x="6400" y="606"/>
                </a:lnTo>
                <a:lnTo>
                  <a:pt x="6329" y="609"/>
                </a:lnTo>
                <a:lnTo>
                  <a:pt x="6258" y="616"/>
                </a:lnTo>
                <a:lnTo>
                  <a:pt x="6190" y="632"/>
                </a:lnTo>
                <a:lnTo>
                  <a:pt x="6123" y="651"/>
                </a:lnTo>
                <a:lnTo>
                  <a:pt x="6062" y="675"/>
                </a:lnTo>
                <a:lnTo>
                  <a:pt x="6000" y="706"/>
                </a:lnTo>
                <a:lnTo>
                  <a:pt x="5939" y="741"/>
                </a:lnTo>
                <a:lnTo>
                  <a:pt x="5880" y="777"/>
                </a:lnTo>
                <a:lnTo>
                  <a:pt x="5830" y="691"/>
                </a:lnTo>
                <a:lnTo>
                  <a:pt x="5771" y="613"/>
                </a:lnTo>
                <a:lnTo>
                  <a:pt x="5710" y="533"/>
                </a:lnTo>
                <a:lnTo>
                  <a:pt x="5643" y="462"/>
                </a:lnTo>
                <a:lnTo>
                  <a:pt x="5573" y="393"/>
                </a:lnTo>
                <a:lnTo>
                  <a:pt x="5497" y="327"/>
                </a:lnTo>
                <a:lnTo>
                  <a:pt x="5421" y="270"/>
                </a:lnTo>
                <a:lnTo>
                  <a:pt x="5338" y="216"/>
                </a:lnTo>
                <a:lnTo>
                  <a:pt x="5251" y="168"/>
                </a:lnTo>
                <a:lnTo>
                  <a:pt x="5166" y="126"/>
                </a:lnTo>
                <a:lnTo>
                  <a:pt x="5074" y="90"/>
                </a:lnTo>
                <a:lnTo>
                  <a:pt x="4977" y="57"/>
                </a:lnTo>
                <a:lnTo>
                  <a:pt x="4882" y="33"/>
                </a:lnTo>
                <a:lnTo>
                  <a:pt x="4785" y="17"/>
                </a:lnTo>
                <a:lnTo>
                  <a:pt x="4681" y="5"/>
                </a:lnTo>
                <a:lnTo>
                  <a:pt x="4580" y="0"/>
                </a:lnTo>
                <a:lnTo>
                  <a:pt x="4502" y="5"/>
                </a:lnTo>
                <a:lnTo>
                  <a:pt x="4424" y="12"/>
                </a:lnTo>
                <a:lnTo>
                  <a:pt x="4348" y="22"/>
                </a:lnTo>
                <a:lnTo>
                  <a:pt x="4275" y="33"/>
                </a:lnTo>
                <a:lnTo>
                  <a:pt x="4199" y="55"/>
                </a:lnTo>
                <a:lnTo>
                  <a:pt x="4128" y="74"/>
                </a:lnTo>
                <a:lnTo>
                  <a:pt x="4057" y="100"/>
                </a:lnTo>
                <a:lnTo>
                  <a:pt x="3989" y="130"/>
                </a:lnTo>
                <a:lnTo>
                  <a:pt x="3920" y="159"/>
                </a:lnTo>
                <a:lnTo>
                  <a:pt x="3894" y="173"/>
                </a:lnTo>
                <a:lnTo>
                  <a:pt x="3894" y="171"/>
                </a:lnTo>
                <a:lnTo>
                  <a:pt x="0" y="2455"/>
                </a:lnTo>
                <a:lnTo>
                  <a:pt x="1612" y="3661"/>
                </a:lnTo>
                <a:lnTo>
                  <a:pt x="3156" y="3825"/>
                </a:lnTo>
                <a:lnTo>
                  <a:pt x="3178" y="3827"/>
                </a:lnTo>
                <a:lnTo>
                  <a:pt x="3237" y="3832"/>
                </a:lnTo>
                <a:lnTo>
                  <a:pt x="3249" y="3834"/>
                </a:lnTo>
                <a:lnTo>
                  <a:pt x="3303" y="3839"/>
                </a:lnTo>
                <a:lnTo>
                  <a:pt x="3303" y="3837"/>
                </a:lnTo>
                <a:lnTo>
                  <a:pt x="3355" y="3837"/>
                </a:lnTo>
                <a:lnTo>
                  <a:pt x="6908" y="3837"/>
                </a:lnTo>
                <a:lnTo>
                  <a:pt x="7034" y="3820"/>
                </a:lnTo>
                <a:lnTo>
                  <a:pt x="7152" y="3796"/>
                </a:lnTo>
                <a:lnTo>
                  <a:pt x="7268" y="3770"/>
                </a:lnTo>
                <a:lnTo>
                  <a:pt x="7376" y="3737"/>
                </a:lnTo>
                <a:lnTo>
                  <a:pt x="7428" y="3718"/>
                </a:lnTo>
                <a:lnTo>
                  <a:pt x="7480" y="3697"/>
                </a:lnTo>
                <a:lnTo>
                  <a:pt x="7533" y="3676"/>
                </a:lnTo>
                <a:lnTo>
                  <a:pt x="7577" y="3652"/>
                </a:lnTo>
                <a:lnTo>
                  <a:pt x="7625" y="3626"/>
                </a:lnTo>
                <a:lnTo>
                  <a:pt x="7672" y="3600"/>
                </a:lnTo>
                <a:lnTo>
                  <a:pt x="7715" y="3569"/>
                </a:lnTo>
                <a:lnTo>
                  <a:pt x="7755" y="3541"/>
                </a:lnTo>
                <a:lnTo>
                  <a:pt x="7793" y="3508"/>
                </a:lnTo>
                <a:lnTo>
                  <a:pt x="7830" y="3475"/>
                </a:lnTo>
                <a:lnTo>
                  <a:pt x="7863" y="3439"/>
                </a:lnTo>
                <a:lnTo>
                  <a:pt x="7899" y="3401"/>
                </a:lnTo>
                <a:lnTo>
                  <a:pt x="7930" y="3363"/>
                </a:lnTo>
                <a:lnTo>
                  <a:pt x="7958" y="3321"/>
                </a:lnTo>
                <a:lnTo>
                  <a:pt x="7984" y="3276"/>
                </a:lnTo>
                <a:lnTo>
                  <a:pt x="8008" y="3231"/>
                </a:lnTo>
                <a:lnTo>
                  <a:pt x="8027" y="3186"/>
                </a:lnTo>
                <a:lnTo>
                  <a:pt x="8046" y="3136"/>
                </a:lnTo>
                <a:lnTo>
                  <a:pt x="8060" y="3086"/>
                </a:lnTo>
                <a:lnTo>
                  <a:pt x="8074" y="3034"/>
                </a:lnTo>
                <a:lnTo>
                  <a:pt x="8086" y="2978"/>
                </a:lnTo>
                <a:lnTo>
                  <a:pt x="8093" y="2918"/>
                </a:lnTo>
                <a:lnTo>
                  <a:pt x="8098" y="2859"/>
                </a:lnTo>
                <a:lnTo>
                  <a:pt x="8098" y="2798"/>
                </a:lnTo>
                <a:lnTo>
                  <a:pt x="8095" y="2701"/>
                </a:lnTo>
                <a:close/>
              </a:path>
            </a:pathLst>
          </a:custGeom>
          <a:gradFill>
            <a:gsLst>
              <a:gs pos="86000">
                <a:schemeClr val="bg1">
                  <a:alpha val="20000"/>
                </a:schemeClr>
              </a:gs>
              <a:gs pos="0">
                <a:schemeClr val="accent1">
                  <a:alpha val="59000"/>
                </a:schemeClr>
              </a:gs>
            </a:gsLst>
            <a:lin ang="0" scaled="0"/>
          </a:gra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3" name="Freeform 5"/>
          <p:cNvSpPr>
            <a:spLocks/>
          </p:cNvSpPr>
          <p:nvPr/>
        </p:nvSpPr>
        <p:spPr bwMode="auto">
          <a:xfrm>
            <a:off x="4066709" y="403698"/>
            <a:ext cx="7768598" cy="5045095"/>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noFill/>
          <a:ln w="57150" cap="rnd">
            <a:solidFill>
              <a:srgbClr val="005695"/>
            </a:solidFill>
            <a:prstDash val="sysDot"/>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sp>
        <p:nvSpPr>
          <p:cNvPr id="4" name="Text Placeholder 3"/>
          <p:cNvSpPr>
            <a:spLocks noGrp="1"/>
          </p:cNvSpPr>
          <p:nvPr>
            <p:ph type="body" sz="quarter" idx="13"/>
          </p:nvPr>
        </p:nvSpPr>
        <p:spPr>
          <a:xfrm>
            <a:off x="269240" y="337787"/>
            <a:ext cx="10757098" cy="1004541"/>
          </a:xfrm>
        </p:spPr>
        <p:txBody>
          <a:bodyPr/>
          <a:lstStyle/>
          <a:p>
            <a:r>
              <a:rPr lang="en-US" dirty="0" smtClean="0">
                <a:solidFill>
                  <a:schemeClr val="bg1"/>
                </a:solidFill>
              </a:rPr>
              <a:t>Transform the </a:t>
            </a:r>
            <a:r>
              <a:rPr lang="en-US" dirty="0">
                <a:solidFill>
                  <a:schemeClr val="bg1"/>
                </a:solidFill>
              </a:rPr>
              <a:t>datacenter</a:t>
            </a:r>
          </a:p>
        </p:txBody>
      </p:sp>
      <p:grpSp>
        <p:nvGrpSpPr>
          <p:cNvPr id="26" name="Group 25"/>
          <p:cNvGrpSpPr/>
          <p:nvPr/>
        </p:nvGrpSpPr>
        <p:grpSpPr>
          <a:xfrm>
            <a:off x="5090119" y="2484093"/>
            <a:ext cx="2060879" cy="1499711"/>
            <a:chOff x="5036089" y="2433199"/>
            <a:chExt cx="2102204" cy="1529783"/>
          </a:xfrm>
        </p:grpSpPr>
        <p:sp>
          <p:nvSpPr>
            <p:cNvPr id="75" name="TextBox 74"/>
            <p:cNvSpPr txBox="1"/>
            <p:nvPr/>
          </p:nvSpPr>
          <p:spPr>
            <a:xfrm>
              <a:off x="5036089" y="3285274"/>
              <a:ext cx="2102204" cy="677708"/>
            </a:xfrm>
            <a:prstGeom prst="rect">
              <a:avLst/>
            </a:prstGeom>
            <a:noFill/>
          </p:spPr>
          <p:txBody>
            <a:bodyPr wrap="none" lIns="179285" tIns="143428" rIns="179285" bIns="143428" rtlCol="0">
              <a:noAutofit/>
            </a:bodyPr>
            <a:lstStyle/>
            <a:p>
              <a:pPr algn="ctr" defTabSz="914367">
                <a:lnSpc>
                  <a:spcPct val="90000"/>
                </a:lnSpc>
                <a:spcAft>
                  <a:spcPts val="588"/>
                </a:spcAft>
              </a:pPr>
              <a:r>
                <a:rPr lang="en-US" sz="1961" dirty="0">
                  <a:solidFill>
                    <a:srgbClr val="FFFFFF"/>
                  </a:solidFill>
                  <a:latin typeface="Segoe UI Light"/>
                </a:rPr>
                <a:t>Storage</a:t>
              </a:r>
            </a:p>
          </p:txBody>
        </p:sp>
        <p:sp>
          <p:nvSpPr>
            <p:cNvPr id="25" name="Flowchart: Magnetic Disk 86"/>
            <p:cNvSpPr/>
            <p:nvPr/>
          </p:nvSpPr>
          <p:spPr bwMode="auto">
            <a:xfrm>
              <a:off x="5714919" y="2433199"/>
              <a:ext cx="744543" cy="894589"/>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p:cNvGrpSpPr/>
          <p:nvPr/>
        </p:nvGrpSpPr>
        <p:grpSpPr>
          <a:xfrm>
            <a:off x="8952835" y="2411648"/>
            <a:ext cx="2060879" cy="1572155"/>
            <a:chOff x="9307721" y="2359302"/>
            <a:chExt cx="2102204" cy="1603680"/>
          </a:xfrm>
        </p:grpSpPr>
        <p:sp>
          <p:nvSpPr>
            <p:cNvPr id="31" name="TextBox 30"/>
            <p:cNvSpPr txBox="1"/>
            <p:nvPr/>
          </p:nvSpPr>
          <p:spPr>
            <a:xfrm>
              <a:off x="9307721" y="3285274"/>
              <a:ext cx="2102204" cy="677708"/>
            </a:xfrm>
            <a:prstGeom prst="rect">
              <a:avLst/>
            </a:prstGeom>
            <a:noFill/>
          </p:spPr>
          <p:txBody>
            <a:bodyPr wrap="none" lIns="179285" tIns="143428" rIns="179285" bIns="143428" rtlCol="0">
              <a:noAutofit/>
            </a:bodyPr>
            <a:lstStyle/>
            <a:p>
              <a:pPr algn="ctr" defTabSz="914367">
                <a:lnSpc>
                  <a:spcPct val="90000"/>
                </a:lnSpc>
                <a:spcAft>
                  <a:spcPts val="588"/>
                </a:spcAft>
              </a:pPr>
              <a:r>
                <a:rPr lang="en-US" sz="1961" dirty="0">
                  <a:solidFill>
                    <a:srgbClr val="FFFFFF"/>
                  </a:solidFill>
                  <a:latin typeface="Segoe UI Light"/>
                </a:rPr>
                <a:t>Compute</a:t>
              </a:r>
            </a:p>
          </p:txBody>
        </p:sp>
        <p:grpSp>
          <p:nvGrpSpPr>
            <p:cNvPr id="32" name="Group 31"/>
            <p:cNvGrpSpPr/>
            <p:nvPr/>
          </p:nvGrpSpPr>
          <p:grpSpPr>
            <a:xfrm>
              <a:off x="9887486" y="2359302"/>
              <a:ext cx="942675" cy="942541"/>
              <a:chOff x="9501982" y="3668713"/>
              <a:chExt cx="444500" cy="444500"/>
            </a:xfrm>
            <a:solidFill>
              <a:srgbClr val="00BCF2"/>
            </a:solidFill>
          </p:grpSpPr>
          <p:sp>
            <p:nvSpPr>
              <p:cNvPr id="34" name="Freeform 10"/>
              <p:cNvSpPr>
                <a:spLocks noEditPoints="1"/>
              </p:cNvSpPr>
              <p:nvPr/>
            </p:nvSpPr>
            <p:spPr bwMode="auto">
              <a:xfrm>
                <a:off x="9501982" y="3668713"/>
                <a:ext cx="444500" cy="444500"/>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078" dirty="0">
                  <a:solidFill>
                    <a:srgbClr val="000000"/>
                  </a:solidFill>
                </a:endParaRPr>
              </a:p>
            </p:txBody>
          </p:sp>
          <p:sp>
            <p:nvSpPr>
              <p:cNvPr id="35" name="Rectangle 11"/>
              <p:cNvSpPr>
                <a:spLocks noChangeArrowheads="1"/>
              </p:cNvSpPr>
              <p:nvPr/>
            </p:nvSpPr>
            <p:spPr bwMode="auto">
              <a:xfrm>
                <a:off x="9625807" y="3792538"/>
                <a:ext cx="200025" cy="2000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078" dirty="0">
                  <a:solidFill>
                    <a:srgbClr val="000000"/>
                  </a:solidFill>
                </a:endParaRPr>
              </a:p>
            </p:txBody>
          </p:sp>
        </p:grpSp>
      </p:grpSp>
      <p:grpSp>
        <p:nvGrpSpPr>
          <p:cNvPr id="24" name="Group 23"/>
          <p:cNvGrpSpPr/>
          <p:nvPr/>
        </p:nvGrpSpPr>
        <p:grpSpPr>
          <a:xfrm>
            <a:off x="7089234" y="2394209"/>
            <a:ext cx="2060879" cy="1589594"/>
            <a:chOff x="6984015" y="2341513"/>
            <a:chExt cx="2102204" cy="1621469"/>
          </a:xfrm>
        </p:grpSpPr>
        <p:sp>
          <p:nvSpPr>
            <p:cNvPr id="30" name="TextBox 29"/>
            <p:cNvSpPr txBox="1"/>
            <p:nvPr/>
          </p:nvSpPr>
          <p:spPr>
            <a:xfrm>
              <a:off x="6984015" y="3285274"/>
              <a:ext cx="2102204" cy="677708"/>
            </a:xfrm>
            <a:prstGeom prst="rect">
              <a:avLst/>
            </a:prstGeom>
            <a:noFill/>
          </p:spPr>
          <p:txBody>
            <a:bodyPr wrap="none" lIns="179285" tIns="143428" rIns="179285" bIns="143428" rtlCol="0">
              <a:noAutofit/>
            </a:bodyPr>
            <a:lstStyle/>
            <a:p>
              <a:pPr algn="ctr" defTabSz="914367">
                <a:lnSpc>
                  <a:spcPct val="90000"/>
                </a:lnSpc>
                <a:spcAft>
                  <a:spcPts val="588"/>
                </a:spcAft>
              </a:pPr>
              <a:r>
                <a:rPr lang="en-US" sz="1961" dirty="0">
                  <a:solidFill>
                    <a:srgbClr val="FFFFFF"/>
                  </a:solidFill>
                  <a:latin typeface="Segoe UI Light"/>
                </a:rPr>
                <a:t>Network</a:t>
              </a:r>
            </a:p>
          </p:txBody>
        </p:sp>
        <p:grpSp>
          <p:nvGrpSpPr>
            <p:cNvPr id="36" name="Group 35"/>
            <p:cNvGrpSpPr/>
            <p:nvPr/>
          </p:nvGrpSpPr>
          <p:grpSpPr>
            <a:xfrm>
              <a:off x="7575085" y="2341513"/>
              <a:ext cx="917276" cy="921526"/>
              <a:chOff x="12491246" y="2816102"/>
              <a:chExt cx="1745830" cy="1754162"/>
            </a:xfrm>
            <a:solidFill>
              <a:srgbClr val="00BCF2"/>
            </a:solidFill>
          </p:grpSpPr>
          <p:sp>
            <p:nvSpPr>
              <p:cNvPr id="37" name="Rectangle 36"/>
              <p:cNvSpPr/>
              <p:nvPr/>
            </p:nvSpPr>
            <p:spPr bwMode="auto">
              <a:xfrm>
                <a:off x="12689121" y="3330928"/>
                <a:ext cx="122893" cy="10327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13301845" y="3872140"/>
                <a:ext cx="122893" cy="4752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rot="5400000">
                <a:off x="12900537" y="3485238"/>
                <a:ext cx="122893" cy="4124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rot="5400000">
                <a:off x="13175552" y="3765667"/>
                <a:ext cx="122893" cy="10732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41" name="Oval 40"/>
              <p:cNvSpPr/>
              <p:nvPr/>
            </p:nvSpPr>
            <p:spPr bwMode="auto">
              <a:xfrm>
                <a:off x="12616815" y="3560445"/>
                <a:ext cx="260985" cy="2628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42" name="Oval 41"/>
              <p:cNvSpPr/>
              <p:nvPr/>
            </p:nvSpPr>
            <p:spPr bwMode="auto">
              <a:xfrm>
                <a:off x="13232130" y="4177665"/>
                <a:ext cx="260985" cy="2628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2491246" y="2816102"/>
                <a:ext cx="518646" cy="5186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13101888" y="3435817"/>
                <a:ext cx="518646" cy="5186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13718430" y="4051618"/>
                <a:ext cx="518646" cy="5186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372"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 name="Group 4"/>
          <p:cNvGrpSpPr/>
          <p:nvPr/>
        </p:nvGrpSpPr>
        <p:grpSpPr>
          <a:xfrm>
            <a:off x="-290752" y="3647969"/>
            <a:ext cx="4841973" cy="2226638"/>
            <a:chOff x="8119740" y="4752724"/>
            <a:chExt cx="3657600" cy="1681991"/>
          </a:xfrm>
        </p:grpSpPr>
        <p:grpSp>
          <p:nvGrpSpPr>
            <p:cNvPr id="3" name="Group 2"/>
            <p:cNvGrpSpPr/>
            <p:nvPr/>
          </p:nvGrpSpPr>
          <p:grpSpPr>
            <a:xfrm>
              <a:off x="9101520" y="4752724"/>
              <a:ext cx="1721211" cy="1273251"/>
              <a:chOff x="8591486" y="4752724"/>
              <a:chExt cx="1721211" cy="1273251"/>
            </a:xfrm>
          </p:grpSpPr>
          <p:grpSp>
            <p:nvGrpSpPr>
              <p:cNvPr id="54" name="Group 53"/>
              <p:cNvGrpSpPr/>
              <p:nvPr/>
            </p:nvGrpSpPr>
            <p:grpSpPr>
              <a:xfrm>
                <a:off x="8591486" y="4752724"/>
                <a:ext cx="1721211" cy="1273251"/>
                <a:chOff x="9541081" y="5254171"/>
                <a:chExt cx="1721211" cy="1273251"/>
              </a:xfrm>
              <a:solidFill>
                <a:schemeClr val="accent1">
                  <a:lumMod val="75000"/>
                </a:schemeClr>
              </a:solidFill>
            </p:grpSpPr>
            <p:sp>
              <p:nvSpPr>
                <p:cNvPr id="55" name="Oval 7"/>
                <p:cNvSpPr>
                  <a:spLocks noChangeArrowheads="1"/>
                </p:cNvSpPr>
                <p:nvPr/>
              </p:nvSpPr>
              <p:spPr bwMode="auto">
                <a:xfrm>
                  <a:off x="10046663" y="6375004"/>
                  <a:ext cx="710046" cy="152418"/>
                </a:xfrm>
                <a:prstGeom prst="ellipse">
                  <a:avLst/>
                </a:prstGeom>
                <a:solidFill>
                  <a:srgbClr val="003963"/>
                </a:solidFill>
                <a:ln>
                  <a:noFill/>
                </a:ln>
              </p:spPr>
              <p:txBody>
                <a:bodyPr/>
                <a:lstStyle/>
                <a:p>
                  <a:pPr defTabSz="914314">
                    <a:defRPr/>
                  </a:pPr>
                  <a:endParaRPr lang="en-US" sz="1961">
                    <a:solidFill>
                      <a:srgbClr val="000000"/>
                    </a:solidFill>
                  </a:endParaRPr>
                </a:p>
              </p:txBody>
            </p:sp>
            <p:sp>
              <p:nvSpPr>
                <p:cNvPr id="56" name="Freeform 8"/>
                <p:cNvSpPr>
                  <a:spLocks/>
                </p:cNvSpPr>
                <p:nvPr/>
              </p:nvSpPr>
              <p:spPr bwMode="auto">
                <a:xfrm>
                  <a:off x="9541081" y="5254171"/>
                  <a:ext cx="1721211" cy="1197041"/>
                </a:xfrm>
                <a:custGeom>
                  <a:avLst/>
                  <a:gdLst>
                    <a:gd name="T0" fmla="*/ 1699 w 1733"/>
                    <a:gd name="T1" fmla="*/ 1202 h 1202"/>
                    <a:gd name="T2" fmla="*/ 1733 w 1733"/>
                    <a:gd name="T3" fmla="*/ 1168 h 1202"/>
                    <a:gd name="T4" fmla="*/ 1733 w 1733"/>
                    <a:gd name="T5" fmla="*/ 34 h 1202"/>
                    <a:gd name="T6" fmla="*/ 1699 w 1733"/>
                    <a:gd name="T7" fmla="*/ 0 h 1202"/>
                    <a:gd name="T8" fmla="*/ 34 w 1733"/>
                    <a:gd name="T9" fmla="*/ 0 h 1202"/>
                    <a:gd name="T10" fmla="*/ 0 w 1733"/>
                    <a:gd name="T11" fmla="*/ 34 h 1202"/>
                    <a:gd name="T12" fmla="*/ 0 w 1733"/>
                    <a:gd name="T13" fmla="*/ 1168 h 1202"/>
                    <a:gd name="T14" fmla="*/ 34 w 1733"/>
                    <a:gd name="T15" fmla="*/ 1202 h 1202"/>
                    <a:gd name="T16" fmla="*/ 1699 w 1733"/>
                    <a:gd name="T17" fmla="*/ 120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202">
                      <a:moveTo>
                        <a:pt x="1699" y="1202"/>
                      </a:moveTo>
                      <a:cubicBezTo>
                        <a:pt x="1718" y="1202"/>
                        <a:pt x="1733" y="1187"/>
                        <a:pt x="1733" y="1168"/>
                      </a:cubicBezTo>
                      <a:cubicBezTo>
                        <a:pt x="1733" y="34"/>
                        <a:pt x="1733" y="34"/>
                        <a:pt x="1733" y="34"/>
                      </a:cubicBezTo>
                      <a:cubicBezTo>
                        <a:pt x="1733" y="15"/>
                        <a:pt x="1718" y="0"/>
                        <a:pt x="1699" y="0"/>
                      </a:cubicBezTo>
                      <a:cubicBezTo>
                        <a:pt x="34" y="0"/>
                        <a:pt x="34" y="0"/>
                        <a:pt x="34" y="0"/>
                      </a:cubicBezTo>
                      <a:cubicBezTo>
                        <a:pt x="15" y="0"/>
                        <a:pt x="0" y="15"/>
                        <a:pt x="0" y="34"/>
                      </a:cubicBezTo>
                      <a:cubicBezTo>
                        <a:pt x="0" y="1168"/>
                        <a:pt x="0" y="1168"/>
                        <a:pt x="0" y="1168"/>
                      </a:cubicBezTo>
                      <a:cubicBezTo>
                        <a:pt x="0" y="1187"/>
                        <a:pt x="15" y="1202"/>
                        <a:pt x="34" y="1202"/>
                      </a:cubicBezTo>
                      <a:lnTo>
                        <a:pt x="1699" y="1202"/>
                      </a:lnTo>
                      <a:close/>
                    </a:path>
                  </a:pathLst>
                </a:custGeom>
                <a:solidFill>
                  <a:srgbClr val="003963"/>
                </a:solidFill>
                <a:ln>
                  <a:noFill/>
                </a:ln>
              </p:spPr>
              <p:txBody>
                <a:bodyPr/>
                <a:lstStyle/>
                <a:p>
                  <a:pPr defTabSz="914314">
                    <a:defRPr/>
                  </a:pPr>
                  <a:endParaRPr lang="en-US" sz="1961">
                    <a:solidFill>
                      <a:srgbClr val="000000"/>
                    </a:solidFill>
                  </a:endParaRPr>
                </a:p>
              </p:txBody>
            </p:sp>
          </p:grpSp>
          <p:sp>
            <p:nvSpPr>
              <p:cNvPr id="57" name="Rectangle 9"/>
              <p:cNvSpPr>
                <a:spLocks noChangeArrowheads="1"/>
              </p:cNvSpPr>
              <p:nvPr/>
            </p:nvSpPr>
            <p:spPr bwMode="auto">
              <a:xfrm>
                <a:off x="8649514" y="4804769"/>
                <a:ext cx="1613403" cy="918227"/>
              </a:xfrm>
              <a:prstGeom prst="rect">
                <a:avLst/>
              </a:prstGeom>
              <a:solidFill>
                <a:schemeClr val="bg1"/>
              </a:solidFill>
              <a:ln>
                <a:noFill/>
              </a:ln>
            </p:spPr>
            <p:txBody>
              <a:bodyPr/>
              <a:lstStyle/>
              <a:p>
                <a:pPr defTabSz="914314">
                  <a:defRPr/>
                </a:pPr>
                <a:endParaRPr lang="en-US" sz="1961">
                  <a:solidFill>
                    <a:srgbClr val="000000"/>
                  </a:solidFill>
                </a:endParaRPr>
              </a:p>
            </p:txBody>
          </p:sp>
          <p:sp>
            <p:nvSpPr>
              <p:cNvPr id="58" name="Freeform 5"/>
              <p:cNvSpPr>
                <a:spLocks/>
              </p:cNvSpPr>
              <p:nvPr/>
            </p:nvSpPr>
            <p:spPr bwMode="auto">
              <a:xfrm>
                <a:off x="8754333" y="5026418"/>
                <a:ext cx="820134" cy="532613"/>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3963"/>
              </a:solidFill>
              <a:ln>
                <a:noFill/>
              </a:ln>
            </p:spPr>
            <p:txBody>
              <a:bodyPr vert="horz" wrap="square" lIns="89638" tIns="44818" rIns="89638" bIns="44818" numCol="1" anchor="t" anchorCtr="0" compatLnSpc="1">
                <a:prstTxWarp prst="textNoShape">
                  <a:avLst/>
                </a:prstTxWarp>
              </a:bodyPr>
              <a:lstStyle/>
              <a:p>
                <a:pPr algn="ctr" defTabSz="914281"/>
                <a:endParaRPr lang="en-US" sz="1372" dirty="0">
                  <a:solidFill>
                    <a:srgbClr val="000000"/>
                  </a:solidFill>
                </a:endParaRPr>
              </a:p>
            </p:txBody>
          </p:sp>
          <p:grpSp>
            <p:nvGrpSpPr>
              <p:cNvPr id="59" name="Group 58"/>
              <p:cNvGrpSpPr/>
              <p:nvPr/>
            </p:nvGrpSpPr>
            <p:grpSpPr>
              <a:xfrm>
                <a:off x="8845209" y="5098573"/>
                <a:ext cx="393077" cy="412332"/>
                <a:chOff x="775399" y="3416290"/>
                <a:chExt cx="1651593" cy="1732495"/>
              </a:xfrm>
              <a:solidFill>
                <a:schemeClr val="bg1"/>
              </a:solidFill>
            </p:grpSpPr>
            <p:sp>
              <p:nvSpPr>
                <p:cNvPr id="60" name="Freeform 9"/>
                <p:cNvSpPr>
                  <a:spLocks noEditPoints="1"/>
                </p:cNvSpPr>
                <p:nvPr/>
              </p:nvSpPr>
              <p:spPr bwMode="auto">
                <a:xfrm>
                  <a:off x="775399" y="4396975"/>
                  <a:ext cx="610545" cy="751810"/>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sz="1961" dirty="0">
                    <a:solidFill>
                      <a:srgbClr val="000000"/>
                    </a:solidFill>
                  </a:endParaRPr>
                </a:p>
              </p:txBody>
            </p:sp>
            <p:sp>
              <p:nvSpPr>
                <p:cNvPr id="61" name="Freeform 10"/>
                <p:cNvSpPr>
                  <a:spLocks noEditPoints="1"/>
                </p:cNvSpPr>
                <p:nvPr/>
              </p:nvSpPr>
              <p:spPr bwMode="auto">
                <a:xfrm>
                  <a:off x="1139043" y="3847842"/>
                  <a:ext cx="610545"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sz="1961" dirty="0">
                    <a:solidFill>
                      <a:srgbClr val="000000"/>
                    </a:solidFill>
                  </a:endParaRPr>
                </a:p>
              </p:txBody>
            </p:sp>
            <p:sp>
              <p:nvSpPr>
                <p:cNvPr id="62" name="Freeform 11"/>
                <p:cNvSpPr>
                  <a:spLocks/>
                </p:cNvSpPr>
                <p:nvPr/>
              </p:nvSpPr>
              <p:spPr bwMode="auto">
                <a:xfrm>
                  <a:off x="1480470" y="3416290"/>
                  <a:ext cx="946522" cy="636743"/>
                </a:xfrm>
                <a:custGeom>
                  <a:avLst/>
                  <a:gdLst>
                    <a:gd name="T0" fmla="*/ 1716 w 1910"/>
                    <a:gd name="T1" fmla="*/ 506 h 1285"/>
                    <a:gd name="T2" fmla="*/ 1577 w 1910"/>
                    <a:gd name="T3" fmla="*/ 253 h 1285"/>
                    <a:gd name="T4" fmla="*/ 1403 w 1910"/>
                    <a:gd name="T5" fmla="*/ 201 h 1285"/>
                    <a:gd name="T6" fmla="*/ 1256 w 1910"/>
                    <a:gd name="T7" fmla="*/ 241 h 1285"/>
                    <a:gd name="T8" fmla="*/ 807 w 1910"/>
                    <a:gd name="T9" fmla="*/ 0 h 1285"/>
                    <a:gd name="T10" fmla="*/ 268 w 1910"/>
                    <a:gd name="T11" fmla="*/ 539 h 1285"/>
                    <a:gd name="T12" fmla="*/ 268 w 1910"/>
                    <a:gd name="T13" fmla="*/ 564 h 1285"/>
                    <a:gd name="T14" fmla="*/ 0 w 1910"/>
                    <a:gd name="T15" fmla="*/ 750 h 1285"/>
                    <a:gd name="T16" fmla="*/ 666 w 1910"/>
                    <a:gd name="T17" fmla="*/ 750 h 1285"/>
                    <a:gd name="T18" fmla="*/ 666 w 1910"/>
                    <a:gd name="T19" fmla="*/ 1285 h 1285"/>
                    <a:gd name="T20" fmla="*/ 1443 w 1910"/>
                    <a:gd name="T21" fmla="*/ 1285 h 1285"/>
                    <a:gd name="T22" fmla="*/ 1486 w 1910"/>
                    <a:gd name="T23" fmla="*/ 1285 h 1285"/>
                    <a:gd name="T24" fmla="*/ 1532 w 1910"/>
                    <a:gd name="T25" fmla="*/ 1285 h 1285"/>
                    <a:gd name="T26" fmla="*/ 1910 w 1910"/>
                    <a:gd name="T27" fmla="*/ 862 h 1285"/>
                    <a:gd name="T28" fmla="*/ 1716 w 1910"/>
                    <a:gd name="T29" fmla="*/ 506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0" h="1285">
                      <a:moveTo>
                        <a:pt x="1716" y="506"/>
                      </a:moveTo>
                      <a:cubicBezTo>
                        <a:pt x="1713" y="401"/>
                        <a:pt x="1659" y="308"/>
                        <a:pt x="1577" y="253"/>
                      </a:cubicBezTo>
                      <a:cubicBezTo>
                        <a:pt x="1528" y="220"/>
                        <a:pt x="1468" y="201"/>
                        <a:pt x="1403" y="201"/>
                      </a:cubicBezTo>
                      <a:cubicBezTo>
                        <a:pt x="1349" y="201"/>
                        <a:pt x="1299" y="216"/>
                        <a:pt x="1256" y="241"/>
                      </a:cubicBezTo>
                      <a:cubicBezTo>
                        <a:pt x="1159" y="97"/>
                        <a:pt x="994" y="0"/>
                        <a:pt x="807" y="0"/>
                      </a:cubicBezTo>
                      <a:cubicBezTo>
                        <a:pt x="509" y="0"/>
                        <a:pt x="268" y="241"/>
                        <a:pt x="268" y="539"/>
                      </a:cubicBezTo>
                      <a:cubicBezTo>
                        <a:pt x="268" y="546"/>
                        <a:pt x="268" y="556"/>
                        <a:pt x="268" y="564"/>
                      </a:cubicBezTo>
                      <a:cubicBezTo>
                        <a:pt x="152" y="580"/>
                        <a:pt x="54" y="651"/>
                        <a:pt x="0" y="750"/>
                      </a:cubicBezTo>
                      <a:cubicBezTo>
                        <a:pt x="666" y="750"/>
                        <a:pt x="666" y="750"/>
                        <a:pt x="666" y="750"/>
                      </a:cubicBezTo>
                      <a:cubicBezTo>
                        <a:pt x="666" y="1285"/>
                        <a:pt x="666" y="1285"/>
                        <a:pt x="666" y="1285"/>
                      </a:cubicBezTo>
                      <a:cubicBezTo>
                        <a:pt x="905" y="1285"/>
                        <a:pt x="1272" y="1285"/>
                        <a:pt x="1443" y="1285"/>
                      </a:cubicBezTo>
                      <a:cubicBezTo>
                        <a:pt x="1457" y="1285"/>
                        <a:pt x="1471" y="1285"/>
                        <a:pt x="1486" y="1285"/>
                      </a:cubicBezTo>
                      <a:cubicBezTo>
                        <a:pt x="1500" y="1285"/>
                        <a:pt x="1518" y="1285"/>
                        <a:pt x="1532" y="1285"/>
                      </a:cubicBezTo>
                      <a:cubicBezTo>
                        <a:pt x="1744" y="1260"/>
                        <a:pt x="1910" y="1081"/>
                        <a:pt x="1910" y="862"/>
                      </a:cubicBezTo>
                      <a:cubicBezTo>
                        <a:pt x="1910" y="714"/>
                        <a:pt x="1831" y="582"/>
                        <a:pt x="1716" y="5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sz="1961" dirty="0">
                    <a:solidFill>
                      <a:srgbClr val="000000"/>
                    </a:solidFill>
                  </a:endParaRPr>
                </a:p>
              </p:txBody>
            </p:sp>
          </p:grpSp>
          <p:sp>
            <p:nvSpPr>
              <p:cNvPr id="67" name="Freeform 5"/>
              <p:cNvSpPr>
                <a:spLocks/>
              </p:cNvSpPr>
              <p:nvPr/>
            </p:nvSpPr>
            <p:spPr bwMode="auto">
              <a:xfrm>
                <a:off x="9704909" y="4963146"/>
                <a:ext cx="412549" cy="26791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3963"/>
              </a:solidFill>
              <a:ln>
                <a:noFill/>
              </a:ln>
            </p:spPr>
            <p:txBody>
              <a:bodyPr vert="horz" wrap="square" lIns="89638" tIns="44818" rIns="89638" bIns="44818" numCol="1" anchor="t" anchorCtr="0" compatLnSpc="1">
                <a:prstTxWarp prst="textNoShape">
                  <a:avLst/>
                </a:prstTxWarp>
              </a:bodyPr>
              <a:lstStyle/>
              <a:p>
                <a:pPr algn="ctr" defTabSz="914281"/>
                <a:endParaRPr lang="en-US" sz="1372" dirty="0">
                  <a:solidFill>
                    <a:srgbClr val="000000"/>
                  </a:solidFill>
                </a:endParaRPr>
              </a:p>
            </p:txBody>
          </p:sp>
          <p:sp>
            <p:nvSpPr>
              <p:cNvPr id="68" name="Freeform 5"/>
              <p:cNvSpPr>
                <a:spLocks/>
              </p:cNvSpPr>
              <p:nvPr/>
            </p:nvSpPr>
            <p:spPr bwMode="auto">
              <a:xfrm>
                <a:off x="9704909" y="5300031"/>
                <a:ext cx="412549" cy="26791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3963"/>
              </a:solidFill>
              <a:ln>
                <a:noFill/>
              </a:ln>
            </p:spPr>
            <p:txBody>
              <a:bodyPr vert="horz" wrap="square" lIns="89638" tIns="44818" rIns="89638" bIns="44818" numCol="1" anchor="t" anchorCtr="0" compatLnSpc="1">
                <a:prstTxWarp prst="textNoShape">
                  <a:avLst/>
                </a:prstTxWarp>
              </a:bodyPr>
              <a:lstStyle/>
              <a:p>
                <a:pPr algn="ctr" defTabSz="914281"/>
                <a:endParaRPr lang="en-US" sz="1372" dirty="0">
                  <a:solidFill>
                    <a:srgbClr val="000000"/>
                  </a:solidFill>
                </a:endParaRPr>
              </a:p>
            </p:txBody>
          </p:sp>
        </p:grpSp>
        <p:sp>
          <p:nvSpPr>
            <p:cNvPr id="69" name="TextBox 68"/>
            <p:cNvSpPr txBox="1"/>
            <p:nvPr/>
          </p:nvSpPr>
          <p:spPr>
            <a:xfrm>
              <a:off x="8119740" y="6099483"/>
              <a:ext cx="3657600" cy="335232"/>
            </a:xfrm>
            <a:prstGeom prst="rect">
              <a:avLst/>
            </a:prstGeom>
            <a:noFill/>
          </p:spPr>
          <p:txBody>
            <a:bodyPr wrap="square" lIns="91436" tIns="45717" rIns="91436" bIns="45717" rtlCol="0">
              <a:noAutofit/>
            </a:bodyPr>
            <a:lstStyle/>
            <a:p>
              <a:pPr algn="ctr" defTabSz="914367">
                <a:lnSpc>
                  <a:spcPct val="90000"/>
                </a:lnSpc>
                <a:spcAft>
                  <a:spcPts val="588"/>
                </a:spcAft>
              </a:pPr>
              <a:r>
                <a:rPr lang="en-US" sz="2353" dirty="0">
                  <a:solidFill>
                    <a:srgbClr val="505050"/>
                  </a:solidFill>
                  <a:latin typeface="Segoe UI Light"/>
                </a:rPr>
                <a:t>Microsoft System Center</a:t>
              </a:r>
            </a:p>
          </p:txBody>
        </p:sp>
      </p:grpSp>
      <p:grpSp>
        <p:nvGrpSpPr>
          <p:cNvPr id="11" name="Group 10"/>
          <p:cNvGrpSpPr/>
          <p:nvPr/>
        </p:nvGrpSpPr>
        <p:grpSpPr>
          <a:xfrm>
            <a:off x="7190703" y="4587465"/>
            <a:ext cx="1791986" cy="1565908"/>
            <a:chOff x="6775547" y="4998965"/>
            <a:chExt cx="1827919" cy="1597308"/>
          </a:xfrm>
        </p:grpSpPr>
        <p:sp>
          <p:nvSpPr>
            <p:cNvPr id="71" name="Freeform 5"/>
            <p:cNvSpPr>
              <a:spLocks/>
            </p:cNvSpPr>
            <p:nvPr/>
          </p:nvSpPr>
          <p:spPr bwMode="auto">
            <a:xfrm>
              <a:off x="6846921" y="4998965"/>
              <a:ext cx="1685170" cy="1094385"/>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3963"/>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sp>
          <p:nvSpPr>
            <p:cNvPr id="72" name="TextBox 71"/>
            <p:cNvSpPr txBox="1"/>
            <p:nvPr/>
          </p:nvSpPr>
          <p:spPr>
            <a:xfrm>
              <a:off x="6775547" y="6261041"/>
              <a:ext cx="1827919" cy="335232"/>
            </a:xfrm>
            <a:prstGeom prst="rect">
              <a:avLst/>
            </a:prstGeom>
            <a:noFill/>
          </p:spPr>
          <p:txBody>
            <a:bodyPr wrap="square" lIns="91436" tIns="45717" rIns="91436" bIns="45717" rtlCol="0">
              <a:noAutofit/>
            </a:bodyPr>
            <a:lstStyle/>
            <a:p>
              <a:pPr algn="ctr" defTabSz="914281"/>
              <a:r>
                <a:rPr lang="en-US" sz="1765" dirty="0">
                  <a:solidFill>
                    <a:srgbClr val="505050"/>
                  </a:solidFill>
                  <a:latin typeface="Segoe UI Light"/>
                </a:rPr>
                <a:t>Microsoft Azure</a:t>
              </a:r>
            </a:p>
          </p:txBody>
        </p:sp>
      </p:grpSp>
      <p:grpSp>
        <p:nvGrpSpPr>
          <p:cNvPr id="12" name="Group 11"/>
          <p:cNvGrpSpPr/>
          <p:nvPr/>
        </p:nvGrpSpPr>
        <p:grpSpPr>
          <a:xfrm>
            <a:off x="9578472" y="4587465"/>
            <a:ext cx="1791986" cy="1565908"/>
            <a:chOff x="9775077" y="4998965"/>
            <a:chExt cx="1827919" cy="1597308"/>
          </a:xfrm>
        </p:grpSpPr>
        <p:sp>
          <p:nvSpPr>
            <p:cNvPr id="74" name="Freeform 5"/>
            <p:cNvSpPr>
              <a:spLocks/>
            </p:cNvSpPr>
            <p:nvPr/>
          </p:nvSpPr>
          <p:spPr bwMode="auto">
            <a:xfrm>
              <a:off x="9846451" y="4998965"/>
              <a:ext cx="1685170" cy="1094385"/>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3963"/>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sp>
          <p:nvSpPr>
            <p:cNvPr id="76" name="TextBox 75"/>
            <p:cNvSpPr txBox="1"/>
            <p:nvPr/>
          </p:nvSpPr>
          <p:spPr>
            <a:xfrm>
              <a:off x="9775077" y="6261041"/>
              <a:ext cx="1827919" cy="335232"/>
            </a:xfrm>
            <a:prstGeom prst="rect">
              <a:avLst/>
            </a:prstGeom>
            <a:noFill/>
          </p:spPr>
          <p:txBody>
            <a:bodyPr wrap="square" lIns="91436" tIns="45717" rIns="91436" bIns="45717" rtlCol="0">
              <a:noAutofit/>
            </a:bodyPr>
            <a:lstStyle/>
            <a:p>
              <a:pPr algn="ctr" defTabSz="914281"/>
              <a:r>
                <a:rPr lang="en-US" sz="1765" dirty="0">
                  <a:solidFill>
                    <a:srgbClr val="505050"/>
                  </a:solidFill>
                  <a:latin typeface="Segoe UI Light"/>
                </a:rPr>
                <a:t>Service provider</a:t>
              </a:r>
            </a:p>
          </p:txBody>
        </p:sp>
      </p:grpSp>
      <p:grpSp>
        <p:nvGrpSpPr>
          <p:cNvPr id="86" name="Group 85"/>
          <p:cNvGrpSpPr/>
          <p:nvPr/>
        </p:nvGrpSpPr>
        <p:grpSpPr>
          <a:xfrm>
            <a:off x="4430759" y="4367212"/>
            <a:ext cx="1887013" cy="1786162"/>
            <a:chOff x="4519604" y="4618181"/>
            <a:chExt cx="1924852" cy="1821978"/>
          </a:xfrm>
        </p:grpSpPr>
        <p:sp>
          <p:nvSpPr>
            <p:cNvPr id="83" name="Rectangle 82"/>
            <p:cNvSpPr/>
            <p:nvPr/>
          </p:nvSpPr>
          <p:spPr bwMode="auto">
            <a:xfrm>
              <a:off x="5433563" y="4988307"/>
              <a:ext cx="437453" cy="10146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5141506" y="5421695"/>
              <a:ext cx="437453" cy="5860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519604" y="4618181"/>
              <a:ext cx="1924852" cy="1821978"/>
              <a:chOff x="838634" y="4774295"/>
              <a:chExt cx="1924852" cy="1821978"/>
            </a:xfrm>
          </p:grpSpPr>
          <p:grpSp>
            <p:nvGrpSpPr>
              <p:cNvPr id="48" name="Group 47"/>
              <p:cNvGrpSpPr/>
              <p:nvPr/>
            </p:nvGrpSpPr>
            <p:grpSpPr>
              <a:xfrm>
                <a:off x="1431958" y="4774295"/>
                <a:ext cx="1331528" cy="1384765"/>
                <a:chOff x="761101" y="3416290"/>
                <a:chExt cx="1665891" cy="1732495"/>
              </a:xfrm>
              <a:solidFill>
                <a:srgbClr val="4E195C"/>
              </a:solidFill>
            </p:grpSpPr>
            <p:sp>
              <p:nvSpPr>
                <p:cNvPr id="49" name="Freeform 9"/>
                <p:cNvSpPr>
                  <a:spLocks noEditPoints="1"/>
                </p:cNvSpPr>
                <p:nvPr/>
              </p:nvSpPr>
              <p:spPr bwMode="auto">
                <a:xfrm>
                  <a:off x="761101" y="4396975"/>
                  <a:ext cx="641607" cy="751810"/>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solidFill>
                  <a:srgbClr val="00396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50" name="Freeform 10"/>
                <p:cNvSpPr>
                  <a:spLocks noEditPoints="1"/>
                </p:cNvSpPr>
                <p:nvPr/>
              </p:nvSpPr>
              <p:spPr bwMode="auto">
                <a:xfrm>
                  <a:off x="1139043" y="3847842"/>
                  <a:ext cx="610545"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solidFill>
                  <a:srgbClr val="00396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51" name="Freeform 11"/>
                <p:cNvSpPr>
                  <a:spLocks/>
                </p:cNvSpPr>
                <p:nvPr/>
              </p:nvSpPr>
              <p:spPr bwMode="auto">
                <a:xfrm>
                  <a:off x="1480470" y="3416290"/>
                  <a:ext cx="946522" cy="636743"/>
                </a:xfrm>
                <a:custGeom>
                  <a:avLst/>
                  <a:gdLst>
                    <a:gd name="T0" fmla="*/ 1716 w 1910"/>
                    <a:gd name="T1" fmla="*/ 506 h 1285"/>
                    <a:gd name="T2" fmla="*/ 1577 w 1910"/>
                    <a:gd name="T3" fmla="*/ 253 h 1285"/>
                    <a:gd name="T4" fmla="*/ 1403 w 1910"/>
                    <a:gd name="T5" fmla="*/ 201 h 1285"/>
                    <a:gd name="T6" fmla="*/ 1256 w 1910"/>
                    <a:gd name="T7" fmla="*/ 241 h 1285"/>
                    <a:gd name="T8" fmla="*/ 807 w 1910"/>
                    <a:gd name="T9" fmla="*/ 0 h 1285"/>
                    <a:gd name="T10" fmla="*/ 268 w 1910"/>
                    <a:gd name="T11" fmla="*/ 539 h 1285"/>
                    <a:gd name="T12" fmla="*/ 268 w 1910"/>
                    <a:gd name="T13" fmla="*/ 564 h 1285"/>
                    <a:gd name="T14" fmla="*/ 0 w 1910"/>
                    <a:gd name="T15" fmla="*/ 750 h 1285"/>
                    <a:gd name="T16" fmla="*/ 666 w 1910"/>
                    <a:gd name="T17" fmla="*/ 750 h 1285"/>
                    <a:gd name="T18" fmla="*/ 666 w 1910"/>
                    <a:gd name="T19" fmla="*/ 1285 h 1285"/>
                    <a:gd name="T20" fmla="*/ 1443 w 1910"/>
                    <a:gd name="T21" fmla="*/ 1285 h 1285"/>
                    <a:gd name="T22" fmla="*/ 1486 w 1910"/>
                    <a:gd name="T23" fmla="*/ 1285 h 1285"/>
                    <a:gd name="T24" fmla="*/ 1532 w 1910"/>
                    <a:gd name="T25" fmla="*/ 1285 h 1285"/>
                    <a:gd name="T26" fmla="*/ 1910 w 1910"/>
                    <a:gd name="T27" fmla="*/ 862 h 1285"/>
                    <a:gd name="T28" fmla="*/ 1716 w 1910"/>
                    <a:gd name="T29" fmla="*/ 506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0" h="1285">
                      <a:moveTo>
                        <a:pt x="1716" y="506"/>
                      </a:moveTo>
                      <a:cubicBezTo>
                        <a:pt x="1713" y="401"/>
                        <a:pt x="1659" y="308"/>
                        <a:pt x="1577" y="253"/>
                      </a:cubicBezTo>
                      <a:cubicBezTo>
                        <a:pt x="1528" y="220"/>
                        <a:pt x="1468" y="201"/>
                        <a:pt x="1403" y="201"/>
                      </a:cubicBezTo>
                      <a:cubicBezTo>
                        <a:pt x="1349" y="201"/>
                        <a:pt x="1299" y="216"/>
                        <a:pt x="1256" y="241"/>
                      </a:cubicBezTo>
                      <a:cubicBezTo>
                        <a:pt x="1159" y="97"/>
                        <a:pt x="994" y="0"/>
                        <a:pt x="807" y="0"/>
                      </a:cubicBezTo>
                      <a:cubicBezTo>
                        <a:pt x="509" y="0"/>
                        <a:pt x="268" y="241"/>
                        <a:pt x="268" y="539"/>
                      </a:cubicBezTo>
                      <a:cubicBezTo>
                        <a:pt x="268" y="546"/>
                        <a:pt x="268" y="556"/>
                        <a:pt x="268" y="564"/>
                      </a:cubicBezTo>
                      <a:cubicBezTo>
                        <a:pt x="152" y="580"/>
                        <a:pt x="54" y="651"/>
                        <a:pt x="0" y="750"/>
                      </a:cubicBezTo>
                      <a:cubicBezTo>
                        <a:pt x="666" y="750"/>
                        <a:pt x="666" y="750"/>
                        <a:pt x="666" y="750"/>
                      </a:cubicBezTo>
                      <a:cubicBezTo>
                        <a:pt x="666" y="1285"/>
                        <a:pt x="666" y="1285"/>
                        <a:pt x="666" y="1285"/>
                      </a:cubicBezTo>
                      <a:cubicBezTo>
                        <a:pt x="905" y="1285"/>
                        <a:pt x="1272" y="1285"/>
                        <a:pt x="1443" y="1285"/>
                      </a:cubicBezTo>
                      <a:cubicBezTo>
                        <a:pt x="1457" y="1285"/>
                        <a:pt x="1471" y="1285"/>
                        <a:pt x="1486" y="1285"/>
                      </a:cubicBezTo>
                      <a:cubicBezTo>
                        <a:pt x="1500" y="1285"/>
                        <a:pt x="1518" y="1285"/>
                        <a:pt x="1532" y="1285"/>
                      </a:cubicBezTo>
                      <a:cubicBezTo>
                        <a:pt x="1744" y="1260"/>
                        <a:pt x="1910" y="1081"/>
                        <a:pt x="1910" y="862"/>
                      </a:cubicBezTo>
                      <a:cubicBezTo>
                        <a:pt x="1910" y="714"/>
                        <a:pt x="1831" y="582"/>
                        <a:pt x="1716" y="506"/>
                      </a:cubicBezTo>
                      <a:close/>
                    </a:path>
                  </a:pathLst>
                </a:custGeom>
                <a:solidFill>
                  <a:srgbClr val="00396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80" name="TextBox 79"/>
              <p:cNvSpPr txBox="1"/>
              <p:nvPr/>
            </p:nvSpPr>
            <p:spPr>
              <a:xfrm>
                <a:off x="838634" y="6261041"/>
                <a:ext cx="1827919" cy="335232"/>
              </a:xfrm>
              <a:prstGeom prst="rect">
                <a:avLst/>
              </a:prstGeom>
              <a:noFill/>
            </p:spPr>
            <p:txBody>
              <a:bodyPr wrap="square" lIns="91436" tIns="45717" rIns="91436" bIns="45717" rtlCol="0">
                <a:noAutofit/>
              </a:bodyPr>
              <a:lstStyle/>
              <a:p>
                <a:pPr algn="ctr" defTabSz="914281"/>
                <a:r>
                  <a:rPr lang="en-US" sz="1765" dirty="0">
                    <a:solidFill>
                      <a:srgbClr val="505050"/>
                    </a:solidFill>
                    <a:latin typeface="Segoe UI Light"/>
                  </a:rPr>
                  <a:t>On-premises datacenter</a:t>
                </a:r>
              </a:p>
            </p:txBody>
          </p:sp>
        </p:grpSp>
      </p:grpSp>
    </p:spTree>
    <p:extLst>
      <p:ext uri="{BB962C8B-B14F-4D97-AF65-F5344CB8AC3E}">
        <p14:creationId xmlns:p14="http://schemas.microsoft.com/office/powerpoint/2010/main" val="14951543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69240" y="313992"/>
            <a:ext cx="10757098" cy="1004541"/>
          </a:xfrm>
        </p:spPr>
        <p:txBody>
          <a:bodyPr/>
          <a:lstStyle/>
          <a:p>
            <a:r>
              <a:rPr lang="en-US" dirty="0" smtClean="0"/>
              <a:t>Transform the datacenter</a:t>
            </a:r>
            <a:endParaRPr lang="en-US" dirty="0"/>
          </a:p>
        </p:txBody>
      </p:sp>
      <p:sp>
        <p:nvSpPr>
          <p:cNvPr id="40" name="TextBox 39"/>
          <p:cNvSpPr txBox="1"/>
          <p:nvPr/>
        </p:nvSpPr>
        <p:spPr>
          <a:xfrm>
            <a:off x="12617423" y="-538947"/>
            <a:ext cx="896425" cy="896425"/>
          </a:xfrm>
          <a:prstGeom prst="rect">
            <a:avLst/>
          </a:prstGeom>
          <a:noFill/>
        </p:spPr>
        <p:txBody>
          <a:bodyPr wrap="none" lIns="179285" tIns="143428" rIns="179285" bIns="143428" rtlCol="0">
            <a:noAutofit/>
          </a:bodyPr>
          <a:lstStyle/>
          <a:p>
            <a:pPr defTabSz="914367">
              <a:lnSpc>
                <a:spcPct val="90000"/>
              </a:lnSpc>
              <a:spcAft>
                <a:spcPts val="588"/>
              </a:spcAft>
            </a:pPr>
            <a:endParaRPr lang="en-US" sz="2353" dirty="0">
              <a:gradFill>
                <a:gsLst>
                  <a:gs pos="2917">
                    <a:srgbClr val="000000"/>
                  </a:gs>
                  <a:gs pos="30000">
                    <a:srgbClr val="000000"/>
                  </a:gs>
                </a:gsLst>
                <a:lin ang="5400000" scaled="0"/>
              </a:gradFill>
            </a:endParaRPr>
          </a:p>
        </p:txBody>
      </p:sp>
      <p:pic>
        <p:nvPicPr>
          <p:cNvPr id="41" name="Picture 40"/>
          <p:cNvPicPr>
            <a:picLocks noChangeAspect="1"/>
          </p:cNvPicPr>
          <p:nvPr/>
        </p:nvPicPr>
        <p:blipFill>
          <a:blip r:embed="rId3"/>
          <a:stretch>
            <a:fillRect/>
          </a:stretch>
        </p:blipFill>
        <p:spPr>
          <a:xfrm>
            <a:off x="6075161" y="4786863"/>
            <a:ext cx="6718529" cy="2153256"/>
          </a:xfrm>
          <a:prstGeom prst="rect">
            <a:avLst/>
          </a:prstGeom>
        </p:spPr>
      </p:pic>
      <p:sp>
        <p:nvSpPr>
          <p:cNvPr id="30" name="TextBox 29"/>
          <p:cNvSpPr txBox="1"/>
          <p:nvPr/>
        </p:nvSpPr>
        <p:spPr>
          <a:xfrm>
            <a:off x="6518444" y="1636152"/>
            <a:ext cx="3137487" cy="3137487"/>
          </a:xfrm>
          <a:prstGeom prst="rect">
            <a:avLst/>
          </a:prstGeom>
          <a:solidFill>
            <a:srgbClr val="00188F"/>
          </a:solidFill>
        </p:spPr>
        <p:txBody>
          <a:bodyPr wrap="square" lIns="179285" tIns="134464" rtlCol="0">
            <a:noAutofit/>
          </a:bodyPr>
          <a:lstStyle/>
          <a:p>
            <a:pPr defTabSz="914367">
              <a:lnSpc>
                <a:spcPts val="3000"/>
              </a:lnSpc>
            </a:pPr>
            <a:r>
              <a:rPr lang="en-US" sz="2745" dirty="0">
                <a:solidFill>
                  <a:srgbClr val="FFFFFF"/>
                </a:solidFill>
                <a:latin typeface="Segoe UI Light"/>
              </a:rPr>
              <a:t>Extend </a:t>
            </a:r>
          </a:p>
          <a:p>
            <a:pPr defTabSz="914367">
              <a:lnSpc>
                <a:spcPts val="3000"/>
              </a:lnSpc>
            </a:pPr>
            <a:r>
              <a:rPr lang="en-US" sz="2745" dirty="0">
                <a:solidFill>
                  <a:srgbClr val="FFFFFF"/>
                </a:solidFill>
                <a:latin typeface="Segoe UI Light"/>
              </a:rPr>
              <a:t>to the cloud </a:t>
            </a:r>
          </a:p>
          <a:p>
            <a:pPr defTabSz="914367">
              <a:lnSpc>
                <a:spcPts val="3000"/>
              </a:lnSpc>
            </a:pPr>
            <a:r>
              <a:rPr lang="en-US" sz="2745" dirty="0">
                <a:solidFill>
                  <a:srgbClr val="FFFFFF"/>
                </a:solidFill>
                <a:latin typeface="Segoe UI Light"/>
              </a:rPr>
              <a:t>on demand</a:t>
            </a:r>
          </a:p>
        </p:txBody>
      </p:sp>
      <p:sp>
        <p:nvSpPr>
          <p:cNvPr id="31" name="TextBox 30"/>
          <p:cNvSpPr txBox="1"/>
          <p:nvPr/>
        </p:nvSpPr>
        <p:spPr>
          <a:xfrm>
            <a:off x="267683" y="1636152"/>
            <a:ext cx="3137487" cy="3137487"/>
          </a:xfrm>
          <a:prstGeom prst="rect">
            <a:avLst/>
          </a:prstGeom>
          <a:solidFill>
            <a:srgbClr val="0072C6"/>
          </a:solidFill>
        </p:spPr>
        <p:txBody>
          <a:bodyPr wrap="square" lIns="179285" tIns="134464" rtlCol="0">
            <a:noAutofit/>
          </a:bodyPr>
          <a:lstStyle/>
          <a:p>
            <a:pPr defTabSz="914367">
              <a:lnSpc>
                <a:spcPts val="3000"/>
              </a:lnSpc>
            </a:pPr>
            <a:r>
              <a:rPr lang="en-US" sz="2745" dirty="0">
                <a:solidFill>
                  <a:srgbClr val="FFFFFF"/>
                </a:solidFill>
                <a:latin typeface="Segoe UI Light"/>
              </a:rPr>
              <a:t>Build a </a:t>
            </a:r>
          </a:p>
          <a:p>
            <a:pPr defTabSz="914367">
              <a:lnSpc>
                <a:spcPts val="3000"/>
              </a:lnSpc>
            </a:pPr>
            <a:r>
              <a:rPr lang="en-US" sz="2745" dirty="0">
                <a:solidFill>
                  <a:srgbClr val="FFFFFF"/>
                </a:solidFill>
                <a:latin typeface="Segoe UI Light"/>
              </a:rPr>
              <a:t>software-defined foundation</a:t>
            </a:r>
          </a:p>
        </p:txBody>
      </p:sp>
      <p:sp>
        <p:nvSpPr>
          <p:cNvPr id="35" name="TextBox 34"/>
          <p:cNvSpPr txBox="1"/>
          <p:nvPr/>
        </p:nvSpPr>
        <p:spPr>
          <a:xfrm>
            <a:off x="3386775" y="1636152"/>
            <a:ext cx="3137487" cy="3137487"/>
          </a:xfrm>
          <a:prstGeom prst="rect">
            <a:avLst/>
          </a:prstGeom>
          <a:solidFill>
            <a:srgbClr val="05214E"/>
          </a:solidFill>
        </p:spPr>
        <p:txBody>
          <a:bodyPr wrap="square" lIns="179285" tIns="134464" rtlCol="0">
            <a:noAutofit/>
          </a:bodyPr>
          <a:lstStyle/>
          <a:p>
            <a:pPr defTabSz="914367">
              <a:lnSpc>
                <a:spcPts val="3000"/>
              </a:lnSpc>
            </a:pPr>
            <a:r>
              <a:rPr lang="en-US" sz="2745" dirty="0">
                <a:solidFill>
                  <a:srgbClr val="FFFFFF"/>
                </a:solidFill>
                <a:latin typeface="Segoe UI Light"/>
              </a:rPr>
              <a:t>Automate and secure your infrastructure</a:t>
            </a:r>
          </a:p>
        </p:txBody>
      </p:sp>
      <p:grpSp>
        <p:nvGrpSpPr>
          <p:cNvPr id="36" name="Group 35"/>
          <p:cNvGrpSpPr/>
          <p:nvPr/>
        </p:nvGrpSpPr>
        <p:grpSpPr>
          <a:xfrm>
            <a:off x="472245" y="3694834"/>
            <a:ext cx="1024545" cy="880453"/>
            <a:chOff x="5550106" y="3959656"/>
            <a:chExt cx="915416" cy="781665"/>
          </a:xfrm>
          <a:solidFill>
            <a:schemeClr val="bg1"/>
          </a:solidFill>
        </p:grpSpPr>
        <p:grpSp>
          <p:nvGrpSpPr>
            <p:cNvPr id="37" name="Group 36"/>
            <p:cNvGrpSpPr/>
            <p:nvPr/>
          </p:nvGrpSpPr>
          <p:grpSpPr>
            <a:xfrm>
              <a:off x="5550106" y="4084839"/>
              <a:ext cx="661616" cy="656482"/>
              <a:chOff x="6675438" y="3219450"/>
              <a:chExt cx="2863850" cy="2841625"/>
            </a:xfrm>
            <a:grpFill/>
          </p:grpSpPr>
          <p:sp>
            <p:nvSpPr>
              <p:cNvPr id="39" name="Freeform 29"/>
              <p:cNvSpPr>
                <a:spLocks/>
              </p:cNvSpPr>
              <p:nvPr/>
            </p:nvSpPr>
            <p:spPr bwMode="auto">
              <a:xfrm>
                <a:off x="7885113" y="4419600"/>
                <a:ext cx="469900" cy="466725"/>
              </a:xfrm>
              <a:custGeom>
                <a:avLst/>
                <a:gdLst>
                  <a:gd name="T0" fmla="*/ 148 w 296"/>
                  <a:gd name="T1" fmla="*/ 0 h 294"/>
                  <a:gd name="T2" fmla="*/ 118 w 296"/>
                  <a:gd name="T3" fmla="*/ 2 h 294"/>
                  <a:gd name="T4" fmla="*/ 90 w 296"/>
                  <a:gd name="T5" fmla="*/ 12 h 294"/>
                  <a:gd name="T6" fmla="*/ 66 w 296"/>
                  <a:gd name="T7" fmla="*/ 24 h 294"/>
                  <a:gd name="T8" fmla="*/ 44 w 296"/>
                  <a:gd name="T9" fmla="*/ 42 h 294"/>
                  <a:gd name="T10" fmla="*/ 26 w 296"/>
                  <a:gd name="T11" fmla="*/ 64 h 294"/>
                  <a:gd name="T12" fmla="*/ 12 w 296"/>
                  <a:gd name="T13" fmla="*/ 90 h 294"/>
                  <a:gd name="T14" fmla="*/ 4 w 296"/>
                  <a:gd name="T15" fmla="*/ 118 h 294"/>
                  <a:gd name="T16" fmla="*/ 0 w 296"/>
                  <a:gd name="T17" fmla="*/ 148 h 294"/>
                  <a:gd name="T18" fmla="*/ 0 w 296"/>
                  <a:gd name="T19" fmla="*/ 162 h 294"/>
                  <a:gd name="T20" fmla="*/ 6 w 296"/>
                  <a:gd name="T21" fmla="*/ 190 h 294"/>
                  <a:gd name="T22" fmla="*/ 18 w 296"/>
                  <a:gd name="T23" fmla="*/ 218 h 294"/>
                  <a:gd name="T24" fmla="*/ 34 w 296"/>
                  <a:gd name="T25" fmla="*/ 240 h 294"/>
                  <a:gd name="T26" fmla="*/ 54 w 296"/>
                  <a:gd name="T27" fmla="*/ 260 h 294"/>
                  <a:gd name="T28" fmla="*/ 78 w 296"/>
                  <a:gd name="T29" fmla="*/ 276 h 294"/>
                  <a:gd name="T30" fmla="*/ 104 w 296"/>
                  <a:gd name="T31" fmla="*/ 288 h 294"/>
                  <a:gd name="T32" fmla="*/ 132 w 296"/>
                  <a:gd name="T33" fmla="*/ 294 h 294"/>
                  <a:gd name="T34" fmla="*/ 148 w 296"/>
                  <a:gd name="T35" fmla="*/ 294 h 294"/>
                  <a:gd name="T36" fmla="*/ 178 w 296"/>
                  <a:gd name="T37" fmla="*/ 292 h 294"/>
                  <a:gd name="T38" fmla="*/ 206 w 296"/>
                  <a:gd name="T39" fmla="*/ 282 h 294"/>
                  <a:gd name="T40" fmla="*/ 230 w 296"/>
                  <a:gd name="T41" fmla="*/ 270 h 294"/>
                  <a:gd name="T42" fmla="*/ 252 w 296"/>
                  <a:gd name="T43" fmla="*/ 252 h 294"/>
                  <a:gd name="T44" fmla="*/ 270 w 296"/>
                  <a:gd name="T45" fmla="*/ 230 h 294"/>
                  <a:gd name="T46" fmla="*/ 284 w 296"/>
                  <a:gd name="T47" fmla="*/ 204 h 294"/>
                  <a:gd name="T48" fmla="*/ 292 w 296"/>
                  <a:gd name="T49" fmla="*/ 176 h 294"/>
                  <a:gd name="T50" fmla="*/ 296 w 296"/>
                  <a:gd name="T51" fmla="*/ 148 h 294"/>
                  <a:gd name="T52" fmla="*/ 294 w 296"/>
                  <a:gd name="T53" fmla="*/ 132 h 294"/>
                  <a:gd name="T54" fmla="*/ 288 w 296"/>
                  <a:gd name="T55" fmla="*/ 104 h 294"/>
                  <a:gd name="T56" fmla="*/ 278 w 296"/>
                  <a:gd name="T57" fmla="*/ 76 h 294"/>
                  <a:gd name="T58" fmla="*/ 262 w 296"/>
                  <a:gd name="T59" fmla="*/ 54 h 294"/>
                  <a:gd name="T60" fmla="*/ 242 w 296"/>
                  <a:gd name="T61" fmla="*/ 34 h 294"/>
                  <a:gd name="T62" fmla="*/ 218 w 296"/>
                  <a:gd name="T63" fmla="*/ 18 h 294"/>
                  <a:gd name="T64" fmla="*/ 192 w 296"/>
                  <a:gd name="T65" fmla="*/ 6 h 294"/>
                  <a:gd name="T66" fmla="*/ 162 w 296"/>
                  <a:gd name="T67" fmla="*/ 0 h 294"/>
                  <a:gd name="T68" fmla="*/ 148 w 296"/>
                  <a:gd name="T69"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4">
                    <a:moveTo>
                      <a:pt x="148" y="0"/>
                    </a:moveTo>
                    <a:lnTo>
                      <a:pt x="148" y="0"/>
                    </a:lnTo>
                    <a:lnTo>
                      <a:pt x="132" y="0"/>
                    </a:lnTo>
                    <a:lnTo>
                      <a:pt x="118" y="2"/>
                    </a:lnTo>
                    <a:lnTo>
                      <a:pt x="104" y="6"/>
                    </a:lnTo>
                    <a:lnTo>
                      <a:pt x="90" y="12"/>
                    </a:lnTo>
                    <a:lnTo>
                      <a:pt x="78" y="18"/>
                    </a:lnTo>
                    <a:lnTo>
                      <a:pt x="66" y="24"/>
                    </a:lnTo>
                    <a:lnTo>
                      <a:pt x="54" y="34"/>
                    </a:lnTo>
                    <a:lnTo>
                      <a:pt x="44" y="42"/>
                    </a:lnTo>
                    <a:lnTo>
                      <a:pt x="34" y="54"/>
                    </a:lnTo>
                    <a:lnTo>
                      <a:pt x="26" y="64"/>
                    </a:lnTo>
                    <a:lnTo>
                      <a:pt x="18" y="76"/>
                    </a:lnTo>
                    <a:lnTo>
                      <a:pt x="12" y="90"/>
                    </a:lnTo>
                    <a:lnTo>
                      <a:pt x="6" y="104"/>
                    </a:lnTo>
                    <a:lnTo>
                      <a:pt x="4" y="118"/>
                    </a:lnTo>
                    <a:lnTo>
                      <a:pt x="0" y="132"/>
                    </a:lnTo>
                    <a:lnTo>
                      <a:pt x="0" y="148"/>
                    </a:lnTo>
                    <a:lnTo>
                      <a:pt x="0" y="148"/>
                    </a:lnTo>
                    <a:lnTo>
                      <a:pt x="0" y="162"/>
                    </a:lnTo>
                    <a:lnTo>
                      <a:pt x="4" y="176"/>
                    </a:lnTo>
                    <a:lnTo>
                      <a:pt x="6" y="190"/>
                    </a:lnTo>
                    <a:lnTo>
                      <a:pt x="12" y="204"/>
                    </a:lnTo>
                    <a:lnTo>
                      <a:pt x="18" y="218"/>
                    </a:lnTo>
                    <a:lnTo>
                      <a:pt x="26" y="230"/>
                    </a:lnTo>
                    <a:lnTo>
                      <a:pt x="34" y="240"/>
                    </a:lnTo>
                    <a:lnTo>
                      <a:pt x="44" y="252"/>
                    </a:lnTo>
                    <a:lnTo>
                      <a:pt x="54" y="260"/>
                    </a:lnTo>
                    <a:lnTo>
                      <a:pt x="66" y="270"/>
                    </a:lnTo>
                    <a:lnTo>
                      <a:pt x="78" y="276"/>
                    </a:lnTo>
                    <a:lnTo>
                      <a:pt x="90" y="282"/>
                    </a:lnTo>
                    <a:lnTo>
                      <a:pt x="104" y="288"/>
                    </a:lnTo>
                    <a:lnTo>
                      <a:pt x="118" y="292"/>
                    </a:lnTo>
                    <a:lnTo>
                      <a:pt x="132" y="294"/>
                    </a:lnTo>
                    <a:lnTo>
                      <a:pt x="148" y="294"/>
                    </a:lnTo>
                    <a:lnTo>
                      <a:pt x="148" y="294"/>
                    </a:lnTo>
                    <a:lnTo>
                      <a:pt x="162" y="294"/>
                    </a:lnTo>
                    <a:lnTo>
                      <a:pt x="178" y="292"/>
                    </a:lnTo>
                    <a:lnTo>
                      <a:pt x="192" y="288"/>
                    </a:lnTo>
                    <a:lnTo>
                      <a:pt x="206" y="282"/>
                    </a:lnTo>
                    <a:lnTo>
                      <a:pt x="218" y="276"/>
                    </a:lnTo>
                    <a:lnTo>
                      <a:pt x="230" y="270"/>
                    </a:lnTo>
                    <a:lnTo>
                      <a:pt x="242" y="260"/>
                    </a:lnTo>
                    <a:lnTo>
                      <a:pt x="252" y="252"/>
                    </a:lnTo>
                    <a:lnTo>
                      <a:pt x="262" y="240"/>
                    </a:lnTo>
                    <a:lnTo>
                      <a:pt x="270" y="230"/>
                    </a:lnTo>
                    <a:lnTo>
                      <a:pt x="278" y="218"/>
                    </a:lnTo>
                    <a:lnTo>
                      <a:pt x="284" y="204"/>
                    </a:lnTo>
                    <a:lnTo>
                      <a:pt x="288" y="190"/>
                    </a:lnTo>
                    <a:lnTo>
                      <a:pt x="292" y="176"/>
                    </a:lnTo>
                    <a:lnTo>
                      <a:pt x="294" y="162"/>
                    </a:lnTo>
                    <a:lnTo>
                      <a:pt x="296" y="148"/>
                    </a:lnTo>
                    <a:lnTo>
                      <a:pt x="296" y="148"/>
                    </a:lnTo>
                    <a:lnTo>
                      <a:pt x="294" y="132"/>
                    </a:lnTo>
                    <a:lnTo>
                      <a:pt x="292" y="118"/>
                    </a:lnTo>
                    <a:lnTo>
                      <a:pt x="288" y="104"/>
                    </a:lnTo>
                    <a:lnTo>
                      <a:pt x="284" y="90"/>
                    </a:lnTo>
                    <a:lnTo>
                      <a:pt x="278" y="76"/>
                    </a:lnTo>
                    <a:lnTo>
                      <a:pt x="270" y="64"/>
                    </a:lnTo>
                    <a:lnTo>
                      <a:pt x="262" y="54"/>
                    </a:lnTo>
                    <a:lnTo>
                      <a:pt x="252" y="42"/>
                    </a:lnTo>
                    <a:lnTo>
                      <a:pt x="242" y="34"/>
                    </a:lnTo>
                    <a:lnTo>
                      <a:pt x="230" y="24"/>
                    </a:lnTo>
                    <a:lnTo>
                      <a:pt x="218" y="18"/>
                    </a:lnTo>
                    <a:lnTo>
                      <a:pt x="206" y="12"/>
                    </a:lnTo>
                    <a:lnTo>
                      <a:pt x="192" y="6"/>
                    </a:lnTo>
                    <a:lnTo>
                      <a:pt x="178" y="2"/>
                    </a:lnTo>
                    <a:lnTo>
                      <a:pt x="162" y="0"/>
                    </a:lnTo>
                    <a:lnTo>
                      <a:pt x="148" y="0"/>
                    </a:lnTo>
                    <a:lnTo>
                      <a:pt x="14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43" name="Freeform 30"/>
              <p:cNvSpPr>
                <a:spLocks noEditPoints="1"/>
              </p:cNvSpPr>
              <p:nvPr/>
            </p:nvSpPr>
            <p:spPr bwMode="auto">
              <a:xfrm>
                <a:off x="6675438" y="3219450"/>
                <a:ext cx="2863850" cy="2841625"/>
              </a:xfrm>
              <a:custGeom>
                <a:avLst/>
                <a:gdLst>
                  <a:gd name="T0" fmla="*/ 1766 w 1804"/>
                  <a:gd name="T1" fmla="*/ 638 h 1790"/>
                  <a:gd name="T2" fmla="*/ 1724 w 1804"/>
                  <a:gd name="T3" fmla="*/ 610 h 1790"/>
                  <a:gd name="T4" fmla="*/ 1450 w 1804"/>
                  <a:gd name="T5" fmla="*/ 540 h 1790"/>
                  <a:gd name="T6" fmla="*/ 1564 w 1804"/>
                  <a:gd name="T7" fmla="*/ 310 h 1790"/>
                  <a:gd name="T8" fmla="*/ 1542 w 1804"/>
                  <a:gd name="T9" fmla="*/ 264 h 1790"/>
                  <a:gd name="T10" fmla="*/ 1390 w 1804"/>
                  <a:gd name="T11" fmla="*/ 148 h 1790"/>
                  <a:gd name="T12" fmla="*/ 1342 w 1804"/>
                  <a:gd name="T13" fmla="*/ 158 h 1790"/>
                  <a:gd name="T14" fmla="*/ 1042 w 1804"/>
                  <a:gd name="T15" fmla="*/ 50 h 1790"/>
                  <a:gd name="T16" fmla="*/ 1020 w 1804"/>
                  <a:gd name="T17" fmla="*/ 16 h 1790"/>
                  <a:gd name="T18" fmla="*/ 820 w 1804"/>
                  <a:gd name="T19" fmla="*/ 0 h 1790"/>
                  <a:gd name="T20" fmla="*/ 782 w 1804"/>
                  <a:gd name="T21" fmla="*/ 16 h 1790"/>
                  <a:gd name="T22" fmla="*/ 714 w 1804"/>
                  <a:gd name="T23" fmla="*/ 282 h 1790"/>
                  <a:gd name="T24" fmla="*/ 458 w 1804"/>
                  <a:gd name="T25" fmla="*/ 160 h 1790"/>
                  <a:gd name="T26" fmla="*/ 408 w 1804"/>
                  <a:gd name="T27" fmla="*/ 150 h 1790"/>
                  <a:gd name="T28" fmla="*/ 258 w 1804"/>
                  <a:gd name="T29" fmla="*/ 266 h 1790"/>
                  <a:gd name="T30" fmla="*/ 236 w 1804"/>
                  <a:gd name="T31" fmla="*/ 312 h 1790"/>
                  <a:gd name="T32" fmla="*/ 360 w 1804"/>
                  <a:gd name="T33" fmla="*/ 556 h 1790"/>
                  <a:gd name="T34" fmla="*/ 78 w 1804"/>
                  <a:gd name="T35" fmla="*/ 610 h 1790"/>
                  <a:gd name="T36" fmla="*/ 36 w 1804"/>
                  <a:gd name="T37" fmla="*/ 640 h 1790"/>
                  <a:gd name="T38" fmla="*/ 0 w 1804"/>
                  <a:gd name="T39" fmla="*/ 828 h 1790"/>
                  <a:gd name="T40" fmla="*/ 20 w 1804"/>
                  <a:gd name="T41" fmla="*/ 874 h 1790"/>
                  <a:gd name="T42" fmla="*/ 270 w 1804"/>
                  <a:gd name="T43" fmla="*/ 1024 h 1790"/>
                  <a:gd name="T44" fmla="*/ 92 w 1804"/>
                  <a:gd name="T45" fmla="*/ 1254 h 1790"/>
                  <a:gd name="T46" fmla="*/ 90 w 1804"/>
                  <a:gd name="T47" fmla="*/ 1304 h 1790"/>
                  <a:gd name="T48" fmla="*/ 194 w 1804"/>
                  <a:gd name="T49" fmla="*/ 1466 h 1790"/>
                  <a:gd name="T50" fmla="*/ 244 w 1804"/>
                  <a:gd name="T51" fmla="*/ 1478 h 1790"/>
                  <a:gd name="T52" fmla="*/ 538 w 1804"/>
                  <a:gd name="T53" fmla="*/ 1436 h 1790"/>
                  <a:gd name="T54" fmla="*/ 518 w 1804"/>
                  <a:gd name="T55" fmla="*/ 1706 h 1790"/>
                  <a:gd name="T56" fmla="*/ 556 w 1804"/>
                  <a:gd name="T57" fmla="*/ 1740 h 1790"/>
                  <a:gd name="T58" fmla="*/ 742 w 1804"/>
                  <a:gd name="T59" fmla="*/ 1790 h 1790"/>
                  <a:gd name="T60" fmla="*/ 782 w 1804"/>
                  <a:gd name="T61" fmla="*/ 1760 h 1790"/>
                  <a:gd name="T62" fmla="*/ 942 w 1804"/>
                  <a:gd name="T63" fmla="*/ 1552 h 1790"/>
                  <a:gd name="T64" fmla="*/ 1124 w 1804"/>
                  <a:gd name="T65" fmla="*/ 1756 h 1790"/>
                  <a:gd name="T66" fmla="*/ 1174 w 1804"/>
                  <a:gd name="T67" fmla="*/ 1768 h 1790"/>
                  <a:gd name="T68" fmla="*/ 1348 w 1804"/>
                  <a:gd name="T69" fmla="*/ 1688 h 1790"/>
                  <a:gd name="T70" fmla="*/ 1368 w 1804"/>
                  <a:gd name="T71" fmla="*/ 1642 h 1790"/>
                  <a:gd name="T72" fmla="*/ 1578 w 1804"/>
                  <a:gd name="T73" fmla="*/ 1442 h 1790"/>
                  <a:gd name="T74" fmla="*/ 1620 w 1804"/>
                  <a:gd name="T75" fmla="*/ 1440 h 1790"/>
                  <a:gd name="T76" fmla="*/ 1730 w 1804"/>
                  <a:gd name="T77" fmla="*/ 1272 h 1790"/>
                  <a:gd name="T78" fmla="*/ 1736 w 1804"/>
                  <a:gd name="T79" fmla="*/ 1230 h 1790"/>
                  <a:gd name="T80" fmla="*/ 1544 w 1804"/>
                  <a:gd name="T81" fmla="*/ 1048 h 1790"/>
                  <a:gd name="T82" fmla="*/ 1766 w 1804"/>
                  <a:gd name="T83" fmla="*/ 886 h 1790"/>
                  <a:gd name="T84" fmla="*/ 1800 w 1804"/>
                  <a:gd name="T85" fmla="*/ 848 h 1790"/>
                  <a:gd name="T86" fmla="*/ 910 w 1804"/>
                  <a:gd name="T87" fmla="*/ 1248 h 1790"/>
                  <a:gd name="T88" fmla="*/ 776 w 1804"/>
                  <a:gd name="T89" fmla="*/ 1220 h 1790"/>
                  <a:gd name="T90" fmla="*/ 644 w 1804"/>
                  <a:gd name="T91" fmla="*/ 1122 h 1790"/>
                  <a:gd name="T92" fmla="*/ 572 w 1804"/>
                  <a:gd name="T93" fmla="*/ 972 h 1790"/>
                  <a:gd name="T94" fmla="*/ 572 w 1804"/>
                  <a:gd name="T95" fmla="*/ 834 h 1790"/>
                  <a:gd name="T96" fmla="*/ 644 w 1804"/>
                  <a:gd name="T97" fmla="*/ 684 h 1790"/>
                  <a:gd name="T98" fmla="*/ 776 w 1804"/>
                  <a:gd name="T99" fmla="*/ 586 h 1790"/>
                  <a:gd name="T100" fmla="*/ 910 w 1804"/>
                  <a:gd name="T101" fmla="*/ 558 h 1790"/>
                  <a:gd name="T102" fmla="*/ 1074 w 1804"/>
                  <a:gd name="T103" fmla="*/ 600 h 1790"/>
                  <a:gd name="T104" fmla="*/ 1196 w 1804"/>
                  <a:gd name="T105" fmla="*/ 710 h 1790"/>
                  <a:gd name="T106" fmla="*/ 1252 w 1804"/>
                  <a:gd name="T107" fmla="*/ 868 h 1790"/>
                  <a:gd name="T108" fmla="*/ 1238 w 1804"/>
                  <a:gd name="T109" fmla="*/ 1006 h 1790"/>
                  <a:gd name="T110" fmla="*/ 1154 w 1804"/>
                  <a:gd name="T111" fmla="*/ 1146 h 1790"/>
                  <a:gd name="T112" fmla="*/ 1012 w 1804"/>
                  <a:gd name="T113" fmla="*/ 1232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4" h="1790">
                    <a:moveTo>
                      <a:pt x="1804" y="816"/>
                    </a:moveTo>
                    <a:lnTo>
                      <a:pt x="1774" y="658"/>
                    </a:lnTo>
                    <a:lnTo>
                      <a:pt x="1774" y="658"/>
                    </a:lnTo>
                    <a:lnTo>
                      <a:pt x="1770" y="648"/>
                    </a:lnTo>
                    <a:lnTo>
                      <a:pt x="1766" y="638"/>
                    </a:lnTo>
                    <a:lnTo>
                      <a:pt x="1760" y="630"/>
                    </a:lnTo>
                    <a:lnTo>
                      <a:pt x="1752" y="624"/>
                    </a:lnTo>
                    <a:lnTo>
                      <a:pt x="1744" y="616"/>
                    </a:lnTo>
                    <a:lnTo>
                      <a:pt x="1734" y="612"/>
                    </a:lnTo>
                    <a:lnTo>
                      <a:pt x="1724" y="610"/>
                    </a:lnTo>
                    <a:lnTo>
                      <a:pt x="1714" y="608"/>
                    </a:lnTo>
                    <a:lnTo>
                      <a:pt x="1488" y="604"/>
                    </a:lnTo>
                    <a:lnTo>
                      <a:pt x="1488" y="604"/>
                    </a:lnTo>
                    <a:lnTo>
                      <a:pt x="1470" y="572"/>
                    </a:lnTo>
                    <a:lnTo>
                      <a:pt x="1450" y="540"/>
                    </a:lnTo>
                    <a:lnTo>
                      <a:pt x="1558" y="340"/>
                    </a:lnTo>
                    <a:lnTo>
                      <a:pt x="1558" y="340"/>
                    </a:lnTo>
                    <a:lnTo>
                      <a:pt x="1562" y="330"/>
                    </a:lnTo>
                    <a:lnTo>
                      <a:pt x="1564" y="320"/>
                    </a:lnTo>
                    <a:lnTo>
                      <a:pt x="1564" y="310"/>
                    </a:lnTo>
                    <a:lnTo>
                      <a:pt x="1564" y="300"/>
                    </a:lnTo>
                    <a:lnTo>
                      <a:pt x="1560" y="288"/>
                    </a:lnTo>
                    <a:lnTo>
                      <a:pt x="1556" y="280"/>
                    </a:lnTo>
                    <a:lnTo>
                      <a:pt x="1550" y="270"/>
                    </a:lnTo>
                    <a:lnTo>
                      <a:pt x="1542" y="264"/>
                    </a:lnTo>
                    <a:lnTo>
                      <a:pt x="1420" y="160"/>
                    </a:lnTo>
                    <a:lnTo>
                      <a:pt x="1420" y="160"/>
                    </a:lnTo>
                    <a:lnTo>
                      <a:pt x="1410" y="154"/>
                    </a:lnTo>
                    <a:lnTo>
                      <a:pt x="1402" y="150"/>
                    </a:lnTo>
                    <a:lnTo>
                      <a:pt x="1390" y="148"/>
                    </a:lnTo>
                    <a:lnTo>
                      <a:pt x="1380" y="146"/>
                    </a:lnTo>
                    <a:lnTo>
                      <a:pt x="1370" y="146"/>
                    </a:lnTo>
                    <a:lnTo>
                      <a:pt x="1360" y="150"/>
                    </a:lnTo>
                    <a:lnTo>
                      <a:pt x="1350" y="154"/>
                    </a:lnTo>
                    <a:lnTo>
                      <a:pt x="1342" y="158"/>
                    </a:lnTo>
                    <a:lnTo>
                      <a:pt x="1160" y="302"/>
                    </a:lnTo>
                    <a:lnTo>
                      <a:pt x="1160" y="302"/>
                    </a:lnTo>
                    <a:lnTo>
                      <a:pt x="1126" y="290"/>
                    </a:lnTo>
                    <a:lnTo>
                      <a:pt x="1090" y="278"/>
                    </a:lnTo>
                    <a:lnTo>
                      <a:pt x="1042" y="50"/>
                    </a:lnTo>
                    <a:lnTo>
                      <a:pt x="1042" y="50"/>
                    </a:lnTo>
                    <a:lnTo>
                      <a:pt x="1040" y="40"/>
                    </a:lnTo>
                    <a:lnTo>
                      <a:pt x="1034" y="32"/>
                    </a:lnTo>
                    <a:lnTo>
                      <a:pt x="1028" y="22"/>
                    </a:lnTo>
                    <a:lnTo>
                      <a:pt x="1020" y="16"/>
                    </a:lnTo>
                    <a:lnTo>
                      <a:pt x="1012" y="10"/>
                    </a:lnTo>
                    <a:lnTo>
                      <a:pt x="1002" y="4"/>
                    </a:lnTo>
                    <a:lnTo>
                      <a:pt x="992" y="2"/>
                    </a:lnTo>
                    <a:lnTo>
                      <a:pt x="982" y="0"/>
                    </a:lnTo>
                    <a:lnTo>
                      <a:pt x="820" y="0"/>
                    </a:lnTo>
                    <a:lnTo>
                      <a:pt x="820" y="0"/>
                    </a:lnTo>
                    <a:lnTo>
                      <a:pt x="810" y="2"/>
                    </a:lnTo>
                    <a:lnTo>
                      <a:pt x="800" y="4"/>
                    </a:lnTo>
                    <a:lnTo>
                      <a:pt x="792" y="10"/>
                    </a:lnTo>
                    <a:lnTo>
                      <a:pt x="782" y="16"/>
                    </a:lnTo>
                    <a:lnTo>
                      <a:pt x="774" y="22"/>
                    </a:lnTo>
                    <a:lnTo>
                      <a:pt x="768" y="32"/>
                    </a:lnTo>
                    <a:lnTo>
                      <a:pt x="764" y="40"/>
                    </a:lnTo>
                    <a:lnTo>
                      <a:pt x="760" y="50"/>
                    </a:lnTo>
                    <a:lnTo>
                      <a:pt x="714" y="282"/>
                    </a:lnTo>
                    <a:lnTo>
                      <a:pt x="714" y="282"/>
                    </a:lnTo>
                    <a:lnTo>
                      <a:pt x="680" y="294"/>
                    </a:lnTo>
                    <a:lnTo>
                      <a:pt x="646" y="308"/>
                    </a:lnTo>
                    <a:lnTo>
                      <a:pt x="458" y="160"/>
                    </a:lnTo>
                    <a:lnTo>
                      <a:pt x="458" y="160"/>
                    </a:lnTo>
                    <a:lnTo>
                      <a:pt x="450" y="156"/>
                    </a:lnTo>
                    <a:lnTo>
                      <a:pt x="440" y="152"/>
                    </a:lnTo>
                    <a:lnTo>
                      <a:pt x="430" y="150"/>
                    </a:lnTo>
                    <a:lnTo>
                      <a:pt x="420" y="148"/>
                    </a:lnTo>
                    <a:lnTo>
                      <a:pt x="408" y="150"/>
                    </a:lnTo>
                    <a:lnTo>
                      <a:pt x="398" y="152"/>
                    </a:lnTo>
                    <a:lnTo>
                      <a:pt x="390" y="156"/>
                    </a:lnTo>
                    <a:lnTo>
                      <a:pt x="380" y="162"/>
                    </a:lnTo>
                    <a:lnTo>
                      <a:pt x="258" y="266"/>
                    </a:lnTo>
                    <a:lnTo>
                      <a:pt x="258" y="266"/>
                    </a:lnTo>
                    <a:lnTo>
                      <a:pt x="250" y="274"/>
                    </a:lnTo>
                    <a:lnTo>
                      <a:pt x="244" y="282"/>
                    </a:lnTo>
                    <a:lnTo>
                      <a:pt x="240" y="292"/>
                    </a:lnTo>
                    <a:lnTo>
                      <a:pt x="238" y="302"/>
                    </a:lnTo>
                    <a:lnTo>
                      <a:pt x="236" y="312"/>
                    </a:lnTo>
                    <a:lnTo>
                      <a:pt x="236" y="324"/>
                    </a:lnTo>
                    <a:lnTo>
                      <a:pt x="240" y="334"/>
                    </a:lnTo>
                    <a:lnTo>
                      <a:pt x="244" y="342"/>
                    </a:lnTo>
                    <a:lnTo>
                      <a:pt x="360" y="556"/>
                    </a:lnTo>
                    <a:lnTo>
                      <a:pt x="360" y="556"/>
                    </a:lnTo>
                    <a:lnTo>
                      <a:pt x="346" y="580"/>
                    </a:lnTo>
                    <a:lnTo>
                      <a:pt x="332" y="604"/>
                    </a:lnTo>
                    <a:lnTo>
                      <a:pt x="88" y="608"/>
                    </a:lnTo>
                    <a:lnTo>
                      <a:pt x="88" y="608"/>
                    </a:lnTo>
                    <a:lnTo>
                      <a:pt x="78" y="610"/>
                    </a:lnTo>
                    <a:lnTo>
                      <a:pt x="68" y="614"/>
                    </a:lnTo>
                    <a:lnTo>
                      <a:pt x="60" y="618"/>
                    </a:lnTo>
                    <a:lnTo>
                      <a:pt x="50" y="624"/>
                    </a:lnTo>
                    <a:lnTo>
                      <a:pt x="44" y="632"/>
                    </a:lnTo>
                    <a:lnTo>
                      <a:pt x="36" y="640"/>
                    </a:lnTo>
                    <a:lnTo>
                      <a:pt x="32" y="650"/>
                    </a:lnTo>
                    <a:lnTo>
                      <a:pt x="30" y="660"/>
                    </a:lnTo>
                    <a:lnTo>
                      <a:pt x="0" y="818"/>
                    </a:lnTo>
                    <a:lnTo>
                      <a:pt x="0" y="818"/>
                    </a:lnTo>
                    <a:lnTo>
                      <a:pt x="0" y="828"/>
                    </a:lnTo>
                    <a:lnTo>
                      <a:pt x="0" y="838"/>
                    </a:lnTo>
                    <a:lnTo>
                      <a:pt x="2" y="848"/>
                    </a:lnTo>
                    <a:lnTo>
                      <a:pt x="8" y="858"/>
                    </a:lnTo>
                    <a:lnTo>
                      <a:pt x="12" y="868"/>
                    </a:lnTo>
                    <a:lnTo>
                      <a:pt x="20" y="874"/>
                    </a:lnTo>
                    <a:lnTo>
                      <a:pt x="28" y="882"/>
                    </a:lnTo>
                    <a:lnTo>
                      <a:pt x="38" y="886"/>
                    </a:lnTo>
                    <a:lnTo>
                      <a:pt x="264" y="978"/>
                    </a:lnTo>
                    <a:lnTo>
                      <a:pt x="264" y="978"/>
                    </a:lnTo>
                    <a:lnTo>
                      <a:pt x="270" y="1024"/>
                    </a:lnTo>
                    <a:lnTo>
                      <a:pt x="280" y="1068"/>
                    </a:lnTo>
                    <a:lnTo>
                      <a:pt x="104" y="1236"/>
                    </a:lnTo>
                    <a:lnTo>
                      <a:pt x="104" y="1236"/>
                    </a:lnTo>
                    <a:lnTo>
                      <a:pt x="98" y="1244"/>
                    </a:lnTo>
                    <a:lnTo>
                      <a:pt x="92" y="1254"/>
                    </a:lnTo>
                    <a:lnTo>
                      <a:pt x="88" y="1264"/>
                    </a:lnTo>
                    <a:lnTo>
                      <a:pt x="86" y="1274"/>
                    </a:lnTo>
                    <a:lnTo>
                      <a:pt x="86" y="1284"/>
                    </a:lnTo>
                    <a:lnTo>
                      <a:pt x="86" y="1294"/>
                    </a:lnTo>
                    <a:lnTo>
                      <a:pt x="90" y="1304"/>
                    </a:lnTo>
                    <a:lnTo>
                      <a:pt x="94" y="1314"/>
                    </a:lnTo>
                    <a:lnTo>
                      <a:pt x="180" y="1450"/>
                    </a:lnTo>
                    <a:lnTo>
                      <a:pt x="180" y="1450"/>
                    </a:lnTo>
                    <a:lnTo>
                      <a:pt x="186" y="1458"/>
                    </a:lnTo>
                    <a:lnTo>
                      <a:pt x="194" y="1466"/>
                    </a:lnTo>
                    <a:lnTo>
                      <a:pt x="204" y="1472"/>
                    </a:lnTo>
                    <a:lnTo>
                      <a:pt x="212" y="1476"/>
                    </a:lnTo>
                    <a:lnTo>
                      <a:pt x="222" y="1478"/>
                    </a:lnTo>
                    <a:lnTo>
                      <a:pt x="234" y="1480"/>
                    </a:lnTo>
                    <a:lnTo>
                      <a:pt x="244" y="1478"/>
                    </a:lnTo>
                    <a:lnTo>
                      <a:pt x="254" y="1476"/>
                    </a:lnTo>
                    <a:lnTo>
                      <a:pt x="480" y="1390"/>
                    </a:lnTo>
                    <a:lnTo>
                      <a:pt x="480" y="1390"/>
                    </a:lnTo>
                    <a:lnTo>
                      <a:pt x="508" y="1414"/>
                    </a:lnTo>
                    <a:lnTo>
                      <a:pt x="538" y="1436"/>
                    </a:lnTo>
                    <a:lnTo>
                      <a:pt x="514" y="1676"/>
                    </a:lnTo>
                    <a:lnTo>
                      <a:pt x="514" y="1676"/>
                    </a:lnTo>
                    <a:lnTo>
                      <a:pt x="514" y="1686"/>
                    </a:lnTo>
                    <a:lnTo>
                      <a:pt x="514" y="1696"/>
                    </a:lnTo>
                    <a:lnTo>
                      <a:pt x="518" y="1706"/>
                    </a:lnTo>
                    <a:lnTo>
                      <a:pt x="524" y="1716"/>
                    </a:lnTo>
                    <a:lnTo>
                      <a:pt x="530" y="1724"/>
                    </a:lnTo>
                    <a:lnTo>
                      <a:pt x="538" y="1730"/>
                    </a:lnTo>
                    <a:lnTo>
                      <a:pt x="546" y="1736"/>
                    </a:lnTo>
                    <a:lnTo>
                      <a:pt x="556" y="1740"/>
                    </a:lnTo>
                    <a:lnTo>
                      <a:pt x="710" y="1788"/>
                    </a:lnTo>
                    <a:lnTo>
                      <a:pt x="710" y="1788"/>
                    </a:lnTo>
                    <a:lnTo>
                      <a:pt x="720" y="1790"/>
                    </a:lnTo>
                    <a:lnTo>
                      <a:pt x="730" y="1790"/>
                    </a:lnTo>
                    <a:lnTo>
                      <a:pt x="742" y="1790"/>
                    </a:lnTo>
                    <a:lnTo>
                      <a:pt x="752" y="1786"/>
                    </a:lnTo>
                    <a:lnTo>
                      <a:pt x="760" y="1782"/>
                    </a:lnTo>
                    <a:lnTo>
                      <a:pt x="770" y="1776"/>
                    </a:lnTo>
                    <a:lnTo>
                      <a:pt x="776" y="1768"/>
                    </a:lnTo>
                    <a:lnTo>
                      <a:pt x="782" y="1760"/>
                    </a:lnTo>
                    <a:lnTo>
                      <a:pt x="896" y="1554"/>
                    </a:lnTo>
                    <a:lnTo>
                      <a:pt x="896" y="1554"/>
                    </a:lnTo>
                    <a:lnTo>
                      <a:pt x="910" y="1554"/>
                    </a:lnTo>
                    <a:lnTo>
                      <a:pt x="910" y="1554"/>
                    </a:lnTo>
                    <a:lnTo>
                      <a:pt x="942" y="1552"/>
                    </a:lnTo>
                    <a:lnTo>
                      <a:pt x="976" y="1550"/>
                    </a:lnTo>
                    <a:lnTo>
                      <a:pt x="1108" y="1742"/>
                    </a:lnTo>
                    <a:lnTo>
                      <a:pt x="1108" y="1742"/>
                    </a:lnTo>
                    <a:lnTo>
                      <a:pt x="1116" y="1750"/>
                    </a:lnTo>
                    <a:lnTo>
                      <a:pt x="1124" y="1756"/>
                    </a:lnTo>
                    <a:lnTo>
                      <a:pt x="1132" y="1762"/>
                    </a:lnTo>
                    <a:lnTo>
                      <a:pt x="1142" y="1766"/>
                    </a:lnTo>
                    <a:lnTo>
                      <a:pt x="1152" y="1768"/>
                    </a:lnTo>
                    <a:lnTo>
                      <a:pt x="1164" y="1768"/>
                    </a:lnTo>
                    <a:lnTo>
                      <a:pt x="1174" y="1768"/>
                    </a:lnTo>
                    <a:lnTo>
                      <a:pt x="1184" y="1764"/>
                    </a:lnTo>
                    <a:lnTo>
                      <a:pt x="1332" y="1700"/>
                    </a:lnTo>
                    <a:lnTo>
                      <a:pt x="1332" y="1700"/>
                    </a:lnTo>
                    <a:lnTo>
                      <a:pt x="1340" y="1696"/>
                    </a:lnTo>
                    <a:lnTo>
                      <a:pt x="1348" y="1688"/>
                    </a:lnTo>
                    <a:lnTo>
                      <a:pt x="1356" y="1680"/>
                    </a:lnTo>
                    <a:lnTo>
                      <a:pt x="1362" y="1672"/>
                    </a:lnTo>
                    <a:lnTo>
                      <a:pt x="1366" y="1662"/>
                    </a:lnTo>
                    <a:lnTo>
                      <a:pt x="1368" y="1652"/>
                    </a:lnTo>
                    <a:lnTo>
                      <a:pt x="1368" y="1642"/>
                    </a:lnTo>
                    <a:lnTo>
                      <a:pt x="1368" y="1632"/>
                    </a:lnTo>
                    <a:lnTo>
                      <a:pt x="1322" y="1406"/>
                    </a:lnTo>
                    <a:lnTo>
                      <a:pt x="1322" y="1406"/>
                    </a:lnTo>
                    <a:lnTo>
                      <a:pt x="1360" y="1372"/>
                    </a:lnTo>
                    <a:lnTo>
                      <a:pt x="1578" y="1442"/>
                    </a:lnTo>
                    <a:lnTo>
                      <a:pt x="1578" y="1442"/>
                    </a:lnTo>
                    <a:lnTo>
                      <a:pt x="1588" y="1444"/>
                    </a:lnTo>
                    <a:lnTo>
                      <a:pt x="1598" y="1444"/>
                    </a:lnTo>
                    <a:lnTo>
                      <a:pt x="1610" y="1442"/>
                    </a:lnTo>
                    <a:lnTo>
                      <a:pt x="1620" y="1440"/>
                    </a:lnTo>
                    <a:lnTo>
                      <a:pt x="1628" y="1434"/>
                    </a:lnTo>
                    <a:lnTo>
                      <a:pt x="1638" y="1428"/>
                    </a:lnTo>
                    <a:lnTo>
                      <a:pt x="1644" y="1422"/>
                    </a:lnTo>
                    <a:lnTo>
                      <a:pt x="1650" y="1412"/>
                    </a:lnTo>
                    <a:lnTo>
                      <a:pt x="1730" y="1272"/>
                    </a:lnTo>
                    <a:lnTo>
                      <a:pt x="1730" y="1272"/>
                    </a:lnTo>
                    <a:lnTo>
                      <a:pt x="1734" y="1262"/>
                    </a:lnTo>
                    <a:lnTo>
                      <a:pt x="1736" y="1252"/>
                    </a:lnTo>
                    <a:lnTo>
                      <a:pt x="1736" y="1242"/>
                    </a:lnTo>
                    <a:lnTo>
                      <a:pt x="1736" y="1230"/>
                    </a:lnTo>
                    <a:lnTo>
                      <a:pt x="1732" y="1220"/>
                    </a:lnTo>
                    <a:lnTo>
                      <a:pt x="1728" y="1212"/>
                    </a:lnTo>
                    <a:lnTo>
                      <a:pt x="1722" y="1202"/>
                    </a:lnTo>
                    <a:lnTo>
                      <a:pt x="1716" y="1194"/>
                    </a:lnTo>
                    <a:lnTo>
                      <a:pt x="1544" y="1048"/>
                    </a:lnTo>
                    <a:lnTo>
                      <a:pt x="1544" y="1048"/>
                    </a:lnTo>
                    <a:lnTo>
                      <a:pt x="1552" y="1010"/>
                    </a:lnTo>
                    <a:lnTo>
                      <a:pt x="1556" y="970"/>
                    </a:lnTo>
                    <a:lnTo>
                      <a:pt x="1766" y="886"/>
                    </a:lnTo>
                    <a:lnTo>
                      <a:pt x="1766" y="886"/>
                    </a:lnTo>
                    <a:lnTo>
                      <a:pt x="1776" y="880"/>
                    </a:lnTo>
                    <a:lnTo>
                      <a:pt x="1784" y="874"/>
                    </a:lnTo>
                    <a:lnTo>
                      <a:pt x="1790" y="866"/>
                    </a:lnTo>
                    <a:lnTo>
                      <a:pt x="1796" y="858"/>
                    </a:lnTo>
                    <a:lnTo>
                      <a:pt x="1800" y="848"/>
                    </a:lnTo>
                    <a:lnTo>
                      <a:pt x="1804" y="838"/>
                    </a:lnTo>
                    <a:lnTo>
                      <a:pt x="1804" y="828"/>
                    </a:lnTo>
                    <a:lnTo>
                      <a:pt x="1804" y="816"/>
                    </a:lnTo>
                    <a:lnTo>
                      <a:pt x="1804" y="816"/>
                    </a:lnTo>
                    <a:close/>
                    <a:moveTo>
                      <a:pt x="910" y="1248"/>
                    </a:moveTo>
                    <a:lnTo>
                      <a:pt x="910" y="1248"/>
                    </a:lnTo>
                    <a:lnTo>
                      <a:pt x="874" y="1246"/>
                    </a:lnTo>
                    <a:lnTo>
                      <a:pt x="840" y="1240"/>
                    </a:lnTo>
                    <a:lnTo>
                      <a:pt x="808" y="1232"/>
                    </a:lnTo>
                    <a:lnTo>
                      <a:pt x="776" y="1220"/>
                    </a:lnTo>
                    <a:lnTo>
                      <a:pt x="746" y="1206"/>
                    </a:lnTo>
                    <a:lnTo>
                      <a:pt x="718" y="1188"/>
                    </a:lnTo>
                    <a:lnTo>
                      <a:pt x="690" y="1168"/>
                    </a:lnTo>
                    <a:lnTo>
                      <a:pt x="666" y="1146"/>
                    </a:lnTo>
                    <a:lnTo>
                      <a:pt x="644" y="1122"/>
                    </a:lnTo>
                    <a:lnTo>
                      <a:pt x="624" y="1096"/>
                    </a:lnTo>
                    <a:lnTo>
                      <a:pt x="606" y="1068"/>
                    </a:lnTo>
                    <a:lnTo>
                      <a:pt x="592" y="1038"/>
                    </a:lnTo>
                    <a:lnTo>
                      <a:pt x="580" y="1006"/>
                    </a:lnTo>
                    <a:lnTo>
                      <a:pt x="572" y="972"/>
                    </a:lnTo>
                    <a:lnTo>
                      <a:pt x="568" y="938"/>
                    </a:lnTo>
                    <a:lnTo>
                      <a:pt x="566" y="904"/>
                    </a:lnTo>
                    <a:lnTo>
                      <a:pt x="566" y="904"/>
                    </a:lnTo>
                    <a:lnTo>
                      <a:pt x="568" y="868"/>
                    </a:lnTo>
                    <a:lnTo>
                      <a:pt x="572" y="834"/>
                    </a:lnTo>
                    <a:lnTo>
                      <a:pt x="580" y="800"/>
                    </a:lnTo>
                    <a:lnTo>
                      <a:pt x="592" y="770"/>
                    </a:lnTo>
                    <a:lnTo>
                      <a:pt x="606" y="738"/>
                    </a:lnTo>
                    <a:lnTo>
                      <a:pt x="624" y="710"/>
                    </a:lnTo>
                    <a:lnTo>
                      <a:pt x="644" y="684"/>
                    </a:lnTo>
                    <a:lnTo>
                      <a:pt x="666" y="660"/>
                    </a:lnTo>
                    <a:lnTo>
                      <a:pt x="690" y="638"/>
                    </a:lnTo>
                    <a:lnTo>
                      <a:pt x="718" y="618"/>
                    </a:lnTo>
                    <a:lnTo>
                      <a:pt x="746" y="600"/>
                    </a:lnTo>
                    <a:lnTo>
                      <a:pt x="776" y="586"/>
                    </a:lnTo>
                    <a:lnTo>
                      <a:pt x="808" y="574"/>
                    </a:lnTo>
                    <a:lnTo>
                      <a:pt x="840" y="566"/>
                    </a:lnTo>
                    <a:lnTo>
                      <a:pt x="874" y="560"/>
                    </a:lnTo>
                    <a:lnTo>
                      <a:pt x="910" y="558"/>
                    </a:lnTo>
                    <a:lnTo>
                      <a:pt x="910" y="558"/>
                    </a:lnTo>
                    <a:lnTo>
                      <a:pt x="944" y="560"/>
                    </a:lnTo>
                    <a:lnTo>
                      <a:pt x="980" y="566"/>
                    </a:lnTo>
                    <a:lnTo>
                      <a:pt x="1012" y="574"/>
                    </a:lnTo>
                    <a:lnTo>
                      <a:pt x="1044" y="586"/>
                    </a:lnTo>
                    <a:lnTo>
                      <a:pt x="1074" y="600"/>
                    </a:lnTo>
                    <a:lnTo>
                      <a:pt x="1102" y="618"/>
                    </a:lnTo>
                    <a:lnTo>
                      <a:pt x="1128" y="638"/>
                    </a:lnTo>
                    <a:lnTo>
                      <a:pt x="1154" y="660"/>
                    </a:lnTo>
                    <a:lnTo>
                      <a:pt x="1176" y="684"/>
                    </a:lnTo>
                    <a:lnTo>
                      <a:pt x="1196" y="710"/>
                    </a:lnTo>
                    <a:lnTo>
                      <a:pt x="1212" y="738"/>
                    </a:lnTo>
                    <a:lnTo>
                      <a:pt x="1226" y="770"/>
                    </a:lnTo>
                    <a:lnTo>
                      <a:pt x="1238" y="800"/>
                    </a:lnTo>
                    <a:lnTo>
                      <a:pt x="1248" y="834"/>
                    </a:lnTo>
                    <a:lnTo>
                      <a:pt x="1252" y="868"/>
                    </a:lnTo>
                    <a:lnTo>
                      <a:pt x="1254" y="904"/>
                    </a:lnTo>
                    <a:lnTo>
                      <a:pt x="1254" y="904"/>
                    </a:lnTo>
                    <a:lnTo>
                      <a:pt x="1252" y="938"/>
                    </a:lnTo>
                    <a:lnTo>
                      <a:pt x="1248" y="972"/>
                    </a:lnTo>
                    <a:lnTo>
                      <a:pt x="1238" y="1006"/>
                    </a:lnTo>
                    <a:lnTo>
                      <a:pt x="1226" y="1038"/>
                    </a:lnTo>
                    <a:lnTo>
                      <a:pt x="1212" y="1068"/>
                    </a:lnTo>
                    <a:lnTo>
                      <a:pt x="1196" y="1096"/>
                    </a:lnTo>
                    <a:lnTo>
                      <a:pt x="1176" y="1122"/>
                    </a:lnTo>
                    <a:lnTo>
                      <a:pt x="1154" y="1146"/>
                    </a:lnTo>
                    <a:lnTo>
                      <a:pt x="1128" y="1168"/>
                    </a:lnTo>
                    <a:lnTo>
                      <a:pt x="1102" y="1188"/>
                    </a:lnTo>
                    <a:lnTo>
                      <a:pt x="1074" y="1206"/>
                    </a:lnTo>
                    <a:lnTo>
                      <a:pt x="1044" y="1220"/>
                    </a:lnTo>
                    <a:lnTo>
                      <a:pt x="1012" y="1232"/>
                    </a:lnTo>
                    <a:lnTo>
                      <a:pt x="980" y="1240"/>
                    </a:lnTo>
                    <a:lnTo>
                      <a:pt x="944" y="1246"/>
                    </a:lnTo>
                    <a:lnTo>
                      <a:pt x="910" y="1248"/>
                    </a:lnTo>
                    <a:lnTo>
                      <a:pt x="910" y="12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
          <p:nvSpPr>
            <p:cNvPr id="38" name="Freeform 31"/>
            <p:cNvSpPr>
              <a:spLocks noEditPoints="1"/>
            </p:cNvSpPr>
            <p:nvPr/>
          </p:nvSpPr>
          <p:spPr bwMode="auto">
            <a:xfrm>
              <a:off x="6148650" y="3959656"/>
              <a:ext cx="316872" cy="361616"/>
            </a:xfrm>
            <a:custGeom>
              <a:avLst/>
              <a:gdLst>
                <a:gd name="T0" fmla="*/ 800 w 864"/>
                <a:gd name="T1" fmla="*/ 560 h 986"/>
                <a:gd name="T2" fmla="*/ 804 w 864"/>
                <a:gd name="T3" fmla="*/ 464 h 986"/>
                <a:gd name="T4" fmla="*/ 846 w 864"/>
                <a:gd name="T5" fmla="*/ 318 h 986"/>
                <a:gd name="T6" fmla="*/ 862 w 864"/>
                <a:gd name="T7" fmla="*/ 290 h 986"/>
                <a:gd name="T8" fmla="*/ 860 w 864"/>
                <a:gd name="T9" fmla="*/ 248 h 986"/>
                <a:gd name="T10" fmla="*/ 830 w 864"/>
                <a:gd name="T11" fmla="*/ 204 h 986"/>
                <a:gd name="T12" fmla="*/ 794 w 864"/>
                <a:gd name="T13" fmla="*/ 184 h 986"/>
                <a:gd name="T14" fmla="*/ 678 w 864"/>
                <a:gd name="T15" fmla="*/ 222 h 986"/>
                <a:gd name="T16" fmla="*/ 626 w 864"/>
                <a:gd name="T17" fmla="*/ 186 h 986"/>
                <a:gd name="T18" fmla="*/ 550 w 864"/>
                <a:gd name="T19" fmla="*/ 154 h 986"/>
                <a:gd name="T20" fmla="*/ 506 w 864"/>
                <a:gd name="T21" fmla="*/ 42 h 986"/>
                <a:gd name="T22" fmla="*/ 480 w 864"/>
                <a:gd name="T23" fmla="*/ 10 h 986"/>
                <a:gd name="T24" fmla="*/ 416 w 864"/>
                <a:gd name="T25" fmla="*/ 0 h 986"/>
                <a:gd name="T26" fmla="*/ 386 w 864"/>
                <a:gd name="T27" fmla="*/ 10 h 986"/>
                <a:gd name="T28" fmla="*/ 358 w 864"/>
                <a:gd name="T29" fmla="*/ 42 h 986"/>
                <a:gd name="T30" fmla="*/ 336 w 864"/>
                <a:gd name="T31" fmla="*/ 160 h 986"/>
                <a:gd name="T32" fmla="*/ 238 w 864"/>
                <a:gd name="T33" fmla="*/ 212 h 986"/>
                <a:gd name="T34" fmla="*/ 198 w 864"/>
                <a:gd name="T35" fmla="*/ 228 h 986"/>
                <a:gd name="T36" fmla="*/ 80 w 864"/>
                <a:gd name="T37" fmla="*/ 184 h 986"/>
                <a:gd name="T38" fmla="*/ 40 w 864"/>
                <a:gd name="T39" fmla="*/ 196 h 986"/>
                <a:gd name="T40" fmla="*/ 8 w 864"/>
                <a:gd name="T41" fmla="*/ 238 h 986"/>
                <a:gd name="T42" fmla="*/ 0 w 864"/>
                <a:gd name="T43" fmla="*/ 280 h 986"/>
                <a:gd name="T44" fmla="*/ 18 w 864"/>
                <a:gd name="T45" fmla="*/ 318 h 986"/>
                <a:gd name="T46" fmla="*/ 110 w 864"/>
                <a:gd name="T47" fmla="*/ 400 h 986"/>
                <a:gd name="T48" fmla="*/ 98 w 864"/>
                <a:gd name="T49" fmla="*/ 470 h 986"/>
                <a:gd name="T50" fmla="*/ 102 w 864"/>
                <a:gd name="T51" fmla="*/ 550 h 986"/>
                <a:gd name="T52" fmla="*/ 42 w 864"/>
                <a:gd name="T53" fmla="*/ 678 h 986"/>
                <a:gd name="T54" fmla="*/ 24 w 864"/>
                <a:gd name="T55" fmla="*/ 716 h 986"/>
                <a:gd name="T56" fmla="*/ 34 w 864"/>
                <a:gd name="T57" fmla="*/ 758 h 986"/>
                <a:gd name="T58" fmla="*/ 68 w 864"/>
                <a:gd name="T59" fmla="*/ 798 h 986"/>
                <a:gd name="T60" fmla="*/ 108 w 864"/>
                <a:gd name="T61" fmla="*/ 810 h 986"/>
                <a:gd name="T62" fmla="*/ 222 w 864"/>
                <a:gd name="T63" fmla="*/ 764 h 986"/>
                <a:gd name="T64" fmla="*/ 336 w 864"/>
                <a:gd name="T65" fmla="*/ 830 h 986"/>
                <a:gd name="T66" fmla="*/ 356 w 864"/>
                <a:gd name="T67" fmla="*/ 934 h 986"/>
                <a:gd name="T68" fmla="*/ 378 w 864"/>
                <a:gd name="T69" fmla="*/ 970 h 986"/>
                <a:gd name="T70" fmla="*/ 416 w 864"/>
                <a:gd name="T71" fmla="*/ 986 h 986"/>
                <a:gd name="T72" fmla="*/ 470 w 864"/>
                <a:gd name="T73" fmla="*/ 982 h 986"/>
                <a:gd name="T74" fmla="*/ 502 w 864"/>
                <a:gd name="T75" fmla="*/ 954 h 986"/>
                <a:gd name="T76" fmla="*/ 528 w 864"/>
                <a:gd name="T77" fmla="*/ 840 h 986"/>
                <a:gd name="T78" fmla="*/ 642 w 864"/>
                <a:gd name="T79" fmla="*/ 794 h 986"/>
                <a:gd name="T80" fmla="*/ 764 w 864"/>
                <a:gd name="T81" fmla="*/ 808 h 986"/>
                <a:gd name="T82" fmla="*/ 806 w 864"/>
                <a:gd name="T83" fmla="*/ 804 h 986"/>
                <a:gd name="T84" fmla="*/ 848 w 864"/>
                <a:gd name="T85" fmla="*/ 758 h 986"/>
                <a:gd name="T86" fmla="*/ 858 w 864"/>
                <a:gd name="T87" fmla="*/ 726 h 986"/>
                <a:gd name="T88" fmla="*/ 848 w 864"/>
                <a:gd name="T89" fmla="*/ 686 h 986"/>
                <a:gd name="T90" fmla="*/ 452 w 864"/>
                <a:gd name="T91" fmla="*/ 616 h 986"/>
                <a:gd name="T92" fmla="*/ 404 w 864"/>
                <a:gd name="T93" fmla="*/ 606 h 986"/>
                <a:gd name="T94" fmla="*/ 340 w 864"/>
                <a:gd name="T95" fmla="*/ 542 h 986"/>
                <a:gd name="T96" fmla="*/ 330 w 864"/>
                <a:gd name="T97" fmla="*/ 494 h 986"/>
                <a:gd name="T98" fmla="*/ 336 w 864"/>
                <a:gd name="T99" fmla="*/ 458 h 986"/>
                <a:gd name="T100" fmla="*/ 384 w 864"/>
                <a:gd name="T101" fmla="*/ 394 h 986"/>
                <a:gd name="T102" fmla="*/ 438 w 864"/>
                <a:gd name="T103" fmla="*/ 374 h 986"/>
                <a:gd name="T104" fmla="*/ 476 w 864"/>
                <a:gd name="T105" fmla="*/ 376 h 986"/>
                <a:gd name="T106" fmla="*/ 538 w 864"/>
                <a:gd name="T107" fmla="*/ 408 h 986"/>
                <a:gd name="T108" fmla="*/ 570 w 864"/>
                <a:gd name="T109" fmla="*/ 470 h 986"/>
                <a:gd name="T110" fmla="*/ 572 w 864"/>
                <a:gd name="T111" fmla="*/ 508 h 986"/>
                <a:gd name="T112" fmla="*/ 552 w 864"/>
                <a:gd name="T113" fmla="*/ 562 h 986"/>
                <a:gd name="T114" fmla="*/ 488 w 864"/>
                <a:gd name="T115" fmla="*/ 610 h 986"/>
                <a:gd name="T116" fmla="*/ 452 w 864"/>
                <a:gd name="T117" fmla="*/ 61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4" h="986">
                  <a:moveTo>
                    <a:pt x="784" y="620"/>
                  </a:moveTo>
                  <a:lnTo>
                    <a:pt x="784" y="620"/>
                  </a:lnTo>
                  <a:lnTo>
                    <a:pt x="792" y="590"/>
                  </a:lnTo>
                  <a:lnTo>
                    <a:pt x="800" y="560"/>
                  </a:lnTo>
                  <a:lnTo>
                    <a:pt x="804" y="528"/>
                  </a:lnTo>
                  <a:lnTo>
                    <a:pt x="806" y="494"/>
                  </a:lnTo>
                  <a:lnTo>
                    <a:pt x="806" y="494"/>
                  </a:lnTo>
                  <a:lnTo>
                    <a:pt x="804" y="464"/>
                  </a:lnTo>
                  <a:lnTo>
                    <a:pt x="800" y="434"/>
                  </a:lnTo>
                  <a:lnTo>
                    <a:pt x="794" y="404"/>
                  </a:lnTo>
                  <a:lnTo>
                    <a:pt x="786" y="376"/>
                  </a:lnTo>
                  <a:lnTo>
                    <a:pt x="846" y="318"/>
                  </a:lnTo>
                  <a:lnTo>
                    <a:pt x="846" y="318"/>
                  </a:lnTo>
                  <a:lnTo>
                    <a:pt x="852" y="310"/>
                  </a:lnTo>
                  <a:lnTo>
                    <a:pt x="858" y="300"/>
                  </a:lnTo>
                  <a:lnTo>
                    <a:pt x="862" y="290"/>
                  </a:lnTo>
                  <a:lnTo>
                    <a:pt x="864" y="280"/>
                  </a:lnTo>
                  <a:lnTo>
                    <a:pt x="864" y="270"/>
                  </a:lnTo>
                  <a:lnTo>
                    <a:pt x="862" y="258"/>
                  </a:lnTo>
                  <a:lnTo>
                    <a:pt x="860" y="248"/>
                  </a:lnTo>
                  <a:lnTo>
                    <a:pt x="854" y="238"/>
                  </a:lnTo>
                  <a:lnTo>
                    <a:pt x="838" y="212"/>
                  </a:lnTo>
                  <a:lnTo>
                    <a:pt x="838" y="212"/>
                  </a:lnTo>
                  <a:lnTo>
                    <a:pt x="830" y="204"/>
                  </a:lnTo>
                  <a:lnTo>
                    <a:pt x="822" y="196"/>
                  </a:lnTo>
                  <a:lnTo>
                    <a:pt x="814" y="192"/>
                  </a:lnTo>
                  <a:lnTo>
                    <a:pt x="804" y="188"/>
                  </a:lnTo>
                  <a:lnTo>
                    <a:pt x="794" y="184"/>
                  </a:lnTo>
                  <a:lnTo>
                    <a:pt x="782" y="184"/>
                  </a:lnTo>
                  <a:lnTo>
                    <a:pt x="772" y="184"/>
                  </a:lnTo>
                  <a:lnTo>
                    <a:pt x="762" y="188"/>
                  </a:lnTo>
                  <a:lnTo>
                    <a:pt x="678" y="222"/>
                  </a:lnTo>
                  <a:lnTo>
                    <a:pt x="678" y="222"/>
                  </a:lnTo>
                  <a:lnTo>
                    <a:pt x="662" y="210"/>
                  </a:lnTo>
                  <a:lnTo>
                    <a:pt x="644" y="198"/>
                  </a:lnTo>
                  <a:lnTo>
                    <a:pt x="626" y="186"/>
                  </a:lnTo>
                  <a:lnTo>
                    <a:pt x="608" y="176"/>
                  </a:lnTo>
                  <a:lnTo>
                    <a:pt x="590" y="168"/>
                  </a:lnTo>
                  <a:lnTo>
                    <a:pt x="570" y="160"/>
                  </a:lnTo>
                  <a:lnTo>
                    <a:pt x="550" y="154"/>
                  </a:lnTo>
                  <a:lnTo>
                    <a:pt x="528" y="148"/>
                  </a:lnTo>
                  <a:lnTo>
                    <a:pt x="510" y="52"/>
                  </a:lnTo>
                  <a:lnTo>
                    <a:pt x="510" y="52"/>
                  </a:lnTo>
                  <a:lnTo>
                    <a:pt x="506" y="42"/>
                  </a:lnTo>
                  <a:lnTo>
                    <a:pt x="502" y="32"/>
                  </a:lnTo>
                  <a:lnTo>
                    <a:pt x="496" y="22"/>
                  </a:lnTo>
                  <a:lnTo>
                    <a:pt x="488" y="16"/>
                  </a:lnTo>
                  <a:lnTo>
                    <a:pt x="480" y="10"/>
                  </a:lnTo>
                  <a:lnTo>
                    <a:pt x="470" y="4"/>
                  </a:lnTo>
                  <a:lnTo>
                    <a:pt x="460" y="2"/>
                  </a:lnTo>
                  <a:lnTo>
                    <a:pt x="448" y="0"/>
                  </a:lnTo>
                  <a:lnTo>
                    <a:pt x="416" y="0"/>
                  </a:lnTo>
                  <a:lnTo>
                    <a:pt x="416" y="0"/>
                  </a:lnTo>
                  <a:lnTo>
                    <a:pt x="406" y="2"/>
                  </a:lnTo>
                  <a:lnTo>
                    <a:pt x="396" y="4"/>
                  </a:lnTo>
                  <a:lnTo>
                    <a:pt x="386" y="10"/>
                  </a:lnTo>
                  <a:lnTo>
                    <a:pt x="378" y="16"/>
                  </a:lnTo>
                  <a:lnTo>
                    <a:pt x="370" y="22"/>
                  </a:lnTo>
                  <a:lnTo>
                    <a:pt x="364" y="32"/>
                  </a:lnTo>
                  <a:lnTo>
                    <a:pt x="358" y="42"/>
                  </a:lnTo>
                  <a:lnTo>
                    <a:pt x="356" y="52"/>
                  </a:lnTo>
                  <a:lnTo>
                    <a:pt x="336" y="154"/>
                  </a:lnTo>
                  <a:lnTo>
                    <a:pt x="336" y="154"/>
                  </a:lnTo>
                  <a:lnTo>
                    <a:pt x="336" y="160"/>
                  </a:lnTo>
                  <a:lnTo>
                    <a:pt x="336" y="160"/>
                  </a:lnTo>
                  <a:lnTo>
                    <a:pt x="302" y="174"/>
                  </a:lnTo>
                  <a:lnTo>
                    <a:pt x="268" y="190"/>
                  </a:lnTo>
                  <a:lnTo>
                    <a:pt x="238" y="212"/>
                  </a:lnTo>
                  <a:lnTo>
                    <a:pt x="210" y="234"/>
                  </a:lnTo>
                  <a:lnTo>
                    <a:pt x="210" y="234"/>
                  </a:lnTo>
                  <a:lnTo>
                    <a:pt x="204" y="230"/>
                  </a:lnTo>
                  <a:lnTo>
                    <a:pt x="198" y="228"/>
                  </a:lnTo>
                  <a:lnTo>
                    <a:pt x="102" y="188"/>
                  </a:lnTo>
                  <a:lnTo>
                    <a:pt x="102" y="188"/>
                  </a:lnTo>
                  <a:lnTo>
                    <a:pt x="92" y="184"/>
                  </a:lnTo>
                  <a:lnTo>
                    <a:pt x="80" y="184"/>
                  </a:lnTo>
                  <a:lnTo>
                    <a:pt x="70" y="184"/>
                  </a:lnTo>
                  <a:lnTo>
                    <a:pt x="60" y="188"/>
                  </a:lnTo>
                  <a:lnTo>
                    <a:pt x="50" y="192"/>
                  </a:lnTo>
                  <a:lnTo>
                    <a:pt x="40" y="196"/>
                  </a:lnTo>
                  <a:lnTo>
                    <a:pt x="32" y="204"/>
                  </a:lnTo>
                  <a:lnTo>
                    <a:pt x="26" y="212"/>
                  </a:lnTo>
                  <a:lnTo>
                    <a:pt x="8" y="238"/>
                  </a:lnTo>
                  <a:lnTo>
                    <a:pt x="8" y="238"/>
                  </a:lnTo>
                  <a:lnTo>
                    <a:pt x="4" y="248"/>
                  </a:lnTo>
                  <a:lnTo>
                    <a:pt x="0" y="258"/>
                  </a:lnTo>
                  <a:lnTo>
                    <a:pt x="0" y="270"/>
                  </a:lnTo>
                  <a:lnTo>
                    <a:pt x="0" y="280"/>
                  </a:lnTo>
                  <a:lnTo>
                    <a:pt x="2" y="290"/>
                  </a:lnTo>
                  <a:lnTo>
                    <a:pt x="6" y="300"/>
                  </a:lnTo>
                  <a:lnTo>
                    <a:pt x="10" y="310"/>
                  </a:lnTo>
                  <a:lnTo>
                    <a:pt x="18" y="318"/>
                  </a:lnTo>
                  <a:lnTo>
                    <a:pt x="94" y="390"/>
                  </a:lnTo>
                  <a:lnTo>
                    <a:pt x="94" y="390"/>
                  </a:lnTo>
                  <a:lnTo>
                    <a:pt x="102" y="396"/>
                  </a:lnTo>
                  <a:lnTo>
                    <a:pt x="110" y="400"/>
                  </a:lnTo>
                  <a:lnTo>
                    <a:pt x="110" y="400"/>
                  </a:lnTo>
                  <a:lnTo>
                    <a:pt x="104" y="424"/>
                  </a:lnTo>
                  <a:lnTo>
                    <a:pt x="100" y="446"/>
                  </a:lnTo>
                  <a:lnTo>
                    <a:pt x="98" y="470"/>
                  </a:lnTo>
                  <a:lnTo>
                    <a:pt x="96" y="494"/>
                  </a:lnTo>
                  <a:lnTo>
                    <a:pt x="96" y="494"/>
                  </a:lnTo>
                  <a:lnTo>
                    <a:pt x="98" y="524"/>
                  </a:lnTo>
                  <a:lnTo>
                    <a:pt x="102" y="550"/>
                  </a:lnTo>
                  <a:lnTo>
                    <a:pt x="106" y="578"/>
                  </a:lnTo>
                  <a:lnTo>
                    <a:pt x="114" y="604"/>
                  </a:lnTo>
                  <a:lnTo>
                    <a:pt x="42" y="678"/>
                  </a:lnTo>
                  <a:lnTo>
                    <a:pt x="42" y="678"/>
                  </a:lnTo>
                  <a:lnTo>
                    <a:pt x="34" y="686"/>
                  </a:lnTo>
                  <a:lnTo>
                    <a:pt x="30" y="696"/>
                  </a:lnTo>
                  <a:lnTo>
                    <a:pt x="26" y="706"/>
                  </a:lnTo>
                  <a:lnTo>
                    <a:pt x="24" y="716"/>
                  </a:lnTo>
                  <a:lnTo>
                    <a:pt x="24" y="726"/>
                  </a:lnTo>
                  <a:lnTo>
                    <a:pt x="26" y="738"/>
                  </a:lnTo>
                  <a:lnTo>
                    <a:pt x="28" y="748"/>
                  </a:lnTo>
                  <a:lnTo>
                    <a:pt x="34" y="758"/>
                  </a:lnTo>
                  <a:lnTo>
                    <a:pt x="52" y="784"/>
                  </a:lnTo>
                  <a:lnTo>
                    <a:pt x="52" y="784"/>
                  </a:lnTo>
                  <a:lnTo>
                    <a:pt x="58" y="792"/>
                  </a:lnTo>
                  <a:lnTo>
                    <a:pt x="68" y="798"/>
                  </a:lnTo>
                  <a:lnTo>
                    <a:pt x="76" y="804"/>
                  </a:lnTo>
                  <a:lnTo>
                    <a:pt x="86" y="808"/>
                  </a:lnTo>
                  <a:lnTo>
                    <a:pt x="98" y="810"/>
                  </a:lnTo>
                  <a:lnTo>
                    <a:pt x="108" y="810"/>
                  </a:lnTo>
                  <a:lnTo>
                    <a:pt x="118" y="808"/>
                  </a:lnTo>
                  <a:lnTo>
                    <a:pt x="128" y="806"/>
                  </a:lnTo>
                  <a:lnTo>
                    <a:pt x="222" y="764"/>
                  </a:lnTo>
                  <a:lnTo>
                    <a:pt x="222" y="764"/>
                  </a:lnTo>
                  <a:lnTo>
                    <a:pt x="248" y="784"/>
                  </a:lnTo>
                  <a:lnTo>
                    <a:pt x="276" y="802"/>
                  </a:lnTo>
                  <a:lnTo>
                    <a:pt x="304" y="818"/>
                  </a:lnTo>
                  <a:lnTo>
                    <a:pt x="336" y="830"/>
                  </a:lnTo>
                  <a:lnTo>
                    <a:pt x="336" y="830"/>
                  </a:lnTo>
                  <a:lnTo>
                    <a:pt x="336" y="832"/>
                  </a:lnTo>
                  <a:lnTo>
                    <a:pt x="356" y="934"/>
                  </a:lnTo>
                  <a:lnTo>
                    <a:pt x="356" y="934"/>
                  </a:lnTo>
                  <a:lnTo>
                    <a:pt x="358" y="944"/>
                  </a:lnTo>
                  <a:lnTo>
                    <a:pt x="364" y="954"/>
                  </a:lnTo>
                  <a:lnTo>
                    <a:pt x="370" y="962"/>
                  </a:lnTo>
                  <a:lnTo>
                    <a:pt x="378" y="970"/>
                  </a:lnTo>
                  <a:lnTo>
                    <a:pt x="386" y="976"/>
                  </a:lnTo>
                  <a:lnTo>
                    <a:pt x="396" y="982"/>
                  </a:lnTo>
                  <a:lnTo>
                    <a:pt x="406" y="984"/>
                  </a:lnTo>
                  <a:lnTo>
                    <a:pt x="416" y="986"/>
                  </a:lnTo>
                  <a:lnTo>
                    <a:pt x="448" y="986"/>
                  </a:lnTo>
                  <a:lnTo>
                    <a:pt x="448" y="986"/>
                  </a:lnTo>
                  <a:lnTo>
                    <a:pt x="460" y="984"/>
                  </a:lnTo>
                  <a:lnTo>
                    <a:pt x="470" y="982"/>
                  </a:lnTo>
                  <a:lnTo>
                    <a:pt x="480" y="976"/>
                  </a:lnTo>
                  <a:lnTo>
                    <a:pt x="488" y="970"/>
                  </a:lnTo>
                  <a:lnTo>
                    <a:pt x="496" y="962"/>
                  </a:lnTo>
                  <a:lnTo>
                    <a:pt x="502" y="954"/>
                  </a:lnTo>
                  <a:lnTo>
                    <a:pt x="506" y="944"/>
                  </a:lnTo>
                  <a:lnTo>
                    <a:pt x="510" y="934"/>
                  </a:lnTo>
                  <a:lnTo>
                    <a:pt x="528" y="840"/>
                  </a:lnTo>
                  <a:lnTo>
                    <a:pt x="528" y="840"/>
                  </a:lnTo>
                  <a:lnTo>
                    <a:pt x="548" y="836"/>
                  </a:lnTo>
                  <a:lnTo>
                    <a:pt x="568" y="830"/>
                  </a:lnTo>
                  <a:lnTo>
                    <a:pt x="606" y="814"/>
                  </a:lnTo>
                  <a:lnTo>
                    <a:pt x="642" y="794"/>
                  </a:lnTo>
                  <a:lnTo>
                    <a:pt x="674" y="770"/>
                  </a:lnTo>
                  <a:lnTo>
                    <a:pt x="754" y="806"/>
                  </a:lnTo>
                  <a:lnTo>
                    <a:pt x="754" y="806"/>
                  </a:lnTo>
                  <a:lnTo>
                    <a:pt x="764" y="808"/>
                  </a:lnTo>
                  <a:lnTo>
                    <a:pt x="774" y="810"/>
                  </a:lnTo>
                  <a:lnTo>
                    <a:pt x="784" y="810"/>
                  </a:lnTo>
                  <a:lnTo>
                    <a:pt x="796" y="808"/>
                  </a:lnTo>
                  <a:lnTo>
                    <a:pt x="806" y="804"/>
                  </a:lnTo>
                  <a:lnTo>
                    <a:pt x="814" y="798"/>
                  </a:lnTo>
                  <a:lnTo>
                    <a:pt x="824" y="792"/>
                  </a:lnTo>
                  <a:lnTo>
                    <a:pt x="830" y="784"/>
                  </a:lnTo>
                  <a:lnTo>
                    <a:pt x="848" y="758"/>
                  </a:lnTo>
                  <a:lnTo>
                    <a:pt x="848" y="758"/>
                  </a:lnTo>
                  <a:lnTo>
                    <a:pt x="854" y="748"/>
                  </a:lnTo>
                  <a:lnTo>
                    <a:pt x="856" y="738"/>
                  </a:lnTo>
                  <a:lnTo>
                    <a:pt x="858" y="726"/>
                  </a:lnTo>
                  <a:lnTo>
                    <a:pt x="858" y="716"/>
                  </a:lnTo>
                  <a:lnTo>
                    <a:pt x="856" y="706"/>
                  </a:lnTo>
                  <a:lnTo>
                    <a:pt x="852" y="696"/>
                  </a:lnTo>
                  <a:lnTo>
                    <a:pt x="848" y="686"/>
                  </a:lnTo>
                  <a:lnTo>
                    <a:pt x="840" y="678"/>
                  </a:lnTo>
                  <a:lnTo>
                    <a:pt x="784" y="620"/>
                  </a:lnTo>
                  <a:close/>
                  <a:moveTo>
                    <a:pt x="452" y="616"/>
                  </a:moveTo>
                  <a:lnTo>
                    <a:pt x="452" y="616"/>
                  </a:lnTo>
                  <a:lnTo>
                    <a:pt x="438" y="616"/>
                  </a:lnTo>
                  <a:lnTo>
                    <a:pt x="426" y="614"/>
                  </a:lnTo>
                  <a:lnTo>
                    <a:pt x="416" y="610"/>
                  </a:lnTo>
                  <a:lnTo>
                    <a:pt x="404" y="606"/>
                  </a:lnTo>
                  <a:lnTo>
                    <a:pt x="384" y="596"/>
                  </a:lnTo>
                  <a:lnTo>
                    <a:pt x="366" y="580"/>
                  </a:lnTo>
                  <a:lnTo>
                    <a:pt x="350" y="562"/>
                  </a:lnTo>
                  <a:lnTo>
                    <a:pt x="340" y="542"/>
                  </a:lnTo>
                  <a:lnTo>
                    <a:pt x="336" y="530"/>
                  </a:lnTo>
                  <a:lnTo>
                    <a:pt x="332" y="520"/>
                  </a:lnTo>
                  <a:lnTo>
                    <a:pt x="330" y="508"/>
                  </a:lnTo>
                  <a:lnTo>
                    <a:pt x="330" y="494"/>
                  </a:lnTo>
                  <a:lnTo>
                    <a:pt x="330" y="494"/>
                  </a:lnTo>
                  <a:lnTo>
                    <a:pt x="330" y="482"/>
                  </a:lnTo>
                  <a:lnTo>
                    <a:pt x="332" y="470"/>
                  </a:lnTo>
                  <a:lnTo>
                    <a:pt x="336" y="458"/>
                  </a:lnTo>
                  <a:lnTo>
                    <a:pt x="340" y="448"/>
                  </a:lnTo>
                  <a:lnTo>
                    <a:pt x="350" y="426"/>
                  </a:lnTo>
                  <a:lnTo>
                    <a:pt x="366" y="408"/>
                  </a:lnTo>
                  <a:lnTo>
                    <a:pt x="384" y="394"/>
                  </a:lnTo>
                  <a:lnTo>
                    <a:pt x="404" y="382"/>
                  </a:lnTo>
                  <a:lnTo>
                    <a:pt x="416" y="378"/>
                  </a:lnTo>
                  <a:lnTo>
                    <a:pt x="426" y="376"/>
                  </a:lnTo>
                  <a:lnTo>
                    <a:pt x="438" y="374"/>
                  </a:lnTo>
                  <a:lnTo>
                    <a:pt x="452" y="372"/>
                  </a:lnTo>
                  <a:lnTo>
                    <a:pt x="452" y="372"/>
                  </a:lnTo>
                  <a:lnTo>
                    <a:pt x="464" y="374"/>
                  </a:lnTo>
                  <a:lnTo>
                    <a:pt x="476" y="376"/>
                  </a:lnTo>
                  <a:lnTo>
                    <a:pt x="488" y="378"/>
                  </a:lnTo>
                  <a:lnTo>
                    <a:pt x="498" y="382"/>
                  </a:lnTo>
                  <a:lnTo>
                    <a:pt x="520" y="394"/>
                  </a:lnTo>
                  <a:lnTo>
                    <a:pt x="538" y="408"/>
                  </a:lnTo>
                  <a:lnTo>
                    <a:pt x="552" y="426"/>
                  </a:lnTo>
                  <a:lnTo>
                    <a:pt x="564" y="448"/>
                  </a:lnTo>
                  <a:lnTo>
                    <a:pt x="568" y="458"/>
                  </a:lnTo>
                  <a:lnTo>
                    <a:pt x="570" y="470"/>
                  </a:lnTo>
                  <a:lnTo>
                    <a:pt x="572" y="482"/>
                  </a:lnTo>
                  <a:lnTo>
                    <a:pt x="574" y="494"/>
                  </a:lnTo>
                  <a:lnTo>
                    <a:pt x="574" y="494"/>
                  </a:lnTo>
                  <a:lnTo>
                    <a:pt x="572" y="508"/>
                  </a:lnTo>
                  <a:lnTo>
                    <a:pt x="570" y="520"/>
                  </a:lnTo>
                  <a:lnTo>
                    <a:pt x="568" y="530"/>
                  </a:lnTo>
                  <a:lnTo>
                    <a:pt x="564" y="542"/>
                  </a:lnTo>
                  <a:lnTo>
                    <a:pt x="552" y="562"/>
                  </a:lnTo>
                  <a:lnTo>
                    <a:pt x="538" y="580"/>
                  </a:lnTo>
                  <a:lnTo>
                    <a:pt x="520" y="596"/>
                  </a:lnTo>
                  <a:lnTo>
                    <a:pt x="498" y="606"/>
                  </a:lnTo>
                  <a:lnTo>
                    <a:pt x="488" y="610"/>
                  </a:lnTo>
                  <a:lnTo>
                    <a:pt x="476" y="614"/>
                  </a:lnTo>
                  <a:lnTo>
                    <a:pt x="464" y="616"/>
                  </a:lnTo>
                  <a:lnTo>
                    <a:pt x="452" y="616"/>
                  </a:lnTo>
                  <a:lnTo>
                    <a:pt x="452" y="616"/>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
        <p:nvSpPr>
          <p:cNvPr id="44" name="Freeform 5"/>
          <p:cNvSpPr>
            <a:spLocks/>
          </p:cNvSpPr>
          <p:nvPr/>
        </p:nvSpPr>
        <p:spPr bwMode="auto">
          <a:xfrm>
            <a:off x="6739438" y="3838307"/>
            <a:ext cx="1126221" cy="72990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nvGrpSpPr>
          <p:cNvPr id="48" name="Group 47"/>
          <p:cNvGrpSpPr/>
          <p:nvPr/>
        </p:nvGrpSpPr>
        <p:grpSpPr bwMode="black">
          <a:xfrm>
            <a:off x="3607715" y="3814419"/>
            <a:ext cx="677908" cy="762799"/>
            <a:chOff x="1752600" y="4267200"/>
            <a:chExt cx="1157286" cy="1302545"/>
          </a:xfrm>
        </p:grpSpPr>
        <p:sp>
          <p:nvSpPr>
            <p:cNvPr id="49"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53"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55"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56"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57"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58"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59"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grpSp>
      <p:sp>
        <p:nvSpPr>
          <p:cNvPr id="42" name="TextBox 41"/>
          <p:cNvSpPr txBox="1"/>
          <p:nvPr/>
        </p:nvSpPr>
        <p:spPr>
          <a:xfrm>
            <a:off x="269239" y="4956103"/>
            <a:ext cx="8067824" cy="301727"/>
          </a:xfrm>
          <a:prstGeom prst="rect">
            <a:avLst/>
          </a:prstGeom>
          <a:noFill/>
        </p:spPr>
        <p:txBody>
          <a:bodyPr wrap="square" lIns="0" tIns="0" rIns="0" bIns="0" rtlCol="0" anchor="ctr">
            <a:spAutoFit/>
          </a:bodyPr>
          <a:lstStyle/>
          <a:p>
            <a:pPr defTabSz="914367"/>
            <a:r>
              <a:rPr lang="en-US" sz="1961" dirty="0">
                <a:solidFill>
                  <a:srgbClr val="000000"/>
                </a:solidFill>
                <a:latin typeface="Segoe UI Light"/>
              </a:rPr>
              <a:t>Microsoft Azure        Windows Server        Microsoft System Center        </a:t>
            </a:r>
          </a:p>
        </p:txBody>
      </p:sp>
      <p:grpSp>
        <p:nvGrpSpPr>
          <p:cNvPr id="26" name="Group 25"/>
          <p:cNvGrpSpPr/>
          <p:nvPr/>
        </p:nvGrpSpPr>
        <p:grpSpPr>
          <a:xfrm>
            <a:off x="7480814" y="5732591"/>
            <a:ext cx="759320" cy="948103"/>
            <a:chOff x="3487336" y="6247475"/>
            <a:chExt cx="546063" cy="681825"/>
          </a:xfrm>
        </p:grpSpPr>
        <p:sp>
          <p:nvSpPr>
            <p:cNvPr id="27"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8"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9"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2"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3" name="Oval 47"/>
            <p:cNvSpPr>
              <a:spLocks noChangeArrowheads="1"/>
            </p:cNvSpPr>
            <p:nvPr/>
          </p:nvSpPr>
          <p:spPr bwMode="auto">
            <a:xfrm flipH="1">
              <a:off x="3487336" y="6580091"/>
              <a:ext cx="244371" cy="248142"/>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4" name="Oval 48"/>
            <p:cNvSpPr>
              <a:spLocks noChangeArrowheads="1"/>
            </p:cNvSpPr>
            <p:nvPr/>
          </p:nvSpPr>
          <p:spPr bwMode="auto">
            <a:xfrm flipH="1">
              <a:off x="3519768" y="6453380"/>
              <a:ext cx="180261" cy="183278"/>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nvGrpSpPr>
          <p:cNvPr id="45" name="Group 44"/>
          <p:cNvGrpSpPr/>
          <p:nvPr/>
        </p:nvGrpSpPr>
        <p:grpSpPr>
          <a:xfrm>
            <a:off x="11162004" y="5670713"/>
            <a:ext cx="614755" cy="767595"/>
            <a:chOff x="3487336" y="6247475"/>
            <a:chExt cx="546063" cy="681825"/>
          </a:xfrm>
        </p:grpSpPr>
        <p:sp>
          <p:nvSpPr>
            <p:cNvPr id="46"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47" name="Oval 44"/>
            <p:cNvSpPr>
              <a:spLocks noChangeArrowheads="1"/>
            </p:cNvSpPr>
            <p:nvPr/>
          </p:nvSpPr>
          <p:spPr bwMode="auto">
            <a:xfrm flipH="1">
              <a:off x="3680419" y="6429999"/>
              <a:ext cx="352980" cy="352980"/>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0" name="Oval 45"/>
            <p:cNvSpPr>
              <a:spLocks noChangeArrowheads="1"/>
            </p:cNvSpPr>
            <p:nvPr/>
          </p:nvSpPr>
          <p:spPr bwMode="auto">
            <a:xfrm flipH="1">
              <a:off x="3724919" y="6247475"/>
              <a:ext cx="258701" cy="259455"/>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1"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2"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54"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nvGrpSpPr>
          <p:cNvPr id="60" name="Group 59"/>
          <p:cNvGrpSpPr/>
          <p:nvPr/>
        </p:nvGrpSpPr>
        <p:grpSpPr>
          <a:xfrm>
            <a:off x="8684243" y="5485999"/>
            <a:ext cx="750182" cy="936693"/>
            <a:chOff x="3487336" y="6247475"/>
            <a:chExt cx="546063" cy="681825"/>
          </a:xfrm>
        </p:grpSpPr>
        <p:sp>
          <p:nvSpPr>
            <p:cNvPr id="61"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62"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63"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64"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65"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66"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nvGrpSpPr>
          <p:cNvPr id="67" name="Group 66"/>
          <p:cNvGrpSpPr/>
          <p:nvPr/>
        </p:nvGrpSpPr>
        <p:grpSpPr>
          <a:xfrm>
            <a:off x="6739438" y="6427986"/>
            <a:ext cx="339806" cy="424289"/>
            <a:chOff x="3487336" y="6247475"/>
            <a:chExt cx="546063" cy="681825"/>
          </a:xfrm>
        </p:grpSpPr>
        <p:sp>
          <p:nvSpPr>
            <p:cNvPr id="68"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69"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70"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71"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72" name="Oval 47"/>
            <p:cNvSpPr>
              <a:spLocks noChangeArrowheads="1"/>
            </p:cNvSpPr>
            <p:nvPr/>
          </p:nvSpPr>
          <p:spPr bwMode="auto">
            <a:xfrm flipH="1">
              <a:off x="3487336" y="6580091"/>
              <a:ext cx="244371" cy="248142"/>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73" name="Oval 48"/>
            <p:cNvSpPr>
              <a:spLocks noChangeArrowheads="1"/>
            </p:cNvSpPr>
            <p:nvPr/>
          </p:nvSpPr>
          <p:spPr bwMode="auto">
            <a:xfrm flipH="1">
              <a:off x="3519768" y="6453380"/>
              <a:ext cx="180261" cy="183278"/>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Tree>
    <p:extLst>
      <p:ext uri="{BB962C8B-B14F-4D97-AF65-F5344CB8AC3E}">
        <p14:creationId xmlns:p14="http://schemas.microsoft.com/office/powerpoint/2010/main" val="29183099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500" fill="hold"/>
                                        <p:tgtEl>
                                          <p:spTgt spid="35"/>
                                        </p:tgtEl>
                                        <p:attrNameLst>
                                          <p:attrName>fillcolor</p:attrName>
                                        </p:attrNameLst>
                                      </p:cBhvr>
                                      <p:to>
                                        <a:schemeClr val="bg2"/>
                                      </p:to>
                                    </p:animClr>
                                    <p:set>
                                      <p:cBhvr>
                                        <p:cTn id="7" dur="500" fill="hold"/>
                                        <p:tgtEl>
                                          <p:spTgt spid="35"/>
                                        </p:tgtEl>
                                        <p:attrNameLst>
                                          <p:attrName>fill.type</p:attrName>
                                        </p:attrNameLst>
                                      </p:cBhvr>
                                      <p:to>
                                        <p:strVal val="solid"/>
                                      </p:to>
                                    </p:set>
                                    <p:set>
                                      <p:cBhvr>
                                        <p:cTn id="8" dur="500" fill="hold"/>
                                        <p:tgtEl>
                                          <p:spTgt spid="35"/>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500" fill="hold"/>
                                        <p:tgtEl>
                                          <p:spTgt spid="30"/>
                                        </p:tgtEl>
                                        <p:attrNameLst>
                                          <p:attrName>fillcolor</p:attrName>
                                        </p:attrNameLst>
                                      </p:cBhvr>
                                      <p:to>
                                        <a:schemeClr val="bg2"/>
                                      </p:to>
                                    </p:animClr>
                                    <p:set>
                                      <p:cBhvr>
                                        <p:cTn id="11" dur="500" fill="hold"/>
                                        <p:tgtEl>
                                          <p:spTgt spid="30"/>
                                        </p:tgtEl>
                                        <p:attrNameLst>
                                          <p:attrName>fill.type</p:attrName>
                                        </p:attrNameLst>
                                      </p:cBhvr>
                                      <p:to>
                                        <p:strVal val="solid"/>
                                      </p:to>
                                    </p:set>
                                    <p:set>
                                      <p:cBhvr>
                                        <p:cTn id="12" dur="500" fill="hold"/>
                                        <p:tgtEl>
                                          <p:spTgt spid="30"/>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9240" y="1187939"/>
            <a:ext cx="5315799" cy="5311628"/>
          </a:xfrm>
          <a:prstGeom prst="rect">
            <a:avLst/>
          </a:prstGeom>
          <a:solidFill>
            <a:schemeClr val="bg1">
              <a:lumMod val="85000"/>
            </a:schemeClr>
          </a:solidFill>
        </p:spPr>
        <p:txBody>
          <a:bodyPr wrap="square" lIns="179285" tIns="134464" rtlCol="0">
            <a:noAutofit/>
          </a:bodyPr>
          <a:lstStyle/>
          <a:p>
            <a:pPr defTabSz="914367">
              <a:lnSpc>
                <a:spcPts val="3000"/>
              </a:lnSpc>
            </a:pPr>
            <a:endParaRPr lang="en-US" sz="2745" dirty="0" err="1">
              <a:solidFill>
                <a:srgbClr val="FFFFFF"/>
              </a:solidFill>
              <a:latin typeface="Segoe UI Light"/>
            </a:endParaRPr>
          </a:p>
        </p:txBody>
      </p:sp>
      <p:grpSp>
        <p:nvGrpSpPr>
          <p:cNvPr id="3" name="Group 2"/>
          <p:cNvGrpSpPr/>
          <p:nvPr/>
        </p:nvGrpSpPr>
        <p:grpSpPr>
          <a:xfrm>
            <a:off x="6702424" y="2531020"/>
            <a:ext cx="4090758" cy="3868573"/>
            <a:chOff x="6565340" y="2581276"/>
            <a:chExt cx="4172786" cy="3946146"/>
          </a:xfrm>
        </p:grpSpPr>
        <p:sp>
          <p:nvSpPr>
            <p:cNvPr id="484" name="Rounded Rectangle 483"/>
            <p:cNvSpPr/>
            <p:nvPr/>
          </p:nvSpPr>
          <p:spPr bwMode="auto">
            <a:xfrm>
              <a:off x="6565340" y="4200525"/>
              <a:ext cx="3261286" cy="2045014"/>
            </a:xfrm>
            <a:prstGeom prst="roundRect">
              <a:avLst>
                <a:gd name="adj" fmla="val 3441"/>
              </a:avLst>
            </a:prstGeom>
            <a:solidFill>
              <a:schemeClr val="bg1">
                <a:alpha val="75000"/>
              </a:schemeClr>
            </a:solidFill>
            <a:ln w="3492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4" name="Freeform 313"/>
            <p:cNvSpPr>
              <a:spLocks noEditPoints="1"/>
            </p:cNvSpPr>
            <p:nvPr/>
          </p:nvSpPr>
          <p:spPr bwMode="black">
            <a:xfrm>
              <a:off x="6657748" y="4316412"/>
              <a:ext cx="906256" cy="182752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15" name="Freeform 314"/>
            <p:cNvSpPr>
              <a:spLocks noEditPoints="1"/>
            </p:cNvSpPr>
            <p:nvPr/>
          </p:nvSpPr>
          <p:spPr bwMode="black">
            <a:xfrm>
              <a:off x="7745059" y="4316412"/>
              <a:ext cx="906256" cy="182752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16" name="Freeform 315"/>
            <p:cNvSpPr>
              <a:spLocks noEditPoints="1"/>
            </p:cNvSpPr>
            <p:nvPr/>
          </p:nvSpPr>
          <p:spPr bwMode="black">
            <a:xfrm>
              <a:off x="8811859" y="4316412"/>
              <a:ext cx="906256" cy="182752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22" name="Oval 5"/>
            <p:cNvSpPr>
              <a:spLocks noChangeArrowheads="1"/>
            </p:cNvSpPr>
            <p:nvPr/>
          </p:nvSpPr>
          <p:spPr bwMode="auto">
            <a:xfrm>
              <a:off x="6675438" y="2581276"/>
              <a:ext cx="888566" cy="893624"/>
            </a:xfrm>
            <a:prstGeom prst="ellipse">
              <a:avLst/>
            </a:pr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23" name="Freeform 6"/>
            <p:cNvSpPr>
              <a:spLocks/>
            </p:cNvSpPr>
            <p:nvPr/>
          </p:nvSpPr>
          <p:spPr bwMode="auto">
            <a:xfrm>
              <a:off x="6883501" y="2891178"/>
              <a:ext cx="238075" cy="407358"/>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3">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24" name="Freeform 7"/>
            <p:cNvSpPr>
              <a:spLocks/>
            </p:cNvSpPr>
            <p:nvPr/>
          </p:nvSpPr>
          <p:spPr bwMode="auto">
            <a:xfrm>
              <a:off x="7119890" y="2891178"/>
              <a:ext cx="238075" cy="407358"/>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25" name="Freeform 8"/>
            <p:cNvSpPr>
              <a:spLocks/>
            </p:cNvSpPr>
            <p:nvPr/>
          </p:nvSpPr>
          <p:spPr bwMode="auto">
            <a:xfrm>
              <a:off x="6883501" y="2755280"/>
              <a:ext cx="474464" cy="271797"/>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3">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27" name="Oval 5"/>
            <p:cNvSpPr>
              <a:spLocks noChangeArrowheads="1"/>
            </p:cNvSpPr>
            <p:nvPr/>
          </p:nvSpPr>
          <p:spPr bwMode="auto">
            <a:xfrm>
              <a:off x="7752443" y="2581276"/>
              <a:ext cx="888566" cy="893624"/>
            </a:xfrm>
            <a:prstGeom prst="ellipse">
              <a:avLst/>
            </a:pr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28" name="Freeform 6"/>
            <p:cNvSpPr>
              <a:spLocks/>
            </p:cNvSpPr>
            <p:nvPr/>
          </p:nvSpPr>
          <p:spPr bwMode="auto">
            <a:xfrm>
              <a:off x="7960506" y="2891178"/>
              <a:ext cx="238075" cy="407358"/>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3">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29" name="Freeform 7"/>
            <p:cNvSpPr>
              <a:spLocks/>
            </p:cNvSpPr>
            <p:nvPr/>
          </p:nvSpPr>
          <p:spPr bwMode="auto">
            <a:xfrm>
              <a:off x="8196895" y="2891178"/>
              <a:ext cx="238075" cy="407358"/>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30" name="Freeform 8"/>
            <p:cNvSpPr>
              <a:spLocks/>
            </p:cNvSpPr>
            <p:nvPr/>
          </p:nvSpPr>
          <p:spPr bwMode="auto">
            <a:xfrm>
              <a:off x="7960506" y="2755280"/>
              <a:ext cx="474464" cy="271797"/>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3">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32" name="Oval 5"/>
            <p:cNvSpPr>
              <a:spLocks noChangeArrowheads="1"/>
            </p:cNvSpPr>
            <p:nvPr/>
          </p:nvSpPr>
          <p:spPr bwMode="auto">
            <a:xfrm>
              <a:off x="8820704" y="2581276"/>
              <a:ext cx="888566" cy="893624"/>
            </a:xfrm>
            <a:prstGeom prst="ellipse">
              <a:avLst/>
            </a:prstGeom>
            <a:solidFill>
              <a:schemeClr val="accent3"/>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33" name="Freeform 6"/>
            <p:cNvSpPr>
              <a:spLocks/>
            </p:cNvSpPr>
            <p:nvPr/>
          </p:nvSpPr>
          <p:spPr bwMode="auto">
            <a:xfrm>
              <a:off x="9028767" y="2891178"/>
              <a:ext cx="238075" cy="407358"/>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3">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34" name="Freeform 7"/>
            <p:cNvSpPr>
              <a:spLocks/>
            </p:cNvSpPr>
            <p:nvPr/>
          </p:nvSpPr>
          <p:spPr bwMode="auto">
            <a:xfrm>
              <a:off x="9265156" y="2891178"/>
              <a:ext cx="238075" cy="407358"/>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35" name="Freeform 8"/>
            <p:cNvSpPr>
              <a:spLocks/>
            </p:cNvSpPr>
            <p:nvPr/>
          </p:nvSpPr>
          <p:spPr bwMode="auto">
            <a:xfrm>
              <a:off x="9028767" y="2755280"/>
              <a:ext cx="474464" cy="271797"/>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3">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 name="Rounded Rectangle 28"/>
            <p:cNvSpPr/>
            <p:nvPr/>
          </p:nvSpPr>
          <p:spPr bwMode="auto">
            <a:xfrm>
              <a:off x="6565340" y="4200525"/>
              <a:ext cx="3261286" cy="2045014"/>
            </a:xfrm>
            <a:prstGeom prst="roundRect">
              <a:avLst>
                <a:gd name="adj" fmla="val 3441"/>
              </a:avLst>
            </a:prstGeom>
            <a:noFill/>
            <a:ln w="34925">
              <a:solidFill>
                <a:schemeClr val="accent3"/>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78" name="Straight Connector 477"/>
            <p:cNvCxnSpPr/>
            <p:nvPr/>
          </p:nvCxnSpPr>
          <p:spPr>
            <a:xfrm flipV="1">
              <a:off x="7110876" y="3667021"/>
              <a:ext cx="0" cy="248011"/>
            </a:xfrm>
            <a:prstGeom prst="line">
              <a:avLst/>
            </a:prstGeom>
            <a:ln w="3492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9" name="Straight Connector 478"/>
            <p:cNvCxnSpPr/>
            <p:nvPr/>
          </p:nvCxnSpPr>
          <p:spPr>
            <a:xfrm flipV="1">
              <a:off x="8196726" y="3667022"/>
              <a:ext cx="0" cy="504928"/>
            </a:xfrm>
            <a:prstGeom prst="line">
              <a:avLst/>
            </a:prstGeom>
            <a:ln w="3492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p:nvPr/>
          </p:nvCxnSpPr>
          <p:spPr>
            <a:xfrm flipV="1">
              <a:off x="9273051" y="3667021"/>
              <a:ext cx="0" cy="248011"/>
            </a:xfrm>
            <a:prstGeom prst="line">
              <a:avLst/>
            </a:prstGeom>
            <a:ln w="3492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1" name="Straight Connector 480"/>
            <p:cNvCxnSpPr/>
            <p:nvPr/>
          </p:nvCxnSpPr>
          <p:spPr>
            <a:xfrm flipH="1">
              <a:off x="7060804" y="3962400"/>
              <a:ext cx="2211781" cy="0"/>
            </a:xfrm>
            <a:prstGeom prst="line">
              <a:avLst/>
            </a:prstGeom>
            <a:ln w="3492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55" name="Oval 7"/>
            <p:cNvSpPr>
              <a:spLocks noChangeArrowheads="1"/>
            </p:cNvSpPr>
            <p:nvPr/>
          </p:nvSpPr>
          <p:spPr bwMode="auto">
            <a:xfrm>
              <a:off x="10028080" y="6375004"/>
              <a:ext cx="710046" cy="152418"/>
            </a:xfrm>
            <a:prstGeom prst="ellipse">
              <a:avLst/>
            </a:prstGeom>
            <a:solidFill>
              <a:schemeClr val="accent5"/>
            </a:solidFill>
            <a:ln>
              <a:noFill/>
            </a:ln>
          </p:spPr>
          <p:txBody>
            <a:bodyPr/>
            <a:lstStyle/>
            <a:p>
              <a:pPr defTabSz="914314">
                <a:defRPr/>
              </a:pPr>
              <a:endParaRPr lang="en-US">
                <a:solidFill>
                  <a:srgbClr val="000000"/>
                </a:solidFill>
              </a:endParaRPr>
            </a:p>
          </p:txBody>
        </p:sp>
        <p:grpSp>
          <p:nvGrpSpPr>
            <p:cNvPr id="142" name="Group 141"/>
            <p:cNvGrpSpPr/>
            <p:nvPr/>
          </p:nvGrpSpPr>
          <p:grpSpPr>
            <a:xfrm>
              <a:off x="7294600" y="4335347"/>
              <a:ext cx="1802767" cy="1828821"/>
              <a:chOff x="1315914" y="5311141"/>
              <a:chExt cx="660762" cy="664522"/>
            </a:xfrm>
          </p:grpSpPr>
          <p:sp>
            <p:nvSpPr>
              <p:cNvPr id="143" name="Oval 5"/>
              <p:cNvSpPr>
                <a:spLocks noChangeArrowheads="1"/>
              </p:cNvSpPr>
              <p:nvPr/>
            </p:nvSpPr>
            <p:spPr bwMode="auto">
              <a:xfrm>
                <a:off x="1315914" y="5311141"/>
                <a:ext cx="660762" cy="664522"/>
              </a:xfrm>
              <a:prstGeom prst="ellipse">
                <a:avLst/>
              </a:prstGeom>
              <a:solidFill>
                <a:srgbClr val="3A1345"/>
              </a:solidFill>
              <a:ln w="19050">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144" name="Group 143"/>
              <p:cNvGrpSpPr/>
              <p:nvPr/>
            </p:nvGrpSpPr>
            <p:grpSpPr>
              <a:xfrm>
                <a:off x="1441880" y="5399034"/>
                <a:ext cx="416085" cy="449510"/>
                <a:chOff x="1434737" y="5415701"/>
                <a:chExt cx="416085" cy="449510"/>
              </a:xfrm>
            </p:grpSpPr>
            <p:grpSp>
              <p:nvGrpSpPr>
                <p:cNvPr id="145" name="Group 144"/>
                <p:cNvGrpSpPr/>
                <p:nvPr/>
              </p:nvGrpSpPr>
              <p:grpSpPr>
                <a:xfrm>
                  <a:off x="1544649" y="5415701"/>
                  <a:ext cx="200275" cy="200246"/>
                  <a:chOff x="9501982" y="3668713"/>
                  <a:chExt cx="444500" cy="444500"/>
                </a:xfrm>
                <a:solidFill>
                  <a:schemeClr val="bg1"/>
                </a:solidFill>
              </p:grpSpPr>
              <p:sp>
                <p:nvSpPr>
                  <p:cNvPr id="157" name="Freeform 10"/>
                  <p:cNvSpPr>
                    <a:spLocks noEditPoints="1"/>
                  </p:cNvSpPr>
                  <p:nvPr/>
                </p:nvSpPr>
                <p:spPr bwMode="auto">
                  <a:xfrm>
                    <a:off x="9501982" y="3668713"/>
                    <a:ext cx="444500" cy="444500"/>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sp>
                <p:nvSpPr>
                  <p:cNvPr id="158" name="Rectangle 11"/>
                  <p:cNvSpPr>
                    <a:spLocks noChangeArrowheads="1"/>
                  </p:cNvSpPr>
                  <p:nvPr/>
                </p:nvSpPr>
                <p:spPr bwMode="auto">
                  <a:xfrm>
                    <a:off x="9625807" y="3792538"/>
                    <a:ext cx="20002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grpSp>
            <p:grpSp>
              <p:nvGrpSpPr>
                <p:cNvPr id="146" name="Group 145"/>
                <p:cNvGrpSpPr/>
                <p:nvPr/>
              </p:nvGrpSpPr>
              <p:grpSpPr>
                <a:xfrm>
                  <a:off x="1665455" y="5671650"/>
                  <a:ext cx="185367" cy="186226"/>
                  <a:chOff x="12491246" y="2816102"/>
                  <a:chExt cx="1745830" cy="1754162"/>
                </a:xfrm>
                <a:solidFill>
                  <a:schemeClr val="bg1"/>
                </a:solidFill>
              </p:grpSpPr>
              <p:sp>
                <p:nvSpPr>
                  <p:cNvPr id="148" name="Rectangle 147"/>
                  <p:cNvSpPr/>
                  <p:nvPr/>
                </p:nvSpPr>
                <p:spPr bwMode="auto">
                  <a:xfrm>
                    <a:off x="12689121" y="3330928"/>
                    <a:ext cx="122893" cy="10327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13301845" y="3872140"/>
                    <a:ext cx="122893" cy="475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rot="5400000">
                    <a:off x="12900537" y="3485238"/>
                    <a:ext cx="122893" cy="412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bwMode="auto">
                  <a:xfrm rot="5400000">
                    <a:off x="13175552" y="3765667"/>
                    <a:ext cx="122893" cy="10732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52" name="Oval 151"/>
                  <p:cNvSpPr/>
                  <p:nvPr/>
                </p:nvSpPr>
                <p:spPr bwMode="auto">
                  <a:xfrm>
                    <a:off x="12616815" y="356044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53" name="Oval 152"/>
                  <p:cNvSpPr/>
                  <p:nvPr/>
                </p:nvSpPr>
                <p:spPr bwMode="auto">
                  <a:xfrm>
                    <a:off x="13232130" y="417766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54" name="Rectangle 153"/>
                  <p:cNvSpPr/>
                  <p:nvPr/>
                </p:nvSpPr>
                <p:spPr bwMode="auto">
                  <a:xfrm>
                    <a:off x="12491246" y="2816102"/>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a:off x="13101888" y="3435817"/>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13718430" y="4051618"/>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sp>
              <p:nvSpPr>
                <p:cNvPr id="147" name="Flowchart: Magnetic Disk 86"/>
                <p:cNvSpPr/>
                <p:nvPr/>
              </p:nvSpPr>
              <p:spPr bwMode="auto">
                <a:xfrm>
                  <a:off x="1434737" y="5671469"/>
                  <a:ext cx="161247" cy="193742"/>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6" tIns="143421" rIns="179276" bIns="143421"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2" name="Text Placeholder 1"/>
          <p:cNvSpPr>
            <a:spLocks noGrp="1"/>
          </p:cNvSpPr>
          <p:nvPr>
            <p:ph type="body" sz="quarter" idx="13"/>
          </p:nvPr>
        </p:nvSpPr>
        <p:spPr>
          <a:xfrm>
            <a:off x="269240" y="313992"/>
            <a:ext cx="10757098" cy="1004541"/>
          </a:xfrm>
        </p:spPr>
        <p:txBody>
          <a:bodyPr/>
          <a:lstStyle/>
          <a:p>
            <a:r>
              <a:rPr lang="en-US" dirty="0" smtClean="0"/>
              <a:t>The software-defined datacenter</a:t>
            </a:r>
            <a:endParaRPr lang="en-US" dirty="0"/>
          </a:p>
        </p:txBody>
      </p:sp>
      <p:sp>
        <p:nvSpPr>
          <p:cNvPr id="194" name="Freeform 193"/>
          <p:cNvSpPr>
            <a:spLocks noEditPoints="1"/>
          </p:cNvSpPr>
          <p:nvPr/>
        </p:nvSpPr>
        <p:spPr bwMode="black">
          <a:xfrm>
            <a:off x="1169655" y="4232048"/>
            <a:ext cx="888441" cy="1791604"/>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95" name="Freeform 194"/>
          <p:cNvSpPr>
            <a:spLocks noEditPoints="1"/>
          </p:cNvSpPr>
          <p:nvPr/>
        </p:nvSpPr>
        <p:spPr bwMode="black">
          <a:xfrm>
            <a:off x="2235592" y="4232048"/>
            <a:ext cx="888441" cy="1791604"/>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96" name="Freeform 195"/>
          <p:cNvSpPr>
            <a:spLocks noEditPoints="1"/>
          </p:cNvSpPr>
          <p:nvPr/>
        </p:nvSpPr>
        <p:spPr bwMode="black">
          <a:xfrm>
            <a:off x="3281421" y="4232048"/>
            <a:ext cx="888441" cy="1791604"/>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nvGrpSpPr>
          <p:cNvPr id="17" name="Group 16"/>
          <p:cNvGrpSpPr/>
          <p:nvPr/>
        </p:nvGrpSpPr>
        <p:grpSpPr>
          <a:xfrm>
            <a:off x="1613877" y="3629763"/>
            <a:ext cx="2119671" cy="498013"/>
            <a:chOff x="1646237" y="2582862"/>
            <a:chExt cx="2162175" cy="960438"/>
          </a:xfrm>
        </p:grpSpPr>
        <p:cxnSp>
          <p:nvCxnSpPr>
            <p:cNvPr id="15" name="Straight Connector 14"/>
            <p:cNvCxnSpPr/>
            <p:nvPr/>
          </p:nvCxnSpPr>
          <p:spPr>
            <a:xfrm flipV="1">
              <a:off x="1646237" y="2582862"/>
              <a:ext cx="0" cy="960438"/>
            </a:xfrm>
            <a:prstGeom prst="line">
              <a:avLst/>
            </a:prstGeom>
            <a:ln w="34925">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flipV="1">
              <a:off x="2732087" y="2582862"/>
              <a:ext cx="0" cy="960438"/>
            </a:xfrm>
            <a:prstGeom prst="line">
              <a:avLst/>
            </a:prstGeom>
            <a:ln w="34925">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flipV="1">
              <a:off x="3808412" y="2582862"/>
              <a:ext cx="0" cy="960438"/>
            </a:xfrm>
            <a:prstGeom prst="line">
              <a:avLst/>
            </a:prstGeom>
            <a:ln w="34925">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Oval 5"/>
          <p:cNvSpPr>
            <a:spLocks noChangeArrowheads="1"/>
          </p:cNvSpPr>
          <p:nvPr/>
        </p:nvSpPr>
        <p:spPr bwMode="auto">
          <a:xfrm>
            <a:off x="1186998" y="2531020"/>
            <a:ext cx="871099" cy="876057"/>
          </a:xfrm>
          <a:prstGeom prst="ellipse">
            <a:avLst/>
          </a:prstGeom>
          <a:solidFill>
            <a:schemeClr val="bg1"/>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a:solidFill>
                <a:srgbClr val="FF8C00"/>
              </a:solidFill>
              <a:ea typeface="Segoe UI" pitchFamily="34" charset="0"/>
              <a:cs typeface="Segoe UI" pitchFamily="34" charset="0"/>
            </a:endParaRPr>
          </a:p>
        </p:txBody>
      </p:sp>
      <p:sp>
        <p:nvSpPr>
          <p:cNvPr id="22" name="Freeform 6"/>
          <p:cNvSpPr>
            <a:spLocks/>
          </p:cNvSpPr>
          <p:nvPr/>
        </p:nvSpPr>
        <p:spPr bwMode="auto">
          <a:xfrm>
            <a:off x="1390971" y="2834830"/>
            <a:ext cx="233395" cy="399350"/>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 name="Freeform 7"/>
          <p:cNvSpPr>
            <a:spLocks/>
          </p:cNvSpPr>
          <p:nvPr/>
        </p:nvSpPr>
        <p:spPr bwMode="auto">
          <a:xfrm>
            <a:off x="1622713" y="2834830"/>
            <a:ext cx="233395" cy="399350"/>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 name="Freeform 8"/>
          <p:cNvSpPr>
            <a:spLocks/>
          </p:cNvSpPr>
          <p:nvPr/>
        </p:nvSpPr>
        <p:spPr bwMode="auto">
          <a:xfrm>
            <a:off x="1390971" y="2701604"/>
            <a:ext cx="465137" cy="266454"/>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1">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2" name="Oval 5"/>
          <p:cNvSpPr>
            <a:spLocks noChangeArrowheads="1"/>
          </p:cNvSpPr>
          <p:nvPr/>
        </p:nvSpPr>
        <p:spPr bwMode="auto">
          <a:xfrm>
            <a:off x="2242831" y="2531020"/>
            <a:ext cx="871099" cy="876057"/>
          </a:xfrm>
          <a:prstGeom prst="ellipse">
            <a:avLst/>
          </a:prstGeom>
          <a:solidFill>
            <a:schemeClr val="bg1"/>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a:solidFill>
                <a:srgbClr val="FF8C00"/>
              </a:solidFill>
              <a:ea typeface="Segoe UI" pitchFamily="34" charset="0"/>
              <a:cs typeface="Segoe UI" pitchFamily="34" charset="0"/>
            </a:endParaRPr>
          </a:p>
        </p:txBody>
      </p:sp>
      <p:sp>
        <p:nvSpPr>
          <p:cNvPr id="203" name="Freeform 6"/>
          <p:cNvSpPr>
            <a:spLocks/>
          </p:cNvSpPr>
          <p:nvPr/>
        </p:nvSpPr>
        <p:spPr bwMode="auto">
          <a:xfrm>
            <a:off x="2446804" y="2834830"/>
            <a:ext cx="233395" cy="399350"/>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4" name="Freeform 7"/>
          <p:cNvSpPr>
            <a:spLocks/>
          </p:cNvSpPr>
          <p:nvPr/>
        </p:nvSpPr>
        <p:spPr bwMode="auto">
          <a:xfrm>
            <a:off x="2678547" y="2834830"/>
            <a:ext cx="233395" cy="399350"/>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7" name="Freeform 8"/>
          <p:cNvSpPr>
            <a:spLocks/>
          </p:cNvSpPr>
          <p:nvPr/>
        </p:nvSpPr>
        <p:spPr bwMode="auto">
          <a:xfrm>
            <a:off x="2446804" y="2701604"/>
            <a:ext cx="465137" cy="266454"/>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1">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4" name="Group 3"/>
          <p:cNvGrpSpPr/>
          <p:nvPr/>
        </p:nvGrpSpPr>
        <p:grpSpPr>
          <a:xfrm>
            <a:off x="3290092" y="2531020"/>
            <a:ext cx="871099" cy="876057"/>
            <a:chOff x="3356065" y="2581276"/>
            <a:chExt cx="888566" cy="893624"/>
          </a:xfrm>
        </p:grpSpPr>
        <p:sp>
          <p:nvSpPr>
            <p:cNvPr id="210" name="Oval 5"/>
            <p:cNvSpPr>
              <a:spLocks noChangeArrowheads="1"/>
            </p:cNvSpPr>
            <p:nvPr/>
          </p:nvSpPr>
          <p:spPr bwMode="auto">
            <a:xfrm>
              <a:off x="3356065" y="2581276"/>
              <a:ext cx="888566" cy="893624"/>
            </a:xfrm>
            <a:prstGeom prst="ellipse">
              <a:avLst/>
            </a:prstGeom>
            <a:solidFill>
              <a:schemeClr val="bg1"/>
            </a:solidFill>
            <a:ln w="381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a:solidFill>
                  <a:srgbClr val="FF8C00"/>
                </a:solidFill>
                <a:ea typeface="Segoe UI" pitchFamily="34" charset="0"/>
                <a:cs typeface="Segoe UI" pitchFamily="34" charset="0"/>
              </a:endParaRPr>
            </a:p>
          </p:txBody>
        </p:sp>
        <p:sp>
          <p:nvSpPr>
            <p:cNvPr id="220" name="Freeform 6"/>
            <p:cNvSpPr>
              <a:spLocks/>
            </p:cNvSpPr>
            <p:nvPr/>
          </p:nvSpPr>
          <p:spPr bwMode="auto">
            <a:xfrm>
              <a:off x="3564128" y="2891178"/>
              <a:ext cx="238075" cy="407358"/>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1" name="Freeform 7"/>
            <p:cNvSpPr>
              <a:spLocks/>
            </p:cNvSpPr>
            <p:nvPr/>
          </p:nvSpPr>
          <p:spPr bwMode="auto">
            <a:xfrm>
              <a:off x="3800517" y="2891178"/>
              <a:ext cx="238075" cy="407358"/>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2" name="Freeform 8"/>
            <p:cNvSpPr>
              <a:spLocks/>
            </p:cNvSpPr>
            <p:nvPr/>
          </p:nvSpPr>
          <p:spPr bwMode="auto">
            <a:xfrm>
              <a:off x="3564128" y="2755280"/>
              <a:ext cx="474464" cy="271797"/>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1">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224" name="Text Placeholder 1"/>
          <p:cNvSpPr txBox="1">
            <a:spLocks/>
          </p:cNvSpPr>
          <p:nvPr/>
        </p:nvSpPr>
        <p:spPr>
          <a:xfrm>
            <a:off x="378558" y="1297258"/>
            <a:ext cx="5378549" cy="590598"/>
          </a:xfrm>
          <a:prstGeom prst="rect">
            <a:avLst/>
          </a:prstGeom>
        </p:spPr>
        <p:txBody>
          <a:bodyPr vert="horz" wrap="square" lIns="143428" tIns="89642" rIns="143428" bIns="89642" rtlCol="0">
            <a:noAutofit/>
          </a:bodyPr>
          <a:lstStyle>
            <a:lvl1pPr marL="0" marR="0" indent="0" algn="l" defTabSz="932742" rtl="0" eaLnBrk="1" fontAlgn="auto" latinLnBrk="0" hangingPunct="1">
              <a:lnSpc>
                <a:spcPct val="90000"/>
              </a:lnSpc>
              <a:spcBef>
                <a:spcPts val="1200"/>
              </a:spcBef>
              <a:spcAft>
                <a:spcPts val="2400"/>
              </a:spcAft>
              <a:buClrTx/>
              <a:buSzPct val="90000"/>
              <a:buFontTx/>
              <a:buNone/>
              <a:tabLst/>
              <a:defRPr lang="en-US" sz="5200" b="0" i="0" kern="1200" spc="0" baseline="0" dirty="0" smtClean="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3137">
                <a:solidFill>
                  <a:srgbClr val="0072C6"/>
                </a:solidFill>
              </a:rPr>
              <a:t>Highly customized</a:t>
            </a:r>
            <a:endParaRPr sz="3137">
              <a:solidFill>
                <a:srgbClr val="0072C6"/>
              </a:solidFill>
            </a:endParaRPr>
          </a:p>
        </p:txBody>
      </p:sp>
      <p:grpSp>
        <p:nvGrpSpPr>
          <p:cNvPr id="9" name="Group 8"/>
          <p:cNvGrpSpPr/>
          <p:nvPr/>
        </p:nvGrpSpPr>
        <p:grpSpPr>
          <a:xfrm>
            <a:off x="5705009" y="1187939"/>
            <a:ext cx="5315799" cy="5311628"/>
            <a:chOff x="5761038" y="1211263"/>
            <a:chExt cx="5422392" cy="5418137"/>
          </a:xfrm>
        </p:grpSpPr>
        <p:sp>
          <p:nvSpPr>
            <p:cNvPr id="160" name="Rectangle 159"/>
            <p:cNvSpPr/>
            <p:nvPr/>
          </p:nvSpPr>
          <p:spPr bwMode="auto">
            <a:xfrm>
              <a:off x="5761038" y="1211263"/>
              <a:ext cx="5422392" cy="5418137"/>
            </a:xfrm>
            <a:prstGeom prst="rect">
              <a:avLst/>
            </a:prstGeom>
            <a:solidFill>
              <a:schemeClr val="bg1">
                <a:lumMod val="85000"/>
              </a:schemeClr>
            </a:solidFill>
          </p:spPr>
          <p:txBody>
            <a:bodyPr wrap="square" lIns="179285" tIns="134464" rtlCol="0">
              <a:noAutofit/>
            </a:bodyPr>
            <a:lstStyle/>
            <a:p>
              <a:pPr defTabSz="914367">
                <a:lnSpc>
                  <a:spcPts val="3000"/>
                </a:lnSpc>
              </a:pPr>
              <a:endParaRPr lang="en-US" sz="2745" dirty="0" err="1">
                <a:solidFill>
                  <a:srgbClr val="FFFFFF"/>
                </a:solidFill>
                <a:latin typeface="Segoe UI Light"/>
              </a:endParaRPr>
            </a:p>
          </p:txBody>
        </p:sp>
        <p:sp>
          <p:nvSpPr>
            <p:cNvPr id="274" name="Text Placeholder 1"/>
            <p:cNvSpPr txBox="1">
              <a:spLocks/>
            </p:cNvSpPr>
            <p:nvPr/>
          </p:nvSpPr>
          <p:spPr>
            <a:xfrm>
              <a:off x="5872548" y="1322773"/>
              <a:ext cx="5310882" cy="602441"/>
            </a:xfrm>
            <a:prstGeom prst="rect">
              <a:avLst/>
            </a:prstGeom>
          </p:spPr>
          <p:txBody>
            <a:bodyPr vert="horz" wrap="square" lIns="143428" tIns="89642" rIns="143428" bIns="89642" rtlCol="0">
              <a:noAutofit/>
            </a:bodyPr>
            <a:lstStyle>
              <a:lvl1pPr marL="0" marR="0" indent="0" algn="l" defTabSz="932742" rtl="0" eaLnBrk="1" fontAlgn="auto" latinLnBrk="0" hangingPunct="1">
                <a:lnSpc>
                  <a:spcPct val="90000"/>
                </a:lnSpc>
                <a:spcBef>
                  <a:spcPts val="1200"/>
                </a:spcBef>
                <a:spcAft>
                  <a:spcPts val="2400"/>
                </a:spcAft>
                <a:buClrTx/>
                <a:buSzPct val="90000"/>
                <a:buFontTx/>
                <a:buNone/>
                <a:tabLst/>
                <a:defRPr lang="en-US" sz="5200" b="0" i="0" kern="1200" spc="0" baseline="0" dirty="0" smtClean="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3137">
                  <a:gradFill>
                    <a:gsLst>
                      <a:gs pos="0">
                        <a:srgbClr val="68217A"/>
                      </a:gs>
                      <a:gs pos="100000">
                        <a:srgbClr val="68217A"/>
                      </a:gs>
                    </a:gsLst>
                    <a:lin ang="5400000" scaled="0"/>
                  </a:gradFill>
                </a:rPr>
                <a:t>Standardized</a:t>
              </a:r>
              <a:r>
                <a:rPr sz="3137">
                  <a:gradFill>
                    <a:gsLst>
                      <a:gs pos="0">
                        <a:srgbClr val="68217A"/>
                      </a:gs>
                      <a:gs pos="100000">
                        <a:srgbClr val="68217A"/>
                      </a:gs>
                    </a:gsLst>
                    <a:lin ang="5400000" scaled="0"/>
                  </a:gradFill>
                </a:rPr>
                <a:t>, automated</a:t>
              </a:r>
            </a:p>
          </p:txBody>
        </p:sp>
      </p:grpSp>
      <p:grpSp>
        <p:nvGrpSpPr>
          <p:cNvPr id="28" name="Group 27"/>
          <p:cNvGrpSpPr/>
          <p:nvPr/>
        </p:nvGrpSpPr>
        <p:grpSpPr>
          <a:xfrm>
            <a:off x="1290046" y="5207222"/>
            <a:ext cx="647773" cy="651459"/>
            <a:chOff x="1315914" y="5311141"/>
            <a:chExt cx="660762" cy="664522"/>
          </a:xfrm>
        </p:grpSpPr>
        <p:sp>
          <p:nvSpPr>
            <p:cNvPr id="276" name="Oval 5"/>
            <p:cNvSpPr>
              <a:spLocks noChangeArrowheads="1"/>
            </p:cNvSpPr>
            <p:nvPr/>
          </p:nvSpPr>
          <p:spPr bwMode="auto">
            <a:xfrm>
              <a:off x="1315914" y="5311141"/>
              <a:ext cx="660762" cy="664522"/>
            </a:xfrm>
            <a:prstGeom prst="ellipse">
              <a:avLst/>
            </a:prstGeom>
            <a:solidFill>
              <a:srgbClr val="000000">
                <a:alpha val="54118"/>
              </a:srgbClr>
            </a:solidFill>
            <a:ln w="19050">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27" name="Group 26"/>
            <p:cNvGrpSpPr/>
            <p:nvPr/>
          </p:nvGrpSpPr>
          <p:grpSpPr>
            <a:xfrm>
              <a:off x="1441880" y="5399034"/>
              <a:ext cx="416085" cy="449510"/>
              <a:chOff x="1434737" y="5415701"/>
              <a:chExt cx="416085" cy="449510"/>
            </a:xfrm>
          </p:grpSpPr>
          <p:grpSp>
            <p:nvGrpSpPr>
              <p:cNvPr id="260" name="Group 259"/>
              <p:cNvGrpSpPr/>
              <p:nvPr/>
            </p:nvGrpSpPr>
            <p:grpSpPr>
              <a:xfrm>
                <a:off x="1544649" y="5415701"/>
                <a:ext cx="200275" cy="200246"/>
                <a:chOff x="9501982" y="3668713"/>
                <a:chExt cx="444500" cy="444500"/>
              </a:xfrm>
              <a:solidFill>
                <a:schemeClr val="bg1"/>
              </a:solidFill>
            </p:grpSpPr>
            <p:sp>
              <p:nvSpPr>
                <p:cNvPr id="272" name="Freeform 10"/>
                <p:cNvSpPr>
                  <a:spLocks noEditPoints="1"/>
                </p:cNvSpPr>
                <p:nvPr/>
              </p:nvSpPr>
              <p:spPr bwMode="auto">
                <a:xfrm>
                  <a:off x="9501982" y="3668713"/>
                  <a:ext cx="444500" cy="444500"/>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sp>
              <p:nvSpPr>
                <p:cNvPr id="273" name="Rectangle 11"/>
                <p:cNvSpPr>
                  <a:spLocks noChangeArrowheads="1"/>
                </p:cNvSpPr>
                <p:nvPr/>
              </p:nvSpPr>
              <p:spPr bwMode="auto">
                <a:xfrm>
                  <a:off x="9625807" y="3792538"/>
                  <a:ext cx="20002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grpSp>
          <p:grpSp>
            <p:nvGrpSpPr>
              <p:cNvPr id="261" name="Group 260"/>
              <p:cNvGrpSpPr/>
              <p:nvPr/>
            </p:nvGrpSpPr>
            <p:grpSpPr>
              <a:xfrm>
                <a:off x="1665455" y="5671650"/>
                <a:ext cx="185367" cy="186226"/>
                <a:chOff x="12491246" y="2816102"/>
                <a:chExt cx="1745830" cy="1754162"/>
              </a:xfrm>
              <a:solidFill>
                <a:schemeClr val="bg1"/>
              </a:solidFill>
            </p:grpSpPr>
            <p:sp>
              <p:nvSpPr>
                <p:cNvPr id="263" name="Rectangle 262"/>
                <p:cNvSpPr/>
                <p:nvPr/>
              </p:nvSpPr>
              <p:spPr bwMode="auto">
                <a:xfrm>
                  <a:off x="12689121" y="3330928"/>
                  <a:ext cx="122893" cy="10327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p:cNvSpPr/>
                <p:nvPr/>
              </p:nvSpPr>
              <p:spPr bwMode="auto">
                <a:xfrm>
                  <a:off x="13301845" y="3872140"/>
                  <a:ext cx="122893" cy="475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65" name="Rectangle 264"/>
                <p:cNvSpPr/>
                <p:nvPr/>
              </p:nvSpPr>
              <p:spPr bwMode="auto">
                <a:xfrm rot="5400000">
                  <a:off x="12900537" y="3485238"/>
                  <a:ext cx="122893" cy="412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66" name="Rectangle 265"/>
                <p:cNvSpPr/>
                <p:nvPr/>
              </p:nvSpPr>
              <p:spPr bwMode="auto">
                <a:xfrm rot="5400000">
                  <a:off x="13175552" y="3765667"/>
                  <a:ext cx="122893" cy="10732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67" name="Oval 266"/>
                <p:cNvSpPr/>
                <p:nvPr/>
              </p:nvSpPr>
              <p:spPr bwMode="auto">
                <a:xfrm>
                  <a:off x="12616815" y="356044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68" name="Oval 267"/>
                <p:cNvSpPr/>
                <p:nvPr/>
              </p:nvSpPr>
              <p:spPr bwMode="auto">
                <a:xfrm>
                  <a:off x="13232130" y="417766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69" name="Rectangle 268"/>
                <p:cNvSpPr/>
                <p:nvPr/>
              </p:nvSpPr>
              <p:spPr bwMode="auto">
                <a:xfrm>
                  <a:off x="12491246" y="2816102"/>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70" name="Rectangle 269"/>
                <p:cNvSpPr/>
                <p:nvPr/>
              </p:nvSpPr>
              <p:spPr bwMode="auto">
                <a:xfrm>
                  <a:off x="13101888" y="3435817"/>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13718430" y="4051618"/>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62" name="Flowchart: Magnetic Disk 86"/>
              <p:cNvSpPr/>
              <p:nvPr/>
            </p:nvSpPr>
            <p:spPr bwMode="auto">
              <a:xfrm>
                <a:off x="1434737" y="5671469"/>
                <a:ext cx="161247" cy="193742"/>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6" tIns="143421" rIns="179276" bIns="143421"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80" name="Group 279"/>
          <p:cNvGrpSpPr/>
          <p:nvPr/>
        </p:nvGrpSpPr>
        <p:grpSpPr>
          <a:xfrm>
            <a:off x="2354494" y="5207222"/>
            <a:ext cx="647773" cy="651459"/>
            <a:chOff x="1315914" y="5311141"/>
            <a:chExt cx="660762" cy="664522"/>
          </a:xfrm>
        </p:grpSpPr>
        <p:sp>
          <p:nvSpPr>
            <p:cNvPr id="281" name="Oval 5"/>
            <p:cNvSpPr>
              <a:spLocks noChangeArrowheads="1"/>
            </p:cNvSpPr>
            <p:nvPr/>
          </p:nvSpPr>
          <p:spPr bwMode="auto">
            <a:xfrm>
              <a:off x="1315914" y="5311141"/>
              <a:ext cx="660762" cy="664522"/>
            </a:xfrm>
            <a:prstGeom prst="ellipse">
              <a:avLst/>
            </a:prstGeom>
            <a:solidFill>
              <a:srgbClr val="000000">
                <a:alpha val="54118"/>
              </a:srgbClr>
            </a:solidFill>
            <a:ln w="19050">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282" name="Group 281"/>
            <p:cNvGrpSpPr/>
            <p:nvPr/>
          </p:nvGrpSpPr>
          <p:grpSpPr>
            <a:xfrm>
              <a:off x="1441880" y="5399034"/>
              <a:ext cx="416085" cy="449510"/>
              <a:chOff x="1434737" y="5415701"/>
              <a:chExt cx="416085" cy="449510"/>
            </a:xfrm>
          </p:grpSpPr>
          <p:grpSp>
            <p:nvGrpSpPr>
              <p:cNvPr id="283" name="Group 282"/>
              <p:cNvGrpSpPr/>
              <p:nvPr/>
            </p:nvGrpSpPr>
            <p:grpSpPr>
              <a:xfrm>
                <a:off x="1544649" y="5415701"/>
                <a:ext cx="200275" cy="200246"/>
                <a:chOff x="9501982" y="3668713"/>
                <a:chExt cx="444500" cy="444500"/>
              </a:xfrm>
              <a:solidFill>
                <a:schemeClr val="bg1"/>
              </a:solidFill>
            </p:grpSpPr>
            <p:sp>
              <p:nvSpPr>
                <p:cNvPr id="295" name="Freeform 10"/>
                <p:cNvSpPr>
                  <a:spLocks noEditPoints="1"/>
                </p:cNvSpPr>
                <p:nvPr/>
              </p:nvSpPr>
              <p:spPr bwMode="auto">
                <a:xfrm>
                  <a:off x="9501982" y="3668713"/>
                  <a:ext cx="444500" cy="444500"/>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sp>
              <p:nvSpPr>
                <p:cNvPr id="296" name="Rectangle 11"/>
                <p:cNvSpPr>
                  <a:spLocks noChangeArrowheads="1"/>
                </p:cNvSpPr>
                <p:nvPr/>
              </p:nvSpPr>
              <p:spPr bwMode="auto">
                <a:xfrm>
                  <a:off x="9625807" y="3792538"/>
                  <a:ext cx="20002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grpSp>
          <p:grpSp>
            <p:nvGrpSpPr>
              <p:cNvPr id="284" name="Group 283"/>
              <p:cNvGrpSpPr/>
              <p:nvPr/>
            </p:nvGrpSpPr>
            <p:grpSpPr>
              <a:xfrm>
                <a:off x="1665455" y="5671650"/>
                <a:ext cx="185367" cy="186226"/>
                <a:chOff x="12491246" y="2816102"/>
                <a:chExt cx="1745830" cy="1754162"/>
              </a:xfrm>
              <a:solidFill>
                <a:schemeClr val="bg1"/>
              </a:solidFill>
            </p:grpSpPr>
            <p:sp>
              <p:nvSpPr>
                <p:cNvPr id="286" name="Rectangle 285"/>
                <p:cNvSpPr/>
                <p:nvPr/>
              </p:nvSpPr>
              <p:spPr bwMode="auto">
                <a:xfrm>
                  <a:off x="12689121" y="3330928"/>
                  <a:ext cx="122893" cy="10327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87" name="Rectangle 286"/>
                <p:cNvSpPr/>
                <p:nvPr/>
              </p:nvSpPr>
              <p:spPr bwMode="auto">
                <a:xfrm>
                  <a:off x="13301845" y="3872140"/>
                  <a:ext cx="122893" cy="475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p:cNvSpPr/>
                <p:nvPr/>
              </p:nvSpPr>
              <p:spPr bwMode="auto">
                <a:xfrm rot="5400000">
                  <a:off x="12900537" y="3485238"/>
                  <a:ext cx="122893" cy="412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p:nvSpPr>
              <p:spPr bwMode="auto">
                <a:xfrm rot="5400000">
                  <a:off x="13175552" y="3765667"/>
                  <a:ext cx="122893" cy="10732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90" name="Oval 289"/>
                <p:cNvSpPr/>
                <p:nvPr/>
              </p:nvSpPr>
              <p:spPr bwMode="auto">
                <a:xfrm>
                  <a:off x="12616815" y="356044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91" name="Oval 290"/>
                <p:cNvSpPr/>
                <p:nvPr/>
              </p:nvSpPr>
              <p:spPr bwMode="auto">
                <a:xfrm>
                  <a:off x="13232130" y="417766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12491246" y="2816102"/>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13101888" y="3435817"/>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94" name="Rectangle 293"/>
                <p:cNvSpPr/>
                <p:nvPr/>
              </p:nvSpPr>
              <p:spPr bwMode="auto">
                <a:xfrm>
                  <a:off x="13718430" y="4051618"/>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85" name="Flowchart: Magnetic Disk 86"/>
              <p:cNvSpPr/>
              <p:nvPr/>
            </p:nvSpPr>
            <p:spPr bwMode="auto">
              <a:xfrm>
                <a:off x="1434737" y="5671469"/>
                <a:ext cx="161247" cy="193742"/>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6" tIns="143421" rIns="179276" bIns="143421"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97" name="Group 296"/>
          <p:cNvGrpSpPr/>
          <p:nvPr/>
        </p:nvGrpSpPr>
        <p:grpSpPr>
          <a:xfrm>
            <a:off x="3409661" y="5207222"/>
            <a:ext cx="647773" cy="651459"/>
            <a:chOff x="1315914" y="5311141"/>
            <a:chExt cx="660762" cy="664522"/>
          </a:xfrm>
        </p:grpSpPr>
        <p:sp>
          <p:nvSpPr>
            <p:cNvPr id="298" name="Oval 5"/>
            <p:cNvSpPr>
              <a:spLocks noChangeArrowheads="1"/>
            </p:cNvSpPr>
            <p:nvPr/>
          </p:nvSpPr>
          <p:spPr bwMode="auto">
            <a:xfrm>
              <a:off x="1315914" y="5311141"/>
              <a:ext cx="660762" cy="664522"/>
            </a:xfrm>
            <a:prstGeom prst="ellipse">
              <a:avLst/>
            </a:prstGeom>
            <a:solidFill>
              <a:srgbClr val="000000">
                <a:alpha val="54118"/>
              </a:srgbClr>
            </a:solidFill>
            <a:ln w="19050">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299" name="Group 298"/>
            <p:cNvGrpSpPr/>
            <p:nvPr/>
          </p:nvGrpSpPr>
          <p:grpSpPr>
            <a:xfrm>
              <a:off x="1441880" y="5399034"/>
              <a:ext cx="416085" cy="449510"/>
              <a:chOff x="1434737" y="5415701"/>
              <a:chExt cx="416085" cy="449510"/>
            </a:xfrm>
          </p:grpSpPr>
          <p:grpSp>
            <p:nvGrpSpPr>
              <p:cNvPr id="300" name="Group 299"/>
              <p:cNvGrpSpPr/>
              <p:nvPr/>
            </p:nvGrpSpPr>
            <p:grpSpPr>
              <a:xfrm>
                <a:off x="1544649" y="5415701"/>
                <a:ext cx="200275" cy="200246"/>
                <a:chOff x="9501982" y="3668713"/>
                <a:chExt cx="444500" cy="444500"/>
              </a:xfrm>
              <a:solidFill>
                <a:schemeClr val="bg1"/>
              </a:solidFill>
            </p:grpSpPr>
            <p:sp>
              <p:nvSpPr>
                <p:cNvPr id="312" name="Freeform 10"/>
                <p:cNvSpPr>
                  <a:spLocks noEditPoints="1"/>
                </p:cNvSpPr>
                <p:nvPr/>
              </p:nvSpPr>
              <p:spPr bwMode="auto">
                <a:xfrm>
                  <a:off x="9501982" y="3668713"/>
                  <a:ext cx="444500" cy="444500"/>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sp>
              <p:nvSpPr>
                <p:cNvPr id="313" name="Rectangle 11"/>
                <p:cNvSpPr>
                  <a:spLocks noChangeArrowheads="1"/>
                </p:cNvSpPr>
                <p:nvPr/>
              </p:nvSpPr>
              <p:spPr bwMode="auto">
                <a:xfrm>
                  <a:off x="9625807" y="3792538"/>
                  <a:ext cx="20002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grpSp>
          <p:grpSp>
            <p:nvGrpSpPr>
              <p:cNvPr id="301" name="Group 300"/>
              <p:cNvGrpSpPr/>
              <p:nvPr/>
            </p:nvGrpSpPr>
            <p:grpSpPr>
              <a:xfrm>
                <a:off x="1665455" y="5671650"/>
                <a:ext cx="185367" cy="186226"/>
                <a:chOff x="12491246" y="2816102"/>
                <a:chExt cx="1745830" cy="1754162"/>
              </a:xfrm>
              <a:solidFill>
                <a:schemeClr val="bg1"/>
              </a:solidFill>
            </p:grpSpPr>
            <p:sp>
              <p:nvSpPr>
                <p:cNvPr id="303" name="Rectangle 302"/>
                <p:cNvSpPr/>
                <p:nvPr/>
              </p:nvSpPr>
              <p:spPr bwMode="auto">
                <a:xfrm>
                  <a:off x="12689121" y="3330928"/>
                  <a:ext cx="122893" cy="10327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04" name="Rectangle 303"/>
                <p:cNvSpPr/>
                <p:nvPr/>
              </p:nvSpPr>
              <p:spPr bwMode="auto">
                <a:xfrm>
                  <a:off x="13301845" y="3872140"/>
                  <a:ext cx="122893" cy="475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05" name="Rectangle 304"/>
                <p:cNvSpPr/>
                <p:nvPr/>
              </p:nvSpPr>
              <p:spPr bwMode="auto">
                <a:xfrm rot="5400000">
                  <a:off x="12900537" y="3485238"/>
                  <a:ext cx="122893" cy="412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rot="5400000">
                  <a:off x="13175552" y="3765667"/>
                  <a:ext cx="122893" cy="10732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07" name="Oval 306"/>
                <p:cNvSpPr/>
                <p:nvPr/>
              </p:nvSpPr>
              <p:spPr bwMode="auto">
                <a:xfrm>
                  <a:off x="12616815" y="356044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08" name="Oval 307"/>
                <p:cNvSpPr/>
                <p:nvPr/>
              </p:nvSpPr>
              <p:spPr bwMode="auto">
                <a:xfrm>
                  <a:off x="13232130" y="417766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09" name="Rectangle 308"/>
                <p:cNvSpPr/>
                <p:nvPr/>
              </p:nvSpPr>
              <p:spPr bwMode="auto">
                <a:xfrm>
                  <a:off x="12491246" y="2816102"/>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10" name="Rectangle 309"/>
                <p:cNvSpPr/>
                <p:nvPr/>
              </p:nvSpPr>
              <p:spPr bwMode="auto">
                <a:xfrm>
                  <a:off x="13101888" y="3435817"/>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13718430" y="4051618"/>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sp>
            <p:nvSpPr>
              <p:cNvPr id="302" name="Flowchart: Magnetic Disk 86"/>
              <p:cNvSpPr/>
              <p:nvPr/>
            </p:nvSpPr>
            <p:spPr bwMode="auto">
              <a:xfrm>
                <a:off x="1434737" y="5671469"/>
                <a:ext cx="161247" cy="193742"/>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6" tIns="143421" rIns="179276" bIns="143421"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0" name="Group 9"/>
          <p:cNvGrpSpPr/>
          <p:nvPr/>
        </p:nvGrpSpPr>
        <p:grpSpPr>
          <a:xfrm>
            <a:off x="5227524" y="3426151"/>
            <a:ext cx="829470" cy="832842"/>
            <a:chOff x="5476876" y="3667021"/>
            <a:chExt cx="568324" cy="570634"/>
          </a:xfrm>
        </p:grpSpPr>
        <p:sp>
          <p:nvSpPr>
            <p:cNvPr id="163" name="Oval 162"/>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9"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4E195C"/>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167" name="Group 166"/>
          <p:cNvGrpSpPr/>
          <p:nvPr/>
        </p:nvGrpSpPr>
        <p:grpSpPr>
          <a:xfrm>
            <a:off x="6764321" y="2531021"/>
            <a:ext cx="3197176" cy="3592231"/>
            <a:chOff x="6565340" y="2581276"/>
            <a:chExt cx="3261286" cy="3664263"/>
          </a:xfrm>
        </p:grpSpPr>
        <p:sp>
          <p:nvSpPr>
            <p:cNvPr id="168" name="Rounded Rectangle 167"/>
            <p:cNvSpPr/>
            <p:nvPr/>
          </p:nvSpPr>
          <p:spPr bwMode="auto">
            <a:xfrm>
              <a:off x="6565340" y="4200525"/>
              <a:ext cx="3261286" cy="2045014"/>
            </a:xfrm>
            <a:prstGeom prst="roundRect">
              <a:avLst>
                <a:gd name="adj" fmla="val 3441"/>
              </a:avLst>
            </a:prstGeom>
            <a:solidFill>
              <a:schemeClr val="bg1">
                <a:alpha val="75000"/>
              </a:schemeClr>
            </a:solidFill>
            <a:ln w="3492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Freeform 168"/>
            <p:cNvSpPr>
              <a:spLocks noEditPoints="1"/>
            </p:cNvSpPr>
            <p:nvPr/>
          </p:nvSpPr>
          <p:spPr bwMode="black">
            <a:xfrm>
              <a:off x="6657748" y="4316412"/>
              <a:ext cx="906256" cy="182752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70" name="Freeform 169"/>
            <p:cNvSpPr>
              <a:spLocks noEditPoints="1"/>
            </p:cNvSpPr>
            <p:nvPr/>
          </p:nvSpPr>
          <p:spPr bwMode="black">
            <a:xfrm>
              <a:off x="7745059" y="4316412"/>
              <a:ext cx="906256" cy="182752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71" name="Freeform 170"/>
            <p:cNvSpPr>
              <a:spLocks noEditPoints="1"/>
            </p:cNvSpPr>
            <p:nvPr/>
          </p:nvSpPr>
          <p:spPr bwMode="black">
            <a:xfrm>
              <a:off x="8811859" y="4316412"/>
              <a:ext cx="906256" cy="1827529"/>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72" name="Oval 5"/>
            <p:cNvSpPr>
              <a:spLocks noChangeArrowheads="1"/>
            </p:cNvSpPr>
            <p:nvPr/>
          </p:nvSpPr>
          <p:spPr bwMode="auto">
            <a:xfrm>
              <a:off x="6675438" y="2581276"/>
              <a:ext cx="888566" cy="893624"/>
            </a:xfrm>
            <a:prstGeom prst="ellipse">
              <a:avLst/>
            </a:prstGeom>
            <a:solidFill>
              <a:schemeClr val="bg1"/>
            </a:solidFill>
            <a:ln w="38100">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a:solidFill>
                  <a:srgbClr val="FF8C00"/>
                </a:solidFill>
                <a:ea typeface="Segoe UI" pitchFamily="34" charset="0"/>
                <a:cs typeface="Segoe UI" pitchFamily="34" charset="0"/>
              </a:endParaRPr>
            </a:p>
          </p:txBody>
        </p:sp>
        <p:sp>
          <p:nvSpPr>
            <p:cNvPr id="173" name="Freeform 6"/>
            <p:cNvSpPr>
              <a:spLocks/>
            </p:cNvSpPr>
            <p:nvPr/>
          </p:nvSpPr>
          <p:spPr bwMode="auto">
            <a:xfrm>
              <a:off x="6883501" y="2891178"/>
              <a:ext cx="238075" cy="407358"/>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3">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4" name="Freeform 7"/>
            <p:cNvSpPr>
              <a:spLocks/>
            </p:cNvSpPr>
            <p:nvPr/>
          </p:nvSpPr>
          <p:spPr bwMode="auto">
            <a:xfrm>
              <a:off x="7119890" y="2891178"/>
              <a:ext cx="238075" cy="407358"/>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5" name="Freeform 8"/>
            <p:cNvSpPr>
              <a:spLocks/>
            </p:cNvSpPr>
            <p:nvPr/>
          </p:nvSpPr>
          <p:spPr bwMode="auto">
            <a:xfrm>
              <a:off x="6883501" y="2755280"/>
              <a:ext cx="474464" cy="271797"/>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3">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6" name="Oval 5"/>
            <p:cNvSpPr>
              <a:spLocks noChangeArrowheads="1"/>
            </p:cNvSpPr>
            <p:nvPr/>
          </p:nvSpPr>
          <p:spPr bwMode="auto">
            <a:xfrm>
              <a:off x="7752443" y="2581276"/>
              <a:ext cx="888566" cy="893624"/>
            </a:xfrm>
            <a:prstGeom prst="ellipse">
              <a:avLst/>
            </a:prstGeom>
            <a:solidFill>
              <a:schemeClr val="bg1"/>
            </a:solidFill>
            <a:ln w="38100">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a:solidFill>
                  <a:srgbClr val="FF8C00"/>
                </a:solidFill>
                <a:ea typeface="Segoe UI" pitchFamily="34" charset="0"/>
                <a:cs typeface="Segoe UI" pitchFamily="34" charset="0"/>
              </a:endParaRPr>
            </a:p>
          </p:txBody>
        </p:sp>
        <p:sp>
          <p:nvSpPr>
            <p:cNvPr id="177" name="Freeform 6"/>
            <p:cNvSpPr>
              <a:spLocks/>
            </p:cNvSpPr>
            <p:nvPr/>
          </p:nvSpPr>
          <p:spPr bwMode="auto">
            <a:xfrm>
              <a:off x="7960506" y="2891178"/>
              <a:ext cx="238075" cy="407358"/>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3">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8" name="Freeform 7"/>
            <p:cNvSpPr>
              <a:spLocks/>
            </p:cNvSpPr>
            <p:nvPr/>
          </p:nvSpPr>
          <p:spPr bwMode="auto">
            <a:xfrm>
              <a:off x="8196895" y="2891178"/>
              <a:ext cx="238075" cy="407358"/>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9" name="Freeform 8"/>
            <p:cNvSpPr>
              <a:spLocks/>
            </p:cNvSpPr>
            <p:nvPr/>
          </p:nvSpPr>
          <p:spPr bwMode="auto">
            <a:xfrm>
              <a:off x="7960506" y="2755280"/>
              <a:ext cx="474464" cy="271797"/>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3">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0" name="Oval 5"/>
            <p:cNvSpPr>
              <a:spLocks noChangeArrowheads="1"/>
            </p:cNvSpPr>
            <p:nvPr/>
          </p:nvSpPr>
          <p:spPr bwMode="auto">
            <a:xfrm>
              <a:off x="8820704" y="2581276"/>
              <a:ext cx="888566" cy="893624"/>
            </a:xfrm>
            <a:prstGeom prst="ellipse">
              <a:avLst/>
            </a:prstGeom>
            <a:solidFill>
              <a:schemeClr val="bg1"/>
            </a:solidFill>
            <a:ln w="38100">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a:solidFill>
                  <a:srgbClr val="FF8C00"/>
                </a:solidFill>
                <a:ea typeface="Segoe UI" pitchFamily="34" charset="0"/>
                <a:cs typeface="Segoe UI" pitchFamily="34" charset="0"/>
              </a:endParaRPr>
            </a:p>
          </p:txBody>
        </p:sp>
        <p:sp>
          <p:nvSpPr>
            <p:cNvPr id="181" name="Freeform 6"/>
            <p:cNvSpPr>
              <a:spLocks/>
            </p:cNvSpPr>
            <p:nvPr/>
          </p:nvSpPr>
          <p:spPr bwMode="auto">
            <a:xfrm>
              <a:off x="9028767" y="2891178"/>
              <a:ext cx="238075" cy="407358"/>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3">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2" name="Freeform 7"/>
            <p:cNvSpPr>
              <a:spLocks/>
            </p:cNvSpPr>
            <p:nvPr/>
          </p:nvSpPr>
          <p:spPr bwMode="auto">
            <a:xfrm>
              <a:off x="9265156" y="2891178"/>
              <a:ext cx="238075" cy="407358"/>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3" name="Freeform 8"/>
            <p:cNvSpPr>
              <a:spLocks/>
            </p:cNvSpPr>
            <p:nvPr/>
          </p:nvSpPr>
          <p:spPr bwMode="auto">
            <a:xfrm>
              <a:off x="9028767" y="2755280"/>
              <a:ext cx="474464" cy="271797"/>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3">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4" name="Rounded Rectangle 183"/>
            <p:cNvSpPr/>
            <p:nvPr/>
          </p:nvSpPr>
          <p:spPr bwMode="auto">
            <a:xfrm>
              <a:off x="6565340" y="4200525"/>
              <a:ext cx="3261286" cy="2045014"/>
            </a:xfrm>
            <a:prstGeom prst="roundRect">
              <a:avLst>
                <a:gd name="adj" fmla="val 3441"/>
              </a:avLst>
            </a:prstGeom>
            <a:noFill/>
            <a:ln w="34925">
              <a:solidFill>
                <a:schemeClr val="accent3"/>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85" name="Straight Connector 184"/>
            <p:cNvCxnSpPr/>
            <p:nvPr/>
          </p:nvCxnSpPr>
          <p:spPr>
            <a:xfrm flipV="1">
              <a:off x="7101148" y="3667021"/>
              <a:ext cx="0" cy="248011"/>
            </a:xfrm>
            <a:prstGeom prst="line">
              <a:avLst/>
            </a:prstGeom>
            <a:ln w="3492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flipV="1">
              <a:off x="8196726" y="3667022"/>
              <a:ext cx="0" cy="504928"/>
            </a:xfrm>
            <a:prstGeom prst="line">
              <a:avLst/>
            </a:prstGeom>
            <a:ln w="3492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flipH="1">
              <a:off x="7060804" y="3962400"/>
              <a:ext cx="2211781" cy="0"/>
            </a:xfrm>
            <a:prstGeom prst="line">
              <a:avLst/>
            </a:prstGeom>
            <a:ln w="3492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V="1">
              <a:off x="9259095" y="3667021"/>
              <a:ext cx="0" cy="248011"/>
            </a:xfrm>
            <a:prstGeom prst="line">
              <a:avLst/>
            </a:prstGeom>
            <a:ln w="34925">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3" name="Group 212"/>
          <p:cNvGrpSpPr/>
          <p:nvPr/>
        </p:nvGrpSpPr>
        <p:grpSpPr>
          <a:xfrm>
            <a:off x="9179307" y="5012606"/>
            <a:ext cx="2722396" cy="1496043"/>
            <a:chOff x="9314317" y="5254171"/>
            <a:chExt cx="2776986" cy="1526042"/>
          </a:xfrm>
        </p:grpSpPr>
        <p:sp>
          <p:nvSpPr>
            <p:cNvPr id="214" name="Freeform 8"/>
            <p:cNvSpPr>
              <a:spLocks/>
            </p:cNvSpPr>
            <p:nvPr/>
          </p:nvSpPr>
          <p:spPr bwMode="auto">
            <a:xfrm>
              <a:off x="9507628" y="5254171"/>
              <a:ext cx="1721211" cy="1197041"/>
            </a:xfrm>
            <a:custGeom>
              <a:avLst/>
              <a:gdLst>
                <a:gd name="T0" fmla="*/ 1699 w 1733"/>
                <a:gd name="T1" fmla="*/ 1202 h 1202"/>
                <a:gd name="T2" fmla="*/ 1733 w 1733"/>
                <a:gd name="T3" fmla="*/ 1168 h 1202"/>
                <a:gd name="T4" fmla="*/ 1733 w 1733"/>
                <a:gd name="T5" fmla="*/ 34 h 1202"/>
                <a:gd name="T6" fmla="*/ 1699 w 1733"/>
                <a:gd name="T7" fmla="*/ 0 h 1202"/>
                <a:gd name="T8" fmla="*/ 34 w 1733"/>
                <a:gd name="T9" fmla="*/ 0 h 1202"/>
                <a:gd name="T10" fmla="*/ 0 w 1733"/>
                <a:gd name="T11" fmla="*/ 34 h 1202"/>
                <a:gd name="T12" fmla="*/ 0 w 1733"/>
                <a:gd name="T13" fmla="*/ 1168 h 1202"/>
                <a:gd name="T14" fmla="*/ 34 w 1733"/>
                <a:gd name="T15" fmla="*/ 1202 h 1202"/>
                <a:gd name="T16" fmla="*/ 1699 w 1733"/>
                <a:gd name="T17" fmla="*/ 120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202">
                  <a:moveTo>
                    <a:pt x="1699" y="1202"/>
                  </a:moveTo>
                  <a:cubicBezTo>
                    <a:pt x="1718" y="1202"/>
                    <a:pt x="1733" y="1187"/>
                    <a:pt x="1733" y="1168"/>
                  </a:cubicBezTo>
                  <a:cubicBezTo>
                    <a:pt x="1733" y="34"/>
                    <a:pt x="1733" y="34"/>
                    <a:pt x="1733" y="34"/>
                  </a:cubicBezTo>
                  <a:cubicBezTo>
                    <a:pt x="1733" y="15"/>
                    <a:pt x="1718" y="0"/>
                    <a:pt x="1699" y="0"/>
                  </a:cubicBezTo>
                  <a:cubicBezTo>
                    <a:pt x="34" y="0"/>
                    <a:pt x="34" y="0"/>
                    <a:pt x="34" y="0"/>
                  </a:cubicBezTo>
                  <a:cubicBezTo>
                    <a:pt x="15" y="0"/>
                    <a:pt x="0" y="15"/>
                    <a:pt x="0" y="34"/>
                  </a:cubicBezTo>
                  <a:cubicBezTo>
                    <a:pt x="0" y="1168"/>
                    <a:pt x="0" y="1168"/>
                    <a:pt x="0" y="1168"/>
                  </a:cubicBezTo>
                  <a:cubicBezTo>
                    <a:pt x="0" y="1187"/>
                    <a:pt x="15" y="1202"/>
                    <a:pt x="34" y="1202"/>
                  </a:cubicBezTo>
                  <a:lnTo>
                    <a:pt x="1699" y="1202"/>
                  </a:lnTo>
                  <a:close/>
                </a:path>
              </a:pathLst>
            </a:custGeom>
            <a:solidFill>
              <a:srgbClr val="3A1345"/>
            </a:solidFill>
            <a:ln>
              <a:noFill/>
            </a:ln>
          </p:spPr>
          <p:txBody>
            <a:bodyPr/>
            <a:lstStyle/>
            <a:p>
              <a:pPr defTabSz="914314">
                <a:defRPr/>
              </a:pPr>
              <a:endParaRPr lang="en-US">
                <a:solidFill>
                  <a:srgbClr val="000000"/>
                </a:solidFill>
              </a:endParaRPr>
            </a:p>
          </p:txBody>
        </p:sp>
        <p:sp>
          <p:nvSpPr>
            <p:cNvPr id="215" name="Rectangle 9"/>
            <p:cNvSpPr>
              <a:spLocks noChangeArrowheads="1"/>
            </p:cNvSpPr>
            <p:nvPr/>
          </p:nvSpPr>
          <p:spPr bwMode="auto">
            <a:xfrm>
              <a:off x="9561531" y="5306216"/>
              <a:ext cx="1613403" cy="918227"/>
            </a:xfrm>
            <a:prstGeom prst="rect">
              <a:avLst/>
            </a:prstGeom>
            <a:solidFill>
              <a:schemeClr val="bg1"/>
            </a:solidFill>
            <a:ln>
              <a:noFill/>
            </a:ln>
          </p:spPr>
          <p:txBody>
            <a:bodyPr/>
            <a:lstStyle/>
            <a:p>
              <a:pPr defTabSz="914314">
                <a:defRPr/>
              </a:pPr>
              <a:endParaRPr lang="en-US">
                <a:solidFill>
                  <a:srgbClr val="000000"/>
                </a:solidFill>
              </a:endParaRPr>
            </a:p>
          </p:txBody>
        </p:sp>
        <p:grpSp>
          <p:nvGrpSpPr>
            <p:cNvPr id="216" name="Group 215"/>
            <p:cNvGrpSpPr/>
            <p:nvPr/>
          </p:nvGrpSpPr>
          <p:grpSpPr>
            <a:xfrm>
              <a:off x="9314317" y="6599913"/>
              <a:ext cx="2776986" cy="180300"/>
              <a:chOff x="9314317" y="6599913"/>
              <a:chExt cx="2776986" cy="180300"/>
            </a:xfrm>
            <a:solidFill>
              <a:schemeClr val="accent5"/>
            </a:solidFill>
          </p:grpSpPr>
          <p:sp>
            <p:nvSpPr>
              <p:cNvPr id="236" name="Freeform 5"/>
              <p:cNvSpPr>
                <a:spLocks/>
              </p:cNvSpPr>
              <p:nvPr/>
            </p:nvSpPr>
            <p:spPr bwMode="auto">
              <a:xfrm>
                <a:off x="11767879" y="6624077"/>
                <a:ext cx="323424" cy="156136"/>
              </a:xfrm>
              <a:custGeom>
                <a:avLst/>
                <a:gdLst>
                  <a:gd name="T0" fmla="*/ 168 w 326"/>
                  <a:gd name="T1" fmla="*/ 3 h 157"/>
                  <a:gd name="T2" fmla="*/ 0 w 326"/>
                  <a:gd name="T3" fmla="*/ 157 h 157"/>
                  <a:gd name="T4" fmla="*/ 322 w 326"/>
                  <a:gd name="T5" fmla="*/ 157 h 157"/>
                  <a:gd name="T6" fmla="*/ 168 w 326"/>
                  <a:gd name="T7" fmla="*/ 3 h 157"/>
                </a:gdLst>
                <a:ahLst/>
                <a:cxnLst>
                  <a:cxn ang="0">
                    <a:pos x="T0" y="T1"/>
                  </a:cxn>
                  <a:cxn ang="0">
                    <a:pos x="T2" y="T3"/>
                  </a:cxn>
                  <a:cxn ang="0">
                    <a:pos x="T4" y="T5"/>
                  </a:cxn>
                  <a:cxn ang="0">
                    <a:pos x="T6" y="T7"/>
                  </a:cxn>
                </a:cxnLst>
                <a:rect l="0" t="0" r="r" b="b"/>
                <a:pathLst>
                  <a:path w="326" h="157">
                    <a:moveTo>
                      <a:pt x="168" y="3"/>
                    </a:moveTo>
                    <a:cubicBezTo>
                      <a:pt x="79" y="0"/>
                      <a:pt x="4" y="69"/>
                      <a:pt x="0" y="157"/>
                    </a:cubicBezTo>
                    <a:cubicBezTo>
                      <a:pt x="322" y="157"/>
                      <a:pt x="322" y="157"/>
                      <a:pt x="322" y="157"/>
                    </a:cubicBezTo>
                    <a:cubicBezTo>
                      <a:pt x="326" y="69"/>
                      <a:pt x="257" y="7"/>
                      <a:pt x="168" y="3"/>
                    </a:cubicBezTo>
                    <a:close/>
                  </a:path>
                </a:pathLst>
              </a:custGeom>
              <a:solidFill>
                <a:srgbClr val="3A1345"/>
              </a:solidFill>
              <a:ln>
                <a:noFill/>
              </a:ln>
            </p:spPr>
            <p:txBody>
              <a:bodyPr/>
              <a:lstStyle/>
              <a:p>
                <a:pPr defTabSz="914314">
                  <a:defRPr/>
                </a:pPr>
                <a:endParaRPr lang="en-US">
                  <a:solidFill>
                    <a:srgbClr val="000000"/>
                  </a:solidFill>
                </a:endParaRPr>
              </a:p>
            </p:txBody>
          </p:sp>
          <p:sp>
            <p:nvSpPr>
              <p:cNvPr id="237" name="Freeform 6"/>
              <p:cNvSpPr>
                <a:spLocks/>
              </p:cNvSpPr>
              <p:nvPr/>
            </p:nvSpPr>
            <p:spPr bwMode="auto">
              <a:xfrm>
                <a:off x="11176794" y="6625935"/>
                <a:ext cx="685882" cy="87362"/>
              </a:xfrm>
              <a:custGeom>
                <a:avLst/>
                <a:gdLst>
                  <a:gd name="T0" fmla="*/ 680 w 690"/>
                  <a:gd name="T1" fmla="*/ 86 h 86"/>
                  <a:gd name="T2" fmla="*/ 609 w 690"/>
                  <a:gd name="T3" fmla="*/ 55 h 86"/>
                  <a:gd name="T4" fmla="*/ 460 w 690"/>
                  <a:gd name="T5" fmla="*/ 25 h 86"/>
                  <a:gd name="T6" fmla="*/ 0 w 690"/>
                  <a:gd name="T7" fmla="*/ 25 h 86"/>
                  <a:gd name="T8" fmla="*/ 0 w 690"/>
                  <a:gd name="T9" fmla="*/ 0 h 86"/>
                  <a:gd name="T10" fmla="*/ 460 w 690"/>
                  <a:gd name="T11" fmla="*/ 0 h 86"/>
                  <a:gd name="T12" fmla="*/ 619 w 690"/>
                  <a:gd name="T13" fmla="*/ 32 h 86"/>
                  <a:gd name="T14" fmla="*/ 690 w 690"/>
                  <a:gd name="T15" fmla="*/ 63 h 86"/>
                  <a:gd name="T16" fmla="*/ 680 w 690"/>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0" h="86">
                    <a:moveTo>
                      <a:pt x="680" y="86"/>
                    </a:moveTo>
                    <a:cubicBezTo>
                      <a:pt x="609" y="55"/>
                      <a:pt x="609" y="55"/>
                      <a:pt x="609" y="55"/>
                    </a:cubicBezTo>
                    <a:cubicBezTo>
                      <a:pt x="572" y="39"/>
                      <a:pt x="504" y="25"/>
                      <a:pt x="460" y="25"/>
                    </a:cubicBezTo>
                    <a:cubicBezTo>
                      <a:pt x="0" y="25"/>
                      <a:pt x="0" y="25"/>
                      <a:pt x="0" y="25"/>
                    </a:cubicBezTo>
                    <a:cubicBezTo>
                      <a:pt x="0" y="0"/>
                      <a:pt x="0" y="0"/>
                      <a:pt x="0" y="0"/>
                    </a:cubicBezTo>
                    <a:cubicBezTo>
                      <a:pt x="460" y="0"/>
                      <a:pt x="460" y="0"/>
                      <a:pt x="460" y="0"/>
                    </a:cubicBezTo>
                    <a:cubicBezTo>
                      <a:pt x="507" y="0"/>
                      <a:pt x="579" y="14"/>
                      <a:pt x="619" y="32"/>
                    </a:cubicBezTo>
                    <a:cubicBezTo>
                      <a:pt x="690" y="63"/>
                      <a:pt x="690" y="63"/>
                      <a:pt x="690" y="63"/>
                    </a:cubicBezTo>
                    <a:lnTo>
                      <a:pt x="680" y="86"/>
                    </a:lnTo>
                    <a:close/>
                  </a:path>
                </a:pathLst>
              </a:custGeom>
              <a:solidFill>
                <a:srgbClr val="3A1345"/>
              </a:solidFill>
              <a:ln>
                <a:noFill/>
              </a:ln>
            </p:spPr>
            <p:txBody>
              <a:bodyPr/>
              <a:lstStyle/>
              <a:p>
                <a:pPr defTabSz="914314">
                  <a:defRPr/>
                </a:pPr>
                <a:endParaRPr lang="en-US">
                  <a:solidFill>
                    <a:srgbClr val="000000"/>
                  </a:solidFill>
                </a:endParaRPr>
              </a:p>
            </p:txBody>
          </p:sp>
          <p:sp>
            <p:nvSpPr>
              <p:cNvPr id="238" name="Rectangle 10"/>
              <p:cNvSpPr>
                <a:spLocks noChangeArrowheads="1"/>
              </p:cNvSpPr>
              <p:nvPr/>
            </p:nvSpPr>
            <p:spPr bwMode="auto">
              <a:xfrm>
                <a:off x="9314317" y="6696568"/>
                <a:ext cx="2135714" cy="79927"/>
              </a:xfrm>
              <a:prstGeom prst="rect">
                <a:avLst/>
              </a:prstGeom>
              <a:solidFill>
                <a:srgbClr val="3A1345"/>
              </a:solidFill>
              <a:ln>
                <a:noFill/>
              </a:ln>
            </p:spPr>
            <p:txBody>
              <a:bodyPr/>
              <a:lstStyle/>
              <a:p>
                <a:pPr defTabSz="914314">
                  <a:defRPr/>
                </a:pPr>
                <a:endParaRPr lang="en-US">
                  <a:solidFill>
                    <a:srgbClr val="000000"/>
                  </a:solidFill>
                </a:endParaRPr>
              </a:p>
            </p:txBody>
          </p:sp>
          <p:sp>
            <p:nvSpPr>
              <p:cNvPr id="239" name="Freeform 11"/>
              <p:cNvSpPr>
                <a:spLocks/>
              </p:cNvSpPr>
              <p:nvPr/>
            </p:nvSpPr>
            <p:spPr bwMode="auto">
              <a:xfrm>
                <a:off x="9314317" y="6599913"/>
                <a:ext cx="2135714" cy="96655"/>
              </a:xfrm>
              <a:custGeom>
                <a:avLst/>
                <a:gdLst>
                  <a:gd name="T0" fmla="*/ 5080 w 5080"/>
                  <a:gd name="T1" fmla="*/ 232 h 232"/>
                  <a:gd name="T2" fmla="*/ 0 w 5080"/>
                  <a:gd name="T3" fmla="*/ 232 h 232"/>
                  <a:gd name="T4" fmla="*/ 315 w 5080"/>
                  <a:gd name="T5" fmla="*/ 0 h 232"/>
                  <a:gd name="T6" fmla="*/ 4763 w 5080"/>
                  <a:gd name="T7" fmla="*/ 0 h 232"/>
                  <a:gd name="T8" fmla="*/ 5080 w 5080"/>
                  <a:gd name="T9" fmla="*/ 232 h 232"/>
                </a:gdLst>
                <a:ahLst/>
                <a:cxnLst>
                  <a:cxn ang="0">
                    <a:pos x="T0" y="T1"/>
                  </a:cxn>
                  <a:cxn ang="0">
                    <a:pos x="T2" y="T3"/>
                  </a:cxn>
                  <a:cxn ang="0">
                    <a:pos x="T4" y="T5"/>
                  </a:cxn>
                  <a:cxn ang="0">
                    <a:pos x="T6" y="T7"/>
                  </a:cxn>
                  <a:cxn ang="0">
                    <a:pos x="T8" y="T9"/>
                  </a:cxn>
                </a:cxnLst>
                <a:rect l="0" t="0" r="r" b="b"/>
                <a:pathLst>
                  <a:path w="5080" h="232">
                    <a:moveTo>
                      <a:pt x="5080" y="232"/>
                    </a:moveTo>
                    <a:lnTo>
                      <a:pt x="0" y="232"/>
                    </a:lnTo>
                    <a:lnTo>
                      <a:pt x="315" y="0"/>
                    </a:lnTo>
                    <a:lnTo>
                      <a:pt x="4763" y="0"/>
                    </a:lnTo>
                    <a:lnTo>
                      <a:pt x="5080" y="232"/>
                    </a:lnTo>
                    <a:close/>
                  </a:path>
                </a:pathLst>
              </a:custGeom>
              <a:solidFill>
                <a:srgbClr val="3A1345"/>
              </a:solidFill>
              <a:ln>
                <a:noFill/>
              </a:ln>
            </p:spPr>
            <p:txBody>
              <a:bodyPr/>
              <a:lstStyle/>
              <a:p>
                <a:pPr defTabSz="914314">
                  <a:defRPr/>
                </a:pPr>
                <a:endParaRPr lang="en-US">
                  <a:solidFill>
                    <a:srgbClr val="000000"/>
                  </a:solidFill>
                </a:endParaRPr>
              </a:p>
            </p:txBody>
          </p:sp>
        </p:grpSp>
        <p:grpSp>
          <p:nvGrpSpPr>
            <p:cNvPr id="217" name="Group 216"/>
            <p:cNvGrpSpPr/>
            <p:nvPr/>
          </p:nvGrpSpPr>
          <p:grpSpPr>
            <a:xfrm>
              <a:off x="9765303" y="5625492"/>
              <a:ext cx="1261860" cy="318107"/>
              <a:chOff x="9765303" y="5625492"/>
              <a:chExt cx="1261860" cy="318107"/>
            </a:xfrm>
            <a:solidFill>
              <a:schemeClr val="accent5"/>
            </a:solidFill>
          </p:grpSpPr>
          <p:grpSp>
            <p:nvGrpSpPr>
              <p:cNvPr id="218" name="Group 217"/>
              <p:cNvGrpSpPr/>
              <p:nvPr/>
            </p:nvGrpSpPr>
            <p:grpSpPr>
              <a:xfrm>
                <a:off x="9765303" y="5625492"/>
                <a:ext cx="318153" cy="318107"/>
                <a:chOff x="9501982" y="3668713"/>
                <a:chExt cx="444500" cy="444500"/>
              </a:xfrm>
              <a:grpFill/>
            </p:grpSpPr>
            <p:sp>
              <p:nvSpPr>
                <p:cNvPr id="234" name="Freeform 10"/>
                <p:cNvSpPr>
                  <a:spLocks noEditPoints="1"/>
                </p:cNvSpPr>
                <p:nvPr/>
              </p:nvSpPr>
              <p:spPr bwMode="auto">
                <a:xfrm>
                  <a:off x="9501982" y="3668713"/>
                  <a:ext cx="444500" cy="444500"/>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sp>
              <p:nvSpPr>
                <p:cNvPr id="235" name="Rectangle 11"/>
                <p:cNvSpPr>
                  <a:spLocks noChangeArrowheads="1"/>
                </p:cNvSpPr>
                <p:nvPr/>
              </p:nvSpPr>
              <p:spPr bwMode="auto">
                <a:xfrm>
                  <a:off x="9625807" y="3792538"/>
                  <a:ext cx="200025" cy="20002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grpSp>
          <p:grpSp>
            <p:nvGrpSpPr>
              <p:cNvPr id="219" name="Group 218"/>
              <p:cNvGrpSpPr/>
              <p:nvPr/>
            </p:nvGrpSpPr>
            <p:grpSpPr>
              <a:xfrm>
                <a:off x="10732693" y="5642781"/>
                <a:ext cx="294470" cy="295835"/>
                <a:chOff x="12491246" y="2816102"/>
                <a:chExt cx="1745830" cy="1754162"/>
              </a:xfrm>
              <a:grpFill/>
            </p:grpSpPr>
            <p:sp>
              <p:nvSpPr>
                <p:cNvPr id="225" name="Rectangle 224"/>
                <p:cNvSpPr/>
                <p:nvPr/>
              </p:nvSpPr>
              <p:spPr bwMode="auto">
                <a:xfrm>
                  <a:off x="12689121" y="3330928"/>
                  <a:ext cx="122893" cy="1032779"/>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26" name="Rectangle 225"/>
                <p:cNvSpPr/>
                <p:nvPr/>
              </p:nvSpPr>
              <p:spPr bwMode="auto">
                <a:xfrm>
                  <a:off x="13301845" y="3872140"/>
                  <a:ext cx="122893" cy="47525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rot="5400000">
                  <a:off x="12900537" y="3485238"/>
                  <a:ext cx="122893" cy="412418"/>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rot="5400000">
                  <a:off x="13175552" y="3765667"/>
                  <a:ext cx="122893" cy="1073222"/>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p:nvSpPr>
              <p:spPr bwMode="auto">
                <a:xfrm>
                  <a:off x="12616815" y="3560445"/>
                  <a:ext cx="260985" cy="2628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30" name="Oval 229"/>
                <p:cNvSpPr/>
                <p:nvPr/>
              </p:nvSpPr>
              <p:spPr bwMode="auto">
                <a:xfrm>
                  <a:off x="13232130" y="4177665"/>
                  <a:ext cx="260985" cy="2628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p:cNvSpPr/>
                <p:nvPr/>
              </p:nvSpPr>
              <p:spPr bwMode="auto">
                <a:xfrm>
                  <a:off x="12491246" y="2816102"/>
                  <a:ext cx="518646" cy="518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231"/>
                <p:cNvSpPr/>
                <p:nvPr/>
              </p:nvSpPr>
              <p:spPr bwMode="auto">
                <a:xfrm>
                  <a:off x="13101888" y="3435817"/>
                  <a:ext cx="518646" cy="518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33" name="Rectangle 232"/>
                <p:cNvSpPr/>
                <p:nvPr/>
              </p:nvSpPr>
              <p:spPr bwMode="auto">
                <a:xfrm>
                  <a:off x="13718430" y="4051618"/>
                  <a:ext cx="518646" cy="518646"/>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3" name="Flowchart: Magnetic Disk 86"/>
              <p:cNvSpPr/>
              <p:nvPr/>
            </p:nvSpPr>
            <p:spPr bwMode="auto">
              <a:xfrm>
                <a:off x="10280995" y="5634980"/>
                <a:ext cx="256154" cy="30777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6" tIns="143421" rIns="179276" bIns="143421"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41" name="Group 240"/>
          <p:cNvGrpSpPr/>
          <p:nvPr/>
        </p:nvGrpSpPr>
        <p:grpSpPr>
          <a:xfrm>
            <a:off x="7563621" y="4405844"/>
            <a:ext cx="1536791" cy="1545536"/>
            <a:chOff x="1315914" y="5311141"/>
            <a:chExt cx="660762" cy="664522"/>
          </a:xfrm>
        </p:grpSpPr>
        <p:sp>
          <p:nvSpPr>
            <p:cNvPr id="242" name="Oval 5"/>
            <p:cNvSpPr>
              <a:spLocks noChangeArrowheads="1"/>
            </p:cNvSpPr>
            <p:nvPr/>
          </p:nvSpPr>
          <p:spPr bwMode="auto">
            <a:xfrm>
              <a:off x="1315914" y="5311141"/>
              <a:ext cx="660762" cy="664522"/>
            </a:xfrm>
            <a:prstGeom prst="ellipse">
              <a:avLst/>
            </a:prstGeom>
            <a:solidFill>
              <a:srgbClr val="3A1345">
                <a:alpha val="95294"/>
              </a:srgbClr>
            </a:solidFill>
            <a:ln w="19050">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243" name="Group 242"/>
            <p:cNvGrpSpPr/>
            <p:nvPr/>
          </p:nvGrpSpPr>
          <p:grpSpPr>
            <a:xfrm>
              <a:off x="1441880" y="5399034"/>
              <a:ext cx="416085" cy="449510"/>
              <a:chOff x="1434737" y="5415701"/>
              <a:chExt cx="416085" cy="449510"/>
            </a:xfrm>
          </p:grpSpPr>
          <p:grpSp>
            <p:nvGrpSpPr>
              <p:cNvPr id="244" name="Group 243"/>
              <p:cNvGrpSpPr/>
              <p:nvPr/>
            </p:nvGrpSpPr>
            <p:grpSpPr>
              <a:xfrm>
                <a:off x="1544649" y="5415701"/>
                <a:ext cx="200275" cy="200246"/>
                <a:chOff x="9501982" y="3668713"/>
                <a:chExt cx="444500" cy="444500"/>
              </a:xfrm>
              <a:solidFill>
                <a:schemeClr val="bg1"/>
              </a:solidFill>
            </p:grpSpPr>
            <p:sp>
              <p:nvSpPr>
                <p:cNvPr id="256" name="Freeform 10"/>
                <p:cNvSpPr>
                  <a:spLocks noEditPoints="1"/>
                </p:cNvSpPr>
                <p:nvPr/>
              </p:nvSpPr>
              <p:spPr bwMode="auto">
                <a:xfrm>
                  <a:off x="9501982" y="3668713"/>
                  <a:ext cx="444500" cy="444500"/>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sp>
              <p:nvSpPr>
                <p:cNvPr id="257" name="Rectangle 11"/>
                <p:cNvSpPr>
                  <a:spLocks noChangeArrowheads="1"/>
                </p:cNvSpPr>
                <p:nvPr/>
              </p:nvSpPr>
              <p:spPr bwMode="auto">
                <a:xfrm>
                  <a:off x="9625807" y="3792538"/>
                  <a:ext cx="20002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grpSp>
          <p:grpSp>
            <p:nvGrpSpPr>
              <p:cNvPr id="245" name="Group 244"/>
              <p:cNvGrpSpPr/>
              <p:nvPr/>
            </p:nvGrpSpPr>
            <p:grpSpPr>
              <a:xfrm>
                <a:off x="1665455" y="5671650"/>
                <a:ext cx="185367" cy="186226"/>
                <a:chOff x="12491246" y="2816102"/>
                <a:chExt cx="1745830" cy="1754162"/>
              </a:xfrm>
              <a:solidFill>
                <a:schemeClr val="bg1"/>
              </a:solidFill>
            </p:grpSpPr>
            <p:sp>
              <p:nvSpPr>
                <p:cNvPr id="247" name="Rectangle 246"/>
                <p:cNvSpPr/>
                <p:nvPr/>
              </p:nvSpPr>
              <p:spPr bwMode="auto">
                <a:xfrm>
                  <a:off x="12689121" y="3330928"/>
                  <a:ext cx="122893" cy="10327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13301845" y="3872140"/>
                  <a:ext cx="122893" cy="475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rot="5400000">
                  <a:off x="12900537" y="3485238"/>
                  <a:ext cx="122893" cy="412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rot="5400000">
                  <a:off x="13175552" y="3765667"/>
                  <a:ext cx="122893" cy="10732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12616815" y="356044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13232130" y="417766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12491246" y="2816102"/>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13101888" y="3435817"/>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13718430" y="4051618"/>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46" name="Flowchart: Magnetic Disk 86"/>
              <p:cNvSpPr/>
              <p:nvPr/>
            </p:nvSpPr>
            <p:spPr bwMode="auto">
              <a:xfrm>
                <a:off x="1434737" y="5671469"/>
                <a:ext cx="161247" cy="193742"/>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6" tIns="143421" rIns="179276" bIns="143421"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42642442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69240" y="313992"/>
            <a:ext cx="10757098" cy="1004541"/>
          </a:xfrm>
        </p:spPr>
        <p:txBody>
          <a:bodyPr/>
          <a:lstStyle/>
          <a:p>
            <a:r>
              <a:rPr lang="en-US" dirty="0" smtClean="0"/>
              <a:t>Reimagine compute</a:t>
            </a:r>
            <a:endParaRPr lang="en-US" dirty="0"/>
          </a:p>
        </p:txBody>
      </p:sp>
      <p:sp>
        <p:nvSpPr>
          <p:cNvPr id="4" name="Rectangle 3" hidden="1"/>
          <p:cNvSpPr/>
          <p:nvPr/>
        </p:nvSpPr>
        <p:spPr bwMode="auto">
          <a:xfrm>
            <a:off x="381375" y="3737975"/>
            <a:ext cx="2605671" cy="248279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28568" rIns="91423" bIns="91427" numCol="1" rtlCol="0" anchor="t"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7" name="Rectangle 6" hidden="1"/>
          <p:cNvSpPr/>
          <p:nvPr/>
        </p:nvSpPr>
        <p:spPr bwMode="auto">
          <a:xfrm>
            <a:off x="2987047" y="3733960"/>
            <a:ext cx="2605671" cy="248681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28568" rIns="91423" bIns="91427" numCol="1" rtlCol="0" anchor="t"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10" name="Rectangle 9" hidden="1"/>
          <p:cNvSpPr/>
          <p:nvPr/>
        </p:nvSpPr>
        <p:spPr bwMode="auto">
          <a:xfrm>
            <a:off x="5592717" y="3737975"/>
            <a:ext cx="2605671" cy="2486815"/>
          </a:xfrm>
          <a:prstGeom prst="rect">
            <a:avLst/>
          </a:prstGeom>
          <a:solidFill>
            <a:srgbClr val="0014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3" bIns="91427" numCol="1" rtlCol="0" anchor="t"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12" name="1 after"/>
          <p:cNvSpPr/>
          <p:nvPr/>
        </p:nvSpPr>
        <p:spPr bwMode="auto">
          <a:xfrm>
            <a:off x="3350522" y="5427170"/>
            <a:ext cx="2605461" cy="104578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22843" tIns="0" rIns="91427" bIns="91427" numCol="1" rtlCol="0" anchor="t" anchorCtr="0" compatLnSpc="1">
            <a:prstTxWarp prst="textNoShape">
              <a:avLst/>
            </a:prstTxWarp>
            <a:noAutofit/>
          </a:bodyPr>
          <a:lstStyle/>
          <a:p>
            <a:pPr defTabSz="914188" fontAlgn="base">
              <a:lnSpc>
                <a:spcPct val="90000"/>
              </a:lnSpc>
              <a:spcBef>
                <a:spcPts val="300"/>
              </a:spcBef>
              <a:spcAft>
                <a:spcPct val="0"/>
              </a:spcAft>
              <a:defRPr/>
            </a:pPr>
            <a:endParaRPr lang="en-US" sz="1050" spc="-20" dirty="0">
              <a:gradFill>
                <a:gsLst>
                  <a:gs pos="0">
                    <a:srgbClr val="505050"/>
                  </a:gs>
                  <a:gs pos="100000">
                    <a:srgbClr val="505050"/>
                  </a:gs>
                </a:gsLst>
                <a:lin ang="5400000" scaled="0"/>
              </a:gradFill>
            </a:endParaRPr>
          </a:p>
        </p:txBody>
      </p:sp>
      <p:sp>
        <p:nvSpPr>
          <p:cNvPr id="3" name="TextBox 2"/>
          <p:cNvSpPr txBox="1"/>
          <p:nvPr/>
        </p:nvSpPr>
        <p:spPr>
          <a:xfrm>
            <a:off x="9542587" y="739726"/>
            <a:ext cx="896425" cy="896425"/>
          </a:xfrm>
          <a:prstGeom prst="rect">
            <a:avLst/>
          </a:prstGeom>
          <a:noFill/>
        </p:spPr>
        <p:txBody>
          <a:bodyPr wrap="none" lIns="179285" tIns="143428" rIns="179285" bIns="143428" rtlCol="0">
            <a:noAutofit/>
          </a:bodyPr>
          <a:lstStyle/>
          <a:p>
            <a:pPr defTabSz="914367">
              <a:lnSpc>
                <a:spcPct val="90000"/>
              </a:lnSpc>
              <a:spcAft>
                <a:spcPts val="588"/>
              </a:spcAft>
            </a:pPr>
            <a:endParaRPr lang="en-US" sz="2353" dirty="0">
              <a:gradFill>
                <a:gsLst>
                  <a:gs pos="2917">
                    <a:srgbClr val="000000"/>
                  </a:gs>
                  <a:gs pos="30000">
                    <a:srgbClr val="000000"/>
                  </a:gs>
                </a:gsLst>
                <a:lin ang="5400000" scaled="0"/>
              </a:gradFill>
            </a:endParaRPr>
          </a:p>
        </p:txBody>
      </p:sp>
      <p:sp>
        <p:nvSpPr>
          <p:cNvPr id="5" name="Rectangle 4"/>
          <p:cNvSpPr/>
          <p:nvPr/>
        </p:nvSpPr>
        <p:spPr bwMode="auto">
          <a:xfrm>
            <a:off x="269240" y="1187939"/>
            <a:ext cx="4482124" cy="1748028"/>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3137" dirty="0">
                <a:gradFill>
                  <a:gsLst>
                    <a:gs pos="0">
                      <a:srgbClr val="FFFFFF"/>
                    </a:gs>
                    <a:gs pos="100000">
                      <a:srgbClr val="FFFFFF"/>
                    </a:gs>
                  </a:gsLst>
                  <a:lin ang="5400000" scaled="0"/>
                </a:gradFill>
                <a:latin typeface="Segoe UI Light"/>
                <a:ea typeface="Segoe UI" pitchFamily="34" charset="0"/>
                <a:cs typeface="Segoe UI" pitchFamily="34" charset="0"/>
              </a:rPr>
              <a:t>Virtual Machines</a:t>
            </a:r>
          </a:p>
        </p:txBody>
      </p:sp>
      <p:sp>
        <p:nvSpPr>
          <p:cNvPr id="59" name="Rectangle 58"/>
          <p:cNvSpPr/>
          <p:nvPr/>
        </p:nvSpPr>
        <p:spPr bwMode="auto">
          <a:xfrm>
            <a:off x="269240" y="2980789"/>
            <a:ext cx="4482124" cy="174802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3137" dirty="0">
                <a:gradFill>
                  <a:gsLst>
                    <a:gs pos="0">
                      <a:srgbClr val="FFFFFF"/>
                    </a:gs>
                    <a:gs pos="100000">
                      <a:srgbClr val="FFFFFF"/>
                    </a:gs>
                  </a:gsLst>
                  <a:lin ang="5400000" scaled="0"/>
                </a:gradFill>
                <a:latin typeface="Segoe UI Light"/>
                <a:ea typeface="Segoe UI" pitchFamily="34" charset="0"/>
                <a:cs typeface="Segoe UI" pitchFamily="34" charset="0"/>
              </a:rPr>
              <a:t>Hosts</a:t>
            </a:r>
          </a:p>
        </p:txBody>
      </p:sp>
      <p:sp>
        <p:nvSpPr>
          <p:cNvPr id="62" name="Rectangle 61"/>
          <p:cNvSpPr/>
          <p:nvPr/>
        </p:nvSpPr>
        <p:spPr bwMode="auto">
          <a:xfrm>
            <a:off x="269240" y="4774924"/>
            <a:ext cx="4482124" cy="1724643"/>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3137" dirty="0">
                <a:gradFill>
                  <a:gsLst>
                    <a:gs pos="0">
                      <a:srgbClr val="FFFFFF"/>
                    </a:gs>
                    <a:gs pos="100000">
                      <a:srgbClr val="FFFFFF"/>
                    </a:gs>
                  </a:gsLst>
                  <a:lin ang="5400000" scaled="0"/>
                </a:gradFill>
                <a:latin typeface="Segoe UI Light"/>
                <a:ea typeface="Segoe UI" pitchFamily="34" charset="0"/>
                <a:cs typeface="Segoe UI" pitchFamily="34" charset="0"/>
              </a:rPr>
              <a:t>Clusters</a:t>
            </a:r>
          </a:p>
        </p:txBody>
      </p:sp>
      <p:grpSp>
        <p:nvGrpSpPr>
          <p:cNvPr id="63" name="Group 62"/>
          <p:cNvGrpSpPr/>
          <p:nvPr/>
        </p:nvGrpSpPr>
        <p:grpSpPr>
          <a:xfrm>
            <a:off x="4057376" y="1379638"/>
            <a:ext cx="538612" cy="503815"/>
            <a:chOff x="958960" y="1660806"/>
            <a:chExt cx="549412" cy="513918"/>
          </a:xfrm>
          <a:solidFill>
            <a:schemeClr val="bg1"/>
          </a:solidFill>
        </p:grpSpPr>
        <p:sp>
          <p:nvSpPr>
            <p:cNvPr id="65" name="Freeform 5"/>
            <p:cNvSpPr>
              <a:spLocks noEditPoints="1"/>
            </p:cNvSpPr>
            <p:nvPr/>
          </p:nvSpPr>
          <p:spPr bwMode="auto">
            <a:xfrm>
              <a:off x="1017876" y="1719722"/>
              <a:ext cx="431579" cy="125640"/>
            </a:xfrm>
            <a:custGeom>
              <a:avLst/>
              <a:gdLst>
                <a:gd name="T0" fmla="*/ 239 w 255"/>
                <a:gd name="T1" fmla="*/ 0 h 74"/>
                <a:gd name="T2" fmla="*/ 0 w 255"/>
                <a:gd name="T3" fmla="*/ 17 h 74"/>
                <a:gd name="T4" fmla="*/ 17 w 255"/>
                <a:gd name="T5" fmla="*/ 74 h 74"/>
                <a:gd name="T6" fmla="*/ 255 w 255"/>
                <a:gd name="T7" fmla="*/ 58 h 74"/>
                <a:gd name="T8" fmla="*/ 27 w 255"/>
                <a:gd name="T9" fmla="*/ 57 h 74"/>
                <a:gd name="T10" fmla="*/ 18 w 255"/>
                <a:gd name="T11" fmla="*/ 49 h 74"/>
                <a:gd name="T12" fmla="*/ 27 w 255"/>
                <a:gd name="T13" fmla="*/ 57 h 74"/>
                <a:gd name="T14" fmla="*/ 18 w 255"/>
                <a:gd name="T15" fmla="*/ 40 h 74"/>
                <a:gd name="T16" fmla="*/ 27 w 255"/>
                <a:gd name="T17" fmla="*/ 31 h 74"/>
                <a:gd name="T18" fmla="*/ 27 w 255"/>
                <a:gd name="T19" fmla="*/ 23 h 74"/>
                <a:gd name="T20" fmla="*/ 18 w 255"/>
                <a:gd name="T21" fmla="*/ 14 h 74"/>
                <a:gd name="T22" fmla="*/ 27 w 255"/>
                <a:gd name="T23" fmla="*/ 23 h 74"/>
                <a:gd name="T24" fmla="*/ 37 w 255"/>
                <a:gd name="T25" fmla="*/ 57 h 74"/>
                <a:gd name="T26" fmla="*/ 46 w 255"/>
                <a:gd name="T27" fmla="*/ 49 h 74"/>
                <a:gd name="T28" fmla="*/ 46 w 255"/>
                <a:gd name="T29" fmla="*/ 40 h 74"/>
                <a:gd name="T30" fmla="*/ 37 w 255"/>
                <a:gd name="T31" fmla="*/ 31 h 74"/>
                <a:gd name="T32" fmla="*/ 46 w 255"/>
                <a:gd name="T33" fmla="*/ 40 h 74"/>
                <a:gd name="T34" fmla="*/ 37 w 255"/>
                <a:gd name="T35" fmla="*/ 23 h 74"/>
                <a:gd name="T36" fmla="*/ 46 w 255"/>
                <a:gd name="T37" fmla="*/ 14 h 74"/>
                <a:gd name="T38" fmla="*/ 65 w 255"/>
                <a:gd name="T39" fmla="*/ 57 h 74"/>
                <a:gd name="T40" fmla="*/ 56 w 255"/>
                <a:gd name="T41" fmla="*/ 49 h 74"/>
                <a:gd name="T42" fmla="*/ 65 w 255"/>
                <a:gd name="T43" fmla="*/ 57 h 74"/>
                <a:gd name="T44" fmla="*/ 56 w 255"/>
                <a:gd name="T45" fmla="*/ 40 h 74"/>
                <a:gd name="T46" fmla="*/ 65 w 255"/>
                <a:gd name="T47" fmla="*/ 31 h 74"/>
                <a:gd name="T48" fmla="*/ 65 w 255"/>
                <a:gd name="T49" fmla="*/ 23 h 74"/>
                <a:gd name="T50" fmla="*/ 56 w 255"/>
                <a:gd name="T51" fmla="*/ 14 h 74"/>
                <a:gd name="T52" fmla="*/ 65 w 255"/>
                <a:gd name="T53" fmla="*/ 23 h 74"/>
                <a:gd name="T54" fmla="*/ 75 w 255"/>
                <a:gd name="T55" fmla="*/ 57 h 74"/>
                <a:gd name="T56" fmla="*/ 83 w 255"/>
                <a:gd name="T57" fmla="*/ 49 h 74"/>
                <a:gd name="T58" fmla="*/ 83 w 255"/>
                <a:gd name="T59" fmla="*/ 40 h 74"/>
                <a:gd name="T60" fmla="*/ 75 w 255"/>
                <a:gd name="T61" fmla="*/ 31 h 74"/>
                <a:gd name="T62" fmla="*/ 83 w 255"/>
                <a:gd name="T63" fmla="*/ 40 h 74"/>
                <a:gd name="T64" fmla="*/ 75 w 255"/>
                <a:gd name="T65" fmla="*/ 23 h 74"/>
                <a:gd name="T66" fmla="*/ 83 w 255"/>
                <a:gd name="T67" fmla="*/ 14 h 74"/>
                <a:gd name="T68" fmla="*/ 102 w 255"/>
                <a:gd name="T69" fmla="*/ 57 h 74"/>
                <a:gd name="T70" fmla="*/ 94 w 255"/>
                <a:gd name="T71" fmla="*/ 49 h 74"/>
                <a:gd name="T72" fmla="*/ 102 w 255"/>
                <a:gd name="T73" fmla="*/ 57 h 74"/>
                <a:gd name="T74" fmla="*/ 94 w 255"/>
                <a:gd name="T75" fmla="*/ 40 h 74"/>
                <a:gd name="T76" fmla="*/ 102 w 255"/>
                <a:gd name="T77" fmla="*/ 31 h 74"/>
                <a:gd name="T78" fmla="*/ 102 w 255"/>
                <a:gd name="T79" fmla="*/ 23 h 74"/>
                <a:gd name="T80" fmla="*/ 94 w 255"/>
                <a:gd name="T81" fmla="*/ 14 h 74"/>
                <a:gd name="T82" fmla="*/ 102 w 255"/>
                <a:gd name="T83" fmla="*/ 23 h 74"/>
                <a:gd name="T84" fmla="*/ 112 w 255"/>
                <a:gd name="T85" fmla="*/ 57 h 74"/>
                <a:gd name="T86" fmla="*/ 121 w 255"/>
                <a:gd name="T87" fmla="*/ 49 h 74"/>
                <a:gd name="T88" fmla="*/ 121 w 255"/>
                <a:gd name="T89" fmla="*/ 40 h 74"/>
                <a:gd name="T90" fmla="*/ 112 w 255"/>
                <a:gd name="T91" fmla="*/ 31 h 74"/>
                <a:gd name="T92" fmla="*/ 121 w 255"/>
                <a:gd name="T93" fmla="*/ 40 h 74"/>
                <a:gd name="T94" fmla="*/ 112 w 255"/>
                <a:gd name="T95" fmla="*/ 23 h 74"/>
                <a:gd name="T96" fmla="*/ 121 w 255"/>
                <a:gd name="T97" fmla="*/ 14 h 74"/>
                <a:gd name="T98" fmla="*/ 140 w 255"/>
                <a:gd name="T99" fmla="*/ 57 h 74"/>
                <a:gd name="T100" fmla="*/ 131 w 255"/>
                <a:gd name="T101" fmla="*/ 49 h 74"/>
                <a:gd name="T102" fmla="*/ 140 w 255"/>
                <a:gd name="T103" fmla="*/ 57 h 74"/>
                <a:gd name="T104" fmla="*/ 131 w 255"/>
                <a:gd name="T105" fmla="*/ 40 h 74"/>
                <a:gd name="T106" fmla="*/ 140 w 255"/>
                <a:gd name="T107" fmla="*/ 31 h 74"/>
                <a:gd name="T108" fmla="*/ 140 w 255"/>
                <a:gd name="T109" fmla="*/ 23 h 74"/>
                <a:gd name="T110" fmla="*/ 131 w 255"/>
                <a:gd name="T111" fmla="*/ 14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7"/>
                  </a:moveTo>
                  <a:cubicBezTo>
                    <a:pt x="255" y="7"/>
                    <a:pt x="248" y="0"/>
                    <a:pt x="239" y="0"/>
                  </a:cubicBezTo>
                  <a:cubicBezTo>
                    <a:pt x="17" y="0"/>
                    <a:pt x="17" y="0"/>
                    <a:pt x="17" y="0"/>
                  </a:cubicBezTo>
                  <a:cubicBezTo>
                    <a:pt x="8" y="0"/>
                    <a:pt x="0" y="7"/>
                    <a:pt x="0" y="17"/>
                  </a:cubicBezTo>
                  <a:cubicBezTo>
                    <a:pt x="0" y="58"/>
                    <a:pt x="0" y="58"/>
                    <a:pt x="0" y="58"/>
                  </a:cubicBezTo>
                  <a:cubicBezTo>
                    <a:pt x="0" y="67"/>
                    <a:pt x="8" y="74"/>
                    <a:pt x="17" y="74"/>
                  </a:cubicBezTo>
                  <a:cubicBezTo>
                    <a:pt x="239" y="74"/>
                    <a:pt x="239" y="74"/>
                    <a:pt x="239" y="74"/>
                  </a:cubicBezTo>
                  <a:cubicBezTo>
                    <a:pt x="248" y="74"/>
                    <a:pt x="255" y="67"/>
                    <a:pt x="255" y="58"/>
                  </a:cubicBezTo>
                  <a:lnTo>
                    <a:pt x="255" y="17"/>
                  </a:lnTo>
                  <a:close/>
                  <a:moveTo>
                    <a:pt x="27" y="57"/>
                  </a:moveTo>
                  <a:cubicBezTo>
                    <a:pt x="18" y="57"/>
                    <a:pt x="18" y="57"/>
                    <a:pt x="18" y="57"/>
                  </a:cubicBezTo>
                  <a:cubicBezTo>
                    <a:pt x="18" y="49"/>
                    <a:pt x="18" y="49"/>
                    <a:pt x="18" y="49"/>
                  </a:cubicBezTo>
                  <a:cubicBezTo>
                    <a:pt x="27" y="49"/>
                    <a:pt x="27" y="49"/>
                    <a:pt x="27" y="49"/>
                  </a:cubicBezTo>
                  <a:lnTo>
                    <a:pt x="27" y="57"/>
                  </a:lnTo>
                  <a:close/>
                  <a:moveTo>
                    <a:pt x="27" y="40"/>
                  </a:moveTo>
                  <a:cubicBezTo>
                    <a:pt x="18" y="40"/>
                    <a:pt x="18" y="40"/>
                    <a:pt x="18" y="40"/>
                  </a:cubicBezTo>
                  <a:cubicBezTo>
                    <a:pt x="18" y="31"/>
                    <a:pt x="18" y="31"/>
                    <a:pt x="18" y="31"/>
                  </a:cubicBezTo>
                  <a:cubicBezTo>
                    <a:pt x="27" y="31"/>
                    <a:pt x="27" y="31"/>
                    <a:pt x="27" y="31"/>
                  </a:cubicBezTo>
                  <a:lnTo>
                    <a:pt x="27" y="40"/>
                  </a:lnTo>
                  <a:close/>
                  <a:moveTo>
                    <a:pt x="27" y="23"/>
                  </a:moveTo>
                  <a:cubicBezTo>
                    <a:pt x="18" y="23"/>
                    <a:pt x="18" y="23"/>
                    <a:pt x="18" y="23"/>
                  </a:cubicBezTo>
                  <a:cubicBezTo>
                    <a:pt x="18" y="14"/>
                    <a:pt x="18" y="14"/>
                    <a:pt x="18" y="14"/>
                  </a:cubicBezTo>
                  <a:cubicBezTo>
                    <a:pt x="27" y="14"/>
                    <a:pt x="27" y="14"/>
                    <a:pt x="27" y="14"/>
                  </a:cubicBezTo>
                  <a:lnTo>
                    <a:pt x="27" y="23"/>
                  </a:lnTo>
                  <a:close/>
                  <a:moveTo>
                    <a:pt x="46" y="57"/>
                  </a:moveTo>
                  <a:cubicBezTo>
                    <a:pt x="37" y="57"/>
                    <a:pt x="37" y="57"/>
                    <a:pt x="37" y="57"/>
                  </a:cubicBezTo>
                  <a:cubicBezTo>
                    <a:pt x="37" y="49"/>
                    <a:pt x="37" y="49"/>
                    <a:pt x="37" y="49"/>
                  </a:cubicBezTo>
                  <a:cubicBezTo>
                    <a:pt x="46" y="49"/>
                    <a:pt x="46" y="49"/>
                    <a:pt x="46" y="49"/>
                  </a:cubicBezTo>
                  <a:lnTo>
                    <a:pt x="46" y="57"/>
                  </a:lnTo>
                  <a:close/>
                  <a:moveTo>
                    <a:pt x="46" y="40"/>
                  </a:moveTo>
                  <a:cubicBezTo>
                    <a:pt x="37" y="40"/>
                    <a:pt x="37" y="40"/>
                    <a:pt x="37" y="40"/>
                  </a:cubicBezTo>
                  <a:cubicBezTo>
                    <a:pt x="37" y="31"/>
                    <a:pt x="37" y="31"/>
                    <a:pt x="37" y="31"/>
                  </a:cubicBezTo>
                  <a:cubicBezTo>
                    <a:pt x="46" y="31"/>
                    <a:pt x="46" y="31"/>
                    <a:pt x="46" y="31"/>
                  </a:cubicBezTo>
                  <a:lnTo>
                    <a:pt x="46" y="40"/>
                  </a:lnTo>
                  <a:close/>
                  <a:moveTo>
                    <a:pt x="46" y="23"/>
                  </a:moveTo>
                  <a:cubicBezTo>
                    <a:pt x="37" y="23"/>
                    <a:pt x="37" y="23"/>
                    <a:pt x="37" y="23"/>
                  </a:cubicBezTo>
                  <a:cubicBezTo>
                    <a:pt x="37" y="14"/>
                    <a:pt x="37" y="14"/>
                    <a:pt x="37" y="14"/>
                  </a:cubicBezTo>
                  <a:cubicBezTo>
                    <a:pt x="46" y="14"/>
                    <a:pt x="46" y="14"/>
                    <a:pt x="46" y="14"/>
                  </a:cubicBezTo>
                  <a:lnTo>
                    <a:pt x="46" y="23"/>
                  </a:lnTo>
                  <a:close/>
                  <a:moveTo>
                    <a:pt x="65" y="57"/>
                  </a:moveTo>
                  <a:cubicBezTo>
                    <a:pt x="56" y="57"/>
                    <a:pt x="56" y="57"/>
                    <a:pt x="56" y="57"/>
                  </a:cubicBezTo>
                  <a:cubicBezTo>
                    <a:pt x="56" y="49"/>
                    <a:pt x="56" y="49"/>
                    <a:pt x="56" y="49"/>
                  </a:cubicBezTo>
                  <a:cubicBezTo>
                    <a:pt x="65" y="49"/>
                    <a:pt x="65" y="49"/>
                    <a:pt x="65" y="49"/>
                  </a:cubicBezTo>
                  <a:lnTo>
                    <a:pt x="65" y="57"/>
                  </a:lnTo>
                  <a:close/>
                  <a:moveTo>
                    <a:pt x="65" y="40"/>
                  </a:moveTo>
                  <a:cubicBezTo>
                    <a:pt x="56" y="40"/>
                    <a:pt x="56" y="40"/>
                    <a:pt x="56" y="40"/>
                  </a:cubicBezTo>
                  <a:cubicBezTo>
                    <a:pt x="56" y="31"/>
                    <a:pt x="56" y="31"/>
                    <a:pt x="56" y="31"/>
                  </a:cubicBezTo>
                  <a:cubicBezTo>
                    <a:pt x="65" y="31"/>
                    <a:pt x="65" y="31"/>
                    <a:pt x="65" y="31"/>
                  </a:cubicBezTo>
                  <a:lnTo>
                    <a:pt x="65" y="40"/>
                  </a:lnTo>
                  <a:close/>
                  <a:moveTo>
                    <a:pt x="65" y="23"/>
                  </a:moveTo>
                  <a:cubicBezTo>
                    <a:pt x="56" y="23"/>
                    <a:pt x="56" y="23"/>
                    <a:pt x="56" y="23"/>
                  </a:cubicBezTo>
                  <a:cubicBezTo>
                    <a:pt x="56" y="14"/>
                    <a:pt x="56" y="14"/>
                    <a:pt x="56" y="14"/>
                  </a:cubicBezTo>
                  <a:cubicBezTo>
                    <a:pt x="65" y="14"/>
                    <a:pt x="65" y="14"/>
                    <a:pt x="65" y="14"/>
                  </a:cubicBezTo>
                  <a:lnTo>
                    <a:pt x="65" y="23"/>
                  </a:lnTo>
                  <a:close/>
                  <a:moveTo>
                    <a:pt x="83" y="57"/>
                  </a:moveTo>
                  <a:cubicBezTo>
                    <a:pt x="75" y="57"/>
                    <a:pt x="75" y="57"/>
                    <a:pt x="75" y="57"/>
                  </a:cubicBezTo>
                  <a:cubicBezTo>
                    <a:pt x="75" y="49"/>
                    <a:pt x="75" y="49"/>
                    <a:pt x="75" y="49"/>
                  </a:cubicBezTo>
                  <a:cubicBezTo>
                    <a:pt x="83" y="49"/>
                    <a:pt x="83" y="49"/>
                    <a:pt x="83" y="49"/>
                  </a:cubicBezTo>
                  <a:lnTo>
                    <a:pt x="83" y="57"/>
                  </a:lnTo>
                  <a:close/>
                  <a:moveTo>
                    <a:pt x="83" y="40"/>
                  </a:moveTo>
                  <a:cubicBezTo>
                    <a:pt x="75" y="40"/>
                    <a:pt x="75" y="40"/>
                    <a:pt x="75" y="40"/>
                  </a:cubicBezTo>
                  <a:cubicBezTo>
                    <a:pt x="75" y="31"/>
                    <a:pt x="75" y="31"/>
                    <a:pt x="75" y="31"/>
                  </a:cubicBezTo>
                  <a:cubicBezTo>
                    <a:pt x="83" y="31"/>
                    <a:pt x="83" y="31"/>
                    <a:pt x="83" y="31"/>
                  </a:cubicBezTo>
                  <a:lnTo>
                    <a:pt x="83" y="40"/>
                  </a:lnTo>
                  <a:close/>
                  <a:moveTo>
                    <a:pt x="83" y="23"/>
                  </a:moveTo>
                  <a:cubicBezTo>
                    <a:pt x="75" y="23"/>
                    <a:pt x="75" y="23"/>
                    <a:pt x="75" y="23"/>
                  </a:cubicBezTo>
                  <a:cubicBezTo>
                    <a:pt x="75" y="14"/>
                    <a:pt x="75" y="14"/>
                    <a:pt x="75" y="14"/>
                  </a:cubicBezTo>
                  <a:cubicBezTo>
                    <a:pt x="83" y="14"/>
                    <a:pt x="83" y="14"/>
                    <a:pt x="83" y="14"/>
                  </a:cubicBezTo>
                  <a:lnTo>
                    <a:pt x="83" y="23"/>
                  </a:lnTo>
                  <a:close/>
                  <a:moveTo>
                    <a:pt x="102" y="57"/>
                  </a:moveTo>
                  <a:cubicBezTo>
                    <a:pt x="94" y="57"/>
                    <a:pt x="94" y="57"/>
                    <a:pt x="94" y="57"/>
                  </a:cubicBezTo>
                  <a:cubicBezTo>
                    <a:pt x="94" y="49"/>
                    <a:pt x="94" y="49"/>
                    <a:pt x="94" y="49"/>
                  </a:cubicBezTo>
                  <a:cubicBezTo>
                    <a:pt x="102" y="49"/>
                    <a:pt x="102" y="49"/>
                    <a:pt x="102" y="49"/>
                  </a:cubicBezTo>
                  <a:lnTo>
                    <a:pt x="102" y="57"/>
                  </a:lnTo>
                  <a:close/>
                  <a:moveTo>
                    <a:pt x="102" y="40"/>
                  </a:moveTo>
                  <a:cubicBezTo>
                    <a:pt x="94" y="40"/>
                    <a:pt x="94" y="40"/>
                    <a:pt x="94" y="40"/>
                  </a:cubicBezTo>
                  <a:cubicBezTo>
                    <a:pt x="94" y="31"/>
                    <a:pt x="94" y="31"/>
                    <a:pt x="94" y="31"/>
                  </a:cubicBezTo>
                  <a:cubicBezTo>
                    <a:pt x="102" y="31"/>
                    <a:pt x="102" y="31"/>
                    <a:pt x="102" y="31"/>
                  </a:cubicBezTo>
                  <a:lnTo>
                    <a:pt x="102" y="40"/>
                  </a:lnTo>
                  <a:close/>
                  <a:moveTo>
                    <a:pt x="102" y="23"/>
                  </a:moveTo>
                  <a:cubicBezTo>
                    <a:pt x="94" y="23"/>
                    <a:pt x="94" y="23"/>
                    <a:pt x="94" y="23"/>
                  </a:cubicBezTo>
                  <a:cubicBezTo>
                    <a:pt x="94" y="14"/>
                    <a:pt x="94" y="14"/>
                    <a:pt x="94" y="14"/>
                  </a:cubicBezTo>
                  <a:cubicBezTo>
                    <a:pt x="102" y="14"/>
                    <a:pt x="102" y="14"/>
                    <a:pt x="102" y="14"/>
                  </a:cubicBezTo>
                  <a:lnTo>
                    <a:pt x="102" y="23"/>
                  </a:lnTo>
                  <a:close/>
                  <a:moveTo>
                    <a:pt x="121" y="57"/>
                  </a:moveTo>
                  <a:cubicBezTo>
                    <a:pt x="112" y="57"/>
                    <a:pt x="112" y="57"/>
                    <a:pt x="112" y="57"/>
                  </a:cubicBezTo>
                  <a:cubicBezTo>
                    <a:pt x="112" y="49"/>
                    <a:pt x="112" y="49"/>
                    <a:pt x="112" y="49"/>
                  </a:cubicBezTo>
                  <a:cubicBezTo>
                    <a:pt x="121" y="49"/>
                    <a:pt x="121" y="49"/>
                    <a:pt x="121" y="49"/>
                  </a:cubicBezTo>
                  <a:lnTo>
                    <a:pt x="121" y="57"/>
                  </a:lnTo>
                  <a:close/>
                  <a:moveTo>
                    <a:pt x="121" y="40"/>
                  </a:moveTo>
                  <a:cubicBezTo>
                    <a:pt x="112" y="40"/>
                    <a:pt x="112" y="40"/>
                    <a:pt x="112" y="40"/>
                  </a:cubicBezTo>
                  <a:cubicBezTo>
                    <a:pt x="112" y="31"/>
                    <a:pt x="112" y="31"/>
                    <a:pt x="112" y="31"/>
                  </a:cubicBezTo>
                  <a:cubicBezTo>
                    <a:pt x="121" y="31"/>
                    <a:pt x="121" y="31"/>
                    <a:pt x="121" y="31"/>
                  </a:cubicBezTo>
                  <a:lnTo>
                    <a:pt x="121" y="40"/>
                  </a:lnTo>
                  <a:close/>
                  <a:moveTo>
                    <a:pt x="121" y="23"/>
                  </a:moveTo>
                  <a:cubicBezTo>
                    <a:pt x="112" y="23"/>
                    <a:pt x="112" y="23"/>
                    <a:pt x="112" y="23"/>
                  </a:cubicBezTo>
                  <a:cubicBezTo>
                    <a:pt x="112" y="14"/>
                    <a:pt x="112" y="14"/>
                    <a:pt x="112" y="14"/>
                  </a:cubicBezTo>
                  <a:cubicBezTo>
                    <a:pt x="121" y="14"/>
                    <a:pt x="121" y="14"/>
                    <a:pt x="121" y="14"/>
                  </a:cubicBezTo>
                  <a:lnTo>
                    <a:pt x="121" y="23"/>
                  </a:lnTo>
                  <a:close/>
                  <a:moveTo>
                    <a:pt x="140" y="57"/>
                  </a:moveTo>
                  <a:cubicBezTo>
                    <a:pt x="131" y="57"/>
                    <a:pt x="131" y="57"/>
                    <a:pt x="131" y="57"/>
                  </a:cubicBezTo>
                  <a:cubicBezTo>
                    <a:pt x="131" y="49"/>
                    <a:pt x="131" y="49"/>
                    <a:pt x="131" y="49"/>
                  </a:cubicBezTo>
                  <a:cubicBezTo>
                    <a:pt x="140" y="49"/>
                    <a:pt x="140" y="49"/>
                    <a:pt x="140" y="49"/>
                  </a:cubicBezTo>
                  <a:lnTo>
                    <a:pt x="140" y="57"/>
                  </a:lnTo>
                  <a:close/>
                  <a:moveTo>
                    <a:pt x="140" y="40"/>
                  </a:moveTo>
                  <a:cubicBezTo>
                    <a:pt x="131" y="40"/>
                    <a:pt x="131" y="40"/>
                    <a:pt x="131" y="40"/>
                  </a:cubicBezTo>
                  <a:cubicBezTo>
                    <a:pt x="131" y="31"/>
                    <a:pt x="131" y="31"/>
                    <a:pt x="131" y="31"/>
                  </a:cubicBezTo>
                  <a:cubicBezTo>
                    <a:pt x="140" y="31"/>
                    <a:pt x="140" y="31"/>
                    <a:pt x="140" y="31"/>
                  </a:cubicBezTo>
                  <a:lnTo>
                    <a:pt x="140" y="40"/>
                  </a:lnTo>
                  <a:close/>
                  <a:moveTo>
                    <a:pt x="140" y="23"/>
                  </a:moveTo>
                  <a:cubicBezTo>
                    <a:pt x="131" y="23"/>
                    <a:pt x="131" y="23"/>
                    <a:pt x="131" y="23"/>
                  </a:cubicBezTo>
                  <a:cubicBezTo>
                    <a:pt x="131" y="14"/>
                    <a:pt x="131" y="14"/>
                    <a:pt x="131" y="14"/>
                  </a:cubicBezTo>
                  <a:cubicBezTo>
                    <a:pt x="140" y="14"/>
                    <a:pt x="140" y="14"/>
                    <a:pt x="140" y="14"/>
                  </a:cubicBezTo>
                  <a:lnTo>
                    <a:pt x="140" y="23"/>
                  </a:lnTo>
                  <a:close/>
                  <a:moveTo>
                    <a:pt x="215" y="53"/>
                  </a:moveTo>
                  <a:cubicBezTo>
                    <a:pt x="205" y="53"/>
                    <a:pt x="197" y="45"/>
                    <a:pt x="197" y="36"/>
                  </a:cubicBezTo>
                  <a:cubicBezTo>
                    <a:pt x="197" y="26"/>
                    <a:pt x="205" y="18"/>
                    <a:pt x="215" y="18"/>
                  </a:cubicBezTo>
                  <a:cubicBezTo>
                    <a:pt x="224" y="18"/>
                    <a:pt x="232" y="26"/>
                    <a:pt x="232" y="36"/>
                  </a:cubicBezTo>
                  <a:cubicBezTo>
                    <a:pt x="232" y="45"/>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6" name="Freeform 6"/>
            <p:cNvSpPr>
              <a:spLocks noEditPoints="1"/>
            </p:cNvSpPr>
            <p:nvPr/>
          </p:nvSpPr>
          <p:spPr bwMode="auto">
            <a:xfrm>
              <a:off x="1017876" y="1855300"/>
              <a:ext cx="431579" cy="124930"/>
            </a:xfrm>
            <a:custGeom>
              <a:avLst/>
              <a:gdLst>
                <a:gd name="T0" fmla="*/ 239 w 255"/>
                <a:gd name="T1" fmla="*/ 0 h 74"/>
                <a:gd name="T2" fmla="*/ 0 w 255"/>
                <a:gd name="T3" fmla="*/ 17 h 74"/>
                <a:gd name="T4" fmla="*/ 17 w 255"/>
                <a:gd name="T5" fmla="*/ 74 h 74"/>
                <a:gd name="T6" fmla="*/ 255 w 255"/>
                <a:gd name="T7" fmla="*/ 57 h 74"/>
                <a:gd name="T8" fmla="*/ 27 w 255"/>
                <a:gd name="T9" fmla="*/ 58 h 74"/>
                <a:gd name="T10" fmla="*/ 18 w 255"/>
                <a:gd name="T11" fmla="*/ 49 h 74"/>
                <a:gd name="T12" fmla="*/ 27 w 255"/>
                <a:gd name="T13" fmla="*/ 58 h 74"/>
                <a:gd name="T14" fmla="*/ 18 w 255"/>
                <a:gd name="T15" fmla="*/ 41 h 74"/>
                <a:gd name="T16" fmla="*/ 27 w 255"/>
                <a:gd name="T17" fmla="*/ 32 h 74"/>
                <a:gd name="T18" fmla="*/ 27 w 255"/>
                <a:gd name="T19" fmla="*/ 23 h 74"/>
                <a:gd name="T20" fmla="*/ 18 w 255"/>
                <a:gd name="T21" fmla="*/ 15 h 74"/>
                <a:gd name="T22" fmla="*/ 27 w 255"/>
                <a:gd name="T23" fmla="*/ 23 h 74"/>
                <a:gd name="T24" fmla="*/ 37 w 255"/>
                <a:gd name="T25" fmla="*/ 58 h 74"/>
                <a:gd name="T26" fmla="*/ 46 w 255"/>
                <a:gd name="T27" fmla="*/ 49 h 74"/>
                <a:gd name="T28" fmla="*/ 46 w 255"/>
                <a:gd name="T29" fmla="*/ 41 h 74"/>
                <a:gd name="T30" fmla="*/ 37 w 255"/>
                <a:gd name="T31" fmla="*/ 32 h 74"/>
                <a:gd name="T32" fmla="*/ 46 w 255"/>
                <a:gd name="T33" fmla="*/ 41 h 74"/>
                <a:gd name="T34" fmla="*/ 37 w 255"/>
                <a:gd name="T35" fmla="*/ 23 h 74"/>
                <a:gd name="T36" fmla="*/ 46 w 255"/>
                <a:gd name="T37" fmla="*/ 15 h 74"/>
                <a:gd name="T38" fmla="*/ 65 w 255"/>
                <a:gd name="T39" fmla="*/ 58 h 74"/>
                <a:gd name="T40" fmla="*/ 56 w 255"/>
                <a:gd name="T41" fmla="*/ 49 h 74"/>
                <a:gd name="T42" fmla="*/ 65 w 255"/>
                <a:gd name="T43" fmla="*/ 58 h 74"/>
                <a:gd name="T44" fmla="*/ 56 w 255"/>
                <a:gd name="T45" fmla="*/ 41 h 74"/>
                <a:gd name="T46" fmla="*/ 65 w 255"/>
                <a:gd name="T47" fmla="*/ 32 h 74"/>
                <a:gd name="T48" fmla="*/ 65 w 255"/>
                <a:gd name="T49" fmla="*/ 23 h 74"/>
                <a:gd name="T50" fmla="*/ 56 w 255"/>
                <a:gd name="T51" fmla="*/ 15 h 74"/>
                <a:gd name="T52" fmla="*/ 65 w 255"/>
                <a:gd name="T53" fmla="*/ 23 h 74"/>
                <a:gd name="T54" fmla="*/ 75 w 255"/>
                <a:gd name="T55" fmla="*/ 58 h 74"/>
                <a:gd name="T56" fmla="*/ 83 w 255"/>
                <a:gd name="T57" fmla="*/ 49 h 74"/>
                <a:gd name="T58" fmla="*/ 83 w 255"/>
                <a:gd name="T59" fmla="*/ 41 h 74"/>
                <a:gd name="T60" fmla="*/ 75 w 255"/>
                <a:gd name="T61" fmla="*/ 32 h 74"/>
                <a:gd name="T62" fmla="*/ 83 w 255"/>
                <a:gd name="T63" fmla="*/ 41 h 74"/>
                <a:gd name="T64" fmla="*/ 75 w 255"/>
                <a:gd name="T65" fmla="*/ 23 h 74"/>
                <a:gd name="T66" fmla="*/ 83 w 255"/>
                <a:gd name="T67" fmla="*/ 15 h 74"/>
                <a:gd name="T68" fmla="*/ 102 w 255"/>
                <a:gd name="T69" fmla="*/ 58 h 74"/>
                <a:gd name="T70" fmla="*/ 94 w 255"/>
                <a:gd name="T71" fmla="*/ 49 h 74"/>
                <a:gd name="T72" fmla="*/ 102 w 255"/>
                <a:gd name="T73" fmla="*/ 58 h 74"/>
                <a:gd name="T74" fmla="*/ 94 w 255"/>
                <a:gd name="T75" fmla="*/ 41 h 74"/>
                <a:gd name="T76" fmla="*/ 102 w 255"/>
                <a:gd name="T77" fmla="*/ 32 h 74"/>
                <a:gd name="T78" fmla="*/ 102 w 255"/>
                <a:gd name="T79" fmla="*/ 23 h 74"/>
                <a:gd name="T80" fmla="*/ 94 w 255"/>
                <a:gd name="T81" fmla="*/ 15 h 74"/>
                <a:gd name="T82" fmla="*/ 102 w 255"/>
                <a:gd name="T83" fmla="*/ 23 h 74"/>
                <a:gd name="T84" fmla="*/ 112 w 255"/>
                <a:gd name="T85" fmla="*/ 58 h 74"/>
                <a:gd name="T86" fmla="*/ 121 w 255"/>
                <a:gd name="T87" fmla="*/ 49 h 74"/>
                <a:gd name="T88" fmla="*/ 121 w 255"/>
                <a:gd name="T89" fmla="*/ 41 h 74"/>
                <a:gd name="T90" fmla="*/ 112 w 255"/>
                <a:gd name="T91" fmla="*/ 32 h 74"/>
                <a:gd name="T92" fmla="*/ 121 w 255"/>
                <a:gd name="T93" fmla="*/ 41 h 74"/>
                <a:gd name="T94" fmla="*/ 112 w 255"/>
                <a:gd name="T95" fmla="*/ 23 h 74"/>
                <a:gd name="T96" fmla="*/ 121 w 255"/>
                <a:gd name="T97" fmla="*/ 15 h 74"/>
                <a:gd name="T98" fmla="*/ 140 w 255"/>
                <a:gd name="T99" fmla="*/ 58 h 74"/>
                <a:gd name="T100" fmla="*/ 131 w 255"/>
                <a:gd name="T101" fmla="*/ 49 h 74"/>
                <a:gd name="T102" fmla="*/ 140 w 255"/>
                <a:gd name="T103" fmla="*/ 58 h 74"/>
                <a:gd name="T104" fmla="*/ 131 w 255"/>
                <a:gd name="T105" fmla="*/ 41 h 74"/>
                <a:gd name="T106" fmla="*/ 140 w 255"/>
                <a:gd name="T107" fmla="*/ 32 h 74"/>
                <a:gd name="T108" fmla="*/ 140 w 255"/>
                <a:gd name="T109" fmla="*/ 23 h 74"/>
                <a:gd name="T110" fmla="*/ 131 w 255"/>
                <a:gd name="T111" fmla="*/ 15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7"/>
                  </a:moveTo>
                  <a:cubicBezTo>
                    <a:pt x="255" y="7"/>
                    <a:pt x="248" y="0"/>
                    <a:pt x="239" y="0"/>
                  </a:cubicBezTo>
                  <a:cubicBezTo>
                    <a:pt x="17" y="0"/>
                    <a:pt x="17" y="0"/>
                    <a:pt x="17" y="0"/>
                  </a:cubicBezTo>
                  <a:cubicBezTo>
                    <a:pt x="8" y="0"/>
                    <a:pt x="0" y="7"/>
                    <a:pt x="0" y="17"/>
                  </a:cubicBezTo>
                  <a:cubicBezTo>
                    <a:pt x="0" y="57"/>
                    <a:pt x="0" y="57"/>
                    <a:pt x="0" y="57"/>
                  </a:cubicBezTo>
                  <a:cubicBezTo>
                    <a:pt x="0" y="67"/>
                    <a:pt x="8" y="74"/>
                    <a:pt x="17" y="74"/>
                  </a:cubicBezTo>
                  <a:cubicBezTo>
                    <a:pt x="239" y="74"/>
                    <a:pt x="239" y="74"/>
                    <a:pt x="239" y="74"/>
                  </a:cubicBezTo>
                  <a:cubicBezTo>
                    <a:pt x="248" y="74"/>
                    <a:pt x="255" y="67"/>
                    <a:pt x="255" y="57"/>
                  </a:cubicBezTo>
                  <a:lnTo>
                    <a:pt x="255" y="17"/>
                  </a:lnTo>
                  <a:close/>
                  <a:moveTo>
                    <a:pt x="27" y="58"/>
                  </a:moveTo>
                  <a:cubicBezTo>
                    <a:pt x="18" y="58"/>
                    <a:pt x="18" y="58"/>
                    <a:pt x="18" y="58"/>
                  </a:cubicBezTo>
                  <a:cubicBezTo>
                    <a:pt x="18" y="49"/>
                    <a:pt x="18" y="49"/>
                    <a:pt x="18" y="49"/>
                  </a:cubicBezTo>
                  <a:cubicBezTo>
                    <a:pt x="27" y="49"/>
                    <a:pt x="27" y="49"/>
                    <a:pt x="27" y="49"/>
                  </a:cubicBezTo>
                  <a:lnTo>
                    <a:pt x="27" y="58"/>
                  </a:lnTo>
                  <a:close/>
                  <a:moveTo>
                    <a:pt x="27" y="41"/>
                  </a:moveTo>
                  <a:cubicBezTo>
                    <a:pt x="18" y="41"/>
                    <a:pt x="18" y="41"/>
                    <a:pt x="18" y="41"/>
                  </a:cubicBezTo>
                  <a:cubicBezTo>
                    <a:pt x="18" y="32"/>
                    <a:pt x="18" y="32"/>
                    <a:pt x="18" y="32"/>
                  </a:cubicBezTo>
                  <a:cubicBezTo>
                    <a:pt x="27" y="32"/>
                    <a:pt x="27" y="32"/>
                    <a:pt x="27" y="32"/>
                  </a:cubicBezTo>
                  <a:lnTo>
                    <a:pt x="27" y="41"/>
                  </a:lnTo>
                  <a:close/>
                  <a:moveTo>
                    <a:pt x="27" y="23"/>
                  </a:moveTo>
                  <a:cubicBezTo>
                    <a:pt x="18" y="23"/>
                    <a:pt x="18" y="23"/>
                    <a:pt x="18" y="23"/>
                  </a:cubicBezTo>
                  <a:cubicBezTo>
                    <a:pt x="18" y="15"/>
                    <a:pt x="18" y="15"/>
                    <a:pt x="18" y="15"/>
                  </a:cubicBezTo>
                  <a:cubicBezTo>
                    <a:pt x="27" y="15"/>
                    <a:pt x="27" y="15"/>
                    <a:pt x="27" y="15"/>
                  </a:cubicBezTo>
                  <a:lnTo>
                    <a:pt x="27" y="23"/>
                  </a:lnTo>
                  <a:close/>
                  <a:moveTo>
                    <a:pt x="46" y="58"/>
                  </a:moveTo>
                  <a:cubicBezTo>
                    <a:pt x="37" y="58"/>
                    <a:pt x="37" y="58"/>
                    <a:pt x="37" y="58"/>
                  </a:cubicBezTo>
                  <a:cubicBezTo>
                    <a:pt x="37" y="49"/>
                    <a:pt x="37" y="49"/>
                    <a:pt x="37" y="49"/>
                  </a:cubicBezTo>
                  <a:cubicBezTo>
                    <a:pt x="46" y="49"/>
                    <a:pt x="46" y="49"/>
                    <a:pt x="46" y="49"/>
                  </a:cubicBezTo>
                  <a:lnTo>
                    <a:pt x="46" y="58"/>
                  </a:lnTo>
                  <a:close/>
                  <a:moveTo>
                    <a:pt x="46" y="41"/>
                  </a:moveTo>
                  <a:cubicBezTo>
                    <a:pt x="37" y="41"/>
                    <a:pt x="37" y="41"/>
                    <a:pt x="37" y="41"/>
                  </a:cubicBezTo>
                  <a:cubicBezTo>
                    <a:pt x="37" y="32"/>
                    <a:pt x="37" y="32"/>
                    <a:pt x="37" y="32"/>
                  </a:cubicBezTo>
                  <a:cubicBezTo>
                    <a:pt x="46" y="32"/>
                    <a:pt x="46" y="32"/>
                    <a:pt x="46" y="32"/>
                  </a:cubicBezTo>
                  <a:lnTo>
                    <a:pt x="46" y="41"/>
                  </a:lnTo>
                  <a:close/>
                  <a:moveTo>
                    <a:pt x="46" y="23"/>
                  </a:moveTo>
                  <a:cubicBezTo>
                    <a:pt x="37" y="23"/>
                    <a:pt x="37" y="23"/>
                    <a:pt x="37" y="23"/>
                  </a:cubicBezTo>
                  <a:cubicBezTo>
                    <a:pt x="37" y="15"/>
                    <a:pt x="37" y="15"/>
                    <a:pt x="37" y="15"/>
                  </a:cubicBezTo>
                  <a:cubicBezTo>
                    <a:pt x="46" y="15"/>
                    <a:pt x="46" y="15"/>
                    <a:pt x="46" y="15"/>
                  </a:cubicBezTo>
                  <a:lnTo>
                    <a:pt x="46" y="23"/>
                  </a:lnTo>
                  <a:close/>
                  <a:moveTo>
                    <a:pt x="65" y="58"/>
                  </a:moveTo>
                  <a:cubicBezTo>
                    <a:pt x="56" y="58"/>
                    <a:pt x="56" y="58"/>
                    <a:pt x="56" y="58"/>
                  </a:cubicBezTo>
                  <a:cubicBezTo>
                    <a:pt x="56" y="49"/>
                    <a:pt x="56" y="49"/>
                    <a:pt x="56" y="49"/>
                  </a:cubicBezTo>
                  <a:cubicBezTo>
                    <a:pt x="65" y="49"/>
                    <a:pt x="65" y="49"/>
                    <a:pt x="65" y="49"/>
                  </a:cubicBezTo>
                  <a:lnTo>
                    <a:pt x="65" y="58"/>
                  </a:lnTo>
                  <a:close/>
                  <a:moveTo>
                    <a:pt x="65" y="41"/>
                  </a:moveTo>
                  <a:cubicBezTo>
                    <a:pt x="56" y="41"/>
                    <a:pt x="56" y="41"/>
                    <a:pt x="56" y="41"/>
                  </a:cubicBezTo>
                  <a:cubicBezTo>
                    <a:pt x="56" y="32"/>
                    <a:pt x="56" y="32"/>
                    <a:pt x="56" y="32"/>
                  </a:cubicBezTo>
                  <a:cubicBezTo>
                    <a:pt x="65" y="32"/>
                    <a:pt x="65" y="32"/>
                    <a:pt x="65" y="32"/>
                  </a:cubicBezTo>
                  <a:lnTo>
                    <a:pt x="65" y="41"/>
                  </a:lnTo>
                  <a:close/>
                  <a:moveTo>
                    <a:pt x="65" y="23"/>
                  </a:moveTo>
                  <a:cubicBezTo>
                    <a:pt x="56" y="23"/>
                    <a:pt x="56" y="23"/>
                    <a:pt x="56" y="23"/>
                  </a:cubicBezTo>
                  <a:cubicBezTo>
                    <a:pt x="56" y="15"/>
                    <a:pt x="56" y="15"/>
                    <a:pt x="56" y="15"/>
                  </a:cubicBezTo>
                  <a:cubicBezTo>
                    <a:pt x="65" y="15"/>
                    <a:pt x="65" y="15"/>
                    <a:pt x="65" y="15"/>
                  </a:cubicBezTo>
                  <a:lnTo>
                    <a:pt x="65" y="23"/>
                  </a:lnTo>
                  <a:close/>
                  <a:moveTo>
                    <a:pt x="83" y="58"/>
                  </a:moveTo>
                  <a:cubicBezTo>
                    <a:pt x="75" y="58"/>
                    <a:pt x="75" y="58"/>
                    <a:pt x="75" y="58"/>
                  </a:cubicBezTo>
                  <a:cubicBezTo>
                    <a:pt x="75" y="49"/>
                    <a:pt x="75" y="49"/>
                    <a:pt x="75" y="49"/>
                  </a:cubicBezTo>
                  <a:cubicBezTo>
                    <a:pt x="83" y="49"/>
                    <a:pt x="83" y="49"/>
                    <a:pt x="83" y="49"/>
                  </a:cubicBezTo>
                  <a:lnTo>
                    <a:pt x="83" y="58"/>
                  </a:lnTo>
                  <a:close/>
                  <a:moveTo>
                    <a:pt x="83" y="41"/>
                  </a:moveTo>
                  <a:cubicBezTo>
                    <a:pt x="75" y="41"/>
                    <a:pt x="75" y="41"/>
                    <a:pt x="75" y="41"/>
                  </a:cubicBezTo>
                  <a:cubicBezTo>
                    <a:pt x="75" y="32"/>
                    <a:pt x="75" y="32"/>
                    <a:pt x="75" y="32"/>
                  </a:cubicBezTo>
                  <a:cubicBezTo>
                    <a:pt x="83" y="32"/>
                    <a:pt x="83" y="32"/>
                    <a:pt x="83" y="32"/>
                  </a:cubicBezTo>
                  <a:lnTo>
                    <a:pt x="83" y="41"/>
                  </a:lnTo>
                  <a:close/>
                  <a:moveTo>
                    <a:pt x="83" y="23"/>
                  </a:moveTo>
                  <a:cubicBezTo>
                    <a:pt x="75" y="23"/>
                    <a:pt x="75" y="23"/>
                    <a:pt x="75" y="23"/>
                  </a:cubicBezTo>
                  <a:cubicBezTo>
                    <a:pt x="75" y="15"/>
                    <a:pt x="75" y="15"/>
                    <a:pt x="75" y="15"/>
                  </a:cubicBezTo>
                  <a:cubicBezTo>
                    <a:pt x="83" y="15"/>
                    <a:pt x="83" y="15"/>
                    <a:pt x="83" y="15"/>
                  </a:cubicBezTo>
                  <a:lnTo>
                    <a:pt x="83" y="23"/>
                  </a:lnTo>
                  <a:close/>
                  <a:moveTo>
                    <a:pt x="102" y="58"/>
                  </a:moveTo>
                  <a:cubicBezTo>
                    <a:pt x="94" y="58"/>
                    <a:pt x="94" y="58"/>
                    <a:pt x="94" y="58"/>
                  </a:cubicBezTo>
                  <a:cubicBezTo>
                    <a:pt x="94" y="49"/>
                    <a:pt x="94" y="49"/>
                    <a:pt x="94" y="49"/>
                  </a:cubicBezTo>
                  <a:cubicBezTo>
                    <a:pt x="102" y="49"/>
                    <a:pt x="102" y="49"/>
                    <a:pt x="102" y="49"/>
                  </a:cubicBezTo>
                  <a:lnTo>
                    <a:pt x="102" y="58"/>
                  </a:lnTo>
                  <a:close/>
                  <a:moveTo>
                    <a:pt x="102" y="41"/>
                  </a:moveTo>
                  <a:cubicBezTo>
                    <a:pt x="94" y="41"/>
                    <a:pt x="94" y="41"/>
                    <a:pt x="94" y="41"/>
                  </a:cubicBezTo>
                  <a:cubicBezTo>
                    <a:pt x="94" y="32"/>
                    <a:pt x="94" y="32"/>
                    <a:pt x="94" y="32"/>
                  </a:cubicBezTo>
                  <a:cubicBezTo>
                    <a:pt x="102" y="32"/>
                    <a:pt x="102" y="32"/>
                    <a:pt x="102" y="32"/>
                  </a:cubicBezTo>
                  <a:lnTo>
                    <a:pt x="102" y="41"/>
                  </a:lnTo>
                  <a:close/>
                  <a:moveTo>
                    <a:pt x="102" y="23"/>
                  </a:moveTo>
                  <a:cubicBezTo>
                    <a:pt x="94" y="23"/>
                    <a:pt x="94" y="23"/>
                    <a:pt x="94" y="23"/>
                  </a:cubicBezTo>
                  <a:cubicBezTo>
                    <a:pt x="94" y="15"/>
                    <a:pt x="94" y="15"/>
                    <a:pt x="94" y="15"/>
                  </a:cubicBezTo>
                  <a:cubicBezTo>
                    <a:pt x="102" y="15"/>
                    <a:pt x="102" y="15"/>
                    <a:pt x="102" y="15"/>
                  </a:cubicBezTo>
                  <a:lnTo>
                    <a:pt x="102" y="23"/>
                  </a:lnTo>
                  <a:close/>
                  <a:moveTo>
                    <a:pt x="121" y="58"/>
                  </a:moveTo>
                  <a:cubicBezTo>
                    <a:pt x="112" y="58"/>
                    <a:pt x="112" y="58"/>
                    <a:pt x="112" y="58"/>
                  </a:cubicBezTo>
                  <a:cubicBezTo>
                    <a:pt x="112" y="49"/>
                    <a:pt x="112" y="49"/>
                    <a:pt x="112" y="49"/>
                  </a:cubicBezTo>
                  <a:cubicBezTo>
                    <a:pt x="121" y="49"/>
                    <a:pt x="121" y="49"/>
                    <a:pt x="121" y="49"/>
                  </a:cubicBezTo>
                  <a:lnTo>
                    <a:pt x="121" y="58"/>
                  </a:lnTo>
                  <a:close/>
                  <a:moveTo>
                    <a:pt x="121" y="41"/>
                  </a:moveTo>
                  <a:cubicBezTo>
                    <a:pt x="112" y="41"/>
                    <a:pt x="112" y="41"/>
                    <a:pt x="112" y="41"/>
                  </a:cubicBezTo>
                  <a:cubicBezTo>
                    <a:pt x="112" y="32"/>
                    <a:pt x="112" y="32"/>
                    <a:pt x="112" y="32"/>
                  </a:cubicBezTo>
                  <a:cubicBezTo>
                    <a:pt x="121" y="32"/>
                    <a:pt x="121" y="32"/>
                    <a:pt x="121" y="32"/>
                  </a:cubicBezTo>
                  <a:lnTo>
                    <a:pt x="121" y="41"/>
                  </a:lnTo>
                  <a:close/>
                  <a:moveTo>
                    <a:pt x="121" y="23"/>
                  </a:moveTo>
                  <a:cubicBezTo>
                    <a:pt x="112" y="23"/>
                    <a:pt x="112" y="23"/>
                    <a:pt x="112" y="23"/>
                  </a:cubicBezTo>
                  <a:cubicBezTo>
                    <a:pt x="112" y="15"/>
                    <a:pt x="112" y="15"/>
                    <a:pt x="112" y="15"/>
                  </a:cubicBezTo>
                  <a:cubicBezTo>
                    <a:pt x="121" y="15"/>
                    <a:pt x="121" y="15"/>
                    <a:pt x="121" y="15"/>
                  </a:cubicBezTo>
                  <a:lnTo>
                    <a:pt x="121" y="23"/>
                  </a:lnTo>
                  <a:close/>
                  <a:moveTo>
                    <a:pt x="140" y="58"/>
                  </a:moveTo>
                  <a:cubicBezTo>
                    <a:pt x="131" y="58"/>
                    <a:pt x="131" y="58"/>
                    <a:pt x="131" y="58"/>
                  </a:cubicBezTo>
                  <a:cubicBezTo>
                    <a:pt x="131" y="49"/>
                    <a:pt x="131" y="49"/>
                    <a:pt x="131" y="49"/>
                  </a:cubicBezTo>
                  <a:cubicBezTo>
                    <a:pt x="140" y="49"/>
                    <a:pt x="140" y="49"/>
                    <a:pt x="140" y="49"/>
                  </a:cubicBezTo>
                  <a:lnTo>
                    <a:pt x="140" y="58"/>
                  </a:lnTo>
                  <a:close/>
                  <a:moveTo>
                    <a:pt x="140" y="41"/>
                  </a:moveTo>
                  <a:cubicBezTo>
                    <a:pt x="131" y="41"/>
                    <a:pt x="131" y="41"/>
                    <a:pt x="131" y="41"/>
                  </a:cubicBezTo>
                  <a:cubicBezTo>
                    <a:pt x="131" y="32"/>
                    <a:pt x="131" y="32"/>
                    <a:pt x="131" y="32"/>
                  </a:cubicBezTo>
                  <a:cubicBezTo>
                    <a:pt x="140" y="32"/>
                    <a:pt x="140" y="32"/>
                    <a:pt x="140" y="32"/>
                  </a:cubicBezTo>
                  <a:lnTo>
                    <a:pt x="140" y="41"/>
                  </a:lnTo>
                  <a:close/>
                  <a:moveTo>
                    <a:pt x="140" y="23"/>
                  </a:moveTo>
                  <a:cubicBezTo>
                    <a:pt x="131" y="23"/>
                    <a:pt x="131" y="23"/>
                    <a:pt x="131" y="23"/>
                  </a:cubicBezTo>
                  <a:cubicBezTo>
                    <a:pt x="131" y="15"/>
                    <a:pt x="131" y="15"/>
                    <a:pt x="131" y="15"/>
                  </a:cubicBezTo>
                  <a:cubicBezTo>
                    <a:pt x="140" y="15"/>
                    <a:pt x="140" y="15"/>
                    <a:pt x="140" y="15"/>
                  </a:cubicBezTo>
                  <a:lnTo>
                    <a:pt x="140" y="23"/>
                  </a:lnTo>
                  <a:close/>
                  <a:moveTo>
                    <a:pt x="215" y="53"/>
                  </a:moveTo>
                  <a:cubicBezTo>
                    <a:pt x="205" y="53"/>
                    <a:pt x="197" y="46"/>
                    <a:pt x="197" y="36"/>
                  </a:cubicBezTo>
                  <a:cubicBezTo>
                    <a:pt x="197" y="27"/>
                    <a:pt x="205" y="19"/>
                    <a:pt x="215" y="19"/>
                  </a:cubicBezTo>
                  <a:cubicBezTo>
                    <a:pt x="224" y="19"/>
                    <a:pt x="232" y="27"/>
                    <a:pt x="232" y="36"/>
                  </a:cubicBezTo>
                  <a:cubicBezTo>
                    <a:pt x="232" y="46"/>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2" name="Freeform 7"/>
            <p:cNvSpPr>
              <a:spLocks noEditPoints="1"/>
            </p:cNvSpPr>
            <p:nvPr/>
          </p:nvSpPr>
          <p:spPr bwMode="auto">
            <a:xfrm>
              <a:off x="1017876" y="1990878"/>
              <a:ext cx="431579" cy="124930"/>
            </a:xfrm>
            <a:custGeom>
              <a:avLst/>
              <a:gdLst>
                <a:gd name="T0" fmla="*/ 239 w 255"/>
                <a:gd name="T1" fmla="*/ 0 h 74"/>
                <a:gd name="T2" fmla="*/ 0 w 255"/>
                <a:gd name="T3" fmla="*/ 16 h 74"/>
                <a:gd name="T4" fmla="*/ 17 w 255"/>
                <a:gd name="T5" fmla="*/ 74 h 74"/>
                <a:gd name="T6" fmla="*/ 255 w 255"/>
                <a:gd name="T7" fmla="*/ 57 h 74"/>
                <a:gd name="T8" fmla="*/ 27 w 255"/>
                <a:gd name="T9" fmla="*/ 58 h 74"/>
                <a:gd name="T10" fmla="*/ 18 w 255"/>
                <a:gd name="T11" fmla="*/ 49 h 74"/>
                <a:gd name="T12" fmla="*/ 27 w 255"/>
                <a:gd name="T13" fmla="*/ 58 h 74"/>
                <a:gd name="T14" fmla="*/ 18 w 255"/>
                <a:gd name="T15" fmla="*/ 40 h 74"/>
                <a:gd name="T16" fmla="*/ 27 w 255"/>
                <a:gd name="T17" fmla="*/ 32 h 74"/>
                <a:gd name="T18" fmla="*/ 27 w 255"/>
                <a:gd name="T19" fmla="*/ 23 h 74"/>
                <a:gd name="T20" fmla="*/ 18 w 255"/>
                <a:gd name="T21" fmla="*/ 14 h 74"/>
                <a:gd name="T22" fmla="*/ 27 w 255"/>
                <a:gd name="T23" fmla="*/ 23 h 74"/>
                <a:gd name="T24" fmla="*/ 37 w 255"/>
                <a:gd name="T25" fmla="*/ 58 h 74"/>
                <a:gd name="T26" fmla="*/ 46 w 255"/>
                <a:gd name="T27" fmla="*/ 49 h 74"/>
                <a:gd name="T28" fmla="*/ 46 w 255"/>
                <a:gd name="T29" fmla="*/ 40 h 74"/>
                <a:gd name="T30" fmla="*/ 37 w 255"/>
                <a:gd name="T31" fmla="*/ 32 h 74"/>
                <a:gd name="T32" fmla="*/ 46 w 255"/>
                <a:gd name="T33" fmla="*/ 40 h 74"/>
                <a:gd name="T34" fmla="*/ 37 w 255"/>
                <a:gd name="T35" fmla="*/ 23 h 74"/>
                <a:gd name="T36" fmla="*/ 46 w 255"/>
                <a:gd name="T37" fmla="*/ 14 h 74"/>
                <a:gd name="T38" fmla="*/ 65 w 255"/>
                <a:gd name="T39" fmla="*/ 58 h 74"/>
                <a:gd name="T40" fmla="*/ 56 w 255"/>
                <a:gd name="T41" fmla="*/ 49 h 74"/>
                <a:gd name="T42" fmla="*/ 65 w 255"/>
                <a:gd name="T43" fmla="*/ 58 h 74"/>
                <a:gd name="T44" fmla="*/ 56 w 255"/>
                <a:gd name="T45" fmla="*/ 40 h 74"/>
                <a:gd name="T46" fmla="*/ 65 w 255"/>
                <a:gd name="T47" fmla="*/ 32 h 74"/>
                <a:gd name="T48" fmla="*/ 65 w 255"/>
                <a:gd name="T49" fmla="*/ 23 h 74"/>
                <a:gd name="T50" fmla="*/ 56 w 255"/>
                <a:gd name="T51" fmla="*/ 14 h 74"/>
                <a:gd name="T52" fmla="*/ 65 w 255"/>
                <a:gd name="T53" fmla="*/ 23 h 74"/>
                <a:gd name="T54" fmla="*/ 75 w 255"/>
                <a:gd name="T55" fmla="*/ 58 h 74"/>
                <a:gd name="T56" fmla="*/ 83 w 255"/>
                <a:gd name="T57" fmla="*/ 49 h 74"/>
                <a:gd name="T58" fmla="*/ 83 w 255"/>
                <a:gd name="T59" fmla="*/ 40 h 74"/>
                <a:gd name="T60" fmla="*/ 75 w 255"/>
                <a:gd name="T61" fmla="*/ 32 h 74"/>
                <a:gd name="T62" fmla="*/ 83 w 255"/>
                <a:gd name="T63" fmla="*/ 40 h 74"/>
                <a:gd name="T64" fmla="*/ 75 w 255"/>
                <a:gd name="T65" fmla="*/ 23 h 74"/>
                <a:gd name="T66" fmla="*/ 83 w 255"/>
                <a:gd name="T67" fmla="*/ 14 h 74"/>
                <a:gd name="T68" fmla="*/ 102 w 255"/>
                <a:gd name="T69" fmla="*/ 58 h 74"/>
                <a:gd name="T70" fmla="*/ 94 w 255"/>
                <a:gd name="T71" fmla="*/ 49 h 74"/>
                <a:gd name="T72" fmla="*/ 102 w 255"/>
                <a:gd name="T73" fmla="*/ 58 h 74"/>
                <a:gd name="T74" fmla="*/ 94 w 255"/>
                <a:gd name="T75" fmla="*/ 40 h 74"/>
                <a:gd name="T76" fmla="*/ 102 w 255"/>
                <a:gd name="T77" fmla="*/ 32 h 74"/>
                <a:gd name="T78" fmla="*/ 102 w 255"/>
                <a:gd name="T79" fmla="*/ 23 h 74"/>
                <a:gd name="T80" fmla="*/ 94 w 255"/>
                <a:gd name="T81" fmla="*/ 14 h 74"/>
                <a:gd name="T82" fmla="*/ 102 w 255"/>
                <a:gd name="T83" fmla="*/ 23 h 74"/>
                <a:gd name="T84" fmla="*/ 112 w 255"/>
                <a:gd name="T85" fmla="*/ 58 h 74"/>
                <a:gd name="T86" fmla="*/ 121 w 255"/>
                <a:gd name="T87" fmla="*/ 49 h 74"/>
                <a:gd name="T88" fmla="*/ 121 w 255"/>
                <a:gd name="T89" fmla="*/ 40 h 74"/>
                <a:gd name="T90" fmla="*/ 112 w 255"/>
                <a:gd name="T91" fmla="*/ 32 h 74"/>
                <a:gd name="T92" fmla="*/ 121 w 255"/>
                <a:gd name="T93" fmla="*/ 40 h 74"/>
                <a:gd name="T94" fmla="*/ 112 w 255"/>
                <a:gd name="T95" fmla="*/ 23 h 74"/>
                <a:gd name="T96" fmla="*/ 121 w 255"/>
                <a:gd name="T97" fmla="*/ 14 h 74"/>
                <a:gd name="T98" fmla="*/ 140 w 255"/>
                <a:gd name="T99" fmla="*/ 58 h 74"/>
                <a:gd name="T100" fmla="*/ 131 w 255"/>
                <a:gd name="T101" fmla="*/ 49 h 74"/>
                <a:gd name="T102" fmla="*/ 140 w 255"/>
                <a:gd name="T103" fmla="*/ 58 h 74"/>
                <a:gd name="T104" fmla="*/ 131 w 255"/>
                <a:gd name="T105" fmla="*/ 40 h 74"/>
                <a:gd name="T106" fmla="*/ 140 w 255"/>
                <a:gd name="T107" fmla="*/ 32 h 74"/>
                <a:gd name="T108" fmla="*/ 140 w 255"/>
                <a:gd name="T109" fmla="*/ 23 h 74"/>
                <a:gd name="T110" fmla="*/ 131 w 255"/>
                <a:gd name="T111" fmla="*/ 14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6"/>
                  </a:moveTo>
                  <a:cubicBezTo>
                    <a:pt x="255" y="7"/>
                    <a:pt x="248" y="0"/>
                    <a:pt x="239" y="0"/>
                  </a:cubicBezTo>
                  <a:cubicBezTo>
                    <a:pt x="17" y="0"/>
                    <a:pt x="17" y="0"/>
                    <a:pt x="17" y="0"/>
                  </a:cubicBezTo>
                  <a:cubicBezTo>
                    <a:pt x="8" y="0"/>
                    <a:pt x="0" y="7"/>
                    <a:pt x="0" y="16"/>
                  </a:cubicBezTo>
                  <a:cubicBezTo>
                    <a:pt x="0" y="57"/>
                    <a:pt x="0" y="57"/>
                    <a:pt x="0" y="57"/>
                  </a:cubicBezTo>
                  <a:cubicBezTo>
                    <a:pt x="0" y="67"/>
                    <a:pt x="8" y="74"/>
                    <a:pt x="17" y="74"/>
                  </a:cubicBezTo>
                  <a:cubicBezTo>
                    <a:pt x="239" y="74"/>
                    <a:pt x="239" y="74"/>
                    <a:pt x="239" y="74"/>
                  </a:cubicBezTo>
                  <a:cubicBezTo>
                    <a:pt x="248" y="74"/>
                    <a:pt x="255" y="67"/>
                    <a:pt x="255" y="57"/>
                  </a:cubicBezTo>
                  <a:lnTo>
                    <a:pt x="255" y="16"/>
                  </a:lnTo>
                  <a:close/>
                  <a:moveTo>
                    <a:pt x="27" y="58"/>
                  </a:moveTo>
                  <a:cubicBezTo>
                    <a:pt x="18" y="58"/>
                    <a:pt x="18" y="58"/>
                    <a:pt x="18" y="58"/>
                  </a:cubicBezTo>
                  <a:cubicBezTo>
                    <a:pt x="18" y="49"/>
                    <a:pt x="18" y="49"/>
                    <a:pt x="18" y="49"/>
                  </a:cubicBezTo>
                  <a:cubicBezTo>
                    <a:pt x="27" y="49"/>
                    <a:pt x="27" y="49"/>
                    <a:pt x="27" y="49"/>
                  </a:cubicBezTo>
                  <a:lnTo>
                    <a:pt x="27" y="58"/>
                  </a:lnTo>
                  <a:close/>
                  <a:moveTo>
                    <a:pt x="27" y="40"/>
                  </a:moveTo>
                  <a:cubicBezTo>
                    <a:pt x="18" y="40"/>
                    <a:pt x="18" y="40"/>
                    <a:pt x="18" y="40"/>
                  </a:cubicBezTo>
                  <a:cubicBezTo>
                    <a:pt x="18" y="32"/>
                    <a:pt x="18" y="32"/>
                    <a:pt x="18" y="32"/>
                  </a:cubicBezTo>
                  <a:cubicBezTo>
                    <a:pt x="27" y="32"/>
                    <a:pt x="27" y="32"/>
                    <a:pt x="27" y="32"/>
                  </a:cubicBezTo>
                  <a:lnTo>
                    <a:pt x="27" y="40"/>
                  </a:lnTo>
                  <a:close/>
                  <a:moveTo>
                    <a:pt x="27" y="23"/>
                  </a:moveTo>
                  <a:cubicBezTo>
                    <a:pt x="18" y="23"/>
                    <a:pt x="18" y="23"/>
                    <a:pt x="18" y="23"/>
                  </a:cubicBezTo>
                  <a:cubicBezTo>
                    <a:pt x="18" y="14"/>
                    <a:pt x="18" y="14"/>
                    <a:pt x="18" y="14"/>
                  </a:cubicBezTo>
                  <a:cubicBezTo>
                    <a:pt x="27" y="14"/>
                    <a:pt x="27" y="14"/>
                    <a:pt x="27" y="14"/>
                  </a:cubicBezTo>
                  <a:lnTo>
                    <a:pt x="27" y="23"/>
                  </a:lnTo>
                  <a:close/>
                  <a:moveTo>
                    <a:pt x="46" y="58"/>
                  </a:moveTo>
                  <a:cubicBezTo>
                    <a:pt x="37" y="58"/>
                    <a:pt x="37" y="58"/>
                    <a:pt x="37" y="58"/>
                  </a:cubicBezTo>
                  <a:cubicBezTo>
                    <a:pt x="37" y="49"/>
                    <a:pt x="37" y="49"/>
                    <a:pt x="37" y="49"/>
                  </a:cubicBezTo>
                  <a:cubicBezTo>
                    <a:pt x="46" y="49"/>
                    <a:pt x="46" y="49"/>
                    <a:pt x="46" y="49"/>
                  </a:cubicBezTo>
                  <a:lnTo>
                    <a:pt x="46" y="58"/>
                  </a:lnTo>
                  <a:close/>
                  <a:moveTo>
                    <a:pt x="46" y="40"/>
                  </a:moveTo>
                  <a:cubicBezTo>
                    <a:pt x="37" y="40"/>
                    <a:pt x="37" y="40"/>
                    <a:pt x="37" y="40"/>
                  </a:cubicBezTo>
                  <a:cubicBezTo>
                    <a:pt x="37" y="32"/>
                    <a:pt x="37" y="32"/>
                    <a:pt x="37" y="32"/>
                  </a:cubicBezTo>
                  <a:cubicBezTo>
                    <a:pt x="46" y="32"/>
                    <a:pt x="46" y="32"/>
                    <a:pt x="46" y="32"/>
                  </a:cubicBezTo>
                  <a:lnTo>
                    <a:pt x="46" y="40"/>
                  </a:lnTo>
                  <a:close/>
                  <a:moveTo>
                    <a:pt x="46" y="23"/>
                  </a:moveTo>
                  <a:cubicBezTo>
                    <a:pt x="37" y="23"/>
                    <a:pt x="37" y="23"/>
                    <a:pt x="37" y="23"/>
                  </a:cubicBezTo>
                  <a:cubicBezTo>
                    <a:pt x="37" y="14"/>
                    <a:pt x="37" y="14"/>
                    <a:pt x="37" y="14"/>
                  </a:cubicBezTo>
                  <a:cubicBezTo>
                    <a:pt x="46" y="14"/>
                    <a:pt x="46" y="14"/>
                    <a:pt x="46" y="14"/>
                  </a:cubicBezTo>
                  <a:lnTo>
                    <a:pt x="46" y="23"/>
                  </a:lnTo>
                  <a:close/>
                  <a:moveTo>
                    <a:pt x="65" y="58"/>
                  </a:moveTo>
                  <a:cubicBezTo>
                    <a:pt x="56" y="58"/>
                    <a:pt x="56" y="58"/>
                    <a:pt x="56" y="58"/>
                  </a:cubicBezTo>
                  <a:cubicBezTo>
                    <a:pt x="56" y="49"/>
                    <a:pt x="56" y="49"/>
                    <a:pt x="56" y="49"/>
                  </a:cubicBezTo>
                  <a:cubicBezTo>
                    <a:pt x="65" y="49"/>
                    <a:pt x="65" y="49"/>
                    <a:pt x="65" y="49"/>
                  </a:cubicBezTo>
                  <a:lnTo>
                    <a:pt x="65" y="58"/>
                  </a:lnTo>
                  <a:close/>
                  <a:moveTo>
                    <a:pt x="65" y="40"/>
                  </a:moveTo>
                  <a:cubicBezTo>
                    <a:pt x="56" y="40"/>
                    <a:pt x="56" y="40"/>
                    <a:pt x="56" y="40"/>
                  </a:cubicBezTo>
                  <a:cubicBezTo>
                    <a:pt x="56" y="32"/>
                    <a:pt x="56" y="32"/>
                    <a:pt x="56" y="32"/>
                  </a:cubicBezTo>
                  <a:cubicBezTo>
                    <a:pt x="65" y="32"/>
                    <a:pt x="65" y="32"/>
                    <a:pt x="65" y="32"/>
                  </a:cubicBezTo>
                  <a:lnTo>
                    <a:pt x="65" y="40"/>
                  </a:lnTo>
                  <a:close/>
                  <a:moveTo>
                    <a:pt x="65" y="23"/>
                  </a:moveTo>
                  <a:cubicBezTo>
                    <a:pt x="56" y="23"/>
                    <a:pt x="56" y="23"/>
                    <a:pt x="56" y="23"/>
                  </a:cubicBezTo>
                  <a:cubicBezTo>
                    <a:pt x="56" y="14"/>
                    <a:pt x="56" y="14"/>
                    <a:pt x="56" y="14"/>
                  </a:cubicBezTo>
                  <a:cubicBezTo>
                    <a:pt x="65" y="14"/>
                    <a:pt x="65" y="14"/>
                    <a:pt x="65" y="14"/>
                  </a:cubicBezTo>
                  <a:lnTo>
                    <a:pt x="65" y="23"/>
                  </a:lnTo>
                  <a:close/>
                  <a:moveTo>
                    <a:pt x="83" y="58"/>
                  </a:moveTo>
                  <a:cubicBezTo>
                    <a:pt x="75" y="58"/>
                    <a:pt x="75" y="58"/>
                    <a:pt x="75" y="58"/>
                  </a:cubicBezTo>
                  <a:cubicBezTo>
                    <a:pt x="75" y="49"/>
                    <a:pt x="75" y="49"/>
                    <a:pt x="75" y="49"/>
                  </a:cubicBezTo>
                  <a:cubicBezTo>
                    <a:pt x="83" y="49"/>
                    <a:pt x="83" y="49"/>
                    <a:pt x="83" y="49"/>
                  </a:cubicBezTo>
                  <a:lnTo>
                    <a:pt x="83" y="58"/>
                  </a:lnTo>
                  <a:close/>
                  <a:moveTo>
                    <a:pt x="83" y="40"/>
                  </a:moveTo>
                  <a:cubicBezTo>
                    <a:pt x="75" y="40"/>
                    <a:pt x="75" y="40"/>
                    <a:pt x="75" y="40"/>
                  </a:cubicBezTo>
                  <a:cubicBezTo>
                    <a:pt x="75" y="32"/>
                    <a:pt x="75" y="32"/>
                    <a:pt x="75" y="32"/>
                  </a:cubicBezTo>
                  <a:cubicBezTo>
                    <a:pt x="83" y="32"/>
                    <a:pt x="83" y="32"/>
                    <a:pt x="83" y="32"/>
                  </a:cubicBezTo>
                  <a:lnTo>
                    <a:pt x="83" y="40"/>
                  </a:lnTo>
                  <a:close/>
                  <a:moveTo>
                    <a:pt x="83" y="23"/>
                  </a:moveTo>
                  <a:cubicBezTo>
                    <a:pt x="75" y="23"/>
                    <a:pt x="75" y="23"/>
                    <a:pt x="75" y="23"/>
                  </a:cubicBezTo>
                  <a:cubicBezTo>
                    <a:pt x="75" y="14"/>
                    <a:pt x="75" y="14"/>
                    <a:pt x="75" y="14"/>
                  </a:cubicBezTo>
                  <a:cubicBezTo>
                    <a:pt x="83" y="14"/>
                    <a:pt x="83" y="14"/>
                    <a:pt x="83" y="14"/>
                  </a:cubicBezTo>
                  <a:lnTo>
                    <a:pt x="83" y="23"/>
                  </a:lnTo>
                  <a:close/>
                  <a:moveTo>
                    <a:pt x="102" y="58"/>
                  </a:moveTo>
                  <a:cubicBezTo>
                    <a:pt x="94" y="58"/>
                    <a:pt x="94" y="58"/>
                    <a:pt x="94" y="58"/>
                  </a:cubicBezTo>
                  <a:cubicBezTo>
                    <a:pt x="94" y="49"/>
                    <a:pt x="94" y="49"/>
                    <a:pt x="94" y="49"/>
                  </a:cubicBezTo>
                  <a:cubicBezTo>
                    <a:pt x="102" y="49"/>
                    <a:pt x="102" y="49"/>
                    <a:pt x="102" y="49"/>
                  </a:cubicBezTo>
                  <a:lnTo>
                    <a:pt x="102" y="58"/>
                  </a:lnTo>
                  <a:close/>
                  <a:moveTo>
                    <a:pt x="102" y="40"/>
                  </a:moveTo>
                  <a:cubicBezTo>
                    <a:pt x="94" y="40"/>
                    <a:pt x="94" y="40"/>
                    <a:pt x="94" y="40"/>
                  </a:cubicBezTo>
                  <a:cubicBezTo>
                    <a:pt x="94" y="32"/>
                    <a:pt x="94" y="32"/>
                    <a:pt x="94" y="32"/>
                  </a:cubicBezTo>
                  <a:cubicBezTo>
                    <a:pt x="102" y="32"/>
                    <a:pt x="102" y="32"/>
                    <a:pt x="102" y="32"/>
                  </a:cubicBezTo>
                  <a:lnTo>
                    <a:pt x="102" y="40"/>
                  </a:lnTo>
                  <a:close/>
                  <a:moveTo>
                    <a:pt x="102" y="23"/>
                  </a:moveTo>
                  <a:cubicBezTo>
                    <a:pt x="94" y="23"/>
                    <a:pt x="94" y="23"/>
                    <a:pt x="94" y="23"/>
                  </a:cubicBezTo>
                  <a:cubicBezTo>
                    <a:pt x="94" y="14"/>
                    <a:pt x="94" y="14"/>
                    <a:pt x="94" y="14"/>
                  </a:cubicBezTo>
                  <a:cubicBezTo>
                    <a:pt x="102" y="14"/>
                    <a:pt x="102" y="14"/>
                    <a:pt x="102" y="14"/>
                  </a:cubicBezTo>
                  <a:lnTo>
                    <a:pt x="102" y="23"/>
                  </a:lnTo>
                  <a:close/>
                  <a:moveTo>
                    <a:pt x="121" y="58"/>
                  </a:moveTo>
                  <a:cubicBezTo>
                    <a:pt x="112" y="58"/>
                    <a:pt x="112" y="58"/>
                    <a:pt x="112" y="58"/>
                  </a:cubicBezTo>
                  <a:cubicBezTo>
                    <a:pt x="112" y="49"/>
                    <a:pt x="112" y="49"/>
                    <a:pt x="112" y="49"/>
                  </a:cubicBezTo>
                  <a:cubicBezTo>
                    <a:pt x="121" y="49"/>
                    <a:pt x="121" y="49"/>
                    <a:pt x="121" y="49"/>
                  </a:cubicBezTo>
                  <a:lnTo>
                    <a:pt x="121" y="58"/>
                  </a:lnTo>
                  <a:close/>
                  <a:moveTo>
                    <a:pt x="121" y="40"/>
                  </a:moveTo>
                  <a:cubicBezTo>
                    <a:pt x="112" y="40"/>
                    <a:pt x="112" y="40"/>
                    <a:pt x="112" y="40"/>
                  </a:cubicBezTo>
                  <a:cubicBezTo>
                    <a:pt x="112" y="32"/>
                    <a:pt x="112" y="32"/>
                    <a:pt x="112" y="32"/>
                  </a:cubicBezTo>
                  <a:cubicBezTo>
                    <a:pt x="121" y="32"/>
                    <a:pt x="121" y="32"/>
                    <a:pt x="121" y="32"/>
                  </a:cubicBezTo>
                  <a:lnTo>
                    <a:pt x="121" y="40"/>
                  </a:lnTo>
                  <a:close/>
                  <a:moveTo>
                    <a:pt x="121" y="23"/>
                  </a:moveTo>
                  <a:cubicBezTo>
                    <a:pt x="112" y="23"/>
                    <a:pt x="112" y="23"/>
                    <a:pt x="112" y="23"/>
                  </a:cubicBezTo>
                  <a:cubicBezTo>
                    <a:pt x="112" y="14"/>
                    <a:pt x="112" y="14"/>
                    <a:pt x="112" y="14"/>
                  </a:cubicBezTo>
                  <a:cubicBezTo>
                    <a:pt x="121" y="14"/>
                    <a:pt x="121" y="14"/>
                    <a:pt x="121" y="14"/>
                  </a:cubicBezTo>
                  <a:lnTo>
                    <a:pt x="121" y="23"/>
                  </a:lnTo>
                  <a:close/>
                  <a:moveTo>
                    <a:pt x="140" y="58"/>
                  </a:moveTo>
                  <a:cubicBezTo>
                    <a:pt x="131" y="58"/>
                    <a:pt x="131" y="58"/>
                    <a:pt x="131" y="58"/>
                  </a:cubicBezTo>
                  <a:cubicBezTo>
                    <a:pt x="131" y="49"/>
                    <a:pt x="131" y="49"/>
                    <a:pt x="131" y="49"/>
                  </a:cubicBezTo>
                  <a:cubicBezTo>
                    <a:pt x="140" y="49"/>
                    <a:pt x="140" y="49"/>
                    <a:pt x="140" y="49"/>
                  </a:cubicBezTo>
                  <a:lnTo>
                    <a:pt x="140" y="58"/>
                  </a:lnTo>
                  <a:close/>
                  <a:moveTo>
                    <a:pt x="140" y="40"/>
                  </a:moveTo>
                  <a:cubicBezTo>
                    <a:pt x="131" y="40"/>
                    <a:pt x="131" y="40"/>
                    <a:pt x="131" y="40"/>
                  </a:cubicBezTo>
                  <a:cubicBezTo>
                    <a:pt x="131" y="32"/>
                    <a:pt x="131" y="32"/>
                    <a:pt x="131" y="32"/>
                  </a:cubicBezTo>
                  <a:cubicBezTo>
                    <a:pt x="140" y="32"/>
                    <a:pt x="140" y="32"/>
                    <a:pt x="140" y="32"/>
                  </a:cubicBezTo>
                  <a:lnTo>
                    <a:pt x="140" y="40"/>
                  </a:lnTo>
                  <a:close/>
                  <a:moveTo>
                    <a:pt x="140" y="23"/>
                  </a:moveTo>
                  <a:cubicBezTo>
                    <a:pt x="131" y="23"/>
                    <a:pt x="131" y="23"/>
                    <a:pt x="131" y="23"/>
                  </a:cubicBezTo>
                  <a:cubicBezTo>
                    <a:pt x="131" y="14"/>
                    <a:pt x="131" y="14"/>
                    <a:pt x="131" y="14"/>
                  </a:cubicBezTo>
                  <a:cubicBezTo>
                    <a:pt x="140" y="14"/>
                    <a:pt x="140" y="14"/>
                    <a:pt x="140" y="14"/>
                  </a:cubicBezTo>
                  <a:lnTo>
                    <a:pt x="140" y="23"/>
                  </a:lnTo>
                  <a:close/>
                  <a:moveTo>
                    <a:pt x="215" y="53"/>
                  </a:moveTo>
                  <a:cubicBezTo>
                    <a:pt x="205" y="53"/>
                    <a:pt x="197" y="45"/>
                    <a:pt x="197" y="36"/>
                  </a:cubicBezTo>
                  <a:cubicBezTo>
                    <a:pt x="197" y="26"/>
                    <a:pt x="205" y="19"/>
                    <a:pt x="215" y="19"/>
                  </a:cubicBezTo>
                  <a:cubicBezTo>
                    <a:pt x="224" y="19"/>
                    <a:pt x="232" y="26"/>
                    <a:pt x="232" y="36"/>
                  </a:cubicBezTo>
                  <a:cubicBezTo>
                    <a:pt x="232" y="45"/>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6" name="Freeform 8"/>
            <p:cNvSpPr>
              <a:spLocks noEditPoints="1"/>
            </p:cNvSpPr>
            <p:nvPr/>
          </p:nvSpPr>
          <p:spPr bwMode="auto">
            <a:xfrm>
              <a:off x="958960" y="1660806"/>
              <a:ext cx="549412" cy="513918"/>
            </a:xfrm>
            <a:custGeom>
              <a:avLst/>
              <a:gdLst>
                <a:gd name="T0" fmla="*/ 239 w 325"/>
                <a:gd name="T1" fmla="*/ 304 h 304"/>
                <a:gd name="T2" fmla="*/ 187 w 325"/>
                <a:gd name="T3" fmla="*/ 304 h 304"/>
                <a:gd name="T4" fmla="*/ 187 w 325"/>
                <a:gd name="T5" fmla="*/ 288 h 304"/>
                <a:gd name="T6" fmla="*/ 239 w 325"/>
                <a:gd name="T7" fmla="*/ 288 h 304"/>
                <a:gd name="T8" fmla="*/ 239 w 325"/>
                <a:gd name="T9" fmla="*/ 304 h 304"/>
                <a:gd name="T10" fmla="*/ 146 w 325"/>
                <a:gd name="T11" fmla="*/ 304 h 304"/>
                <a:gd name="T12" fmla="*/ 94 w 325"/>
                <a:gd name="T13" fmla="*/ 304 h 304"/>
                <a:gd name="T14" fmla="*/ 94 w 325"/>
                <a:gd name="T15" fmla="*/ 288 h 304"/>
                <a:gd name="T16" fmla="*/ 146 w 325"/>
                <a:gd name="T17" fmla="*/ 288 h 304"/>
                <a:gd name="T18" fmla="*/ 146 w 325"/>
                <a:gd name="T19" fmla="*/ 304 h 304"/>
                <a:gd name="T20" fmla="*/ 52 w 325"/>
                <a:gd name="T21" fmla="*/ 304 h 304"/>
                <a:gd name="T22" fmla="*/ 52 w 325"/>
                <a:gd name="T23" fmla="*/ 304 h 304"/>
                <a:gd name="T24" fmla="*/ 4 w 325"/>
                <a:gd name="T25" fmla="*/ 272 h 304"/>
                <a:gd name="T26" fmla="*/ 19 w 325"/>
                <a:gd name="T27" fmla="*/ 267 h 304"/>
                <a:gd name="T28" fmla="*/ 52 w 325"/>
                <a:gd name="T29" fmla="*/ 288 h 304"/>
                <a:gd name="T30" fmla="*/ 52 w 325"/>
                <a:gd name="T31" fmla="*/ 304 h 304"/>
                <a:gd name="T32" fmla="*/ 282 w 325"/>
                <a:gd name="T33" fmla="*/ 303 h 304"/>
                <a:gd name="T34" fmla="*/ 280 w 325"/>
                <a:gd name="T35" fmla="*/ 287 h 304"/>
                <a:gd name="T36" fmla="*/ 308 w 325"/>
                <a:gd name="T37" fmla="*/ 261 h 304"/>
                <a:gd name="T38" fmla="*/ 324 w 325"/>
                <a:gd name="T39" fmla="*/ 264 h 304"/>
                <a:gd name="T40" fmla="*/ 282 w 325"/>
                <a:gd name="T41" fmla="*/ 303 h 304"/>
                <a:gd name="T42" fmla="*/ 16 w 325"/>
                <a:gd name="T43" fmla="*/ 228 h 304"/>
                <a:gd name="T44" fmla="*/ 0 w 325"/>
                <a:gd name="T45" fmla="*/ 228 h 304"/>
                <a:gd name="T46" fmla="*/ 0 w 325"/>
                <a:gd name="T47" fmla="*/ 176 h 304"/>
                <a:gd name="T48" fmla="*/ 16 w 325"/>
                <a:gd name="T49" fmla="*/ 176 h 304"/>
                <a:gd name="T50" fmla="*/ 16 w 325"/>
                <a:gd name="T51" fmla="*/ 228 h 304"/>
                <a:gd name="T52" fmla="*/ 325 w 325"/>
                <a:gd name="T53" fmla="*/ 221 h 304"/>
                <a:gd name="T54" fmla="*/ 309 w 325"/>
                <a:gd name="T55" fmla="*/ 221 h 304"/>
                <a:gd name="T56" fmla="*/ 309 w 325"/>
                <a:gd name="T57" fmla="*/ 169 h 304"/>
                <a:gd name="T58" fmla="*/ 325 w 325"/>
                <a:gd name="T59" fmla="*/ 169 h 304"/>
                <a:gd name="T60" fmla="*/ 325 w 325"/>
                <a:gd name="T61" fmla="*/ 221 h 304"/>
                <a:gd name="T62" fmla="*/ 16 w 325"/>
                <a:gd name="T63" fmla="*/ 135 h 304"/>
                <a:gd name="T64" fmla="*/ 0 w 325"/>
                <a:gd name="T65" fmla="*/ 135 h 304"/>
                <a:gd name="T66" fmla="*/ 0 w 325"/>
                <a:gd name="T67" fmla="*/ 83 h 304"/>
                <a:gd name="T68" fmla="*/ 16 w 325"/>
                <a:gd name="T69" fmla="*/ 83 h 304"/>
                <a:gd name="T70" fmla="*/ 16 w 325"/>
                <a:gd name="T71" fmla="*/ 135 h 304"/>
                <a:gd name="T72" fmla="*/ 325 w 325"/>
                <a:gd name="T73" fmla="*/ 128 h 304"/>
                <a:gd name="T74" fmla="*/ 309 w 325"/>
                <a:gd name="T75" fmla="*/ 128 h 304"/>
                <a:gd name="T76" fmla="*/ 309 w 325"/>
                <a:gd name="T77" fmla="*/ 76 h 304"/>
                <a:gd name="T78" fmla="*/ 325 w 325"/>
                <a:gd name="T79" fmla="*/ 76 h 304"/>
                <a:gd name="T80" fmla="*/ 325 w 325"/>
                <a:gd name="T81" fmla="*/ 128 h 304"/>
                <a:gd name="T82" fmla="*/ 17 w 325"/>
                <a:gd name="T83" fmla="*/ 43 h 304"/>
                <a:gd name="T84" fmla="*/ 2 w 325"/>
                <a:gd name="T85" fmla="*/ 40 h 304"/>
                <a:gd name="T86" fmla="*/ 44 w 325"/>
                <a:gd name="T87" fmla="*/ 1 h 304"/>
                <a:gd name="T88" fmla="*/ 46 w 325"/>
                <a:gd name="T89" fmla="*/ 17 h 304"/>
                <a:gd name="T90" fmla="*/ 17 w 325"/>
                <a:gd name="T91" fmla="*/ 43 h 304"/>
                <a:gd name="T92" fmla="*/ 307 w 325"/>
                <a:gd name="T93" fmla="*/ 37 h 304"/>
                <a:gd name="T94" fmla="*/ 274 w 325"/>
                <a:gd name="T95" fmla="*/ 16 h 304"/>
                <a:gd name="T96" fmla="*/ 273 w 325"/>
                <a:gd name="T97" fmla="*/ 0 h 304"/>
                <a:gd name="T98" fmla="*/ 274 w 325"/>
                <a:gd name="T99" fmla="*/ 0 h 304"/>
                <a:gd name="T100" fmla="*/ 322 w 325"/>
                <a:gd name="T101" fmla="*/ 32 h 304"/>
                <a:gd name="T102" fmla="*/ 307 w 325"/>
                <a:gd name="T103" fmla="*/ 37 h 304"/>
                <a:gd name="T104" fmla="*/ 232 w 325"/>
                <a:gd name="T105" fmla="*/ 16 h 304"/>
                <a:gd name="T106" fmla="*/ 180 w 325"/>
                <a:gd name="T107" fmla="*/ 16 h 304"/>
                <a:gd name="T108" fmla="*/ 180 w 325"/>
                <a:gd name="T109" fmla="*/ 0 h 304"/>
                <a:gd name="T110" fmla="*/ 232 w 325"/>
                <a:gd name="T111" fmla="*/ 0 h 304"/>
                <a:gd name="T112" fmla="*/ 232 w 325"/>
                <a:gd name="T113" fmla="*/ 16 h 304"/>
                <a:gd name="T114" fmla="*/ 139 w 325"/>
                <a:gd name="T115" fmla="*/ 16 h 304"/>
                <a:gd name="T116" fmla="*/ 87 w 325"/>
                <a:gd name="T117" fmla="*/ 16 h 304"/>
                <a:gd name="T118" fmla="*/ 87 w 325"/>
                <a:gd name="T119" fmla="*/ 0 h 304"/>
                <a:gd name="T120" fmla="*/ 139 w 325"/>
                <a:gd name="T121" fmla="*/ 0 h 304"/>
                <a:gd name="T122" fmla="*/ 139 w 325"/>
                <a:gd name="T123" fmla="*/ 1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5" h="304">
                  <a:moveTo>
                    <a:pt x="239" y="304"/>
                  </a:moveTo>
                  <a:cubicBezTo>
                    <a:pt x="187" y="304"/>
                    <a:pt x="187" y="304"/>
                    <a:pt x="187" y="304"/>
                  </a:cubicBezTo>
                  <a:cubicBezTo>
                    <a:pt x="187" y="288"/>
                    <a:pt x="187" y="288"/>
                    <a:pt x="187" y="288"/>
                  </a:cubicBezTo>
                  <a:cubicBezTo>
                    <a:pt x="239" y="288"/>
                    <a:pt x="239" y="288"/>
                    <a:pt x="239" y="288"/>
                  </a:cubicBezTo>
                  <a:lnTo>
                    <a:pt x="239" y="304"/>
                  </a:lnTo>
                  <a:close/>
                  <a:moveTo>
                    <a:pt x="146" y="304"/>
                  </a:moveTo>
                  <a:cubicBezTo>
                    <a:pt x="94" y="304"/>
                    <a:pt x="94" y="304"/>
                    <a:pt x="94" y="304"/>
                  </a:cubicBezTo>
                  <a:cubicBezTo>
                    <a:pt x="94" y="288"/>
                    <a:pt x="94" y="288"/>
                    <a:pt x="94" y="288"/>
                  </a:cubicBezTo>
                  <a:cubicBezTo>
                    <a:pt x="146" y="288"/>
                    <a:pt x="146" y="288"/>
                    <a:pt x="146" y="288"/>
                  </a:cubicBezTo>
                  <a:lnTo>
                    <a:pt x="146" y="304"/>
                  </a:lnTo>
                  <a:close/>
                  <a:moveTo>
                    <a:pt x="52" y="304"/>
                  </a:moveTo>
                  <a:cubicBezTo>
                    <a:pt x="52" y="304"/>
                    <a:pt x="52" y="304"/>
                    <a:pt x="52" y="304"/>
                  </a:cubicBezTo>
                  <a:cubicBezTo>
                    <a:pt x="29" y="304"/>
                    <a:pt x="11" y="292"/>
                    <a:pt x="4" y="272"/>
                  </a:cubicBezTo>
                  <a:cubicBezTo>
                    <a:pt x="19" y="267"/>
                    <a:pt x="19" y="267"/>
                    <a:pt x="19" y="267"/>
                  </a:cubicBezTo>
                  <a:cubicBezTo>
                    <a:pt x="23" y="280"/>
                    <a:pt x="36" y="288"/>
                    <a:pt x="52" y="288"/>
                  </a:cubicBezTo>
                  <a:lnTo>
                    <a:pt x="52" y="304"/>
                  </a:lnTo>
                  <a:close/>
                  <a:moveTo>
                    <a:pt x="282" y="303"/>
                  </a:moveTo>
                  <a:cubicBezTo>
                    <a:pt x="280" y="287"/>
                    <a:pt x="280" y="287"/>
                    <a:pt x="280" y="287"/>
                  </a:cubicBezTo>
                  <a:cubicBezTo>
                    <a:pt x="295" y="285"/>
                    <a:pt x="306" y="276"/>
                    <a:pt x="308" y="261"/>
                  </a:cubicBezTo>
                  <a:cubicBezTo>
                    <a:pt x="324" y="264"/>
                    <a:pt x="324" y="264"/>
                    <a:pt x="324" y="264"/>
                  </a:cubicBezTo>
                  <a:cubicBezTo>
                    <a:pt x="320" y="285"/>
                    <a:pt x="304" y="300"/>
                    <a:pt x="282" y="303"/>
                  </a:cubicBezTo>
                  <a:close/>
                  <a:moveTo>
                    <a:pt x="16" y="228"/>
                  </a:moveTo>
                  <a:cubicBezTo>
                    <a:pt x="0" y="228"/>
                    <a:pt x="0" y="228"/>
                    <a:pt x="0" y="228"/>
                  </a:cubicBezTo>
                  <a:cubicBezTo>
                    <a:pt x="0" y="176"/>
                    <a:pt x="0" y="176"/>
                    <a:pt x="0" y="176"/>
                  </a:cubicBezTo>
                  <a:cubicBezTo>
                    <a:pt x="16" y="176"/>
                    <a:pt x="16" y="176"/>
                    <a:pt x="16" y="176"/>
                  </a:cubicBezTo>
                  <a:lnTo>
                    <a:pt x="16" y="228"/>
                  </a:lnTo>
                  <a:close/>
                  <a:moveTo>
                    <a:pt x="325" y="221"/>
                  </a:moveTo>
                  <a:cubicBezTo>
                    <a:pt x="309" y="221"/>
                    <a:pt x="309" y="221"/>
                    <a:pt x="309" y="221"/>
                  </a:cubicBezTo>
                  <a:cubicBezTo>
                    <a:pt x="309" y="169"/>
                    <a:pt x="309" y="169"/>
                    <a:pt x="309" y="169"/>
                  </a:cubicBezTo>
                  <a:cubicBezTo>
                    <a:pt x="325" y="169"/>
                    <a:pt x="325" y="169"/>
                    <a:pt x="325" y="169"/>
                  </a:cubicBezTo>
                  <a:lnTo>
                    <a:pt x="325" y="221"/>
                  </a:lnTo>
                  <a:close/>
                  <a:moveTo>
                    <a:pt x="16" y="135"/>
                  </a:moveTo>
                  <a:cubicBezTo>
                    <a:pt x="0" y="135"/>
                    <a:pt x="0" y="135"/>
                    <a:pt x="0" y="135"/>
                  </a:cubicBezTo>
                  <a:cubicBezTo>
                    <a:pt x="0" y="83"/>
                    <a:pt x="0" y="83"/>
                    <a:pt x="0" y="83"/>
                  </a:cubicBezTo>
                  <a:cubicBezTo>
                    <a:pt x="16" y="83"/>
                    <a:pt x="16" y="83"/>
                    <a:pt x="16" y="83"/>
                  </a:cubicBezTo>
                  <a:lnTo>
                    <a:pt x="16" y="135"/>
                  </a:lnTo>
                  <a:close/>
                  <a:moveTo>
                    <a:pt x="325" y="128"/>
                  </a:moveTo>
                  <a:cubicBezTo>
                    <a:pt x="309" y="128"/>
                    <a:pt x="309" y="128"/>
                    <a:pt x="309" y="128"/>
                  </a:cubicBezTo>
                  <a:cubicBezTo>
                    <a:pt x="309" y="76"/>
                    <a:pt x="309" y="76"/>
                    <a:pt x="309" y="76"/>
                  </a:cubicBezTo>
                  <a:cubicBezTo>
                    <a:pt x="325" y="76"/>
                    <a:pt x="325" y="76"/>
                    <a:pt x="325" y="76"/>
                  </a:cubicBezTo>
                  <a:lnTo>
                    <a:pt x="325" y="128"/>
                  </a:lnTo>
                  <a:close/>
                  <a:moveTo>
                    <a:pt x="17" y="43"/>
                  </a:moveTo>
                  <a:cubicBezTo>
                    <a:pt x="2" y="40"/>
                    <a:pt x="2" y="40"/>
                    <a:pt x="2" y="40"/>
                  </a:cubicBezTo>
                  <a:cubicBezTo>
                    <a:pt x="6" y="18"/>
                    <a:pt x="22" y="4"/>
                    <a:pt x="44" y="1"/>
                  </a:cubicBezTo>
                  <a:cubicBezTo>
                    <a:pt x="46" y="17"/>
                    <a:pt x="46" y="17"/>
                    <a:pt x="46" y="17"/>
                  </a:cubicBezTo>
                  <a:cubicBezTo>
                    <a:pt x="31" y="19"/>
                    <a:pt x="20" y="28"/>
                    <a:pt x="17" y="43"/>
                  </a:cubicBezTo>
                  <a:close/>
                  <a:moveTo>
                    <a:pt x="307" y="37"/>
                  </a:moveTo>
                  <a:cubicBezTo>
                    <a:pt x="302" y="24"/>
                    <a:pt x="290" y="16"/>
                    <a:pt x="274" y="16"/>
                  </a:cubicBezTo>
                  <a:cubicBezTo>
                    <a:pt x="273" y="0"/>
                    <a:pt x="273" y="0"/>
                    <a:pt x="273" y="0"/>
                  </a:cubicBezTo>
                  <a:cubicBezTo>
                    <a:pt x="274" y="0"/>
                    <a:pt x="274" y="0"/>
                    <a:pt x="274" y="0"/>
                  </a:cubicBezTo>
                  <a:cubicBezTo>
                    <a:pt x="297" y="0"/>
                    <a:pt x="315" y="12"/>
                    <a:pt x="322" y="32"/>
                  </a:cubicBezTo>
                  <a:lnTo>
                    <a:pt x="307" y="37"/>
                  </a:lnTo>
                  <a:close/>
                  <a:moveTo>
                    <a:pt x="232" y="16"/>
                  </a:moveTo>
                  <a:cubicBezTo>
                    <a:pt x="180" y="16"/>
                    <a:pt x="180" y="16"/>
                    <a:pt x="180" y="16"/>
                  </a:cubicBezTo>
                  <a:cubicBezTo>
                    <a:pt x="180" y="0"/>
                    <a:pt x="180" y="0"/>
                    <a:pt x="180" y="0"/>
                  </a:cubicBezTo>
                  <a:cubicBezTo>
                    <a:pt x="232" y="0"/>
                    <a:pt x="232" y="0"/>
                    <a:pt x="232" y="0"/>
                  </a:cubicBezTo>
                  <a:lnTo>
                    <a:pt x="232" y="16"/>
                  </a:lnTo>
                  <a:close/>
                  <a:moveTo>
                    <a:pt x="139" y="16"/>
                  </a:moveTo>
                  <a:cubicBezTo>
                    <a:pt x="87" y="16"/>
                    <a:pt x="87" y="16"/>
                    <a:pt x="87" y="16"/>
                  </a:cubicBezTo>
                  <a:cubicBezTo>
                    <a:pt x="87" y="0"/>
                    <a:pt x="87" y="0"/>
                    <a:pt x="87" y="0"/>
                  </a:cubicBezTo>
                  <a:cubicBezTo>
                    <a:pt x="139" y="0"/>
                    <a:pt x="139" y="0"/>
                    <a:pt x="139" y="0"/>
                  </a:cubicBezTo>
                  <a:lnTo>
                    <a:pt x="139"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77" name="Group 76"/>
          <p:cNvGrpSpPr/>
          <p:nvPr/>
        </p:nvGrpSpPr>
        <p:grpSpPr>
          <a:xfrm>
            <a:off x="4116034" y="3244176"/>
            <a:ext cx="429296" cy="395084"/>
            <a:chOff x="10333038" y="2271713"/>
            <a:chExt cx="1235075" cy="1136651"/>
          </a:xfrm>
          <a:solidFill>
            <a:schemeClr val="bg1"/>
          </a:solidFill>
        </p:grpSpPr>
        <p:sp>
          <p:nvSpPr>
            <p:cNvPr id="80"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1"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4"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85" name="Group 84"/>
          <p:cNvGrpSpPr/>
          <p:nvPr/>
        </p:nvGrpSpPr>
        <p:grpSpPr>
          <a:xfrm>
            <a:off x="3589254" y="5035106"/>
            <a:ext cx="956075" cy="912400"/>
            <a:chOff x="471337" y="5326074"/>
            <a:chExt cx="975246" cy="930696"/>
          </a:xfrm>
          <a:solidFill>
            <a:schemeClr val="bg1"/>
          </a:solidFill>
        </p:grpSpPr>
        <p:grpSp>
          <p:nvGrpSpPr>
            <p:cNvPr id="86" name="Group 85"/>
            <p:cNvGrpSpPr/>
            <p:nvPr/>
          </p:nvGrpSpPr>
          <p:grpSpPr>
            <a:xfrm>
              <a:off x="471337" y="5326074"/>
              <a:ext cx="437903" cy="403006"/>
              <a:chOff x="10333038" y="2271713"/>
              <a:chExt cx="1235075" cy="1136651"/>
            </a:xfrm>
            <a:grpFill/>
          </p:grpSpPr>
          <p:sp>
            <p:nvSpPr>
              <p:cNvPr id="99"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0"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1"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87" name="Group 86"/>
            <p:cNvGrpSpPr/>
            <p:nvPr/>
          </p:nvGrpSpPr>
          <p:grpSpPr>
            <a:xfrm>
              <a:off x="471337" y="5853764"/>
              <a:ext cx="437903" cy="403006"/>
              <a:chOff x="10333038" y="2271713"/>
              <a:chExt cx="1235075" cy="1136651"/>
            </a:xfrm>
            <a:grpFill/>
          </p:grpSpPr>
          <p:sp>
            <p:nvSpPr>
              <p:cNvPr id="96"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7"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8"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88" name="Group 87"/>
            <p:cNvGrpSpPr/>
            <p:nvPr/>
          </p:nvGrpSpPr>
          <p:grpSpPr>
            <a:xfrm>
              <a:off x="1008680" y="5326074"/>
              <a:ext cx="437903" cy="403006"/>
              <a:chOff x="10333038" y="2271713"/>
              <a:chExt cx="1235075" cy="1136651"/>
            </a:xfrm>
            <a:grpFill/>
          </p:grpSpPr>
          <p:sp>
            <p:nvSpPr>
              <p:cNvPr id="93"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4"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5"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89" name="Group 88"/>
            <p:cNvGrpSpPr/>
            <p:nvPr/>
          </p:nvGrpSpPr>
          <p:grpSpPr>
            <a:xfrm>
              <a:off x="1008680" y="5853764"/>
              <a:ext cx="437903" cy="403006"/>
              <a:chOff x="10333038" y="2271713"/>
              <a:chExt cx="1235075" cy="1136651"/>
            </a:xfrm>
            <a:grpFill/>
          </p:grpSpPr>
          <p:sp>
            <p:nvSpPr>
              <p:cNvPr id="90"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1"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2"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sp>
        <p:nvSpPr>
          <p:cNvPr id="105" name="TextBox 104"/>
          <p:cNvSpPr txBox="1"/>
          <p:nvPr/>
        </p:nvSpPr>
        <p:spPr>
          <a:xfrm>
            <a:off x="526756" y="1676927"/>
            <a:ext cx="3091595" cy="1074146"/>
          </a:xfrm>
          <a:prstGeom prst="rect">
            <a:avLst/>
          </a:prstGeom>
          <a:noFill/>
        </p:spPr>
        <p:txBody>
          <a:bodyPr wrap="square" lIns="179285" tIns="143428" rIns="179285" bIns="143428" rtlCol="0">
            <a:spAutoFit/>
          </a:bodyPr>
          <a:lstStyle/>
          <a:p>
            <a:pPr defTabSz="914367">
              <a:spcBef>
                <a:spcPts val="784"/>
              </a:spcBef>
              <a:spcAft>
                <a:spcPts val="588"/>
              </a:spcAft>
              <a:buSzPct val="80000"/>
            </a:pPr>
            <a:r>
              <a:rPr lang="en-US" sz="2549" dirty="0">
                <a:solidFill>
                  <a:srgbClr val="FFFFFF"/>
                </a:solidFill>
                <a:latin typeface="Segoe UI Light"/>
              </a:rPr>
              <a:t>Scale to your largest workloads</a:t>
            </a:r>
          </a:p>
        </p:txBody>
      </p:sp>
      <p:sp>
        <p:nvSpPr>
          <p:cNvPr id="106" name="TextBox 105"/>
          <p:cNvSpPr txBox="1"/>
          <p:nvPr/>
        </p:nvSpPr>
        <p:spPr>
          <a:xfrm>
            <a:off x="526756" y="3476091"/>
            <a:ext cx="3892474" cy="1074146"/>
          </a:xfrm>
          <a:prstGeom prst="rect">
            <a:avLst/>
          </a:prstGeom>
          <a:noFill/>
        </p:spPr>
        <p:txBody>
          <a:bodyPr wrap="square" lIns="179285" tIns="143428" rIns="179285" bIns="143428" rtlCol="0">
            <a:spAutoFit/>
          </a:bodyPr>
          <a:lstStyle/>
          <a:p>
            <a:pPr defTabSz="914367">
              <a:spcBef>
                <a:spcPts val="784"/>
              </a:spcBef>
              <a:spcAft>
                <a:spcPts val="588"/>
              </a:spcAft>
              <a:buSzPct val="80000"/>
            </a:pPr>
            <a:r>
              <a:rPr lang="en-US" sz="2549" dirty="0">
                <a:solidFill>
                  <a:srgbClr val="FFFFFF"/>
                </a:solidFill>
                <a:latin typeface="Segoe UI Light"/>
              </a:rPr>
              <a:t>Drive up your consolidation ratio</a:t>
            </a:r>
          </a:p>
        </p:txBody>
      </p:sp>
      <p:sp>
        <p:nvSpPr>
          <p:cNvPr id="107" name="TextBox 106"/>
          <p:cNvSpPr txBox="1"/>
          <p:nvPr/>
        </p:nvSpPr>
        <p:spPr>
          <a:xfrm>
            <a:off x="526756" y="5262510"/>
            <a:ext cx="3347145" cy="1074146"/>
          </a:xfrm>
          <a:prstGeom prst="rect">
            <a:avLst/>
          </a:prstGeom>
          <a:noFill/>
        </p:spPr>
        <p:txBody>
          <a:bodyPr wrap="square" lIns="179285" tIns="143428" rIns="179285" bIns="143428" rtlCol="0">
            <a:spAutoFit/>
          </a:bodyPr>
          <a:lstStyle/>
          <a:p>
            <a:pPr defTabSz="914367">
              <a:spcBef>
                <a:spcPts val="784"/>
              </a:spcBef>
              <a:spcAft>
                <a:spcPts val="588"/>
              </a:spcAft>
              <a:buSzPct val="80000"/>
            </a:pPr>
            <a:r>
              <a:rPr lang="en-US" sz="2549" dirty="0">
                <a:solidFill>
                  <a:srgbClr val="FFFFFF"/>
                </a:solidFill>
                <a:latin typeface="Segoe UI Light"/>
              </a:rPr>
              <a:t>Increase scale per cluster</a:t>
            </a:r>
          </a:p>
        </p:txBody>
      </p:sp>
      <p:sp>
        <p:nvSpPr>
          <p:cNvPr id="58" name="TextBox 57"/>
          <p:cNvSpPr txBox="1"/>
          <p:nvPr/>
        </p:nvSpPr>
        <p:spPr>
          <a:xfrm>
            <a:off x="5509928" y="1989644"/>
            <a:ext cx="6644645" cy="740642"/>
          </a:xfrm>
          <a:prstGeom prst="rect">
            <a:avLst/>
          </a:prstGeom>
          <a:noFill/>
        </p:spPr>
        <p:txBody>
          <a:bodyPr wrap="square" lIns="627497" tIns="143428" rIns="179285" bIns="143428" rtlCol="0" anchor="ctr">
            <a:noAutofit/>
          </a:bodyPr>
          <a:lstStyle/>
          <a:p>
            <a:pPr defTabSz="914367">
              <a:spcAft>
                <a:spcPts val="588"/>
              </a:spcAft>
            </a:pPr>
            <a:r>
              <a:rPr lang="en-US" sz="2549" dirty="0">
                <a:solidFill>
                  <a:srgbClr val="505050"/>
                </a:solidFill>
                <a:latin typeface="Segoe UI Light"/>
              </a:rPr>
              <a:t>Industry-leading scale and performance</a:t>
            </a:r>
          </a:p>
        </p:txBody>
      </p:sp>
      <p:grpSp>
        <p:nvGrpSpPr>
          <p:cNvPr id="131" name="Group 130"/>
          <p:cNvGrpSpPr/>
          <p:nvPr/>
        </p:nvGrpSpPr>
        <p:grpSpPr>
          <a:xfrm>
            <a:off x="5249631" y="2039823"/>
            <a:ext cx="674611" cy="678183"/>
            <a:chOff x="5442390" y="1766438"/>
            <a:chExt cx="691782" cy="691782"/>
          </a:xfrm>
        </p:grpSpPr>
        <p:sp>
          <p:nvSpPr>
            <p:cNvPr id="132" name="Oval 131"/>
            <p:cNvSpPr/>
            <p:nvPr/>
          </p:nvSpPr>
          <p:spPr bwMode="auto">
            <a:xfrm>
              <a:off x="5442390" y="1766438"/>
              <a:ext cx="691782" cy="691782"/>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505050"/>
                </a:solidFill>
                <a:ea typeface="Segoe UI" pitchFamily="34" charset="0"/>
                <a:cs typeface="Segoe UI" pitchFamily="34" charset="0"/>
              </a:endParaRPr>
            </a:p>
          </p:txBody>
        </p:sp>
        <p:sp>
          <p:nvSpPr>
            <p:cNvPr id="133" name="Isosceles Triangle 132"/>
            <p:cNvSpPr/>
            <p:nvPr/>
          </p:nvSpPr>
          <p:spPr bwMode="auto">
            <a:xfrm rot="5400000">
              <a:off x="5684192" y="2014578"/>
              <a:ext cx="288628" cy="19550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505050"/>
                </a:solidFill>
                <a:latin typeface="Segoe UI Light"/>
                <a:ea typeface="Segoe UI" pitchFamily="34" charset="0"/>
                <a:cs typeface="Segoe UI" pitchFamily="34" charset="0"/>
              </a:endParaRPr>
            </a:p>
          </p:txBody>
        </p:sp>
      </p:grpSp>
      <p:sp>
        <p:nvSpPr>
          <p:cNvPr id="75" name="TextBox 74"/>
          <p:cNvSpPr txBox="1"/>
          <p:nvPr/>
        </p:nvSpPr>
        <p:spPr>
          <a:xfrm>
            <a:off x="5511827" y="3003555"/>
            <a:ext cx="6679834" cy="744033"/>
          </a:xfrm>
          <a:prstGeom prst="rect">
            <a:avLst/>
          </a:prstGeom>
          <a:noFill/>
        </p:spPr>
        <p:txBody>
          <a:bodyPr wrap="square" lIns="627497" tIns="143428" rIns="179285" bIns="143428" rtlCol="0" anchor="ctr">
            <a:noAutofit/>
          </a:bodyPr>
          <a:lstStyle/>
          <a:p>
            <a:pPr defTabSz="914367">
              <a:spcAft>
                <a:spcPts val="588"/>
              </a:spcAft>
            </a:pPr>
            <a:r>
              <a:rPr lang="en-US" sz="2549" dirty="0">
                <a:solidFill>
                  <a:srgbClr val="505050"/>
                </a:solidFill>
                <a:latin typeface="Segoe UI Light"/>
              </a:rPr>
              <a:t>Zero-downtime migrations</a:t>
            </a:r>
          </a:p>
        </p:txBody>
      </p:sp>
      <p:grpSp>
        <p:nvGrpSpPr>
          <p:cNvPr id="134" name="Group 133"/>
          <p:cNvGrpSpPr/>
          <p:nvPr/>
        </p:nvGrpSpPr>
        <p:grpSpPr>
          <a:xfrm>
            <a:off x="5249631" y="3040662"/>
            <a:ext cx="678183" cy="678183"/>
            <a:chOff x="5442390" y="1766438"/>
            <a:chExt cx="691782" cy="691782"/>
          </a:xfrm>
        </p:grpSpPr>
        <p:sp>
          <p:nvSpPr>
            <p:cNvPr id="135" name="Oval 134"/>
            <p:cNvSpPr/>
            <p:nvPr/>
          </p:nvSpPr>
          <p:spPr bwMode="auto">
            <a:xfrm>
              <a:off x="5442390" y="1766438"/>
              <a:ext cx="691782" cy="691782"/>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505050"/>
                </a:solidFill>
                <a:ea typeface="Segoe UI" pitchFamily="34" charset="0"/>
                <a:cs typeface="Segoe UI" pitchFamily="34" charset="0"/>
              </a:endParaRPr>
            </a:p>
          </p:txBody>
        </p:sp>
        <p:sp>
          <p:nvSpPr>
            <p:cNvPr id="136" name="Isosceles Triangle 135"/>
            <p:cNvSpPr/>
            <p:nvPr/>
          </p:nvSpPr>
          <p:spPr bwMode="auto">
            <a:xfrm rot="5400000">
              <a:off x="5684192" y="2014578"/>
              <a:ext cx="288628" cy="19550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505050"/>
                </a:solidFill>
                <a:latin typeface="Segoe UI Light"/>
                <a:ea typeface="Segoe UI" pitchFamily="34" charset="0"/>
                <a:cs typeface="Segoe UI" pitchFamily="34" charset="0"/>
              </a:endParaRPr>
            </a:p>
          </p:txBody>
        </p:sp>
      </p:grpSp>
      <p:sp>
        <p:nvSpPr>
          <p:cNvPr id="60" name="TextBox 59"/>
          <p:cNvSpPr txBox="1"/>
          <p:nvPr/>
        </p:nvSpPr>
        <p:spPr>
          <a:xfrm>
            <a:off x="5511704" y="4028983"/>
            <a:ext cx="6680296" cy="744033"/>
          </a:xfrm>
          <a:prstGeom prst="rect">
            <a:avLst/>
          </a:prstGeom>
          <a:noFill/>
        </p:spPr>
        <p:txBody>
          <a:bodyPr wrap="square" lIns="627497" tIns="143428" rIns="179285" bIns="143428" rtlCol="0" anchor="ctr">
            <a:noAutofit/>
          </a:bodyPr>
          <a:lstStyle/>
          <a:p>
            <a:pPr defTabSz="914367">
              <a:spcAft>
                <a:spcPts val="588"/>
              </a:spcAft>
            </a:pPr>
            <a:r>
              <a:rPr lang="en-US" sz="2549" dirty="0">
                <a:solidFill>
                  <a:srgbClr val="505050"/>
                </a:solidFill>
                <a:latin typeface="Segoe UI Light"/>
              </a:rPr>
              <a:t>Open-source integration </a:t>
            </a:r>
          </a:p>
        </p:txBody>
      </p:sp>
      <p:grpSp>
        <p:nvGrpSpPr>
          <p:cNvPr id="137" name="Group 136"/>
          <p:cNvGrpSpPr/>
          <p:nvPr/>
        </p:nvGrpSpPr>
        <p:grpSpPr>
          <a:xfrm>
            <a:off x="5249631" y="4061908"/>
            <a:ext cx="678183" cy="678183"/>
            <a:chOff x="5442390" y="1766438"/>
            <a:chExt cx="691782" cy="691782"/>
          </a:xfrm>
        </p:grpSpPr>
        <p:sp>
          <p:nvSpPr>
            <p:cNvPr id="138" name="Oval 137"/>
            <p:cNvSpPr/>
            <p:nvPr/>
          </p:nvSpPr>
          <p:spPr bwMode="auto">
            <a:xfrm>
              <a:off x="5442390" y="1766438"/>
              <a:ext cx="691782" cy="691782"/>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505050"/>
                </a:solidFill>
                <a:ea typeface="Segoe UI" pitchFamily="34" charset="0"/>
                <a:cs typeface="Segoe UI" pitchFamily="34" charset="0"/>
              </a:endParaRPr>
            </a:p>
          </p:txBody>
        </p:sp>
        <p:sp>
          <p:nvSpPr>
            <p:cNvPr id="139" name="Isosceles Triangle 138"/>
            <p:cNvSpPr/>
            <p:nvPr/>
          </p:nvSpPr>
          <p:spPr bwMode="auto">
            <a:xfrm rot="5400000">
              <a:off x="5684192" y="2014578"/>
              <a:ext cx="288628" cy="19550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505050"/>
                </a:solidFill>
                <a:latin typeface="Segoe UI Light"/>
                <a:ea typeface="Segoe UI" pitchFamily="34" charset="0"/>
                <a:cs typeface="Segoe UI" pitchFamily="34" charset="0"/>
              </a:endParaRPr>
            </a:p>
          </p:txBody>
        </p:sp>
      </p:grpSp>
      <p:sp>
        <p:nvSpPr>
          <p:cNvPr id="71" name="TextBox 70"/>
          <p:cNvSpPr txBox="1"/>
          <p:nvPr/>
        </p:nvSpPr>
        <p:spPr>
          <a:xfrm>
            <a:off x="5511704" y="5079001"/>
            <a:ext cx="6680296" cy="744033"/>
          </a:xfrm>
          <a:prstGeom prst="rect">
            <a:avLst/>
          </a:prstGeom>
          <a:noFill/>
        </p:spPr>
        <p:txBody>
          <a:bodyPr wrap="square" lIns="627497" tIns="143428" rIns="179285" bIns="143428" rtlCol="0" anchor="ctr">
            <a:noAutofit/>
          </a:bodyPr>
          <a:lstStyle/>
          <a:p>
            <a:pPr defTabSz="914367">
              <a:spcAft>
                <a:spcPts val="588"/>
              </a:spcAft>
            </a:pPr>
            <a:r>
              <a:rPr lang="en-US" sz="2549" dirty="0">
                <a:solidFill>
                  <a:srgbClr val="505050"/>
                </a:solidFill>
                <a:latin typeface="Segoe UI Light"/>
              </a:rPr>
              <a:t>Infrastructure for hardware-based security </a:t>
            </a:r>
          </a:p>
        </p:txBody>
      </p:sp>
      <p:grpSp>
        <p:nvGrpSpPr>
          <p:cNvPr id="140" name="Group 139"/>
          <p:cNvGrpSpPr/>
          <p:nvPr/>
        </p:nvGrpSpPr>
        <p:grpSpPr>
          <a:xfrm>
            <a:off x="5249631" y="5103561"/>
            <a:ext cx="678183" cy="678183"/>
            <a:chOff x="5442390" y="1766438"/>
            <a:chExt cx="691782" cy="691782"/>
          </a:xfrm>
        </p:grpSpPr>
        <p:sp>
          <p:nvSpPr>
            <p:cNvPr id="141" name="Oval 140"/>
            <p:cNvSpPr/>
            <p:nvPr/>
          </p:nvSpPr>
          <p:spPr bwMode="auto">
            <a:xfrm>
              <a:off x="5442390" y="1766438"/>
              <a:ext cx="691782" cy="691782"/>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505050"/>
                </a:solidFill>
                <a:ea typeface="Segoe UI" pitchFamily="34" charset="0"/>
                <a:cs typeface="Segoe UI" pitchFamily="34" charset="0"/>
              </a:endParaRPr>
            </a:p>
          </p:txBody>
        </p:sp>
        <p:sp>
          <p:nvSpPr>
            <p:cNvPr id="142" name="Isosceles Triangle 141"/>
            <p:cNvSpPr/>
            <p:nvPr/>
          </p:nvSpPr>
          <p:spPr bwMode="auto">
            <a:xfrm rot="5400000">
              <a:off x="5684192" y="2014578"/>
              <a:ext cx="288628" cy="19550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505050"/>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9735353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3" name="Straight Connector 292"/>
          <p:cNvCxnSpPr/>
          <p:nvPr/>
        </p:nvCxnSpPr>
        <p:spPr>
          <a:xfrm flipH="1">
            <a:off x="9073044" y="5364863"/>
            <a:ext cx="861228" cy="0"/>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flipH="1" flipV="1">
            <a:off x="9934271" y="2439631"/>
            <a:ext cx="1892" cy="2874828"/>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flipH="1">
            <a:off x="9934455" y="2434525"/>
            <a:ext cx="609525" cy="5107"/>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flipH="1">
            <a:off x="9948765" y="4189092"/>
            <a:ext cx="548521" cy="0"/>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319" name="Group 318"/>
          <p:cNvGrpSpPr/>
          <p:nvPr/>
        </p:nvGrpSpPr>
        <p:grpSpPr>
          <a:xfrm>
            <a:off x="9971872" y="2089870"/>
            <a:ext cx="2394751" cy="1072043"/>
            <a:chOff x="10502585" y="2718984"/>
            <a:chExt cx="2442771" cy="1093540"/>
          </a:xfrm>
        </p:grpSpPr>
        <p:sp>
          <p:nvSpPr>
            <p:cNvPr id="300" name="Freeform 5"/>
            <p:cNvSpPr>
              <a:spLocks/>
            </p:cNvSpPr>
            <p:nvPr/>
          </p:nvSpPr>
          <p:spPr bwMode="auto">
            <a:xfrm>
              <a:off x="11303220" y="2718984"/>
              <a:ext cx="841501" cy="546567"/>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6"/>
            </a:solidFill>
            <a:ln>
              <a:noFill/>
            </a:ln>
          </p:spPr>
          <p:txBody>
            <a:bodyPr vert="horz" wrap="square" lIns="89642" tIns="44821" rIns="89642" bIns="44821" numCol="1" anchor="t" anchorCtr="0" compatLnSpc="1">
              <a:prstTxWarp prst="textNoShape">
                <a:avLst/>
              </a:prstTxWarp>
            </a:bodyPr>
            <a:lstStyle/>
            <a:p>
              <a:pPr defTabSz="914367"/>
              <a:endParaRPr lang="en-US" sz="2353" dirty="0">
                <a:solidFill>
                  <a:srgbClr val="000000"/>
                </a:solidFill>
              </a:endParaRPr>
            </a:p>
          </p:txBody>
        </p:sp>
        <p:sp>
          <p:nvSpPr>
            <p:cNvPr id="301" name="TextBox 300"/>
            <p:cNvSpPr txBox="1"/>
            <p:nvPr/>
          </p:nvSpPr>
          <p:spPr>
            <a:xfrm>
              <a:off x="10502585" y="3267759"/>
              <a:ext cx="2442771" cy="5447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765" dirty="0">
                  <a:solidFill>
                    <a:srgbClr val="505050"/>
                  </a:solidFill>
                </a:rPr>
                <a:t>Microsoft Azure</a:t>
              </a:r>
            </a:p>
          </p:txBody>
        </p:sp>
      </p:grpSp>
      <p:grpSp>
        <p:nvGrpSpPr>
          <p:cNvPr id="320" name="Group 319"/>
          <p:cNvGrpSpPr/>
          <p:nvPr/>
        </p:nvGrpSpPr>
        <p:grpSpPr>
          <a:xfrm>
            <a:off x="10140724" y="3802606"/>
            <a:ext cx="2057046" cy="1074198"/>
            <a:chOff x="11010835" y="4466065"/>
            <a:chExt cx="2098294" cy="1095738"/>
          </a:xfrm>
        </p:grpSpPr>
        <p:sp>
          <p:nvSpPr>
            <p:cNvPr id="302" name="TextBox 301"/>
            <p:cNvSpPr txBox="1"/>
            <p:nvPr/>
          </p:nvSpPr>
          <p:spPr>
            <a:xfrm>
              <a:off x="11010835" y="5017038"/>
              <a:ext cx="2098294" cy="5447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765" dirty="0">
                  <a:solidFill>
                    <a:srgbClr val="505050"/>
                  </a:solidFill>
                </a:rPr>
                <a:t>Service provider</a:t>
              </a:r>
            </a:p>
          </p:txBody>
        </p:sp>
        <p:sp>
          <p:nvSpPr>
            <p:cNvPr id="303" name="Freeform 5"/>
            <p:cNvSpPr>
              <a:spLocks/>
            </p:cNvSpPr>
            <p:nvPr/>
          </p:nvSpPr>
          <p:spPr bwMode="auto">
            <a:xfrm>
              <a:off x="11639232" y="4466065"/>
              <a:ext cx="841501" cy="546567"/>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6"/>
            </a:solidFill>
            <a:ln>
              <a:noFill/>
            </a:ln>
          </p:spPr>
          <p:txBody>
            <a:bodyPr vert="horz" wrap="square" lIns="89642" tIns="44821" rIns="89642" bIns="44821" numCol="1" anchor="t" anchorCtr="0" compatLnSpc="1">
              <a:prstTxWarp prst="textNoShape">
                <a:avLst/>
              </a:prstTxWarp>
            </a:bodyPr>
            <a:lstStyle/>
            <a:p>
              <a:pPr defTabSz="914367"/>
              <a:endParaRPr lang="en-US" sz="2353" dirty="0">
                <a:solidFill>
                  <a:srgbClr val="000000"/>
                </a:solidFill>
              </a:endParaRPr>
            </a:p>
          </p:txBody>
        </p:sp>
      </p:grpSp>
      <p:grpSp>
        <p:nvGrpSpPr>
          <p:cNvPr id="240" name="Group 239"/>
          <p:cNvGrpSpPr/>
          <p:nvPr/>
        </p:nvGrpSpPr>
        <p:grpSpPr>
          <a:xfrm>
            <a:off x="8394509" y="5433260"/>
            <a:ext cx="505795" cy="465488"/>
            <a:chOff x="10333038" y="2271713"/>
            <a:chExt cx="1235075" cy="1136651"/>
          </a:xfrm>
          <a:solidFill>
            <a:schemeClr val="tx2"/>
          </a:solidFill>
        </p:grpSpPr>
        <p:sp>
          <p:nvSpPr>
            <p:cNvPr id="241"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2"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3"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244" name="Group 243"/>
          <p:cNvGrpSpPr/>
          <p:nvPr/>
        </p:nvGrpSpPr>
        <p:grpSpPr>
          <a:xfrm>
            <a:off x="7614924" y="5433260"/>
            <a:ext cx="505795" cy="465488"/>
            <a:chOff x="10333038" y="2271713"/>
            <a:chExt cx="1235075" cy="1136651"/>
          </a:xfrm>
          <a:solidFill>
            <a:schemeClr val="tx2"/>
          </a:solidFill>
        </p:grpSpPr>
        <p:sp>
          <p:nvSpPr>
            <p:cNvPr id="245"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6"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7"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248" name="Group 247"/>
          <p:cNvGrpSpPr/>
          <p:nvPr/>
        </p:nvGrpSpPr>
        <p:grpSpPr>
          <a:xfrm>
            <a:off x="6835339" y="5433260"/>
            <a:ext cx="505795" cy="465488"/>
            <a:chOff x="10333038" y="2271713"/>
            <a:chExt cx="1235075" cy="1136651"/>
          </a:xfrm>
          <a:solidFill>
            <a:schemeClr val="tx2"/>
          </a:solidFill>
        </p:grpSpPr>
        <p:sp>
          <p:nvSpPr>
            <p:cNvPr id="249"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0"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1"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252" name="Group 251"/>
          <p:cNvGrpSpPr/>
          <p:nvPr/>
        </p:nvGrpSpPr>
        <p:grpSpPr>
          <a:xfrm>
            <a:off x="6055754" y="5433260"/>
            <a:ext cx="505795" cy="465488"/>
            <a:chOff x="10333038" y="2271713"/>
            <a:chExt cx="1235075" cy="1136651"/>
          </a:xfrm>
          <a:solidFill>
            <a:schemeClr val="tx2"/>
          </a:solidFill>
        </p:grpSpPr>
        <p:sp>
          <p:nvSpPr>
            <p:cNvPr id="253"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4"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5"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265" name="Rectangle 264"/>
          <p:cNvSpPr/>
          <p:nvPr/>
        </p:nvSpPr>
        <p:spPr>
          <a:xfrm>
            <a:off x="6372626" y="4592610"/>
            <a:ext cx="2145071" cy="390399"/>
          </a:xfrm>
          <a:prstGeom prst="rect">
            <a:avLst/>
          </a:prstGeom>
        </p:spPr>
        <p:txBody>
          <a:bodyPr wrap="square" lIns="87815" tIns="43908" rIns="87815" bIns="43908">
            <a:spAutoFit/>
          </a:bodyPr>
          <a:lstStyle/>
          <a:p>
            <a:pPr algn="ctr" defTabSz="895343"/>
            <a:r>
              <a:rPr lang="en-US" sz="1961" dirty="0">
                <a:solidFill>
                  <a:srgbClr val="505050"/>
                </a:solidFill>
              </a:rPr>
              <a:t>Physical network</a:t>
            </a:r>
          </a:p>
        </p:txBody>
      </p:sp>
      <p:cxnSp>
        <p:nvCxnSpPr>
          <p:cNvPr id="270" name="Straight Connector 269"/>
          <p:cNvCxnSpPr/>
          <p:nvPr/>
        </p:nvCxnSpPr>
        <p:spPr>
          <a:xfrm flipV="1">
            <a:off x="6308652" y="5012581"/>
            <a:ext cx="785521" cy="350568"/>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flipH="1" flipV="1">
            <a:off x="6308652" y="5012581"/>
            <a:ext cx="785521" cy="350568"/>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flipV="1">
            <a:off x="7094172" y="5012581"/>
            <a:ext cx="785521" cy="350568"/>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flipH="1" flipV="1">
            <a:off x="7094172" y="5012581"/>
            <a:ext cx="785521" cy="350568"/>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flipV="1">
            <a:off x="7879693" y="5012581"/>
            <a:ext cx="785521" cy="350568"/>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flipH="1" flipV="1">
            <a:off x="7879693" y="5012581"/>
            <a:ext cx="785521" cy="350568"/>
          </a:xfrm>
          <a:prstGeom prst="line">
            <a:avLst/>
          </a:prstGeom>
          <a:ln w="57150" cap="rnd">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204099" y="1508212"/>
            <a:ext cx="4483681" cy="3035462"/>
            <a:chOff x="4845050" y="2125663"/>
            <a:chExt cx="4573588" cy="3096329"/>
          </a:xfrm>
        </p:grpSpPr>
        <p:sp>
          <p:nvSpPr>
            <p:cNvPr id="304" name="Rectangle 303"/>
            <p:cNvSpPr/>
            <p:nvPr/>
          </p:nvSpPr>
          <p:spPr>
            <a:xfrm>
              <a:off x="4846638" y="3032479"/>
              <a:ext cx="2286000" cy="1837088"/>
            </a:xfrm>
            <a:prstGeom prst="rect">
              <a:avLst/>
            </a:prstGeom>
            <a:solidFill>
              <a:schemeClr val="bg1">
                <a:lumMod val="85000"/>
              </a:schemeClr>
            </a:solidFill>
          </p:spPr>
          <p:txBody>
            <a:bodyPr wrap="square" lIns="87815" tIns="43908" rIns="87815" bIns="43908" anchor="ctr">
              <a:noAutofit/>
            </a:bodyPr>
            <a:lstStyle/>
            <a:p>
              <a:pPr algn="ctr" defTabSz="895343"/>
              <a:endParaRPr lang="en-US" sz="1372" spc="-49" dirty="0">
                <a:solidFill>
                  <a:srgbClr val="FFFFFF"/>
                </a:solidFill>
              </a:endParaRPr>
            </a:p>
          </p:txBody>
        </p:sp>
        <p:sp>
          <p:nvSpPr>
            <p:cNvPr id="305" name="Rectangle 304"/>
            <p:cNvSpPr/>
            <p:nvPr/>
          </p:nvSpPr>
          <p:spPr>
            <a:xfrm>
              <a:off x="7132638" y="3032479"/>
              <a:ext cx="2286000" cy="1837088"/>
            </a:xfrm>
            <a:prstGeom prst="rect">
              <a:avLst/>
            </a:prstGeom>
            <a:solidFill>
              <a:srgbClr val="F2F2F2"/>
            </a:solidFill>
          </p:spPr>
          <p:txBody>
            <a:bodyPr wrap="square" lIns="87815" tIns="43908" rIns="87815" bIns="43908" anchor="ctr">
              <a:noAutofit/>
            </a:bodyPr>
            <a:lstStyle/>
            <a:p>
              <a:pPr algn="ctr" defTabSz="895343"/>
              <a:endParaRPr lang="en-US" sz="1372" spc="-49" dirty="0">
                <a:solidFill>
                  <a:srgbClr val="FFFFFF"/>
                </a:solidFill>
              </a:endParaRPr>
            </a:p>
          </p:txBody>
        </p:sp>
        <p:sp>
          <p:nvSpPr>
            <p:cNvPr id="211" name="Title 2"/>
            <p:cNvSpPr txBox="1">
              <a:spLocks/>
            </p:cNvSpPr>
            <p:nvPr/>
          </p:nvSpPr>
          <p:spPr>
            <a:xfrm>
              <a:off x="4845050" y="2125663"/>
              <a:ext cx="4572000" cy="560578"/>
            </a:xfrm>
            <a:prstGeom prst="rect">
              <a:avLst/>
            </a:prstGeom>
            <a:solidFill>
              <a:schemeClr val="bg1"/>
            </a:solidFill>
          </p:spPr>
          <p:txBody>
            <a:bodyPr vert="horz" wrap="square" lIns="140450" tIns="87782" rIns="140450" bIns="87782" rtlCol="0" anchor="t">
              <a:noAutofit/>
            </a:bodyPr>
            <a:lstStyle>
              <a:lvl1pPr algn="l" defTabSz="931690" rtl="0" eaLnBrk="1" latinLnBrk="0" hangingPunct="1">
                <a:lnSpc>
                  <a:spcPts val="6300"/>
                </a:lnSpc>
                <a:spcBef>
                  <a:spcPct val="0"/>
                </a:spcBef>
                <a:buNone/>
                <a:defRPr lang="en-US" sz="5800" b="0" kern="1200" cap="none" spc="-102" baseline="0">
                  <a:ln w="3175">
                    <a:noFill/>
                  </a:ln>
                  <a:solidFill>
                    <a:schemeClr val="accent1"/>
                  </a:solidFill>
                  <a:effectLst/>
                  <a:latin typeface="+mj-lt"/>
                  <a:ea typeface="+mn-ea"/>
                  <a:cs typeface="Segoe UI" pitchFamily="34" charset="0"/>
                </a:defRPr>
              </a:lvl1pPr>
            </a:lstStyle>
            <a:p>
              <a:pPr>
                <a:lnSpc>
                  <a:spcPct val="90000"/>
                </a:lnSpc>
                <a:spcAft>
                  <a:spcPts val="588"/>
                </a:spcAft>
              </a:pPr>
              <a:r>
                <a:rPr sz="2745" spc="-49" dirty="0">
                  <a:solidFill>
                    <a:srgbClr val="505050"/>
                  </a:solidFill>
                </a:rPr>
                <a:t>Network virtualization</a:t>
              </a:r>
            </a:p>
          </p:txBody>
        </p:sp>
        <p:sp>
          <p:nvSpPr>
            <p:cNvPr id="212" name="Rectangle 211"/>
            <p:cNvSpPr/>
            <p:nvPr/>
          </p:nvSpPr>
          <p:spPr>
            <a:xfrm>
              <a:off x="4845050" y="2686241"/>
              <a:ext cx="2286000" cy="352425"/>
            </a:xfrm>
            <a:prstGeom prst="rect">
              <a:avLst/>
            </a:prstGeom>
            <a:solidFill>
              <a:srgbClr val="002050"/>
            </a:solidFill>
          </p:spPr>
          <p:txBody>
            <a:bodyPr wrap="square" lIns="87815" tIns="43908" rIns="87815" bIns="43908" anchor="ctr">
              <a:noAutofit/>
            </a:bodyPr>
            <a:lstStyle/>
            <a:p>
              <a:pPr algn="ctr" defTabSz="895343"/>
              <a:r>
                <a:rPr lang="en-US" sz="1765" dirty="0">
                  <a:solidFill>
                    <a:srgbClr val="FFFFFF"/>
                  </a:solidFill>
                </a:rPr>
                <a:t>Network A </a:t>
              </a:r>
            </a:p>
          </p:txBody>
        </p:sp>
        <p:sp>
          <p:nvSpPr>
            <p:cNvPr id="213" name="Rectangle 212"/>
            <p:cNvSpPr/>
            <p:nvPr/>
          </p:nvSpPr>
          <p:spPr>
            <a:xfrm>
              <a:off x="7131050" y="2686241"/>
              <a:ext cx="2286000" cy="352425"/>
            </a:xfrm>
            <a:prstGeom prst="rect">
              <a:avLst/>
            </a:prstGeom>
            <a:solidFill>
              <a:srgbClr val="002050"/>
            </a:solidFill>
          </p:spPr>
          <p:txBody>
            <a:bodyPr wrap="square" lIns="87815" tIns="43908" rIns="87815" bIns="43908" anchor="ctr">
              <a:noAutofit/>
            </a:bodyPr>
            <a:lstStyle/>
            <a:p>
              <a:pPr algn="ctr" defTabSz="895343"/>
              <a:r>
                <a:rPr lang="en-US" sz="1765" dirty="0">
                  <a:solidFill>
                    <a:srgbClr val="FFFFFF"/>
                  </a:solidFill>
                </a:rPr>
                <a:t>Network B</a:t>
              </a:r>
            </a:p>
          </p:txBody>
        </p:sp>
        <p:sp>
          <p:nvSpPr>
            <p:cNvPr id="225" name="Rectangle 224"/>
            <p:cNvSpPr/>
            <p:nvPr/>
          </p:nvSpPr>
          <p:spPr>
            <a:xfrm>
              <a:off x="4845050" y="4869567"/>
              <a:ext cx="4572000" cy="352425"/>
            </a:xfrm>
            <a:prstGeom prst="rect">
              <a:avLst/>
            </a:prstGeom>
            <a:solidFill>
              <a:schemeClr val="accent1"/>
            </a:solidFill>
          </p:spPr>
          <p:txBody>
            <a:bodyPr wrap="square" lIns="87815" tIns="43908" rIns="87815" bIns="43908" anchor="ctr">
              <a:noAutofit/>
            </a:bodyPr>
            <a:lstStyle/>
            <a:p>
              <a:pPr algn="ctr" defTabSz="895343"/>
              <a:r>
                <a:rPr lang="en-US" sz="1961" dirty="0">
                  <a:solidFill>
                    <a:srgbClr val="FFFFFF"/>
                  </a:solidFill>
                </a:rPr>
                <a:t>Virtualization</a:t>
              </a:r>
            </a:p>
          </p:txBody>
        </p:sp>
        <p:grpSp>
          <p:nvGrpSpPr>
            <p:cNvPr id="317" name="Group 316"/>
            <p:cNvGrpSpPr/>
            <p:nvPr/>
          </p:nvGrpSpPr>
          <p:grpSpPr>
            <a:xfrm>
              <a:off x="5395035" y="3535058"/>
              <a:ext cx="1196266" cy="776990"/>
              <a:chOff x="6309435" y="3535058"/>
              <a:chExt cx="1196266" cy="776990"/>
            </a:xfrm>
          </p:grpSpPr>
          <p:sp>
            <p:nvSpPr>
              <p:cNvPr id="306" name="Freeform 5"/>
              <p:cNvSpPr>
                <a:spLocks/>
              </p:cNvSpPr>
              <p:nvPr/>
            </p:nvSpPr>
            <p:spPr bwMode="auto">
              <a:xfrm>
                <a:off x="6309435" y="3535058"/>
                <a:ext cx="1196266" cy="776990"/>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6"/>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11" name="Freeform 18"/>
              <p:cNvSpPr>
                <a:spLocks noEditPoints="1"/>
              </p:cNvSpPr>
              <p:nvPr/>
            </p:nvSpPr>
            <p:spPr bwMode="auto">
              <a:xfrm>
                <a:off x="6718998" y="3786828"/>
                <a:ext cx="405702" cy="395049"/>
              </a:xfrm>
              <a:custGeom>
                <a:avLst/>
                <a:gdLst>
                  <a:gd name="T0" fmla="*/ 93 w 190"/>
                  <a:gd name="T1" fmla="*/ 119 h 185"/>
                  <a:gd name="T2" fmla="*/ 71 w 190"/>
                  <a:gd name="T3" fmla="*/ 119 h 185"/>
                  <a:gd name="T4" fmla="*/ 71 w 190"/>
                  <a:gd name="T5" fmla="*/ 92 h 185"/>
                  <a:gd name="T6" fmla="*/ 49 w 190"/>
                  <a:gd name="T7" fmla="*/ 92 h 185"/>
                  <a:gd name="T8" fmla="*/ 40 w 190"/>
                  <a:gd name="T9" fmla="*/ 99 h 185"/>
                  <a:gd name="T10" fmla="*/ 40 w 190"/>
                  <a:gd name="T11" fmla="*/ 145 h 185"/>
                  <a:gd name="T12" fmla="*/ 86 w 190"/>
                  <a:gd name="T13" fmla="*/ 145 h 185"/>
                  <a:gd name="T14" fmla="*/ 93 w 190"/>
                  <a:gd name="T15" fmla="*/ 139 h 185"/>
                  <a:gd name="T16" fmla="*/ 93 w 190"/>
                  <a:gd name="T17" fmla="*/ 119 h 185"/>
                  <a:gd name="T18" fmla="*/ 0 w 190"/>
                  <a:gd name="T19" fmla="*/ 0 h 185"/>
                  <a:gd name="T20" fmla="*/ 53 w 190"/>
                  <a:gd name="T21" fmla="*/ 0 h 185"/>
                  <a:gd name="T22" fmla="*/ 53 w 190"/>
                  <a:gd name="T23" fmla="*/ 52 h 185"/>
                  <a:gd name="T24" fmla="*/ 40 w 190"/>
                  <a:gd name="T25" fmla="*/ 52 h 185"/>
                  <a:gd name="T26" fmla="*/ 40 w 190"/>
                  <a:gd name="T27" fmla="*/ 71 h 185"/>
                  <a:gd name="T28" fmla="*/ 49 w 190"/>
                  <a:gd name="T29" fmla="*/ 79 h 185"/>
                  <a:gd name="T30" fmla="*/ 71 w 190"/>
                  <a:gd name="T31" fmla="*/ 79 h 185"/>
                  <a:gd name="T32" fmla="*/ 71 w 190"/>
                  <a:gd name="T33" fmla="*/ 66 h 185"/>
                  <a:gd name="T34" fmla="*/ 119 w 190"/>
                  <a:gd name="T35" fmla="*/ 66 h 185"/>
                  <a:gd name="T36" fmla="*/ 119 w 190"/>
                  <a:gd name="T37" fmla="*/ 119 h 185"/>
                  <a:gd name="T38" fmla="*/ 106 w 190"/>
                  <a:gd name="T39" fmla="*/ 119 h 185"/>
                  <a:gd name="T40" fmla="*/ 106 w 190"/>
                  <a:gd name="T41" fmla="*/ 139 h 185"/>
                  <a:gd name="T42" fmla="*/ 116 w 190"/>
                  <a:gd name="T43" fmla="*/ 145 h 185"/>
                  <a:gd name="T44" fmla="*/ 132 w 190"/>
                  <a:gd name="T45" fmla="*/ 145 h 185"/>
                  <a:gd name="T46" fmla="*/ 132 w 190"/>
                  <a:gd name="T47" fmla="*/ 132 h 185"/>
                  <a:gd name="T48" fmla="*/ 190 w 190"/>
                  <a:gd name="T49" fmla="*/ 132 h 185"/>
                  <a:gd name="T50" fmla="*/ 190 w 190"/>
                  <a:gd name="T51" fmla="*/ 185 h 185"/>
                  <a:gd name="T52" fmla="*/ 132 w 190"/>
                  <a:gd name="T53" fmla="*/ 185 h 185"/>
                  <a:gd name="T54" fmla="*/ 132 w 190"/>
                  <a:gd name="T55" fmla="*/ 158 h 185"/>
                  <a:gd name="T56" fmla="*/ 116 w 190"/>
                  <a:gd name="T57" fmla="*/ 158 h 185"/>
                  <a:gd name="T58" fmla="*/ 101 w 190"/>
                  <a:gd name="T59" fmla="*/ 169 h 185"/>
                  <a:gd name="T60" fmla="*/ 86 w 190"/>
                  <a:gd name="T61" fmla="*/ 158 h 185"/>
                  <a:gd name="T62" fmla="*/ 40 w 190"/>
                  <a:gd name="T63" fmla="*/ 158 h 185"/>
                  <a:gd name="T64" fmla="*/ 27 w 190"/>
                  <a:gd name="T65" fmla="*/ 158 h 185"/>
                  <a:gd name="T66" fmla="*/ 27 w 190"/>
                  <a:gd name="T67" fmla="*/ 145 h 185"/>
                  <a:gd name="T68" fmla="*/ 27 w 190"/>
                  <a:gd name="T69" fmla="*/ 102 h 185"/>
                  <a:gd name="T70" fmla="*/ 16 w 190"/>
                  <a:gd name="T71" fmla="*/ 86 h 185"/>
                  <a:gd name="T72" fmla="*/ 27 w 190"/>
                  <a:gd name="T73" fmla="*/ 71 h 185"/>
                  <a:gd name="T74" fmla="*/ 27 w 190"/>
                  <a:gd name="T75" fmla="*/ 52 h 185"/>
                  <a:gd name="T76" fmla="*/ 0 w 190"/>
                  <a:gd name="T77" fmla="*/ 52 h 185"/>
                  <a:gd name="T78" fmla="*/ 0 w 190"/>
                  <a:gd name="T7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0" h="185">
                    <a:moveTo>
                      <a:pt x="93" y="119"/>
                    </a:moveTo>
                    <a:cubicBezTo>
                      <a:pt x="71" y="119"/>
                      <a:pt x="71" y="119"/>
                      <a:pt x="71" y="119"/>
                    </a:cubicBezTo>
                    <a:cubicBezTo>
                      <a:pt x="71" y="92"/>
                      <a:pt x="71" y="92"/>
                      <a:pt x="71" y="92"/>
                    </a:cubicBezTo>
                    <a:cubicBezTo>
                      <a:pt x="49" y="92"/>
                      <a:pt x="49" y="92"/>
                      <a:pt x="49" y="92"/>
                    </a:cubicBezTo>
                    <a:cubicBezTo>
                      <a:pt x="47" y="97"/>
                      <a:pt x="44" y="99"/>
                      <a:pt x="40" y="99"/>
                    </a:cubicBezTo>
                    <a:cubicBezTo>
                      <a:pt x="40" y="145"/>
                      <a:pt x="40" y="145"/>
                      <a:pt x="40" y="145"/>
                    </a:cubicBezTo>
                    <a:cubicBezTo>
                      <a:pt x="86" y="145"/>
                      <a:pt x="86" y="145"/>
                      <a:pt x="86" y="145"/>
                    </a:cubicBezTo>
                    <a:cubicBezTo>
                      <a:pt x="88" y="145"/>
                      <a:pt x="88" y="141"/>
                      <a:pt x="93" y="139"/>
                    </a:cubicBezTo>
                    <a:lnTo>
                      <a:pt x="93" y="119"/>
                    </a:lnTo>
                    <a:close/>
                    <a:moveTo>
                      <a:pt x="0" y="0"/>
                    </a:moveTo>
                    <a:cubicBezTo>
                      <a:pt x="53" y="0"/>
                      <a:pt x="53" y="0"/>
                      <a:pt x="53" y="0"/>
                    </a:cubicBezTo>
                    <a:cubicBezTo>
                      <a:pt x="53" y="52"/>
                      <a:pt x="53" y="52"/>
                      <a:pt x="53" y="52"/>
                    </a:cubicBezTo>
                    <a:cubicBezTo>
                      <a:pt x="40" y="52"/>
                      <a:pt x="40" y="52"/>
                      <a:pt x="40" y="52"/>
                    </a:cubicBezTo>
                    <a:cubicBezTo>
                      <a:pt x="40" y="71"/>
                      <a:pt x="40" y="71"/>
                      <a:pt x="40" y="71"/>
                    </a:cubicBezTo>
                    <a:cubicBezTo>
                      <a:pt x="44" y="73"/>
                      <a:pt x="47" y="75"/>
                      <a:pt x="49" y="79"/>
                    </a:cubicBezTo>
                    <a:cubicBezTo>
                      <a:pt x="71" y="79"/>
                      <a:pt x="71" y="79"/>
                      <a:pt x="71" y="79"/>
                    </a:cubicBezTo>
                    <a:cubicBezTo>
                      <a:pt x="71" y="66"/>
                      <a:pt x="71" y="66"/>
                      <a:pt x="71" y="66"/>
                    </a:cubicBezTo>
                    <a:cubicBezTo>
                      <a:pt x="119" y="66"/>
                      <a:pt x="119" y="66"/>
                      <a:pt x="119" y="66"/>
                    </a:cubicBezTo>
                    <a:cubicBezTo>
                      <a:pt x="119" y="119"/>
                      <a:pt x="119" y="119"/>
                      <a:pt x="119" y="119"/>
                    </a:cubicBezTo>
                    <a:cubicBezTo>
                      <a:pt x="106" y="119"/>
                      <a:pt x="106" y="119"/>
                      <a:pt x="106" y="119"/>
                    </a:cubicBezTo>
                    <a:cubicBezTo>
                      <a:pt x="106" y="139"/>
                      <a:pt x="106" y="139"/>
                      <a:pt x="106" y="139"/>
                    </a:cubicBezTo>
                    <a:cubicBezTo>
                      <a:pt x="110" y="141"/>
                      <a:pt x="114" y="145"/>
                      <a:pt x="116" y="145"/>
                    </a:cubicBezTo>
                    <a:cubicBezTo>
                      <a:pt x="132" y="145"/>
                      <a:pt x="132" y="145"/>
                      <a:pt x="132" y="145"/>
                    </a:cubicBezTo>
                    <a:cubicBezTo>
                      <a:pt x="132" y="132"/>
                      <a:pt x="132" y="132"/>
                      <a:pt x="132" y="132"/>
                    </a:cubicBezTo>
                    <a:cubicBezTo>
                      <a:pt x="190" y="132"/>
                      <a:pt x="190" y="132"/>
                      <a:pt x="190" y="132"/>
                    </a:cubicBezTo>
                    <a:cubicBezTo>
                      <a:pt x="190" y="185"/>
                      <a:pt x="190" y="185"/>
                      <a:pt x="190" y="185"/>
                    </a:cubicBezTo>
                    <a:cubicBezTo>
                      <a:pt x="132" y="185"/>
                      <a:pt x="132" y="185"/>
                      <a:pt x="132" y="185"/>
                    </a:cubicBezTo>
                    <a:cubicBezTo>
                      <a:pt x="132" y="158"/>
                      <a:pt x="132" y="158"/>
                      <a:pt x="132" y="158"/>
                    </a:cubicBezTo>
                    <a:cubicBezTo>
                      <a:pt x="116" y="158"/>
                      <a:pt x="116" y="158"/>
                      <a:pt x="116" y="158"/>
                    </a:cubicBezTo>
                    <a:cubicBezTo>
                      <a:pt x="114" y="163"/>
                      <a:pt x="108" y="169"/>
                      <a:pt x="101" y="169"/>
                    </a:cubicBezTo>
                    <a:cubicBezTo>
                      <a:pt x="95" y="169"/>
                      <a:pt x="88" y="163"/>
                      <a:pt x="86" y="158"/>
                    </a:cubicBezTo>
                    <a:cubicBezTo>
                      <a:pt x="40" y="158"/>
                      <a:pt x="40" y="158"/>
                      <a:pt x="40" y="158"/>
                    </a:cubicBezTo>
                    <a:cubicBezTo>
                      <a:pt x="27" y="158"/>
                      <a:pt x="27" y="158"/>
                      <a:pt x="27" y="158"/>
                    </a:cubicBezTo>
                    <a:cubicBezTo>
                      <a:pt x="27" y="145"/>
                      <a:pt x="27" y="145"/>
                      <a:pt x="27" y="145"/>
                    </a:cubicBezTo>
                    <a:cubicBezTo>
                      <a:pt x="27" y="102"/>
                      <a:pt x="27" y="102"/>
                      <a:pt x="27" y="102"/>
                    </a:cubicBezTo>
                    <a:cubicBezTo>
                      <a:pt x="22" y="99"/>
                      <a:pt x="16" y="93"/>
                      <a:pt x="16" y="86"/>
                    </a:cubicBezTo>
                    <a:cubicBezTo>
                      <a:pt x="16" y="78"/>
                      <a:pt x="22" y="73"/>
                      <a:pt x="27" y="71"/>
                    </a:cubicBezTo>
                    <a:cubicBezTo>
                      <a:pt x="27" y="52"/>
                      <a:pt x="27" y="52"/>
                      <a:pt x="27" y="52"/>
                    </a:cubicBezTo>
                    <a:cubicBezTo>
                      <a:pt x="0" y="52"/>
                      <a:pt x="0" y="52"/>
                      <a:pt x="0" y="52"/>
                    </a:cubicBezTo>
                    <a:lnTo>
                      <a:pt x="0" y="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318" name="Group 317"/>
            <p:cNvGrpSpPr/>
            <p:nvPr/>
          </p:nvGrpSpPr>
          <p:grpSpPr>
            <a:xfrm>
              <a:off x="7747710" y="3535058"/>
              <a:ext cx="1196266" cy="776990"/>
              <a:chOff x="8662110" y="3535058"/>
              <a:chExt cx="1196266" cy="776990"/>
            </a:xfrm>
          </p:grpSpPr>
          <p:sp>
            <p:nvSpPr>
              <p:cNvPr id="307" name="Freeform 5"/>
              <p:cNvSpPr>
                <a:spLocks/>
              </p:cNvSpPr>
              <p:nvPr/>
            </p:nvSpPr>
            <p:spPr bwMode="auto">
              <a:xfrm>
                <a:off x="8662110" y="3535058"/>
                <a:ext cx="1196266" cy="776990"/>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68217A"/>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12" name="Freeform 18"/>
              <p:cNvSpPr>
                <a:spLocks noEditPoints="1"/>
              </p:cNvSpPr>
              <p:nvPr/>
            </p:nvSpPr>
            <p:spPr bwMode="auto">
              <a:xfrm>
                <a:off x="9128823" y="3786828"/>
                <a:ext cx="405702" cy="395049"/>
              </a:xfrm>
              <a:custGeom>
                <a:avLst/>
                <a:gdLst>
                  <a:gd name="T0" fmla="*/ 93 w 190"/>
                  <a:gd name="T1" fmla="*/ 119 h 185"/>
                  <a:gd name="T2" fmla="*/ 71 w 190"/>
                  <a:gd name="T3" fmla="*/ 119 h 185"/>
                  <a:gd name="T4" fmla="*/ 71 w 190"/>
                  <a:gd name="T5" fmla="*/ 92 h 185"/>
                  <a:gd name="T6" fmla="*/ 49 w 190"/>
                  <a:gd name="T7" fmla="*/ 92 h 185"/>
                  <a:gd name="T8" fmla="*/ 40 w 190"/>
                  <a:gd name="T9" fmla="*/ 99 h 185"/>
                  <a:gd name="T10" fmla="*/ 40 w 190"/>
                  <a:gd name="T11" fmla="*/ 145 h 185"/>
                  <a:gd name="T12" fmla="*/ 86 w 190"/>
                  <a:gd name="T13" fmla="*/ 145 h 185"/>
                  <a:gd name="T14" fmla="*/ 93 w 190"/>
                  <a:gd name="T15" fmla="*/ 139 h 185"/>
                  <a:gd name="T16" fmla="*/ 93 w 190"/>
                  <a:gd name="T17" fmla="*/ 119 h 185"/>
                  <a:gd name="T18" fmla="*/ 0 w 190"/>
                  <a:gd name="T19" fmla="*/ 0 h 185"/>
                  <a:gd name="T20" fmla="*/ 53 w 190"/>
                  <a:gd name="T21" fmla="*/ 0 h 185"/>
                  <a:gd name="T22" fmla="*/ 53 w 190"/>
                  <a:gd name="T23" fmla="*/ 52 h 185"/>
                  <a:gd name="T24" fmla="*/ 40 w 190"/>
                  <a:gd name="T25" fmla="*/ 52 h 185"/>
                  <a:gd name="T26" fmla="*/ 40 w 190"/>
                  <a:gd name="T27" fmla="*/ 71 h 185"/>
                  <a:gd name="T28" fmla="*/ 49 w 190"/>
                  <a:gd name="T29" fmla="*/ 79 h 185"/>
                  <a:gd name="T30" fmla="*/ 71 w 190"/>
                  <a:gd name="T31" fmla="*/ 79 h 185"/>
                  <a:gd name="T32" fmla="*/ 71 w 190"/>
                  <a:gd name="T33" fmla="*/ 66 h 185"/>
                  <a:gd name="T34" fmla="*/ 119 w 190"/>
                  <a:gd name="T35" fmla="*/ 66 h 185"/>
                  <a:gd name="T36" fmla="*/ 119 w 190"/>
                  <a:gd name="T37" fmla="*/ 119 h 185"/>
                  <a:gd name="T38" fmla="*/ 106 w 190"/>
                  <a:gd name="T39" fmla="*/ 119 h 185"/>
                  <a:gd name="T40" fmla="*/ 106 w 190"/>
                  <a:gd name="T41" fmla="*/ 139 h 185"/>
                  <a:gd name="T42" fmla="*/ 116 w 190"/>
                  <a:gd name="T43" fmla="*/ 145 h 185"/>
                  <a:gd name="T44" fmla="*/ 132 w 190"/>
                  <a:gd name="T45" fmla="*/ 145 h 185"/>
                  <a:gd name="T46" fmla="*/ 132 w 190"/>
                  <a:gd name="T47" fmla="*/ 132 h 185"/>
                  <a:gd name="T48" fmla="*/ 190 w 190"/>
                  <a:gd name="T49" fmla="*/ 132 h 185"/>
                  <a:gd name="T50" fmla="*/ 190 w 190"/>
                  <a:gd name="T51" fmla="*/ 185 h 185"/>
                  <a:gd name="T52" fmla="*/ 132 w 190"/>
                  <a:gd name="T53" fmla="*/ 185 h 185"/>
                  <a:gd name="T54" fmla="*/ 132 w 190"/>
                  <a:gd name="T55" fmla="*/ 158 h 185"/>
                  <a:gd name="T56" fmla="*/ 116 w 190"/>
                  <a:gd name="T57" fmla="*/ 158 h 185"/>
                  <a:gd name="T58" fmla="*/ 101 w 190"/>
                  <a:gd name="T59" fmla="*/ 169 h 185"/>
                  <a:gd name="T60" fmla="*/ 86 w 190"/>
                  <a:gd name="T61" fmla="*/ 158 h 185"/>
                  <a:gd name="T62" fmla="*/ 40 w 190"/>
                  <a:gd name="T63" fmla="*/ 158 h 185"/>
                  <a:gd name="T64" fmla="*/ 27 w 190"/>
                  <a:gd name="T65" fmla="*/ 158 h 185"/>
                  <a:gd name="T66" fmla="*/ 27 w 190"/>
                  <a:gd name="T67" fmla="*/ 145 h 185"/>
                  <a:gd name="T68" fmla="*/ 27 w 190"/>
                  <a:gd name="T69" fmla="*/ 102 h 185"/>
                  <a:gd name="T70" fmla="*/ 16 w 190"/>
                  <a:gd name="T71" fmla="*/ 86 h 185"/>
                  <a:gd name="T72" fmla="*/ 27 w 190"/>
                  <a:gd name="T73" fmla="*/ 71 h 185"/>
                  <a:gd name="T74" fmla="*/ 27 w 190"/>
                  <a:gd name="T75" fmla="*/ 52 h 185"/>
                  <a:gd name="T76" fmla="*/ 0 w 190"/>
                  <a:gd name="T77" fmla="*/ 52 h 185"/>
                  <a:gd name="T78" fmla="*/ 0 w 190"/>
                  <a:gd name="T7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0" h="185">
                    <a:moveTo>
                      <a:pt x="93" y="119"/>
                    </a:moveTo>
                    <a:cubicBezTo>
                      <a:pt x="71" y="119"/>
                      <a:pt x="71" y="119"/>
                      <a:pt x="71" y="119"/>
                    </a:cubicBezTo>
                    <a:cubicBezTo>
                      <a:pt x="71" y="92"/>
                      <a:pt x="71" y="92"/>
                      <a:pt x="71" y="92"/>
                    </a:cubicBezTo>
                    <a:cubicBezTo>
                      <a:pt x="49" y="92"/>
                      <a:pt x="49" y="92"/>
                      <a:pt x="49" y="92"/>
                    </a:cubicBezTo>
                    <a:cubicBezTo>
                      <a:pt x="47" y="97"/>
                      <a:pt x="44" y="99"/>
                      <a:pt x="40" y="99"/>
                    </a:cubicBezTo>
                    <a:cubicBezTo>
                      <a:pt x="40" y="145"/>
                      <a:pt x="40" y="145"/>
                      <a:pt x="40" y="145"/>
                    </a:cubicBezTo>
                    <a:cubicBezTo>
                      <a:pt x="86" y="145"/>
                      <a:pt x="86" y="145"/>
                      <a:pt x="86" y="145"/>
                    </a:cubicBezTo>
                    <a:cubicBezTo>
                      <a:pt x="88" y="145"/>
                      <a:pt x="88" y="141"/>
                      <a:pt x="93" y="139"/>
                    </a:cubicBezTo>
                    <a:lnTo>
                      <a:pt x="93" y="119"/>
                    </a:lnTo>
                    <a:close/>
                    <a:moveTo>
                      <a:pt x="0" y="0"/>
                    </a:moveTo>
                    <a:cubicBezTo>
                      <a:pt x="53" y="0"/>
                      <a:pt x="53" y="0"/>
                      <a:pt x="53" y="0"/>
                    </a:cubicBezTo>
                    <a:cubicBezTo>
                      <a:pt x="53" y="52"/>
                      <a:pt x="53" y="52"/>
                      <a:pt x="53" y="52"/>
                    </a:cubicBezTo>
                    <a:cubicBezTo>
                      <a:pt x="40" y="52"/>
                      <a:pt x="40" y="52"/>
                      <a:pt x="40" y="52"/>
                    </a:cubicBezTo>
                    <a:cubicBezTo>
                      <a:pt x="40" y="71"/>
                      <a:pt x="40" y="71"/>
                      <a:pt x="40" y="71"/>
                    </a:cubicBezTo>
                    <a:cubicBezTo>
                      <a:pt x="44" y="73"/>
                      <a:pt x="47" y="75"/>
                      <a:pt x="49" y="79"/>
                    </a:cubicBezTo>
                    <a:cubicBezTo>
                      <a:pt x="71" y="79"/>
                      <a:pt x="71" y="79"/>
                      <a:pt x="71" y="79"/>
                    </a:cubicBezTo>
                    <a:cubicBezTo>
                      <a:pt x="71" y="66"/>
                      <a:pt x="71" y="66"/>
                      <a:pt x="71" y="66"/>
                    </a:cubicBezTo>
                    <a:cubicBezTo>
                      <a:pt x="119" y="66"/>
                      <a:pt x="119" y="66"/>
                      <a:pt x="119" y="66"/>
                    </a:cubicBezTo>
                    <a:cubicBezTo>
                      <a:pt x="119" y="119"/>
                      <a:pt x="119" y="119"/>
                      <a:pt x="119" y="119"/>
                    </a:cubicBezTo>
                    <a:cubicBezTo>
                      <a:pt x="106" y="119"/>
                      <a:pt x="106" y="119"/>
                      <a:pt x="106" y="119"/>
                    </a:cubicBezTo>
                    <a:cubicBezTo>
                      <a:pt x="106" y="139"/>
                      <a:pt x="106" y="139"/>
                      <a:pt x="106" y="139"/>
                    </a:cubicBezTo>
                    <a:cubicBezTo>
                      <a:pt x="110" y="141"/>
                      <a:pt x="114" y="145"/>
                      <a:pt x="116" y="145"/>
                    </a:cubicBezTo>
                    <a:cubicBezTo>
                      <a:pt x="132" y="145"/>
                      <a:pt x="132" y="145"/>
                      <a:pt x="132" y="145"/>
                    </a:cubicBezTo>
                    <a:cubicBezTo>
                      <a:pt x="132" y="132"/>
                      <a:pt x="132" y="132"/>
                      <a:pt x="132" y="132"/>
                    </a:cubicBezTo>
                    <a:cubicBezTo>
                      <a:pt x="190" y="132"/>
                      <a:pt x="190" y="132"/>
                      <a:pt x="190" y="132"/>
                    </a:cubicBezTo>
                    <a:cubicBezTo>
                      <a:pt x="190" y="185"/>
                      <a:pt x="190" y="185"/>
                      <a:pt x="190" y="185"/>
                    </a:cubicBezTo>
                    <a:cubicBezTo>
                      <a:pt x="132" y="185"/>
                      <a:pt x="132" y="185"/>
                      <a:pt x="132" y="185"/>
                    </a:cubicBezTo>
                    <a:cubicBezTo>
                      <a:pt x="132" y="158"/>
                      <a:pt x="132" y="158"/>
                      <a:pt x="132" y="158"/>
                    </a:cubicBezTo>
                    <a:cubicBezTo>
                      <a:pt x="116" y="158"/>
                      <a:pt x="116" y="158"/>
                      <a:pt x="116" y="158"/>
                    </a:cubicBezTo>
                    <a:cubicBezTo>
                      <a:pt x="114" y="163"/>
                      <a:pt x="108" y="169"/>
                      <a:pt x="101" y="169"/>
                    </a:cubicBezTo>
                    <a:cubicBezTo>
                      <a:pt x="95" y="169"/>
                      <a:pt x="88" y="163"/>
                      <a:pt x="86" y="158"/>
                    </a:cubicBezTo>
                    <a:cubicBezTo>
                      <a:pt x="40" y="158"/>
                      <a:pt x="40" y="158"/>
                      <a:pt x="40" y="158"/>
                    </a:cubicBezTo>
                    <a:cubicBezTo>
                      <a:pt x="27" y="158"/>
                      <a:pt x="27" y="158"/>
                      <a:pt x="27" y="158"/>
                    </a:cubicBezTo>
                    <a:cubicBezTo>
                      <a:pt x="27" y="145"/>
                      <a:pt x="27" y="145"/>
                      <a:pt x="27" y="145"/>
                    </a:cubicBezTo>
                    <a:cubicBezTo>
                      <a:pt x="27" y="102"/>
                      <a:pt x="27" y="102"/>
                      <a:pt x="27" y="102"/>
                    </a:cubicBezTo>
                    <a:cubicBezTo>
                      <a:pt x="22" y="99"/>
                      <a:pt x="16" y="93"/>
                      <a:pt x="16" y="86"/>
                    </a:cubicBezTo>
                    <a:cubicBezTo>
                      <a:pt x="16" y="78"/>
                      <a:pt x="22" y="73"/>
                      <a:pt x="27" y="71"/>
                    </a:cubicBezTo>
                    <a:cubicBezTo>
                      <a:pt x="27" y="52"/>
                      <a:pt x="27" y="52"/>
                      <a:pt x="27" y="52"/>
                    </a:cubicBezTo>
                    <a:cubicBezTo>
                      <a:pt x="0" y="52"/>
                      <a:pt x="0" y="52"/>
                      <a:pt x="0" y="52"/>
                    </a:cubicBezTo>
                    <a:lnTo>
                      <a:pt x="0" y="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cxnSp>
        <p:nvCxnSpPr>
          <p:cNvPr id="263" name="Straight Arrow Connector 262"/>
          <p:cNvCxnSpPr/>
          <p:nvPr/>
        </p:nvCxnSpPr>
        <p:spPr>
          <a:xfrm>
            <a:off x="8647407" y="3758506"/>
            <a:ext cx="0" cy="1148816"/>
          </a:xfrm>
          <a:prstGeom prst="straightConnector1">
            <a:avLst/>
          </a:prstGeom>
          <a:ln w="57150" cap="rnd">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p:nvPr/>
        </p:nvCxnSpPr>
        <p:spPr>
          <a:xfrm>
            <a:off x="6308652" y="3758506"/>
            <a:ext cx="0" cy="1148816"/>
          </a:xfrm>
          <a:prstGeom prst="straightConnector1">
            <a:avLst/>
          </a:prstGeom>
          <a:ln w="57150" cap="rnd">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bwMode="auto">
          <a:xfrm>
            <a:off x="1" y="1318533"/>
            <a:ext cx="4749806" cy="50187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Text Placeholder 1"/>
          <p:cNvSpPr>
            <a:spLocks noGrp="1"/>
          </p:cNvSpPr>
          <p:nvPr>
            <p:ph type="body" sz="quarter" idx="12"/>
          </p:nvPr>
        </p:nvSpPr>
        <p:spPr>
          <a:xfrm>
            <a:off x="269240" y="313992"/>
            <a:ext cx="10757098" cy="1004541"/>
          </a:xfrm>
        </p:spPr>
        <p:txBody>
          <a:bodyPr/>
          <a:lstStyle/>
          <a:p>
            <a:r>
              <a:rPr lang="en-US" dirty="0" smtClean="0"/>
              <a:t>Reimagine networking </a:t>
            </a:r>
            <a:endParaRPr lang="en-US" dirty="0"/>
          </a:p>
        </p:txBody>
      </p:sp>
      <p:sp>
        <p:nvSpPr>
          <p:cNvPr id="257" name="Rectangle 256"/>
          <p:cNvSpPr/>
          <p:nvPr/>
        </p:nvSpPr>
        <p:spPr>
          <a:xfrm>
            <a:off x="312175" y="2397202"/>
            <a:ext cx="2241062" cy="1800975"/>
          </a:xfrm>
          <a:prstGeom prst="rect">
            <a:avLst/>
          </a:prstGeom>
          <a:solidFill>
            <a:srgbClr val="D9D9D9"/>
          </a:solidFill>
        </p:spPr>
        <p:txBody>
          <a:bodyPr wrap="square" lIns="87815" tIns="43908" rIns="87815" bIns="43908" anchor="ctr">
            <a:noAutofit/>
          </a:bodyPr>
          <a:lstStyle/>
          <a:p>
            <a:pPr algn="ctr" defTabSz="895343"/>
            <a:endParaRPr lang="en-US" sz="1372" spc="-49" dirty="0">
              <a:solidFill>
                <a:srgbClr val="FFFFFF"/>
              </a:solidFill>
            </a:endParaRPr>
          </a:p>
        </p:txBody>
      </p:sp>
      <p:sp>
        <p:nvSpPr>
          <p:cNvPr id="258" name="Rectangle 257"/>
          <p:cNvSpPr/>
          <p:nvPr/>
        </p:nvSpPr>
        <p:spPr>
          <a:xfrm>
            <a:off x="2553237" y="2397202"/>
            <a:ext cx="2241062" cy="1800975"/>
          </a:xfrm>
          <a:prstGeom prst="rect">
            <a:avLst/>
          </a:prstGeom>
          <a:solidFill>
            <a:srgbClr val="F2F2F2"/>
          </a:solidFill>
        </p:spPr>
        <p:txBody>
          <a:bodyPr wrap="square" lIns="87815" tIns="43908" rIns="87815" bIns="43908" anchor="ctr">
            <a:noAutofit/>
          </a:bodyPr>
          <a:lstStyle/>
          <a:p>
            <a:pPr algn="ctr" defTabSz="895343"/>
            <a:endParaRPr lang="en-US" sz="1372" spc="-49" dirty="0">
              <a:solidFill>
                <a:srgbClr val="FFFFFF"/>
              </a:solidFill>
            </a:endParaRPr>
          </a:p>
        </p:txBody>
      </p:sp>
      <p:sp>
        <p:nvSpPr>
          <p:cNvPr id="195" name="Title 2"/>
          <p:cNvSpPr txBox="1">
            <a:spLocks/>
          </p:cNvSpPr>
          <p:nvPr/>
        </p:nvSpPr>
        <p:spPr>
          <a:xfrm>
            <a:off x="312175" y="1508212"/>
            <a:ext cx="4482124" cy="549558"/>
          </a:xfrm>
          <a:prstGeom prst="rect">
            <a:avLst/>
          </a:prstGeom>
          <a:noFill/>
        </p:spPr>
        <p:txBody>
          <a:bodyPr vert="horz" wrap="square" lIns="140450" tIns="87782" rIns="140450" bIns="87782" rtlCol="0" anchor="t">
            <a:noAutofit/>
          </a:bodyPr>
          <a:lstStyle>
            <a:lvl1pPr algn="l" defTabSz="931690" rtl="0" eaLnBrk="1" latinLnBrk="0" hangingPunct="1">
              <a:lnSpc>
                <a:spcPts val="6300"/>
              </a:lnSpc>
              <a:spcBef>
                <a:spcPct val="0"/>
              </a:spcBef>
              <a:buNone/>
              <a:defRPr lang="en-US" sz="5800" b="0" kern="1200" cap="none" spc="-102" baseline="0">
                <a:ln w="3175">
                  <a:noFill/>
                </a:ln>
                <a:solidFill>
                  <a:schemeClr val="accent1"/>
                </a:solidFill>
                <a:effectLst/>
                <a:latin typeface="+mj-lt"/>
                <a:ea typeface="+mn-ea"/>
                <a:cs typeface="Segoe UI" pitchFamily="34" charset="0"/>
              </a:defRPr>
            </a:lvl1pPr>
          </a:lstStyle>
          <a:p>
            <a:pPr>
              <a:lnSpc>
                <a:spcPct val="90000"/>
              </a:lnSpc>
              <a:spcAft>
                <a:spcPts val="588"/>
              </a:spcAft>
            </a:pPr>
            <a:r>
              <a:rPr sz="2745" spc="-49" dirty="0">
                <a:solidFill>
                  <a:srgbClr val="505050"/>
                </a:solidFill>
              </a:rPr>
              <a:t>Server virtualization</a:t>
            </a:r>
          </a:p>
        </p:txBody>
      </p:sp>
      <p:grpSp>
        <p:nvGrpSpPr>
          <p:cNvPr id="182" name="Group 181"/>
          <p:cNvGrpSpPr/>
          <p:nvPr/>
        </p:nvGrpSpPr>
        <p:grpSpPr>
          <a:xfrm>
            <a:off x="1035896" y="2929885"/>
            <a:ext cx="793620" cy="742352"/>
            <a:chOff x="9586913" y="2466975"/>
            <a:chExt cx="1228725" cy="1149350"/>
          </a:xfrm>
          <a:solidFill>
            <a:schemeClr val="accent6"/>
          </a:solidFill>
        </p:grpSpPr>
        <p:sp>
          <p:nvSpPr>
            <p:cNvPr id="119" name="Freeform 5"/>
            <p:cNvSpPr>
              <a:spLocks noEditPoints="1"/>
            </p:cNvSpPr>
            <p:nvPr/>
          </p:nvSpPr>
          <p:spPr bwMode="auto">
            <a:xfrm>
              <a:off x="9718676" y="2598738"/>
              <a:ext cx="965200" cy="280988"/>
            </a:xfrm>
            <a:custGeom>
              <a:avLst/>
              <a:gdLst>
                <a:gd name="T0" fmla="*/ 239 w 255"/>
                <a:gd name="T1" fmla="*/ 0 h 74"/>
                <a:gd name="T2" fmla="*/ 0 w 255"/>
                <a:gd name="T3" fmla="*/ 17 h 74"/>
                <a:gd name="T4" fmla="*/ 17 w 255"/>
                <a:gd name="T5" fmla="*/ 74 h 74"/>
                <a:gd name="T6" fmla="*/ 255 w 255"/>
                <a:gd name="T7" fmla="*/ 58 h 74"/>
                <a:gd name="T8" fmla="*/ 27 w 255"/>
                <a:gd name="T9" fmla="*/ 57 h 74"/>
                <a:gd name="T10" fmla="*/ 18 w 255"/>
                <a:gd name="T11" fmla="*/ 49 h 74"/>
                <a:gd name="T12" fmla="*/ 27 w 255"/>
                <a:gd name="T13" fmla="*/ 57 h 74"/>
                <a:gd name="T14" fmla="*/ 18 w 255"/>
                <a:gd name="T15" fmla="*/ 40 h 74"/>
                <a:gd name="T16" fmla="*/ 27 w 255"/>
                <a:gd name="T17" fmla="*/ 31 h 74"/>
                <a:gd name="T18" fmla="*/ 27 w 255"/>
                <a:gd name="T19" fmla="*/ 23 h 74"/>
                <a:gd name="T20" fmla="*/ 18 w 255"/>
                <a:gd name="T21" fmla="*/ 14 h 74"/>
                <a:gd name="T22" fmla="*/ 27 w 255"/>
                <a:gd name="T23" fmla="*/ 23 h 74"/>
                <a:gd name="T24" fmla="*/ 37 w 255"/>
                <a:gd name="T25" fmla="*/ 57 h 74"/>
                <a:gd name="T26" fmla="*/ 46 w 255"/>
                <a:gd name="T27" fmla="*/ 49 h 74"/>
                <a:gd name="T28" fmla="*/ 46 w 255"/>
                <a:gd name="T29" fmla="*/ 40 h 74"/>
                <a:gd name="T30" fmla="*/ 37 w 255"/>
                <a:gd name="T31" fmla="*/ 31 h 74"/>
                <a:gd name="T32" fmla="*/ 46 w 255"/>
                <a:gd name="T33" fmla="*/ 40 h 74"/>
                <a:gd name="T34" fmla="*/ 37 w 255"/>
                <a:gd name="T35" fmla="*/ 23 h 74"/>
                <a:gd name="T36" fmla="*/ 46 w 255"/>
                <a:gd name="T37" fmla="*/ 14 h 74"/>
                <a:gd name="T38" fmla="*/ 65 w 255"/>
                <a:gd name="T39" fmla="*/ 57 h 74"/>
                <a:gd name="T40" fmla="*/ 56 w 255"/>
                <a:gd name="T41" fmla="*/ 49 h 74"/>
                <a:gd name="T42" fmla="*/ 65 w 255"/>
                <a:gd name="T43" fmla="*/ 57 h 74"/>
                <a:gd name="T44" fmla="*/ 56 w 255"/>
                <a:gd name="T45" fmla="*/ 40 h 74"/>
                <a:gd name="T46" fmla="*/ 65 w 255"/>
                <a:gd name="T47" fmla="*/ 31 h 74"/>
                <a:gd name="T48" fmla="*/ 65 w 255"/>
                <a:gd name="T49" fmla="*/ 23 h 74"/>
                <a:gd name="T50" fmla="*/ 56 w 255"/>
                <a:gd name="T51" fmla="*/ 14 h 74"/>
                <a:gd name="T52" fmla="*/ 65 w 255"/>
                <a:gd name="T53" fmla="*/ 23 h 74"/>
                <a:gd name="T54" fmla="*/ 75 w 255"/>
                <a:gd name="T55" fmla="*/ 57 h 74"/>
                <a:gd name="T56" fmla="*/ 83 w 255"/>
                <a:gd name="T57" fmla="*/ 49 h 74"/>
                <a:gd name="T58" fmla="*/ 83 w 255"/>
                <a:gd name="T59" fmla="*/ 40 h 74"/>
                <a:gd name="T60" fmla="*/ 75 w 255"/>
                <a:gd name="T61" fmla="*/ 31 h 74"/>
                <a:gd name="T62" fmla="*/ 83 w 255"/>
                <a:gd name="T63" fmla="*/ 40 h 74"/>
                <a:gd name="T64" fmla="*/ 75 w 255"/>
                <a:gd name="T65" fmla="*/ 23 h 74"/>
                <a:gd name="T66" fmla="*/ 83 w 255"/>
                <a:gd name="T67" fmla="*/ 14 h 74"/>
                <a:gd name="T68" fmla="*/ 102 w 255"/>
                <a:gd name="T69" fmla="*/ 57 h 74"/>
                <a:gd name="T70" fmla="*/ 94 w 255"/>
                <a:gd name="T71" fmla="*/ 49 h 74"/>
                <a:gd name="T72" fmla="*/ 102 w 255"/>
                <a:gd name="T73" fmla="*/ 57 h 74"/>
                <a:gd name="T74" fmla="*/ 94 w 255"/>
                <a:gd name="T75" fmla="*/ 40 h 74"/>
                <a:gd name="T76" fmla="*/ 102 w 255"/>
                <a:gd name="T77" fmla="*/ 31 h 74"/>
                <a:gd name="T78" fmla="*/ 102 w 255"/>
                <a:gd name="T79" fmla="*/ 23 h 74"/>
                <a:gd name="T80" fmla="*/ 94 w 255"/>
                <a:gd name="T81" fmla="*/ 14 h 74"/>
                <a:gd name="T82" fmla="*/ 102 w 255"/>
                <a:gd name="T83" fmla="*/ 23 h 74"/>
                <a:gd name="T84" fmla="*/ 112 w 255"/>
                <a:gd name="T85" fmla="*/ 57 h 74"/>
                <a:gd name="T86" fmla="*/ 121 w 255"/>
                <a:gd name="T87" fmla="*/ 49 h 74"/>
                <a:gd name="T88" fmla="*/ 121 w 255"/>
                <a:gd name="T89" fmla="*/ 40 h 74"/>
                <a:gd name="T90" fmla="*/ 112 w 255"/>
                <a:gd name="T91" fmla="*/ 31 h 74"/>
                <a:gd name="T92" fmla="*/ 121 w 255"/>
                <a:gd name="T93" fmla="*/ 40 h 74"/>
                <a:gd name="T94" fmla="*/ 112 w 255"/>
                <a:gd name="T95" fmla="*/ 23 h 74"/>
                <a:gd name="T96" fmla="*/ 121 w 255"/>
                <a:gd name="T97" fmla="*/ 14 h 74"/>
                <a:gd name="T98" fmla="*/ 140 w 255"/>
                <a:gd name="T99" fmla="*/ 57 h 74"/>
                <a:gd name="T100" fmla="*/ 131 w 255"/>
                <a:gd name="T101" fmla="*/ 49 h 74"/>
                <a:gd name="T102" fmla="*/ 140 w 255"/>
                <a:gd name="T103" fmla="*/ 57 h 74"/>
                <a:gd name="T104" fmla="*/ 131 w 255"/>
                <a:gd name="T105" fmla="*/ 40 h 74"/>
                <a:gd name="T106" fmla="*/ 140 w 255"/>
                <a:gd name="T107" fmla="*/ 31 h 74"/>
                <a:gd name="T108" fmla="*/ 140 w 255"/>
                <a:gd name="T109" fmla="*/ 23 h 74"/>
                <a:gd name="T110" fmla="*/ 131 w 255"/>
                <a:gd name="T111" fmla="*/ 14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7"/>
                  </a:moveTo>
                  <a:cubicBezTo>
                    <a:pt x="255" y="7"/>
                    <a:pt x="248" y="0"/>
                    <a:pt x="239" y="0"/>
                  </a:cubicBezTo>
                  <a:cubicBezTo>
                    <a:pt x="17" y="0"/>
                    <a:pt x="17" y="0"/>
                    <a:pt x="17" y="0"/>
                  </a:cubicBezTo>
                  <a:cubicBezTo>
                    <a:pt x="8" y="0"/>
                    <a:pt x="0" y="7"/>
                    <a:pt x="0" y="17"/>
                  </a:cubicBezTo>
                  <a:cubicBezTo>
                    <a:pt x="0" y="58"/>
                    <a:pt x="0" y="58"/>
                    <a:pt x="0" y="58"/>
                  </a:cubicBezTo>
                  <a:cubicBezTo>
                    <a:pt x="0" y="67"/>
                    <a:pt x="8" y="74"/>
                    <a:pt x="17" y="74"/>
                  </a:cubicBezTo>
                  <a:cubicBezTo>
                    <a:pt x="239" y="74"/>
                    <a:pt x="239" y="74"/>
                    <a:pt x="239" y="74"/>
                  </a:cubicBezTo>
                  <a:cubicBezTo>
                    <a:pt x="248" y="74"/>
                    <a:pt x="255" y="67"/>
                    <a:pt x="255" y="58"/>
                  </a:cubicBezTo>
                  <a:lnTo>
                    <a:pt x="255" y="17"/>
                  </a:lnTo>
                  <a:close/>
                  <a:moveTo>
                    <a:pt x="27" y="57"/>
                  </a:moveTo>
                  <a:cubicBezTo>
                    <a:pt x="18" y="57"/>
                    <a:pt x="18" y="57"/>
                    <a:pt x="18" y="57"/>
                  </a:cubicBezTo>
                  <a:cubicBezTo>
                    <a:pt x="18" y="49"/>
                    <a:pt x="18" y="49"/>
                    <a:pt x="18" y="49"/>
                  </a:cubicBezTo>
                  <a:cubicBezTo>
                    <a:pt x="27" y="49"/>
                    <a:pt x="27" y="49"/>
                    <a:pt x="27" y="49"/>
                  </a:cubicBezTo>
                  <a:lnTo>
                    <a:pt x="27" y="57"/>
                  </a:lnTo>
                  <a:close/>
                  <a:moveTo>
                    <a:pt x="27" y="40"/>
                  </a:moveTo>
                  <a:cubicBezTo>
                    <a:pt x="18" y="40"/>
                    <a:pt x="18" y="40"/>
                    <a:pt x="18" y="40"/>
                  </a:cubicBezTo>
                  <a:cubicBezTo>
                    <a:pt x="18" y="31"/>
                    <a:pt x="18" y="31"/>
                    <a:pt x="18" y="31"/>
                  </a:cubicBezTo>
                  <a:cubicBezTo>
                    <a:pt x="27" y="31"/>
                    <a:pt x="27" y="31"/>
                    <a:pt x="27" y="31"/>
                  </a:cubicBezTo>
                  <a:lnTo>
                    <a:pt x="27" y="40"/>
                  </a:lnTo>
                  <a:close/>
                  <a:moveTo>
                    <a:pt x="27" y="23"/>
                  </a:moveTo>
                  <a:cubicBezTo>
                    <a:pt x="18" y="23"/>
                    <a:pt x="18" y="23"/>
                    <a:pt x="18" y="23"/>
                  </a:cubicBezTo>
                  <a:cubicBezTo>
                    <a:pt x="18" y="14"/>
                    <a:pt x="18" y="14"/>
                    <a:pt x="18" y="14"/>
                  </a:cubicBezTo>
                  <a:cubicBezTo>
                    <a:pt x="27" y="14"/>
                    <a:pt x="27" y="14"/>
                    <a:pt x="27" y="14"/>
                  </a:cubicBezTo>
                  <a:lnTo>
                    <a:pt x="27" y="23"/>
                  </a:lnTo>
                  <a:close/>
                  <a:moveTo>
                    <a:pt x="46" y="57"/>
                  </a:moveTo>
                  <a:cubicBezTo>
                    <a:pt x="37" y="57"/>
                    <a:pt x="37" y="57"/>
                    <a:pt x="37" y="57"/>
                  </a:cubicBezTo>
                  <a:cubicBezTo>
                    <a:pt x="37" y="49"/>
                    <a:pt x="37" y="49"/>
                    <a:pt x="37" y="49"/>
                  </a:cubicBezTo>
                  <a:cubicBezTo>
                    <a:pt x="46" y="49"/>
                    <a:pt x="46" y="49"/>
                    <a:pt x="46" y="49"/>
                  </a:cubicBezTo>
                  <a:lnTo>
                    <a:pt x="46" y="57"/>
                  </a:lnTo>
                  <a:close/>
                  <a:moveTo>
                    <a:pt x="46" y="40"/>
                  </a:moveTo>
                  <a:cubicBezTo>
                    <a:pt x="37" y="40"/>
                    <a:pt x="37" y="40"/>
                    <a:pt x="37" y="40"/>
                  </a:cubicBezTo>
                  <a:cubicBezTo>
                    <a:pt x="37" y="31"/>
                    <a:pt x="37" y="31"/>
                    <a:pt x="37" y="31"/>
                  </a:cubicBezTo>
                  <a:cubicBezTo>
                    <a:pt x="46" y="31"/>
                    <a:pt x="46" y="31"/>
                    <a:pt x="46" y="31"/>
                  </a:cubicBezTo>
                  <a:lnTo>
                    <a:pt x="46" y="40"/>
                  </a:lnTo>
                  <a:close/>
                  <a:moveTo>
                    <a:pt x="46" y="23"/>
                  </a:moveTo>
                  <a:cubicBezTo>
                    <a:pt x="37" y="23"/>
                    <a:pt x="37" y="23"/>
                    <a:pt x="37" y="23"/>
                  </a:cubicBezTo>
                  <a:cubicBezTo>
                    <a:pt x="37" y="14"/>
                    <a:pt x="37" y="14"/>
                    <a:pt x="37" y="14"/>
                  </a:cubicBezTo>
                  <a:cubicBezTo>
                    <a:pt x="46" y="14"/>
                    <a:pt x="46" y="14"/>
                    <a:pt x="46" y="14"/>
                  </a:cubicBezTo>
                  <a:lnTo>
                    <a:pt x="46" y="23"/>
                  </a:lnTo>
                  <a:close/>
                  <a:moveTo>
                    <a:pt x="65" y="57"/>
                  </a:moveTo>
                  <a:cubicBezTo>
                    <a:pt x="56" y="57"/>
                    <a:pt x="56" y="57"/>
                    <a:pt x="56" y="57"/>
                  </a:cubicBezTo>
                  <a:cubicBezTo>
                    <a:pt x="56" y="49"/>
                    <a:pt x="56" y="49"/>
                    <a:pt x="56" y="49"/>
                  </a:cubicBezTo>
                  <a:cubicBezTo>
                    <a:pt x="65" y="49"/>
                    <a:pt x="65" y="49"/>
                    <a:pt x="65" y="49"/>
                  </a:cubicBezTo>
                  <a:lnTo>
                    <a:pt x="65" y="57"/>
                  </a:lnTo>
                  <a:close/>
                  <a:moveTo>
                    <a:pt x="65" y="40"/>
                  </a:moveTo>
                  <a:cubicBezTo>
                    <a:pt x="56" y="40"/>
                    <a:pt x="56" y="40"/>
                    <a:pt x="56" y="40"/>
                  </a:cubicBezTo>
                  <a:cubicBezTo>
                    <a:pt x="56" y="31"/>
                    <a:pt x="56" y="31"/>
                    <a:pt x="56" y="31"/>
                  </a:cubicBezTo>
                  <a:cubicBezTo>
                    <a:pt x="65" y="31"/>
                    <a:pt x="65" y="31"/>
                    <a:pt x="65" y="31"/>
                  </a:cubicBezTo>
                  <a:lnTo>
                    <a:pt x="65" y="40"/>
                  </a:lnTo>
                  <a:close/>
                  <a:moveTo>
                    <a:pt x="65" y="23"/>
                  </a:moveTo>
                  <a:cubicBezTo>
                    <a:pt x="56" y="23"/>
                    <a:pt x="56" y="23"/>
                    <a:pt x="56" y="23"/>
                  </a:cubicBezTo>
                  <a:cubicBezTo>
                    <a:pt x="56" y="14"/>
                    <a:pt x="56" y="14"/>
                    <a:pt x="56" y="14"/>
                  </a:cubicBezTo>
                  <a:cubicBezTo>
                    <a:pt x="65" y="14"/>
                    <a:pt x="65" y="14"/>
                    <a:pt x="65" y="14"/>
                  </a:cubicBezTo>
                  <a:lnTo>
                    <a:pt x="65" y="23"/>
                  </a:lnTo>
                  <a:close/>
                  <a:moveTo>
                    <a:pt x="83" y="57"/>
                  </a:moveTo>
                  <a:cubicBezTo>
                    <a:pt x="75" y="57"/>
                    <a:pt x="75" y="57"/>
                    <a:pt x="75" y="57"/>
                  </a:cubicBezTo>
                  <a:cubicBezTo>
                    <a:pt x="75" y="49"/>
                    <a:pt x="75" y="49"/>
                    <a:pt x="75" y="49"/>
                  </a:cubicBezTo>
                  <a:cubicBezTo>
                    <a:pt x="83" y="49"/>
                    <a:pt x="83" y="49"/>
                    <a:pt x="83" y="49"/>
                  </a:cubicBezTo>
                  <a:lnTo>
                    <a:pt x="83" y="57"/>
                  </a:lnTo>
                  <a:close/>
                  <a:moveTo>
                    <a:pt x="83" y="40"/>
                  </a:moveTo>
                  <a:cubicBezTo>
                    <a:pt x="75" y="40"/>
                    <a:pt x="75" y="40"/>
                    <a:pt x="75" y="40"/>
                  </a:cubicBezTo>
                  <a:cubicBezTo>
                    <a:pt x="75" y="31"/>
                    <a:pt x="75" y="31"/>
                    <a:pt x="75" y="31"/>
                  </a:cubicBezTo>
                  <a:cubicBezTo>
                    <a:pt x="83" y="31"/>
                    <a:pt x="83" y="31"/>
                    <a:pt x="83" y="31"/>
                  </a:cubicBezTo>
                  <a:lnTo>
                    <a:pt x="83" y="40"/>
                  </a:lnTo>
                  <a:close/>
                  <a:moveTo>
                    <a:pt x="83" y="23"/>
                  </a:moveTo>
                  <a:cubicBezTo>
                    <a:pt x="75" y="23"/>
                    <a:pt x="75" y="23"/>
                    <a:pt x="75" y="23"/>
                  </a:cubicBezTo>
                  <a:cubicBezTo>
                    <a:pt x="75" y="14"/>
                    <a:pt x="75" y="14"/>
                    <a:pt x="75" y="14"/>
                  </a:cubicBezTo>
                  <a:cubicBezTo>
                    <a:pt x="83" y="14"/>
                    <a:pt x="83" y="14"/>
                    <a:pt x="83" y="14"/>
                  </a:cubicBezTo>
                  <a:lnTo>
                    <a:pt x="83" y="23"/>
                  </a:lnTo>
                  <a:close/>
                  <a:moveTo>
                    <a:pt x="102" y="57"/>
                  </a:moveTo>
                  <a:cubicBezTo>
                    <a:pt x="94" y="57"/>
                    <a:pt x="94" y="57"/>
                    <a:pt x="94" y="57"/>
                  </a:cubicBezTo>
                  <a:cubicBezTo>
                    <a:pt x="94" y="49"/>
                    <a:pt x="94" y="49"/>
                    <a:pt x="94" y="49"/>
                  </a:cubicBezTo>
                  <a:cubicBezTo>
                    <a:pt x="102" y="49"/>
                    <a:pt x="102" y="49"/>
                    <a:pt x="102" y="49"/>
                  </a:cubicBezTo>
                  <a:lnTo>
                    <a:pt x="102" y="57"/>
                  </a:lnTo>
                  <a:close/>
                  <a:moveTo>
                    <a:pt x="102" y="40"/>
                  </a:moveTo>
                  <a:cubicBezTo>
                    <a:pt x="94" y="40"/>
                    <a:pt x="94" y="40"/>
                    <a:pt x="94" y="40"/>
                  </a:cubicBezTo>
                  <a:cubicBezTo>
                    <a:pt x="94" y="31"/>
                    <a:pt x="94" y="31"/>
                    <a:pt x="94" y="31"/>
                  </a:cubicBezTo>
                  <a:cubicBezTo>
                    <a:pt x="102" y="31"/>
                    <a:pt x="102" y="31"/>
                    <a:pt x="102" y="31"/>
                  </a:cubicBezTo>
                  <a:lnTo>
                    <a:pt x="102" y="40"/>
                  </a:lnTo>
                  <a:close/>
                  <a:moveTo>
                    <a:pt x="102" y="23"/>
                  </a:moveTo>
                  <a:cubicBezTo>
                    <a:pt x="94" y="23"/>
                    <a:pt x="94" y="23"/>
                    <a:pt x="94" y="23"/>
                  </a:cubicBezTo>
                  <a:cubicBezTo>
                    <a:pt x="94" y="14"/>
                    <a:pt x="94" y="14"/>
                    <a:pt x="94" y="14"/>
                  </a:cubicBezTo>
                  <a:cubicBezTo>
                    <a:pt x="102" y="14"/>
                    <a:pt x="102" y="14"/>
                    <a:pt x="102" y="14"/>
                  </a:cubicBezTo>
                  <a:lnTo>
                    <a:pt x="102" y="23"/>
                  </a:lnTo>
                  <a:close/>
                  <a:moveTo>
                    <a:pt x="121" y="57"/>
                  </a:moveTo>
                  <a:cubicBezTo>
                    <a:pt x="112" y="57"/>
                    <a:pt x="112" y="57"/>
                    <a:pt x="112" y="57"/>
                  </a:cubicBezTo>
                  <a:cubicBezTo>
                    <a:pt x="112" y="49"/>
                    <a:pt x="112" y="49"/>
                    <a:pt x="112" y="49"/>
                  </a:cubicBezTo>
                  <a:cubicBezTo>
                    <a:pt x="121" y="49"/>
                    <a:pt x="121" y="49"/>
                    <a:pt x="121" y="49"/>
                  </a:cubicBezTo>
                  <a:lnTo>
                    <a:pt x="121" y="57"/>
                  </a:lnTo>
                  <a:close/>
                  <a:moveTo>
                    <a:pt x="121" y="40"/>
                  </a:moveTo>
                  <a:cubicBezTo>
                    <a:pt x="112" y="40"/>
                    <a:pt x="112" y="40"/>
                    <a:pt x="112" y="40"/>
                  </a:cubicBezTo>
                  <a:cubicBezTo>
                    <a:pt x="112" y="31"/>
                    <a:pt x="112" y="31"/>
                    <a:pt x="112" y="31"/>
                  </a:cubicBezTo>
                  <a:cubicBezTo>
                    <a:pt x="121" y="31"/>
                    <a:pt x="121" y="31"/>
                    <a:pt x="121" y="31"/>
                  </a:cubicBezTo>
                  <a:lnTo>
                    <a:pt x="121" y="40"/>
                  </a:lnTo>
                  <a:close/>
                  <a:moveTo>
                    <a:pt x="121" y="23"/>
                  </a:moveTo>
                  <a:cubicBezTo>
                    <a:pt x="112" y="23"/>
                    <a:pt x="112" y="23"/>
                    <a:pt x="112" y="23"/>
                  </a:cubicBezTo>
                  <a:cubicBezTo>
                    <a:pt x="112" y="14"/>
                    <a:pt x="112" y="14"/>
                    <a:pt x="112" y="14"/>
                  </a:cubicBezTo>
                  <a:cubicBezTo>
                    <a:pt x="121" y="14"/>
                    <a:pt x="121" y="14"/>
                    <a:pt x="121" y="14"/>
                  </a:cubicBezTo>
                  <a:lnTo>
                    <a:pt x="121" y="23"/>
                  </a:lnTo>
                  <a:close/>
                  <a:moveTo>
                    <a:pt x="140" y="57"/>
                  </a:moveTo>
                  <a:cubicBezTo>
                    <a:pt x="131" y="57"/>
                    <a:pt x="131" y="57"/>
                    <a:pt x="131" y="57"/>
                  </a:cubicBezTo>
                  <a:cubicBezTo>
                    <a:pt x="131" y="49"/>
                    <a:pt x="131" y="49"/>
                    <a:pt x="131" y="49"/>
                  </a:cubicBezTo>
                  <a:cubicBezTo>
                    <a:pt x="140" y="49"/>
                    <a:pt x="140" y="49"/>
                    <a:pt x="140" y="49"/>
                  </a:cubicBezTo>
                  <a:lnTo>
                    <a:pt x="140" y="57"/>
                  </a:lnTo>
                  <a:close/>
                  <a:moveTo>
                    <a:pt x="140" y="40"/>
                  </a:moveTo>
                  <a:cubicBezTo>
                    <a:pt x="131" y="40"/>
                    <a:pt x="131" y="40"/>
                    <a:pt x="131" y="40"/>
                  </a:cubicBezTo>
                  <a:cubicBezTo>
                    <a:pt x="131" y="31"/>
                    <a:pt x="131" y="31"/>
                    <a:pt x="131" y="31"/>
                  </a:cubicBezTo>
                  <a:cubicBezTo>
                    <a:pt x="140" y="31"/>
                    <a:pt x="140" y="31"/>
                    <a:pt x="140" y="31"/>
                  </a:cubicBezTo>
                  <a:lnTo>
                    <a:pt x="140" y="40"/>
                  </a:lnTo>
                  <a:close/>
                  <a:moveTo>
                    <a:pt x="140" y="23"/>
                  </a:moveTo>
                  <a:cubicBezTo>
                    <a:pt x="131" y="23"/>
                    <a:pt x="131" y="23"/>
                    <a:pt x="131" y="23"/>
                  </a:cubicBezTo>
                  <a:cubicBezTo>
                    <a:pt x="131" y="14"/>
                    <a:pt x="131" y="14"/>
                    <a:pt x="131" y="14"/>
                  </a:cubicBezTo>
                  <a:cubicBezTo>
                    <a:pt x="140" y="14"/>
                    <a:pt x="140" y="14"/>
                    <a:pt x="140" y="14"/>
                  </a:cubicBezTo>
                  <a:lnTo>
                    <a:pt x="140" y="23"/>
                  </a:lnTo>
                  <a:close/>
                  <a:moveTo>
                    <a:pt x="215" y="53"/>
                  </a:moveTo>
                  <a:cubicBezTo>
                    <a:pt x="205" y="53"/>
                    <a:pt x="197" y="45"/>
                    <a:pt x="197" y="36"/>
                  </a:cubicBezTo>
                  <a:cubicBezTo>
                    <a:pt x="197" y="26"/>
                    <a:pt x="205" y="18"/>
                    <a:pt x="215" y="18"/>
                  </a:cubicBezTo>
                  <a:cubicBezTo>
                    <a:pt x="224" y="18"/>
                    <a:pt x="232" y="26"/>
                    <a:pt x="232" y="36"/>
                  </a:cubicBezTo>
                  <a:cubicBezTo>
                    <a:pt x="232" y="45"/>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8" name="Freeform 6"/>
            <p:cNvSpPr>
              <a:spLocks noEditPoints="1"/>
            </p:cNvSpPr>
            <p:nvPr/>
          </p:nvSpPr>
          <p:spPr bwMode="auto">
            <a:xfrm>
              <a:off x="9718676" y="2901950"/>
              <a:ext cx="965200" cy="279400"/>
            </a:xfrm>
            <a:custGeom>
              <a:avLst/>
              <a:gdLst>
                <a:gd name="T0" fmla="*/ 239 w 255"/>
                <a:gd name="T1" fmla="*/ 0 h 74"/>
                <a:gd name="T2" fmla="*/ 0 w 255"/>
                <a:gd name="T3" fmla="*/ 17 h 74"/>
                <a:gd name="T4" fmla="*/ 17 w 255"/>
                <a:gd name="T5" fmla="*/ 74 h 74"/>
                <a:gd name="T6" fmla="*/ 255 w 255"/>
                <a:gd name="T7" fmla="*/ 57 h 74"/>
                <a:gd name="T8" fmla="*/ 27 w 255"/>
                <a:gd name="T9" fmla="*/ 58 h 74"/>
                <a:gd name="T10" fmla="*/ 18 w 255"/>
                <a:gd name="T11" fmla="*/ 49 h 74"/>
                <a:gd name="T12" fmla="*/ 27 w 255"/>
                <a:gd name="T13" fmla="*/ 58 h 74"/>
                <a:gd name="T14" fmla="*/ 18 w 255"/>
                <a:gd name="T15" fmla="*/ 41 h 74"/>
                <a:gd name="T16" fmla="*/ 27 w 255"/>
                <a:gd name="T17" fmla="*/ 32 h 74"/>
                <a:gd name="T18" fmla="*/ 27 w 255"/>
                <a:gd name="T19" fmla="*/ 23 h 74"/>
                <a:gd name="T20" fmla="*/ 18 w 255"/>
                <a:gd name="T21" fmla="*/ 15 h 74"/>
                <a:gd name="T22" fmla="*/ 27 w 255"/>
                <a:gd name="T23" fmla="*/ 23 h 74"/>
                <a:gd name="T24" fmla="*/ 37 w 255"/>
                <a:gd name="T25" fmla="*/ 58 h 74"/>
                <a:gd name="T26" fmla="*/ 46 w 255"/>
                <a:gd name="T27" fmla="*/ 49 h 74"/>
                <a:gd name="T28" fmla="*/ 46 w 255"/>
                <a:gd name="T29" fmla="*/ 41 h 74"/>
                <a:gd name="T30" fmla="*/ 37 w 255"/>
                <a:gd name="T31" fmla="*/ 32 h 74"/>
                <a:gd name="T32" fmla="*/ 46 w 255"/>
                <a:gd name="T33" fmla="*/ 41 h 74"/>
                <a:gd name="T34" fmla="*/ 37 w 255"/>
                <a:gd name="T35" fmla="*/ 23 h 74"/>
                <a:gd name="T36" fmla="*/ 46 w 255"/>
                <a:gd name="T37" fmla="*/ 15 h 74"/>
                <a:gd name="T38" fmla="*/ 65 w 255"/>
                <a:gd name="T39" fmla="*/ 58 h 74"/>
                <a:gd name="T40" fmla="*/ 56 w 255"/>
                <a:gd name="T41" fmla="*/ 49 h 74"/>
                <a:gd name="T42" fmla="*/ 65 w 255"/>
                <a:gd name="T43" fmla="*/ 58 h 74"/>
                <a:gd name="T44" fmla="*/ 56 w 255"/>
                <a:gd name="T45" fmla="*/ 41 h 74"/>
                <a:gd name="T46" fmla="*/ 65 w 255"/>
                <a:gd name="T47" fmla="*/ 32 h 74"/>
                <a:gd name="T48" fmla="*/ 65 w 255"/>
                <a:gd name="T49" fmla="*/ 23 h 74"/>
                <a:gd name="T50" fmla="*/ 56 w 255"/>
                <a:gd name="T51" fmla="*/ 15 h 74"/>
                <a:gd name="T52" fmla="*/ 65 w 255"/>
                <a:gd name="T53" fmla="*/ 23 h 74"/>
                <a:gd name="T54" fmla="*/ 75 w 255"/>
                <a:gd name="T55" fmla="*/ 58 h 74"/>
                <a:gd name="T56" fmla="*/ 83 w 255"/>
                <a:gd name="T57" fmla="*/ 49 h 74"/>
                <a:gd name="T58" fmla="*/ 83 w 255"/>
                <a:gd name="T59" fmla="*/ 41 h 74"/>
                <a:gd name="T60" fmla="*/ 75 w 255"/>
                <a:gd name="T61" fmla="*/ 32 h 74"/>
                <a:gd name="T62" fmla="*/ 83 w 255"/>
                <a:gd name="T63" fmla="*/ 41 h 74"/>
                <a:gd name="T64" fmla="*/ 75 w 255"/>
                <a:gd name="T65" fmla="*/ 23 h 74"/>
                <a:gd name="T66" fmla="*/ 83 w 255"/>
                <a:gd name="T67" fmla="*/ 15 h 74"/>
                <a:gd name="T68" fmla="*/ 102 w 255"/>
                <a:gd name="T69" fmla="*/ 58 h 74"/>
                <a:gd name="T70" fmla="*/ 94 w 255"/>
                <a:gd name="T71" fmla="*/ 49 h 74"/>
                <a:gd name="T72" fmla="*/ 102 w 255"/>
                <a:gd name="T73" fmla="*/ 58 h 74"/>
                <a:gd name="T74" fmla="*/ 94 w 255"/>
                <a:gd name="T75" fmla="*/ 41 h 74"/>
                <a:gd name="T76" fmla="*/ 102 w 255"/>
                <a:gd name="T77" fmla="*/ 32 h 74"/>
                <a:gd name="T78" fmla="*/ 102 w 255"/>
                <a:gd name="T79" fmla="*/ 23 h 74"/>
                <a:gd name="T80" fmla="*/ 94 w 255"/>
                <a:gd name="T81" fmla="*/ 15 h 74"/>
                <a:gd name="T82" fmla="*/ 102 w 255"/>
                <a:gd name="T83" fmla="*/ 23 h 74"/>
                <a:gd name="T84" fmla="*/ 112 w 255"/>
                <a:gd name="T85" fmla="*/ 58 h 74"/>
                <a:gd name="T86" fmla="*/ 121 w 255"/>
                <a:gd name="T87" fmla="*/ 49 h 74"/>
                <a:gd name="T88" fmla="*/ 121 w 255"/>
                <a:gd name="T89" fmla="*/ 41 h 74"/>
                <a:gd name="T90" fmla="*/ 112 w 255"/>
                <a:gd name="T91" fmla="*/ 32 h 74"/>
                <a:gd name="T92" fmla="*/ 121 w 255"/>
                <a:gd name="T93" fmla="*/ 41 h 74"/>
                <a:gd name="T94" fmla="*/ 112 w 255"/>
                <a:gd name="T95" fmla="*/ 23 h 74"/>
                <a:gd name="T96" fmla="*/ 121 w 255"/>
                <a:gd name="T97" fmla="*/ 15 h 74"/>
                <a:gd name="T98" fmla="*/ 140 w 255"/>
                <a:gd name="T99" fmla="*/ 58 h 74"/>
                <a:gd name="T100" fmla="*/ 131 w 255"/>
                <a:gd name="T101" fmla="*/ 49 h 74"/>
                <a:gd name="T102" fmla="*/ 140 w 255"/>
                <a:gd name="T103" fmla="*/ 58 h 74"/>
                <a:gd name="T104" fmla="*/ 131 w 255"/>
                <a:gd name="T105" fmla="*/ 41 h 74"/>
                <a:gd name="T106" fmla="*/ 140 w 255"/>
                <a:gd name="T107" fmla="*/ 32 h 74"/>
                <a:gd name="T108" fmla="*/ 140 w 255"/>
                <a:gd name="T109" fmla="*/ 23 h 74"/>
                <a:gd name="T110" fmla="*/ 131 w 255"/>
                <a:gd name="T111" fmla="*/ 15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7"/>
                  </a:moveTo>
                  <a:cubicBezTo>
                    <a:pt x="255" y="7"/>
                    <a:pt x="248" y="0"/>
                    <a:pt x="239" y="0"/>
                  </a:cubicBezTo>
                  <a:cubicBezTo>
                    <a:pt x="17" y="0"/>
                    <a:pt x="17" y="0"/>
                    <a:pt x="17" y="0"/>
                  </a:cubicBezTo>
                  <a:cubicBezTo>
                    <a:pt x="8" y="0"/>
                    <a:pt x="0" y="7"/>
                    <a:pt x="0" y="17"/>
                  </a:cubicBezTo>
                  <a:cubicBezTo>
                    <a:pt x="0" y="57"/>
                    <a:pt x="0" y="57"/>
                    <a:pt x="0" y="57"/>
                  </a:cubicBezTo>
                  <a:cubicBezTo>
                    <a:pt x="0" y="67"/>
                    <a:pt x="8" y="74"/>
                    <a:pt x="17" y="74"/>
                  </a:cubicBezTo>
                  <a:cubicBezTo>
                    <a:pt x="239" y="74"/>
                    <a:pt x="239" y="74"/>
                    <a:pt x="239" y="74"/>
                  </a:cubicBezTo>
                  <a:cubicBezTo>
                    <a:pt x="248" y="74"/>
                    <a:pt x="255" y="67"/>
                    <a:pt x="255" y="57"/>
                  </a:cubicBezTo>
                  <a:lnTo>
                    <a:pt x="255" y="17"/>
                  </a:lnTo>
                  <a:close/>
                  <a:moveTo>
                    <a:pt x="27" y="58"/>
                  </a:moveTo>
                  <a:cubicBezTo>
                    <a:pt x="18" y="58"/>
                    <a:pt x="18" y="58"/>
                    <a:pt x="18" y="58"/>
                  </a:cubicBezTo>
                  <a:cubicBezTo>
                    <a:pt x="18" y="49"/>
                    <a:pt x="18" y="49"/>
                    <a:pt x="18" y="49"/>
                  </a:cubicBezTo>
                  <a:cubicBezTo>
                    <a:pt x="27" y="49"/>
                    <a:pt x="27" y="49"/>
                    <a:pt x="27" y="49"/>
                  </a:cubicBezTo>
                  <a:lnTo>
                    <a:pt x="27" y="58"/>
                  </a:lnTo>
                  <a:close/>
                  <a:moveTo>
                    <a:pt x="27" y="41"/>
                  </a:moveTo>
                  <a:cubicBezTo>
                    <a:pt x="18" y="41"/>
                    <a:pt x="18" y="41"/>
                    <a:pt x="18" y="41"/>
                  </a:cubicBezTo>
                  <a:cubicBezTo>
                    <a:pt x="18" y="32"/>
                    <a:pt x="18" y="32"/>
                    <a:pt x="18" y="32"/>
                  </a:cubicBezTo>
                  <a:cubicBezTo>
                    <a:pt x="27" y="32"/>
                    <a:pt x="27" y="32"/>
                    <a:pt x="27" y="32"/>
                  </a:cubicBezTo>
                  <a:lnTo>
                    <a:pt x="27" y="41"/>
                  </a:lnTo>
                  <a:close/>
                  <a:moveTo>
                    <a:pt x="27" y="23"/>
                  </a:moveTo>
                  <a:cubicBezTo>
                    <a:pt x="18" y="23"/>
                    <a:pt x="18" y="23"/>
                    <a:pt x="18" y="23"/>
                  </a:cubicBezTo>
                  <a:cubicBezTo>
                    <a:pt x="18" y="15"/>
                    <a:pt x="18" y="15"/>
                    <a:pt x="18" y="15"/>
                  </a:cubicBezTo>
                  <a:cubicBezTo>
                    <a:pt x="27" y="15"/>
                    <a:pt x="27" y="15"/>
                    <a:pt x="27" y="15"/>
                  </a:cubicBezTo>
                  <a:lnTo>
                    <a:pt x="27" y="23"/>
                  </a:lnTo>
                  <a:close/>
                  <a:moveTo>
                    <a:pt x="46" y="58"/>
                  </a:moveTo>
                  <a:cubicBezTo>
                    <a:pt x="37" y="58"/>
                    <a:pt x="37" y="58"/>
                    <a:pt x="37" y="58"/>
                  </a:cubicBezTo>
                  <a:cubicBezTo>
                    <a:pt x="37" y="49"/>
                    <a:pt x="37" y="49"/>
                    <a:pt x="37" y="49"/>
                  </a:cubicBezTo>
                  <a:cubicBezTo>
                    <a:pt x="46" y="49"/>
                    <a:pt x="46" y="49"/>
                    <a:pt x="46" y="49"/>
                  </a:cubicBezTo>
                  <a:lnTo>
                    <a:pt x="46" y="58"/>
                  </a:lnTo>
                  <a:close/>
                  <a:moveTo>
                    <a:pt x="46" y="41"/>
                  </a:moveTo>
                  <a:cubicBezTo>
                    <a:pt x="37" y="41"/>
                    <a:pt x="37" y="41"/>
                    <a:pt x="37" y="41"/>
                  </a:cubicBezTo>
                  <a:cubicBezTo>
                    <a:pt x="37" y="32"/>
                    <a:pt x="37" y="32"/>
                    <a:pt x="37" y="32"/>
                  </a:cubicBezTo>
                  <a:cubicBezTo>
                    <a:pt x="46" y="32"/>
                    <a:pt x="46" y="32"/>
                    <a:pt x="46" y="32"/>
                  </a:cubicBezTo>
                  <a:lnTo>
                    <a:pt x="46" y="41"/>
                  </a:lnTo>
                  <a:close/>
                  <a:moveTo>
                    <a:pt x="46" y="23"/>
                  </a:moveTo>
                  <a:cubicBezTo>
                    <a:pt x="37" y="23"/>
                    <a:pt x="37" y="23"/>
                    <a:pt x="37" y="23"/>
                  </a:cubicBezTo>
                  <a:cubicBezTo>
                    <a:pt x="37" y="15"/>
                    <a:pt x="37" y="15"/>
                    <a:pt x="37" y="15"/>
                  </a:cubicBezTo>
                  <a:cubicBezTo>
                    <a:pt x="46" y="15"/>
                    <a:pt x="46" y="15"/>
                    <a:pt x="46" y="15"/>
                  </a:cubicBezTo>
                  <a:lnTo>
                    <a:pt x="46" y="23"/>
                  </a:lnTo>
                  <a:close/>
                  <a:moveTo>
                    <a:pt x="65" y="58"/>
                  </a:moveTo>
                  <a:cubicBezTo>
                    <a:pt x="56" y="58"/>
                    <a:pt x="56" y="58"/>
                    <a:pt x="56" y="58"/>
                  </a:cubicBezTo>
                  <a:cubicBezTo>
                    <a:pt x="56" y="49"/>
                    <a:pt x="56" y="49"/>
                    <a:pt x="56" y="49"/>
                  </a:cubicBezTo>
                  <a:cubicBezTo>
                    <a:pt x="65" y="49"/>
                    <a:pt x="65" y="49"/>
                    <a:pt x="65" y="49"/>
                  </a:cubicBezTo>
                  <a:lnTo>
                    <a:pt x="65" y="58"/>
                  </a:lnTo>
                  <a:close/>
                  <a:moveTo>
                    <a:pt x="65" y="41"/>
                  </a:moveTo>
                  <a:cubicBezTo>
                    <a:pt x="56" y="41"/>
                    <a:pt x="56" y="41"/>
                    <a:pt x="56" y="41"/>
                  </a:cubicBezTo>
                  <a:cubicBezTo>
                    <a:pt x="56" y="32"/>
                    <a:pt x="56" y="32"/>
                    <a:pt x="56" y="32"/>
                  </a:cubicBezTo>
                  <a:cubicBezTo>
                    <a:pt x="65" y="32"/>
                    <a:pt x="65" y="32"/>
                    <a:pt x="65" y="32"/>
                  </a:cubicBezTo>
                  <a:lnTo>
                    <a:pt x="65" y="41"/>
                  </a:lnTo>
                  <a:close/>
                  <a:moveTo>
                    <a:pt x="65" y="23"/>
                  </a:moveTo>
                  <a:cubicBezTo>
                    <a:pt x="56" y="23"/>
                    <a:pt x="56" y="23"/>
                    <a:pt x="56" y="23"/>
                  </a:cubicBezTo>
                  <a:cubicBezTo>
                    <a:pt x="56" y="15"/>
                    <a:pt x="56" y="15"/>
                    <a:pt x="56" y="15"/>
                  </a:cubicBezTo>
                  <a:cubicBezTo>
                    <a:pt x="65" y="15"/>
                    <a:pt x="65" y="15"/>
                    <a:pt x="65" y="15"/>
                  </a:cubicBezTo>
                  <a:lnTo>
                    <a:pt x="65" y="23"/>
                  </a:lnTo>
                  <a:close/>
                  <a:moveTo>
                    <a:pt x="83" y="58"/>
                  </a:moveTo>
                  <a:cubicBezTo>
                    <a:pt x="75" y="58"/>
                    <a:pt x="75" y="58"/>
                    <a:pt x="75" y="58"/>
                  </a:cubicBezTo>
                  <a:cubicBezTo>
                    <a:pt x="75" y="49"/>
                    <a:pt x="75" y="49"/>
                    <a:pt x="75" y="49"/>
                  </a:cubicBezTo>
                  <a:cubicBezTo>
                    <a:pt x="83" y="49"/>
                    <a:pt x="83" y="49"/>
                    <a:pt x="83" y="49"/>
                  </a:cubicBezTo>
                  <a:lnTo>
                    <a:pt x="83" y="58"/>
                  </a:lnTo>
                  <a:close/>
                  <a:moveTo>
                    <a:pt x="83" y="41"/>
                  </a:moveTo>
                  <a:cubicBezTo>
                    <a:pt x="75" y="41"/>
                    <a:pt x="75" y="41"/>
                    <a:pt x="75" y="41"/>
                  </a:cubicBezTo>
                  <a:cubicBezTo>
                    <a:pt x="75" y="32"/>
                    <a:pt x="75" y="32"/>
                    <a:pt x="75" y="32"/>
                  </a:cubicBezTo>
                  <a:cubicBezTo>
                    <a:pt x="83" y="32"/>
                    <a:pt x="83" y="32"/>
                    <a:pt x="83" y="32"/>
                  </a:cubicBezTo>
                  <a:lnTo>
                    <a:pt x="83" y="41"/>
                  </a:lnTo>
                  <a:close/>
                  <a:moveTo>
                    <a:pt x="83" y="23"/>
                  </a:moveTo>
                  <a:cubicBezTo>
                    <a:pt x="75" y="23"/>
                    <a:pt x="75" y="23"/>
                    <a:pt x="75" y="23"/>
                  </a:cubicBezTo>
                  <a:cubicBezTo>
                    <a:pt x="75" y="15"/>
                    <a:pt x="75" y="15"/>
                    <a:pt x="75" y="15"/>
                  </a:cubicBezTo>
                  <a:cubicBezTo>
                    <a:pt x="83" y="15"/>
                    <a:pt x="83" y="15"/>
                    <a:pt x="83" y="15"/>
                  </a:cubicBezTo>
                  <a:lnTo>
                    <a:pt x="83" y="23"/>
                  </a:lnTo>
                  <a:close/>
                  <a:moveTo>
                    <a:pt x="102" y="58"/>
                  </a:moveTo>
                  <a:cubicBezTo>
                    <a:pt x="94" y="58"/>
                    <a:pt x="94" y="58"/>
                    <a:pt x="94" y="58"/>
                  </a:cubicBezTo>
                  <a:cubicBezTo>
                    <a:pt x="94" y="49"/>
                    <a:pt x="94" y="49"/>
                    <a:pt x="94" y="49"/>
                  </a:cubicBezTo>
                  <a:cubicBezTo>
                    <a:pt x="102" y="49"/>
                    <a:pt x="102" y="49"/>
                    <a:pt x="102" y="49"/>
                  </a:cubicBezTo>
                  <a:lnTo>
                    <a:pt x="102" y="58"/>
                  </a:lnTo>
                  <a:close/>
                  <a:moveTo>
                    <a:pt x="102" y="41"/>
                  </a:moveTo>
                  <a:cubicBezTo>
                    <a:pt x="94" y="41"/>
                    <a:pt x="94" y="41"/>
                    <a:pt x="94" y="41"/>
                  </a:cubicBezTo>
                  <a:cubicBezTo>
                    <a:pt x="94" y="32"/>
                    <a:pt x="94" y="32"/>
                    <a:pt x="94" y="32"/>
                  </a:cubicBezTo>
                  <a:cubicBezTo>
                    <a:pt x="102" y="32"/>
                    <a:pt x="102" y="32"/>
                    <a:pt x="102" y="32"/>
                  </a:cubicBezTo>
                  <a:lnTo>
                    <a:pt x="102" y="41"/>
                  </a:lnTo>
                  <a:close/>
                  <a:moveTo>
                    <a:pt x="102" y="23"/>
                  </a:moveTo>
                  <a:cubicBezTo>
                    <a:pt x="94" y="23"/>
                    <a:pt x="94" y="23"/>
                    <a:pt x="94" y="23"/>
                  </a:cubicBezTo>
                  <a:cubicBezTo>
                    <a:pt x="94" y="15"/>
                    <a:pt x="94" y="15"/>
                    <a:pt x="94" y="15"/>
                  </a:cubicBezTo>
                  <a:cubicBezTo>
                    <a:pt x="102" y="15"/>
                    <a:pt x="102" y="15"/>
                    <a:pt x="102" y="15"/>
                  </a:cubicBezTo>
                  <a:lnTo>
                    <a:pt x="102" y="23"/>
                  </a:lnTo>
                  <a:close/>
                  <a:moveTo>
                    <a:pt x="121" y="58"/>
                  </a:moveTo>
                  <a:cubicBezTo>
                    <a:pt x="112" y="58"/>
                    <a:pt x="112" y="58"/>
                    <a:pt x="112" y="58"/>
                  </a:cubicBezTo>
                  <a:cubicBezTo>
                    <a:pt x="112" y="49"/>
                    <a:pt x="112" y="49"/>
                    <a:pt x="112" y="49"/>
                  </a:cubicBezTo>
                  <a:cubicBezTo>
                    <a:pt x="121" y="49"/>
                    <a:pt x="121" y="49"/>
                    <a:pt x="121" y="49"/>
                  </a:cubicBezTo>
                  <a:lnTo>
                    <a:pt x="121" y="58"/>
                  </a:lnTo>
                  <a:close/>
                  <a:moveTo>
                    <a:pt x="121" y="41"/>
                  </a:moveTo>
                  <a:cubicBezTo>
                    <a:pt x="112" y="41"/>
                    <a:pt x="112" y="41"/>
                    <a:pt x="112" y="41"/>
                  </a:cubicBezTo>
                  <a:cubicBezTo>
                    <a:pt x="112" y="32"/>
                    <a:pt x="112" y="32"/>
                    <a:pt x="112" y="32"/>
                  </a:cubicBezTo>
                  <a:cubicBezTo>
                    <a:pt x="121" y="32"/>
                    <a:pt x="121" y="32"/>
                    <a:pt x="121" y="32"/>
                  </a:cubicBezTo>
                  <a:lnTo>
                    <a:pt x="121" y="41"/>
                  </a:lnTo>
                  <a:close/>
                  <a:moveTo>
                    <a:pt x="121" y="23"/>
                  </a:moveTo>
                  <a:cubicBezTo>
                    <a:pt x="112" y="23"/>
                    <a:pt x="112" y="23"/>
                    <a:pt x="112" y="23"/>
                  </a:cubicBezTo>
                  <a:cubicBezTo>
                    <a:pt x="112" y="15"/>
                    <a:pt x="112" y="15"/>
                    <a:pt x="112" y="15"/>
                  </a:cubicBezTo>
                  <a:cubicBezTo>
                    <a:pt x="121" y="15"/>
                    <a:pt x="121" y="15"/>
                    <a:pt x="121" y="15"/>
                  </a:cubicBezTo>
                  <a:lnTo>
                    <a:pt x="121" y="23"/>
                  </a:lnTo>
                  <a:close/>
                  <a:moveTo>
                    <a:pt x="140" y="58"/>
                  </a:moveTo>
                  <a:cubicBezTo>
                    <a:pt x="131" y="58"/>
                    <a:pt x="131" y="58"/>
                    <a:pt x="131" y="58"/>
                  </a:cubicBezTo>
                  <a:cubicBezTo>
                    <a:pt x="131" y="49"/>
                    <a:pt x="131" y="49"/>
                    <a:pt x="131" y="49"/>
                  </a:cubicBezTo>
                  <a:cubicBezTo>
                    <a:pt x="140" y="49"/>
                    <a:pt x="140" y="49"/>
                    <a:pt x="140" y="49"/>
                  </a:cubicBezTo>
                  <a:lnTo>
                    <a:pt x="140" y="58"/>
                  </a:lnTo>
                  <a:close/>
                  <a:moveTo>
                    <a:pt x="140" y="41"/>
                  </a:moveTo>
                  <a:cubicBezTo>
                    <a:pt x="131" y="41"/>
                    <a:pt x="131" y="41"/>
                    <a:pt x="131" y="41"/>
                  </a:cubicBezTo>
                  <a:cubicBezTo>
                    <a:pt x="131" y="32"/>
                    <a:pt x="131" y="32"/>
                    <a:pt x="131" y="32"/>
                  </a:cubicBezTo>
                  <a:cubicBezTo>
                    <a:pt x="140" y="32"/>
                    <a:pt x="140" y="32"/>
                    <a:pt x="140" y="32"/>
                  </a:cubicBezTo>
                  <a:lnTo>
                    <a:pt x="140" y="41"/>
                  </a:lnTo>
                  <a:close/>
                  <a:moveTo>
                    <a:pt x="140" y="23"/>
                  </a:moveTo>
                  <a:cubicBezTo>
                    <a:pt x="131" y="23"/>
                    <a:pt x="131" y="23"/>
                    <a:pt x="131" y="23"/>
                  </a:cubicBezTo>
                  <a:cubicBezTo>
                    <a:pt x="131" y="15"/>
                    <a:pt x="131" y="15"/>
                    <a:pt x="131" y="15"/>
                  </a:cubicBezTo>
                  <a:cubicBezTo>
                    <a:pt x="140" y="15"/>
                    <a:pt x="140" y="15"/>
                    <a:pt x="140" y="15"/>
                  </a:cubicBezTo>
                  <a:lnTo>
                    <a:pt x="140" y="23"/>
                  </a:lnTo>
                  <a:close/>
                  <a:moveTo>
                    <a:pt x="215" y="53"/>
                  </a:moveTo>
                  <a:cubicBezTo>
                    <a:pt x="205" y="53"/>
                    <a:pt x="197" y="46"/>
                    <a:pt x="197" y="36"/>
                  </a:cubicBezTo>
                  <a:cubicBezTo>
                    <a:pt x="197" y="27"/>
                    <a:pt x="205" y="19"/>
                    <a:pt x="215" y="19"/>
                  </a:cubicBezTo>
                  <a:cubicBezTo>
                    <a:pt x="224" y="19"/>
                    <a:pt x="232" y="27"/>
                    <a:pt x="232" y="36"/>
                  </a:cubicBezTo>
                  <a:cubicBezTo>
                    <a:pt x="232" y="46"/>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8" name="Freeform 7"/>
            <p:cNvSpPr>
              <a:spLocks noEditPoints="1"/>
            </p:cNvSpPr>
            <p:nvPr/>
          </p:nvSpPr>
          <p:spPr bwMode="auto">
            <a:xfrm>
              <a:off x="9718676" y="3205163"/>
              <a:ext cx="965200" cy="279400"/>
            </a:xfrm>
            <a:custGeom>
              <a:avLst/>
              <a:gdLst>
                <a:gd name="T0" fmla="*/ 239 w 255"/>
                <a:gd name="T1" fmla="*/ 0 h 74"/>
                <a:gd name="T2" fmla="*/ 0 w 255"/>
                <a:gd name="T3" fmla="*/ 16 h 74"/>
                <a:gd name="T4" fmla="*/ 17 w 255"/>
                <a:gd name="T5" fmla="*/ 74 h 74"/>
                <a:gd name="T6" fmla="*/ 255 w 255"/>
                <a:gd name="T7" fmla="*/ 57 h 74"/>
                <a:gd name="T8" fmla="*/ 27 w 255"/>
                <a:gd name="T9" fmla="*/ 58 h 74"/>
                <a:gd name="T10" fmla="*/ 18 w 255"/>
                <a:gd name="T11" fmla="*/ 49 h 74"/>
                <a:gd name="T12" fmla="*/ 27 w 255"/>
                <a:gd name="T13" fmla="*/ 58 h 74"/>
                <a:gd name="T14" fmla="*/ 18 w 255"/>
                <a:gd name="T15" fmla="*/ 40 h 74"/>
                <a:gd name="T16" fmla="*/ 27 w 255"/>
                <a:gd name="T17" fmla="*/ 32 h 74"/>
                <a:gd name="T18" fmla="*/ 27 w 255"/>
                <a:gd name="T19" fmla="*/ 23 h 74"/>
                <a:gd name="T20" fmla="*/ 18 w 255"/>
                <a:gd name="T21" fmla="*/ 14 h 74"/>
                <a:gd name="T22" fmla="*/ 27 w 255"/>
                <a:gd name="T23" fmla="*/ 23 h 74"/>
                <a:gd name="T24" fmla="*/ 37 w 255"/>
                <a:gd name="T25" fmla="*/ 58 h 74"/>
                <a:gd name="T26" fmla="*/ 46 w 255"/>
                <a:gd name="T27" fmla="*/ 49 h 74"/>
                <a:gd name="T28" fmla="*/ 46 w 255"/>
                <a:gd name="T29" fmla="*/ 40 h 74"/>
                <a:gd name="T30" fmla="*/ 37 w 255"/>
                <a:gd name="T31" fmla="*/ 32 h 74"/>
                <a:gd name="T32" fmla="*/ 46 w 255"/>
                <a:gd name="T33" fmla="*/ 40 h 74"/>
                <a:gd name="T34" fmla="*/ 37 w 255"/>
                <a:gd name="T35" fmla="*/ 23 h 74"/>
                <a:gd name="T36" fmla="*/ 46 w 255"/>
                <a:gd name="T37" fmla="*/ 14 h 74"/>
                <a:gd name="T38" fmla="*/ 65 w 255"/>
                <a:gd name="T39" fmla="*/ 58 h 74"/>
                <a:gd name="T40" fmla="*/ 56 w 255"/>
                <a:gd name="T41" fmla="*/ 49 h 74"/>
                <a:gd name="T42" fmla="*/ 65 w 255"/>
                <a:gd name="T43" fmla="*/ 58 h 74"/>
                <a:gd name="T44" fmla="*/ 56 w 255"/>
                <a:gd name="T45" fmla="*/ 40 h 74"/>
                <a:gd name="T46" fmla="*/ 65 w 255"/>
                <a:gd name="T47" fmla="*/ 32 h 74"/>
                <a:gd name="T48" fmla="*/ 65 w 255"/>
                <a:gd name="T49" fmla="*/ 23 h 74"/>
                <a:gd name="T50" fmla="*/ 56 w 255"/>
                <a:gd name="T51" fmla="*/ 14 h 74"/>
                <a:gd name="T52" fmla="*/ 65 w 255"/>
                <a:gd name="T53" fmla="*/ 23 h 74"/>
                <a:gd name="T54" fmla="*/ 75 w 255"/>
                <a:gd name="T55" fmla="*/ 58 h 74"/>
                <a:gd name="T56" fmla="*/ 83 w 255"/>
                <a:gd name="T57" fmla="*/ 49 h 74"/>
                <a:gd name="T58" fmla="*/ 83 w 255"/>
                <a:gd name="T59" fmla="*/ 40 h 74"/>
                <a:gd name="T60" fmla="*/ 75 w 255"/>
                <a:gd name="T61" fmla="*/ 32 h 74"/>
                <a:gd name="T62" fmla="*/ 83 w 255"/>
                <a:gd name="T63" fmla="*/ 40 h 74"/>
                <a:gd name="T64" fmla="*/ 75 w 255"/>
                <a:gd name="T65" fmla="*/ 23 h 74"/>
                <a:gd name="T66" fmla="*/ 83 w 255"/>
                <a:gd name="T67" fmla="*/ 14 h 74"/>
                <a:gd name="T68" fmla="*/ 102 w 255"/>
                <a:gd name="T69" fmla="*/ 58 h 74"/>
                <a:gd name="T70" fmla="*/ 94 w 255"/>
                <a:gd name="T71" fmla="*/ 49 h 74"/>
                <a:gd name="T72" fmla="*/ 102 w 255"/>
                <a:gd name="T73" fmla="*/ 58 h 74"/>
                <a:gd name="T74" fmla="*/ 94 w 255"/>
                <a:gd name="T75" fmla="*/ 40 h 74"/>
                <a:gd name="T76" fmla="*/ 102 w 255"/>
                <a:gd name="T77" fmla="*/ 32 h 74"/>
                <a:gd name="T78" fmla="*/ 102 w 255"/>
                <a:gd name="T79" fmla="*/ 23 h 74"/>
                <a:gd name="T80" fmla="*/ 94 w 255"/>
                <a:gd name="T81" fmla="*/ 14 h 74"/>
                <a:gd name="T82" fmla="*/ 102 w 255"/>
                <a:gd name="T83" fmla="*/ 23 h 74"/>
                <a:gd name="T84" fmla="*/ 112 w 255"/>
                <a:gd name="T85" fmla="*/ 58 h 74"/>
                <a:gd name="T86" fmla="*/ 121 w 255"/>
                <a:gd name="T87" fmla="*/ 49 h 74"/>
                <a:gd name="T88" fmla="*/ 121 w 255"/>
                <a:gd name="T89" fmla="*/ 40 h 74"/>
                <a:gd name="T90" fmla="*/ 112 w 255"/>
                <a:gd name="T91" fmla="*/ 32 h 74"/>
                <a:gd name="T92" fmla="*/ 121 w 255"/>
                <a:gd name="T93" fmla="*/ 40 h 74"/>
                <a:gd name="T94" fmla="*/ 112 w 255"/>
                <a:gd name="T95" fmla="*/ 23 h 74"/>
                <a:gd name="T96" fmla="*/ 121 w 255"/>
                <a:gd name="T97" fmla="*/ 14 h 74"/>
                <a:gd name="T98" fmla="*/ 140 w 255"/>
                <a:gd name="T99" fmla="*/ 58 h 74"/>
                <a:gd name="T100" fmla="*/ 131 w 255"/>
                <a:gd name="T101" fmla="*/ 49 h 74"/>
                <a:gd name="T102" fmla="*/ 140 w 255"/>
                <a:gd name="T103" fmla="*/ 58 h 74"/>
                <a:gd name="T104" fmla="*/ 131 w 255"/>
                <a:gd name="T105" fmla="*/ 40 h 74"/>
                <a:gd name="T106" fmla="*/ 140 w 255"/>
                <a:gd name="T107" fmla="*/ 32 h 74"/>
                <a:gd name="T108" fmla="*/ 140 w 255"/>
                <a:gd name="T109" fmla="*/ 23 h 74"/>
                <a:gd name="T110" fmla="*/ 131 w 255"/>
                <a:gd name="T111" fmla="*/ 14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6"/>
                  </a:moveTo>
                  <a:cubicBezTo>
                    <a:pt x="255" y="7"/>
                    <a:pt x="248" y="0"/>
                    <a:pt x="239" y="0"/>
                  </a:cubicBezTo>
                  <a:cubicBezTo>
                    <a:pt x="17" y="0"/>
                    <a:pt x="17" y="0"/>
                    <a:pt x="17" y="0"/>
                  </a:cubicBezTo>
                  <a:cubicBezTo>
                    <a:pt x="8" y="0"/>
                    <a:pt x="0" y="7"/>
                    <a:pt x="0" y="16"/>
                  </a:cubicBezTo>
                  <a:cubicBezTo>
                    <a:pt x="0" y="57"/>
                    <a:pt x="0" y="57"/>
                    <a:pt x="0" y="57"/>
                  </a:cubicBezTo>
                  <a:cubicBezTo>
                    <a:pt x="0" y="67"/>
                    <a:pt x="8" y="74"/>
                    <a:pt x="17" y="74"/>
                  </a:cubicBezTo>
                  <a:cubicBezTo>
                    <a:pt x="239" y="74"/>
                    <a:pt x="239" y="74"/>
                    <a:pt x="239" y="74"/>
                  </a:cubicBezTo>
                  <a:cubicBezTo>
                    <a:pt x="248" y="74"/>
                    <a:pt x="255" y="67"/>
                    <a:pt x="255" y="57"/>
                  </a:cubicBezTo>
                  <a:lnTo>
                    <a:pt x="255" y="16"/>
                  </a:lnTo>
                  <a:close/>
                  <a:moveTo>
                    <a:pt x="27" y="58"/>
                  </a:moveTo>
                  <a:cubicBezTo>
                    <a:pt x="18" y="58"/>
                    <a:pt x="18" y="58"/>
                    <a:pt x="18" y="58"/>
                  </a:cubicBezTo>
                  <a:cubicBezTo>
                    <a:pt x="18" y="49"/>
                    <a:pt x="18" y="49"/>
                    <a:pt x="18" y="49"/>
                  </a:cubicBezTo>
                  <a:cubicBezTo>
                    <a:pt x="27" y="49"/>
                    <a:pt x="27" y="49"/>
                    <a:pt x="27" y="49"/>
                  </a:cubicBezTo>
                  <a:lnTo>
                    <a:pt x="27" y="58"/>
                  </a:lnTo>
                  <a:close/>
                  <a:moveTo>
                    <a:pt x="27" y="40"/>
                  </a:moveTo>
                  <a:cubicBezTo>
                    <a:pt x="18" y="40"/>
                    <a:pt x="18" y="40"/>
                    <a:pt x="18" y="40"/>
                  </a:cubicBezTo>
                  <a:cubicBezTo>
                    <a:pt x="18" y="32"/>
                    <a:pt x="18" y="32"/>
                    <a:pt x="18" y="32"/>
                  </a:cubicBezTo>
                  <a:cubicBezTo>
                    <a:pt x="27" y="32"/>
                    <a:pt x="27" y="32"/>
                    <a:pt x="27" y="32"/>
                  </a:cubicBezTo>
                  <a:lnTo>
                    <a:pt x="27" y="40"/>
                  </a:lnTo>
                  <a:close/>
                  <a:moveTo>
                    <a:pt x="27" y="23"/>
                  </a:moveTo>
                  <a:cubicBezTo>
                    <a:pt x="18" y="23"/>
                    <a:pt x="18" y="23"/>
                    <a:pt x="18" y="23"/>
                  </a:cubicBezTo>
                  <a:cubicBezTo>
                    <a:pt x="18" y="14"/>
                    <a:pt x="18" y="14"/>
                    <a:pt x="18" y="14"/>
                  </a:cubicBezTo>
                  <a:cubicBezTo>
                    <a:pt x="27" y="14"/>
                    <a:pt x="27" y="14"/>
                    <a:pt x="27" y="14"/>
                  </a:cubicBezTo>
                  <a:lnTo>
                    <a:pt x="27" y="23"/>
                  </a:lnTo>
                  <a:close/>
                  <a:moveTo>
                    <a:pt x="46" y="58"/>
                  </a:moveTo>
                  <a:cubicBezTo>
                    <a:pt x="37" y="58"/>
                    <a:pt x="37" y="58"/>
                    <a:pt x="37" y="58"/>
                  </a:cubicBezTo>
                  <a:cubicBezTo>
                    <a:pt x="37" y="49"/>
                    <a:pt x="37" y="49"/>
                    <a:pt x="37" y="49"/>
                  </a:cubicBezTo>
                  <a:cubicBezTo>
                    <a:pt x="46" y="49"/>
                    <a:pt x="46" y="49"/>
                    <a:pt x="46" y="49"/>
                  </a:cubicBezTo>
                  <a:lnTo>
                    <a:pt x="46" y="58"/>
                  </a:lnTo>
                  <a:close/>
                  <a:moveTo>
                    <a:pt x="46" y="40"/>
                  </a:moveTo>
                  <a:cubicBezTo>
                    <a:pt x="37" y="40"/>
                    <a:pt x="37" y="40"/>
                    <a:pt x="37" y="40"/>
                  </a:cubicBezTo>
                  <a:cubicBezTo>
                    <a:pt x="37" y="32"/>
                    <a:pt x="37" y="32"/>
                    <a:pt x="37" y="32"/>
                  </a:cubicBezTo>
                  <a:cubicBezTo>
                    <a:pt x="46" y="32"/>
                    <a:pt x="46" y="32"/>
                    <a:pt x="46" y="32"/>
                  </a:cubicBezTo>
                  <a:lnTo>
                    <a:pt x="46" y="40"/>
                  </a:lnTo>
                  <a:close/>
                  <a:moveTo>
                    <a:pt x="46" y="23"/>
                  </a:moveTo>
                  <a:cubicBezTo>
                    <a:pt x="37" y="23"/>
                    <a:pt x="37" y="23"/>
                    <a:pt x="37" y="23"/>
                  </a:cubicBezTo>
                  <a:cubicBezTo>
                    <a:pt x="37" y="14"/>
                    <a:pt x="37" y="14"/>
                    <a:pt x="37" y="14"/>
                  </a:cubicBezTo>
                  <a:cubicBezTo>
                    <a:pt x="46" y="14"/>
                    <a:pt x="46" y="14"/>
                    <a:pt x="46" y="14"/>
                  </a:cubicBezTo>
                  <a:lnTo>
                    <a:pt x="46" y="23"/>
                  </a:lnTo>
                  <a:close/>
                  <a:moveTo>
                    <a:pt x="65" y="58"/>
                  </a:moveTo>
                  <a:cubicBezTo>
                    <a:pt x="56" y="58"/>
                    <a:pt x="56" y="58"/>
                    <a:pt x="56" y="58"/>
                  </a:cubicBezTo>
                  <a:cubicBezTo>
                    <a:pt x="56" y="49"/>
                    <a:pt x="56" y="49"/>
                    <a:pt x="56" y="49"/>
                  </a:cubicBezTo>
                  <a:cubicBezTo>
                    <a:pt x="65" y="49"/>
                    <a:pt x="65" y="49"/>
                    <a:pt x="65" y="49"/>
                  </a:cubicBezTo>
                  <a:lnTo>
                    <a:pt x="65" y="58"/>
                  </a:lnTo>
                  <a:close/>
                  <a:moveTo>
                    <a:pt x="65" y="40"/>
                  </a:moveTo>
                  <a:cubicBezTo>
                    <a:pt x="56" y="40"/>
                    <a:pt x="56" y="40"/>
                    <a:pt x="56" y="40"/>
                  </a:cubicBezTo>
                  <a:cubicBezTo>
                    <a:pt x="56" y="32"/>
                    <a:pt x="56" y="32"/>
                    <a:pt x="56" y="32"/>
                  </a:cubicBezTo>
                  <a:cubicBezTo>
                    <a:pt x="65" y="32"/>
                    <a:pt x="65" y="32"/>
                    <a:pt x="65" y="32"/>
                  </a:cubicBezTo>
                  <a:lnTo>
                    <a:pt x="65" y="40"/>
                  </a:lnTo>
                  <a:close/>
                  <a:moveTo>
                    <a:pt x="65" y="23"/>
                  </a:moveTo>
                  <a:cubicBezTo>
                    <a:pt x="56" y="23"/>
                    <a:pt x="56" y="23"/>
                    <a:pt x="56" y="23"/>
                  </a:cubicBezTo>
                  <a:cubicBezTo>
                    <a:pt x="56" y="14"/>
                    <a:pt x="56" y="14"/>
                    <a:pt x="56" y="14"/>
                  </a:cubicBezTo>
                  <a:cubicBezTo>
                    <a:pt x="65" y="14"/>
                    <a:pt x="65" y="14"/>
                    <a:pt x="65" y="14"/>
                  </a:cubicBezTo>
                  <a:lnTo>
                    <a:pt x="65" y="23"/>
                  </a:lnTo>
                  <a:close/>
                  <a:moveTo>
                    <a:pt x="83" y="58"/>
                  </a:moveTo>
                  <a:cubicBezTo>
                    <a:pt x="75" y="58"/>
                    <a:pt x="75" y="58"/>
                    <a:pt x="75" y="58"/>
                  </a:cubicBezTo>
                  <a:cubicBezTo>
                    <a:pt x="75" y="49"/>
                    <a:pt x="75" y="49"/>
                    <a:pt x="75" y="49"/>
                  </a:cubicBezTo>
                  <a:cubicBezTo>
                    <a:pt x="83" y="49"/>
                    <a:pt x="83" y="49"/>
                    <a:pt x="83" y="49"/>
                  </a:cubicBezTo>
                  <a:lnTo>
                    <a:pt x="83" y="58"/>
                  </a:lnTo>
                  <a:close/>
                  <a:moveTo>
                    <a:pt x="83" y="40"/>
                  </a:moveTo>
                  <a:cubicBezTo>
                    <a:pt x="75" y="40"/>
                    <a:pt x="75" y="40"/>
                    <a:pt x="75" y="40"/>
                  </a:cubicBezTo>
                  <a:cubicBezTo>
                    <a:pt x="75" y="32"/>
                    <a:pt x="75" y="32"/>
                    <a:pt x="75" y="32"/>
                  </a:cubicBezTo>
                  <a:cubicBezTo>
                    <a:pt x="83" y="32"/>
                    <a:pt x="83" y="32"/>
                    <a:pt x="83" y="32"/>
                  </a:cubicBezTo>
                  <a:lnTo>
                    <a:pt x="83" y="40"/>
                  </a:lnTo>
                  <a:close/>
                  <a:moveTo>
                    <a:pt x="83" y="23"/>
                  </a:moveTo>
                  <a:cubicBezTo>
                    <a:pt x="75" y="23"/>
                    <a:pt x="75" y="23"/>
                    <a:pt x="75" y="23"/>
                  </a:cubicBezTo>
                  <a:cubicBezTo>
                    <a:pt x="75" y="14"/>
                    <a:pt x="75" y="14"/>
                    <a:pt x="75" y="14"/>
                  </a:cubicBezTo>
                  <a:cubicBezTo>
                    <a:pt x="83" y="14"/>
                    <a:pt x="83" y="14"/>
                    <a:pt x="83" y="14"/>
                  </a:cubicBezTo>
                  <a:lnTo>
                    <a:pt x="83" y="23"/>
                  </a:lnTo>
                  <a:close/>
                  <a:moveTo>
                    <a:pt x="102" y="58"/>
                  </a:moveTo>
                  <a:cubicBezTo>
                    <a:pt x="94" y="58"/>
                    <a:pt x="94" y="58"/>
                    <a:pt x="94" y="58"/>
                  </a:cubicBezTo>
                  <a:cubicBezTo>
                    <a:pt x="94" y="49"/>
                    <a:pt x="94" y="49"/>
                    <a:pt x="94" y="49"/>
                  </a:cubicBezTo>
                  <a:cubicBezTo>
                    <a:pt x="102" y="49"/>
                    <a:pt x="102" y="49"/>
                    <a:pt x="102" y="49"/>
                  </a:cubicBezTo>
                  <a:lnTo>
                    <a:pt x="102" y="58"/>
                  </a:lnTo>
                  <a:close/>
                  <a:moveTo>
                    <a:pt x="102" y="40"/>
                  </a:moveTo>
                  <a:cubicBezTo>
                    <a:pt x="94" y="40"/>
                    <a:pt x="94" y="40"/>
                    <a:pt x="94" y="40"/>
                  </a:cubicBezTo>
                  <a:cubicBezTo>
                    <a:pt x="94" y="32"/>
                    <a:pt x="94" y="32"/>
                    <a:pt x="94" y="32"/>
                  </a:cubicBezTo>
                  <a:cubicBezTo>
                    <a:pt x="102" y="32"/>
                    <a:pt x="102" y="32"/>
                    <a:pt x="102" y="32"/>
                  </a:cubicBezTo>
                  <a:lnTo>
                    <a:pt x="102" y="40"/>
                  </a:lnTo>
                  <a:close/>
                  <a:moveTo>
                    <a:pt x="102" y="23"/>
                  </a:moveTo>
                  <a:cubicBezTo>
                    <a:pt x="94" y="23"/>
                    <a:pt x="94" y="23"/>
                    <a:pt x="94" y="23"/>
                  </a:cubicBezTo>
                  <a:cubicBezTo>
                    <a:pt x="94" y="14"/>
                    <a:pt x="94" y="14"/>
                    <a:pt x="94" y="14"/>
                  </a:cubicBezTo>
                  <a:cubicBezTo>
                    <a:pt x="102" y="14"/>
                    <a:pt x="102" y="14"/>
                    <a:pt x="102" y="14"/>
                  </a:cubicBezTo>
                  <a:lnTo>
                    <a:pt x="102" y="23"/>
                  </a:lnTo>
                  <a:close/>
                  <a:moveTo>
                    <a:pt x="121" y="58"/>
                  </a:moveTo>
                  <a:cubicBezTo>
                    <a:pt x="112" y="58"/>
                    <a:pt x="112" y="58"/>
                    <a:pt x="112" y="58"/>
                  </a:cubicBezTo>
                  <a:cubicBezTo>
                    <a:pt x="112" y="49"/>
                    <a:pt x="112" y="49"/>
                    <a:pt x="112" y="49"/>
                  </a:cubicBezTo>
                  <a:cubicBezTo>
                    <a:pt x="121" y="49"/>
                    <a:pt x="121" y="49"/>
                    <a:pt x="121" y="49"/>
                  </a:cubicBezTo>
                  <a:lnTo>
                    <a:pt x="121" y="58"/>
                  </a:lnTo>
                  <a:close/>
                  <a:moveTo>
                    <a:pt x="121" y="40"/>
                  </a:moveTo>
                  <a:cubicBezTo>
                    <a:pt x="112" y="40"/>
                    <a:pt x="112" y="40"/>
                    <a:pt x="112" y="40"/>
                  </a:cubicBezTo>
                  <a:cubicBezTo>
                    <a:pt x="112" y="32"/>
                    <a:pt x="112" y="32"/>
                    <a:pt x="112" y="32"/>
                  </a:cubicBezTo>
                  <a:cubicBezTo>
                    <a:pt x="121" y="32"/>
                    <a:pt x="121" y="32"/>
                    <a:pt x="121" y="32"/>
                  </a:cubicBezTo>
                  <a:lnTo>
                    <a:pt x="121" y="40"/>
                  </a:lnTo>
                  <a:close/>
                  <a:moveTo>
                    <a:pt x="121" y="23"/>
                  </a:moveTo>
                  <a:cubicBezTo>
                    <a:pt x="112" y="23"/>
                    <a:pt x="112" y="23"/>
                    <a:pt x="112" y="23"/>
                  </a:cubicBezTo>
                  <a:cubicBezTo>
                    <a:pt x="112" y="14"/>
                    <a:pt x="112" y="14"/>
                    <a:pt x="112" y="14"/>
                  </a:cubicBezTo>
                  <a:cubicBezTo>
                    <a:pt x="121" y="14"/>
                    <a:pt x="121" y="14"/>
                    <a:pt x="121" y="14"/>
                  </a:cubicBezTo>
                  <a:lnTo>
                    <a:pt x="121" y="23"/>
                  </a:lnTo>
                  <a:close/>
                  <a:moveTo>
                    <a:pt x="140" y="58"/>
                  </a:moveTo>
                  <a:cubicBezTo>
                    <a:pt x="131" y="58"/>
                    <a:pt x="131" y="58"/>
                    <a:pt x="131" y="58"/>
                  </a:cubicBezTo>
                  <a:cubicBezTo>
                    <a:pt x="131" y="49"/>
                    <a:pt x="131" y="49"/>
                    <a:pt x="131" y="49"/>
                  </a:cubicBezTo>
                  <a:cubicBezTo>
                    <a:pt x="140" y="49"/>
                    <a:pt x="140" y="49"/>
                    <a:pt x="140" y="49"/>
                  </a:cubicBezTo>
                  <a:lnTo>
                    <a:pt x="140" y="58"/>
                  </a:lnTo>
                  <a:close/>
                  <a:moveTo>
                    <a:pt x="140" y="40"/>
                  </a:moveTo>
                  <a:cubicBezTo>
                    <a:pt x="131" y="40"/>
                    <a:pt x="131" y="40"/>
                    <a:pt x="131" y="40"/>
                  </a:cubicBezTo>
                  <a:cubicBezTo>
                    <a:pt x="131" y="32"/>
                    <a:pt x="131" y="32"/>
                    <a:pt x="131" y="32"/>
                  </a:cubicBezTo>
                  <a:cubicBezTo>
                    <a:pt x="140" y="32"/>
                    <a:pt x="140" y="32"/>
                    <a:pt x="140" y="32"/>
                  </a:cubicBezTo>
                  <a:lnTo>
                    <a:pt x="140" y="40"/>
                  </a:lnTo>
                  <a:close/>
                  <a:moveTo>
                    <a:pt x="140" y="23"/>
                  </a:moveTo>
                  <a:cubicBezTo>
                    <a:pt x="131" y="23"/>
                    <a:pt x="131" y="23"/>
                    <a:pt x="131" y="23"/>
                  </a:cubicBezTo>
                  <a:cubicBezTo>
                    <a:pt x="131" y="14"/>
                    <a:pt x="131" y="14"/>
                    <a:pt x="131" y="14"/>
                  </a:cubicBezTo>
                  <a:cubicBezTo>
                    <a:pt x="140" y="14"/>
                    <a:pt x="140" y="14"/>
                    <a:pt x="140" y="14"/>
                  </a:cubicBezTo>
                  <a:lnTo>
                    <a:pt x="140" y="23"/>
                  </a:lnTo>
                  <a:close/>
                  <a:moveTo>
                    <a:pt x="215" y="53"/>
                  </a:moveTo>
                  <a:cubicBezTo>
                    <a:pt x="205" y="53"/>
                    <a:pt x="197" y="45"/>
                    <a:pt x="197" y="36"/>
                  </a:cubicBezTo>
                  <a:cubicBezTo>
                    <a:pt x="197" y="26"/>
                    <a:pt x="205" y="19"/>
                    <a:pt x="215" y="19"/>
                  </a:cubicBezTo>
                  <a:cubicBezTo>
                    <a:pt x="224" y="19"/>
                    <a:pt x="232" y="26"/>
                    <a:pt x="232" y="36"/>
                  </a:cubicBezTo>
                  <a:cubicBezTo>
                    <a:pt x="232" y="45"/>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1" name="Freeform 8"/>
            <p:cNvSpPr>
              <a:spLocks noEditPoints="1"/>
            </p:cNvSpPr>
            <p:nvPr/>
          </p:nvSpPr>
          <p:spPr bwMode="auto">
            <a:xfrm>
              <a:off x="9586913" y="2466975"/>
              <a:ext cx="1228725" cy="1149350"/>
            </a:xfrm>
            <a:custGeom>
              <a:avLst/>
              <a:gdLst>
                <a:gd name="T0" fmla="*/ 239 w 325"/>
                <a:gd name="T1" fmla="*/ 304 h 304"/>
                <a:gd name="T2" fmla="*/ 187 w 325"/>
                <a:gd name="T3" fmla="*/ 304 h 304"/>
                <a:gd name="T4" fmla="*/ 187 w 325"/>
                <a:gd name="T5" fmla="*/ 288 h 304"/>
                <a:gd name="T6" fmla="*/ 239 w 325"/>
                <a:gd name="T7" fmla="*/ 288 h 304"/>
                <a:gd name="T8" fmla="*/ 239 w 325"/>
                <a:gd name="T9" fmla="*/ 304 h 304"/>
                <a:gd name="T10" fmla="*/ 146 w 325"/>
                <a:gd name="T11" fmla="*/ 304 h 304"/>
                <a:gd name="T12" fmla="*/ 94 w 325"/>
                <a:gd name="T13" fmla="*/ 304 h 304"/>
                <a:gd name="T14" fmla="*/ 94 w 325"/>
                <a:gd name="T15" fmla="*/ 288 h 304"/>
                <a:gd name="T16" fmla="*/ 146 w 325"/>
                <a:gd name="T17" fmla="*/ 288 h 304"/>
                <a:gd name="T18" fmla="*/ 146 w 325"/>
                <a:gd name="T19" fmla="*/ 304 h 304"/>
                <a:gd name="T20" fmla="*/ 52 w 325"/>
                <a:gd name="T21" fmla="*/ 304 h 304"/>
                <a:gd name="T22" fmla="*/ 52 w 325"/>
                <a:gd name="T23" fmla="*/ 304 h 304"/>
                <a:gd name="T24" fmla="*/ 4 w 325"/>
                <a:gd name="T25" fmla="*/ 272 h 304"/>
                <a:gd name="T26" fmla="*/ 19 w 325"/>
                <a:gd name="T27" fmla="*/ 267 h 304"/>
                <a:gd name="T28" fmla="*/ 52 w 325"/>
                <a:gd name="T29" fmla="*/ 288 h 304"/>
                <a:gd name="T30" fmla="*/ 52 w 325"/>
                <a:gd name="T31" fmla="*/ 304 h 304"/>
                <a:gd name="T32" fmla="*/ 282 w 325"/>
                <a:gd name="T33" fmla="*/ 303 h 304"/>
                <a:gd name="T34" fmla="*/ 280 w 325"/>
                <a:gd name="T35" fmla="*/ 287 h 304"/>
                <a:gd name="T36" fmla="*/ 308 w 325"/>
                <a:gd name="T37" fmla="*/ 261 h 304"/>
                <a:gd name="T38" fmla="*/ 324 w 325"/>
                <a:gd name="T39" fmla="*/ 264 h 304"/>
                <a:gd name="T40" fmla="*/ 282 w 325"/>
                <a:gd name="T41" fmla="*/ 303 h 304"/>
                <a:gd name="T42" fmla="*/ 16 w 325"/>
                <a:gd name="T43" fmla="*/ 228 h 304"/>
                <a:gd name="T44" fmla="*/ 0 w 325"/>
                <a:gd name="T45" fmla="*/ 228 h 304"/>
                <a:gd name="T46" fmla="*/ 0 w 325"/>
                <a:gd name="T47" fmla="*/ 176 h 304"/>
                <a:gd name="T48" fmla="*/ 16 w 325"/>
                <a:gd name="T49" fmla="*/ 176 h 304"/>
                <a:gd name="T50" fmla="*/ 16 w 325"/>
                <a:gd name="T51" fmla="*/ 228 h 304"/>
                <a:gd name="T52" fmla="*/ 325 w 325"/>
                <a:gd name="T53" fmla="*/ 221 h 304"/>
                <a:gd name="T54" fmla="*/ 309 w 325"/>
                <a:gd name="T55" fmla="*/ 221 h 304"/>
                <a:gd name="T56" fmla="*/ 309 w 325"/>
                <a:gd name="T57" fmla="*/ 169 h 304"/>
                <a:gd name="T58" fmla="*/ 325 w 325"/>
                <a:gd name="T59" fmla="*/ 169 h 304"/>
                <a:gd name="T60" fmla="*/ 325 w 325"/>
                <a:gd name="T61" fmla="*/ 221 h 304"/>
                <a:gd name="T62" fmla="*/ 16 w 325"/>
                <a:gd name="T63" fmla="*/ 135 h 304"/>
                <a:gd name="T64" fmla="*/ 0 w 325"/>
                <a:gd name="T65" fmla="*/ 135 h 304"/>
                <a:gd name="T66" fmla="*/ 0 w 325"/>
                <a:gd name="T67" fmla="*/ 83 h 304"/>
                <a:gd name="T68" fmla="*/ 16 w 325"/>
                <a:gd name="T69" fmla="*/ 83 h 304"/>
                <a:gd name="T70" fmla="*/ 16 w 325"/>
                <a:gd name="T71" fmla="*/ 135 h 304"/>
                <a:gd name="T72" fmla="*/ 325 w 325"/>
                <a:gd name="T73" fmla="*/ 128 h 304"/>
                <a:gd name="T74" fmla="*/ 309 w 325"/>
                <a:gd name="T75" fmla="*/ 128 h 304"/>
                <a:gd name="T76" fmla="*/ 309 w 325"/>
                <a:gd name="T77" fmla="*/ 76 h 304"/>
                <a:gd name="T78" fmla="*/ 325 w 325"/>
                <a:gd name="T79" fmla="*/ 76 h 304"/>
                <a:gd name="T80" fmla="*/ 325 w 325"/>
                <a:gd name="T81" fmla="*/ 128 h 304"/>
                <a:gd name="T82" fmla="*/ 17 w 325"/>
                <a:gd name="T83" fmla="*/ 43 h 304"/>
                <a:gd name="T84" fmla="*/ 2 w 325"/>
                <a:gd name="T85" fmla="*/ 40 h 304"/>
                <a:gd name="T86" fmla="*/ 44 w 325"/>
                <a:gd name="T87" fmla="*/ 1 h 304"/>
                <a:gd name="T88" fmla="*/ 46 w 325"/>
                <a:gd name="T89" fmla="*/ 17 h 304"/>
                <a:gd name="T90" fmla="*/ 17 w 325"/>
                <a:gd name="T91" fmla="*/ 43 h 304"/>
                <a:gd name="T92" fmla="*/ 307 w 325"/>
                <a:gd name="T93" fmla="*/ 37 h 304"/>
                <a:gd name="T94" fmla="*/ 274 w 325"/>
                <a:gd name="T95" fmla="*/ 16 h 304"/>
                <a:gd name="T96" fmla="*/ 273 w 325"/>
                <a:gd name="T97" fmla="*/ 0 h 304"/>
                <a:gd name="T98" fmla="*/ 274 w 325"/>
                <a:gd name="T99" fmla="*/ 0 h 304"/>
                <a:gd name="T100" fmla="*/ 322 w 325"/>
                <a:gd name="T101" fmla="*/ 32 h 304"/>
                <a:gd name="T102" fmla="*/ 307 w 325"/>
                <a:gd name="T103" fmla="*/ 37 h 304"/>
                <a:gd name="T104" fmla="*/ 232 w 325"/>
                <a:gd name="T105" fmla="*/ 16 h 304"/>
                <a:gd name="T106" fmla="*/ 180 w 325"/>
                <a:gd name="T107" fmla="*/ 16 h 304"/>
                <a:gd name="T108" fmla="*/ 180 w 325"/>
                <a:gd name="T109" fmla="*/ 0 h 304"/>
                <a:gd name="T110" fmla="*/ 232 w 325"/>
                <a:gd name="T111" fmla="*/ 0 h 304"/>
                <a:gd name="T112" fmla="*/ 232 w 325"/>
                <a:gd name="T113" fmla="*/ 16 h 304"/>
                <a:gd name="T114" fmla="*/ 139 w 325"/>
                <a:gd name="T115" fmla="*/ 16 h 304"/>
                <a:gd name="T116" fmla="*/ 87 w 325"/>
                <a:gd name="T117" fmla="*/ 16 h 304"/>
                <a:gd name="T118" fmla="*/ 87 w 325"/>
                <a:gd name="T119" fmla="*/ 0 h 304"/>
                <a:gd name="T120" fmla="*/ 139 w 325"/>
                <a:gd name="T121" fmla="*/ 0 h 304"/>
                <a:gd name="T122" fmla="*/ 139 w 325"/>
                <a:gd name="T123" fmla="*/ 1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5" h="304">
                  <a:moveTo>
                    <a:pt x="239" y="304"/>
                  </a:moveTo>
                  <a:cubicBezTo>
                    <a:pt x="187" y="304"/>
                    <a:pt x="187" y="304"/>
                    <a:pt x="187" y="304"/>
                  </a:cubicBezTo>
                  <a:cubicBezTo>
                    <a:pt x="187" y="288"/>
                    <a:pt x="187" y="288"/>
                    <a:pt x="187" y="288"/>
                  </a:cubicBezTo>
                  <a:cubicBezTo>
                    <a:pt x="239" y="288"/>
                    <a:pt x="239" y="288"/>
                    <a:pt x="239" y="288"/>
                  </a:cubicBezTo>
                  <a:lnTo>
                    <a:pt x="239" y="304"/>
                  </a:lnTo>
                  <a:close/>
                  <a:moveTo>
                    <a:pt x="146" y="304"/>
                  </a:moveTo>
                  <a:cubicBezTo>
                    <a:pt x="94" y="304"/>
                    <a:pt x="94" y="304"/>
                    <a:pt x="94" y="304"/>
                  </a:cubicBezTo>
                  <a:cubicBezTo>
                    <a:pt x="94" y="288"/>
                    <a:pt x="94" y="288"/>
                    <a:pt x="94" y="288"/>
                  </a:cubicBezTo>
                  <a:cubicBezTo>
                    <a:pt x="146" y="288"/>
                    <a:pt x="146" y="288"/>
                    <a:pt x="146" y="288"/>
                  </a:cubicBezTo>
                  <a:lnTo>
                    <a:pt x="146" y="304"/>
                  </a:lnTo>
                  <a:close/>
                  <a:moveTo>
                    <a:pt x="52" y="304"/>
                  </a:moveTo>
                  <a:cubicBezTo>
                    <a:pt x="52" y="304"/>
                    <a:pt x="52" y="304"/>
                    <a:pt x="52" y="304"/>
                  </a:cubicBezTo>
                  <a:cubicBezTo>
                    <a:pt x="29" y="304"/>
                    <a:pt x="11" y="292"/>
                    <a:pt x="4" y="272"/>
                  </a:cubicBezTo>
                  <a:cubicBezTo>
                    <a:pt x="19" y="267"/>
                    <a:pt x="19" y="267"/>
                    <a:pt x="19" y="267"/>
                  </a:cubicBezTo>
                  <a:cubicBezTo>
                    <a:pt x="23" y="280"/>
                    <a:pt x="36" y="288"/>
                    <a:pt x="52" y="288"/>
                  </a:cubicBezTo>
                  <a:lnTo>
                    <a:pt x="52" y="304"/>
                  </a:lnTo>
                  <a:close/>
                  <a:moveTo>
                    <a:pt x="282" y="303"/>
                  </a:moveTo>
                  <a:cubicBezTo>
                    <a:pt x="280" y="287"/>
                    <a:pt x="280" y="287"/>
                    <a:pt x="280" y="287"/>
                  </a:cubicBezTo>
                  <a:cubicBezTo>
                    <a:pt x="295" y="285"/>
                    <a:pt x="306" y="276"/>
                    <a:pt x="308" y="261"/>
                  </a:cubicBezTo>
                  <a:cubicBezTo>
                    <a:pt x="324" y="264"/>
                    <a:pt x="324" y="264"/>
                    <a:pt x="324" y="264"/>
                  </a:cubicBezTo>
                  <a:cubicBezTo>
                    <a:pt x="320" y="285"/>
                    <a:pt x="304" y="300"/>
                    <a:pt x="282" y="303"/>
                  </a:cubicBezTo>
                  <a:close/>
                  <a:moveTo>
                    <a:pt x="16" y="228"/>
                  </a:moveTo>
                  <a:cubicBezTo>
                    <a:pt x="0" y="228"/>
                    <a:pt x="0" y="228"/>
                    <a:pt x="0" y="228"/>
                  </a:cubicBezTo>
                  <a:cubicBezTo>
                    <a:pt x="0" y="176"/>
                    <a:pt x="0" y="176"/>
                    <a:pt x="0" y="176"/>
                  </a:cubicBezTo>
                  <a:cubicBezTo>
                    <a:pt x="16" y="176"/>
                    <a:pt x="16" y="176"/>
                    <a:pt x="16" y="176"/>
                  </a:cubicBezTo>
                  <a:lnTo>
                    <a:pt x="16" y="228"/>
                  </a:lnTo>
                  <a:close/>
                  <a:moveTo>
                    <a:pt x="325" y="221"/>
                  </a:moveTo>
                  <a:cubicBezTo>
                    <a:pt x="309" y="221"/>
                    <a:pt x="309" y="221"/>
                    <a:pt x="309" y="221"/>
                  </a:cubicBezTo>
                  <a:cubicBezTo>
                    <a:pt x="309" y="169"/>
                    <a:pt x="309" y="169"/>
                    <a:pt x="309" y="169"/>
                  </a:cubicBezTo>
                  <a:cubicBezTo>
                    <a:pt x="325" y="169"/>
                    <a:pt x="325" y="169"/>
                    <a:pt x="325" y="169"/>
                  </a:cubicBezTo>
                  <a:lnTo>
                    <a:pt x="325" y="221"/>
                  </a:lnTo>
                  <a:close/>
                  <a:moveTo>
                    <a:pt x="16" y="135"/>
                  </a:moveTo>
                  <a:cubicBezTo>
                    <a:pt x="0" y="135"/>
                    <a:pt x="0" y="135"/>
                    <a:pt x="0" y="135"/>
                  </a:cubicBezTo>
                  <a:cubicBezTo>
                    <a:pt x="0" y="83"/>
                    <a:pt x="0" y="83"/>
                    <a:pt x="0" y="83"/>
                  </a:cubicBezTo>
                  <a:cubicBezTo>
                    <a:pt x="16" y="83"/>
                    <a:pt x="16" y="83"/>
                    <a:pt x="16" y="83"/>
                  </a:cubicBezTo>
                  <a:lnTo>
                    <a:pt x="16" y="135"/>
                  </a:lnTo>
                  <a:close/>
                  <a:moveTo>
                    <a:pt x="325" y="128"/>
                  </a:moveTo>
                  <a:cubicBezTo>
                    <a:pt x="309" y="128"/>
                    <a:pt x="309" y="128"/>
                    <a:pt x="309" y="128"/>
                  </a:cubicBezTo>
                  <a:cubicBezTo>
                    <a:pt x="309" y="76"/>
                    <a:pt x="309" y="76"/>
                    <a:pt x="309" y="76"/>
                  </a:cubicBezTo>
                  <a:cubicBezTo>
                    <a:pt x="325" y="76"/>
                    <a:pt x="325" y="76"/>
                    <a:pt x="325" y="76"/>
                  </a:cubicBezTo>
                  <a:lnTo>
                    <a:pt x="325" y="128"/>
                  </a:lnTo>
                  <a:close/>
                  <a:moveTo>
                    <a:pt x="17" y="43"/>
                  </a:moveTo>
                  <a:cubicBezTo>
                    <a:pt x="2" y="40"/>
                    <a:pt x="2" y="40"/>
                    <a:pt x="2" y="40"/>
                  </a:cubicBezTo>
                  <a:cubicBezTo>
                    <a:pt x="6" y="18"/>
                    <a:pt x="22" y="4"/>
                    <a:pt x="44" y="1"/>
                  </a:cubicBezTo>
                  <a:cubicBezTo>
                    <a:pt x="46" y="17"/>
                    <a:pt x="46" y="17"/>
                    <a:pt x="46" y="17"/>
                  </a:cubicBezTo>
                  <a:cubicBezTo>
                    <a:pt x="31" y="19"/>
                    <a:pt x="20" y="28"/>
                    <a:pt x="17" y="43"/>
                  </a:cubicBezTo>
                  <a:close/>
                  <a:moveTo>
                    <a:pt x="307" y="37"/>
                  </a:moveTo>
                  <a:cubicBezTo>
                    <a:pt x="302" y="24"/>
                    <a:pt x="290" y="16"/>
                    <a:pt x="274" y="16"/>
                  </a:cubicBezTo>
                  <a:cubicBezTo>
                    <a:pt x="273" y="0"/>
                    <a:pt x="273" y="0"/>
                    <a:pt x="273" y="0"/>
                  </a:cubicBezTo>
                  <a:cubicBezTo>
                    <a:pt x="274" y="0"/>
                    <a:pt x="274" y="0"/>
                    <a:pt x="274" y="0"/>
                  </a:cubicBezTo>
                  <a:cubicBezTo>
                    <a:pt x="297" y="0"/>
                    <a:pt x="315" y="12"/>
                    <a:pt x="322" y="32"/>
                  </a:cubicBezTo>
                  <a:lnTo>
                    <a:pt x="307" y="37"/>
                  </a:lnTo>
                  <a:close/>
                  <a:moveTo>
                    <a:pt x="232" y="16"/>
                  </a:moveTo>
                  <a:cubicBezTo>
                    <a:pt x="180" y="16"/>
                    <a:pt x="180" y="16"/>
                    <a:pt x="180" y="16"/>
                  </a:cubicBezTo>
                  <a:cubicBezTo>
                    <a:pt x="180" y="0"/>
                    <a:pt x="180" y="0"/>
                    <a:pt x="180" y="0"/>
                  </a:cubicBezTo>
                  <a:cubicBezTo>
                    <a:pt x="232" y="0"/>
                    <a:pt x="232" y="0"/>
                    <a:pt x="232" y="0"/>
                  </a:cubicBezTo>
                  <a:lnTo>
                    <a:pt x="232" y="16"/>
                  </a:lnTo>
                  <a:close/>
                  <a:moveTo>
                    <a:pt x="139" y="16"/>
                  </a:moveTo>
                  <a:cubicBezTo>
                    <a:pt x="87" y="16"/>
                    <a:pt x="87" y="16"/>
                    <a:pt x="87" y="16"/>
                  </a:cubicBezTo>
                  <a:cubicBezTo>
                    <a:pt x="87" y="0"/>
                    <a:pt x="87" y="0"/>
                    <a:pt x="87" y="0"/>
                  </a:cubicBezTo>
                  <a:cubicBezTo>
                    <a:pt x="139" y="0"/>
                    <a:pt x="139" y="0"/>
                    <a:pt x="139" y="0"/>
                  </a:cubicBezTo>
                  <a:lnTo>
                    <a:pt x="139"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202" name="Group 201"/>
          <p:cNvGrpSpPr/>
          <p:nvPr/>
        </p:nvGrpSpPr>
        <p:grpSpPr>
          <a:xfrm>
            <a:off x="3276958" y="2929885"/>
            <a:ext cx="793620" cy="742352"/>
            <a:chOff x="9586913" y="2466975"/>
            <a:chExt cx="1228725" cy="1149350"/>
          </a:xfrm>
          <a:solidFill>
            <a:schemeClr val="accent3"/>
          </a:solidFill>
        </p:grpSpPr>
        <p:sp>
          <p:nvSpPr>
            <p:cNvPr id="203" name="Freeform 5"/>
            <p:cNvSpPr>
              <a:spLocks noEditPoints="1"/>
            </p:cNvSpPr>
            <p:nvPr/>
          </p:nvSpPr>
          <p:spPr bwMode="auto">
            <a:xfrm>
              <a:off x="9718676" y="2598738"/>
              <a:ext cx="965200" cy="280988"/>
            </a:xfrm>
            <a:custGeom>
              <a:avLst/>
              <a:gdLst>
                <a:gd name="T0" fmla="*/ 239 w 255"/>
                <a:gd name="T1" fmla="*/ 0 h 74"/>
                <a:gd name="T2" fmla="*/ 0 w 255"/>
                <a:gd name="T3" fmla="*/ 17 h 74"/>
                <a:gd name="T4" fmla="*/ 17 w 255"/>
                <a:gd name="T5" fmla="*/ 74 h 74"/>
                <a:gd name="T6" fmla="*/ 255 w 255"/>
                <a:gd name="T7" fmla="*/ 58 h 74"/>
                <a:gd name="T8" fmla="*/ 27 w 255"/>
                <a:gd name="T9" fmla="*/ 57 h 74"/>
                <a:gd name="T10" fmla="*/ 18 w 255"/>
                <a:gd name="T11" fmla="*/ 49 h 74"/>
                <a:gd name="T12" fmla="*/ 27 w 255"/>
                <a:gd name="T13" fmla="*/ 57 h 74"/>
                <a:gd name="T14" fmla="*/ 18 w 255"/>
                <a:gd name="T15" fmla="*/ 40 h 74"/>
                <a:gd name="T16" fmla="*/ 27 w 255"/>
                <a:gd name="T17" fmla="*/ 31 h 74"/>
                <a:gd name="T18" fmla="*/ 27 w 255"/>
                <a:gd name="T19" fmla="*/ 23 h 74"/>
                <a:gd name="T20" fmla="*/ 18 w 255"/>
                <a:gd name="T21" fmla="*/ 14 h 74"/>
                <a:gd name="T22" fmla="*/ 27 w 255"/>
                <a:gd name="T23" fmla="*/ 23 h 74"/>
                <a:gd name="T24" fmla="*/ 37 w 255"/>
                <a:gd name="T25" fmla="*/ 57 h 74"/>
                <a:gd name="T26" fmla="*/ 46 w 255"/>
                <a:gd name="T27" fmla="*/ 49 h 74"/>
                <a:gd name="T28" fmla="*/ 46 w 255"/>
                <a:gd name="T29" fmla="*/ 40 h 74"/>
                <a:gd name="T30" fmla="*/ 37 w 255"/>
                <a:gd name="T31" fmla="*/ 31 h 74"/>
                <a:gd name="T32" fmla="*/ 46 w 255"/>
                <a:gd name="T33" fmla="*/ 40 h 74"/>
                <a:gd name="T34" fmla="*/ 37 w 255"/>
                <a:gd name="T35" fmla="*/ 23 h 74"/>
                <a:gd name="T36" fmla="*/ 46 w 255"/>
                <a:gd name="T37" fmla="*/ 14 h 74"/>
                <a:gd name="T38" fmla="*/ 65 w 255"/>
                <a:gd name="T39" fmla="*/ 57 h 74"/>
                <a:gd name="T40" fmla="*/ 56 w 255"/>
                <a:gd name="T41" fmla="*/ 49 h 74"/>
                <a:gd name="T42" fmla="*/ 65 w 255"/>
                <a:gd name="T43" fmla="*/ 57 h 74"/>
                <a:gd name="T44" fmla="*/ 56 w 255"/>
                <a:gd name="T45" fmla="*/ 40 h 74"/>
                <a:gd name="T46" fmla="*/ 65 w 255"/>
                <a:gd name="T47" fmla="*/ 31 h 74"/>
                <a:gd name="T48" fmla="*/ 65 w 255"/>
                <a:gd name="T49" fmla="*/ 23 h 74"/>
                <a:gd name="T50" fmla="*/ 56 w 255"/>
                <a:gd name="T51" fmla="*/ 14 h 74"/>
                <a:gd name="T52" fmla="*/ 65 w 255"/>
                <a:gd name="T53" fmla="*/ 23 h 74"/>
                <a:gd name="T54" fmla="*/ 75 w 255"/>
                <a:gd name="T55" fmla="*/ 57 h 74"/>
                <a:gd name="T56" fmla="*/ 83 w 255"/>
                <a:gd name="T57" fmla="*/ 49 h 74"/>
                <a:gd name="T58" fmla="*/ 83 w 255"/>
                <a:gd name="T59" fmla="*/ 40 h 74"/>
                <a:gd name="T60" fmla="*/ 75 w 255"/>
                <a:gd name="T61" fmla="*/ 31 h 74"/>
                <a:gd name="T62" fmla="*/ 83 w 255"/>
                <a:gd name="T63" fmla="*/ 40 h 74"/>
                <a:gd name="T64" fmla="*/ 75 w 255"/>
                <a:gd name="T65" fmla="*/ 23 h 74"/>
                <a:gd name="T66" fmla="*/ 83 w 255"/>
                <a:gd name="T67" fmla="*/ 14 h 74"/>
                <a:gd name="T68" fmla="*/ 102 w 255"/>
                <a:gd name="T69" fmla="*/ 57 h 74"/>
                <a:gd name="T70" fmla="*/ 94 w 255"/>
                <a:gd name="T71" fmla="*/ 49 h 74"/>
                <a:gd name="T72" fmla="*/ 102 w 255"/>
                <a:gd name="T73" fmla="*/ 57 h 74"/>
                <a:gd name="T74" fmla="*/ 94 w 255"/>
                <a:gd name="T75" fmla="*/ 40 h 74"/>
                <a:gd name="T76" fmla="*/ 102 w 255"/>
                <a:gd name="T77" fmla="*/ 31 h 74"/>
                <a:gd name="T78" fmla="*/ 102 w 255"/>
                <a:gd name="T79" fmla="*/ 23 h 74"/>
                <a:gd name="T80" fmla="*/ 94 w 255"/>
                <a:gd name="T81" fmla="*/ 14 h 74"/>
                <a:gd name="T82" fmla="*/ 102 w 255"/>
                <a:gd name="T83" fmla="*/ 23 h 74"/>
                <a:gd name="T84" fmla="*/ 112 w 255"/>
                <a:gd name="T85" fmla="*/ 57 h 74"/>
                <a:gd name="T86" fmla="*/ 121 w 255"/>
                <a:gd name="T87" fmla="*/ 49 h 74"/>
                <a:gd name="T88" fmla="*/ 121 w 255"/>
                <a:gd name="T89" fmla="*/ 40 h 74"/>
                <a:gd name="T90" fmla="*/ 112 w 255"/>
                <a:gd name="T91" fmla="*/ 31 h 74"/>
                <a:gd name="T92" fmla="*/ 121 w 255"/>
                <a:gd name="T93" fmla="*/ 40 h 74"/>
                <a:gd name="T94" fmla="*/ 112 w 255"/>
                <a:gd name="T95" fmla="*/ 23 h 74"/>
                <a:gd name="T96" fmla="*/ 121 w 255"/>
                <a:gd name="T97" fmla="*/ 14 h 74"/>
                <a:gd name="T98" fmla="*/ 140 w 255"/>
                <a:gd name="T99" fmla="*/ 57 h 74"/>
                <a:gd name="T100" fmla="*/ 131 w 255"/>
                <a:gd name="T101" fmla="*/ 49 h 74"/>
                <a:gd name="T102" fmla="*/ 140 w 255"/>
                <a:gd name="T103" fmla="*/ 57 h 74"/>
                <a:gd name="T104" fmla="*/ 131 w 255"/>
                <a:gd name="T105" fmla="*/ 40 h 74"/>
                <a:gd name="T106" fmla="*/ 140 w 255"/>
                <a:gd name="T107" fmla="*/ 31 h 74"/>
                <a:gd name="T108" fmla="*/ 140 w 255"/>
                <a:gd name="T109" fmla="*/ 23 h 74"/>
                <a:gd name="T110" fmla="*/ 131 w 255"/>
                <a:gd name="T111" fmla="*/ 14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7"/>
                  </a:moveTo>
                  <a:cubicBezTo>
                    <a:pt x="255" y="7"/>
                    <a:pt x="248" y="0"/>
                    <a:pt x="239" y="0"/>
                  </a:cubicBezTo>
                  <a:cubicBezTo>
                    <a:pt x="17" y="0"/>
                    <a:pt x="17" y="0"/>
                    <a:pt x="17" y="0"/>
                  </a:cubicBezTo>
                  <a:cubicBezTo>
                    <a:pt x="8" y="0"/>
                    <a:pt x="0" y="7"/>
                    <a:pt x="0" y="17"/>
                  </a:cubicBezTo>
                  <a:cubicBezTo>
                    <a:pt x="0" y="58"/>
                    <a:pt x="0" y="58"/>
                    <a:pt x="0" y="58"/>
                  </a:cubicBezTo>
                  <a:cubicBezTo>
                    <a:pt x="0" y="67"/>
                    <a:pt x="8" y="74"/>
                    <a:pt x="17" y="74"/>
                  </a:cubicBezTo>
                  <a:cubicBezTo>
                    <a:pt x="239" y="74"/>
                    <a:pt x="239" y="74"/>
                    <a:pt x="239" y="74"/>
                  </a:cubicBezTo>
                  <a:cubicBezTo>
                    <a:pt x="248" y="74"/>
                    <a:pt x="255" y="67"/>
                    <a:pt x="255" y="58"/>
                  </a:cubicBezTo>
                  <a:lnTo>
                    <a:pt x="255" y="17"/>
                  </a:lnTo>
                  <a:close/>
                  <a:moveTo>
                    <a:pt x="27" y="57"/>
                  </a:moveTo>
                  <a:cubicBezTo>
                    <a:pt x="18" y="57"/>
                    <a:pt x="18" y="57"/>
                    <a:pt x="18" y="57"/>
                  </a:cubicBezTo>
                  <a:cubicBezTo>
                    <a:pt x="18" y="49"/>
                    <a:pt x="18" y="49"/>
                    <a:pt x="18" y="49"/>
                  </a:cubicBezTo>
                  <a:cubicBezTo>
                    <a:pt x="27" y="49"/>
                    <a:pt x="27" y="49"/>
                    <a:pt x="27" y="49"/>
                  </a:cubicBezTo>
                  <a:lnTo>
                    <a:pt x="27" y="57"/>
                  </a:lnTo>
                  <a:close/>
                  <a:moveTo>
                    <a:pt x="27" y="40"/>
                  </a:moveTo>
                  <a:cubicBezTo>
                    <a:pt x="18" y="40"/>
                    <a:pt x="18" y="40"/>
                    <a:pt x="18" y="40"/>
                  </a:cubicBezTo>
                  <a:cubicBezTo>
                    <a:pt x="18" y="31"/>
                    <a:pt x="18" y="31"/>
                    <a:pt x="18" y="31"/>
                  </a:cubicBezTo>
                  <a:cubicBezTo>
                    <a:pt x="27" y="31"/>
                    <a:pt x="27" y="31"/>
                    <a:pt x="27" y="31"/>
                  </a:cubicBezTo>
                  <a:lnTo>
                    <a:pt x="27" y="40"/>
                  </a:lnTo>
                  <a:close/>
                  <a:moveTo>
                    <a:pt x="27" y="23"/>
                  </a:moveTo>
                  <a:cubicBezTo>
                    <a:pt x="18" y="23"/>
                    <a:pt x="18" y="23"/>
                    <a:pt x="18" y="23"/>
                  </a:cubicBezTo>
                  <a:cubicBezTo>
                    <a:pt x="18" y="14"/>
                    <a:pt x="18" y="14"/>
                    <a:pt x="18" y="14"/>
                  </a:cubicBezTo>
                  <a:cubicBezTo>
                    <a:pt x="27" y="14"/>
                    <a:pt x="27" y="14"/>
                    <a:pt x="27" y="14"/>
                  </a:cubicBezTo>
                  <a:lnTo>
                    <a:pt x="27" y="23"/>
                  </a:lnTo>
                  <a:close/>
                  <a:moveTo>
                    <a:pt x="46" y="57"/>
                  </a:moveTo>
                  <a:cubicBezTo>
                    <a:pt x="37" y="57"/>
                    <a:pt x="37" y="57"/>
                    <a:pt x="37" y="57"/>
                  </a:cubicBezTo>
                  <a:cubicBezTo>
                    <a:pt x="37" y="49"/>
                    <a:pt x="37" y="49"/>
                    <a:pt x="37" y="49"/>
                  </a:cubicBezTo>
                  <a:cubicBezTo>
                    <a:pt x="46" y="49"/>
                    <a:pt x="46" y="49"/>
                    <a:pt x="46" y="49"/>
                  </a:cubicBezTo>
                  <a:lnTo>
                    <a:pt x="46" y="57"/>
                  </a:lnTo>
                  <a:close/>
                  <a:moveTo>
                    <a:pt x="46" y="40"/>
                  </a:moveTo>
                  <a:cubicBezTo>
                    <a:pt x="37" y="40"/>
                    <a:pt x="37" y="40"/>
                    <a:pt x="37" y="40"/>
                  </a:cubicBezTo>
                  <a:cubicBezTo>
                    <a:pt x="37" y="31"/>
                    <a:pt x="37" y="31"/>
                    <a:pt x="37" y="31"/>
                  </a:cubicBezTo>
                  <a:cubicBezTo>
                    <a:pt x="46" y="31"/>
                    <a:pt x="46" y="31"/>
                    <a:pt x="46" y="31"/>
                  </a:cubicBezTo>
                  <a:lnTo>
                    <a:pt x="46" y="40"/>
                  </a:lnTo>
                  <a:close/>
                  <a:moveTo>
                    <a:pt x="46" y="23"/>
                  </a:moveTo>
                  <a:cubicBezTo>
                    <a:pt x="37" y="23"/>
                    <a:pt x="37" y="23"/>
                    <a:pt x="37" y="23"/>
                  </a:cubicBezTo>
                  <a:cubicBezTo>
                    <a:pt x="37" y="14"/>
                    <a:pt x="37" y="14"/>
                    <a:pt x="37" y="14"/>
                  </a:cubicBezTo>
                  <a:cubicBezTo>
                    <a:pt x="46" y="14"/>
                    <a:pt x="46" y="14"/>
                    <a:pt x="46" y="14"/>
                  </a:cubicBezTo>
                  <a:lnTo>
                    <a:pt x="46" y="23"/>
                  </a:lnTo>
                  <a:close/>
                  <a:moveTo>
                    <a:pt x="65" y="57"/>
                  </a:moveTo>
                  <a:cubicBezTo>
                    <a:pt x="56" y="57"/>
                    <a:pt x="56" y="57"/>
                    <a:pt x="56" y="57"/>
                  </a:cubicBezTo>
                  <a:cubicBezTo>
                    <a:pt x="56" y="49"/>
                    <a:pt x="56" y="49"/>
                    <a:pt x="56" y="49"/>
                  </a:cubicBezTo>
                  <a:cubicBezTo>
                    <a:pt x="65" y="49"/>
                    <a:pt x="65" y="49"/>
                    <a:pt x="65" y="49"/>
                  </a:cubicBezTo>
                  <a:lnTo>
                    <a:pt x="65" y="57"/>
                  </a:lnTo>
                  <a:close/>
                  <a:moveTo>
                    <a:pt x="65" y="40"/>
                  </a:moveTo>
                  <a:cubicBezTo>
                    <a:pt x="56" y="40"/>
                    <a:pt x="56" y="40"/>
                    <a:pt x="56" y="40"/>
                  </a:cubicBezTo>
                  <a:cubicBezTo>
                    <a:pt x="56" y="31"/>
                    <a:pt x="56" y="31"/>
                    <a:pt x="56" y="31"/>
                  </a:cubicBezTo>
                  <a:cubicBezTo>
                    <a:pt x="65" y="31"/>
                    <a:pt x="65" y="31"/>
                    <a:pt x="65" y="31"/>
                  </a:cubicBezTo>
                  <a:lnTo>
                    <a:pt x="65" y="40"/>
                  </a:lnTo>
                  <a:close/>
                  <a:moveTo>
                    <a:pt x="65" y="23"/>
                  </a:moveTo>
                  <a:cubicBezTo>
                    <a:pt x="56" y="23"/>
                    <a:pt x="56" y="23"/>
                    <a:pt x="56" y="23"/>
                  </a:cubicBezTo>
                  <a:cubicBezTo>
                    <a:pt x="56" y="14"/>
                    <a:pt x="56" y="14"/>
                    <a:pt x="56" y="14"/>
                  </a:cubicBezTo>
                  <a:cubicBezTo>
                    <a:pt x="65" y="14"/>
                    <a:pt x="65" y="14"/>
                    <a:pt x="65" y="14"/>
                  </a:cubicBezTo>
                  <a:lnTo>
                    <a:pt x="65" y="23"/>
                  </a:lnTo>
                  <a:close/>
                  <a:moveTo>
                    <a:pt x="83" y="57"/>
                  </a:moveTo>
                  <a:cubicBezTo>
                    <a:pt x="75" y="57"/>
                    <a:pt x="75" y="57"/>
                    <a:pt x="75" y="57"/>
                  </a:cubicBezTo>
                  <a:cubicBezTo>
                    <a:pt x="75" y="49"/>
                    <a:pt x="75" y="49"/>
                    <a:pt x="75" y="49"/>
                  </a:cubicBezTo>
                  <a:cubicBezTo>
                    <a:pt x="83" y="49"/>
                    <a:pt x="83" y="49"/>
                    <a:pt x="83" y="49"/>
                  </a:cubicBezTo>
                  <a:lnTo>
                    <a:pt x="83" y="57"/>
                  </a:lnTo>
                  <a:close/>
                  <a:moveTo>
                    <a:pt x="83" y="40"/>
                  </a:moveTo>
                  <a:cubicBezTo>
                    <a:pt x="75" y="40"/>
                    <a:pt x="75" y="40"/>
                    <a:pt x="75" y="40"/>
                  </a:cubicBezTo>
                  <a:cubicBezTo>
                    <a:pt x="75" y="31"/>
                    <a:pt x="75" y="31"/>
                    <a:pt x="75" y="31"/>
                  </a:cubicBezTo>
                  <a:cubicBezTo>
                    <a:pt x="83" y="31"/>
                    <a:pt x="83" y="31"/>
                    <a:pt x="83" y="31"/>
                  </a:cubicBezTo>
                  <a:lnTo>
                    <a:pt x="83" y="40"/>
                  </a:lnTo>
                  <a:close/>
                  <a:moveTo>
                    <a:pt x="83" y="23"/>
                  </a:moveTo>
                  <a:cubicBezTo>
                    <a:pt x="75" y="23"/>
                    <a:pt x="75" y="23"/>
                    <a:pt x="75" y="23"/>
                  </a:cubicBezTo>
                  <a:cubicBezTo>
                    <a:pt x="75" y="14"/>
                    <a:pt x="75" y="14"/>
                    <a:pt x="75" y="14"/>
                  </a:cubicBezTo>
                  <a:cubicBezTo>
                    <a:pt x="83" y="14"/>
                    <a:pt x="83" y="14"/>
                    <a:pt x="83" y="14"/>
                  </a:cubicBezTo>
                  <a:lnTo>
                    <a:pt x="83" y="23"/>
                  </a:lnTo>
                  <a:close/>
                  <a:moveTo>
                    <a:pt x="102" y="57"/>
                  </a:moveTo>
                  <a:cubicBezTo>
                    <a:pt x="94" y="57"/>
                    <a:pt x="94" y="57"/>
                    <a:pt x="94" y="57"/>
                  </a:cubicBezTo>
                  <a:cubicBezTo>
                    <a:pt x="94" y="49"/>
                    <a:pt x="94" y="49"/>
                    <a:pt x="94" y="49"/>
                  </a:cubicBezTo>
                  <a:cubicBezTo>
                    <a:pt x="102" y="49"/>
                    <a:pt x="102" y="49"/>
                    <a:pt x="102" y="49"/>
                  </a:cubicBezTo>
                  <a:lnTo>
                    <a:pt x="102" y="57"/>
                  </a:lnTo>
                  <a:close/>
                  <a:moveTo>
                    <a:pt x="102" y="40"/>
                  </a:moveTo>
                  <a:cubicBezTo>
                    <a:pt x="94" y="40"/>
                    <a:pt x="94" y="40"/>
                    <a:pt x="94" y="40"/>
                  </a:cubicBezTo>
                  <a:cubicBezTo>
                    <a:pt x="94" y="31"/>
                    <a:pt x="94" y="31"/>
                    <a:pt x="94" y="31"/>
                  </a:cubicBezTo>
                  <a:cubicBezTo>
                    <a:pt x="102" y="31"/>
                    <a:pt x="102" y="31"/>
                    <a:pt x="102" y="31"/>
                  </a:cubicBezTo>
                  <a:lnTo>
                    <a:pt x="102" y="40"/>
                  </a:lnTo>
                  <a:close/>
                  <a:moveTo>
                    <a:pt x="102" y="23"/>
                  </a:moveTo>
                  <a:cubicBezTo>
                    <a:pt x="94" y="23"/>
                    <a:pt x="94" y="23"/>
                    <a:pt x="94" y="23"/>
                  </a:cubicBezTo>
                  <a:cubicBezTo>
                    <a:pt x="94" y="14"/>
                    <a:pt x="94" y="14"/>
                    <a:pt x="94" y="14"/>
                  </a:cubicBezTo>
                  <a:cubicBezTo>
                    <a:pt x="102" y="14"/>
                    <a:pt x="102" y="14"/>
                    <a:pt x="102" y="14"/>
                  </a:cubicBezTo>
                  <a:lnTo>
                    <a:pt x="102" y="23"/>
                  </a:lnTo>
                  <a:close/>
                  <a:moveTo>
                    <a:pt x="121" y="57"/>
                  </a:moveTo>
                  <a:cubicBezTo>
                    <a:pt x="112" y="57"/>
                    <a:pt x="112" y="57"/>
                    <a:pt x="112" y="57"/>
                  </a:cubicBezTo>
                  <a:cubicBezTo>
                    <a:pt x="112" y="49"/>
                    <a:pt x="112" y="49"/>
                    <a:pt x="112" y="49"/>
                  </a:cubicBezTo>
                  <a:cubicBezTo>
                    <a:pt x="121" y="49"/>
                    <a:pt x="121" y="49"/>
                    <a:pt x="121" y="49"/>
                  </a:cubicBezTo>
                  <a:lnTo>
                    <a:pt x="121" y="57"/>
                  </a:lnTo>
                  <a:close/>
                  <a:moveTo>
                    <a:pt x="121" y="40"/>
                  </a:moveTo>
                  <a:cubicBezTo>
                    <a:pt x="112" y="40"/>
                    <a:pt x="112" y="40"/>
                    <a:pt x="112" y="40"/>
                  </a:cubicBezTo>
                  <a:cubicBezTo>
                    <a:pt x="112" y="31"/>
                    <a:pt x="112" y="31"/>
                    <a:pt x="112" y="31"/>
                  </a:cubicBezTo>
                  <a:cubicBezTo>
                    <a:pt x="121" y="31"/>
                    <a:pt x="121" y="31"/>
                    <a:pt x="121" y="31"/>
                  </a:cubicBezTo>
                  <a:lnTo>
                    <a:pt x="121" y="40"/>
                  </a:lnTo>
                  <a:close/>
                  <a:moveTo>
                    <a:pt x="121" y="23"/>
                  </a:moveTo>
                  <a:cubicBezTo>
                    <a:pt x="112" y="23"/>
                    <a:pt x="112" y="23"/>
                    <a:pt x="112" y="23"/>
                  </a:cubicBezTo>
                  <a:cubicBezTo>
                    <a:pt x="112" y="14"/>
                    <a:pt x="112" y="14"/>
                    <a:pt x="112" y="14"/>
                  </a:cubicBezTo>
                  <a:cubicBezTo>
                    <a:pt x="121" y="14"/>
                    <a:pt x="121" y="14"/>
                    <a:pt x="121" y="14"/>
                  </a:cubicBezTo>
                  <a:lnTo>
                    <a:pt x="121" y="23"/>
                  </a:lnTo>
                  <a:close/>
                  <a:moveTo>
                    <a:pt x="140" y="57"/>
                  </a:moveTo>
                  <a:cubicBezTo>
                    <a:pt x="131" y="57"/>
                    <a:pt x="131" y="57"/>
                    <a:pt x="131" y="57"/>
                  </a:cubicBezTo>
                  <a:cubicBezTo>
                    <a:pt x="131" y="49"/>
                    <a:pt x="131" y="49"/>
                    <a:pt x="131" y="49"/>
                  </a:cubicBezTo>
                  <a:cubicBezTo>
                    <a:pt x="140" y="49"/>
                    <a:pt x="140" y="49"/>
                    <a:pt x="140" y="49"/>
                  </a:cubicBezTo>
                  <a:lnTo>
                    <a:pt x="140" y="57"/>
                  </a:lnTo>
                  <a:close/>
                  <a:moveTo>
                    <a:pt x="140" y="40"/>
                  </a:moveTo>
                  <a:cubicBezTo>
                    <a:pt x="131" y="40"/>
                    <a:pt x="131" y="40"/>
                    <a:pt x="131" y="40"/>
                  </a:cubicBezTo>
                  <a:cubicBezTo>
                    <a:pt x="131" y="31"/>
                    <a:pt x="131" y="31"/>
                    <a:pt x="131" y="31"/>
                  </a:cubicBezTo>
                  <a:cubicBezTo>
                    <a:pt x="140" y="31"/>
                    <a:pt x="140" y="31"/>
                    <a:pt x="140" y="31"/>
                  </a:cubicBezTo>
                  <a:lnTo>
                    <a:pt x="140" y="40"/>
                  </a:lnTo>
                  <a:close/>
                  <a:moveTo>
                    <a:pt x="140" y="23"/>
                  </a:moveTo>
                  <a:cubicBezTo>
                    <a:pt x="131" y="23"/>
                    <a:pt x="131" y="23"/>
                    <a:pt x="131" y="23"/>
                  </a:cubicBezTo>
                  <a:cubicBezTo>
                    <a:pt x="131" y="14"/>
                    <a:pt x="131" y="14"/>
                    <a:pt x="131" y="14"/>
                  </a:cubicBezTo>
                  <a:cubicBezTo>
                    <a:pt x="140" y="14"/>
                    <a:pt x="140" y="14"/>
                    <a:pt x="140" y="14"/>
                  </a:cubicBezTo>
                  <a:lnTo>
                    <a:pt x="140" y="23"/>
                  </a:lnTo>
                  <a:close/>
                  <a:moveTo>
                    <a:pt x="215" y="53"/>
                  </a:moveTo>
                  <a:cubicBezTo>
                    <a:pt x="205" y="53"/>
                    <a:pt x="197" y="45"/>
                    <a:pt x="197" y="36"/>
                  </a:cubicBezTo>
                  <a:cubicBezTo>
                    <a:pt x="197" y="26"/>
                    <a:pt x="205" y="18"/>
                    <a:pt x="215" y="18"/>
                  </a:cubicBezTo>
                  <a:cubicBezTo>
                    <a:pt x="224" y="18"/>
                    <a:pt x="232" y="26"/>
                    <a:pt x="232" y="36"/>
                  </a:cubicBezTo>
                  <a:cubicBezTo>
                    <a:pt x="232" y="45"/>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4" name="Freeform 6"/>
            <p:cNvSpPr>
              <a:spLocks noEditPoints="1"/>
            </p:cNvSpPr>
            <p:nvPr/>
          </p:nvSpPr>
          <p:spPr bwMode="auto">
            <a:xfrm>
              <a:off x="9718676" y="2901950"/>
              <a:ext cx="965200" cy="279400"/>
            </a:xfrm>
            <a:custGeom>
              <a:avLst/>
              <a:gdLst>
                <a:gd name="T0" fmla="*/ 239 w 255"/>
                <a:gd name="T1" fmla="*/ 0 h 74"/>
                <a:gd name="T2" fmla="*/ 0 w 255"/>
                <a:gd name="T3" fmla="*/ 17 h 74"/>
                <a:gd name="T4" fmla="*/ 17 w 255"/>
                <a:gd name="T5" fmla="*/ 74 h 74"/>
                <a:gd name="T6" fmla="*/ 255 w 255"/>
                <a:gd name="T7" fmla="*/ 57 h 74"/>
                <a:gd name="T8" fmla="*/ 27 w 255"/>
                <a:gd name="T9" fmla="*/ 58 h 74"/>
                <a:gd name="T10" fmla="*/ 18 w 255"/>
                <a:gd name="T11" fmla="*/ 49 h 74"/>
                <a:gd name="T12" fmla="*/ 27 w 255"/>
                <a:gd name="T13" fmla="*/ 58 h 74"/>
                <a:gd name="T14" fmla="*/ 18 w 255"/>
                <a:gd name="T15" fmla="*/ 41 h 74"/>
                <a:gd name="T16" fmla="*/ 27 w 255"/>
                <a:gd name="T17" fmla="*/ 32 h 74"/>
                <a:gd name="T18" fmla="*/ 27 w 255"/>
                <a:gd name="T19" fmla="*/ 23 h 74"/>
                <a:gd name="T20" fmla="*/ 18 w 255"/>
                <a:gd name="T21" fmla="*/ 15 h 74"/>
                <a:gd name="T22" fmla="*/ 27 w 255"/>
                <a:gd name="T23" fmla="*/ 23 h 74"/>
                <a:gd name="T24" fmla="*/ 37 w 255"/>
                <a:gd name="T25" fmla="*/ 58 h 74"/>
                <a:gd name="T26" fmla="*/ 46 w 255"/>
                <a:gd name="T27" fmla="*/ 49 h 74"/>
                <a:gd name="T28" fmla="*/ 46 w 255"/>
                <a:gd name="T29" fmla="*/ 41 h 74"/>
                <a:gd name="T30" fmla="*/ 37 w 255"/>
                <a:gd name="T31" fmla="*/ 32 h 74"/>
                <a:gd name="T32" fmla="*/ 46 w 255"/>
                <a:gd name="T33" fmla="*/ 41 h 74"/>
                <a:gd name="T34" fmla="*/ 37 w 255"/>
                <a:gd name="T35" fmla="*/ 23 h 74"/>
                <a:gd name="T36" fmla="*/ 46 w 255"/>
                <a:gd name="T37" fmla="*/ 15 h 74"/>
                <a:gd name="T38" fmla="*/ 65 w 255"/>
                <a:gd name="T39" fmla="*/ 58 h 74"/>
                <a:gd name="T40" fmla="*/ 56 w 255"/>
                <a:gd name="T41" fmla="*/ 49 h 74"/>
                <a:gd name="T42" fmla="*/ 65 w 255"/>
                <a:gd name="T43" fmla="*/ 58 h 74"/>
                <a:gd name="T44" fmla="*/ 56 w 255"/>
                <a:gd name="T45" fmla="*/ 41 h 74"/>
                <a:gd name="T46" fmla="*/ 65 w 255"/>
                <a:gd name="T47" fmla="*/ 32 h 74"/>
                <a:gd name="T48" fmla="*/ 65 w 255"/>
                <a:gd name="T49" fmla="*/ 23 h 74"/>
                <a:gd name="T50" fmla="*/ 56 w 255"/>
                <a:gd name="T51" fmla="*/ 15 h 74"/>
                <a:gd name="T52" fmla="*/ 65 w 255"/>
                <a:gd name="T53" fmla="*/ 23 h 74"/>
                <a:gd name="T54" fmla="*/ 75 w 255"/>
                <a:gd name="T55" fmla="*/ 58 h 74"/>
                <a:gd name="T56" fmla="*/ 83 w 255"/>
                <a:gd name="T57" fmla="*/ 49 h 74"/>
                <a:gd name="T58" fmla="*/ 83 w 255"/>
                <a:gd name="T59" fmla="*/ 41 h 74"/>
                <a:gd name="T60" fmla="*/ 75 w 255"/>
                <a:gd name="T61" fmla="*/ 32 h 74"/>
                <a:gd name="T62" fmla="*/ 83 w 255"/>
                <a:gd name="T63" fmla="*/ 41 h 74"/>
                <a:gd name="T64" fmla="*/ 75 w 255"/>
                <a:gd name="T65" fmla="*/ 23 h 74"/>
                <a:gd name="T66" fmla="*/ 83 w 255"/>
                <a:gd name="T67" fmla="*/ 15 h 74"/>
                <a:gd name="T68" fmla="*/ 102 w 255"/>
                <a:gd name="T69" fmla="*/ 58 h 74"/>
                <a:gd name="T70" fmla="*/ 94 w 255"/>
                <a:gd name="T71" fmla="*/ 49 h 74"/>
                <a:gd name="T72" fmla="*/ 102 w 255"/>
                <a:gd name="T73" fmla="*/ 58 h 74"/>
                <a:gd name="T74" fmla="*/ 94 w 255"/>
                <a:gd name="T75" fmla="*/ 41 h 74"/>
                <a:gd name="T76" fmla="*/ 102 w 255"/>
                <a:gd name="T77" fmla="*/ 32 h 74"/>
                <a:gd name="T78" fmla="*/ 102 w 255"/>
                <a:gd name="T79" fmla="*/ 23 h 74"/>
                <a:gd name="T80" fmla="*/ 94 w 255"/>
                <a:gd name="T81" fmla="*/ 15 h 74"/>
                <a:gd name="T82" fmla="*/ 102 w 255"/>
                <a:gd name="T83" fmla="*/ 23 h 74"/>
                <a:gd name="T84" fmla="*/ 112 w 255"/>
                <a:gd name="T85" fmla="*/ 58 h 74"/>
                <a:gd name="T86" fmla="*/ 121 w 255"/>
                <a:gd name="T87" fmla="*/ 49 h 74"/>
                <a:gd name="T88" fmla="*/ 121 w 255"/>
                <a:gd name="T89" fmla="*/ 41 h 74"/>
                <a:gd name="T90" fmla="*/ 112 w 255"/>
                <a:gd name="T91" fmla="*/ 32 h 74"/>
                <a:gd name="T92" fmla="*/ 121 w 255"/>
                <a:gd name="T93" fmla="*/ 41 h 74"/>
                <a:gd name="T94" fmla="*/ 112 w 255"/>
                <a:gd name="T95" fmla="*/ 23 h 74"/>
                <a:gd name="T96" fmla="*/ 121 w 255"/>
                <a:gd name="T97" fmla="*/ 15 h 74"/>
                <a:gd name="T98" fmla="*/ 140 w 255"/>
                <a:gd name="T99" fmla="*/ 58 h 74"/>
                <a:gd name="T100" fmla="*/ 131 w 255"/>
                <a:gd name="T101" fmla="*/ 49 h 74"/>
                <a:gd name="T102" fmla="*/ 140 w 255"/>
                <a:gd name="T103" fmla="*/ 58 h 74"/>
                <a:gd name="T104" fmla="*/ 131 w 255"/>
                <a:gd name="T105" fmla="*/ 41 h 74"/>
                <a:gd name="T106" fmla="*/ 140 w 255"/>
                <a:gd name="T107" fmla="*/ 32 h 74"/>
                <a:gd name="T108" fmla="*/ 140 w 255"/>
                <a:gd name="T109" fmla="*/ 23 h 74"/>
                <a:gd name="T110" fmla="*/ 131 w 255"/>
                <a:gd name="T111" fmla="*/ 15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7"/>
                  </a:moveTo>
                  <a:cubicBezTo>
                    <a:pt x="255" y="7"/>
                    <a:pt x="248" y="0"/>
                    <a:pt x="239" y="0"/>
                  </a:cubicBezTo>
                  <a:cubicBezTo>
                    <a:pt x="17" y="0"/>
                    <a:pt x="17" y="0"/>
                    <a:pt x="17" y="0"/>
                  </a:cubicBezTo>
                  <a:cubicBezTo>
                    <a:pt x="8" y="0"/>
                    <a:pt x="0" y="7"/>
                    <a:pt x="0" y="17"/>
                  </a:cubicBezTo>
                  <a:cubicBezTo>
                    <a:pt x="0" y="57"/>
                    <a:pt x="0" y="57"/>
                    <a:pt x="0" y="57"/>
                  </a:cubicBezTo>
                  <a:cubicBezTo>
                    <a:pt x="0" y="67"/>
                    <a:pt x="8" y="74"/>
                    <a:pt x="17" y="74"/>
                  </a:cubicBezTo>
                  <a:cubicBezTo>
                    <a:pt x="239" y="74"/>
                    <a:pt x="239" y="74"/>
                    <a:pt x="239" y="74"/>
                  </a:cubicBezTo>
                  <a:cubicBezTo>
                    <a:pt x="248" y="74"/>
                    <a:pt x="255" y="67"/>
                    <a:pt x="255" y="57"/>
                  </a:cubicBezTo>
                  <a:lnTo>
                    <a:pt x="255" y="17"/>
                  </a:lnTo>
                  <a:close/>
                  <a:moveTo>
                    <a:pt x="27" y="58"/>
                  </a:moveTo>
                  <a:cubicBezTo>
                    <a:pt x="18" y="58"/>
                    <a:pt x="18" y="58"/>
                    <a:pt x="18" y="58"/>
                  </a:cubicBezTo>
                  <a:cubicBezTo>
                    <a:pt x="18" y="49"/>
                    <a:pt x="18" y="49"/>
                    <a:pt x="18" y="49"/>
                  </a:cubicBezTo>
                  <a:cubicBezTo>
                    <a:pt x="27" y="49"/>
                    <a:pt x="27" y="49"/>
                    <a:pt x="27" y="49"/>
                  </a:cubicBezTo>
                  <a:lnTo>
                    <a:pt x="27" y="58"/>
                  </a:lnTo>
                  <a:close/>
                  <a:moveTo>
                    <a:pt x="27" y="41"/>
                  </a:moveTo>
                  <a:cubicBezTo>
                    <a:pt x="18" y="41"/>
                    <a:pt x="18" y="41"/>
                    <a:pt x="18" y="41"/>
                  </a:cubicBezTo>
                  <a:cubicBezTo>
                    <a:pt x="18" y="32"/>
                    <a:pt x="18" y="32"/>
                    <a:pt x="18" y="32"/>
                  </a:cubicBezTo>
                  <a:cubicBezTo>
                    <a:pt x="27" y="32"/>
                    <a:pt x="27" y="32"/>
                    <a:pt x="27" y="32"/>
                  </a:cubicBezTo>
                  <a:lnTo>
                    <a:pt x="27" y="41"/>
                  </a:lnTo>
                  <a:close/>
                  <a:moveTo>
                    <a:pt x="27" y="23"/>
                  </a:moveTo>
                  <a:cubicBezTo>
                    <a:pt x="18" y="23"/>
                    <a:pt x="18" y="23"/>
                    <a:pt x="18" y="23"/>
                  </a:cubicBezTo>
                  <a:cubicBezTo>
                    <a:pt x="18" y="15"/>
                    <a:pt x="18" y="15"/>
                    <a:pt x="18" y="15"/>
                  </a:cubicBezTo>
                  <a:cubicBezTo>
                    <a:pt x="27" y="15"/>
                    <a:pt x="27" y="15"/>
                    <a:pt x="27" y="15"/>
                  </a:cubicBezTo>
                  <a:lnTo>
                    <a:pt x="27" y="23"/>
                  </a:lnTo>
                  <a:close/>
                  <a:moveTo>
                    <a:pt x="46" y="58"/>
                  </a:moveTo>
                  <a:cubicBezTo>
                    <a:pt x="37" y="58"/>
                    <a:pt x="37" y="58"/>
                    <a:pt x="37" y="58"/>
                  </a:cubicBezTo>
                  <a:cubicBezTo>
                    <a:pt x="37" y="49"/>
                    <a:pt x="37" y="49"/>
                    <a:pt x="37" y="49"/>
                  </a:cubicBezTo>
                  <a:cubicBezTo>
                    <a:pt x="46" y="49"/>
                    <a:pt x="46" y="49"/>
                    <a:pt x="46" y="49"/>
                  </a:cubicBezTo>
                  <a:lnTo>
                    <a:pt x="46" y="58"/>
                  </a:lnTo>
                  <a:close/>
                  <a:moveTo>
                    <a:pt x="46" y="41"/>
                  </a:moveTo>
                  <a:cubicBezTo>
                    <a:pt x="37" y="41"/>
                    <a:pt x="37" y="41"/>
                    <a:pt x="37" y="41"/>
                  </a:cubicBezTo>
                  <a:cubicBezTo>
                    <a:pt x="37" y="32"/>
                    <a:pt x="37" y="32"/>
                    <a:pt x="37" y="32"/>
                  </a:cubicBezTo>
                  <a:cubicBezTo>
                    <a:pt x="46" y="32"/>
                    <a:pt x="46" y="32"/>
                    <a:pt x="46" y="32"/>
                  </a:cubicBezTo>
                  <a:lnTo>
                    <a:pt x="46" y="41"/>
                  </a:lnTo>
                  <a:close/>
                  <a:moveTo>
                    <a:pt x="46" y="23"/>
                  </a:moveTo>
                  <a:cubicBezTo>
                    <a:pt x="37" y="23"/>
                    <a:pt x="37" y="23"/>
                    <a:pt x="37" y="23"/>
                  </a:cubicBezTo>
                  <a:cubicBezTo>
                    <a:pt x="37" y="15"/>
                    <a:pt x="37" y="15"/>
                    <a:pt x="37" y="15"/>
                  </a:cubicBezTo>
                  <a:cubicBezTo>
                    <a:pt x="46" y="15"/>
                    <a:pt x="46" y="15"/>
                    <a:pt x="46" y="15"/>
                  </a:cubicBezTo>
                  <a:lnTo>
                    <a:pt x="46" y="23"/>
                  </a:lnTo>
                  <a:close/>
                  <a:moveTo>
                    <a:pt x="65" y="58"/>
                  </a:moveTo>
                  <a:cubicBezTo>
                    <a:pt x="56" y="58"/>
                    <a:pt x="56" y="58"/>
                    <a:pt x="56" y="58"/>
                  </a:cubicBezTo>
                  <a:cubicBezTo>
                    <a:pt x="56" y="49"/>
                    <a:pt x="56" y="49"/>
                    <a:pt x="56" y="49"/>
                  </a:cubicBezTo>
                  <a:cubicBezTo>
                    <a:pt x="65" y="49"/>
                    <a:pt x="65" y="49"/>
                    <a:pt x="65" y="49"/>
                  </a:cubicBezTo>
                  <a:lnTo>
                    <a:pt x="65" y="58"/>
                  </a:lnTo>
                  <a:close/>
                  <a:moveTo>
                    <a:pt x="65" y="41"/>
                  </a:moveTo>
                  <a:cubicBezTo>
                    <a:pt x="56" y="41"/>
                    <a:pt x="56" y="41"/>
                    <a:pt x="56" y="41"/>
                  </a:cubicBezTo>
                  <a:cubicBezTo>
                    <a:pt x="56" y="32"/>
                    <a:pt x="56" y="32"/>
                    <a:pt x="56" y="32"/>
                  </a:cubicBezTo>
                  <a:cubicBezTo>
                    <a:pt x="65" y="32"/>
                    <a:pt x="65" y="32"/>
                    <a:pt x="65" y="32"/>
                  </a:cubicBezTo>
                  <a:lnTo>
                    <a:pt x="65" y="41"/>
                  </a:lnTo>
                  <a:close/>
                  <a:moveTo>
                    <a:pt x="65" y="23"/>
                  </a:moveTo>
                  <a:cubicBezTo>
                    <a:pt x="56" y="23"/>
                    <a:pt x="56" y="23"/>
                    <a:pt x="56" y="23"/>
                  </a:cubicBezTo>
                  <a:cubicBezTo>
                    <a:pt x="56" y="15"/>
                    <a:pt x="56" y="15"/>
                    <a:pt x="56" y="15"/>
                  </a:cubicBezTo>
                  <a:cubicBezTo>
                    <a:pt x="65" y="15"/>
                    <a:pt x="65" y="15"/>
                    <a:pt x="65" y="15"/>
                  </a:cubicBezTo>
                  <a:lnTo>
                    <a:pt x="65" y="23"/>
                  </a:lnTo>
                  <a:close/>
                  <a:moveTo>
                    <a:pt x="83" y="58"/>
                  </a:moveTo>
                  <a:cubicBezTo>
                    <a:pt x="75" y="58"/>
                    <a:pt x="75" y="58"/>
                    <a:pt x="75" y="58"/>
                  </a:cubicBezTo>
                  <a:cubicBezTo>
                    <a:pt x="75" y="49"/>
                    <a:pt x="75" y="49"/>
                    <a:pt x="75" y="49"/>
                  </a:cubicBezTo>
                  <a:cubicBezTo>
                    <a:pt x="83" y="49"/>
                    <a:pt x="83" y="49"/>
                    <a:pt x="83" y="49"/>
                  </a:cubicBezTo>
                  <a:lnTo>
                    <a:pt x="83" y="58"/>
                  </a:lnTo>
                  <a:close/>
                  <a:moveTo>
                    <a:pt x="83" y="41"/>
                  </a:moveTo>
                  <a:cubicBezTo>
                    <a:pt x="75" y="41"/>
                    <a:pt x="75" y="41"/>
                    <a:pt x="75" y="41"/>
                  </a:cubicBezTo>
                  <a:cubicBezTo>
                    <a:pt x="75" y="32"/>
                    <a:pt x="75" y="32"/>
                    <a:pt x="75" y="32"/>
                  </a:cubicBezTo>
                  <a:cubicBezTo>
                    <a:pt x="83" y="32"/>
                    <a:pt x="83" y="32"/>
                    <a:pt x="83" y="32"/>
                  </a:cubicBezTo>
                  <a:lnTo>
                    <a:pt x="83" y="41"/>
                  </a:lnTo>
                  <a:close/>
                  <a:moveTo>
                    <a:pt x="83" y="23"/>
                  </a:moveTo>
                  <a:cubicBezTo>
                    <a:pt x="75" y="23"/>
                    <a:pt x="75" y="23"/>
                    <a:pt x="75" y="23"/>
                  </a:cubicBezTo>
                  <a:cubicBezTo>
                    <a:pt x="75" y="15"/>
                    <a:pt x="75" y="15"/>
                    <a:pt x="75" y="15"/>
                  </a:cubicBezTo>
                  <a:cubicBezTo>
                    <a:pt x="83" y="15"/>
                    <a:pt x="83" y="15"/>
                    <a:pt x="83" y="15"/>
                  </a:cubicBezTo>
                  <a:lnTo>
                    <a:pt x="83" y="23"/>
                  </a:lnTo>
                  <a:close/>
                  <a:moveTo>
                    <a:pt x="102" y="58"/>
                  </a:moveTo>
                  <a:cubicBezTo>
                    <a:pt x="94" y="58"/>
                    <a:pt x="94" y="58"/>
                    <a:pt x="94" y="58"/>
                  </a:cubicBezTo>
                  <a:cubicBezTo>
                    <a:pt x="94" y="49"/>
                    <a:pt x="94" y="49"/>
                    <a:pt x="94" y="49"/>
                  </a:cubicBezTo>
                  <a:cubicBezTo>
                    <a:pt x="102" y="49"/>
                    <a:pt x="102" y="49"/>
                    <a:pt x="102" y="49"/>
                  </a:cubicBezTo>
                  <a:lnTo>
                    <a:pt x="102" y="58"/>
                  </a:lnTo>
                  <a:close/>
                  <a:moveTo>
                    <a:pt x="102" y="41"/>
                  </a:moveTo>
                  <a:cubicBezTo>
                    <a:pt x="94" y="41"/>
                    <a:pt x="94" y="41"/>
                    <a:pt x="94" y="41"/>
                  </a:cubicBezTo>
                  <a:cubicBezTo>
                    <a:pt x="94" y="32"/>
                    <a:pt x="94" y="32"/>
                    <a:pt x="94" y="32"/>
                  </a:cubicBezTo>
                  <a:cubicBezTo>
                    <a:pt x="102" y="32"/>
                    <a:pt x="102" y="32"/>
                    <a:pt x="102" y="32"/>
                  </a:cubicBezTo>
                  <a:lnTo>
                    <a:pt x="102" y="41"/>
                  </a:lnTo>
                  <a:close/>
                  <a:moveTo>
                    <a:pt x="102" y="23"/>
                  </a:moveTo>
                  <a:cubicBezTo>
                    <a:pt x="94" y="23"/>
                    <a:pt x="94" y="23"/>
                    <a:pt x="94" y="23"/>
                  </a:cubicBezTo>
                  <a:cubicBezTo>
                    <a:pt x="94" y="15"/>
                    <a:pt x="94" y="15"/>
                    <a:pt x="94" y="15"/>
                  </a:cubicBezTo>
                  <a:cubicBezTo>
                    <a:pt x="102" y="15"/>
                    <a:pt x="102" y="15"/>
                    <a:pt x="102" y="15"/>
                  </a:cubicBezTo>
                  <a:lnTo>
                    <a:pt x="102" y="23"/>
                  </a:lnTo>
                  <a:close/>
                  <a:moveTo>
                    <a:pt x="121" y="58"/>
                  </a:moveTo>
                  <a:cubicBezTo>
                    <a:pt x="112" y="58"/>
                    <a:pt x="112" y="58"/>
                    <a:pt x="112" y="58"/>
                  </a:cubicBezTo>
                  <a:cubicBezTo>
                    <a:pt x="112" y="49"/>
                    <a:pt x="112" y="49"/>
                    <a:pt x="112" y="49"/>
                  </a:cubicBezTo>
                  <a:cubicBezTo>
                    <a:pt x="121" y="49"/>
                    <a:pt x="121" y="49"/>
                    <a:pt x="121" y="49"/>
                  </a:cubicBezTo>
                  <a:lnTo>
                    <a:pt x="121" y="58"/>
                  </a:lnTo>
                  <a:close/>
                  <a:moveTo>
                    <a:pt x="121" y="41"/>
                  </a:moveTo>
                  <a:cubicBezTo>
                    <a:pt x="112" y="41"/>
                    <a:pt x="112" y="41"/>
                    <a:pt x="112" y="41"/>
                  </a:cubicBezTo>
                  <a:cubicBezTo>
                    <a:pt x="112" y="32"/>
                    <a:pt x="112" y="32"/>
                    <a:pt x="112" y="32"/>
                  </a:cubicBezTo>
                  <a:cubicBezTo>
                    <a:pt x="121" y="32"/>
                    <a:pt x="121" y="32"/>
                    <a:pt x="121" y="32"/>
                  </a:cubicBezTo>
                  <a:lnTo>
                    <a:pt x="121" y="41"/>
                  </a:lnTo>
                  <a:close/>
                  <a:moveTo>
                    <a:pt x="121" y="23"/>
                  </a:moveTo>
                  <a:cubicBezTo>
                    <a:pt x="112" y="23"/>
                    <a:pt x="112" y="23"/>
                    <a:pt x="112" y="23"/>
                  </a:cubicBezTo>
                  <a:cubicBezTo>
                    <a:pt x="112" y="15"/>
                    <a:pt x="112" y="15"/>
                    <a:pt x="112" y="15"/>
                  </a:cubicBezTo>
                  <a:cubicBezTo>
                    <a:pt x="121" y="15"/>
                    <a:pt x="121" y="15"/>
                    <a:pt x="121" y="15"/>
                  </a:cubicBezTo>
                  <a:lnTo>
                    <a:pt x="121" y="23"/>
                  </a:lnTo>
                  <a:close/>
                  <a:moveTo>
                    <a:pt x="140" y="58"/>
                  </a:moveTo>
                  <a:cubicBezTo>
                    <a:pt x="131" y="58"/>
                    <a:pt x="131" y="58"/>
                    <a:pt x="131" y="58"/>
                  </a:cubicBezTo>
                  <a:cubicBezTo>
                    <a:pt x="131" y="49"/>
                    <a:pt x="131" y="49"/>
                    <a:pt x="131" y="49"/>
                  </a:cubicBezTo>
                  <a:cubicBezTo>
                    <a:pt x="140" y="49"/>
                    <a:pt x="140" y="49"/>
                    <a:pt x="140" y="49"/>
                  </a:cubicBezTo>
                  <a:lnTo>
                    <a:pt x="140" y="58"/>
                  </a:lnTo>
                  <a:close/>
                  <a:moveTo>
                    <a:pt x="140" y="41"/>
                  </a:moveTo>
                  <a:cubicBezTo>
                    <a:pt x="131" y="41"/>
                    <a:pt x="131" y="41"/>
                    <a:pt x="131" y="41"/>
                  </a:cubicBezTo>
                  <a:cubicBezTo>
                    <a:pt x="131" y="32"/>
                    <a:pt x="131" y="32"/>
                    <a:pt x="131" y="32"/>
                  </a:cubicBezTo>
                  <a:cubicBezTo>
                    <a:pt x="140" y="32"/>
                    <a:pt x="140" y="32"/>
                    <a:pt x="140" y="32"/>
                  </a:cubicBezTo>
                  <a:lnTo>
                    <a:pt x="140" y="41"/>
                  </a:lnTo>
                  <a:close/>
                  <a:moveTo>
                    <a:pt x="140" y="23"/>
                  </a:moveTo>
                  <a:cubicBezTo>
                    <a:pt x="131" y="23"/>
                    <a:pt x="131" y="23"/>
                    <a:pt x="131" y="23"/>
                  </a:cubicBezTo>
                  <a:cubicBezTo>
                    <a:pt x="131" y="15"/>
                    <a:pt x="131" y="15"/>
                    <a:pt x="131" y="15"/>
                  </a:cubicBezTo>
                  <a:cubicBezTo>
                    <a:pt x="140" y="15"/>
                    <a:pt x="140" y="15"/>
                    <a:pt x="140" y="15"/>
                  </a:cubicBezTo>
                  <a:lnTo>
                    <a:pt x="140" y="23"/>
                  </a:lnTo>
                  <a:close/>
                  <a:moveTo>
                    <a:pt x="215" y="53"/>
                  </a:moveTo>
                  <a:cubicBezTo>
                    <a:pt x="205" y="53"/>
                    <a:pt x="197" y="46"/>
                    <a:pt x="197" y="36"/>
                  </a:cubicBezTo>
                  <a:cubicBezTo>
                    <a:pt x="197" y="27"/>
                    <a:pt x="205" y="19"/>
                    <a:pt x="215" y="19"/>
                  </a:cubicBezTo>
                  <a:cubicBezTo>
                    <a:pt x="224" y="19"/>
                    <a:pt x="232" y="27"/>
                    <a:pt x="232" y="36"/>
                  </a:cubicBezTo>
                  <a:cubicBezTo>
                    <a:pt x="232" y="46"/>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5" name="Freeform 7"/>
            <p:cNvSpPr>
              <a:spLocks noEditPoints="1"/>
            </p:cNvSpPr>
            <p:nvPr/>
          </p:nvSpPr>
          <p:spPr bwMode="auto">
            <a:xfrm>
              <a:off x="9718676" y="3205163"/>
              <a:ext cx="965200" cy="279400"/>
            </a:xfrm>
            <a:custGeom>
              <a:avLst/>
              <a:gdLst>
                <a:gd name="T0" fmla="*/ 239 w 255"/>
                <a:gd name="T1" fmla="*/ 0 h 74"/>
                <a:gd name="T2" fmla="*/ 0 w 255"/>
                <a:gd name="T3" fmla="*/ 16 h 74"/>
                <a:gd name="T4" fmla="*/ 17 w 255"/>
                <a:gd name="T5" fmla="*/ 74 h 74"/>
                <a:gd name="T6" fmla="*/ 255 w 255"/>
                <a:gd name="T7" fmla="*/ 57 h 74"/>
                <a:gd name="T8" fmla="*/ 27 w 255"/>
                <a:gd name="T9" fmla="*/ 58 h 74"/>
                <a:gd name="T10" fmla="*/ 18 w 255"/>
                <a:gd name="T11" fmla="*/ 49 h 74"/>
                <a:gd name="T12" fmla="*/ 27 w 255"/>
                <a:gd name="T13" fmla="*/ 58 h 74"/>
                <a:gd name="T14" fmla="*/ 18 w 255"/>
                <a:gd name="T15" fmla="*/ 40 h 74"/>
                <a:gd name="T16" fmla="*/ 27 w 255"/>
                <a:gd name="T17" fmla="*/ 32 h 74"/>
                <a:gd name="T18" fmla="*/ 27 w 255"/>
                <a:gd name="T19" fmla="*/ 23 h 74"/>
                <a:gd name="T20" fmla="*/ 18 w 255"/>
                <a:gd name="T21" fmla="*/ 14 h 74"/>
                <a:gd name="T22" fmla="*/ 27 w 255"/>
                <a:gd name="T23" fmla="*/ 23 h 74"/>
                <a:gd name="T24" fmla="*/ 37 w 255"/>
                <a:gd name="T25" fmla="*/ 58 h 74"/>
                <a:gd name="T26" fmla="*/ 46 w 255"/>
                <a:gd name="T27" fmla="*/ 49 h 74"/>
                <a:gd name="T28" fmla="*/ 46 w 255"/>
                <a:gd name="T29" fmla="*/ 40 h 74"/>
                <a:gd name="T30" fmla="*/ 37 w 255"/>
                <a:gd name="T31" fmla="*/ 32 h 74"/>
                <a:gd name="T32" fmla="*/ 46 w 255"/>
                <a:gd name="T33" fmla="*/ 40 h 74"/>
                <a:gd name="T34" fmla="*/ 37 w 255"/>
                <a:gd name="T35" fmla="*/ 23 h 74"/>
                <a:gd name="T36" fmla="*/ 46 w 255"/>
                <a:gd name="T37" fmla="*/ 14 h 74"/>
                <a:gd name="T38" fmla="*/ 65 w 255"/>
                <a:gd name="T39" fmla="*/ 58 h 74"/>
                <a:gd name="T40" fmla="*/ 56 w 255"/>
                <a:gd name="T41" fmla="*/ 49 h 74"/>
                <a:gd name="T42" fmla="*/ 65 w 255"/>
                <a:gd name="T43" fmla="*/ 58 h 74"/>
                <a:gd name="T44" fmla="*/ 56 w 255"/>
                <a:gd name="T45" fmla="*/ 40 h 74"/>
                <a:gd name="T46" fmla="*/ 65 w 255"/>
                <a:gd name="T47" fmla="*/ 32 h 74"/>
                <a:gd name="T48" fmla="*/ 65 w 255"/>
                <a:gd name="T49" fmla="*/ 23 h 74"/>
                <a:gd name="T50" fmla="*/ 56 w 255"/>
                <a:gd name="T51" fmla="*/ 14 h 74"/>
                <a:gd name="T52" fmla="*/ 65 w 255"/>
                <a:gd name="T53" fmla="*/ 23 h 74"/>
                <a:gd name="T54" fmla="*/ 75 w 255"/>
                <a:gd name="T55" fmla="*/ 58 h 74"/>
                <a:gd name="T56" fmla="*/ 83 w 255"/>
                <a:gd name="T57" fmla="*/ 49 h 74"/>
                <a:gd name="T58" fmla="*/ 83 w 255"/>
                <a:gd name="T59" fmla="*/ 40 h 74"/>
                <a:gd name="T60" fmla="*/ 75 w 255"/>
                <a:gd name="T61" fmla="*/ 32 h 74"/>
                <a:gd name="T62" fmla="*/ 83 w 255"/>
                <a:gd name="T63" fmla="*/ 40 h 74"/>
                <a:gd name="T64" fmla="*/ 75 w 255"/>
                <a:gd name="T65" fmla="*/ 23 h 74"/>
                <a:gd name="T66" fmla="*/ 83 w 255"/>
                <a:gd name="T67" fmla="*/ 14 h 74"/>
                <a:gd name="T68" fmla="*/ 102 w 255"/>
                <a:gd name="T69" fmla="*/ 58 h 74"/>
                <a:gd name="T70" fmla="*/ 94 w 255"/>
                <a:gd name="T71" fmla="*/ 49 h 74"/>
                <a:gd name="T72" fmla="*/ 102 w 255"/>
                <a:gd name="T73" fmla="*/ 58 h 74"/>
                <a:gd name="T74" fmla="*/ 94 w 255"/>
                <a:gd name="T75" fmla="*/ 40 h 74"/>
                <a:gd name="T76" fmla="*/ 102 w 255"/>
                <a:gd name="T77" fmla="*/ 32 h 74"/>
                <a:gd name="T78" fmla="*/ 102 w 255"/>
                <a:gd name="T79" fmla="*/ 23 h 74"/>
                <a:gd name="T80" fmla="*/ 94 w 255"/>
                <a:gd name="T81" fmla="*/ 14 h 74"/>
                <a:gd name="T82" fmla="*/ 102 w 255"/>
                <a:gd name="T83" fmla="*/ 23 h 74"/>
                <a:gd name="T84" fmla="*/ 112 w 255"/>
                <a:gd name="T85" fmla="*/ 58 h 74"/>
                <a:gd name="T86" fmla="*/ 121 w 255"/>
                <a:gd name="T87" fmla="*/ 49 h 74"/>
                <a:gd name="T88" fmla="*/ 121 w 255"/>
                <a:gd name="T89" fmla="*/ 40 h 74"/>
                <a:gd name="T90" fmla="*/ 112 w 255"/>
                <a:gd name="T91" fmla="*/ 32 h 74"/>
                <a:gd name="T92" fmla="*/ 121 w 255"/>
                <a:gd name="T93" fmla="*/ 40 h 74"/>
                <a:gd name="T94" fmla="*/ 112 w 255"/>
                <a:gd name="T95" fmla="*/ 23 h 74"/>
                <a:gd name="T96" fmla="*/ 121 w 255"/>
                <a:gd name="T97" fmla="*/ 14 h 74"/>
                <a:gd name="T98" fmla="*/ 140 w 255"/>
                <a:gd name="T99" fmla="*/ 58 h 74"/>
                <a:gd name="T100" fmla="*/ 131 w 255"/>
                <a:gd name="T101" fmla="*/ 49 h 74"/>
                <a:gd name="T102" fmla="*/ 140 w 255"/>
                <a:gd name="T103" fmla="*/ 58 h 74"/>
                <a:gd name="T104" fmla="*/ 131 w 255"/>
                <a:gd name="T105" fmla="*/ 40 h 74"/>
                <a:gd name="T106" fmla="*/ 140 w 255"/>
                <a:gd name="T107" fmla="*/ 32 h 74"/>
                <a:gd name="T108" fmla="*/ 140 w 255"/>
                <a:gd name="T109" fmla="*/ 23 h 74"/>
                <a:gd name="T110" fmla="*/ 131 w 255"/>
                <a:gd name="T111" fmla="*/ 14 h 74"/>
                <a:gd name="T112" fmla="*/ 140 w 255"/>
                <a:gd name="T113" fmla="*/ 23 h 74"/>
                <a:gd name="T114" fmla="*/ 197 w 255"/>
                <a:gd name="T115" fmla="*/ 36 h 74"/>
                <a:gd name="T116" fmla="*/ 232 w 255"/>
                <a:gd name="T117"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74">
                  <a:moveTo>
                    <a:pt x="255" y="16"/>
                  </a:moveTo>
                  <a:cubicBezTo>
                    <a:pt x="255" y="7"/>
                    <a:pt x="248" y="0"/>
                    <a:pt x="239" y="0"/>
                  </a:cubicBezTo>
                  <a:cubicBezTo>
                    <a:pt x="17" y="0"/>
                    <a:pt x="17" y="0"/>
                    <a:pt x="17" y="0"/>
                  </a:cubicBezTo>
                  <a:cubicBezTo>
                    <a:pt x="8" y="0"/>
                    <a:pt x="0" y="7"/>
                    <a:pt x="0" y="16"/>
                  </a:cubicBezTo>
                  <a:cubicBezTo>
                    <a:pt x="0" y="57"/>
                    <a:pt x="0" y="57"/>
                    <a:pt x="0" y="57"/>
                  </a:cubicBezTo>
                  <a:cubicBezTo>
                    <a:pt x="0" y="67"/>
                    <a:pt x="8" y="74"/>
                    <a:pt x="17" y="74"/>
                  </a:cubicBezTo>
                  <a:cubicBezTo>
                    <a:pt x="239" y="74"/>
                    <a:pt x="239" y="74"/>
                    <a:pt x="239" y="74"/>
                  </a:cubicBezTo>
                  <a:cubicBezTo>
                    <a:pt x="248" y="74"/>
                    <a:pt x="255" y="67"/>
                    <a:pt x="255" y="57"/>
                  </a:cubicBezTo>
                  <a:lnTo>
                    <a:pt x="255" y="16"/>
                  </a:lnTo>
                  <a:close/>
                  <a:moveTo>
                    <a:pt x="27" y="58"/>
                  </a:moveTo>
                  <a:cubicBezTo>
                    <a:pt x="18" y="58"/>
                    <a:pt x="18" y="58"/>
                    <a:pt x="18" y="58"/>
                  </a:cubicBezTo>
                  <a:cubicBezTo>
                    <a:pt x="18" y="49"/>
                    <a:pt x="18" y="49"/>
                    <a:pt x="18" y="49"/>
                  </a:cubicBezTo>
                  <a:cubicBezTo>
                    <a:pt x="27" y="49"/>
                    <a:pt x="27" y="49"/>
                    <a:pt x="27" y="49"/>
                  </a:cubicBezTo>
                  <a:lnTo>
                    <a:pt x="27" y="58"/>
                  </a:lnTo>
                  <a:close/>
                  <a:moveTo>
                    <a:pt x="27" y="40"/>
                  </a:moveTo>
                  <a:cubicBezTo>
                    <a:pt x="18" y="40"/>
                    <a:pt x="18" y="40"/>
                    <a:pt x="18" y="40"/>
                  </a:cubicBezTo>
                  <a:cubicBezTo>
                    <a:pt x="18" y="32"/>
                    <a:pt x="18" y="32"/>
                    <a:pt x="18" y="32"/>
                  </a:cubicBezTo>
                  <a:cubicBezTo>
                    <a:pt x="27" y="32"/>
                    <a:pt x="27" y="32"/>
                    <a:pt x="27" y="32"/>
                  </a:cubicBezTo>
                  <a:lnTo>
                    <a:pt x="27" y="40"/>
                  </a:lnTo>
                  <a:close/>
                  <a:moveTo>
                    <a:pt x="27" y="23"/>
                  </a:moveTo>
                  <a:cubicBezTo>
                    <a:pt x="18" y="23"/>
                    <a:pt x="18" y="23"/>
                    <a:pt x="18" y="23"/>
                  </a:cubicBezTo>
                  <a:cubicBezTo>
                    <a:pt x="18" y="14"/>
                    <a:pt x="18" y="14"/>
                    <a:pt x="18" y="14"/>
                  </a:cubicBezTo>
                  <a:cubicBezTo>
                    <a:pt x="27" y="14"/>
                    <a:pt x="27" y="14"/>
                    <a:pt x="27" y="14"/>
                  </a:cubicBezTo>
                  <a:lnTo>
                    <a:pt x="27" y="23"/>
                  </a:lnTo>
                  <a:close/>
                  <a:moveTo>
                    <a:pt x="46" y="58"/>
                  </a:moveTo>
                  <a:cubicBezTo>
                    <a:pt x="37" y="58"/>
                    <a:pt x="37" y="58"/>
                    <a:pt x="37" y="58"/>
                  </a:cubicBezTo>
                  <a:cubicBezTo>
                    <a:pt x="37" y="49"/>
                    <a:pt x="37" y="49"/>
                    <a:pt x="37" y="49"/>
                  </a:cubicBezTo>
                  <a:cubicBezTo>
                    <a:pt x="46" y="49"/>
                    <a:pt x="46" y="49"/>
                    <a:pt x="46" y="49"/>
                  </a:cubicBezTo>
                  <a:lnTo>
                    <a:pt x="46" y="58"/>
                  </a:lnTo>
                  <a:close/>
                  <a:moveTo>
                    <a:pt x="46" y="40"/>
                  </a:moveTo>
                  <a:cubicBezTo>
                    <a:pt x="37" y="40"/>
                    <a:pt x="37" y="40"/>
                    <a:pt x="37" y="40"/>
                  </a:cubicBezTo>
                  <a:cubicBezTo>
                    <a:pt x="37" y="32"/>
                    <a:pt x="37" y="32"/>
                    <a:pt x="37" y="32"/>
                  </a:cubicBezTo>
                  <a:cubicBezTo>
                    <a:pt x="46" y="32"/>
                    <a:pt x="46" y="32"/>
                    <a:pt x="46" y="32"/>
                  </a:cubicBezTo>
                  <a:lnTo>
                    <a:pt x="46" y="40"/>
                  </a:lnTo>
                  <a:close/>
                  <a:moveTo>
                    <a:pt x="46" y="23"/>
                  </a:moveTo>
                  <a:cubicBezTo>
                    <a:pt x="37" y="23"/>
                    <a:pt x="37" y="23"/>
                    <a:pt x="37" y="23"/>
                  </a:cubicBezTo>
                  <a:cubicBezTo>
                    <a:pt x="37" y="14"/>
                    <a:pt x="37" y="14"/>
                    <a:pt x="37" y="14"/>
                  </a:cubicBezTo>
                  <a:cubicBezTo>
                    <a:pt x="46" y="14"/>
                    <a:pt x="46" y="14"/>
                    <a:pt x="46" y="14"/>
                  </a:cubicBezTo>
                  <a:lnTo>
                    <a:pt x="46" y="23"/>
                  </a:lnTo>
                  <a:close/>
                  <a:moveTo>
                    <a:pt x="65" y="58"/>
                  </a:moveTo>
                  <a:cubicBezTo>
                    <a:pt x="56" y="58"/>
                    <a:pt x="56" y="58"/>
                    <a:pt x="56" y="58"/>
                  </a:cubicBezTo>
                  <a:cubicBezTo>
                    <a:pt x="56" y="49"/>
                    <a:pt x="56" y="49"/>
                    <a:pt x="56" y="49"/>
                  </a:cubicBezTo>
                  <a:cubicBezTo>
                    <a:pt x="65" y="49"/>
                    <a:pt x="65" y="49"/>
                    <a:pt x="65" y="49"/>
                  </a:cubicBezTo>
                  <a:lnTo>
                    <a:pt x="65" y="58"/>
                  </a:lnTo>
                  <a:close/>
                  <a:moveTo>
                    <a:pt x="65" y="40"/>
                  </a:moveTo>
                  <a:cubicBezTo>
                    <a:pt x="56" y="40"/>
                    <a:pt x="56" y="40"/>
                    <a:pt x="56" y="40"/>
                  </a:cubicBezTo>
                  <a:cubicBezTo>
                    <a:pt x="56" y="32"/>
                    <a:pt x="56" y="32"/>
                    <a:pt x="56" y="32"/>
                  </a:cubicBezTo>
                  <a:cubicBezTo>
                    <a:pt x="65" y="32"/>
                    <a:pt x="65" y="32"/>
                    <a:pt x="65" y="32"/>
                  </a:cubicBezTo>
                  <a:lnTo>
                    <a:pt x="65" y="40"/>
                  </a:lnTo>
                  <a:close/>
                  <a:moveTo>
                    <a:pt x="65" y="23"/>
                  </a:moveTo>
                  <a:cubicBezTo>
                    <a:pt x="56" y="23"/>
                    <a:pt x="56" y="23"/>
                    <a:pt x="56" y="23"/>
                  </a:cubicBezTo>
                  <a:cubicBezTo>
                    <a:pt x="56" y="14"/>
                    <a:pt x="56" y="14"/>
                    <a:pt x="56" y="14"/>
                  </a:cubicBezTo>
                  <a:cubicBezTo>
                    <a:pt x="65" y="14"/>
                    <a:pt x="65" y="14"/>
                    <a:pt x="65" y="14"/>
                  </a:cubicBezTo>
                  <a:lnTo>
                    <a:pt x="65" y="23"/>
                  </a:lnTo>
                  <a:close/>
                  <a:moveTo>
                    <a:pt x="83" y="58"/>
                  </a:moveTo>
                  <a:cubicBezTo>
                    <a:pt x="75" y="58"/>
                    <a:pt x="75" y="58"/>
                    <a:pt x="75" y="58"/>
                  </a:cubicBezTo>
                  <a:cubicBezTo>
                    <a:pt x="75" y="49"/>
                    <a:pt x="75" y="49"/>
                    <a:pt x="75" y="49"/>
                  </a:cubicBezTo>
                  <a:cubicBezTo>
                    <a:pt x="83" y="49"/>
                    <a:pt x="83" y="49"/>
                    <a:pt x="83" y="49"/>
                  </a:cubicBezTo>
                  <a:lnTo>
                    <a:pt x="83" y="58"/>
                  </a:lnTo>
                  <a:close/>
                  <a:moveTo>
                    <a:pt x="83" y="40"/>
                  </a:moveTo>
                  <a:cubicBezTo>
                    <a:pt x="75" y="40"/>
                    <a:pt x="75" y="40"/>
                    <a:pt x="75" y="40"/>
                  </a:cubicBezTo>
                  <a:cubicBezTo>
                    <a:pt x="75" y="32"/>
                    <a:pt x="75" y="32"/>
                    <a:pt x="75" y="32"/>
                  </a:cubicBezTo>
                  <a:cubicBezTo>
                    <a:pt x="83" y="32"/>
                    <a:pt x="83" y="32"/>
                    <a:pt x="83" y="32"/>
                  </a:cubicBezTo>
                  <a:lnTo>
                    <a:pt x="83" y="40"/>
                  </a:lnTo>
                  <a:close/>
                  <a:moveTo>
                    <a:pt x="83" y="23"/>
                  </a:moveTo>
                  <a:cubicBezTo>
                    <a:pt x="75" y="23"/>
                    <a:pt x="75" y="23"/>
                    <a:pt x="75" y="23"/>
                  </a:cubicBezTo>
                  <a:cubicBezTo>
                    <a:pt x="75" y="14"/>
                    <a:pt x="75" y="14"/>
                    <a:pt x="75" y="14"/>
                  </a:cubicBezTo>
                  <a:cubicBezTo>
                    <a:pt x="83" y="14"/>
                    <a:pt x="83" y="14"/>
                    <a:pt x="83" y="14"/>
                  </a:cubicBezTo>
                  <a:lnTo>
                    <a:pt x="83" y="23"/>
                  </a:lnTo>
                  <a:close/>
                  <a:moveTo>
                    <a:pt x="102" y="58"/>
                  </a:moveTo>
                  <a:cubicBezTo>
                    <a:pt x="94" y="58"/>
                    <a:pt x="94" y="58"/>
                    <a:pt x="94" y="58"/>
                  </a:cubicBezTo>
                  <a:cubicBezTo>
                    <a:pt x="94" y="49"/>
                    <a:pt x="94" y="49"/>
                    <a:pt x="94" y="49"/>
                  </a:cubicBezTo>
                  <a:cubicBezTo>
                    <a:pt x="102" y="49"/>
                    <a:pt x="102" y="49"/>
                    <a:pt x="102" y="49"/>
                  </a:cubicBezTo>
                  <a:lnTo>
                    <a:pt x="102" y="58"/>
                  </a:lnTo>
                  <a:close/>
                  <a:moveTo>
                    <a:pt x="102" y="40"/>
                  </a:moveTo>
                  <a:cubicBezTo>
                    <a:pt x="94" y="40"/>
                    <a:pt x="94" y="40"/>
                    <a:pt x="94" y="40"/>
                  </a:cubicBezTo>
                  <a:cubicBezTo>
                    <a:pt x="94" y="32"/>
                    <a:pt x="94" y="32"/>
                    <a:pt x="94" y="32"/>
                  </a:cubicBezTo>
                  <a:cubicBezTo>
                    <a:pt x="102" y="32"/>
                    <a:pt x="102" y="32"/>
                    <a:pt x="102" y="32"/>
                  </a:cubicBezTo>
                  <a:lnTo>
                    <a:pt x="102" y="40"/>
                  </a:lnTo>
                  <a:close/>
                  <a:moveTo>
                    <a:pt x="102" y="23"/>
                  </a:moveTo>
                  <a:cubicBezTo>
                    <a:pt x="94" y="23"/>
                    <a:pt x="94" y="23"/>
                    <a:pt x="94" y="23"/>
                  </a:cubicBezTo>
                  <a:cubicBezTo>
                    <a:pt x="94" y="14"/>
                    <a:pt x="94" y="14"/>
                    <a:pt x="94" y="14"/>
                  </a:cubicBezTo>
                  <a:cubicBezTo>
                    <a:pt x="102" y="14"/>
                    <a:pt x="102" y="14"/>
                    <a:pt x="102" y="14"/>
                  </a:cubicBezTo>
                  <a:lnTo>
                    <a:pt x="102" y="23"/>
                  </a:lnTo>
                  <a:close/>
                  <a:moveTo>
                    <a:pt x="121" y="58"/>
                  </a:moveTo>
                  <a:cubicBezTo>
                    <a:pt x="112" y="58"/>
                    <a:pt x="112" y="58"/>
                    <a:pt x="112" y="58"/>
                  </a:cubicBezTo>
                  <a:cubicBezTo>
                    <a:pt x="112" y="49"/>
                    <a:pt x="112" y="49"/>
                    <a:pt x="112" y="49"/>
                  </a:cubicBezTo>
                  <a:cubicBezTo>
                    <a:pt x="121" y="49"/>
                    <a:pt x="121" y="49"/>
                    <a:pt x="121" y="49"/>
                  </a:cubicBezTo>
                  <a:lnTo>
                    <a:pt x="121" y="58"/>
                  </a:lnTo>
                  <a:close/>
                  <a:moveTo>
                    <a:pt x="121" y="40"/>
                  </a:moveTo>
                  <a:cubicBezTo>
                    <a:pt x="112" y="40"/>
                    <a:pt x="112" y="40"/>
                    <a:pt x="112" y="40"/>
                  </a:cubicBezTo>
                  <a:cubicBezTo>
                    <a:pt x="112" y="32"/>
                    <a:pt x="112" y="32"/>
                    <a:pt x="112" y="32"/>
                  </a:cubicBezTo>
                  <a:cubicBezTo>
                    <a:pt x="121" y="32"/>
                    <a:pt x="121" y="32"/>
                    <a:pt x="121" y="32"/>
                  </a:cubicBezTo>
                  <a:lnTo>
                    <a:pt x="121" y="40"/>
                  </a:lnTo>
                  <a:close/>
                  <a:moveTo>
                    <a:pt x="121" y="23"/>
                  </a:moveTo>
                  <a:cubicBezTo>
                    <a:pt x="112" y="23"/>
                    <a:pt x="112" y="23"/>
                    <a:pt x="112" y="23"/>
                  </a:cubicBezTo>
                  <a:cubicBezTo>
                    <a:pt x="112" y="14"/>
                    <a:pt x="112" y="14"/>
                    <a:pt x="112" y="14"/>
                  </a:cubicBezTo>
                  <a:cubicBezTo>
                    <a:pt x="121" y="14"/>
                    <a:pt x="121" y="14"/>
                    <a:pt x="121" y="14"/>
                  </a:cubicBezTo>
                  <a:lnTo>
                    <a:pt x="121" y="23"/>
                  </a:lnTo>
                  <a:close/>
                  <a:moveTo>
                    <a:pt x="140" y="58"/>
                  </a:moveTo>
                  <a:cubicBezTo>
                    <a:pt x="131" y="58"/>
                    <a:pt x="131" y="58"/>
                    <a:pt x="131" y="58"/>
                  </a:cubicBezTo>
                  <a:cubicBezTo>
                    <a:pt x="131" y="49"/>
                    <a:pt x="131" y="49"/>
                    <a:pt x="131" y="49"/>
                  </a:cubicBezTo>
                  <a:cubicBezTo>
                    <a:pt x="140" y="49"/>
                    <a:pt x="140" y="49"/>
                    <a:pt x="140" y="49"/>
                  </a:cubicBezTo>
                  <a:lnTo>
                    <a:pt x="140" y="58"/>
                  </a:lnTo>
                  <a:close/>
                  <a:moveTo>
                    <a:pt x="140" y="40"/>
                  </a:moveTo>
                  <a:cubicBezTo>
                    <a:pt x="131" y="40"/>
                    <a:pt x="131" y="40"/>
                    <a:pt x="131" y="40"/>
                  </a:cubicBezTo>
                  <a:cubicBezTo>
                    <a:pt x="131" y="32"/>
                    <a:pt x="131" y="32"/>
                    <a:pt x="131" y="32"/>
                  </a:cubicBezTo>
                  <a:cubicBezTo>
                    <a:pt x="140" y="32"/>
                    <a:pt x="140" y="32"/>
                    <a:pt x="140" y="32"/>
                  </a:cubicBezTo>
                  <a:lnTo>
                    <a:pt x="140" y="40"/>
                  </a:lnTo>
                  <a:close/>
                  <a:moveTo>
                    <a:pt x="140" y="23"/>
                  </a:moveTo>
                  <a:cubicBezTo>
                    <a:pt x="131" y="23"/>
                    <a:pt x="131" y="23"/>
                    <a:pt x="131" y="23"/>
                  </a:cubicBezTo>
                  <a:cubicBezTo>
                    <a:pt x="131" y="14"/>
                    <a:pt x="131" y="14"/>
                    <a:pt x="131" y="14"/>
                  </a:cubicBezTo>
                  <a:cubicBezTo>
                    <a:pt x="140" y="14"/>
                    <a:pt x="140" y="14"/>
                    <a:pt x="140" y="14"/>
                  </a:cubicBezTo>
                  <a:lnTo>
                    <a:pt x="140" y="23"/>
                  </a:lnTo>
                  <a:close/>
                  <a:moveTo>
                    <a:pt x="215" y="53"/>
                  </a:moveTo>
                  <a:cubicBezTo>
                    <a:pt x="205" y="53"/>
                    <a:pt x="197" y="45"/>
                    <a:pt x="197" y="36"/>
                  </a:cubicBezTo>
                  <a:cubicBezTo>
                    <a:pt x="197" y="26"/>
                    <a:pt x="205" y="19"/>
                    <a:pt x="215" y="19"/>
                  </a:cubicBezTo>
                  <a:cubicBezTo>
                    <a:pt x="224" y="19"/>
                    <a:pt x="232" y="26"/>
                    <a:pt x="232" y="36"/>
                  </a:cubicBezTo>
                  <a:cubicBezTo>
                    <a:pt x="232" y="45"/>
                    <a:pt x="224" y="53"/>
                    <a:pt x="215"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7" name="Freeform 8"/>
            <p:cNvSpPr>
              <a:spLocks noEditPoints="1"/>
            </p:cNvSpPr>
            <p:nvPr/>
          </p:nvSpPr>
          <p:spPr bwMode="auto">
            <a:xfrm>
              <a:off x="9586913" y="2466975"/>
              <a:ext cx="1228725" cy="1149350"/>
            </a:xfrm>
            <a:custGeom>
              <a:avLst/>
              <a:gdLst>
                <a:gd name="T0" fmla="*/ 239 w 325"/>
                <a:gd name="T1" fmla="*/ 304 h 304"/>
                <a:gd name="T2" fmla="*/ 187 w 325"/>
                <a:gd name="T3" fmla="*/ 304 h 304"/>
                <a:gd name="T4" fmla="*/ 187 w 325"/>
                <a:gd name="T5" fmla="*/ 288 h 304"/>
                <a:gd name="T6" fmla="*/ 239 w 325"/>
                <a:gd name="T7" fmla="*/ 288 h 304"/>
                <a:gd name="T8" fmla="*/ 239 w 325"/>
                <a:gd name="T9" fmla="*/ 304 h 304"/>
                <a:gd name="T10" fmla="*/ 146 w 325"/>
                <a:gd name="T11" fmla="*/ 304 h 304"/>
                <a:gd name="T12" fmla="*/ 94 w 325"/>
                <a:gd name="T13" fmla="*/ 304 h 304"/>
                <a:gd name="T14" fmla="*/ 94 w 325"/>
                <a:gd name="T15" fmla="*/ 288 h 304"/>
                <a:gd name="T16" fmla="*/ 146 w 325"/>
                <a:gd name="T17" fmla="*/ 288 h 304"/>
                <a:gd name="T18" fmla="*/ 146 w 325"/>
                <a:gd name="T19" fmla="*/ 304 h 304"/>
                <a:gd name="T20" fmla="*/ 52 w 325"/>
                <a:gd name="T21" fmla="*/ 304 h 304"/>
                <a:gd name="T22" fmla="*/ 52 w 325"/>
                <a:gd name="T23" fmla="*/ 304 h 304"/>
                <a:gd name="T24" fmla="*/ 4 w 325"/>
                <a:gd name="T25" fmla="*/ 272 h 304"/>
                <a:gd name="T26" fmla="*/ 19 w 325"/>
                <a:gd name="T27" fmla="*/ 267 h 304"/>
                <a:gd name="T28" fmla="*/ 52 w 325"/>
                <a:gd name="T29" fmla="*/ 288 h 304"/>
                <a:gd name="T30" fmla="*/ 52 w 325"/>
                <a:gd name="T31" fmla="*/ 304 h 304"/>
                <a:gd name="T32" fmla="*/ 282 w 325"/>
                <a:gd name="T33" fmla="*/ 303 h 304"/>
                <a:gd name="T34" fmla="*/ 280 w 325"/>
                <a:gd name="T35" fmla="*/ 287 h 304"/>
                <a:gd name="T36" fmla="*/ 308 w 325"/>
                <a:gd name="T37" fmla="*/ 261 h 304"/>
                <a:gd name="T38" fmla="*/ 324 w 325"/>
                <a:gd name="T39" fmla="*/ 264 h 304"/>
                <a:gd name="T40" fmla="*/ 282 w 325"/>
                <a:gd name="T41" fmla="*/ 303 h 304"/>
                <a:gd name="T42" fmla="*/ 16 w 325"/>
                <a:gd name="T43" fmla="*/ 228 h 304"/>
                <a:gd name="T44" fmla="*/ 0 w 325"/>
                <a:gd name="T45" fmla="*/ 228 h 304"/>
                <a:gd name="T46" fmla="*/ 0 w 325"/>
                <a:gd name="T47" fmla="*/ 176 h 304"/>
                <a:gd name="T48" fmla="*/ 16 w 325"/>
                <a:gd name="T49" fmla="*/ 176 h 304"/>
                <a:gd name="T50" fmla="*/ 16 w 325"/>
                <a:gd name="T51" fmla="*/ 228 h 304"/>
                <a:gd name="T52" fmla="*/ 325 w 325"/>
                <a:gd name="T53" fmla="*/ 221 h 304"/>
                <a:gd name="T54" fmla="*/ 309 w 325"/>
                <a:gd name="T55" fmla="*/ 221 h 304"/>
                <a:gd name="T56" fmla="*/ 309 w 325"/>
                <a:gd name="T57" fmla="*/ 169 h 304"/>
                <a:gd name="T58" fmla="*/ 325 w 325"/>
                <a:gd name="T59" fmla="*/ 169 h 304"/>
                <a:gd name="T60" fmla="*/ 325 w 325"/>
                <a:gd name="T61" fmla="*/ 221 h 304"/>
                <a:gd name="T62" fmla="*/ 16 w 325"/>
                <a:gd name="T63" fmla="*/ 135 h 304"/>
                <a:gd name="T64" fmla="*/ 0 w 325"/>
                <a:gd name="T65" fmla="*/ 135 h 304"/>
                <a:gd name="T66" fmla="*/ 0 w 325"/>
                <a:gd name="T67" fmla="*/ 83 h 304"/>
                <a:gd name="T68" fmla="*/ 16 w 325"/>
                <a:gd name="T69" fmla="*/ 83 h 304"/>
                <a:gd name="T70" fmla="*/ 16 w 325"/>
                <a:gd name="T71" fmla="*/ 135 h 304"/>
                <a:gd name="T72" fmla="*/ 325 w 325"/>
                <a:gd name="T73" fmla="*/ 128 h 304"/>
                <a:gd name="T74" fmla="*/ 309 w 325"/>
                <a:gd name="T75" fmla="*/ 128 h 304"/>
                <a:gd name="T76" fmla="*/ 309 w 325"/>
                <a:gd name="T77" fmla="*/ 76 h 304"/>
                <a:gd name="T78" fmla="*/ 325 w 325"/>
                <a:gd name="T79" fmla="*/ 76 h 304"/>
                <a:gd name="T80" fmla="*/ 325 w 325"/>
                <a:gd name="T81" fmla="*/ 128 h 304"/>
                <a:gd name="T82" fmla="*/ 17 w 325"/>
                <a:gd name="T83" fmla="*/ 43 h 304"/>
                <a:gd name="T84" fmla="*/ 2 w 325"/>
                <a:gd name="T85" fmla="*/ 40 h 304"/>
                <a:gd name="T86" fmla="*/ 44 w 325"/>
                <a:gd name="T87" fmla="*/ 1 h 304"/>
                <a:gd name="T88" fmla="*/ 46 w 325"/>
                <a:gd name="T89" fmla="*/ 17 h 304"/>
                <a:gd name="T90" fmla="*/ 17 w 325"/>
                <a:gd name="T91" fmla="*/ 43 h 304"/>
                <a:gd name="T92" fmla="*/ 307 w 325"/>
                <a:gd name="T93" fmla="*/ 37 h 304"/>
                <a:gd name="T94" fmla="*/ 274 w 325"/>
                <a:gd name="T95" fmla="*/ 16 h 304"/>
                <a:gd name="T96" fmla="*/ 273 w 325"/>
                <a:gd name="T97" fmla="*/ 0 h 304"/>
                <a:gd name="T98" fmla="*/ 274 w 325"/>
                <a:gd name="T99" fmla="*/ 0 h 304"/>
                <a:gd name="T100" fmla="*/ 322 w 325"/>
                <a:gd name="T101" fmla="*/ 32 h 304"/>
                <a:gd name="T102" fmla="*/ 307 w 325"/>
                <a:gd name="T103" fmla="*/ 37 h 304"/>
                <a:gd name="T104" fmla="*/ 232 w 325"/>
                <a:gd name="T105" fmla="*/ 16 h 304"/>
                <a:gd name="T106" fmla="*/ 180 w 325"/>
                <a:gd name="T107" fmla="*/ 16 h 304"/>
                <a:gd name="T108" fmla="*/ 180 w 325"/>
                <a:gd name="T109" fmla="*/ 0 h 304"/>
                <a:gd name="T110" fmla="*/ 232 w 325"/>
                <a:gd name="T111" fmla="*/ 0 h 304"/>
                <a:gd name="T112" fmla="*/ 232 w 325"/>
                <a:gd name="T113" fmla="*/ 16 h 304"/>
                <a:gd name="T114" fmla="*/ 139 w 325"/>
                <a:gd name="T115" fmla="*/ 16 h 304"/>
                <a:gd name="T116" fmla="*/ 87 w 325"/>
                <a:gd name="T117" fmla="*/ 16 h 304"/>
                <a:gd name="T118" fmla="*/ 87 w 325"/>
                <a:gd name="T119" fmla="*/ 0 h 304"/>
                <a:gd name="T120" fmla="*/ 139 w 325"/>
                <a:gd name="T121" fmla="*/ 0 h 304"/>
                <a:gd name="T122" fmla="*/ 139 w 325"/>
                <a:gd name="T123" fmla="*/ 1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5" h="304">
                  <a:moveTo>
                    <a:pt x="239" y="304"/>
                  </a:moveTo>
                  <a:cubicBezTo>
                    <a:pt x="187" y="304"/>
                    <a:pt x="187" y="304"/>
                    <a:pt x="187" y="304"/>
                  </a:cubicBezTo>
                  <a:cubicBezTo>
                    <a:pt x="187" y="288"/>
                    <a:pt x="187" y="288"/>
                    <a:pt x="187" y="288"/>
                  </a:cubicBezTo>
                  <a:cubicBezTo>
                    <a:pt x="239" y="288"/>
                    <a:pt x="239" y="288"/>
                    <a:pt x="239" y="288"/>
                  </a:cubicBezTo>
                  <a:lnTo>
                    <a:pt x="239" y="304"/>
                  </a:lnTo>
                  <a:close/>
                  <a:moveTo>
                    <a:pt x="146" y="304"/>
                  </a:moveTo>
                  <a:cubicBezTo>
                    <a:pt x="94" y="304"/>
                    <a:pt x="94" y="304"/>
                    <a:pt x="94" y="304"/>
                  </a:cubicBezTo>
                  <a:cubicBezTo>
                    <a:pt x="94" y="288"/>
                    <a:pt x="94" y="288"/>
                    <a:pt x="94" y="288"/>
                  </a:cubicBezTo>
                  <a:cubicBezTo>
                    <a:pt x="146" y="288"/>
                    <a:pt x="146" y="288"/>
                    <a:pt x="146" y="288"/>
                  </a:cubicBezTo>
                  <a:lnTo>
                    <a:pt x="146" y="304"/>
                  </a:lnTo>
                  <a:close/>
                  <a:moveTo>
                    <a:pt x="52" y="304"/>
                  </a:moveTo>
                  <a:cubicBezTo>
                    <a:pt x="52" y="304"/>
                    <a:pt x="52" y="304"/>
                    <a:pt x="52" y="304"/>
                  </a:cubicBezTo>
                  <a:cubicBezTo>
                    <a:pt x="29" y="304"/>
                    <a:pt x="11" y="292"/>
                    <a:pt x="4" y="272"/>
                  </a:cubicBezTo>
                  <a:cubicBezTo>
                    <a:pt x="19" y="267"/>
                    <a:pt x="19" y="267"/>
                    <a:pt x="19" y="267"/>
                  </a:cubicBezTo>
                  <a:cubicBezTo>
                    <a:pt x="23" y="280"/>
                    <a:pt x="36" y="288"/>
                    <a:pt x="52" y="288"/>
                  </a:cubicBezTo>
                  <a:lnTo>
                    <a:pt x="52" y="304"/>
                  </a:lnTo>
                  <a:close/>
                  <a:moveTo>
                    <a:pt x="282" y="303"/>
                  </a:moveTo>
                  <a:cubicBezTo>
                    <a:pt x="280" y="287"/>
                    <a:pt x="280" y="287"/>
                    <a:pt x="280" y="287"/>
                  </a:cubicBezTo>
                  <a:cubicBezTo>
                    <a:pt x="295" y="285"/>
                    <a:pt x="306" y="276"/>
                    <a:pt x="308" y="261"/>
                  </a:cubicBezTo>
                  <a:cubicBezTo>
                    <a:pt x="324" y="264"/>
                    <a:pt x="324" y="264"/>
                    <a:pt x="324" y="264"/>
                  </a:cubicBezTo>
                  <a:cubicBezTo>
                    <a:pt x="320" y="285"/>
                    <a:pt x="304" y="300"/>
                    <a:pt x="282" y="303"/>
                  </a:cubicBezTo>
                  <a:close/>
                  <a:moveTo>
                    <a:pt x="16" y="228"/>
                  </a:moveTo>
                  <a:cubicBezTo>
                    <a:pt x="0" y="228"/>
                    <a:pt x="0" y="228"/>
                    <a:pt x="0" y="228"/>
                  </a:cubicBezTo>
                  <a:cubicBezTo>
                    <a:pt x="0" y="176"/>
                    <a:pt x="0" y="176"/>
                    <a:pt x="0" y="176"/>
                  </a:cubicBezTo>
                  <a:cubicBezTo>
                    <a:pt x="16" y="176"/>
                    <a:pt x="16" y="176"/>
                    <a:pt x="16" y="176"/>
                  </a:cubicBezTo>
                  <a:lnTo>
                    <a:pt x="16" y="228"/>
                  </a:lnTo>
                  <a:close/>
                  <a:moveTo>
                    <a:pt x="325" y="221"/>
                  </a:moveTo>
                  <a:cubicBezTo>
                    <a:pt x="309" y="221"/>
                    <a:pt x="309" y="221"/>
                    <a:pt x="309" y="221"/>
                  </a:cubicBezTo>
                  <a:cubicBezTo>
                    <a:pt x="309" y="169"/>
                    <a:pt x="309" y="169"/>
                    <a:pt x="309" y="169"/>
                  </a:cubicBezTo>
                  <a:cubicBezTo>
                    <a:pt x="325" y="169"/>
                    <a:pt x="325" y="169"/>
                    <a:pt x="325" y="169"/>
                  </a:cubicBezTo>
                  <a:lnTo>
                    <a:pt x="325" y="221"/>
                  </a:lnTo>
                  <a:close/>
                  <a:moveTo>
                    <a:pt x="16" y="135"/>
                  </a:moveTo>
                  <a:cubicBezTo>
                    <a:pt x="0" y="135"/>
                    <a:pt x="0" y="135"/>
                    <a:pt x="0" y="135"/>
                  </a:cubicBezTo>
                  <a:cubicBezTo>
                    <a:pt x="0" y="83"/>
                    <a:pt x="0" y="83"/>
                    <a:pt x="0" y="83"/>
                  </a:cubicBezTo>
                  <a:cubicBezTo>
                    <a:pt x="16" y="83"/>
                    <a:pt x="16" y="83"/>
                    <a:pt x="16" y="83"/>
                  </a:cubicBezTo>
                  <a:lnTo>
                    <a:pt x="16" y="135"/>
                  </a:lnTo>
                  <a:close/>
                  <a:moveTo>
                    <a:pt x="325" y="128"/>
                  </a:moveTo>
                  <a:cubicBezTo>
                    <a:pt x="309" y="128"/>
                    <a:pt x="309" y="128"/>
                    <a:pt x="309" y="128"/>
                  </a:cubicBezTo>
                  <a:cubicBezTo>
                    <a:pt x="309" y="76"/>
                    <a:pt x="309" y="76"/>
                    <a:pt x="309" y="76"/>
                  </a:cubicBezTo>
                  <a:cubicBezTo>
                    <a:pt x="325" y="76"/>
                    <a:pt x="325" y="76"/>
                    <a:pt x="325" y="76"/>
                  </a:cubicBezTo>
                  <a:lnTo>
                    <a:pt x="325" y="128"/>
                  </a:lnTo>
                  <a:close/>
                  <a:moveTo>
                    <a:pt x="17" y="43"/>
                  </a:moveTo>
                  <a:cubicBezTo>
                    <a:pt x="2" y="40"/>
                    <a:pt x="2" y="40"/>
                    <a:pt x="2" y="40"/>
                  </a:cubicBezTo>
                  <a:cubicBezTo>
                    <a:pt x="6" y="18"/>
                    <a:pt x="22" y="4"/>
                    <a:pt x="44" y="1"/>
                  </a:cubicBezTo>
                  <a:cubicBezTo>
                    <a:pt x="46" y="17"/>
                    <a:pt x="46" y="17"/>
                    <a:pt x="46" y="17"/>
                  </a:cubicBezTo>
                  <a:cubicBezTo>
                    <a:pt x="31" y="19"/>
                    <a:pt x="20" y="28"/>
                    <a:pt x="17" y="43"/>
                  </a:cubicBezTo>
                  <a:close/>
                  <a:moveTo>
                    <a:pt x="307" y="37"/>
                  </a:moveTo>
                  <a:cubicBezTo>
                    <a:pt x="302" y="24"/>
                    <a:pt x="290" y="16"/>
                    <a:pt x="274" y="16"/>
                  </a:cubicBezTo>
                  <a:cubicBezTo>
                    <a:pt x="273" y="0"/>
                    <a:pt x="273" y="0"/>
                    <a:pt x="273" y="0"/>
                  </a:cubicBezTo>
                  <a:cubicBezTo>
                    <a:pt x="274" y="0"/>
                    <a:pt x="274" y="0"/>
                    <a:pt x="274" y="0"/>
                  </a:cubicBezTo>
                  <a:cubicBezTo>
                    <a:pt x="297" y="0"/>
                    <a:pt x="315" y="12"/>
                    <a:pt x="322" y="32"/>
                  </a:cubicBezTo>
                  <a:lnTo>
                    <a:pt x="307" y="37"/>
                  </a:lnTo>
                  <a:close/>
                  <a:moveTo>
                    <a:pt x="232" y="16"/>
                  </a:moveTo>
                  <a:cubicBezTo>
                    <a:pt x="180" y="16"/>
                    <a:pt x="180" y="16"/>
                    <a:pt x="180" y="16"/>
                  </a:cubicBezTo>
                  <a:cubicBezTo>
                    <a:pt x="180" y="0"/>
                    <a:pt x="180" y="0"/>
                    <a:pt x="180" y="0"/>
                  </a:cubicBezTo>
                  <a:cubicBezTo>
                    <a:pt x="232" y="0"/>
                    <a:pt x="232" y="0"/>
                    <a:pt x="232" y="0"/>
                  </a:cubicBezTo>
                  <a:lnTo>
                    <a:pt x="232" y="16"/>
                  </a:lnTo>
                  <a:close/>
                  <a:moveTo>
                    <a:pt x="139" y="16"/>
                  </a:moveTo>
                  <a:cubicBezTo>
                    <a:pt x="87" y="16"/>
                    <a:pt x="87" y="16"/>
                    <a:pt x="87" y="16"/>
                  </a:cubicBezTo>
                  <a:cubicBezTo>
                    <a:pt x="87" y="0"/>
                    <a:pt x="87" y="0"/>
                    <a:pt x="87" y="0"/>
                  </a:cubicBezTo>
                  <a:cubicBezTo>
                    <a:pt x="139" y="0"/>
                    <a:pt x="139" y="0"/>
                    <a:pt x="139" y="0"/>
                  </a:cubicBezTo>
                  <a:lnTo>
                    <a:pt x="139"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208" name="Rectangle 207"/>
          <p:cNvSpPr/>
          <p:nvPr/>
        </p:nvSpPr>
        <p:spPr>
          <a:xfrm>
            <a:off x="312175" y="2057771"/>
            <a:ext cx="2241062" cy="345497"/>
          </a:xfrm>
          <a:prstGeom prst="rect">
            <a:avLst/>
          </a:prstGeom>
          <a:solidFill>
            <a:srgbClr val="002050"/>
          </a:solidFill>
        </p:spPr>
        <p:txBody>
          <a:bodyPr wrap="square" lIns="87815" tIns="43908" rIns="87815" bIns="43908" anchor="ctr">
            <a:noAutofit/>
          </a:bodyPr>
          <a:lstStyle/>
          <a:p>
            <a:pPr algn="ctr" defTabSz="895343"/>
            <a:r>
              <a:rPr lang="en-US" sz="1765" dirty="0">
                <a:solidFill>
                  <a:srgbClr val="FFFFFF"/>
                </a:solidFill>
              </a:rPr>
              <a:t>Virtual machine A</a:t>
            </a:r>
          </a:p>
        </p:txBody>
      </p:sp>
      <p:sp>
        <p:nvSpPr>
          <p:cNvPr id="210" name="Rectangle 209"/>
          <p:cNvSpPr/>
          <p:nvPr/>
        </p:nvSpPr>
        <p:spPr>
          <a:xfrm>
            <a:off x="2553237" y="2057771"/>
            <a:ext cx="2241062" cy="345497"/>
          </a:xfrm>
          <a:prstGeom prst="rect">
            <a:avLst/>
          </a:prstGeom>
          <a:solidFill>
            <a:srgbClr val="002050"/>
          </a:solidFill>
        </p:spPr>
        <p:txBody>
          <a:bodyPr wrap="square" lIns="87815" tIns="43908" rIns="87815" bIns="43908" anchor="ctr">
            <a:noAutofit/>
          </a:bodyPr>
          <a:lstStyle/>
          <a:p>
            <a:pPr algn="ctr" defTabSz="895343"/>
            <a:r>
              <a:rPr lang="en-US" sz="1765" dirty="0">
                <a:solidFill>
                  <a:srgbClr val="FFFFFF"/>
                </a:solidFill>
              </a:rPr>
              <a:t>Virtual machine B</a:t>
            </a:r>
          </a:p>
        </p:txBody>
      </p:sp>
      <p:sp>
        <p:nvSpPr>
          <p:cNvPr id="224" name="Rectangle 223"/>
          <p:cNvSpPr/>
          <p:nvPr/>
        </p:nvSpPr>
        <p:spPr>
          <a:xfrm>
            <a:off x="312175" y="4198177"/>
            <a:ext cx="4482124" cy="345497"/>
          </a:xfrm>
          <a:prstGeom prst="rect">
            <a:avLst/>
          </a:prstGeom>
          <a:solidFill>
            <a:schemeClr val="accent6"/>
          </a:solidFill>
        </p:spPr>
        <p:txBody>
          <a:bodyPr wrap="square" lIns="87815" tIns="43908" rIns="87815" bIns="43908" anchor="ctr">
            <a:noAutofit/>
          </a:bodyPr>
          <a:lstStyle/>
          <a:p>
            <a:pPr algn="ctr" defTabSz="895343"/>
            <a:r>
              <a:rPr lang="en-US" sz="1961" dirty="0">
                <a:solidFill>
                  <a:srgbClr val="FFFFFF"/>
                </a:solidFill>
              </a:rPr>
              <a:t>Virtualization</a:t>
            </a:r>
          </a:p>
        </p:txBody>
      </p:sp>
      <p:grpSp>
        <p:nvGrpSpPr>
          <p:cNvPr id="230" name="Group 229"/>
          <p:cNvGrpSpPr/>
          <p:nvPr/>
        </p:nvGrpSpPr>
        <p:grpSpPr>
          <a:xfrm>
            <a:off x="2300339" y="5433260"/>
            <a:ext cx="505795" cy="465488"/>
            <a:chOff x="10333038" y="2271713"/>
            <a:chExt cx="1235075" cy="1136651"/>
          </a:xfrm>
          <a:solidFill>
            <a:schemeClr val="tx2"/>
          </a:solidFill>
        </p:grpSpPr>
        <p:sp>
          <p:nvSpPr>
            <p:cNvPr id="227" name="Freeform 12"/>
            <p:cNvSpPr>
              <a:spLocks noEditPoints="1"/>
            </p:cNvSpPr>
            <p:nvPr/>
          </p:nvSpPr>
          <p:spPr bwMode="auto">
            <a:xfrm>
              <a:off x="10333038" y="2271713"/>
              <a:ext cx="1235075" cy="363538"/>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8" name="Freeform 13"/>
            <p:cNvSpPr>
              <a:spLocks noEditPoints="1"/>
            </p:cNvSpPr>
            <p:nvPr/>
          </p:nvSpPr>
          <p:spPr bwMode="auto">
            <a:xfrm>
              <a:off x="10333038" y="2657476"/>
              <a:ext cx="1235075" cy="365125"/>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9" name="Freeform 14"/>
            <p:cNvSpPr>
              <a:spLocks noEditPoints="1"/>
            </p:cNvSpPr>
            <p:nvPr/>
          </p:nvSpPr>
          <p:spPr bwMode="auto">
            <a:xfrm>
              <a:off x="10333038" y="3048001"/>
              <a:ext cx="1235075" cy="360363"/>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231" name="Rectangle 230"/>
          <p:cNvSpPr/>
          <p:nvPr/>
        </p:nvSpPr>
        <p:spPr>
          <a:xfrm>
            <a:off x="1480701" y="4592610"/>
            <a:ext cx="2145071" cy="390399"/>
          </a:xfrm>
          <a:prstGeom prst="rect">
            <a:avLst/>
          </a:prstGeom>
        </p:spPr>
        <p:txBody>
          <a:bodyPr wrap="square" lIns="87815" tIns="43908" rIns="87815" bIns="43908">
            <a:spAutoFit/>
          </a:bodyPr>
          <a:lstStyle/>
          <a:p>
            <a:pPr algn="ctr" defTabSz="895343"/>
            <a:r>
              <a:rPr lang="en-US" sz="1961" dirty="0">
                <a:solidFill>
                  <a:srgbClr val="505050"/>
                </a:solidFill>
              </a:rPr>
              <a:t>Physical server</a:t>
            </a:r>
          </a:p>
        </p:txBody>
      </p:sp>
      <p:cxnSp>
        <p:nvCxnSpPr>
          <p:cNvPr id="260" name="Straight Arrow Connector 259"/>
          <p:cNvCxnSpPr/>
          <p:nvPr/>
        </p:nvCxnSpPr>
        <p:spPr>
          <a:xfrm>
            <a:off x="3686694" y="3758506"/>
            <a:ext cx="0" cy="1148816"/>
          </a:xfrm>
          <a:prstGeom prst="straightConnector1">
            <a:avLst/>
          </a:prstGeom>
          <a:ln w="57150" cap="rnd">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a:off x="1415170" y="3758506"/>
            <a:ext cx="0" cy="1148816"/>
          </a:xfrm>
          <a:prstGeom prst="straightConnector1">
            <a:avLst/>
          </a:prstGeom>
          <a:ln w="57150" cap="rnd">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flipV="1">
            <a:off x="2553236" y="5012581"/>
            <a:ext cx="0" cy="359670"/>
          </a:xfrm>
          <a:prstGeom prst="line">
            <a:avLst/>
          </a:prstGeom>
          <a:ln w="31750">
            <a:solidFill>
              <a:schemeClr val="accent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9552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5"/>
                                        </p:tgtEl>
                                        <p:attrNameLst>
                                          <p:attrName>style.visibility</p:attrName>
                                        </p:attrNameLst>
                                      </p:cBhvr>
                                      <p:to>
                                        <p:strVal val="visible"/>
                                      </p:to>
                                    </p:set>
                                    <p:animEffect transition="in" filter="fade">
                                      <p:cBhvr>
                                        <p:cTn id="7" dur="500"/>
                                        <p:tgtEl>
                                          <p:spTgt spid="19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8"/>
                                        </p:tgtEl>
                                        <p:attrNameLst>
                                          <p:attrName>style.visibility</p:attrName>
                                        </p:attrNameLst>
                                      </p:cBhvr>
                                      <p:to>
                                        <p:strVal val="visible"/>
                                      </p:to>
                                    </p:set>
                                    <p:animEffect transition="in" filter="fade">
                                      <p:cBhvr>
                                        <p:cTn id="11" dur="500"/>
                                        <p:tgtEl>
                                          <p:spTgt spid="20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10"/>
                                        </p:tgtEl>
                                        <p:attrNameLst>
                                          <p:attrName>style.visibility</p:attrName>
                                        </p:attrNameLst>
                                      </p:cBhvr>
                                      <p:to>
                                        <p:strVal val="visible"/>
                                      </p:to>
                                    </p:set>
                                    <p:animEffect transition="in" filter="fade">
                                      <p:cBhvr>
                                        <p:cTn id="14" dur="500"/>
                                        <p:tgtEl>
                                          <p:spTgt spid="210"/>
                                        </p:tgtEl>
                                      </p:cBhvr>
                                    </p:animEffect>
                                  </p:childTnLst>
                                </p:cTn>
                              </p:par>
                            </p:childTnLst>
                          </p:cTn>
                        </p:par>
                        <p:par>
                          <p:cTn id="15" fill="hold">
                            <p:stCondLst>
                              <p:cond delay="1000"/>
                            </p:stCondLst>
                            <p:childTnLst>
                              <p:par>
                                <p:cTn id="16" presetID="22" presetClass="entr" presetSubtype="1" fill="hold" grpId="0" nodeType="afterEffect">
                                  <p:stCondLst>
                                    <p:cond delay="0"/>
                                  </p:stCondLst>
                                  <p:childTnLst>
                                    <p:set>
                                      <p:cBhvr>
                                        <p:cTn id="17" dur="1" fill="hold">
                                          <p:stCondLst>
                                            <p:cond delay="0"/>
                                          </p:stCondLst>
                                        </p:cTn>
                                        <p:tgtEl>
                                          <p:spTgt spid="257"/>
                                        </p:tgtEl>
                                        <p:attrNameLst>
                                          <p:attrName>style.visibility</p:attrName>
                                        </p:attrNameLst>
                                      </p:cBhvr>
                                      <p:to>
                                        <p:strVal val="visible"/>
                                      </p:to>
                                    </p:set>
                                    <p:animEffect transition="in" filter="wipe(up)">
                                      <p:cBhvr>
                                        <p:cTn id="18" dur="500"/>
                                        <p:tgtEl>
                                          <p:spTgt spid="257"/>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258"/>
                                        </p:tgtEl>
                                        <p:attrNameLst>
                                          <p:attrName>style.visibility</p:attrName>
                                        </p:attrNameLst>
                                      </p:cBhvr>
                                      <p:to>
                                        <p:strVal val="visible"/>
                                      </p:to>
                                    </p:set>
                                    <p:animEffect transition="in" filter="wipe(up)">
                                      <p:cBhvr>
                                        <p:cTn id="21" dur="500"/>
                                        <p:tgtEl>
                                          <p:spTgt spid="258"/>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182"/>
                                        </p:tgtEl>
                                        <p:attrNameLst>
                                          <p:attrName>style.visibility</p:attrName>
                                        </p:attrNameLst>
                                      </p:cBhvr>
                                      <p:to>
                                        <p:strVal val="visible"/>
                                      </p:to>
                                    </p:set>
                                    <p:animEffect transition="in" filter="fade">
                                      <p:cBhvr>
                                        <p:cTn id="25" dur="500"/>
                                        <p:tgtEl>
                                          <p:spTgt spid="182"/>
                                        </p:tgtEl>
                                      </p:cBhvr>
                                    </p:animEffect>
                                  </p:childTnLst>
                                </p:cTn>
                              </p:par>
                              <p:par>
                                <p:cTn id="26" presetID="10" presetClass="entr" presetSubtype="0" fill="hold" nodeType="withEffect">
                                  <p:stCondLst>
                                    <p:cond delay="0"/>
                                  </p:stCondLst>
                                  <p:childTnLst>
                                    <p:set>
                                      <p:cBhvr>
                                        <p:cTn id="27" dur="1" fill="hold">
                                          <p:stCondLst>
                                            <p:cond delay="0"/>
                                          </p:stCondLst>
                                        </p:cTn>
                                        <p:tgtEl>
                                          <p:spTgt spid="202"/>
                                        </p:tgtEl>
                                        <p:attrNameLst>
                                          <p:attrName>style.visibility</p:attrName>
                                        </p:attrNameLst>
                                      </p:cBhvr>
                                      <p:to>
                                        <p:strVal val="visible"/>
                                      </p:to>
                                    </p:set>
                                    <p:animEffect transition="in" filter="fade">
                                      <p:cBhvr>
                                        <p:cTn id="28" dur="500"/>
                                        <p:tgtEl>
                                          <p:spTgt spid="202"/>
                                        </p:tgtEl>
                                      </p:cBhvr>
                                    </p:animEffect>
                                  </p:childTnLst>
                                </p:cTn>
                              </p:par>
                            </p:childTnLst>
                          </p:cTn>
                        </p:par>
                        <p:par>
                          <p:cTn id="29" fill="hold">
                            <p:stCondLst>
                              <p:cond delay="2000"/>
                            </p:stCondLst>
                            <p:childTnLst>
                              <p:par>
                                <p:cTn id="30" presetID="2" presetClass="entr" presetSubtype="8" decel="100000" fill="hold" grpId="0" nodeType="afterEffect">
                                  <p:stCondLst>
                                    <p:cond delay="0"/>
                                  </p:stCondLst>
                                  <p:childTnLst>
                                    <p:set>
                                      <p:cBhvr>
                                        <p:cTn id="31" dur="1" fill="hold">
                                          <p:stCondLst>
                                            <p:cond delay="0"/>
                                          </p:stCondLst>
                                        </p:cTn>
                                        <p:tgtEl>
                                          <p:spTgt spid="224"/>
                                        </p:tgtEl>
                                        <p:attrNameLst>
                                          <p:attrName>style.visibility</p:attrName>
                                        </p:attrNameLst>
                                      </p:cBhvr>
                                      <p:to>
                                        <p:strVal val="visible"/>
                                      </p:to>
                                    </p:set>
                                    <p:anim calcmode="lin" valueType="num">
                                      <p:cBhvr additive="base">
                                        <p:cTn id="32" dur="500" fill="hold"/>
                                        <p:tgtEl>
                                          <p:spTgt spid="224"/>
                                        </p:tgtEl>
                                        <p:attrNameLst>
                                          <p:attrName>ppt_x</p:attrName>
                                        </p:attrNameLst>
                                      </p:cBhvr>
                                      <p:tavLst>
                                        <p:tav tm="0">
                                          <p:val>
                                            <p:strVal val="0-#ppt_w/2"/>
                                          </p:val>
                                        </p:tav>
                                        <p:tav tm="100000">
                                          <p:val>
                                            <p:strVal val="#ppt_x"/>
                                          </p:val>
                                        </p:tav>
                                      </p:tavLst>
                                    </p:anim>
                                    <p:anim calcmode="lin" valueType="num">
                                      <p:cBhvr additive="base">
                                        <p:cTn id="33" dur="500" fill="hold"/>
                                        <p:tgtEl>
                                          <p:spTgt spid="224"/>
                                        </p:tgtEl>
                                        <p:attrNameLst>
                                          <p:attrName>ppt_y</p:attrName>
                                        </p:attrNameLst>
                                      </p:cBhvr>
                                      <p:tavLst>
                                        <p:tav tm="0">
                                          <p:val>
                                            <p:strVal val="#ppt_y"/>
                                          </p:val>
                                        </p:tav>
                                        <p:tav tm="100000">
                                          <p:val>
                                            <p:strVal val="#ppt_y"/>
                                          </p:val>
                                        </p:tav>
                                      </p:tavLst>
                                    </p:anim>
                                  </p:childTnLst>
                                </p:cTn>
                              </p:par>
                            </p:childTnLst>
                          </p:cTn>
                        </p:par>
                        <p:par>
                          <p:cTn id="34" fill="hold">
                            <p:stCondLst>
                              <p:cond delay="2500"/>
                            </p:stCondLst>
                            <p:childTnLst>
                              <p:par>
                                <p:cTn id="35" presetID="22" presetClass="entr" presetSubtype="1" fill="hold" nodeType="afterEffect">
                                  <p:stCondLst>
                                    <p:cond delay="0"/>
                                  </p:stCondLst>
                                  <p:childTnLst>
                                    <p:set>
                                      <p:cBhvr>
                                        <p:cTn id="36" dur="1" fill="hold">
                                          <p:stCondLst>
                                            <p:cond delay="0"/>
                                          </p:stCondLst>
                                        </p:cTn>
                                        <p:tgtEl>
                                          <p:spTgt spid="262"/>
                                        </p:tgtEl>
                                        <p:attrNameLst>
                                          <p:attrName>style.visibility</p:attrName>
                                        </p:attrNameLst>
                                      </p:cBhvr>
                                      <p:to>
                                        <p:strVal val="visible"/>
                                      </p:to>
                                    </p:set>
                                    <p:animEffect transition="in" filter="wipe(up)">
                                      <p:cBhvr>
                                        <p:cTn id="37" dur="500"/>
                                        <p:tgtEl>
                                          <p:spTgt spid="262"/>
                                        </p:tgtEl>
                                      </p:cBhvr>
                                    </p:animEffect>
                                  </p:childTnLst>
                                </p:cTn>
                              </p:par>
                              <p:par>
                                <p:cTn id="38" presetID="22" presetClass="entr" presetSubtype="1" fill="hold" nodeType="withEffect">
                                  <p:stCondLst>
                                    <p:cond delay="0"/>
                                  </p:stCondLst>
                                  <p:childTnLst>
                                    <p:set>
                                      <p:cBhvr>
                                        <p:cTn id="39" dur="1" fill="hold">
                                          <p:stCondLst>
                                            <p:cond delay="0"/>
                                          </p:stCondLst>
                                        </p:cTn>
                                        <p:tgtEl>
                                          <p:spTgt spid="260"/>
                                        </p:tgtEl>
                                        <p:attrNameLst>
                                          <p:attrName>style.visibility</p:attrName>
                                        </p:attrNameLst>
                                      </p:cBhvr>
                                      <p:to>
                                        <p:strVal val="visible"/>
                                      </p:to>
                                    </p:set>
                                    <p:animEffect transition="in" filter="wipe(up)">
                                      <p:cBhvr>
                                        <p:cTn id="40" dur="500"/>
                                        <p:tgtEl>
                                          <p:spTgt spid="260"/>
                                        </p:tgtEl>
                                      </p:cBhvr>
                                    </p:animEffect>
                                  </p:childTnLst>
                                </p:cTn>
                              </p:par>
                            </p:childTnLst>
                          </p:cTn>
                        </p:par>
                        <p:par>
                          <p:cTn id="41" fill="hold">
                            <p:stCondLst>
                              <p:cond delay="3000"/>
                            </p:stCondLst>
                            <p:childTnLst>
                              <p:par>
                                <p:cTn id="42" presetID="10" presetClass="entr" presetSubtype="0" fill="hold" grpId="0" nodeType="afterEffect">
                                  <p:stCondLst>
                                    <p:cond delay="0"/>
                                  </p:stCondLst>
                                  <p:childTnLst>
                                    <p:set>
                                      <p:cBhvr>
                                        <p:cTn id="43" dur="1" fill="hold">
                                          <p:stCondLst>
                                            <p:cond delay="0"/>
                                          </p:stCondLst>
                                        </p:cTn>
                                        <p:tgtEl>
                                          <p:spTgt spid="231"/>
                                        </p:tgtEl>
                                        <p:attrNameLst>
                                          <p:attrName>style.visibility</p:attrName>
                                        </p:attrNameLst>
                                      </p:cBhvr>
                                      <p:to>
                                        <p:strVal val="visible"/>
                                      </p:to>
                                    </p:set>
                                    <p:animEffect transition="in" filter="fade">
                                      <p:cBhvr>
                                        <p:cTn id="44" dur="500"/>
                                        <p:tgtEl>
                                          <p:spTgt spid="231"/>
                                        </p:tgtEl>
                                      </p:cBhvr>
                                    </p:animEffect>
                                  </p:childTnLst>
                                </p:cTn>
                              </p:par>
                            </p:childTnLst>
                          </p:cTn>
                        </p:par>
                        <p:par>
                          <p:cTn id="45" fill="hold">
                            <p:stCondLst>
                              <p:cond delay="3500"/>
                            </p:stCondLst>
                            <p:childTnLst>
                              <p:par>
                                <p:cTn id="46" presetID="22" presetClass="entr" presetSubtype="1" fill="hold" nodeType="afterEffect">
                                  <p:stCondLst>
                                    <p:cond delay="0"/>
                                  </p:stCondLst>
                                  <p:childTnLst>
                                    <p:set>
                                      <p:cBhvr>
                                        <p:cTn id="47" dur="1" fill="hold">
                                          <p:stCondLst>
                                            <p:cond delay="0"/>
                                          </p:stCondLst>
                                        </p:cTn>
                                        <p:tgtEl>
                                          <p:spTgt spid="313"/>
                                        </p:tgtEl>
                                        <p:attrNameLst>
                                          <p:attrName>style.visibility</p:attrName>
                                        </p:attrNameLst>
                                      </p:cBhvr>
                                      <p:to>
                                        <p:strVal val="visible"/>
                                      </p:to>
                                    </p:set>
                                    <p:animEffect transition="in" filter="wipe(up)">
                                      <p:cBhvr>
                                        <p:cTn id="48" dur="500"/>
                                        <p:tgtEl>
                                          <p:spTgt spid="313"/>
                                        </p:tgtEl>
                                      </p:cBhvr>
                                    </p:animEffect>
                                  </p:childTnLst>
                                </p:cTn>
                              </p:par>
                            </p:childTnLst>
                          </p:cTn>
                        </p:par>
                        <p:par>
                          <p:cTn id="49" fill="hold">
                            <p:stCondLst>
                              <p:cond delay="4000"/>
                            </p:stCondLst>
                            <p:childTnLst>
                              <p:par>
                                <p:cTn id="50" presetID="10" presetClass="entr" presetSubtype="0" fill="hold" nodeType="afterEffect">
                                  <p:stCondLst>
                                    <p:cond delay="0"/>
                                  </p:stCondLst>
                                  <p:childTnLst>
                                    <p:set>
                                      <p:cBhvr>
                                        <p:cTn id="51" dur="1" fill="hold">
                                          <p:stCondLst>
                                            <p:cond delay="0"/>
                                          </p:stCondLst>
                                        </p:cTn>
                                        <p:tgtEl>
                                          <p:spTgt spid="230"/>
                                        </p:tgtEl>
                                        <p:attrNameLst>
                                          <p:attrName>style.visibility</p:attrName>
                                        </p:attrNameLst>
                                      </p:cBhvr>
                                      <p:to>
                                        <p:strVal val="visible"/>
                                      </p:to>
                                    </p:set>
                                    <p:animEffect transition="in" filter="fade">
                                      <p:cBhvr>
                                        <p:cTn id="52" dur="500"/>
                                        <p:tgtEl>
                                          <p:spTgt spid="230"/>
                                        </p:tgtEl>
                                      </p:cBhvr>
                                    </p:animEffect>
                                  </p:childTnLst>
                                </p:cTn>
                              </p:par>
                            </p:childTnLst>
                          </p:cTn>
                        </p:par>
                      </p:childTnLst>
                    </p:cTn>
                  </p:par>
                  <p:par>
                    <p:cTn id="53" fill="hold">
                      <p:stCondLst>
                        <p:cond delay="indefinite"/>
                      </p:stCondLst>
                      <p:childTnLst>
                        <p:par>
                          <p:cTn id="54" fill="hold">
                            <p:stCondLst>
                              <p:cond delay="0"/>
                            </p:stCondLst>
                            <p:childTnLst>
                              <p:par>
                                <p:cTn id="55" presetID="2" presetClass="entr" presetSubtype="8" decel="100000" fill="hold" nodeType="clickEffect">
                                  <p:stCondLst>
                                    <p:cond delay="0"/>
                                  </p:stCondLst>
                                  <p:childTnLst>
                                    <p:set>
                                      <p:cBhvr>
                                        <p:cTn id="56" dur="1" fill="hold">
                                          <p:stCondLst>
                                            <p:cond delay="0"/>
                                          </p:stCondLst>
                                        </p:cTn>
                                        <p:tgtEl>
                                          <p:spTgt spid="2"/>
                                        </p:tgtEl>
                                        <p:attrNameLst>
                                          <p:attrName>style.visibility</p:attrName>
                                        </p:attrNameLst>
                                      </p:cBhvr>
                                      <p:to>
                                        <p:strVal val="visible"/>
                                      </p:to>
                                    </p:set>
                                    <p:anim calcmode="lin" valueType="num">
                                      <p:cBhvr additive="base">
                                        <p:cTn id="57" dur="1000" fill="hold"/>
                                        <p:tgtEl>
                                          <p:spTgt spid="2"/>
                                        </p:tgtEl>
                                        <p:attrNameLst>
                                          <p:attrName>ppt_x</p:attrName>
                                        </p:attrNameLst>
                                      </p:cBhvr>
                                      <p:tavLst>
                                        <p:tav tm="0">
                                          <p:val>
                                            <p:strVal val="0-#ppt_w/2"/>
                                          </p:val>
                                        </p:tav>
                                        <p:tav tm="100000">
                                          <p:val>
                                            <p:strVal val="#ppt_x"/>
                                          </p:val>
                                        </p:tav>
                                      </p:tavLst>
                                    </p:anim>
                                    <p:anim calcmode="lin" valueType="num">
                                      <p:cBhvr additive="base">
                                        <p:cTn id="58" dur="1000" fill="hold"/>
                                        <p:tgtEl>
                                          <p:spTgt spid="2"/>
                                        </p:tgtEl>
                                        <p:attrNameLst>
                                          <p:attrName>ppt_y</p:attrName>
                                        </p:attrNameLst>
                                      </p:cBhvr>
                                      <p:tavLst>
                                        <p:tav tm="0">
                                          <p:val>
                                            <p:strVal val="#ppt_y"/>
                                          </p:val>
                                        </p:tav>
                                        <p:tav tm="100000">
                                          <p:val>
                                            <p:strVal val="#ppt_y"/>
                                          </p:val>
                                        </p:tav>
                                      </p:tavLst>
                                    </p:anim>
                                  </p:childTnLst>
                                </p:cTn>
                              </p:par>
                            </p:childTnLst>
                          </p:cTn>
                        </p:par>
                        <p:par>
                          <p:cTn id="59" fill="hold">
                            <p:stCondLst>
                              <p:cond delay="1000"/>
                            </p:stCondLst>
                            <p:childTnLst>
                              <p:par>
                                <p:cTn id="60" presetID="22" presetClass="entr" presetSubtype="1" fill="hold" nodeType="afterEffect">
                                  <p:stCondLst>
                                    <p:cond delay="0"/>
                                  </p:stCondLst>
                                  <p:childTnLst>
                                    <p:set>
                                      <p:cBhvr>
                                        <p:cTn id="61" dur="1" fill="hold">
                                          <p:stCondLst>
                                            <p:cond delay="0"/>
                                          </p:stCondLst>
                                        </p:cTn>
                                        <p:tgtEl>
                                          <p:spTgt spid="264"/>
                                        </p:tgtEl>
                                        <p:attrNameLst>
                                          <p:attrName>style.visibility</p:attrName>
                                        </p:attrNameLst>
                                      </p:cBhvr>
                                      <p:to>
                                        <p:strVal val="visible"/>
                                      </p:to>
                                    </p:set>
                                    <p:animEffect transition="in" filter="wipe(up)">
                                      <p:cBhvr>
                                        <p:cTn id="62" dur="500"/>
                                        <p:tgtEl>
                                          <p:spTgt spid="264"/>
                                        </p:tgtEl>
                                      </p:cBhvr>
                                    </p:animEffect>
                                  </p:childTnLst>
                                </p:cTn>
                              </p:par>
                              <p:par>
                                <p:cTn id="63" presetID="22" presetClass="entr" presetSubtype="1" fill="hold" nodeType="withEffect">
                                  <p:stCondLst>
                                    <p:cond delay="0"/>
                                  </p:stCondLst>
                                  <p:childTnLst>
                                    <p:set>
                                      <p:cBhvr>
                                        <p:cTn id="64" dur="1" fill="hold">
                                          <p:stCondLst>
                                            <p:cond delay="0"/>
                                          </p:stCondLst>
                                        </p:cTn>
                                        <p:tgtEl>
                                          <p:spTgt spid="263"/>
                                        </p:tgtEl>
                                        <p:attrNameLst>
                                          <p:attrName>style.visibility</p:attrName>
                                        </p:attrNameLst>
                                      </p:cBhvr>
                                      <p:to>
                                        <p:strVal val="visible"/>
                                      </p:to>
                                    </p:set>
                                    <p:animEffect transition="in" filter="wipe(up)">
                                      <p:cBhvr>
                                        <p:cTn id="65" dur="500"/>
                                        <p:tgtEl>
                                          <p:spTgt spid="263"/>
                                        </p:tgtEl>
                                      </p:cBhvr>
                                    </p:animEffect>
                                  </p:childTnLst>
                                </p:cTn>
                              </p:par>
                            </p:childTnLst>
                          </p:cTn>
                        </p:par>
                        <p:par>
                          <p:cTn id="66" fill="hold">
                            <p:stCondLst>
                              <p:cond delay="1500"/>
                            </p:stCondLst>
                            <p:childTnLst>
                              <p:par>
                                <p:cTn id="67" presetID="10" presetClass="entr" presetSubtype="0" fill="hold" grpId="0" nodeType="afterEffect">
                                  <p:stCondLst>
                                    <p:cond delay="0"/>
                                  </p:stCondLst>
                                  <p:childTnLst>
                                    <p:set>
                                      <p:cBhvr>
                                        <p:cTn id="68" dur="1" fill="hold">
                                          <p:stCondLst>
                                            <p:cond delay="0"/>
                                          </p:stCondLst>
                                        </p:cTn>
                                        <p:tgtEl>
                                          <p:spTgt spid="265"/>
                                        </p:tgtEl>
                                        <p:attrNameLst>
                                          <p:attrName>style.visibility</p:attrName>
                                        </p:attrNameLst>
                                      </p:cBhvr>
                                      <p:to>
                                        <p:strVal val="visible"/>
                                      </p:to>
                                    </p:set>
                                    <p:animEffect transition="in" filter="fade">
                                      <p:cBhvr>
                                        <p:cTn id="69" dur="500"/>
                                        <p:tgtEl>
                                          <p:spTgt spid="265"/>
                                        </p:tgtEl>
                                      </p:cBhvr>
                                    </p:animEffect>
                                  </p:childTnLst>
                                </p:cTn>
                              </p:par>
                            </p:childTnLst>
                          </p:cTn>
                        </p:par>
                        <p:par>
                          <p:cTn id="70" fill="hold">
                            <p:stCondLst>
                              <p:cond delay="2000"/>
                            </p:stCondLst>
                            <p:childTnLst>
                              <p:par>
                                <p:cTn id="71" presetID="22" presetClass="entr" presetSubtype="2" fill="hold" nodeType="afterEffect">
                                  <p:stCondLst>
                                    <p:cond delay="0"/>
                                  </p:stCondLst>
                                  <p:childTnLst>
                                    <p:set>
                                      <p:cBhvr>
                                        <p:cTn id="72" dur="1" fill="hold">
                                          <p:stCondLst>
                                            <p:cond delay="0"/>
                                          </p:stCondLst>
                                        </p:cTn>
                                        <p:tgtEl>
                                          <p:spTgt spid="270"/>
                                        </p:tgtEl>
                                        <p:attrNameLst>
                                          <p:attrName>style.visibility</p:attrName>
                                        </p:attrNameLst>
                                      </p:cBhvr>
                                      <p:to>
                                        <p:strVal val="visible"/>
                                      </p:to>
                                    </p:set>
                                    <p:animEffect transition="in" filter="wipe(right)">
                                      <p:cBhvr>
                                        <p:cTn id="73" dur="500"/>
                                        <p:tgtEl>
                                          <p:spTgt spid="270"/>
                                        </p:tgtEl>
                                      </p:cBhvr>
                                    </p:animEffect>
                                  </p:childTnLst>
                                </p:cTn>
                              </p:par>
                              <p:par>
                                <p:cTn id="74" presetID="22" presetClass="entr" presetSubtype="8" fill="hold" nodeType="withEffect">
                                  <p:stCondLst>
                                    <p:cond delay="0"/>
                                  </p:stCondLst>
                                  <p:childTnLst>
                                    <p:set>
                                      <p:cBhvr>
                                        <p:cTn id="75" dur="1" fill="hold">
                                          <p:stCondLst>
                                            <p:cond delay="0"/>
                                          </p:stCondLst>
                                        </p:cTn>
                                        <p:tgtEl>
                                          <p:spTgt spid="272"/>
                                        </p:tgtEl>
                                        <p:attrNameLst>
                                          <p:attrName>style.visibility</p:attrName>
                                        </p:attrNameLst>
                                      </p:cBhvr>
                                      <p:to>
                                        <p:strVal val="visible"/>
                                      </p:to>
                                    </p:set>
                                    <p:animEffect transition="in" filter="wipe(left)">
                                      <p:cBhvr>
                                        <p:cTn id="76" dur="500"/>
                                        <p:tgtEl>
                                          <p:spTgt spid="272"/>
                                        </p:tgtEl>
                                      </p:cBhvr>
                                    </p:animEffect>
                                  </p:childTnLst>
                                </p:cTn>
                              </p:par>
                              <p:par>
                                <p:cTn id="77" presetID="22" presetClass="entr" presetSubtype="2" fill="hold" nodeType="withEffect">
                                  <p:stCondLst>
                                    <p:cond delay="0"/>
                                  </p:stCondLst>
                                  <p:childTnLst>
                                    <p:set>
                                      <p:cBhvr>
                                        <p:cTn id="78" dur="1" fill="hold">
                                          <p:stCondLst>
                                            <p:cond delay="0"/>
                                          </p:stCondLst>
                                        </p:cTn>
                                        <p:tgtEl>
                                          <p:spTgt spid="276"/>
                                        </p:tgtEl>
                                        <p:attrNameLst>
                                          <p:attrName>style.visibility</p:attrName>
                                        </p:attrNameLst>
                                      </p:cBhvr>
                                      <p:to>
                                        <p:strVal val="visible"/>
                                      </p:to>
                                    </p:set>
                                    <p:animEffect transition="in" filter="wipe(right)">
                                      <p:cBhvr>
                                        <p:cTn id="79" dur="500"/>
                                        <p:tgtEl>
                                          <p:spTgt spid="276"/>
                                        </p:tgtEl>
                                      </p:cBhvr>
                                    </p:animEffect>
                                  </p:childTnLst>
                                </p:cTn>
                              </p:par>
                              <p:par>
                                <p:cTn id="80" presetID="22" presetClass="entr" presetSubtype="8" fill="hold" nodeType="withEffect">
                                  <p:stCondLst>
                                    <p:cond delay="0"/>
                                  </p:stCondLst>
                                  <p:childTnLst>
                                    <p:set>
                                      <p:cBhvr>
                                        <p:cTn id="81" dur="1" fill="hold">
                                          <p:stCondLst>
                                            <p:cond delay="0"/>
                                          </p:stCondLst>
                                        </p:cTn>
                                        <p:tgtEl>
                                          <p:spTgt spid="279"/>
                                        </p:tgtEl>
                                        <p:attrNameLst>
                                          <p:attrName>style.visibility</p:attrName>
                                        </p:attrNameLst>
                                      </p:cBhvr>
                                      <p:to>
                                        <p:strVal val="visible"/>
                                      </p:to>
                                    </p:set>
                                    <p:animEffect transition="in" filter="wipe(left)">
                                      <p:cBhvr>
                                        <p:cTn id="82" dur="500"/>
                                        <p:tgtEl>
                                          <p:spTgt spid="279"/>
                                        </p:tgtEl>
                                      </p:cBhvr>
                                    </p:animEffect>
                                  </p:childTnLst>
                                </p:cTn>
                              </p:par>
                              <p:par>
                                <p:cTn id="83" presetID="22" presetClass="entr" presetSubtype="2" fill="hold" nodeType="withEffect">
                                  <p:stCondLst>
                                    <p:cond delay="0"/>
                                  </p:stCondLst>
                                  <p:childTnLst>
                                    <p:set>
                                      <p:cBhvr>
                                        <p:cTn id="84" dur="1" fill="hold">
                                          <p:stCondLst>
                                            <p:cond delay="0"/>
                                          </p:stCondLst>
                                        </p:cTn>
                                        <p:tgtEl>
                                          <p:spTgt spid="281"/>
                                        </p:tgtEl>
                                        <p:attrNameLst>
                                          <p:attrName>style.visibility</p:attrName>
                                        </p:attrNameLst>
                                      </p:cBhvr>
                                      <p:to>
                                        <p:strVal val="visible"/>
                                      </p:to>
                                    </p:set>
                                    <p:animEffect transition="in" filter="wipe(right)">
                                      <p:cBhvr>
                                        <p:cTn id="85" dur="500"/>
                                        <p:tgtEl>
                                          <p:spTgt spid="281"/>
                                        </p:tgtEl>
                                      </p:cBhvr>
                                    </p:animEffect>
                                  </p:childTnLst>
                                </p:cTn>
                              </p:par>
                              <p:par>
                                <p:cTn id="86" presetID="22" presetClass="entr" presetSubtype="8" fill="hold" nodeType="withEffect">
                                  <p:stCondLst>
                                    <p:cond delay="0"/>
                                  </p:stCondLst>
                                  <p:childTnLst>
                                    <p:set>
                                      <p:cBhvr>
                                        <p:cTn id="87" dur="1" fill="hold">
                                          <p:stCondLst>
                                            <p:cond delay="0"/>
                                          </p:stCondLst>
                                        </p:cTn>
                                        <p:tgtEl>
                                          <p:spTgt spid="284"/>
                                        </p:tgtEl>
                                        <p:attrNameLst>
                                          <p:attrName>style.visibility</p:attrName>
                                        </p:attrNameLst>
                                      </p:cBhvr>
                                      <p:to>
                                        <p:strVal val="visible"/>
                                      </p:to>
                                    </p:set>
                                    <p:animEffect transition="in" filter="wipe(left)">
                                      <p:cBhvr>
                                        <p:cTn id="88" dur="500"/>
                                        <p:tgtEl>
                                          <p:spTgt spid="28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252"/>
                                        </p:tgtEl>
                                        <p:attrNameLst>
                                          <p:attrName>style.visibility</p:attrName>
                                        </p:attrNameLst>
                                      </p:cBhvr>
                                      <p:to>
                                        <p:strVal val="visible"/>
                                      </p:to>
                                    </p:set>
                                    <p:animEffect transition="in" filter="fade">
                                      <p:cBhvr>
                                        <p:cTn id="92" dur="500"/>
                                        <p:tgtEl>
                                          <p:spTgt spid="252"/>
                                        </p:tgtEl>
                                      </p:cBhvr>
                                    </p:animEffect>
                                  </p:childTnLst>
                                </p:cTn>
                              </p:par>
                              <p:par>
                                <p:cTn id="93" presetID="10" presetClass="entr" presetSubtype="0" fill="hold" nodeType="withEffect">
                                  <p:stCondLst>
                                    <p:cond delay="0"/>
                                  </p:stCondLst>
                                  <p:childTnLst>
                                    <p:set>
                                      <p:cBhvr>
                                        <p:cTn id="94" dur="1" fill="hold">
                                          <p:stCondLst>
                                            <p:cond delay="0"/>
                                          </p:stCondLst>
                                        </p:cTn>
                                        <p:tgtEl>
                                          <p:spTgt spid="248"/>
                                        </p:tgtEl>
                                        <p:attrNameLst>
                                          <p:attrName>style.visibility</p:attrName>
                                        </p:attrNameLst>
                                      </p:cBhvr>
                                      <p:to>
                                        <p:strVal val="visible"/>
                                      </p:to>
                                    </p:set>
                                    <p:animEffect transition="in" filter="fade">
                                      <p:cBhvr>
                                        <p:cTn id="95" dur="500"/>
                                        <p:tgtEl>
                                          <p:spTgt spid="248"/>
                                        </p:tgtEl>
                                      </p:cBhvr>
                                    </p:animEffect>
                                  </p:childTnLst>
                                </p:cTn>
                              </p:par>
                              <p:par>
                                <p:cTn id="96" presetID="10" presetClass="entr" presetSubtype="0" fill="hold" nodeType="withEffect">
                                  <p:stCondLst>
                                    <p:cond delay="0"/>
                                  </p:stCondLst>
                                  <p:childTnLst>
                                    <p:set>
                                      <p:cBhvr>
                                        <p:cTn id="97" dur="1" fill="hold">
                                          <p:stCondLst>
                                            <p:cond delay="0"/>
                                          </p:stCondLst>
                                        </p:cTn>
                                        <p:tgtEl>
                                          <p:spTgt spid="244"/>
                                        </p:tgtEl>
                                        <p:attrNameLst>
                                          <p:attrName>style.visibility</p:attrName>
                                        </p:attrNameLst>
                                      </p:cBhvr>
                                      <p:to>
                                        <p:strVal val="visible"/>
                                      </p:to>
                                    </p:set>
                                    <p:animEffect transition="in" filter="fade">
                                      <p:cBhvr>
                                        <p:cTn id="98" dur="500"/>
                                        <p:tgtEl>
                                          <p:spTgt spid="244"/>
                                        </p:tgtEl>
                                      </p:cBhvr>
                                    </p:animEffect>
                                  </p:childTnLst>
                                </p:cTn>
                              </p:par>
                              <p:par>
                                <p:cTn id="99" presetID="10" presetClass="entr" presetSubtype="0" fill="hold" nodeType="withEffect">
                                  <p:stCondLst>
                                    <p:cond delay="0"/>
                                  </p:stCondLst>
                                  <p:childTnLst>
                                    <p:set>
                                      <p:cBhvr>
                                        <p:cTn id="100" dur="1" fill="hold">
                                          <p:stCondLst>
                                            <p:cond delay="0"/>
                                          </p:stCondLst>
                                        </p:cTn>
                                        <p:tgtEl>
                                          <p:spTgt spid="240"/>
                                        </p:tgtEl>
                                        <p:attrNameLst>
                                          <p:attrName>style.visibility</p:attrName>
                                        </p:attrNameLst>
                                      </p:cBhvr>
                                      <p:to>
                                        <p:strVal val="visible"/>
                                      </p:to>
                                    </p:set>
                                    <p:animEffect transition="in" filter="fade">
                                      <p:cBhvr>
                                        <p:cTn id="101" dur="500"/>
                                        <p:tgtEl>
                                          <p:spTgt spid="240"/>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8" fill="hold" nodeType="clickEffect">
                                  <p:stCondLst>
                                    <p:cond delay="0"/>
                                  </p:stCondLst>
                                  <p:childTnLst>
                                    <p:set>
                                      <p:cBhvr>
                                        <p:cTn id="105" dur="1" fill="hold">
                                          <p:stCondLst>
                                            <p:cond delay="0"/>
                                          </p:stCondLst>
                                        </p:cTn>
                                        <p:tgtEl>
                                          <p:spTgt spid="293"/>
                                        </p:tgtEl>
                                        <p:attrNameLst>
                                          <p:attrName>style.visibility</p:attrName>
                                        </p:attrNameLst>
                                      </p:cBhvr>
                                      <p:to>
                                        <p:strVal val="visible"/>
                                      </p:to>
                                    </p:set>
                                    <p:animEffect transition="in" filter="wipe(left)">
                                      <p:cBhvr>
                                        <p:cTn id="106" dur="500"/>
                                        <p:tgtEl>
                                          <p:spTgt spid="293"/>
                                        </p:tgtEl>
                                      </p:cBhvr>
                                    </p:animEffect>
                                  </p:childTnLst>
                                </p:cTn>
                              </p:par>
                            </p:childTnLst>
                          </p:cTn>
                        </p:par>
                        <p:par>
                          <p:cTn id="107" fill="hold">
                            <p:stCondLst>
                              <p:cond delay="500"/>
                            </p:stCondLst>
                            <p:childTnLst>
                              <p:par>
                                <p:cTn id="108" presetID="22" presetClass="entr" presetSubtype="4" fill="hold" nodeType="afterEffect">
                                  <p:stCondLst>
                                    <p:cond delay="0"/>
                                  </p:stCondLst>
                                  <p:childTnLst>
                                    <p:set>
                                      <p:cBhvr>
                                        <p:cTn id="109" dur="1" fill="hold">
                                          <p:stCondLst>
                                            <p:cond delay="0"/>
                                          </p:stCondLst>
                                        </p:cTn>
                                        <p:tgtEl>
                                          <p:spTgt spid="294"/>
                                        </p:tgtEl>
                                        <p:attrNameLst>
                                          <p:attrName>style.visibility</p:attrName>
                                        </p:attrNameLst>
                                      </p:cBhvr>
                                      <p:to>
                                        <p:strVal val="visible"/>
                                      </p:to>
                                    </p:set>
                                    <p:animEffect transition="in" filter="wipe(down)">
                                      <p:cBhvr>
                                        <p:cTn id="110" dur="500"/>
                                        <p:tgtEl>
                                          <p:spTgt spid="294"/>
                                        </p:tgtEl>
                                      </p:cBhvr>
                                    </p:animEffect>
                                  </p:childTnLst>
                                </p:cTn>
                              </p:par>
                            </p:childTnLst>
                          </p:cTn>
                        </p:par>
                        <p:par>
                          <p:cTn id="111" fill="hold">
                            <p:stCondLst>
                              <p:cond delay="1000"/>
                            </p:stCondLst>
                            <p:childTnLst>
                              <p:par>
                                <p:cTn id="112" presetID="22" presetClass="entr" presetSubtype="8" fill="hold" nodeType="afterEffect">
                                  <p:stCondLst>
                                    <p:cond delay="0"/>
                                  </p:stCondLst>
                                  <p:childTnLst>
                                    <p:set>
                                      <p:cBhvr>
                                        <p:cTn id="113" dur="1" fill="hold">
                                          <p:stCondLst>
                                            <p:cond delay="0"/>
                                          </p:stCondLst>
                                        </p:cTn>
                                        <p:tgtEl>
                                          <p:spTgt spid="295"/>
                                        </p:tgtEl>
                                        <p:attrNameLst>
                                          <p:attrName>style.visibility</p:attrName>
                                        </p:attrNameLst>
                                      </p:cBhvr>
                                      <p:to>
                                        <p:strVal val="visible"/>
                                      </p:to>
                                    </p:set>
                                    <p:animEffect transition="in" filter="wipe(left)">
                                      <p:cBhvr>
                                        <p:cTn id="114" dur="500"/>
                                        <p:tgtEl>
                                          <p:spTgt spid="295"/>
                                        </p:tgtEl>
                                      </p:cBhvr>
                                    </p:animEffect>
                                  </p:childTnLst>
                                </p:cTn>
                              </p:par>
                              <p:par>
                                <p:cTn id="115" presetID="22" presetClass="entr" presetSubtype="8" fill="hold" nodeType="withEffect">
                                  <p:stCondLst>
                                    <p:cond delay="0"/>
                                  </p:stCondLst>
                                  <p:childTnLst>
                                    <p:set>
                                      <p:cBhvr>
                                        <p:cTn id="116" dur="1" fill="hold">
                                          <p:stCondLst>
                                            <p:cond delay="0"/>
                                          </p:stCondLst>
                                        </p:cTn>
                                        <p:tgtEl>
                                          <p:spTgt spid="296"/>
                                        </p:tgtEl>
                                        <p:attrNameLst>
                                          <p:attrName>style.visibility</p:attrName>
                                        </p:attrNameLst>
                                      </p:cBhvr>
                                      <p:to>
                                        <p:strVal val="visible"/>
                                      </p:to>
                                    </p:set>
                                    <p:animEffect transition="in" filter="wipe(left)">
                                      <p:cBhvr>
                                        <p:cTn id="117" dur="500"/>
                                        <p:tgtEl>
                                          <p:spTgt spid="296"/>
                                        </p:tgtEl>
                                      </p:cBhvr>
                                    </p:animEffect>
                                  </p:childTnLst>
                                </p:cTn>
                              </p:par>
                            </p:childTnLst>
                          </p:cTn>
                        </p:par>
                        <p:par>
                          <p:cTn id="118" fill="hold">
                            <p:stCondLst>
                              <p:cond delay="1500"/>
                            </p:stCondLst>
                            <p:childTnLst>
                              <p:par>
                                <p:cTn id="119" presetID="10" presetClass="entr" presetSubtype="0" fill="hold" nodeType="afterEffect">
                                  <p:stCondLst>
                                    <p:cond delay="0"/>
                                  </p:stCondLst>
                                  <p:childTnLst>
                                    <p:set>
                                      <p:cBhvr>
                                        <p:cTn id="120" dur="1" fill="hold">
                                          <p:stCondLst>
                                            <p:cond delay="0"/>
                                          </p:stCondLst>
                                        </p:cTn>
                                        <p:tgtEl>
                                          <p:spTgt spid="320"/>
                                        </p:tgtEl>
                                        <p:attrNameLst>
                                          <p:attrName>style.visibility</p:attrName>
                                        </p:attrNameLst>
                                      </p:cBhvr>
                                      <p:to>
                                        <p:strVal val="visible"/>
                                      </p:to>
                                    </p:set>
                                    <p:animEffect transition="in" filter="fade">
                                      <p:cBhvr>
                                        <p:cTn id="121" dur="500"/>
                                        <p:tgtEl>
                                          <p:spTgt spid="320"/>
                                        </p:tgtEl>
                                      </p:cBhvr>
                                    </p:animEffect>
                                  </p:childTnLst>
                                </p:cTn>
                              </p:par>
                              <p:par>
                                <p:cTn id="122" presetID="10" presetClass="entr" presetSubtype="0" fill="hold" nodeType="withEffect">
                                  <p:stCondLst>
                                    <p:cond delay="0"/>
                                  </p:stCondLst>
                                  <p:childTnLst>
                                    <p:set>
                                      <p:cBhvr>
                                        <p:cTn id="123" dur="1" fill="hold">
                                          <p:stCondLst>
                                            <p:cond delay="0"/>
                                          </p:stCondLst>
                                        </p:cTn>
                                        <p:tgtEl>
                                          <p:spTgt spid="319"/>
                                        </p:tgtEl>
                                        <p:attrNameLst>
                                          <p:attrName>style.visibility</p:attrName>
                                        </p:attrNameLst>
                                      </p:cBhvr>
                                      <p:to>
                                        <p:strVal val="visible"/>
                                      </p:to>
                                    </p:set>
                                    <p:animEffect transition="in" filter="fade">
                                      <p:cBhvr>
                                        <p:cTn id="124" dur="500"/>
                                        <p:tgtEl>
                                          <p:spTgt spid="3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5" grpId="0"/>
      <p:bldP spid="257" grpId="0" animBg="1"/>
      <p:bldP spid="258" grpId="0" animBg="1"/>
      <p:bldP spid="195" grpId="0"/>
      <p:bldP spid="208" grpId="0" animBg="1"/>
      <p:bldP spid="210" grpId="0" animBg="1"/>
      <p:bldP spid="224" grpId="0" animBg="1"/>
      <p:bldP spid="231"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69240" y="313994"/>
            <a:ext cx="10757098" cy="1004541"/>
          </a:xfrm>
        </p:spPr>
        <p:txBody>
          <a:bodyPr/>
          <a:lstStyle/>
          <a:p>
            <a:r>
              <a:rPr lang="en-US" dirty="0" smtClean="0"/>
              <a:t>Reimagine storage</a:t>
            </a:r>
            <a:endParaRPr lang="en-US" dirty="0"/>
          </a:p>
        </p:txBody>
      </p:sp>
      <p:sp>
        <p:nvSpPr>
          <p:cNvPr id="87" name="Rectangle 86" hidden="1"/>
          <p:cNvSpPr/>
          <p:nvPr/>
        </p:nvSpPr>
        <p:spPr bwMode="auto">
          <a:xfrm>
            <a:off x="3595974" y="5299618"/>
            <a:ext cx="2605671" cy="24827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28568" rIns="91423" bIns="179285" numCol="1" rtlCol="0" anchor="b"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90" name="Rectangle 89" hidden="1"/>
          <p:cNvSpPr/>
          <p:nvPr/>
        </p:nvSpPr>
        <p:spPr bwMode="auto">
          <a:xfrm>
            <a:off x="6335280" y="5295602"/>
            <a:ext cx="2605671" cy="24868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28568" rIns="91423" bIns="91427" numCol="1" rtlCol="0" anchor="t"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93" name="Rectangle 92" hidden="1"/>
          <p:cNvSpPr/>
          <p:nvPr/>
        </p:nvSpPr>
        <p:spPr bwMode="auto">
          <a:xfrm>
            <a:off x="9074584" y="5299618"/>
            <a:ext cx="2605671" cy="24868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28568" rIns="91423" bIns="91427" numCol="1" rtlCol="0" anchor="t"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grpSp>
        <p:nvGrpSpPr>
          <p:cNvPr id="4" name="Group 3"/>
          <p:cNvGrpSpPr/>
          <p:nvPr/>
        </p:nvGrpSpPr>
        <p:grpSpPr>
          <a:xfrm>
            <a:off x="269239" y="3028767"/>
            <a:ext cx="11653523" cy="1299816"/>
            <a:chOff x="274638" y="3291523"/>
            <a:chExt cx="11887200" cy="1325880"/>
          </a:xfrm>
        </p:grpSpPr>
        <p:sp>
          <p:nvSpPr>
            <p:cNvPr id="17" name="Rectangle 16"/>
            <p:cNvSpPr/>
            <p:nvPr/>
          </p:nvSpPr>
          <p:spPr bwMode="auto">
            <a:xfrm>
              <a:off x="3017838" y="3291523"/>
              <a:ext cx="9144000" cy="132588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9" defTabSz="913924" fontAlgn="base">
                <a:lnSpc>
                  <a:spcPct val="90000"/>
                </a:lnSpc>
                <a:spcBef>
                  <a:spcPct val="0"/>
                </a:spcBef>
                <a:spcAft>
                  <a:spcPct val="0"/>
                </a:spcAft>
              </a:pPr>
              <a:r>
                <a:rPr lang="en-US" sz="2745" spc="-49" dirty="0">
                  <a:gradFill>
                    <a:gsLst>
                      <a:gs pos="0">
                        <a:srgbClr val="005695"/>
                      </a:gs>
                      <a:gs pos="100000">
                        <a:srgbClr val="005695"/>
                      </a:gs>
                    </a:gsLst>
                    <a:lin ang="5400000" scaled="0"/>
                  </a:gradFill>
                  <a:latin typeface="Segoe UI Light"/>
                </a:rPr>
                <a:t>           Flexible and easy-to-manage storage</a:t>
              </a:r>
            </a:p>
          </p:txBody>
        </p:sp>
        <p:sp>
          <p:nvSpPr>
            <p:cNvPr id="21" name="Rectangle 20"/>
            <p:cNvSpPr/>
            <p:nvPr/>
          </p:nvSpPr>
          <p:spPr bwMode="auto">
            <a:xfrm>
              <a:off x="274638" y="3291523"/>
              <a:ext cx="2697480" cy="132588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86" defTabSz="913924" fontAlgn="base">
                <a:lnSpc>
                  <a:spcPct val="90000"/>
                </a:lnSpc>
                <a:spcBef>
                  <a:spcPct val="0"/>
                </a:spcBef>
                <a:spcAft>
                  <a:spcPct val="0"/>
                </a:spcAft>
              </a:pPr>
              <a:endParaRPr lang="en-US" sz="3137" spc="-49" dirty="0">
                <a:gradFill>
                  <a:gsLst>
                    <a:gs pos="0">
                      <a:srgbClr val="EFEFEF"/>
                    </a:gs>
                    <a:gs pos="100000">
                      <a:srgbClr val="EFEFEF"/>
                    </a:gs>
                  </a:gsLst>
                  <a:lin ang="5400000" scaled="0"/>
                </a:gradFill>
                <a:latin typeface="Segoe UI Light"/>
              </a:endParaRPr>
            </a:p>
          </p:txBody>
        </p:sp>
        <p:sp>
          <p:nvSpPr>
            <p:cNvPr id="27" name="Flowchart: Magnetic Disk 86"/>
            <p:cNvSpPr/>
            <p:nvPr/>
          </p:nvSpPr>
          <p:spPr bwMode="auto">
            <a:xfrm>
              <a:off x="1347671" y="3599543"/>
              <a:ext cx="590782" cy="709840"/>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269239" y="4371698"/>
            <a:ext cx="11653523" cy="1299816"/>
            <a:chOff x="274638" y="4661383"/>
            <a:chExt cx="11887200" cy="1325880"/>
          </a:xfrm>
        </p:grpSpPr>
        <p:sp>
          <p:nvSpPr>
            <p:cNvPr id="18" name="Rectangle 17"/>
            <p:cNvSpPr/>
            <p:nvPr/>
          </p:nvSpPr>
          <p:spPr bwMode="auto">
            <a:xfrm>
              <a:off x="3017838" y="4661383"/>
              <a:ext cx="9144000" cy="132588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9" defTabSz="913924" fontAlgn="base">
                <a:lnSpc>
                  <a:spcPct val="90000"/>
                </a:lnSpc>
                <a:spcBef>
                  <a:spcPct val="0"/>
                </a:spcBef>
                <a:spcAft>
                  <a:spcPct val="0"/>
                </a:spcAft>
              </a:pPr>
              <a:r>
                <a:rPr lang="en-US" sz="2745" spc="-49" dirty="0">
                  <a:solidFill>
                    <a:srgbClr val="0072C6"/>
                  </a:solidFill>
                  <a:latin typeface="Segoe UI Light"/>
                </a:rPr>
                <a:t>           </a:t>
              </a:r>
              <a:r>
                <a:rPr lang="en-US" sz="2745" spc="-49" dirty="0">
                  <a:gradFill>
                    <a:gsLst>
                      <a:gs pos="0">
                        <a:srgbClr val="003963"/>
                      </a:gs>
                      <a:gs pos="100000">
                        <a:srgbClr val="003963"/>
                      </a:gs>
                    </a:gsLst>
                    <a:lin ang="5400000" scaled="0"/>
                  </a:gradFill>
                  <a:latin typeface="Segoe UI Light"/>
                </a:rPr>
                <a:t>Performance and availability of traditional </a:t>
              </a:r>
              <a:br>
                <a:rPr lang="en-US" sz="2745" spc="-49" dirty="0">
                  <a:gradFill>
                    <a:gsLst>
                      <a:gs pos="0">
                        <a:srgbClr val="003963"/>
                      </a:gs>
                      <a:gs pos="100000">
                        <a:srgbClr val="003963"/>
                      </a:gs>
                    </a:gsLst>
                    <a:lin ang="5400000" scaled="0"/>
                  </a:gradFill>
                  <a:latin typeface="Segoe UI Light"/>
                </a:rPr>
              </a:br>
              <a:r>
                <a:rPr lang="en-US" sz="2745" spc="-49" dirty="0">
                  <a:gradFill>
                    <a:gsLst>
                      <a:gs pos="0">
                        <a:srgbClr val="003963"/>
                      </a:gs>
                      <a:gs pos="100000">
                        <a:srgbClr val="003963"/>
                      </a:gs>
                    </a:gsLst>
                    <a:lin ang="5400000" scaled="0"/>
                  </a:gradFill>
                  <a:latin typeface="Segoe UI Light"/>
                </a:rPr>
                <a:t>           NAS and SAN infrastructures </a:t>
              </a:r>
            </a:p>
          </p:txBody>
        </p:sp>
        <p:sp>
          <p:nvSpPr>
            <p:cNvPr id="22" name="Rectangle 21"/>
            <p:cNvSpPr/>
            <p:nvPr/>
          </p:nvSpPr>
          <p:spPr bwMode="auto">
            <a:xfrm>
              <a:off x="274638" y="4661383"/>
              <a:ext cx="2697480" cy="1325880"/>
            </a:xfrm>
            <a:prstGeom prst="rect">
              <a:avLst/>
            </a:prstGeom>
            <a:solidFill>
              <a:srgbClr val="00396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86" defTabSz="913924" fontAlgn="base">
                <a:lnSpc>
                  <a:spcPct val="90000"/>
                </a:lnSpc>
                <a:spcBef>
                  <a:spcPct val="0"/>
                </a:spcBef>
                <a:spcAft>
                  <a:spcPct val="0"/>
                </a:spcAft>
              </a:pPr>
              <a:endParaRPr lang="en-US" sz="3137" spc="-49" dirty="0">
                <a:gradFill>
                  <a:gsLst>
                    <a:gs pos="0">
                      <a:srgbClr val="EFEFEF"/>
                    </a:gs>
                    <a:gs pos="100000">
                      <a:srgbClr val="EFEFEF"/>
                    </a:gs>
                  </a:gsLst>
                  <a:lin ang="5400000" scaled="0"/>
                </a:gradFill>
                <a:latin typeface="Segoe UI Light"/>
              </a:endParaRPr>
            </a:p>
          </p:txBody>
        </p:sp>
        <p:sp>
          <p:nvSpPr>
            <p:cNvPr id="28" name="Freeform 73"/>
            <p:cNvSpPr>
              <a:spLocks noEditPoints="1"/>
            </p:cNvSpPr>
            <p:nvPr/>
          </p:nvSpPr>
          <p:spPr bwMode="black">
            <a:xfrm>
              <a:off x="1241671" y="4963886"/>
              <a:ext cx="792292" cy="76485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000000"/>
                </a:solidFill>
              </a:endParaRPr>
            </a:p>
          </p:txBody>
        </p:sp>
      </p:grpSp>
      <p:grpSp>
        <p:nvGrpSpPr>
          <p:cNvPr id="3" name="Group 2"/>
          <p:cNvGrpSpPr/>
          <p:nvPr/>
        </p:nvGrpSpPr>
        <p:grpSpPr>
          <a:xfrm>
            <a:off x="269239" y="1685620"/>
            <a:ext cx="11653523" cy="1299816"/>
            <a:chOff x="274638" y="1921664"/>
            <a:chExt cx="11887200" cy="1325880"/>
          </a:xfrm>
        </p:grpSpPr>
        <p:sp>
          <p:nvSpPr>
            <p:cNvPr id="19" name="Rectangle 18"/>
            <p:cNvSpPr/>
            <p:nvPr/>
          </p:nvSpPr>
          <p:spPr bwMode="auto">
            <a:xfrm>
              <a:off x="3017838" y="1921664"/>
              <a:ext cx="9144000" cy="132588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9" defTabSz="913924" fontAlgn="base">
                <a:lnSpc>
                  <a:spcPct val="90000"/>
                </a:lnSpc>
                <a:spcBef>
                  <a:spcPct val="0"/>
                </a:spcBef>
                <a:spcAft>
                  <a:spcPct val="0"/>
                </a:spcAft>
              </a:pPr>
              <a:r>
                <a:rPr lang="en-US" sz="2745" spc="-49" dirty="0">
                  <a:solidFill>
                    <a:srgbClr val="0072C6"/>
                  </a:solidFill>
                  <a:latin typeface="Segoe UI Light"/>
                </a:rPr>
                <a:t>	  Lower cost than traditional storage infrastructure</a:t>
              </a:r>
            </a:p>
          </p:txBody>
        </p:sp>
        <p:sp>
          <p:nvSpPr>
            <p:cNvPr id="23" name="Rectangle 22"/>
            <p:cNvSpPr/>
            <p:nvPr/>
          </p:nvSpPr>
          <p:spPr bwMode="auto">
            <a:xfrm>
              <a:off x="274638" y="1921664"/>
              <a:ext cx="2697480" cy="132588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86" defTabSz="913924" fontAlgn="base">
                <a:lnSpc>
                  <a:spcPct val="90000"/>
                </a:lnSpc>
                <a:spcBef>
                  <a:spcPct val="0"/>
                </a:spcBef>
                <a:spcAft>
                  <a:spcPct val="0"/>
                </a:spcAft>
              </a:pPr>
              <a:endParaRPr lang="en-US" sz="3137" spc="-49" dirty="0">
                <a:gradFill>
                  <a:gsLst>
                    <a:gs pos="0">
                      <a:srgbClr val="EFEFEF"/>
                    </a:gs>
                    <a:gs pos="100000">
                      <a:srgbClr val="EFEFEF"/>
                    </a:gs>
                  </a:gsLst>
                  <a:lin ang="5400000" scaled="0"/>
                </a:gradFill>
                <a:latin typeface="Segoe UI Light"/>
              </a:endParaRPr>
            </a:p>
          </p:txBody>
        </p:sp>
        <p:sp>
          <p:nvSpPr>
            <p:cNvPr id="13" name="Freeform 5"/>
            <p:cNvSpPr>
              <a:spLocks/>
            </p:cNvSpPr>
            <p:nvPr/>
          </p:nvSpPr>
          <p:spPr bwMode="auto">
            <a:xfrm>
              <a:off x="1405249" y="2159440"/>
              <a:ext cx="465136" cy="850327"/>
            </a:xfrm>
            <a:custGeom>
              <a:avLst/>
              <a:gdLst>
                <a:gd name="T0" fmla="*/ 864 w 864"/>
                <a:gd name="T1" fmla="*/ 1023 h 1582"/>
                <a:gd name="T2" fmla="*/ 850 w 864"/>
                <a:gd name="T3" fmla="*/ 1120 h 1582"/>
                <a:gd name="T4" fmla="*/ 801 w 864"/>
                <a:gd name="T5" fmla="*/ 1222 h 1582"/>
                <a:gd name="T6" fmla="*/ 705 w 864"/>
                <a:gd name="T7" fmla="*/ 1315 h 1582"/>
                <a:gd name="T8" fmla="*/ 553 w 864"/>
                <a:gd name="T9" fmla="*/ 1380 h 1582"/>
                <a:gd name="T10" fmla="*/ 553 w 864"/>
                <a:gd name="T11" fmla="*/ 1582 h 1582"/>
                <a:gd name="T12" fmla="*/ 345 w 864"/>
                <a:gd name="T13" fmla="*/ 1582 h 1582"/>
                <a:gd name="T14" fmla="*/ 345 w 864"/>
                <a:gd name="T15" fmla="*/ 1404 h 1582"/>
                <a:gd name="T16" fmla="*/ 249 w 864"/>
                <a:gd name="T17" fmla="*/ 1397 h 1582"/>
                <a:gd name="T18" fmla="*/ 151 w 864"/>
                <a:gd name="T19" fmla="*/ 1381 h 1582"/>
                <a:gd name="T20" fmla="*/ 68 w 864"/>
                <a:gd name="T21" fmla="*/ 1358 h 1582"/>
                <a:gd name="T22" fmla="*/ 16 w 864"/>
                <a:gd name="T23" fmla="*/ 1332 h 1582"/>
                <a:gd name="T24" fmla="*/ 16 w 864"/>
                <a:gd name="T25" fmla="*/ 1003 h 1582"/>
                <a:gd name="T26" fmla="*/ 188 w 864"/>
                <a:gd name="T27" fmla="*/ 1100 h 1582"/>
                <a:gd name="T28" fmla="*/ 368 w 864"/>
                <a:gd name="T29" fmla="*/ 1136 h 1582"/>
                <a:gd name="T30" fmla="*/ 415 w 864"/>
                <a:gd name="T31" fmla="*/ 1129 h 1582"/>
                <a:gd name="T32" fmla="*/ 446 w 864"/>
                <a:gd name="T33" fmla="*/ 1110 h 1582"/>
                <a:gd name="T34" fmla="*/ 463 w 864"/>
                <a:gd name="T35" fmla="*/ 1082 h 1582"/>
                <a:gd name="T36" fmla="*/ 469 w 864"/>
                <a:gd name="T37" fmla="*/ 1051 h 1582"/>
                <a:gd name="T38" fmla="*/ 464 w 864"/>
                <a:gd name="T39" fmla="*/ 1018 h 1582"/>
                <a:gd name="T40" fmla="*/ 440 w 864"/>
                <a:gd name="T41" fmla="*/ 986 h 1582"/>
                <a:gd name="T42" fmla="*/ 384 w 864"/>
                <a:gd name="T43" fmla="*/ 950 h 1582"/>
                <a:gd name="T44" fmla="*/ 283 w 864"/>
                <a:gd name="T45" fmla="*/ 907 h 1582"/>
                <a:gd name="T46" fmla="*/ 152 w 864"/>
                <a:gd name="T47" fmla="*/ 836 h 1582"/>
                <a:gd name="T48" fmla="*/ 64 w 864"/>
                <a:gd name="T49" fmla="*/ 751 h 1582"/>
                <a:gd name="T50" fmla="*/ 15 w 864"/>
                <a:gd name="T51" fmla="*/ 653 h 1582"/>
                <a:gd name="T52" fmla="*/ 0 w 864"/>
                <a:gd name="T53" fmla="*/ 545 h 1582"/>
                <a:gd name="T54" fmla="*/ 24 w 864"/>
                <a:gd name="T55" fmla="*/ 409 h 1582"/>
                <a:gd name="T56" fmla="*/ 93 w 864"/>
                <a:gd name="T57" fmla="*/ 300 h 1582"/>
                <a:gd name="T58" fmla="*/ 201 w 864"/>
                <a:gd name="T59" fmla="*/ 221 h 1582"/>
                <a:gd name="T60" fmla="*/ 345 w 864"/>
                <a:gd name="T61" fmla="*/ 175 h 1582"/>
                <a:gd name="T62" fmla="*/ 345 w 864"/>
                <a:gd name="T63" fmla="*/ 0 h 1582"/>
                <a:gd name="T64" fmla="*/ 553 w 864"/>
                <a:gd name="T65" fmla="*/ 0 h 1582"/>
                <a:gd name="T66" fmla="*/ 553 w 864"/>
                <a:gd name="T67" fmla="*/ 166 h 1582"/>
                <a:gd name="T68" fmla="*/ 696 w 864"/>
                <a:gd name="T69" fmla="*/ 181 h 1582"/>
                <a:gd name="T70" fmla="*/ 803 w 864"/>
                <a:gd name="T71" fmla="*/ 205 h 1582"/>
                <a:gd name="T72" fmla="*/ 803 w 864"/>
                <a:gd name="T73" fmla="*/ 525 h 1582"/>
                <a:gd name="T74" fmla="*/ 742 w 864"/>
                <a:gd name="T75" fmla="*/ 492 h 1582"/>
                <a:gd name="T76" fmla="*/ 666 w 864"/>
                <a:gd name="T77" fmla="*/ 462 h 1582"/>
                <a:gd name="T78" fmla="*/ 579 w 864"/>
                <a:gd name="T79" fmla="*/ 440 h 1582"/>
                <a:gd name="T80" fmla="*/ 487 w 864"/>
                <a:gd name="T81" fmla="*/ 432 h 1582"/>
                <a:gd name="T82" fmla="*/ 440 w 864"/>
                <a:gd name="T83" fmla="*/ 438 h 1582"/>
                <a:gd name="T84" fmla="*/ 407 w 864"/>
                <a:gd name="T85" fmla="*/ 456 h 1582"/>
                <a:gd name="T86" fmla="*/ 386 w 864"/>
                <a:gd name="T87" fmla="*/ 481 h 1582"/>
                <a:gd name="T88" fmla="*/ 379 w 864"/>
                <a:gd name="T89" fmla="*/ 511 h 1582"/>
                <a:gd name="T90" fmla="*/ 383 w 864"/>
                <a:gd name="T91" fmla="*/ 539 h 1582"/>
                <a:gd name="T92" fmla="*/ 402 w 864"/>
                <a:gd name="T93" fmla="*/ 570 h 1582"/>
                <a:gd name="T94" fmla="*/ 447 w 864"/>
                <a:gd name="T95" fmla="*/ 604 h 1582"/>
                <a:gd name="T96" fmla="*/ 530 w 864"/>
                <a:gd name="T97" fmla="*/ 644 h 1582"/>
                <a:gd name="T98" fmla="*/ 688 w 864"/>
                <a:gd name="T99" fmla="*/ 725 h 1582"/>
                <a:gd name="T100" fmla="*/ 791 w 864"/>
                <a:gd name="T101" fmla="*/ 815 h 1582"/>
                <a:gd name="T102" fmla="*/ 847 w 864"/>
                <a:gd name="T103" fmla="*/ 914 h 1582"/>
                <a:gd name="T104" fmla="*/ 864 w 864"/>
                <a:gd name="T105" fmla="*/ 102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4" h="1582">
                  <a:moveTo>
                    <a:pt x="864" y="1023"/>
                  </a:moveTo>
                  <a:cubicBezTo>
                    <a:pt x="864" y="1052"/>
                    <a:pt x="860" y="1085"/>
                    <a:pt x="850" y="1120"/>
                  </a:cubicBezTo>
                  <a:cubicBezTo>
                    <a:pt x="841" y="1155"/>
                    <a:pt x="824" y="1189"/>
                    <a:pt x="801" y="1222"/>
                  </a:cubicBezTo>
                  <a:cubicBezTo>
                    <a:pt x="778" y="1256"/>
                    <a:pt x="746" y="1286"/>
                    <a:pt x="705" y="1315"/>
                  </a:cubicBezTo>
                  <a:cubicBezTo>
                    <a:pt x="665" y="1343"/>
                    <a:pt x="614" y="1365"/>
                    <a:pt x="553" y="1380"/>
                  </a:cubicBezTo>
                  <a:cubicBezTo>
                    <a:pt x="553" y="1582"/>
                    <a:pt x="553" y="1582"/>
                    <a:pt x="553" y="1582"/>
                  </a:cubicBezTo>
                  <a:cubicBezTo>
                    <a:pt x="345" y="1582"/>
                    <a:pt x="345" y="1582"/>
                    <a:pt x="345" y="1582"/>
                  </a:cubicBezTo>
                  <a:cubicBezTo>
                    <a:pt x="345" y="1404"/>
                    <a:pt x="345" y="1404"/>
                    <a:pt x="345" y="1404"/>
                  </a:cubicBezTo>
                  <a:cubicBezTo>
                    <a:pt x="315" y="1403"/>
                    <a:pt x="283" y="1401"/>
                    <a:pt x="249" y="1397"/>
                  </a:cubicBezTo>
                  <a:cubicBezTo>
                    <a:pt x="215" y="1393"/>
                    <a:pt x="182" y="1388"/>
                    <a:pt x="151" y="1381"/>
                  </a:cubicBezTo>
                  <a:cubicBezTo>
                    <a:pt x="120" y="1374"/>
                    <a:pt x="92" y="1366"/>
                    <a:pt x="68" y="1358"/>
                  </a:cubicBezTo>
                  <a:cubicBezTo>
                    <a:pt x="44" y="1349"/>
                    <a:pt x="26" y="1341"/>
                    <a:pt x="16" y="1332"/>
                  </a:cubicBezTo>
                  <a:cubicBezTo>
                    <a:pt x="16" y="1003"/>
                    <a:pt x="16" y="1003"/>
                    <a:pt x="16" y="1003"/>
                  </a:cubicBezTo>
                  <a:cubicBezTo>
                    <a:pt x="71" y="1043"/>
                    <a:pt x="128" y="1076"/>
                    <a:pt x="188" y="1100"/>
                  </a:cubicBezTo>
                  <a:cubicBezTo>
                    <a:pt x="247" y="1124"/>
                    <a:pt x="308" y="1136"/>
                    <a:pt x="368" y="1136"/>
                  </a:cubicBezTo>
                  <a:cubicBezTo>
                    <a:pt x="387" y="1136"/>
                    <a:pt x="402" y="1134"/>
                    <a:pt x="415" y="1129"/>
                  </a:cubicBezTo>
                  <a:cubicBezTo>
                    <a:pt x="428" y="1124"/>
                    <a:pt x="438" y="1118"/>
                    <a:pt x="446" y="1110"/>
                  </a:cubicBezTo>
                  <a:cubicBezTo>
                    <a:pt x="454" y="1102"/>
                    <a:pt x="460" y="1093"/>
                    <a:pt x="463" y="1082"/>
                  </a:cubicBezTo>
                  <a:cubicBezTo>
                    <a:pt x="467" y="1072"/>
                    <a:pt x="469" y="1062"/>
                    <a:pt x="469" y="1051"/>
                  </a:cubicBezTo>
                  <a:cubicBezTo>
                    <a:pt x="469" y="1040"/>
                    <a:pt x="467" y="1029"/>
                    <a:pt x="464" y="1018"/>
                  </a:cubicBezTo>
                  <a:cubicBezTo>
                    <a:pt x="460" y="1008"/>
                    <a:pt x="453" y="997"/>
                    <a:pt x="440" y="986"/>
                  </a:cubicBezTo>
                  <a:cubicBezTo>
                    <a:pt x="427" y="975"/>
                    <a:pt x="409" y="963"/>
                    <a:pt x="384" y="950"/>
                  </a:cubicBezTo>
                  <a:cubicBezTo>
                    <a:pt x="360" y="938"/>
                    <a:pt x="326" y="923"/>
                    <a:pt x="283" y="907"/>
                  </a:cubicBezTo>
                  <a:cubicBezTo>
                    <a:pt x="232" y="886"/>
                    <a:pt x="188" y="863"/>
                    <a:pt x="152" y="836"/>
                  </a:cubicBezTo>
                  <a:cubicBezTo>
                    <a:pt x="116" y="810"/>
                    <a:pt x="87" y="781"/>
                    <a:pt x="64" y="751"/>
                  </a:cubicBezTo>
                  <a:cubicBezTo>
                    <a:pt x="42" y="720"/>
                    <a:pt x="26" y="687"/>
                    <a:pt x="15" y="653"/>
                  </a:cubicBezTo>
                  <a:cubicBezTo>
                    <a:pt x="5" y="618"/>
                    <a:pt x="0" y="582"/>
                    <a:pt x="0" y="545"/>
                  </a:cubicBezTo>
                  <a:cubicBezTo>
                    <a:pt x="0" y="496"/>
                    <a:pt x="8" y="451"/>
                    <a:pt x="24" y="409"/>
                  </a:cubicBezTo>
                  <a:cubicBezTo>
                    <a:pt x="40" y="368"/>
                    <a:pt x="63" y="332"/>
                    <a:pt x="93" y="300"/>
                  </a:cubicBezTo>
                  <a:cubicBezTo>
                    <a:pt x="123" y="269"/>
                    <a:pt x="159" y="242"/>
                    <a:pt x="201" y="221"/>
                  </a:cubicBezTo>
                  <a:cubicBezTo>
                    <a:pt x="244" y="199"/>
                    <a:pt x="292" y="184"/>
                    <a:pt x="345" y="175"/>
                  </a:cubicBezTo>
                  <a:cubicBezTo>
                    <a:pt x="345" y="0"/>
                    <a:pt x="345" y="0"/>
                    <a:pt x="345" y="0"/>
                  </a:cubicBezTo>
                  <a:cubicBezTo>
                    <a:pt x="553" y="0"/>
                    <a:pt x="553" y="0"/>
                    <a:pt x="553" y="0"/>
                  </a:cubicBezTo>
                  <a:cubicBezTo>
                    <a:pt x="553" y="166"/>
                    <a:pt x="553" y="166"/>
                    <a:pt x="553" y="166"/>
                  </a:cubicBezTo>
                  <a:cubicBezTo>
                    <a:pt x="605" y="169"/>
                    <a:pt x="653" y="174"/>
                    <a:pt x="696" y="181"/>
                  </a:cubicBezTo>
                  <a:cubicBezTo>
                    <a:pt x="738" y="188"/>
                    <a:pt x="774" y="196"/>
                    <a:pt x="803" y="205"/>
                  </a:cubicBezTo>
                  <a:cubicBezTo>
                    <a:pt x="803" y="525"/>
                    <a:pt x="803" y="525"/>
                    <a:pt x="803" y="525"/>
                  </a:cubicBezTo>
                  <a:cubicBezTo>
                    <a:pt x="786" y="514"/>
                    <a:pt x="766" y="503"/>
                    <a:pt x="742" y="492"/>
                  </a:cubicBezTo>
                  <a:cubicBezTo>
                    <a:pt x="719" y="481"/>
                    <a:pt x="693" y="471"/>
                    <a:pt x="666" y="462"/>
                  </a:cubicBezTo>
                  <a:cubicBezTo>
                    <a:pt x="638" y="453"/>
                    <a:pt x="609" y="446"/>
                    <a:pt x="579" y="440"/>
                  </a:cubicBezTo>
                  <a:cubicBezTo>
                    <a:pt x="549" y="435"/>
                    <a:pt x="518" y="432"/>
                    <a:pt x="487" y="432"/>
                  </a:cubicBezTo>
                  <a:cubicBezTo>
                    <a:pt x="469" y="432"/>
                    <a:pt x="454" y="434"/>
                    <a:pt x="440" y="438"/>
                  </a:cubicBezTo>
                  <a:cubicBezTo>
                    <a:pt x="427" y="443"/>
                    <a:pt x="416" y="449"/>
                    <a:pt x="407" y="456"/>
                  </a:cubicBezTo>
                  <a:cubicBezTo>
                    <a:pt x="398" y="463"/>
                    <a:pt x="391" y="472"/>
                    <a:pt x="386" y="481"/>
                  </a:cubicBezTo>
                  <a:cubicBezTo>
                    <a:pt x="381" y="490"/>
                    <a:pt x="379" y="500"/>
                    <a:pt x="379" y="511"/>
                  </a:cubicBezTo>
                  <a:cubicBezTo>
                    <a:pt x="379" y="520"/>
                    <a:pt x="380" y="530"/>
                    <a:pt x="383" y="539"/>
                  </a:cubicBezTo>
                  <a:cubicBezTo>
                    <a:pt x="386" y="549"/>
                    <a:pt x="392" y="559"/>
                    <a:pt x="402" y="570"/>
                  </a:cubicBezTo>
                  <a:cubicBezTo>
                    <a:pt x="412" y="581"/>
                    <a:pt x="427" y="592"/>
                    <a:pt x="447" y="604"/>
                  </a:cubicBezTo>
                  <a:cubicBezTo>
                    <a:pt x="467" y="616"/>
                    <a:pt x="495" y="630"/>
                    <a:pt x="530" y="644"/>
                  </a:cubicBezTo>
                  <a:cubicBezTo>
                    <a:pt x="593" y="670"/>
                    <a:pt x="645" y="697"/>
                    <a:pt x="688" y="725"/>
                  </a:cubicBezTo>
                  <a:cubicBezTo>
                    <a:pt x="731" y="754"/>
                    <a:pt x="765" y="784"/>
                    <a:pt x="791" y="815"/>
                  </a:cubicBezTo>
                  <a:cubicBezTo>
                    <a:pt x="817" y="847"/>
                    <a:pt x="836" y="880"/>
                    <a:pt x="847" y="914"/>
                  </a:cubicBezTo>
                  <a:cubicBezTo>
                    <a:pt x="859" y="949"/>
                    <a:pt x="864" y="985"/>
                    <a:pt x="864" y="1023"/>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25" name="Group 24"/>
          <p:cNvGrpSpPr/>
          <p:nvPr/>
        </p:nvGrpSpPr>
        <p:grpSpPr>
          <a:xfrm>
            <a:off x="3235122" y="1949964"/>
            <a:ext cx="674610" cy="678183"/>
            <a:chOff x="5557290" y="1766438"/>
            <a:chExt cx="691782" cy="691782"/>
          </a:xfrm>
        </p:grpSpPr>
        <p:sp>
          <p:nvSpPr>
            <p:cNvPr id="26" name="Oval 25"/>
            <p:cNvSpPr/>
            <p:nvPr/>
          </p:nvSpPr>
          <p:spPr bwMode="auto">
            <a:xfrm>
              <a:off x="5557290" y="1766438"/>
              <a:ext cx="691782" cy="691782"/>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FF8C00"/>
                </a:solidFill>
                <a:ea typeface="Segoe UI" pitchFamily="34" charset="0"/>
                <a:cs typeface="Segoe UI" pitchFamily="34" charset="0"/>
              </a:endParaRPr>
            </a:p>
          </p:txBody>
        </p:sp>
        <p:sp>
          <p:nvSpPr>
            <p:cNvPr id="29" name="Isosceles Triangle 28"/>
            <p:cNvSpPr/>
            <p:nvPr/>
          </p:nvSpPr>
          <p:spPr bwMode="auto">
            <a:xfrm rot="5400000">
              <a:off x="5799098" y="2014578"/>
              <a:ext cx="288628" cy="19550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b="1" dirty="0">
                <a:solidFill>
                  <a:srgbClr val="FFFFFF"/>
                </a:solidFill>
                <a:latin typeface="Segoe UI Light"/>
                <a:ea typeface="Segoe UI" pitchFamily="34" charset="0"/>
                <a:cs typeface="Segoe UI" pitchFamily="34" charset="0"/>
              </a:endParaRPr>
            </a:p>
          </p:txBody>
        </p:sp>
      </p:grpSp>
      <p:grpSp>
        <p:nvGrpSpPr>
          <p:cNvPr id="30" name="Group 29"/>
          <p:cNvGrpSpPr/>
          <p:nvPr/>
        </p:nvGrpSpPr>
        <p:grpSpPr>
          <a:xfrm>
            <a:off x="3235122" y="3292894"/>
            <a:ext cx="674610" cy="678183"/>
            <a:chOff x="5557290" y="1766438"/>
            <a:chExt cx="691782" cy="691782"/>
          </a:xfrm>
        </p:grpSpPr>
        <p:sp>
          <p:nvSpPr>
            <p:cNvPr id="31" name="Oval 30"/>
            <p:cNvSpPr/>
            <p:nvPr/>
          </p:nvSpPr>
          <p:spPr bwMode="auto">
            <a:xfrm>
              <a:off x="5557290" y="1766438"/>
              <a:ext cx="691782" cy="691782"/>
            </a:xfrm>
            <a:prstGeom prst="ellipse">
              <a:avLst/>
            </a:prstGeom>
            <a:solidFill>
              <a:schemeClr val="bg1"/>
            </a:solidFill>
            <a:ln w="381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FF8C00"/>
                </a:solidFill>
                <a:ea typeface="Segoe UI" pitchFamily="34" charset="0"/>
                <a:cs typeface="Segoe UI" pitchFamily="34" charset="0"/>
              </a:endParaRPr>
            </a:p>
          </p:txBody>
        </p:sp>
        <p:sp>
          <p:nvSpPr>
            <p:cNvPr id="32" name="Isosceles Triangle 31"/>
            <p:cNvSpPr/>
            <p:nvPr/>
          </p:nvSpPr>
          <p:spPr bwMode="auto">
            <a:xfrm rot="5400000">
              <a:off x="5799098" y="2014578"/>
              <a:ext cx="288628" cy="195503"/>
            </a:xfrm>
            <a:prstGeom prst="triangle">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b="1" dirty="0">
                <a:solidFill>
                  <a:srgbClr val="FFFFFF"/>
                </a:solidFill>
                <a:latin typeface="Segoe UI Light"/>
                <a:ea typeface="Segoe UI" pitchFamily="34" charset="0"/>
                <a:cs typeface="Segoe UI" pitchFamily="34" charset="0"/>
              </a:endParaRPr>
            </a:p>
          </p:txBody>
        </p:sp>
      </p:grpSp>
      <p:grpSp>
        <p:nvGrpSpPr>
          <p:cNvPr id="33" name="Group 32"/>
          <p:cNvGrpSpPr/>
          <p:nvPr/>
        </p:nvGrpSpPr>
        <p:grpSpPr>
          <a:xfrm>
            <a:off x="3235122" y="4635826"/>
            <a:ext cx="674610" cy="678183"/>
            <a:chOff x="3299992" y="4748992"/>
            <a:chExt cx="688137" cy="691782"/>
          </a:xfrm>
        </p:grpSpPr>
        <p:sp>
          <p:nvSpPr>
            <p:cNvPr id="34" name="Oval 33"/>
            <p:cNvSpPr/>
            <p:nvPr/>
          </p:nvSpPr>
          <p:spPr bwMode="auto">
            <a:xfrm>
              <a:off x="3299992" y="4748992"/>
              <a:ext cx="688137" cy="691782"/>
            </a:xfrm>
            <a:prstGeom prst="ellipse">
              <a:avLst/>
            </a:prstGeom>
            <a:solidFill>
              <a:schemeClr val="bg1"/>
            </a:solidFill>
            <a:ln w="38100">
              <a:solidFill>
                <a:srgbClr val="00396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FF8C00"/>
                </a:solidFill>
                <a:ea typeface="Segoe UI" pitchFamily="34" charset="0"/>
                <a:cs typeface="Segoe UI" pitchFamily="34" charset="0"/>
              </a:endParaRPr>
            </a:p>
          </p:txBody>
        </p:sp>
        <p:sp>
          <p:nvSpPr>
            <p:cNvPr id="35" name="Isosceles Triangle 34"/>
            <p:cNvSpPr/>
            <p:nvPr/>
          </p:nvSpPr>
          <p:spPr bwMode="auto">
            <a:xfrm rot="5400000">
              <a:off x="3539766" y="4997647"/>
              <a:ext cx="288628" cy="194473"/>
            </a:xfrm>
            <a:prstGeom prst="triangle">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b="1" dirty="0">
                <a:solidFill>
                  <a:srgbClr val="FFFFFF"/>
                </a:solidFill>
                <a:latin typeface="Segoe UI Light"/>
                <a:ea typeface="Segoe UI" pitchFamily="34" charset="0"/>
                <a:cs typeface="Segoe UI" pitchFamily="34" charset="0"/>
              </a:endParaRPr>
            </a:p>
          </p:txBody>
        </p:sp>
      </p:grpSp>
      <p:sp>
        <p:nvSpPr>
          <p:cNvPr id="36" name="Rectangle 35"/>
          <p:cNvSpPr/>
          <p:nvPr/>
        </p:nvSpPr>
        <p:spPr bwMode="auto">
          <a:xfrm>
            <a:off x="1" y="5670063"/>
            <a:ext cx="12191999" cy="11967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98882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ppt_x"/>
                                          </p:val>
                                        </p:tav>
                                        <p:tav tm="100000">
                                          <p:val>
                                            <p:strVal val="#ppt_x"/>
                                          </p:val>
                                        </p:tav>
                                      </p:tavLst>
                                    </p:anim>
                                    <p:anim calcmode="lin" valueType="num">
                                      <p:cBhvr additive="base">
                                        <p:cTn id="12" dur="500" fill="hold"/>
                                        <p:tgtEl>
                                          <p:spTgt spid="2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5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ppt_x"/>
                                          </p:val>
                                        </p:tav>
                                        <p:tav tm="100000">
                                          <p:val>
                                            <p:strVal val="#ppt_x"/>
                                          </p:val>
                                        </p:tav>
                                      </p:tavLst>
                                    </p:anim>
                                    <p:anim calcmode="lin" valueType="num">
                                      <p:cBhvr additive="base">
                                        <p:cTn id="16" dur="5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50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10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ppt_x"/>
                                          </p:val>
                                        </p:tav>
                                        <p:tav tm="100000">
                                          <p:val>
                                            <p:strVal val="#ppt_x"/>
                                          </p:val>
                                        </p:tav>
                                      </p:tavLst>
                                    </p:anim>
                                    <p:anim calcmode="lin" valueType="num">
                                      <p:cBhvr additive="base">
                                        <p:cTn id="24" dur="500" fill="hold"/>
                                        <p:tgtEl>
                                          <p:spTgt spid="5"/>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1000"/>
                                  </p:stCondLst>
                                  <p:childTnLst>
                                    <p:set>
                                      <p:cBhvr>
                                        <p:cTn id="26" dur="1" fill="hold">
                                          <p:stCondLst>
                                            <p:cond delay="0"/>
                                          </p:stCondLst>
                                        </p:cTn>
                                        <p:tgtEl>
                                          <p:spTgt spid="33"/>
                                        </p:tgtEl>
                                        <p:attrNameLst>
                                          <p:attrName>style.visibility</p:attrName>
                                        </p:attrNameLst>
                                      </p:cBhvr>
                                      <p:to>
                                        <p:strVal val="visible"/>
                                      </p:to>
                                    </p:set>
                                    <p:anim calcmode="lin" valueType="num">
                                      <p:cBhvr additive="base">
                                        <p:cTn id="27" dur="500" fill="hold"/>
                                        <p:tgtEl>
                                          <p:spTgt spid="33"/>
                                        </p:tgtEl>
                                        <p:attrNameLst>
                                          <p:attrName>ppt_x</p:attrName>
                                        </p:attrNameLst>
                                      </p:cBhvr>
                                      <p:tavLst>
                                        <p:tav tm="0">
                                          <p:val>
                                            <p:strVal val="#ppt_x"/>
                                          </p:val>
                                        </p:tav>
                                        <p:tav tm="100000">
                                          <p:val>
                                            <p:strVal val="#ppt_x"/>
                                          </p:val>
                                        </p:tav>
                                      </p:tavLst>
                                    </p:anim>
                                    <p:anim calcmode="lin" valueType="num">
                                      <p:cBhvr additive="base">
                                        <p:cTn id="28"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9812992" y="6103805"/>
            <a:ext cx="2031260" cy="6675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9154977" y="970802"/>
            <a:ext cx="2689274" cy="2644453"/>
          </a:xfrm>
          <a:prstGeom prst="rect">
            <a:avLst/>
          </a:prstGeom>
          <a:solidFill>
            <a:srgbClr val="00BCF2"/>
          </a:solidFill>
          <a:ln w="9525" cap="flat" cmpd="sng" algn="ctr">
            <a:noFill/>
            <a:prstDash val="solid"/>
          </a:ln>
          <a:effectLst/>
        </p:spPr>
        <p:txBody>
          <a:bodyPr lIns="179253" tIns="143402" rIns="179253" bIns="143402" rtlCol="0" anchor="t" anchorCtr="0"/>
          <a:lstStyle/>
          <a:p>
            <a:pPr defTabSz="908762">
              <a:lnSpc>
                <a:spcPct val="90000"/>
              </a:lnSpc>
              <a:spcBef>
                <a:spcPts val="1765"/>
              </a:spcBef>
              <a:defRPr/>
            </a:pPr>
            <a:r>
              <a:rPr lang="en-US" sz="3137" kern="0" spc="-100" dirty="0">
                <a:gradFill>
                  <a:gsLst>
                    <a:gs pos="15929">
                      <a:srgbClr val="FFFFFF"/>
                    </a:gs>
                    <a:gs pos="46000">
                      <a:srgbClr val="FFFFFF"/>
                    </a:gs>
                  </a:gsLst>
                  <a:lin ang="5400000" scaled="0"/>
                </a:gradFill>
                <a:latin typeface="Segoe UI Light"/>
              </a:rPr>
              <a:t>Faye Jones</a:t>
            </a:r>
          </a:p>
          <a:p>
            <a:pPr defTabSz="908762">
              <a:lnSpc>
                <a:spcPct val="90000"/>
              </a:lnSpc>
              <a:spcBef>
                <a:spcPts val="588"/>
              </a:spcBef>
              <a:defRPr/>
            </a:pPr>
            <a:r>
              <a:rPr lang="en-US" sz="1765" kern="0" spc="-29" dirty="0">
                <a:gradFill>
                  <a:gsLst>
                    <a:gs pos="15929">
                      <a:srgbClr val="FFFFFF"/>
                    </a:gs>
                    <a:gs pos="46000">
                      <a:srgbClr val="FFFFFF"/>
                    </a:gs>
                  </a:gsLst>
                  <a:lin ang="5400000" scaled="0"/>
                </a:gradFill>
              </a:rPr>
              <a:t>AE</a:t>
            </a:r>
          </a:p>
          <a:p>
            <a:pPr defTabSz="908762">
              <a:lnSpc>
                <a:spcPct val="90000"/>
              </a:lnSpc>
              <a:spcBef>
                <a:spcPts val="1176"/>
              </a:spcBef>
              <a:defRPr/>
            </a:pPr>
            <a:r>
              <a:rPr lang="en-US" sz="3137" kern="0" spc="-100" dirty="0">
                <a:gradFill>
                  <a:gsLst>
                    <a:gs pos="15929">
                      <a:srgbClr val="FFFFFF"/>
                    </a:gs>
                    <a:gs pos="46000">
                      <a:srgbClr val="FFFFFF"/>
                    </a:gs>
                  </a:gsLst>
                  <a:lin ang="5400000" scaled="0"/>
                </a:gradFill>
                <a:latin typeface="Segoe UI Light"/>
              </a:rPr>
              <a:t>Michael Doe</a:t>
            </a:r>
          </a:p>
          <a:p>
            <a:pPr defTabSz="908762">
              <a:lnSpc>
                <a:spcPct val="90000"/>
              </a:lnSpc>
              <a:spcBef>
                <a:spcPts val="588"/>
              </a:spcBef>
              <a:defRPr/>
            </a:pPr>
            <a:r>
              <a:rPr lang="en-US" sz="1765" kern="0" spc="-29" dirty="0">
                <a:gradFill>
                  <a:gsLst>
                    <a:gs pos="15929">
                      <a:srgbClr val="FFFFFF"/>
                    </a:gs>
                    <a:gs pos="46000">
                      <a:srgbClr val="FFFFFF"/>
                    </a:gs>
                  </a:gsLst>
                  <a:lin ang="5400000" scaled="0"/>
                </a:gradFill>
              </a:rPr>
              <a:t>SSP</a:t>
            </a:r>
          </a:p>
        </p:txBody>
      </p:sp>
      <p:sp>
        <p:nvSpPr>
          <p:cNvPr id="5" name="Rectangle 4"/>
          <p:cNvSpPr/>
          <p:nvPr/>
        </p:nvSpPr>
        <p:spPr>
          <a:xfrm>
            <a:off x="9154977" y="3657875"/>
            <a:ext cx="2689274" cy="2689274"/>
          </a:xfrm>
          <a:prstGeom prst="rect">
            <a:avLst/>
          </a:prstGeom>
          <a:solidFill>
            <a:srgbClr val="FF8C00"/>
          </a:solidFill>
          <a:ln w="9525" cap="flat" cmpd="sng" algn="ctr">
            <a:noFill/>
            <a:prstDash val="solid"/>
          </a:ln>
          <a:effectLst/>
        </p:spPr>
        <p:txBody>
          <a:bodyPr lIns="179253" tIns="143402" rIns="179253" bIns="143402" rtlCol="0" anchor="t" anchorCtr="0"/>
          <a:lstStyle/>
          <a:p>
            <a:pPr defTabSz="908762">
              <a:lnSpc>
                <a:spcPct val="90000"/>
              </a:lnSpc>
              <a:spcBef>
                <a:spcPts val="1765"/>
              </a:spcBef>
              <a:defRPr/>
            </a:pPr>
            <a:r>
              <a:rPr lang="en-US" sz="3137" kern="0" spc="-100" dirty="0">
                <a:gradFill>
                  <a:gsLst>
                    <a:gs pos="15929">
                      <a:srgbClr val="FFFFFF"/>
                    </a:gs>
                    <a:gs pos="46000">
                      <a:srgbClr val="FFFFFF"/>
                    </a:gs>
                  </a:gsLst>
                  <a:lin ang="5400000" scaled="0"/>
                </a:gradFill>
                <a:latin typeface="Segoe UI Light"/>
              </a:rPr>
              <a:t>Kenon Brown</a:t>
            </a:r>
          </a:p>
          <a:p>
            <a:pPr defTabSz="908762">
              <a:lnSpc>
                <a:spcPct val="90000"/>
              </a:lnSpc>
              <a:spcBef>
                <a:spcPts val="588"/>
              </a:spcBef>
              <a:defRPr/>
            </a:pPr>
            <a:r>
              <a:rPr lang="en-US" sz="1765" kern="0" spc="-29" dirty="0">
                <a:gradFill>
                  <a:gsLst>
                    <a:gs pos="15929">
                      <a:srgbClr val="FFFFFF"/>
                    </a:gs>
                    <a:gs pos="46000">
                      <a:srgbClr val="FFFFFF"/>
                    </a:gs>
                  </a:gsLst>
                  <a:lin ang="5400000" scaled="0"/>
                </a:gradFill>
              </a:rPr>
              <a:t>TSP</a:t>
            </a:r>
          </a:p>
          <a:p>
            <a:pPr defTabSz="908762">
              <a:lnSpc>
                <a:spcPct val="90000"/>
              </a:lnSpc>
              <a:spcBef>
                <a:spcPts val="1176"/>
              </a:spcBef>
              <a:defRPr/>
            </a:pPr>
            <a:r>
              <a:rPr lang="en-US" sz="3137" kern="0" spc="-100" dirty="0">
                <a:gradFill>
                  <a:gsLst>
                    <a:gs pos="15929">
                      <a:srgbClr val="FFFFFF"/>
                    </a:gs>
                    <a:gs pos="46000">
                      <a:srgbClr val="FFFFFF"/>
                    </a:gs>
                  </a:gsLst>
                  <a:lin ang="5400000" scaled="0"/>
                </a:gradFill>
                <a:latin typeface="Segoe UI Light"/>
              </a:rPr>
              <a:t>Martin Rogers</a:t>
            </a:r>
          </a:p>
          <a:p>
            <a:pPr defTabSz="908762">
              <a:lnSpc>
                <a:spcPct val="90000"/>
              </a:lnSpc>
              <a:spcBef>
                <a:spcPts val="588"/>
              </a:spcBef>
              <a:defRPr/>
            </a:pPr>
            <a:r>
              <a:rPr lang="en-US" sz="1765" kern="0" spc="-29" dirty="0">
                <a:gradFill>
                  <a:gsLst>
                    <a:gs pos="15929">
                      <a:srgbClr val="FFFFFF"/>
                    </a:gs>
                    <a:gs pos="46000">
                      <a:srgbClr val="FFFFFF"/>
                    </a:gs>
                  </a:gsLst>
                  <a:lin ang="5400000" scaled="0"/>
                </a:gradFill>
              </a:rPr>
              <a:t>Datacenter Architect</a:t>
            </a:r>
          </a:p>
        </p:txBody>
      </p:sp>
      <p:sp>
        <p:nvSpPr>
          <p:cNvPr id="7" name="Rectangle 6"/>
          <p:cNvSpPr/>
          <p:nvPr/>
        </p:nvSpPr>
        <p:spPr>
          <a:xfrm>
            <a:off x="1087154" y="970802"/>
            <a:ext cx="8067823" cy="2644453"/>
          </a:xfrm>
          <a:prstGeom prst="rect">
            <a:avLst/>
          </a:prstGeom>
          <a:solidFill>
            <a:srgbClr val="FFFFFF">
              <a:lumMod val="95000"/>
            </a:srgbClr>
          </a:solidFill>
          <a:ln w="9525" cap="flat" cmpd="sng" algn="ctr">
            <a:noFill/>
            <a:prstDash val="solid"/>
          </a:ln>
          <a:effectLst/>
        </p:spPr>
        <p:txBody>
          <a:bodyPr wrap="square" lIns="179253" tIns="143402" rIns="179253" bIns="143402" rtlCol="0" anchor="t" anchorCtr="0">
            <a:noAutofit/>
          </a:bodyPr>
          <a:lstStyle/>
          <a:p>
            <a:pPr defTabSz="908762">
              <a:lnSpc>
                <a:spcPct val="90000"/>
              </a:lnSpc>
              <a:spcBef>
                <a:spcPts val="1765"/>
              </a:spcBef>
              <a:defRPr/>
            </a:pPr>
            <a:r>
              <a:rPr lang="en-US" sz="3137" kern="0" spc="-100" dirty="0">
                <a:gradFill>
                  <a:gsLst>
                    <a:gs pos="82301">
                      <a:srgbClr val="00BCF2"/>
                    </a:gs>
                    <a:gs pos="61062">
                      <a:srgbClr val="00BCF2"/>
                    </a:gs>
                  </a:gsLst>
                  <a:lin ang="5400000" scaled="0"/>
                </a:gradFill>
                <a:latin typeface="Segoe UI Light"/>
              </a:rPr>
              <a:t>Envision </a:t>
            </a:r>
          </a:p>
          <a:p>
            <a:pPr defTabSz="908762">
              <a:lnSpc>
                <a:spcPct val="90000"/>
              </a:lnSpc>
              <a:spcBef>
                <a:spcPts val="588"/>
              </a:spcBef>
              <a:defRPr/>
            </a:pPr>
            <a:r>
              <a:rPr lang="en-US" sz="1961" kern="0" spc="-29" dirty="0">
                <a:gradFill>
                  <a:gsLst>
                    <a:gs pos="61062">
                      <a:srgbClr val="505050"/>
                    </a:gs>
                    <a:gs pos="38000">
                      <a:srgbClr val="505050"/>
                    </a:gs>
                  </a:gsLst>
                  <a:lin ang="5400000" scaled="0"/>
                </a:gradFill>
              </a:rPr>
              <a:t>Investigate and learn how the Microsoft Cloud Platform vision can positively benefit the way your entire organization functions</a:t>
            </a:r>
          </a:p>
          <a:p>
            <a:pPr defTabSz="908762">
              <a:lnSpc>
                <a:spcPct val="90000"/>
              </a:lnSpc>
              <a:spcBef>
                <a:spcPts val="1176"/>
              </a:spcBef>
              <a:defRPr/>
            </a:pPr>
            <a:r>
              <a:rPr lang="en-US" sz="3137" kern="0" spc="-100" dirty="0">
                <a:gradFill>
                  <a:gsLst>
                    <a:gs pos="82301">
                      <a:srgbClr val="00BCF2"/>
                    </a:gs>
                    <a:gs pos="61062">
                      <a:srgbClr val="00BCF2"/>
                    </a:gs>
                  </a:gsLst>
                  <a:lin ang="5400000" scaled="0"/>
                </a:gradFill>
                <a:latin typeface="Segoe UI Light"/>
              </a:rPr>
              <a:t>Evolve</a:t>
            </a:r>
          </a:p>
          <a:p>
            <a:pPr defTabSz="908762">
              <a:lnSpc>
                <a:spcPct val="90000"/>
              </a:lnSpc>
              <a:spcBef>
                <a:spcPts val="588"/>
              </a:spcBef>
              <a:defRPr/>
            </a:pPr>
            <a:r>
              <a:rPr lang="en-US" sz="1961" kern="0" spc="-29" dirty="0">
                <a:gradFill>
                  <a:gsLst>
                    <a:gs pos="61062">
                      <a:srgbClr val="505050"/>
                    </a:gs>
                    <a:gs pos="38000">
                      <a:srgbClr val="505050"/>
                    </a:gs>
                  </a:gsLst>
                  <a:lin ang="5400000" scaled="0"/>
                </a:gradFill>
              </a:rPr>
              <a:t>Understand the key tenants of ‘transform the datacenter’ and identify opportunities for your datacenter to evolve</a:t>
            </a:r>
          </a:p>
        </p:txBody>
      </p:sp>
      <p:sp>
        <p:nvSpPr>
          <p:cNvPr id="8" name="Rectangle 7"/>
          <p:cNvSpPr/>
          <p:nvPr/>
        </p:nvSpPr>
        <p:spPr>
          <a:xfrm>
            <a:off x="1087155" y="3657875"/>
            <a:ext cx="8067823" cy="2689274"/>
          </a:xfrm>
          <a:prstGeom prst="rect">
            <a:avLst/>
          </a:prstGeom>
          <a:solidFill>
            <a:srgbClr val="FFFFFF">
              <a:lumMod val="95000"/>
            </a:srgbClr>
          </a:solidFill>
          <a:ln w="9525" cap="flat" cmpd="sng" algn="ctr">
            <a:noFill/>
            <a:prstDash val="solid"/>
          </a:ln>
          <a:effectLst/>
        </p:spPr>
        <p:txBody>
          <a:bodyPr lIns="179253" tIns="143402" rIns="179253" bIns="143402" rtlCol="0" anchor="t" anchorCtr="0">
            <a:noAutofit/>
          </a:bodyPr>
          <a:lstStyle/>
          <a:p>
            <a:pPr defTabSz="908762">
              <a:lnSpc>
                <a:spcPct val="90000"/>
              </a:lnSpc>
              <a:defRPr/>
            </a:pPr>
            <a:r>
              <a:rPr lang="en-US" sz="3137" kern="0" spc="-100" dirty="0">
                <a:gradFill>
                  <a:gsLst>
                    <a:gs pos="94690">
                      <a:srgbClr val="FF8C00"/>
                    </a:gs>
                    <a:gs pos="82301">
                      <a:srgbClr val="FF8C00"/>
                    </a:gs>
                  </a:gsLst>
                  <a:lin ang="5400000" scaled="0"/>
                </a:gradFill>
                <a:latin typeface="Segoe UI Light"/>
              </a:rPr>
              <a:t>Experience</a:t>
            </a:r>
          </a:p>
          <a:p>
            <a:pPr defTabSz="908762">
              <a:lnSpc>
                <a:spcPct val="90000"/>
              </a:lnSpc>
              <a:spcBef>
                <a:spcPts val="588"/>
              </a:spcBef>
              <a:defRPr/>
            </a:pPr>
            <a:r>
              <a:rPr lang="en-US" sz="1961" kern="0" spc="-29" dirty="0">
                <a:gradFill>
                  <a:gsLst>
                    <a:gs pos="61062">
                      <a:srgbClr val="505050"/>
                    </a:gs>
                    <a:gs pos="38000">
                      <a:srgbClr val="505050"/>
                    </a:gs>
                  </a:gsLst>
                  <a:lin ang="5400000" scaled="0"/>
                </a:gradFill>
              </a:rPr>
              <a:t>4 Hands-on Datacenter Immersion Experiences </a:t>
            </a:r>
          </a:p>
          <a:p>
            <a:pPr marL="220984" lvl="2" indent="-220984" defTabSz="914206">
              <a:lnSpc>
                <a:spcPct val="90000"/>
              </a:lnSpc>
              <a:spcBef>
                <a:spcPct val="20000"/>
              </a:spcBef>
              <a:buSzPct val="90000"/>
              <a:buFont typeface="Arial" pitchFamily="34" charset="0"/>
              <a:buChar char="•"/>
              <a:defRPr/>
            </a:pPr>
            <a:r>
              <a:rPr lang="en-US" sz="1961" kern="0" dirty="0" smtClean="0">
                <a:gradFill>
                  <a:gsLst>
                    <a:gs pos="61062">
                      <a:srgbClr val="505050"/>
                    </a:gs>
                    <a:gs pos="38000">
                      <a:srgbClr val="505050"/>
                    </a:gs>
                  </a:gsLst>
                  <a:lin ang="5400000" scaled="0"/>
                </a:gradFill>
              </a:rPr>
              <a:t>Cloud </a:t>
            </a:r>
            <a:r>
              <a:rPr lang="en-US" sz="1961" kern="0" dirty="0">
                <a:gradFill>
                  <a:gsLst>
                    <a:gs pos="61062">
                      <a:srgbClr val="505050"/>
                    </a:gs>
                    <a:gs pos="38000">
                      <a:srgbClr val="505050"/>
                    </a:gs>
                  </a:gsLst>
                  <a:lin ang="5400000" scaled="0"/>
                </a:gradFill>
              </a:rPr>
              <a:t>and Datacenter Infrastructure</a:t>
            </a:r>
          </a:p>
          <a:p>
            <a:pPr marL="220984" lvl="2" indent="-220984" defTabSz="914206">
              <a:lnSpc>
                <a:spcPct val="90000"/>
              </a:lnSpc>
              <a:spcBef>
                <a:spcPct val="20000"/>
              </a:spcBef>
              <a:buSzPct val="90000"/>
              <a:buFont typeface="Arial" pitchFamily="34" charset="0"/>
              <a:buChar char="•"/>
              <a:defRPr/>
            </a:pPr>
            <a:r>
              <a:rPr lang="en-US" sz="1961" kern="0" dirty="0" smtClean="0">
                <a:gradFill>
                  <a:gsLst>
                    <a:gs pos="61062">
                      <a:srgbClr val="505050"/>
                    </a:gs>
                    <a:gs pos="38000">
                      <a:srgbClr val="505050"/>
                    </a:gs>
                  </a:gsLst>
                  <a:lin ang="5400000" scaled="0"/>
                </a:gradFill>
              </a:rPr>
              <a:t>Service </a:t>
            </a:r>
            <a:r>
              <a:rPr lang="en-US" sz="1961" kern="0" dirty="0">
                <a:gradFill>
                  <a:gsLst>
                    <a:gs pos="61062">
                      <a:srgbClr val="505050"/>
                    </a:gs>
                    <a:gs pos="38000">
                      <a:srgbClr val="505050"/>
                    </a:gs>
                  </a:gsLst>
                  <a:lin ang="5400000" scaled="0"/>
                </a:gradFill>
              </a:rPr>
              <a:t>Delivery</a:t>
            </a:r>
          </a:p>
          <a:p>
            <a:pPr marL="220984" lvl="2" indent="-220984" defTabSz="914206">
              <a:lnSpc>
                <a:spcPct val="90000"/>
              </a:lnSpc>
              <a:spcBef>
                <a:spcPct val="20000"/>
              </a:spcBef>
              <a:buSzPct val="90000"/>
              <a:buFont typeface="Arial" pitchFamily="34" charset="0"/>
              <a:buChar char="•"/>
              <a:defRPr/>
            </a:pPr>
            <a:r>
              <a:rPr lang="en-US" sz="1961" kern="0" dirty="0" smtClean="0">
                <a:gradFill>
                  <a:gsLst>
                    <a:gs pos="61062">
                      <a:srgbClr val="505050"/>
                    </a:gs>
                    <a:gs pos="38000">
                      <a:srgbClr val="505050"/>
                    </a:gs>
                  </a:gsLst>
                  <a:lin ang="5400000" scaled="0"/>
                </a:gradFill>
              </a:rPr>
              <a:t>IT Management</a:t>
            </a:r>
            <a:endParaRPr lang="en-US" sz="1961" kern="0" dirty="0">
              <a:gradFill>
                <a:gsLst>
                  <a:gs pos="61062">
                    <a:srgbClr val="505050"/>
                  </a:gs>
                  <a:gs pos="38000">
                    <a:srgbClr val="505050"/>
                  </a:gs>
                </a:gsLst>
                <a:lin ang="5400000" scaled="0"/>
              </a:gradFill>
            </a:endParaRPr>
          </a:p>
          <a:p>
            <a:pPr marL="220984" lvl="2" indent="-220984" defTabSz="914206">
              <a:lnSpc>
                <a:spcPct val="90000"/>
              </a:lnSpc>
              <a:spcBef>
                <a:spcPct val="20000"/>
              </a:spcBef>
              <a:buSzPct val="90000"/>
              <a:buFont typeface="Arial" pitchFamily="34" charset="0"/>
              <a:buChar char="•"/>
              <a:defRPr/>
            </a:pPr>
            <a:r>
              <a:rPr lang="en-US" sz="1961" kern="0" dirty="0" smtClean="0">
                <a:gradFill>
                  <a:gsLst>
                    <a:gs pos="61062">
                      <a:srgbClr val="505050"/>
                    </a:gs>
                    <a:gs pos="38000">
                      <a:srgbClr val="505050"/>
                    </a:gs>
                  </a:gsLst>
                  <a:lin ang="5400000" scaled="0"/>
                </a:gradFill>
              </a:rPr>
              <a:t>Data Protection</a:t>
            </a:r>
            <a:endParaRPr lang="en-US" sz="1961" kern="0" dirty="0">
              <a:gradFill>
                <a:gsLst>
                  <a:gs pos="61062">
                    <a:srgbClr val="505050"/>
                  </a:gs>
                  <a:gs pos="38000">
                    <a:srgbClr val="505050"/>
                  </a:gs>
                </a:gsLst>
                <a:lin ang="5400000" scaled="0"/>
              </a:gradFill>
            </a:endParaRPr>
          </a:p>
        </p:txBody>
      </p:sp>
      <p:sp>
        <p:nvSpPr>
          <p:cNvPr id="9" name="Title 3"/>
          <p:cNvSpPr>
            <a:spLocks noGrp="1"/>
          </p:cNvSpPr>
          <p:nvPr>
            <p:ph type="title"/>
          </p:nvPr>
        </p:nvSpPr>
        <p:spPr>
          <a:xfrm>
            <a:off x="1013082" y="223848"/>
            <a:ext cx="11655840" cy="899537"/>
          </a:xfrm>
        </p:spPr>
        <p:txBody>
          <a:bodyPr/>
          <a:lstStyle/>
          <a:p>
            <a:r>
              <a:rPr lang="en-US" sz="4705" dirty="0"/>
              <a:t>Welcome to your Immersion</a:t>
            </a:r>
            <a:endParaRPr lang="en-US" sz="4705" dirty="0"/>
          </a:p>
        </p:txBody>
      </p:sp>
    </p:spTree>
    <p:extLst>
      <p:ext uri="{BB962C8B-B14F-4D97-AF65-F5344CB8AC3E}">
        <p14:creationId xmlns:p14="http://schemas.microsoft.com/office/powerpoint/2010/main" val="40964651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250" fill="hold"/>
                                        <p:tgtEl>
                                          <p:spTgt spid="3"/>
                                        </p:tgtEl>
                                        <p:attrNameLst>
                                          <p:attrName>ppt_x</p:attrName>
                                        </p:attrNameLst>
                                      </p:cBhvr>
                                      <p:tavLst>
                                        <p:tav tm="0">
                                          <p:val>
                                            <p:strVal val="0-#ppt_w/2"/>
                                          </p:val>
                                        </p:tav>
                                        <p:tav tm="100000">
                                          <p:val>
                                            <p:strVal val="#ppt_x"/>
                                          </p:val>
                                        </p:tav>
                                      </p:tavLst>
                                    </p:anim>
                                    <p:anim calcmode="lin" valueType="num">
                                      <p:cBhvr additive="base">
                                        <p:cTn id="12" dur="12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750" fill="hold"/>
                                        <p:tgtEl>
                                          <p:spTgt spid="8"/>
                                        </p:tgtEl>
                                        <p:attrNameLst>
                                          <p:attrName>ppt_x</p:attrName>
                                        </p:attrNameLst>
                                      </p:cBhvr>
                                      <p:tavLst>
                                        <p:tav tm="0">
                                          <p:val>
                                            <p:strVal val="0-#ppt_w/2"/>
                                          </p:val>
                                        </p:tav>
                                        <p:tav tm="100000">
                                          <p:val>
                                            <p:strVal val="#ppt_x"/>
                                          </p:val>
                                        </p:tav>
                                      </p:tavLst>
                                    </p:anim>
                                    <p:anim calcmode="lin" valueType="num">
                                      <p:cBhvr additive="base">
                                        <p:cTn id="16" dur="75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0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1250" fill="hold"/>
                                        <p:tgtEl>
                                          <p:spTgt spid="5"/>
                                        </p:tgtEl>
                                        <p:attrNameLst>
                                          <p:attrName>ppt_x</p:attrName>
                                        </p:attrNameLst>
                                      </p:cBhvr>
                                      <p:tavLst>
                                        <p:tav tm="0">
                                          <p:val>
                                            <p:strVal val="0-#ppt_w/2"/>
                                          </p:val>
                                        </p:tav>
                                        <p:tav tm="100000">
                                          <p:val>
                                            <p:strVal val="#ppt_x"/>
                                          </p:val>
                                        </p:tav>
                                      </p:tavLst>
                                    </p:anim>
                                    <p:anim calcmode="lin" valueType="num">
                                      <p:cBhvr additive="base">
                                        <p:cTn id="20"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P spid="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69240" y="313992"/>
            <a:ext cx="10757098" cy="1004541"/>
          </a:xfrm>
        </p:spPr>
        <p:txBody>
          <a:bodyPr/>
          <a:lstStyle/>
          <a:p>
            <a:r>
              <a:rPr lang="en-US" dirty="0" smtClean="0"/>
              <a:t>Transform the datacenter</a:t>
            </a:r>
            <a:endParaRPr lang="en-US" dirty="0"/>
          </a:p>
        </p:txBody>
      </p:sp>
      <p:sp>
        <p:nvSpPr>
          <p:cNvPr id="31" name="TextBox 30"/>
          <p:cNvSpPr txBox="1"/>
          <p:nvPr/>
        </p:nvSpPr>
        <p:spPr>
          <a:xfrm>
            <a:off x="6524261" y="1636152"/>
            <a:ext cx="3137487" cy="3137487"/>
          </a:xfrm>
          <a:prstGeom prst="rect">
            <a:avLst/>
          </a:prstGeom>
          <a:solidFill>
            <a:srgbClr val="D2D2D2"/>
          </a:solidFill>
        </p:spPr>
        <p:txBody>
          <a:bodyPr wrap="square" lIns="179285" tIns="134464" rtlCol="0">
            <a:noAutofit/>
          </a:bodyPr>
          <a:lstStyle/>
          <a:p>
            <a:pPr defTabSz="914367">
              <a:lnSpc>
                <a:spcPts val="3000"/>
              </a:lnSpc>
            </a:pPr>
            <a:r>
              <a:rPr lang="en-US" sz="2745" dirty="0">
                <a:solidFill>
                  <a:srgbClr val="FFFFFF"/>
                </a:solidFill>
                <a:latin typeface="Segoe UI Light"/>
              </a:rPr>
              <a:t>Extend </a:t>
            </a:r>
          </a:p>
          <a:p>
            <a:pPr defTabSz="914367">
              <a:lnSpc>
                <a:spcPts val="3000"/>
              </a:lnSpc>
            </a:pPr>
            <a:r>
              <a:rPr lang="en-US" sz="2745" dirty="0">
                <a:solidFill>
                  <a:srgbClr val="FFFFFF"/>
                </a:solidFill>
                <a:latin typeface="Segoe UI Light"/>
              </a:rPr>
              <a:t>to the cloud </a:t>
            </a:r>
          </a:p>
          <a:p>
            <a:pPr defTabSz="914367">
              <a:lnSpc>
                <a:spcPts val="3000"/>
              </a:lnSpc>
            </a:pPr>
            <a:r>
              <a:rPr lang="en-US" sz="2745" dirty="0">
                <a:solidFill>
                  <a:srgbClr val="FFFFFF"/>
                </a:solidFill>
                <a:latin typeface="Segoe UI Light"/>
              </a:rPr>
              <a:t>on demand</a:t>
            </a:r>
          </a:p>
        </p:txBody>
      </p:sp>
      <p:sp>
        <p:nvSpPr>
          <p:cNvPr id="32" name="TextBox 31"/>
          <p:cNvSpPr txBox="1"/>
          <p:nvPr/>
        </p:nvSpPr>
        <p:spPr>
          <a:xfrm>
            <a:off x="267683" y="1636152"/>
            <a:ext cx="3137487" cy="3137487"/>
          </a:xfrm>
          <a:prstGeom prst="rect">
            <a:avLst/>
          </a:prstGeom>
          <a:solidFill>
            <a:srgbClr val="D2D2D2"/>
          </a:solidFill>
        </p:spPr>
        <p:txBody>
          <a:bodyPr wrap="square" lIns="179285" tIns="134464" rtlCol="0">
            <a:noAutofit/>
          </a:bodyPr>
          <a:lstStyle/>
          <a:p>
            <a:pPr defTabSz="914367">
              <a:lnSpc>
                <a:spcPts val="3000"/>
              </a:lnSpc>
            </a:pPr>
            <a:r>
              <a:rPr lang="en-US" sz="2745" dirty="0">
                <a:solidFill>
                  <a:srgbClr val="FFFFFF"/>
                </a:solidFill>
                <a:latin typeface="Segoe UI Light"/>
              </a:rPr>
              <a:t>Build a </a:t>
            </a:r>
          </a:p>
          <a:p>
            <a:pPr defTabSz="914367">
              <a:lnSpc>
                <a:spcPts val="3000"/>
              </a:lnSpc>
            </a:pPr>
            <a:r>
              <a:rPr lang="en-US" sz="2745" dirty="0">
                <a:solidFill>
                  <a:srgbClr val="FFFFFF"/>
                </a:solidFill>
                <a:latin typeface="Segoe UI Light"/>
              </a:rPr>
              <a:t>software-defined foundation</a:t>
            </a:r>
          </a:p>
        </p:txBody>
      </p:sp>
      <p:sp>
        <p:nvSpPr>
          <p:cNvPr id="37" name="TextBox 36"/>
          <p:cNvSpPr txBox="1"/>
          <p:nvPr/>
        </p:nvSpPr>
        <p:spPr>
          <a:xfrm>
            <a:off x="3386775" y="1636152"/>
            <a:ext cx="3137487" cy="3137487"/>
          </a:xfrm>
          <a:prstGeom prst="rect">
            <a:avLst/>
          </a:prstGeom>
          <a:solidFill>
            <a:srgbClr val="05214E"/>
          </a:solidFill>
        </p:spPr>
        <p:txBody>
          <a:bodyPr wrap="square" lIns="179285" tIns="134464" rtlCol="0">
            <a:noAutofit/>
          </a:bodyPr>
          <a:lstStyle/>
          <a:p>
            <a:pPr defTabSz="914367">
              <a:lnSpc>
                <a:spcPts val="3000"/>
              </a:lnSpc>
            </a:pPr>
            <a:r>
              <a:rPr lang="en-US" sz="2745" dirty="0">
                <a:solidFill>
                  <a:srgbClr val="FFFFFF"/>
                </a:solidFill>
                <a:latin typeface="Segoe UI Light"/>
              </a:rPr>
              <a:t>Automate and secure your infrastructure</a:t>
            </a:r>
          </a:p>
        </p:txBody>
      </p:sp>
      <p:grpSp>
        <p:nvGrpSpPr>
          <p:cNvPr id="38" name="Group 37"/>
          <p:cNvGrpSpPr/>
          <p:nvPr/>
        </p:nvGrpSpPr>
        <p:grpSpPr>
          <a:xfrm>
            <a:off x="472245" y="3694834"/>
            <a:ext cx="1024545" cy="880453"/>
            <a:chOff x="5550106" y="3959656"/>
            <a:chExt cx="915416" cy="781665"/>
          </a:xfrm>
          <a:solidFill>
            <a:schemeClr val="bg1"/>
          </a:solidFill>
        </p:grpSpPr>
        <p:grpSp>
          <p:nvGrpSpPr>
            <p:cNvPr id="39" name="Group 38"/>
            <p:cNvGrpSpPr/>
            <p:nvPr/>
          </p:nvGrpSpPr>
          <p:grpSpPr>
            <a:xfrm>
              <a:off x="5550106" y="4084839"/>
              <a:ext cx="661616" cy="656482"/>
              <a:chOff x="6675438" y="3219450"/>
              <a:chExt cx="2863850" cy="2841625"/>
            </a:xfrm>
            <a:grpFill/>
          </p:grpSpPr>
          <p:sp>
            <p:nvSpPr>
              <p:cNvPr id="41" name="Freeform 29"/>
              <p:cNvSpPr>
                <a:spLocks/>
              </p:cNvSpPr>
              <p:nvPr/>
            </p:nvSpPr>
            <p:spPr bwMode="auto">
              <a:xfrm>
                <a:off x="7885113" y="4419600"/>
                <a:ext cx="469900" cy="466725"/>
              </a:xfrm>
              <a:custGeom>
                <a:avLst/>
                <a:gdLst>
                  <a:gd name="T0" fmla="*/ 148 w 296"/>
                  <a:gd name="T1" fmla="*/ 0 h 294"/>
                  <a:gd name="T2" fmla="*/ 118 w 296"/>
                  <a:gd name="T3" fmla="*/ 2 h 294"/>
                  <a:gd name="T4" fmla="*/ 90 w 296"/>
                  <a:gd name="T5" fmla="*/ 12 h 294"/>
                  <a:gd name="T6" fmla="*/ 66 w 296"/>
                  <a:gd name="T7" fmla="*/ 24 h 294"/>
                  <a:gd name="T8" fmla="*/ 44 w 296"/>
                  <a:gd name="T9" fmla="*/ 42 h 294"/>
                  <a:gd name="T10" fmla="*/ 26 w 296"/>
                  <a:gd name="T11" fmla="*/ 64 h 294"/>
                  <a:gd name="T12" fmla="*/ 12 w 296"/>
                  <a:gd name="T13" fmla="*/ 90 h 294"/>
                  <a:gd name="T14" fmla="*/ 4 w 296"/>
                  <a:gd name="T15" fmla="*/ 118 h 294"/>
                  <a:gd name="T16" fmla="*/ 0 w 296"/>
                  <a:gd name="T17" fmla="*/ 148 h 294"/>
                  <a:gd name="T18" fmla="*/ 0 w 296"/>
                  <a:gd name="T19" fmla="*/ 162 h 294"/>
                  <a:gd name="T20" fmla="*/ 6 w 296"/>
                  <a:gd name="T21" fmla="*/ 190 h 294"/>
                  <a:gd name="T22" fmla="*/ 18 w 296"/>
                  <a:gd name="T23" fmla="*/ 218 h 294"/>
                  <a:gd name="T24" fmla="*/ 34 w 296"/>
                  <a:gd name="T25" fmla="*/ 240 h 294"/>
                  <a:gd name="T26" fmla="*/ 54 w 296"/>
                  <a:gd name="T27" fmla="*/ 260 h 294"/>
                  <a:gd name="T28" fmla="*/ 78 w 296"/>
                  <a:gd name="T29" fmla="*/ 276 h 294"/>
                  <a:gd name="T30" fmla="*/ 104 w 296"/>
                  <a:gd name="T31" fmla="*/ 288 h 294"/>
                  <a:gd name="T32" fmla="*/ 132 w 296"/>
                  <a:gd name="T33" fmla="*/ 294 h 294"/>
                  <a:gd name="T34" fmla="*/ 148 w 296"/>
                  <a:gd name="T35" fmla="*/ 294 h 294"/>
                  <a:gd name="T36" fmla="*/ 178 w 296"/>
                  <a:gd name="T37" fmla="*/ 292 h 294"/>
                  <a:gd name="T38" fmla="*/ 206 w 296"/>
                  <a:gd name="T39" fmla="*/ 282 h 294"/>
                  <a:gd name="T40" fmla="*/ 230 w 296"/>
                  <a:gd name="T41" fmla="*/ 270 h 294"/>
                  <a:gd name="T42" fmla="*/ 252 w 296"/>
                  <a:gd name="T43" fmla="*/ 252 h 294"/>
                  <a:gd name="T44" fmla="*/ 270 w 296"/>
                  <a:gd name="T45" fmla="*/ 230 h 294"/>
                  <a:gd name="T46" fmla="*/ 284 w 296"/>
                  <a:gd name="T47" fmla="*/ 204 h 294"/>
                  <a:gd name="T48" fmla="*/ 292 w 296"/>
                  <a:gd name="T49" fmla="*/ 176 h 294"/>
                  <a:gd name="T50" fmla="*/ 296 w 296"/>
                  <a:gd name="T51" fmla="*/ 148 h 294"/>
                  <a:gd name="T52" fmla="*/ 294 w 296"/>
                  <a:gd name="T53" fmla="*/ 132 h 294"/>
                  <a:gd name="T54" fmla="*/ 288 w 296"/>
                  <a:gd name="T55" fmla="*/ 104 h 294"/>
                  <a:gd name="T56" fmla="*/ 278 w 296"/>
                  <a:gd name="T57" fmla="*/ 76 h 294"/>
                  <a:gd name="T58" fmla="*/ 262 w 296"/>
                  <a:gd name="T59" fmla="*/ 54 h 294"/>
                  <a:gd name="T60" fmla="*/ 242 w 296"/>
                  <a:gd name="T61" fmla="*/ 34 h 294"/>
                  <a:gd name="T62" fmla="*/ 218 w 296"/>
                  <a:gd name="T63" fmla="*/ 18 h 294"/>
                  <a:gd name="T64" fmla="*/ 192 w 296"/>
                  <a:gd name="T65" fmla="*/ 6 h 294"/>
                  <a:gd name="T66" fmla="*/ 162 w 296"/>
                  <a:gd name="T67" fmla="*/ 0 h 294"/>
                  <a:gd name="T68" fmla="*/ 148 w 296"/>
                  <a:gd name="T69"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4">
                    <a:moveTo>
                      <a:pt x="148" y="0"/>
                    </a:moveTo>
                    <a:lnTo>
                      <a:pt x="148" y="0"/>
                    </a:lnTo>
                    <a:lnTo>
                      <a:pt x="132" y="0"/>
                    </a:lnTo>
                    <a:lnTo>
                      <a:pt x="118" y="2"/>
                    </a:lnTo>
                    <a:lnTo>
                      <a:pt x="104" y="6"/>
                    </a:lnTo>
                    <a:lnTo>
                      <a:pt x="90" y="12"/>
                    </a:lnTo>
                    <a:lnTo>
                      <a:pt x="78" y="18"/>
                    </a:lnTo>
                    <a:lnTo>
                      <a:pt x="66" y="24"/>
                    </a:lnTo>
                    <a:lnTo>
                      <a:pt x="54" y="34"/>
                    </a:lnTo>
                    <a:lnTo>
                      <a:pt x="44" y="42"/>
                    </a:lnTo>
                    <a:lnTo>
                      <a:pt x="34" y="54"/>
                    </a:lnTo>
                    <a:lnTo>
                      <a:pt x="26" y="64"/>
                    </a:lnTo>
                    <a:lnTo>
                      <a:pt x="18" y="76"/>
                    </a:lnTo>
                    <a:lnTo>
                      <a:pt x="12" y="90"/>
                    </a:lnTo>
                    <a:lnTo>
                      <a:pt x="6" y="104"/>
                    </a:lnTo>
                    <a:lnTo>
                      <a:pt x="4" y="118"/>
                    </a:lnTo>
                    <a:lnTo>
                      <a:pt x="0" y="132"/>
                    </a:lnTo>
                    <a:lnTo>
                      <a:pt x="0" y="148"/>
                    </a:lnTo>
                    <a:lnTo>
                      <a:pt x="0" y="148"/>
                    </a:lnTo>
                    <a:lnTo>
                      <a:pt x="0" y="162"/>
                    </a:lnTo>
                    <a:lnTo>
                      <a:pt x="4" y="176"/>
                    </a:lnTo>
                    <a:lnTo>
                      <a:pt x="6" y="190"/>
                    </a:lnTo>
                    <a:lnTo>
                      <a:pt x="12" y="204"/>
                    </a:lnTo>
                    <a:lnTo>
                      <a:pt x="18" y="218"/>
                    </a:lnTo>
                    <a:lnTo>
                      <a:pt x="26" y="230"/>
                    </a:lnTo>
                    <a:lnTo>
                      <a:pt x="34" y="240"/>
                    </a:lnTo>
                    <a:lnTo>
                      <a:pt x="44" y="252"/>
                    </a:lnTo>
                    <a:lnTo>
                      <a:pt x="54" y="260"/>
                    </a:lnTo>
                    <a:lnTo>
                      <a:pt x="66" y="270"/>
                    </a:lnTo>
                    <a:lnTo>
                      <a:pt x="78" y="276"/>
                    </a:lnTo>
                    <a:lnTo>
                      <a:pt x="90" y="282"/>
                    </a:lnTo>
                    <a:lnTo>
                      <a:pt x="104" y="288"/>
                    </a:lnTo>
                    <a:lnTo>
                      <a:pt x="118" y="292"/>
                    </a:lnTo>
                    <a:lnTo>
                      <a:pt x="132" y="294"/>
                    </a:lnTo>
                    <a:lnTo>
                      <a:pt x="148" y="294"/>
                    </a:lnTo>
                    <a:lnTo>
                      <a:pt x="148" y="294"/>
                    </a:lnTo>
                    <a:lnTo>
                      <a:pt x="162" y="294"/>
                    </a:lnTo>
                    <a:lnTo>
                      <a:pt x="178" y="292"/>
                    </a:lnTo>
                    <a:lnTo>
                      <a:pt x="192" y="288"/>
                    </a:lnTo>
                    <a:lnTo>
                      <a:pt x="206" y="282"/>
                    </a:lnTo>
                    <a:lnTo>
                      <a:pt x="218" y="276"/>
                    </a:lnTo>
                    <a:lnTo>
                      <a:pt x="230" y="270"/>
                    </a:lnTo>
                    <a:lnTo>
                      <a:pt x="242" y="260"/>
                    </a:lnTo>
                    <a:lnTo>
                      <a:pt x="252" y="252"/>
                    </a:lnTo>
                    <a:lnTo>
                      <a:pt x="262" y="240"/>
                    </a:lnTo>
                    <a:lnTo>
                      <a:pt x="270" y="230"/>
                    </a:lnTo>
                    <a:lnTo>
                      <a:pt x="278" y="218"/>
                    </a:lnTo>
                    <a:lnTo>
                      <a:pt x="284" y="204"/>
                    </a:lnTo>
                    <a:lnTo>
                      <a:pt x="288" y="190"/>
                    </a:lnTo>
                    <a:lnTo>
                      <a:pt x="292" y="176"/>
                    </a:lnTo>
                    <a:lnTo>
                      <a:pt x="294" y="162"/>
                    </a:lnTo>
                    <a:lnTo>
                      <a:pt x="296" y="148"/>
                    </a:lnTo>
                    <a:lnTo>
                      <a:pt x="296" y="148"/>
                    </a:lnTo>
                    <a:lnTo>
                      <a:pt x="294" y="132"/>
                    </a:lnTo>
                    <a:lnTo>
                      <a:pt x="292" y="118"/>
                    </a:lnTo>
                    <a:lnTo>
                      <a:pt x="288" y="104"/>
                    </a:lnTo>
                    <a:lnTo>
                      <a:pt x="284" y="90"/>
                    </a:lnTo>
                    <a:lnTo>
                      <a:pt x="278" y="76"/>
                    </a:lnTo>
                    <a:lnTo>
                      <a:pt x="270" y="64"/>
                    </a:lnTo>
                    <a:lnTo>
                      <a:pt x="262" y="54"/>
                    </a:lnTo>
                    <a:lnTo>
                      <a:pt x="252" y="42"/>
                    </a:lnTo>
                    <a:lnTo>
                      <a:pt x="242" y="34"/>
                    </a:lnTo>
                    <a:lnTo>
                      <a:pt x="230" y="24"/>
                    </a:lnTo>
                    <a:lnTo>
                      <a:pt x="218" y="18"/>
                    </a:lnTo>
                    <a:lnTo>
                      <a:pt x="206" y="12"/>
                    </a:lnTo>
                    <a:lnTo>
                      <a:pt x="192" y="6"/>
                    </a:lnTo>
                    <a:lnTo>
                      <a:pt x="178" y="2"/>
                    </a:lnTo>
                    <a:lnTo>
                      <a:pt x="162" y="0"/>
                    </a:lnTo>
                    <a:lnTo>
                      <a:pt x="148" y="0"/>
                    </a:lnTo>
                    <a:lnTo>
                      <a:pt x="14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63" name="Freeform 30"/>
              <p:cNvSpPr>
                <a:spLocks noEditPoints="1"/>
              </p:cNvSpPr>
              <p:nvPr/>
            </p:nvSpPr>
            <p:spPr bwMode="auto">
              <a:xfrm>
                <a:off x="6675438" y="3219450"/>
                <a:ext cx="2863850" cy="2841625"/>
              </a:xfrm>
              <a:custGeom>
                <a:avLst/>
                <a:gdLst>
                  <a:gd name="T0" fmla="*/ 1766 w 1804"/>
                  <a:gd name="T1" fmla="*/ 638 h 1790"/>
                  <a:gd name="T2" fmla="*/ 1724 w 1804"/>
                  <a:gd name="T3" fmla="*/ 610 h 1790"/>
                  <a:gd name="T4" fmla="*/ 1450 w 1804"/>
                  <a:gd name="T5" fmla="*/ 540 h 1790"/>
                  <a:gd name="T6" fmla="*/ 1564 w 1804"/>
                  <a:gd name="T7" fmla="*/ 310 h 1790"/>
                  <a:gd name="T8" fmla="*/ 1542 w 1804"/>
                  <a:gd name="T9" fmla="*/ 264 h 1790"/>
                  <a:gd name="T10" fmla="*/ 1390 w 1804"/>
                  <a:gd name="T11" fmla="*/ 148 h 1790"/>
                  <a:gd name="T12" fmla="*/ 1342 w 1804"/>
                  <a:gd name="T13" fmla="*/ 158 h 1790"/>
                  <a:gd name="T14" fmla="*/ 1042 w 1804"/>
                  <a:gd name="T15" fmla="*/ 50 h 1790"/>
                  <a:gd name="T16" fmla="*/ 1020 w 1804"/>
                  <a:gd name="T17" fmla="*/ 16 h 1790"/>
                  <a:gd name="T18" fmla="*/ 820 w 1804"/>
                  <a:gd name="T19" fmla="*/ 0 h 1790"/>
                  <a:gd name="T20" fmla="*/ 782 w 1804"/>
                  <a:gd name="T21" fmla="*/ 16 h 1790"/>
                  <a:gd name="T22" fmla="*/ 714 w 1804"/>
                  <a:gd name="T23" fmla="*/ 282 h 1790"/>
                  <a:gd name="T24" fmla="*/ 458 w 1804"/>
                  <a:gd name="T25" fmla="*/ 160 h 1790"/>
                  <a:gd name="T26" fmla="*/ 408 w 1804"/>
                  <a:gd name="T27" fmla="*/ 150 h 1790"/>
                  <a:gd name="T28" fmla="*/ 258 w 1804"/>
                  <a:gd name="T29" fmla="*/ 266 h 1790"/>
                  <a:gd name="T30" fmla="*/ 236 w 1804"/>
                  <a:gd name="T31" fmla="*/ 312 h 1790"/>
                  <a:gd name="T32" fmla="*/ 360 w 1804"/>
                  <a:gd name="T33" fmla="*/ 556 h 1790"/>
                  <a:gd name="T34" fmla="*/ 78 w 1804"/>
                  <a:gd name="T35" fmla="*/ 610 h 1790"/>
                  <a:gd name="T36" fmla="*/ 36 w 1804"/>
                  <a:gd name="T37" fmla="*/ 640 h 1790"/>
                  <a:gd name="T38" fmla="*/ 0 w 1804"/>
                  <a:gd name="T39" fmla="*/ 828 h 1790"/>
                  <a:gd name="T40" fmla="*/ 20 w 1804"/>
                  <a:gd name="T41" fmla="*/ 874 h 1790"/>
                  <a:gd name="T42" fmla="*/ 270 w 1804"/>
                  <a:gd name="T43" fmla="*/ 1024 h 1790"/>
                  <a:gd name="T44" fmla="*/ 92 w 1804"/>
                  <a:gd name="T45" fmla="*/ 1254 h 1790"/>
                  <a:gd name="T46" fmla="*/ 90 w 1804"/>
                  <a:gd name="T47" fmla="*/ 1304 h 1790"/>
                  <a:gd name="T48" fmla="*/ 194 w 1804"/>
                  <a:gd name="T49" fmla="*/ 1466 h 1790"/>
                  <a:gd name="T50" fmla="*/ 244 w 1804"/>
                  <a:gd name="T51" fmla="*/ 1478 h 1790"/>
                  <a:gd name="T52" fmla="*/ 538 w 1804"/>
                  <a:gd name="T53" fmla="*/ 1436 h 1790"/>
                  <a:gd name="T54" fmla="*/ 518 w 1804"/>
                  <a:gd name="T55" fmla="*/ 1706 h 1790"/>
                  <a:gd name="T56" fmla="*/ 556 w 1804"/>
                  <a:gd name="T57" fmla="*/ 1740 h 1790"/>
                  <a:gd name="T58" fmla="*/ 742 w 1804"/>
                  <a:gd name="T59" fmla="*/ 1790 h 1790"/>
                  <a:gd name="T60" fmla="*/ 782 w 1804"/>
                  <a:gd name="T61" fmla="*/ 1760 h 1790"/>
                  <a:gd name="T62" fmla="*/ 942 w 1804"/>
                  <a:gd name="T63" fmla="*/ 1552 h 1790"/>
                  <a:gd name="T64" fmla="*/ 1124 w 1804"/>
                  <a:gd name="T65" fmla="*/ 1756 h 1790"/>
                  <a:gd name="T66" fmla="*/ 1174 w 1804"/>
                  <a:gd name="T67" fmla="*/ 1768 h 1790"/>
                  <a:gd name="T68" fmla="*/ 1348 w 1804"/>
                  <a:gd name="T69" fmla="*/ 1688 h 1790"/>
                  <a:gd name="T70" fmla="*/ 1368 w 1804"/>
                  <a:gd name="T71" fmla="*/ 1642 h 1790"/>
                  <a:gd name="T72" fmla="*/ 1578 w 1804"/>
                  <a:gd name="T73" fmla="*/ 1442 h 1790"/>
                  <a:gd name="T74" fmla="*/ 1620 w 1804"/>
                  <a:gd name="T75" fmla="*/ 1440 h 1790"/>
                  <a:gd name="T76" fmla="*/ 1730 w 1804"/>
                  <a:gd name="T77" fmla="*/ 1272 h 1790"/>
                  <a:gd name="T78" fmla="*/ 1736 w 1804"/>
                  <a:gd name="T79" fmla="*/ 1230 h 1790"/>
                  <a:gd name="T80" fmla="*/ 1544 w 1804"/>
                  <a:gd name="T81" fmla="*/ 1048 h 1790"/>
                  <a:gd name="T82" fmla="*/ 1766 w 1804"/>
                  <a:gd name="T83" fmla="*/ 886 h 1790"/>
                  <a:gd name="T84" fmla="*/ 1800 w 1804"/>
                  <a:gd name="T85" fmla="*/ 848 h 1790"/>
                  <a:gd name="T86" fmla="*/ 910 w 1804"/>
                  <a:gd name="T87" fmla="*/ 1248 h 1790"/>
                  <a:gd name="T88" fmla="*/ 776 w 1804"/>
                  <a:gd name="T89" fmla="*/ 1220 h 1790"/>
                  <a:gd name="T90" fmla="*/ 644 w 1804"/>
                  <a:gd name="T91" fmla="*/ 1122 h 1790"/>
                  <a:gd name="T92" fmla="*/ 572 w 1804"/>
                  <a:gd name="T93" fmla="*/ 972 h 1790"/>
                  <a:gd name="T94" fmla="*/ 572 w 1804"/>
                  <a:gd name="T95" fmla="*/ 834 h 1790"/>
                  <a:gd name="T96" fmla="*/ 644 w 1804"/>
                  <a:gd name="T97" fmla="*/ 684 h 1790"/>
                  <a:gd name="T98" fmla="*/ 776 w 1804"/>
                  <a:gd name="T99" fmla="*/ 586 h 1790"/>
                  <a:gd name="T100" fmla="*/ 910 w 1804"/>
                  <a:gd name="T101" fmla="*/ 558 h 1790"/>
                  <a:gd name="T102" fmla="*/ 1074 w 1804"/>
                  <a:gd name="T103" fmla="*/ 600 h 1790"/>
                  <a:gd name="T104" fmla="*/ 1196 w 1804"/>
                  <a:gd name="T105" fmla="*/ 710 h 1790"/>
                  <a:gd name="T106" fmla="*/ 1252 w 1804"/>
                  <a:gd name="T107" fmla="*/ 868 h 1790"/>
                  <a:gd name="T108" fmla="*/ 1238 w 1804"/>
                  <a:gd name="T109" fmla="*/ 1006 h 1790"/>
                  <a:gd name="T110" fmla="*/ 1154 w 1804"/>
                  <a:gd name="T111" fmla="*/ 1146 h 1790"/>
                  <a:gd name="T112" fmla="*/ 1012 w 1804"/>
                  <a:gd name="T113" fmla="*/ 1232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4" h="1790">
                    <a:moveTo>
                      <a:pt x="1804" y="816"/>
                    </a:moveTo>
                    <a:lnTo>
                      <a:pt x="1774" y="658"/>
                    </a:lnTo>
                    <a:lnTo>
                      <a:pt x="1774" y="658"/>
                    </a:lnTo>
                    <a:lnTo>
                      <a:pt x="1770" y="648"/>
                    </a:lnTo>
                    <a:lnTo>
                      <a:pt x="1766" y="638"/>
                    </a:lnTo>
                    <a:lnTo>
                      <a:pt x="1760" y="630"/>
                    </a:lnTo>
                    <a:lnTo>
                      <a:pt x="1752" y="624"/>
                    </a:lnTo>
                    <a:lnTo>
                      <a:pt x="1744" y="616"/>
                    </a:lnTo>
                    <a:lnTo>
                      <a:pt x="1734" y="612"/>
                    </a:lnTo>
                    <a:lnTo>
                      <a:pt x="1724" y="610"/>
                    </a:lnTo>
                    <a:lnTo>
                      <a:pt x="1714" y="608"/>
                    </a:lnTo>
                    <a:lnTo>
                      <a:pt x="1488" y="604"/>
                    </a:lnTo>
                    <a:lnTo>
                      <a:pt x="1488" y="604"/>
                    </a:lnTo>
                    <a:lnTo>
                      <a:pt x="1470" y="572"/>
                    </a:lnTo>
                    <a:lnTo>
                      <a:pt x="1450" y="540"/>
                    </a:lnTo>
                    <a:lnTo>
                      <a:pt x="1558" y="340"/>
                    </a:lnTo>
                    <a:lnTo>
                      <a:pt x="1558" y="340"/>
                    </a:lnTo>
                    <a:lnTo>
                      <a:pt x="1562" y="330"/>
                    </a:lnTo>
                    <a:lnTo>
                      <a:pt x="1564" y="320"/>
                    </a:lnTo>
                    <a:lnTo>
                      <a:pt x="1564" y="310"/>
                    </a:lnTo>
                    <a:lnTo>
                      <a:pt x="1564" y="300"/>
                    </a:lnTo>
                    <a:lnTo>
                      <a:pt x="1560" y="288"/>
                    </a:lnTo>
                    <a:lnTo>
                      <a:pt x="1556" y="280"/>
                    </a:lnTo>
                    <a:lnTo>
                      <a:pt x="1550" y="270"/>
                    </a:lnTo>
                    <a:lnTo>
                      <a:pt x="1542" y="264"/>
                    </a:lnTo>
                    <a:lnTo>
                      <a:pt x="1420" y="160"/>
                    </a:lnTo>
                    <a:lnTo>
                      <a:pt x="1420" y="160"/>
                    </a:lnTo>
                    <a:lnTo>
                      <a:pt x="1410" y="154"/>
                    </a:lnTo>
                    <a:lnTo>
                      <a:pt x="1402" y="150"/>
                    </a:lnTo>
                    <a:lnTo>
                      <a:pt x="1390" y="148"/>
                    </a:lnTo>
                    <a:lnTo>
                      <a:pt x="1380" y="146"/>
                    </a:lnTo>
                    <a:lnTo>
                      <a:pt x="1370" y="146"/>
                    </a:lnTo>
                    <a:lnTo>
                      <a:pt x="1360" y="150"/>
                    </a:lnTo>
                    <a:lnTo>
                      <a:pt x="1350" y="154"/>
                    </a:lnTo>
                    <a:lnTo>
                      <a:pt x="1342" y="158"/>
                    </a:lnTo>
                    <a:lnTo>
                      <a:pt x="1160" y="302"/>
                    </a:lnTo>
                    <a:lnTo>
                      <a:pt x="1160" y="302"/>
                    </a:lnTo>
                    <a:lnTo>
                      <a:pt x="1126" y="290"/>
                    </a:lnTo>
                    <a:lnTo>
                      <a:pt x="1090" y="278"/>
                    </a:lnTo>
                    <a:lnTo>
                      <a:pt x="1042" y="50"/>
                    </a:lnTo>
                    <a:lnTo>
                      <a:pt x="1042" y="50"/>
                    </a:lnTo>
                    <a:lnTo>
                      <a:pt x="1040" y="40"/>
                    </a:lnTo>
                    <a:lnTo>
                      <a:pt x="1034" y="32"/>
                    </a:lnTo>
                    <a:lnTo>
                      <a:pt x="1028" y="22"/>
                    </a:lnTo>
                    <a:lnTo>
                      <a:pt x="1020" y="16"/>
                    </a:lnTo>
                    <a:lnTo>
                      <a:pt x="1012" y="10"/>
                    </a:lnTo>
                    <a:lnTo>
                      <a:pt x="1002" y="4"/>
                    </a:lnTo>
                    <a:lnTo>
                      <a:pt x="992" y="2"/>
                    </a:lnTo>
                    <a:lnTo>
                      <a:pt x="982" y="0"/>
                    </a:lnTo>
                    <a:lnTo>
                      <a:pt x="820" y="0"/>
                    </a:lnTo>
                    <a:lnTo>
                      <a:pt x="820" y="0"/>
                    </a:lnTo>
                    <a:lnTo>
                      <a:pt x="810" y="2"/>
                    </a:lnTo>
                    <a:lnTo>
                      <a:pt x="800" y="4"/>
                    </a:lnTo>
                    <a:lnTo>
                      <a:pt x="792" y="10"/>
                    </a:lnTo>
                    <a:lnTo>
                      <a:pt x="782" y="16"/>
                    </a:lnTo>
                    <a:lnTo>
                      <a:pt x="774" y="22"/>
                    </a:lnTo>
                    <a:lnTo>
                      <a:pt x="768" y="32"/>
                    </a:lnTo>
                    <a:lnTo>
                      <a:pt x="764" y="40"/>
                    </a:lnTo>
                    <a:lnTo>
                      <a:pt x="760" y="50"/>
                    </a:lnTo>
                    <a:lnTo>
                      <a:pt x="714" y="282"/>
                    </a:lnTo>
                    <a:lnTo>
                      <a:pt x="714" y="282"/>
                    </a:lnTo>
                    <a:lnTo>
                      <a:pt x="680" y="294"/>
                    </a:lnTo>
                    <a:lnTo>
                      <a:pt x="646" y="308"/>
                    </a:lnTo>
                    <a:lnTo>
                      <a:pt x="458" y="160"/>
                    </a:lnTo>
                    <a:lnTo>
                      <a:pt x="458" y="160"/>
                    </a:lnTo>
                    <a:lnTo>
                      <a:pt x="450" y="156"/>
                    </a:lnTo>
                    <a:lnTo>
                      <a:pt x="440" y="152"/>
                    </a:lnTo>
                    <a:lnTo>
                      <a:pt x="430" y="150"/>
                    </a:lnTo>
                    <a:lnTo>
                      <a:pt x="420" y="148"/>
                    </a:lnTo>
                    <a:lnTo>
                      <a:pt x="408" y="150"/>
                    </a:lnTo>
                    <a:lnTo>
                      <a:pt x="398" y="152"/>
                    </a:lnTo>
                    <a:lnTo>
                      <a:pt x="390" y="156"/>
                    </a:lnTo>
                    <a:lnTo>
                      <a:pt x="380" y="162"/>
                    </a:lnTo>
                    <a:lnTo>
                      <a:pt x="258" y="266"/>
                    </a:lnTo>
                    <a:lnTo>
                      <a:pt x="258" y="266"/>
                    </a:lnTo>
                    <a:lnTo>
                      <a:pt x="250" y="274"/>
                    </a:lnTo>
                    <a:lnTo>
                      <a:pt x="244" y="282"/>
                    </a:lnTo>
                    <a:lnTo>
                      <a:pt x="240" y="292"/>
                    </a:lnTo>
                    <a:lnTo>
                      <a:pt x="238" y="302"/>
                    </a:lnTo>
                    <a:lnTo>
                      <a:pt x="236" y="312"/>
                    </a:lnTo>
                    <a:lnTo>
                      <a:pt x="236" y="324"/>
                    </a:lnTo>
                    <a:lnTo>
                      <a:pt x="240" y="334"/>
                    </a:lnTo>
                    <a:lnTo>
                      <a:pt x="244" y="342"/>
                    </a:lnTo>
                    <a:lnTo>
                      <a:pt x="360" y="556"/>
                    </a:lnTo>
                    <a:lnTo>
                      <a:pt x="360" y="556"/>
                    </a:lnTo>
                    <a:lnTo>
                      <a:pt x="346" y="580"/>
                    </a:lnTo>
                    <a:lnTo>
                      <a:pt x="332" y="604"/>
                    </a:lnTo>
                    <a:lnTo>
                      <a:pt x="88" y="608"/>
                    </a:lnTo>
                    <a:lnTo>
                      <a:pt x="88" y="608"/>
                    </a:lnTo>
                    <a:lnTo>
                      <a:pt x="78" y="610"/>
                    </a:lnTo>
                    <a:lnTo>
                      <a:pt x="68" y="614"/>
                    </a:lnTo>
                    <a:lnTo>
                      <a:pt x="60" y="618"/>
                    </a:lnTo>
                    <a:lnTo>
                      <a:pt x="50" y="624"/>
                    </a:lnTo>
                    <a:lnTo>
                      <a:pt x="44" y="632"/>
                    </a:lnTo>
                    <a:lnTo>
                      <a:pt x="36" y="640"/>
                    </a:lnTo>
                    <a:lnTo>
                      <a:pt x="32" y="650"/>
                    </a:lnTo>
                    <a:lnTo>
                      <a:pt x="30" y="660"/>
                    </a:lnTo>
                    <a:lnTo>
                      <a:pt x="0" y="818"/>
                    </a:lnTo>
                    <a:lnTo>
                      <a:pt x="0" y="818"/>
                    </a:lnTo>
                    <a:lnTo>
                      <a:pt x="0" y="828"/>
                    </a:lnTo>
                    <a:lnTo>
                      <a:pt x="0" y="838"/>
                    </a:lnTo>
                    <a:lnTo>
                      <a:pt x="2" y="848"/>
                    </a:lnTo>
                    <a:lnTo>
                      <a:pt x="8" y="858"/>
                    </a:lnTo>
                    <a:lnTo>
                      <a:pt x="12" y="868"/>
                    </a:lnTo>
                    <a:lnTo>
                      <a:pt x="20" y="874"/>
                    </a:lnTo>
                    <a:lnTo>
                      <a:pt x="28" y="882"/>
                    </a:lnTo>
                    <a:lnTo>
                      <a:pt x="38" y="886"/>
                    </a:lnTo>
                    <a:lnTo>
                      <a:pt x="264" y="978"/>
                    </a:lnTo>
                    <a:lnTo>
                      <a:pt x="264" y="978"/>
                    </a:lnTo>
                    <a:lnTo>
                      <a:pt x="270" y="1024"/>
                    </a:lnTo>
                    <a:lnTo>
                      <a:pt x="280" y="1068"/>
                    </a:lnTo>
                    <a:lnTo>
                      <a:pt x="104" y="1236"/>
                    </a:lnTo>
                    <a:lnTo>
                      <a:pt x="104" y="1236"/>
                    </a:lnTo>
                    <a:lnTo>
                      <a:pt x="98" y="1244"/>
                    </a:lnTo>
                    <a:lnTo>
                      <a:pt x="92" y="1254"/>
                    </a:lnTo>
                    <a:lnTo>
                      <a:pt x="88" y="1264"/>
                    </a:lnTo>
                    <a:lnTo>
                      <a:pt x="86" y="1274"/>
                    </a:lnTo>
                    <a:lnTo>
                      <a:pt x="86" y="1284"/>
                    </a:lnTo>
                    <a:lnTo>
                      <a:pt x="86" y="1294"/>
                    </a:lnTo>
                    <a:lnTo>
                      <a:pt x="90" y="1304"/>
                    </a:lnTo>
                    <a:lnTo>
                      <a:pt x="94" y="1314"/>
                    </a:lnTo>
                    <a:lnTo>
                      <a:pt x="180" y="1450"/>
                    </a:lnTo>
                    <a:lnTo>
                      <a:pt x="180" y="1450"/>
                    </a:lnTo>
                    <a:lnTo>
                      <a:pt x="186" y="1458"/>
                    </a:lnTo>
                    <a:lnTo>
                      <a:pt x="194" y="1466"/>
                    </a:lnTo>
                    <a:lnTo>
                      <a:pt x="204" y="1472"/>
                    </a:lnTo>
                    <a:lnTo>
                      <a:pt x="212" y="1476"/>
                    </a:lnTo>
                    <a:lnTo>
                      <a:pt x="222" y="1478"/>
                    </a:lnTo>
                    <a:lnTo>
                      <a:pt x="234" y="1480"/>
                    </a:lnTo>
                    <a:lnTo>
                      <a:pt x="244" y="1478"/>
                    </a:lnTo>
                    <a:lnTo>
                      <a:pt x="254" y="1476"/>
                    </a:lnTo>
                    <a:lnTo>
                      <a:pt x="480" y="1390"/>
                    </a:lnTo>
                    <a:lnTo>
                      <a:pt x="480" y="1390"/>
                    </a:lnTo>
                    <a:lnTo>
                      <a:pt x="508" y="1414"/>
                    </a:lnTo>
                    <a:lnTo>
                      <a:pt x="538" y="1436"/>
                    </a:lnTo>
                    <a:lnTo>
                      <a:pt x="514" y="1676"/>
                    </a:lnTo>
                    <a:lnTo>
                      <a:pt x="514" y="1676"/>
                    </a:lnTo>
                    <a:lnTo>
                      <a:pt x="514" y="1686"/>
                    </a:lnTo>
                    <a:lnTo>
                      <a:pt x="514" y="1696"/>
                    </a:lnTo>
                    <a:lnTo>
                      <a:pt x="518" y="1706"/>
                    </a:lnTo>
                    <a:lnTo>
                      <a:pt x="524" y="1716"/>
                    </a:lnTo>
                    <a:lnTo>
                      <a:pt x="530" y="1724"/>
                    </a:lnTo>
                    <a:lnTo>
                      <a:pt x="538" y="1730"/>
                    </a:lnTo>
                    <a:lnTo>
                      <a:pt x="546" y="1736"/>
                    </a:lnTo>
                    <a:lnTo>
                      <a:pt x="556" y="1740"/>
                    </a:lnTo>
                    <a:lnTo>
                      <a:pt x="710" y="1788"/>
                    </a:lnTo>
                    <a:lnTo>
                      <a:pt x="710" y="1788"/>
                    </a:lnTo>
                    <a:lnTo>
                      <a:pt x="720" y="1790"/>
                    </a:lnTo>
                    <a:lnTo>
                      <a:pt x="730" y="1790"/>
                    </a:lnTo>
                    <a:lnTo>
                      <a:pt x="742" y="1790"/>
                    </a:lnTo>
                    <a:lnTo>
                      <a:pt x="752" y="1786"/>
                    </a:lnTo>
                    <a:lnTo>
                      <a:pt x="760" y="1782"/>
                    </a:lnTo>
                    <a:lnTo>
                      <a:pt x="770" y="1776"/>
                    </a:lnTo>
                    <a:lnTo>
                      <a:pt x="776" y="1768"/>
                    </a:lnTo>
                    <a:lnTo>
                      <a:pt x="782" y="1760"/>
                    </a:lnTo>
                    <a:lnTo>
                      <a:pt x="896" y="1554"/>
                    </a:lnTo>
                    <a:lnTo>
                      <a:pt x="896" y="1554"/>
                    </a:lnTo>
                    <a:lnTo>
                      <a:pt x="910" y="1554"/>
                    </a:lnTo>
                    <a:lnTo>
                      <a:pt x="910" y="1554"/>
                    </a:lnTo>
                    <a:lnTo>
                      <a:pt x="942" y="1552"/>
                    </a:lnTo>
                    <a:lnTo>
                      <a:pt x="976" y="1550"/>
                    </a:lnTo>
                    <a:lnTo>
                      <a:pt x="1108" y="1742"/>
                    </a:lnTo>
                    <a:lnTo>
                      <a:pt x="1108" y="1742"/>
                    </a:lnTo>
                    <a:lnTo>
                      <a:pt x="1116" y="1750"/>
                    </a:lnTo>
                    <a:lnTo>
                      <a:pt x="1124" y="1756"/>
                    </a:lnTo>
                    <a:lnTo>
                      <a:pt x="1132" y="1762"/>
                    </a:lnTo>
                    <a:lnTo>
                      <a:pt x="1142" y="1766"/>
                    </a:lnTo>
                    <a:lnTo>
                      <a:pt x="1152" y="1768"/>
                    </a:lnTo>
                    <a:lnTo>
                      <a:pt x="1164" y="1768"/>
                    </a:lnTo>
                    <a:lnTo>
                      <a:pt x="1174" y="1768"/>
                    </a:lnTo>
                    <a:lnTo>
                      <a:pt x="1184" y="1764"/>
                    </a:lnTo>
                    <a:lnTo>
                      <a:pt x="1332" y="1700"/>
                    </a:lnTo>
                    <a:lnTo>
                      <a:pt x="1332" y="1700"/>
                    </a:lnTo>
                    <a:lnTo>
                      <a:pt x="1340" y="1696"/>
                    </a:lnTo>
                    <a:lnTo>
                      <a:pt x="1348" y="1688"/>
                    </a:lnTo>
                    <a:lnTo>
                      <a:pt x="1356" y="1680"/>
                    </a:lnTo>
                    <a:lnTo>
                      <a:pt x="1362" y="1672"/>
                    </a:lnTo>
                    <a:lnTo>
                      <a:pt x="1366" y="1662"/>
                    </a:lnTo>
                    <a:lnTo>
                      <a:pt x="1368" y="1652"/>
                    </a:lnTo>
                    <a:lnTo>
                      <a:pt x="1368" y="1642"/>
                    </a:lnTo>
                    <a:lnTo>
                      <a:pt x="1368" y="1632"/>
                    </a:lnTo>
                    <a:lnTo>
                      <a:pt x="1322" y="1406"/>
                    </a:lnTo>
                    <a:lnTo>
                      <a:pt x="1322" y="1406"/>
                    </a:lnTo>
                    <a:lnTo>
                      <a:pt x="1360" y="1372"/>
                    </a:lnTo>
                    <a:lnTo>
                      <a:pt x="1578" y="1442"/>
                    </a:lnTo>
                    <a:lnTo>
                      <a:pt x="1578" y="1442"/>
                    </a:lnTo>
                    <a:lnTo>
                      <a:pt x="1588" y="1444"/>
                    </a:lnTo>
                    <a:lnTo>
                      <a:pt x="1598" y="1444"/>
                    </a:lnTo>
                    <a:lnTo>
                      <a:pt x="1610" y="1442"/>
                    </a:lnTo>
                    <a:lnTo>
                      <a:pt x="1620" y="1440"/>
                    </a:lnTo>
                    <a:lnTo>
                      <a:pt x="1628" y="1434"/>
                    </a:lnTo>
                    <a:lnTo>
                      <a:pt x="1638" y="1428"/>
                    </a:lnTo>
                    <a:lnTo>
                      <a:pt x="1644" y="1422"/>
                    </a:lnTo>
                    <a:lnTo>
                      <a:pt x="1650" y="1412"/>
                    </a:lnTo>
                    <a:lnTo>
                      <a:pt x="1730" y="1272"/>
                    </a:lnTo>
                    <a:lnTo>
                      <a:pt x="1730" y="1272"/>
                    </a:lnTo>
                    <a:lnTo>
                      <a:pt x="1734" y="1262"/>
                    </a:lnTo>
                    <a:lnTo>
                      <a:pt x="1736" y="1252"/>
                    </a:lnTo>
                    <a:lnTo>
                      <a:pt x="1736" y="1242"/>
                    </a:lnTo>
                    <a:lnTo>
                      <a:pt x="1736" y="1230"/>
                    </a:lnTo>
                    <a:lnTo>
                      <a:pt x="1732" y="1220"/>
                    </a:lnTo>
                    <a:lnTo>
                      <a:pt x="1728" y="1212"/>
                    </a:lnTo>
                    <a:lnTo>
                      <a:pt x="1722" y="1202"/>
                    </a:lnTo>
                    <a:lnTo>
                      <a:pt x="1716" y="1194"/>
                    </a:lnTo>
                    <a:lnTo>
                      <a:pt x="1544" y="1048"/>
                    </a:lnTo>
                    <a:lnTo>
                      <a:pt x="1544" y="1048"/>
                    </a:lnTo>
                    <a:lnTo>
                      <a:pt x="1552" y="1010"/>
                    </a:lnTo>
                    <a:lnTo>
                      <a:pt x="1556" y="970"/>
                    </a:lnTo>
                    <a:lnTo>
                      <a:pt x="1766" y="886"/>
                    </a:lnTo>
                    <a:lnTo>
                      <a:pt x="1766" y="886"/>
                    </a:lnTo>
                    <a:lnTo>
                      <a:pt x="1776" y="880"/>
                    </a:lnTo>
                    <a:lnTo>
                      <a:pt x="1784" y="874"/>
                    </a:lnTo>
                    <a:lnTo>
                      <a:pt x="1790" y="866"/>
                    </a:lnTo>
                    <a:lnTo>
                      <a:pt x="1796" y="858"/>
                    </a:lnTo>
                    <a:lnTo>
                      <a:pt x="1800" y="848"/>
                    </a:lnTo>
                    <a:lnTo>
                      <a:pt x="1804" y="838"/>
                    </a:lnTo>
                    <a:lnTo>
                      <a:pt x="1804" y="828"/>
                    </a:lnTo>
                    <a:lnTo>
                      <a:pt x="1804" y="816"/>
                    </a:lnTo>
                    <a:lnTo>
                      <a:pt x="1804" y="816"/>
                    </a:lnTo>
                    <a:close/>
                    <a:moveTo>
                      <a:pt x="910" y="1248"/>
                    </a:moveTo>
                    <a:lnTo>
                      <a:pt x="910" y="1248"/>
                    </a:lnTo>
                    <a:lnTo>
                      <a:pt x="874" y="1246"/>
                    </a:lnTo>
                    <a:lnTo>
                      <a:pt x="840" y="1240"/>
                    </a:lnTo>
                    <a:lnTo>
                      <a:pt x="808" y="1232"/>
                    </a:lnTo>
                    <a:lnTo>
                      <a:pt x="776" y="1220"/>
                    </a:lnTo>
                    <a:lnTo>
                      <a:pt x="746" y="1206"/>
                    </a:lnTo>
                    <a:lnTo>
                      <a:pt x="718" y="1188"/>
                    </a:lnTo>
                    <a:lnTo>
                      <a:pt x="690" y="1168"/>
                    </a:lnTo>
                    <a:lnTo>
                      <a:pt x="666" y="1146"/>
                    </a:lnTo>
                    <a:lnTo>
                      <a:pt x="644" y="1122"/>
                    </a:lnTo>
                    <a:lnTo>
                      <a:pt x="624" y="1096"/>
                    </a:lnTo>
                    <a:lnTo>
                      <a:pt x="606" y="1068"/>
                    </a:lnTo>
                    <a:lnTo>
                      <a:pt x="592" y="1038"/>
                    </a:lnTo>
                    <a:lnTo>
                      <a:pt x="580" y="1006"/>
                    </a:lnTo>
                    <a:lnTo>
                      <a:pt x="572" y="972"/>
                    </a:lnTo>
                    <a:lnTo>
                      <a:pt x="568" y="938"/>
                    </a:lnTo>
                    <a:lnTo>
                      <a:pt x="566" y="904"/>
                    </a:lnTo>
                    <a:lnTo>
                      <a:pt x="566" y="904"/>
                    </a:lnTo>
                    <a:lnTo>
                      <a:pt x="568" y="868"/>
                    </a:lnTo>
                    <a:lnTo>
                      <a:pt x="572" y="834"/>
                    </a:lnTo>
                    <a:lnTo>
                      <a:pt x="580" y="800"/>
                    </a:lnTo>
                    <a:lnTo>
                      <a:pt x="592" y="770"/>
                    </a:lnTo>
                    <a:lnTo>
                      <a:pt x="606" y="738"/>
                    </a:lnTo>
                    <a:lnTo>
                      <a:pt x="624" y="710"/>
                    </a:lnTo>
                    <a:lnTo>
                      <a:pt x="644" y="684"/>
                    </a:lnTo>
                    <a:lnTo>
                      <a:pt x="666" y="660"/>
                    </a:lnTo>
                    <a:lnTo>
                      <a:pt x="690" y="638"/>
                    </a:lnTo>
                    <a:lnTo>
                      <a:pt x="718" y="618"/>
                    </a:lnTo>
                    <a:lnTo>
                      <a:pt x="746" y="600"/>
                    </a:lnTo>
                    <a:lnTo>
                      <a:pt x="776" y="586"/>
                    </a:lnTo>
                    <a:lnTo>
                      <a:pt x="808" y="574"/>
                    </a:lnTo>
                    <a:lnTo>
                      <a:pt x="840" y="566"/>
                    </a:lnTo>
                    <a:lnTo>
                      <a:pt x="874" y="560"/>
                    </a:lnTo>
                    <a:lnTo>
                      <a:pt x="910" y="558"/>
                    </a:lnTo>
                    <a:lnTo>
                      <a:pt x="910" y="558"/>
                    </a:lnTo>
                    <a:lnTo>
                      <a:pt x="944" y="560"/>
                    </a:lnTo>
                    <a:lnTo>
                      <a:pt x="980" y="566"/>
                    </a:lnTo>
                    <a:lnTo>
                      <a:pt x="1012" y="574"/>
                    </a:lnTo>
                    <a:lnTo>
                      <a:pt x="1044" y="586"/>
                    </a:lnTo>
                    <a:lnTo>
                      <a:pt x="1074" y="600"/>
                    </a:lnTo>
                    <a:lnTo>
                      <a:pt x="1102" y="618"/>
                    </a:lnTo>
                    <a:lnTo>
                      <a:pt x="1128" y="638"/>
                    </a:lnTo>
                    <a:lnTo>
                      <a:pt x="1154" y="660"/>
                    </a:lnTo>
                    <a:lnTo>
                      <a:pt x="1176" y="684"/>
                    </a:lnTo>
                    <a:lnTo>
                      <a:pt x="1196" y="710"/>
                    </a:lnTo>
                    <a:lnTo>
                      <a:pt x="1212" y="738"/>
                    </a:lnTo>
                    <a:lnTo>
                      <a:pt x="1226" y="770"/>
                    </a:lnTo>
                    <a:lnTo>
                      <a:pt x="1238" y="800"/>
                    </a:lnTo>
                    <a:lnTo>
                      <a:pt x="1248" y="834"/>
                    </a:lnTo>
                    <a:lnTo>
                      <a:pt x="1252" y="868"/>
                    </a:lnTo>
                    <a:lnTo>
                      <a:pt x="1254" y="904"/>
                    </a:lnTo>
                    <a:lnTo>
                      <a:pt x="1254" y="904"/>
                    </a:lnTo>
                    <a:lnTo>
                      <a:pt x="1252" y="938"/>
                    </a:lnTo>
                    <a:lnTo>
                      <a:pt x="1248" y="972"/>
                    </a:lnTo>
                    <a:lnTo>
                      <a:pt x="1238" y="1006"/>
                    </a:lnTo>
                    <a:lnTo>
                      <a:pt x="1226" y="1038"/>
                    </a:lnTo>
                    <a:lnTo>
                      <a:pt x="1212" y="1068"/>
                    </a:lnTo>
                    <a:lnTo>
                      <a:pt x="1196" y="1096"/>
                    </a:lnTo>
                    <a:lnTo>
                      <a:pt x="1176" y="1122"/>
                    </a:lnTo>
                    <a:lnTo>
                      <a:pt x="1154" y="1146"/>
                    </a:lnTo>
                    <a:lnTo>
                      <a:pt x="1128" y="1168"/>
                    </a:lnTo>
                    <a:lnTo>
                      <a:pt x="1102" y="1188"/>
                    </a:lnTo>
                    <a:lnTo>
                      <a:pt x="1074" y="1206"/>
                    </a:lnTo>
                    <a:lnTo>
                      <a:pt x="1044" y="1220"/>
                    </a:lnTo>
                    <a:lnTo>
                      <a:pt x="1012" y="1232"/>
                    </a:lnTo>
                    <a:lnTo>
                      <a:pt x="980" y="1240"/>
                    </a:lnTo>
                    <a:lnTo>
                      <a:pt x="944" y="1246"/>
                    </a:lnTo>
                    <a:lnTo>
                      <a:pt x="910" y="1248"/>
                    </a:lnTo>
                    <a:lnTo>
                      <a:pt x="910" y="12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
          <p:nvSpPr>
            <p:cNvPr id="40" name="Freeform 31"/>
            <p:cNvSpPr>
              <a:spLocks noEditPoints="1"/>
            </p:cNvSpPr>
            <p:nvPr/>
          </p:nvSpPr>
          <p:spPr bwMode="auto">
            <a:xfrm>
              <a:off x="6148650" y="3959656"/>
              <a:ext cx="316872" cy="361616"/>
            </a:xfrm>
            <a:custGeom>
              <a:avLst/>
              <a:gdLst>
                <a:gd name="T0" fmla="*/ 800 w 864"/>
                <a:gd name="T1" fmla="*/ 560 h 986"/>
                <a:gd name="T2" fmla="*/ 804 w 864"/>
                <a:gd name="T3" fmla="*/ 464 h 986"/>
                <a:gd name="T4" fmla="*/ 846 w 864"/>
                <a:gd name="T5" fmla="*/ 318 h 986"/>
                <a:gd name="T6" fmla="*/ 862 w 864"/>
                <a:gd name="T7" fmla="*/ 290 h 986"/>
                <a:gd name="T8" fmla="*/ 860 w 864"/>
                <a:gd name="T9" fmla="*/ 248 h 986"/>
                <a:gd name="T10" fmla="*/ 830 w 864"/>
                <a:gd name="T11" fmla="*/ 204 h 986"/>
                <a:gd name="T12" fmla="*/ 794 w 864"/>
                <a:gd name="T13" fmla="*/ 184 h 986"/>
                <a:gd name="T14" fmla="*/ 678 w 864"/>
                <a:gd name="T15" fmla="*/ 222 h 986"/>
                <a:gd name="T16" fmla="*/ 626 w 864"/>
                <a:gd name="T17" fmla="*/ 186 h 986"/>
                <a:gd name="T18" fmla="*/ 550 w 864"/>
                <a:gd name="T19" fmla="*/ 154 h 986"/>
                <a:gd name="T20" fmla="*/ 506 w 864"/>
                <a:gd name="T21" fmla="*/ 42 h 986"/>
                <a:gd name="T22" fmla="*/ 480 w 864"/>
                <a:gd name="T23" fmla="*/ 10 h 986"/>
                <a:gd name="T24" fmla="*/ 416 w 864"/>
                <a:gd name="T25" fmla="*/ 0 h 986"/>
                <a:gd name="T26" fmla="*/ 386 w 864"/>
                <a:gd name="T27" fmla="*/ 10 h 986"/>
                <a:gd name="T28" fmla="*/ 358 w 864"/>
                <a:gd name="T29" fmla="*/ 42 h 986"/>
                <a:gd name="T30" fmla="*/ 336 w 864"/>
                <a:gd name="T31" fmla="*/ 160 h 986"/>
                <a:gd name="T32" fmla="*/ 238 w 864"/>
                <a:gd name="T33" fmla="*/ 212 h 986"/>
                <a:gd name="T34" fmla="*/ 198 w 864"/>
                <a:gd name="T35" fmla="*/ 228 h 986"/>
                <a:gd name="T36" fmla="*/ 80 w 864"/>
                <a:gd name="T37" fmla="*/ 184 h 986"/>
                <a:gd name="T38" fmla="*/ 40 w 864"/>
                <a:gd name="T39" fmla="*/ 196 h 986"/>
                <a:gd name="T40" fmla="*/ 8 w 864"/>
                <a:gd name="T41" fmla="*/ 238 h 986"/>
                <a:gd name="T42" fmla="*/ 0 w 864"/>
                <a:gd name="T43" fmla="*/ 280 h 986"/>
                <a:gd name="T44" fmla="*/ 18 w 864"/>
                <a:gd name="T45" fmla="*/ 318 h 986"/>
                <a:gd name="T46" fmla="*/ 110 w 864"/>
                <a:gd name="T47" fmla="*/ 400 h 986"/>
                <a:gd name="T48" fmla="*/ 98 w 864"/>
                <a:gd name="T49" fmla="*/ 470 h 986"/>
                <a:gd name="T50" fmla="*/ 102 w 864"/>
                <a:gd name="T51" fmla="*/ 550 h 986"/>
                <a:gd name="T52" fmla="*/ 42 w 864"/>
                <a:gd name="T53" fmla="*/ 678 h 986"/>
                <a:gd name="T54" fmla="*/ 24 w 864"/>
                <a:gd name="T55" fmla="*/ 716 h 986"/>
                <a:gd name="T56" fmla="*/ 34 w 864"/>
                <a:gd name="T57" fmla="*/ 758 h 986"/>
                <a:gd name="T58" fmla="*/ 68 w 864"/>
                <a:gd name="T59" fmla="*/ 798 h 986"/>
                <a:gd name="T60" fmla="*/ 108 w 864"/>
                <a:gd name="T61" fmla="*/ 810 h 986"/>
                <a:gd name="T62" fmla="*/ 222 w 864"/>
                <a:gd name="T63" fmla="*/ 764 h 986"/>
                <a:gd name="T64" fmla="*/ 336 w 864"/>
                <a:gd name="T65" fmla="*/ 830 h 986"/>
                <a:gd name="T66" fmla="*/ 356 w 864"/>
                <a:gd name="T67" fmla="*/ 934 h 986"/>
                <a:gd name="T68" fmla="*/ 378 w 864"/>
                <a:gd name="T69" fmla="*/ 970 h 986"/>
                <a:gd name="T70" fmla="*/ 416 w 864"/>
                <a:gd name="T71" fmla="*/ 986 h 986"/>
                <a:gd name="T72" fmla="*/ 470 w 864"/>
                <a:gd name="T73" fmla="*/ 982 h 986"/>
                <a:gd name="T74" fmla="*/ 502 w 864"/>
                <a:gd name="T75" fmla="*/ 954 h 986"/>
                <a:gd name="T76" fmla="*/ 528 w 864"/>
                <a:gd name="T77" fmla="*/ 840 h 986"/>
                <a:gd name="T78" fmla="*/ 642 w 864"/>
                <a:gd name="T79" fmla="*/ 794 h 986"/>
                <a:gd name="T80" fmla="*/ 764 w 864"/>
                <a:gd name="T81" fmla="*/ 808 h 986"/>
                <a:gd name="T82" fmla="*/ 806 w 864"/>
                <a:gd name="T83" fmla="*/ 804 h 986"/>
                <a:gd name="T84" fmla="*/ 848 w 864"/>
                <a:gd name="T85" fmla="*/ 758 h 986"/>
                <a:gd name="T86" fmla="*/ 858 w 864"/>
                <a:gd name="T87" fmla="*/ 726 h 986"/>
                <a:gd name="T88" fmla="*/ 848 w 864"/>
                <a:gd name="T89" fmla="*/ 686 h 986"/>
                <a:gd name="T90" fmla="*/ 452 w 864"/>
                <a:gd name="T91" fmla="*/ 616 h 986"/>
                <a:gd name="T92" fmla="*/ 404 w 864"/>
                <a:gd name="T93" fmla="*/ 606 h 986"/>
                <a:gd name="T94" fmla="*/ 340 w 864"/>
                <a:gd name="T95" fmla="*/ 542 h 986"/>
                <a:gd name="T96" fmla="*/ 330 w 864"/>
                <a:gd name="T97" fmla="*/ 494 h 986"/>
                <a:gd name="T98" fmla="*/ 336 w 864"/>
                <a:gd name="T99" fmla="*/ 458 h 986"/>
                <a:gd name="T100" fmla="*/ 384 w 864"/>
                <a:gd name="T101" fmla="*/ 394 h 986"/>
                <a:gd name="T102" fmla="*/ 438 w 864"/>
                <a:gd name="T103" fmla="*/ 374 h 986"/>
                <a:gd name="T104" fmla="*/ 476 w 864"/>
                <a:gd name="T105" fmla="*/ 376 h 986"/>
                <a:gd name="T106" fmla="*/ 538 w 864"/>
                <a:gd name="T107" fmla="*/ 408 h 986"/>
                <a:gd name="T108" fmla="*/ 570 w 864"/>
                <a:gd name="T109" fmla="*/ 470 h 986"/>
                <a:gd name="T110" fmla="*/ 572 w 864"/>
                <a:gd name="T111" fmla="*/ 508 h 986"/>
                <a:gd name="T112" fmla="*/ 552 w 864"/>
                <a:gd name="T113" fmla="*/ 562 h 986"/>
                <a:gd name="T114" fmla="*/ 488 w 864"/>
                <a:gd name="T115" fmla="*/ 610 h 986"/>
                <a:gd name="T116" fmla="*/ 452 w 864"/>
                <a:gd name="T117" fmla="*/ 61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4" h="986">
                  <a:moveTo>
                    <a:pt x="784" y="620"/>
                  </a:moveTo>
                  <a:lnTo>
                    <a:pt x="784" y="620"/>
                  </a:lnTo>
                  <a:lnTo>
                    <a:pt x="792" y="590"/>
                  </a:lnTo>
                  <a:lnTo>
                    <a:pt x="800" y="560"/>
                  </a:lnTo>
                  <a:lnTo>
                    <a:pt x="804" y="528"/>
                  </a:lnTo>
                  <a:lnTo>
                    <a:pt x="806" y="494"/>
                  </a:lnTo>
                  <a:lnTo>
                    <a:pt x="806" y="494"/>
                  </a:lnTo>
                  <a:lnTo>
                    <a:pt x="804" y="464"/>
                  </a:lnTo>
                  <a:lnTo>
                    <a:pt x="800" y="434"/>
                  </a:lnTo>
                  <a:lnTo>
                    <a:pt x="794" y="404"/>
                  </a:lnTo>
                  <a:lnTo>
                    <a:pt x="786" y="376"/>
                  </a:lnTo>
                  <a:lnTo>
                    <a:pt x="846" y="318"/>
                  </a:lnTo>
                  <a:lnTo>
                    <a:pt x="846" y="318"/>
                  </a:lnTo>
                  <a:lnTo>
                    <a:pt x="852" y="310"/>
                  </a:lnTo>
                  <a:lnTo>
                    <a:pt x="858" y="300"/>
                  </a:lnTo>
                  <a:lnTo>
                    <a:pt x="862" y="290"/>
                  </a:lnTo>
                  <a:lnTo>
                    <a:pt x="864" y="280"/>
                  </a:lnTo>
                  <a:lnTo>
                    <a:pt x="864" y="270"/>
                  </a:lnTo>
                  <a:lnTo>
                    <a:pt x="862" y="258"/>
                  </a:lnTo>
                  <a:lnTo>
                    <a:pt x="860" y="248"/>
                  </a:lnTo>
                  <a:lnTo>
                    <a:pt x="854" y="238"/>
                  </a:lnTo>
                  <a:lnTo>
                    <a:pt x="838" y="212"/>
                  </a:lnTo>
                  <a:lnTo>
                    <a:pt x="838" y="212"/>
                  </a:lnTo>
                  <a:lnTo>
                    <a:pt x="830" y="204"/>
                  </a:lnTo>
                  <a:lnTo>
                    <a:pt x="822" y="196"/>
                  </a:lnTo>
                  <a:lnTo>
                    <a:pt x="814" y="192"/>
                  </a:lnTo>
                  <a:lnTo>
                    <a:pt x="804" y="188"/>
                  </a:lnTo>
                  <a:lnTo>
                    <a:pt x="794" y="184"/>
                  </a:lnTo>
                  <a:lnTo>
                    <a:pt x="782" y="184"/>
                  </a:lnTo>
                  <a:lnTo>
                    <a:pt x="772" y="184"/>
                  </a:lnTo>
                  <a:lnTo>
                    <a:pt x="762" y="188"/>
                  </a:lnTo>
                  <a:lnTo>
                    <a:pt x="678" y="222"/>
                  </a:lnTo>
                  <a:lnTo>
                    <a:pt x="678" y="222"/>
                  </a:lnTo>
                  <a:lnTo>
                    <a:pt x="662" y="210"/>
                  </a:lnTo>
                  <a:lnTo>
                    <a:pt x="644" y="198"/>
                  </a:lnTo>
                  <a:lnTo>
                    <a:pt x="626" y="186"/>
                  </a:lnTo>
                  <a:lnTo>
                    <a:pt x="608" y="176"/>
                  </a:lnTo>
                  <a:lnTo>
                    <a:pt x="590" y="168"/>
                  </a:lnTo>
                  <a:lnTo>
                    <a:pt x="570" y="160"/>
                  </a:lnTo>
                  <a:lnTo>
                    <a:pt x="550" y="154"/>
                  </a:lnTo>
                  <a:lnTo>
                    <a:pt x="528" y="148"/>
                  </a:lnTo>
                  <a:lnTo>
                    <a:pt x="510" y="52"/>
                  </a:lnTo>
                  <a:lnTo>
                    <a:pt x="510" y="52"/>
                  </a:lnTo>
                  <a:lnTo>
                    <a:pt x="506" y="42"/>
                  </a:lnTo>
                  <a:lnTo>
                    <a:pt x="502" y="32"/>
                  </a:lnTo>
                  <a:lnTo>
                    <a:pt x="496" y="22"/>
                  </a:lnTo>
                  <a:lnTo>
                    <a:pt x="488" y="16"/>
                  </a:lnTo>
                  <a:lnTo>
                    <a:pt x="480" y="10"/>
                  </a:lnTo>
                  <a:lnTo>
                    <a:pt x="470" y="4"/>
                  </a:lnTo>
                  <a:lnTo>
                    <a:pt x="460" y="2"/>
                  </a:lnTo>
                  <a:lnTo>
                    <a:pt x="448" y="0"/>
                  </a:lnTo>
                  <a:lnTo>
                    <a:pt x="416" y="0"/>
                  </a:lnTo>
                  <a:lnTo>
                    <a:pt x="416" y="0"/>
                  </a:lnTo>
                  <a:lnTo>
                    <a:pt x="406" y="2"/>
                  </a:lnTo>
                  <a:lnTo>
                    <a:pt x="396" y="4"/>
                  </a:lnTo>
                  <a:lnTo>
                    <a:pt x="386" y="10"/>
                  </a:lnTo>
                  <a:lnTo>
                    <a:pt x="378" y="16"/>
                  </a:lnTo>
                  <a:lnTo>
                    <a:pt x="370" y="22"/>
                  </a:lnTo>
                  <a:lnTo>
                    <a:pt x="364" y="32"/>
                  </a:lnTo>
                  <a:lnTo>
                    <a:pt x="358" y="42"/>
                  </a:lnTo>
                  <a:lnTo>
                    <a:pt x="356" y="52"/>
                  </a:lnTo>
                  <a:lnTo>
                    <a:pt x="336" y="154"/>
                  </a:lnTo>
                  <a:lnTo>
                    <a:pt x="336" y="154"/>
                  </a:lnTo>
                  <a:lnTo>
                    <a:pt x="336" y="160"/>
                  </a:lnTo>
                  <a:lnTo>
                    <a:pt x="336" y="160"/>
                  </a:lnTo>
                  <a:lnTo>
                    <a:pt x="302" y="174"/>
                  </a:lnTo>
                  <a:lnTo>
                    <a:pt x="268" y="190"/>
                  </a:lnTo>
                  <a:lnTo>
                    <a:pt x="238" y="212"/>
                  </a:lnTo>
                  <a:lnTo>
                    <a:pt x="210" y="234"/>
                  </a:lnTo>
                  <a:lnTo>
                    <a:pt x="210" y="234"/>
                  </a:lnTo>
                  <a:lnTo>
                    <a:pt x="204" y="230"/>
                  </a:lnTo>
                  <a:lnTo>
                    <a:pt x="198" y="228"/>
                  </a:lnTo>
                  <a:lnTo>
                    <a:pt x="102" y="188"/>
                  </a:lnTo>
                  <a:lnTo>
                    <a:pt x="102" y="188"/>
                  </a:lnTo>
                  <a:lnTo>
                    <a:pt x="92" y="184"/>
                  </a:lnTo>
                  <a:lnTo>
                    <a:pt x="80" y="184"/>
                  </a:lnTo>
                  <a:lnTo>
                    <a:pt x="70" y="184"/>
                  </a:lnTo>
                  <a:lnTo>
                    <a:pt x="60" y="188"/>
                  </a:lnTo>
                  <a:lnTo>
                    <a:pt x="50" y="192"/>
                  </a:lnTo>
                  <a:lnTo>
                    <a:pt x="40" y="196"/>
                  </a:lnTo>
                  <a:lnTo>
                    <a:pt x="32" y="204"/>
                  </a:lnTo>
                  <a:lnTo>
                    <a:pt x="26" y="212"/>
                  </a:lnTo>
                  <a:lnTo>
                    <a:pt x="8" y="238"/>
                  </a:lnTo>
                  <a:lnTo>
                    <a:pt x="8" y="238"/>
                  </a:lnTo>
                  <a:lnTo>
                    <a:pt x="4" y="248"/>
                  </a:lnTo>
                  <a:lnTo>
                    <a:pt x="0" y="258"/>
                  </a:lnTo>
                  <a:lnTo>
                    <a:pt x="0" y="270"/>
                  </a:lnTo>
                  <a:lnTo>
                    <a:pt x="0" y="280"/>
                  </a:lnTo>
                  <a:lnTo>
                    <a:pt x="2" y="290"/>
                  </a:lnTo>
                  <a:lnTo>
                    <a:pt x="6" y="300"/>
                  </a:lnTo>
                  <a:lnTo>
                    <a:pt x="10" y="310"/>
                  </a:lnTo>
                  <a:lnTo>
                    <a:pt x="18" y="318"/>
                  </a:lnTo>
                  <a:lnTo>
                    <a:pt x="94" y="390"/>
                  </a:lnTo>
                  <a:lnTo>
                    <a:pt x="94" y="390"/>
                  </a:lnTo>
                  <a:lnTo>
                    <a:pt x="102" y="396"/>
                  </a:lnTo>
                  <a:lnTo>
                    <a:pt x="110" y="400"/>
                  </a:lnTo>
                  <a:lnTo>
                    <a:pt x="110" y="400"/>
                  </a:lnTo>
                  <a:lnTo>
                    <a:pt x="104" y="424"/>
                  </a:lnTo>
                  <a:lnTo>
                    <a:pt x="100" y="446"/>
                  </a:lnTo>
                  <a:lnTo>
                    <a:pt x="98" y="470"/>
                  </a:lnTo>
                  <a:lnTo>
                    <a:pt x="96" y="494"/>
                  </a:lnTo>
                  <a:lnTo>
                    <a:pt x="96" y="494"/>
                  </a:lnTo>
                  <a:lnTo>
                    <a:pt x="98" y="524"/>
                  </a:lnTo>
                  <a:lnTo>
                    <a:pt x="102" y="550"/>
                  </a:lnTo>
                  <a:lnTo>
                    <a:pt x="106" y="578"/>
                  </a:lnTo>
                  <a:lnTo>
                    <a:pt x="114" y="604"/>
                  </a:lnTo>
                  <a:lnTo>
                    <a:pt x="42" y="678"/>
                  </a:lnTo>
                  <a:lnTo>
                    <a:pt x="42" y="678"/>
                  </a:lnTo>
                  <a:lnTo>
                    <a:pt x="34" y="686"/>
                  </a:lnTo>
                  <a:lnTo>
                    <a:pt x="30" y="696"/>
                  </a:lnTo>
                  <a:lnTo>
                    <a:pt x="26" y="706"/>
                  </a:lnTo>
                  <a:lnTo>
                    <a:pt x="24" y="716"/>
                  </a:lnTo>
                  <a:lnTo>
                    <a:pt x="24" y="726"/>
                  </a:lnTo>
                  <a:lnTo>
                    <a:pt x="26" y="738"/>
                  </a:lnTo>
                  <a:lnTo>
                    <a:pt x="28" y="748"/>
                  </a:lnTo>
                  <a:lnTo>
                    <a:pt x="34" y="758"/>
                  </a:lnTo>
                  <a:lnTo>
                    <a:pt x="52" y="784"/>
                  </a:lnTo>
                  <a:lnTo>
                    <a:pt x="52" y="784"/>
                  </a:lnTo>
                  <a:lnTo>
                    <a:pt x="58" y="792"/>
                  </a:lnTo>
                  <a:lnTo>
                    <a:pt x="68" y="798"/>
                  </a:lnTo>
                  <a:lnTo>
                    <a:pt x="76" y="804"/>
                  </a:lnTo>
                  <a:lnTo>
                    <a:pt x="86" y="808"/>
                  </a:lnTo>
                  <a:lnTo>
                    <a:pt x="98" y="810"/>
                  </a:lnTo>
                  <a:lnTo>
                    <a:pt x="108" y="810"/>
                  </a:lnTo>
                  <a:lnTo>
                    <a:pt x="118" y="808"/>
                  </a:lnTo>
                  <a:lnTo>
                    <a:pt x="128" y="806"/>
                  </a:lnTo>
                  <a:lnTo>
                    <a:pt x="222" y="764"/>
                  </a:lnTo>
                  <a:lnTo>
                    <a:pt x="222" y="764"/>
                  </a:lnTo>
                  <a:lnTo>
                    <a:pt x="248" y="784"/>
                  </a:lnTo>
                  <a:lnTo>
                    <a:pt x="276" y="802"/>
                  </a:lnTo>
                  <a:lnTo>
                    <a:pt x="304" y="818"/>
                  </a:lnTo>
                  <a:lnTo>
                    <a:pt x="336" y="830"/>
                  </a:lnTo>
                  <a:lnTo>
                    <a:pt x="336" y="830"/>
                  </a:lnTo>
                  <a:lnTo>
                    <a:pt x="336" y="832"/>
                  </a:lnTo>
                  <a:lnTo>
                    <a:pt x="356" y="934"/>
                  </a:lnTo>
                  <a:lnTo>
                    <a:pt x="356" y="934"/>
                  </a:lnTo>
                  <a:lnTo>
                    <a:pt x="358" y="944"/>
                  </a:lnTo>
                  <a:lnTo>
                    <a:pt x="364" y="954"/>
                  </a:lnTo>
                  <a:lnTo>
                    <a:pt x="370" y="962"/>
                  </a:lnTo>
                  <a:lnTo>
                    <a:pt x="378" y="970"/>
                  </a:lnTo>
                  <a:lnTo>
                    <a:pt x="386" y="976"/>
                  </a:lnTo>
                  <a:lnTo>
                    <a:pt x="396" y="982"/>
                  </a:lnTo>
                  <a:lnTo>
                    <a:pt x="406" y="984"/>
                  </a:lnTo>
                  <a:lnTo>
                    <a:pt x="416" y="986"/>
                  </a:lnTo>
                  <a:lnTo>
                    <a:pt x="448" y="986"/>
                  </a:lnTo>
                  <a:lnTo>
                    <a:pt x="448" y="986"/>
                  </a:lnTo>
                  <a:lnTo>
                    <a:pt x="460" y="984"/>
                  </a:lnTo>
                  <a:lnTo>
                    <a:pt x="470" y="982"/>
                  </a:lnTo>
                  <a:lnTo>
                    <a:pt x="480" y="976"/>
                  </a:lnTo>
                  <a:lnTo>
                    <a:pt x="488" y="970"/>
                  </a:lnTo>
                  <a:lnTo>
                    <a:pt x="496" y="962"/>
                  </a:lnTo>
                  <a:lnTo>
                    <a:pt x="502" y="954"/>
                  </a:lnTo>
                  <a:lnTo>
                    <a:pt x="506" y="944"/>
                  </a:lnTo>
                  <a:lnTo>
                    <a:pt x="510" y="934"/>
                  </a:lnTo>
                  <a:lnTo>
                    <a:pt x="528" y="840"/>
                  </a:lnTo>
                  <a:lnTo>
                    <a:pt x="528" y="840"/>
                  </a:lnTo>
                  <a:lnTo>
                    <a:pt x="548" y="836"/>
                  </a:lnTo>
                  <a:lnTo>
                    <a:pt x="568" y="830"/>
                  </a:lnTo>
                  <a:lnTo>
                    <a:pt x="606" y="814"/>
                  </a:lnTo>
                  <a:lnTo>
                    <a:pt x="642" y="794"/>
                  </a:lnTo>
                  <a:lnTo>
                    <a:pt x="674" y="770"/>
                  </a:lnTo>
                  <a:lnTo>
                    <a:pt x="754" y="806"/>
                  </a:lnTo>
                  <a:lnTo>
                    <a:pt x="754" y="806"/>
                  </a:lnTo>
                  <a:lnTo>
                    <a:pt x="764" y="808"/>
                  </a:lnTo>
                  <a:lnTo>
                    <a:pt x="774" y="810"/>
                  </a:lnTo>
                  <a:lnTo>
                    <a:pt x="784" y="810"/>
                  </a:lnTo>
                  <a:lnTo>
                    <a:pt x="796" y="808"/>
                  </a:lnTo>
                  <a:lnTo>
                    <a:pt x="806" y="804"/>
                  </a:lnTo>
                  <a:lnTo>
                    <a:pt x="814" y="798"/>
                  </a:lnTo>
                  <a:lnTo>
                    <a:pt x="824" y="792"/>
                  </a:lnTo>
                  <a:lnTo>
                    <a:pt x="830" y="784"/>
                  </a:lnTo>
                  <a:lnTo>
                    <a:pt x="848" y="758"/>
                  </a:lnTo>
                  <a:lnTo>
                    <a:pt x="848" y="758"/>
                  </a:lnTo>
                  <a:lnTo>
                    <a:pt x="854" y="748"/>
                  </a:lnTo>
                  <a:lnTo>
                    <a:pt x="856" y="738"/>
                  </a:lnTo>
                  <a:lnTo>
                    <a:pt x="858" y="726"/>
                  </a:lnTo>
                  <a:lnTo>
                    <a:pt x="858" y="716"/>
                  </a:lnTo>
                  <a:lnTo>
                    <a:pt x="856" y="706"/>
                  </a:lnTo>
                  <a:lnTo>
                    <a:pt x="852" y="696"/>
                  </a:lnTo>
                  <a:lnTo>
                    <a:pt x="848" y="686"/>
                  </a:lnTo>
                  <a:lnTo>
                    <a:pt x="840" y="678"/>
                  </a:lnTo>
                  <a:lnTo>
                    <a:pt x="784" y="620"/>
                  </a:lnTo>
                  <a:close/>
                  <a:moveTo>
                    <a:pt x="452" y="616"/>
                  </a:moveTo>
                  <a:lnTo>
                    <a:pt x="452" y="616"/>
                  </a:lnTo>
                  <a:lnTo>
                    <a:pt x="438" y="616"/>
                  </a:lnTo>
                  <a:lnTo>
                    <a:pt x="426" y="614"/>
                  </a:lnTo>
                  <a:lnTo>
                    <a:pt x="416" y="610"/>
                  </a:lnTo>
                  <a:lnTo>
                    <a:pt x="404" y="606"/>
                  </a:lnTo>
                  <a:lnTo>
                    <a:pt x="384" y="596"/>
                  </a:lnTo>
                  <a:lnTo>
                    <a:pt x="366" y="580"/>
                  </a:lnTo>
                  <a:lnTo>
                    <a:pt x="350" y="562"/>
                  </a:lnTo>
                  <a:lnTo>
                    <a:pt x="340" y="542"/>
                  </a:lnTo>
                  <a:lnTo>
                    <a:pt x="336" y="530"/>
                  </a:lnTo>
                  <a:lnTo>
                    <a:pt x="332" y="520"/>
                  </a:lnTo>
                  <a:lnTo>
                    <a:pt x="330" y="508"/>
                  </a:lnTo>
                  <a:lnTo>
                    <a:pt x="330" y="494"/>
                  </a:lnTo>
                  <a:lnTo>
                    <a:pt x="330" y="494"/>
                  </a:lnTo>
                  <a:lnTo>
                    <a:pt x="330" y="482"/>
                  </a:lnTo>
                  <a:lnTo>
                    <a:pt x="332" y="470"/>
                  </a:lnTo>
                  <a:lnTo>
                    <a:pt x="336" y="458"/>
                  </a:lnTo>
                  <a:lnTo>
                    <a:pt x="340" y="448"/>
                  </a:lnTo>
                  <a:lnTo>
                    <a:pt x="350" y="426"/>
                  </a:lnTo>
                  <a:lnTo>
                    <a:pt x="366" y="408"/>
                  </a:lnTo>
                  <a:lnTo>
                    <a:pt x="384" y="394"/>
                  </a:lnTo>
                  <a:lnTo>
                    <a:pt x="404" y="382"/>
                  </a:lnTo>
                  <a:lnTo>
                    <a:pt x="416" y="378"/>
                  </a:lnTo>
                  <a:lnTo>
                    <a:pt x="426" y="376"/>
                  </a:lnTo>
                  <a:lnTo>
                    <a:pt x="438" y="374"/>
                  </a:lnTo>
                  <a:lnTo>
                    <a:pt x="452" y="372"/>
                  </a:lnTo>
                  <a:lnTo>
                    <a:pt x="452" y="372"/>
                  </a:lnTo>
                  <a:lnTo>
                    <a:pt x="464" y="374"/>
                  </a:lnTo>
                  <a:lnTo>
                    <a:pt x="476" y="376"/>
                  </a:lnTo>
                  <a:lnTo>
                    <a:pt x="488" y="378"/>
                  </a:lnTo>
                  <a:lnTo>
                    <a:pt x="498" y="382"/>
                  </a:lnTo>
                  <a:lnTo>
                    <a:pt x="520" y="394"/>
                  </a:lnTo>
                  <a:lnTo>
                    <a:pt x="538" y="408"/>
                  </a:lnTo>
                  <a:lnTo>
                    <a:pt x="552" y="426"/>
                  </a:lnTo>
                  <a:lnTo>
                    <a:pt x="564" y="448"/>
                  </a:lnTo>
                  <a:lnTo>
                    <a:pt x="568" y="458"/>
                  </a:lnTo>
                  <a:lnTo>
                    <a:pt x="570" y="470"/>
                  </a:lnTo>
                  <a:lnTo>
                    <a:pt x="572" y="482"/>
                  </a:lnTo>
                  <a:lnTo>
                    <a:pt x="574" y="494"/>
                  </a:lnTo>
                  <a:lnTo>
                    <a:pt x="574" y="494"/>
                  </a:lnTo>
                  <a:lnTo>
                    <a:pt x="572" y="508"/>
                  </a:lnTo>
                  <a:lnTo>
                    <a:pt x="570" y="520"/>
                  </a:lnTo>
                  <a:lnTo>
                    <a:pt x="568" y="530"/>
                  </a:lnTo>
                  <a:lnTo>
                    <a:pt x="564" y="542"/>
                  </a:lnTo>
                  <a:lnTo>
                    <a:pt x="552" y="562"/>
                  </a:lnTo>
                  <a:lnTo>
                    <a:pt x="538" y="580"/>
                  </a:lnTo>
                  <a:lnTo>
                    <a:pt x="520" y="596"/>
                  </a:lnTo>
                  <a:lnTo>
                    <a:pt x="498" y="606"/>
                  </a:lnTo>
                  <a:lnTo>
                    <a:pt x="488" y="610"/>
                  </a:lnTo>
                  <a:lnTo>
                    <a:pt x="476" y="614"/>
                  </a:lnTo>
                  <a:lnTo>
                    <a:pt x="464" y="616"/>
                  </a:lnTo>
                  <a:lnTo>
                    <a:pt x="452" y="616"/>
                  </a:lnTo>
                  <a:lnTo>
                    <a:pt x="452" y="616"/>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
        <p:nvSpPr>
          <p:cNvPr id="64" name="Freeform 5"/>
          <p:cNvSpPr>
            <a:spLocks/>
          </p:cNvSpPr>
          <p:nvPr/>
        </p:nvSpPr>
        <p:spPr bwMode="auto">
          <a:xfrm>
            <a:off x="6739438" y="3838307"/>
            <a:ext cx="1126221" cy="72990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nvGrpSpPr>
          <p:cNvPr id="65" name="Group 64"/>
          <p:cNvGrpSpPr/>
          <p:nvPr/>
        </p:nvGrpSpPr>
        <p:grpSpPr bwMode="black">
          <a:xfrm>
            <a:off x="3607715" y="3814419"/>
            <a:ext cx="677908" cy="762799"/>
            <a:chOff x="1752600" y="4267200"/>
            <a:chExt cx="1157286" cy="1302545"/>
          </a:xfrm>
        </p:grpSpPr>
        <p:sp>
          <p:nvSpPr>
            <p:cNvPr id="66"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67"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68"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69"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70"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71"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sp>
          <p:nvSpPr>
            <p:cNvPr id="72"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a:solidFill>
                  <a:srgbClr val="000000"/>
                </a:solidFill>
              </a:endParaRPr>
            </a:p>
          </p:txBody>
        </p:sp>
      </p:grpSp>
      <p:sp>
        <p:nvSpPr>
          <p:cNvPr id="28" name="TextBox 27"/>
          <p:cNvSpPr txBox="1"/>
          <p:nvPr/>
        </p:nvSpPr>
        <p:spPr>
          <a:xfrm>
            <a:off x="269239" y="4980662"/>
            <a:ext cx="8067824" cy="301727"/>
          </a:xfrm>
          <a:prstGeom prst="rect">
            <a:avLst/>
          </a:prstGeom>
          <a:noFill/>
        </p:spPr>
        <p:txBody>
          <a:bodyPr wrap="square" lIns="0" tIns="0" rIns="0" bIns="0" rtlCol="0" anchor="ctr">
            <a:spAutoFit/>
          </a:bodyPr>
          <a:lstStyle/>
          <a:p>
            <a:pPr defTabSz="914367"/>
            <a:r>
              <a:rPr lang="en-US" sz="1961" dirty="0">
                <a:solidFill>
                  <a:srgbClr val="000000"/>
                </a:solidFill>
                <a:latin typeface="Segoe UI Light"/>
              </a:rPr>
              <a:t>Microsoft Azure        Windows Server        Microsoft System Center        </a:t>
            </a:r>
          </a:p>
        </p:txBody>
      </p:sp>
      <p:pic>
        <p:nvPicPr>
          <p:cNvPr id="3" name="Picture 2" descr="secur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351030" y="4203258"/>
            <a:ext cx="5853058" cy="2671195"/>
          </a:xfrm>
          <a:prstGeom prst="rect">
            <a:avLst/>
          </a:prstGeom>
        </p:spPr>
      </p:pic>
    </p:spTree>
    <p:extLst>
      <p:ext uri="{BB962C8B-B14F-4D97-AF65-F5344CB8AC3E}">
        <p14:creationId xmlns:p14="http://schemas.microsoft.com/office/powerpoint/2010/main" val="3583712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ale.png"/>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2788673" y="4364328"/>
            <a:ext cx="6594218" cy="1305735"/>
          </a:xfrm>
          <a:prstGeom prst="rect">
            <a:avLst/>
          </a:prstGeom>
        </p:spPr>
      </p:pic>
      <p:sp>
        <p:nvSpPr>
          <p:cNvPr id="2" name="Title 1"/>
          <p:cNvSpPr>
            <a:spLocks noGrp="1"/>
          </p:cNvSpPr>
          <p:nvPr>
            <p:ph type="title"/>
          </p:nvPr>
        </p:nvSpPr>
        <p:spPr>
          <a:xfrm>
            <a:off x="269241" y="302046"/>
            <a:ext cx="11655840" cy="899537"/>
          </a:xfrm>
        </p:spPr>
        <p:txBody>
          <a:bodyPr/>
          <a:lstStyle/>
          <a:p>
            <a:r>
              <a:rPr lang="en-US" dirty="0" smtClean="0"/>
              <a:t>Build and operate</a:t>
            </a:r>
            <a:endParaRPr lang="en-US" dirty="0"/>
          </a:p>
        </p:txBody>
      </p:sp>
      <p:grpSp>
        <p:nvGrpSpPr>
          <p:cNvPr id="8" name="Group 7"/>
          <p:cNvGrpSpPr/>
          <p:nvPr/>
        </p:nvGrpSpPr>
        <p:grpSpPr>
          <a:xfrm>
            <a:off x="46211" y="1733178"/>
            <a:ext cx="11713140" cy="2666949"/>
            <a:chOff x="47137" y="1767435"/>
            <a:chExt cx="11948013" cy="2720427"/>
          </a:xfrm>
        </p:grpSpPr>
        <p:sp>
          <p:nvSpPr>
            <p:cNvPr id="11" name="Rectangle 10"/>
            <p:cNvSpPr/>
            <p:nvPr/>
          </p:nvSpPr>
          <p:spPr bwMode="auto">
            <a:xfrm>
              <a:off x="456248" y="4312833"/>
              <a:ext cx="11538902" cy="175029"/>
            </a:xfrm>
            <a:prstGeom prst="rect">
              <a:avLst/>
            </a:prstGeom>
            <a:solidFill>
              <a:srgbClr val="C8C8C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AutoShape 3"/>
            <p:cNvSpPr>
              <a:spLocks noChangeAspect="1" noChangeArrowheads="1" noTextEdit="1"/>
            </p:cNvSpPr>
            <p:nvPr/>
          </p:nvSpPr>
          <p:spPr bwMode="auto">
            <a:xfrm>
              <a:off x="47137" y="1767435"/>
              <a:ext cx="5672138" cy="25987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39" name="Group 205"/>
            <p:cNvGrpSpPr>
              <a:grpSpLocks/>
            </p:cNvGrpSpPr>
            <p:nvPr/>
          </p:nvGrpSpPr>
          <p:grpSpPr bwMode="auto">
            <a:xfrm>
              <a:off x="1200150" y="1888334"/>
              <a:ext cx="3646488" cy="2424559"/>
              <a:chOff x="902" y="1706"/>
              <a:chExt cx="2456" cy="1633"/>
            </a:xfrm>
          </p:grpSpPr>
          <p:sp>
            <p:nvSpPr>
              <p:cNvPr id="102" name="Rectangle 8"/>
              <p:cNvSpPr>
                <a:spLocks noChangeArrowheads="1"/>
              </p:cNvSpPr>
              <p:nvPr/>
            </p:nvSpPr>
            <p:spPr bwMode="auto">
              <a:xfrm>
                <a:off x="1691" y="2040"/>
                <a:ext cx="461" cy="12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3" name="Rectangle 9"/>
              <p:cNvSpPr>
                <a:spLocks noChangeArrowheads="1"/>
              </p:cNvSpPr>
              <p:nvPr/>
            </p:nvSpPr>
            <p:spPr bwMode="auto">
              <a:xfrm>
                <a:off x="902" y="2231"/>
                <a:ext cx="961" cy="1108"/>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4" name="Rectangle 10"/>
              <p:cNvSpPr>
                <a:spLocks noChangeArrowheads="1"/>
              </p:cNvSpPr>
              <p:nvPr/>
            </p:nvSpPr>
            <p:spPr bwMode="auto">
              <a:xfrm>
                <a:off x="902" y="2231"/>
                <a:ext cx="961" cy="11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5" name="Rectangle 11"/>
              <p:cNvSpPr>
                <a:spLocks noChangeArrowheads="1"/>
              </p:cNvSpPr>
              <p:nvPr/>
            </p:nvSpPr>
            <p:spPr bwMode="auto">
              <a:xfrm>
                <a:off x="974" y="2366"/>
                <a:ext cx="815" cy="836"/>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6" name="Rectangle 12"/>
              <p:cNvSpPr>
                <a:spLocks noChangeArrowheads="1"/>
              </p:cNvSpPr>
              <p:nvPr/>
            </p:nvSpPr>
            <p:spPr bwMode="auto">
              <a:xfrm>
                <a:off x="974" y="2366"/>
                <a:ext cx="815" cy="8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7" name="Rectangle 13"/>
              <p:cNvSpPr>
                <a:spLocks noChangeArrowheads="1"/>
              </p:cNvSpPr>
              <p:nvPr/>
            </p:nvSpPr>
            <p:spPr bwMode="auto">
              <a:xfrm>
                <a:off x="1013" y="2407"/>
                <a:ext cx="739"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8" name="Rectangle 14"/>
              <p:cNvSpPr>
                <a:spLocks noChangeArrowheads="1"/>
              </p:cNvSpPr>
              <p:nvPr/>
            </p:nvSpPr>
            <p:spPr bwMode="auto">
              <a:xfrm>
                <a:off x="1013" y="2407"/>
                <a:ext cx="739" cy="1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9" name="Rectangle 15"/>
              <p:cNvSpPr>
                <a:spLocks noChangeArrowheads="1"/>
              </p:cNvSpPr>
              <p:nvPr/>
            </p:nvSpPr>
            <p:spPr bwMode="auto">
              <a:xfrm>
                <a:off x="1033" y="243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0" name="Rectangle 16"/>
              <p:cNvSpPr>
                <a:spLocks noChangeArrowheads="1"/>
              </p:cNvSpPr>
              <p:nvPr/>
            </p:nvSpPr>
            <p:spPr bwMode="auto">
              <a:xfrm>
                <a:off x="1065" y="243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1" name="Rectangle 17"/>
              <p:cNvSpPr>
                <a:spLocks noChangeArrowheads="1"/>
              </p:cNvSpPr>
              <p:nvPr/>
            </p:nvSpPr>
            <p:spPr bwMode="auto">
              <a:xfrm>
                <a:off x="1097" y="243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2" name="Rectangle 18"/>
              <p:cNvSpPr>
                <a:spLocks noChangeArrowheads="1"/>
              </p:cNvSpPr>
              <p:nvPr/>
            </p:nvSpPr>
            <p:spPr bwMode="auto">
              <a:xfrm>
                <a:off x="1128" y="243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3" name="Rectangle 19"/>
              <p:cNvSpPr>
                <a:spLocks noChangeArrowheads="1"/>
              </p:cNvSpPr>
              <p:nvPr/>
            </p:nvSpPr>
            <p:spPr bwMode="auto">
              <a:xfrm>
                <a:off x="1160" y="243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4" name="Rectangle 20"/>
              <p:cNvSpPr>
                <a:spLocks noChangeArrowheads="1"/>
              </p:cNvSpPr>
              <p:nvPr/>
            </p:nvSpPr>
            <p:spPr bwMode="auto">
              <a:xfrm>
                <a:off x="1192" y="243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5" name="Oval 21"/>
              <p:cNvSpPr>
                <a:spLocks noChangeArrowheads="1"/>
              </p:cNvSpPr>
              <p:nvPr/>
            </p:nvSpPr>
            <p:spPr bwMode="auto">
              <a:xfrm>
                <a:off x="1668" y="2461"/>
                <a:ext cx="37" cy="36"/>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6" name="Rectangle 22"/>
              <p:cNvSpPr>
                <a:spLocks noChangeArrowheads="1"/>
              </p:cNvSpPr>
              <p:nvPr/>
            </p:nvSpPr>
            <p:spPr bwMode="auto">
              <a:xfrm>
                <a:off x="1013" y="2591"/>
                <a:ext cx="739"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7" name="Rectangle 23"/>
              <p:cNvSpPr>
                <a:spLocks noChangeArrowheads="1"/>
              </p:cNvSpPr>
              <p:nvPr/>
            </p:nvSpPr>
            <p:spPr bwMode="auto">
              <a:xfrm>
                <a:off x="1013" y="2591"/>
                <a:ext cx="739" cy="1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8" name="Rectangle 24"/>
              <p:cNvSpPr>
                <a:spLocks noChangeArrowheads="1"/>
              </p:cNvSpPr>
              <p:nvPr/>
            </p:nvSpPr>
            <p:spPr bwMode="auto">
              <a:xfrm>
                <a:off x="1033" y="261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9" name="Rectangle 25"/>
              <p:cNvSpPr>
                <a:spLocks noChangeArrowheads="1"/>
              </p:cNvSpPr>
              <p:nvPr/>
            </p:nvSpPr>
            <p:spPr bwMode="auto">
              <a:xfrm>
                <a:off x="1065" y="261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0" name="Rectangle 26"/>
              <p:cNvSpPr>
                <a:spLocks noChangeArrowheads="1"/>
              </p:cNvSpPr>
              <p:nvPr/>
            </p:nvSpPr>
            <p:spPr bwMode="auto">
              <a:xfrm>
                <a:off x="1097" y="261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1" name="Rectangle 27"/>
              <p:cNvSpPr>
                <a:spLocks noChangeArrowheads="1"/>
              </p:cNvSpPr>
              <p:nvPr/>
            </p:nvSpPr>
            <p:spPr bwMode="auto">
              <a:xfrm>
                <a:off x="1128" y="261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2" name="Rectangle 28"/>
              <p:cNvSpPr>
                <a:spLocks noChangeArrowheads="1"/>
              </p:cNvSpPr>
              <p:nvPr/>
            </p:nvSpPr>
            <p:spPr bwMode="auto">
              <a:xfrm>
                <a:off x="1160" y="261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3" name="Rectangle 29"/>
              <p:cNvSpPr>
                <a:spLocks noChangeArrowheads="1"/>
              </p:cNvSpPr>
              <p:nvPr/>
            </p:nvSpPr>
            <p:spPr bwMode="auto">
              <a:xfrm>
                <a:off x="1192" y="261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4" name="Oval 30"/>
              <p:cNvSpPr>
                <a:spLocks noChangeArrowheads="1"/>
              </p:cNvSpPr>
              <p:nvPr/>
            </p:nvSpPr>
            <p:spPr bwMode="auto">
              <a:xfrm>
                <a:off x="1668" y="2645"/>
                <a:ext cx="37" cy="37"/>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5" name="Rectangle 31"/>
              <p:cNvSpPr>
                <a:spLocks noChangeArrowheads="1"/>
              </p:cNvSpPr>
              <p:nvPr/>
            </p:nvSpPr>
            <p:spPr bwMode="auto">
              <a:xfrm>
                <a:off x="1013" y="2775"/>
                <a:ext cx="739"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6" name="Rectangle 32"/>
              <p:cNvSpPr>
                <a:spLocks noChangeArrowheads="1"/>
              </p:cNvSpPr>
              <p:nvPr/>
            </p:nvSpPr>
            <p:spPr bwMode="auto">
              <a:xfrm>
                <a:off x="1013" y="2775"/>
                <a:ext cx="739" cy="1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7" name="Rectangle 33"/>
              <p:cNvSpPr>
                <a:spLocks noChangeArrowheads="1"/>
              </p:cNvSpPr>
              <p:nvPr/>
            </p:nvSpPr>
            <p:spPr bwMode="auto">
              <a:xfrm>
                <a:off x="1033" y="2800"/>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8" name="Rectangle 34"/>
              <p:cNvSpPr>
                <a:spLocks noChangeArrowheads="1"/>
              </p:cNvSpPr>
              <p:nvPr/>
            </p:nvSpPr>
            <p:spPr bwMode="auto">
              <a:xfrm>
                <a:off x="1065" y="2800"/>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9" name="Rectangle 35"/>
              <p:cNvSpPr>
                <a:spLocks noChangeArrowheads="1"/>
              </p:cNvSpPr>
              <p:nvPr/>
            </p:nvSpPr>
            <p:spPr bwMode="auto">
              <a:xfrm>
                <a:off x="1097" y="2800"/>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0" name="Rectangle 36"/>
              <p:cNvSpPr>
                <a:spLocks noChangeArrowheads="1"/>
              </p:cNvSpPr>
              <p:nvPr/>
            </p:nvSpPr>
            <p:spPr bwMode="auto">
              <a:xfrm>
                <a:off x="1128" y="2800"/>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1" name="Rectangle 37"/>
              <p:cNvSpPr>
                <a:spLocks noChangeArrowheads="1"/>
              </p:cNvSpPr>
              <p:nvPr/>
            </p:nvSpPr>
            <p:spPr bwMode="auto">
              <a:xfrm>
                <a:off x="1160" y="2800"/>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2" name="Rectangle 38"/>
              <p:cNvSpPr>
                <a:spLocks noChangeArrowheads="1"/>
              </p:cNvSpPr>
              <p:nvPr/>
            </p:nvSpPr>
            <p:spPr bwMode="auto">
              <a:xfrm>
                <a:off x="1192" y="2800"/>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3" name="Oval 39"/>
              <p:cNvSpPr>
                <a:spLocks noChangeArrowheads="1"/>
              </p:cNvSpPr>
              <p:nvPr/>
            </p:nvSpPr>
            <p:spPr bwMode="auto">
              <a:xfrm>
                <a:off x="1668" y="2829"/>
                <a:ext cx="37" cy="37"/>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4" name="Rectangle 40"/>
              <p:cNvSpPr>
                <a:spLocks noChangeArrowheads="1"/>
              </p:cNvSpPr>
              <p:nvPr/>
            </p:nvSpPr>
            <p:spPr bwMode="auto">
              <a:xfrm>
                <a:off x="1013" y="2959"/>
                <a:ext cx="739" cy="14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5" name="Rectangle 41"/>
              <p:cNvSpPr>
                <a:spLocks noChangeArrowheads="1"/>
              </p:cNvSpPr>
              <p:nvPr/>
            </p:nvSpPr>
            <p:spPr bwMode="auto">
              <a:xfrm>
                <a:off x="1013" y="2959"/>
                <a:ext cx="739" cy="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6" name="Rectangle 42"/>
              <p:cNvSpPr>
                <a:spLocks noChangeArrowheads="1"/>
              </p:cNvSpPr>
              <p:nvPr/>
            </p:nvSpPr>
            <p:spPr bwMode="auto">
              <a:xfrm>
                <a:off x="1033" y="298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7" name="Rectangle 43"/>
              <p:cNvSpPr>
                <a:spLocks noChangeArrowheads="1"/>
              </p:cNvSpPr>
              <p:nvPr/>
            </p:nvSpPr>
            <p:spPr bwMode="auto">
              <a:xfrm>
                <a:off x="1065" y="298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8" name="Rectangle 44"/>
              <p:cNvSpPr>
                <a:spLocks noChangeArrowheads="1"/>
              </p:cNvSpPr>
              <p:nvPr/>
            </p:nvSpPr>
            <p:spPr bwMode="auto">
              <a:xfrm>
                <a:off x="1097" y="298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9" name="Rectangle 45"/>
              <p:cNvSpPr>
                <a:spLocks noChangeArrowheads="1"/>
              </p:cNvSpPr>
              <p:nvPr/>
            </p:nvSpPr>
            <p:spPr bwMode="auto">
              <a:xfrm>
                <a:off x="1128" y="298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0" name="Rectangle 46"/>
              <p:cNvSpPr>
                <a:spLocks noChangeArrowheads="1"/>
              </p:cNvSpPr>
              <p:nvPr/>
            </p:nvSpPr>
            <p:spPr bwMode="auto">
              <a:xfrm>
                <a:off x="1160" y="298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1" name="Rectangle 47"/>
              <p:cNvSpPr>
                <a:spLocks noChangeArrowheads="1"/>
              </p:cNvSpPr>
              <p:nvPr/>
            </p:nvSpPr>
            <p:spPr bwMode="auto">
              <a:xfrm>
                <a:off x="1192" y="298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2" name="Oval 48"/>
              <p:cNvSpPr>
                <a:spLocks noChangeArrowheads="1"/>
              </p:cNvSpPr>
              <p:nvPr/>
            </p:nvSpPr>
            <p:spPr bwMode="auto">
              <a:xfrm>
                <a:off x="1668" y="3014"/>
                <a:ext cx="37" cy="36"/>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3" name="Rectangle 49"/>
              <p:cNvSpPr>
                <a:spLocks noChangeArrowheads="1"/>
              </p:cNvSpPr>
              <p:nvPr/>
            </p:nvSpPr>
            <p:spPr bwMode="auto">
              <a:xfrm>
                <a:off x="2750" y="2477"/>
                <a:ext cx="608" cy="862"/>
              </a:xfrm>
              <a:prstGeom prst="rect">
                <a:avLst/>
              </a:prstGeom>
              <a:solidFill>
                <a:srgbClr val="44235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4" name="Rectangle 50"/>
              <p:cNvSpPr>
                <a:spLocks noChangeArrowheads="1"/>
              </p:cNvSpPr>
              <p:nvPr/>
            </p:nvSpPr>
            <p:spPr bwMode="auto">
              <a:xfrm>
                <a:off x="2825" y="2557"/>
                <a:ext cx="461" cy="64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5" name="Rectangle 51"/>
              <p:cNvSpPr>
                <a:spLocks noChangeArrowheads="1"/>
              </p:cNvSpPr>
              <p:nvPr/>
            </p:nvSpPr>
            <p:spPr bwMode="auto">
              <a:xfrm>
                <a:off x="2862" y="2598"/>
                <a:ext cx="388"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6" name="Rectangle 52"/>
              <p:cNvSpPr>
                <a:spLocks noChangeArrowheads="1"/>
              </p:cNvSpPr>
              <p:nvPr/>
            </p:nvSpPr>
            <p:spPr bwMode="auto">
              <a:xfrm>
                <a:off x="2882" y="262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7" name="Rectangle 53"/>
              <p:cNvSpPr>
                <a:spLocks noChangeArrowheads="1"/>
              </p:cNvSpPr>
              <p:nvPr/>
            </p:nvSpPr>
            <p:spPr bwMode="auto">
              <a:xfrm>
                <a:off x="2914" y="262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8" name="Rectangle 54"/>
              <p:cNvSpPr>
                <a:spLocks noChangeArrowheads="1"/>
              </p:cNvSpPr>
              <p:nvPr/>
            </p:nvSpPr>
            <p:spPr bwMode="auto">
              <a:xfrm>
                <a:off x="2946" y="2623"/>
                <a:ext cx="18"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9" name="Rectangle 55"/>
              <p:cNvSpPr>
                <a:spLocks noChangeArrowheads="1"/>
              </p:cNvSpPr>
              <p:nvPr/>
            </p:nvSpPr>
            <p:spPr bwMode="auto">
              <a:xfrm>
                <a:off x="2980" y="2623"/>
                <a:ext cx="15"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0" name="Rectangle 56"/>
              <p:cNvSpPr>
                <a:spLocks noChangeArrowheads="1"/>
              </p:cNvSpPr>
              <p:nvPr/>
            </p:nvSpPr>
            <p:spPr bwMode="auto">
              <a:xfrm>
                <a:off x="3011" y="262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1" name="Rectangle 57"/>
              <p:cNvSpPr>
                <a:spLocks noChangeArrowheads="1"/>
              </p:cNvSpPr>
              <p:nvPr/>
            </p:nvSpPr>
            <p:spPr bwMode="auto">
              <a:xfrm>
                <a:off x="3043" y="262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2" name="Oval 58"/>
              <p:cNvSpPr>
                <a:spLocks noChangeArrowheads="1"/>
              </p:cNvSpPr>
              <p:nvPr/>
            </p:nvSpPr>
            <p:spPr bwMode="auto">
              <a:xfrm>
                <a:off x="3163" y="2652"/>
                <a:ext cx="37" cy="36"/>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3" name="Rectangle 59"/>
              <p:cNvSpPr>
                <a:spLocks noChangeArrowheads="1"/>
              </p:cNvSpPr>
              <p:nvPr/>
            </p:nvSpPr>
            <p:spPr bwMode="auto">
              <a:xfrm>
                <a:off x="2862" y="2782"/>
                <a:ext cx="388"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4" name="Rectangle 60"/>
              <p:cNvSpPr>
                <a:spLocks noChangeArrowheads="1"/>
              </p:cNvSpPr>
              <p:nvPr/>
            </p:nvSpPr>
            <p:spPr bwMode="auto">
              <a:xfrm>
                <a:off x="2882" y="280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5" name="Rectangle 61"/>
              <p:cNvSpPr>
                <a:spLocks noChangeArrowheads="1"/>
              </p:cNvSpPr>
              <p:nvPr/>
            </p:nvSpPr>
            <p:spPr bwMode="auto">
              <a:xfrm>
                <a:off x="2914" y="280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6" name="Rectangle 62"/>
              <p:cNvSpPr>
                <a:spLocks noChangeArrowheads="1"/>
              </p:cNvSpPr>
              <p:nvPr/>
            </p:nvSpPr>
            <p:spPr bwMode="auto">
              <a:xfrm>
                <a:off x="2946" y="2807"/>
                <a:ext cx="18"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7" name="Rectangle 63"/>
              <p:cNvSpPr>
                <a:spLocks noChangeArrowheads="1"/>
              </p:cNvSpPr>
              <p:nvPr/>
            </p:nvSpPr>
            <p:spPr bwMode="auto">
              <a:xfrm>
                <a:off x="2980" y="2807"/>
                <a:ext cx="15"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8" name="Rectangle 64"/>
              <p:cNvSpPr>
                <a:spLocks noChangeArrowheads="1"/>
              </p:cNvSpPr>
              <p:nvPr/>
            </p:nvSpPr>
            <p:spPr bwMode="auto">
              <a:xfrm>
                <a:off x="3011" y="280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9" name="Rectangle 65"/>
              <p:cNvSpPr>
                <a:spLocks noChangeArrowheads="1"/>
              </p:cNvSpPr>
              <p:nvPr/>
            </p:nvSpPr>
            <p:spPr bwMode="auto">
              <a:xfrm>
                <a:off x="3043" y="280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0" name="Oval 66"/>
              <p:cNvSpPr>
                <a:spLocks noChangeArrowheads="1"/>
              </p:cNvSpPr>
              <p:nvPr/>
            </p:nvSpPr>
            <p:spPr bwMode="auto">
              <a:xfrm>
                <a:off x="3163" y="2836"/>
                <a:ext cx="37" cy="37"/>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1" name="Rectangle 67"/>
              <p:cNvSpPr>
                <a:spLocks noChangeArrowheads="1"/>
              </p:cNvSpPr>
              <p:nvPr/>
            </p:nvSpPr>
            <p:spPr bwMode="auto">
              <a:xfrm>
                <a:off x="2862" y="2966"/>
                <a:ext cx="388"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2" name="Rectangle 68"/>
              <p:cNvSpPr>
                <a:spLocks noChangeArrowheads="1"/>
              </p:cNvSpPr>
              <p:nvPr/>
            </p:nvSpPr>
            <p:spPr bwMode="auto">
              <a:xfrm>
                <a:off x="2882" y="2991"/>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3" name="Rectangle 69"/>
              <p:cNvSpPr>
                <a:spLocks noChangeArrowheads="1"/>
              </p:cNvSpPr>
              <p:nvPr/>
            </p:nvSpPr>
            <p:spPr bwMode="auto">
              <a:xfrm>
                <a:off x="2914" y="2991"/>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4" name="Rectangle 70"/>
              <p:cNvSpPr>
                <a:spLocks noChangeArrowheads="1"/>
              </p:cNvSpPr>
              <p:nvPr/>
            </p:nvSpPr>
            <p:spPr bwMode="auto">
              <a:xfrm>
                <a:off x="2946" y="2991"/>
                <a:ext cx="18"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5" name="Rectangle 71"/>
              <p:cNvSpPr>
                <a:spLocks noChangeArrowheads="1"/>
              </p:cNvSpPr>
              <p:nvPr/>
            </p:nvSpPr>
            <p:spPr bwMode="auto">
              <a:xfrm>
                <a:off x="2980" y="2991"/>
                <a:ext cx="15"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6" name="Rectangle 72"/>
              <p:cNvSpPr>
                <a:spLocks noChangeArrowheads="1"/>
              </p:cNvSpPr>
              <p:nvPr/>
            </p:nvSpPr>
            <p:spPr bwMode="auto">
              <a:xfrm>
                <a:off x="3011" y="2991"/>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7" name="Rectangle 73"/>
              <p:cNvSpPr>
                <a:spLocks noChangeArrowheads="1"/>
              </p:cNvSpPr>
              <p:nvPr/>
            </p:nvSpPr>
            <p:spPr bwMode="auto">
              <a:xfrm>
                <a:off x="3043" y="2991"/>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8" name="Oval 74"/>
              <p:cNvSpPr>
                <a:spLocks noChangeArrowheads="1"/>
              </p:cNvSpPr>
              <p:nvPr/>
            </p:nvSpPr>
            <p:spPr bwMode="auto">
              <a:xfrm>
                <a:off x="3163" y="3020"/>
                <a:ext cx="37" cy="37"/>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9" name="Rectangle 75"/>
              <p:cNvSpPr>
                <a:spLocks noChangeArrowheads="1"/>
              </p:cNvSpPr>
              <p:nvPr/>
            </p:nvSpPr>
            <p:spPr bwMode="auto">
              <a:xfrm>
                <a:off x="1920" y="1706"/>
                <a:ext cx="783" cy="1633"/>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0" name="Rectangle 76"/>
              <p:cNvSpPr>
                <a:spLocks noChangeArrowheads="1"/>
              </p:cNvSpPr>
              <p:nvPr/>
            </p:nvSpPr>
            <p:spPr bwMode="auto">
              <a:xfrm>
                <a:off x="1920" y="1706"/>
                <a:ext cx="783" cy="16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1" name="Rectangle 77"/>
              <p:cNvSpPr>
                <a:spLocks noChangeArrowheads="1"/>
              </p:cNvSpPr>
              <p:nvPr/>
            </p:nvSpPr>
            <p:spPr bwMode="auto">
              <a:xfrm>
                <a:off x="1995" y="1786"/>
                <a:ext cx="633" cy="1416"/>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2" name="Rectangle 78"/>
              <p:cNvSpPr>
                <a:spLocks noChangeArrowheads="1"/>
              </p:cNvSpPr>
              <p:nvPr/>
            </p:nvSpPr>
            <p:spPr bwMode="auto">
              <a:xfrm>
                <a:off x="1995" y="1786"/>
                <a:ext cx="633" cy="14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3" name="Rectangle 79"/>
              <p:cNvSpPr>
                <a:spLocks noChangeArrowheads="1"/>
              </p:cNvSpPr>
              <p:nvPr/>
            </p:nvSpPr>
            <p:spPr bwMode="auto">
              <a:xfrm>
                <a:off x="2031" y="1827"/>
                <a:ext cx="561"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4" name="Rectangle 80"/>
              <p:cNvSpPr>
                <a:spLocks noChangeArrowheads="1"/>
              </p:cNvSpPr>
              <p:nvPr/>
            </p:nvSpPr>
            <p:spPr bwMode="auto">
              <a:xfrm>
                <a:off x="2054" y="185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5" name="Rectangle 81"/>
              <p:cNvSpPr>
                <a:spLocks noChangeArrowheads="1"/>
              </p:cNvSpPr>
              <p:nvPr/>
            </p:nvSpPr>
            <p:spPr bwMode="auto">
              <a:xfrm>
                <a:off x="2086" y="185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6" name="Rectangle 82"/>
              <p:cNvSpPr>
                <a:spLocks noChangeArrowheads="1"/>
              </p:cNvSpPr>
              <p:nvPr/>
            </p:nvSpPr>
            <p:spPr bwMode="auto">
              <a:xfrm>
                <a:off x="2118" y="1852"/>
                <a:ext cx="15"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7" name="Rectangle 83"/>
              <p:cNvSpPr>
                <a:spLocks noChangeArrowheads="1"/>
              </p:cNvSpPr>
              <p:nvPr/>
            </p:nvSpPr>
            <p:spPr bwMode="auto">
              <a:xfrm>
                <a:off x="2149" y="185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8" name="Rectangle 84"/>
              <p:cNvSpPr>
                <a:spLocks noChangeArrowheads="1"/>
              </p:cNvSpPr>
              <p:nvPr/>
            </p:nvSpPr>
            <p:spPr bwMode="auto">
              <a:xfrm>
                <a:off x="2181" y="185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9" name="Rectangle 85"/>
              <p:cNvSpPr>
                <a:spLocks noChangeArrowheads="1"/>
              </p:cNvSpPr>
              <p:nvPr/>
            </p:nvSpPr>
            <p:spPr bwMode="auto">
              <a:xfrm>
                <a:off x="2213" y="1852"/>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0" name="Oval 86"/>
              <p:cNvSpPr>
                <a:spLocks noChangeArrowheads="1"/>
              </p:cNvSpPr>
              <p:nvPr/>
            </p:nvSpPr>
            <p:spPr bwMode="auto">
              <a:xfrm>
                <a:off x="2505" y="1881"/>
                <a:ext cx="37" cy="37"/>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1" name="Rectangle 87"/>
              <p:cNvSpPr>
                <a:spLocks noChangeArrowheads="1"/>
              </p:cNvSpPr>
              <p:nvPr/>
            </p:nvSpPr>
            <p:spPr bwMode="auto">
              <a:xfrm>
                <a:off x="2031" y="2011"/>
                <a:ext cx="561"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2" name="Rectangle 88"/>
              <p:cNvSpPr>
                <a:spLocks noChangeArrowheads="1"/>
              </p:cNvSpPr>
              <p:nvPr/>
            </p:nvSpPr>
            <p:spPr bwMode="auto">
              <a:xfrm>
                <a:off x="2054" y="203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3" name="Rectangle 89"/>
              <p:cNvSpPr>
                <a:spLocks noChangeArrowheads="1"/>
              </p:cNvSpPr>
              <p:nvPr/>
            </p:nvSpPr>
            <p:spPr bwMode="auto">
              <a:xfrm>
                <a:off x="2086" y="203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4" name="Rectangle 90"/>
              <p:cNvSpPr>
                <a:spLocks noChangeArrowheads="1"/>
              </p:cNvSpPr>
              <p:nvPr/>
            </p:nvSpPr>
            <p:spPr bwMode="auto">
              <a:xfrm>
                <a:off x="2118" y="2036"/>
                <a:ext cx="15"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5" name="Rectangle 91"/>
              <p:cNvSpPr>
                <a:spLocks noChangeArrowheads="1"/>
              </p:cNvSpPr>
              <p:nvPr/>
            </p:nvSpPr>
            <p:spPr bwMode="auto">
              <a:xfrm>
                <a:off x="2149" y="203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6" name="Rectangle 92"/>
              <p:cNvSpPr>
                <a:spLocks noChangeArrowheads="1"/>
              </p:cNvSpPr>
              <p:nvPr/>
            </p:nvSpPr>
            <p:spPr bwMode="auto">
              <a:xfrm>
                <a:off x="2181" y="203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7" name="Rectangle 93"/>
              <p:cNvSpPr>
                <a:spLocks noChangeArrowheads="1"/>
              </p:cNvSpPr>
              <p:nvPr/>
            </p:nvSpPr>
            <p:spPr bwMode="auto">
              <a:xfrm>
                <a:off x="2213" y="2036"/>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8" name="Oval 94"/>
              <p:cNvSpPr>
                <a:spLocks noChangeArrowheads="1"/>
              </p:cNvSpPr>
              <p:nvPr/>
            </p:nvSpPr>
            <p:spPr bwMode="auto">
              <a:xfrm>
                <a:off x="2505" y="2065"/>
                <a:ext cx="37" cy="37"/>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9" name="Rectangle 95"/>
              <p:cNvSpPr>
                <a:spLocks noChangeArrowheads="1"/>
              </p:cNvSpPr>
              <p:nvPr/>
            </p:nvSpPr>
            <p:spPr bwMode="auto">
              <a:xfrm>
                <a:off x="2031" y="2195"/>
                <a:ext cx="561" cy="14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0" name="Rectangle 96"/>
              <p:cNvSpPr>
                <a:spLocks noChangeArrowheads="1"/>
              </p:cNvSpPr>
              <p:nvPr/>
            </p:nvSpPr>
            <p:spPr bwMode="auto">
              <a:xfrm>
                <a:off x="2031" y="2195"/>
                <a:ext cx="561" cy="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1" name="Rectangle 97"/>
              <p:cNvSpPr>
                <a:spLocks noChangeArrowheads="1"/>
              </p:cNvSpPr>
              <p:nvPr/>
            </p:nvSpPr>
            <p:spPr bwMode="auto">
              <a:xfrm>
                <a:off x="2054" y="2220"/>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2" name="Rectangle 98"/>
              <p:cNvSpPr>
                <a:spLocks noChangeArrowheads="1"/>
              </p:cNvSpPr>
              <p:nvPr/>
            </p:nvSpPr>
            <p:spPr bwMode="auto">
              <a:xfrm>
                <a:off x="2054" y="2220"/>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3" name="Rectangle 99"/>
              <p:cNvSpPr>
                <a:spLocks noChangeArrowheads="1"/>
              </p:cNvSpPr>
              <p:nvPr/>
            </p:nvSpPr>
            <p:spPr bwMode="auto">
              <a:xfrm>
                <a:off x="2086" y="2220"/>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4" name="Rectangle 100"/>
              <p:cNvSpPr>
                <a:spLocks noChangeArrowheads="1"/>
              </p:cNvSpPr>
              <p:nvPr/>
            </p:nvSpPr>
            <p:spPr bwMode="auto">
              <a:xfrm>
                <a:off x="2086" y="2220"/>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5" name="Rectangle 101"/>
              <p:cNvSpPr>
                <a:spLocks noChangeArrowheads="1"/>
              </p:cNvSpPr>
              <p:nvPr/>
            </p:nvSpPr>
            <p:spPr bwMode="auto">
              <a:xfrm>
                <a:off x="2118" y="2220"/>
                <a:ext cx="15"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6" name="Rectangle 102"/>
              <p:cNvSpPr>
                <a:spLocks noChangeArrowheads="1"/>
              </p:cNvSpPr>
              <p:nvPr/>
            </p:nvSpPr>
            <p:spPr bwMode="auto">
              <a:xfrm>
                <a:off x="2118" y="2220"/>
                <a:ext cx="15"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7" name="Rectangle 103"/>
              <p:cNvSpPr>
                <a:spLocks noChangeArrowheads="1"/>
              </p:cNvSpPr>
              <p:nvPr/>
            </p:nvSpPr>
            <p:spPr bwMode="auto">
              <a:xfrm>
                <a:off x="2149" y="2220"/>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8" name="Rectangle 104"/>
              <p:cNvSpPr>
                <a:spLocks noChangeArrowheads="1"/>
              </p:cNvSpPr>
              <p:nvPr/>
            </p:nvSpPr>
            <p:spPr bwMode="auto">
              <a:xfrm>
                <a:off x="2149" y="2220"/>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9" name="Rectangle 105"/>
              <p:cNvSpPr>
                <a:spLocks noChangeArrowheads="1"/>
              </p:cNvSpPr>
              <p:nvPr/>
            </p:nvSpPr>
            <p:spPr bwMode="auto">
              <a:xfrm>
                <a:off x="2181" y="2220"/>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0" name="Rectangle 106"/>
              <p:cNvSpPr>
                <a:spLocks noChangeArrowheads="1"/>
              </p:cNvSpPr>
              <p:nvPr/>
            </p:nvSpPr>
            <p:spPr bwMode="auto">
              <a:xfrm>
                <a:off x="2181" y="2220"/>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1" name="Rectangle 107"/>
              <p:cNvSpPr>
                <a:spLocks noChangeArrowheads="1"/>
              </p:cNvSpPr>
              <p:nvPr/>
            </p:nvSpPr>
            <p:spPr bwMode="auto">
              <a:xfrm>
                <a:off x="2213" y="2220"/>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2" name="Rectangle 108"/>
              <p:cNvSpPr>
                <a:spLocks noChangeArrowheads="1"/>
              </p:cNvSpPr>
              <p:nvPr/>
            </p:nvSpPr>
            <p:spPr bwMode="auto">
              <a:xfrm>
                <a:off x="2213" y="2220"/>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3" name="Oval 109"/>
              <p:cNvSpPr>
                <a:spLocks noChangeArrowheads="1"/>
              </p:cNvSpPr>
              <p:nvPr/>
            </p:nvSpPr>
            <p:spPr bwMode="auto">
              <a:xfrm>
                <a:off x="2505" y="2250"/>
                <a:ext cx="37" cy="36"/>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4" name="Rectangle 110"/>
              <p:cNvSpPr>
                <a:spLocks noChangeArrowheads="1"/>
              </p:cNvSpPr>
              <p:nvPr/>
            </p:nvSpPr>
            <p:spPr bwMode="auto">
              <a:xfrm>
                <a:off x="2031" y="2379"/>
                <a:ext cx="561" cy="14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5" name="Rectangle 111"/>
              <p:cNvSpPr>
                <a:spLocks noChangeArrowheads="1"/>
              </p:cNvSpPr>
              <p:nvPr/>
            </p:nvSpPr>
            <p:spPr bwMode="auto">
              <a:xfrm>
                <a:off x="2031" y="2379"/>
                <a:ext cx="561" cy="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6" name="Rectangle 112"/>
              <p:cNvSpPr>
                <a:spLocks noChangeArrowheads="1"/>
              </p:cNvSpPr>
              <p:nvPr/>
            </p:nvSpPr>
            <p:spPr bwMode="auto">
              <a:xfrm>
                <a:off x="2054" y="240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7" name="Rectangle 113"/>
              <p:cNvSpPr>
                <a:spLocks noChangeArrowheads="1"/>
              </p:cNvSpPr>
              <p:nvPr/>
            </p:nvSpPr>
            <p:spPr bwMode="auto">
              <a:xfrm>
                <a:off x="2054" y="2404"/>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8" name="Rectangle 114"/>
              <p:cNvSpPr>
                <a:spLocks noChangeArrowheads="1"/>
              </p:cNvSpPr>
              <p:nvPr/>
            </p:nvSpPr>
            <p:spPr bwMode="auto">
              <a:xfrm>
                <a:off x="2086" y="240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9" name="Rectangle 115"/>
              <p:cNvSpPr>
                <a:spLocks noChangeArrowheads="1"/>
              </p:cNvSpPr>
              <p:nvPr/>
            </p:nvSpPr>
            <p:spPr bwMode="auto">
              <a:xfrm>
                <a:off x="2086" y="2404"/>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0" name="Rectangle 116"/>
              <p:cNvSpPr>
                <a:spLocks noChangeArrowheads="1"/>
              </p:cNvSpPr>
              <p:nvPr/>
            </p:nvSpPr>
            <p:spPr bwMode="auto">
              <a:xfrm>
                <a:off x="2118" y="2404"/>
                <a:ext cx="15"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1" name="Rectangle 117"/>
              <p:cNvSpPr>
                <a:spLocks noChangeArrowheads="1"/>
              </p:cNvSpPr>
              <p:nvPr/>
            </p:nvSpPr>
            <p:spPr bwMode="auto">
              <a:xfrm>
                <a:off x="2118" y="2404"/>
                <a:ext cx="15"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2" name="Rectangle 118"/>
              <p:cNvSpPr>
                <a:spLocks noChangeArrowheads="1"/>
              </p:cNvSpPr>
              <p:nvPr/>
            </p:nvSpPr>
            <p:spPr bwMode="auto">
              <a:xfrm>
                <a:off x="2149" y="240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3" name="Rectangle 119"/>
              <p:cNvSpPr>
                <a:spLocks noChangeArrowheads="1"/>
              </p:cNvSpPr>
              <p:nvPr/>
            </p:nvSpPr>
            <p:spPr bwMode="auto">
              <a:xfrm>
                <a:off x="2149" y="2404"/>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4" name="Rectangle 120"/>
              <p:cNvSpPr>
                <a:spLocks noChangeArrowheads="1"/>
              </p:cNvSpPr>
              <p:nvPr/>
            </p:nvSpPr>
            <p:spPr bwMode="auto">
              <a:xfrm>
                <a:off x="2181" y="240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5" name="Rectangle 121"/>
              <p:cNvSpPr>
                <a:spLocks noChangeArrowheads="1"/>
              </p:cNvSpPr>
              <p:nvPr/>
            </p:nvSpPr>
            <p:spPr bwMode="auto">
              <a:xfrm>
                <a:off x="2181" y="2404"/>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6" name="Rectangle 122"/>
              <p:cNvSpPr>
                <a:spLocks noChangeArrowheads="1"/>
              </p:cNvSpPr>
              <p:nvPr/>
            </p:nvSpPr>
            <p:spPr bwMode="auto">
              <a:xfrm>
                <a:off x="2213" y="2404"/>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7" name="Rectangle 123"/>
              <p:cNvSpPr>
                <a:spLocks noChangeArrowheads="1"/>
              </p:cNvSpPr>
              <p:nvPr/>
            </p:nvSpPr>
            <p:spPr bwMode="auto">
              <a:xfrm>
                <a:off x="2213" y="2404"/>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8" name="Oval 124"/>
              <p:cNvSpPr>
                <a:spLocks noChangeArrowheads="1"/>
              </p:cNvSpPr>
              <p:nvPr/>
            </p:nvSpPr>
            <p:spPr bwMode="auto">
              <a:xfrm>
                <a:off x="2505" y="2434"/>
                <a:ext cx="37" cy="36"/>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9" name="Rectangle 125"/>
              <p:cNvSpPr>
                <a:spLocks noChangeArrowheads="1"/>
              </p:cNvSpPr>
              <p:nvPr/>
            </p:nvSpPr>
            <p:spPr bwMode="auto">
              <a:xfrm>
                <a:off x="2031" y="2563"/>
                <a:ext cx="561" cy="14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0" name="Rectangle 126"/>
              <p:cNvSpPr>
                <a:spLocks noChangeArrowheads="1"/>
              </p:cNvSpPr>
              <p:nvPr/>
            </p:nvSpPr>
            <p:spPr bwMode="auto">
              <a:xfrm>
                <a:off x="2031" y="2563"/>
                <a:ext cx="561" cy="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1" name="Rectangle 127"/>
              <p:cNvSpPr>
                <a:spLocks noChangeArrowheads="1"/>
              </p:cNvSpPr>
              <p:nvPr/>
            </p:nvSpPr>
            <p:spPr bwMode="auto">
              <a:xfrm>
                <a:off x="2054" y="2588"/>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2" name="Rectangle 128"/>
              <p:cNvSpPr>
                <a:spLocks noChangeArrowheads="1"/>
              </p:cNvSpPr>
              <p:nvPr/>
            </p:nvSpPr>
            <p:spPr bwMode="auto">
              <a:xfrm>
                <a:off x="2054" y="2588"/>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3" name="Rectangle 129"/>
              <p:cNvSpPr>
                <a:spLocks noChangeArrowheads="1"/>
              </p:cNvSpPr>
              <p:nvPr/>
            </p:nvSpPr>
            <p:spPr bwMode="auto">
              <a:xfrm>
                <a:off x="2086" y="2588"/>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4" name="Rectangle 130"/>
              <p:cNvSpPr>
                <a:spLocks noChangeArrowheads="1"/>
              </p:cNvSpPr>
              <p:nvPr/>
            </p:nvSpPr>
            <p:spPr bwMode="auto">
              <a:xfrm>
                <a:off x="2086" y="2588"/>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5" name="Rectangle 131"/>
              <p:cNvSpPr>
                <a:spLocks noChangeArrowheads="1"/>
              </p:cNvSpPr>
              <p:nvPr/>
            </p:nvSpPr>
            <p:spPr bwMode="auto">
              <a:xfrm>
                <a:off x="2118" y="2588"/>
                <a:ext cx="15"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6" name="Rectangle 132"/>
              <p:cNvSpPr>
                <a:spLocks noChangeArrowheads="1"/>
              </p:cNvSpPr>
              <p:nvPr/>
            </p:nvSpPr>
            <p:spPr bwMode="auto">
              <a:xfrm>
                <a:off x="2118" y="2588"/>
                <a:ext cx="15"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7" name="Rectangle 133"/>
              <p:cNvSpPr>
                <a:spLocks noChangeArrowheads="1"/>
              </p:cNvSpPr>
              <p:nvPr/>
            </p:nvSpPr>
            <p:spPr bwMode="auto">
              <a:xfrm>
                <a:off x="2149" y="2588"/>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8" name="Rectangle 134"/>
              <p:cNvSpPr>
                <a:spLocks noChangeArrowheads="1"/>
              </p:cNvSpPr>
              <p:nvPr/>
            </p:nvSpPr>
            <p:spPr bwMode="auto">
              <a:xfrm>
                <a:off x="2149" y="2588"/>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9" name="Rectangle 135"/>
              <p:cNvSpPr>
                <a:spLocks noChangeArrowheads="1"/>
              </p:cNvSpPr>
              <p:nvPr/>
            </p:nvSpPr>
            <p:spPr bwMode="auto">
              <a:xfrm>
                <a:off x="2181" y="2588"/>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0" name="Rectangle 136"/>
              <p:cNvSpPr>
                <a:spLocks noChangeArrowheads="1"/>
              </p:cNvSpPr>
              <p:nvPr/>
            </p:nvSpPr>
            <p:spPr bwMode="auto">
              <a:xfrm>
                <a:off x="2181" y="2588"/>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1" name="Rectangle 137"/>
              <p:cNvSpPr>
                <a:spLocks noChangeArrowheads="1"/>
              </p:cNvSpPr>
              <p:nvPr/>
            </p:nvSpPr>
            <p:spPr bwMode="auto">
              <a:xfrm>
                <a:off x="2213" y="2588"/>
                <a:ext cx="16" cy="96"/>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2" name="Rectangle 138"/>
              <p:cNvSpPr>
                <a:spLocks noChangeArrowheads="1"/>
              </p:cNvSpPr>
              <p:nvPr/>
            </p:nvSpPr>
            <p:spPr bwMode="auto">
              <a:xfrm>
                <a:off x="2213" y="2588"/>
                <a:ext cx="16"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3" name="Oval 139"/>
              <p:cNvSpPr>
                <a:spLocks noChangeArrowheads="1"/>
              </p:cNvSpPr>
              <p:nvPr/>
            </p:nvSpPr>
            <p:spPr bwMode="auto">
              <a:xfrm>
                <a:off x="2505" y="2618"/>
                <a:ext cx="37" cy="36"/>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4" name="Rectangle 140"/>
              <p:cNvSpPr>
                <a:spLocks noChangeArrowheads="1"/>
              </p:cNvSpPr>
              <p:nvPr/>
            </p:nvSpPr>
            <p:spPr bwMode="auto">
              <a:xfrm>
                <a:off x="2031" y="2748"/>
                <a:ext cx="561"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5" name="Rectangle 141"/>
              <p:cNvSpPr>
                <a:spLocks noChangeArrowheads="1"/>
              </p:cNvSpPr>
              <p:nvPr/>
            </p:nvSpPr>
            <p:spPr bwMode="auto">
              <a:xfrm>
                <a:off x="2031" y="2748"/>
                <a:ext cx="561" cy="1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6" name="Rectangle 142"/>
              <p:cNvSpPr>
                <a:spLocks noChangeArrowheads="1"/>
              </p:cNvSpPr>
              <p:nvPr/>
            </p:nvSpPr>
            <p:spPr bwMode="auto">
              <a:xfrm>
                <a:off x="2054" y="277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7" name="Rectangle 143"/>
              <p:cNvSpPr>
                <a:spLocks noChangeArrowheads="1"/>
              </p:cNvSpPr>
              <p:nvPr/>
            </p:nvSpPr>
            <p:spPr bwMode="auto">
              <a:xfrm>
                <a:off x="2054" y="2773"/>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8" name="Rectangle 144"/>
              <p:cNvSpPr>
                <a:spLocks noChangeArrowheads="1"/>
              </p:cNvSpPr>
              <p:nvPr/>
            </p:nvSpPr>
            <p:spPr bwMode="auto">
              <a:xfrm>
                <a:off x="2086" y="277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9" name="Rectangle 145"/>
              <p:cNvSpPr>
                <a:spLocks noChangeArrowheads="1"/>
              </p:cNvSpPr>
              <p:nvPr/>
            </p:nvSpPr>
            <p:spPr bwMode="auto">
              <a:xfrm>
                <a:off x="2086" y="2773"/>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0" name="Rectangle 146"/>
              <p:cNvSpPr>
                <a:spLocks noChangeArrowheads="1"/>
              </p:cNvSpPr>
              <p:nvPr/>
            </p:nvSpPr>
            <p:spPr bwMode="auto">
              <a:xfrm>
                <a:off x="2118" y="2773"/>
                <a:ext cx="15"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1" name="Rectangle 147"/>
              <p:cNvSpPr>
                <a:spLocks noChangeArrowheads="1"/>
              </p:cNvSpPr>
              <p:nvPr/>
            </p:nvSpPr>
            <p:spPr bwMode="auto">
              <a:xfrm>
                <a:off x="2118" y="2773"/>
                <a:ext cx="15"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2" name="Rectangle 148"/>
              <p:cNvSpPr>
                <a:spLocks noChangeArrowheads="1"/>
              </p:cNvSpPr>
              <p:nvPr/>
            </p:nvSpPr>
            <p:spPr bwMode="auto">
              <a:xfrm>
                <a:off x="2149" y="277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3" name="Rectangle 149"/>
              <p:cNvSpPr>
                <a:spLocks noChangeArrowheads="1"/>
              </p:cNvSpPr>
              <p:nvPr/>
            </p:nvSpPr>
            <p:spPr bwMode="auto">
              <a:xfrm>
                <a:off x="2149" y="2773"/>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4" name="Rectangle 150"/>
              <p:cNvSpPr>
                <a:spLocks noChangeArrowheads="1"/>
              </p:cNvSpPr>
              <p:nvPr/>
            </p:nvSpPr>
            <p:spPr bwMode="auto">
              <a:xfrm>
                <a:off x="2181" y="277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5" name="Rectangle 151"/>
              <p:cNvSpPr>
                <a:spLocks noChangeArrowheads="1"/>
              </p:cNvSpPr>
              <p:nvPr/>
            </p:nvSpPr>
            <p:spPr bwMode="auto">
              <a:xfrm>
                <a:off x="2181" y="2773"/>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6" name="Rectangle 152"/>
              <p:cNvSpPr>
                <a:spLocks noChangeArrowheads="1"/>
              </p:cNvSpPr>
              <p:nvPr/>
            </p:nvSpPr>
            <p:spPr bwMode="auto">
              <a:xfrm>
                <a:off x="2213" y="2773"/>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7" name="Rectangle 153"/>
              <p:cNvSpPr>
                <a:spLocks noChangeArrowheads="1"/>
              </p:cNvSpPr>
              <p:nvPr/>
            </p:nvSpPr>
            <p:spPr bwMode="auto">
              <a:xfrm>
                <a:off x="2213" y="2773"/>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8" name="Oval 154"/>
              <p:cNvSpPr>
                <a:spLocks noChangeArrowheads="1"/>
              </p:cNvSpPr>
              <p:nvPr/>
            </p:nvSpPr>
            <p:spPr bwMode="auto">
              <a:xfrm>
                <a:off x="2505" y="2802"/>
                <a:ext cx="37" cy="37"/>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9" name="Rectangle 155"/>
              <p:cNvSpPr>
                <a:spLocks noChangeArrowheads="1"/>
              </p:cNvSpPr>
              <p:nvPr/>
            </p:nvSpPr>
            <p:spPr bwMode="auto">
              <a:xfrm>
                <a:off x="2031" y="2932"/>
                <a:ext cx="561" cy="14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0" name="Rectangle 156"/>
              <p:cNvSpPr>
                <a:spLocks noChangeArrowheads="1"/>
              </p:cNvSpPr>
              <p:nvPr/>
            </p:nvSpPr>
            <p:spPr bwMode="auto">
              <a:xfrm>
                <a:off x="2031" y="2932"/>
                <a:ext cx="561" cy="1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1" name="Rectangle 157"/>
              <p:cNvSpPr>
                <a:spLocks noChangeArrowheads="1"/>
              </p:cNvSpPr>
              <p:nvPr/>
            </p:nvSpPr>
            <p:spPr bwMode="auto">
              <a:xfrm>
                <a:off x="2054" y="295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2" name="Rectangle 158"/>
              <p:cNvSpPr>
                <a:spLocks noChangeArrowheads="1"/>
              </p:cNvSpPr>
              <p:nvPr/>
            </p:nvSpPr>
            <p:spPr bwMode="auto">
              <a:xfrm>
                <a:off x="2054" y="2957"/>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3" name="Rectangle 159"/>
              <p:cNvSpPr>
                <a:spLocks noChangeArrowheads="1"/>
              </p:cNvSpPr>
              <p:nvPr/>
            </p:nvSpPr>
            <p:spPr bwMode="auto">
              <a:xfrm>
                <a:off x="2086" y="295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4" name="Rectangle 160"/>
              <p:cNvSpPr>
                <a:spLocks noChangeArrowheads="1"/>
              </p:cNvSpPr>
              <p:nvPr/>
            </p:nvSpPr>
            <p:spPr bwMode="auto">
              <a:xfrm>
                <a:off x="2086" y="2957"/>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5" name="Rectangle 161"/>
              <p:cNvSpPr>
                <a:spLocks noChangeArrowheads="1"/>
              </p:cNvSpPr>
              <p:nvPr/>
            </p:nvSpPr>
            <p:spPr bwMode="auto">
              <a:xfrm>
                <a:off x="2118" y="2957"/>
                <a:ext cx="15"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6" name="Rectangle 162"/>
              <p:cNvSpPr>
                <a:spLocks noChangeArrowheads="1"/>
              </p:cNvSpPr>
              <p:nvPr/>
            </p:nvSpPr>
            <p:spPr bwMode="auto">
              <a:xfrm>
                <a:off x="2118" y="2957"/>
                <a:ext cx="15"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7" name="Rectangle 163"/>
              <p:cNvSpPr>
                <a:spLocks noChangeArrowheads="1"/>
              </p:cNvSpPr>
              <p:nvPr/>
            </p:nvSpPr>
            <p:spPr bwMode="auto">
              <a:xfrm>
                <a:off x="2149" y="295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8" name="Rectangle 164"/>
              <p:cNvSpPr>
                <a:spLocks noChangeArrowheads="1"/>
              </p:cNvSpPr>
              <p:nvPr/>
            </p:nvSpPr>
            <p:spPr bwMode="auto">
              <a:xfrm>
                <a:off x="2149" y="2957"/>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9" name="Rectangle 165"/>
              <p:cNvSpPr>
                <a:spLocks noChangeArrowheads="1"/>
              </p:cNvSpPr>
              <p:nvPr/>
            </p:nvSpPr>
            <p:spPr bwMode="auto">
              <a:xfrm>
                <a:off x="2181" y="295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60" name="Rectangle 166"/>
              <p:cNvSpPr>
                <a:spLocks noChangeArrowheads="1"/>
              </p:cNvSpPr>
              <p:nvPr/>
            </p:nvSpPr>
            <p:spPr bwMode="auto">
              <a:xfrm>
                <a:off x="2181" y="2957"/>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61" name="Rectangle 167"/>
              <p:cNvSpPr>
                <a:spLocks noChangeArrowheads="1"/>
              </p:cNvSpPr>
              <p:nvPr/>
            </p:nvSpPr>
            <p:spPr bwMode="auto">
              <a:xfrm>
                <a:off x="2213" y="2957"/>
                <a:ext cx="16" cy="9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62" name="Rectangle 168"/>
              <p:cNvSpPr>
                <a:spLocks noChangeArrowheads="1"/>
              </p:cNvSpPr>
              <p:nvPr/>
            </p:nvSpPr>
            <p:spPr bwMode="auto">
              <a:xfrm>
                <a:off x="2213" y="2957"/>
                <a:ext cx="16" cy="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63" name="Oval 169"/>
              <p:cNvSpPr>
                <a:spLocks noChangeArrowheads="1"/>
              </p:cNvSpPr>
              <p:nvPr/>
            </p:nvSpPr>
            <p:spPr bwMode="auto">
              <a:xfrm>
                <a:off x="2505" y="2986"/>
                <a:ext cx="37" cy="37"/>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65" name="Rectangle 171"/>
              <p:cNvSpPr>
                <a:spLocks noChangeArrowheads="1"/>
              </p:cNvSpPr>
              <p:nvPr/>
            </p:nvSpPr>
            <p:spPr bwMode="auto">
              <a:xfrm>
                <a:off x="1863" y="2304"/>
                <a:ext cx="57" cy="8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67" name="Freeform 173"/>
              <p:cNvSpPr>
                <a:spLocks/>
              </p:cNvSpPr>
              <p:nvPr/>
            </p:nvSpPr>
            <p:spPr bwMode="auto">
              <a:xfrm>
                <a:off x="1514" y="2304"/>
                <a:ext cx="349" cy="826"/>
              </a:xfrm>
              <a:custGeom>
                <a:avLst/>
                <a:gdLst>
                  <a:gd name="T0" fmla="*/ 349 w 349"/>
                  <a:gd name="T1" fmla="*/ 0 h 826"/>
                  <a:gd name="T2" fmla="*/ 0 w 349"/>
                  <a:gd name="T3" fmla="*/ 0 h 826"/>
                  <a:gd name="T4" fmla="*/ 0 w 349"/>
                  <a:gd name="T5" fmla="*/ 62 h 826"/>
                  <a:gd name="T6" fmla="*/ 275 w 349"/>
                  <a:gd name="T7" fmla="*/ 62 h 826"/>
                  <a:gd name="T8" fmla="*/ 275 w 349"/>
                  <a:gd name="T9" fmla="*/ 826 h 826"/>
                  <a:gd name="T10" fmla="*/ 349 w 349"/>
                  <a:gd name="T11" fmla="*/ 826 h 826"/>
                  <a:gd name="T12" fmla="*/ 349 w 349"/>
                  <a:gd name="T13" fmla="*/ 0 h 826"/>
                </a:gdLst>
                <a:ahLst/>
                <a:cxnLst>
                  <a:cxn ang="0">
                    <a:pos x="T0" y="T1"/>
                  </a:cxn>
                  <a:cxn ang="0">
                    <a:pos x="T2" y="T3"/>
                  </a:cxn>
                  <a:cxn ang="0">
                    <a:pos x="T4" y="T5"/>
                  </a:cxn>
                  <a:cxn ang="0">
                    <a:pos x="T6" y="T7"/>
                  </a:cxn>
                  <a:cxn ang="0">
                    <a:pos x="T8" y="T9"/>
                  </a:cxn>
                  <a:cxn ang="0">
                    <a:pos x="T10" y="T11"/>
                  </a:cxn>
                  <a:cxn ang="0">
                    <a:pos x="T12" y="T13"/>
                  </a:cxn>
                </a:cxnLst>
                <a:rect l="0" t="0" r="r" b="b"/>
                <a:pathLst>
                  <a:path w="349" h="826">
                    <a:moveTo>
                      <a:pt x="349" y="0"/>
                    </a:moveTo>
                    <a:lnTo>
                      <a:pt x="0" y="0"/>
                    </a:lnTo>
                    <a:lnTo>
                      <a:pt x="0" y="62"/>
                    </a:lnTo>
                    <a:lnTo>
                      <a:pt x="275" y="62"/>
                    </a:lnTo>
                    <a:lnTo>
                      <a:pt x="275" y="826"/>
                    </a:lnTo>
                    <a:lnTo>
                      <a:pt x="349" y="826"/>
                    </a:lnTo>
                    <a:lnTo>
                      <a:pt x="34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69" name="Freeform 175"/>
              <p:cNvSpPr>
                <a:spLocks/>
              </p:cNvSpPr>
              <p:nvPr/>
            </p:nvSpPr>
            <p:spPr bwMode="auto">
              <a:xfrm>
                <a:off x="1514" y="2366"/>
                <a:ext cx="275" cy="764"/>
              </a:xfrm>
              <a:custGeom>
                <a:avLst/>
                <a:gdLst>
                  <a:gd name="T0" fmla="*/ 275 w 275"/>
                  <a:gd name="T1" fmla="*/ 0 h 764"/>
                  <a:gd name="T2" fmla="*/ 0 w 275"/>
                  <a:gd name="T3" fmla="*/ 0 h 764"/>
                  <a:gd name="T4" fmla="*/ 0 w 275"/>
                  <a:gd name="T5" fmla="*/ 41 h 764"/>
                  <a:gd name="T6" fmla="*/ 238 w 275"/>
                  <a:gd name="T7" fmla="*/ 41 h 764"/>
                  <a:gd name="T8" fmla="*/ 238 w 275"/>
                  <a:gd name="T9" fmla="*/ 186 h 764"/>
                  <a:gd name="T10" fmla="*/ 0 w 275"/>
                  <a:gd name="T11" fmla="*/ 186 h 764"/>
                  <a:gd name="T12" fmla="*/ 0 w 275"/>
                  <a:gd name="T13" fmla="*/ 225 h 764"/>
                  <a:gd name="T14" fmla="*/ 238 w 275"/>
                  <a:gd name="T15" fmla="*/ 225 h 764"/>
                  <a:gd name="T16" fmla="*/ 238 w 275"/>
                  <a:gd name="T17" fmla="*/ 370 h 764"/>
                  <a:gd name="T18" fmla="*/ 0 w 275"/>
                  <a:gd name="T19" fmla="*/ 370 h 764"/>
                  <a:gd name="T20" fmla="*/ 0 w 275"/>
                  <a:gd name="T21" fmla="*/ 409 h 764"/>
                  <a:gd name="T22" fmla="*/ 238 w 275"/>
                  <a:gd name="T23" fmla="*/ 409 h 764"/>
                  <a:gd name="T24" fmla="*/ 238 w 275"/>
                  <a:gd name="T25" fmla="*/ 554 h 764"/>
                  <a:gd name="T26" fmla="*/ 0 w 275"/>
                  <a:gd name="T27" fmla="*/ 554 h 764"/>
                  <a:gd name="T28" fmla="*/ 0 w 275"/>
                  <a:gd name="T29" fmla="*/ 593 h 764"/>
                  <a:gd name="T30" fmla="*/ 238 w 275"/>
                  <a:gd name="T31" fmla="*/ 593 h 764"/>
                  <a:gd name="T32" fmla="*/ 238 w 275"/>
                  <a:gd name="T33" fmla="*/ 739 h 764"/>
                  <a:gd name="T34" fmla="*/ 0 w 275"/>
                  <a:gd name="T35" fmla="*/ 739 h 764"/>
                  <a:gd name="T36" fmla="*/ 0 w 275"/>
                  <a:gd name="T37" fmla="*/ 764 h 764"/>
                  <a:gd name="T38" fmla="*/ 275 w 275"/>
                  <a:gd name="T39" fmla="*/ 764 h 764"/>
                  <a:gd name="T40" fmla="*/ 275 w 275"/>
                  <a:gd name="T41" fmla="*/ 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5" h="764">
                    <a:moveTo>
                      <a:pt x="275" y="0"/>
                    </a:moveTo>
                    <a:lnTo>
                      <a:pt x="0" y="0"/>
                    </a:lnTo>
                    <a:lnTo>
                      <a:pt x="0" y="41"/>
                    </a:lnTo>
                    <a:lnTo>
                      <a:pt x="238" y="41"/>
                    </a:lnTo>
                    <a:lnTo>
                      <a:pt x="238" y="186"/>
                    </a:lnTo>
                    <a:lnTo>
                      <a:pt x="0" y="186"/>
                    </a:lnTo>
                    <a:lnTo>
                      <a:pt x="0" y="225"/>
                    </a:lnTo>
                    <a:lnTo>
                      <a:pt x="238" y="225"/>
                    </a:lnTo>
                    <a:lnTo>
                      <a:pt x="238" y="370"/>
                    </a:lnTo>
                    <a:lnTo>
                      <a:pt x="0" y="370"/>
                    </a:lnTo>
                    <a:lnTo>
                      <a:pt x="0" y="409"/>
                    </a:lnTo>
                    <a:lnTo>
                      <a:pt x="238" y="409"/>
                    </a:lnTo>
                    <a:lnTo>
                      <a:pt x="238" y="554"/>
                    </a:lnTo>
                    <a:lnTo>
                      <a:pt x="0" y="554"/>
                    </a:lnTo>
                    <a:lnTo>
                      <a:pt x="0" y="593"/>
                    </a:lnTo>
                    <a:lnTo>
                      <a:pt x="238" y="593"/>
                    </a:lnTo>
                    <a:lnTo>
                      <a:pt x="238" y="739"/>
                    </a:lnTo>
                    <a:lnTo>
                      <a:pt x="0" y="739"/>
                    </a:lnTo>
                    <a:lnTo>
                      <a:pt x="0" y="764"/>
                    </a:lnTo>
                    <a:lnTo>
                      <a:pt x="275" y="764"/>
                    </a:lnTo>
                    <a:lnTo>
                      <a:pt x="275"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71" name="Oval 177"/>
              <p:cNvSpPr>
                <a:spLocks noChangeArrowheads="1"/>
              </p:cNvSpPr>
              <p:nvPr/>
            </p:nvSpPr>
            <p:spPr bwMode="auto">
              <a:xfrm>
                <a:off x="1668" y="2461"/>
                <a:ext cx="37" cy="36"/>
              </a:xfrm>
              <a:prstGeom prst="ellipse">
                <a:avLst/>
              </a:prstGeom>
              <a:solidFill>
                <a:srgbClr val="00763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73" name="Oval 179"/>
              <p:cNvSpPr>
                <a:spLocks noChangeArrowheads="1"/>
              </p:cNvSpPr>
              <p:nvPr/>
            </p:nvSpPr>
            <p:spPr bwMode="auto">
              <a:xfrm>
                <a:off x="1668" y="2645"/>
                <a:ext cx="37" cy="37"/>
              </a:xfrm>
              <a:prstGeom prst="ellipse">
                <a:avLst/>
              </a:prstGeom>
              <a:solidFill>
                <a:srgbClr val="00763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75" name="Oval 181"/>
              <p:cNvSpPr>
                <a:spLocks noChangeArrowheads="1"/>
              </p:cNvSpPr>
              <p:nvPr/>
            </p:nvSpPr>
            <p:spPr bwMode="auto">
              <a:xfrm>
                <a:off x="1668" y="2829"/>
                <a:ext cx="37" cy="37"/>
              </a:xfrm>
              <a:prstGeom prst="ellipse">
                <a:avLst/>
              </a:prstGeom>
              <a:solidFill>
                <a:srgbClr val="00763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77" name="Oval 183"/>
              <p:cNvSpPr>
                <a:spLocks noChangeArrowheads="1"/>
              </p:cNvSpPr>
              <p:nvPr/>
            </p:nvSpPr>
            <p:spPr bwMode="auto">
              <a:xfrm>
                <a:off x="1668" y="3014"/>
                <a:ext cx="37" cy="36"/>
              </a:xfrm>
              <a:prstGeom prst="ellipse">
                <a:avLst/>
              </a:prstGeom>
              <a:solidFill>
                <a:srgbClr val="00763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1" name="Freeform 187"/>
              <p:cNvSpPr>
                <a:spLocks/>
              </p:cNvSpPr>
              <p:nvPr/>
            </p:nvSpPr>
            <p:spPr bwMode="auto">
              <a:xfrm>
                <a:off x="1995" y="2304"/>
                <a:ext cx="390" cy="826"/>
              </a:xfrm>
              <a:custGeom>
                <a:avLst/>
                <a:gdLst>
                  <a:gd name="T0" fmla="*/ 36 w 390"/>
                  <a:gd name="T1" fmla="*/ 0 h 826"/>
                  <a:gd name="T2" fmla="*/ 0 w 390"/>
                  <a:gd name="T3" fmla="*/ 0 h 826"/>
                  <a:gd name="T4" fmla="*/ 0 w 390"/>
                  <a:gd name="T5" fmla="*/ 826 h 826"/>
                  <a:gd name="T6" fmla="*/ 390 w 390"/>
                  <a:gd name="T7" fmla="*/ 826 h 826"/>
                  <a:gd name="T8" fmla="*/ 390 w 390"/>
                  <a:gd name="T9" fmla="*/ 773 h 826"/>
                  <a:gd name="T10" fmla="*/ 36 w 390"/>
                  <a:gd name="T11" fmla="*/ 773 h 826"/>
                  <a:gd name="T12" fmla="*/ 36 w 390"/>
                  <a:gd name="T13" fmla="*/ 628 h 826"/>
                  <a:gd name="T14" fmla="*/ 390 w 390"/>
                  <a:gd name="T15" fmla="*/ 628 h 826"/>
                  <a:gd name="T16" fmla="*/ 390 w 390"/>
                  <a:gd name="T17" fmla="*/ 589 h 826"/>
                  <a:gd name="T18" fmla="*/ 36 w 390"/>
                  <a:gd name="T19" fmla="*/ 589 h 826"/>
                  <a:gd name="T20" fmla="*/ 36 w 390"/>
                  <a:gd name="T21" fmla="*/ 444 h 826"/>
                  <a:gd name="T22" fmla="*/ 390 w 390"/>
                  <a:gd name="T23" fmla="*/ 444 h 826"/>
                  <a:gd name="T24" fmla="*/ 390 w 390"/>
                  <a:gd name="T25" fmla="*/ 405 h 826"/>
                  <a:gd name="T26" fmla="*/ 36 w 390"/>
                  <a:gd name="T27" fmla="*/ 405 h 826"/>
                  <a:gd name="T28" fmla="*/ 36 w 390"/>
                  <a:gd name="T29" fmla="*/ 259 h 826"/>
                  <a:gd name="T30" fmla="*/ 390 w 390"/>
                  <a:gd name="T31" fmla="*/ 259 h 826"/>
                  <a:gd name="T32" fmla="*/ 390 w 390"/>
                  <a:gd name="T33" fmla="*/ 221 h 826"/>
                  <a:gd name="T34" fmla="*/ 36 w 390"/>
                  <a:gd name="T35" fmla="*/ 221 h 826"/>
                  <a:gd name="T36" fmla="*/ 36 w 390"/>
                  <a:gd name="T37" fmla="*/ 75 h 826"/>
                  <a:gd name="T38" fmla="*/ 390 w 390"/>
                  <a:gd name="T39" fmla="*/ 75 h 826"/>
                  <a:gd name="T40" fmla="*/ 390 w 390"/>
                  <a:gd name="T41" fmla="*/ 37 h 826"/>
                  <a:gd name="T42" fmla="*/ 36 w 390"/>
                  <a:gd name="T43" fmla="*/ 37 h 826"/>
                  <a:gd name="T44" fmla="*/ 36 w 390"/>
                  <a:gd name="T45" fmla="*/ 0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0" h="826">
                    <a:moveTo>
                      <a:pt x="36" y="0"/>
                    </a:moveTo>
                    <a:lnTo>
                      <a:pt x="0" y="0"/>
                    </a:lnTo>
                    <a:lnTo>
                      <a:pt x="0" y="826"/>
                    </a:lnTo>
                    <a:lnTo>
                      <a:pt x="390" y="826"/>
                    </a:lnTo>
                    <a:lnTo>
                      <a:pt x="390" y="773"/>
                    </a:lnTo>
                    <a:lnTo>
                      <a:pt x="36" y="773"/>
                    </a:lnTo>
                    <a:lnTo>
                      <a:pt x="36" y="628"/>
                    </a:lnTo>
                    <a:lnTo>
                      <a:pt x="390" y="628"/>
                    </a:lnTo>
                    <a:lnTo>
                      <a:pt x="390" y="589"/>
                    </a:lnTo>
                    <a:lnTo>
                      <a:pt x="36" y="589"/>
                    </a:lnTo>
                    <a:lnTo>
                      <a:pt x="36" y="444"/>
                    </a:lnTo>
                    <a:lnTo>
                      <a:pt x="390" y="444"/>
                    </a:lnTo>
                    <a:lnTo>
                      <a:pt x="390" y="405"/>
                    </a:lnTo>
                    <a:lnTo>
                      <a:pt x="36" y="405"/>
                    </a:lnTo>
                    <a:lnTo>
                      <a:pt x="36" y="259"/>
                    </a:lnTo>
                    <a:lnTo>
                      <a:pt x="390" y="259"/>
                    </a:lnTo>
                    <a:lnTo>
                      <a:pt x="390" y="221"/>
                    </a:lnTo>
                    <a:lnTo>
                      <a:pt x="36" y="221"/>
                    </a:lnTo>
                    <a:lnTo>
                      <a:pt x="36" y="75"/>
                    </a:lnTo>
                    <a:lnTo>
                      <a:pt x="390" y="75"/>
                    </a:lnTo>
                    <a:lnTo>
                      <a:pt x="390" y="37"/>
                    </a:lnTo>
                    <a:lnTo>
                      <a:pt x="36" y="37"/>
                    </a:lnTo>
                    <a:lnTo>
                      <a:pt x="3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3" name="Freeform 189"/>
              <p:cNvSpPr>
                <a:spLocks/>
              </p:cNvSpPr>
              <p:nvPr/>
            </p:nvSpPr>
            <p:spPr bwMode="auto">
              <a:xfrm>
                <a:off x="2031" y="2304"/>
                <a:ext cx="354" cy="37"/>
              </a:xfrm>
              <a:custGeom>
                <a:avLst/>
                <a:gdLst>
                  <a:gd name="T0" fmla="*/ 354 w 354"/>
                  <a:gd name="T1" fmla="*/ 0 h 37"/>
                  <a:gd name="T2" fmla="*/ 198 w 354"/>
                  <a:gd name="T3" fmla="*/ 0 h 37"/>
                  <a:gd name="T4" fmla="*/ 198 w 354"/>
                  <a:gd name="T5" fmla="*/ 12 h 37"/>
                  <a:gd name="T6" fmla="*/ 182 w 354"/>
                  <a:gd name="T7" fmla="*/ 12 h 37"/>
                  <a:gd name="T8" fmla="*/ 182 w 354"/>
                  <a:gd name="T9" fmla="*/ 0 h 37"/>
                  <a:gd name="T10" fmla="*/ 166 w 354"/>
                  <a:gd name="T11" fmla="*/ 0 h 37"/>
                  <a:gd name="T12" fmla="*/ 166 w 354"/>
                  <a:gd name="T13" fmla="*/ 12 h 37"/>
                  <a:gd name="T14" fmla="*/ 150 w 354"/>
                  <a:gd name="T15" fmla="*/ 12 h 37"/>
                  <a:gd name="T16" fmla="*/ 150 w 354"/>
                  <a:gd name="T17" fmla="*/ 0 h 37"/>
                  <a:gd name="T18" fmla="*/ 134 w 354"/>
                  <a:gd name="T19" fmla="*/ 0 h 37"/>
                  <a:gd name="T20" fmla="*/ 134 w 354"/>
                  <a:gd name="T21" fmla="*/ 12 h 37"/>
                  <a:gd name="T22" fmla="*/ 118 w 354"/>
                  <a:gd name="T23" fmla="*/ 12 h 37"/>
                  <a:gd name="T24" fmla="*/ 118 w 354"/>
                  <a:gd name="T25" fmla="*/ 0 h 37"/>
                  <a:gd name="T26" fmla="*/ 102 w 354"/>
                  <a:gd name="T27" fmla="*/ 0 h 37"/>
                  <a:gd name="T28" fmla="*/ 102 w 354"/>
                  <a:gd name="T29" fmla="*/ 12 h 37"/>
                  <a:gd name="T30" fmla="*/ 87 w 354"/>
                  <a:gd name="T31" fmla="*/ 12 h 37"/>
                  <a:gd name="T32" fmla="*/ 87 w 354"/>
                  <a:gd name="T33" fmla="*/ 0 h 37"/>
                  <a:gd name="T34" fmla="*/ 71 w 354"/>
                  <a:gd name="T35" fmla="*/ 0 h 37"/>
                  <a:gd name="T36" fmla="*/ 71 w 354"/>
                  <a:gd name="T37" fmla="*/ 12 h 37"/>
                  <a:gd name="T38" fmla="*/ 55 w 354"/>
                  <a:gd name="T39" fmla="*/ 12 h 37"/>
                  <a:gd name="T40" fmla="*/ 55 w 354"/>
                  <a:gd name="T41" fmla="*/ 0 h 37"/>
                  <a:gd name="T42" fmla="*/ 39 w 354"/>
                  <a:gd name="T43" fmla="*/ 0 h 37"/>
                  <a:gd name="T44" fmla="*/ 39 w 354"/>
                  <a:gd name="T45" fmla="*/ 12 h 37"/>
                  <a:gd name="T46" fmla="*/ 23 w 354"/>
                  <a:gd name="T47" fmla="*/ 12 h 37"/>
                  <a:gd name="T48" fmla="*/ 23 w 354"/>
                  <a:gd name="T49" fmla="*/ 0 h 37"/>
                  <a:gd name="T50" fmla="*/ 0 w 354"/>
                  <a:gd name="T51" fmla="*/ 0 h 37"/>
                  <a:gd name="T52" fmla="*/ 0 w 354"/>
                  <a:gd name="T53" fmla="*/ 37 h 37"/>
                  <a:gd name="T54" fmla="*/ 354 w 354"/>
                  <a:gd name="T55" fmla="*/ 37 h 37"/>
                  <a:gd name="T56" fmla="*/ 354 w 354"/>
                  <a:gd name="T5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4" h="37">
                    <a:moveTo>
                      <a:pt x="354" y="0"/>
                    </a:moveTo>
                    <a:lnTo>
                      <a:pt x="198" y="0"/>
                    </a:lnTo>
                    <a:lnTo>
                      <a:pt x="198" y="12"/>
                    </a:lnTo>
                    <a:lnTo>
                      <a:pt x="182" y="12"/>
                    </a:lnTo>
                    <a:lnTo>
                      <a:pt x="182" y="0"/>
                    </a:lnTo>
                    <a:lnTo>
                      <a:pt x="166" y="0"/>
                    </a:lnTo>
                    <a:lnTo>
                      <a:pt x="166" y="12"/>
                    </a:lnTo>
                    <a:lnTo>
                      <a:pt x="150" y="12"/>
                    </a:lnTo>
                    <a:lnTo>
                      <a:pt x="150" y="0"/>
                    </a:lnTo>
                    <a:lnTo>
                      <a:pt x="134" y="0"/>
                    </a:lnTo>
                    <a:lnTo>
                      <a:pt x="134" y="12"/>
                    </a:lnTo>
                    <a:lnTo>
                      <a:pt x="118" y="12"/>
                    </a:lnTo>
                    <a:lnTo>
                      <a:pt x="118" y="0"/>
                    </a:lnTo>
                    <a:lnTo>
                      <a:pt x="102" y="0"/>
                    </a:lnTo>
                    <a:lnTo>
                      <a:pt x="102" y="12"/>
                    </a:lnTo>
                    <a:lnTo>
                      <a:pt x="87" y="12"/>
                    </a:lnTo>
                    <a:lnTo>
                      <a:pt x="87" y="0"/>
                    </a:lnTo>
                    <a:lnTo>
                      <a:pt x="71" y="0"/>
                    </a:lnTo>
                    <a:lnTo>
                      <a:pt x="71" y="12"/>
                    </a:lnTo>
                    <a:lnTo>
                      <a:pt x="55" y="12"/>
                    </a:lnTo>
                    <a:lnTo>
                      <a:pt x="55" y="0"/>
                    </a:lnTo>
                    <a:lnTo>
                      <a:pt x="39" y="0"/>
                    </a:lnTo>
                    <a:lnTo>
                      <a:pt x="39" y="12"/>
                    </a:lnTo>
                    <a:lnTo>
                      <a:pt x="23" y="12"/>
                    </a:lnTo>
                    <a:lnTo>
                      <a:pt x="23" y="0"/>
                    </a:lnTo>
                    <a:lnTo>
                      <a:pt x="0" y="0"/>
                    </a:lnTo>
                    <a:lnTo>
                      <a:pt x="0" y="37"/>
                    </a:lnTo>
                    <a:lnTo>
                      <a:pt x="354" y="37"/>
                    </a:lnTo>
                    <a:lnTo>
                      <a:pt x="35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4" name="Rectangle 190"/>
              <p:cNvSpPr>
                <a:spLocks noChangeArrowheads="1"/>
              </p:cNvSpPr>
              <p:nvPr/>
            </p:nvSpPr>
            <p:spPr bwMode="auto">
              <a:xfrm>
                <a:off x="2054" y="2304"/>
                <a:ext cx="16" cy="12"/>
              </a:xfrm>
              <a:prstGeom prst="rect">
                <a:avLst/>
              </a:prstGeom>
              <a:solidFill>
                <a:srgbClr val="3C3C3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5" name="Rectangle 191"/>
              <p:cNvSpPr>
                <a:spLocks noChangeArrowheads="1"/>
              </p:cNvSpPr>
              <p:nvPr/>
            </p:nvSpPr>
            <p:spPr bwMode="auto">
              <a:xfrm>
                <a:off x="2054" y="2304"/>
                <a:ext cx="16" cy="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6" name="Rectangle 192"/>
              <p:cNvSpPr>
                <a:spLocks noChangeArrowheads="1"/>
              </p:cNvSpPr>
              <p:nvPr/>
            </p:nvSpPr>
            <p:spPr bwMode="auto">
              <a:xfrm>
                <a:off x="2086" y="2304"/>
                <a:ext cx="16" cy="12"/>
              </a:xfrm>
              <a:prstGeom prst="rect">
                <a:avLst/>
              </a:prstGeom>
              <a:solidFill>
                <a:srgbClr val="3C3C3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7" name="Rectangle 193"/>
              <p:cNvSpPr>
                <a:spLocks noChangeArrowheads="1"/>
              </p:cNvSpPr>
              <p:nvPr/>
            </p:nvSpPr>
            <p:spPr bwMode="auto">
              <a:xfrm>
                <a:off x="2086" y="2304"/>
                <a:ext cx="16" cy="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8" name="Rectangle 194"/>
              <p:cNvSpPr>
                <a:spLocks noChangeArrowheads="1"/>
              </p:cNvSpPr>
              <p:nvPr/>
            </p:nvSpPr>
            <p:spPr bwMode="auto">
              <a:xfrm>
                <a:off x="2118" y="2304"/>
                <a:ext cx="15" cy="12"/>
              </a:xfrm>
              <a:prstGeom prst="rect">
                <a:avLst/>
              </a:prstGeom>
              <a:solidFill>
                <a:srgbClr val="3C3C3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9" name="Rectangle 195"/>
              <p:cNvSpPr>
                <a:spLocks noChangeArrowheads="1"/>
              </p:cNvSpPr>
              <p:nvPr/>
            </p:nvSpPr>
            <p:spPr bwMode="auto">
              <a:xfrm>
                <a:off x="2118" y="2304"/>
                <a:ext cx="15" cy="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0" name="Rectangle 196"/>
              <p:cNvSpPr>
                <a:spLocks noChangeArrowheads="1"/>
              </p:cNvSpPr>
              <p:nvPr/>
            </p:nvSpPr>
            <p:spPr bwMode="auto">
              <a:xfrm>
                <a:off x="2149" y="2304"/>
                <a:ext cx="16" cy="12"/>
              </a:xfrm>
              <a:prstGeom prst="rect">
                <a:avLst/>
              </a:prstGeom>
              <a:solidFill>
                <a:srgbClr val="3C3C3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1" name="Rectangle 197"/>
              <p:cNvSpPr>
                <a:spLocks noChangeArrowheads="1"/>
              </p:cNvSpPr>
              <p:nvPr/>
            </p:nvSpPr>
            <p:spPr bwMode="auto">
              <a:xfrm>
                <a:off x="2149" y="2304"/>
                <a:ext cx="16" cy="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2" name="Rectangle 198"/>
              <p:cNvSpPr>
                <a:spLocks noChangeArrowheads="1"/>
              </p:cNvSpPr>
              <p:nvPr/>
            </p:nvSpPr>
            <p:spPr bwMode="auto">
              <a:xfrm>
                <a:off x="2181" y="2304"/>
                <a:ext cx="16" cy="12"/>
              </a:xfrm>
              <a:prstGeom prst="rect">
                <a:avLst/>
              </a:prstGeom>
              <a:solidFill>
                <a:srgbClr val="3C3C3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3" name="Rectangle 199"/>
              <p:cNvSpPr>
                <a:spLocks noChangeArrowheads="1"/>
              </p:cNvSpPr>
              <p:nvPr/>
            </p:nvSpPr>
            <p:spPr bwMode="auto">
              <a:xfrm>
                <a:off x="2181" y="2304"/>
                <a:ext cx="16" cy="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4" name="Rectangle 200"/>
              <p:cNvSpPr>
                <a:spLocks noChangeArrowheads="1"/>
              </p:cNvSpPr>
              <p:nvPr/>
            </p:nvSpPr>
            <p:spPr bwMode="auto">
              <a:xfrm>
                <a:off x="2213" y="2304"/>
                <a:ext cx="16" cy="12"/>
              </a:xfrm>
              <a:prstGeom prst="rect">
                <a:avLst/>
              </a:prstGeom>
              <a:solidFill>
                <a:srgbClr val="3C3C3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5" name="Rectangle 201"/>
              <p:cNvSpPr>
                <a:spLocks noChangeArrowheads="1"/>
              </p:cNvSpPr>
              <p:nvPr/>
            </p:nvSpPr>
            <p:spPr bwMode="auto">
              <a:xfrm>
                <a:off x="2213" y="2304"/>
                <a:ext cx="16" cy="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7" name="Freeform 203"/>
              <p:cNvSpPr>
                <a:spLocks noEditPoints="1"/>
              </p:cNvSpPr>
              <p:nvPr/>
            </p:nvSpPr>
            <p:spPr bwMode="auto">
              <a:xfrm>
                <a:off x="2031" y="2379"/>
                <a:ext cx="354" cy="146"/>
              </a:xfrm>
              <a:custGeom>
                <a:avLst/>
                <a:gdLst>
                  <a:gd name="T0" fmla="*/ 23 w 354"/>
                  <a:gd name="T1" fmla="*/ 121 h 146"/>
                  <a:gd name="T2" fmla="*/ 23 w 354"/>
                  <a:gd name="T3" fmla="*/ 25 h 146"/>
                  <a:gd name="T4" fmla="*/ 39 w 354"/>
                  <a:gd name="T5" fmla="*/ 25 h 146"/>
                  <a:gd name="T6" fmla="*/ 39 w 354"/>
                  <a:gd name="T7" fmla="*/ 121 h 146"/>
                  <a:gd name="T8" fmla="*/ 23 w 354"/>
                  <a:gd name="T9" fmla="*/ 121 h 146"/>
                  <a:gd name="T10" fmla="*/ 55 w 354"/>
                  <a:gd name="T11" fmla="*/ 121 h 146"/>
                  <a:gd name="T12" fmla="*/ 55 w 354"/>
                  <a:gd name="T13" fmla="*/ 25 h 146"/>
                  <a:gd name="T14" fmla="*/ 71 w 354"/>
                  <a:gd name="T15" fmla="*/ 25 h 146"/>
                  <a:gd name="T16" fmla="*/ 71 w 354"/>
                  <a:gd name="T17" fmla="*/ 121 h 146"/>
                  <a:gd name="T18" fmla="*/ 55 w 354"/>
                  <a:gd name="T19" fmla="*/ 121 h 146"/>
                  <a:gd name="T20" fmla="*/ 87 w 354"/>
                  <a:gd name="T21" fmla="*/ 121 h 146"/>
                  <a:gd name="T22" fmla="*/ 87 w 354"/>
                  <a:gd name="T23" fmla="*/ 25 h 146"/>
                  <a:gd name="T24" fmla="*/ 102 w 354"/>
                  <a:gd name="T25" fmla="*/ 25 h 146"/>
                  <a:gd name="T26" fmla="*/ 102 w 354"/>
                  <a:gd name="T27" fmla="*/ 121 h 146"/>
                  <a:gd name="T28" fmla="*/ 87 w 354"/>
                  <a:gd name="T29" fmla="*/ 121 h 146"/>
                  <a:gd name="T30" fmla="*/ 118 w 354"/>
                  <a:gd name="T31" fmla="*/ 121 h 146"/>
                  <a:gd name="T32" fmla="*/ 118 w 354"/>
                  <a:gd name="T33" fmla="*/ 25 h 146"/>
                  <a:gd name="T34" fmla="*/ 134 w 354"/>
                  <a:gd name="T35" fmla="*/ 25 h 146"/>
                  <a:gd name="T36" fmla="*/ 134 w 354"/>
                  <a:gd name="T37" fmla="*/ 121 h 146"/>
                  <a:gd name="T38" fmla="*/ 118 w 354"/>
                  <a:gd name="T39" fmla="*/ 121 h 146"/>
                  <a:gd name="T40" fmla="*/ 150 w 354"/>
                  <a:gd name="T41" fmla="*/ 121 h 146"/>
                  <a:gd name="T42" fmla="*/ 150 w 354"/>
                  <a:gd name="T43" fmla="*/ 25 h 146"/>
                  <a:gd name="T44" fmla="*/ 166 w 354"/>
                  <a:gd name="T45" fmla="*/ 25 h 146"/>
                  <a:gd name="T46" fmla="*/ 166 w 354"/>
                  <a:gd name="T47" fmla="*/ 121 h 146"/>
                  <a:gd name="T48" fmla="*/ 150 w 354"/>
                  <a:gd name="T49" fmla="*/ 121 h 146"/>
                  <a:gd name="T50" fmla="*/ 182 w 354"/>
                  <a:gd name="T51" fmla="*/ 121 h 146"/>
                  <a:gd name="T52" fmla="*/ 182 w 354"/>
                  <a:gd name="T53" fmla="*/ 25 h 146"/>
                  <a:gd name="T54" fmla="*/ 198 w 354"/>
                  <a:gd name="T55" fmla="*/ 25 h 146"/>
                  <a:gd name="T56" fmla="*/ 198 w 354"/>
                  <a:gd name="T57" fmla="*/ 121 h 146"/>
                  <a:gd name="T58" fmla="*/ 182 w 354"/>
                  <a:gd name="T59" fmla="*/ 121 h 146"/>
                  <a:gd name="T60" fmla="*/ 354 w 354"/>
                  <a:gd name="T61" fmla="*/ 0 h 146"/>
                  <a:gd name="T62" fmla="*/ 0 w 354"/>
                  <a:gd name="T63" fmla="*/ 0 h 146"/>
                  <a:gd name="T64" fmla="*/ 0 w 354"/>
                  <a:gd name="T65" fmla="*/ 146 h 146"/>
                  <a:gd name="T66" fmla="*/ 354 w 354"/>
                  <a:gd name="T67" fmla="*/ 146 h 146"/>
                  <a:gd name="T68" fmla="*/ 354 w 354"/>
                  <a:gd name="T6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4" h="146">
                    <a:moveTo>
                      <a:pt x="23" y="121"/>
                    </a:moveTo>
                    <a:lnTo>
                      <a:pt x="23" y="25"/>
                    </a:lnTo>
                    <a:lnTo>
                      <a:pt x="39" y="25"/>
                    </a:lnTo>
                    <a:lnTo>
                      <a:pt x="39" y="121"/>
                    </a:lnTo>
                    <a:lnTo>
                      <a:pt x="23" y="121"/>
                    </a:lnTo>
                    <a:moveTo>
                      <a:pt x="55" y="121"/>
                    </a:moveTo>
                    <a:lnTo>
                      <a:pt x="55" y="25"/>
                    </a:lnTo>
                    <a:lnTo>
                      <a:pt x="71" y="25"/>
                    </a:lnTo>
                    <a:lnTo>
                      <a:pt x="71" y="121"/>
                    </a:lnTo>
                    <a:lnTo>
                      <a:pt x="55" y="121"/>
                    </a:lnTo>
                    <a:moveTo>
                      <a:pt x="87" y="121"/>
                    </a:moveTo>
                    <a:lnTo>
                      <a:pt x="87" y="25"/>
                    </a:lnTo>
                    <a:lnTo>
                      <a:pt x="102" y="25"/>
                    </a:lnTo>
                    <a:lnTo>
                      <a:pt x="102" y="121"/>
                    </a:lnTo>
                    <a:lnTo>
                      <a:pt x="87" y="121"/>
                    </a:lnTo>
                    <a:moveTo>
                      <a:pt x="118" y="121"/>
                    </a:moveTo>
                    <a:lnTo>
                      <a:pt x="118" y="25"/>
                    </a:lnTo>
                    <a:lnTo>
                      <a:pt x="134" y="25"/>
                    </a:lnTo>
                    <a:lnTo>
                      <a:pt x="134" y="121"/>
                    </a:lnTo>
                    <a:lnTo>
                      <a:pt x="118" y="121"/>
                    </a:lnTo>
                    <a:moveTo>
                      <a:pt x="150" y="121"/>
                    </a:moveTo>
                    <a:lnTo>
                      <a:pt x="150" y="25"/>
                    </a:lnTo>
                    <a:lnTo>
                      <a:pt x="166" y="25"/>
                    </a:lnTo>
                    <a:lnTo>
                      <a:pt x="166" y="121"/>
                    </a:lnTo>
                    <a:lnTo>
                      <a:pt x="150" y="121"/>
                    </a:lnTo>
                    <a:moveTo>
                      <a:pt x="182" y="121"/>
                    </a:moveTo>
                    <a:lnTo>
                      <a:pt x="182" y="25"/>
                    </a:lnTo>
                    <a:lnTo>
                      <a:pt x="198" y="25"/>
                    </a:lnTo>
                    <a:lnTo>
                      <a:pt x="198" y="121"/>
                    </a:lnTo>
                    <a:lnTo>
                      <a:pt x="182" y="121"/>
                    </a:lnTo>
                    <a:moveTo>
                      <a:pt x="354" y="0"/>
                    </a:moveTo>
                    <a:lnTo>
                      <a:pt x="0" y="0"/>
                    </a:lnTo>
                    <a:lnTo>
                      <a:pt x="0" y="146"/>
                    </a:lnTo>
                    <a:lnTo>
                      <a:pt x="354" y="146"/>
                    </a:lnTo>
                    <a:lnTo>
                      <a:pt x="35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nvGrpSpPr>
            <p:cNvPr id="6" name="Group 5"/>
            <p:cNvGrpSpPr/>
            <p:nvPr/>
          </p:nvGrpSpPr>
          <p:grpSpPr>
            <a:xfrm>
              <a:off x="7762729" y="2526604"/>
              <a:ext cx="3310739" cy="1910186"/>
              <a:chOff x="8088405" y="2476500"/>
              <a:chExt cx="3310739" cy="1910186"/>
            </a:xfrm>
          </p:grpSpPr>
          <p:sp>
            <p:nvSpPr>
              <p:cNvPr id="313" name="Oval 7"/>
              <p:cNvSpPr>
                <a:spLocks noChangeArrowheads="1"/>
              </p:cNvSpPr>
              <p:nvPr/>
            </p:nvSpPr>
            <p:spPr bwMode="auto">
              <a:xfrm>
                <a:off x="9597714" y="4158022"/>
                <a:ext cx="1065241" cy="228664"/>
              </a:xfrm>
              <a:prstGeom prst="ellipse">
                <a:avLst/>
              </a:prstGeom>
              <a:solidFill>
                <a:schemeClr val="accent1">
                  <a:lumMod val="50000"/>
                </a:schemeClr>
              </a:solidFill>
              <a:ln>
                <a:noFill/>
              </a:ln>
            </p:spPr>
            <p:txBody>
              <a:bodyPr/>
              <a:lstStyle/>
              <a:p>
                <a:pPr defTabSz="914314">
                  <a:defRPr/>
                </a:pPr>
                <a:endParaRPr lang="en-US">
                  <a:solidFill>
                    <a:srgbClr val="000000"/>
                  </a:solidFill>
                </a:endParaRPr>
              </a:p>
            </p:txBody>
          </p:sp>
          <p:sp>
            <p:nvSpPr>
              <p:cNvPr id="314" name="Freeform 8"/>
              <p:cNvSpPr>
                <a:spLocks/>
              </p:cNvSpPr>
              <p:nvPr/>
            </p:nvSpPr>
            <p:spPr bwMode="auto">
              <a:xfrm>
                <a:off x="8816910" y="2476500"/>
                <a:ext cx="2582234" cy="1795852"/>
              </a:xfrm>
              <a:custGeom>
                <a:avLst/>
                <a:gdLst>
                  <a:gd name="T0" fmla="*/ 1699 w 1733"/>
                  <a:gd name="T1" fmla="*/ 1202 h 1202"/>
                  <a:gd name="T2" fmla="*/ 1733 w 1733"/>
                  <a:gd name="T3" fmla="*/ 1168 h 1202"/>
                  <a:gd name="T4" fmla="*/ 1733 w 1733"/>
                  <a:gd name="T5" fmla="*/ 34 h 1202"/>
                  <a:gd name="T6" fmla="*/ 1699 w 1733"/>
                  <a:gd name="T7" fmla="*/ 0 h 1202"/>
                  <a:gd name="T8" fmla="*/ 34 w 1733"/>
                  <a:gd name="T9" fmla="*/ 0 h 1202"/>
                  <a:gd name="T10" fmla="*/ 0 w 1733"/>
                  <a:gd name="T11" fmla="*/ 34 h 1202"/>
                  <a:gd name="T12" fmla="*/ 0 w 1733"/>
                  <a:gd name="T13" fmla="*/ 1168 h 1202"/>
                  <a:gd name="T14" fmla="*/ 34 w 1733"/>
                  <a:gd name="T15" fmla="*/ 1202 h 1202"/>
                  <a:gd name="T16" fmla="*/ 1699 w 1733"/>
                  <a:gd name="T17" fmla="*/ 120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202">
                    <a:moveTo>
                      <a:pt x="1699" y="1202"/>
                    </a:moveTo>
                    <a:cubicBezTo>
                      <a:pt x="1718" y="1202"/>
                      <a:pt x="1733" y="1187"/>
                      <a:pt x="1733" y="1168"/>
                    </a:cubicBezTo>
                    <a:cubicBezTo>
                      <a:pt x="1733" y="34"/>
                      <a:pt x="1733" y="34"/>
                      <a:pt x="1733" y="34"/>
                    </a:cubicBezTo>
                    <a:cubicBezTo>
                      <a:pt x="1733" y="15"/>
                      <a:pt x="1718" y="0"/>
                      <a:pt x="1699" y="0"/>
                    </a:cubicBezTo>
                    <a:cubicBezTo>
                      <a:pt x="34" y="0"/>
                      <a:pt x="34" y="0"/>
                      <a:pt x="34" y="0"/>
                    </a:cubicBezTo>
                    <a:cubicBezTo>
                      <a:pt x="15" y="0"/>
                      <a:pt x="0" y="15"/>
                      <a:pt x="0" y="34"/>
                    </a:cubicBezTo>
                    <a:cubicBezTo>
                      <a:pt x="0" y="1168"/>
                      <a:pt x="0" y="1168"/>
                      <a:pt x="0" y="1168"/>
                    </a:cubicBezTo>
                    <a:cubicBezTo>
                      <a:pt x="0" y="1187"/>
                      <a:pt x="15" y="1202"/>
                      <a:pt x="34" y="1202"/>
                    </a:cubicBezTo>
                    <a:lnTo>
                      <a:pt x="1699" y="1202"/>
                    </a:lnTo>
                    <a:close/>
                  </a:path>
                </a:pathLst>
              </a:custGeom>
              <a:solidFill>
                <a:schemeClr val="accent1">
                  <a:lumMod val="50000"/>
                </a:schemeClr>
              </a:solidFill>
              <a:ln>
                <a:noFill/>
              </a:ln>
            </p:spPr>
            <p:txBody>
              <a:bodyPr/>
              <a:lstStyle/>
              <a:p>
                <a:pPr defTabSz="914314">
                  <a:defRPr/>
                </a:pPr>
                <a:endParaRPr lang="en-US">
                  <a:solidFill>
                    <a:srgbClr val="000000"/>
                  </a:solidFill>
                </a:endParaRPr>
              </a:p>
            </p:txBody>
          </p:sp>
          <p:sp>
            <p:nvSpPr>
              <p:cNvPr id="315" name="Rectangle 9"/>
              <p:cNvSpPr>
                <a:spLocks noChangeArrowheads="1"/>
              </p:cNvSpPr>
              <p:nvPr/>
            </p:nvSpPr>
            <p:spPr bwMode="auto">
              <a:xfrm>
                <a:off x="8897778" y="2554580"/>
                <a:ext cx="2420496" cy="1377564"/>
              </a:xfrm>
              <a:prstGeom prst="rect">
                <a:avLst/>
              </a:prstGeom>
              <a:solidFill>
                <a:srgbClr val="0072C6"/>
              </a:solidFill>
              <a:ln>
                <a:noFill/>
              </a:ln>
            </p:spPr>
            <p:txBody>
              <a:bodyPr/>
              <a:lstStyle/>
              <a:p>
                <a:pPr defTabSz="914314">
                  <a:defRPr/>
                </a:pPr>
                <a:endParaRPr lang="en-US">
                  <a:solidFill>
                    <a:srgbClr val="000000"/>
                  </a:solidFill>
                </a:endParaRPr>
              </a:p>
            </p:txBody>
          </p:sp>
          <p:grpSp>
            <p:nvGrpSpPr>
              <p:cNvPr id="9" name="Group 8"/>
              <p:cNvGrpSpPr/>
              <p:nvPr/>
            </p:nvGrpSpPr>
            <p:grpSpPr>
              <a:xfrm>
                <a:off x="9209822" y="3005518"/>
                <a:ext cx="1841024" cy="486982"/>
                <a:chOff x="9100106" y="3001516"/>
                <a:chExt cx="1775258" cy="469586"/>
              </a:xfrm>
              <a:solidFill>
                <a:schemeClr val="bg1"/>
              </a:solidFill>
            </p:grpSpPr>
            <p:sp>
              <p:nvSpPr>
                <p:cNvPr id="324" name="Flowchart: Magnetic Disk 86"/>
                <p:cNvSpPr/>
                <p:nvPr/>
              </p:nvSpPr>
              <p:spPr bwMode="auto">
                <a:xfrm>
                  <a:off x="9100106" y="3021710"/>
                  <a:ext cx="353315" cy="424518"/>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nvGrpSpPr>
                <p:cNvPr id="327" name="Group 326"/>
                <p:cNvGrpSpPr/>
                <p:nvPr/>
              </p:nvGrpSpPr>
              <p:grpSpPr>
                <a:xfrm>
                  <a:off x="9732045" y="3001516"/>
                  <a:ext cx="427489" cy="429470"/>
                  <a:chOff x="12491246" y="2816102"/>
                  <a:chExt cx="1745830" cy="1754162"/>
                </a:xfrm>
                <a:grpFill/>
              </p:grpSpPr>
              <p:sp>
                <p:nvSpPr>
                  <p:cNvPr id="329" name="Rectangle 328"/>
                  <p:cNvSpPr/>
                  <p:nvPr/>
                </p:nvSpPr>
                <p:spPr bwMode="auto">
                  <a:xfrm>
                    <a:off x="12689121" y="3330928"/>
                    <a:ext cx="122893" cy="10327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30" name="Rectangle 329"/>
                  <p:cNvSpPr/>
                  <p:nvPr/>
                </p:nvSpPr>
                <p:spPr bwMode="auto">
                  <a:xfrm>
                    <a:off x="13301845" y="3872140"/>
                    <a:ext cx="122893" cy="47525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rot="5400000">
                    <a:off x="12900537" y="3485238"/>
                    <a:ext cx="122893" cy="412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32" name="Rectangle 331"/>
                  <p:cNvSpPr/>
                  <p:nvPr/>
                </p:nvSpPr>
                <p:spPr bwMode="auto">
                  <a:xfrm rot="5400000">
                    <a:off x="13175552" y="3765667"/>
                    <a:ext cx="122893" cy="107322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33" name="Oval 332"/>
                  <p:cNvSpPr/>
                  <p:nvPr/>
                </p:nvSpPr>
                <p:spPr bwMode="auto">
                  <a:xfrm>
                    <a:off x="12616815" y="356044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34" name="Oval 333"/>
                  <p:cNvSpPr/>
                  <p:nvPr/>
                </p:nvSpPr>
                <p:spPr bwMode="auto">
                  <a:xfrm>
                    <a:off x="13232130" y="4177665"/>
                    <a:ext cx="260985" cy="2628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35" name="Rectangle 334"/>
                  <p:cNvSpPr/>
                  <p:nvPr/>
                </p:nvSpPr>
                <p:spPr bwMode="auto">
                  <a:xfrm>
                    <a:off x="12491246" y="2816102"/>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36" name="Rectangle 335"/>
                  <p:cNvSpPr/>
                  <p:nvPr/>
                </p:nvSpPr>
                <p:spPr bwMode="auto">
                  <a:xfrm>
                    <a:off x="13101888" y="3435817"/>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337" name="Rectangle 336"/>
                  <p:cNvSpPr/>
                  <p:nvPr/>
                </p:nvSpPr>
                <p:spPr bwMode="auto">
                  <a:xfrm>
                    <a:off x="13718430" y="4051618"/>
                    <a:ext cx="518646" cy="5186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39" name="Group 338"/>
                <p:cNvGrpSpPr/>
                <p:nvPr/>
              </p:nvGrpSpPr>
              <p:grpSpPr>
                <a:xfrm>
                  <a:off x="10415953" y="3011757"/>
                  <a:ext cx="459411" cy="459345"/>
                  <a:chOff x="9501982" y="3668713"/>
                  <a:chExt cx="444500" cy="444500"/>
                </a:xfrm>
                <a:grpFill/>
              </p:grpSpPr>
              <p:sp>
                <p:nvSpPr>
                  <p:cNvPr id="341" name="Freeform 10"/>
                  <p:cNvSpPr>
                    <a:spLocks noEditPoints="1"/>
                  </p:cNvSpPr>
                  <p:nvPr/>
                </p:nvSpPr>
                <p:spPr bwMode="auto">
                  <a:xfrm>
                    <a:off x="9501982" y="3668713"/>
                    <a:ext cx="444500" cy="444500"/>
                  </a:xfrm>
                  <a:custGeom>
                    <a:avLst/>
                    <a:gdLst>
                      <a:gd name="T0" fmla="*/ 280 w 280"/>
                      <a:gd name="T1" fmla="*/ 60 h 280"/>
                      <a:gd name="T2" fmla="*/ 242 w 280"/>
                      <a:gd name="T3" fmla="*/ 40 h 280"/>
                      <a:gd name="T4" fmla="*/ 220 w 280"/>
                      <a:gd name="T5" fmla="*/ 0 h 280"/>
                      <a:gd name="T6" fmla="*/ 204 w 280"/>
                      <a:gd name="T7" fmla="*/ 40 h 280"/>
                      <a:gd name="T8" fmla="*/ 184 w 280"/>
                      <a:gd name="T9" fmla="*/ 0 h 280"/>
                      <a:gd name="T10" fmla="*/ 168 w 280"/>
                      <a:gd name="T11" fmla="*/ 40 h 280"/>
                      <a:gd name="T12" fmla="*/ 148 w 280"/>
                      <a:gd name="T13" fmla="*/ 0 h 280"/>
                      <a:gd name="T14" fmla="*/ 132 w 280"/>
                      <a:gd name="T15" fmla="*/ 40 h 280"/>
                      <a:gd name="T16" fmla="*/ 112 w 280"/>
                      <a:gd name="T17" fmla="*/ 0 h 280"/>
                      <a:gd name="T18" fmla="*/ 96 w 280"/>
                      <a:gd name="T19" fmla="*/ 40 h 280"/>
                      <a:gd name="T20" fmla="*/ 76 w 280"/>
                      <a:gd name="T21" fmla="*/ 0 h 280"/>
                      <a:gd name="T22" fmla="*/ 60 w 280"/>
                      <a:gd name="T23" fmla="*/ 40 h 280"/>
                      <a:gd name="T24" fmla="*/ 40 w 280"/>
                      <a:gd name="T25" fmla="*/ 60 h 280"/>
                      <a:gd name="T26" fmla="*/ 0 w 280"/>
                      <a:gd name="T27" fmla="*/ 76 h 280"/>
                      <a:gd name="T28" fmla="*/ 40 w 280"/>
                      <a:gd name="T29" fmla="*/ 96 h 280"/>
                      <a:gd name="T30" fmla="*/ 0 w 280"/>
                      <a:gd name="T31" fmla="*/ 112 h 280"/>
                      <a:gd name="T32" fmla="*/ 40 w 280"/>
                      <a:gd name="T33" fmla="*/ 132 h 280"/>
                      <a:gd name="T34" fmla="*/ 0 w 280"/>
                      <a:gd name="T35" fmla="*/ 148 h 280"/>
                      <a:gd name="T36" fmla="*/ 40 w 280"/>
                      <a:gd name="T37" fmla="*/ 168 h 280"/>
                      <a:gd name="T38" fmla="*/ 0 w 280"/>
                      <a:gd name="T39" fmla="*/ 184 h 280"/>
                      <a:gd name="T40" fmla="*/ 40 w 280"/>
                      <a:gd name="T41" fmla="*/ 204 h 280"/>
                      <a:gd name="T42" fmla="*/ 0 w 280"/>
                      <a:gd name="T43" fmla="*/ 220 h 280"/>
                      <a:gd name="T44" fmla="*/ 40 w 280"/>
                      <a:gd name="T45" fmla="*/ 242 h 280"/>
                      <a:gd name="T46" fmla="*/ 60 w 280"/>
                      <a:gd name="T47" fmla="*/ 280 h 280"/>
                      <a:gd name="T48" fmla="*/ 76 w 280"/>
                      <a:gd name="T49" fmla="*/ 242 h 280"/>
                      <a:gd name="T50" fmla="*/ 96 w 280"/>
                      <a:gd name="T51" fmla="*/ 280 h 280"/>
                      <a:gd name="T52" fmla="*/ 112 w 280"/>
                      <a:gd name="T53" fmla="*/ 242 h 280"/>
                      <a:gd name="T54" fmla="*/ 132 w 280"/>
                      <a:gd name="T55" fmla="*/ 280 h 280"/>
                      <a:gd name="T56" fmla="*/ 148 w 280"/>
                      <a:gd name="T57" fmla="*/ 242 h 280"/>
                      <a:gd name="T58" fmla="*/ 168 w 280"/>
                      <a:gd name="T59" fmla="*/ 280 h 280"/>
                      <a:gd name="T60" fmla="*/ 184 w 280"/>
                      <a:gd name="T61" fmla="*/ 242 h 280"/>
                      <a:gd name="T62" fmla="*/ 204 w 280"/>
                      <a:gd name="T63" fmla="*/ 280 h 280"/>
                      <a:gd name="T64" fmla="*/ 220 w 280"/>
                      <a:gd name="T65" fmla="*/ 242 h 280"/>
                      <a:gd name="T66" fmla="*/ 242 w 280"/>
                      <a:gd name="T67" fmla="*/ 220 h 280"/>
                      <a:gd name="T68" fmla="*/ 280 w 280"/>
                      <a:gd name="T69" fmla="*/ 204 h 280"/>
                      <a:gd name="T70" fmla="*/ 242 w 280"/>
                      <a:gd name="T71" fmla="*/ 184 h 280"/>
                      <a:gd name="T72" fmla="*/ 280 w 280"/>
                      <a:gd name="T73" fmla="*/ 168 h 280"/>
                      <a:gd name="T74" fmla="*/ 242 w 280"/>
                      <a:gd name="T75" fmla="*/ 148 h 280"/>
                      <a:gd name="T76" fmla="*/ 280 w 280"/>
                      <a:gd name="T77" fmla="*/ 132 h 280"/>
                      <a:gd name="T78" fmla="*/ 242 w 280"/>
                      <a:gd name="T79" fmla="*/ 112 h 280"/>
                      <a:gd name="T80" fmla="*/ 280 w 280"/>
                      <a:gd name="T81" fmla="*/ 96 h 280"/>
                      <a:gd name="T82" fmla="*/ 242 w 280"/>
                      <a:gd name="T83" fmla="*/ 76 h 280"/>
                      <a:gd name="T84" fmla="*/ 222 w 280"/>
                      <a:gd name="T85" fmla="*/ 222 h 280"/>
                      <a:gd name="T86" fmla="*/ 60 w 280"/>
                      <a:gd name="T87" fmla="*/ 60 h 280"/>
                      <a:gd name="T88" fmla="*/ 222 w 280"/>
                      <a:gd name="T89" fmla="*/ 22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280">
                        <a:moveTo>
                          <a:pt x="280" y="76"/>
                        </a:moveTo>
                        <a:lnTo>
                          <a:pt x="280" y="60"/>
                        </a:lnTo>
                        <a:lnTo>
                          <a:pt x="242" y="60"/>
                        </a:lnTo>
                        <a:lnTo>
                          <a:pt x="242" y="40"/>
                        </a:lnTo>
                        <a:lnTo>
                          <a:pt x="220" y="40"/>
                        </a:lnTo>
                        <a:lnTo>
                          <a:pt x="220" y="0"/>
                        </a:lnTo>
                        <a:lnTo>
                          <a:pt x="204" y="0"/>
                        </a:lnTo>
                        <a:lnTo>
                          <a:pt x="204" y="40"/>
                        </a:lnTo>
                        <a:lnTo>
                          <a:pt x="184" y="40"/>
                        </a:lnTo>
                        <a:lnTo>
                          <a:pt x="184" y="0"/>
                        </a:lnTo>
                        <a:lnTo>
                          <a:pt x="168" y="0"/>
                        </a:lnTo>
                        <a:lnTo>
                          <a:pt x="168" y="40"/>
                        </a:lnTo>
                        <a:lnTo>
                          <a:pt x="148" y="40"/>
                        </a:lnTo>
                        <a:lnTo>
                          <a:pt x="148" y="0"/>
                        </a:lnTo>
                        <a:lnTo>
                          <a:pt x="132" y="0"/>
                        </a:lnTo>
                        <a:lnTo>
                          <a:pt x="132" y="40"/>
                        </a:lnTo>
                        <a:lnTo>
                          <a:pt x="112" y="40"/>
                        </a:lnTo>
                        <a:lnTo>
                          <a:pt x="112" y="0"/>
                        </a:lnTo>
                        <a:lnTo>
                          <a:pt x="96" y="0"/>
                        </a:lnTo>
                        <a:lnTo>
                          <a:pt x="96" y="40"/>
                        </a:lnTo>
                        <a:lnTo>
                          <a:pt x="76" y="40"/>
                        </a:lnTo>
                        <a:lnTo>
                          <a:pt x="76" y="0"/>
                        </a:lnTo>
                        <a:lnTo>
                          <a:pt x="60" y="0"/>
                        </a:lnTo>
                        <a:lnTo>
                          <a:pt x="60" y="40"/>
                        </a:lnTo>
                        <a:lnTo>
                          <a:pt x="40" y="40"/>
                        </a:lnTo>
                        <a:lnTo>
                          <a:pt x="40" y="60"/>
                        </a:lnTo>
                        <a:lnTo>
                          <a:pt x="0" y="60"/>
                        </a:lnTo>
                        <a:lnTo>
                          <a:pt x="0" y="76"/>
                        </a:lnTo>
                        <a:lnTo>
                          <a:pt x="40" y="76"/>
                        </a:lnTo>
                        <a:lnTo>
                          <a:pt x="40" y="96"/>
                        </a:lnTo>
                        <a:lnTo>
                          <a:pt x="0" y="96"/>
                        </a:lnTo>
                        <a:lnTo>
                          <a:pt x="0" y="112"/>
                        </a:lnTo>
                        <a:lnTo>
                          <a:pt x="40" y="112"/>
                        </a:lnTo>
                        <a:lnTo>
                          <a:pt x="40" y="132"/>
                        </a:lnTo>
                        <a:lnTo>
                          <a:pt x="0" y="132"/>
                        </a:lnTo>
                        <a:lnTo>
                          <a:pt x="0" y="148"/>
                        </a:lnTo>
                        <a:lnTo>
                          <a:pt x="40" y="148"/>
                        </a:lnTo>
                        <a:lnTo>
                          <a:pt x="40" y="168"/>
                        </a:lnTo>
                        <a:lnTo>
                          <a:pt x="0" y="168"/>
                        </a:lnTo>
                        <a:lnTo>
                          <a:pt x="0" y="184"/>
                        </a:lnTo>
                        <a:lnTo>
                          <a:pt x="40" y="184"/>
                        </a:lnTo>
                        <a:lnTo>
                          <a:pt x="40" y="204"/>
                        </a:lnTo>
                        <a:lnTo>
                          <a:pt x="0" y="204"/>
                        </a:lnTo>
                        <a:lnTo>
                          <a:pt x="0" y="220"/>
                        </a:lnTo>
                        <a:lnTo>
                          <a:pt x="40" y="220"/>
                        </a:lnTo>
                        <a:lnTo>
                          <a:pt x="40" y="242"/>
                        </a:lnTo>
                        <a:lnTo>
                          <a:pt x="60" y="242"/>
                        </a:lnTo>
                        <a:lnTo>
                          <a:pt x="60" y="280"/>
                        </a:lnTo>
                        <a:lnTo>
                          <a:pt x="76" y="280"/>
                        </a:lnTo>
                        <a:lnTo>
                          <a:pt x="76" y="242"/>
                        </a:lnTo>
                        <a:lnTo>
                          <a:pt x="96" y="242"/>
                        </a:lnTo>
                        <a:lnTo>
                          <a:pt x="96" y="280"/>
                        </a:lnTo>
                        <a:lnTo>
                          <a:pt x="112" y="280"/>
                        </a:lnTo>
                        <a:lnTo>
                          <a:pt x="112" y="242"/>
                        </a:lnTo>
                        <a:lnTo>
                          <a:pt x="132" y="242"/>
                        </a:lnTo>
                        <a:lnTo>
                          <a:pt x="132" y="280"/>
                        </a:lnTo>
                        <a:lnTo>
                          <a:pt x="148" y="280"/>
                        </a:lnTo>
                        <a:lnTo>
                          <a:pt x="148" y="242"/>
                        </a:lnTo>
                        <a:lnTo>
                          <a:pt x="168" y="242"/>
                        </a:lnTo>
                        <a:lnTo>
                          <a:pt x="168" y="280"/>
                        </a:lnTo>
                        <a:lnTo>
                          <a:pt x="184" y="280"/>
                        </a:lnTo>
                        <a:lnTo>
                          <a:pt x="184" y="242"/>
                        </a:lnTo>
                        <a:lnTo>
                          <a:pt x="204" y="242"/>
                        </a:lnTo>
                        <a:lnTo>
                          <a:pt x="204" y="280"/>
                        </a:lnTo>
                        <a:lnTo>
                          <a:pt x="220" y="280"/>
                        </a:lnTo>
                        <a:lnTo>
                          <a:pt x="220" y="242"/>
                        </a:lnTo>
                        <a:lnTo>
                          <a:pt x="242" y="242"/>
                        </a:lnTo>
                        <a:lnTo>
                          <a:pt x="242" y="220"/>
                        </a:lnTo>
                        <a:lnTo>
                          <a:pt x="280" y="220"/>
                        </a:lnTo>
                        <a:lnTo>
                          <a:pt x="280" y="204"/>
                        </a:lnTo>
                        <a:lnTo>
                          <a:pt x="242" y="204"/>
                        </a:lnTo>
                        <a:lnTo>
                          <a:pt x="242" y="184"/>
                        </a:lnTo>
                        <a:lnTo>
                          <a:pt x="280" y="184"/>
                        </a:lnTo>
                        <a:lnTo>
                          <a:pt x="280" y="168"/>
                        </a:lnTo>
                        <a:lnTo>
                          <a:pt x="242" y="168"/>
                        </a:lnTo>
                        <a:lnTo>
                          <a:pt x="242" y="148"/>
                        </a:lnTo>
                        <a:lnTo>
                          <a:pt x="280" y="148"/>
                        </a:lnTo>
                        <a:lnTo>
                          <a:pt x="280" y="132"/>
                        </a:lnTo>
                        <a:lnTo>
                          <a:pt x="242" y="132"/>
                        </a:lnTo>
                        <a:lnTo>
                          <a:pt x="242" y="112"/>
                        </a:lnTo>
                        <a:lnTo>
                          <a:pt x="280" y="112"/>
                        </a:lnTo>
                        <a:lnTo>
                          <a:pt x="280" y="96"/>
                        </a:lnTo>
                        <a:lnTo>
                          <a:pt x="242" y="96"/>
                        </a:lnTo>
                        <a:lnTo>
                          <a:pt x="242" y="76"/>
                        </a:lnTo>
                        <a:lnTo>
                          <a:pt x="280" y="76"/>
                        </a:lnTo>
                        <a:close/>
                        <a:moveTo>
                          <a:pt x="222" y="222"/>
                        </a:moveTo>
                        <a:lnTo>
                          <a:pt x="60" y="222"/>
                        </a:lnTo>
                        <a:lnTo>
                          <a:pt x="60" y="60"/>
                        </a:lnTo>
                        <a:lnTo>
                          <a:pt x="222" y="60"/>
                        </a:lnTo>
                        <a:lnTo>
                          <a:pt x="222" y="2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sp>
                <p:nvSpPr>
                  <p:cNvPr id="342" name="Rectangle 11"/>
                  <p:cNvSpPr>
                    <a:spLocks noChangeArrowheads="1"/>
                  </p:cNvSpPr>
                  <p:nvPr/>
                </p:nvSpPr>
                <p:spPr bwMode="auto">
                  <a:xfrm>
                    <a:off x="9625807" y="3792538"/>
                    <a:ext cx="200025" cy="2000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algn="ctr" defTabSz="914281"/>
                    <a:endParaRPr lang="en-US" sz="1176" dirty="0">
                      <a:solidFill>
                        <a:srgbClr val="000000"/>
                      </a:solidFill>
                    </a:endParaRPr>
                  </a:p>
                </p:txBody>
              </p:sp>
            </p:grpSp>
          </p:grpSp>
          <p:grpSp>
            <p:nvGrpSpPr>
              <p:cNvPr id="301" name="Group 300"/>
              <p:cNvGrpSpPr/>
              <p:nvPr/>
            </p:nvGrpSpPr>
            <p:grpSpPr>
              <a:xfrm>
                <a:off x="8088405" y="2686049"/>
                <a:ext cx="1021632" cy="1655653"/>
                <a:chOff x="6520869" y="2962116"/>
                <a:chExt cx="1171575" cy="1898651"/>
              </a:xfrm>
            </p:grpSpPr>
            <p:sp>
              <p:nvSpPr>
                <p:cNvPr id="95" name="Freeform 261"/>
                <p:cNvSpPr>
                  <a:spLocks/>
                </p:cNvSpPr>
                <p:nvPr/>
              </p:nvSpPr>
              <p:spPr bwMode="auto">
                <a:xfrm>
                  <a:off x="6747882" y="2962116"/>
                  <a:ext cx="717550" cy="827088"/>
                </a:xfrm>
                <a:custGeom>
                  <a:avLst/>
                  <a:gdLst>
                    <a:gd name="T0" fmla="*/ 199 w 199"/>
                    <a:gd name="T1" fmla="*/ 229 h 229"/>
                    <a:gd name="T2" fmla="*/ 155 w 199"/>
                    <a:gd name="T3" fmla="*/ 229 h 229"/>
                    <a:gd name="T4" fmla="*/ 155 w 199"/>
                    <a:gd name="T5" fmla="*/ 100 h 229"/>
                    <a:gd name="T6" fmla="*/ 99 w 199"/>
                    <a:gd name="T7" fmla="*/ 44 h 229"/>
                    <a:gd name="T8" fmla="*/ 44 w 199"/>
                    <a:gd name="T9" fmla="*/ 100 h 229"/>
                    <a:gd name="T10" fmla="*/ 44 w 199"/>
                    <a:gd name="T11" fmla="*/ 229 h 229"/>
                    <a:gd name="T12" fmla="*/ 0 w 199"/>
                    <a:gd name="T13" fmla="*/ 229 h 229"/>
                    <a:gd name="T14" fmla="*/ 0 w 199"/>
                    <a:gd name="T15" fmla="*/ 100 h 229"/>
                    <a:gd name="T16" fmla="*/ 99 w 199"/>
                    <a:gd name="T17" fmla="*/ 0 h 229"/>
                    <a:gd name="T18" fmla="*/ 199 w 199"/>
                    <a:gd name="T19" fmla="*/ 100 h 229"/>
                    <a:gd name="T20" fmla="*/ 199 w 199"/>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29">
                      <a:moveTo>
                        <a:pt x="199" y="229"/>
                      </a:moveTo>
                      <a:cubicBezTo>
                        <a:pt x="155" y="229"/>
                        <a:pt x="155" y="229"/>
                        <a:pt x="155" y="229"/>
                      </a:cubicBezTo>
                      <a:cubicBezTo>
                        <a:pt x="155" y="100"/>
                        <a:pt x="155" y="100"/>
                        <a:pt x="155" y="100"/>
                      </a:cubicBezTo>
                      <a:cubicBezTo>
                        <a:pt x="155" y="69"/>
                        <a:pt x="130" y="44"/>
                        <a:pt x="99"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99" y="0"/>
                      </a:cubicBezTo>
                      <a:cubicBezTo>
                        <a:pt x="154" y="0"/>
                        <a:pt x="199" y="45"/>
                        <a:pt x="199" y="100"/>
                      </a:cubicBezTo>
                      <a:lnTo>
                        <a:pt x="199" y="229"/>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6" name="Rectangle 262"/>
                <p:cNvSpPr>
                  <a:spLocks noChangeArrowheads="1"/>
                </p:cNvSpPr>
                <p:nvPr/>
              </p:nvSpPr>
              <p:spPr bwMode="auto">
                <a:xfrm>
                  <a:off x="6520869" y="3760629"/>
                  <a:ext cx="1171575" cy="1100138"/>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7" name="Rectangle 263"/>
                <p:cNvSpPr>
                  <a:spLocks noChangeArrowheads="1"/>
                </p:cNvSpPr>
                <p:nvPr/>
              </p:nvSpPr>
              <p:spPr bwMode="auto">
                <a:xfrm>
                  <a:off x="6520869" y="3760629"/>
                  <a:ext cx="306388" cy="1100138"/>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8" name="Freeform 264"/>
                <p:cNvSpPr>
                  <a:spLocks/>
                </p:cNvSpPr>
                <p:nvPr/>
              </p:nvSpPr>
              <p:spPr bwMode="auto">
                <a:xfrm>
                  <a:off x="6989182" y="4114641"/>
                  <a:ext cx="234950" cy="417513"/>
                </a:xfrm>
                <a:custGeom>
                  <a:avLst/>
                  <a:gdLst>
                    <a:gd name="T0" fmla="*/ 65 w 65"/>
                    <a:gd name="T1" fmla="*/ 33 h 116"/>
                    <a:gd name="T2" fmla="*/ 32 w 65"/>
                    <a:gd name="T3" fmla="*/ 0 h 116"/>
                    <a:gd name="T4" fmla="*/ 0 w 65"/>
                    <a:gd name="T5" fmla="*/ 33 h 116"/>
                    <a:gd name="T6" fmla="*/ 21 w 65"/>
                    <a:gd name="T7" fmla="*/ 64 h 116"/>
                    <a:gd name="T8" fmla="*/ 21 w 65"/>
                    <a:gd name="T9" fmla="*/ 116 h 116"/>
                    <a:gd name="T10" fmla="*/ 44 w 65"/>
                    <a:gd name="T11" fmla="*/ 116 h 116"/>
                    <a:gd name="T12" fmla="*/ 44 w 65"/>
                    <a:gd name="T13" fmla="*/ 64 h 116"/>
                    <a:gd name="T14" fmla="*/ 65 w 65"/>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116">
                      <a:moveTo>
                        <a:pt x="65" y="33"/>
                      </a:moveTo>
                      <a:cubicBezTo>
                        <a:pt x="65" y="15"/>
                        <a:pt x="51" y="0"/>
                        <a:pt x="32" y="0"/>
                      </a:cubicBezTo>
                      <a:cubicBezTo>
                        <a:pt x="14" y="0"/>
                        <a:pt x="0" y="15"/>
                        <a:pt x="0" y="33"/>
                      </a:cubicBezTo>
                      <a:cubicBezTo>
                        <a:pt x="0" y="47"/>
                        <a:pt x="9" y="60"/>
                        <a:pt x="21" y="64"/>
                      </a:cubicBezTo>
                      <a:cubicBezTo>
                        <a:pt x="21" y="116"/>
                        <a:pt x="21" y="116"/>
                        <a:pt x="21" y="116"/>
                      </a:cubicBezTo>
                      <a:cubicBezTo>
                        <a:pt x="44" y="116"/>
                        <a:pt x="44" y="116"/>
                        <a:pt x="44" y="116"/>
                      </a:cubicBezTo>
                      <a:cubicBezTo>
                        <a:pt x="44" y="64"/>
                        <a:pt x="44" y="64"/>
                        <a:pt x="44" y="64"/>
                      </a:cubicBezTo>
                      <a:cubicBezTo>
                        <a:pt x="56" y="60"/>
                        <a:pt x="65" y="47"/>
                        <a:pt x="65" y="3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grpSp>
      </p:grpSp>
      <p:sp>
        <p:nvSpPr>
          <p:cNvPr id="266" name="TextBox 265"/>
          <p:cNvSpPr txBox="1"/>
          <p:nvPr/>
        </p:nvSpPr>
        <p:spPr>
          <a:xfrm>
            <a:off x="1165665" y="4950123"/>
            <a:ext cx="4301583" cy="1043134"/>
          </a:xfrm>
          <a:prstGeom prst="rect">
            <a:avLst/>
          </a:prstGeom>
          <a:noFill/>
        </p:spPr>
        <p:txBody>
          <a:bodyPr wrap="square" lIns="179285" tIns="143428" rIns="179285" bIns="143428" rtlCol="0">
            <a:noAutofit/>
          </a:bodyPr>
          <a:lstStyle/>
          <a:p>
            <a:pPr defTabSz="914367">
              <a:lnSpc>
                <a:spcPct val="90000"/>
              </a:lnSpc>
              <a:spcAft>
                <a:spcPts val="588"/>
              </a:spcAft>
            </a:pPr>
            <a:r>
              <a:rPr lang="en-US" sz="2745" dirty="0">
                <a:gradFill>
                  <a:gsLst>
                    <a:gs pos="2917">
                      <a:srgbClr val="000000"/>
                    </a:gs>
                    <a:gs pos="30000">
                      <a:srgbClr val="000000"/>
                    </a:gs>
                  </a:gsLst>
                  <a:lin ang="5400000" scaled="0"/>
                </a:gradFill>
                <a:latin typeface="Segoe UI Light"/>
              </a:rPr>
              <a:t>Enterprise-grade datacenter foundation</a:t>
            </a:r>
          </a:p>
        </p:txBody>
      </p:sp>
      <p:sp>
        <p:nvSpPr>
          <p:cNvPr id="268" name="TextBox 267"/>
          <p:cNvSpPr txBox="1"/>
          <p:nvPr/>
        </p:nvSpPr>
        <p:spPr>
          <a:xfrm>
            <a:off x="7366077" y="4950122"/>
            <a:ext cx="4229882" cy="1030379"/>
          </a:xfrm>
          <a:prstGeom prst="rect">
            <a:avLst/>
          </a:prstGeom>
          <a:noFill/>
        </p:spPr>
        <p:txBody>
          <a:bodyPr wrap="square" lIns="179285" tIns="143428" rIns="179285" bIns="143428" rtlCol="0">
            <a:noAutofit/>
          </a:bodyPr>
          <a:lstStyle/>
          <a:p>
            <a:pPr defTabSz="914367">
              <a:lnSpc>
                <a:spcPct val="90000"/>
              </a:lnSpc>
              <a:spcAft>
                <a:spcPts val="588"/>
              </a:spcAft>
            </a:pPr>
            <a:r>
              <a:rPr lang="en-US" sz="2745" dirty="0">
                <a:gradFill>
                  <a:gsLst>
                    <a:gs pos="2917">
                      <a:srgbClr val="000000"/>
                    </a:gs>
                    <a:gs pos="30000">
                      <a:srgbClr val="000000"/>
                    </a:gs>
                  </a:gsLst>
                  <a:lin ang="5400000" scaled="0"/>
                </a:gradFill>
                <a:latin typeface="Segoe UI Light"/>
              </a:rPr>
              <a:t>Management and security </a:t>
            </a:r>
            <a:br>
              <a:rPr lang="en-US" sz="2745" dirty="0">
                <a:gradFill>
                  <a:gsLst>
                    <a:gs pos="2917">
                      <a:srgbClr val="000000"/>
                    </a:gs>
                    <a:gs pos="30000">
                      <a:srgbClr val="000000"/>
                    </a:gs>
                  </a:gsLst>
                  <a:lin ang="5400000" scaled="0"/>
                </a:gradFill>
                <a:latin typeface="Segoe UI Light"/>
              </a:rPr>
            </a:br>
            <a:r>
              <a:rPr lang="en-US" sz="2745" dirty="0">
                <a:gradFill>
                  <a:gsLst>
                    <a:gs pos="2917">
                      <a:srgbClr val="000000"/>
                    </a:gs>
                    <a:gs pos="30000">
                      <a:srgbClr val="000000"/>
                    </a:gs>
                  </a:gsLst>
                  <a:lin ang="5400000" scaled="0"/>
                </a:gradFill>
                <a:latin typeface="Segoe UI Light"/>
              </a:rPr>
              <a:t>of your infrastructure</a:t>
            </a:r>
          </a:p>
        </p:txBody>
      </p:sp>
    </p:spTree>
    <p:extLst>
      <p:ext uri="{BB962C8B-B14F-4D97-AF65-F5344CB8AC3E}">
        <p14:creationId xmlns:p14="http://schemas.microsoft.com/office/powerpoint/2010/main" val="20735145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ified management </a:t>
            </a:r>
            <a:endParaRPr lang="en-US" dirty="0"/>
          </a:p>
        </p:txBody>
      </p:sp>
      <p:pic>
        <p:nvPicPr>
          <p:cNvPr id="3" name="Picture 19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5944" y="2247690"/>
            <a:ext cx="6589580" cy="44747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8" name="Group 7"/>
          <p:cNvGrpSpPr/>
          <p:nvPr/>
        </p:nvGrpSpPr>
        <p:grpSpPr>
          <a:xfrm>
            <a:off x="445227" y="5095494"/>
            <a:ext cx="4440290" cy="1083099"/>
            <a:chOff x="274638" y="573119"/>
            <a:chExt cx="4529327" cy="1104817"/>
          </a:xfrm>
        </p:grpSpPr>
        <p:sp>
          <p:nvSpPr>
            <p:cNvPr id="39" name="TextBox 38"/>
            <p:cNvSpPr txBox="1"/>
            <p:nvPr/>
          </p:nvSpPr>
          <p:spPr>
            <a:xfrm>
              <a:off x="274638" y="573119"/>
              <a:ext cx="4529327" cy="1104817"/>
            </a:xfrm>
            <a:prstGeom prst="rect">
              <a:avLst/>
            </a:prstGeom>
            <a:solidFill>
              <a:srgbClr val="68217A"/>
            </a:solidFill>
          </p:spPr>
          <p:txBody>
            <a:bodyPr wrap="square" lIns="627497" tIns="143428" rIns="179285" bIns="143428" rtlCol="0" anchor="ctr">
              <a:noAutofit/>
            </a:bodyPr>
            <a:lstStyle/>
            <a:p>
              <a:pPr marL="331477" defTabSz="914367" fontAlgn="base">
                <a:lnSpc>
                  <a:spcPct val="90000"/>
                </a:lnSpc>
                <a:spcBef>
                  <a:spcPct val="0"/>
                </a:spcBef>
                <a:spcAft>
                  <a:spcPts val="588"/>
                </a:spcAft>
              </a:pPr>
              <a:r>
                <a:rPr lang="en-US" sz="2745" spc="-49" dirty="0">
                  <a:gradFill>
                    <a:gsLst>
                      <a:gs pos="0">
                        <a:srgbClr val="FFFFFF"/>
                      </a:gs>
                      <a:gs pos="59000">
                        <a:srgbClr val="FFFFFF"/>
                      </a:gs>
                    </a:gsLst>
                    <a:lin ang="5400000" scaled="1"/>
                  </a:gradFill>
                  <a:latin typeface="Segoe UI Light"/>
                </a:rPr>
                <a:t>Manage</a:t>
              </a:r>
            </a:p>
          </p:txBody>
        </p:sp>
        <p:sp>
          <p:nvSpPr>
            <p:cNvPr id="40" name="Oval 39"/>
            <p:cNvSpPr/>
            <p:nvPr/>
          </p:nvSpPr>
          <p:spPr bwMode="auto">
            <a:xfrm>
              <a:off x="514504" y="875878"/>
              <a:ext cx="500018" cy="500018"/>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41" name="Isosceles Triangle 40"/>
            <p:cNvSpPr/>
            <p:nvPr/>
          </p:nvSpPr>
          <p:spPr bwMode="auto">
            <a:xfrm rot="5400000">
              <a:off x="689278" y="1055233"/>
              <a:ext cx="208619" cy="14130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445228" y="1578595"/>
            <a:ext cx="4440289" cy="1083099"/>
            <a:chOff x="182269" y="24179"/>
            <a:chExt cx="4529326" cy="1104817"/>
          </a:xfrm>
        </p:grpSpPr>
        <p:sp>
          <p:nvSpPr>
            <p:cNvPr id="43" name="TextBox 42"/>
            <p:cNvSpPr txBox="1"/>
            <p:nvPr/>
          </p:nvSpPr>
          <p:spPr>
            <a:xfrm>
              <a:off x="182269" y="24179"/>
              <a:ext cx="4529326" cy="1104817"/>
            </a:xfrm>
            <a:prstGeom prst="rect">
              <a:avLst/>
            </a:prstGeom>
            <a:solidFill>
              <a:schemeClr val="accent1"/>
            </a:solidFill>
          </p:spPr>
          <p:txBody>
            <a:bodyPr wrap="square" lIns="627497" tIns="143428" rIns="179285" bIns="143428" rtlCol="0" anchor="ctr">
              <a:noAutofit/>
            </a:bodyPr>
            <a:lstStyle/>
            <a:p>
              <a:pPr marL="331477" defTabSz="914367" fontAlgn="base">
                <a:lnSpc>
                  <a:spcPct val="90000"/>
                </a:lnSpc>
                <a:spcBef>
                  <a:spcPct val="0"/>
                </a:spcBef>
                <a:spcAft>
                  <a:spcPts val="588"/>
                </a:spcAft>
              </a:pPr>
              <a:r>
                <a:rPr lang="en-US" sz="2745" spc="-49" dirty="0">
                  <a:gradFill>
                    <a:gsLst>
                      <a:gs pos="0">
                        <a:srgbClr val="FFFFFF"/>
                      </a:gs>
                      <a:gs pos="59000">
                        <a:srgbClr val="FFFFFF"/>
                      </a:gs>
                    </a:gsLst>
                    <a:lin ang="5400000" scaled="1"/>
                  </a:gradFill>
                  <a:latin typeface="Segoe UI Light"/>
                </a:rPr>
                <a:t>Provision</a:t>
              </a:r>
            </a:p>
          </p:txBody>
        </p:sp>
        <p:sp>
          <p:nvSpPr>
            <p:cNvPr id="44" name="Oval 43"/>
            <p:cNvSpPr/>
            <p:nvPr/>
          </p:nvSpPr>
          <p:spPr bwMode="auto">
            <a:xfrm>
              <a:off x="472924" y="326578"/>
              <a:ext cx="500018" cy="500018"/>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45" name="Isosceles Triangle 44"/>
            <p:cNvSpPr/>
            <p:nvPr/>
          </p:nvSpPr>
          <p:spPr bwMode="auto">
            <a:xfrm rot="5400000">
              <a:off x="628318" y="521833"/>
              <a:ext cx="208619" cy="14130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grpSp>
      <p:grpSp>
        <p:nvGrpSpPr>
          <p:cNvPr id="46" name="Group 45"/>
          <p:cNvGrpSpPr/>
          <p:nvPr/>
        </p:nvGrpSpPr>
        <p:grpSpPr>
          <a:xfrm>
            <a:off x="445227" y="2750895"/>
            <a:ext cx="4440290" cy="1083099"/>
            <a:chOff x="274638" y="573119"/>
            <a:chExt cx="4529327" cy="1104817"/>
          </a:xfrm>
        </p:grpSpPr>
        <p:sp>
          <p:nvSpPr>
            <p:cNvPr id="47" name="TextBox 46"/>
            <p:cNvSpPr txBox="1"/>
            <p:nvPr/>
          </p:nvSpPr>
          <p:spPr>
            <a:xfrm>
              <a:off x="274638" y="573119"/>
              <a:ext cx="4529327" cy="1104817"/>
            </a:xfrm>
            <a:prstGeom prst="rect">
              <a:avLst/>
            </a:prstGeom>
            <a:solidFill>
              <a:schemeClr val="accent1">
                <a:lumMod val="75000"/>
              </a:schemeClr>
            </a:solidFill>
          </p:spPr>
          <p:txBody>
            <a:bodyPr wrap="square" lIns="627497" tIns="143428" rIns="179285" bIns="143428" rtlCol="0" anchor="ctr">
              <a:noAutofit/>
            </a:bodyPr>
            <a:lstStyle/>
            <a:p>
              <a:pPr marL="331477" defTabSz="914367" fontAlgn="base">
                <a:lnSpc>
                  <a:spcPct val="90000"/>
                </a:lnSpc>
                <a:spcBef>
                  <a:spcPct val="0"/>
                </a:spcBef>
                <a:spcAft>
                  <a:spcPts val="588"/>
                </a:spcAft>
              </a:pPr>
              <a:r>
                <a:rPr lang="en-US" sz="2745" spc="-49" dirty="0">
                  <a:gradFill>
                    <a:gsLst>
                      <a:gs pos="0">
                        <a:srgbClr val="FFFFFF"/>
                      </a:gs>
                      <a:gs pos="59000">
                        <a:srgbClr val="FFFFFF"/>
                      </a:gs>
                    </a:gsLst>
                    <a:lin ang="5400000" scaled="1"/>
                  </a:gradFill>
                  <a:latin typeface="Segoe UI Light"/>
                </a:rPr>
                <a:t>Deploy</a:t>
              </a:r>
            </a:p>
          </p:txBody>
        </p:sp>
        <p:sp>
          <p:nvSpPr>
            <p:cNvPr id="48" name="Oval 47"/>
            <p:cNvSpPr/>
            <p:nvPr/>
          </p:nvSpPr>
          <p:spPr bwMode="auto">
            <a:xfrm>
              <a:off x="514504" y="875878"/>
              <a:ext cx="500018" cy="500018"/>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49" name="Isosceles Triangle 48"/>
            <p:cNvSpPr/>
            <p:nvPr/>
          </p:nvSpPr>
          <p:spPr bwMode="auto">
            <a:xfrm rot="5400000">
              <a:off x="689278" y="1055233"/>
              <a:ext cx="208619" cy="14130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grpSp>
      <p:grpSp>
        <p:nvGrpSpPr>
          <p:cNvPr id="50" name="Group 49"/>
          <p:cNvGrpSpPr/>
          <p:nvPr/>
        </p:nvGrpSpPr>
        <p:grpSpPr>
          <a:xfrm>
            <a:off x="445227" y="3923195"/>
            <a:ext cx="4440290" cy="1083099"/>
            <a:chOff x="274638" y="573119"/>
            <a:chExt cx="4529327" cy="1104817"/>
          </a:xfrm>
        </p:grpSpPr>
        <p:sp>
          <p:nvSpPr>
            <p:cNvPr id="51" name="TextBox 50"/>
            <p:cNvSpPr txBox="1"/>
            <p:nvPr/>
          </p:nvSpPr>
          <p:spPr>
            <a:xfrm>
              <a:off x="274638" y="573119"/>
              <a:ext cx="4529327" cy="1104817"/>
            </a:xfrm>
            <a:prstGeom prst="rect">
              <a:avLst/>
            </a:prstGeom>
            <a:solidFill>
              <a:schemeClr val="accent1">
                <a:lumMod val="50000"/>
              </a:schemeClr>
            </a:solidFill>
          </p:spPr>
          <p:txBody>
            <a:bodyPr wrap="square" lIns="627497" tIns="143428" rIns="179285" bIns="143428" rtlCol="0" anchor="ctr">
              <a:noAutofit/>
            </a:bodyPr>
            <a:lstStyle/>
            <a:p>
              <a:pPr marL="331477" defTabSz="914367" fontAlgn="base">
                <a:lnSpc>
                  <a:spcPct val="90000"/>
                </a:lnSpc>
                <a:spcBef>
                  <a:spcPct val="0"/>
                </a:spcBef>
                <a:spcAft>
                  <a:spcPts val="588"/>
                </a:spcAft>
              </a:pPr>
              <a:r>
                <a:rPr lang="en-US" sz="2745" spc="-49" dirty="0">
                  <a:gradFill>
                    <a:gsLst>
                      <a:gs pos="0">
                        <a:srgbClr val="FFFFFF"/>
                      </a:gs>
                      <a:gs pos="59000">
                        <a:srgbClr val="FFFFFF"/>
                      </a:gs>
                    </a:gsLst>
                    <a:lin ang="5400000" scaled="1"/>
                  </a:gradFill>
                  <a:latin typeface="Segoe UI Light"/>
                </a:rPr>
                <a:t>Monitor</a:t>
              </a:r>
            </a:p>
          </p:txBody>
        </p:sp>
        <p:sp>
          <p:nvSpPr>
            <p:cNvPr id="52" name="Oval 51"/>
            <p:cNvSpPr/>
            <p:nvPr/>
          </p:nvSpPr>
          <p:spPr bwMode="auto">
            <a:xfrm>
              <a:off x="514504" y="875878"/>
              <a:ext cx="500018" cy="500018"/>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53" name="Isosceles Triangle 52"/>
            <p:cNvSpPr/>
            <p:nvPr/>
          </p:nvSpPr>
          <p:spPr bwMode="auto">
            <a:xfrm rot="5400000">
              <a:off x="689278" y="1055233"/>
              <a:ext cx="208619" cy="141309"/>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194398591"/>
      </p:ext>
    </p:extLst>
  </p:cSld>
  <p:clrMapOvr>
    <a:masterClrMapping/>
  </p:clrMapOvr>
  <p:transition spd="slow">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p:cNvSpPr txBox="1"/>
          <p:nvPr/>
        </p:nvSpPr>
        <p:spPr>
          <a:xfrm>
            <a:off x="4423318" y="2078314"/>
            <a:ext cx="4037682" cy="4037682"/>
          </a:xfrm>
          <a:prstGeom prst="rect">
            <a:avLst/>
          </a:prstGeom>
          <a:solidFill>
            <a:srgbClr val="F2F2F2"/>
          </a:solidFill>
        </p:spPr>
        <p:txBody>
          <a:bodyPr wrap="square" lIns="179285" tIns="134464" rtlCol="0">
            <a:noAutofit/>
          </a:bodyPr>
          <a:lstStyle/>
          <a:p>
            <a:pPr defTabSz="914102" fontAlgn="base">
              <a:lnSpc>
                <a:spcPct val="90000"/>
              </a:lnSpc>
              <a:spcBef>
                <a:spcPct val="0"/>
              </a:spcBef>
              <a:spcAft>
                <a:spcPct val="0"/>
              </a:spcAft>
            </a:pPr>
            <a:r>
              <a:rPr lang="en-US" sz="2745" dirty="0">
                <a:solidFill>
                  <a:srgbClr val="0072C6"/>
                </a:solidFill>
                <a:latin typeface="Segoe UI Light"/>
                <a:ea typeface="Segoe UI" pitchFamily="34" charset="0"/>
                <a:cs typeface="Segoe UI Light"/>
              </a:rPr>
              <a:t>Deploy applications</a:t>
            </a:r>
          </a:p>
        </p:txBody>
      </p:sp>
      <p:sp>
        <p:nvSpPr>
          <p:cNvPr id="50" name="TextBox 49"/>
          <p:cNvSpPr txBox="1"/>
          <p:nvPr/>
        </p:nvSpPr>
        <p:spPr>
          <a:xfrm>
            <a:off x="267683" y="2078314"/>
            <a:ext cx="4037682" cy="4037682"/>
          </a:xfrm>
          <a:prstGeom prst="rect">
            <a:avLst/>
          </a:prstGeom>
          <a:solidFill>
            <a:srgbClr val="F2F2F2"/>
          </a:solidFill>
        </p:spPr>
        <p:txBody>
          <a:bodyPr wrap="square" lIns="179285" tIns="134464" rtlCol="0">
            <a:noAutofit/>
          </a:bodyPr>
          <a:lstStyle/>
          <a:p>
            <a:pPr defTabSz="914102" fontAlgn="base">
              <a:lnSpc>
                <a:spcPct val="90000"/>
              </a:lnSpc>
              <a:spcBef>
                <a:spcPct val="0"/>
              </a:spcBef>
              <a:spcAft>
                <a:spcPct val="0"/>
              </a:spcAft>
            </a:pPr>
            <a:r>
              <a:rPr lang="en-US" sz="2745" dirty="0">
                <a:solidFill>
                  <a:srgbClr val="0072C6"/>
                </a:solidFill>
                <a:latin typeface="Segoe UI Light"/>
                <a:ea typeface="Segoe UI" pitchFamily="34" charset="0"/>
                <a:cs typeface="Segoe UI Light"/>
              </a:rPr>
              <a:t>Deploy infrastructure</a:t>
            </a:r>
          </a:p>
        </p:txBody>
      </p:sp>
      <p:grpSp>
        <p:nvGrpSpPr>
          <p:cNvPr id="91" name="Group 90"/>
          <p:cNvGrpSpPr/>
          <p:nvPr/>
        </p:nvGrpSpPr>
        <p:grpSpPr>
          <a:xfrm>
            <a:off x="1104010" y="2880871"/>
            <a:ext cx="2300135" cy="2615649"/>
            <a:chOff x="1074412" y="3497262"/>
            <a:chExt cx="2346258" cy="2668098"/>
          </a:xfrm>
        </p:grpSpPr>
        <p:sp>
          <p:nvSpPr>
            <p:cNvPr id="56" name="Oval 121"/>
            <p:cNvSpPr>
              <a:spLocks noChangeArrowheads="1"/>
            </p:cNvSpPr>
            <p:nvPr/>
          </p:nvSpPr>
          <p:spPr bwMode="auto">
            <a:xfrm>
              <a:off x="1074412" y="3882643"/>
              <a:ext cx="2287602" cy="2282717"/>
            </a:xfrm>
            <a:prstGeom prst="ellipse">
              <a:avLst/>
            </a:pr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7" name="Oval 122"/>
            <p:cNvSpPr>
              <a:spLocks noChangeArrowheads="1"/>
            </p:cNvSpPr>
            <p:nvPr/>
          </p:nvSpPr>
          <p:spPr bwMode="auto">
            <a:xfrm>
              <a:off x="1191726" y="3999956"/>
              <a:ext cx="2052976" cy="2048091"/>
            </a:xfrm>
            <a:prstGeom prst="ellipse">
              <a:avLst/>
            </a:prstGeom>
            <a:solidFill>
              <a:srgbClr val="F5F6F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59" name="Group 58"/>
            <p:cNvGrpSpPr/>
            <p:nvPr/>
          </p:nvGrpSpPr>
          <p:grpSpPr>
            <a:xfrm>
              <a:off x="1930833" y="3497262"/>
              <a:ext cx="573622" cy="271448"/>
              <a:chOff x="4240274" y="2302030"/>
              <a:chExt cx="573622" cy="271448"/>
            </a:xfrm>
          </p:grpSpPr>
          <p:sp>
            <p:nvSpPr>
              <p:cNvPr id="60" name="Rectangle 119"/>
              <p:cNvSpPr>
                <a:spLocks noChangeArrowheads="1"/>
              </p:cNvSpPr>
              <p:nvPr/>
            </p:nvSpPr>
            <p:spPr bwMode="auto">
              <a:xfrm>
                <a:off x="4240274" y="2302030"/>
                <a:ext cx="573622" cy="27144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1" name="Rectangle 120"/>
              <p:cNvSpPr>
                <a:spLocks noChangeArrowheads="1"/>
              </p:cNvSpPr>
              <p:nvPr/>
            </p:nvSpPr>
            <p:spPr bwMode="auto">
              <a:xfrm>
                <a:off x="4387405" y="2302030"/>
                <a:ext cx="425098" cy="271448"/>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62" name="Freeform 115"/>
            <p:cNvSpPr>
              <a:spLocks/>
            </p:cNvSpPr>
            <p:nvPr/>
          </p:nvSpPr>
          <p:spPr bwMode="auto">
            <a:xfrm>
              <a:off x="2922090" y="3999956"/>
              <a:ext cx="312835" cy="303058"/>
            </a:xfrm>
            <a:custGeom>
              <a:avLst/>
              <a:gdLst>
                <a:gd name="T0" fmla="*/ 64 w 64"/>
                <a:gd name="T1" fmla="*/ 24 h 62"/>
                <a:gd name="T2" fmla="*/ 40 w 64"/>
                <a:gd name="T3" fmla="*/ 0 h 62"/>
                <a:gd name="T4" fmla="*/ 0 w 64"/>
                <a:gd name="T5" fmla="*/ 38 h 62"/>
                <a:gd name="T6" fmla="*/ 23 w 64"/>
                <a:gd name="T7" fmla="*/ 62 h 62"/>
                <a:gd name="T8" fmla="*/ 64 w 64"/>
                <a:gd name="T9" fmla="*/ 24 h 62"/>
              </a:gdLst>
              <a:ahLst/>
              <a:cxnLst>
                <a:cxn ang="0">
                  <a:pos x="T0" y="T1"/>
                </a:cxn>
                <a:cxn ang="0">
                  <a:pos x="T2" y="T3"/>
                </a:cxn>
                <a:cxn ang="0">
                  <a:pos x="T4" y="T5"/>
                </a:cxn>
                <a:cxn ang="0">
                  <a:pos x="T6" y="T7"/>
                </a:cxn>
                <a:cxn ang="0">
                  <a:pos x="T8" y="T9"/>
                </a:cxn>
              </a:cxnLst>
              <a:rect l="0" t="0" r="r" b="b"/>
              <a:pathLst>
                <a:path w="64" h="62">
                  <a:moveTo>
                    <a:pt x="64" y="24"/>
                  </a:moveTo>
                  <a:lnTo>
                    <a:pt x="40" y="0"/>
                  </a:lnTo>
                  <a:lnTo>
                    <a:pt x="0" y="38"/>
                  </a:lnTo>
                  <a:lnTo>
                    <a:pt x="23" y="62"/>
                  </a:lnTo>
                  <a:lnTo>
                    <a:pt x="64" y="24"/>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3" name="Freeform 116"/>
            <p:cNvSpPr>
              <a:spLocks/>
            </p:cNvSpPr>
            <p:nvPr/>
          </p:nvSpPr>
          <p:spPr bwMode="auto">
            <a:xfrm>
              <a:off x="3049179" y="3814210"/>
              <a:ext cx="371491" cy="371491"/>
            </a:xfrm>
            <a:custGeom>
              <a:avLst/>
              <a:gdLst>
                <a:gd name="T0" fmla="*/ 76 w 76"/>
                <a:gd name="T1" fmla="*/ 50 h 76"/>
                <a:gd name="T2" fmla="*/ 26 w 76"/>
                <a:gd name="T3" fmla="*/ 0 h 76"/>
                <a:gd name="T4" fmla="*/ 0 w 76"/>
                <a:gd name="T5" fmla="*/ 24 h 76"/>
                <a:gd name="T6" fmla="*/ 52 w 76"/>
                <a:gd name="T7" fmla="*/ 76 h 76"/>
                <a:gd name="T8" fmla="*/ 76 w 76"/>
                <a:gd name="T9" fmla="*/ 50 h 76"/>
              </a:gdLst>
              <a:ahLst/>
              <a:cxnLst>
                <a:cxn ang="0">
                  <a:pos x="T0" y="T1"/>
                </a:cxn>
                <a:cxn ang="0">
                  <a:pos x="T2" y="T3"/>
                </a:cxn>
                <a:cxn ang="0">
                  <a:pos x="T4" y="T5"/>
                </a:cxn>
                <a:cxn ang="0">
                  <a:pos x="T6" y="T7"/>
                </a:cxn>
                <a:cxn ang="0">
                  <a:pos x="T8" y="T9"/>
                </a:cxn>
              </a:cxnLst>
              <a:rect l="0" t="0" r="r" b="b"/>
              <a:pathLst>
                <a:path w="76" h="76">
                  <a:moveTo>
                    <a:pt x="76" y="50"/>
                  </a:moveTo>
                  <a:lnTo>
                    <a:pt x="26" y="0"/>
                  </a:lnTo>
                  <a:lnTo>
                    <a:pt x="0" y="24"/>
                  </a:lnTo>
                  <a:lnTo>
                    <a:pt x="52" y="76"/>
                  </a:lnTo>
                  <a:lnTo>
                    <a:pt x="76" y="50"/>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4" name="Freeform 117"/>
            <p:cNvSpPr>
              <a:spLocks/>
            </p:cNvSpPr>
            <p:nvPr/>
          </p:nvSpPr>
          <p:spPr bwMode="auto">
            <a:xfrm>
              <a:off x="3117612" y="3872867"/>
              <a:ext cx="303058" cy="312835"/>
            </a:xfrm>
            <a:custGeom>
              <a:avLst/>
              <a:gdLst>
                <a:gd name="T0" fmla="*/ 62 w 62"/>
                <a:gd name="T1" fmla="*/ 38 h 64"/>
                <a:gd name="T2" fmla="*/ 24 w 62"/>
                <a:gd name="T3" fmla="*/ 0 h 64"/>
                <a:gd name="T4" fmla="*/ 0 w 62"/>
                <a:gd name="T5" fmla="*/ 26 h 64"/>
                <a:gd name="T6" fmla="*/ 38 w 62"/>
                <a:gd name="T7" fmla="*/ 64 h 64"/>
                <a:gd name="T8" fmla="*/ 62 w 62"/>
                <a:gd name="T9" fmla="*/ 38 h 64"/>
              </a:gdLst>
              <a:ahLst/>
              <a:cxnLst>
                <a:cxn ang="0">
                  <a:pos x="T0" y="T1"/>
                </a:cxn>
                <a:cxn ang="0">
                  <a:pos x="T2" y="T3"/>
                </a:cxn>
                <a:cxn ang="0">
                  <a:pos x="T4" y="T5"/>
                </a:cxn>
                <a:cxn ang="0">
                  <a:pos x="T6" y="T7"/>
                </a:cxn>
                <a:cxn ang="0">
                  <a:pos x="T8" y="T9"/>
                </a:cxn>
              </a:cxnLst>
              <a:rect l="0" t="0" r="r" b="b"/>
              <a:pathLst>
                <a:path w="62" h="64">
                  <a:moveTo>
                    <a:pt x="62" y="38"/>
                  </a:moveTo>
                  <a:lnTo>
                    <a:pt x="24" y="0"/>
                  </a:lnTo>
                  <a:lnTo>
                    <a:pt x="0" y="26"/>
                  </a:lnTo>
                  <a:lnTo>
                    <a:pt x="38" y="64"/>
                  </a:lnTo>
                  <a:lnTo>
                    <a:pt x="62" y="38"/>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5" name="Rectangle 118"/>
            <p:cNvSpPr>
              <a:spLocks noChangeArrowheads="1"/>
            </p:cNvSpPr>
            <p:nvPr/>
          </p:nvSpPr>
          <p:spPr bwMode="auto">
            <a:xfrm>
              <a:off x="2086234" y="3770220"/>
              <a:ext cx="263954" cy="146641"/>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pic>
        <p:nvPicPr>
          <p:cNvPr id="58" name="Picture 5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29838" y="3374665"/>
            <a:ext cx="2013968" cy="2007992"/>
          </a:xfrm>
          <a:prstGeom prst="rect">
            <a:avLst/>
          </a:prstGeom>
        </p:spPr>
      </p:pic>
      <p:sp>
        <p:nvSpPr>
          <p:cNvPr id="6" name="Text Placeholder 5"/>
          <p:cNvSpPr>
            <a:spLocks noGrp="1"/>
          </p:cNvSpPr>
          <p:nvPr>
            <p:ph type="body" sz="quarter" idx="12"/>
          </p:nvPr>
        </p:nvSpPr>
        <p:spPr/>
        <p:txBody>
          <a:bodyPr/>
          <a:lstStyle/>
          <a:p>
            <a:r>
              <a:rPr lang="en-US" smtClean="0"/>
              <a:t>Provisioning</a:t>
            </a:r>
            <a:endParaRPr lang="en-US" dirty="0"/>
          </a:p>
        </p:txBody>
      </p:sp>
      <p:sp>
        <p:nvSpPr>
          <p:cNvPr id="8" name="Text Placeholder 7"/>
          <p:cNvSpPr>
            <a:spLocks noGrp="1"/>
          </p:cNvSpPr>
          <p:nvPr>
            <p:ph type="body" sz="quarter" idx="13"/>
          </p:nvPr>
        </p:nvSpPr>
        <p:spPr/>
        <p:txBody>
          <a:bodyPr/>
          <a:lstStyle/>
          <a:p>
            <a:r>
              <a:rPr lang="en-US" dirty="0" smtClean="0"/>
              <a:t>Standardize and automate to increase agility</a:t>
            </a:r>
          </a:p>
        </p:txBody>
      </p:sp>
      <p:sp>
        <p:nvSpPr>
          <p:cNvPr id="95" name="Oval 94"/>
          <p:cNvSpPr/>
          <p:nvPr/>
        </p:nvSpPr>
        <p:spPr bwMode="auto">
          <a:xfrm>
            <a:off x="1227277" y="3364879"/>
            <a:ext cx="2010649" cy="201064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2" name="Group 91"/>
          <p:cNvGrpSpPr/>
          <p:nvPr/>
        </p:nvGrpSpPr>
        <p:grpSpPr>
          <a:xfrm>
            <a:off x="1342959" y="3495556"/>
            <a:ext cx="1766929" cy="1765385"/>
            <a:chOff x="1318152" y="4124272"/>
            <a:chExt cx="1802360" cy="1800785"/>
          </a:xfrm>
        </p:grpSpPr>
        <p:grpSp>
          <p:nvGrpSpPr>
            <p:cNvPr id="67" name="Group 66"/>
            <p:cNvGrpSpPr/>
            <p:nvPr/>
          </p:nvGrpSpPr>
          <p:grpSpPr>
            <a:xfrm>
              <a:off x="2210531" y="4124272"/>
              <a:ext cx="0" cy="1800783"/>
              <a:chOff x="10936285" y="2901704"/>
              <a:chExt cx="0" cy="1426874"/>
            </a:xfrm>
          </p:grpSpPr>
          <p:cxnSp>
            <p:nvCxnSpPr>
              <p:cNvPr id="68" name="Straight Connector 67"/>
              <p:cNvCxnSpPr/>
              <p:nvPr/>
            </p:nvCxnSpPr>
            <p:spPr>
              <a:xfrm>
                <a:off x="10936285" y="290170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0936285" y="405796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p:cNvGrpSpPr/>
            <p:nvPr/>
          </p:nvGrpSpPr>
          <p:grpSpPr>
            <a:xfrm rot="1800000">
              <a:off x="2218542" y="4124272"/>
              <a:ext cx="0" cy="1800783"/>
              <a:chOff x="10936285" y="2901704"/>
              <a:chExt cx="0" cy="1426874"/>
            </a:xfrm>
          </p:grpSpPr>
          <p:cxnSp>
            <p:nvCxnSpPr>
              <p:cNvPr id="71" name="Straight Connector 70"/>
              <p:cNvCxnSpPr/>
              <p:nvPr/>
            </p:nvCxnSpPr>
            <p:spPr>
              <a:xfrm>
                <a:off x="10936285" y="290170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936285" y="405796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p:cNvGrpSpPr/>
            <p:nvPr/>
          </p:nvGrpSpPr>
          <p:grpSpPr>
            <a:xfrm rot="3600000">
              <a:off x="2218543" y="4124272"/>
              <a:ext cx="0" cy="1800781"/>
              <a:chOff x="10936285" y="2901704"/>
              <a:chExt cx="0" cy="1426874"/>
            </a:xfrm>
          </p:grpSpPr>
          <p:cxnSp>
            <p:nvCxnSpPr>
              <p:cNvPr id="74" name="Straight Connector 73"/>
              <p:cNvCxnSpPr/>
              <p:nvPr/>
            </p:nvCxnSpPr>
            <p:spPr>
              <a:xfrm>
                <a:off x="10936285" y="290170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0936285" y="405796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6" name="Group 75"/>
            <p:cNvGrpSpPr/>
            <p:nvPr/>
          </p:nvGrpSpPr>
          <p:grpSpPr>
            <a:xfrm rot="5400000">
              <a:off x="2218544" y="4124273"/>
              <a:ext cx="0" cy="1800781"/>
              <a:chOff x="10936285" y="2901704"/>
              <a:chExt cx="0" cy="1426874"/>
            </a:xfrm>
          </p:grpSpPr>
          <p:cxnSp>
            <p:nvCxnSpPr>
              <p:cNvPr id="77" name="Straight Connector 76"/>
              <p:cNvCxnSpPr/>
              <p:nvPr/>
            </p:nvCxnSpPr>
            <p:spPr>
              <a:xfrm>
                <a:off x="10936285" y="290170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0936285" y="405796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rot="7200000">
              <a:off x="2220122" y="4124273"/>
              <a:ext cx="0" cy="1800781"/>
              <a:chOff x="10936285" y="2901704"/>
              <a:chExt cx="0" cy="1426874"/>
            </a:xfrm>
          </p:grpSpPr>
          <p:cxnSp>
            <p:nvCxnSpPr>
              <p:cNvPr id="80" name="Straight Connector 79"/>
              <p:cNvCxnSpPr/>
              <p:nvPr/>
            </p:nvCxnSpPr>
            <p:spPr>
              <a:xfrm>
                <a:off x="10936285" y="290170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0936285" y="405796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rot="9000000">
              <a:off x="2220180" y="4124274"/>
              <a:ext cx="0" cy="1800783"/>
              <a:chOff x="10936285" y="2901704"/>
              <a:chExt cx="0" cy="1426874"/>
            </a:xfrm>
          </p:grpSpPr>
          <p:cxnSp>
            <p:nvCxnSpPr>
              <p:cNvPr id="83" name="Straight Connector 82"/>
              <p:cNvCxnSpPr/>
              <p:nvPr/>
            </p:nvCxnSpPr>
            <p:spPr>
              <a:xfrm>
                <a:off x="10936285" y="290170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0936285" y="4057964"/>
                <a:ext cx="0" cy="270614"/>
              </a:xfrm>
              <a:prstGeom prst="line">
                <a:avLst/>
              </a:prstGeom>
              <a:ln w="22225">
                <a:solidFill>
                  <a:srgbClr val="041B40"/>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66" name="Oval 124"/>
          <p:cNvSpPr>
            <a:spLocks noChangeArrowheads="1"/>
          </p:cNvSpPr>
          <p:nvPr/>
        </p:nvSpPr>
        <p:spPr bwMode="auto">
          <a:xfrm>
            <a:off x="1972456" y="4109128"/>
            <a:ext cx="503156" cy="512740"/>
          </a:xfrm>
          <a:prstGeom prst="ellipse">
            <a:avLst/>
          </a:prstGeom>
          <a:solidFill>
            <a:srgbClr val="D2D3D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nvGrpSpPr>
          <p:cNvPr id="85" name="Group 84"/>
          <p:cNvGrpSpPr/>
          <p:nvPr/>
        </p:nvGrpSpPr>
        <p:grpSpPr>
          <a:xfrm>
            <a:off x="2086564" y="3389110"/>
            <a:ext cx="291281" cy="1958480"/>
            <a:chOff x="12864622" y="2987197"/>
            <a:chExt cx="235429" cy="1582946"/>
          </a:xfrm>
        </p:grpSpPr>
        <p:sp>
          <p:nvSpPr>
            <p:cNvPr id="86" name="Freeform 5"/>
            <p:cNvSpPr>
              <a:spLocks/>
            </p:cNvSpPr>
            <p:nvPr/>
          </p:nvSpPr>
          <p:spPr bwMode="auto">
            <a:xfrm>
              <a:off x="12864622" y="2987197"/>
              <a:ext cx="230188" cy="892175"/>
            </a:xfrm>
            <a:custGeom>
              <a:avLst/>
              <a:gdLst>
                <a:gd name="T0" fmla="*/ 43 w 58"/>
                <a:gd name="T1" fmla="*/ 182 h 236"/>
                <a:gd name="T2" fmla="*/ 35 w 58"/>
                <a:gd name="T3" fmla="*/ 0 h 236"/>
                <a:gd name="T4" fmla="*/ 26 w 58"/>
                <a:gd name="T5" fmla="*/ 0 h 236"/>
                <a:gd name="T6" fmla="*/ 16 w 58"/>
                <a:gd name="T7" fmla="*/ 182 h 236"/>
                <a:gd name="T8" fmla="*/ 0 w 58"/>
                <a:gd name="T9" fmla="*/ 207 h 236"/>
                <a:gd name="T10" fmla="*/ 29 w 58"/>
                <a:gd name="T11" fmla="*/ 236 h 236"/>
                <a:gd name="T12" fmla="*/ 58 w 58"/>
                <a:gd name="T13" fmla="*/ 207 h 236"/>
                <a:gd name="T14" fmla="*/ 43 w 58"/>
                <a:gd name="T15" fmla="*/ 182 h 2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36">
                  <a:moveTo>
                    <a:pt x="43" y="182"/>
                  </a:moveTo>
                  <a:cubicBezTo>
                    <a:pt x="35" y="0"/>
                    <a:pt x="35" y="0"/>
                    <a:pt x="35" y="0"/>
                  </a:cubicBezTo>
                  <a:cubicBezTo>
                    <a:pt x="26" y="0"/>
                    <a:pt x="26" y="0"/>
                    <a:pt x="26" y="0"/>
                  </a:cubicBezTo>
                  <a:cubicBezTo>
                    <a:pt x="16" y="182"/>
                    <a:pt x="16" y="182"/>
                    <a:pt x="16" y="182"/>
                  </a:cubicBezTo>
                  <a:cubicBezTo>
                    <a:pt x="7" y="186"/>
                    <a:pt x="0" y="196"/>
                    <a:pt x="0" y="207"/>
                  </a:cubicBezTo>
                  <a:cubicBezTo>
                    <a:pt x="0" y="223"/>
                    <a:pt x="13" y="235"/>
                    <a:pt x="29" y="236"/>
                  </a:cubicBezTo>
                  <a:cubicBezTo>
                    <a:pt x="45" y="236"/>
                    <a:pt x="57" y="223"/>
                    <a:pt x="58" y="207"/>
                  </a:cubicBezTo>
                  <a:cubicBezTo>
                    <a:pt x="58" y="196"/>
                    <a:pt x="52" y="187"/>
                    <a:pt x="43" y="18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7" name="Freeform 5"/>
            <p:cNvSpPr>
              <a:spLocks/>
            </p:cNvSpPr>
            <p:nvPr/>
          </p:nvSpPr>
          <p:spPr bwMode="auto">
            <a:xfrm rot="10800000">
              <a:off x="12869863" y="3677968"/>
              <a:ext cx="230188" cy="892175"/>
            </a:xfrm>
            <a:custGeom>
              <a:avLst/>
              <a:gdLst>
                <a:gd name="T0" fmla="*/ 43 w 58"/>
                <a:gd name="T1" fmla="*/ 182 h 236"/>
                <a:gd name="T2" fmla="*/ 35 w 58"/>
                <a:gd name="T3" fmla="*/ 0 h 236"/>
                <a:gd name="T4" fmla="*/ 26 w 58"/>
                <a:gd name="T5" fmla="*/ 0 h 236"/>
                <a:gd name="T6" fmla="*/ 16 w 58"/>
                <a:gd name="T7" fmla="*/ 182 h 236"/>
                <a:gd name="T8" fmla="*/ 0 w 58"/>
                <a:gd name="T9" fmla="*/ 207 h 236"/>
                <a:gd name="T10" fmla="*/ 29 w 58"/>
                <a:gd name="T11" fmla="*/ 236 h 236"/>
                <a:gd name="T12" fmla="*/ 58 w 58"/>
                <a:gd name="T13" fmla="*/ 207 h 236"/>
                <a:gd name="T14" fmla="*/ 43 w 58"/>
                <a:gd name="T15" fmla="*/ 182 h 2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36">
                  <a:moveTo>
                    <a:pt x="43" y="182"/>
                  </a:moveTo>
                  <a:cubicBezTo>
                    <a:pt x="35" y="0"/>
                    <a:pt x="35" y="0"/>
                    <a:pt x="35" y="0"/>
                  </a:cubicBezTo>
                  <a:cubicBezTo>
                    <a:pt x="26" y="0"/>
                    <a:pt x="26" y="0"/>
                    <a:pt x="26" y="0"/>
                  </a:cubicBezTo>
                  <a:cubicBezTo>
                    <a:pt x="16" y="182"/>
                    <a:pt x="16" y="182"/>
                    <a:pt x="16" y="182"/>
                  </a:cubicBezTo>
                  <a:cubicBezTo>
                    <a:pt x="7" y="186"/>
                    <a:pt x="0" y="196"/>
                    <a:pt x="0" y="207"/>
                  </a:cubicBezTo>
                  <a:cubicBezTo>
                    <a:pt x="0" y="223"/>
                    <a:pt x="13" y="235"/>
                    <a:pt x="29" y="236"/>
                  </a:cubicBezTo>
                  <a:cubicBezTo>
                    <a:pt x="45" y="236"/>
                    <a:pt x="57" y="223"/>
                    <a:pt x="58" y="207"/>
                  </a:cubicBezTo>
                  <a:cubicBezTo>
                    <a:pt x="58" y="196"/>
                    <a:pt x="52" y="187"/>
                    <a:pt x="43" y="182"/>
                  </a:cubicBezTo>
                  <a:close/>
                </a:path>
              </a:pathLst>
            </a:custGeom>
            <a:no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96" name="Oval 124"/>
          <p:cNvSpPr>
            <a:spLocks noChangeArrowheads="1"/>
          </p:cNvSpPr>
          <p:nvPr/>
        </p:nvSpPr>
        <p:spPr bwMode="auto">
          <a:xfrm>
            <a:off x="2065326" y="4196464"/>
            <a:ext cx="314504" cy="320493"/>
          </a:xfrm>
          <a:prstGeom prst="ellipse">
            <a:avLst/>
          </a:prstGeom>
          <a:solidFill>
            <a:srgbClr val="505050"/>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3" name="Rectangle 52"/>
          <p:cNvSpPr/>
          <p:nvPr/>
        </p:nvSpPr>
        <p:spPr bwMode="auto">
          <a:xfrm>
            <a:off x="5291238" y="3899116"/>
            <a:ext cx="2244701" cy="639240"/>
          </a:xfrm>
          <a:prstGeom prst="rect">
            <a:avLst/>
          </a:prstGeom>
          <a:noFill/>
          <a:ln w="5080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5345708" y="3942870"/>
            <a:ext cx="2141776" cy="551733"/>
          </a:xfrm>
          <a:prstGeom prst="rect">
            <a:avLst/>
          </a:prstGeom>
          <a:solidFill>
            <a:schemeClr val="bg1">
              <a:lumMod val="95000"/>
            </a:schemeClr>
          </a:solidFill>
          <a:ln w="50800" cap="sq">
            <a:solidFill>
              <a:srgbClr val="F2F2F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ight Triangle 17"/>
          <p:cNvSpPr/>
          <p:nvPr/>
        </p:nvSpPr>
        <p:spPr bwMode="auto">
          <a:xfrm flipH="1">
            <a:off x="5369186" y="3981223"/>
            <a:ext cx="2095443" cy="493034"/>
          </a:xfrm>
          <a:prstGeom prst="rtTriangle">
            <a:avLst/>
          </a:prstGeom>
          <a:solidFill>
            <a:srgbClr val="FAD2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5347778" y="3764342"/>
            <a:ext cx="355724" cy="908790"/>
          </a:xfrm>
          <a:prstGeom prst="rect">
            <a:avLst/>
          </a:prstGeom>
          <a:solidFill>
            <a:schemeClr val="accent6"/>
          </a:solidFill>
          <a:ln w="50800" cap="sq">
            <a:solidFill>
              <a:srgbClr val="F2F2F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TextBox 89"/>
          <p:cNvSpPr txBox="1"/>
          <p:nvPr/>
        </p:nvSpPr>
        <p:spPr>
          <a:xfrm>
            <a:off x="269240" y="5820935"/>
            <a:ext cx="8191760" cy="667519"/>
          </a:xfrm>
          <a:prstGeom prst="rect">
            <a:avLst/>
          </a:prstGeom>
          <a:solidFill>
            <a:srgbClr val="0072C6"/>
          </a:solidFill>
        </p:spPr>
        <p:txBody>
          <a:bodyPr wrap="square" lIns="179285" tIns="0" bIns="0" rtlCol="0" anchor="ctr">
            <a:noAutofit/>
          </a:bodyPr>
          <a:lstStyle/>
          <a:p>
            <a:pPr algn="ctr" defTabSz="914102" fontAlgn="base">
              <a:spcBef>
                <a:spcPct val="0"/>
              </a:spcBef>
              <a:spcAft>
                <a:spcPct val="0"/>
              </a:spcAft>
            </a:pPr>
            <a:r>
              <a:rPr lang="en-US" sz="3137" dirty="0">
                <a:solidFill>
                  <a:srgbClr val="FFFFFF"/>
                </a:solidFill>
                <a:latin typeface="Segoe UI Light"/>
                <a:ea typeface="Segoe UI" pitchFamily="34" charset="0"/>
                <a:cs typeface="Segoe UI" pitchFamily="34" charset="0"/>
              </a:rPr>
              <a:t>Templates and defined processes</a:t>
            </a:r>
          </a:p>
        </p:txBody>
      </p:sp>
    </p:spTree>
    <p:extLst>
      <p:ext uri="{BB962C8B-B14F-4D97-AF65-F5344CB8AC3E}">
        <p14:creationId xmlns:p14="http://schemas.microsoft.com/office/powerpoint/2010/main" val="32248852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91"/>
                                        </p:tgtEl>
                                        <p:attrNameLst>
                                          <p:attrName>style.visibility</p:attrName>
                                        </p:attrNameLst>
                                      </p:cBhvr>
                                      <p:to>
                                        <p:strVal val="visible"/>
                                      </p:to>
                                    </p:set>
                                    <p:animEffect transition="in" filter="fade">
                                      <p:cBhvr>
                                        <p:cTn id="11" dur="500"/>
                                        <p:tgtEl>
                                          <p:spTgt spid="91"/>
                                        </p:tgtEl>
                                      </p:cBhvr>
                                    </p:animEffect>
                                  </p:childTnLst>
                                </p:cTn>
                              </p:par>
                              <p:par>
                                <p:cTn id="12" presetID="10" presetClass="entr" presetSubtype="0" fill="hold" nodeType="withEffect">
                                  <p:stCondLst>
                                    <p:cond delay="50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96"/>
                                        </p:tgtEl>
                                        <p:attrNameLst>
                                          <p:attrName>style.visibility</p:attrName>
                                        </p:attrNameLst>
                                      </p:cBhvr>
                                      <p:to>
                                        <p:strVal val="visible"/>
                                      </p:to>
                                    </p:set>
                                    <p:animEffect transition="in" filter="fade">
                                      <p:cBhvr>
                                        <p:cTn id="20" dur="500"/>
                                        <p:tgtEl>
                                          <p:spTgt spid="96"/>
                                        </p:tgtEl>
                                      </p:cBhvr>
                                    </p:animEffect>
                                  </p:childTnLst>
                                </p:cTn>
                              </p:par>
                              <p:par>
                                <p:cTn id="21" presetID="1" presetClass="entr" presetSubtype="0" fill="hold" nodeType="withEffect">
                                  <p:stCondLst>
                                    <p:cond delay="500"/>
                                  </p:stCondLst>
                                  <p:childTnLst>
                                    <p:set>
                                      <p:cBhvr>
                                        <p:cTn id="22" dur="1" fill="hold">
                                          <p:stCondLst>
                                            <p:cond delay="0"/>
                                          </p:stCondLst>
                                        </p:cTn>
                                        <p:tgtEl>
                                          <p:spTgt spid="85"/>
                                        </p:tgtEl>
                                        <p:attrNameLst>
                                          <p:attrName>style.visibility</p:attrName>
                                        </p:attrNameLst>
                                      </p:cBhvr>
                                      <p:to>
                                        <p:strVal val="visible"/>
                                      </p:to>
                                    </p:set>
                                  </p:childTnLst>
                                </p:cTn>
                              </p:par>
                              <p:par>
                                <p:cTn id="23" presetID="10" presetClass="entr" presetSubtype="0" fill="hold" grpId="1" nodeType="withEffect">
                                  <p:stCondLst>
                                    <p:cond delay="50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childTnLst>
                          </p:cTn>
                        </p:par>
                        <p:par>
                          <p:cTn id="26" fill="hold">
                            <p:stCondLst>
                              <p:cond delay="1500"/>
                            </p:stCondLst>
                            <p:childTnLst>
                              <p:par>
                                <p:cTn id="27" presetID="10" presetClass="entr" presetSubtype="0" fill="hold" nodeType="afterEffect">
                                  <p:stCondLst>
                                    <p:cond delay="500"/>
                                  </p:stCondLst>
                                  <p:childTnLst>
                                    <p:set>
                                      <p:cBhvr>
                                        <p:cTn id="28" dur="1" fill="hold">
                                          <p:stCondLst>
                                            <p:cond delay="0"/>
                                          </p:stCondLst>
                                        </p:cTn>
                                        <p:tgtEl>
                                          <p:spTgt spid="58"/>
                                        </p:tgtEl>
                                        <p:attrNameLst>
                                          <p:attrName>style.visibility</p:attrName>
                                        </p:attrNameLst>
                                      </p:cBhvr>
                                      <p:to>
                                        <p:strVal val="visible"/>
                                      </p:to>
                                    </p:set>
                                    <p:animEffect transition="in" filter="fade">
                                      <p:cBhvr>
                                        <p:cTn id="29" dur="500"/>
                                        <p:tgtEl>
                                          <p:spTgt spid="58"/>
                                        </p:tgtEl>
                                      </p:cBhvr>
                                    </p:animEffect>
                                  </p:childTnLst>
                                </p:cTn>
                              </p:par>
                              <p:par>
                                <p:cTn id="30" presetID="10" presetClass="exit" presetSubtype="0" fill="hold" grpId="0" nodeType="withEffect">
                                  <p:stCondLst>
                                    <p:cond delay="500"/>
                                  </p:stCondLst>
                                  <p:childTnLst>
                                    <p:animEffect transition="out" filter="fade">
                                      <p:cBhvr>
                                        <p:cTn id="31" dur="500"/>
                                        <p:tgtEl>
                                          <p:spTgt spid="95"/>
                                        </p:tgtEl>
                                      </p:cBhvr>
                                    </p:animEffect>
                                    <p:set>
                                      <p:cBhvr>
                                        <p:cTn id="32" dur="1" fill="hold">
                                          <p:stCondLst>
                                            <p:cond delay="499"/>
                                          </p:stCondLst>
                                        </p:cTn>
                                        <p:tgtEl>
                                          <p:spTgt spid="95"/>
                                        </p:tgtEl>
                                        <p:attrNameLst>
                                          <p:attrName>style.visibility</p:attrName>
                                        </p:attrNameLst>
                                      </p:cBhvr>
                                      <p:to>
                                        <p:strVal val="hidden"/>
                                      </p:to>
                                    </p:set>
                                  </p:childTnLst>
                                </p:cTn>
                              </p:par>
                              <p:par>
                                <p:cTn id="33" presetID="8" presetClass="emph" presetSubtype="0" fill="hold" nodeType="withEffect">
                                  <p:stCondLst>
                                    <p:cond delay="510"/>
                                  </p:stCondLst>
                                  <p:childTnLst>
                                    <p:animRot by="5400000">
                                      <p:cBhvr>
                                        <p:cTn id="34" dur="1000" fill="hold"/>
                                        <p:tgtEl>
                                          <p:spTgt spid="85"/>
                                        </p:tgtEl>
                                        <p:attrNameLst>
                                          <p:attrName>r</p:attrName>
                                        </p:attrNameLst>
                                      </p:cBhvr>
                                    </p:animRot>
                                  </p:childTnLst>
                                </p:cTn>
                              </p:par>
                              <p:par>
                                <p:cTn id="35" presetID="21" presetClass="entr" presetSubtype="1" fill="hold" nodeType="withEffect">
                                  <p:stCondLst>
                                    <p:cond delay="500"/>
                                  </p:stCondLst>
                                  <p:childTnLst>
                                    <p:set>
                                      <p:cBhvr>
                                        <p:cTn id="36" dur="1" fill="hold">
                                          <p:stCondLst>
                                            <p:cond delay="0"/>
                                          </p:stCondLst>
                                        </p:cTn>
                                        <p:tgtEl>
                                          <p:spTgt spid="58"/>
                                        </p:tgtEl>
                                        <p:attrNameLst>
                                          <p:attrName>style.visibility</p:attrName>
                                        </p:attrNameLst>
                                      </p:cBhvr>
                                      <p:to>
                                        <p:strVal val="visible"/>
                                      </p:to>
                                    </p:set>
                                    <p:animEffect transition="in" filter="wheel(1)">
                                      <p:cBhvr>
                                        <p:cTn id="37" dur="2000"/>
                                        <p:tgtEl>
                                          <p:spTgt spid="5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1"/>
                                        </p:tgtEl>
                                        <p:attrNameLst>
                                          <p:attrName>style.visibility</p:attrName>
                                        </p:attrNameLst>
                                      </p:cBhvr>
                                      <p:to>
                                        <p:strVal val="visible"/>
                                      </p:to>
                                    </p:set>
                                    <p:animEffect transition="in" filter="fade">
                                      <p:cBhvr>
                                        <p:cTn id="42" dur="500"/>
                                        <p:tgtEl>
                                          <p:spTgt spid="51"/>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53"/>
                                        </p:tgtEl>
                                        <p:attrNameLst>
                                          <p:attrName>style.visibility</p:attrName>
                                        </p:attrNameLst>
                                      </p:cBhvr>
                                      <p:to>
                                        <p:strVal val="visible"/>
                                      </p:to>
                                    </p:set>
                                    <p:animEffect transition="in" filter="fade">
                                      <p:cBhvr>
                                        <p:cTn id="45" dur="500"/>
                                        <p:tgtEl>
                                          <p:spTgt spid="53"/>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500"/>
                                        <p:tgtEl>
                                          <p:spTgt spid="18"/>
                                        </p:tgtEl>
                                      </p:cBhvr>
                                    </p:animEffect>
                                  </p:childTnLst>
                                </p:cTn>
                              </p:par>
                              <p:par>
                                <p:cTn id="49" presetID="10" presetClass="entr" presetSubtype="0" fill="hold" grpId="0" nodeType="withEffect">
                                  <p:stCondLst>
                                    <p:cond delay="50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500"/>
                                        <p:tgtEl>
                                          <p:spTgt spid="13"/>
                                        </p:tgtEl>
                                      </p:cBhvr>
                                    </p:animEffect>
                                  </p:childTnLst>
                                </p:cTn>
                              </p:par>
                              <p:par>
                                <p:cTn id="55" presetID="63" presetClass="path" presetSubtype="0" accel="50000" decel="50000" fill="hold" grpId="1" nodeType="withEffect">
                                  <p:stCondLst>
                                    <p:cond delay="0"/>
                                  </p:stCondLst>
                                  <p:childTnLst>
                                    <p:animMotion origin="layout" path="M -5.05489E-7 -1.96096E-6 L 0.14463 -1.96096E-6 " pathEditMode="relative" rAng="0" ptsTypes="AA">
                                      <p:cBhvr>
                                        <p:cTn id="56" dur="1000" fill="hold"/>
                                        <p:tgtEl>
                                          <p:spTgt spid="13"/>
                                        </p:tgtEl>
                                        <p:attrNameLst>
                                          <p:attrName>ppt_x</p:attrName>
                                          <p:attrName>ppt_y</p:attrName>
                                        </p:attrNameLst>
                                      </p:cBhvr>
                                      <p:rCtr x="7225" y="0"/>
                                    </p:animMotion>
                                  </p:childTnLst>
                                </p:cTn>
                              </p:par>
                              <p:par>
                                <p:cTn id="57" presetID="42" presetClass="path" presetSubtype="0" accel="50000" decel="50000" fill="hold" grpId="2" nodeType="withEffect">
                                  <p:stCondLst>
                                    <p:cond delay="1000"/>
                                  </p:stCondLst>
                                  <p:childTnLst>
                                    <p:animMotion origin="layout" path="M 0.14462 4.11257E-6 L 0.09969 0.00046 " pathEditMode="relative" rAng="0" ptsTypes="AA">
                                      <p:cBhvr>
                                        <p:cTn id="58" dur="1000" fill="hold"/>
                                        <p:tgtEl>
                                          <p:spTgt spid="13"/>
                                        </p:tgtEl>
                                        <p:attrNameLst>
                                          <p:attrName>ppt_x</p:attrName>
                                          <p:attrName>ppt_y</p:attrName>
                                        </p:attrNameLst>
                                      </p:cBhvr>
                                      <p:rCtr x="-2259" y="0"/>
                                    </p:animMotion>
                                  </p:childTnLst>
                                </p:cTn>
                              </p:par>
                            </p:childTnLst>
                          </p:cTn>
                        </p:par>
                        <p:par>
                          <p:cTn id="59" fill="hold">
                            <p:stCondLst>
                              <p:cond delay="2000"/>
                            </p:stCondLst>
                            <p:childTnLst>
                              <p:par>
                                <p:cTn id="60" presetID="16" presetClass="entr" presetSubtype="37" fill="hold" grpId="0" nodeType="afterEffect">
                                  <p:stCondLst>
                                    <p:cond delay="0"/>
                                  </p:stCondLst>
                                  <p:childTnLst>
                                    <p:set>
                                      <p:cBhvr>
                                        <p:cTn id="61" dur="1" fill="hold">
                                          <p:stCondLst>
                                            <p:cond delay="0"/>
                                          </p:stCondLst>
                                        </p:cTn>
                                        <p:tgtEl>
                                          <p:spTgt spid="90"/>
                                        </p:tgtEl>
                                        <p:attrNameLst>
                                          <p:attrName>style.visibility</p:attrName>
                                        </p:attrNameLst>
                                      </p:cBhvr>
                                      <p:to>
                                        <p:strVal val="visible"/>
                                      </p:to>
                                    </p:set>
                                    <p:animEffect transition="in" filter="barn(outVertical)">
                                      <p:cBhvr>
                                        <p:cTn id="6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0" grpId="0" animBg="1"/>
      <p:bldP spid="95" grpId="0" animBg="1"/>
      <p:bldP spid="95" grpId="1" animBg="1"/>
      <p:bldP spid="66" grpId="0" animBg="1"/>
      <p:bldP spid="96" grpId="0" animBg="1"/>
      <p:bldP spid="53" grpId="0" animBg="1"/>
      <p:bldP spid="52" grpId="0" animBg="1"/>
      <p:bldP spid="18" grpId="0" animBg="1"/>
      <p:bldP spid="13" grpId="0" animBg="1"/>
      <p:bldP spid="13" grpId="1" animBg="1"/>
      <p:bldP spid="13" grpId="2" animBg="1"/>
      <p:bldP spid="90"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nvSpPr>
        <p:spPr>
          <a:xfrm>
            <a:off x="267683" y="1256424"/>
            <a:ext cx="11655079" cy="2471237"/>
          </a:xfrm>
          <a:prstGeom prst="rect">
            <a:avLst/>
          </a:prstGeom>
          <a:solidFill>
            <a:srgbClr val="F2F2F2"/>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sp>
        <p:nvSpPr>
          <p:cNvPr id="46" name="TextBox 45"/>
          <p:cNvSpPr txBox="1"/>
          <p:nvPr/>
        </p:nvSpPr>
        <p:spPr>
          <a:xfrm>
            <a:off x="267683" y="3847649"/>
            <a:ext cx="11655079" cy="2636547"/>
          </a:xfrm>
          <a:prstGeom prst="rect">
            <a:avLst/>
          </a:prstGeom>
          <a:solidFill>
            <a:srgbClr val="F2F2F2"/>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sp>
        <p:nvSpPr>
          <p:cNvPr id="2" name="Title 1"/>
          <p:cNvSpPr>
            <a:spLocks noGrp="1"/>
          </p:cNvSpPr>
          <p:nvPr>
            <p:ph type="title"/>
          </p:nvPr>
        </p:nvSpPr>
        <p:spPr/>
        <p:txBody>
          <a:bodyPr/>
          <a:lstStyle/>
          <a:p>
            <a:r>
              <a:rPr lang="en-US" dirty="0" smtClean="0"/>
              <a:t>Management and monitoring</a:t>
            </a:r>
            <a:endParaRPr lang="en-US" dirty="0"/>
          </a:p>
        </p:txBody>
      </p:sp>
      <p:sp>
        <p:nvSpPr>
          <p:cNvPr id="47" name="TextBox 46"/>
          <p:cNvSpPr txBox="1"/>
          <p:nvPr/>
        </p:nvSpPr>
        <p:spPr>
          <a:xfrm>
            <a:off x="4820026" y="3979912"/>
            <a:ext cx="2551948" cy="609828"/>
          </a:xfrm>
          <a:prstGeom prst="rect">
            <a:avLst/>
          </a:prstGeom>
          <a:noFill/>
        </p:spPr>
        <p:txBody>
          <a:bodyPr wrap="square" lIns="175761" tIns="140609" rIns="175761" bIns="140609" rtlCol="0">
            <a:spAutoFit/>
          </a:bodyPr>
          <a:lstStyle/>
          <a:p>
            <a:pPr algn="ctr" defTabSz="914281">
              <a:lnSpc>
                <a:spcPct val="90000"/>
              </a:lnSpc>
              <a:spcAft>
                <a:spcPts val="588"/>
              </a:spcAft>
            </a:pPr>
            <a:r>
              <a:rPr lang="en-US" sz="2353" dirty="0">
                <a:solidFill>
                  <a:srgbClr val="505050"/>
                </a:solidFill>
                <a:latin typeface="Segoe UI Light"/>
                <a:cs typeface="Segoe UI Light"/>
              </a:rPr>
              <a:t>Microsoft Azure</a:t>
            </a:r>
          </a:p>
        </p:txBody>
      </p:sp>
      <p:sp>
        <p:nvSpPr>
          <p:cNvPr id="48" name="Freeform 5"/>
          <p:cNvSpPr>
            <a:spLocks/>
          </p:cNvSpPr>
          <p:nvPr/>
        </p:nvSpPr>
        <p:spPr bwMode="auto">
          <a:xfrm>
            <a:off x="5451353" y="3171125"/>
            <a:ext cx="1289295" cy="837296"/>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BCF2"/>
          </a:solidFill>
          <a:ln>
            <a:noFill/>
          </a:ln>
        </p:spPr>
        <p:txBody>
          <a:bodyPr vert="horz" wrap="square" lIns="87880" tIns="43940" rIns="87880" bIns="43940" numCol="1" anchor="t" anchorCtr="0" compatLnSpc="1">
            <a:prstTxWarp prst="textNoShape">
              <a:avLst/>
            </a:prstTxWarp>
          </a:bodyPr>
          <a:lstStyle/>
          <a:p>
            <a:pPr defTabSz="914281"/>
            <a:endParaRPr lang="en-US" sz="1568" dirty="0">
              <a:solidFill>
                <a:srgbClr val="000000"/>
              </a:solidFill>
            </a:endParaRPr>
          </a:p>
        </p:txBody>
      </p:sp>
      <p:sp>
        <p:nvSpPr>
          <p:cNvPr id="57" name="TextBox 56"/>
          <p:cNvSpPr txBox="1"/>
          <p:nvPr/>
        </p:nvSpPr>
        <p:spPr>
          <a:xfrm>
            <a:off x="8148481" y="3979912"/>
            <a:ext cx="2546366" cy="615863"/>
          </a:xfrm>
          <a:prstGeom prst="rect">
            <a:avLst/>
          </a:prstGeom>
          <a:noFill/>
        </p:spPr>
        <p:txBody>
          <a:bodyPr wrap="square" lIns="175761" tIns="140609" rIns="175761" bIns="140609" rtlCol="0">
            <a:spAutoFit/>
          </a:bodyPr>
          <a:lstStyle/>
          <a:p>
            <a:pPr algn="ctr" defTabSz="914281">
              <a:lnSpc>
                <a:spcPct val="90000"/>
              </a:lnSpc>
              <a:spcAft>
                <a:spcPts val="588"/>
              </a:spcAft>
            </a:pPr>
            <a:r>
              <a:rPr lang="en-US" sz="2353" dirty="0">
                <a:solidFill>
                  <a:srgbClr val="505050"/>
                </a:solidFill>
                <a:latin typeface="Segoe UI Light"/>
                <a:cs typeface="Segoe UI Light"/>
              </a:rPr>
              <a:t>Service provider</a:t>
            </a:r>
          </a:p>
        </p:txBody>
      </p:sp>
      <p:sp>
        <p:nvSpPr>
          <p:cNvPr id="58" name="Freeform 5"/>
          <p:cNvSpPr>
            <a:spLocks/>
          </p:cNvSpPr>
          <p:nvPr/>
        </p:nvSpPr>
        <p:spPr bwMode="auto">
          <a:xfrm>
            <a:off x="8777016" y="3172042"/>
            <a:ext cx="1289295" cy="837296"/>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BCF2"/>
          </a:solidFill>
          <a:ln>
            <a:noFill/>
          </a:ln>
        </p:spPr>
        <p:txBody>
          <a:bodyPr vert="horz" wrap="square" lIns="87880" tIns="43940" rIns="87880" bIns="43940" numCol="1" anchor="t" anchorCtr="0" compatLnSpc="1">
            <a:prstTxWarp prst="textNoShape">
              <a:avLst/>
            </a:prstTxWarp>
          </a:bodyPr>
          <a:lstStyle/>
          <a:p>
            <a:pPr defTabSz="914281"/>
            <a:endParaRPr lang="en-US" sz="1568" dirty="0">
              <a:solidFill>
                <a:srgbClr val="000000"/>
              </a:solidFill>
            </a:endParaRPr>
          </a:p>
        </p:txBody>
      </p:sp>
      <p:sp>
        <p:nvSpPr>
          <p:cNvPr id="59" name="TextBox 58"/>
          <p:cNvSpPr txBox="1"/>
          <p:nvPr/>
        </p:nvSpPr>
        <p:spPr>
          <a:xfrm>
            <a:off x="1211305" y="3979912"/>
            <a:ext cx="2874794" cy="609828"/>
          </a:xfrm>
          <a:prstGeom prst="rect">
            <a:avLst/>
          </a:prstGeom>
          <a:noFill/>
        </p:spPr>
        <p:txBody>
          <a:bodyPr wrap="square" lIns="175761" tIns="140609" rIns="175761" bIns="140609" rtlCol="0">
            <a:spAutoFit/>
          </a:bodyPr>
          <a:lstStyle/>
          <a:p>
            <a:pPr algn="ctr" defTabSz="914281">
              <a:lnSpc>
                <a:spcPct val="90000"/>
              </a:lnSpc>
              <a:spcAft>
                <a:spcPts val="588"/>
              </a:spcAft>
            </a:pPr>
            <a:r>
              <a:rPr lang="en-US" sz="2353" dirty="0">
                <a:solidFill>
                  <a:srgbClr val="505050"/>
                </a:solidFill>
                <a:latin typeface="Segoe UI Light"/>
                <a:cs typeface="Segoe UI Light"/>
              </a:rPr>
              <a:t>Private datacenter</a:t>
            </a:r>
          </a:p>
        </p:txBody>
      </p:sp>
      <p:sp>
        <p:nvSpPr>
          <p:cNvPr id="62" name="TextBox 61"/>
          <p:cNvSpPr txBox="1"/>
          <p:nvPr/>
        </p:nvSpPr>
        <p:spPr>
          <a:xfrm>
            <a:off x="269239" y="1403782"/>
            <a:ext cx="11653523" cy="448212"/>
          </a:xfrm>
          <a:prstGeom prst="rect">
            <a:avLst/>
          </a:prstGeom>
          <a:noFill/>
        </p:spPr>
        <p:txBody>
          <a:bodyPr wrap="square" lIns="91436" tIns="45717" rIns="91436" bIns="45717" rtlCol="0">
            <a:noAutofit/>
          </a:bodyPr>
          <a:lstStyle/>
          <a:p>
            <a:pPr algn="ctr" defTabSz="914102" fontAlgn="base">
              <a:lnSpc>
                <a:spcPct val="90000"/>
              </a:lnSpc>
              <a:spcBef>
                <a:spcPct val="0"/>
              </a:spcBef>
              <a:spcAft>
                <a:spcPct val="0"/>
              </a:spcAft>
            </a:pPr>
            <a:r>
              <a:rPr lang="en-US" sz="2745" dirty="0">
                <a:solidFill>
                  <a:srgbClr val="0072C6"/>
                </a:solidFill>
                <a:latin typeface="Segoe UI Light"/>
                <a:ea typeface="Segoe UI" pitchFamily="34" charset="0"/>
                <a:cs typeface="Segoe UI Light"/>
              </a:rPr>
              <a:t>Application performance and availability </a:t>
            </a:r>
          </a:p>
        </p:txBody>
      </p:sp>
      <p:sp>
        <p:nvSpPr>
          <p:cNvPr id="68" name="TextBox 67"/>
          <p:cNvSpPr txBox="1"/>
          <p:nvPr/>
        </p:nvSpPr>
        <p:spPr>
          <a:xfrm>
            <a:off x="3470868" y="5985490"/>
            <a:ext cx="5250265" cy="544159"/>
          </a:xfrm>
          <a:prstGeom prst="rect">
            <a:avLst/>
          </a:prstGeom>
          <a:noFill/>
        </p:spPr>
        <p:txBody>
          <a:bodyPr wrap="square" lIns="91436" tIns="45717" rIns="91436" bIns="45717" rtlCol="0">
            <a:noAutofit/>
          </a:bodyPr>
          <a:lstStyle/>
          <a:p>
            <a:pPr algn="ctr" defTabSz="914102" fontAlgn="base">
              <a:lnSpc>
                <a:spcPct val="90000"/>
              </a:lnSpc>
              <a:spcBef>
                <a:spcPct val="0"/>
              </a:spcBef>
              <a:spcAft>
                <a:spcPct val="0"/>
              </a:spcAft>
            </a:pPr>
            <a:r>
              <a:rPr lang="en-US" sz="2745" dirty="0">
                <a:solidFill>
                  <a:srgbClr val="0072C6"/>
                </a:solidFill>
                <a:latin typeface="Segoe UI Light"/>
                <a:ea typeface="Segoe UI" pitchFamily="34" charset="0"/>
                <a:cs typeface="Segoe UI Light"/>
              </a:rPr>
              <a:t>Microsoft System Center</a:t>
            </a:r>
          </a:p>
        </p:txBody>
      </p:sp>
      <p:grpSp>
        <p:nvGrpSpPr>
          <p:cNvPr id="6" name="Group 5"/>
          <p:cNvGrpSpPr/>
          <p:nvPr/>
        </p:nvGrpSpPr>
        <p:grpSpPr>
          <a:xfrm>
            <a:off x="941557" y="5221850"/>
            <a:ext cx="4462053" cy="412475"/>
            <a:chOff x="884237" y="5021262"/>
            <a:chExt cx="4551526" cy="420746"/>
          </a:xfrm>
        </p:grpSpPr>
        <p:sp>
          <p:nvSpPr>
            <p:cNvPr id="45" name="Rectangle 44"/>
            <p:cNvSpPr/>
            <p:nvPr/>
          </p:nvSpPr>
          <p:spPr>
            <a:xfrm>
              <a:off x="1200150" y="5138737"/>
              <a:ext cx="4235613" cy="189232"/>
            </a:xfrm>
            <a:prstGeom prst="rect">
              <a:avLst/>
            </a:prstGeom>
            <a:solidFill>
              <a:schemeClr val="accent6"/>
            </a:solidFill>
          </p:spPr>
          <p:txBody>
            <a:bodyPr wrap="square" lIns="87815" tIns="43908" rIns="87815" bIns="43908" anchor="ctr">
              <a:noAutofit/>
            </a:bodyPr>
            <a:lstStyle/>
            <a:p>
              <a:pPr algn="ctr" defTabSz="895343"/>
              <a:endParaRPr lang="en-US" sz="1568" dirty="0">
                <a:solidFill>
                  <a:srgbClr val="FFFFFF"/>
                </a:solidFill>
              </a:endParaRPr>
            </a:p>
          </p:txBody>
        </p:sp>
        <p:sp>
          <p:nvSpPr>
            <p:cNvPr id="5" name="Isosceles Triangle 4"/>
            <p:cNvSpPr/>
            <p:nvPr/>
          </p:nvSpPr>
          <p:spPr bwMode="auto">
            <a:xfrm rot="16200000">
              <a:off x="855220" y="5050279"/>
              <a:ext cx="420746" cy="362712"/>
            </a:xfrm>
            <a:prstGeom prst="triangle">
              <a:avLst/>
            </a:prstGeom>
            <a:solidFill>
              <a:srgbClr val="24BC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966117" y="2231527"/>
            <a:ext cx="4631528" cy="412475"/>
            <a:chOff x="884237" y="2576364"/>
            <a:chExt cx="4724400" cy="420746"/>
          </a:xfrm>
          <a:solidFill>
            <a:schemeClr val="accent1">
              <a:lumMod val="75000"/>
            </a:schemeClr>
          </a:solidFill>
        </p:grpSpPr>
        <p:sp>
          <p:nvSpPr>
            <p:cNvPr id="44" name="Rectangle 43"/>
            <p:cNvSpPr/>
            <p:nvPr/>
          </p:nvSpPr>
          <p:spPr>
            <a:xfrm>
              <a:off x="1198562" y="2685347"/>
              <a:ext cx="4410075" cy="202315"/>
            </a:xfrm>
            <a:prstGeom prst="rect">
              <a:avLst/>
            </a:prstGeom>
            <a:solidFill>
              <a:srgbClr val="0072C6"/>
            </a:solidFill>
          </p:spPr>
          <p:txBody>
            <a:bodyPr wrap="square" lIns="87815" tIns="43908" rIns="87815" bIns="43908" anchor="ctr">
              <a:noAutofit/>
            </a:bodyPr>
            <a:lstStyle/>
            <a:p>
              <a:pPr algn="ctr" defTabSz="895343"/>
              <a:endParaRPr lang="en-US" sz="1372" dirty="0">
                <a:solidFill>
                  <a:srgbClr val="FFFFFF"/>
                </a:solidFill>
              </a:endParaRPr>
            </a:p>
          </p:txBody>
        </p:sp>
        <p:sp>
          <p:nvSpPr>
            <p:cNvPr id="89" name="Isosceles Triangle 88"/>
            <p:cNvSpPr/>
            <p:nvPr/>
          </p:nvSpPr>
          <p:spPr bwMode="auto">
            <a:xfrm rot="16200000">
              <a:off x="855220" y="2605381"/>
              <a:ext cx="420746" cy="362712"/>
            </a:xfrm>
            <a:prstGeom prst="triangl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flipH="1">
            <a:off x="6768318" y="5221850"/>
            <a:ext cx="4467040" cy="412475"/>
            <a:chOff x="884237" y="5021262"/>
            <a:chExt cx="4556613" cy="420746"/>
          </a:xfrm>
        </p:grpSpPr>
        <p:sp>
          <p:nvSpPr>
            <p:cNvPr id="91" name="Rectangle 90"/>
            <p:cNvSpPr/>
            <p:nvPr/>
          </p:nvSpPr>
          <p:spPr>
            <a:xfrm>
              <a:off x="1200151" y="5138737"/>
              <a:ext cx="4240699" cy="187325"/>
            </a:xfrm>
            <a:prstGeom prst="rect">
              <a:avLst/>
            </a:prstGeom>
            <a:solidFill>
              <a:schemeClr val="accent6"/>
            </a:solidFill>
          </p:spPr>
          <p:txBody>
            <a:bodyPr wrap="square" lIns="87815" tIns="43908" rIns="87815" bIns="43908" anchor="ctr">
              <a:noAutofit/>
            </a:bodyPr>
            <a:lstStyle/>
            <a:p>
              <a:pPr algn="ctr" defTabSz="895343"/>
              <a:endParaRPr lang="en-US" sz="1568" dirty="0">
                <a:solidFill>
                  <a:srgbClr val="FFFFFF"/>
                </a:solidFill>
              </a:endParaRPr>
            </a:p>
          </p:txBody>
        </p:sp>
        <p:sp>
          <p:nvSpPr>
            <p:cNvPr id="92" name="Isosceles Triangle 91"/>
            <p:cNvSpPr/>
            <p:nvPr/>
          </p:nvSpPr>
          <p:spPr bwMode="auto">
            <a:xfrm rot="16200000">
              <a:off x="855220" y="5050279"/>
              <a:ext cx="420746" cy="362712"/>
            </a:xfrm>
            <a:prstGeom prst="triangle">
              <a:avLst/>
            </a:prstGeom>
            <a:solidFill>
              <a:srgbClr val="24BC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3" name="Group 92"/>
          <p:cNvGrpSpPr/>
          <p:nvPr/>
        </p:nvGrpSpPr>
        <p:grpSpPr>
          <a:xfrm flipH="1">
            <a:off x="6544212" y="2231527"/>
            <a:ext cx="4689589" cy="412475"/>
            <a:chOff x="884237" y="2576364"/>
            <a:chExt cx="4783625" cy="420746"/>
          </a:xfrm>
          <a:solidFill>
            <a:srgbClr val="0072C6"/>
          </a:solidFill>
        </p:grpSpPr>
        <p:sp>
          <p:nvSpPr>
            <p:cNvPr id="94" name="Rectangle 93"/>
            <p:cNvSpPr/>
            <p:nvPr/>
          </p:nvSpPr>
          <p:spPr>
            <a:xfrm>
              <a:off x="1198563" y="2685347"/>
              <a:ext cx="4469299" cy="202315"/>
            </a:xfrm>
            <a:prstGeom prst="rect">
              <a:avLst/>
            </a:prstGeom>
            <a:grpFill/>
          </p:spPr>
          <p:txBody>
            <a:bodyPr wrap="square" lIns="87815" tIns="43908" rIns="87815" bIns="43908" anchor="ctr">
              <a:noAutofit/>
            </a:bodyPr>
            <a:lstStyle/>
            <a:p>
              <a:pPr algn="ctr" defTabSz="895343"/>
              <a:endParaRPr lang="en-US" sz="1372" dirty="0">
                <a:solidFill>
                  <a:srgbClr val="FFFFFF"/>
                </a:solidFill>
              </a:endParaRPr>
            </a:p>
          </p:txBody>
        </p:sp>
        <p:sp>
          <p:nvSpPr>
            <p:cNvPr id="95" name="Isosceles Triangle 94"/>
            <p:cNvSpPr/>
            <p:nvPr/>
          </p:nvSpPr>
          <p:spPr bwMode="auto">
            <a:xfrm rot="16200000">
              <a:off x="855220" y="2605381"/>
              <a:ext cx="420746" cy="36271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 name="Group 55"/>
          <p:cNvGrpSpPr/>
          <p:nvPr/>
        </p:nvGrpSpPr>
        <p:grpSpPr>
          <a:xfrm>
            <a:off x="2320243" y="2893208"/>
            <a:ext cx="1074431" cy="1127061"/>
            <a:chOff x="775399" y="3416290"/>
            <a:chExt cx="1651593" cy="1732495"/>
          </a:xfrm>
          <a:solidFill>
            <a:schemeClr val="accent6"/>
          </a:solidFill>
        </p:grpSpPr>
        <p:sp>
          <p:nvSpPr>
            <p:cNvPr id="60" name="Freeform 9"/>
            <p:cNvSpPr>
              <a:spLocks noEditPoints="1"/>
            </p:cNvSpPr>
            <p:nvPr/>
          </p:nvSpPr>
          <p:spPr bwMode="auto">
            <a:xfrm>
              <a:off x="775399" y="4396975"/>
              <a:ext cx="610545" cy="751810"/>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61" name="Freeform 10"/>
            <p:cNvSpPr>
              <a:spLocks noEditPoints="1"/>
            </p:cNvSpPr>
            <p:nvPr/>
          </p:nvSpPr>
          <p:spPr bwMode="auto">
            <a:xfrm>
              <a:off x="1139043" y="3847842"/>
              <a:ext cx="610545"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67" name="Freeform 11"/>
            <p:cNvSpPr>
              <a:spLocks/>
            </p:cNvSpPr>
            <p:nvPr/>
          </p:nvSpPr>
          <p:spPr bwMode="auto">
            <a:xfrm>
              <a:off x="1480470" y="3416290"/>
              <a:ext cx="946522" cy="636743"/>
            </a:xfrm>
            <a:custGeom>
              <a:avLst/>
              <a:gdLst>
                <a:gd name="T0" fmla="*/ 1716 w 1910"/>
                <a:gd name="T1" fmla="*/ 506 h 1285"/>
                <a:gd name="T2" fmla="*/ 1577 w 1910"/>
                <a:gd name="T3" fmla="*/ 253 h 1285"/>
                <a:gd name="T4" fmla="*/ 1403 w 1910"/>
                <a:gd name="T5" fmla="*/ 201 h 1285"/>
                <a:gd name="T6" fmla="*/ 1256 w 1910"/>
                <a:gd name="T7" fmla="*/ 241 h 1285"/>
                <a:gd name="T8" fmla="*/ 807 w 1910"/>
                <a:gd name="T9" fmla="*/ 0 h 1285"/>
                <a:gd name="T10" fmla="*/ 268 w 1910"/>
                <a:gd name="T11" fmla="*/ 539 h 1285"/>
                <a:gd name="T12" fmla="*/ 268 w 1910"/>
                <a:gd name="T13" fmla="*/ 564 h 1285"/>
                <a:gd name="T14" fmla="*/ 0 w 1910"/>
                <a:gd name="T15" fmla="*/ 750 h 1285"/>
                <a:gd name="T16" fmla="*/ 666 w 1910"/>
                <a:gd name="T17" fmla="*/ 750 h 1285"/>
                <a:gd name="T18" fmla="*/ 666 w 1910"/>
                <a:gd name="T19" fmla="*/ 1285 h 1285"/>
                <a:gd name="T20" fmla="*/ 1443 w 1910"/>
                <a:gd name="T21" fmla="*/ 1285 h 1285"/>
                <a:gd name="T22" fmla="*/ 1486 w 1910"/>
                <a:gd name="T23" fmla="*/ 1285 h 1285"/>
                <a:gd name="T24" fmla="*/ 1532 w 1910"/>
                <a:gd name="T25" fmla="*/ 1285 h 1285"/>
                <a:gd name="T26" fmla="*/ 1910 w 1910"/>
                <a:gd name="T27" fmla="*/ 862 h 1285"/>
                <a:gd name="T28" fmla="*/ 1716 w 1910"/>
                <a:gd name="T29" fmla="*/ 506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0" h="1285">
                  <a:moveTo>
                    <a:pt x="1716" y="506"/>
                  </a:moveTo>
                  <a:cubicBezTo>
                    <a:pt x="1713" y="401"/>
                    <a:pt x="1659" y="308"/>
                    <a:pt x="1577" y="253"/>
                  </a:cubicBezTo>
                  <a:cubicBezTo>
                    <a:pt x="1528" y="220"/>
                    <a:pt x="1468" y="201"/>
                    <a:pt x="1403" y="201"/>
                  </a:cubicBezTo>
                  <a:cubicBezTo>
                    <a:pt x="1349" y="201"/>
                    <a:pt x="1299" y="216"/>
                    <a:pt x="1256" y="241"/>
                  </a:cubicBezTo>
                  <a:cubicBezTo>
                    <a:pt x="1159" y="97"/>
                    <a:pt x="994" y="0"/>
                    <a:pt x="807" y="0"/>
                  </a:cubicBezTo>
                  <a:cubicBezTo>
                    <a:pt x="509" y="0"/>
                    <a:pt x="268" y="241"/>
                    <a:pt x="268" y="539"/>
                  </a:cubicBezTo>
                  <a:cubicBezTo>
                    <a:pt x="268" y="546"/>
                    <a:pt x="268" y="556"/>
                    <a:pt x="268" y="564"/>
                  </a:cubicBezTo>
                  <a:cubicBezTo>
                    <a:pt x="152" y="580"/>
                    <a:pt x="54" y="651"/>
                    <a:pt x="0" y="750"/>
                  </a:cubicBezTo>
                  <a:cubicBezTo>
                    <a:pt x="666" y="750"/>
                    <a:pt x="666" y="750"/>
                    <a:pt x="666" y="750"/>
                  </a:cubicBezTo>
                  <a:cubicBezTo>
                    <a:pt x="666" y="1285"/>
                    <a:pt x="666" y="1285"/>
                    <a:pt x="666" y="1285"/>
                  </a:cubicBezTo>
                  <a:cubicBezTo>
                    <a:pt x="905" y="1285"/>
                    <a:pt x="1272" y="1285"/>
                    <a:pt x="1443" y="1285"/>
                  </a:cubicBezTo>
                  <a:cubicBezTo>
                    <a:pt x="1457" y="1285"/>
                    <a:pt x="1471" y="1285"/>
                    <a:pt x="1486" y="1285"/>
                  </a:cubicBezTo>
                  <a:cubicBezTo>
                    <a:pt x="1500" y="1285"/>
                    <a:pt x="1518" y="1285"/>
                    <a:pt x="1532" y="1285"/>
                  </a:cubicBezTo>
                  <a:cubicBezTo>
                    <a:pt x="1744" y="1260"/>
                    <a:pt x="1910" y="1081"/>
                    <a:pt x="1910" y="862"/>
                  </a:cubicBezTo>
                  <a:cubicBezTo>
                    <a:pt x="1910" y="714"/>
                    <a:pt x="1831" y="582"/>
                    <a:pt x="1716" y="5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83" name="Group 82"/>
          <p:cNvGrpSpPr/>
          <p:nvPr/>
        </p:nvGrpSpPr>
        <p:grpSpPr>
          <a:xfrm>
            <a:off x="5584788" y="1918766"/>
            <a:ext cx="1022424" cy="1028244"/>
            <a:chOff x="3356065" y="2581276"/>
            <a:chExt cx="888566" cy="893624"/>
          </a:xfrm>
        </p:grpSpPr>
        <p:sp>
          <p:nvSpPr>
            <p:cNvPr id="84" name="Oval 5"/>
            <p:cNvSpPr>
              <a:spLocks noChangeArrowheads="1"/>
            </p:cNvSpPr>
            <p:nvPr/>
          </p:nvSpPr>
          <p:spPr bwMode="auto">
            <a:xfrm>
              <a:off x="3356065" y="2581276"/>
              <a:ext cx="888566" cy="893624"/>
            </a:xfrm>
            <a:prstGeom prst="ellipse">
              <a:avLst/>
            </a:prstGeom>
            <a:solidFill>
              <a:schemeClr val="bg1"/>
            </a:solidFill>
            <a:ln w="57150">
              <a:solidFill>
                <a:srgbClr val="0072C6"/>
              </a:solid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5" name="Freeform 6"/>
            <p:cNvSpPr>
              <a:spLocks/>
            </p:cNvSpPr>
            <p:nvPr/>
          </p:nvSpPr>
          <p:spPr bwMode="auto">
            <a:xfrm>
              <a:off x="3564128" y="2891178"/>
              <a:ext cx="238075" cy="407358"/>
            </a:xfrm>
            <a:custGeom>
              <a:avLst/>
              <a:gdLst>
                <a:gd name="T0" fmla="*/ 706 w 706"/>
                <a:gd name="T1" fmla="*/ 403 h 1208"/>
                <a:gd name="T2" fmla="*/ 699 w 706"/>
                <a:gd name="T3" fmla="*/ 1208 h 1208"/>
                <a:gd name="T4" fmla="*/ 0 w 706"/>
                <a:gd name="T5" fmla="*/ 805 h 1208"/>
                <a:gd name="T6" fmla="*/ 0 w 706"/>
                <a:gd name="T7" fmla="*/ 0 h 1208"/>
                <a:gd name="T8" fmla="*/ 706 w 706"/>
                <a:gd name="T9" fmla="*/ 403 h 1208"/>
                <a:gd name="T10" fmla="*/ 706 w 706"/>
                <a:gd name="T11" fmla="*/ 403 h 1208"/>
                <a:gd name="T12" fmla="*/ 706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06" y="403"/>
                  </a:moveTo>
                  <a:lnTo>
                    <a:pt x="699" y="1208"/>
                  </a:lnTo>
                  <a:lnTo>
                    <a:pt x="0" y="805"/>
                  </a:lnTo>
                  <a:lnTo>
                    <a:pt x="0" y="0"/>
                  </a:lnTo>
                  <a:lnTo>
                    <a:pt x="706" y="403"/>
                  </a:lnTo>
                  <a:lnTo>
                    <a:pt x="706" y="403"/>
                  </a:lnTo>
                  <a:lnTo>
                    <a:pt x="706" y="403"/>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6" name="Freeform 7"/>
            <p:cNvSpPr>
              <a:spLocks/>
            </p:cNvSpPr>
            <p:nvPr/>
          </p:nvSpPr>
          <p:spPr bwMode="auto">
            <a:xfrm>
              <a:off x="3800517" y="2891178"/>
              <a:ext cx="238075" cy="407358"/>
            </a:xfrm>
            <a:custGeom>
              <a:avLst/>
              <a:gdLst>
                <a:gd name="T0" fmla="*/ 7 w 706"/>
                <a:gd name="T1" fmla="*/ 403 h 1208"/>
                <a:gd name="T2" fmla="*/ 0 w 706"/>
                <a:gd name="T3" fmla="*/ 1208 h 1208"/>
                <a:gd name="T4" fmla="*/ 701 w 706"/>
                <a:gd name="T5" fmla="*/ 805 h 1208"/>
                <a:gd name="T6" fmla="*/ 706 w 706"/>
                <a:gd name="T7" fmla="*/ 0 h 1208"/>
                <a:gd name="T8" fmla="*/ 7 w 706"/>
                <a:gd name="T9" fmla="*/ 403 h 1208"/>
                <a:gd name="T10" fmla="*/ 7 w 706"/>
                <a:gd name="T11" fmla="*/ 403 h 1208"/>
                <a:gd name="T12" fmla="*/ 7 w 706"/>
                <a:gd name="T13" fmla="*/ 403 h 1208"/>
              </a:gdLst>
              <a:ahLst/>
              <a:cxnLst>
                <a:cxn ang="0">
                  <a:pos x="T0" y="T1"/>
                </a:cxn>
                <a:cxn ang="0">
                  <a:pos x="T2" y="T3"/>
                </a:cxn>
                <a:cxn ang="0">
                  <a:pos x="T4" y="T5"/>
                </a:cxn>
                <a:cxn ang="0">
                  <a:pos x="T6" y="T7"/>
                </a:cxn>
                <a:cxn ang="0">
                  <a:pos x="T8" y="T9"/>
                </a:cxn>
                <a:cxn ang="0">
                  <a:pos x="T10" y="T11"/>
                </a:cxn>
                <a:cxn ang="0">
                  <a:pos x="T12" y="T13"/>
                </a:cxn>
              </a:cxnLst>
              <a:rect l="0" t="0" r="r" b="b"/>
              <a:pathLst>
                <a:path w="706" h="1208">
                  <a:moveTo>
                    <a:pt x="7" y="403"/>
                  </a:moveTo>
                  <a:lnTo>
                    <a:pt x="0" y="1208"/>
                  </a:lnTo>
                  <a:lnTo>
                    <a:pt x="701" y="805"/>
                  </a:lnTo>
                  <a:lnTo>
                    <a:pt x="706" y="0"/>
                  </a:lnTo>
                  <a:lnTo>
                    <a:pt x="7" y="403"/>
                  </a:lnTo>
                  <a:lnTo>
                    <a:pt x="7" y="403"/>
                  </a:lnTo>
                  <a:lnTo>
                    <a:pt x="7" y="403"/>
                  </a:ln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7" name="Freeform 8"/>
            <p:cNvSpPr>
              <a:spLocks/>
            </p:cNvSpPr>
            <p:nvPr/>
          </p:nvSpPr>
          <p:spPr bwMode="auto">
            <a:xfrm>
              <a:off x="3564128" y="2755280"/>
              <a:ext cx="474464" cy="271797"/>
            </a:xfrm>
            <a:custGeom>
              <a:avLst/>
              <a:gdLst>
                <a:gd name="T0" fmla="*/ 708 w 1407"/>
                <a:gd name="T1" fmla="*/ 806 h 806"/>
                <a:gd name="T2" fmla="*/ 0 w 1407"/>
                <a:gd name="T3" fmla="*/ 398 h 806"/>
                <a:gd name="T4" fmla="*/ 701 w 1407"/>
                <a:gd name="T5" fmla="*/ 0 h 806"/>
                <a:gd name="T6" fmla="*/ 1407 w 1407"/>
                <a:gd name="T7" fmla="*/ 398 h 806"/>
                <a:gd name="T8" fmla="*/ 708 w 1407"/>
                <a:gd name="T9" fmla="*/ 806 h 806"/>
                <a:gd name="T10" fmla="*/ 708 w 1407"/>
                <a:gd name="T11" fmla="*/ 806 h 806"/>
                <a:gd name="T12" fmla="*/ 708 w 1407"/>
                <a:gd name="T13" fmla="*/ 806 h 806"/>
              </a:gdLst>
              <a:ahLst/>
              <a:cxnLst>
                <a:cxn ang="0">
                  <a:pos x="T0" y="T1"/>
                </a:cxn>
                <a:cxn ang="0">
                  <a:pos x="T2" y="T3"/>
                </a:cxn>
                <a:cxn ang="0">
                  <a:pos x="T4" y="T5"/>
                </a:cxn>
                <a:cxn ang="0">
                  <a:pos x="T6" y="T7"/>
                </a:cxn>
                <a:cxn ang="0">
                  <a:pos x="T8" y="T9"/>
                </a:cxn>
                <a:cxn ang="0">
                  <a:pos x="T10" y="T11"/>
                </a:cxn>
                <a:cxn ang="0">
                  <a:pos x="T12" y="T13"/>
                </a:cxn>
              </a:cxnLst>
              <a:rect l="0" t="0" r="r" b="b"/>
              <a:pathLst>
                <a:path w="1407" h="806">
                  <a:moveTo>
                    <a:pt x="708" y="806"/>
                  </a:moveTo>
                  <a:lnTo>
                    <a:pt x="0" y="398"/>
                  </a:lnTo>
                  <a:lnTo>
                    <a:pt x="701" y="0"/>
                  </a:lnTo>
                  <a:lnTo>
                    <a:pt x="1407" y="398"/>
                  </a:lnTo>
                  <a:lnTo>
                    <a:pt x="708" y="806"/>
                  </a:lnTo>
                  <a:lnTo>
                    <a:pt x="708" y="806"/>
                  </a:lnTo>
                  <a:lnTo>
                    <a:pt x="708" y="806"/>
                  </a:lnTo>
                  <a:close/>
                </a:path>
              </a:pathLst>
            </a:custGeom>
            <a:solidFill>
              <a:schemeClr val="accent1">
                <a:lumMod val="60000"/>
                <a:lumOff val="40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107" name="Rectangle 106"/>
          <p:cNvSpPr/>
          <p:nvPr/>
        </p:nvSpPr>
        <p:spPr bwMode="auto">
          <a:xfrm>
            <a:off x="5155132" y="5339351"/>
            <a:ext cx="1789048" cy="179751"/>
          </a:xfrm>
          <a:prstGeom prst="rect">
            <a:avLst/>
          </a:prstGeom>
          <a:solidFill>
            <a:srgbClr val="00AB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5236682" y="4689156"/>
            <a:ext cx="1718636" cy="1271346"/>
            <a:chOff x="1144922" y="4448658"/>
            <a:chExt cx="1721211" cy="1273251"/>
          </a:xfrm>
        </p:grpSpPr>
        <p:grpSp>
          <p:nvGrpSpPr>
            <p:cNvPr id="88" name="Group 87"/>
            <p:cNvGrpSpPr/>
            <p:nvPr/>
          </p:nvGrpSpPr>
          <p:grpSpPr>
            <a:xfrm>
              <a:off x="1144922" y="4448658"/>
              <a:ext cx="1721211" cy="1273251"/>
              <a:chOff x="9507628" y="5254171"/>
              <a:chExt cx="1721211" cy="1273251"/>
            </a:xfrm>
            <a:solidFill>
              <a:schemeClr val="accent1">
                <a:lumMod val="75000"/>
              </a:schemeClr>
            </a:solidFill>
          </p:grpSpPr>
          <p:sp>
            <p:nvSpPr>
              <p:cNvPr id="97" name="Oval 7"/>
              <p:cNvSpPr>
                <a:spLocks noChangeArrowheads="1"/>
              </p:cNvSpPr>
              <p:nvPr/>
            </p:nvSpPr>
            <p:spPr bwMode="auto">
              <a:xfrm>
                <a:off x="10028080" y="6375004"/>
                <a:ext cx="710046" cy="152418"/>
              </a:xfrm>
              <a:prstGeom prst="ellipse">
                <a:avLst/>
              </a:prstGeom>
              <a:grpFill/>
              <a:ln>
                <a:noFill/>
              </a:ln>
            </p:spPr>
            <p:txBody>
              <a:bodyPr/>
              <a:lstStyle/>
              <a:p>
                <a:pPr defTabSz="914314">
                  <a:defRPr/>
                </a:pPr>
                <a:endParaRPr lang="en-US">
                  <a:solidFill>
                    <a:srgbClr val="000000"/>
                  </a:solidFill>
                </a:endParaRPr>
              </a:p>
            </p:txBody>
          </p:sp>
          <p:sp>
            <p:nvSpPr>
              <p:cNvPr id="98" name="Freeform 8"/>
              <p:cNvSpPr>
                <a:spLocks/>
              </p:cNvSpPr>
              <p:nvPr/>
            </p:nvSpPr>
            <p:spPr bwMode="auto">
              <a:xfrm>
                <a:off x="9507628" y="5254171"/>
                <a:ext cx="1721211" cy="1197041"/>
              </a:xfrm>
              <a:custGeom>
                <a:avLst/>
                <a:gdLst>
                  <a:gd name="T0" fmla="*/ 1699 w 1733"/>
                  <a:gd name="T1" fmla="*/ 1202 h 1202"/>
                  <a:gd name="T2" fmla="*/ 1733 w 1733"/>
                  <a:gd name="T3" fmla="*/ 1168 h 1202"/>
                  <a:gd name="T4" fmla="*/ 1733 w 1733"/>
                  <a:gd name="T5" fmla="*/ 34 h 1202"/>
                  <a:gd name="T6" fmla="*/ 1699 w 1733"/>
                  <a:gd name="T7" fmla="*/ 0 h 1202"/>
                  <a:gd name="T8" fmla="*/ 34 w 1733"/>
                  <a:gd name="T9" fmla="*/ 0 h 1202"/>
                  <a:gd name="T10" fmla="*/ 0 w 1733"/>
                  <a:gd name="T11" fmla="*/ 34 h 1202"/>
                  <a:gd name="T12" fmla="*/ 0 w 1733"/>
                  <a:gd name="T13" fmla="*/ 1168 h 1202"/>
                  <a:gd name="T14" fmla="*/ 34 w 1733"/>
                  <a:gd name="T15" fmla="*/ 1202 h 1202"/>
                  <a:gd name="T16" fmla="*/ 1699 w 1733"/>
                  <a:gd name="T17" fmla="*/ 120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202">
                    <a:moveTo>
                      <a:pt x="1699" y="1202"/>
                    </a:moveTo>
                    <a:cubicBezTo>
                      <a:pt x="1718" y="1202"/>
                      <a:pt x="1733" y="1187"/>
                      <a:pt x="1733" y="1168"/>
                    </a:cubicBezTo>
                    <a:cubicBezTo>
                      <a:pt x="1733" y="34"/>
                      <a:pt x="1733" y="34"/>
                      <a:pt x="1733" y="34"/>
                    </a:cubicBezTo>
                    <a:cubicBezTo>
                      <a:pt x="1733" y="15"/>
                      <a:pt x="1718" y="0"/>
                      <a:pt x="1699" y="0"/>
                    </a:cubicBezTo>
                    <a:cubicBezTo>
                      <a:pt x="34" y="0"/>
                      <a:pt x="34" y="0"/>
                      <a:pt x="34" y="0"/>
                    </a:cubicBezTo>
                    <a:cubicBezTo>
                      <a:pt x="15" y="0"/>
                      <a:pt x="0" y="15"/>
                      <a:pt x="0" y="34"/>
                    </a:cubicBezTo>
                    <a:cubicBezTo>
                      <a:pt x="0" y="1168"/>
                      <a:pt x="0" y="1168"/>
                      <a:pt x="0" y="1168"/>
                    </a:cubicBezTo>
                    <a:cubicBezTo>
                      <a:pt x="0" y="1187"/>
                      <a:pt x="15" y="1202"/>
                      <a:pt x="34" y="1202"/>
                    </a:cubicBezTo>
                    <a:lnTo>
                      <a:pt x="1699" y="1202"/>
                    </a:lnTo>
                    <a:close/>
                  </a:path>
                </a:pathLst>
              </a:custGeom>
              <a:grpFill/>
              <a:ln>
                <a:noFill/>
              </a:ln>
            </p:spPr>
            <p:txBody>
              <a:bodyPr/>
              <a:lstStyle/>
              <a:p>
                <a:pPr defTabSz="914314">
                  <a:defRPr/>
                </a:pPr>
                <a:endParaRPr lang="en-US">
                  <a:solidFill>
                    <a:srgbClr val="000000"/>
                  </a:solidFill>
                </a:endParaRPr>
              </a:p>
            </p:txBody>
          </p:sp>
        </p:grpSp>
        <p:sp>
          <p:nvSpPr>
            <p:cNvPr id="99" name="Rectangle 9"/>
            <p:cNvSpPr>
              <a:spLocks noChangeArrowheads="1"/>
            </p:cNvSpPr>
            <p:nvPr/>
          </p:nvSpPr>
          <p:spPr bwMode="auto">
            <a:xfrm>
              <a:off x="1198825" y="4500703"/>
              <a:ext cx="1613403" cy="918227"/>
            </a:xfrm>
            <a:prstGeom prst="rect">
              <a:avLst/>
            </a:prstGeom>
            <a:solidFill>
              <a:schemeClr val="bg1"/>
            </a:solidFill>
            <a:ln>
              <a:noFill/>
            </a:ln>
          </p:spPr>
          <p:txBody>
            <a:bodyPr/>
            <a:lstStyle/>
            <a:p>
              <a:pPr defTabSz="914314">
                <a:defRPr/>
              </a:pPr>
              <a:endParaRPr lang="en-US">
                <a:solidFill>
                  <a:srgbClr val="000000"/>
                </a:solidFill>
              </a:endParaRPr>
            </a:p>
          </p:txBody>
        </p:sp>
        <p:sp>
          <p:nvSpPr>
            <p:cNvPr id="100" name="Freeform 5"/>
            <p:cNvSpPr>
              <a:spLocks/>
            </p:cNvSpPr>
            <p:nvPr/>
          </p:nvSpPr>
          <p:spPr bwMode="auto">
            <a:xfrm>
              <a:off x="1341222" y="4722352"/>
              <a:ext cx="820134" cy="532613"/>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BCF2"/>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grpSp>
          <p:nvGrpSpPr>
            <p:cNvPr id="101" name="Group 100"/>
            <p:cNvGrpSpPr/>
            <p:nvPr/>
          </p:nvGrpSpPr>
          <p:grpSpPr>
            <a:xfrm>
              <a:off x="1432098" y="4794507"/>
              <a:ext cx="393077" cy="412332"/>
              <a:chOff x="775399" y="3416290"/>
              <a:chExt cx="1651593" cy="1732495"/>
            </a:xfrm>
            <a:solidFill>
              <a:schemeClr val="bg1"/>
            </a:solidFill>
          </p:grpSpPr>
          <p:sp>
            <p:nvSpPr>
              <p:cNvPr id="102" name="Freeform 9"/>
              <p:cNvSpPr>
                <a:spLocks noEditPoints="1"/>
              </p:cNvSpPr>
              <p:nvPr/>
            </p:nvSpPr>
            <p:spPr bwMode="auto">
              <a:xfrm>
                <a:off x="775399" y="4396975"/>
                <a:ext cx="610545" cy="751810"/>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03" name="Freeform 10"/>
              <p:cNvSpPr>
                <a:spLocks noEditPoints="1"/>
              </p:cNvSpPr>
              <p:nvPr/>
            </p:nvSpPr>
            <p:spPr bwMode="auto">
              <a:xfrm>
                <a:off x="1139043" y="3847842"/>
                <a:ext cx="610545"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04" name="Freeform 11"/>
              <p:cNvSpPr>
                <a:spLocks/>
              </p:cNvSpPr>
              <p:nvPr/>
            </p:nvSpPr>
            <p:spPr bwMode="auto">
              <a:xfrm>
                <a:off x="1480470" y="3416290"/>
                <a:ext cx="946522" cy="636743"/>
              </a:xfrm>
              <a:custGeom>
                <a:avLst/>
                <a:gdLst>
                  <a:gd name="T0" fmla="*/ 1716 w 1910"/>
                  <a:gd name="T1" fmla="*/ 506 h 1285"/>
                  <a:gd name="T2" fmla="*/ 1577 w 1910"/>
                  <a:gd name="T3" fmla="*/ 253 h 1285"/>
                  <a:gd name="T4" fmla="*/ 1403 w 1910"/>
                  <a:gd name="T5" fmla="*/ 201 h 1285"/>
                  <a:gd name="T6" fmla="*/ 1256 w 1910"/>
                  <a:gd name="T7" fmla="*/ 241 h 1285"/>
                  <a:gd name="T8" fmla="*/ 807 w 1910"/>
                  <a:gd name="T9" fmla="*/ 0 h 1285"/>
                  <a:gd name="T10" fmla="*/ 268 w 1910"/>
                  <a:gd name="T11" fmla="*/ 539 h 1285"/>
                  <a:gd name="T12" fmla="*/ 268 w 1910"/>
                  <a:gd name="T13" fmla="*/ 564 h 1285"/>
                  <a:gd name="T14" fmla="*/ 0 w 1910"/>
                  <a:gd name="T15" fmla="*/ 750 h 1285"/>
                  <a:gd name="T16" fmla="*/ 666 w 1910"/>
                  <a:gd name="T17" fmla="*/ 750 h 1285"/>
                  <a:gd name="T18" fmla="*/ 666 w 1910"/>
                  <a:gd name="T19" fmla="*/ 1285 h 1285"/>
                  <a:gd name="T20" fmla="*/ 1443 w 1910"/>
                  <a:gd name="T21" fmla="*/ 1285 h 1285"/>
                  <a:gd name="T22" fmla="*/ 1486 w 1910"/>
                  <a:gd name="T23" fmla="*/ 1285 h 1285"/>
                  <a:gd name="T24" fmla="*/ 1532 w 1910"/>
                  <a:gd name="T25" fmla="*/ 1285 h 1285"/>
                  <a:gd name="T26" fmla="*/ 1910 w 1910"/>
                  <a:gd name="T27" fmla="*/ 862 h 1285"/>
                  <a:gd name="T28" fmla="*/ 1716 w 1910"/>
                  <a:gd name="T29" fmla="*/ 506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0" h="1285">
                    <a:moveTo>
                      <a:pt x="1716" y="506"/>
                    </a:moveTo>
                    <a:cubicBezTo>
                      <a:pt x="1713" y="401"/>
                      <a:pt x="1659" y="308"/>
                      <a:pt x="1577" y="253"/>
                    </a:cubicBezTo>
                    <a:cubicBezTo>
                      <a:pt x="1528" y="220"/>
                      <a:pt x="1468" y="201"/>
                      <a:pt x="1403" y="201"/>
                    </a:cubicBezTo>
                    <a:cubicBezTo>
                      <a:pt x="1349" y="201"/>
                      <a:pt x="1299" y="216"/>
                      <a:pt x="1256" y="241"/>
                    </a:cubicBezTo>
                    <a:cubicBezTo>
                      <a:pt x="1159" y="97"/>
                      <a:pt x="994" y="0"/>
                      <a:pt x="807" y="0"/>
                    </a:cubicBezTo>
                    <a:cubicBezTo>
                      <a:pt x="509" y="0"/>
                      <a:pt x="268" y="241"/>
                      <a:pt x="268" y="539"/>
                    </a:cubicBezTo>
                    <a:cubicBezTo>
                      <a:pt x="268" y="546"/>
                      <a:pt x="268" y="556"/>
                      <a:pt x="268" y="564"/>
                    </a:cubicBezTo>
                    <a:cubicBezTo>
                      <a:pt x="152" y="580"/>
                      <a:pt x="54" y="651"/>
                      <a:pt x="0" y="750"/>
                    </a:cubicBezTo>
                    <a:cubicBezTo>
                      <a:pt x="666" y="750"/>
                      <a:pt x="666" y="750"/>
                      <a:pt x="666" y="750"/>
                    </a:cubicBezTo>
                    <a:cubicBezTo>
                      <a:pt x="666" y="1285"/>
                      <a:pt x="666" y="1285"/>
                      <a:pt x="666" y="1285"/>
                    </a:cubicBezTo>
                    <a:cubicBezTo>
                      <a:pt x="905" y="1285"/>
                      <a:pt x="1272" y="1285"/>
                      <a:pt x="1443" y="1285"/>
                    </a:cubicBezTo>
                    <a:cubicBezTo>
                      <a:pt x="1457" y="1285"/>
                      <a:pt x="1471" y="1285"/>
                      <a:pt x="1486" y="1285"/>
                    </a:cubicBezTo>
                    <a:cubicBezTo>
                      <a:pt x="1500" y="1285"/>
                      <a:pt x="1518" y="1285"/>
                      <a:pt x="1532" y="1285"/>
                    </a:cubicBezTo>
                    <a:cubicBezTo>
                      <a:pt x="1744" y="1260"/>
                      <a:pt x="1910" y="1081"/>
                      <a:pt x="1910" y="862"/>
                    </a:cubicBezTo>
                    <a:cubicBezTo>
                      <a:pt x="1910" y="714"/>
                      <a:pt x="1831" y="582"/>
                      <a:pt x="1716" y="5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105" name="Freeform 5"/>
            <p:cNvSpPr>
              <a:spLocks/>
            </p:cNvSpPr>
            <p:nvPr/>
          </p:nvSpPr>
          <p:spPr bwMode="auto">
            <a:xfrm>
              <a:off x="2291798" y="4659080"/>
              <a:ext cx="412549" cy="26791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BCF2"/>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sp>
          <p:nvSpPr>
            <p:cNvPr id="106" name="Freeform 5"/>
            <p:cNvSpPr>
              <a:spLocks/>
            </p:cNvSpPr>
            <p:nvPr/>
          </p:nvSpPr>
          <p:spPr bwMode="auto">
            <a:xfrm>
              <a:off x="2291798" y="4995965"/>
              <a:ext cx="412549" cy="26791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BCF2"/>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grpSp>
    </p:spTree>
    <p:extLst>
      <p:ext uri="{BB962C8B-B14F-4D97-AF65-F5344CB8AC3E}">
        <p14:creationId xmlns:p14="http://schemas.microsoft.com/office/powerpoint/2010/main" val="8338340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302046"/>
            <a:ext cx="11655840" cy="899537"/>
          </a:xfrm>
        </p:spPr>
        <p:txBody>
          <a:bodyPr/>
          <a:lstStyle/>
          <a:p>
            <a:r>
              <a:rPr lang="en-US" dirty="0" smtClean="0"/>
              <a:t>Service delivery</a:t>
            </a:r>
            <a:endParaRPr lang="en-US" dirty="0"/>
          </a:p>
        </p:txBody>
      </p:sp>
      <p:sp>
        <p:nvSpPr>
          <p:cNvPr id="4" name="Rectangle 3" hidden="1"/>
          <p:cNvSpPr/>
          <p:nvPr/>
        </p:nvSpPr>
        <p:spPr bwMode="auto">
          <a:xfrm>
            <a:off x="3446570" y="5150214"/>
            <a:ext cx="2605671" cy="24827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28568" rIns="91423" bIns="91427" numCol="1" rtlCol="0" anchor="t"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7" name="Rectangle 6" hidden="1"/>
          <p:cNvSpPr/>
          <p:nvPr/>
        </p:nvSpPr>
        <p:spPr bwMode="auto">
          <a:xfrm>
            <a:off x="6185876" y="5146198"/>
            <a:ext cx="2605671" cy="24868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28568" rIns="91423" bIns="91427" numCol="1" rtlCol="0" anchor="t"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10" name="Rectangle 9" hidden="1"/>
          <p:cNvSpPr/>
          <p:nvPr/>
        </p:nvSpPr>
        <p:spPr bwMode="auto">
          <a:xfrm>
            <a:off x="8925180" y="5150214"/>
            <a:ext cx="2605671" cy="24868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28568" rIns="91423" bIns="91427" numCol="1" rtlCol="0" anchor="t" anchorCtr="0" compatLnSpc="1">
            <a:prstTxWarp prst="textNoShape">
              <a:avLst/>
            </a:prstTxWarp>
            <a:noAutofit/>
          </a:bodyPr>
          <a:lstStyle/>
          <a:p>
            <a:pPr defTabSz="914188">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59" name="Rectangle 58"/>
          <p:cNvSpPr/>
          <p:nvPr/>
        </p:nvSpPr>
        <p:spPr>
          <a:xfrm>
            <a:off x="8771553" y="3383243"/>
            <a:ext cx="2811017" cy="571435"/>
          </a:xfrm>
          <a:prstGeom prst="rect">
            <a:avLst/>
          </a:prstGeom>
        </p:spPr>
        <p:txBody>
          <a:bodyPr wrap="square" lIns="0" tIns="43908" rIns="87815" bIns="43908">
            <a:spAutoFit/>
          </a:bodyPr>
          <a:lstStyle/>
          <a:p>
            <a:pPr defTabSz="895343"/>
            <a:r>
              <a:rPr lang="en-US" sz="3137" dirty="0">
                <a:solidFill>
                  <a:srgbClr val="FFFFFF"/>
                </a:solidFill>
                <a:latin typeface="Segoe UI Light"/>
              </a:rPr>
              <a:t>Service</a:t>
            </a:r>
          </a:p>
        </p:txBody>
      </p:sp>
      <p:grpSp>
        <p:nvGrpSpPr>
          <p:cNvPr id="92" name="Group 91"/>
          <p:cNvGrpSpPr/>
          <p:nvPr/>
        </p:nvGrpSpPr>
        <p:grpSpPr>
          <a:xfrm>
            <a:off x="9138575" y="2183348"/>
            <a:ext cx="2734568" cy="2022871"/>
            <a:chOff x="1144922" y="4448658"/>
            <a:chExt cx="1721211" cy="1273251"/>
          </a:xfrm>
        </p:grpSpPr>
        <p:grpSp>
          <p:nvGrpSpPr>
            <p:cNvPr id="93" name="Group 92"/>
            <p:cNvGrpSpPr/>
            <p:nvPr/>
          </p:nvGrpSpPr>
          <p:grpSpPr>
            <a:xfrm>
              <a:off x="1144922" y="4448658"/>
              <a:ext cx="1721211" cy="1273251"/>
              <a:chOff x="9507628" y="5254171"/>
              <a:chExt cx="1721211" cy="1273251"/>
            </a:xfrm>
            <a:solidFill>
              <a:schemeClr val="accent1">
                <a:lumMod val="75000"/>
              </a:schemeClr>
            </a:solidFill>
          </p:grpSpPr>
          <p:sp>
            <p:nvSpPr>
              <p:cNvPr id="102" name="Oval 7"/>
              <p:cNvSpPr>
                <a:spLocks noChangeArrowheads="1"/>
              </p:cNvSpPr>
              <p:nvPr/>
            </p:nvSpPr>
            <p:spPr bwMode="auto">
              <a:xfrm>
                <a:off x="10028080" y="6375004"/>
                <a:ext cx="710046" cy="152418"/>
              </a:xfrm>
              <a:prstGeom prst="ellipse">
                <a:avLst/>
              </a:prstGeom>
              <a:solidFill>
                <a:srgbClr val="68217A"/>
              </a:solidFill>
              <a:ln>
                <a:noFill/>
              </a:ln>
            </p:spPr>
            <p:txBody>
              <a:bodyPr/>
              <a:lstStyle/>
              <a:p>
                <a:pPr defTabSz="914314">
                  <a:defRPr/>
                </a:pPr>
                <a:endParaRPr lang="en-US">
                  <a:solidFill>
                    <a:srgbClr val="000000"/>
                  </a:solidFill>
                </a:endParaRPr>
              </a:p>
            </p:txBody>
          </p:sp>
          <p:sp>
            <p:nvSpPr>
              <p:cNvPr id="103" name="Freeform 8"/>
              <p:cNvSpPr>
                <a:spLocks/>
              </p:cNvSpPr>
              <p:nvPr/>
            </p:nvSpPr>
            <p:spPr bwMode="auto">
              <a:xfrm>
                <a:off x="9507628" y="5254171"/>
                <a:ext cx="1721211" cy="1197041"/>
              </a:xfrm>
              <a:custGeom>
                <a:avLst/>
                <a:gdLst>
                  <a:gd name="T0" fmla="*/ 1699 w 1733"/>
                  <a:gd name="T1" fmla="*/ 1202 h 1202"/>
                  <a:gd name="T2" fmla="*/ 1733 w 1733"/>
                  <a:gd name="T3" fmla="*/ 1168 h 1202"/>
                  <a:gd name="T4" fmla="*/ 1733 w 1733"/>
                  <a:gd name="T5" fmla="*/ 34 h 1202"/>
                  <a:gd name="T6" fmla="*/ 1699 w 1733"/>
                  <a:gd name="T7" fmla="*/ 0 h 1202"/>
                  <a:gd name="T8" fmla="*/ 34 w 1733"/>
                  <a:gd name="T9" fmla="*/ 0 h 1202"/>
                  <a:gd name="T10" fmla="*/ 0 w 1733"/>
                  <a:gd name="T11" fmla="*/ 34 h 1202"/>
                  <a:gd name="T12" fmla="*/ 0 w 1733"/>
                  <a:gd name="T13" fmla="*/ 1168 h 1202"/>
                  <a:gd name="T14" fmla="*/ 34 w 1733"/>
                  <a:gd name="T15" fmla="*/ 1202 h 1202"/>
                  <a:gd name="T16" fmla="*/ 1699 w 1733"/>
                  <a:gd name="T17" fmla="*/ 120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202">
                    <a:moveTo>
                      <a:pt x="1699" y="1202"/>
                    </a:moveTo>
                    <a:cubicBezTo>
                      <a:pt x="1718" y="1202"/>
                      <a:pt x="1733" y="1187"/>
                      <a:pt x="1733" y="1168"/>
                    </a:cubicBezTo>
                    <a:cubicBezTo>
                      <a:pt x="1733" y="34"/>
                      <a:pt x="1733" y="34"/>
                      <a:pt x="1733" y="34"/>
                    </a:cubicBezTo>
                    <a:cubicBezTo>
                      <a:pt x="1733" y="15"/>
                      <a:pt x="1718" y="0"/>
                      <a:pt x="1699" y="0"/>
                    </a:cubicBezTo>
                    <a:cubicBezTo>
                      <a:pt x="34" y="0"/>
                      <a:pt x="34" y="0"/>
                      <a:pt x="34" y="0"/>
                    </a:cubicBezTo>
                    <a:cubicBezTo>
                      <a:pt x="15" y="0"/>
                      <a:pt x="0" y="15"/>
                      <a:pt x="0" y="34"/>
                    </a:cubicBezTo>
                    <a:cubicBezTo>
                      <a:pt x="0" y="1168"/>
                      <a:pt x="0" y="1168"/>
                      <a:pt x="0" y="1168"/>
                    </a:cubicBezTo>
                    <a:cubicBezTo>
                      <a:pt x="0" y="1187"/>
                      <a:pt x="15" y="1202"/>
                      <a:pt x="34" y="1202"/>
                    </a:cubicBezTo>
                    <a:lnTo>
                      <a:pt x="1699" y="1202"/>
                    </a:lnTo>
                    <a:close/>
                  </a:path>
                </a:pathLst>
              </a:custGeom>
              <a:solidFill>
                <a:srgbClr val="68217A"/>
              </a:solidFill>
              <a:ln>
                <a:noFill/>
              </a:ln>
            </p:spPr>
            <p:txBody>
              <a:bodyPr/>
              <a:lstStyle/>
              <a:p>
                <a:pPr defTabSz="914314">
                  <a:defRPr/>
                </a:pPr>
                <a:endParaRPr lang="en-US">
                  <a:solidFill>
                    <a:srgbClr val="000000"/>
                  </a:solidFill>
                </a:endParaRPr>
              </a:p>
            </p:txBody>
          </p:sp>
        </p:grpSp>
        <p:sp>
          <p:nvSpPr>
            <p:cNvPr id="94" name="Rectangle 9"/>
            <p:cNvSpPr>
              <a:spLocks noChangeArrowheads="1"/>
            </p:cNvSpPr>
            <p:nvPr/>
          </p:nvSpPr>
          <p:spPr bwMode="auto">
            <a:xfrm>
              <a:off x="1198825" y="4500703"/>
              <a:ext cx="1613403" cy="918227"/>
            </a:xfrm>
            <a:prstGeom prst="rect">
              <a:avLst/>
            </a:prstGeom>
            <a:solidFill>
              <a:schemeClr val="bg1"/>
            </a:solidFill>
            <a:ln>
              <a:noFill/>
            </a:ln>
          </p:spPr>
          <p:txBody>
            <a:bodyPr/>
            <a:lstStyle/>
            <a:p>
              <a:pPr defTabSz="914314">
                <a:defRPr/>
              </a:pPr>
              <a:endParaRPr lang="en-US">
                <a:solidFill>
                  <a:srgbClr val="000000"/>
                </a:solidFill>
              </a:endParaRPr>
            </a:p>
          </p:txBody>
        </p:sp>
        <p:sp>
          <p:nvSpPr>
            <p:cNvPr id="95" name="Freeform 5"/>
            <p:cNvSpPr>
              <a:spLocks/>
            </p:cNvSpPr>
            <p:nvPr/>
          </p:nvSpPr>
          <p:spPr bwMode="auto">
            <a:xfrm>
              <a:off x="1341222" y="4722352"/>
              <a:ext cx="820134" cy="532613"/>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2C6"/>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grpSp>
          <p:nvGrpSpPr>
            <p:cNvPr id="96" name="Group 95"/>
            <p:cNvGrpSpPr/>
            <p:nvPr/>
          </p:nvGrpSpPr>
          <p:grpSpPr>
            <a:xfrm>
              <a:off x="1432098" y="4794507"/>
              <a:ext cx="393077" cy="412332"/>
              <a:chOff x="775399" y="3416290"/>
              <a:chExt cx="1651593" cy="1732495"/>
            </a:xfrm>
            <a:solidFill>
              <a:schemeClr val="bg1"/>
            </a:solidFill>
          </p:grpSpPr>
          <p:sp>
            <p:nvSpPr>
              <p:cNvPr id="99" name="Freeform 9"/>
              <p:cNvSpPr>
                <a:spLocks noEditPoints="1"/>
              </p:cNvSpPr>
              <p:nvPr/>
            </p:nvSpPr>
            <p:spPr bwMode="auto">
              <a:xfrm>
                <a:off x="775399" y="4396975"/>
                <a:ext cx="610545" cy="751810"/>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00" name="Freeform 10"/>
              <p:cNvSpPr>
                <a:spLocks noEditPoints="1"/>
              </p:cNvSpPr>
              <p:nvPr/>
            </p:nvSpPr>
            <p:spPr bwMode="auto">
              <a:xfrm>
                <a:off x="1139043" y="3847842"/>
                <a:ext cx="610545"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01" name="Freeform 11"/>
              <p:cNvSpPr>
                <a:spLocks/>
              </p:cNvSpPr>
              <p:nvPr/>
            </p:nvSpPr>
            <p:spPr bwMode="auto">
              <a:xfrm>
                <a:off x="1480470" y="3416290"/>
                <a:ext cx="946522" cy="636743"/>
              </a:xfrm>
              <a:custGeom>
                <a:avLst/>
                <a:gdLst>
                  <a:gd name="T0" fmla="*/ 1716 w 1910"/>
                  <a:gd name="T1" fmla="*/ 506 h 1285"/>
                  <a:gd name="T2" fmla="*/ 1577 w 1910"/>
                  <a:gd name="T3" fmla="*/ 253 h 1285"/>
                  <a:gd name="T4" fmla="*/ 1403 w 1910"/>
                  <a:gd name="T5" fmla="*/ 201 h 1285"/>
                  <a:gd name="T6" fmla="*/ 1256 w 1910"/>
                  <a:gd name="T7" fmla="*/ 241 h 1285"/>
                  <a:gd name="T8" fmla="*/ 807 w 1910"/>
                  <a:gd name="T9" fmla="*/ 0 h 1285"/>
                  <a:gd name="T10" fmla="*/ 268 w 1910"/>
                  <a:gd name="T11" fmla="*/ 539 h 1285"/>
                  <a:gd name="T12" fmla="*/ 268 w 1910"/>
                  <a:gd name="T13" fmla="*/ 564 h 1285"/>
                  <a:gd name="T14" fmla="*/ 0 w 1910"/>
                  <a:gd name="T15" fmla="*/ 750 h 1285"/>
                  <a:gd name="T16" fmla="*/ 666 w 1910"/>
                  <a:gd name="T17" fmla="*/ 750 h 1285"/>
                  <a:gd name="T18" fmla="*/ 666 w 1910"/>
                  <a:gd name="T19" fmla="*/ 1285 h 1285"/>
                  <a:gd name="T20" fmla="*/ 1443 w 1910"/>
                  <a:gd name="T21" fmla="*/ 1285 h 1285"/>
                  <a:gd name="T22" fmla="*/ 1486 w 1910"/>
                  <a:gd name="T23" fmla="*/ 1285 h 1285"/>
                  <a:gd name="T24" fmla="*/ 1532 w 1910"/>
                  <a:gd name="T25" fmla="*/ 1285 h 1285"/>
                  <a:gd name="T26" fmla="*/ 1910 w 1910"/>
                  <a:gd name="T27" fmla="*/ 862 h 1285"/>
                  <a:gd name="T28" fmla="*/ 1716 w 1910"/>
                  <a:gd name="T29" fmla="*/ 506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0" h="1285">
                    <a:moveTo>
                      <a:pt x="1716" y="506"/>
                    </a:moveTo>
                    <a:cubicBezTo>
                      <a:pt x="1713" y="401"/>
                      <a:pt x="1659" y="308"/>
                      <a:pt x="1577" y="253"/>
                    </a:cubicBezTo>
                    <a:cubicBezTo>
                      <a:pt x="1528" y="220"/>
                      <a:pt x="1468" y="201"/>
                      <a:pt x="1403" y="201"/>
                    </a:cubicBezTo>
                    <a:cubicBezTo>
                      <a:pt x="1349" y="201"/>
                      <a:pt x="1299" y="216"/>
                      <a:pt x="1256" y="241"/>
                    </a:cubicBezTo>
                    <a:cubicBezTo>
                      <a:pt x="1159" y="97"/>
                      <a:pt x="994" y="0"/>
                      <a:pt x="807" y="0"/>
                    </a:cubicBezTo>
                    <a:cubicBezTo>
                      <a:pt x="509" y="0"/>
                      <a:pt x="268" y="241"/>
                      <a:pt x="268" y="539"/>
                    </a:cubicBezTo>
                    <a:cubicBezTo>
                      <a:pt x="268" y="546"/>
                      <a:pt x="268" y="556"/>
                      <a:pt x="268" y="564"/>
                    </a:cubicBezTo>
                    <a:cubicBezTo>
                      <a:pt x="152" y="580"/>
                      <a:pt x="54" y="651"/>
                      <a:pt x="0" y="750"/>
                    </a:cubicBezTo>
                    <a:cubicBezTo>
                      <a:pt x="666" y="750"/>
                      <a:pt x="666" y="750"/>
                      <a:pt x="666" y="750"/>
                    </a:cubicBezTo>
                    <a:cubicBezTo>
                      <a:pt x="666" y="1285"/>
                      <a:pt x="666" y="1285"/>
                      <a:pt x="666" y="1285"/>
                    </a:cubicBezTo>
                    <a:cubicBezTo>
                      <a:pt x="905" y="1285"/>
                      <a:pt x="1272" y="1285"/>
                      <a:pt x="1443" y="1285"/>
                    </a:cubicBezTo>
                    <a:cubicBezTo>
                      <a:pt x="1457" y="1285"/>
                      <a:pt x="1471" y="1285"/>
                      <a:pt x="1486" y="1285"/>
                    </a:cubicBezTo>
                    <a:cubicBezTo>
                      <a:pt x="1500" y="1285"/>
                      <a:pt x="1518" y="1285"/>
                      <a:pt x="1532" y="1285"/>
                    </a:cubicBezTo>
                    <a:cubicBezTo>
                      <a:pt x="1744" y="1260"/>
                      <a:pt x="1910" y="1081"/>
                      <a:pt x="1910" y="862"/>
                    </a:cubicBezTo>
                    <a:cubicBezTo>
                      <a:pt x="1910" y="714"/>
                      <a:pt x="1831" y="582"/>
                      <a:pt x="1716" y="5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97" name="Freeform 5"/>
            <p:cNvSpPr>
              <a:spLocks/>
            </p:cNvSpPr>
            <p:nvPr/>
          </p:nvSpPr>
          <p:spPr bwMode="auto">
            <a:xfrm>
              <a:off x="2291798" y="4659080"/>
              <a:ext cx="412549" cy="26791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BCF2"/>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sp>
          <p:nvSpPr>
            <p:cNvPr id="98" name="Freeform 5"/>
            <p:cNvSpPr>
              <a:spLocks/>
            </p:cNvSpPr>
            <p:nvPr/>
          </p:nvSpPr>
          <p:spPr bwMode="auto">
            <a:xfrm>
              <a:off x="2291798" y="4995965"/>
              <a:ext cx="412549" cy="26791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BCF2"/>
            </a:solidFill>
            <a:ln>
              <a:noFill/>
            </a:ln>
          </p:spPr>
          <p:txBody>
            <a:bodyPr vert="horz" wrap="square" lIns="89638" tIns="44818" rIns="89638" bIns="44818" numCol="1" anchor="t" anchorCtr="0" compatLnSpc="1">
              <a:prstTxWarp prst="textNoShape">
                <a:avLst/>
              </a:prstTxWarp>
            </a:bodyPr>
            <a:lstStyle/>
            <a:p>
              <a:pPr algn="ctr" defTabSz="914281"/>
              <a:endParaRPr lang="en-US" sz="1176" dirty="0">
                <a:solidFill>
                  <a:srgbClr val="000000"/>
                </a:solidFill>
              </a:endParaRPr>
            </a:p>
          </p:txBody>
        </p:sp>
      </p:grpSp>
      <p:grpSp>
        <p:nvGrpSpPr>
          <p:cNvPr id="9" name="Group 8"/>
          <p:cNvGrpSpPr/>
          <p:nvPr/>
        </p:nvGrpSpPr>
        <p:grpSpPr>
          <a:xfrm>
            <a:off x="9186358" y="921510"/>
            <a:ext cx="1340738" cy="991799"/>
            <a:chOff x="11868770" y="359898"/>
            <a:chExt cx="1966621" cy="1454791"/>
          </a:xfrm>
        </p:grpSpPr>
        <p:grpSp>
          <p:nvGrpSpPr>
            <p:cNvPr id="104" name="Group 103"/>
            <p:cNvGrpSpPr/>
            <p:nvPr/>
          </p:nvGrpSpPr>
          <p:grpSpPr>
            <a:xfrm>
              <a:off x="11868770" y="359898"/>
              <a:ext cx="1966621" cy="1454791"/>
              <a:chOff x="1144922" y="4448657"/>
              <a:chExt cx="1721211" cy="1273252"/>
            </a:xfrm>
          </p:grpSpPr>
          <p:grpSp>
            <p:nvGrpSpPr>
              <p:cNvPr id="105" name="Group 104"/>
              <p:cNvGrpSpPr/>
              <p:nvPr/>
            </p:nvGrpSpPr>
            <p:grpSpPr>
              <a:xfrm>
                <a:off x="1144922" y="4448657"/>
                <a:ext cx="1721211" cy="1273252"/>
                <a:chOff x="9507628" y="5254170"/>
                <a:chExt cx="1721211" cy="1273252"/>
              </a:xfrm>
              <a:solidFill>
                <a:schemeClr val="accent1">
                  <a:lumMod val="75000"/>
                </a:schemeClr>
              </a:solidFill>
            </p:grpSpPr>
            <p:sp>
              <p:nvSpPr>
                <p:cNvPr id="114" name="Oval 7"/>
                <p:cNvSpPr>
                  <a:spLocks noChangeArrowheads="1"/>
                </p:cNvSpPr>
                <p:nvPr/>
              </p:nvSpPr>
              <p:spPr bwMode="auto">
                <a:xfrm>
                  <a:off x="10028080" y="6375004"/>
                  <a:ext cx="710046" cy="152418"/>
                </a:xfrm>
                <a:prstGeom prst="ellipse">
                  <a:avLst/>
                </a:prstGeom>
                <a:grpFill/>
                <a:ln>
                  <a:noFill/>
                </a:ln>
              </p:spPr>
              <p:txBody>
                <a:bodyPr/>
                <a:lstStyle/>
                <a:p>
                  <a:pPr defTabSz="914314">
                    <a:defRPr/>
                  </a:pPr>
                  <a:endParaRPr lang="en-US">
                    <a:solidFill>
                      <a:srgbClr val="000000"/>
                    </a:solidFill>
                  </a:endParaRPr>
                </a:p>
              </p:txBody>
            </p:sp>
            <p:sp>
              <p:nvSpPr>
                <p:cNvPr id="115" name="Freeform 8"/>
                <p:cNvSpPr>
                  <a:spLocks/>
                </p:cNvSpPr>
                <p:nvPr/>
              </p:nvSpPr>
              <p:spPr bwMode="auto">
                <a:xfrm>
                  <a:off x="9507628" y="5254170"/>
                  <a:ext cx="1721211" cy="1197041"/>
                </a:xfrm>
                <a:custGeom>
                  <a:avLst/>
                  <a:gdLst>
                    <a:gd name="T0" fmla="*/ 1699 w 1733"/>
                    <a:gd name="T1" fmla="*/ 1202 h 1202"/>
                    <a:gd name="T2" fmla="*/ 1733 w 1733"/>
                    <a:gd name="T3" fmla="*/ 1168 h 1202"/>
                    <a:gd name="T4" fmla="*/ 1733 w 1733"/>
                    <a:gd name="T5" fmla="*/ 34 h 1202"/>
                    <a:gd name="T6" fmla="*/ 1699 w 1733"/>
                    <a:gd name="T7" fmla="*/ 0 h 1202"/>
                    <a:gd name="T8" fmla="*/ 34 w 1733"/>
                    <a:gd name="T9" fmla="*/ 0 h 1202"/>
                    <a:gd name="T10" fmla="*/ 0 w 1733"/>
                    <a:gd name="T11" fmla="*/ 34 h 1202"/>
                    <a:gd name="T12" fmla="*/ 0 w 1733"/>
                    <a:gd name="T13" fmla="*/ 1168 h 1202"/>
                    <a:gd name="T14" fmla="*/ 34 w 1733"/>
                    <a:gd name="T15" fmla="*/ 1202 h 1202"/>
                    <a:gd name="T16" fmla="*/ 1699 w 1733"/>
                    <a:gd name="T17" fmla="*/ 120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202">
                      <a:moveTo>
                        <a:pt x="1699" y="1202"/>
                      </a:moveTo>
                      <a:cubicBezTo>
                        <a:pt x="1718" y="1202"/>
                        <a:pt x="1733" y="1187"/>
                        <a:pt x="1733" y="1168"/>
                      </a:cubicBezTo>
                      <a:cubicBezTo>
                        <a:pt x="1733" y="34"/>
                        <a:pt x="1733" y="34"/>
                        <a:pt x="1733" y="34"/>
                      </a:cubicBezTo>
                      <a:cubicBezTo>
                        <a:pt x="1733" y="15"/>
                        <a:pt x="1718" y="0"/>
                        <a:pt x="1699" y="0"/>
                      </a:cubicBezTo>
                      <a:cubicBezTo>
                        <a:pt x="34" y="0"/>
                        <a:pt x="34" y="0"/>
                        <a:pt x="34" y="0"/>
                      </a:cubicBezTo>
                      <a:cubicBezTo>
                        <a:pt x="15" y="0"/>
                        <a:pt x="0" y="15"/>
                        <a:pt x="0" y="34"/>
                      </a:cubicBezTo>
                      <a:cubicBezTo>
                        <a:pt x="0" y="1168"/>
                        <a:pt x="0" y="1168"/>
                        <a:pt x="0" y="1168"/>
                      </a:cubicBezTo>
                      <a:cubicBezTo>
                        <a:pt x="0" y="1187"/>
                        <a:pt x="15" y="1202"/>
                        <a:pt x="34" y="1202"/>
                      </a:cubicBezTo>
                      <a:lnTo>
                        <a:pt x="1699" y="1202"/>
                      </a:lnTo>
                      <a:close/>
                    </a:path>
                  </a:pathLst>
                </a:custGeom>
                <a:grpFill/>
                <a:ln>
                  <a:noFill/>
                </a:ln>
              </p:spPr>
              <p:txBody>
                <a:bodyPr/>
                <a:lstStyle/>
                <a:p>
                  <a:pPr defTabSz="914314">
                    <a:defRPr/>
                  </a:pPr>
                  <a:endParaRPr lang="en-US">
                    <a:solidFill>
                      <a:srgbClr val="000000"/>
                    </a:solidFill>
                  </a:endParaRPr>
                </a:p>
              </p:txBody>
            </p:sp>
          </p:grpSp>
          <p:sp>
            <p:nvSpPr>
              <p:cNvPr id="106" name="Rectangle 9"/>
              <p:cNvSpPr>
                <a:spLocks noChangeArrowheads="1"/>
              </p:cNvSpPr>
              <p:nvPr/>
            </p:nvSpPr>
            <p:spPr bwMode="auto">
              <a:xfrm>
                <a:off x="1198825" y="4489847"/>
                <a:ext cx="1613403" cy="918227"/>
              </a:xfrm>
              <a:prstGeom prst="rect">
                <a:avLst/>
              </a:prstGeom>
              <a:solidFill>
                <a:srgbClr val="00BCF2"/>
              </a:solidFill>
              <a:ln>
                <a:noFill/>
              </a:ln>
            </p:spPr>
            <p:txBody>
              <a:bodyPr/>
              <a:lstStyle/>
              <a:p>
                <a:pPr defTabSz="914314">
                  <a:defRPr/>
                </a:pPr>
                <a:endParaRPr lang="en-US">
                  <a:solidFill>
                    <a:srgbClr val="000000"/>
                  </a:solidFill>
                </a:endParaRPr>
              </a:p>
            </p:txBody>
          </p:sp>
        </p:grpSp>
        <p:pic>
          <p:nvPicPr>
            <p:cNvPr id="61" name="Picture 60" descr="service icon.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467768" y="572262"/>
              <a:ext cx="768625" cy="743352"/>
            </a:xfrm>
            <a:prstGeom prst="rect">
              <a:avLst/>
            </a:prstGeom>
          </p:spPr>
        </p:pic>
      </p:grpSp>
      <p:grpSp>
        <p:nvGrpSpPr>
          <p:cNvPr id="11" name="Group 10"/>
          <p:cNvGrpSpPr/>
          <p:nvPr/>
        </p:nvGrpSpPr>
        <p:grpSpPr>
          <a:xfrm>
            <a:off x="1807447" y="1289489"/>
            <a:ext cx="7137315" cy="5279764"/>
            <a:chOff x="714438" y="1343553"/>
            <a:chExt cx="8233002" cy="6090287"/>
          </a:xfrm>
        </p:grpSpPr>
        <p:grpSp>
          <p:nvGrpSpPr>
            <p:cNvPr id="32" name="Group 31"/>
            <p:cNvGrpSpPr/>
            <p:nvPr/>
          </p:nvGrpSpPr>
          <p:grpSpPr>
            <a:xfrm>
              <a:off x="714438" y="1343553"/>
              <a:ext cx="8233002" cy="6090287"/>
              <a:chOff x="9507628" y="5254171"/>
              <a:chExt cx="1721211" cy="1273251"/>
            </a:xfrm>
            <a:solidFill>
              <a:schemeClr val="accent1">
                <a:lumMod val="75000"/>
              </a:schemeClr>
            </a:solidFill>
          </p:grpSpPr>
          <p:sp>
            <p:nvSpPr>
              <p:cNvPr id="41" name="Oval 7"/>
              <p:cNvSpPr>
                <a:spLocks noChangeArrowheads="1"/>
              </p:cNvSpPr>
              <p:nvPr/>
            </p:nvSpPr>
            <p:spPr bwMode="auto">
              <a:xfrm>
                <a:off x="10028080" y="6375004"/>
                <a:ext cx="710046" cy="152418"/>
              </a:xfrm>
              <a:prstGeom prst="ellipse">
                <a:avLst/>
              </a:prstGeom>
              <a:grpFill/>
              <a:ln>
                <a:noFill/>
              </a:ln>
            </p:spPr>
            <p:txBody>
              <a:bodyPr/>
              <a:lstStyle/>
              <a:p>
                <a:pPr defTabSz="914314">
                  <a:defRPr/>
                </a:pPr>
                <a:endParaRPr lang="en-US" sz="1765">
                  <a:solidFill>
                    <a:srgbClr val="000000"/>
                  </a:solidFill>
                </a:endParaRPr>
              </a:p>
            </p:txBody>
          </p:sp>
          <p:sp>
            <p:nvSpPr>
              <p:cNvPr id="42" name="Freeform 8"/>
              <p:cNvSpPr>
                <a:spLocks/>
              </p:cNvSpPr>
              <p:nvPr/>
            </p:nvSpPr>
            <p:spPr bwMode="auto">
              <a:xfrm>
                <a:off x="9507628" y="5254171"/>
                <a:ext cx="1721211" cy="1197041"/>
              </a:xfrm>
              <a:custGeom>
                <a:avLst/>
                <a:gdLst>
                  <a:gd name="T0" fmla="*/ 1699 w 1733"/>
                  <a:gd name="T1" fmla="*/ 1202 h 1202"/>
                  <a:gd name="T2" fmla="*/ 1733 w 1733"/>
                  <a:gd name="T3" fmla="*/ 1168 h 1202"/>
                  <a:gd name="T4" fmla="*/ 1733 w 1733"/>
                  <a:gd name="T5" fmla="*/ 34 h 1202"/>
                  <a:gd name="T6" fmla="*/ 1699 w 1733"/>
                  <a:gd name="T7" fmla="*/ 0 h 1202"/>
                  <a:gd name="T8" fmla="*/ 34 w 1733"/>
                  <a:gd name="T9" fmla="*/ 0 h 1202"/>
                  <a:gd name="T10" fmla="*/ 0 w 1733"/>
                  <a:gd name="T11" fmla="*/ 34 h 1202"/>
                  <a:gd name="T12" fmla="*/ 0 w 1733"/>
                  <a:gd name="T13" fmla="*/ 1168 h 1202"/>
                  <a:gd name="T14" fmla="*/ 34 w 1733"/>
                  <a:gd name="T15" fmla="*/ 1202 h 1202"/>
                  <a:gd name="T16" fmla="*/ 1699 w 1733"/>
                  <a:gd name="T17" fmla="*/ 120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202">
                    <a:moveTo>
                      <a:pt x="1699" y="1202"/>
                    </a:moveTo>
                    <a:cubicBezTo>
                      <a:pt x="1718" y="1202"/>
                      <a:pt x="1733" y="1187"/>
                      <a:pt x="1733" y="1168"/>
                    </a:cubicBezTo>
                    <a:cubicBezTo>
                      <a:pt x="1733" y="34"/>
                      <a:pt x="1733" y="34"/>
                      <a:pt x="1733" y="34"/>
                    </a:cubicBezTo>
                    <a:cubicBezTo>
                      <a:pt x="1733" y="15"/>
                      <a:pt x="1718" y="0"/>
                      <a:pt x="1699" y="0"/>
                    </a:cubicBezTo>
                    <a:cubicBezTo>
                      <a:pt x="34" y="0"/>
                      <a:pt x="34" y="0"/>
                      <a:pt x="34" y="0"/>
                    </a:cubicBezTo>
                    <a:cubicBezTo>
                      <a:pt x="15" y="0"/>
                      <a:pt x="0" y="15"/>
                      <a:pt x="0" y="34"/>
                    </a:cubicBezTo>
                    <a:cubicBezTo>
                      <a:pt x="0" y="1168"/>
                      <a:pt x="0" y="1168"/>
                      <a:pt x="0" y="1168"/>
                    </a:cubicBezTo>
                    <a:cubicBezTo>
                      <a:pt x="0" y="1187"/>
                      <a:pt x="15" y="1202"/>
                      <a:pt x="34" y="1202"/>
                    </a:cubicBezTo>
                    <a:lnTo>
                      <a:pt x="1699" y="1202"/>
                    </a:lnTo>
                    <a:close/>
                  </a:path>
                </a:pathLst>
              </a:custGeom>
              <a:grpFill/>
              <a:ln>
                <a:noFill/>
              </a:ln>
            </p:spPr>
            <p:txBody>
              <a:bodyPr/>
              <a:lstStyle/>
              <a:p>
                <a:pPr defTabSz="914314">
                  <a:defRPr/>
                </a:pPr>
                <a:endParaRPr lang="en-US" sz="1765">
                  <a:solidFill>
                    <a:srgbClr val="000000"/>
                  </a:solidFill>
                </a:endParaRPr>
              </a:p>
            </p:txBody>
          </p:sp>
        </p:grpSp>
        <p:sp>
          <p:nvSpPr>
            <p:cNvPr id="33" name="Rectangle 9"/>
            <p:cNvSpPr>
              <a:spLocks noChangeArrowheads="1"/>
            </p:cNvSpPr>
            <p:nvPr/>
          </p:nvSpPr>
          <p:spPr bwMode="auto">
            <a:xfrm>
              <a:off x="972270" y="1592498"/>
              <a:ext cx="7717328" cy="4392116"/>
            </a:xfrm>
            <a:prstGeom prst="rect">
              <a:avLst/>
            </a:prstGeom>
            <a:solidFill>
              <a:schemeClr val="bg1"/>
            </a:solidFill>
            <a:ln>
              <a:noFill/>
            </a:ln>
          </p:spPr>
          <p:txBody>
            <a:bodyPr/>
            <a:lstStyle/>
            <a:p>
              <a:pPr defTabSz="914314">
                <a:defRPr/>
              </a:pPr>
              <a:endParaRPr lang="en-US" sz="1765">
                <a:solidFill>
                  <a:srgbClr val="000000"/>
                </a:solidFill>
              </a:endParaRPr>
            </a:p>
          </p:txBody>
        </p:sp>
        <p:sp>
          <p:nvSpPr>
            <p:cNvPr id="116" name="TextBox 115"/>
            <p:cNvSpPr txBox="1"/>
            <p:nvPr/>
          </p:nvSpPr>
          <p:spPr>
            <a:xfrm>
              <a:off x="1151894" y="4494571"/>
              <a:ext cx="7358081" cy="1292453"/>
            </a:xfrm>
            <a:prstGeom prst="rect">
              <a:avLst/>
            </a:prstGeom>
            <a:solidFill>
              <a:srgbClr val="003963"/>
            </a:solidFill>
          </p:spPr>
          <p:txBody>
            <a:bodyPr wrap="square" lIns="627497" tIns="143428" rIns="179285" bIns="143428" rtlCol="0" anchor="ctr">
              <a:noAutofit/>
            </a:bodyPr>
            <a:lstStyle/>
            <a:p>
              <a:pPr marL="331477" defTabSz="914367" fontAlgn="base">
                <a:lnSpc>
                  <a:spcPct val="90000"/>
                </a:lnSpc>
                <a:spcBef>
                  <a:spcPct val="0"/>
                </a:spcBef>
                <a:spcAft>
                  <a:spcPts val="588"/>
                </a:spcAft>
              </a:pPr>
              <a:r>
                <a:rPr lang="en-US" sz="2745" spc="-49" dirty="0">
                  <a:gradFill>
                    <a:gsLst>
                      <a:gs pos="0">
                        <a:srgbClr val="FFFFFF"/>
                      </a:gs>
                      <a:gs pos="59000">
                        <a:srgbClr val="FFFFFF"/>
                      </a:gs>
                    </a:gsLst>
                    <a:lin ang="5400000" scaled="1"/>
                  </a:gradFill>
                  <a:latin typeface="Segoe UI Light"/>
                </a:rPr>
                <a:t>Extensible framework</a:t>
              </a:r>
            </a:p>
          </p:txBody>
        </p:sp>
        <p:sp>
          <p:nvSpPr>
            <p:cNvPr id="117" name="TextBox 116"/>
            <p:cNvSpPr txBox="1"/>
            <p:nvPr/>
          </p:nvSpPr>
          <p:spPr>
            <a:xfrm>
              <a:off x="1152146" y="1754512"/>
              <a:ext cx="7357576" cy="1249371"/>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defPPr>
                <a:defRPr lang="en-US"/>
              </a:defPPr>
              <a:lvl1pPr marL="91440" defTabSz="932290" fontAlgn="base">
                <a:lnSpc>
                  <a:spcPct val="90000"/>
                </a:lnSpc>
                <a:spcBef>
                  <a:spcPct val="0"/>
                </a:spcBef>
                <a:spcAft>
                  <a:spcPct val="0"/>
                </a:spcAft>
                <a:defRPr sz="2800" spc="-50">
                  <a:solidFill>
                    <a:schemeClr val="accent1"/>
                  </a:solidFill>
                  <a:latin typeface="Segoe UI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85895" defTabSz="914367">
                <a:spcAft>
                  <a:spcPts val="588"/>
                </a:spcAft>
              </a:pPr>
              <a:r>
                <a:rPr lang="en-US" sz="2745" dirty="0">
                  <a:gradFill>
                    <a:gsLst>
                      <a:gs pos="0">
                        <a:srgbClr val="FFFFFF"/>
                      </a:gs>
                      <a:gs pos="59000">
                        <a:srgbClr val="FFFFFF"/>
                      </a:gs>
                    </a:gsLst>
                    <a:lin ang="5400000" scaled="1"/>
                  </a:gradFill>
                </a:rPr>
                <a:t>Open and flexible</a:t>
              </a:r>
              <a:br>
                <a:rPr lang="en-US" sz="2745" dirty="0">
                  <a:gradFill>
                    <a:gsLst>
                      <a:gs pos="0">
                        <a:srgbClr val="FFFFFF"/>
                      </a:gs>
                      <a:gs pos="59000">
                        <a:srgbClr val="FFFFFF"/>
                      </a:gs>
                    </a:gsLst>
                    <a:lin ang="5400000" scaled="1"/>
                  </a:gradFill>
                </a:rPr>
              </a:br>
              <a:r>
                <a:rPr lang="en-US" sz="2745" dirty="0">
                  <a:gradFill>
                    <a:gsLst>
                      <a:gs pos="0">
                        <a:srgbClr val="FFFFFF"/>
                      </a:gs>
                      <a:gs pos="59000">
                        <a:srgbClr val="FFFFFF"/>
                      </a:gs>
                    </a:gsLst>
                    <a:lin ang="5400000" scaled="1"/>
                  </a:gradFill>
                </a:rPr>
                <a:t>multi-service platform</a:t>
              </a:r>
            </a:p>
          </p:txBody>
        </p:sp>
        <p:sp>
          <p:nvSpPr>
            <p:cNvPr id="118" name="TextBox 117"/>
            <p:cNvSpPr txBox="1"/>
            <p:nvPr/>
          </p:nvSpPr>
          <p:spPr>
            <a:xfrm>
              <a:off x="1152146" y="3124542"/>
              <a:ext cx="7357576" cy="1249371"/>
            </a:xfrm>
            <a:prstGeom prst="rect">
              <a:avLst/>
            </a:prstGeom>
            <a:solidFill>
              <a:srgbClr val="68217A"/>
            </a:solidFill>
          </p:spPr>
          <p:txBody>
            <a:bodyPr wrap="square" lIns="627497" tIns="143428" rIns="179285" bIns="143428" rtlCol="0" anchor="ctr">
              <a:noAutofit/>
            </a:bodyPr>
            <a:lstStyle/>
            <a:p>
              <a:pPr marL="331477" defTabSz="914367" fontAlgn="base">
                <a:lnSpc>
                  <a:spcPct val="90000"/>
                </a:lnSpc>
                <a:spcBef>
                  <a:spcPct val="0"/>
                </a:spcBef>
                <a:spcAft>
                  <a:spcPts val="588"/>
                </a:spcAft>
              </a:pPr>
              <a:r>
                <a:rPr lang="en-US" sz="2745" spc="-49" dirty="0">
                  <a:gradFill>
                    <a:gsLst>
                      <a:gs pos="0">
                        <a:srgbClr val="FFFFFF"/>
                      </a:gs>
                      <a:gs pos="59000">
                        <a:srgbClr val="FFFFFF"/>
                      </a:gs>
                    </a:gsLst>
                    <a:lin ang="5400000" scaled="1"/>
                  </a:gradFill>
                  <a:latin typeface="Segoe UI Light"/>
                </a:rPr>
                <a:t>Automated self-service deployment</a:t>
              </a:r>
            </a:p>
          </p:txBody>
        </p:sp>
        <p:grpSp>
          <p:nvGrpSpPr>
            <p:cNvPr id="56" name="Group 55"/>
            <p:cNvGrpSpPr/>
            <p:nvPr/>
          </p:nvGrpSpPr>
          <p:grpSpPr>
            <a:xfrm>
              <a:off x="1434528" y="2096477"/>
              <a:ext cx="565440" cy="565440"/>
              <a:chOff x="443732" y="2015629"/>
              <a:chExt cx="691782" cy="691782"/>
            </a:xfrm>
          </p:grpSpPr>
          <p:sp>
            <p:nvSpPr>
              <p:cNvPr id="62" name="Oval 61"/>
              <p:cNvSpPr/>
              <p:nvPr/>
            </p:nvSpPr>
            <p:spPr bwMode="auto">
              <a:xfrm>
                <a:off x="443732" y="2015629"/>
                <a:ext cx="691782" cy="691782"/>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63" name="Isosceles Triangle 62"/>
              <p:cNvSpPr/>
              <p:nvPr/>
            </p:nvSpPr>
            <p:spPr bwMode="auto">
              <a:xfrm rot="5400000">
                <a:off x="685534" y="2263769"/>
                <a:ext cx="288628" cy="1955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grpSp>
        <p:grpSp>
          <p:nvGrpSpPr>
            <p:cNvPr id="119" name="Group 118"/>
            <p:cNvGrpSpPr/>
            <p:nvPr/>
          </p:nvGrpSpPr>
          <p:grpSpPr>
            <a:xfrm>
              <a:off x="1434528" y="3466507"/>
              <a:ext cx="565440" cy="565440"/>
              <a:chOff x="443732" y="2015629"/>
              <a:chExt cx="691782" cy="691782"/>
            </a:xfrm>
          </p:grpSpPr>
          <p:sp>
            <p:nvSpPr>
              <p:cNvPr id="120" name="Oval 119"/>
              <p:cNvSpPr/>
              <p:nvPr/>
            </p:nvSpPr>
            <p:spPr bwMode="auto">
              <a:xfrm>
                <a:off x="443732" y="2015629"/>
                <a:ext cx="691782" cy="691782"/>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121" name="Isosceles Triangle 120"/>
              <p:cNvSpPr/>
              <p:nvPr/>
            </p:nvSpPr>
            <p:spPr bwMode="auto">
              <a:xfrm rot="5400000">
                <a:off x="685534" y="2263769"/>
                <a:ext cx="288628" cy="1955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grpSp>
        <p:grpSp>
          <p:nvGrpSpPr>
            <p:cNvPr id="122" name="Group 121"/>
            <p:cNvGrpSpPr/>
            <p:nvPr/>
          </p:nvGrpSpPr>
          <p:grpSpPr>
            <a:xfrm>
              <a:off x="1434528" y="4858077"/>
              <a:ext cx="565440" cy="565440"/>
              <a:chOff x="443732" y="2015629"/>
              <a:chExt cx="691782" cy="691782"/>
            </a:xfrm>
          </p:grpSpPr>
          <p:sp>
            <p:nvSpPr>
              <p:cNvPr id="123" name="Oval 122"/>
              <p:cNvSpPr/>
              <p:nvPr/>
            </p:nvSpPr>
            <p:spPr bwMode="auto">
              <a:xfrm>
                <a:off x="443732" y="2015629"/>
                <a:ext cx="691782" cy="691782"/>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124" name="Isosceles Triangle 123"/>
              <p:cNvSpPr/>
              <p:nvPr/>
            </p:nvSpPr>
            <p:spPr bwMode="auto">
              <a:xfrm rot="5400000">
                <a:off x="685534" y="2263769"/>
                <a:ext cx="288628" cy="1955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40031758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 name="TextBox 279"/>
          <p:cNvSpPr txBox="1"/>
          <p:nvPr/>
        </p:nvSpPr>
        <p:spPr>
          <a:xfrm>
            <a:off x="255995" y="291514"/>
            <a:ext cx="11653522" cy="6274973"/>
          </a:xfrm>
          <a:prstGeom prst="rect">
            <a:avLst/>
          </a:prstGeom>
          <a:solidFill>
            <a:srgbClr val="0072C6"/>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pic>
        <p:nvPicPr>
          <p:cNvPr id="5" name="Picture 4" descr="Hybrid_plus_azure2.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730834" y="2501269"/>
            <a:ext cx="5013210" cy="4059804"/>
          </a:xfrm>
          <a:prstGeom prst="rect">
            <a:avLst/>
          </a:prstGeom>
        </p:spPr>
      </p:pic>
      <p:sp>
        <p:nvSpPr>
          <p:cNvPr id="282" name="Rectangle 281"/>
          <p:cNvSpPr/>
          <p:nvPr/>
        </p:nvSpPr>
        <p:spPr bwMode="auto">
          <a:xfrm>
            <a:off x="269240" y="291514"/>
            <a:ext cx="6274974" cy="6274974"/>
          </a:xfrm>
          <a:prstGeom prst="rect">
            <a:avLst/>
          </a:prstGeom>
          <a:solidFill>
            <a:srgbClr val="00205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endParaRPr lang="en-US" sz="1765" dirty="0" err="1">
              <a:solidFill>
                <a:srgbClr val="FFFFFF"/>
              </a:solidFill>
            </a:endParaRPr>
          </a:p>
        </p:txBody>
      </p:sp>
      <p:sp>
        <p:nvSpPr>
          <p:cNvPr id="283" name="Title 1"/>
          <p:cNvSpPr txBox="1">
            <a:spLocks/>
          </p:cNvSpPr>
          <p:nvPr/>
        </p:nvSpPr>
        <p:spPr>
          <a:xfrm>
            <a:off x="269240" y="291515"/>
            <a:ext cx="6274974" cy="1686562"/>
          </a:xfrm>
          <a:prstGeom prst="rect">
            <a:avLst/>
          </a:prstGeom>
        </p:spPr>
        <p:txBody>
          <a:bodyPr lIns="268927" tIns="179285" rIns="179285" bIns="143428"/>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pPr>
              <a:lnSpc>
                <a:spcPct val="90000"/>
              </a:lnSpc>
            </a:pPr>
            <a:r>
              <a:rPr lang="en-US" sz="4705" dirty="0"/>
              <a:t>Microsoft Cloud Platform System</a:t>
            </a:r>
          </a:p>
        </p:txBody>
      </p:sp>
      <p:sp>
        <p:nvSpPr>
          <p:cNvPr id="284" name="Title 1"/>
          <p:cNvSpPr txBox="1">
            <a:spLocks/>
          </p:cNvSpPr>
          <p:nvPr/>
        </p:nvSpPr>
        <p:spPr>
          <a:xfrm>
            <a:off x="1099244" y="2572475"/>
            <a:ext cx="5378745" cy="3652646"/>
          </a:xfrm>
          <a:prstGeom prst="rect">
            <a:avLst/>
          </a:prstGeom>
        </p:spPr>
        <p:txBody>
          <a:bodyPr lIns="268927" tIns="179285" rIns="179285" bIns="143428"/>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pPr>
              <a:lnSpc>
                <a:spcPts val="3333"/>
              </a:lnSpc>
            </a:pPr>
            <a:r>
              <a:rPr lang="en-US" sz="2353" dirty="0"/>
              <a:t>Azure-consistent cloud in a box</a:t>
            </a:r>
          </a:p>
          <a:p>
            <a:pPr>
              <a:lnSpc>
                <a:spcPts val="3333"/>
              </a:lnSpc>
            </a:pPr>
            <a:endParaRPr lang="en-US" sz="2353" dirty="0"/>
          </a:p>
          <a:p>
            <a:pPr>
              <a:lnSpc>
                <a:spcPts val="3333"/>
              </a:lnSpc>
            </a:pPr>
            <a:r>
              <a:rPr lang="en-US" sz="2353" dirty="0"/>
              <a:t>Fully-integrated hardware and software</a:t>
            </a:r>
          </a:p>
          <a:p>
            <a:pPr>
              <a:lnSpc>
                <a:spcPts val="3333"/>
              </a:lnSpc>
            </a:pPr>
            <a:endParaRPr lang="en-US" sz="2353" dirty="0"/>
          </a:p>
          <a:p>
            <a:pPr>
              <a:lnSpc>
                <a:spcPts val="3333"/>
              </a:lnSpc>
            </a:pPr>
            <a:r>
              <a:rPr lang="en-US" sz="2353" dirty="0"/>
              <a:t>Microsoft-led support and updates</a:t>
            </a:r>
          </a:p>
          <a:p>
            <a:pPr>
              <a:lnSpc>
                <a:spcPts val="3333"/>
              </a:lnSpc>
            </a:pPr>
            <a:endParaRPr lang="en-US" sz="2353" dirty="0"/>
          </a:p>
          <a:p>
            <a:pPr>
              <a:lnSpc>
                <a:spcPts val="3333"/>
              </a:lnSpc>
            </a:pPr>
            <a:r>
              <a:rPr lang="en-US" sz="2353" dirty="0"/>
              <a:t>Accelerates your journey to the cloud</a:t>
            </a:r>
          </a:p>
        </p:txBody>
      </p:sp>
      <p:grpSp>
        <p:nvGrpSpPr>
          <p:cNvPr id="285" name="Group 284"/>
          <p:cNvGrpSpPr/>
          <p:nvPr/>
        </p:nvGrpSpPr>
        <p:grpSpPr>
          <a:xfrm>
            <a:off x="590407" y="2762888"/>
            <a:ext cx="416212" cy="416212"/>
            <a:chOff x="604925" y="2820473"/>
            <a:chExt cx="545960" cy="545960"/>
          </a:xfrm>
        </p:grpSpPr>
        <p:sp>
          <p:nvSpPr>
            <p:cNvPr id="292" name="Oval 291"/>
            <p:cNvSpPr/>
            <p:nvPr/>
          </p:nvSpPr>
          <p:spPr bwMode="auto">
            <a:xfrm>
              <a:off x="604925" y="2820473"/>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293" name="Isosceles Triangle 292"/>
            <p:cNvSpPr/>
            <p:nvPr/>
          </p:nvSpPr>
          <p:spPr bwMode="auto">
            <a:xfrm rot="5400000">
              <a:off x="795757" y="3016307"/>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286" name="Group 285"/>
          <p:cNvGrpSpPr/>
          <p:nvPr/>
        </p:nvGrpSpPr>
        <p:grpSpPr>
          <a:xfrm>
            <a:off x="590407" y="3617312"/>
            <a:ext cx="416212" cy="416212"/>
            <a:chOff x="604925" y="2820473"/>
            <a:chExt cx="545960" cy="545960"/>
          </a:xfrm>
        </p:grpSpPr>
        <p:sp>
          <p:nvSpPr>
            <p:cNvPr id="290" name="Oval 289"/>
            <p:cNvSpPr/>
            <p:nvPr/>
          </p:nvSpPr>
          <p:spPr bwMode="auto">
            <a:xfrm>
              <a:off x="604925" y="2820473"/>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291" name="Isosceles Triangle 290"/>
            <p:cNvSpPr/>
            <p:nvPr/>
          </p:nvSpPr>
          <p:spPr bwMode="auto">
            <a:xfrm rot="5400000">
              <a:off x="795757" y="3016307"/>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287" name="Group 286"/>
          <p:cNvGrpSpPr/>
          <p:nvPr/>
        </p:nvGrpSpPr>
        <p:grpSpPr>
          <a:xfrm>
            <a:off x="590407" y="4471736"/>
            <a:ext cx="416212" cy="416212"/>
            <a:chOff x="604925" y="2820473"/>
            <a:chExt cx="545960" cy="545960"/>
          </a:xfrm>
        </p:grpSpPr>
        <p:sp>
          <p:nvSpPr>
            <p:cNvPr id="288" name="Oval 287"/>
            <p:cNvSpPr/>
            <p:nvPr/>
          </p:nvSpPr>
          <p:spPr bwMode="auto">
            <a:xfrm>
              <a:off x="604925" y="2820473"/>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289" name="Isosceles Triangle 288"/>
            <p:cNvSpPr/>
            <p:nvPr/>
          </p:nvSpPr>
          <p:spPr bwMode="auto">
            <a:xfrm rot="5400000">
              <a:off x="795757" y="3016307"/>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294" name="Group 293"/>
          <p:cNvGrpSpPr/>
          <p:nvPr/>
        </p:nvGrpSpPr>
        <p:grpSpPr>
          <a:xfrm>
            <a:off x="590407" y="5326159"/>
            <a:ext cx="416212" cy="416212"/>
            <a:chOff x="604925" y="2820473"/>
            <a:chExt cx="545960" cy="545960"/>
          </a:xfrm>
        </p:grpSpPr>
        <p:sp>
          <p:nvSpPr>
            <p:cNvPr id="295" name="Oval 294"/>
            <p:cNvSpPr/>
            <p:nvPr/>
          </p:nvSpPr>
          <p:spPr bwMode="auto">
            <a:xfrm>
              <a:off x="604925" y="2820473"/>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296" name="Isosceles Triangle 295"/>
            <p:cNvSpPr/>
            <p:nvPr/>
          </p:nvSpPr>
          <p:spPr bwMode="auto">
            <a:xfrm rot="5400000">
              <a:off x="795757" y="3016307"/>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24" name="TextBox 23"/>
          <p:cNvSpPr txBox="1"/>
          <p:nvPr/>
        </p:nvSpPr>
        <p:spPr>
          <a:xfrm>
            <a:off x="9335186" y="3015388"/>
            <a:ext cx="2260059" cy="532887"/>
          </a:xfrm>
          <a:prstGeom prst="rect">
            <a:avLst/>
          </a:prstGeom>
          <a:noFill/>
        </p:spPr>
        <p:txBody>
          <a:bodyPr wrap="square" lIns="175761" tIns="140609" rIns="175761" bIns="140609" rtlCol="0">
            <a:spAutoFit/>
          </a:bodyPr>
          <a:lstStyle/>
          <a:p>
            <a:pPr algn="ctr" defTabSz="914281">
              <a:lnSpc>
                <a:spcPct val="90000"/>
              </a:lnSpc>
              <a:spcAft>
                <a:spcPts val="588"/>
              </a:spcAft>
            </a:pPr>
            <a:r>
              <a:rPr lang="en-US" sz="1765" dirty="0">
                <a:solidFill>
                  <a:srgbClr val="0072C6"/>
                </a:solidFill>
                <a:latin typeface="Segoe UI Light"/>
                <a:cs typeface="Segoe UI Light"/>
              </a:rPr>
              <a:t>Microsoft Azure</a:t>
            </a:r>
          </a:p>
        </p:txBody>
      </p:sp>
      <p:sp>
        <p:nvSpPr>
          <p:cNvPr id="4" name="TextBox 3"/>
          <p:cNvSpPr txBox="1"/>
          <p:nvPr/>
        </p:nvSpPr>
        <p:spPr>
          <a:xfrm>
            <a:off x="6236207" y="-697156"/>
            <a:ext cx="896425" cy="896425"/>
          </a:xfrm>
          <a:prstGeom prst="rect">
            <a:avLst/>
          </a:prstGeom>
          <a:noFill/>
        </p:spPr>
        <p:txBody>
          <a:bodyPr wrap="none" lIns="179285" tIns="143428" rIns="179285" bIns="143428" rtlCol="0">
            <a:noAutofit/>
          </a:bodyPr>
          <a:lstStyle/>
          <a:p>
            <a:pPr defTabSz="914367">
              <a:lnSpc>
                <a:spcPct val="90000"/>
              </a:lnSpc>
              <a:spcAft>
                <a:spcPts val="588"/>
              </a:spcAft>
            </a:pPr>
            <a:endParaRPr lang="en-US" sz="2353"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39984371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6531821" y="1636152"/>
            <a:ext cx="3137487" cy="3137487"/>
          </a:xfrm>
          <a:prstGeom prst="rect">
            <a:avLst/>
          </a:prstGeom>
          <a:solidFill>
            <a:srgbClr val="00188F"/>
          </a:solidFill>
        </p:spPr>
        <p:txBody>
          <a:bodyPr wrap="square" lIns="179285" tIns="134464" rtlCol="0">
            <a:noAutofit/>
          </a:bodyPr>
          <a:lstStyle/>
          <a:p>
            <a:pPr defTabSz="914367">
              <a:lnSpc>
                <a:spcPts val="3000"/>
              </a:lnSpc>
            </a:pPr>
            <a:r>
              <a:rPr lang="en-US" sz="2745" dirty="0">
                <a:solidFill>
                  <a:srgbClr val="FFFFFF"/>
                </a:solidFill>
                <a:latin typeface="Segoe UI Light"/>
              </a:rPr>
              <a:t>Extend </a:t>
            </a:r>
          </a:p>
          <a:p>
            <a:pPr defTabSz="914367">
              <a:lnSpc>
                <a:spcPts val="3000"/>
              </a:lnSpc>
            </a:pPr>
            <a:r>
              <a:rPr lang="en-US" sz="2745" dirty="0">
                <a:solidFill>
                  <a:srgbClr val="FFFFFF"/>
                </a:solidFill>
                <a:latin typeface="Segoe UI Light"/>
              </a:rPr>
              <a:t>to the cloud </a:t>
            </a:r>
          </a:p>
          <a:p>
            <a:pPr defTabSz="914367">
              <a:lnSpc>
                <a:spcPts val="3000"/>
              </a:lnSpc>
            </a:pPr>
            <a:r>
              <a:rPr lang="en-US" sz="2745" dirty="0">
                <a:solidFill>
                  <a:srgbClr val="FFFFFF"/>
                </a:solidFill>
                <a:latin typeface="Segoe UI Light"/>
              </a:rPr>
              <a:t>on demand</a:t>
            </a:r>
          </a:p>
        </p:txBody>
      </p:sp>
      <p:sp>
        <p:nvSpPr>
          <p:cNvPr id="30" name="TextBox 29"/>
          <p:cNvSpPr txBox="1"/>
          <p:nvPr/>
        </p:nvSpPr>
        <p:spPr>
          <a:xfrm>
            <a:off x="267683" y="1636152"/>
            <a:ext cx="3137487" cy="3137487"/>
          </a:xfrm>
          <a:prstGeom prst="rect">
            <a:avLst/>
          </a:prstGeom>
          <a:solidFill>
            <a:srgbClr val="D2D2D2"/>
          </a:solidFill>
        </p:spPr>
        <p:txBody>
          <a:bodyPr wrap="square" lIns="179285" tIns="134464" rtlCol="0">
            <a:noAutofit/>
          </a:bodyPr>
          <a:lstStyle/>
          <a:p>
            <a:pPr defTabSz="914367">
              <a:lnSpc>
                <a:spcPts val="3000"/>
              </a:lnSpc>
            </a:pPr>
            <a:r>
              <a:rPr lang="en-US" sz="2745" dirty="0">
                <a:solidFill>
                  <a:srgbClr val="FFFFFF"/>
                </a:solidFill>
                <a:latin typeface="Segoe UI Light"/>
              </a:rPr>
              <a:t>Build a </a:t>
            </a:r>
          </a:p>
          <a:p>
            <a:pPr defTabSz="914367">
              <a:lnSpc>
                <a:spcPts val="3000"/>
              </a:lnSpc>
            </a:pPr>
            <a:r>
              <a:rPr lang="en-US" sz="2745" dirty="0">
                <a:solidFill>
                  <a:srgbClr val="FFFFFF"/>
                </a:solidFill>
                <a:latin typeface="Segoe UI Light"/>
              </a:rPr>
              <a:t>software-defined foundation</a:t>
            </a:r>
          </a:p>
        </p:txBody>
      </p:sp>
      <p:sp>
        <p:nvSpPr>
          <p:cNvPr id="34" name="TextBox 33"/>
          <p:cNvSpPr txBox="1"/>
          <p:nvPr/>
        </p:nvSpPr>
        <p:spPr>
          <a:xfrm>
            <a:off x="3394334" y="1636152"/>
            <a:ext cx="3137487" cy="3137487"/>
          </a:xfrm>
          <a:prstGeom prst="rect">
            <a:avLst/>
          </a:prstGeom>
          <a:solidFill>
            <a:srgbClr val="D2D2D2"/>
          </a:solidFill>
        </p:spPr>
        <p:txBody>
          <a:bodyPr wrap="square" lIns="179285" tIns="134464" rtlCol="0">
            <a:noAutofit/>
          </a:bodyPr>
          <a:lstStyle/>
          <a:p>
            <a:pPr defTabSz="914367">
              <a:lnSpc>
                <a:spcPts val="3000"/>
              </a:lnSpc>
            </a:pPr>
            <a:r>
              <a:rPr lang="en-US" sz="2745" dirty="0">
                <a:solidFill>
                  <a:srgbClr val="FFFFFF"/>
                </a:solidFill>
                <a:latin typeface="Segoe UI Light"/>
              </a:rPr>
              <a:t>Automate and secure your infrastructure</a:t>
            </a:r>
          </a:p>
        </p:txBody>
      </p:sp>
      <p:grpSp>
        <p:nvGrpSpPr>
          <p:cNvPr id="35" name="Group 34"/>
          <p:cNvGrpSpPr/>
          <p:nvPr/>
        </p:nvGrpSpPr>
        <p:grpSpPr>
          <a:xfrm>
            <a:off x="472245" y="3694834"/>
            <a:ext cx="1024545" cy="880453"/>
            <a:chOff x="5550106" y="3959656"/>
            <a:chExt cx="915416" cy="781665"/>
          </a:xfrm>
          <a:solidFill>
            <a:schemeClr val="bg1"/>
          </a:solidFill>
        </p:grpSpPr>
        <p:grpSp>
          <p:nvGrpSpPr>
            <p:cNvPr id="36" name="Group 35"/>
            <p:cNvGrpSpPr/>
            <p:nvPr/>
          </p:nvGrpSpPr>
          <p:grpSpPr>
            <a:xfrm>
              <a:off x="5550106" y="4084839"/>
              <a:ext cx="661616" cy="656482"/>
              <a:chOff x="6675438" y="3219450"/>
              <a:chExt cx="2863850" cy="2841625"/>
            </a:xfrm>
            <a:grpFill/>
          </p:grpSpPr>
          <p:sp>
            <p:nvSpPr>
              <p:cNvPr id="38" name="Freeform 29"/>
              <p:cNvSpPr>
                <a:spLocks/>
              </p:cNvSpPr>
              <p:nvPr/>
            </p:nvSpPr>
            <p:spPr bwMode="auto">
              <a:xfrm>
                <a:off x="7885113" y="4419600"/>
                <a:ext cx="469900" cy="466725"/>
              </a:xfrm>
              <a:custGeom>
                <a:avLst/>
                <a:gdLst>
                  <a:gd name="T0" fmla="*/ 148 w 296"/>
                  <a:gd name="T1" fmla="*/ 0 h 294"/>
                  <a:gd name="T2" fmla="*/ 118 w 296"/>
                  <a:gd name="T3" fmla="*/ 2 h 294"/>
                  <a:gd name="T4" fmla="*/ 90 w 296"/>
                  <a:gd name="T5" fmla="*/ 12 h 294"/>
                  <a:gd name="T6" fmla="*/ 66 w 296"/>
                  <a:gd name="T7" fmla="*/ 24 h 294"/>
                  <a:gd name="T8" fmla="*/ 44 w 296"/>
                  <a:gd name="T9" fmla="*/ 42 h 294"/>
                  <a:gd name="T10" fmla="*/ 26 w 296"/>
                  <a:gd name="T11" fmla="*/ 64 h 294"/>
                  <a:gd name="T12" fmla="*/ 12 w 296"/>
                  <a:gd name="T13" fmla="*/ 90 h 294"/>
                  <a:gd name="T14" fmla="*/ 4 w 296"/>
                  <a:gd name="T15" fmla="*/ 118 h 294"/>
                  <a:gd name="T16" fmla="*/ 0 w 296"/>
                  <a:gd name="T17" fmla="*/ 148 h 294"/>
                  <a:gd name="T18" fmla="*/ 0 w 296"/>
                  <a:gd name="T19" fmla="*/ 162 h 294"/>
                  <a:gd name="T20" fmla="*/ 6 w 296"/>
                  <a:gd name="T21" fmla="*/ 190 h 294"/>
                  <a:gd name="T22" fmla="*/ 18 w 296"/>
                  <a:gd name="T23" fmla="*/ 218 h 294"/>
                  <a:gd name="T24" fmla="*/ 34 w 296"/>
                  <a:gd name="T25" fmla="*/ 240 h 294"/>
                  <a:gd name="T26" fmla="*/ 54 w 296"/>
                  <a:gd name="T27" fmla="*/ 260 h 294"/>
                  <a:gd name="T28" fmla="*/ 78 w 296"/>
                  <a:gd name="T29" fmla="*/ 276 h 294"/>
                  <a:gd name="T30" fmla="*/ 104 w 296"/>
                  <a:gd name="T31" fmla="*/ 288 h 294"/>
                  <a:gd name="T32" fmla="*/ 132 w 296"/>
                  <a:gd name="T33" fmla="*/ 294 h 294"/>
                  <a:gd name="T34" fmla="*/ 148 w 296"/>
                  <a:gd name="T35" fmla="*/ 294 h 294"/>
                  <a:gd name="T36" fmla="*/ 178 w 296"/>
                  <a:gd name="T37" fmla="*/ 292 h 294"/>
                  <a:gd name="T38" fmla="*/ 206 w 296"/>
                  <a:gd name="T39" fmla="*/ 282 h 294"/>
                  <a:gd name="T40" fmla="*/ 230 w 296"/>
                  <a:gd name="T41" fmla="*/ 270 h 294"/>
                  <a:gd name="T42" fmla="*/ 252 w 296"/>
                  <a:gd name="T43" fmla="*/ 252 h 294"/>
                  <a:gd name="T44" fmla="*/ 270 w 296"/>
                  <a:gd name="T45" fmla="*/ 230 h 294"/>
                  <a:gd name="T46" fmla="*/ 284 w 296"/>
                  <a:gd name="T47" fmla="*/ 204 h 294"/>
                  <a:gd name="T48" fmla="*/ 292 w 296"/>
                  <a:gd name="T49" fmla="*/ 176 h 294"/>
                  <a:gd name="T50" fmla="*/ 296 w 296"/>
                  <a:gd name="T51" fmla="*/ 148 h 294"/>
                  <a:gd name="T52" fmla="*/ 294 w 296"/>
                  <a:gd name="T53" fmla="*/ 132 h 294"/>
                  <a:gd name="T54" fmla="*/ 288 w 296"/>
                  <a:gd name="T55" fmla="*/ 104 h 294"/>
                  <a:gd name="T56" fmla="*/ 278 w 296"/>
                  <a:gd name="T57" fmla="*/ 76 h 294"/>
                  <a:gd name="T58" fmla="*/ 262 w 296"/>
                  <a:gd name="T59" fmla="*/ 54 h 294"/>
                  <a:gd name="T60" fmla="*/ 242 w 296"/>
                  <a:gd name="T61" fmla="*/ 34 h 294"/>
                  <a:gd name="T62" fmla="*/ 218 w 296"/>
                  <a:gd name="T63" fmla="*/ 18 h 294"/>
                  <a:gd name="T64" fmla="*/ 192 w 296"/>
                  <a:gd name="T65" fmla="*/ 6 h 294"/>
                  <a:gd name="T66" fmla="*/ 162 w 296"/>
                  <a:gd name="T67" fmla="*/ 0 h 294"/>
                  <a:gd name="T68" fmla="*/ 148 w 296"/>
                  <a:gd name="T69"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4">
                    <a:moveTo>
                      <a:pt x="148" y="0"/>
                    </a:moveTo>
                    <a:lnTo>
                      <a:pt x="148" y="0"/>
                    </a:lnTo>
                    <a:lnTo>
                      <a:pt x="132" y="0"/>
                    </a:lnTo>
                    <a:lnTo>
                      <a:pt x="118" y="2"/>
                    </a:lnTo>
                    <a:lnTo>
                      <a:pt x="104" y="6"/>
                    </a:lnTo>
                    <a:lnTo>
                      <a:pt x="90" y="12"/>
                    </a:lnTo>
                    <a:lnTo>
                      <a:pt x="78" y="18"/>
                    </a:lnTo>
                    <a:lnTo>
                      <a:pt x="66" y="24"/>
                    </a:lnTo>
                    <a:lnTo>
                      <a:pt x="54" y="34"/>
                    </a:lnTo>
                    <a:lnTo>
                      <a:pt x="44" y="42"/>
                    </a:lnTo>
                    <a:lnTo>
                      <a:pt x="34" y="54"/>
                    </a:lnTo>
                    <a:lnTo>
                      <a:pt x="26" y="64"/>
                    </a:lnTo>
                    <a:lnTo>
                      <a:pt x="18" y="76"/>
                    </a:lnTo>
                    <a:lnTo>
                      <a:pt x="12" y="90"/>
                    </a:lnTo>
                    <a:lnTo>
                      <a:pt x="6" y="104"/>
                    </a:lnTo>
                    <a:lnTo>
                      <a:pt x="4" y="118"/>
                    </a:lnTo>
                    <a:lnTo>
                      <a:pt x="0" y="132"/>
                    </a:lnTo>
                    <a:lnTo>
                      <a:pt x="0" y="148"/>
                    </a:lnTo>
                    <a:lnTo>
                      <a:pt x="0" y="148"/>
                    </a:lnTo>
                    <a:lnTo>
                      <a:pt x="0" y="162"/>
                    </a:lnTo>
                    <a:lnTo>
                      <a:pt x="4" y="176"/>
                    </a:lnTo>
                    <a:lnTo>
                      <a:pt x="6" y="190"/>
                    </a:lnTo>
                    <a:lnTo>
                      <a:pt x="12" y="204"/>
                    </a:lnTo>
                    <a:lnTo>
                      <a:pt x="18" y="218"/>
                    </a:lnTo>
                    <a:lnTo>
                      <a:pt x="26" y="230"/>
                    </a:lnTo>
                    <a:lnTo>
                      <a:pt x="34" y="240"/>
                    </a:lnTo>
                    <a:lnTo>
                      <a:pt x="44" y="252"/>
                    </a:lnTo>
                    <a:lnTo>
                      <a:pt x="54" y="260"/>
                    </a:lnTo>
                    <a:lnTo>
                      <a:pt x="66" y="270"/>
                    </a:lnTo>
                    <a:lnTo>
                      <a:pt x="78" y="276"/>
                    </a:lnTo>
                    <a:lnTo>
                      <a:pt x="90" y="282"/>
                    </a:lnTo>
                    <a:lnTo>
                      <a:pt x="104" y="288"/>
                    </a:lnTo>
                    <a:lnTo>
                      <a:pt x="118" y="292"/>
                    </a:lnTo>
                    <a:lnTo>
                      <a:pt x="132" y="294"/>
                    </a:lnTo>
                    <a:lnTo>
                      <a:pt x="148" y="294"/>
                    </a:lnTo>
                    <a:lnTo>
                      <a:pt x="148" y="294"/>
                    </a:lnTo>
                    <a:lnTo>
                      <a:pt x="162" y="294"/>
                    </a:lnTo>
                    <a:lnTo>
                      <a:pt x="178" y="292"/>
                    </a:lnTo>
                    <a:lnTo>
                      <a:pt x="192" y="288"/>
                    </a:lnTo>
                    <a:lnTo>
                      <a:pt x="206" y="282"/>
                    </a:lnTo>
                    <a:lnTo>
                      <a:pt x="218" y="276"/>
                    </a:lnTo>
                    <a:lnTo>
                      <a:pt x="230" y="270"/>
                    </a:lnTo>
                    <a:lnTo>
                      <a:pt x="242" y="260"/>
                    </a:lnTo>
                    <a:lnTo>
                      <a:pt x="252" y="252"/>
                    </a:lnTo>
                    <a:lnTo>
                      <a:pt x="262" y="240"/>
                    </a:lnTo>
                    <a:lnTo>
                      <a:pt x="270" y="230"/>
                    </a:lnTo>
                    <a:lnTo>
                      <a:pt x="278" y="218"/>
                    </a:lnTo>
                    <a:lnTo>
                      <a:pt x="284" y="204"/>
                    </a:lnTo>
                    <a:lnTo>
                      <a:pt x="288" y="190"/>
                    </a:lnTo>
                    <a:lnTo>
                      <a:pt x="292" y="176"/>
                    </a:lnTo>
                    <a:lnTo>
                      <a:pt x="294" y="162"/>
                    </a:lnTo>
                    <a:lnTo>
                      <a:pt x="296" y="148"/>
                    </a:lnTo>
                    <a:lnTo>
                      <a:pt x="296" y="148"/>
                    </a:lnTo>
                    <a:lnTo>
                      <a:pt x="294" y="132"/>
                    </a:lnTo>
                    <a:lnTo>
                      <a:pt x="292" y="118"/>
                    </a:lnTo>
                    <a:lnTo>
                      <a:pt x="288" y="104"/>
                    </a:lnTo>
                    <a:lnTo>
                      <a:pt x="284" y="90"/>
                    </a:lnTo>
                    <a:lnTo>
                      <a:pt x="278" y="76"/>
                    </a:lnTo>
                    <a:lnTo>
                      <a:pt x="270" y="64"/>
                    </a:lnTo>
                    <a:lnTo>
                      <a:pt x="262" y="54"/>
                    </a:lnTo>
                    <a:lnTo>
                      <a:pt x="252" y="42"/>
                    </a:lnTo>
                    <a:lnTo>
                      <a:pt x="242" y="34"/>
                    </a:lnTo>
                    <a:lnTo>
                      <a:pt x="230" y="24"/>
                    </a:lnTo>
                    <a:lnTo>
                      <a:pt x="218" y="18"/>
                    </a:lnTo>
                    <a:lnTo>
                      <a:pt x="206" y="12"/>
                    </a:lnTo>
                    <a:lnTo>
                      <a:pt x="192" y="6"/>
                    </a:lnTo>
                    <a:lnTo>
                      <a:pt x="178" y="2"/>
                    </a:lnTo>
                    <a:lnTo>
                      <a:pt x="162" y="0"/>
                    </a:lnTo>
                    <a:lnTo>
                      <a:pt x="148" y="0"/>
                    </a:lnTo>
                    <a:lnTo>
                      <a:pt x="14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39" name="Freeform 30"/>
              <p:cNvSpPr>
                <a:spLocks noEditPoints="1"/>
              </p:cNvSpPr>
              <p:nvPr/>
            </p:nvSpPr>
            <p:spPr bwMode="auto">
              <a:xfrm>
                <a:off x="6675438" y="3219450"/>
                <a:ext cx="2863850" cy="2841625"/>
              </a:xfrm>
              <a:custGeom>
                <a:avLst/>
                <a:gdLst>
                  <a:gd name="T0" fmla="*/ 1766 w 1804"/>
                  <a:gd name="T1" fmla="*/ 638 h 1790"/>
                  <a:gd name="T2" fmla="*/ 1724 w 1804"/>
                  <a:gd name="T3" fmla="*/ 610 h 1790"/>
                  <a:gd name="T4" fmla="*/ 1450 w 1804"/>
                  <a:gd name="T5" fmla="*/ 540 h 1790"/>
                  <a:gd name="T6" fmla="*/ 1564 w 1804"/>
                  <a:gd name="T7" fmla="*/ 310 h 1790"/>
                  <a:gd name="T8" fmla="*/ 1542 w 1804"/>
                  <a:gd name="T9" fmla="*/ 264 h 1790"/>
                  <a:gd name="T10" fmla="*/ 1390 w 1804"/>
                  <a:gd name="T11" fmla="*/ 148 h 1790"/>
                  <a:gd name="T12" fmla="*/ 1342 w 1804"/>
                  <a:gd name="T13" fmla="*/ 158 h 1790"/>
                  <a:gd name="T14" fmla="*/ 1042 w 1804"/>
                  <a:gd name="T15" fmla="*/ 50 h 1790"/>
                  <a:gd name="T16" fmla="*/ 1020 w 1804"/>
                  <a:gd name="T17" fmla="*/ 16 h 1790"/>
                  <a:gd name="T18" fmla="*/ 820 w 1804"/>
                  <a:gd name="T19" fmla="*/ 0 h 1790"/>
                  <a:gd name="T20" fmla="*/ 782 w 1804"/>
                  <a:gd name="T21" fmla="*/ 16 h 1790"/>
                  <a:gd name="T22" fmla="*/ 714 w 1804"/>
                  <a:gd name="T23" fmla="*/ 282 h 1790"/>
                  <a:gd name="T24" fmla="*/ 458 w 1804"/>
                  <a:gd name="T25" fmla="*/ 160 h 1790"/>
                  <a:gd name="T26" fmla="*/ 408 w 1804"/>
                  <a:gd name="T27" fmla="*/ 150 h 1790"/>
                  <a:gd name="T28" fmla="*/ 258 w 1804"/>
                  <a:gd name="T29" fmla="*/ 266 h 1790"/>
                  <a:gd name="T30" fmla="*/ 236 w 1804"/>
                  <a:gd name="T31" fmla="*/ 312 h 1790"/>
                  <a:gd name="T32" fmla="*/ 360 w 1804"/>
                  <a:gd name="T33" fmla="*/ 556 h 1790"/>
                  <a:gd name="T34" fmla="*/ 78 w 1804"/>
                  <a:gd name="T35" fmla="*/ 610 h 1790"/>
                  <a:gd name="T36" fmla="*/ 36 w 1804"/>
                  <a:gd name="T37" fmla="*/ 640 h 1790"/>
                  <a:gd name="T38" fmla="*/ 0 w 1804"/>
                  <a:gd name="T39" fmla="*/ 828 h 1790"/>
                  <a:gd name="T40" fmla="*/ 20 w 1804"/>
                  <a:gd name="T41" fmla="*/ 874 h 1790"/>
                  <a:gd name="T42" fmla="*/ 270 w 1804"/>
                  <a:gd name="T43" fmla="*/ 1024 h 1790"/>
                  <a:gd name="T44" fmla="*/ 92 w 1804"/>
                  <a:gd name="T45" fmla="*/ 1254 h 1790"/>
                  <a:gd name="T46" fmla="*/ 90 w 1804"/>
                  <a:gd name="T47" fmla="*/ 1304 h 1790"/>
                  <a:gd name="T48" fmla="*/ 194 w 1804"/>
                  <a:gd name="T49" fmla="*/ 1466 h 1790"/>
                  <a:gd name="T50" fmla="*/ 244 w 1804"/>
                  <a:gd name="T51" fmla="*/ 1478 h 1790"/>
                  <a:gd name="T52" fmla="*/ 538 w 1804"/>
                  <a:gd name="T53" fmla="*/ 1436 h 1790"/>
                  <a:gd name="T54" fmla="*/ 518 w 1804"/>
                  <a:gd name="T55" fmla="*/ 1706 h 1790"/>
                  <a:gd name="T56" fmla="*/ 556 w 1804"/>
                  <a:gd name="T57" fmla="*/ 1740 h 1790"/>
                  <a:gd name="T58" fmla="*/ 742 w 1804"/>
                  <a:gd name="T59" fmla="*/ 1790 h 1790"/>
                  <a:gd name="T60" fmla="*/ 782 w 1804"/>
                  <a:gd name="T61" fmla="*/ 1760 h 1790"/>
                  <a:gd name="T62" fmla="*/ 942 w 1804"/>
                  <a:gd name="T63" fmla="*/ 1552 h 1790"/>
                  <a:gd name="T64" fmla="*/ 1124 w 1804"/>
                  <a:gd name="T65" fmla="*/ 1756 h 1790"/>
                  <a:gd name="T66" fmla="*/ 1174 w 1804"/>
                  <a:gd name="T67" fmla="*/ 1768 h 1790"/>
                  <a:gd name="T68" fmla="*/ 1348 w 1804"/>
                  <a:gd name="T69" fmla="*/ 1688 h 1790"/>
                  <a:gd name="T70" fmla="*/ 1368 w 1804"/>
                  <a:gd name="T71" fmla="*/ 1642 h 1790"/>
                  <a:gd name="T72" fmla="*/ 1578 w 1804"/>
                  <a:gd name="T73" fmla="*/ 1442 h 1790"/>
                  <a:gd name="T74" fmla="*/ 1620 w 1804"/>
                  <a:gd name="T75" fmla="*/ 1440 h 1790"/>
                  <a:gd name="T76" fmla="*/ 1730 w 1804"/>
                  <a:gd name="T77" fmla="*/ 1272 h 1790"/>
                  <a:gd name="T78" fmla="*/ 1736 w 1804"/>
                  <a:gd name="T79" fmla="*/ 1230 h 1790"/>
                  <a:gd name="T80" fmla="*/ 1544 w 1804"/>
                  <a:gd name="T81" fmla="*/ 1048 h 1790"/>
                  <a:gd name="T82" fmla="*/ 1766 w 1804"/>
                  <a:gd name="T83" fmla="*/ 886 h 1790"/>
                  <a:gd name="T84" fmla="*/ 1800 w 1804"/>
                  <a:gd name="T85" fmla="*/ 848 h 1790"/>
                  <a:gd name="T86" fmla="*/ 910 w 1804"/>
                  <a:gd name="T87" fmla="*/ 1248 h 1790"/>
                  <a:gd name="T88" fmla="*/ 776 w 1804"/>
                  <a:gd name="T89" fmla="*/ 1220 h 1790"/>
                  <a:gd name="T90" fmla="*/ 644 w 1804"/>
                  <a:gd name="T91" fmla="*/ 1122 h 1790"/>
                  <a:gd name="T92" fmla="*/ 572 w 1804"/>
                  <a:gd name="T93" fmla="*/ 972 h 1790"/>
                  <a:gd name="T94" fmla="*/ 572 w 1804"/>
                  <a:gd name="T95" fmla="*/ 834 h 1790"/>
                  <a:gd name="T96" fmla="*/ 644 w 1804"/>
                  <a:gd name="T97" fmla="*/ 684 h 1790"/>
                  <a:gd name="T98" fmla="*/ 776 w 1804"/>
                  <a:gd name="T99" fmla="*/ 586 h 1790"/>
                  <a:gd name="T100" fmla="*/ 910 w 1804"/>
                  <a:gd name="T101" fmla="*/ 558 h 1790"/>
                  <a:gd name="T102" fmla="*/ 1074 w 1804"/>
                  <a:gd name="T103" fmla="*/ 600 h 1790"/>
                  <a:gd name="T104" fmla="*/ 1196 w 1804"/>
                  <a:gd name="T105" fmla="*/ 710 h 1790"/>
                  <a:gd name="T106" fmla="*/ 1252 w 1804"/>
                  <a:gd name="T107" fmla="*/ 868 h 1790"/>
                  <a:gd name="T108" fmla="*/ 1238 w 1804"/>
                  <a:gd name="T109" fmla="*/ 1006 h 1790"/>
                  <a:gd name="T110" fmla="*/ 1154 w 1804"/>
                  <a:gd name="T111" fmla="*/ 1146 h 1790"/>
                  <a:gd name="T112" fmla="*/ 1012 w 1804"/>
                  <a:gd name="T113" fmla="*/ 1232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4" h="1790">
                    <a:moveTo>
                      <a:pt x="1804" y="816"/>
                    </a:moveTo>
                    <a:lnTo>
                      <a:pt x="1774" y="658"/>
                    </a:lnTo>
                    <a:lnTo>
                      <a:pt x="1774" y="658"/>
                    </a:lnTo>
                    <a:lnTo>
                      <a:pt x="1770" y="648"/>
                    </a:lnTo>
                    <a:lnTo>
                      <a:pt x="1766" y="638"/>
                    </a:lnTo>
                    <a:lnTo>
                      <a:pt x="1760" y="630"/>
                    </a:lnTo>
                    <a:lnTo>
                      <a:pt x="1752" y="624"/>
                    </a:lnTo>
                    <a:lnTo>
                      <a:pt x="1744" y="616"/>
                    </a:lnTo>
                    <a:lnTo>
                      <a:pt x="1734" y="612"/>
                    </a:lnTo>
                    <a:lnTo>
                      <a:pt x="1724" y="610"/>
                    </a:lnTo>
                    <a:lnTo>
                      <a:pt x="1714" y="608"/>
                    </a:lnTo>
                    <a:lnTo>
                      <a:pt x="1488" y="604"/>
                    </a:lnTo>
                    <a:lnTo>
                      <a:pt x="1488" y="604"/>
                    </a:lnTo>
                    <a:lnTo>
                      <a:pt x="1470" y="572"/>
                    </a:lnTo>
                    <a:lnTo>
                      <a:pt x="1450" y="540"/>
                    </a:lnTo>
                    <a:lnTo>
                      <a:pt x="1558" y="340"/>
                    </a:lnTo>
                    <a:lnTo>
                      <a:pt x="1558" y="340"/>
                    </a:lnTo>
                    <a:lnTo>
                      <a:pt x="1562" y="330"/>
                    </a:lnTo>
                    <a:lnTo>
                      <a:pt x="1564" y="320"/>
                    </a:lnTo>
                    <a:lnTo>
                      <a:pt x="1564" y="310"/>
                    </a:lnTo>
                    <a:lnTo>
                      <a:pt x="1564" y="300"/>
                    </a:lnTo>
                    <a:lnTo>
                      <a:pt x="1560" y="288"/>
                    </a:lnTo>
                    <a:lnTo>
                      <a:pt x="1556" y="280"/>
                    </a:lnTo>
                    <a:lnTo>
                      <a:pt x="1550" y="270"/>
                    </a:lnTo>
                    <a:lnTo>
                      <a:pt x="1542" y="264"/>
                    </a:lnTo>
                    <a:lnTo>
                      <a:pt x="1420" y="160"/>
                    </a:lnTo>
                    <a:lnTo>
                      <a:pt x="1420" y="160"/>
                    </a:lnTo>
                    <a:lnTo>
                      <a:pt x="1410" y="154"/>
                    </a:lnTo>
                    <a:lnTo>
                      <a:pt x="1402" y="150"/>
                    </a:lnTo>
                    <a:lnTo>
                      <a:pt x="1390" y="148"/>
                    </a:lnTo>
                    <a:lnTo>
                      <a:pt x="1380" y="146"/>
                    </a:lnTo>
                    <a:lnTo>
                      <a:pt x="1370" y="146"/>
                    </a:lnTo>
                    <a:lnTo>
                      <a:pt x="1360" y="150"/>
                    </a:lnTo>
                    <a:lnTo>
                      <a:pt x="1350" y="154"/>
                    </a:lnTo>
                    <a:lnTo>
                      <a:pt x="1342" y="158"/>
                    </a:lnTo>
                    <a:lnTo>
                      <a:pt x="1160" y="302"/>
                    </a:lnTo>
                    <a:lnTo>
                      <a:pt x="1160" y="302"/>
                    </a:lnTo>
                    <a:lnTo>
                      <a:pt x="1126" y="290"/>
                    </a:lnTo>
                    <a:lnTo>
                      <a:pt x="1090" y="278"/>
                    </a:lnTo>
                    <a:lnTo>
                      <a:pt x="1042" y="50"/>
                    </a:lnTo>
                    <a:lnTo>
                      <a:pt x="1042" y="50"/>
                    </a:lnTo>
                    <a:lnTo>
                      <a:pt x="1040" y="40"/>
                    </a:lnTo>
                    <a:lnTo>
                      <a:pt x="1034" y="32"/>
                    </a:lnTo>
                    <a:lnTo>
                      <a:pt x="1028" y="22"/>
                    </a:lnTo>
                    <a:lnTo>
                      <a:pt x="1020" y="16"/>
                    </a:lnTo>
                    <a:lnTo>
                      <a:pt x="1012" y="10"/>
                    </a:lnTo>
                    <a:lnTo>
                      <a:pt x="1002" y="4"/>
                    </a:lnTo>
                    <a:lnTo>
                      <a:pt x="992" y="2"/>
                    </a:lnTo>
                    <a:lnTo>
                      <a:pt x="982" y="0"/>
                    </a:lnTo>
                    <a:lnTo>
                      <a:pt x="820" y="0"/>
                    </a:lnTo>
                    <a:lnTo>
                      <a:pt x="820" y="0"/>
                    </a:lnTo>
                    <a:lnTo>
                      <a:pt x="810" y="2"/>
                    </a:lnTo>
                    <a:lnTo>
                      <a:pt x="800" y="4"/>
                    </a:lnTo>
                    <a:lnTo>
                      <a:pt x="792" y="10"/>
                    </a:lnTo>
                    <a:lnTo>
                      <a:pt x="782" y="16"/>
                    </a:lnTo>
                    <a:lnTo>
                      <a:pt x="774" y="22"/>
                    </a:lnTo>
                    <a:lnTo>
                      <a:pt x="768" y="32"/>
                    </a:lnTo>
                    <a:lnTo>
                      <a:pt x="764" y="40"/>
                    </a:lnTo>
                    <a:lnTo>
                      <a:pt x="760" y="50"/>
                    </a:lnTo>
                    <a:lnTo>
                      <a:pt x="714" y="282"/>
                    </a:lnTo>
                    <a:lnTo>
                      <a:pt x="714" y="282"/>
                    </a:lnTo>
                    <a:lnTo>
                      <a:pt x="680" y="294"/>
                    </a:lnTo>
                    <a:lnTo>
                      <a:pt x="646" y="308"/>
                    </a:lnTo>
                    <a:lnTo>
                      <a:pt x="458" y="160"/>
                    </a:lnTo>
                    <a:lnTo>
                      <a:pt x="458" y="160"/>
                    </a:lnTo>
                    <a:lnTo>
                      <a:pt x="450" y="156"/>
                    </a:lnTo>
                    <a:lnTo>
                      <a:pt x="440" y="152"/>
                    </a:lnTo>
                    <a:lnTo>
                      <a:pt x="430" y="150"/>
                    </a:lnTo>
                    <a:lnTo>
                      <a:pt x="420" y="148"/>
                    </a:lnTo>
                    <a:lnTo>
                      <a:pt x="408" y="150"/>
                    </a:lnTo>
                    <a:lnTo>
                      <a:pt x="398" y="152"/>
                    </a:lnTo>
                    <a:lnTo>
                      <a:pt x="390" y="156"/>
                    </a:lnTo>
                    <a:lnTo>
                      <a:pt x="380" y="162"/>
                    </a:lnTo>
                    <a:lnTo>
                      <a:pt x="258" y="266"/>
                    </a:lnTo>
                    <a:lnTo>
                      <a:pt x="258" y="266"/>
                    </a:lnTo>
                    <a:lnTo>
                      <a:pt x="250" y="274"/>
                    </a:lnTo>
                    <a:lnTo>
                      <a:pt x="244" y="282"/>
                    </a:lnTo>
                    <a:lnTo>
                      <a:pt x="240" y="292"/>
                    </a:lnTo>
                    <a:lnTo>
                      <a:pt x="238" y="302"/>
                    </a:lnTo>
                    <a:lnTo>
                      <a:pt x="236" y="312"/>
                    </a:lnTo>
                    <a:lnTo>
                      <a:pt x="236" y="324"/>
                    </a:lnTo>
                    <a:lnTo>
                      <a:pt x="240" y="334"/>
                    </a:lnTo>
                    <a:lnTo>
                      <a:pt x="244" y="342"/>
                    </a:lnTo>
                    <a:lnTo>
                      <a:pt x="360" y="556"/>
                    </a:lnTo>
                    <a:lnTo>
                      <a:pt x="360" y="556"/>
                    </a:lnTo>
                    <a:lnTo>
                      <a:pt x="346" y="580"/>
                    </a:lnTo>
                    <a:lnTo>
                      <a:pt x="332" y="604"/>
                    </a:lnTo>
                    <a:lnTo>
                      <a:pt x="88" y="608"/>
                    </a:lnTo>
                    <a:lnTo>
                      <a:pt x="88" y="608"/>
                    </a:lnTo>
                    <a:lnTo>
                      <a:pt x="78" y="610"/>
                    </a:lnTo>
                    <a:lnTo>
                      <a:pt x="68" y="614"/>
                    </a:lnTo>
                    <a:lnTo>
                      <a:pt x="60" y="618"/>
                    </a:lnTo>
                    <a:lnTo>
                      <a:pt x="50" y="624"/>
                    </a:lnTo>
                    <a:lnTo>
                      <a:pt x="44" y="632"/>
                    </a:lnTo>
                    <a:lnTo>
                      <a:pt x="36" y="640"/>
                    </a:lnTo>
                    <a:lnTo>
                      <a:pt x="32" y="650"/>
                    </a:lnTo>
                    <a:lnTo>
                      <a:pt x="30" y="660"/>
                    </a:lnTo>
                    <a:lnTo>
                      <a:pt x="0" y="818"/>
                    </a:lnTo>
                    <a:lnTo>
                      <a:pt x="0" y="818"/>
                    </a:lnTo>
                    <a:lnTo>
                      <a:pt x="0" y="828"/>
                    </a:lnTo>
                    <a:lnTo>
                      <a:pt x="0" y="838"/>
                    </a:lnTo>
                    <a:lnTo>
                      <a:pt x="2" y="848"/>
                    </a:lnTo>
                    <a:lnTo>
                      <a:pt x="8" y="858"/>
                    </a:lnTo>
                    <a:lnTo>
                      <a:pt x="12" y="868"/>
                    </a:lnTo>
                    <a:lnTo>
                      <a:pt x="20" y="874"/>
                    </a:lnTo>
                    <a:lnTo>
                      <a:pt x="28" y="882"/>
                    </a:lnTo>
                    <a:lnTo>
                      <a:pt x="38" y="886"/>
                    </a:lnTo>
                    <a:lnTo>
                      <a:pt x="264" y="978"/>
                    </a:lnTo>
                    <a:lnTo>
                      <a:pt x="264" y="978"/>
                    </a:lnTo>
                    <a:lnTo>
                      <a:pt x="270" y="1024"/>
                    </a:lnTo>
                    <a:lnTo>
                      <a:pt x="280" y="1068"/>
                    </a:lnTo>
                    <a:lnTo>
                      <a:pt x="104" y="1236"/>
                    </a:lnTo>
                    <a:lnTo>
                      <a:pt x="104" y="1236"/>
                    </a:lnTo>
                    <a:lnTo>
                      <a:pt x="98" y="1244"/>
                    </a:lnTo>
                    <a:lnTo>
                      <a:pt x="92" y="1254"/>
                    </a:lnTo>
                    <a:lnTo>
                      <a:pt x="88" y="1264"/>
                    </a:lnTo>
                    <a:lnTo>
                      <a:pt x="86" y="1274"/>
                    </a:lnTo>
                    <a:lnTo>
                      <a:pt x="86" y="1284"/>
                    </a:lnTo>
                    <a:lnTo>
                      <a:pt x="86" y="1294"/>
                    </a:lnTo>
                    <a:lnTo>
                      <a:pt x="90" y="1304"/>
                    </a:lnTo>
                    <a:lnTo>
                      <a:pt x="94" y="1314"/>
                    </a:lnTo>
                    <a:lnTo>
                      <a:pt x="180" y="1450"/>
                    </a:lnTo>
                    <a:lnTo>
                      <a:pt x="180" y="1450"/>
                    </a:lnTo>
                    <a:lnTo>
                      <a:pt x="186" y="1458"/>
                    </a:lnTo>
                    <a:lnTo>
                      <a:pt x="194" y="1466"/>
                    </a:lnTo>
                    <a:lnTo>
                      <a:pt x="204" y="1472"/>
                    </a:lnTo>
                    <a:lnTo>
                      <a:pt x="212" y="1476"/>
                    </a:lnTo>
                    <a:lnTo>
                      <a:pt x="222" y="1478"/>
                    </a:lnTo>
                    <a:lnTo>
                      <a:pt x="234" y="1480"/>
                    </a:lnTo>
                    <a:lnTo>
                      <a:pt x="244" y="1478"/>
                    </a:lnTo>
                    <a:lnTo>
                      <a:pt x="254" y="1476"/>
                    </a:lnTo>
                    <a:lnTo>
                      <a:pt x="480" y="1390"/>
                    </a:lnTo>
                    <a:lnTo>
                      <a:pt x="480" y="1390"/>
                    </a:lnTo>
                    <a:lnTo>
                      <a:pt x="508" y="1414"/>
                    </a:lnTo>
                    <a:lnTo>
                      <a:pt x="538" y="1436"/>
                    </a:lnTo>
                    <a:lnTo>
                      <a:pt x="514" y="1676"/>
                    </a:lnTo>
                    <a:lnTo>
                      <a:pt x="514" y="1676"/>
                    </a:lnTo>
                    <a:lnTo>
                      <a:pt x="514" y="1686"/>
                    </a:lnTo>
                    <a:lnTo>
                      <a:pt x="514" y="1696"/>
                    </a:lnTo>
                    <a:lnTo>
                      <a:pt x="518" y="1706"/>
                    </a:lnTo>
                    <a:lnTo>
                      <a:pt x="524" y="1716"/>
                    </a:lnTo>
                    <a:lnTo>
                      <a:pt x="530" y="1724"/>
                    </a:lnTo>
                    <a:lnTo>
                      <a:pt x="538" y="1730"/>
                    </a:lnTo>
                    <a:lnTo>
                      <a:pt x="546" y="1736"/>
                    </a:lnTo>
                    <a:lnTo>
                      <a:pt x="556" y="1740"/>
                    </a:lnTo>
                    <a:lnTo>
                      <a:pt x="710" y="1788"/>
                    </a:lnTo>
                    <a:lnTo>
                      <a:pt x="710" y="1788"/>
                    </a:lnTo>
                    <a:lnTo>
                      <a:pt x="720" y="1790"/>
                    </a:lnTo>
                    <a:lnTo>
                      <a:pt x="730" y="1790"/>
                    </a:lnTo>
                    <a:lnTo>
                      <a:pt x="742" y="1790"/>
                    </a:lnTo>
                    <a:lnTo>
                      <a:pt x="752" y="1786"/>
                    </a:lnTo>
                    <a:lnTo>
                      <a:pt x="760" y="1782"/>
                    </a:lnTo>
                    <a:lnTo>
                      <a:pt x="770" y="1776"/>
                    </a:lnTo>
                    <a:lnTo>
                      <a:pt x="776" y="1768"/>
                    </a:lnTo>
                    <a:lnTo>
                      <a:pt x="782" y="1760"/>
                    </a:lnTo>
                    <a:lnTo>
                      <a:pt x="896" y="1554"/>
                    </a:lnTo>
                    <a:lnTo>
                      <a:pt x="896" y="1554"/>
                    </a:lnTo>
                    <a:lnTo>
                      <a:pt x="910" y="1554"/>
                    </a:lnTo>
                    <a:lnTo>
                      <a:pt x="910" y="1554"/>
                    </a:lnTo>
                    <a:lnTo>
                      <a:pt x="942" y="1552"/>
                    </a:lnTo>
                    <a:lnTo>
                      <a:pt x="976" y="1550"/>
                    </a:lnTo>
                    <a:lnTo>
                      <a:pt x="1108" y="1742"/>
                    </a:lnTo>
                    <a:lnTo>
                      <a:pt x="1108" y="1742"/>
                    </a:lnTo>
                    <a:lnTo>
                      <a:pt x="1116" y="1750"/>
                    </a:lnTo>
                    <a:lnTo>
                      <a:pt x="1124" y="1756"/>
                    </a:lnTo>
                    <a:lnTo>
                      <a:pt x="1132" y="1762"/>
                    </a:lnTo>
                    <a:lnTo>
                      <a:pt x="1142" y="1766"/>
                    </a:lnTo>
                    <a:lnTo>
                      <a:pt x="1152" y="1768"/>
                    </a:lnTo>
                    <a:lnTo>
                      <a:pt x="1164" y="1768"/>
                    </a:lnTo>
                    <a:lnTo>
                      <a:pt x="1174" y="1768"/>
                    </a:lnTo>
                    <a:lnTo>
                      <a:pt x="1184" y="1764"/>
                    </a:lnTo>
                    <a:lnTo>
                      <a:pt x="1332" y="1700"/>
                    </a:lnTo>
                    <a:lnTo>
                      <a:pt x="1332" y="1700"/>
                    </a:lnTo>
                    <a:lnTo>
                      <a:pt x="1340" y="1696"/>
                    </a:lnTo>
                    <a:lnTo>
                      <a:pt x="1348" y="1688"/>
                    </a:lnTo>
                    <a:lnTo>
                      <a:pt x="1356" y="1680"/>
                    </a:lnTo>
                    <a:lnTo>
                      <a:pt x="1362" y="1672"/>
                    </a:lnTo>
                    <a:lnTo>
                      <a:pt x="1366" y="1662"/>
                    </a:lnTo>
                    <a:lnTo>
                      <a:pt x="1368" y="1652"/>
                    </a:lnTo>
                    <a:lnTo>
                      <a:pt x="1368" y="1642"/>
                    </a:lnTo>
                    <a:lnTo>
                      <a:pt x="1368" y="1632"/>
                    </a:lnTo>
                    <a:lnTo>
                      <a:pt x="1322" y="1406"/>
                    </a:lnTo>
                    <a:lnTo>
                      <a:pt x="1322" y="1406"/>
                    </a:lnTo>
                    <a:lnTo>
                      <a:pt x="1360" y="1372"/>
                    </a:lnTo>
                    <a:lnTo>
                      <a:pt x="1578" y="1442"/>
                    </a:lnTo>
                    <a:lnTo>
                      <a:pt x="1578" y="1442"/>
                    </a:lnTo>
                    <a:lnTo>
                      <a:pt x="1588" y="1444"/>
                    </a:lnTo>
                    <a:lnTo>
                      <a:pt x="1598" y="1444"/>
                    </a:lnTo>
                    <a:lnTo>
                      <a:pt x="1610" y="1442"/>
                    </a:lnTo>
                    <a:lnTo>
                      <a:pt x="1620" y="1440"/>
                    </a:lnTo>
                    <a:lnTo>
                      <a:pt x="1628" y="1434"/>
                    </a:lnTo>
                    <a:lnTo>
                      <a:pt x="1638" y="1428"/>
                    </a:lnTo>
                    <a:lnTo>
                      <a:pt x="1644" y="1422"/>
                    </a:lnTo>
                    <a:lnTo>
                      <a:pt x="1650" y="1412"/>
                    </a:lnTo>
                    <a:lnTo>
                      <a:pt x="1730" y="1272"/>
                    </a:lnTo>
                    <a:lnTo>
                      <a:pt x="1730" y="1272"/>
                    </a:lnTo>
                    <a:lnTo>
                      <a:pt x="1734" y="1262"/>
                    </a:lnTo>
                    <a:lnTo>
                      <a:pt x="1736" y="1252"/>
                    </a:lnTo>
                    <a:lnTo>
                      <a:pt x="1736" y="1242"/>
                    </a:lnTo>
                    <a:lnTo>
                      <a:pt x="1736" y="1230"/>
                    </a:lnTo>
                    <a:lnTo>
                      <a:pt x="1732" y="1220"/>
                    </a:lnTo>
                    <a:lnTo>
                      <a:pt x="1728" y="1212"/>
                    </a:lnTo>
                    <a:lnTo>
                      <a:pt x="1722" y="1202"/>
                    </a:lnTo>
                    <a:lnTo>
                      <a:pt x="1716" y="1194"/>
                    </a:lnTo>
                    <a:lnTo>
                      <a:pt x="1544" y="1048"/>
                    </a:lnTo>
                    <a:lnTo>
                      <a:pt x="1544" y="1048"/>
                    </a:lnTo>
                    <a:lnTo>
                      <a:pt x="1552" y="1010"/>
                    </a:lnTo>
                    <a:lnTo>
                      <a:pt x="1556" y="970"/>
                    </a:lnTo>
                    <a:lnTo>
                      <a:pt x="1766" y="886"/>
                    </a:lnTo>
                    <a:lnTo>
                      <a:pt x="1766" y="886"/>
                    </a:lnTo>
                    <a:lnTo>
                      <a:pt x="1776" y="880"/>
                    </a:lnTo>
                    <a:lnTo>
                      <a:pt x="1784" y="874"/>
                    </a:lnTo>
                    <a:lnTo>
                      <a:pt x="1790" y="866"/>
                    </a:lnTo>
                    <a:lnTo>
                      <a:pt x="1796" y="858"/>
                    </a:lnTo>
                    <a:lnTo>
                      <a:pt x="1800" y="848"/>
                    </a:lnTo>
                    <a:lnTo>
                      <a:pt x="1804" y="838"/>
                    </a:lnTo>
                    <a:lnTo>
                      <a:pt x="1804" y="828"/>
                    </a:lnTo>
                    <a:lnTo>
                      <a:pt x="1804" y="816"/>
                    </a:lnTo>
                    <a:lnTo>
                      <a:pt x="1804" y="816"/>
                    </a:lnTo>
                    <a:close/>
                    <a:moveTo>
                      <a:pt x="910" y="1248"/>
                    </a:moveTo>
                    <a:lnTo>
                      <a:pt x="910" y="1248"/>
                    </a:lnTo>
                    <a:lnTo>
                      <a:pt x="874" y="1246"/>
                    </a:lnTo>
                    <a:lnTo>
                      <a:pt x="840" y="1240"/>
                    </a:lnTo>
                    <a:lnTo>
                      <a:pt x="808" y="1232"/>
                    </a:lnTo>
                    <a:lnTo>
                      <a:pt x="776" y="1220"/>
                    </a:lnTo>
                    <a:lnTo>
                      <a:pt x="746" y="1206"/>
                    </a:lnTo>
                    <a:lnTo>
                      <a:pt x="718" y="1188"/>
                    </a:lnTo>
                    <a:lnTo>
                      <a:pt x="690" y="1168"/>
                    </a:lnTo>
                    <a:lnTo>
                      <a:pt x="666" y="1146"/>
                    </a:lnTo>
                    <a:lnTo>
                      <a:pt x="644" y="1122"/>
                    </a:lnTo>
                    <a:lnTo>
                      <a:pt x="624" y="1096"/>
                    </a:lnTo>
                    <a:lnTo>
                      <a:pt x="606" y="1068"/>
                    </a:lnTo>
                    <a:lnTo>
                      <a:pt x="592" y="1038"/>
                    </a:lnTo>
                    <a:lnTo>
                      <a:pt x="580" y="1006"/>
                    </a:lnTo>
                    <a:lnTo>
                      <a:pt x="572" y="972"/>
                    </a:lnTo>
                    <a:lnTo>
                      <a:pt x="568" y="938"/>
                    </a:lnTo>
                    <a:lnTo>
                      <a:pt x="566" y="904"/>
                    </a:lnTo>
                    <a:lnTo>
                      <a:pt x="566" y="904"/>
                    </a:lnTo>
                    <a:lnTo>
                      <a:pt x="568" y="868"/>
                    </a:lnTo>
                    <a:lnTo>
                      <a:pt x="572" y="834"/>
                    </a:lnTo>
                    <a:lnTo>
                      <a:pt x="580" y="800"/>
                    </a:lnTo>
                    <a:lnTo>
                      <a:pt x="592" y="770"/>
                    </a:lnTo>
                    <a:lnTo>
                      <a:pt x="606" y="738"/>
                    </a:lnTo>
                    <a:lnTo>
                      <a:pt x="624" y="710"/>
                    </a:lnTo>
                    <a:lnTo>
                      <a:pt x="644" y="684"/>
                    </a:lnTo>
                    <a:lnTo>
                      <a:pt x="666" y="660"/>
                    </a:lnTo>
                    <a:lnTo>
                      <a:pt x="690" y="638"/>
                    </a:lnTo>
                    <a:lnTo>
                      <a:pt x="718" y="618"/>
                    </a:lnTo>
                    <a:lnTo>
                      <a:pt x="746" y="600"/>
                    </a:lnTo>
                    <a:lnTo>
                      <a:pt x="776" y="586"/>
                    </a:lnTo>
                    <a:lnTo>
                      <a:pt x="808" y="574"/>
                    </a:lnTo>
                    <a:lnTo>
                      <a:pt x="840" y="566"/>
                    </a:lnTo>
                    <a:lnTo>
                      <a:pt x="874" y="560"/>
                    </a:lnTo>
                    <a:lnTo>
                      <a:pt x="910" y="558"/>
                    </a:lnTo>
                    <a:lnTo>
                      <a:pt x="910" y="558"/>
                    </a:lnTo>
                    <a:lnTo>
                      <a:pt x="944" y="560"/>
                    </a:lnTo>
                    <a:lnTo>
                      <a:pt x="980" y="566"/>
                    </a:lnTo>
                    <a:lnTo>
                      <a:pt x="1012" y="574"/>
                    </a:lnTo>
                    <a:lnTo>
                      <a:pt x="1044" y="586"/>
                    </a:lnTo>
                    <a:lnTo>
                      <a:pt x="1074" y="600"/>
                    </a:lnTo>
                    <a:lnTo>
                      <a:pt x="1102" y="618"/>
                    </a:lnTo>
                    <a:lnTo>
                      <a:pt x="1128" y="638"/>
                    </a:lnTo>
                    <a:lnTo>
                      <a:pt x="1154" y="660"/>
                    </a:lnTo>
                    <a:lnTo>
                      <a:pt x="1176" y="684"/>
                    </a:lnTo>
                    <a:lnTo>
                      <a:pt x="1196" y="710"/>
                    </a:lnTo>
                    <a:lnTo>
                      <a:pt x="1212" y="738"/>
                    </a:lnTo>
                    <a:lnTo>
                      <a:pt x="1226" y="770"/>
                    </a:lnTo>
                    <a:lnTo>
                      <a:pt x="1238" y="800"/>
                    </a:lnTo>
                    <a:lnTo>
                      <a:pt x="1248" y="834"/>
                    </a:lnTo>
                    <a:lnTo>
                      <a:pt x="1252" y="868"/>
                    </a:lnTo>
                    <a:lnTo>
                      <a:pt x="1254" y="904"/>
                    </a:lnTo>
                    <a:lnTo>
                      <a:pt x="1254" y="904"/>
                    </a:lnTo>
                    <a:lnTo>
                      <a:pt x="1252" y="938"/>
                    </a:lnTo>
                    <a:lnTo>
                      <a:pt x="1248" y="972"/>
                    </a:lnTo>
                    <a:lnTo>
                      <a:pt x="1238" y="1006"/>
                    </a:lnTo>
                    <a:lnTo>
                      <a:pt x="1226" y="1038"/>
                    </a:lnTo>
                    <a:lnTo>
                      <a:pt x="1212" y="1068"/>
                    </a:lnTo>
                    <a:lnTo>
                      <a:pt x="1196" y="1096"/>
                    </a:lnTo>
                    <a:lnTo>
                      <a:pt x="1176" y="1122"/>
                    </a:lnTo>
                    <a:lnTo>
                      <a:pt x="1154" y="1146"/>
                    </a:lnTo>
                    <a:lnTo>
                      <a:pt x="1128" y="1168"/>
                    </a:lnTo>
                    <a:lnTo>
                      <a:pt x="1102" y="1188"/>
                    </a:lnTo>
                    <a:lnTo>
                      <a:pt x="1074" y="1206"/>
                    </a:lnTo>
                    <a:lnTo>
                      <a:pt x="1044" y="1220"/>
                    </a:lnTo>
                    <a:lnTo>
                      <a:pt x="1012" y="1232"/>
                    </a:lnTo>
                    <a:lnTo>
                      <a:pt x="980" y="1240"/>
                    </a:lnTo>
                    <a:lnTo>
                      <a:pt x="944" y="1246"/>
                    </a:lnTo>
                    <a:lnTo>
                      <a:pt x="910" y="1248"/>
                    </a:lnTo>
                    <a:lnTo>
                      <a:pt x="910" y="12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
          <p:nvSpPr>
            <p:cNvPr id="37" name="Freeform 31"/>
            <p:cNvSpPr>
              <a:spLocks noEditPoints="1"/>
            </p:cNvSpPr>
            <p:nvPr/>
          </p:nvSpPr>
          <p:spPr bwMode="auto">
            <a:xfrm>
              <a:off x="6148650" y="3959656"/>
              <a:ext cx="316872" cy="361616"/>
            </a:xfrm>
            <a:custGeom>
              <a:avLst/>
              <a:gdLst>
                <a:gd name="T0" fmla="*/ 800 w 864"/>
                <a:gd name="T1" fmla="*/ 560 h 986"/>
                <a:gd name="T2" fmla="*/ 804 w 864"/>
                <a:gd name="T3" fmla="*/ 464 h 986"/>
                <a:gd name="T4" fmla="*/ 846 w 864"/>
                <a:gd name="T5" fmla="*/ 318 h 986"/>
                <a:gd name="T6" fmla="*/ 862 w 864"/>
                <a:gd name="T7" fmla="*/ 290 h 986"/>
                <a:gd name="T8" fmla="*/ 860 w 864"/>
                <a:gd name="T9" fmla="*/ 248 h 986"/>
                <a:gd name="T10" fmla="*/ 830 w 864"/>
                <a:gd name="T11" fmla="*/ 204 h 986"/>
                <a:gd name="T12" fmla="*/ 794 w 864"/>
                <a:gd name="T13" fmla="*/ 184 h 986"/>
                <a:gd name="T14" fmla="*/ 678 w 864"/>
                <a:gd name="T15" fmla="*/ 222 h 986"/>
                <a:gd name="T16" fmla="*/ 626 w 864"/>
                <a:gd name="T17" fmla="*/ 186 h 986"/>
                <a:gd name="T18" fmla="*/ 550 w 864"/>
                <a:gd name="T19" fmla="*/ 154 h 986"/>
                <a:gd name="T20" fmla="*/ 506 w 864"/>
                <a:gd name="T21" fmla="*/ 42 h 986"/>
                <a:gd name="T22" fmla="*/ 480 w 864"/>
                <a:gd name="T23" fmla="*/ 10 h 986"/>
                <a:gd name="T24" fmla="*/ 416 w 864"/>
                <a:gd name="T25" fmla="*/ 0 h 986"/>
                <a:gd name="T26" fmla="*/ 386 w 864"/>
                <a:gd name="T27" fmla="*/ 10 h 986"/>
                <a:gd name="T28" fmla="*/ 358 w 864"/>
                <a:gd name="T29" fmla="*/ 42 h 986"/>
                <a:gd name="T30" fmla="*/ 336 w 864"/>
                <a:gd name="T31" fmla="*/ 160 h 986"/>
                <a:gd name="T32" fmla="*/ 238 w 864"/>
                <a:gd name="T33" fmla="*/ 212 h 986"/>
                <a:gd name="T34" fmla="*/ 198 w 864"/>
                <a:gd name="T35" fmla="*/ 228 h 986"/>
                <a:gd name="T36" fmla="*/ 80 w 864"/>
                <a:gd name="T37" fmla="*/ 184 h 986"/>
                <a:gd name="T38" fmla="*/ 40 w 864"/>
                <a:gd name="T39" fmla="*/ 196 h 986"/>
                <a:gd name="T40" fmla="*/ 8 w 864"/>
                <a:gd name="T41" fmla="*/ 238 h 986"/>
                <a:gd name="T42" fmla="*/ 0 w 864"/>
                <a:gd name="T43" fmla="*/ 280 h 986"/>
                <a:gd name="T44" fmla="*/ 18 w 864"/>
                <a:gd name="T45" fmla="*/ 318 h 986"/>
                <a:gd name="T46" fmla="*/ 110 w 864"/>
                <a:gd name="T47" fmla="*/ 400 h 986"/>
                <a:gd name="T48" fmla="*/ 98 w 864"/>
                <a:gd name="T49" fmla="*/ 470 h 986"/>
                <a:gd name="T50" fmla="*/ 102 w 864"/>
                <a:gd name="T51" fmla="*/ 550 h 986"/>
                <a:gd name="T52" fmla="*/ 42 w 864"/>
                <a:gd name="T53" fmla="*/ 678 h 986"/>
                <a:gd name="T54" fmla="*/ 24 w 864"/>
                <a:gd name="T55" fmla="*/ 716 h 986"/>
                <a:gd name="T56" fmla="*/ 34 w 864"/>
                <a:gd name="T57" fmla="*/ 758 h 986"/>
                <a:gd name="T58" fmla="*/ 68 w 864"/>
                <a:gd name="T59" fmla="*/ 798 h 986"/>
                <a:gd name="T60" fmla="*/ 108 w 864"/>
                <a:gd name="T61" fmla="*/ 810 h 986"/>
                <a:gd name="T62" fmla="*/ 222 w 864"/>
                <a:gd name="T63" fmla="*/ 764 h 986"/>
                <a:gd name="T64" fmla="*/ 336 w 864"/>
                <a:gd name="T65" fmla="*/ 830 h 986"/>
                <a:gd name="T66" fmla="*/ 356 w 864"/>
                <a:gd name="T67" fmla="*/ 934 h 986"/>
                <a:gd name="T68" fmla="*/ 378 w 864"/>
                <a:gd name="T69" fmla="*/ 970 h 986"/>
                <a:gd name="T70" fmla="*/ 416 w 864"/>
                <a:gd name="T71" fmla="*/ 986 h 986"/>
                <a:gd name="T72" fmla="*/ 470 w 864"/>
                <a:gd name="T73" fmla="*/ 982 h 986"/>
                <a:gd name="T74" fmla="*/ 502 w 864"/>
                <a:gd name="T75" fmla="*/ 954 h 986"/>
                <a:gd name="T76" fmla="*/ 528 w 864"/>
                <a:gd name="T77" fmla="*/ 840 h 986"/>
                <a:gd name="T78" fmla="*/ 642 w 864"/>
                <a:gd name="T79" fmla="*/ 794 h 986"/>
                <a:gd name="T80" fmla="*/ 764 w 864"/>
                <a:gd name="T81" fmla="*/ 808 h 986"/>
                <a:gd name="T82" fmla="*/ 806 w 864"/>
                <a:gd name="T83" fmla="*/ 804 h 986"/>
                <a:gd name="T84" fmla="*/ 848 w 864"/>
                <a:gd name="T85" fmla="*/ 758 h 986"/>
                <a:gd name="T86" fmla="*/ 858 w 864"/>
                <a:gd name="T87" fmla="*/ 726 h 986"/>
                <a:gd name="T88" fmla="*/ 848 w 864"/>
                <a:gd name="T89" fmla="*/ 686 h 986"/>
                <a:gd name="T90" fmla="*/ 452 w 864"/>
                <a:gd name="T91" fmla="*/ 616 h 986"/>
                <a:gd name="T92" fmla="*/ 404 w 864"/>
                <a:gd name="T93" fmla="*/ 606 h 986"/>
                <a:gd name="T94" fmla="*/ 340 w 864"/>
                <a:gd name="T95" fmla="*/ 542 h 986"/>
                <a:gd name="T96" fmla="*/ 330 w 864"/>
                <a:gd name="T97" fmla="*/ 494 h 986"/>
                <a:gd name="T98" fmla="*/ 336 w 864"/>
                <a:gd name="T99" fmla="*/ 458 h 986"/>
                <a:gd name="T100" fmla="*/ 384 w 864"/>
                <a:gd name="T101" fmla="*/ 394 h 986"/>
                <a:gd name="T102" fmla="*/ 438 w 864"/>
                <a:gd name="T103" fmla="*/ 374 h 986"/>
                <a:gd name="T104" fmla="*/ 476 w 864"/>
                <a:gd name="T105" fmla="*/ 376 h 986"/>
                <a:gd name="T106" fmla="*/ 538 w 864"/>
                <a:gd name="T107" fmla="*/ 408 h 986"/>
                <a:gd name="T108" fmla="*/ 570 w 864"/>
                <a:gd name="T109" fmla="*/ 470 h 986"/>
                <a:gd name="T110" fmla="*/ 572 w 864"/>
                <a:gd name="T111" fmla="*/ 508 h 986"/>
                <a:gd name="T112" fmla="*/ 552 w 864"/>
                <a:gd name="T113" fmla="*/ 562 h 986"/>
                <a:gd name="T114" fmla="*/ 488 w 864"/>
                <a:gd name="T115" fmla="*/ 610 h 986"/>
                <a:gd name="T116" fmla="*/ 452 w 864"/>
                <a:gd name="T117" fmla="*/ 61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4" h="986">
                  <a:moveTo>
                    <a:pt x="784" y="620"/>
                  </a:moveTo>
                  <a:lnTo>
                    <a:pt x="784" y="620"/>
                  </a:lnTo>
                  <a:lnTo>
                    <a:pt x="792" y="590"/>
                  </a:lnTo>
                  <a:lnTo>
                    <a:pt x="800" y="560"/>
                  </a:lnTo>
                  <a:lnTo>
                    <a:pt x="804" y="528"/>
                  </a:lnTo>
                  <a:lnTo>
                    <a:pt x="806" y="494"/>
                  </a:lnTo>
                  <a:lnTo>
                    <a:pt x="806" y="494"/>
                  </a:lnTo>
                  <a:lnTo>
                    <a:pt x="804" y="464"/>
                  </a:lnTo>
                  <a:lnTo>
                    <a:pt x="800" y="434"/>
                  </a:lnTo>
                  <a:lnTo>
                    <a:pt x="794" y="404"/>
                  </a:lnTo>
                  <a:lnTo>
                    <a:pt x="786" y="376"/>
                  </a:lnTo>
                  <a:lnTo>
                    <a:pt x="846" y="318"/>
                  </a:lnTo>
                  <a:lnTo>
                    <a:pt x="846" y="318"/>
                  </a:lnTo>
                  <a:lnTo>
                    <a:pt x="852" y="310"/>
                  </a:lnTo>
                  <a:lnTo>
                    <a:pt x="858" y="300"/>
                  </a:lnTo>
                  <a:lnTo>
                    <a:pt x="862" y="290"/>
                  </a:lnTo>
                  <a:lnTo>
                    <a:pt x="864" y="280"/>
                  </a:lnTo>
                  <a:lnTo>
                    <a:pt x="864" y="270"/>
                  </a:lnTo>
                  <a:lnTo>
                    <a:pt x="862" y="258"/>
                  </a:lnTo>
                  <a:lnTo>
                    <a:pt x="860" y="248"/>
                  </a:lnTo>
                  <a:lnTo>
                    <a:pt x="854" y="238"/>
                  </a:lnTo>
                  <a:lnTo>
                    <a:pt x="838" y="212"/>
                  </a:lnTo>
                  <a:lnTo>
                    <a:pt x="838" y="212"/>
                  </a:lnTo>
                  <a:lnTo>
                    <a:pt x="830" y="204"/>
                  </a:lnTo>
                  <a:lnTo>
                    <a:pt x="822" y="196"/>
                  </a:lnTo>
                  <a:lnTo>
                    <a:pt x="814" y="192"/>
                  </a:lnTo>
                  <a:lnTo>
                    <a:pt x="804" y="188"/>
                  </a:lnTo>
                  <a:lnTo>
                    <a:pt x="794" y="184"/>
                  </a:lnTo>
                  <a:lnTo>
                    <a:pt x="782" y="184"/>
                  </a:lnTo>
                  <a:lnTo>
                    <a:pt x="772" y="184"/>
                  </a:lnTo>
                  <a:lnTo>
                    <a:pt x="762" y="188"/>
                  </a:lnTo>
                  <a:lnTo>
                    <a:pt x="678" y="222"/>
                  </a:lnTo>
                  <a:lnTo>
                    <a:pt x="678" y="222"/>
                  </a:lnTo>
                  <a:lnTo>
                    <a:pt x="662" y="210"/>
                  </a:lnTo>
                  <a:lnTo>
                    <a:pt x="644" y="198"/>
                  </a:lnTo>
                  <a:lnTo>
                    <a:pt x="626" y="186"/>
                  </a:lnTo>
                  <a:lnTo>
                    <a:pt x="608" y="176"/>
                  </a:lnTo>
                  <a:lnTo>
                    <a:pt x="590" y="168"/>
                  </a:lnTo>
                  <a:lnTo>
                    <a:pt x="570" y="160"/>
                  </a:lnTo>
                  <a:lnTo>
                    <a:pt x="550" y="154"/>
                  </a:lnTo>
                  <a:lnTo>
                    <a:pt x="528" y="148"/>
                  </a:lnTo>
                  <a:lnTo>
                    <a:pt x="510" y="52"/>
                  </a:lnTo>
                  <a:lnTo>
                    <a:pt x="510" y="52"/>
                  </a:lnTo>
                  <a:lnTo>
                    <a:pt x="506" y="42"/>
                  </a:lnTo>
                  <a:lnTo>
                    <a:pt x="502" y="32"/>
                  </a:lnTo>
                  <a:lnTo>
                    <a:pt x="496" y="22"/>
                  </a:lnTo>
                  <a:lnTo>
                    <a:pt x="488" y="16"/>
                  </a:lnTo>
                  <a:lnTo>
                    <a:pt x="480" y="10"/>
                  </a:lnTo>
                  <a:lnTo>
                    <a:pt x="470" y="4"/>
                  </a:lnTo>
                  <a:lnTo>
                    <a:pt x="460" y="2"/>
                  </a:lnTo>
                  <a:lnTo>
                    <a:pt x="448" y="0"/>
                  </a:lnTo>
                  <a:lnTo>
                    <a:pt x="416" y="0"/>
                  </a:lnTo>
                  <a:lnTo>
                    <a:pt x="416" y="0"/>
                  </a:lnTo>
                  <a:lnTo>
                    <a:pt x="406" y="2"/>
                  </a:lnTo>
                  <a:lnTo>
                    <a:pt x="396" y="4"/>
                  </a:lnTo>
                  <a:lnTo>
                    <a:pt x="386" y="10"/>
                  </a:lnTo>
                  <a:lnTo>
                    <a:pt x="378" y="16"/>
                  </a:lnTo>
                  <a:lnTo>
                    <a:pt x="370" y="22"/>
                  </a:lnTo>
                  <a:lnTo>
                    <a:pt x="364" y="32"/>
                  </a:lnTo>
                  <a:lnTo>
                    <a:pt x="358" y="42"/>
                  </a:lnTo>
                  <a:lnTo>
                    <a:pt x="356" y="52"/>
                  </a:lnTo>
                  <a:lnTo>
                    <a:pt x="336" y="154"/>
                  </a:lnTo>
                  <a:lnTo>
                    <a:pt x="336" y="154"/>
                  </a:lnTo>
                  <a:lnTo>
                    <a:pt x="336" y="160"/>
                  </a:lnTo>
                  <a:lnTo>
                    <a:pt x="336" y="160"/>
                  </a:lnTo>
                  <a:lnTo>
                    <a:pt x="302" y="174"/>
                  </a:lnTo>
                  <a:lnTo>
                    <a:pt x="268" y="190"/>
                  </a:lnTo>
                  <a:lnTo>
                    <a:pt x="238" y="212"/>
                  </a:lnTo>
                  <a:lnTo>
                    <a:pt x="210" y="234"/>
                  </a:lnTo>
                  <a:lnTo>
                    <a:pt x="210" y="234"/>
                  </a:lnTo>
                  <a:lnTo>
                    <a:pt x="204" y="230"/>
                  </a:lnTo>
                  <a:lnTo>
                    <a:pt x="198" y="228"/>
                  </a:lnTo>
                  <a:lnTo>
                    <a:pt x="102" y="188"/>
                  </a:lnTo>
                  <a:lnTo>
                    <a:pt x="102" y="188"/>
                  </a:lnTo>
                  <a:lnTo>
                    <a:pt x="92" y="184"/>
                  </a:lnTo>
                  <a:lnTo>
                    <a:pt x="80" y="184"/>
                  </a:lnTo>
                  <a:lnTo>
                    <a:pt x="70" y="184"/>
                  </a:lnTo>
                  <a:lnTo>
                    <a:pt x="60" y="188"/>
                  </a:lnTo>
                  <a:lnTo>
                    <a:pt x="50" y="192"/>
                  </a:lnTo>
                  <a:lnTo>
                    <a:pt x="40" y="196"/>
                  </a:lnTo>
                  <a:lnTo>
                    <a:pt x="32" y="204"/>
                  </a:lnTo>
                  <a:lnTo>
                    <a:pt x="26" y="212"/>
                  </a:lnTo>
                  <a:lnTo>
                    <a:pt x="8" y="238"/>
                  </a:lnTo>
                  <a:lnTo>
                    <a:pt x="8" y="238"/>
                  </a:lnTo>
                  <a:lnTo>
                    <a:pt x="4" y="248"/>
                  </a:lnTo>
                  <a:lnTo>
                    <a:pt x="0" y="258"/>
                  </a:lnTo>
                  <a:lnTo>
                    <a:pt x="0" y="270"/>
                  </a:lnTo>
                  <a:lnTo>
                    <a:pt x="0" y="280"/>
                  </a:lnTo>
                  <a:lnTo>
                    <a:pt x="2" y="290"/>
                  </a:lnTo>
                  <a:lnTo>
                    <a:pt x="6" y="300"/>
                  </a:lnTo>
                  <a:lnTo>
                    <a:pt x="10" y="310"/>
                  </a:lnTo>
                  <a:lnTo>
                    <a:pt x="18" y="318"/>
                  </a:lnTo>
                  <a:lnTo>
                    <a:pt x="94" y="390"/>
                  </a:lnTo>
                  <a:lnTo>
                    <a:pt x="94" y="390"/>
                  </a:lnTo>
                  <a:lnTo>
                    <a:pt x="102" y="396"/>
                  </a:lnTo>
                  <a:lnTo>
                    <a:pt x="110" y="400"/>
                  </a:lnTo>
                  <a:lnTo>
                    <a:pt x="110" y="400"/>
                  </a:lnTo>
                  <a:lnTo>
                    <a:pt x="104" y="424"/>
                  </a:lnTo>
                  <a:lnTo>
                    <a:pt x="100" y="446"/>
                  </a:lnTo>
                  <a:lnTo>
                    <a:pt x="98" y="470"/>
                  </a:lnTo>
                  <a:lnTo>
                    <a:pt x="96" y="494"/>
                  </a:lnTo>
                  <a:lnTo>
                    <a:pt x="96" y="494"/>
                  </a:lnTo>
                  <a:lnTo>
                    <a:pt x="98" y="524"/>
                  </a:lnTo>
                  <a:lnTo>
                    <a:pt x="102" y="550"/>
                  </a:lnTo>
                  <a:lnTo>
                    <a:pt x="106" y="578"/>
                  </a:lnTo>
                  <a:lnTo>
                    <a:pt x="114" y="604"/>
                  </a:lnTo>
                  <a:lnTo>
                    <a:pt x="42" y="678"/>
                  </a:lnTo>
                  <a:lnTo>
                    <a:pt x="42" y="678"/>
                  </a:lnTo>
                  <a:lnTo>
                    <a:pt x="34" y="686"/>
                  </a:lnTo>
                  <a:lnTo>
                    <a:pt x="30" y="696"/>
                  </a:lnTo>
                  <a:lnTo>
                    <a:pt x="26" y="706"/>
                  </a:lnTo>
                  <a:lnTo>
                    <a:pt x="24" y="716"/>
                  </a:lnTo>
                  <a:lnTo>
                    <a:pt x="24" y="726"/>
                  </a:lnTo>
                  <a:lnTo>
                    <a:pt x="26" y="738"/>
                  </a:lnTo>
                  <a:lnTo>
                    <a:pt x="28" y="748"/>
                  </a:lnTo>
                  <a:lnTo>
                    <a:pt x="34" y="758"/>
                  </a:lnTo>
                  <a:lnTo>
                    <a:pt x="52" y="784"/>
                  </a:lnTo>
                  <a:lnTo>
                    <a:pt x="52" y="784"/>
                  </a:lnTo>
                  <a:lnTo>
                    <a:pt x="58" y="792"/>
                  </a:lnTo>
                  <a:lnTo>
                    <a:pt x="68" y="798"/>
                  </a:lnTo>
                  <a:lnTo>
                    <a:pt x="76" y="804"/>
                  </a:lnTo>
                  <a:lnTo>
                    <a:pt x="86" y="808"/>
                  </a:lnTo>
                  <a:lnTo>
                    <a:pt x="98" y="810"/>
                  </a:lnTo>
                  <a:lnTo>
                    <a:pt x="108" y="810"/>
                  </a:lnTo>
                  <a:lnTo>
                    <a:pt x="118" y="808"/>
                  </a:lnTo>
                  <a:lnTo>
                    <a:pt x="128" y="806"/>
                  </a:lnTo>
                  <a:lnTo>
                    <a:pt x="222" y="764"/>
                  </a:lnTo>
                  <a:lnTo>
                    <a:pt x="222" y="764"/>
                  </a:lnTo>
                  <a:lnTo>
                    <a:pt x="248" y="784"/>
                  </a:lnTo>
                  <a:lnTo>
                    <a:pt x="276" y="802"/>
                  </a:lnTo>
                  <a:lnTo>
                    <a:pt x="304" y="818"/>
                  </a:lnTo>
                  <a:lnTo>
                    <a:pt x="336" y="830"/>
                  </a:lnTo>
                  <a:lnTo>
                    <a:pt x="336" y="830"/>
                  </a:lnTo>
                  <a:lnTo>
                    <a:pt x="336" y="832"/>
                  </a:lnTo>
                  <a:lnTo>
                    <a:pt x="356" y="934"/>
                  </a:lnTo>
                  <a:lnTo>
                    <a:pt x="356" y="934"/>
                  </a:lnTo>
                  <a:lnTo>
                    <a:pt x="358" y="944"/>
                  </a:lnTo>
                  <a:lnTo>
                    <a:pt x="364" y="954"/>
                  </a:lnTo>
                  <a:lnTo>
                    <a:pt x="370" y="962"/>
                  </a:lnTo>
                  <a:lnTo>
                    <a:pt x="378" y="970"/>
                  </a:lnTo>
                  <a:lnTo>
                    <a:pt x="386" y="976"/>
                  </a:lnTo>
                  <a:lnTo>
                    <a:pt x="396" y="982"/>
                  </a:lnTo>
                  <a:lnTo>
                    <a:pt x="406" y="984"/>
                  </a:lnTo>
                  <a:lnTo>
                    <a:pt x="416" y="986"/>
                  </a:lnTo>
                  <a:lnTo>
                    <a:pt x="448" y="986"/>
                  </a:lnTo>
                  <a:lnTo>
                    <a:pt x="448" y="986"/>
                  </a:lnTo>
                  <a:lnTo>
                    <a:pt x="460" y="984"/>
                  </a:lnTo>
                  <a:lnTo>
                    <a:pt x="470" y="982"/>
                  </a:lnTo>
                  <a:lnTo>
                    <a:pt x="480" y="976"/>
                  </a:lnTo>
                  <a:lnTo>
                    <a:pt x="488" y="970"/>
                  </a:lnTo>
                  <a:lnTo>
                    <a:pt x="496" y="962"/>
                  </a:lnTo>
                  <a:lnTo>
                    <a:pt x="502" y="954"/>
                  </a:lnTo>
                  <a:lnTo>
                    <a:pt x="506" y="944"/>
                  </a:lnTo>
                  <a:lnTo>
                    <a:pt x="510" y="934"/>
                  </a:lnTo>
                  <a:lnTo>
                    <a:pt x="528" y="840"/>
                  </a:lnTo>
                  <a:lnTo>
                    <a:pt x="528" y="840"/>
                  </a:lnTo>
                  <a:lnTo>
                    <a:pt x="548" y="836"/>
                  </a:lnTo>
                  <a:lnTo>
                    <a:pt x="568" y="830"/>
                  </a:lnTo>
                  <a:lnTo>
                    <a:pt x="606" y="814"/>
                  </a:lnTo>
                  <a:lnTo>
                    <a:pt x="642" y="794"/>
                  </a:lnTo>
                  <a:lnTo>
                    <a:pt x="674" y="770"/>
                  </a:lnTo>
                  <a:lnTo>
                    <a:pt x="754" y="806"/>
                  </a:lnTo>
                  <a:lnTo>
                    <a:pt x="754" y="806"/>
                  </a:lnTo>
                  <a:lnTo>
                    <a:pt x="764" y="808"/>
                  </a:lnTo>
                  <a:lnTo>
                    <a:pt x="774" y="810"/>
                  </a:lnTo>
                  <a:lnTo>
                    <a:pt x="784" y="810"/>
                  </a:lnTo>
                  <a:lnTo>
                    <a:pt x="796" y="808"/>
                  </a:lnTo>
                  <a:lnTo>
                    <a:pt x="806" y="804"/>
                  </a:lnTo>
                  <a:lnTo>
                    <a:pt x="814" y="798"/>
                  </a:lnTo>
                  <a:lnTo>
                    <a:pt x="824" y="792"/>
                  </a:lnTo>
                  <a:lnTo>
                    <a:pt x="830" y="784"/>
                  </a:lnTo>
                  <a:lnTo>
                    <a:pt x="848" y="758"/>
                  </a:lnTo>
                  <a:lnTo>
                    <a:pt x="848" y="758"/>
                  </a:lnTo>
                  <a:lnTo>
                    <a:pt x="854" y="748"/>
                  </a:lnTo>
                  <a:lnTo>
                    <a:pt x="856" y="738"/>
                  </a:lnTo>
                  <a:lnTo>
                    <a:pt x="858" y="726"/>
                  </a:lnTo>
                  <a:lnTo>
                    <a:pt x="858" y="716"/>
                  </a:lnTo>
                  <a:lnTo>
                    <a:pt x="856" y="706"/>
                  </a:lnTo>
                  <a:lnTo>
                    <a:pt x="852" y="696"/>
                  </a:lnTo>
                  <a:lnTo>
                    <a:pt x="848" y="686"/>
                  </a:lnTo>
                  <a:lnTo>
                    <a:pt x="840" y="678"/>
                  </a:lnTo>
                  <a:lnTo>
                    <a:pt x="784" y="620"/>
                  </a:lnTo>
                  <a:close/>
                  <a:moveTo>
                    <a:pt x="452" y="616"/>
                  </a:moveTo>
                  <a:lnTo>
                    <a:pt x="452" y="616"/>
                  </a:lnTo>
                  <a:lnTo>
                    <a:pt x="438" y="616"/>
                  </a:lnTo>
                  <a:lnTo>
                    <a:pt x="426" y="614"/>
                  </a:lnTo>
                  <a:lnTo>
                    <a:pt x="416" y="610"/>
                  </a:lnTo>
                  <a:lnTo>
                    <a:pt x="404" y="606"/>
                  </a:lnTo>
                  <a:lnTo>
                    <a:pt x="384" y="596"/>
                  </a:lnTo>
                  <a:lnTo>
                    <a:pt x="366" y="580"/>
                  </a:lnTo>
                  <a:lnTo>
                    <a:pt x="350" y="562"/>
                  </a:lnTo>
                  <a:lnTo>
                    <a:pt x="340" y="542"/>
                  </a:lnTo>
                  <a:lnTo>
                    <a:pt x="336" y="530"/>
                  </a:lnTo>
                  <a:lnTo>
                    <a:pt x="332" y="520"/>
                  </a:lnTo>
                  <a:lnTo>
                    <a:pt x="330" y="508"/>
                  </a:lnTo>
                  <a:lnTo>
                    <a:pt x="330" y="494"/>
                  </a:lnTo>
                  <a:lnTo>
                    <a:pt x="330" y="494"/>
                  </a:lnTo>
                  <a:lnTo>
                    <a:pt x="330" y="482"/>
                  </a:lnTo>
                  <a:lnTo>
                    <a:pt x="332" y="470"/>
                  </a:lnTo>
                  <a:lnTo>
                    <a:pt x="336" y="458"/>
                  </a:lnTo>
                  <a:lnTo>
                    <a:pt x="340" y="448"/>
                  </a:lnTo>
                  <a:lnTo>
                    <a:pt x="350" y="426"/>
                  </a:lnTo>
                  <a:lnTo>
                    <a:pt x="366" y="408"/>
                  </a:lnTo>
                  <a:lnTo>
                    <a:pt x="384" y="394"/>
                  </a:lnTo>
                  <a:lnTo>
                    <a:pt x="404" y="382"/>
                  </a:lnTo>
                  <a:lnTo>
                    <a:pt x="416" y="378"/>
                  </a:lnTo>
                  <a:lnTo>
                    <a:pt x="426" y="376"/>
                  </a:lnTo>
                  <a:lnTo>
                    <a:pt x="438" y="374"/>
                  </a:lnTo>
                  <a:lnTo>
                    <a:pt x="452" y="372"/>
                  </a:lnTo>
                  <a:lnTo>
                    <a:pt x="452" y="372"/>
                  </a:lnTo>
                  <a:lnTo>
                    <a:pt x="464" y="374"/>
                  </a:lnTo>
                  <a:lnTo>
                    <a:pt x="476" y="376"/>
                  </a:lnTo>
                  <a:lnTo>
                    <a:pt x="488" y="378"/>
                  </a:lnTo>
                  <a:lnTo>
                    <a:pt x="498" y="382"/>
                  </a:lnTo>
                  <a:lnTo>
                    <a:pt x="520" y="394"/>
                  </a:lnTo>
                  <a:lnTo>
                    <a:pt x="538" y="408"/>
                  </a:lnTo>
                  <a:lnTo>
                    <a:pt x="552" y="426"/>
                  </a:lnTo>
                  <a:lnTo>
                    <a:pt x="564" y="448"/>
                  </a:lnTo>
                  <a:lnTo>
                    <a:pt x="568" y="458"/>
                  </a:lnTo>
                  <a:lnTo>
                    <a:pt x="570" y="470"/>
                  </a:lnTo>
                  <a:lnTo>
                    <a:pt x="572" y="482"/>
                  </a:lnTo>
                  <a:lnTo>
                    <a:pt x="574" y="494"/>
                  </a:lnTo>
                  <a:lnTo>
                    <a:pt x="574" y="494"/>
                  </a:lnTo>
                  <a:lnTo>
                    <a:pt x="572" y="508"/>
                  </a:lnTo>
                  <a:lnTo>
                    <a:pt x="570" y="520"/>
                  </a:lnTo>
                  <a:lnTo>
                    <a:pt x="568" y="530"/>
                  </a:lnTo>
                  <a:lnTo>
                    <a:pt x="564" y="542"/>
                  </a:lnTo>
                  <a:lnTo>
                    <a:pt x="552" y="562"/>
                  </a:lnTo>
                  <a:lnTo>
                    <a:pt x="538" y="580"/>
                  </a:lnTo>
                  <a:lnTo>
                    <a:pt x="520" y="596"/>
                  </a:lnTo>
                  <a:lnTo>
                    <a:pt x="498" y="606"/>
                  </a:lnTo>
                  <a:lnTo>
                    <a:pt x="488" y="610"/>
                  </a:lnTo>
                  <a:lnTo>
                    <a:pt x="476" y="614"/>
                  </a:lnTo>
                  <a:lnTo>
                    <a:pt x="464" y="616"/>
                  </a:lnTo>
                  <a:lnTo>
                    <a:pt x="452" y="616"/>
                  </a:lnTo>
                  <a:lnTo>
                    <a:pt x="452" y="616"/>
                  </a:lnTo>
                  <a:close/>
                </a:path>
              </a:pathLst>
            </a:custGeom>
            <a:grp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
        <p:nvSpPr>
          <p:cNvPr id="40" name="Freeform 5"/>
          <p:cNvSpPr>
            <a:spLocks/>
          </p:cNvSpPr>
          <p:nvPr/>
        </p:nvSpPr>
        <p:spPr bwMode="auto">
          <a:xfrm>
            <a:off x="6739438" y="3838307"/>
            <a:ext cx="1126221" cy="72990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nvGrpSpPr>
          <p:cNvPr id="41" name="Group 40"/>
          <p:cNvGrpSpPr/>
          <p:nvPr/>
        </p:nvGrpSpPr>
        <p:grpSpPr bwMode="black">
          <a:xfrm>
            <a:off x="3607715" y="3814419"/>
            <a:ext cx="677908" cy="762799"/>
            <a:chOff x="1752600" y="4267200"/>
            <a:chExt cx="1157286" cy="1302545"/>
          </a:xfrm>
        </p:grpSpPr>
        <p:sp>
          <p:nvSpPr>
            <p:cNvPr id="64"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dirty="0">
                <a:solidFill>
                  <a:srgbClr val="000000"/>
                </a:solidFill>
              </a:endParaRPr>
            </a:p>
          </p:txBody>
        </p:sp>
        <p:sp>
          <p:nvSpPr>
            <p:cNvPr id="65"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dirty="0">
                <a:solidFill>
                  <a:srgbClr val="000000"/>
                </a:solidFill>
              </a:endParaRPr>
            </a:p>
          </p:txBody>
        </p:sp>
        <p:sp>
          <p:nvSpPr>
            <p:cNvPr id="66"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dirty="0">
                <a:solidFill>
                  <a:srgbClr val="000000"/>
                </a:solidFill>
              </a:endParaRPr>
            </a:p>
          </p:txBody>
        </p:sp>
        <p:sp>
          <p:nvSpPr>
            <p:cNvPr id="67"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dirty="0">
                <a:solidFill>
                  <a:srgbClr val="000000"/>
                </a:solidFill>
              </a:endParaRPr>
            </a:p>
          </p:txBody>
        </p:sp>
        <p:sp>
          <p:nvSpPr>
            <p:cNvPr id="68"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dirty="0">
                <a:solidFill>
                  <a:srgbClr val="000000"/>
                </a:solidFill>
              </a:endParaRPr>
            </a:p>
          </p:txBody>
        </p:sp>
        <p:sp>
          <p:nvSpPr>
            <p:cNvPr id="69"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dirty="0">
                <a:solidFill>
                  <a:srgbClr val="000000"/>
                </a:solidFill>
              </a:endParaRPr>
            </a:p>
          </p:txBody>
        </p:sp>
        <p:sp>
          <p:nvSpPr>
            <p:cNvPr id="70"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568" dirty="0">
                <a:solidFill>
                  <a:srgbClr val="000000"/>
                </a:solidFill>
              </a:endParaRPr>
            </a:p>
          </p:txBody>
        </p:sp>
      </p:grpSp>
      <p:sp>
        <p:nvSpPr>
          <p:cNvPr id="2" name="Text Placeholder 1"/>
          <p:cNvSpPr>
            <a:spLocks noGrp="1"/>
          </p:cNvSpPr>
          <p:nvPr>
            <p:ph type="body" sz="quarter" idx="12"/>
          </p:nvPr>
        </p:nvSpPr>
        <p:spPr>
          <a:xfrm>
            <a:off x="269240" y="326082"/>
            <a:ext cx="10757098" cy="1004541"/>
          </a:xfrm>
        </p:spPr>
        <p:txBody>
          <a:bodyPr/>
          <a:lstStyle/>
          <a:p>
            <a:r>
              <a:rPr lang="en-US" dirty="0" smtClean="0"/>
              <a:t>Transform the datacenter</a:t>
            </a:r>
            <a:endParaRPr lang="en-US" dirty="0"/>
          </a:p>
        </p:txBody>
      </p:sp>
      <p:sp>
        <p:nvSpPr>
          <p:cNvPr id="28" name="TextBox 27"/>
          <p:cNvSpPr txBox="1"/>
          <p:nvPr/>
        </p:nvSpPr>
        <p:spPr>
          <a:xfrm>
            <a:off x="317684" y="4956191"/>
            <a:ext cx="8067824" cy="301727"/>
          </a:xfrm>
          <a:prstGeom prst="rect">
            <a:avLst/>
          </a:prstGeom>
          <a:noFill/>
        </p:spPr>
        <p:txBody>
          <a:bodyPr wrap="square" lIns="0" tIns="0" rIns="0" bIns="0" rtlCol="0" anchor="ctr">
            <a:spAutoFit/>
          </a:bodyPr>
          <a:lstStyle/>
          <a:p>
            <a:pPr defTabSz="914367"/>
            <a:r>
              <a:rPr lang="en-US" sz="1961" dirty="0">
                <a:solidFill>
                  <a:srgbClr val="000000"/>
                </a:solidFill>
                <a:latin typeface="Segoe UI Light"/>
              </a:rPr>
              <a:t>Microsoft Azure        Windows Server        Microsoft System Center        </a:t>
            </a:r>
          </a:p>
        </p:txBody>
      </p:sp>
      <p:grpSp>
        <p:nvGrpSpPr>
          <p:cNvPr id="122" name="Group 121"/>
          <p:cNvGrpSpPr/>
          <p:nvPr/>
        </p:nvGrpSpPr>
        <p:grpSpPr>
          <a:xfrm>
            <a:off x="7953979" y="6125150"/>
            <a:ext cx="535329" cy="668422"/>
            <a:chOff x="3487336" y="6247475"/>
            <a:chExt cx="546063" cy="681825"/>
          </a:xfrm>
        </p:grpSpPr>
        <p:sp>
          <p:nvSpPr>
            <p:cNvPr id="127"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29"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30"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31"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32"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33"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nvGrpSpPr>
          <p:cNvPr id="135" name="Group 134"/>
          <p:cNvGrpSpPr/>
          <p:nvPr/>
        </p:nvGrpSpPr>
        <p:grpSpPr>
          <a:xfrm>
            <a:off x="7187153" y="3088173"/>
            <a:ext cx="5004848" cy="3769342"/>
            <a:chOff x="19854863" y="-30078363"/>
            <a:chExt cx="28455937" cy="21431250"/>
          </a:xfrm>
        </p:grpSpPr>
        <p:sp>
          <p:nvSpPr>
            <p:cNvPr id="137" name="Freeform 5"/>
            <p:cNvSpPr>
              <a:spLocks/>
            </p:cNvSpPr>
            <p:nvPr/>
          </p:nvSpPr>
          <p:spPr bwMode="auto">
            <a:xfrm>
              <a:off x="43621325" y="-25380951"/>
              <a:ext cx="3457575" cy="2278063"/>
            </a:xfrm>
            <a:custGeom>
              <a:avLst/>
              <a:gdLst>
                <a:gd name="T0" fmla="*/ 774 w 922"/>
                <a:gd name="T1" fmla="*/ 266 h 607"/>
                <a:gd name="T2" fmla="*/ 774 w 922"/>
                <a:gd name="T3" fmla="*/ 255 h 607"/>
                <a:gd name="T4" fmla="*/ 520 w 922"/>
                <a:gd name="T5" fmla="*/ 0 h 607"/>
                <a:gd name="T6" fmla="*/ 308 w 922"/>
                <a:gd name="T7" fmla="*/ 114 h 607"/>
                <a:gd name="T8" fmla="*/ 239 w 922"/>
                <a:gd name="T9" fmla="*/ 95 h 607"/>
                <a:gd name="T10" fmla="*/ 157 w 922"/>
                <a:gd name="T11" fmla="*/ 120 h 607"/>
                <a:gd name="T12" fmla="*/ 91 w 922"/>
                <a:gd name="T13" fmla="*/ 239 h 607"/>
                <a:gd name="T14" fmla="*/ 0 w 922"/>
                <a:gd name="T15" fmla="*/ 407 h 607"/>
                <a:gd name="T16" fmla="*/ 178 w 922"/>
                <a:gd name="T17" fmla="*/ 607 h 607"/>
                <a:gd name="T18" fmla="*/ 200 w 922"/>
                <a:gd name="T19" fmla="*/ 607 h 607"/>
                <a:gd name="T20" fmla="*/ 220 w 922"/>
                <a:gd name="T21" fmla="*/ 607 h 607"/>
                <a:gd name="T22" fmla="*/ 635 w 922"/>
                <a:gd name="T23" fmla="*/ 607 h 607"/>
                <a:gd name="T24" fmla="*/ 644 w 922"/>
                <a:gd name="T25" fmla="*/ 607 h 607"/>
                <a:gd name="T26" fmla="*/ 654 w 922"/>
                <a:gd name="T27" fmla="*/ 607 h 607"/>
                <a:gd name="T28" fmla="*/ 685 w 922"/>
                <a:gd name="T29" fmla="*/ 607 h 607"/>
                <a:gd name="T30" fmla="*/ 751 w 922"/>
                <a:gd name="T31" fmla="*/ 607 h 607"/>
                <a:gd name="T32" fmla="*/ 922 w 922"/>
                <a:gd name="T33" fmla="*/ 436 h 607"/>
                <a:gd name="T34" fmla="*/ 774 w 922"/>
                <a:gd name="T35" fmla="*/ 266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2" h="607">
                  <a:moveTo>
                    <a:pt x="774" y="266"/>
                  </a:moveTo>
                  <a:cubicBezTo>
                    <a:pt x="774" y="263"/>
                    <a:pt x="774" y="258"/>
                    <a:pt x="774" y="255"/>
                  </a:cubicBezTo>
                  <a:cubicBezTo>
                    <a:pt x="774" y="114"/>
                    <a:pt x="661" y="0"/>
                    <a:pt x="520" y="0"/>
                  </a:cubicBezTo>
                  <a:cubicBezTo>
                    <a:pt x="432" y="0"/>
                    <a:pt x="354" y="46"/>
                    <a:pt x="308" y="114"/>
                  </a:cubicBezTo>
                  <a:cubicBezTo>
                    <a:pt x="288" y="102"/>
                    <a:pt x="264" y="95"/>
                    <a:pt x="239" y="95"/>
                  </a:cubicBezTo>
                  <a:cubicBezTo>
                    <a:pt x="208" y="95"/>
                    <a:pt x="180" y="104"/>
                    <a:pt x="157" y="120"/>
                  </a:cubicBezTo>
                  <a:cubicBezTo>
                    <a:pt x="118" y="146"/>
                    <a:pt x="92" y="190"/>
                    <a:pt x="91" y="239"/>
                  </a:cubicBezTo>
                  <a:cubicBezTo>
                    <a:pt x="37" y="275"/>
                    <a:pt x="0" y="338"/>
                    <a:pt x="0" y="407"/>
                  </a:cubicBezTo>
                  <a:cubicBezTo>
                    <a:pt x="0" y="510"/>
                    <a:pt x="78" y="595"/>
                    <a:pt x="178" y="607"/>
                  </a:cubicBezTo>
                  <a:cubicBezTo>
                    <a:pt x="184" y="607"/>
                    <a:pt x="193" y="607"/>
                    <a:pt x="200" y="607"/>
                  </a:cubicBezTo>
                  <a:cubicBezTo>
                    <a:pt x="207" y="607"/>
                    <a:pt x="213" y="607"/>
                    <a:pt x="220" y="607"/>
                  </a:cubicBezTo>
                  <a:cubicBezTo>
                    <a:pt x="313" y="607"/>
                    <a:pt x="532" y="607"/>
                    <a:pt x="635" y="607"/>
                  </a:cubicBezTo>
                  <a:cubicBezTo>
                    <a:pt x="639" y="607"/>
                    <a:pt x="641" y="607"/>
                    <a:pt x="644" y="607"/>
                  </a:cubicBezTo>
                  <a:cubicBezTo>
                    <a:pt x="654" y="607"/>
                    <a:pt x="654" y="607"/>
                    <a:pt x="654" y="607"/>
                  </a:cubicBezTo>
                  <a:cubicBezTo>
                    <a:pt x="659" y="607"/>
                    <a:pt x="674" y="607"/>
                    <a:pt x="685" y="607"/>
                  </a:cubicBezTo>
                  <a:cubicBezTo>
                    <a:pt x="751" y="607"/>
                    <a:pt x="751" y="607"/>
                    <a:pt x="751" y="607"/>
                  </a:cubicBezTo>
                  <a:cubicBezTo>
                    <a:pt x="846" y="605"/>
                    <a:pt x="922" y="529"/>
                    <a:pt x="922" y="436"/>
                  </a:cubicBezTo>
                  <a:cubicBezTo>
                    <a:pt x="922" y="349"/>
                    <a:pt x="857" y="278"/>
                    <a:pt x="774" y="266"/>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8" name="Freeform 6"/>
            <p:cNvSpPr>
              <a:spLocks/>
            </p:cNvSpPr>
            <p:nvPr/>
          </p:nvSpPr>
          <p:spPr bwMode="auto">
            <a:xfrm>
              <a:off x="32554863" y="-14177963"/>
              <a:ext cx="6534150" cy="5527675"/>
            </a:xfrm>
            <a:custGeom>
              <a:avLst/>
              <a:gdLst>
                <a:gd name="T0" fmla="*/ 1850 w 4116"/>
                <a:gd name="T1" fmla="*/ 586 h 3482"/>
                <a:gd name="T2" fmla="*/ 1850 w 4116"/>
                <a:gd name="T3" fmla="*/ 0 h 3482"/>
                <a:gd name="T4" fmla="*/ 1403 w 4116"/>
                <a:gd name="T5" fmla="*/ 0 h 3482"/>
                <a:gd name="T6" fmla="*/ 1403 w 4116"/>
                <a:gd name="T7" fmla="*/ 586 h 3482"/>
                <a:gd name="T8" fmla="*/ 1250 w 4116"/>
                <a:gd name="T9" fmla="*/ 586 h 3482"/>
                <a:gd name="T10" fmla="*/ 1250 w 4116"/>
                <a:gd name="T11" fmla="*/ 0 h 3482"/>
                <a:gd name="T12" fmla="*/ 801 w 4116"/>
                <a:gd name="T13" fmla="*/ 0 h 3482"/>
                <a:gd name="T14" fmla="*/ 801 w 4116"/>
                <a:gd name="T15" fmla="*/ 586 h 3482"/>
                <a:gd name="T16" fmla="*/ 0 w 4116"/>
                <a:gd name="T17" fmla="*/ 586 h 3482"/>
                <a:gd name="T18" fmla="*/ 0 w 4116"/>
                <a:gd name="T19" fmla="*/ 731 h 3482"/>
                <a:gd name="T20" fmla="*/ 184 w 4116"/>
                <a:gd name="T21" fmla="*/ 731 h 3482"/>
                <a:gd name="T22" fmla="*/ 184 w 4116"/>
                <a:gd name="T23" fmla="*/ 3482 h 3482"/>
                <a:gd name="T24" fmla="*/ 3932 w 4116"/>
                <a:gd name="T25" fmla="*/ 3482 h 3482"/>
                <a:gd name="T26" fmla="*/ 3932 w 4116"/>
                <a:gd name="T27" fmla="*/ 731 h 3482"/>
                <a:gd name="T28" fmla="*/ 4116 w 4116"/>
                <a:gd name="T29" fmla="*/ 731 h 3482"/>
                <a:gd name="T30" fmla="*/ 4116 w 4116"/>
                <a:gd name="T31" fmla="*/ 586 h 3482"/>
                <a:gd name="T32" fmla="*/ 1850 w 4116"/>
                <a:gd name="T33" fmla="*/ 586 h 3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16" h="3482">
                  <a:moveTo>
                    <a:pt x="1850" y="586"/>
                  </a:moveTo>
                  <a:lnTo>
                    <a:pt x="1850" y="0"/>
                  </a:lnTo>
                  <a:lnTo>
                    <a:pt x="1403" y="0"/>
                  </a:lnTo>
                  <a:lnTo>
                    <a:pt x="1403" y="586"/>
                  </a:lnTo>
                  <a:lnTo>
                    <a:pt x="1250" y="586"/>
                  </a:lnTo>
                  <a:lnTo>
                    <a:pt x="1250" y="0"/>
                  </a:lnTo>
                  <a:lnTo>
                    <a:pt x="801" y="0"/>
                  </a:lnTo>
                  <a:lnTo>
                    <a:pt x="801" y="586"/>
                  </a:lnTo>
                  <a:lnTo>
                    <a:pt x="0" y="586"/>
                  </a:lnTo>
                  <a:lnTo>
                    <a:pt x="0" y="731"/>
                  </a:lnTo>
                  <a:lnTo>
                    <a:pt x="184" y="731"/>
                  </a:lnTo>
                  <a:lnTo>
                    <a:pt x="184" y="3482"/>
                  </a:lnTo>
                  <a:lnTo>
                    <a:pt x="3932" y="3482"/>
                  </a:lnTo>
                  <a:lnTo>
                    <a:pt x="3932" y="731"/>
                  </a:lnTo>
                  <a:lnTo>
                    <a:pt x="4116" y="731"/>
                  </a:lnTo>
                  <a:lnTo>
                    <a:pt x="4116" y="586"/>
                  </a:lnTo>
                  <a:lnTo>
                    <a:pt x="1850" y="586"/>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9" name="Freeform 7"/>
            <p:cNvSpPr>
              <a:spLocks/>
            </p:cNvSpPr>
            <p:nvPr/>
          </p:nvSpPr>
          <p:spPr bwMode="auto">
            <a:xfrm>
              <a:off x="36001325" y="-14177963"/>
              <a:ext cx="6538913" cy="5527675"/>
            </a:xfrm>
            <a:custGeom>
              <a:avLst/>
              <a:gdLst>
                <a:gd name="T0" fmla="*/ 1853 w 4119"/>
                <a:gd name="T1" fmla="*/ 586 h 3482"/>
                <a:gd name="T2" fmla="*/ 1853 w 4119"/>
                <a:gd name="T3" fmla="*/ 0 h 3482"/>
                <a:gd name="T4" fmla="*/ 1404 w 4119"/>
                <a:gd name="T5" fmla="*/ 0 h 3482"/>
                <a:gd name="T6" fmla="*/ 1404 w 4119"/>
                <a:gd name="T7" fmla="*/ 586 h 3482"/>
                <a:gd name="T8" fmla="*/ 1250 w 4119"/>
                <a:gd name="T9" fmla="*/ 586 h 3482"/>
                <a:gd name="T10" fmla="*/ 1250 w 4119"/>
                <a:gd name="T11" fmla="*/ 0 h 3482"/>
                <a:gd name="T12" fmla="*/ 801 w 4119"/>
                <a:gd name="T13" fmla="*/ 0 h 3482"/>
                <a:gd name="T14" fmla="*/ 801 w 4119"/>
                <a:gd name="T15" fmla="*/ 586 h 3482"/>
                <a:gd name="T16" fmla="*/ 0 w 4119"/>
                <a:gd name="T17" fmla="*/ 586 h 3482"/>
                <a:gd name="T18" fmla="*/ 0 w 4119"/>
                <a:gd name="T19" fmla="*/ 731 h 3482"/>
                <a:gd name="T20" fmla="*/ 185 w 4119"/>
                <a:gd name="T21" fmla="*/ 731 h 3482"/>
                <a:gd name="T22" fmla="*/ 185 w 4119"/>
                <a:gd name="T23" fmla="*/ 3482 h 3482"/>
                <a:gd name="T24" fmla="*/ 3932 w 4119"/>
                <a:gd name="T25" fmla="*/ 3482 h 3482"/>
                <a:gd name="T26" fmla="*/ 3932 w 4119"/>
                <a:gd name="T27" fmla="*/ 731 h 3482"/>
                <a:gd name="T28" fmla="*/ 4119 w 4119"/>
                <a:gd name="T29" fmla="*/ 731 h 3482"/>
                <a:gd name="T30" fmla="*/ 4119 w 4119"/>
                <a:gd name="T31" fmla="*/ 586 h 3482"/>
                <a:gd name="T32" fmla="*/ 1853 w 4119"/>
                <a:gd name="T33" fmla="*/ 586 h 3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19" h="3482">
                  <a:moveTo>
                    <a:pt x="1853" y="586"/>
                  </a:moveTo>
                  <a:lnTo>
                    <a:pt x="1853" y="0"/>
                  </a:lnTo>
                  <a:lnTo>
                    <a:pt x="1404" y="0"/>
                  </a:lnTo>
                  <a:lnTo>
                    <a:pt x="1404" y="586"/>
                  </a:lnTo>
                  <a:lnTo>
                    <a:pt x="1250" y="586"/>
                  </a:lnTo>
                  <a:lnTo>
                    <a:pt x="1250" y="0"/>
                  </a:lnTo>
                  <a:lnTo>
                    <a:pt x="801" y="0"/>
                  </a:lnTo>
                  <a:lnTo>
                    <a:pt x="801" y="586"/>
                  </a:lnTo>
                  <a:lnTo>
                    <a:pt x="0" y="586"/>
                  </a:lnTo>
                  <a:lnTo>
                    <a:pt x="0" y="731"/>
                  </a:lnTo>
                  <a:lnTo>
                    <a:pt x="185" y="731"/>
                  </a:lnTo>
                  <a:lnTo>
                    <a:pt x="185" y="3482"/>
                  </a:lnTo>
                  <a:lnTo>
                    <a:pt x="3932" y="3482"/>
                  </a:lnTo>
                  <a:lnTo>
                    <a:pt x="3932" y="731"/>
                  </a:lnTo>
                  <a:lnTo>
                    <a:pt x="4119" y="731"/>
                  </a:lnTo>
                  <a:lnTo>
                    <a:pt x="4119" y="586"/>
                  </a:lnTo>
                  <a:lnTo>
                    <a:pt x="1853" y="586"/>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0" name="Rectangle 9"/>
            <p:cNvSpPr>
              <a:spLocks noChangeArrowheads="1"/>
            </p:cNvSpPr>
            <p:nvPr/>
          </p:nvSpPr>
          <p:spPr bwMode="auto">
            <a:xfrm>
              <a:off x="28371800" y="-16117888"/>
              <a:ext cx="5949950" cy="7470775"/>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1" name="Rectangle 10"/>
            <p:cNvSpPr>
              <a:spLocks noChangeArrowheads="1"/>
            </p:cNvSpPr>
            <p:nvPr/>
          </p:nvSpPr>
          <p:spPr bwMode="auto">
            <a:xfrm>
              <a:off x="28078113" y="-16346488"/>
              <a:ext cx="6535738" cy="22860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2" name="Rectangle 11"/>
            <p:cNvSpPr>
              <a:spLocks noChangeArrowheads="1"/>
            </p:cNvSpPr>
            <p:nvPr/>
          </p:nvSpPr>
          <p:spPr bwMode="auto">
            <a:xfrm>
              <a:off x="28930600" y="-1544478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3" name="Rectangle 12"/>
            <p:cNvSpPr>
              <a:spLocks noChangeArrowheads="1"/>
            </p:cNvSpPr>
            <p:nvPr/>
          </p:nvSpPr>
          <p:spPr bwMode="auto">
            <a:xfrm>
              <a:off x="28930600" y="-15444788"/>
              <a:ext cx="776288" cy="38893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4" name="Rectangle 13"/>
            <p:cNvSpPr>
              <a:spLocks noChangeArrowheads="1"/>
            </p:cNvSpPr>
            <p:nvPr/>
          </p:nvSpPr>
          <p:spPr bwMode="auto">
            <a:xfrm>
              <a:off x="30273625" y="-15444788"/>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5" name="Rectangle 14"/>
            <p:cNvSpPr>
              <a:spLocks noChangeArrowheads="1"/>
            </p:cNvSpPr>
            <p:nvPr/>
          </p:nvSpPr>
          <p:spPr bwMode="auto">
            <a:xfrm>
              <a:off x="31616650" y="-15444788"/>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6" name="Rectangle 15"/>
            <p:cNvSpPr>
              <a:spLocks noChangeArrowheads="1"/>
            </p:cNvSpPr>
            <p:nvPr/>
          </p:nvSpPr>
          <p:spPr bwMode="auto">
            <a:xfrm>
              <a:off x="30273625" y="-10158413"/>
              <a:ext cx="776288" cy="151130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7" name="Rectangle 16"/>
            <p:cNvSpPr>
              <a:spLocks noChangeArrowheads="1"/>
            </p:cNvSpPr>
            <p:nvPr/>
          </p:nvSpPr>
          <p:spPr bwMode="auto">
            <a:xfrm>
              <a:off x="31616650" y="-10158413"/>
              <a:ext cx="776288" cy="151130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8" name="Rectangle 17"/>
            <p:cNvSpPr>
              <a:spLocks noChangeArrowheads="1"/>
            </p:cNvSpPr>
            <p:nvPr/>
          </p:nvSpPr>
          <p:spPr bwMode="auto">
            <a:xfrm>
              <a:off x="32959675" y="-15444788"/>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9" name="Rectangle 18"/>
            <p:cNvSpPr>
              <a:spLocks noChangeArrowheads="1"/>
            </p:cNvSpPr>
            <p:nvPr/>
          </p:nvSpPr>
          <p:spPr bwMode="auto">
            <a:xfrm>
              <a:off x="28930600" y="-1410176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0" name="Rectangle 19"/>
            <p:cNvSpPr>
              <a:spLocks noChangeArrowheads="1"/>
            </p:cNvSpPr>
            <p:nvPr/>
          </p:nvSpPr>
          <p:spPr bwMode="auto">
            <a:xfrm>
              <a:off x="30273625" y="-14101763"/>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1" name="Rectangle 20"/>
            <p:cNvSpPr>
              <a:spLocks noChangeArrowheads="1"/>
            </p:cNvSpPr>
            <p:nvPr/>
          </p:nvSpPr>
          <p:spPr bwMode="auto">
            <a:xfrm>
              <a:off x="31616650" y="-14101763"/>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2" name="Rectangle 21"/>
            <p:cNvSpPr>
              <a:spLocks noChangeArrowheads="1"/>
            </p:cNvSpPr>
            <p:nvPr/>
          </p:nvSpPr>
          <p:spPr bwMode="auto">
            <a:xfrm>
              <a:off x="32959675" y="-14101763"/>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3" name="Rectangle 22"/>
            <p:cNvSpPr>
              <a:spLocks noChangeArrowheads="1"/>
            </p:cNvSpPr>
            <p:nvPr/>
          </p:nvSpPr>
          <p:spPr bwMode="auto">
            <a:xfrm>
              <a:off x="28930600" y="-1275873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4" name="Rectangle 23"/>
            <p:cNvSpPr>
              <a:spLocks noChangeArrowheads="1"/>
            </p:cNvSpPr>
            <p:nvPr/>
          </p:nvSpPr>
          <p:spPr bwMode="auto">
            <a:xfrm>
              <a:off x="30273625" y="-12758738"/>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5" name="Rectangle 24"/>
            <p:cNvSpPr>
              <a:spLocks noChangeArrowheads="1"/>
            </p:cNvSpPr>
            <p:nvPr/>
          </p:nvSpPr>
          <p:spPr bwMode="auto">
            <a:xfrm>
              <a:off x="31616650" y="-12758738"/>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6" name="Rectangle 25"/>
            <p:cNvSpPr>
              <a:spLocks noChangeArrowheads="1"/>
            </p:cNvSpPr>
            <p:nvPr/>
          </p:nvSpPr>
          <p:spPr bwMode="auto">
            <a:xfrm>
              <a:off x="32959675" y="-1275873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7" name="Rectangle 26"/>
            <p:cNvSpPr>
              <a:spLocks noChangeArrowheads="1"/>
            </p:cNvSpPr>
            <p:nvPr/>
          </p:nvSpPr>
          <p:spPr bwMode="auto">
            <a:xfrm>
              <a:off x="28930600" y="-11415713"/>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8" name="Rectangle 27"/>
            <p:cNvSpPr>
              <a:spLocks noChangeArrowheads="1"/>
            </p:cNvSpPr>
            <p:nvPr/>
          </p:nvSpPr>
          <p:spPr bwMode="auto">
            <a:xfrm>
              <a:off x="30273625" y="-1141571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9" name="Rectangle 28"/>
            <p:cNvSpPr>
              <a:spLocks noChangeArrowheads="1"/>
            </p:cNvSpPr>
            <p:nvPr/>
          </p:nvSpPr>
          <p:spPr bwMode="auto">
            <a:xfrm>
              <a:off x="31616650" y="-1141571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0" name="Rectangle 29"/>
            <p:cNvSpPr>
              <a:spLocks noChangeArrowheads="1"/>
            </p:cNvSpPr>
            <p:nvPr/>
          </p:nvSpPr>
          <p:spPr bwMode="auto">
            <a:xfrm>
              <a:off x="32959675" y="-11415713"/>
              <a:ext cx="776288" cy="77628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1" name="Rectangle 30"/>
            <p:cNvSpPr>
              <a:spLocks noChangeArrowheads="1"/>
            </p:cNvSpPr>
            <p:nvPr/>
          </p:nvSpPr>
          <p:spPr bwMode="auto">
            <a:xfrm>
              <a:off x="28930600" y="-12758738"/>
              <a:ext cx="776288" cy="39052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2" name="Rectangle 31"/>
            <p:cNvSpPr>
              <a:spLocks noChangeArrowheads="1"/>
            </p:cNvSpPr>
            <p:nvPr/>
          </p:nvSpPr>
          <p:spPr bwMode="auto">
            <a:xfrm>
              <a:off x="32959675" y="-12758738"/>
              <a:ext cx="776288" cy="390525"/>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3" name="Rectangle 32"/>
            <p:cNvSpPr>
              <a:spLocks noChangeArrowheads="1"/>
            </p:cNvSpPr>
            <p:nvPr/>
          </p:nvSpPr>
          <p:spPr bwMode="auto">
            <a:xfrm>
              <a:off x="32959675" y="-14101763"/>
              <a:ext cx="776288" cy="388938"/>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4" name="Rectangle 33"/>
            <p:cNvSpPr>
              <a:spLocks noChangeArrowheads="1"/>
            </p:cNvSpPr>
            <p:nvPr/>
          </p:nvSpPr>
          <p:spPr bwMode="auto">
            <a:xfrm>
              <a:off x="19854863" y="-9032876"/>
              <a:ext cx="8516938" cy="385763"/>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5" name="Rectangle 40"/>
            <p:cNvSpPr>
              <a:spLocks noChangeArrowheads="1"/>
            </p:cNvSpPr>
            <p:nvPr/>
          </p:nvSpPr>
          <p:spPr bwMode="auto">
            <a:xfrm>
              <a:off x="31049913" y="-17279938"/>
              <a:ext cx="2298700" cy="93345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6" name="Rectangle 41"/>
            <p:cNvSpPr>
              <a:spLocks noChangeArrowheads="1"/>
            </p:cNvSpPr>
            <p:nvPr/>
          </p:nvSpPr>
          <p:spPr bwMode="auto">
            <a:xfrm>
              <a:off x="42903775" y="-13388976"/>
              <a:ext cx="5407025" cy="4741863"/>
            </a:xfrm>
            <a:prstGeom prst="rect">
              <a:avLst/>
            </a:prstGeom>
            <a:solidFill>
              <a:srgbClr val="009E4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7" name="Rectangle 42"/>
            <p:cNvSpPr>
              <a:spLocks noChangeArrowheads="1"/>
            </p:cNvSpPr>
            <p:nvPr/>
          </p:nvSpPr>
          <p:spPr bwMode="auto">
            <a:xfrm>
              <a:off x="42611675" y="-13614401"/>
              <a:ext cx="5699125" cy="22542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8" name="Rectangle 43"/>
            <p:cNvSpPr>
              <a:spLocks noChangeArrowheads="1"/>
            </p:cNvSpPr>
            <p:nvPr/>
          </p:nvSpPr>
          <p:spPr bwMode="auto">
            <a:xfrm>
              <a:off x="44805600" y="-10158413"/>
              <a:ext cx="777875" cy="1511300"/>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9" name="Rectangle 44"/>
            <p:cNvSpPr>
              <a:spLocks noChangeArrowheads="1"/>
            </p:cNvSpPr>
            <p:nvPr/>
          </p:nvSpPr>
          <p:spPr bwMode="auto">
            <a:xfrm>
              <a:off x="46148625" y="-10158413"/>
              <a:ext cx="777875" cy="1511300"/>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0" name="Rectangle 45"/>
            <p:cNvSpPr>
              <a:spLocks noChangeArrowheads="1"/>
            </p:cNvSpPr>
            <p:nvPr/>
          </p:nvSpPr>
          <p:spPr bwMode="auto">
            <a:xfrm>
              <a:off x="43462575" y="-12758738"/>
              <a:ext cx="777875"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1" name="Rectangle 46"/>
            <p:cNvSpPr>
              <a:spLocks noChangeArrowheads="1"/>
            </p:cNvSpPr>
            <p:nvPr/>
          </p:nvSpPr>
          <p:spPr bwMode="auto">
            <a:xfrm>
              <a:off x="44805600" y="-12758738"/>
              <a:ext cx="777875"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2" name="Rectangle 47"/>
            <p:cNvSpPr>
              <a:spLocks noChangeArrowheads="1"/>
            </p:cNvSpPr>
            <p:nvPr/>
          </p:nvSpPr>
          <p:spPr bwMode="auto">
            <a:xfrm>
              <a:off x="46148625" y="-12758738"/>
              <a:ext cx="777875" cy="7762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3" name="Rectangle 48"/>
            <p:cNvSpPr>
              <a:spLocks noChangeArrowheads="1"/>
            </p:cNvSpPr>
            <p:nvPr/>
          </p:nvSpPr>
          <p:spPr bwMode="auto">
            <a:xfrm>
              <a:off x="47491650" y="-12758738"/>
              <a:ext cx="777875"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4" name="Rectangle 49"/>
            <p:cNvSpPr>
              <a:spLocks noChangeArrowheads="1"/>
            </p:cNvSpPr>
            <p:nvPr/>
          </p:nvSpPr>
          <p:spPr bwMode="auto">
            <a:xfrm>
              <a:off x="43462575" y="-11415713"/>
              <a:ext cx="777875" cy="7762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5" name="Rectangle 50"/>
            <p:cNvSpPr>
              <a:spLocks noChangeArrowheads="1"/>
            </p:cNvSpPr>
            <p:nvPr/>
          </p:nvSpPr>
          <p:spPr bwMode="auto">
            <a:xfrm>
              <a:off x="44805600" y="-11415713"/>
              <a:ext cx="777875"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6" name="Rectangle 51"/>
            <p:cNvSpPr>
              <a:spLocks noChangeArrowheads="1"/>
            </p:cNvSpPr>
            <p:nvPr/>
          </p:nvSpPr>
          <p:spPr bwMode="auto">
            <a:xfrm>
              <a:off x="46148625" y="-11415713"/>
              <a:ext cx="777875"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7" name="Rectangle 52"/>
            <p:cNvSpPr>
              <a:spLocks noChangeArrowheads="1"/>
            </p:cNvSpPr>
            <p:nvPr/>
          </p:nvSpPr>
          <p:spPr bwMode="auto">
            <a:xfrm>
              <a:off x="47491650" y="-11415713"/>
              <a:ext cx="777875" cy="776288"/>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8" name="Rectangle 53"/>
            <p:cNvSpPr>
              <a:spLocks noChangeArrowheads="1"/>
            </p:cNvSpPr>
            <p:nvPr/>
          </p:nvSpPr>
          <p:spPr bwMode="auto">
            <a:xfrm>
              <a:off x="43462575" y="-12758738"/>
              <a:ext cx="777875" cy="39052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9" name="Rectangle 54"/>
            <p:cNvSpPr>
              <a:spLocks noChangeArrowheads="1"/>
            </p:cNvSpPr>
            <p:nvPr/>
          </p:nvSpPr>
          <p:spPr bwMode="auto">
            <a:xfrm>
              <a:off x="47491650" y="-12758738"/>
              <a:ext cx="777875" cy="390525"/>
            </a:xfrm>
            <a:prstGeom prst="rect">
              <a:avLst/>
            </a:prstGeom>
            <a:solidFill>
              <a:srgbClr val="0072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0" name="Rectangle 55"/>
            <p:cNvSpPr>
              <a:spLocks noChangeArrowheads="1"/>
            </p:cNvSpPr>
            <p:nvPr/>
          </p:nvSpPr>
          <p:spPr bwMode="auto">
            <a:xfrm>
              <a:off x="45583475" y="-14549438"/>
              <a:ext cx="2295525" cy="93503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1" name="Rectangle 56"/>
            <p:cNvSpPr>
              <a:spLocks noChangeArrowheads="1"/>
            </p:cNvSpPr>
            <p:nvPr/>
          </p:nvSpPr>
          <p:spPr bwMode="auto">
            <a:xfrm>
              <a:off x="35637788" y="-18784888"/>
              <a:ext cx="5949950" cy="10137775"/>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2" name="Rectangle 57"/>
            <p:cNvSpPr>
              <a:spLocks noChangeArrowheads="1"/>
            </p:cNvSpPr>
            <p:nvPr/>
          </p:nvSpPr>
          <p:spPr bwMode="auto">
            <a:xfrm>
              <a:off x="35345688" y="-19013488"/>
              <a:ext cx="6534150" cy="2286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3" name="Rectangle 58"/>
            <p:cNvSpPr>
              <a:spLocks noChangeArrowheads="1"/>
            </p:cNvSpPr>
            <p:nvPr/>
          </p:nvSpPr>
          <p:spPr bwMode="auto">
            <a:xfrm>
              <a:off x="36196588" y="-1544478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4" name="Rectangle 59"/>
            <p:cNvSpPr>
              <a:spLocks noChangeArrowheads="1"/>
            </p:cNvSpPr>
            <p:nvPr/>
          </p:nvSpPr>
          <p:spPr bwMode="auto">
            <a:xfrm>
              <a:off x="36196588" y="-15444788"/>
              <a:ext cx="776288" cy="38893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5" name="Rectangle 60"/>
            <p:cNvSpPr>
              <a:spLocks noChangeArrowheads="1"/>
            </p:cNvSpPr>
            <p:nvPr/>
          </p:nvSpPr>
          <p:spPr bwMode="auto">
            <a:xfrm>
              <a:off x="37539613" y="-15444788"/>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6" name="Rectangle 61"/>
            <p:cNvSpPr>
              <a:spLocks noChangeArrowheads="1"/>
            </p:cNvSpPr>
            <p:nvPr/>
          </p:nvSpPr>
          <p:spPr bwMode="auto">
            <a:xfrm>
              <a:off x="38882638" y="-15444788"/>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7" name="Rectangle 62"/>
            <p:cNvSpPr>
              <a:spLocks noChangeArrowheads="1"/>
            </p:cNvSpPr>
            <p:nvPr/>
          </p:nvSpPr>
          <p:spPr bwMode="auto">
            <a:xfrm>
              <a:off x="37539613" y="-10158413"/>
              <a:ext cx="776288" cy="15113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8" name="Rectangle 63"/>
            <p:cNvSpPr>
              <a:spLocks noChangeArrowheads="1"/>
            </p:cNvSpPr>
            <p:nvPr/>
          </p:nvSpPr>
          <p:spPr bwMode="auto">
            <a:xfrm>
              <a:off x="38882638" y="-10158413"/>
              <a:ext cx="776288" cy="151130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9" name="Rectangle 64"/>
            <p:cNvSpPr>
              <a:spLocks noChangeArrowheads="1"/>
            </p:cNvSpPr>
            <p:nvPr/>
          </p:nvSpPr>
          <p:spPr bwMode="auto">
            <a:xfrm>
              <a:off x="40225663" y="-15444788"/>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0" name="Rectangle 65"/>
            <p:cNvSpPr>
              <a:spLocks noChangeArrowheads="1"/>
            </p:cNvSpPr>
            <p:nvPr/>
          </p:nvSpPr>
          <p:spPr bwMode="auto">
            <a:xfrm>
              <a:off x="36196588" y="-1410176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1" name="Rectangle 66"/>
            <p:cNvSpPr>
              <a:spLocks noChangeArrowheads="1"/>
            </p:cNvSpPr>
            <p:nvPr/>
          </p:nvSpPr>
          <p:spPr bwMode="auto">
            <a:xfrm>
              <a:off x="37539613" y="-1410176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2" name="Rectangle 67"/>
            <p:cNvSpPr>
              <a:spLocks noChangeArrowheads="1"/>
            </p:cNvSpPr>
            <p:nvPr/>
          </p:nvSpPr>
          <p:spPr bwMode="auto">
            <a:xfrm>
              <a:off x="38882638" y="-1410176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3" name="Rectangle 68"/>
            <p:cNvSpPr>
              <a:spLocks noChangeArrowheads="1"/>
            </p:cNvSpPr>
            <p:nvPr/>
          </p:nvSpPr>
          <p:spPr bwMode="auto">
            <a:xfrm>
              <a:off x="40225663" y="-14101763"/>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4" name="Rectangle 69"/>
            <p:cNvSpPr>
              <a:spLocks noChangeArrowheads="1"/>
            </p:cNvSpPr>
            <p:nvPr/>
          </p:nvSpPr>
          <p:spPr bwMode="auto">
            <a:xfrm>
              <a:off x="36196588" y="-1275873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5" name="Rectangle 70"/>
            <p:cNvSpPr>
              <a:spLocks noChangeArrowheads="1"/>
            </p:cNvSpPr>
            <p:nvPr/>
          </p:nvSpPr>
          <p:spPr bwMode="auto">
            <a:xfrm>
              <a:off x="37539613" y="-12758738"/>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6" name="Rectangle 71"/>
            <p:cNvSpPr>
              <a:spLocks noChangeArrowheads="1"/>
            </p:cNvSpPr>
            <p:nvPr/>
          </p:nvSpPr>
          <p:spPr bwMode="auto">
            <a:xfrm>
              <a:off x="38882638" y="-12758738"/>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7" name="Rectangle 72"/>
            <p:cNvSpPr>
              <a:spLocks noChangeArrowheads="1"/>
            </p:cNvSpPr>
            <p:nvPr/>
          </p:nvSpPr>
          <p:spPr bwMode="auto">
            <a:xfrm>
              <a:off x="40225663" y="-12758738"/>
              <a:ext cx="776288" cy="77628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8" name="Rectangle 73"/>
            <p:cNvSpPr>
              <a:spLocks noChangeArrowheads="1"/>
            </p:cNvSpPr>
            <p:nvPr/>
          </p:nvSpPr>
          <p:spPr bwMode="auto">
            <a:xfrm>
              <a:off x="36196588" y="-1141571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9" name="Rectangle 74"/>
            <p:cNvSpPr>
              <a:spLocks noChangeArrowheads="1"/>
            </p:cNvSpPr>
            <p:nvPr/>
          </p:nvSpPr>
          <p:spPr bwMode="auto">
            <a:xfrm>
              <a:off x="37539613" y="-1141571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0" name="Rectangle 75"/>
            <p:cNvSpPr>
              <a:spLocks noChangeArrowheads="1"/>
            </p:cNvSpPr>
            <p:nvPr/>
          </p:nvSpPr>
          <p:spPr bwMode="auto">
            <a:xfrm>
              <a:off x="38882638" y="-11415713"/>
              <a:ext cx="776288" cy="77628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1" name="Rectangle 76"/>
            <p:cNvSpPr>
              <a:spLocks noChangeArrowheads="1"/>
            </p:cNvSpPr>
            <p:nvPr/>
          </p:nvSpPr>
          <p:spPr bwMode="auto">
            <a:xfrm>
              <a:off x="40225663" y="-11415713"/>
              <a:ext cx="776288" cy="77628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2" name="Rectangle 77"/>
            <p:cNvSpPr>
              <a:spLocks noChangeArrowheads="1"/>
            </p:cNvSpPr>
            <p:nvPr/>
          </p:nvSpPr>
          <p:spPr bwMode="auto">
            <a:xfrm>
              <a:off x="36196588" y="-12758738"/>
              <a:ext cx="776288" cy="3905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3" name="Rectangle 78"/>
            <p:cNvSpPr>
              <a:spLocks noChangeArrowheads="1"/>
            </p:cNvSpPr>
            <p:nvPr/>
          </p:nvSpPr>
          <p:spPr bwMode="auto">
            <a:xfrm>
              <a:off x="40225663" y="-12758738"/>
              <a:ext cx="776288" cy="3905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4" name="Rectangle 79"/>
            <p:cNvSpPr>
              <a:spLocks noChangeArrowheads="1"/>
            </p:cNvSpPr>
            <p:nvPr/>
          </p:nvSpPr>
          <p:spPr bwMode="auto">
            <a:xfrm>
              <a:off x="40225663" y="-14101763"/>
              <a:ext cx="776288" cy="38893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5" name="Rectangle 80"/>
            <p:cNvSpPr>
              <a:spLocks noChangeArrowheads="1"/>
            </p:cNvSpPr>
            <p:nvPr/>
          </p:nvSpPr>
          <p:spPr bwMode="auto">
            <a:xfrm>
              <a:off x="36196588" y="-18132426"/>
              <a:ext cx="776288" cy="77787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6" name="Rectangle 81"/>
            <p:cNvSpPr>
              <a:spLocks noChangeArrowheads="1"/>
            </p:cNvSpPr>
            <p:nvPr/>
          </p:nvSpPr>
          <p:spPr bwMode="auto">
            <a:xfrm>
              <a:off x="36196588" y="-18132426"/>
              <a:ext cx="776288" cy="3905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7" name="Rectangle 82"/>
            <p:cNvSpPr>
              <a:spLocks noChangeArrowheads="1"/>
            </p:cNvSpPr>
            <p:nvPr/>
          </p:nvSpPr>
          <p:spPr bwMode="auto">
            <a:xfrm>
              <a:off x="37539613" y="-18132426"/>
              <a:ext cx="776288" cy="777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8" name="Rectangle 83"/>
            <p:cNvSpPr>
              <a:spLocks noChangeArrowheads="1"/>
            </p:cNvSpPr>
            <p:nvPr/>
          </p:nvSpPr>
          <p:spPr bwMode="auto">
            <a:xfrm>
              <a:off x="38882638" y="-18132426"/>
              <a:ext cx="776288" cy="77787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9" name="Rectangle 84"/>
            <p:cNvSpPr>
              <a:spLocks noChangeArrowheads="1"/>
            </p:cNvSpPr>
            <p:nvPr/>
          </p:nvSpPr>
          <p:spPr bwMode="auto">
            <a:xfrm>
              <a:off x="40225663" y="-18132426"/>
              <a:ext cx="776288" cy="777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0" name="Rectangle 85"/>
            <p:cNvSpPr>
              <a:spLocks noChangeArrowheads="1"/>
            </p:cNvSpPr>
            <p:nvPr/>
          </p:nvSpPr>
          <p:spPr bwMode="auto">
            <a:xfrm>
              <a:off x="36196588" y="-16789401"/>
              <a:ext cx="776288" cy="777875"/>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1" name="Rectangle 86"/>
            <p:cNvSpPr>
              <a:spLocks noChangeArrowheads="1"/>
            </p:cNvSpPr>
            <p:nvPr/>
          </p:nvSpPr>
          <p:spPr bwMode="auto">
            <a:xfrm>
              <a:off x="37539613" y="-16789401"/>
              <a:ext cx="776288" cy="777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2" name="Rectangle 87"/>
            <p:cNvSpPr>
              <a:spLocks noChangeArrowheads="1"/>
            </p:cNvSpPr>
            <p:nvPr/>
          </p:nvSpPr>
          <p:spPr bwMode="auto">
            <a:xfrm>
              <a:off x="38882638" y="-16789401"/>
              <a:ext cx="776288" cy="77787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3" name="Rectangle 88"/>
            <p:cNvSpPr>
              <a:spLocks noChangeArrowheads="1"/>
            </p:cNvSpPr>
            <p:nvPr/>
          </p:nvSpPr>
          <p:spPr bwMode="auto">
            <a:xfrm>
              <a:off x="40225663" y="-16789401"/>
              <a:ext cx="776288" cy="777875"/>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4" name="Rectangle 89"/>
            <p:cNvSpPr>
              <a:spLocks noChangeArrowheads="1"/>
            </p:cNvSpPr>
            <p:nvPr/>
          </p:nvSpPr>
          <p:spPr bwMode="auto">
            <a:xfrm>
              <a:off x="40225663" y="-16789401"/>
              <a:ext cx="776288" cy="390525"/>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5" name="Rectangle 90"/>
            <p:cNvSpPr>
              <a:spLocks noChangeArrowheads="1"/>
            </p:cNvSpPr>
            <p:nvPr/>
          </p:nvSpPr>
          <p:spPr bwMode="auto">
            <a:xfrm>
              <a:off x="36617275" y="-19948526"/>
              <a:ext cx="708025" cy="93503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6" name="Rectangle 91"/>
            <p:cNvSpPr>
              <a:spLocks noChangeArrowheads="1"/>
            </p:cNvSpPr>
            <p:nvPr/>
          </p:nvSpPr>
          <p:spPr bwMode="auto">
            <a:xfrm>
              <a:off x="37572950" y="-19948526"/>
              <a:ext cx="709613" cy="935038"/>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7" name="Rectangle 92"/>
            <p:cNvSpPr>
              <a:spLocks noChangeArrowheads="1"/>
            </p:cNvSpPr>
            <p:nvPr/>
          </p:nvSpPr>
          <p:spPr bwMode="auto">
            <a:xfrm>
              <a:off x="33862963" y="-9032876"/>
              <a:ext cx="2232025" cy="385763"/>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8" name="Rectangle 93"/>
            <p:cNvSpPr>
              <a:spLocks noChangeArrowheads="1"/>
            </p:cNvSpPr>
            <p:nvPr/>
          </p:nvSpPr>
          <p:spPr bwMode="auto">
            <a:xfrm>
              <a:off x="40225663" y="-9032876"/>
              <a:ext cx="3236913" cy="385763"/>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9" name="Freeform 96"/>
            <p:cNvSpPr>
              <a:spLocks/>
            </p:cNvSpPr>
            <p:nvPr/>
          </p:nvSpPr>
          <p:spPr bwMode="auto">
            <a:xfrm>
              <a:off x="36317238" y="-30078363"/>
              <a:ext cx="7427913" cy="4884738"/>
            </a:xfrm>
            <a:custGeom>
              <a:avLst/>
              <a:gdLst>
                <a:gd name="T0" fmla="*/ 1663 w 1980"/>
                <a:gd name="T1" fmla="*/ 571 h 1302"/>
                <a:gd name="T2" fmla="*/ 1663 w 1980"/>
                <a:gd name="T3" fmla="*/ 546 h 1302"/>
                <a:gd name="T4" fmla="*/ 1117 w 1980"/>
                <a:gd name="T5" fmla="*/ 0 h 1302"/>
                <a:gd name="T6" fmla="*/ 663 w 1980"/>
                <a:gd name="T7" fmla="*/ 244 h 1302"/>
                <a:gd name="T8" fmla="*/ 513 w 1980"/>
                <a:gd name="T9" fmla="*/ 204 h 1302"/>
                <a:gd name="T10" fmla="*/ 337 w 1980"/>
                <a:gd name="T11" fmla="*/ 257 h 1302"/>
                <a:gd name="T12" fmla="*/ 197 w 1980"/>
                <a:gd name="T13" fmla="*/ 513 h 1302"/>
                <a:gd name="T14" fmla="*/ 0 w 1980"/>
                <a:gd name="T15" fmla="*/ 873 h 1302"/>
                <a:gd name="T16" fmla="*/ 382 w 1980"/>
                <a:gd name="T17" fmla="*/ 1302 h 1302"/>
                <a:gd name="T18" fmla="*/ 430 w 1980"/>
                <a:gd name="T19" fmla="*/ 1302 h 1302"/>
                <a:gd name="T20" fmla="*/ 473 w 1980"/>
                <a:gd name="T21" fmla="*/ 1302 h 1302"/>
                <a:gd name="T22" fmla="*/ 1365 w 1980"/>
                <a:gd name="T23" fmla="*/ 1302 h 1302"/>
                <a:gd name="T24" fmla="*/ 1382 w 1980"/>
                <a:gd name="T25" fmla="*/ 1302 h 1302"/>
                <a:gd name="T26" fmla="*/ 1405 w 1980"/>
                <a:gd name="T27" fmla="*/ 1302 h 1302"/>
                <a:gd name="T28" fmla="*/ 1470 w 1980"/>
                <a:gd name="T29" fmla="*/ 1302 h 1302"/>
                <a:gd name="T30" fmla="*/ 1612 w 1980"/>
                <a:gd name="T31" fmla="*/ 1302 h 1302"/>
                <a:gd name="T32" fmla="*/ 1980 w 1980"/>
                <a:gd name="T33" fmla="*/ 935 h 1302"/>
                <a:gd name="T34" fmla="*/ 1663 w 1980"/>
                <a:gd name="T35" fmla="*/ 571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0" h="1302">
                  <a:moveTo>
                    <a:pt x="1663" y="571"/>
                  </a:moveTo>
                  <a:cubicBezTo>
                    <a:pt x="1663" y="564"/>
                    <a:pt x="1663" y="553"/>
                    <a:pt x="1663" y="546"/>
                  </a:cubicBezTo>
                  <a:cubicBezTo>
                    <a:pt x="1663" y="244"/>
                    <a:pt x="1419" y="0"/>
                    <a:pt x="1117" y="0"/>
                  </a:cubicBezTo>
                  <a:cubicBezTo>
                    <a:pt x="928" y="0"/>
                    <a:pt x="761" y="98"/>
                    <a:pt x="663" y="244"/>
                  </a:cubicBezTo>
                  <a:cubicBezTo>
                    <a:pt x="619" y="218"/>
                    <a:pt x="568" y="204"/>
                    <a:pt x="513" y="204"/>
                  </a:cubicBezTo>
                  <a:cubicBezTo>
                    <a:pt x="448" y="204"/>
                    <a:pt x="387" y="223"/>
                    <a:pt x="337" y="257"/>
                  </a:cubicBezTo>
                  <a:cubicBezTo>
                    <a:pt x="254" y="312"/>
                    <a:pt x="199" y="406"/>
                    <a:pt x="197" y="513"/>
                  </a:cubicBezTo>
                  <a:cubicBezTo>
                    <a:pt x="80" y="589"/>
                    <a:pt x="0" y="724"/>
                    <a:pt x="0" y="873"/>
                  </a:cubicBezTo>
                  <a:cubicBezTo>
                    <a:pt x="0" y="1095"/>
                    <a:pt x="168" y="1277"/>
                    <a:pt x="382" y="1302"/>
                  </a:cubicBezTo>
                  <a:cubicBezTo>
                    <a:pt x="397" y="1302"/>
                    <a:pt x="415" y="1302"/>
                    <a:pt x="430" y="1302"/>
                  </a:cubicBezTo>
                  <a:cubicBezTo>
                    <a:pt x="444" y="1302"/>
                    <a:pt x="459" y="1302"/>
                    <a:pt x="473" y="1302"/>
                  </a:cubicBezTo>
                  <a:cubicBezTo>
                    <a:pt x="673" y="1302"/>
                    <a:pt x="1143" y="1302"/>
                    <a:pt x="1365" y="1302"/>
                  </a:cubicBezTo>
                  <a:cubicBezTo>
                    <a:pt x="1372" y="1302"/>
                    <a:pt x="1377" y="1302"/>
                    <a:pt x="1382" y="1302"/>
                  </a:cubicBezTo>
                  <a:cubicBezTo>
                    <a:pt x="1405" y="1302"/>
                    <a:pt x="1405" y="1302"/>
                    <a:pt x="1405" y="1302"/>
                  </a:cubicBezTo>
                  <a:cubicBezTo>
                    <a:pt x="1416" y="1302"/>
                    <a:pt x="1448" y="1302"/>
                    <a:pt x="1470" y="1302"/>
                  </a:cubicBezTo>
                  <a:cubicBezTo>
                    <a:pt x="1612" y="1302"/>
                    <a:pt x="1612" y="1302"/>
                    <a:pt x="1612" y="1302"/>
                  </a:cubicBezTo>
                  <a:cubicBezTo>
                    <a:pt x="1816" y="1298"/>
                    <a:pt x="1980" y="1135"/>
                    <a:pt x="1980" y="935"/>
                  </a:cubicBezTo>
                  <a:cubicBezTo>
                    <a:pt x="1980" y="749"/>
                    <a:pt x="1841" y="597"/>
                    <a:pt x="1663" y="571"/>
                  </a:cubicBez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0" name="Freeform 97"/>
            <p:cNvSpPr>
              <a:spLocks/>
            </p:cNvSpPr>
            <p:nvPr/>
          </p:nvSpPr>
          <p:spPr bwMode="auto">
            <a:xfrm>
              <a:off x="36163250" y="-26814463"/>
              <a:ext cx="7731125" cy="16009938"/>
            </a:xfrm>
            <a:custGeom>
              <a:avLst/>
              <a:gdLst>
                <a:gd name="T0" fmla="*/ 2036 w 2061"/>
                <a:gd name="T1" fmla="*/ 4218 h 4267"/>
                <a:gd name="T2" fmla="*/ 1099 w 2061"/>
                <a:gd name="T3" fmla="*/ 3042 h 4267"/>
                <a:gd name="T4" fmla="*/ 703 w 2061"/>
                <a:gd name="T5" fmla="*/ 184 h 4267"/>
                <a:gd name="T6" fmla="*/ 1030 w 2061"/>
                <a:gd name="T7" fmla="*/ 192 h 4267"/>
                <a:gd name="T8" fmla="*/ 2061 w 2061"/>
                <a:gd name="T9" fmla="*/ 25 h 4267"/>
                <a:gd name="T10" fmla="*/ 2036 w 2061"/>
                <a:gd name="T11" fmla="*/ 0 h 4267"/>
                <a:gd name="T12" fmla="*/ 2011 w 2061"/>
                <a:gd name="T13" fmla="*/ 24 h 4267"/>
                <a:gd name="T14" fmla="*/ 1030 w 2061"/>
                <a:gd name="T15" fmla="*/ 142 h 4267"/>
                <a:gd name="T16" fmla="*/ 49 w 2061"/>
                <a:gd name="T17" fmla="*/ 25 h 4267"/>
                <a:gd name="T18" fmla="*/ 25 w 2061"/>
                <a:gd name="T19" fmla="*/ 0 h 4267"/>
                <a:gd name="T20" fmla="*/ 0 w 2061"/>
                <a:gd name="T21" fmla="*/ 25 h 4267"/>
                <a:gd name="T22" fmla="*/ 654 w 2061"/>
                <a:gd name="T23" fmla="*/ 181 h 4267"/>
                <a:gd name="T24" fmla="*/ 1052 w 2061"/>
                <a:gd name="T25" fmla="*/ 3057 h 4267"/>
                <a:gd name="T26" fmla="*/ 2036 w 2061"/>
                <a:gd name="T27" fmla="*/ 4267 h 4267"/>
                <a:gd name="T28" fmla="*/ 2061 w 2061"/>
                <a:gd name="T29" fmla="*/ 4242 h 4267"/>
                <a:gd name="T30" fmla="*/ 2036 w 2061"/>
                <a:gd name="T31" fmla="*/ 4218 h 4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1" h="4267">
                  <a:moveTo>
                    <a:pt x="2036" y="4218"/>
                  </a:moveTo>
                  <a:cubicBezTo>
                    <a:pt x="1685" y="4218"/>
                    <a:pt x="1352" y="3800"/>
                    <a:pt x="1099" y="3042"/>
                  </a:cubicBezTo>
                  <a:cubicBezTo>
                    <a:pt x="845" y="2279"/>
                    <a:pt x="705" y="1264"/>
                    <a:pt x="703" y="184"/>
                  </a:cubicBezTo>
                  <a:cubicBezTo>
                    <a:pt x="875" y="192"/>
                    <a:pt x="1015" y="192"/>
                    <a:pt x="1030" y="192"/>
                  </a:cubicBezTo>
                  <a:cubicBezTo>
                    <a:pt x="1072" y="192"/>
                    <a:pt x="2061" y="190"/>
                    <a:pt x="2061" y="25"/>
                  </a:cubicBezTo>
                  <a:cubicBezTo>
                    <a:pt x="2061" y="11"/>
                    <a:pt x="2050" y="0"/>
                    <a:pt x="2036" y="0"/>
                  </a:cubicBezTo>
                  <a:cubicBezTo>
                    <a:pt x="2022" y="0"/>
                    <a:pt x="2011" y="10"/>
                    <a:pt x="2011" y="24"/>
                  </a:cubicBezTo>
                  <a:cubicBezTo>
                    <a:pt x="1995" y="66"/>
                    <a:pt x="1653" y="142"/>
                    <a:pt x="1030" y="142"/>
                  </a:cubicBezTo>
                  <a:cubicBezTo>
                    <a:pt x="407" y="142"/>
                    <a:pt x="65" y="66"/>
                    <a:pt x="49" y="25"/>
                  </a:cubicBezTo>
                  <a:cubicBezTo>
                    <a:pt x="49" y="11"/>
                    <a:pt x="38" y="0"/>
                    <a:pt x="25" y="0"/>
                  </a:cubicBezTo>
                  <a:cubicBezTo>
                    <a:pt x="11" y="0"/>
                    <a:pt x="0" y="11"/>
                    <a:pt x="0" y="25"/>
                  </a:cubicBezTo>
                  <a:cubicBezTo>
                    <a:pt x="0" y="125"/>
                    <a:pt x="359" y="165"/>
                    <a:pt x="654" y="181"/>
                  </a:cubicBezTo>
                  <a:cubicBezTo>
                    <a:pt x="655" y="1268"/>
                    <a:pt x="796" y="2289"/>
                    <a:pt x="1052" y="3057"/>
                  </a:cubicBezTo>
                  <a:cubicBezTo>
                    <a:pt x="1312" y="3838"/>
                    <a:pt x="1662" y="4267"/>
                    <a:pt x="2036" y="4267"/>
                  </a:cubicBezTo>
                  <a:cubicBezTo>
                    <a:pt x="2050" y="4267"/>
                    <a:pt x="2061" y="4256"/>
                    <a:pt x="2061" y="4242"/>
                  </a:cubicBezTo>
                  <a:cubicBezTo>
                    <a:pt x="2061" y="4229"/>
                    <a:pt x="2050" y="4218"/>
                    <a:pt x="2036" y="4218"/>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Tree>
    <p:extLst>
      <p:ext uri="{BB962C8B-B14F-4D97-AF65-F5344CB8AC3E}">
        <p14:creationId xmlns:p14="http://schemas.microsoft.com/office/powerpoint/2010/main" val="39056875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a:off x="269240" y="1187939"/>
            <a:ext cx="11653522" cy="5378548"/>
          </a:xfrm>
          <a:prstGeom prst="rect">
            <a:avLst/>
          </a:prstGeom>
          <a:solidFill>
            <a:srgbClr val="0072C6"/>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sp>
        <p:nvSpPr>
          <p:cNvPr id="71" name="Freeform 1718"/>
          <p:cNvSpPr>
            <a:spLocks noEditPoints="1"/>
          </p:cNvSpPr>
          <p:nvPr/>
        </p:nvSpPr>
        <p:spPr bwMode="auto">
          <a:xfrm>
            <a:off x="947968" y="1662388"/>
            <a:ext cx="9521694" cy="4843800"/>
          </a:xfrm>
          <a:custGeom>
            <a:avLst/>
            <a:gdLst>
              <a:gd name="T0" fmla="*/ 1521 w 2475"/>
              <a:gd name="T1" fmla="*/ 81 h 1258"/>
              <a:gd name="T2" fmla="*/ 1596 w 2475"/>
              <a:gd name="T3" fmla="*/ 196 h 1258"/>
              <a:gd name="T4" fmla="*/ 1981 w 2475"/>
              <a:gd name="T5" fmla="*/ 64 h 1258"/>
              <a:gd name="T6" fmla="*/ 1759 w 2475"/>
              <a:gd name="T7" fmla="*/ 80 h 1258"/>
              <a:gd name="T8" fmla="*/ 1411 w 2475"/>
              <a:gd name="T9" fmla="*/ 143 h 1258"/>
              <a:gd name="T10" fmla="*/ 2179 w 2475"/>
              <a:gd name="T11" fmla="*/ 552 h 1258"/>
              <a:gd name="T12" fmla="*/ 2342 w 2475"/>
              <a:gd name="T13" fmla="*/ 858 h 1258"/>
              <a:gd name="T14" fmla="*/ 2267 w 2475"/>
              <a:gd name="T15" fmla="*/ 831 h 1258"/>
              <a:gd name="T16" fmla="*/ 2108 w 2475"/>
              <a:gd name="T17" fmla="*/ 702 h 1258"/>
              <a:gd name="T18" fmla="*/ 2123 w 2475"/>
              <a:gd name="T19" fmla="*/ 867 h 1258"/>
              <a:gd name="T20" fmla="*/ 2102 w 2475"/>
              <a:gd name="T21" fmla="*/ 805 h 1258"/>
              <a:gd name="T22" fmla="*/ 1899 w 2475"/>
              <a:gd name="T23" fmla="*/ 655 h 1258"/>
              <a:gd name="T24" fmla="*/ 1547 w 2475"/>
              <a:gd name="T25" fmla="*/ 614 h 1258"/>
              <a:gd name="T26" fmla="*/ 1264 w 2475"/>
              <a:gd name="T27" fmla="*/ 740 h 1258"/>
              <a:gd name="T28" fmla="*/ 1526 w 2475"/>
              <a:gd name="T29" fmla="*/ 480 h 1258"/>
              <a:gd name="T30" fmla="*/ 1337 w 2475"/>
              <a:gd name="T31" fmla="*/ 465 h 1258"/>
              <a:gd name="T32" fmla="*/ 1421 w 2475"/>
              <a:gd name="T33" fmla="*/ 406 h 1258"/>
              <a:gd name="T34" fmla="*/ 1472 w 2475"/>
              <a:gd name="T35" fmla="*/ 241 h 1258"/>
              <a:gd name="T36" fmla="*/ 1695 w 2475"/>
              <a:gd name="T37" fmla="*/ 221 h 1258"/>
              <a:gd name="T38" fmla="*/ 1836 w 2475"/>
              <a:gd name="T39" fmla="*/ 91 h 1258"/>
              <a:gd name="T40" fmla="*/ 2188 w 2475"/>
              <a:gd name="T41" fmla="*/ 94 h 1258"/>
              <a:gd name="T42" fmla="*/ 2250 w 2475"/>
              <a:gd name="T43" fmla="*/ 373 h 1258"/>
              <a:gd name="T44" fmla="*/ 2103 w 2475"/>
              <a:gd name="T45" fmla="*/ 524 h 1258"/>
              <a:gd name="T46" fmla="*/ 1978 w 2475"/>
              <a:gd name="T47" fmla="*/ 747 h 1258"/>
              <a:gd name="T48" fmla="*/ 1397 w 2475"/>
              <a:gd name="T49" fmla="*/ 410 h 1258"/>
              <a:gd name="T50" fmla="*/ 1465 w 2475"/>
              <a:gd name="T51" fmla="*/ 377 h 1258"/>
              <a:gd name="T52" fmla="*/ 1325 w 2475"/>
              <a:gd name="T53" fmla="*/ 451 h 1258"/>
              <a:gd name="T54" fmla="*/ 1507 w 2475"/>
              <a:gd name="T55" fmla="*/ 555 h 1258"/>
              <a:gd name="T56" fmla="*/ 2234 w 2475"/>
              <a:gd name="T57" fmla="*/ 1114 h 1258"/>
              <a:gd name="T58" fmla="*/ 2057 w 2475"/>
              <a:gd name="T59" fmla="*/ 951 h 1258"/>
              <a:gd name="T60" fmla="*/ 2413 w 2475"/>
              <a:gd name="T61" fmla="*/ 1091 h 1258"/>
              <a:gd name="T62" fmla="*/ 958 w 2475"/>
              <a:gd name="T63" fmla="*/ 688 h 1258"/>
              <a:gd name="T64" fmla="*/ 1269 w 2475"/>
              <a:gd name="T65" fmla="*/ 123 h 1258"/>
              <a:gd name="T66" fmla="*/ 1098 w 2475"/>
              <a:gd name="T67" fmla="*/ 344 h 1258"/>
              <a:gd name="T68" fmla="*/ 1086 w 2475"/>
              <a:gd name="T69" fmla="*/ 204 h 1258"/>
              <a:gd name="T70" fmla="*/ 1184 w 2475"/>
              <a:gd name="T71" fmla="*/ 28 h 1258"/>
              <a:gd name="T72" fmla="*/ 1261 w 2475"/>
              <a:gd name="T73" fmla="*/ 148 h 1258"/>
              <a:gd name="T74" fmla="*/ 1089 w 2475"/>
              <a:gd name="T75" fmla="*/ 213 h 1258"/>
              <a:gd name="T76" fmla="*/ 595 w 2475"/>
              <a:gd name="T77" fmla="*/ 336 h 1258"/>
              <a:gd name="T78" fmla="*/ 887 w 2475"/>
              <a:gd name="T79" fmla="*/ 643 h 1258"/>
              <a:gd name="T80" fmla="*/ 859 w 2475"/>
              <a:gd name="T81" fmla="*/ 143 h 1258"/>
              <a:gd name="T82" fmla="*/ 869 w 2475"/>
              <a:gd name="T83" fmla="*/ 216 h 1258"/>
              <a:gd name="T84" fmla="*/ 962 w 2475"/>
              <a:gd name="T85" fmla="*/ 220 h 1258"/>
              <a:gd name="T86" fmla="*/ 1006 w 2475"/>
              <a:gd name="T87" fmla="*/ 232 h 1258"/>
              <a:gd name="T88" fmla="*/ 963 w 2475"/>
              <a:gd name="T89" fmla="*/ 61 h 1258"/>
              <a:gd name="T90" fmla="*/ 612 w 2475"/>
              <a:gd name="T91" fmla="*/ 372 h 1258"/>
              <a:gd name="T92" fmla="*/ 1019 w 2475"/>
              <a:gd name="T93" fmla="*/ 19 h 1258"/>
              <a:gd name="T94" fmla="*/ 979 w 2475"/>
              <a:gd name="T95" fmla="*/ 120 h 1258"/>
              <a:gd name="T96" fmla="*/ 930 w 2475"/>
              <a:gd name="T97" fmla="*/ 314 h 1258"/>
              <a:gd name="T98" fmla="*/ 887 w 2475"/>
              <a:gd name="T99" fmla="*/ 146 h 1258"/>
              <a:gd name="T100" fmla="*/ 820 w 2475"/>
              <a:gd name="T101" fmla="*/ 79 h 1258"/>
              <a:gd name="T102" fmla="*/ 749 w 2475"/>
              <a:gd name="T103" fmla="*/ 617 h 1258"/>
              <a:gd name="T104" fmla="*/ 932 w 2475"/>
              <a:gd name="T105" fmla="*/ 1186 h 1258"/>
              <a:gd name="T106" fmla="*/ 781 w 2475"/>
              <a:gd name="T107" fmla="*/ 711 h 1258"/>
              <a:gd name="T108" fmla="*/ 617 w 2475"/>
              <a:gd name="T109" fmla="*/ 387 h 1258"/>
              <a:gd name="T110" fmla="*/ 427 w 2475"/>
              <a:gd name="T111" fmla="*/ 321 h 1258"/>
              <a:gd name="T112" fmla="*/ 625 w 2475"/>
              <a:gd name="T113" fmla="*/ 136 h 1258"/>
              <a:gd name="T114" fmla="*/ 873 w 2475"/>
              <a:gd name="T115" fmla="*/ 211 h 1258"/>
              <a:gd name="T116" fmla="*/ 898 w 2475"/>
              <a:gd name="T117" fmla="*/ 403 h 1258"/>
              <a:gd name="T118" fmla="*/ 981 w 2475"/>
              <a:gd name="T119" fmla="*/ 487 h 1258"/>
              <a:gd name="T120" fmla="*/ 803 w 2475"/>
              <a:gd name="T121" fmla="*/ 675 h 1258"/>
              <a:gd name="T122" fmla="*/ 947 w 2475"/>
              <a:gd name="T123" fmla="*/ 728 h 1258"/>
              <a:gd name="T124" fmla="*/ 970 w 2475"/>
              <a:gd name="T125" fmla="*/ 121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75" h="1258">
                <a:moveTo>
                  <a:pt x="1627" y="880"/>
                </a:moveTo>
                <a:cubicBezTo>
                  <a:pt x="1628" y="881"/>
                  <a:pt x="1628" y="881"/>
                  <a:pt x="1628" y="881"/>
                </a:cubicBezTo>
                <a:cubicBezTo>
                  <a:pt x="1627" y="883"/>
                  <a:pt x="1627" y="883"/>
                  <a:pt x="1627" y="883"/>
                </a:cubicBezTo>
                <a:cubicBezTo>
                  <a:pt x="1627" y="882"/>
                  <a:pt x="1627" y="882"/>
                  <a:pt x="1627" y="882"/>
                </a:cubicBezTo>
                <a:cubicBezTo>
                  <a:pt x="1627" y="881"/>
                  <a:pt x="1627" y="881"/>
                  <a:pt x="1627" y="881"/>
                </a:cubicBezTo>
                <a:cubicBezTo>
                  <a:pt x="1627" y="880"/>
                  <a:pt x="1627" y="880"/>
                  <a:pt x="1627" y="880"/>
                </a:cubicBezTo>
                <a:close/>
                <a:moveTo>
                  <a:pt x="1624" y="878"/>
                </a:moveTo>
                <a:cubicBezTo>
                  <a:pt x="1623" y="876"/>
                  <a:pt x="1623" y="876"/>
                  <a:pt x="1623" y="876"/>
                </a:cubicBezTo>
                <a:cubicBezTo>
                  <a:pt x="1623" y="877"/>
                  <a:pt x="1623" y="877"/>
                  <a:pt x="1623" y="877"/>
                </a:cubicBezTo>
                <a:cubicBezTo>
                  <a:pt x="1622" y="877"/>
                  <a:pt x="1622" y="877"/>
                  <a:pt x="1622" y="877"/>
                </a:cubicBezTo>
                <a:cubicBezTo>
                  <a:pt x="1623" y="878"/>
                  <a:pt x="1623" y="878"/>
                  <a:pt x="1623" y="878"/>
                </a:cubicBezTo>
                <a:cubicBezTo>
                  <a:pt x="1624" y="878"/>
                  <a:pt x="1624" y="878"/>
                  <a:pt x="1624" y="878"/>
                </a:cubicBezTo>
                <a:close/>
                <a:moveTo>
                  <a:pt x="1616" y="871"/>
                </a:moveTo>
                <a:cubicBezTo>
                  <a:pt x="1615" y="871"/>
                  <a:pt x="1615" y="871"/>
                  <a:pt x="1615" y="871"/>
                </a:cubicBezTo>
                <a:cubicBezTo>
                  <a:pt x="1614" y="873"/>
                  <a:pt x="1614" y="873"/>
                  <a:pt x="1614" y="873"/>
                </a:cubicBezTo>
                <a:cubicBezTo>
                  <a:pt x="1615" y="874"/>
                  <a:pt x="1615" y="874"/>
                  <a:pt x="1615" y="874"/>
                </a:cubicBezTo>
                <a:cubicBezTo>
                  <a:pt x="1615" y="875"/>
                  <a:pt x="1615" y="875"/>
                  <a:pt x="1615" y="875"/>
                </a:cubicBezTo>
                <a:cubicBezTo>
                  <a:pt x="1616" y="875"/>
                  <a:pt x="1616" y="875"/>
                  <a:pt x="1616" y="875"/>
                </a:cubicBezTo>
                <a:cubicBezTo>
                  <a:pt x="1617" y="874"/>
                  <a:pt x="1617" y="874"/>
                  <a:pt x="1617" y="874"/>
                </a:cubicBezTo>
                <a:cubicBezTo>
                  <a:pt x="1616" y="873"/>
                  <a:pt x="1616" y="873"/>
                  <a:pt x="1616" y="873"/>
                </a:cubicBezTo>
                <a:cubicBezTo>
                  <a:pt x="1617" y="873"/>
                  <a:pt x="1617" y="873"/>
                  <a:pt x="1617" y="873"/>
                </a:cubicBezTo>
                <a:cubicBezTo>
                  <a:pt x="1616" y="871"/>
                  <a:pt x="1616" y="871"/>
                  <a:pt x="1616" y="871"/>
                </a:cubicBezTo>
                <a:close/>
                <a:moveTo>
                  <a:pt x="1637" y="862"/>
                </a:moveTo>
                <a:cubicBezTo>
                  <a:pt x="1637" y="861"/>
                  <a:pt x="1637" y="861"/>
                  <a:pt x="1637" y="861"/>
                </a:cubicBezTo>
                <a:cubicBezTo>
                  <a:pt x="1636" y="861"/>
                  <a:pt x="1636" y="861"/>
                  <a:pt x="1636" y="861"/>
                </a:cubicBezTo>
                <a:cubicBezTo>
                  <a:pt x="1637" y="862"/>
                  <a:pt x="1637" y="862"/>
                  <a:pt x="1637" y="862"/>
                </a:cubicBezTo>
                <a:close/>
                <a:moveTo>
                  <a:pt x="1693" y="829"/>
                </a:moveTo>
                <a:cubicBezTo>
                  <a:pt x="1693" y="830"/>
                  <a:pt x="1693" y="830"/>
                  <a:pt x="1693" y="830"/>
                </a:cubicBezTo>
                <a:cubicBezTo>
                  <a:pt x="1693" y="831"/>
                  <a:pt x="1693" y="831"/>
                  <a:pt x="1693" y="831"/>
                </a:cubicBezTo>
                <a:cubicBezTo>
                  <a:pt x="1695" y="830"/>
                  <a:pt x="1695" y="830"/>
                  <a:pt x="1695" y="830"/>
                </a:cubicBezTo>
                <a:cubicBezTo>
                  <a:pt x="1694" y="830"/>
                  <a:pt x="1694" y="830"/>
                  <a:pt x="1694" y="830"/>
                </a:cubicBezTo>
                <a:cubicBezTo>
                  <a:pt x="1693" y="829"/>
                  <a:pt x="1693" y="829"/>
                  <a:pt x="1693" y="829"/>
                </a:cubicBezTo>
                <a:close/>
                <a:moveTo>
                  <a:pt x="1636" y="858"/>
                </a:moveTo>
                <a:cubicBezTo>
                  <a:pt x="1635" y="859"/>
                  <a:pt x="1635" y="859"/>
                  <a:pt x="1635" y="859"/>
                </a:cubicBezTo>
                <a:cubicBezTo>
                  <a:pt x="1636" y="859"/>
                  <a:pt x="1636" y="859"/>
                  <a:pt x="1636" y="859"/>
                </a:cubicBezTo>
                <a:cubicBezTo>
                  <a:pt x="1637" y="859"/>
                  <a:pt x="1637" y="859"/>
                  <a:pt x="1637" y="859"/>
                </a:cubicBezTo>
                <a:cubicBezTo>
                  <a:pt x="1636" y="858"/>
                  <a:pt x="1636" y="858"/>
                  <a:pt x="1636" y="858"/>
                </a:cubicBezTo>
                <a:close/>
                <a:moveTo>
                  <a:pt x="1930" y="741"/>
                </a:moveTo>
                <a:cubicBezTo>
                  <a:pt x="1930" y="740"/>
                  <a:pt x="1930" y="740"/>
                  <a:pt x="1930" y="740"/>
                </a:cubicBezTo>
                <a:cubicBezTo>
                  <a:pt x="1929" y="741"/>
                  <a:pt x="1929" y="741"/>
                  <a:pt x="1929" y="741"/>
                </a:cubicBezTo>
                <a:cubicBezTo>
                  <a:pt x="1930" y="741"/>
                  <a:pt x="1930" y="741"/>
                  <a:pt x="1930" y="741"/>
                </a:cubicBezTo>
                <a:close/>
                <a:moveTo>
                  <a:pt x="1928" y="727"/>
                </a:moveTo>
                <a:cubicBezTo>
                  <a:pt x="1928" y="725"/>
                  <a:pt x="1928" y="725"/>
                  <a:pt x="1928" y="725"/>
                </a:cubicBezTo>
                <a:cubicBezTo>
                  <a:pt x="1927" y="726"/>
                  <a:pt x="1927" y="726"/>
                  <a:pt x="1927" y="726"/>
                </a:cubicBezTo>
                <a:cubicBezTo>
                  <a:pt x="1928" y="727"/>
                  <a:pt x="1928" y="727"/>
                  <a:pt x="1928" y="727"/>
                </a:cubicBezTo>
                <a:close/>
                <a:moveTo>
                  <a:pt x="1929" y="720"/>
                </a:moveTo>
                <a:cubicBezTo>
                  <a:pt x="1927" y="721"/>
                  <a:pt x="1927" y="721"/>
                  <a:pt x="1927" y="721"/>
                </a:cubicBezTo>
                <a:cubicBezTo>
                  <a:pt x="1927" y="723"/>
                  <a:pt x="1927" y="723"/>
                  <a:pt x="1927" y="723"/>
                </a:cubicBezTo>
                <a:cubicBezTo>
                  <a:pt x="1927" y="724"/>
                  <a:pt x="1927" y="724"/>
                  <a:pt x="1927" y="724"/>
                </a:cubicBezTo>
                <a:cubicBezTo>
                  <a:pt x="1928" y="725"/>
                  <a:pt x="1928" y="725"/>
                  <a:pt x="1928" y="725"/>
                </a:cubicBezTo>
                <a:cubicBezTo>
                  <a:pt x="1928" y="724"/>
                  <a:pt x="1928" y="724"/>
                  <a:pt x="1928" y="724"/>
                </a:cubicBezTo>
                <a:cubicBezTo>
                  <a:pt x="1928" y="723"/>
                  <a:pt x="1928" y="723"/>
                  <a:pt x="1928" y="723"/>
                </a:cubicBezTo>
                <a:cubicBezTo>
                  <a:pt x="1928" y="722"/>
                  <a:pt x="1928" y="722"/>
                  <a:pt x="1928" y="722"/>
                </a:cubicBezTo>
                <a:cubicBezTo>
                  <a:pt x="1929" y="721"/>
                  <a:pt x="1929" y="721"/>
                  <a:pt x="1929" y="721"/>
                </a:cubicBezTo>
                <a:cubicBezTo>
                  <a:pt x="1929" y="720"/>
                  <a:pt x="1929" y="720"/>
                  <a:pt x="1929" y="720"/>
                </a:cubicBezTo>
                <a:close/>
                <a:moveTo>
                  <a:pt x="1925" y="725"/>
                </a:moveTo>
                <a:cubicBezTo>
                  <a:pt x="1924" y="726"/>
                  <a:pt x="1924" y="726"/>
                  <a:pt x="1924" y="726"/>
                </a:cubicBezTo>
                <a:cubicBezTo>
                  <a:pt x="1926" y="726"/>
                  <a:pt x="1926" y="726"/>
                  <a:pt x="1926" y="726"/>
                </a:cubicBezTo>
                <a:cubicBezTo>
                  <a:pt x="1925" y="725"/>
                  <a:pt x="1925" y="725"/>
                  <a:pt x="1925" y="725"/>
                </a:cubicBezTo>
                <a:close/>
                <a:moveTo>
                  <a:pt x="1929" y="711"/>
                </a:moveTo>
                <a:cubicBezTo>
                  <a:pt x="1928" y="713"/>
                  <a:pt x="1928" y="713"/>
                  <a:pt x="1928" y="713"/>
                </a:cubicBezTo>
                <a:cubicBezTo>
                  <a:pt x="1928" y="715"/>
                  <a:pt x="1928" y="715"/>
                  <a:pt x="1928" y="715"/>
                </a:cubicBezTo>
                <a:cubicBezTo>
                  <a:pt x="1928" y="716"/>
                  <a:pt x="1928" y="716"/>
                  <a:pt x="1928" y="716"/>
                </a:cubicBezTo>
                <a:cubicBezTo>
                  <a:pt x="1928" y="719"/>
                  <a:pt x="1928" y="719"/>
                  <a:pt x="1928" y="719"/>
                </a:cubicBezTo>
                <a:cubicBezTo>
                  <a:pt x="1928" y="720"/>
                  <a:pt x="1928" y="720"/>
                  <a:pt x="1928" y="720"/>
                </a:cubicBezTo>
                <a:cubicBezTo>
                  <a:pt x="1930" y="719"/>
                  <a:pt x="1930" y="719"/>
                  <a:pt x="1930" y="719"/>
                </a:cubicBezTo>
                <a:cubicBezTo>
                  <a:pt x="1930" y="717"/>
                  <a:pt x="1930" y="717"/>
                  <a:pt x="1930" y="717"/>
                </a:cubicBezTo>
                <a:cubicBezTo>
                  <a:pt x="1929" y="716"/>
                  <a:pt x="1929" y="716"/>
                  <a:pt x="1929" y="716"/>
                </a:cubicBezTo>
                <a:cubicBezTo>
                  <a:pt x="1930" y="715"/>
                  <a:pt x="1930" y="715"/>
                  <a:pt x="1930" y="715"/>
                </a:cubicBezTo>
                <a:cubicBezTo>
                  <a:pt x="1930" y="714"/>
                  <a:pt x="1930" y="714"/>
                  <a:pt x="1930" y="714"/>
                </a:cubicBezTo>
                <a:cubicBezTo>
                  <a:pt x="1929" y="713"/>
                  <a:pt x="1929" y="713"/>
                  <a:pt x="1929" y="713"/>
                </a:cubicBezTo>
                <a:cubicBezTo>
                  <a:pt x="1930" y="712"/>
                  <a:pt x="1930" y="712"/>
                  <a:pt x="1930" y="712"/>
                </a:cubicBezTo>
                <a:cubicBezTo>
                  <a:pt x="1929" y="711"/>
                  <a:pt x="1929" y="711"/>
                  <a:pt x="1929" y="711"/>
                </a:cubicBezTo>
                <a:close/>
                <a:moveTo>
                  <a:pt x="1937" y="752"/>
                </a:moveTo>
                <a:cubicBezTo>
                  <a:pt x="1936" y="752"/>
                  <a:pt x="1936" y="752"/>
                  <a:pt x="1936" y="752"/>
                </a:cubicBezTo>
                <a:cubicBezTo>
                  <a:pt x="1935" y="752"/>
                  <a:pt x="1935" y="752"/>
                  <a:pt x="1935" y="752"/>
                </a:cubicBezTo>
                <a:cubicBezTo>
                  <a:pt x="1936" y="753"/>
                  <a:pt x="1936" y="753"/>
                  <a:pt x="1936" y="753"/>
                </a:cubicBezTo>
                <a:cubicBezTo>
                  <a:pt x="1937" y="752"/>
                  <a:pt x="1937" y="752"/>
                  <a:pt x="1937" y="752"/>
                </a:cubicBezTo>
                <a:close/>
                <a:moveTo>
                  <a:pt x="1926" y="732"/>
                </a:moveTo>
                <a:cubicBezTo>
                  <a:pt x="1926" y="733"/>
                  <a:pt x="1926" y="733"/>
                  <a:pt x="1926" y="733"/>
                </a:cubicBezTo>
                <a:cubicBezTo>
                  <a:pt x="1928" y="733"/>
                  <a:pt x="1928" y="733"/>
                  <a:pt x="1928" y="733"/>
                </a:cubicBezTo>
                <a:cubicBezTo>
                  <a:pt x="1928" y="731"/>
                  <a:pt x="1928" y="731"/>
                  <a:pt x="1928" y="731"/>
                </a:cubicBezTo>
                <a:cubicBezTo>
                  <a:pt x="1928" y="730"/>
                  <a:pt x="1928" y="730"/>
                  <a:pt x="1928" y="730"/>
                </a:cubicBezTo>
                <a:cubicBezTo>
                  <a:pt x="1927" y="730"/>
                  <a:pt x="1927" y="730"/>
                  <a:pt x="1927" y="730"/>
                </a:cubicBezTo>
                <a:cubicBezTo>
                  <a:pt x="1926" y="732"/>
                  <a:pt x="1926" y="732"/>
                  <a:pt x="1926" y="732"/>
                </a:cubicBezTo>
                <a:close/>
                <a:moveTo>
                  <a:pt x="1935" y="747"/>
                </a:moveTo>
                <a:cubicBezTo>
                  <a:pt x="1935" y="746"/>
                  <a:pt x="1935" y="746"/>
                  <a:pt x="1935" y="746"/>
                </a:cubicBezTo>
                <a:cubicBezTo>
                  <a:pt x="1934" y="747"/>
                  <a:pt x="1934" y="747"/>
                  <a:pt x="1934" y="747"/>
                </a:cubicBezTo>
                <a:cubicBezTo>
                  <a:pt x="1935" y="748"/>
                  <a:pt x="1935" y="748"/>
                  <a:pt x="1935" y="748"/>
                </a:cubicBezTo>
                <a:cubicBezTo>
                  <a:pt x="1935" y="747"/>
                  <a:pt x="1935" y="747"/>
                  <a:pt x="1935" y="747"/>
                </a:cubicBezTo>
                <a:close/>
                <a:moveTo>
                  <a:pt x="1934" y="748"/>
                </a:moveTo>
                <a:cubicBezTo>
                  <a:pt x="1933" y="749"/>
                  <a:pt x="1933" y="749"/>
                  <a:pt x="1933" y="749"/>
                </a:cubicBezTo>
                <a:cubicBezTo>
                  <a:pt x="1933" y="750"/>
                  <a:pt x="1933" y="750"/>
                  <a:pt x="1933" y="750"/>
                </a:cubicBezTo>
                <a:cubicBezTo>
                  <a:pt x="1934" y="750"/>
                  <a:pt x="1934" y="750"/>
                  <a:pt x="1934" y="750"/>
                </a:cubicBezTo>
                <a:cubicBezTo>
                  <a:pt x="1935" y="750"/>
                  <a:pt x="1935" y="750"/>
                  <a:pt x="1935" y="750"/>
                </a:cubicBezTo>
                <a:cubicBezTo>
                  <a:pt x="1934" y="748"/>
                  <a:pt x="1934" y="748"/>
                  <a:pt x="1934" y="748"/>
                </a:cubicBezTo>
                <a:close/>
                <a:moveTo>
                  <a:pt x="1937" y="754"/>
                </a:moveTo>
                <a:cubicBezTo>
                  <a:pt x="1937" y="753"/>
                  <a:pt x="1937" y="753"/>
                  <a:pt x="1937" y="753"/>
                </a:cubicBezTo>
                <a:cubicBezTo>
                  <a:pt x="1936" y="754"/>
                  <a:pt x="1936" y="754"/>
                  <a:pt x="1936" y="754"/>
                </a:cubicBezTo>
                <a:cubicBezTo>
                  <a:pt x="1936" y="755"/>
                  <a:pt x="1936" y="755"/>
                  <a:pt x="1936" y="755"/>
                </a:cubicBezTo>
                <a:cubicBezTo>
                  <a:pt x="1936" y="755"/>
                  <a:pt x="1936" y="755"/>
                  <a:pt x="1936" y="756"/>
                </a:cubicBezTo>
                <a:cubicBezTo>
                  <a:pt x="1937" y="757"/>
                  <a:pt x="1937" y="757"/>
                  <a:pt x="1937" y="757"/>
                </a:cubicBezTo>
                <a:cubicBezTo>
                  <a:pt x="1938" y="756"/>
                  <a:pt x="1938" y="756"/>
                  <a:pt x="1938" y="756"/>
                </a:cubicBezTo>
                <a:cubicBezTo>
                  <a:pt x="1937" y="755"/>
                  <a:pt x="1937" y="755"/>
                  <a:pt x="1937" y="755"/>
                </a:cubicBezTo>
                <a:cubicBezTo>
                  <a:pt x="1937" y="754"/>
                  <a:pt x="1937" y="754"/>
                  <a:pt x="1937" y="754"/>
                </a:cubicBezTo>
                <a:close/>
                <a:moveTo>
                  <a:pt x="2255" y="713"/>
                </a:moveTo>
                <a:cubicBezTo>
                  <a:pt x="2256" y="711"/>
                  <a:pt x="2256" y="711"/>
                  <a:pt x="2256" y="711"/>
                </a:cubicBezTo>
                <a:cubicBezTo>
                  <a:pt x="2255" y="710"/>
                  <a:pt x="2255" y="710"/>
                  <a:pt x="2255" y="710"/>
                </a:cubicBezTo>
                <a:cubicBezTo>
                  <a:pt x="2254" y="711"/>
                  <a:pt x="2254" y="711"/>
                  <a:pt x="2254" y="711"/>
                </a:cubicBezTo>
                <a:cubicBezTo>
                  <a:pt x="2254" y="712"/>
                  <a:pt x="2254" y="712"/>
                  <a:pt x="2254" y="712"/>
                </a:cubicBezTo>
                <a:cubicBezTo>
                  <a:pt x="2253" y="712"/>
                  <a:pt x="2253" y="712"/>
                  <a:pt x="2253" y="712"/>
                </a:cubicBezTo>
                <a:cubicBezTo>
                  <a:pt x="2254" y="713"/>
                  <a:pt x="2254" y="713"/>
                  <a:pt x="2254" y="713"/>
                </a:cubicBezTo>
                <a:cubicBezTo>
                  <a:pt x="2255" y="713"/>
                  <a:pt x="2255" y="713"/>
                  <a:pt x="2255" y="713"/>
                </a:cubicBezTo>
                <a:close/>
                <a:moveTo>
                  <a:pt x="2261" y="698"/>
                </a:moveTo>
                <a:cubicBezTo>
                  <a:pt x="2259" y="699"/>
                  <a:pt x="2259" y="699"/>
                  <a:pt x="2259" y="699"/>
                </a:cubicBezTo>
                <a:cubicBezTo>
                  <a:pt x="2260" y="701"/>
                  <a:pt x="2260" y="701"/>
                  <a:pt x="2260" y="701"/>
                </a:cubicBezTo>
                <a:cubicBezTo>
                  <a:pt x="2260" y="699"/>
                  <a:pt x="2260" y="699"/>
                  <a:pt x="2260" y="699"/>
                </a:cubicBezTo>
                <a:cubicBezTo>
                  <a:pt x="2261" y="698"/>
                  <a:pt x="2261" y="698"/>
                  <a:pt x="2261" y="698"/>
                </a:cubicBezTo>
                <a:close/>
                <a:moveTo>
                  <a:pt x="2259" y="707"/>
                </a:moveTo>
                <a:cubicBezTo>
                  <a:pt x="2258" y="706"/>
                  <a:pt x="2258" y="706"/>
                  <a:pt x="2258" y="706"/>
                </a:cubicBezTo>
                <a:cubicBezTo>
                  <a:pt x="2257" y="707"/>
                  <a:pt x="2257" y="707"/>
                  <a:pt x="2257" y="707"/>
                </a:cubicBezTo>
                <a:cubicBezTo>
                  <a:pt x="2258" y="707"/>
                  <a:pt x="2258" y="707"/>
                  <a:pt x="2258" y="707"/>
                </a:cubicBezTo>
                <a:cubicBezTo>
                  <a:pt x="2259" y="707"/>
                  <a:pt x="2259" y="707"/>
                  <a:pt x="2259" y="707"/>
                </a:cubicBezTo>
                <a:close/>
                <a:moveTo>
                  <a:pt x="2224" y="233"/>
                </a:moveTo>
                <a:cubicBezTo>
                  <a:pt x="2223" y="232"/>
                  <a:pt x="2223" y="232"/>
                  <a:pt x="2223" y="232"/>
                </a:cubicBezTo>
                <a:cubicBezTo>
                  <a:pt x="2222" y="232"/>
                  <a:pt x="2222" y="232"/>
                  <a:pt x="2222" y="232"/>
                </a:cubicBezTo>
                <a:cubicBezTo>
                  <a:pt x="2222" y="233"/>
                  <a:pt x="2222" y="233"/>
                  <a:pt x="2222" y="233"/>
                </a:cubicBezTo>
                <a:cubicBezTo>
                  <a:pt x="2223" y="234"/>
                  <a:pt x="2223" y="234"/>
                  <a:pt x="2223" y="234"/>
                </a:cubicBezTo>
                <a:cubicBezTo>
                  <a:pt x="2224" y="234"/>
                  <a:pt x="2224" y="234"/>
                  <a:pt x="2224" y="234"/>
                </a:cubicBezTo>
                <a:cubicBezTo>
                  <a:pt x="2224" y="233"/>
                  <a:pt x="2224" y="233"/>
                  <a:pt x="2224" y="233"/>
                </a:cubicBezTo>
                <a:close/>
                <a:moveTo>
                  <a:pt x="1900" y="134"/>
                </a:moveTo>
                <a:cubicBezTo>
                  <a:pt x="1901" y="134"/>
                  <a:pt x="1901" y="134"/>
                  <a:pt x="1901" y="134"/>
                </a:cubicBezTo>
                <a:cubicBezTo>
                  <a:pt x="1902" y="134"/>
                  <a:pt x="1902" y="134"/>
                  <a:pt x="1902" y="134"/>
                </a:cubicBezTo>
                <a:cubicBezTo>
                  <a:pt x="1901" y="133"/>
                  <a:pt x="1901" y="133"/>
                  <a:pt x="1901" y="133"/>
                </a:cubicBezTo>
                <a:cubicBezTo>
                  <a:pt x="1900" y="132"/>
                  <a:pt x="1900" y="132"/>
                  <a:pt x="1900" y="132"/>
                </a:cubicBezTo>
                <a:cubicBezTo>
                  <a:pt x="1899" y="132"/>
                  <a:pt x="1899" y="132"/>
                  <a:pt x="1899" y="132"/>
                </a:cubicBezTo>
                <a:cubicBezTo>
                  <a:pt x="1899" y="133"/>
                  <a:pt x="1899" y="133"/>
                  <a:pt x="1899" y="133"/>
                </a:cubicBezTo>
                <a:cubicBezTo>
                  <a:pt x="1900" y="133"/>
                  <a:pt x="1900" y="133"/>
                  <a:pt x="1900" y="133"/>
                </a:cubicBezTo>
                <a:lnTo>
                  <a:pt x="1900" y="134"/>
                </a:lnTo>
                <a:close/>
                <a:moveTo>
                  <a:pt x="2248" y="275"/>
                </a:moveTo>
                <a:cubicBezTo>
                  <a:pt x="2248" y="274"/>
                  <a:pt x="2248" y="274"/>
                  <a:pt x="2248" y="274"/>
                </a:cubicBezTo>
                <a:cubicBezTo>
                  <a:pt x="2249" y="273"/>
                  <a:pt x="2249" y="273"/>
                  <a:pt x="2249" y="273"/>
                </a:cubicBezTo>
                <a:cubicBezTo>
                  <a:pt x="2250" y="272"/>
                  <a:pt x="2250" y="272"/>
                  <a:pt x="2250" y="272"/>
                </a:cubicBezTo>
                <a:cubicBezTo>
                  <a:pt x="2251" y="271"/>
                  <a:pt x="2251" y="271"/>
                  <a:pt x="2251" y="271"/>
                </a:cubicBezTo>
                <a:cubicBezTo>
                  <a:pt x="2252" y="270"/>
                  <a:pt x="2252" y="270"/>
                  <a:pt x="2252" y="270"/>
                </a:cubicBezTo>
                <a:cubicBezTo>
                  <a:pt x="2252" y="269"/>
                  <a:pt x="2252" y="269"/>
                  <a:pt x="2252" y="269"/>
                </a:cubicBezTo>
                <a:cubicBezTo>
                  <a:pt x="2251" y="267"/>
                  <a:pt x="2251" y="267"/>
                  <a:pt x="2251" y="267"/>
                </a:cubicBezTo>
                <a:cubicBezTo>
                  <a:pt x="2249" y="266"/>
                  <a:pt x="2249" y="266"/>
                  <a:pt x="2249" y="266"/>
                </a:cubicBezTo>
                <a:cubicBezTo>
                  <a:pt x="2249" y="265"/>
                  <a:pt x="2249" y="265"/>
                  <a:pt x="2249" y="265"/>
                </a:cubicBezTo>
                <a:cubicBezTo>
                  <a:pt x="2248" y="266"/>
                  <a:pt x="2248" y="266"/>
                  <a:pt x="2248" y="266"/>
                </a:cubicBezTo>
                <a:cubicBezTo>
                  <a:pt x="2248" y="267"/>
                  <a:pt x="2248" y="267"/>
                  <a:pt x="2248" y="267"/>
                </a:cubicBezTo>
                <a:cubicBezTo>
                  <a:pt x="2247" y="267"/>
                  <a:pt x="2247" y="267"/>
                  <a:pt x="2247" y="267"/>
                </a:cubicBezTo>
                <a:cubicBezTo>
                  <a:pt x="2246" y="269"/>
                  <a:pt x="2246" y="269"/>
                  <a:pt x="2246" y="269"/>
                </a:cubicBezTo>
                <a:cubicBezTo>
                  <a:pt x="2245" y="269"/>
                  <a:pt x="2245" y="269"/>
                  <a:pt x="2245" y="269"/>
                </a:cubicBezTo>
                <a:cubicBezTo>
                  <a:pt x="2245" y="270"/>
                  <a:pt x="2245" y="270"/>
                  <a:pt x="2245" y="270"/>
                </a:cubicBezTo>
                <a:cubicBezTo>
                  <a:pt x="2246" y="270"/>
                  <a:pt x="2246" y="270"/>
                  <a:pt x="2246" y="270"/>
                </a:cubicBezTo>
                <a:cubicBezTo>
                  <a:pt x="2247" y="270"/>
                  <a:pt x="2247" y="270"/>
                  <a:pt x="2247" y="270"/>
                </a:cubicBezTo>
                <a:cubicBezTo>
                  <a:pt x="2246" y="271"/>
                  <a:pt x="2246" y="271"/>
                  <a:pt x="2246" y="271"/>
                </a:cubicBezTo>
                <a:cubicBezTo>
                  <a:pt x="2247" y="273"/>
                  <a:pt x="2247" y="273"/>
                  <a:pt x="2247" y="273"/>
                </a:cubicBezTo>
                <a:cubicBezTo>
                  <a:pt x="2247" y="274"/>
                  <a:pt x="2247" y="274"/>
                  <a:pt x="2247" y="274"/>
                </a:cubicBezTo>
                <a:cubicBezTo>
                  <a:pt x="2247" y="275"/>
                  <a:pt x="2247" y="275"/>
                  <a:pt x="2247" y="275"/>
                </a:cubicBezTo>
                <a:cubicBezTo>
                  <a:pt x="2247" y="276"/>
                  <a:pt x="2247" y="276"/>
                  <a:pt x="2247" y="276"/>
                </a:cubicBezTo>
                <a:cubicBezTo>
                  <a:pt x="2247" y="277"/>
                  <a:pt x="2247" y="277"/>
                  <a:pt x="2247" y="277"/>
                </a:cubicBezTo>
                <a:cubicBezTo>
                  <a:pt x="2248" y="278"/>
                  <a:pt x="2248" y="278"/>
                  <a:pt x="2248" y="278"/>
                </a:cubicBezTo>
                <a:cubicBezTo>
                  <a:pt x="2249" y="278"/>
                  <a:pt x="2249" y="278"/>
                  <a:pt x="2249" y="278"/>
                </a:cubicBezTo>
                <a:cubicBezTo>
                  <a:pt x="2248" y="277"/>
                  <a:pt x="2248" y="277"/>
                  <a:pt x="2248" y="277"/>
                </a:cubicBezTo>
                <a:cubicBezTo>
                  <a:pt x="2248" y="276"/>
                  <a:pt x="2248" y="276"/>
                  <a:pt x="2248" y="276"/>
                </a:cubicBezTo>
                <a:cubicBezTo>
                  <a:pt x="2248" y="275"/>
                  <a:pt x="2248" y="275"/>
                  <a:pt x="2248" y="275"/>
                </a:cubicBezTo>
                <a:close/>
                <a:moveTo>
                  <a:pt x="1565" y="65"/>
                </a:moveTo>
                <a:cubicBezTo>
                  <a:pt x="1565" y="65"/>
                  <a:pt x="1565" y="65"/>
                  <a:pt x="1565" y="64"/>
                </a:cubicBezTo>
                <a:cubicBezTo>
                  <a:pt x="1565" y="64"/>
                  <a:pt x="1565" y="64"/>
                  <a:pt x="1565" y="63"/>
                </a:cubicBezTo>
                <a:cubicBezTo>
                  <a:pt x="1565" y="63"/>
                  <a:pt x="1565" y="63"/>
                  <a:pt x="1563" y="63"/>
                </a:cubicBezTo>
                <a:cubicBezTo>
                  <a:pt x="1563" y="63"/>
                  <a:pt x="1563" y="63"/>
                  <a:pt x="1563" y="62"/>
                </a:cubicBezTo>
                <a:cubicBezTo>
                  <a:pt x="1563" y="62"/>
                  <a:pt x="1563" y="62"/>
                  <a:pt x="1562" y="62"/>
                </a:cubicBezTo>
                <a:cubicBezTo>
                  <a:pt x="1562" y="62"/>
                  <a:pt x="1562" y="62"/>
                  <a:pt x="1562" y="63"/>
                </a:cubicBezTo>
                <a:cubicBezTo>
                  <a:pt x="1562" y="63"/>
                  <a:pt x="1562" y="63"/>
                  <a:pt x="1562" y="64"/>
                </a:cubicBezTo>
                <a:cubicBezTo>
                  <a:pt x="1562" y="64"/>
                  <a:pt x="1562" y="64"/>
                  <a:pt x="1564" y="65"/>
                </a:cubicBezTo>
                <a:cubicBezTo>
                  <a:pt x="1564" y="65"/>
                  <a:pt x="1564" y="65"/>
                  <a:pt x="1565" y="65"/>
                </a:cubicBezTo>
                <a:close/>
                <a:moveTo>
                  <a:pt x="1556" y="56"/>
                </a:moveTo>
                <a:cubicBezTo>
                  <a:pt x="1557" y="56"/>
                  <a:pt x="1557" y="56"/>
                  <a:pt x="1557" y="56"/>
                </a:cubicBezTo>
                <a:cubicBezTo>
                  <a:pt x="1558" y="56"/>
                  <a:pt x="1558" y="56"/>
                  <a:pt x="1558" y="56"/>
                </a:cubicBezTo>
                <a:cubicBezTo>
                  <a:pt x="1558" y="57"/>
                  <a:pt x="1558" y="57"/>
                  <a:pt x="1558" y="57"/>
                </a:cubicBezTo>
                <a:cubicBezTo>
                  <a:pt x="1559" y="56"/>
                  <a:pt x="1559" y="56"/>
                  <a:pt x="1559" y="56"/>
                </a:cubicBezTo>
                <a:cubicBezTo>
                  <a:pt x="1560" y="55"/>
                  <a:pt x="1560" y="55"/>
                  <a:pt x="1560" y="55"/>
                </a:cubicBezTo>
                <a:cubicBezTo>
                  <a:pt x="1560" y="54"/>
                  <a:pt x="1560" y="54"/>
                  <a:pt x="1560" y="54"/>
                </a:cubicBezTo>
                <a:cubicBezTo>
                  <a:pt x="1558" y="54"/>
                  <a:pt x="1558" y="54"/>
                  <a:pt x="1558" y="54"/>
                </a:cubicBezTo>
                <a:cubicBezTo>
                  <a:pt x="1558" y="53"/>
                  <a:pt x="1558" y="53"/>
                  <a:pt x="1558" y="53"/>
                </a:cubicBezTo>
                <a:cubicBezTo>
                  <a:pt x="1557" y="53"/>
                  <a:pt x="1557" y="53"/>
                  <a:pt x="1557" y="53"/>
                </a:cubicBezTo>
                <a:cubicBezTo>
                  <a:pt x="1556" y="53"/>
                  <a:pt x="1556" y="53"/>
                  <a:pt x="1556" y="53"/>
                </a:cubicBezTo>
                <a:cubicBezTo>
                  <a:pt x="1554" y="54"/>
                  <a:pt x="1554" y="54"/>
                  <a:pt x="1554" y="54"/>
                </a:cubicBezTo>
                <a:cubicBezTo>
                  <a:pt x="1554" y="55"/>
                  <a:pt x="1554" y="55"/>
                  <a:pt x="1554" y="55"/>
                </a:cubicBezTo>
                <a:cubicBezTo>
                  <a:pt x="1555" y="56"/>
                  <a:pt x="1555" y="56"/>
                  <a:pt x="1555" y="56"/>
                </a:cubicBezTo>
                <a:cubicBezTo>
                  <a:pt x="1556" y="56"/>
                  <a:pt x="1556" y="56"/>
                  <a:pt x="1556" y="56"/>
                </a:cubicBezTo>
                <a:close/>
                <a:moveTo>
                  <a:pt x="2232" y="435"/>
                </a:moveTo>
                <a:cubicBezTo>
                  <a:pt x="2232" y="434"/>
                  <a:pt x="2232" y="434"/>
                  <a:pt x="2232" y="434"/>
                </a:cubicBezTo>
                <a:cubicBezTo>
                  <a:pt x="2233" y="432"/>
                  <a:pt x="2233" y="432"/>
                  <a:pt x="2233" y="432"/>
                </a:cubicBezTo>
                <a:cubicBezTo>
                  <a:pt x="2234" y="431"/>
                  <a:pt x="2234" y="431"/>
                  <a:pt x="2234" y="431"/>
                </a:cubicBezTo>
                <a:cubicBezTo>
                  <a:pt x="2233" y="431"/>
                  <a:pt x="2233" y="431"/>
                  <a:pt x="2233" y="431"/>
                </a:cubicBezTo>
                <a:cubicBezTo>
                  <a:pt x="2232" y="431"/>
                  <a:pt x="2232" y="431"/>
                  <a:pt x="2232" y="431"/>
                </a:cubicBezTo>
                <a:cubicBezTo>
                  <a:pt x="2232" y="432"/>
                  <a:pt x="2232" y="432"/>
                  <a:pt x="2232" y="432"/>
                </a:cubicBezTo>
                <a:cubicBezTo>
                  <a:pt x="2231" y="433"/>
                  <a:pt x="2231" y="433"/>
                  <a:pt x="2231" y="433"/>
                </a:cubicBezTo>
                <a:cubicBezTo>
                  <a:pt x="2231" y="434"/>
                  <a:pt x="2231" y="434"/>
                  <a:pt x="2231" y="434"/>
                </a:cubicBezTo>
                <a:cubicBezTo>
                  <a:pt x="2230" y="434"/>
                  <a:pt x="2230" y="434"/>
                  <a:pt x="2230" y="434"/>
                </a:cubicBezTo>
                <a:cubicBezTo>
                  <a:pt x="2230" y="435"/>
                  <a:pt x="2230" y="435"/>
                  <a:pt x="2230" y="435"/>
                </a:cubicBezTo>
                <a:cubicBezTo>
                  <a:pt x="2229" y="436"/>
                  <a:pt x="2229" y="436"/>
                  <a:pt x="2229" y="436"/>
                </a:cubicBezTo>
                <a:cubicBezTo>
                  <a:pt x="2229" y="438"/>
                  <a:pt x="2229" y="438"/>
                  <a:pt x="2229" y="438"/>
                </a:cubicBezTo>
                <a:cubicBezTo>
                  <a:pt x="2231" y="437"/>
                  <a:pt x="2231" y="437"/>
                  <a:pt x="2231" y="437"/>
                </a:cubicBezTo>
                <a:cubicBezTo>
                  <a:pt x="2232" y="435"/>
                  <a:pt x="2232" y="435"/>
                  <a:pt x="2232" y="435"/>
                </a:cubicBezTo>
                <a:close/>
                <a:moveTo>
                  <a:pt x="1560" y="61"/>
                </a:moveTo>
                <a:cubicBezTo>
                  <a:pt x="1560" y="61"/>
                  <a:pt x="1560" y="61"/>
                  <a:pt x="1558" y="62"/>
                </a:cubicBezTo>
                <a:cubicBezTo>
                  <a:pt x="1558" y="62"/>
                  <a:pt x="1558" y="62"/>
                  <a:pt x="1558" y="63"/>
                </a:cubicBezTo>
                <a:cubicBezTo>
                  <a:pt x="1558" y="63"/>
                  <a:pt x="1558" y="63"/>
                  <a:pt x="1559" y="63"/>
                </a:cubicBezTo>
                <a:cubicBezTo>
                  <a:pt x="1559" y="63"/>
                  <a:pt x="1559" y="63"/>
                  <a:pt x="1560" y="63"/>
                </a:cubicBezTo>
                <a:cubicBezTo>
                  <a:pt x="1560" y="63"/>
                  <a:pt x="1560" y="63"/>
                  <a:pt x="1561" y="62"/>
                </a:cubicBezTo>
                <a:cubicBezTo>
                  <a:pt x="1561" y="62"/>
                  <a:pt x="1561" y="62"/>
                  <a:pt x="1561" y="61"/>
                </a:cubicBezTo>
                <a:cubicBezTo>
                  <a:pt x="1561" y="61"/>
                  <a:pt x="1561" y="61"/>
                  <a:pt x="1560" y="60"/>
                </a:cubicBezTo>
                <a:cubicBezTo>
                  <a:pt x="1560" y="60"/>
                  <a:pt x="1560" y="60"/>
                  <a:pt x="1560" y="61"/>
                </a:cubicBezTo>
                <a:close/>
                <a:moveTo>
                  <a:pt x="1560" y="53"/>
                </a:moveTo>
                <a:cubicBezTo>
                  <a:pt x="1560" y="54"/>
                  <a:pt x="1560" y="54"/>
                  <a:pt x="1560" y="54"/>
                </a:cubicBezTo>
                <a:cubicBezTo>
                  <a:pt x="1561" y="54"/>
                  <a:pt x="1561" y="54"/>
                  <a:pt x="1561" y="54"/>
                </a:cubicBezTo>
                <a:cubicBezTo>
                  <a:pt x="1560" y="53"/>
                  <a:pt x="1560" y="53"/>
                  <a:pt x="1560" y="53"/>
                </a:cubicBezTo>
                <a:close/>
                <a:moveTo>
                  <a:pt x="1559" y="84"/>
                </a:moveTo>
                <a:cubicBezTo>
                  <a:pt x="1560" y="84"/>
                  <a:pt x="1560" y="84"/>
                  <a:pt x="1560" y="84"/>
                </a:cubicBezTo>
                <a:cubicBezTo>
                  <a:pt x="1559" y="83"/>
                  <a:pt x="1559" y="83"/>
                  <a:pt x="1559" y="83"/>
                </a:cubicBezTo>
                <a:cubicBezTo>
                  <a:pt x="1559" y="82"/>
                  <a:pt x="1559" y="82"/>
                  <a:pt x="1559" y="82"/>
                </a:cubicBezTo>
                <a:cubicBezTo>
                  <a:pt x="1558" y="82"/>
                  <a:pt x="1558" y="82"/>
                  <a:pt x="1558" y="82"/>
                </a:cubicBezTo>
                <a:cubicBezTo>
                  <a:pt x="1557" y="83"/>
                  <a:pt x="1557" y="83"/>
                  <a:pt x="1557" y="83"/>
                </a:cubicBezTo>
                <a:cubicBezTo>
                  <a:pt x="1557" y="84"/>
                  <a:pt x="1557" y="84"/>
                  <a:pt x="1557" y="84"/>
                </a:cubicBezTo>
                <a:cubicBezTo>
                  <a:pt x="1558" y="84"/>
                  <a:pt x="1558" y="84"/>
                  <a:pt x="1558" y="84"/>
                </a:cubicBezTo>
                <a:cubicBezTo>
                  <a:pt x="1559" y="84"/>
                  <a:pt x="1559" y="84"/>
                  <a:pt x="1559" y="84"/>
                </a:cubicBezTo>
                <a:close/>
                <a:moveTo>
                  <a:pt x="1561" y="80"/>
                </a:moveTo>
                <a:cubicBezTo>
                  <a:pt x="1561" y="79"/>
                  <a:pt x="1561" y="79"/>
                  <a:pt x="1561" y="79"/>
                </a:cubicBezTo>
                <a:cubicBezTo>
                  <a:pt x="1560" y="79"/>
                  <a:pt x="1560" y="79"/>
                  <a:pt x="1560" y="79"/>
                </a:cubicBezTo>
                <a:cubicBezTo>
                  <a:pt x="1560" y="80"/>
                  <a:pt x="1560" y="80"/>
                  <a:pt x="1560" y="80"/>
                </a:cubicBezTo>
                <a:cubicBezTo>
                  <a:pt x="1559" y="80"/>
                  <a:pt x="1559" y="80"/>
                  <a:pt x="1559" y="80"/>
                </a:cubicBezTo>
                <a:cubicBezTo>
                  <a:pt x="1560" y="81"/>
                  <a:pt x="1560" y="81"/>
                  <a:pt x="1560" y="81"/>
                </a:cubicBezTo>
                <a:cubicBezTo>
                  <a:pt x="1561" y="80"/>
                  <a:pt x="1561" y="80"/>
                  <a:pt x="1561" y="80"/>
                </a:cubicBezTo>
                <a:close/>
                <a:moveTo>
                  <a:pt x="1558" y="81"/>
                </a:moveTo>
                <a:cubicBezTo>
                  <a:pt x="1558" y="80"/>
                  <a:pt x="1558" y="80"/>
                  <a:pt x="1558" y="80"/>
                </a:cubicBezTo>
                <a:cubicBezTo>
                  <a:pt x="1557" y="81"/>
                  <a:pt x="1557" y="81"/>
                  <a:pt x="1557" y="81"/>
                </a:cubicBezTo>
                <a:cubicBezTo>
                  <a:pt x="1558" y="81"/>
                  <a:pt x="1558" y="81"/>
                  <a:pt x="1558" y="81"/>
                </a:cubicBezTo>
                <a:close/>
                <a:moveTo>
                  <a:pt x="1566" y="75"/>
                </a:moveTo>
                <a:cubicBezTo>
                  <a:pt x="1567" y="75"/>
                  <a:pt x="1567" y="75"/>
                  <a:pt x="1567" y="75"/>
                </a:cubicBezTo>
                <a:cubicBezTo>
                  <a:pt x="1567" y="74"/>
                  <a:pt x="1567" y="74"/>
                  <a:pt x="1567" y="74"/>
                </a:cubicBezTo>
                <a:cubicBezTo>
                  <a:pt x="1566" y="73"/>
                  <a:pt x="1566" y="73"/>
                  <a:pt x="1566" y="73"/>
                </a:cubicBezTo>
                <a:cubicBezTo>
                  <a:pt x="1566" y="74"/>
                  <a:pt x="1566" y="74"/>
                  <a:pt x="1566" y="74"/>
                </a:cubicBezTo>
                <a:cubicBezTo>
                  <a:pt x="1565" y="74"/>
                  <a:pt x="1565" y="74"/>
                  <a:pt x="1565" y="74"/>
                </a:cubicBezTo>
                <a:cubicBezTo>
                  <a:pt x="1564" y="74"/>
                  <a:pt x="1564" y="74"/>
                  <a:pt x="1564" y="74"/>
                </a:cubicBezTo>
                <a:cubicBezTo>
                  <a:pt x="1565" y="75"/>
                  <a:pt x="1565" y="75"/>
                  <a:pt x="1565" y="75"/>
                </a:cubicBezTo>
                <a:cubicBezTo>
                  <a:pt x="1566" y="75"/>
                  <a:pt x="1566" y="75"/>
                  <a:pt x="1566" y="75"/>
                </a:cubicBezTo>
                <a:close/>
                <a:moveTo>
                  <a:pt x="1564" y="56"/>
                </a:moveTo>
                <a:cubicBezTo>
                  <a:pt x="1564" y="56"/>
                  <a:pt x="1564" y="56"/>
                  <a:pt x="1564" y="55"/>
                </a:cubicBezTo>
                <a:cubicBezTo>
                  <a:pt x="1564" y="55"/>
                  <a:pt x="1564" y="55"/>
                  <a:pt x="1564" y="54"/>
                </a:cubicBezTo>
                <a:cubicBezTo>
                  <a:pt x="1564" y="54"/>
                  <a:pt x="1564" y="54"/>
                  <a:pt x="1563" y="54"/>
                </a:cubicBezTo>
                <a:cubicBezTo>
                  <a:pt x="1563" y="54"/>
                  <a:pt x="1563" y="54"/>
                  <a:pt x="1562" y="54"/>
                </a:cubicBezTo>
                <a:cubicBezTo>
                  <a:pt x="1562" y="54"/>
                  <a:pt x="1562" y="54"/>
                  <a:pt x="1562" y="55"/>
                </a:cubicBezTo>
                <a:cubicBezTo>
                  <a:pt x="1562" y="55"/>
                  <a:pt x="1562" y="55"/>
                  <a:pt x="1562" y="56"/>
                </a:cubicBezTo>
                <a:cubicBezTo>
                  <a:pt x="1562" y="56"/>
                  <a:pt x="1562" y="56"/>
                  <a:pt x="1563" y="56"/>
                </a:cubicBezTo>
                <a:cubicBezTo>
                  <a:pt x="1563" y="56"/>
                  <a:pt x="1563" y="56"/>
                  <a:pt x="1564" y="56"/>
                </a:cubicBezTo>
                <a:close/>
                <a:moveTo>
                  <a:pt x="1565" y="68"/>
                </a:moveTo>
                <a:cubicBezTo>
                  <a:pt x="1565" y="68"/>
                  <a:pt x="1565" y="68"/>
                  <a:pt x="1564" y="69"/>
                </a:cubicBezTo>
                <a:cubicBezTo>
                  <a:pt x="1564" y="69"/>
                  <a:pt x="1564" y="69"/>
                  <a:pt x="1564" y="70"/>
                </a:cubicBezTo>
                <a:cubicBezTo>
                  <a:pt x="1564" y="70"/>
                  <a:pt x="1564" y="70"/>
                  <a:pt x="1565" y="70"/>
                </a:cubicBezTo>
                <a:cubicBezTo>
                  <a:pt x="1565" y="70"/>
                  <a:pt x="1565" y="70"/>
                  <a:pt x="1566" y="70"/>
                </a:cubicBezTo>
                <a:cubicBezTo>
                  <a:pt x="1566" y="70"/>
                  <a:pt x="1566" y="70"/>
                  <a:pt x="1567" y="69"/>
                </a:cubicBezTo>
                <a:cubicBezTo>
                  <a:pt x="1567" y="69"/>
                  <a:pt x="1567" y="69"/>
                  <a:pt x="1567" y="68"/>
                </a:cubicBezTo>
                <a:cubicBezTo>
                  <a:pt x="1567" y="68"/>
                  <a:pt x="1567" y="68"/>
                  <a:pt x="1566" y="66"/>
                </a:cubicBezTo>
                <a:cubicBezTo>
                  <a:pt x="1566" y="66"/>
                  <a:pt x="1566" y="66"/>
                  <a:pt x="1565" y="67"/>
                </a:cubicBezTo>
                <a:cubicBezTo>
                  <a:pt x="1565" y="67"/>
                  <a:pt x="1565" y="67"/>
                  <a:pt x="1565" y="68"/>
                </a:cubicBezTo>
                <a:close/>
                <a:moveTo>
                  <a:pt x="1559" y="76"/>
                </a:moveTo>
                <a:cubicBezTo>
                  <a:pt x="1559" y="76"/>
                  <a:pt x="1559" y="76"/>
                  <a:pt x="1559" y="75"/>
                </a:cubicBezTo>
                <a:cubicBezTo>
                  <a:pt x="1559" y="75"/>
                  <a:pt x="1559" y="75"/>
                  <a:pt x="1560" y="75"/>
                </a:cubicBezTo>
                <a:cubicBezTo>
                  <a:pt x="1560" y="75"/>
                  <a:pt x="1560" y="75"/>
                  <a:pt x="1561" y="75"/>
                </a:cubicBezTo>
                <a:cubicBezTo>
                  <a:pt x="1561" y="75"/>
                  <a:pt x="1561" y="75"/>
                  <a:pt x="1562" y="75"/>
                </a:cubicBezTo>
                <a:cubicBezTo>
                  <a:pt x="1562" y="75"/>
                  <a:pt x="1562" y="75"/>
                  <a:pt x="1562" y="74"/>
                </a:cubicBezTo>
                <a:cubicBezTo>
                  <a:pt x="1562" y="74"/>
                  <a:pt x="1562" y="74"/>
                  <a:pt x="1561" y="73"/>
                </a:cubicBezTo>
                <a:cubicBezTo>
                  <a:pt x="1561" y="73"/>
                  <a:pt x="1561" y="73"/>
                  <a:pt x="1560" y="73"/>
                </a:cubicBezTo>
                <a:cubicBezTo>
                  <a:pt x="1560" y="73"/>
                  <a:pt x="1560" y="73"/>
                  <a:pt x="1559" y="72"/>
                </a:cubicBezTo>
                <a:cubicBezTo>
                  <a:pt x="1559" y="72"/>
                  <a:pt x="1559" y="72"/>
                  <a:pt x="1558" y="73"/>
                </a:cubicBezTo>
                <a:cubicBezTo>
                  <a:pt x="1558" y="73"/>
                  <a:pt x="1558" y="73"/>
                  <a:pt x="1557" y="74"/>
                </a:cubicBezTo>
                <a:cubicBezTo>
                  <a:pt x="1557" y="74"/>
                  <a:pt x="1557" y="74"/>
                  <a:pt x="1557" y="75"/>
                </a:cubicBezTo>
                <a:cubicBezTo>
                  <a:pt x="1557" y="75"/>
                  <a:pt x="1557" y="75"/>
                  <a:pt x="1558" y="76"/>
                </a:cubicBezTo>
                <a:cubicBezTo>
                  <a:pt x="1558" y="76"/>
                  <a:pt x="1558" y="76"/>
                  <a:pt x="1559" y="76"/>
                </a:cubicBezTo>
                <a:close/>
                <a:moveTo>
                  <a:pt x="1557" y="72"/>
                </a:moveTo>
                <a:cubicBezTo>
                  <a:pt x="1557" y="72"/>
                  <a:pt x="1557" y="72"/>
                  <a:pt x="1556" y="72"/>
                </a:cubicBezTo>
                <a:cubicBezTo>
                  <a:pt x="1556" y="72"/>
                  <a:pt x="1556" y="72"/>
                  <a:pt x="1555" y="72"/>
                </a:cubicBezTo>
                <a:cubicBezTo>
                  <a:pt x="1555" y="72"/>
                  <a:pt x="1555" y="72"/>
                  <a:pt x="1554" y="71"/>
                </a:cubicBezTo>
                <a:cubicBezTo>
                  <a:pt x="1554" y="71"/>
                  <a:pt x="1554" y="71"/>
                  <a:pt x="1552" y="71"/>
                </a:cubicBezTo>
                <a:cubicBezTo>
                  <a:pt x="1552" y="71"/>
                  <a:pt x="1552" y="71"/>
                  <a:pt x="1551" y="72"/>
                </a:cubicBezTo>
                <a:cubicBezTo>
                  <a:pt x="1551" y="72"/>
                  <a:pt x="1551" y="72"/>
                  <a:pt x="1550" y="72"/>
                </a:cubicBezTo>
                <a:cubicBezTo>
                  <a:pt x="1550" y="72"/>
                  <a:pt x="1550" y="72"/>
                  <a:pt x="1550" y="73"/>
                </a:cubicBezTo>
                <a:cubicBezTo>
                  <a:pt x="1550" y="73"/>
                  <a:pt x="1550" y="73"/>
                  <a:pt x="1551" y="74"/>
                </a:cubicBezTo>
                <a:cubicBezTo>
                  <a:pt x="1551" y="74"/>
                  <a:pt x="1551" y="74"/>
                  <a:pt x="1553" y="74"/>
                </a:cubicBezTo>
                <a:cubicBezTo>
                  <a:pt x="1554" y="74"/>
                  <a:pt x="1554" y="74"/>
                  <a:pt x="1554" y="74"/>
                </a:cubicBezTo>
                <a:cubicBezTo>
                  <a:pt x="1554" y="74"/>
                  <a:pt x="1554" y="74"/>
                  <a:pt x="1557" y="73"/>
                </a:cubicBezTo>
                <a:cubicBezTo>
                  <a:pt x="1557" y="73"/>
                  <a:pt x="1557" y="73"/>
                  <a:pt x="1557" y="72"/>
                </a:cubicBezTo>
                <a:close/>
                <a:moveTo>
                  <a:pt x="1560" y="288"/>
                </a:moveTo>
                <a:cubicBezTo>
                  <a:pt x="1559" y="287"/>
                  <a:pt x="1559" y="287"/>
                  <a:pt x="1559" y="287"/>
                </a:cubicBezTo>
                <a:cubicBezTo>
                  <a:pt x="1558" y="287"/>
                  <a:pt x="1558" y="287"/>
                  <a:pt x="1558" y="287"/>
                </a:cubicBezTo>
                <a:cubicBezTo>
                  <a:pt x="1558" y="288"/>
                  <a:pt x="1558" y="288"/>
                  <a:pt x="1558" y="288"/>
                </a:cubicBezTo>
                <a:cubicBezTo>
                  <a:pt x="1559" y="288"/>
                  <a:pt x="1559" y="288"/>
                  <a:pt x="1559" y="288"/>
                </a:cubicBezTo>
                <a:cubicBezTo>
                  <a:pt x="1560" y="288"/>
                  <a:pt x="1560" y="288"/>
                  <a:pt x="1560" y="288"/>
                </a:cubicBezTo>
                <a:close/>
                <a:moveTo>
                  <a:pt x="1749" y="215"/>
                </a:moveTo>
                <a:cubicBezTo>
                  <a:pt x="1749" y="216"/>
                  <a:pt x="1749" y="216"/>
                  <a:pt x="1749" y="216"/>
                </a:cubicBezTo>
                <a:cubicBezTo>
                  <a:pt x="1749" y="217"/>
                  <a:pt x="1749" y="217"/>
                  <a:pt x="1749" y="217"/>
                </a:cubicBezTo>
                <a:cubicBezTo>
                  <a:pt x="1750" y="216"/>
                  <a:pt x="1750" y="216"/>
                  <a:pt x="1750" y="216"/>
                </a:cubicBezTo>
                <a:cubicBezTo>
                  <a:pt x="1749" y="215"/>
                  <a:pt x="1749" y="215"/>
                  <a:pt x="1749" y="215"/>
                </a:cubicBezTo>
                <a:close/>
                <a:moveTo>
                  <a:pt x="1555" y="79"/>
                </a:moveTo>
                <a:cubicBezTo>
                  <a:pt x="1556" y="80"/>
                  <a:pt x="1556" y="80"/>
                  <a:pt x="1556" y="80"/>
                </a:cubicBezTo>
                <a:cubicBezTo>
                  <a:pt x="1556" y="79"/>
                  <a:pt x="1556" y="79"/>
                  <a:pt x="1556" y="79"/>
                </a:cubicBezTo>
                <a:cubicBezTo>
                  <a:pt x="1556" y="78"/>
                  <a:pt x="1556" y="78"/>
                  <a:pt x="1556" y="78"/>
                </a:cubicBezTo>
                <a:cubicBezTo>
                  <a:pt x="1555" y="78"/>
                  <a:pt x="1555" y="78"/>
                  <a:pt x="1555" y="78"/>
                </a:cubicBezTo>
                <a:cubicBezTo>
                  <a:pt x="1554" y="78"/>
                  <a:pt x="1554" y="78"/>
                  <a:pt x="1554" y="78"/>
                </a:cubicBezTo>
                <a:cubicBezTo>
                  <a:pt x="1555" y="79"/>
                  <a:pt x="1555" y="79"/>
                  <a:pt x="1555" y="79"/>
                </a:cubicBezTo>
                <a:close/>
                <a:moveTo>
                  <a:pt x="1557" y="50"/>
                </a:moveTo>
                <a:cubicBezTo>
                  <a:pt x="1559" y="49"/>
                  <a:pt x="1559" y="49"/>
                  <a:pt x="1559" y="49"/>
                </a:cubicBezTo>
                <a:cubicBezTo>
                  <a:pt x="1560" y="49"/>
                  <a:pt x="1560" y="49"/>
                  <a:pt x="1560" y="49"/>
                </a:cubicBezTo>
                <a:cubicBezTo>
                  <a:pt x="1560" y="48"/>
                  <a:pt x="1560" y="48"/>
                  <a:pt x="1560" y="48"/>
                </a:cubicBezTo>
                <a:cubicBezTo>
                  <a:pt x="1561" y="48"/>
                  <a:pt x="1561" y="48"/>
                  <a:pt x="1561" y="48"/>
                </a:cubicBezTo>
                <a:cubicBezTo>
                  <a:pt x="1560" y="47"/>
                  <a:pt x="1560" y="47"/>
                  <a:pt x="1560" y="47"/>
                </a:cubicBezTo>
                <a:cubicBezTo>
                  <a:pt x="1560" y="46"/>
                  <a:pt x="1560" y="46"/>
                  <a:pt x="1560" y="46"/>
                </a:cubicBezTo>
                <a:cubicBezTo>
                  <a:pt x="1559" y="45"/>
                  <a:pt x="1559" y="45"/>
                  <a:pt x="1559" y="45"/>
                </a:cubicBezTo>
                <a:cubicBezTo>
                  <a:pt x="1558" y="46"/>
                  <a:pt x="1558" y="46"/>
                  <a:pt x="1558" y="46"/>
                </a:cubicBezTo>
                <a:cubicBezTo>
                  <a:pt x="1557" y="46"/>
                  <a:pt x="1557" y="46"/>
                  <a:pt x="1557" y="46"/>
                </a:cubicBezTo>
                <a:cubicBezTo>
                  <a:pt x="1556" y="47"/>
                  <a:pt x="1556" y="47"/>
                  <a:pt x="1556" y="47"/>
                </a:cubicBezTo>
                <a:cubicBezTo>
                  <a:pt x="1556" y="48"/>
                  <a:pt x="1556" y="48"/>
                  <a:pt x="1556" y="48"/>
                </a:cubicBezTo>
                <a:cubicBezTo>
                  <a:pt x="1557" y="49"/>
                  <a:pt x="1557" y="49"/>
                  <a:pt x="1557" y="49"/>
                </a:cubicBezTo>
                <a:lnTo>
                  <a:pt x="1557" y="50"/>
                </a:lnTo>
                <a:close/>
                <a:moveTo>
                  <a:pt x="2242" y="410"/>
                </a:moveTo>
                <a:cubicBezTo>
                  <a:pt x="2242" y="411"/>
                  <a:pt x="2242" y="411"/>
                  <a:pt x="2242" y="411"/>
                </a:cubicBezTo>
                <a:cubicBezTo>
                  <a:pt x="2243" y="411"/>
                  <a:pt x="2243" y="411"/>
                  <a:pt x="2243" y="411"/>
                </a:cubicBezTo>
                <a:cubicBezTo>
                  <a:pt x="2242" y="410"/>
                  <a:pt x="2242" y="410"/>
                  <a:pt x="2242" y="410"/>
                </a:cubicBezTo>
                <a:close/>
                <a:moveTo>
                  <a:pt x="2247" y="380"/>
                </a:moveTo>
                <a:cubicBezTo>
                  <a:pt x="2247" y="382"/>
                  <a:pt x="2247" y="382"/>
                  <a:pt x="2247" y="382"/>
                </a:cubicBezTo>
                <a:cubicBezTo>
                  <a:pt x="2247" y="383"/>
                  <a:pt x="2247" y="383"/>
                  <a:pt x="2247" y="383"/>
                </a:cubicBezTo>
                <a:cubicBezTo>
                  <a:pt x="2246" y="383"/>
                  <a:pt x="2246" y="383"/>
                  <a:pt x="2246" y="383"/>
                </a:cubicBezTo>
                <a:cubicBezTo>
                  <a:pt x="2245" y="385"/>
                  <a:pt x="2245" y="385"/>
                  <a:pt x="2245" y="385"/>
                </a:cubicBezTo>
                <a:cubicBezTo>
                  <a:pt x="2244" y="385"/>
                  <a:pt x="2244" y="385"/>
                  <a:pt x="2244" y="385"/>
                </a:cubicBezTo>
                <a:cubicBezTo>
                  <a:pt x="2245" y="386"/>
                  <a:pt x="2245" y="386"/>
                  <a:pt x="2245" y="386"/>
                </a:cubicBezTo>
                <a:cubicBezTo>
                  <a:pt x="2245" y="387"/>
                  <a:pt x="2245" y="387"/>
                  <a:pt x="2245" y="387"/>
                </a:cubicBezTo>
                <a:cubicBezTo>
                  <a:pt x="2244" y="387"/>
                  <a:pt x="2244" y="387"/>
                  <a:pt x="2244" y="387"/>
                </a:cubicBezTo>
                <a:cubicBezTo>
                  <a:pt x="2245" y="388"/>
                  <a:pt x="2245" y="388"/>
                  <a:pt x="2245" y="388"/>
                </a:cubicBezTo>
                <a:cubicBezTo>
                  <a:pt x="2246" y="388"/>
                  <a:pt x="2246" y="388"/>
                  <a:pt x="2246" y="388"/>
                </a:cubicBezTo>
                <a:cubicBezTo>
                  <a:pt x="2247" y="388"/>
                  <a:pt x="2247" y="388"/>
                  <a:pt x="2247" y="388"/>
                </a:cubicBezTo>
                <a:cubicBezTo>
                  <a:pt x="2247" y="387"/>
                  <a:pt x="2247" y="387"/>
                  <a:pt x="2247" y="387"/>
                </a:cubicBezTo>
                <a:cubicBezTo>
                  <a:pt x="2247" y="386"/>
                  <a:pt x="2247" y="386"/>
                  <a:pt x="2247" y="386"/>
                </a:cubicBezTo>
                <a:cubicBezTo>
                  <a:pt x="2248" y="386"/>
                  <a:pt x="2248" y="386"/>
                  <a:pt x="2248" y="386"/>
                </a:cubicBezTo>
                <a:cubicBezTo>
                  <a:pt x="2249" y="384"/>
                  <a:pt x="2249" y="384"/>
                  <a:pt x="2249" y="384"/>
                </a:cubicBezTo>
                <a:cubicBezTo>
                  <a:pt x="2249" y="383"/>
                  <a:pt x="2249" y="383"/>
                  <a:pt x="2249" y="383"/>
                </a:cubicBezTo>
                <a:cubicBezTo>
                  <a:pt x="2249" y="382"/>
                  <a:pt x="2249" y="382"/>
                  <a:pt x="2249" y="382"/>
                </a:cubicBezTo>
                <a:cubicBezTo>
                  <a:pt x="2250" y="381"/>
                  <a:pt x="2250" y="381"/>
                  <a:pt x="2250" y="381"/>
                </a:cubicBezTo>
                <a:cubicBezTo>
                  <a:pt x="2249" y="380"/>
                  <a:pt x="2249" y="380"/>
                  <a:pt x="2249" y="380"/>
                </a:cubicBezTo>
                <a:cubicBezTo>
                  <a:pt x="2247" y="379"/>
                  <a:pt x="2247" y="379"/>
                  <a:pt x="2247" y="379"/>
                </a:cubicBezTo>
                <a:cubicBezTo>
                  <a:pt x="2247" y="380"/>
                  <a:pt x="2247" y="380"/>
                  <a:pt x="2247" y="380"/>
                </a:cubicBezTo>
                <a:close/>
                <a:moveTo>
                  <a:pt x="2245" y="394"/>
                </a:moveTo>
                <a:cubicBezTo>
                  <a:pt x="2244" y="395"/>
                  <a:pt x="2244" y="395"/>
                  <a:pt x="2244" y="395"/>
                </a:cubicBezTo>
                <a:cubicBezTo>
                  <a:pt x="2245" y="396"/>
                  <a:pt x="2245" y="396"/>
                  <a:pt x="2245" y="396"/>
                </a:cubicBezTo>
                <a:cubicBezTo>
                  <a:pt x="2246" y="395"/>
                  <a:pt x="2246" y="395"/>
                  <a:pt x="2246" y="395"/>
                </a:cubicBezTo>
                <a:cubicBezTo>
                  <a:pt x="2245" y="394"/>
                  <a:pt x="2245" y="394"/>
                  <a:pt x="2245" y="394"/>
                </a:cubicBezTo>
                <a:close/>
                <a:moveTo>
                  <a:pt x="1563" y="87"/>
                </a:moveTo>
                <a:cubicBezTo>
                  <a:pt x="1564" y="87"/>
                  <a:pt x="1564" y="87"/>
                  <a:pt x="1564" y="87"/>
                </a:cubicBezTo>
                <a:cubicBezTo>
                  <a:pt x="1565" y="86"/>
                  <a:pt x="1565" y="86"/>
                  <a:pt x="1565" y="86"/>
                </a:cubicBezTo>
                <a:cubicBezTo>
                  <a:pt x="1567" y="86"/>
                  <a:pt x="1567" y="86"/>
                  <a:pt x="1567" y="86"/>
                </a:cubicBezTo>
                <a:cubicBezTo>
                  <a:pt x="1567" y="85"/>
                  <a:pt x="1567" y="85"/>
                  <a:pt x="1567" y="85"/>
                </a:cubicBezTo>
                <a:cubicBezTo>
                  <a:pt x="1566" y="84"/>
                  <a:pt x="1566" y="84"/>
                  <a:pt x="1566" y="84"/>
                </a:cubicBezTo>
                <a:cubicBezTo>
                  <a:pt x="1566" y="83"/>
                  <a:pt x="1566" y="83"/>
                  <a:pt x="1566" y="83"/>
                </a:cubicBezTo>
                <a:cubicBezTo>
                  <a:pt x="1566" y="82"/>
                  <a:pt x="1566" y="82"/>
                  <a:pt x="1566" y="82"/>
                </a:cubicBezTo>
                <a:cubicBezTo>
                  <a:pt x="1565" y="80"/>
                  <a:pt x="1565" y="80"/>
                  <a:pt x="1565" y="80"/>
                </a:cubicBezTo>
                <a:cubicBezTo>
                  <a:pt x="1564" y="80"/>
                  <a:pt x="1564" y="80"/>
                  <a:pt x="1564" y="80"/>
                </a:cubicBezTo>
                <a:cubicBezTo>
                  <a:pt x="1562" y="80"/>
                  <a:pt x="1562" y="80"/>
                  <a:pt x="1562" y="80"/>
                </a:cubicBezTo>
                <a:cubicBezTo>
                  <a:pt x="1561" y="81"/>
                  <a:pt x="1561" y="81"/>
                  <a:pt x="1561" y="81"/>
                </a:cubicBezTo>
                <a:cubicBezTo>
                  <a:pt x="1561" y="82"/>
                  <a:pt x="1561" y="82"/>
                  <a:pt x="1561" y="82"/>
                </a:cubicBezTo>
                <a:cubicBezTo>
                  <a:pt x="1562" y="84"/>
                  <a:pt x="1562" y="84"/>
                  <a:pt x="1562" y="84"/>
                </a:cubicBezTo>
                <a:cubicBezTo>
                  <a:pt x="1562" y="86"/>
                  <a:pt x="1562" y="86"/>
                  <a:pt x="1562" y="86"/>
                </a:cubicBezTo>
                <a:cubicBezTo>
                  <a:pt x="1563" y="87"/>
                  <a:pt x="1563" y="87"/>
                  <a:pt x="1563" y="87"/>
                </a:cubicBezTo>
                <a:close/>
                <a:moveTo>
                  <a:pt x="2250" y="379"/>
                </a:moveTo>
                <a:cubicBezTo>
                  <a:pt x="2250" y="378"/>
                  <a:pt x="2250" y="378"/>
                  <a:pt x="2250" y="378"/>
                </a:cubicBezTo>
                <a:cubicBezTo>
                  <a:pt x="2249" y="377"/>
                  <a:pt x="2249" y="377"/>
                  <a:pt x="2249" y="377"/>
                </a:cubicBezTo>
                <a:cubicBezTo>
                  <a:pt x="2249" y="378"/>
                  <a:pt x="2249" y="378"/>
                  <a:pt x="2249" y="378"/>
                </a:cubicBezTo>
                <a:cubicBezTo>
                  <a:pt x="2249" y="379"/>
                  <a:pt x="2249" y="379"/>
                  <a:pt x="2249" y="379"/>
                </a:cubicBezTo>
                <a:cubicBezTo>
                  <a:pt x="2249" y="380"/>
                  <a:pt x="2249" y="380"/>
                  <a:pt x="2249" y="380"/>
                </a:cubicBezTo>
                <a:cubicBezTo>
                  <a:pt x="2250" y="380"/>
                  <a:pt x="2250" y="380"/>
                  <a:pt x="2250" y="380"/>
                </a:cubicBezTo>
                <a:cubicBezTo>
                  <a:pt x="2250" y="379"/>
                  <a:pt x="2250" y="379"/>
                  <a:pt x="2250" y="379"/>
                </a:cubicBezTo>
                <a:close/>
                <a:moveTo>
                  <a:pt x="2219" y="445"/>
                </a:moveTo>
                <a:cubicBezTo>
                  <a:pt x="2218" y="445"/>
                  <a:pt x="2218" y="445"/>
                  <a:pt x="2218" y="445"/>
                </a:cubicBezTo>
                <a:cubicBezTo>
                  <a:pt x="2218" y="446"/>
                  <a:pt x="2218" y="446"/>
                  <a:pt x="2218" y="446"/>
                </a:cubicBezTo>
                <a:cubicBezTo>
                  <a:pt x="2218" y="447"/>
                  <a:pt x="2218" y="447"/>
                  <a:pt x="2218" y="447"/>
                </a:cubicBezTo>
                <a:cubicBezTo>
                  <a:pt x="2217" y="448"/>
                  <a:pt x="2217" y="448"/>
                  <a:pt x="2217" y="448"/>
                </a:cubicBezTo>
                <a:cubicBezTo>
                  <a:pt x="2217" y="449"/>
                  <a:pt x="2217" y="449"/>
                  <a:pt x="2217" y="449"/>
                </a:cubicBezTo>
                <a:cubicBezTo>
                  <a:pt x="2217" y="450"/>
                  <a:pt x="2217" y="450"/>
                  <a:pt x="2217" y="450"/>
                </a:cubicBezTo>
                <a:cubicBezTo>
                  <a:pt x="2217" y="451"/>
                  <a:pt x="2217" y="451"/>
                  <a:pt x="2217" y="451"/>
                </a:cubicBezTo>
                <a:cubicBezTo>
                  <a:pt x="2217" y="452"/>
                  <a:pt x="2217" y="452"/>
                  <a:pt x="2217" y="452"/>
                </a:cubicBezTo>
                <a:cubicBezTo>
                  <a:pt x="2218" y="452"/>
                  <a:pt x="2218" y="452"/>
                  <a:pt x="2218" y="452"/>
                </a:cubicBezTo>
                <a:cubicBezTo>
                  <a:pt x="2218" y="450"/>
                  <a:pt x="2218" y="450"/>
                  <a:pt x="2218" y="450"/>
                </a:cubicBezTo>
                <a:cubicBezTo>
                  <a:pt x="2219" y="450"/>
                  <a:pt x="2219" y="450"/>
                  <a:pt x="2219" y="450"/>
                </a:cubicBezTo>
                <a:cubicBezTo>
                  <a:pt x="2219" y="448"/>
                  <a:pt x="2219" y="448"/>
                  <a:pt x="2219" y="448"/>
                </a:cubicBezTo>
                <a:cubicBezTo>
                  <a:pt x="2219" y="447"/>
                  <a:pt x="2219" y="447"/>
                  <a:pt x="2219" y="447"/>
                </a:cubicBezTo>
                <a:cubicBezTo>
                  <a:pt x="2220" y="446"/>
                  <a:pt x="2220" y="446"/>
                  <a:pt x="2220" y="446"/>
                </a:cubicBezTo>
                <a:cubicBezTo>
                  <a:pt x="2220" y="447"/>
                  <a:pt x="2220" y="447"/>
                  <a:pt x="2220" y="447"/>
                </a:cubicBezTo>
                <a:cubicBezTo>
                  <a:pt x="2221" y="446"/>
                  <a:pt x="2221" y="446"/>
                  <a:pt x="2221" y="446"/>
                </a:cubicBezTo>
                <a:cubicBezTo>
                  <a:pt x="2222" y="444"/>
                  <a:pt x="2222" y="444"/>
                  <a:pt x="2222" y="444"/>
                </a:cubicBezTo>
                <a:cubicBezTo>
                  <a:pt x="2223" y="442"/>
                  <a:pt x="2223" y="442"/>
                  <a:pt x="2223" y="442"/>
                </a:cubicBezTo>
                <a:cubicBezTo>
                  <a:pt x="2222" y="442"/>
                  <a:pt x="2222" y="442"/>
                  <a:pt x="2222" y="442"/>
                </a:cubicBezTo>
                <a:cubicBezTo>
                  <a:pt x="2221" y="442"/>
                  <a:pt x="2221" y="442"/>
                  <a:pt x="2221" y="442"/>
                </a:cubicBezTo>
                <a:cubicBezTo>
                  <a:pt x="2220" y="441"/>
                  <a:pt x="2220" y="441"/>
                  <a:pt x="2220" y="441"/>
                </a:cubicBezTo>
                <a:cubicBezTo>
                  <a:pt x="2219" y="442"/>
                  <a:pt x="2219" y="442"/>
                  <a:pt x="2219" y="442"/>
                </a:cubicBezTo>
                <a:cubicBezTo>
                  <a:pt x="2220" y="443"/>
                  <a:pt x="2220" y="443"/>
                  <a:pt x="2220" y="443"/>
                </a:cubicBezTo>
                <a:cubicBezTo>
                  <a:pt x="2219" y="444"/>
                  <a:pt x="2219" y="444"/>
                  <a:pt x="2219" y="444"/>
                </a:cubicBezTo>
                <a:cubicBezTo>
                  <a:pt x="2219" y="445"/>
                  <a:pt x="2219" y="445"/>
                  <a:pt x="2219" y="445"/>
                </a:cubicBezTo>
                <a:close/>
                <a:moveTo>
                  <a:pt x="2218" y="459"/>
                </a:moveTo>
                <a:cubicBezTo>
                  <a:pt x="2219" y="458"/>
                  <a:pt x="2219" y="458"/>
                  <a:pt x="2219" y="458"/>
                </a:cubicBezTo>
                <a:cubicBezTo>
                  <a:pt x="2219" y="457"/>
                  <a:pt x="2219" y="457"/>
                  <a:pt x="2219" y="457"/>
                </a:cubicBezTo>
                <a:cubicBezTo>
                  <a:pt x="2218" y="457"/>
                  <a:pt x="2218" y="457"/>
                  <a:pt x="2218" y="457"/>
                </a:cubicBezTo>
                <a:cubicBezTo>
                  <a:pt x="2217" y="459"/>
                  <a:pt x="2217" y="459"/>
                  <a:pt x="2217" y="459"/>
                </a:cubicBezTo>
                <a:cubicBezTo>
                  <a:pt x="2218" y="459"/>
                  <a:pt x="2218" y="459"/>
                  <a:pt x="2218" y="459"/>
                </a:cubicBezTo>
                <a:close/>
                <a:moveTo>
                  <a:pt x="2240" y="423"/>
                </a:moveTo>
                <a:cubicBezTo>
                  <a:pt x="2240" y="422"/>
                  <a:pt x="2240" y="422"/>
                  <a:pt x="2240" y="422"/>
                </a:cubicBezTo>
                <a:cubicBezTo>
                  <a:pt x="2239" y="424"/>
                  <a:pt x="2239" y="424"/>
                  <a:pt x="2239" y="424"/>
                </a:cubicBezTo>
                <a:cubicBezTo>
                  <a:pt x="2240" y="424"/>
                  <a:pt x="2240" y="424"/>
                  <a:pt x="2240" y="424"/>
                </a:cubicBezTo>
                <a:cubicBezTo>
                  <a:pt x="2240" y="423"/>
                  <a:pt x="2240" y="423"/>
                  <a:pt x="2240" y="423"/>
                </a:cubicBezTo>
                <a:close/>
                <a:moveTo>
                  <a:pt x="2226" y="442"/>
                </a:moveTo>
                <a:cubicBezTo>
                  <a:pt x="2226" y="440"/>
                  <a:pt x="2226" y="440"/>
                  <a:pt x="2226" y="440"/>
                </a:cubicBezTo>
                <a:cubicBezTo>
                  <a:pt x="2225" y="439"/>
                  <a:pt x="2225" y="439"/>
                  <a:pt x="2225" y="439"/>
                </a:cubicBezTo>
                <a:cubicBezTo>
                  <a:pt x="2223" y="441"/>
                  <a:pt x="2223" y="441"/>
                  <a:pt x="2223" y="441"/>
                </a:cubicBezTo>
                <a:cubicBezTo>
                  <a:pt x="2223" y="442"/>
                  <a:pt x="2223" y="442"/>
                  <a:pt x="2223" y="442"/>
                </a:cubicBezTo>
                <a:cubicBezTo>
                  <a:pt x="2225" y="442"/>
                  <a:pt x="2225" y="442"/>
                  <a:pt x="2225" y="442"/>
                </a:cubicBezTo>
                <a:cubicBezTo>
                  <a:pt x="2226" y="442"/>
                  <a:pt x="2226" y="442"/>
                  <a:pt x="2226" y="442"/>
                </a:cubicBezTo>
                <a:close/>
                <a:moveTo>
                  <a:pt x="2244" y="403"/>
                </a:moveTo>
                <a:cubicBezTo>
                  <a:pt x="2245" y="402"/>
                  <a:pt x="2245" y="402"/>
                  <a:pt x="2245" y="402"/>
                </a:cubicBezTo>
                <a:cubicBezTo>
                  <a:pt x="2245" y="401"/>
                  <a:pt x="2245" y="401"/>
                  <a:pt x="2245" y="401"/>
                </a:cubicBezTo>
                <a:cubicBezTo>
                  <a:pt x="2244" y="402"/>
                  <a:pt x="2244" y="402"/>
                  <a:pt x="2244" y="402"/>
                </a:cubicBezTo>
                <a:cubicBezTo>
                  <a:pt x="2244" y="403"/>
                  <a:pt x="2244" y="403"/>
                  <a:pt x="2244" y="403"/>
                </a:cubicBezTo>
                <a:close/>
                <a:moveTo>
                  <a:pt x="1554" y="82"/>
                </a:moveTo>
                <a:cubicBezTo>
                  <a:pt x="1555" y="83"/>
                  <a:pt x="1555" y="83"/>
                  <a:pt x="1555" y="83"/>
                </a:cubicBezTo>
                <a:cubicBezTo>
                  <a:pt x="1555" y="82"/>
                  <a:pt x="1555" y="82"/>
                  <a:pt x="1555" y="82"/>
                </a:cubicBezTo>
                <a:cubicBezTo>
                  <a:pt x="1556" y="81"/>
                  <a:pt x="1556" y="81"/>
                  <a:pt x="1556" y="81"/>
                </a:cubicBezTo>
                <a:cubicBezTo>
                  <a:pt x="1555" y="80"/>
                  <a:pt x="1555" y="80"/>
                  <a:pt x="1555" y="80"/>
                </a:cubicBezTo>
                <a:cubicBezTo>
                  <a:pt x="1554" y="80"/>
                  <a:pt x="1554" y="80"/>
                  <a:pt x="1554" y="80"/>
                </a:cubicBezTo>
                <a:cubicBezTo>
                  <a:pt x="1554" y="81"/>
                  <a:pt x="1554" y="81"/>
                  <a:pt x="1554" y="81"/>
                </a:cubicBezTo>
                <a:cubicBezTo>
                  <a:pt x="1554" y="82"/>
                  <a:pt x="1554" y="82"/>
                  <a:pt x="1554" y="82"/>
                </a:cubicBezTo>
                <a:close/>
                <a:moveTo>
                  <a:pt x="1799" y="82"/>
                </a:moveTo>
                <a:cubicBezTo>
                  <a:pt x="1799" y="83"/>
                  <a:pt x="1799" y="83"/>
                  <a:pt x="1799" y="83"/>
                </a:cubicBezTo>
                <a:cubicBezTo>
                  <a:pt x="1800" y="82"/>
                  <a:pt x="1800" y="82"/>
                  <a:pt x="1800" y="82"/>
                </a:cubicBezTo>
                <a:cubicBezTo>
                  <a:pt x="1801" y="81"/>
                  <a:pt x="1801" y="81"/>
                  <a:pt x="1801" y="81"/>
                </a:cubicBezTo>
                <a:cubicBezTo>
                  <a:pt x="1800" y="79"/>
                  <a:pt x="1800" y="79"/>
                  <a:pt x="1800" y="79"/>
                </a:cubicBezTo>
                <a:cubicBezTo>
                  <a:pt x="1799" y="79"/>
                  <a:pt x="1799" y="79"/>
                  <a:pt x="1799" y="79"/>
                </a:cubicBezTo>
                <a:cubicBezTo>
                  <a:pt x="1798" y="79"/>
                  <a:pt x="1798" y="79"/>
                  <a:pt x="1798" y="79"/>
                </a:cubicBezTo>
                <a:cubicBezTo>
                  <a:pt x="1798" y="80"/>
                  <a:pt x="1798" y="80"/>
                  <a:pt x="1798" y="80"/>
                </a:cubicBezTo>
                <a:cubicBezTo>
                  <a:pt x="1799" y="81"/>
                  <a:pt x="1799" y="81"/>
                  <a:pt x="1799" y="81"/>
                </a:cubicBezTo>
                <a:cubicBezTo>
                  <a:pt x="1799" y="82"/>
                  <a:pt x="1799" y="82"/>
                  <a:pt x="1799" y="82"/>
                </a:cubicBezTo>
                <a:close/>
                <a:moveTo>
                  <a:pt x="1853" y="126"/>
                </a:moveTo>
                <a:cubicBezTo>
                  <a:pt x="1856" y="127"/>
                  <a:pt x="1856" y="127"/>
                  <a:pt x="1856" y="127"/>
                </a:cubicBezTo>
                <a:cubicBezTo>
                  <a:pt x="1857" y="127"/>
                  <a:pt x="1857" y="127"/>
                  <a:pt x="1857" y="127"/>
                </a:cubicBezTo>
                <a:cubicBezTo>
                  <a:pt x="1858" y="127"/>
                  <a:pt x="1858" y="127"/>
                  <a:pt x="1858" y="127"/>
                </a:cubicBezTo>
                <a:cubicBezTo>
                  <a:pt x="1859" y="127"/>
                  <a:pt x="1859" y="127"/>
                  <a:pt x="1859" y="127"/>
                </a:cubicBezTo>
                <a:cubicBezTo>
                  <a:pt x="1859" y="126"/>
                  <a:pt x="1859" y="126"/>
                  <a:pt x="1859" y="126"/>
                </a:cubicBezTo>
                <a:cubicBezTo>
                  <a:pt x="1860" y="125"/>
                  <a:pt x="1860" y="125"/>
                  <a:pt x="1860" y="125"/>
                </a:cubicBezTo>
                <a:cubicBezTo>
                  <a:pt x="1859" y="124"/>
                  <a:pt x="1859" y="124"/>
                  <a:pt x="1859" y="124"/>
                </a:cubicBezTo>
                <a:cubicBezTo>
                  <a:pt x="1859" y="122"/>
                  <a:pt x="1859" y="122"/>
                  <a:pt x="1859" y="122"/>
                </a:cubicBezTo>
                <a:cubicBezTo>
                  <a:pt x="1858" y="121"/>
                  <a:pt x="1858" y="121"/>
                  <a:pt x="1858" y="121"/>
                </a:cubicBezTo>
                <a:cubicBezTo>
                  <a:pt x="1858" y="120"/>
                  <a:pt x="1858" y="120"/>
                  <a:pt x="1858" y="120"/>
                </a:cubicBezTo>
                <a:cubicBezTo>
                  <a:pt x="1858" y="119"/>
                  <a:pt x="1858" y="119"/>
                  <a:pt x="1858" y="119"/>
                </a:cubicBezTo>
                <a:cubicBezTo>
                  <a:pt x="1857" y="119"/>
                  <a:pt x="1857" y="119"/>
                  <a:pt x="1857" y="119"/>
                </a:cubicBezTo>
                <a:cubicBezTo>
                  <a:pt x="1854" y="119"/>
                  <a:pt x="1854" y="119"/>
                  <a:pt x="1854" y="119"/>
                </a:cubicBezTo>
                <a:cubicBezTo>
                  <a:pt x="1852" y="121"/>
                  <a:pt x="1852" y="121"/>
                  <a:pt x="1852" y="121"/>
                </a:cubicBezTo>
                <a:cubicBezTo>
                  <a:pt x="1851" y="121"/>
                  <a:pt x="1851" y="121"/>
                  <a:pt x="1851" y="121"/>
                </a:cubicBezTo>
                <a:cubicBezTo>
                  <a:pt x="1851" y="123"/>
                  <a:pt x="1851" y="123"/>
                  <a:pt x="1851" y="123"/>
                </a:cubicBezTo>
                <a:cubicBezTo>
                  <a:pt x="1852" y="123"/>
                  <a:pt x="1852" y="123"/>
                  <a:pt x="1852" y="123"/>
                </a:cubicBezTo>
                <a:cubicBezTo>
                  <a:pt x="1852" y="124"/>
                  <a:pt x="1852" y="124"/>
                  <a:pt x="1852" y="124"/>
                </a:cubicBezTo>
                <a:cubicBezTo>
                  <a:pt x="1852" y="125"/>
                  <a:pt x="1852" y="125"/>
                  <a:pt x="1852" y="125"/>
                </a:cubicBezTo>
                <a:cubicBezTo>
                  <a:pt x="1851" y="125"/>
                  <a:pt x="1851" y="125"/>
                  <a:pt x="1851" y="125"/>
                </a:cubicBezTo>
                <a:cubicBezTo>
                  <a:pt x="1850" y="125"/>
                  <a:pt x="1850" y="125"/>
                  <a:pt x="1850" y="125"/>
                </a:cubicBezTo>
                <a:cubicBezTo>
                  <a:pt x="1851" y="126"/>
                  <a:pt x="1851" y="126"/>
                  <a:pt x="1851" y="126"/>
                </a:cubicBezTo>
                <a:cubicBezTo>
                  <a:pt x="1853" y="126"/>
                  <a:pt x="1853" y="126"/>
                  <a:pt x="1853" y="126"/>
                </a:cubicBezTo>
                <a:close/>
                <a:moveTo>
                  <a:pt x="2245" y="398"/>
                </a:moveTo>
                <a:cubicBezTo>
                  <a:pt x="2245" y="399"/>
                  <a:pt x="2245" y="399"/>
                  <a:pt x="2245" y="399"/>
                </a:cubicBezTo>
                <a:cubicBezTo>
                  <a:pt x="2246" y="398"/>
                  <a:pt x="2246" y="398"/>
                  <a:pt x="2246" y="398"/>
                </a:cubicBezTo>
                <a:cubicBezTo>
                  <a:pt x="2245" y="397"/>
                  <a:pt x="2245" y="397"/>
                  <a:pt x="2245" y="397"/>
                </a:cubicBezTo>
                <a:cubicBezTo>
                  <a:pt x="2245" y="398"/>
                  <a:pt x="2245" y="398"/>
                  <a:pt x="2245" y="398"/>
                </a:cubicBezTo>
                <a:close/>
                <a:moveTo>
                  <a:pt x="1786" y="68"/>
                </a:moveTo>
                <a:cubicBezTo>
                  <a:pt x="1786" y="68"/>
                  <a:pt x="1786" y="68"/>
                  <a:pt x="1787" y="68"/>
                </a:cubicBezTo>
                <a:cubicBezTo>
                  <a:pt x="1787" y="68"/>
                  <a:pt x="1787" y="68"/>
                  <a:pt x="1789" y="68"/>
                </a:cubicBezTo>
                <a:cubicBezTo>
                  <a:pt x="1789" y="68"/>
                  <a:pt x="1789" y="68"/>
                  <a:pt x="1790" y="67"/>
                </a:cubicBezTo>
                <a:cubicBezTo>
                  <a:pt x="1790" y="67"/>
                  <a:pt x="1790" y="67"/>
                  <a:pt x="1791" y="68"/>
                </a:cubicBezTo>
                <a:cubicBezTo>
                  <a:pt x="1791" y="68"/>
                  <a:pt x="1791" y="68"/>
                  <a:pt x="1791" y="67"/>
                </a:cubicBezTo>
                <a:cubicBezTo>
                  <a:pt x="1791" y="67"/>
                  <a:pt x="1791" y="67"/>
                  <a:pt x="1791" y="65"/>
                </a:cubicBezTo>
                <a:cubicBezTo>
                  <a:pt x="1791" y="65"/>
                  <a:pt x="1791" y="65"/>
                  <a:pt x="1790" y="65"/>
                </a:cubicBezTo>
                <a:cubicBezTo>
                  <a:pt x="1790" y="65"/>
                  <a:pt x="1790" y="65"/>
                  <a:pt x="1789" y="65"/>
                </a:cubicBezTo>
                <a:cubicBezTo>
                  <a:pt x="1789" y="65"/>
                  <a:pt x="1789" y="65"/>
                  <a:pt x="1788" y="65"/>
                </a:cubicBezTo>
                <a:cubicBezTo>
                  <a:pt x="1788" y="65"/>
                  <a:pt x="1788" y="65"/>
                  <a:pt x="1788" y="66"/>
                </a:cubicBezTo>
                <a:cubicBezTo>
                  <a:pt x="1788" y="66"/>
                  <a:pt x="1788" y="66"/>
                  <a:pt x="1786" y="66"/>
                </a:cubicBezTo>
                <a:cubicBezTo>
                  <a:pt x="1786" y="66"/>
                  <a:pt x="1786" y="66"/>
                  <a:pt x="1785" y="67"/>
                </a:cubicBezTo>
                <a:cubicBezTo>
                  <a:pt x="1785" y="67"/>
                  <a:pt x="1785" y="67"/>
                  <a:pt x="1786" y="68"/>
                </a:cubicBezTo>
                <a:close/>
                <a:moveTo>
                  <a:pt x="1541" y="93"/>
                </a:moveTo>
                <a:cubicBezTo>
                  <a:pt x="1541" y="94"/>
                  <a:pt x="1541" y="94"/>
                  <a:pt x="1541" y="94"/>
                </a:cubicBezTo>
                <a:cubicBezTo>
                  <a:pt x="1542" y="94"/>
                  <a:pt x="1542" y="94"/>
                  <a:pt x="1542" y="94"/>
                </a:cubicBezTo>
                <a:cubicBezTo>
                  <a:pt x="1543" y="93"/>
                  <a:pt x="1543" y="93"/>
                  <a:pt x="1543" y="93"/>
                </a:cubicBezTo>
                <a:cubicBezTo>
                  <a:pt x="1545" y="94"/>
                  <a:pt x="1545" y="94"/>
                  <a:pt x="1545" y="94"/>
                </a:cubicBezTo>
                <a:cubicBezTo>
                  <a:pt x="1546" y="93"/>
                  <a:pt x="1546" y="93"/>
                  <a:pt x="1546" y="93"/>
                </a:cubicBezTo>
                <a:cubicBezTo>
                  <a:pt x="1545" y="92"/>
                  <a:pt x="1545" y="92"/>
                  <a:pt x="1545" y="92"/>
                </a:cubicBezTo>
                <a:cubicBezTo>
                  <a:pt x="1544" y="92"/>
                  <a:pt x="1544" y="92"/>
                  <a:pt x="1544" y="92"/>
                </a:cubicBezTo>
                <a:cubicBezTo>
                  <a:pt x="1544" y="90"/>
                  <a:pt x="1544" y="90"/>
                  <a:pt x="1544" y="90"/>
                </a:cubicBezTo>
                <a:cubicBezTo>
                  <a:pt x="1542" y="88"/>
                  <a:pt x="1542" y="88"/>
                  <a:pt x="1542" y="88"/>
                </a:cubicBezTo>
                <a:cubicBezTo>
                  <a:pt x="1542" y="89"/>
                  <a:pt x="1542" y="89"/>
                  <a:pt x="1542" y="89"/>
                </a:cubicBezTo>
                <a:cubicBezTo>
                  <a:pt x="1542" y="91"/>
                  <a:pt x="1542" y="91"/>
                  <a:pt x="1542" y="91"/>
                </a:cubicBezTo>
                <a:cubicBezTo>
                  <a:pt x="1542" y="92"/>
                  <a:pt x="1542" y="92"/>
                  <a:pt x="1542" y="92"/>
                </a:cubicBezTo>
                <a:cubicBezTo>
                  <a:pt x="1540" y="92"/>
                  <a:pt x="1540" y="92"/>
                  <a:pt x="1540" y="92"/>
                </a:cubicBezTo>
                <a:cubicBezTo>
                  <a:pt x="1541" y="93"/>
                  <a:pt x="1541" y="93"/>
                  <a:pt x="1541" y="93"/>
                </a:cubicBezTo>
                <a:close/>
                <a:moveTo>
                  <a:pt x="1550" y="69"/>
                </a:moveTo>
                <a:cubicBezTo>
                  <a:pt x="1552" y="69"/>
                  <a:pt x="1552" y="69"/>
                  <a:pt x="1552" y="69"/>
                </a:cubicBezTo>
                <a:cubicBezTo>
                  <a:pt x="1553" y="68"/>
                  <a:pt x="1553" y="68"/>
                  <a:pt x="1553" y="68"/>
                </a:cubicBezTo>
                <a:cubicBezTo>
                  <a:pt x="1554" y="69"/>
                  <a:pt x="1554" y="69"/>
                  <a:pt x="1554" y="69"/>
                </a:cubicBezTo>
                <a:cubicBezTo>
                  <a:pt x="1555" y="70"/>
                  <a:pt x="1555" y="70"/>
                  <a:pt x="1555" y="70"/>
                </a:cubicBezTo>
                <a:cubicBezTo>
                  <a:pt x="1556" y="70"/>
                  <a:pt x="1556" y="70"/>
                  <a:pt x="1556" y="70"/>
                </a:cubicBezTo>
                <a:cubicBezTo>
                  <a:pt x="1557" y="71"/>
                  <a:pt x="1557" y="71"/>
                  <a:pt x="1557" y="71"/>
                </a:cubicBezTo>
                <a:cubicBezTo>
                  <a:pt x="1558" y="72"/>
                  <a:pt x="1558" y="72"/>
                  <a:pt x="1558" y="72"/>
                </a:cubicBezTo>
                <a:cubicBezTo>
                  <a:pt x="1560" y="71"/>
                  <a:pt x="1560" y="71"/>
                  <a:pt x="1560" y="71"/>
                </a:cubicBezTo>
                <a:cubicBezTo>
                  <a:pt x="1561" y="72"/>
                  <a:pt x="1561" y="72"/>
                  <a:pt x="1561" y="72"/>
                </a:cubicBezTo>
                <a:cubicBezTo>
                  <a:pt x="1563" y="73"/>
                  <a:pt x="1563" y="73"/>
                  <a:pt x="1563" y="73"/>
                </a:cubicBezTo>
                <a:cubicBezTo>
                  <a:pt x="1563" y="72"/>
                  <a:pt x="1563" y="72"/>
                  <a:pt x="1563" y="72"/>
                </a:cubicBezTo>
                <a:cubicBezTo>
                  <a:pt x="1564" y="71"/>
                  <a:pt x="1564" y="71"/>
                  <a:pt x="1564" y="71"/>
                </a:cubicBezTo>
                <a:cubicBezTo>
                  <a:pt x="1563" y="69"/>
                  <a:pt x="1563" y="69"/>
                  <a:pt x="1563" y="69"/>
                </a:cubicBezTo>
                <a:cubicBezTo>
                  <a:pt x="1563" y="69"/>
                  <a:pt x="1563" y="69"/>
                  <a:pt x="1564" y="67"/>
                </a:cubicBezTo>
                <a:cubicBezTo>
                  <a:pt x="1564" y="67"/>
                  <a:pt x="1564" y="67"/>
                  <a:pt x="1564" y="66"/>
                </a:cubicBezTo>
                <a:cubicBezTo>
                  <a:pt x="1564" y="66"/>
                  <a:pt x="1564" y="66"/>
                  <a:pt x="1563" y="66"/>
                </a:cubicBezTo>
                <a:cubicBezTo>
                  <a:pt x="1563" y="66"/>
                  <a:pt x="1563" y="66"/>
                  <a:pt x="1562" y="66"/>
                </a:cubicBezTo>
                <a:cubicBezTo>
                  <a:pt x="1562" y="66"/>
                  <a:pt x="1562" y="66"/>
                  <a:pt x="1560" y="65"/>
                </a:cubicBezTo>
                <a:cubicBezTo>
                  <a:pt x="1560" y="65"/>
                  <a:pt x="1560" y="65"/>
                  <a:pt x="1558" y="64"/>
                </a:cubicBezTo>
                <a:cubicBezTo>
                  <a:pt x="1558" y="64"/>
                  <a:pt x="1558" y="64"/>
                  <a:pt x="1557" y="64"/>
                </a:cubicBezTo>
                <a:cubicBezTo>
                  <a:pt x="1557" y="64"/>
                  <a:pt x="1557" y="64"/>
                  <a:pt x="1555" y="64"/>
                </a:cubicBezTo>
                <a:cubicBezTo>
                  <a:pt x="1555" y="64"/>
                  <a:pt x="1555" y="64"/>
                  <a:pt x="1555" y="65"/>
                </a:cubicBezTo>
                <a:cubicBezTo>
                  <a:pt x="1555" y="65"/>
                  <a:pt x="1555" y="65"/>
                  <a:pt x="1556" y="65"/>
                </a:cubicBezTo>
                <a:cubicBezTo>
                  <a:pt x="1556" y="65"/>
                  <a:pt x="1556" y="65"/>
                  <a:pt x="1557" y="65"/>
                </a:cubicBezTo>
                <a:cubicBezTo>
                  <a:pt x="1557" y="65"/>
                  <a:pt x="1557" y="65"/>
                  <a:pt x="1559" y="66"/>
                </a:cubicBezTo>
                <a:cubicBezTo>
                  <a:pt x="1559" y="66"/>
                  <a:pt x="1559" y="66"/>
                  <a:pt x="1561" y="68"/>
                </a:cubicBezTo>
                <a:cubicBezTo>
                  <a:pt x="1561" y="68"/>
                  <a:pt x="1561" y="68"/>
                  <a:pt x="1562" y="69"/>
                </a:cubicBezTo>
                <a:cubicBezTo>
                  <a:pt x="1560" y="69"/>
                  <a:pt x="1560" y="69"/>
                  <a:pt x="1560" y="69"/>
                </a:cubicBezTo>
                <a:cubicBezTo>
                  <a:pt x="1558" y="67"/>
                  <a:pt x="1558" y="67"/>
                  <a:pt x="1558" y="67"/>
                </a:cubicBezTo>
                <a:cubicBezTo>
                  <a:pt x="1557" y="67"/>
                  <a:pt x="1557" y="67"/>
                  <a:pt x="1557" y="67"/>
                </a:cubicBezTo>
                <a:cubicBezTo>
                  <a:pt x="1556" y="67"/>
                  <a:pt x="1556" y="67"/>
                  <a:pt x="1556" y="67"/>
                </a:cubicBezTo>
                <a:cubicBezTo>
                  <a:pt x="1555" y="67"/>
                  <a:pt x="1555" y="67"/>
                  <a:pt x="1555" y="67"/>
                </a:cubicBezTo>
                <a:cubicBezTo>
                  <a:pt x="1554" y="66"/>
                  <a:pt x="1554" y="66"/>
                  <a:pt x="1554" y="66"/>
                </a:cubicBezTo>
                <a:cubicBezTo>
                  <a:pt x="1551" y="66"/>
                  <a:pt x="1551" y="66"/>
                  <a:pt x="1551" y="66"/>
                </a:cubicBezTo>
                <a:cubicBezTo>
                  <a:pt x="1549" y="66"/>
                  <a:pt x="1549" y="66"/>
                  <a:pt x="1549" y="66"/>
                </a:cubicBezTo>
                <a:cubicBezTo>
                  <a:pt x="1550" y="68"/>
                  <a:pt x="1550" y="68"/>
                  <a:pt x="1550" y="68"/>
                </a:cubicBezTo>
                <a:cubicBezTo>
                  <a:pt x="1550" y="69"/>
                  <a:pt x="1550" y="69"/>
                  <a:pt x="1550" y="69"/>
                </a:cubicBezTo>
                <a:close/>
                <a:moveTo>
                  <a:pt x="2243" y="378"/>
                </a:moveTo>
                <a:cubicBezTo>
                  <a:pt x="2243" y="379"/>
                  <a:pt x="2243" y="379"/>
                  <a:pt x="2243" y="379"/>
                </a:cubicBezTo>
                <a:cubicBezTo>
                  <a:pt x="2245" y="379"/>
                  <a:pt x="2245" y="379"/>
                  <a:pt x="2245" y="379"/>
                </a:cubicBezTo>
                <a:cubicBezTo>
                  <a:pt x="2245" y="378"/>
                  <a:pt x="2245" y="378"/>
                  <a:pt x="2245" y="378"/>
                </a:cubicBezTo>
                <a:cubicBezTo>
                  <a:pt x="2244" y="377"/>
                  <a:pt x="2244" y="377"/>
                  <a:pt x="2244" y="377"/>
                </a:cubicBezTo>
                <a:cubicBezTo>
                  <a:pt x="2243" y="378"/>
                  <a:pt x="2243" y="378"/>
                  <a:pt x="2243" y="378"/>
                </a:cubicBezTo>
                <a:close/>
                <a:moveTo>
                  <a:pt x="1555" y="62"/>
                </a:moveTo>
                <a:cubicBezTo>
                  <a:pt x="1552" y="63"/>
                  <a:pt x="1552" y="63"/>
                  <a:pt x="1552" y="63"/>
                </a:cubicBezTo>
                <a:cubicBezTo>
                  <a:pt x="1553" y="64"/>
                  <a:pt x="1553" y="64"/>
                  <a:pt x="1553" y="64"/>
                </a:cubicBezTo>
                <a:cubicBezTo>
                  <a:pt x="1554" y="64"/>
                  <a:pt x="1554" y="64"/>
                  <a:pt x="1554" y="64"/>
                </a:cubicBezTo>
                <a:cubicBezTo>
                  <a:pt x="1555" y="63"/>
                  <a:pt x="1555" y="63"/>
                  <a:pt x="1555" y="63"/>
                </a:cubicBezTo>
                <a:cubicBezTo>
                  <a:pt x="1557" y="63"/>
                  <a:pt x="1557" y="63"/>
                  <a:pt x="1557" y="63"/>
                </a:cubicBezTo>
                <a:cubicBezTo>
                  <a:pt x="1558" y="61"/>
                  <a:pt x="1558" y="61"/>
                  <a:pt x="1558" y="61"/>
                </a:cubicBezTo>
                <a:cubicBezTo>
                  <a:pt x="1559" y="59"/>
                  <a:pt x="1559" y="59"/>
                  <a:pt x="1559" y="59"/>
                </a:cubicBezTo>
                <a:cubicBezTo>
                  <a:pt x="1560" y="58"/>
                  <a:pt x="1560" y="58"/>
                  <a:pt x="1560" y="58"/>
                </a:cubicBezTo>
                <a:cubicBezTo>
                  <a:pt x="1559" y="57"/>
                  <a:pt x="1559" y="57"/>
                  <a:pt x="1559" y="57"/>
                </a:cubicBezTo>
                <a:cubicBezTo>
                  <a:pt x="1558" y="58"/>
                  <a:pt x="1558" y="58"/>
                  <a:pt x="1558" y="58"/>
                </a:cubicBezTo>
                <a:cubicBezTo>
                  <a:pt x="1556" y="58"/>
                  <a:pt x="1556" y="58"/>
                  <a:pt x="1556" y="58"/>
                </a:cubicBezTo>
                <a:cubicBezTo>
                  <a:pt x="1555" y="57"/>
                  <a:pt x="1555" y="57"/>
                  <a:pt x="1555" y="57"/>
                </a:cubicBezTo>
                <a:cubicBezTo>
                  <a:pt x="1554" y="58"/>
                  <a:pt x="1554" y="58"/>
                  <a:pt x="1554" y="58"/>
                </a:cubicBezTo>
                <a:cubicBezTo>
                  <a:pt x="1554" y="59"/>
                  <a:pt x="1554" y="59"/>
                  <a:pt x="1554" y="59"/>
                </a:cubicBezTo>
                <a:cubicBezTo>
                  <a:pt x="1554" y="60"/>
                  <a:pt x="1554" y="60"/>
                  <a:pt x="1554" y="60"/>
                </a:cubicBezTo>
                <a:cubicBezTo>
                  <a:pt x="1555" y="60"/>
                  <a:pt x="1555" y="60"/>
                  <a:pt x="1555" y="60"/>
                </a:cubicBezTo>
                <a:cubicBezTo>
                  <a:pt x="1556" y="61"/>
                  <a:pt x="1556" y="61"/>
                  <a:pt x="1556" y="61"/>
                </a:cubicBezTo>
                <a:cubicBezTo>
                  <a:pt x="1556" y="62"/>
                  <a:pt x="1556" y="62"/>
                  <a:pt x="1556" y="62"/>
                </a:cubicBezTo>
                <a:cubicBezTo>
                  <a:pt x="1555" y="62"/>
                  <a:pt x="1555" y="62"/>
                  <a:pt x="1555" y="62"/>
                </a:cubicBezTo>
                <a:close/>
                <a:moveTo>
                  <a:pt x="1577" y="49"/>
                </a:moveTo>
                <a:cubicBezTo>
                  <a:pt x="1577" y="49"/>
                  <a:pt x="1577" y="49"/>
                  <a:pt x="1578" y="49"/>
                </a:cubicBezTo>
                <a:cubicBezTo>
                  <a:pt x="1578" y="49"/>
                  <a:pt x="1578" y="49"/>
                  <a:pt x="1579" y="48"/>
                </a:cubicBezTo>
                <a:cubicBezTo>
                  <a:pt x="1579" y="48"/>
                  <a:pt x="1579" y="48"/>
                  <a:pt x="1579" y="47"/>
                </a:cubicBezTo>
                <a:cubicBezTo>
                  <a:pt x="1579" y="47"/>
                  <a:pt x="1579" y="47"/>
                  <a:pt x="1578" y="47"/>
                </a:cubicBezTo>
                <a:cubicBezTo>
                  <a:pt x="1578" y="47"/>
                  <a:pt x="1578" y="47"/>
                  <a:pt x="1577" y="46"/>
                </a:cubicBezTo>
                <a:cubicBezTo>
                  <a:pt x="1577" y="46"/>
                  <a:pt x="1577" y="46"/>
                  <a:pt x="1576" y="46"/>
                </a:cubicBezTo>
                <a:cubicBezTo>
                  <a:pt x="1576" y="46"/>
                  <a:pt x="1576" y="46"/>
                  <a:pt x="1575" y="47"/>
                </a:cubicBezTo>
                <a:cubicBezTo>
                  <a:pt x="1575" y="47"/>
                  <a:pt x="1575" y="47"/>
                  <a:pt x="1574" y="48"/>
                </a:cubicBezTo>
                <a:cubicBezTo>
                  <a:pt x="1574" y="48"/>
                  <a:pt x="1574" y="48"/>
                  <a:pt x="1576" y="48"/>
                </a:cubicBezTo>
                <a:cubicBezTo>
                  <a:pt x="1576" y="48"/>
                  <a:pt x="1576" y="48"/>
                  <a:pt x="1577" y="49"/>
                </a:cubicBezTo>
                <a:close/>
                <a:moveTo>
                  <a:pt x="1536" y="67"/>
                </a:moveTo>
                <a:cubicBezTo>
                  <a:pt x="1536" y="67"/>
                  <a:pt x="1536" y="67"/>
                  <a:pt x="1535" y="66"/>
                </a:cubicBezTo>
                <a:cubicBezTo>
                  <a:pt x="1535" y="66"/>
                  <a:pt x="1535" y="66"/>
                  <a:pt x="1534" y="67"/>
                </a:cubicBezTo>
                <a:cubicBezTo>
                  <a:pt x="1534" y="67"/>
                  <a:pt x="1534" y="67"/>
                  <a:pt x="1534" y="68"/>
                </a:cubicBezTo>
                <a:cubicBezTo>
                  <a:pt x="1534" y="68"/>
                  <a:pt x="1534" y="68"/>
                  <a:pt x="1536" y="68"/>
                </a:cubicBezTo>
                <a:cubicBezTo>
                  <a:pt x="1536" y="68"/>
                  <a:pt x="1536" y="68"/>
                  <a:pt x="1536" y="67"/>
                </a:cubicBezTo>
                <a:close/>
                <a:moveTo>
                  <a:pt x="1517" y="84"/>
                </a:moveTo>
                <a:cubicBezTo>
                  <a:pt x="1519" y="85"/>
                  <a:pt x="1519" y="85"/>
                  <a:pt x="1519" y="85"/>
                </a:cubicBezTo>
                <a:cubicBezTo>
                  <a:pt x="1519" y="86"/>
                  <a:pt x="1519" y="86"/>
                  <a:pt x="1519" y="86"/>
                </a:cubicBezTo>
                <a:cubicBezTo>
                  <a:pt x="1520" y="86"/>
                  <a:pt x="1520" y="86"/>
                  <a:pt x="1520" y="86"/>
                </a:cubicBezTo>
                <a:cubicBezTo>
                  <a:pt x="1520" y="85"/>
                  <a:pt x="1520" y="85"/>
                  <a:pt x="1520" y="85"/>
                </a:cubicBezTo>
                <a:cubicBezTo>
                  <a:pt x="1521" y="84"/>
                  <a:pt x="1521" y="84"/>
                  <a:pt x="1521" y="84"/>
                </a:cubicBezTo>
                <a:cubicBezTo>
                  <a:pt x="1522" y="85"/>
                  <a:pt x="1522" y="85"/>
                  <a:pt x="1522" y="85"/>
                </a:cubicBezTo>
                <a:cubicBezTo>
                  <a:pt x="1523" y="87"/>
                  <a:pt x="1523" y="87"/>
                  <a:pt x="1523" y="87"/>
                </a:cubicBezTo>
                <a:cubicBezTo>
                  <a:pt x="1524" y="87"/>
                  <a:pt x="1524" y="87"/>
                  <a:pt x="1524" y="87"/>
                </a:cubicBezTo>
                <a:cubicBezTo>
                  <a:pt x="1523" y="85"/>
                  <a:pt x="1523" y="85"/>
                  <a:pt x="1523" y="85"/>
                </a:cubicBezTo>
                <a:cubicBezTo>
                  <a:pt x="1523" y="83"/>
                  <a:pt x="1523" y="83"/>
                  <a:pt x="1523" y="83"/>
                </a:cubicBezTo>
                <a:cubicBezTo>
                  <a:pt x="1522" y="83"/>
                  <a:pt x="1522" y="83"/>
                  <a:pt x="1522" y="83"/>
                </a:cubicBezTo>
                <a:cubicBezTo>
                  <a:pt x="1522" y="82"/>
                  <a:pt x="1522" y="82"/>
                  <a:pt x="1522" y="82"/>
                </a:cubicBezTo>
                <a:cubicBezTo>
                  <a:pt x="1521" y="81"/>
                  <a:pt x="1521" y="81"/>
                  <a:pt x="1521" y="81"/>
                </a:cubicBezTo>
                <a:cubicBezTo>
                  <a:pt x="1522" y="80"/>
                  <a:pt x="1522" y="80"/>
                  <a:pt x="1522" y="80"/>
                </a:cubicBezTo>
                <a:cubicBezTo>
                  <a:pt x="1523" y="79"/>
                  <a:pt x="1523" y="79"/>
                  <a:pt x="1523" y="79"/>
                </a:cubicBezTo>
                <a:cubicBezTo>
                  <a:pt x="1525" y="78"/>
                  <a:pt x="1525" y="78"/>
                  <a:pt x="1525" y="78"/>
                </a:cubicBezTo>
                <a:cubicBezTo>
                  <a:pt x="1526" y="78"/>
                  <a:pt x="1526" y="78"/>
                  <a:pt x="1526" y="78"/>
                </a:cubicBezTo>
                <a:cubicBezTo>
                  <a:pt x="1527" y="78"/>
                  <a:pt x="1527" y="78"/>
                  <a:pt x="1527" y="78"/>
                </a:cubicBezTo>
                <a:cubicBezTo>
                  <a:pt x="1527" y="79"/>
                  <a:pt x="1527" y="79"/>
                  <a:pt x="1527" y="79"/>
                </a:cubicBezTo>
                <a:cubicBezTo>
                  <a:pt x="1529" y="80"/>
                  <a:pt x="1529" y="80"/>
                  <a:pt x="1529" y="80"/>
                </a:cubicBezTo>
                <a:cubicBezTo>
                  <a:pt x="1530" y="80"/>
                  <a:pt x="1530" y="80"/>
                  <a:pt x="1530" y="80"/>
                </a:cubicBezTo>
                <a:cubicBezTo>
                  <a:pt x="1530" y="79"/>
                  <a:pt x="1530" y="79"/>
                  <a:pt x="1530" y="79"/>
                </a:cubicBezTo>
                <a:cubicBezTo>
                  <a:pt x="1531" y="79"/>
                  <a:pt x="1531" y="79"/>
                  <a:pt x="1531" y="79"/>
                </a:cubicBezTo>
                <a:cubicBezTo>
                  <a:pt x="1530" y="78"/>
                  <a:pt x="1530" y="78"/>
                  <a:pt x="1530" y="78"/>
                </a:cubicBezTo>
                <a:cubicBezTo>
                  <a:pt x="1529" y="78"/>
                  <a:pt x="1529" y="78"/>
                  <a:pt x="1529" y="78"/>
                </a:cubicBezTo>
                <a:cubicBezTo>
                  <a:pt x="1526" y="76"/>
                  <a:pt x="1526" y="76"/>
                  <a:pt x="1526" y="76"/>
                </a:cubicBezTo>
                <a:cubicBezTo>
                  <a:pt x="1523" y="75"/>
                  <a:pt x="1523" y="75"/>
                  <a:pt x="1523" y="75"/>
                </a:cubicBezTo>
                <a:cubicBezTo>
                  <a:pt x="1521" y="76"/>
                  <a:pt x="1521" y="76"/>
                  <a:pt x="1521" y="76"/>
                </a:cubicBezTo>
                <a:cubicBezTo>
                  <a:pt x="1519" y="78"/>
                  <a:pt x="1519" y="78"/>
                  <a:pt x="1519" y="78"/>
                </a:cubicBezTo>
                <a:cubicBezTo>
                  <a:pt x="1518" y="79"/>
                  <a:pt x="1518" y="79"/>
                  <a:pt x="1518" y="79"/>
                </a:cubicBezTo>
                <a:cubicBezTo>
                  <a:pt x="1516" y="80"/>
                  <a:pt x="1516" y="80"/>
                  <a:pt x="1516" y="80"/>
                </a:cubicBezTo>
                <a:cubicBezTo>
                  <a:pt x="1515" y="81"/>
                  <a:pt x="1515" y="81"/>
                  <a:pt x="1515" y="81"/>
                </a:cubicBezTo>
                <a:cubicBezTo>
                  <a:pt x="1515" y="84"/>
                  <a:pt x="1515" y="84"/>
                  <a:pt x="1515" y="84"/>
                </a:cubicBezTo>
                <a:cubicBezTo>
                  <a:pt x="1516" y="85"/>
                  <a:pt x="1516" y="85"/>
                  <a:pt x="1516" y="85"/>
                </a:cubicBezTo>
                <a:cubicBezTo>
                  <a:pt x="1517" y="84"/>
                  <a:pt x="1517" y="84"/>
                  <a:pt x="1517" y="84"/>
                </a:cubicBezTo>
                <a:close/>
                <a:moveTo>
                  <a:pt x="1578" y="88"/>
                </a:moveTo>
                <a:cubicBezTo>
                  <a:pt x="1579" y="86"/>
                  <a:pt x="1579" y="86"/>
                  <a:pt x="1579" y="86"/>
                </a:cubicBezTo>
                <a:cubicBezTo>
                  <a:pt x="1579" y="84"/>
                  <a:pt x="1579" y="84"/>
                  <a:pt x="1579" y="84"/>
                </a:cubicBezTo>
                <a:cubicBezTo>
                  <a:pt x="1577" y="84"/>
                  <a:pt x="1577" y="84"/>
                  <a:pt x="1577" y="84"/>
                </a:cubicBezTo>
                <a:cubicBezTo>
                  <a:pt x="1576" y="84"/>
                  <a:pt x="1576" y="84"/>
                  <a:pt x="1576" y="84"/>
                </a:cubicBezTo>
                <a:cubicBezTo>
                  <a:pt x="1574" y="85"/>
                  <a:pt x="1574" y="85"/>
                  <a:pt x="1574" y="85"/>
                </a:cubicBezTo>
                <a:cubicBezTo>
                  <a:pt x="1574" y="86"/>
                  <a:pt x="1574" y="86"/>
                  <a:pt x="1574" y="86"/>
                </a:cubicBezTo>
                <a:cubicBezTo>
                  <a:pt x="1575" y="87"/>
                  <a:pt x="1575" y="87"/>
                  <a:pt x="1575" y="87"/>
                </a:cubicBezTo>
                <a:cubicBezTo>
                  <a:pt x="1576" y="88"/>
                  <a:pt x="1576" y="88"/>
                  <a:pt x="1576" y="88"/>
                </a:cubicBezTo>
                <a:cubicBezTo>
                  <a:pt x="1578" y="88"/>
                  <a:pt x="1578" y="88"/>
                  <a:pt x="1578" y="88"/>
                </a:cubicBezTo>
                <a:close/>
                <a:moveTo>
                  <a:pt x="2222" y="236"/>
                </a:moveTo>
                <a:cubicBezTo>
                  <a:pt x="2222" y="236"/>
                  <a:pt x="2222" y="236"/>
                  <a:pt x="2221" y="236"/>
                </a:cubicBezTo>
                <a:cubicBezTo>
                  <a:pt x="2221" y="236"/>
                  <a:pt x="2221" y="236"/>
                  <a:pt x="2222" y="237"/>
                </a:cubicBezTo>
                <a:cubicBezTo>
                  <a:pt x="2222" y="237"/>
                  <a:pt x="2222" y="237"/>
                  <a:pt x="2222" y="236"/>
                </a:cubicBezTo>
                <a:close/>
                <a:moveTo>
                  <a:pt x="1530" y="82"/>
                </a:moveTo>
                <a:cubicBezTo>
                  <a:pt x="1528" y="81"/>
                  <a:pt x="1528" y="81"/>
                  <a:pt x="1528" y="81"/>
                </a:cubicBezTo>
                <a:cubicBezTo>
                  <a:pt x="1527" y="82"/>
                  <a:pt x="1527" y="82"/>
                  <a:pt x="1527" y="82"/>
                </a:cubicBezTo>
                <a:cubicBezTo>
                  <a:pt x="1526" y="81"/>
                  <a:pt x="1526" y="81"/>
                  <a:pt x="1526" y="81"/>
                </a:cubicBezTo>
                <a:cubicBezTo>
                  <a:pt x="1525" y="80"/>
                  <a:pt x="1525" y="80"/>
                  <a:pt x="1525" y="80"/>
                </a:cubicBezTo>
                <a:cubicBezTo>
                  <a:pt x="1525" y="81"/>
                  <a:pt x="1525" y="81"/>
                  <a:pt x="1525" y="81"/>
                </a:cubicBezTo>
                <a:cubicBezTo>
                  <a:pt x="1525" y="82"/>
                  <a:pt x="1525" y="82"/>
                  <a:pt x="1525" y="82"/>
                </a:cubicBezTo>
                <a:cubicBezTo>
                  <a:pt x="1524" y="83"/>
                  <a:pt x="1524" y="83"/>
                  <a:pt x="1524" y="83"/>
                </a:cubicBezTo>
                <a:cubicBezTo>
                  <a:pt x="1525" y="84"/>
                  <a:pt x="1525" y="84"/>
                  <a:pt x="1525" y="84"/>
                </a:cubicBezTo>
                <a:cubicBezTo>
                  <a:pt x="1526" y="83"/>
                  <a:pt x="1526" y="83"/>
                  <a:pt x="1526" y="83"/>
                </a:cubicBezTo>
                <a:cubicBezTo>
                  <a:pt x="1527" y="83"/>
                  <a:pt x="1527" y="83"/>
                  <a:pt x="1527" y="83"/>
                </a:cubicBezTo>
                <a:cubicBezTo>
                  <a:pt x="1528" y="85"/>
                  <a:pt x="1528" y="85"/>
                  <a:pt x="1528" y="85"/>
                </a:cubicBezTo>
                <a:cubicBezTo>
                  <a:pt x="1529" y="85"/>
                  <a:pt x="1529" y="85"/>
                  <a:pt x="1529" y="85"/>
                </a:cubicBezTo>
                <a:cubicBezTo>
                  <a:pt x="1529" y="86"/>
                  <a:pt x="1529" y="86"/>
                  <a:pt x="1529" y="86"/>
                </a:cubicBezTo>
                <a:cubicBezTo>
                  <a:pt x="1528" y="86"/>
                  <a:pt x="1528" y="86"/>
                  <a:pt x="1528" y="86"/>
                </a:cubicBezTo>
                <a:cubicBezTo>
                  <a:pt x="1527" y="86"/>
                  <a:pt x="1527" y="86"/>
                  <a:pt x="1527" y="86"/>
                </a:cubicBezTo>
                <a:cubicBezTo>
                  <a:pt x="1526" y="87"/>
                  <a:pt x="1526" y="87"/>
                  <a:pt x="1526" y="87"/>
                </a:cubicBezTo>
                <a:cubicBezTo>
                  <a:pt x="1526" y="90"/>
                  <a:pt x="1526" y="90"/>
                  <a:pt x="1526" y="90"/>
                </a:cubicBezTo>
                <a:cubicBezTo>
                  <a:pt x="1527" y="91"/>
                  <a:pt x="1527" y="91"/>
                  <a:pt x="1527" y="91"/>
                </a:cubicBezTo>
                <a:cubicBezTo>
                  <a:pt x="1527" y="92"/>
                  <a:pt x="1527" y="92"/>
                  <a:pt x="1527" y="92"/>
                </a:cubicBezTo>
                <a:cubicBezTo>
                  <a:pt x="1528" y="92"/>
                  <a:pt x="1528" y="92"/>
                  <a:pt x="1528" y="92"/>
                </a:cubicBezTo>
                <a:cubicBezTo>
                  <a:pt x="1529" y="92"/>
                  <a:pt x="1529" y="92"/>
                  <a:pt x="1529" y="92"/>
                </a:cubicBezTo>
                <a:cubicBezTo>
                  <a:pt x="1529" y="91"/>
                  <a:pt x="1529" y="91"/>
                  <a:pt x="1529" y="91"/>
                </a:cubicBezTo>
                <a:cubicBezTo>
                  <a:pt x="1529" y="90"/>
                  <a:pt x="1529" y="90"/>
                  <a:pt x="1529" y="90"/>
                </a:cubicBezTo>
                <a:cubicBezTo>
                  <a:pt x="1530" y="90"/>
                  <a:pt x="1530" y="90"/>
                  <a:pt x="1530" y="90"/>
                </a:cubicBezTo>
                <a:cubicBezTo>
                  <a:pt x="1531" y="91"/>
                  <a:pt x="1531" y="91"/>
                  <a:pt x="1531" y="91"/>
                </a:cubicBezTo>
                <a:cubicBezTo>
                  <a:pt x="1531" y="93"/>
                  <a:pt x="1531" y="93"/>
                  <a:pt x="1531" y="93"/>
                </a:cubicBezTo>
                <a:cubicBezTo>
                  <a:pt x="1532" y="93"/>
                  <a:pt x="1532" y="93"/>
                  <a:pt x="1532" y="93"/>
                </a:cubicBezTo>
                <a:cubicBezTo>
                  <a:pt x="1533" y="92"/>
                  <a:pt x="1533" y="92"/>
                  <a:pt x="1533" y="92"/>
                </a:cubicBezTo>
                <a:cubicBezTo>
                  <a:pt x="1533" y="91"/>
                  <a:pt x="1533" y="91"/>
                  <a:pt x="1533" y="91"/>
                </a:cubicBezTo>
                <a:cubicBezTo>
                  <a:pt x="1533" y="90"/>
                  <a:pt x="1533" y="90"/>
                  <a:pt x="1533" y="90"/>
                </a:cubicBezTo>
                <a:cubicBezTo>
                  <a:pt x="1534" y="91"/>
                  <a:pt x="1534" y="91"/>
                  <a:pt x="1534" y="91"/>
                </a:cubicBezTo>
                <a:cubicBezTo>
                  <a:pt x="1535" y="90"/>
                  <a:pt x="1535" y="90"/>
                  <a:pt x="1535" y="90"/>
                </a:cubicBezTo>
                <a:cubicBezTo>
                  <a:pt x="1535" y="88"/>
                  <a:pt x="1535" y="88"/>
                  <a:pt x="1535" y="88"/>
                </a:cubicBezTo>
                <a:cubicBezTo>
                  <a:pt x="1535" y="87"/>
                  <a:pt x="1535" y="87"/>
                  <a:pt x="1535" y="87"/>
                </a:cubicBezTo>
                <a:cubicBezTo>
                  <a:pt x="1534" y="86"/>
                  <a:pt x="1534" y="86"/>
                  <a:pt x="1534" y="86"/>
                </a:cubicBezTo>
                <a:cubicBezTo>
                  <a:pt x="1533" y="85"/>
                  <a:pt x="1533" y="85"/>
                  <a:pt x="1533" y="85"/>
                </a:cubicBezTo>
                <a:cubicBezTo>
                  <a:pt x="1535" y="85"/>
                  <a:pt x="1535" y="85"/>
                  <a:pt x="1535" y="85"/>
                </a:cubicBezTo>
                <a:cubicBezTo>
                  <a:pt x="1536" y="85"/>
                  <a:pt x="1536" y="85"/>
                  <a:pt x="1536" y="85"/>
                </a:cubicBezTo>
                <a:cubicBezTo>
                  <a:pt x="1538" y="84"/>
                  <a:pt x="1538" y="84"/>
                  <a:pt x="1538" y="84"/>
                </a:cubicBezTo>
                <a:cubicBezTo>
                  <a:pt x="1538" y="83"/>
                  <a:pt x="1538" y="83"/>
                  <a:pt x="1538" y="83"/>
                </a:cubicBezTo>
                <a:cubicBezTo>
                  <a:pt x="1537" y="82"/>
                  <a:pt x="1537" y="82"/>
                  <a:pt x="1537" y="82"/>
                </a:cubicBezTo>
                <a:cubicBezTo>
                  <a:pt x="1536" y="82"/>
                  <a:pt x="1536" y="82"/>
                  <a:pt x="1536" y="82"/>
                </a:cubicBezTo>
                <a:cubicBezTo>
                  <a:pt x="1536" y="81"/>
                  <a:pt x="1536" y="81"/>
                  <a:pt x="1536" y="81"/>
                </a:cubicBezTo>
                <a:cubicBezTo>
                  <a:pt x="1537" y="80"/>
                  <a:pt x="1537" y="80"/>
                  <a:pt x="1537" y="80"/>
                </a:cubicBezTo>
                <a:cubicBezTo>
                  <a:pt x="1538" y="80"/>
                  <a:pt x="1538" y="80"/>
                  <a:pt x="1538" y="80"/>
                </a:cubicBezTo>
                <a:cubicBezTo>
                  <a:pt x="1538" y="81"/>
                  <a:pt x="1538" y="81"/>
                  <a:pt x="1538" y="81"/>
                </a:cubicBezTo>
                <a:cubicBezTo>
                  <a:pt x="1539" y="81"/>
                  <a:pt x="1539" y="81"/>
                  <a:pt x="1539" y="81"/>
                </a:cubicBezTo>
                <a:cubicBezTo>
                  <a:pt x="1540" y="79"/>
                  <a:pt x="1540" y="79"/>
                  <a:pt x="1540" y="79"/>
                </a:cubicBezTo>
                <a:cubicBezTo>
                  <a:pt x="1541" y="79"/>
                  <a:pt x="1541" y="79"/>
                  <a:pt x="1541" y="79"/>
                </a:cubicBezTo>
                <a:cubicBezTo>
                  <a:pt x="1541" y="78"/>
                  <a:pt x="1541" y="78"/>
                  <a:pt x="1541" y="78"/>
                </a:cubicBezTo>
                <a:cubicBezTo>
                  <a:pt x="1541" y="77"/>
                  <a:pt x="1541" y="77"/>
                  <a:pt x="1541" y="77"/>
                </a:cubicBezTo>
                <a:cubicBezTo>
                  <a:pt x="1539" y="76"/>
                  <a:pt x="1539" y="76"/>
                  <a:pt x="1539" y="76"/>
                </a:cubicBezTo>
                <a:cubicBezTo>
                  <a:pt x="1539" y="75"/>
                  <a:pt x="1539" y="75"/>
                  <a:pt x="1539" y="75"/>
                </a:cubicBezTo>
                <a:cubicBezTo>
                  <a:pt x="1539" y="74"/>
                  <a:pt x="1539" y="74"/>
                  <a:pt x="1539" y="74"/>
                </a:cubicBezTo>
                <a:cubicBezTo>
                  <a:pt x="1537" y="75"/>
                  <a:pt x="1537" y="75"/>
                  <a:pt x="1537" y="75"/>
                </a:cubicBezTo>
                <a:cubicBezTo>
                  <a:pt x="1536" y="76"/>
                  <a:pt x="1536" y="76"/>
                  <a:pt x="1536" y="76"/>
                </a:cubicBezTo>
                <a:cubicBezTo>
                  <a:pt x="1536" y="75"/>
                  <a:pt x="1536" y="75"/>
                  <a:pt x="1536" y="75"/>
                </a:cubicBezTo>
                <a:cubicBezTo>
                  <a:pt x="1537" y="74"/>
                  <a:pt x="1537" y="74"/>
                  <a:pt x="1537" y="74"/>
                </a:cubicBezTo>
                <a:cubicBezTo>
                  <a:pt x="1537" y="73"/>
                  <a:pt x="1537" y="73"/>
                  <a:pt x="1537" y="73"/>
                </a:cubicBezTo>
                <a:cubicBezTo>
                  <a:pt x="1538" y="71"/>
                  <a:pt x="1538" y="71"/>
                  <a:pt x="1538" y="71"/>
                </a:cubicBezTo>
                <a:cubicBezTo>
                  <a:pt x="1537" y="71"/>
                  <a:pt x="1537" y="71"/>
                  <a:pt x="1537" y="71"/>
                </a:cubicBezTo>
                <a:cubicBezTo>
                  <a:pt x="1536" y="72"/>
                  <a:pt x="1536" y="72"/>
                  <a:pt x="1536" y="72"/>
                </a:cubicBezTo>
                <a:cubicBezTo>
                  <a:pt x="1535" y="74"/>
                  <a:pt x="1535" y="74"/>
                  <a:pt x="1535" y="74"/>
                </a:cubicBezTo>
                <a:cubicBezTo>
                  <a:pt x="1535" y="72"/>
                  <a:pt x="1535" y="72"/>
                  <a:pt x="1535" y="72"/>
                </a:cubicBezTo>
                <a:cubicBezTo>
                  <a:pt x="1534" y="72"/>
                  <a:pt x="1534" y="72"/>
                  <a:pt x="1534" y="72"/>
                </a:cubicBezTo>
                <a:cubicBezTo>
                  <a:pt x="1534" y="74"/>
                  <a:pt x="1534" y="74"/>
                  <a:pt x="1534" y="74"/>
                </a:cubicBezTo>
                <a:cubicBezTo>
                  <a:pt x="1533" y="74"/>
                  <a:pt x="1533" y="74"/>
                  <a:pt x="1533" y="74"/>
                </a:cubicBezTo>
                <a:cubicBezTo>
                  <a:pt x="1533" y="75"/>
                  <a:pt x="1533" y="75"/>
                  <a:pt x="1533" y="75"/>
                </a:cubicBezTo>
                <a:cubicBezTo>
                  <a:pt x="1533" y="76"/>
                  <a:pt x="1533" y="76"/>
                  <a:pt x="1533" y="76"/>
                </a:cubicBezTo>
                <a:cubicBezTo>
                  <a:pt x="1534" y="75"/>
                  <a:pt x="1534" y="75"/>
                  <a:pt x="1534" y="75"/>
                </a:cubicBezTo>
                <a:cubicBezTo>
                  <a:pt x="1535" y="76"/>
                  <a:pt x="1535" y="76"/>
                  <a:pt x="1535" y="76"/>
                </a:cubicBezTo>
                <a:cubicBezTo>
                  <a:pt x="1534" y="77"/>
                  <a:pt x="1534" y="77"/>
                  <a:pt x="1534" y="77"/>
                </a:cubicBezTo>
                <a:cubicBezTo>
                  <a:pt x="1533" y="78"/>
                  <a:pt x="1533" y="78"/>
                  <a:pt x="1533" y="78"/>
                </a:cubicBezTo>
                <a:cubicBezTo>
                  <a:pt x="1533" y="79"/>
                  <a:pt x="1533" y="79"/>
                  <a:pt x="1533" y="79"/>
                </a:cubicBezTo>
                <a:cubicBezTo>
                  <a:pt x="1532" y="80"/>
                  <a:pt x="1532" y="80"/>
                  <a:pt x="1532" y="80"/>
                </a:cubicBezTo>
                <a:cubicBezTo>
                  <a:pt x="1531" y="81"/>
                  <a:pt x="1531" y="81"/>
                  <a:pt x="1531" y="81"/>
                </a:cubicBezTo>
                <a:cubicBezTo>
                  <a:pt x="1530" y="82"/>
                  <a:pt x="1530" y="82"/>
                  <a:pt x="1530" y="82"/>
                </a:cubicBezTo>
                <a:close/>
                <a:moveTo>
                  <a:pt x="2138" y="120"/>
                </a:moveTo>
                <a:cubicBezTo>
                  <a:pt x="2138" y="119"/>
                  <a:pt x="2138" y="119"/>
                  <a:pt x="2138" y="119"/>
                </a:cubicBezTo>
                <a:cubicBezTo>
                  <a:pt x="2137" y="118"/>
                  <a:pt x="2137" y="118"/>
                  <a:pt x="2137" y="118"/>
                </a:cubicBezTo>
                <a:cubicBezTo>
                  <a:pt x="2137" y="119"/>
                  <a:pt x="2137" y="119"/>
                  <a:pt x="2137" y="119"/>
                </a:cubicBezTo>
                <a:cubicBezTo>
                  <a:pt x="2138" y="121"/>
                  <a:pt x="2138" y="121"/>
                  <a:pt x="2138" y="121"/>
                </a:cubicBezTo>
                <a:cubicBezTo>
                  <a:pt x="2138" y="120"/>
                  <a:pt x="2138" y="120"/>
                  <a:pt x="2138" y="120"/>
                </a:cubicBezTo>
                <a:close/>
                <a:moveTo>
                  <a:pt x="2212" y="452"/>
                </a:moveTo>
                <a:cubicBezTo>
                  <a:pt x="2212" y="454"/>
                  <a:pt x="2212" y="454"/>
                  <a:pt x="2212" y="454"/>
                </a:cubicBezTo>
                <a:cubicBezTo>
                  <a:pt x="2211" y="455"/>
                  <a:pt x="2211" y="455"/>
                  <a:pt x="2211" y="455"/>
                </a:cubicBezTo>
                <a:cubicBezTo>
                  <a:pt x="2211" y="457"/>
                  <a:pt x="2211" y="457"/>
                  <a:pt x="2211" y="457"/>
                </a:cubicBezTo>
                <a:cubicBezTo>
                  <a:pt x="2210" y="458"/>
                  <a:pt x="2210" y="458"/>
                  <a:pt x="2210" y="458"/>
                </a:cubicBezTo>
                <a:cubicBezTo>
                  <a:pt x="2211" y="459"/>
                  <a:pt x="2211" y="459"/>
                  <a:pt x="2211" y="459"/>
                </a:cubicBezTo>
                <a:cubicBezTo>
                  <a:pt x="2212" y="460"/>
                  <a:pt x="2212" y="460"/>
                  <a:pt x="2212" y="460"/>
                </a:cubicBezTo>
                <a:cubicBezTo>
                  <a:pt x="2212" y="458"/>
                  <a:pt x="2212" y="458"/>
                  <a:pt x="2212" y="458"/>
                </a:cubicBezTo>
                <a:cubicBezTo>
                  <a:pt x="2212" y="455"/>
                  <a:pt x="2212" y="455"/>
                  <a:pt x="2212" y="455"/>
                </a:cubicBezTo>
                <a:cubicBezTo>
                  <a:pt x="2213" y="455"/>
                  <a:pt x="2213" y="455"/>
                  <a:pt x="2213" y="455"/>
                </a:cubicBezTo>
                <a:cubicBezTo>
                  <a:pt x="2214" y="454"/>
                  <a:pt x="2214" y="454"/>
                  <a:pt x="2214" y="454"/>
                </a:cubicBezTo>
                <a:cubicBezTo>
                  <a:pt x="2215" y="452"/>
                  <a:pt x="2215" y="452"/>
                  <a:pt x="2215" y="452"/>
                </a:cubicBezTo>
                <a:cubicBezTo>
                  <a:pt x="2214" y="452"/>
                  <a:pt x="2214" y="452"/>
                  <a:pt x="2214" y="452"/>
                </a:cubicBezTo>
                <a:cubicBezTo>
                  <a:pt x="2213" y="453"/>
                  <a:pt x="2213" y="453"/>
                  <a:pt x="2213" y="453"/>
                </a:cubicBezTo>
                <a:cubicBezTo>
                  <a:pt x="2213" y="452"/>
                  <a:pt x="2213" y="452"/>
                  <a:pt x="2213" y="452"/>
                </a:cubicBezTo>
                <a:cubicBezTo>
                  <a:pt x="2212" y="452"/>
                  <a:pt x="2212" y="452"/>
                  <a:pt x="2212" y="452"/>
                </a:cubicBezTo>
                <a:close/>
                <a:moveTo>
                  <a:pt x="2163" y="384"/>
                </a:moveTo>
                <a:cubicBezTo>
                  <a:pt x="2164" y="384"/>
                  <a:pt x="2164" y="384"/>
                  <a:pt x="2164" y="384"/>
                </a:cubicBezTo>
                <a:cubicBezTo>
                  <a:pt x="2165" y="386"/>
                  <a:pt x="2165" y="386"/>
                  <a:pt x="2165" y="386"/>
                </a:cubicBezTo>
                <a:cubicBezTo>
                  <a:pt x="2165" y="388"/>
                  <a:pt x="2165" y="388"/>
                  <a:pt x="2165" y="388"/>
                </a:cubicBezTo>
                <a:cubicBezTo>
                  <a:pt x="2165" y="390"/>
                  <a:pt x="2165" y="390"/>
                  <a:pt x="2165" y="390"/>
                </a:cubicBezTo>
                <a:cubicBezTo>
                  <a:pt x="2166" y="392"/>
                  <a:pt x="2166" y="392"/>
                  <a:pt x="2166" y="392"/>
                </a:cubicBezTo>
                <a:cubicBezTo>
                  <a:pt x="2166" y="393"/>
                  <a:pt x="2166" y="393"/>
                  <a:pt x="2166" y="393"/>
                </a:cubicBezTo>
                <a:cubicBezTo>
                  <a:pt x="2167" y="394"/>
                  <a:pt x="2167" y="394"/>
                  <a:pt x="2167" y="394"/>
                </a:cubicBezTo>
                <a:cubicBezTo>
                  <a:pt x="2169" y="395"/>
                  <a:pt x="2169" y="395"/>
                  <a:pt x="2169" y="395"/>
                </a:cubicBezTo>
                <a:cubicBezTo>
                  <a:pt x="2168" y="395"/>
                  <a:pt x="2168" y="395"/>
                  <a:pt x="2168" y="395"/>
                </a:cubicBezTo>
                <a:cubicBezTo>
                  <a:pt x="2168" y="396"/>
                  <a:pt x="2168" y="396"/>
                  <a:pt x="2168" y="396"/>
                </a:cubicBezTo>
                <a:cubicBezTo>
                  <a:pt x="2170" y="398"/>
                  <a:pt x="2170" y="398"/>
                  <a:pt x="2170" y="398"/>
                </a:cubicBezTo>
                <a:cubicBezTo>
                  <a:pt x="2170" y="400"/>
                  <a:pt x="2170" y="400"/>
                  <a:pt x="2170" y="400"/>
                </a:cubicBezTo>
                <a:cubicBezTo>
                  <a:pt x="2171" y="401"/>
                  <a:pt x="2171" y="401"/>
                  <a:pt x="2171" y="401"/>
                </a:cubicBezTo>
                <a:cubicBezTo>
                  <a:pt x="2171" y="404"/>
                  <a:pt x="2171" y="404"/>
                  <a:pt x="2171" y="404"/>
                </a:cubicBezTo>
                <a:cubicBezTo>
                  <a:pt x="2171" y="405"/>
                  <a:pt x="2171" y="405"/>
                  <a:pt x="2171" y="405"/>
                </a:cubicBezTo>
                <a:cubicBezTo>
                  <a:pt x="2171" y="406"/>
                  <a:pt x="2171" y="406"/>
                  <a:pt x="2171" y="406"/>
                </a:cubicBezTo>
                <a:cubicBezTo>
                  <a:pt x="2171" y="408"/>
                  <a:pt x="2171" y="408"/>
                  <a:pt x="2171" y="408"/>
                </a:cubicBezTo>
                <a:cubicBezTo>
                  <a:pt x="2172" y="410"/>
                  <a:pt x="2172" y="410"/>
                  <a:pt x="2172" y="410"/>
                </a:cubicBezTo>
                <a:cubicBezTo>
                  <a:pt x="2172" y="411"/>
                  <a:pt x="2172" y="411"/>
                  <a:pt x="2172" y="411"/>
                </a:cubicBezTo>
                <a:cubicBezTo>
                  <a:pt x="2172" y="413"/>
                  <a:pt x="2172" y="413"/>
                  <a:pt x="2172" y="413"/>
                </a:cubicBezTo>
                <a:cubicBezTo>
                  <a:pt x="2173" y="414"/>
                  <a:pt x="2173" y="414"/>
                  <a:pt x="2173" y="414"/>
                </a:cubicBezTo>
                <a:cubicBezTo>
                  <a:pt x="2176" y="417"/>
                  <a:pt x="2176" y="417"/>
                  <a:pt x="2176" y="417"/>
                </a:cubicBezTo>
                <a:cubicBezTo>
                  <a:pt x="2176" y="418"/>
                  <a:pt x="2176" y="418"/>
                  <a:pt x="2176" y="418"/>
                </a:cubicBezTo>
                <a:cubicBezTo>
                  <a:pt x="2177" y="420"/>
                  <a:pt x="2177" y="420"/>
                  <a:pt x="2177" y="420"/>
                </a:cubicBezTo>
                <a:cubicBezTo>
                  <a:pt x="2177" y="422"/>
                  <a:pt x="2177" y="422"/>
                  <a:pt x="2177" y="422"/>
                </a:cubicBezTo>
                <a:cubicBezTo>
                  <a:pt x="2177" y="425"/>
                  <a:pt x="2177" y="425"/>
                  <a:pt x="2177" y="425"/>
                </a:cubicBezTo>
                <a:cubicBezTo>
                  <a:pt x="2178" y="427"/>
                  <a:pt x="2178" y="427"/>
                  <a:pt x="2178" y="427"/>
                </a:cubicBezTo>
                <a:cubicBezTo>
                  <a:pt x="2178" y="428"/>
                  <a:pt x="2178" y="428"/>
                  <a:pt x="2178" y="428"/>
                </a:cubicBezTo>
                <a:cubicBezTo>
                  <a:pt x="2180" y="430"/>
                  <a:pt x="2180" y="430"/>
                  <a:pt x="2180" y="430"/>
                </a:cubicBezTo>
                <a:cubicBezTo>
                  <a:pt x="2180" y="431"/>
                  <a:pt x="2180" y="431"/>
                  <a:pt x="2180" y="431"/>
                </a:cubicBezTo>
                <a:cubicBezTo>
                  <a:pt x="2180" y="433"/>
                  <a:pt x="2180" y="433"/>
                  <a:pt x="2180" y="433"/>
                </a:cubicBezTo>
                <a:cubicBezTo>
                  <a:pt x="2180" y="436"/>
                  <a:pt x="2180" y="436"/>
                  <a:pt x="2180" y="436"/>
                </a:cubicBezTo>
                <a:cubicBezTo>
                  <a:pt x="2180" y="437"/>
                  <a:pt x="2180" y="437"/>
                  <a:pt x="2180" y="437"/>
                </a:cubicBezTo>
                <a:cubicBezTo>
                  <a:pt x="2181" y="438"/>
                  <a:pt x="2181" y="438"/>
                  <a:pt x="2181" y="438"/>
                </a:cubicBezTo>
                <a:cubicBezTo>
                  <a:pt x="2182" y="440"/>
                  <a:pt x="2182" y="440"/>
                  <a:pt x="2182" y="440"/>
                </a:cubicBezTo>
                <a:cubicBezTo>
                  <a:pt x="2184" y="441"/>
                  <a:pt x="2184" y="441"/>
                  <a:pt x="2184" y="441"/>
                </a:cubicBezTo>
                <a:cubicBezTo>
                  <a:pt x="2184" y="440"/>
                  <a:pt x="2184" y="440"/>
                  <a:pt x="2184" y="440"/>
                </a:cubicBezTo>
                <a:cubicBezTo>
                  <a:pt x="2184" y="438"/>
                  <a:pt x="2184" y="438"/>
                  <a:pt x="2184" y="438"/>
                </a:cubicBezTo>
                <a:cubicBezTo>
                  <a:pt x="2183" y="437"/>
                  <a:pt x="2183" y="437"/>
                  <a:pt x="2183" y="437"/>
                </a:cubicBezTo>
                <a:cubicBezTo>
                  <a:pt x="2183" y="436"/>
                  <a:pt x="2183" y="436"/>
                  <a:pt x="2183" y="436"/>
                </a:cubicBezTo>
                <a:cubicBezTo>
                  <a:pt x="2183" y="434"/>
                  <a:pt x="2183" y="434"/>
                  <a:pt x="2183" y="434"/>
                </a:cubicBezTo>
                <a:cubicBezTo>
                  <a:pt x="2184" y="433"/>
                  <a:pt x="2184" y="433"/>
                  <a:pt x="2184" y="433"/>
                </a:cubicBezTo>
                <a:cubicBezTo>
                  <a:pt x="2185" y="433"/>
                  <a:pt x="2185" y="433"/>
                  <a:pt x="2185" y="433"/>
                </a:cubicBezTo>
                <a:cubicBezTo>
                  <a:pt x="2185" y="434"/>
                  <a:pt x="2185" y="434"/>
                  <a:pt x="2185" y="434"/>
                </a:cubicBezTo>
                <a:cubicBezTo>
                  <a:pt x="2186" y="434"/>
                  <a:pt x="2186" y="434"/>
                  <a:pt x="2186" y="434"/>
                </a:cubicBezTo>
                <a:cubicBezTo>
                  <a:pt x="2188" y="434"/>
                  <a:pt x="2188" y="434"/>
                  <a:pt x="2188" y="434"/>
                </a:cubicBezTo>
                <a:cubicBezTo>
                  <a:pt x="2188" y="433"/>
                  <a:pt x="2188" y="433"/>
                  <a:pt x="2188" y="433"/>
                </a:cubicBezTo>
                <a:cubicBezTo>
                  <a:pt x="2189" y="433"/>
                  <a:pt x="2189" y="433"/>
                  <a:pt x="2189" y="433"/>
                </a:cubicBezTo>
                <a:cubicBezTo>
                  <a:pt x="2189" y="434"/>
                  <a:pt x="2189" y="434"/>
                  <a:pt x="2189" y="434"/>
                </a:cubicBezTo>
                <a:cubicBezTo>
                  <a:pt x="2189" y="435"/>
                  <a:pt x="2189" y="435"/>
                  <a:pt x="2189" y="435"/>
                </a:cubicBezTo>
                <a:cubicBezTo>
                  <a:pt x="2190" y="437"/>
                  <a:pt x="2190" y="437"/>
                  <a:pt x="2190" y="437"/>
                </a:cubicBezTo>
                <a:cubicBezTo>
                  <a:pt x="2191" y="438"/>
                  <a:pt x="2191" y="438"/>
                  <a:pt x="2191" y="438"/>
                </a:cubicBezTo>
                <a:cubicBezTo>
                  <a:pt x="2191" y="437"/>
                  <a:pt x="2191" y="437"/>
                  <a:pt x="2191" y="437"/>
                </a:cubicBezTo>
                <a:cubicBezTo>
                  <a:pt x="2191" y="436"/>
                  <a:pt x="2191" y="436"/>
                  <a:pt x="2191" y="436"/>
                </a:cubicBezTo>
                <a:cubicBezTo>
                  <a:pt x="2191" y="434"/>
                  <a:pt x="2191" y="434"/>
                  <a:pt x="2191" y="434"/>
                </a:cubicBezTo>
                <a:cubicBezTo>
                  <a:pt x="2190" y="433"/>
                  <a:pt x="2190" y="433"/>
                  <a:pt x="2190" y="433"/>
                </a:cubicBezTo>
                <a:cubicBezTo>
                  <a:pt x="2190" y="432"/>
                  <a:pt x="2190" y="432"/>
                  <a:pt x="2190" y="432"/>
                </a:cubicBezTo>
                <a:cubicBezTo>
                  <a:pt x="2189" y="431"/>
                  <a:pt x="2189" y="431"/>
                  <a:pt x="2189" y="431"/>
                </a:cubicBezTo>
                <a:cubicBezTo>
                  <a:pt x="2188" y="431"/>
                  <a:pt x="2188" y="431"/>
                  <a:pt x="2188" y="431"/>
                </a:cubicBezTo>
                <a:cubicBezTo>
                  <a:pt x="2186" y="430"/>
                  <a:pt x="2186" y="430"/>
                  <a:pt x="2186" y="430"/>
                </a:cubicBezTo>
                <a:cubicBezTo>
                  <a:pt x="2186" y="428"/>
                  <a:pt x="2186" y="428"/>
                  <a:pt x="2186" y="428"/>
                </a:cubicBezTo>
                <a:cubicBezTo>
                  <a:pt x="2185" y="427"/>
                  <a:pt x="2185" y="427"/>
                  <a:pt x="2185" y="427"/>
                </a:cubicBezTo>
                <a:cubicBezTo>
                  <a:pt x="2183" y="425"/>
                  <a:pt x="2183" y="425"/>
                  <a:pt x="2183" y="425"/>
                </a:cubicBezTo>
                <a:cubicBezTo>
                  <a:pt x="2182" y="425"/>
                  <a:pt x="2182" y="425"/>
                  <a:pt x="2182" y="425"/>
                </a:cubicBezTo>
                <a:cubicBezTo>
                  <a:pt x="2181" y="424"/>
                  <a:pt x="2181" y="424"/>
                  <a:pt x="2181" y="424"/>
                </a:cubicBezTo>
                <a:cubicBezTo>
                  <a:pt x="2181" y="422"/>
                  <a:pt x="2181" y="422"/>
                  <a:pt x="2181" y="422"/>
                </a:cubicBezTo>
                <a:cubicBezTo>
                  <a:pt x="2180" y="420"/>
                  <a:pt x="2180" y="420"/>
                  <a:pt x="2180" y="420"/>
                </a:cubicBezTo>
                <a:cubicBezTo>
                  <a:pt x="2179" y="419"/>
                  <a:pt x="2179" y="419"/>
                  <a:pt x="2179" y="419"/>
                </a:cubicBezTo>
                <a:cubicBezTo>
                  <a:pt x="2179" y="416"/>
                  <a:pt x="2179" y="416"/>
                  <a:pt x="2179" y="416"/>
                </a:cubicBezTo>
                <a:cubicBezTo>
                  <a:pt x="2179" y="414"/>
                  <a:pt x="2179" y="414"/>
                  <a:pt x="2179" y="414"/>
                </a:cubicBezTo>
                <a:cubicBezTo>
                  <a:pt x="2178" y="413"/>
                  <a:pt x="2178" y="413"/>
                  <a:pt x="2178" y="413"/>
                </a:cubicBezTo>
                <a:cubicBezTo>
                  <a:pt x="2179" y="411"/>
                  <a:pt x="2179" y="411"/>
                  <a:pt x="2179" y="411"/>
                </a:cubicBezTo>
                <a:cubicBezTo>
                  <a:pt x="2179" y="409"/>
                  <a:pt x="2179" y="409"/>
                  <a:pt x="2179" y="409"/>
                </a:cubicBezTo>
                <a:cubicBezTo>
                  <a:pt x="2178" y="408"/>
                  <a:pt x="2178" y="408"/>
                  <a:pt x="2178" y="408"/>
                </a:cubicBezTo>
                <a:cubicBezTo>
                  <a:pt x="2178" y="407"/>
                  <a:pt x="2178" y="407"/>
                  <a:pt x="2178" y="407"/>
                </a:cubicBezTo>
                <a:cubicBezTo>
                  <a:pt x="2178" y="406"/>
                  <a:pt x="2178" y="406"/>
                  <a:pt x="2178" y="406"/>
                </a:cubicBezTo>
                <a:cubicBezTo>
                  <a:pt x="2178" y="405"/>
                  <a:pt x="2178" y="405"/>
                  <a:pt x="2178" y="405"/>
                </a:cubicBezTo>
                <a:cubicBezTo>
                  <a:pt x="2179" y="405"/>
                  <a:pt x="2179" y="405"/>
                  <a:pt x="2179" y="405"/>
                </a:cubicBezTo>
                <a:cubicBezTo>
                  <a:pt x="2180" y="405"/>
                  <a:pt x="2180" y="405"/>
                  <a:pt x="2180" y="405"/>
                </a:cubicBezTo>
                <a:cubicBezTo>
                  <a:pt x="2181" y="405"/>
                  <a:pt x="2181" y="405"/>
                  <a:pt x="2181" y="405"/>
                </a:cubicBezTo>
                <a:cubicBezTo>
                  <a:pt x="2183" y="405"/>
                  <a:pt x="2183" y="405"/>
                  <a:pt x="2183" y="405"/>
                </a:cubicBezTo>
                <a:cubicBezTo>
                  <a:pt x="2184" y="406"/>
                  <a:pt x="2184" y="406"/>
                  <a:pt x="2184" y="406"/>
                </a:cubicBezTo>
                <a:cubicBezTo>
                  <a:pt x="2185" y="408"/>
                  <a:pt x="2185" y="408"/>
                  <a:pt x="2185" y="408"/>
                </a:cubicBezTo>
                <a:cubicBezTo>
                  <a:pt x="2186" y="408"/>
                  <a:pt x="2186" y="408"/>
                  <a:pt x="2186" y="408"/>
                </a:cubicBezTo>
                <a:cubicBezTo>
                  <a:pt x="2187" y="409"/>
                  <a:pt x="2187" y="409"/>
                  <a:pt x="2187" y="409"/>
                </a:cubicBezTo>
                <a:cubicBezTo>
                  <a:pt x="2189" y="411"/>
                  <a:pt x="2189" y="411"/>
                  <a:pt x="2189" y="411"/>
                </a:cubicBezTo>
                <a:cubicBezTo>
                  <a:pt x="2189" y="410"/>
                  <a:pt x="2189" y="410"/>
                  <a:pt x="2189" y="410"/>
                </a:cubicBezTo>
                <a:cubicBezTo>
                  <a:pt x="2187" y="408"/>
                  <a:pt x="2187" y="408"/>
                  <a:pt x="2187" y="408"/>
                </a:cubicBezTo>
                <a:cubicBezTo>
                  <a:pt x="2186" y="407"/>
                  <a:pt x="2186" y="407"/>
                  <a:pt x="2186" y="407"/>
                </a:cubicBezTo>
                <a:cubicBezTo>
                  <a:pt x="2185" y="405"/>
                  <a:pt x="2185" y="405"/>
                  <a:pt x="2185" y="405"/>
                </a:cubicBezTo>
                <a:cubicBezTo>
                  <a:pt x="2183" y="403"/>
                  <a:pt x="2183" y="403"/>
                  <a:pt x="2183" y="403"/>
                </a:cubicBezTo>
                <a:cubicBezTo>
                  <a:pt x="2183" y="402"/>
                  <a:pt x="2183" y="402"/>
                  <a:pt x="2183" y="402"/>
                </a:cubicBezTo>
                <a:cubicBezTo>
                  <a:pt x="2182" y="400"/>
                  <a:pt x="2182" y="400"/>
                  <a:pt x="2182" y="400"/>
                </a:cubicBezTo>
                <a:cubicBezTo>
                  <a:pt x="2181" y="398"/>
                  <a:pt x="2181" y="398"/>
                  <a:pt x="2181" y="398"/>
                </a:cubicBezTo>
                <a:cubicBezTo>
                  <a:pt x="2180" y="398"/>
                  <a:pt x="2180" y="398"/>
                  <a:pt x="2180" y="398"/>
                </a:cubicBezTo>
                <a:cubicBezTo>
                  <a:pt x="2180" y="397"/>
                  <a:pt x="2180" y="397"/>
                  <a:pt x="2180" y="397"/>
                </a:cubicBezTo>
                <a:cubicBezTo>
                  <a:pt x="2178" y="394"/>
                  <a:pt x="2178" y="394"/>
                  <a:pt x="2178" y="394"/>
                </a:cubicBezTo>
                <a:cubicBezTo>
                  <a:pt x="2176" y="391"/>
                  <a:pt x="2176" y="391"/>
                  <a:pt x="2176" y="391"/>
                </a:cubicBezTo>
                <a:cubicBezTo>
                  <a:pt x="2176" y="390"/>
                  <a:pt x="2176" y="390"/>
                  <a:pt x="2176" y="390"/>
                </a:cubicBezTo>
                <a:cubicBezTo>
                  <a:pt x="2174" y="387"/>
                  <a:pt x="2174" y="387"/>
                  <a:pt x="2174" y="387"/>
                </a:cubicBezTo>
                <a:cubicBezTo>
                  <a:pt x="2173" y="385"/>
                  <a:pt x="2173" y="385"/>
                  <a:pt x="2173" y="385"/>
                </a:cubicBezTo>
                <a:cubicBezTo>
                  <a:pt x="2172" y="384"/>
                  <a:pt x="2172" y="384"/>
                  <a:pt x="2172" y="384"/>
                </a:cubicBezTo>
                <a:cubicBezTo>
                  <a:pt x="2172" y="383"/>
                  <a:pt x="2172" y="383"/>
                  <a:pt x="2172" y="383"/>
                </a:cubicBezTo>
                <a:cubicBezTo>
                  <a:pt x="2171" y="382"/>
                  <a:pt x="2171" y="382"/>
                  <a:pt x="2171" y="382"/>
                </a:cubicBezTo>
                <a:cubicBezTo>
                  <a:pt x="2170" y="381"/>
                  <a:pt x="2170" y="381"/>
                  <a:pt x="2170" y="381"/>
                </a:cubicBezTo>
                <a:cubicBezTo>
                  <a:pt x="2170" y="382"/>
                  <a:pt x="2170" y="382"/>
                  <a:pt x="2170" y="382"/>
                </a:cubicBezTo>
                <a:cubicBezTo>
                  <a:pt x="2169" y="382"/>
                  <a:pt x="2169" y="382"/>
                  <a:pt x="2169" y="382"/>
                </a:cubicBezTo>
                <a:cubicBezTo>
                  <a:pt x="2169" y="381"/>
                  <a:pt x="2169" y="381"/>
                  <a:pt x="2169" y="381"/>
                </a:cubicBezTo>
                <a:cubicBezTo>
                  <a:pt x="2169" y="380"/>
                  <a:pt x="2169" y="380"/>
                  <a:pt x="2169" y="380"/>
                </a:cubicBezTo>
                <a:cubicBezTo>
                  <a:pt x="2169" y="379"/>
                  <a:pt x="2169" y="379"/>
                  <a:pt x="2169" y="379"/>
                </a:cubicBezTo>
                <a:cubicBezTo>
                  <a:pt x="2168" y="379"/>
                  <a:pt x="2168" y="379"/>
                  <a:pt x="2168" y="379"/>
                </a:cubicBezTo>
                <a:cubicBezTo>
                  <a:pt x="2167" y="377"/>
                  <a:pt x="2167" y="377"/>
                  <a:pt x="2167" y="377"/>
                </a:cubicBezTo>
                <a:cubicBezTo>
                  <a:pt x="2166" y="376"/>
                  <a:pt x="2166" y="376"/>
                  <a:pt x="2166" y="376"/>
                </a:cubicBezTo>
                <a:cubicBezTo>
                  <a:pt x="2165" y="375"/>
                  <a:pt x="2165" y="375"/>
                  <a:pt x="2165" y="375"/>
                </a:cubicBezTo>
                <a:cubicBezTo>
                  <a:pt x="2165" y="373"/>
                  <a:pt x="2165" y="373"/>
                  <a:pt x="2165" y="373"/>
                </a:cubicBezTo>
                <a:cubicBezTo>
                  <a:pt x="2166" y="372"/>
                  <a:pt x="2166" y="372"/>
                  <a:pt x="2166" y="372"/>
                </a:cubicBezTo>
                <a:cubicBezTo>
                  <a:pt x="2166" y="371"/>
                  <a:pt x="2166" y="371"/>
                  <a:pt x="2166" y="371"/>
                </a:cubicBezTo>
                <a:cubicBezTo>
                  <a:pt x="2165" y="369"/>
                  <a:pt x="2165" y="369"/>
                  <a:pt x="2165" y="369"/>
                </a:cubicBezTo>
                <a:cubicBezTo>
                  <a:pt x="2165" y="367"/>
                  <a:pt x="2165" y="367"/>
                  <a:pt x="2165" y="367"/>
                </a:cubicBezTo>
                <a:cubicBezTo>
                  <a:pt x="2164" y="367"/>
                  <a:pt x="2164" y="367"/>
                  <a:pt x="2164" y="367"/>
                </a:cubicBezTo>
                <a:cubicBezTo>
                  <a:pt x="2162" y="365"/>
                  <a:pt x="2162" y="365"/>
                  <a:pt x="2162" y="365"/>
                </a:cubicBezTo>
                <a:cubicBezTo>
                  <a:pt x="2162" y="364"/>
                  <a:pt x="2162" y="364"/>
                  <a:pt x="2162" y="364"/>
                </a:cubicBezTo>
                <a:cubicBezTo>
                  <a:pt x="2162" y="363"/>
                  <a:pt x="2162" y="363"/>
                  <a:pt x="2162" y="363"/>
                </a:cubicBezTo>
                <a:cubicBezTo>
                  <a:pt x="2163" y="364"/>
                  <a:pt x="2163" y="364"/>
                  <a:pt x="2163" y="364"/>
                </a:cubicBezTo>
                <a:cubicBezTo>
                  <a:pt x="2164" y="366"/>
                  <a:pt x="2164" y="366"/>
                  <a:pt x="2164" y="366"/>
                </a:cubicBezTo>
                <a:cubicBezTo>
                  <a:pt x="2164" y="364"/>
                  <a:pt x="2164" y="364"/>
                  <a:pt x="2164" y="364"/>
                </a:cubicBezTo>
                <a:cubicBezTo>
                  <a:pt x="2162" y="362"/>
                  <a:pt x="2162" y="362"/>
                  <a:pt x="2162" y="362"/>
                </a:cubicBezTo>
                <a:cubicBezTo>
                  <a:pt x="2161" y="361"/>
                  <a:pt x="2161" y="361"/>
                  <a:pt x="2161" y="361"/>
                </a:cubicBezTo>
                <a:cubicBezTo>
                  <a:pt x="2160" y="361"/>
                  <a:pt x="2160" y="361"/>
                  <a:pt x="2160" y="361"/>
                </a:cubicBezTo>
                <a:cubicBezTo>
                  <a:pt x="2160" y="359"/>
                  <a:pt x="2160" y="359"/>
                  <a:pt x="2160" y="359"/>
                </a:cubicBezTo>
                <a:cubicBezTo>
                  <a:pt x="2158" y="357"/>
                  <a:pt x="2158" y="357"/>
                  <a:pt x="2158" y="357"/>
                </a:cubicBezTo>
                <a:cubicBezTo>
                  <a:pt x="2157" y="356"/>
                  <a:pt x="2157" y="356"/>
                  <a:pt x="2157" y="356"/>
                </a:cubicBezTo>
                <a:cubicBezTo>
                  <a:pt x="2157" y="354"/>
                  <a:pt x="2157" y="354"/>
                  <a:pt x="2157" y="354"/>
                </a:cubicBezTo>
                <a:cubicBezTo>
                  <a:pt x="2156" y="353"/>
                  <a:pt x="2156" y="353"/>
                  <a:pt x="2156" y="353"/>
                </a:cubicBezTo>
                <a:cubicBezTo>
                  <a:pt x="2154" y="352"/>
                  <a:pt x="2154" y="352"/>
                  <a:pt x="2154" y="352"/>
                </a:cubicBezTo>
                <a:cubicBezTo>
                  <a:pt x="2153" y="351"/>
                  <a:pt x="2153" y="351"/>
                  <a:pt x="2153" y="351"/>
                </a:cubicBezTo>
                <a:cubicBezTo>
                  <a:pt x="2153" y="352"/>
                  <a:pt x="2153" y="352"/>
                  <a:pt x="2153" y="352"/>
                </a:cubicBezTo>
                <a:cubicBezTo>
                  <a:pt x="2152" y="352"/>
                  <a:pt x="2152" y="352"/>
                  <a:pt x="2152" y="352"/>
                </a:cubicBezTo>
                <a:cubicBezTo>
                  <a:pt x="2151" y="352"/>
                  <a:pt x="2151" y="352"/>
                  <a:pt x="2151" y="352"/>
                </a:cubicBezTo>
                <a:cubicBezTo>
                  <a:pt x="2150" y="352"/>
                  <a:pt x="2150" y="352"/>
                  <a:pt x="2150" y="352"/>
                </a:cubicBezTo>
                <a:cubicBezTo>
                  <a:pt x="2152" y="354"/>
                  <a:pt x="2152" y="354"/>
                  <a:pt x="2152" y="354"/>
                </a:cubicBezTo>
                <a:cubicBezTo>
                  <a:pt x="2154" y="355"/>
                  <a:pt x="2154" y="355"/>
                  <a:pt x="2154" y="355"/>
                </a:cubicBezTo>
                <a:cubicBezTo>
                  <a:pt x="2155" y="356"/>
                  <a:pt x="2155" y="356"/>
                  <a:pt x="2155" y="356"/>
                </a:cubicBezTo>
                <a:cubicBezTo>
                  <a:pt x="2154" y="357"/>
                  <a:pt x="2154" y="357"/>
                  <a:pt x="2154" y="357"/>
                </a:cubicBezTo>
                <a:cubicBezTo>
                  <a:pt x="2155" y="357"/>
                  <a:pt x="2155" y="357"/>
                  <a:pt x="2155" y="357"/>
                </a:cubicBezTo>
                <a:cubicBezTo>
                  <a:pt x="2156" y="357"/>
                  <a:pt x="2156" y="357"/>
                  <a:pt x="2156" y="357"/>
                </a:cubicBezTo>
                <a:cubicBezTo>
                  <a:pt x="2156" y="358"/>
                  <a:pt x="2156" y="358"/>
                  <a:pt x="2156" y="358"/>
                </a:cubicBezTo>
                <a:cubicBezTo>
                  <a:pt x="2155" y="358"/>
                  <a:pt x="2155" y="358"/>
                  <a:pt x="2155" y="358"/>
                </a:cubicBezTo>
                <a:cubicBezTo>
                  <a:pt x="2155" y="359"/>
                  <a:pt x="2155" y="359"/>
                  <a:pt x="2155" y="359"/>
                </a:cubicBezTo>
                <a:cubicBezTo>
                  <a:pt x="2156" y="359"/>
                  <a:pt x="2156" y="359"/>
                  <a:pt x="2156" y="359"/>
                </a:cubicBezTo>
                <a:cubicBezTo>
                  <a:pt x="2156" y="361"/>
                  <a:pt x="2156" y="361"/>
                  <a:pt x="2156" y="361"/>
                </a:cubicBezTo>
                <a:cubicBezTo>
                  <a:pt x="2155" y="361"/>
                  <a:pt x="2155" y="361"/>
                  <a:pt x="2155" y="361"/>
                </a:cubicBezTo>
                <a:cubicBezTo>
                  <a:pt x="2154" y="361"/>
                  <a:pt x="2154" y="361"/>
                  <a:pt x="2154" y="361"/>
                </a:cubicBezTo>
                <a:cubicBezTo>
                  <a:pt x="2154" y="360"/>
                  <a:pt x="2154" y="360"/>
                  <a:pt x="2154" y="360"/>
                </a:cubicBezTo>
                <a:cubicBezTo>
                  <a:pt x="2153" y="361"/>
                  <a:pt x="2153" y="361"/>
                  <a:pt x="2153" y="361"/>
                </a:cubicBezTo>
                <a:cubicBezTo>
                  <a:pt x="2152" y="362"/>
                  <a:pt x="2152" y="362"/>
                  <a:pt x="2152" y="362"/>
                </a:cubicBezTo>
                <a:cubicBezTo>
                  <a:pt x="2153" y="364"/>
                  <a:pt x="2153" y="364"/>
                  <a:pt x="2153" y="364"/>
                </a:cubicBezTo>
                <a:cubicBezTo>
                  <a:pt x="2154" y="365"/>
                  <a:pt x="2154" y="365"/>
                  <a:pt x="2154" y="365"/>
                </a:cubicBezTo>
                <a:cubicBezTo>
                  <a:pt x="2155" y="367"/>
                  <a:pt x="2155" y="367"/>
                  <a:pt x="2155" y="367"/>
                </a:cubicBezTo>
                <a:cubicBezTo>
                  <a:pt x="2156" y="369"/>
                  <a:pt x="2156" y="369"/>
                  <a:pt x="2156" y="369"/>
                </a:cubicBezTo>
                <a:cubicBezTo>
                  <a:pt x="2156" y="371"/>
                  <a:pt x="2156" y="371"/>
                  <a:pt x="2156" y="371"/>
                </a:cubicBezTo>
                <a:cubicBezTo>
                  <a:pt x="2156" y="372"/>
                  <a:pt x="2156" y="372"/>
                  <a:pt x="2156" y="372"/>
                </a:cubicBezTo>
                <a:cubicBezTo>
                  <a:pt x="2157" y="374"/>
                  <a:pt x="2157" y="374"/>
                  <a:pt x="2157" y="374"/>
                </a:cubicBezTo>
                <a:cubicBezTo>
                  <a:pt x="2158" y="377"/>
                  <a:pt x="2158" y="377"/>
                  <a:pt x="2158" y="377"/>
                </a:cubicBezTo>
                <a:cubicBezTo>
                  <a:pt x="2159" y="379"/>
                  <a:pt x="2159" y="379"/>
                  <a:pt x="2159" y="379"/>
                </a:cubicBezTo>
                <a:cubicBezTo>
                  <a:pt x="2160" y="380"/>
                  <a:pt x="2160" y="380"/>
                  <a:pt x="2160" y="380"/>
                </a:cubicBezTo>
                <a:cubicBezTo>
                  <a:pt x="2159" y="381"/>
                  <a:pt x="2159" y="381"/>
                  <a:pt x="2159" y="381"/>
                </a:cubicBezTo>
                <a:cubicBezTo>
                  <a:pt x="2163" y="384"/>
                  <a:pt x="2163" y="384"/>
                  <a:pt x="2163" y="384"/>
                </a:cubicBezTo>
                <a:close/>
                <a:moveTo>
                  <a:pt x="1583" y="262"/>
                </a:moveTo>
                <a:cubicBezTo>
                  <a:pt x="1584" y="261"/>
                  <a:pt x="1584" y="261"/>
                  <a:pt x="1584" y="261"/>
                </a:cubicBezTo>
                <a:cubicBezTo>
                  <a:pt x="1586" y="261"/>
                  <a:pt x="1586" y="261"/>
                  <a:pt x="1586" y="261"/>
                </a:cubicBezTo>
                <a:cubicBezTo>
                  <a:pt x="1587" y="260"/>
                  <a:pt x="1587" y="260"/>
                  <a:pt x="1587" y="260"/>
                </a:cubicBezTo>
                <a:cubicBezTo>
                  <a:pt x="1588" y="258"/>
                  <a:pt x="1588" y="258"/>
                  <a:pt x="1588" y="258"/>
                </a:cubicBezTo>
                <a:cubicBezTo>
                  <a:pt x="1588" y="256"/>
                  <a:pt x="1588" y="256"/>
                  <a:pt x="1588" y="256"/>
                </a:cubicBezTo>
                <a:cubicBezTo>
                  <a:pt x="1589" y="255"/>
                  <a:pt x="1589" y="255"/>
                  <a:pt x="1589" y="255"/>
                </a:cubicBezTo>
                <a:cubicBezTo>
                  <a:pt x="1590" y="256"/>
                  <a:pt x="1590" y="256"/>
                  <a:pt x="1590" y="256"/>
                </a:cubicBezTo>
                <a:cubicBezTo>
                  <a:pt x="1590" y="255"/>
                  <a:pt x="1590" y="255"/>
                  <a:pt x="1590" y="255"/>
                </a:cubicBezTo>
                <a:cubicBezTo>
                  <a:pt x="1589" y="254"/>
                  <a:pt x="1589" y="254"/>
                  <a:pt x="1589" y="254"/>
                </a:cubicBezTo>
                <a:cubicBezTo>
                  <a:pt x="1584" y="252"/>
                  <a:pt x="1584" y="252"/>
                  <a:pt x="1584" y="252"/>
                </a:cubicBezTo>
                <a:cubicBezTo>
                  <a:pt x="1582" y="251"/>
                  <a:pt x="1582" y="251"/>
                  <a:pt x="1582" y="251"/>
                </a:cubicBezTo>
                <a:cubicBezTo>
                  <a:pt x="1581" y="252"/>
                  <a:pt x="1581" y="252"/>
                  <a:pt x="1581" y="252"/>
                </a:cubicBezTo>
                <a:cubicBezTo>
                  <a:pt x="1580" y="255"/>
                  <a:pt x="1580" y="255"/>
                  <a:pt x="1580" y="255"/>
                </a:cubicBezTo>
                <a:cubicBezTo>
                  <a:pt x="1580" y="258"/>
                  <a:pt x="1580" y="258"/>
                  <a:pt x="1580" y="258"/>
                </a:cubicBezTo>
                <a:cubicBezTo>
                  <a:pt x="1581" y="259"/>
                  <a:pt x="1581" y="259"/>
                  <a:pt x="1581" y="259"/>
                </a:cubicBezTo>
                <a:cubicBezTo>
                  <a:pt x="1581" y="261"/>
                  <a:pt x="1581" y="261"/>
                  <a:pt x="1581" y="261"/>
                </a:cubicBezTo>
                <a:cubicBezTo>
                  <a:pt x="1582" y="261"/>
                  <a:pt x="1582" y="261"/>
                  <a:pt x="1582" y="261"/>
                </a:cubicBezTo>
                <a:cubicBezTo>
                  <a:pt x="1583" y="261"/>
                  <a:pt x="1583" y="261"/>
                  <a:pt x="1583" y="261"/>
                </a:cubicBezTo>
                <a:cubicBezTo>
                  <a:pt x="1582" y="262"/>
                  <a:pt x="1582" y="262"/>
                  <a:pt x="1582" y="262"/>
                </a:cubicBezTo>
                <a:cubicBezTo>
                  <a:pt x="1583" y="262"/>
                  <a:pt x="1583" y="262"/>
                  <a:pt x="1583" y="262"/>
                </a:cubicBezTo>
                <a:close/>
                <a:moveTo>
                  <a:pt x="2152" y="351"/>
                </a:moveTo>
                <a:cubicBezTo>
                  <a:pt x="2153" y="351"/>
                  <a:pt x="2153" y="351"/>
                  <a:pt x="2153" y="351"/>
                </a:cubicBezTo>
                <a:cubicBezTo>
                  <a:pt x="2153" y="350"/>
                  <a:pt x="2153" y="350"/>
                  <a:pt x="2153" y="350"/>
                </a:cubicBezTo>
                <a:cubicBezTo>
                  <a:pt x="2152" y="351"/>
                  <a:pt x="2152" y="351"/>
                  <a:pt x="2152" y="351"/>
                </a:cubicBezTo>
                <a:close/>
                <a:moveTo>
                  <a:pt x="1579" y="64"/>
                </a:moveTo>
                <a:cubicBezTo>
                  <a:pt x="1579" y="65"/>
                  <a:pt x="1579" y="65"/>
                  <a:pt x="1579" y="65"/>
                </a:cubicBezTo>
                <a:cubicBezTo>
                  <a:pt x="1578" y="66"/>
                  <a:pt x="1578" y="66"/>
                  <a:pt x="1578" y="66"/>
                </a:cubicBezTo>
                <a:cubicBezTo>
                  <a:pt x="1577" y="66"/>
                  <a:pt x="1577" y="66"/>
                  <a:pt x="1577" y="66"/>
                </a:cubicBezTo>
                <a:cubicBezTo>
                  <a:pt x="1575" y="67"/>
                  <a:pt x="1575" y="67"/>
                  <a:pt x="1575" y="67"/>
                </a:cubicBezTo>
                <a:cubicBezTo>
                  <a:pt x="1574" y="68"/>
                  <a:pt x="1574" y="68"/>
                  <a:pt x="1574" y="68"/>
                </a:cubicBezTo>
                <a:cubicBezTo>
                  <a:pt x="1573" y="67"/>
                  <a:pt x="1573" y="67"/>
                  <a:pt x="1573" y="67"/>
                </a:cubicBezTo>
                <a:cubicBezTo>
                  <a:pt x="1572" y="67"/>
                  <a:pt x="1572" y="67"/>
                  <a:pt x="1572" y="67"/>
                </a:cubicBezTo>
                <a:cubicBezTo>
                  <a:pt x="1572" y="68"/>
                  <a:pt x="1572" y="68"/>
                  <a:pt x="1572" y="68"/>
                </a:cubicBezTo>
                <a:cubicBezTo>
                  <a:pt x="1573" y="70"/>
                  <a:pt x="1573" y="70"/>
                  <a:pt x="1573" y="70"/>
                </a:cubicBezTo>
                <a:cubicBezTo>
                  <a:pt x="1573" y="73"/>
                  <a:pt x="1573" y="73"/>
                  <a:pt x="1573" y="73"/>
                </a:cubicBezTo>
                <a:cubicBezTo>
                  <a:pt x="1573" y="75"/>
                  <a:pt x="1573" y="75"/>
                  <a:pt x="1573" y="75"/>
                </a:cubicBezTo>
                <a:cubicBezTo>
                  <a:pt x="1575" y="77"/>
                  <a:pt x="1575" y="77"/>
                  <a:pt x="1575" y="77"/>
                </a:cubicBezTo>
                <a:cubicBezTo>
                  <a:pt x="1576" y="77"/>
                  <a:pt x="1576" y="77"/>
                  <a:pt x="1576" y="77"/>
                </a:cubicBezTo>
                <a:cubicBezTo>
                  <a:pt x="1578" y="76"/>
                  <a:pt x="1578" y="76"/>
                  <a:pt x="1578" y="76"/>
                </a:cubicBezTo>
                <a:cubicBezTo>
                  <a:pt x="1580" y="76"/>
                  <a:pt x="1580" y="76"/>
                  <a:pt x="1580" y="76"/>
                </a:cubicBezTo>
                <a:cubicBezTo>
                  <a:pt x="1581" y="75"/>
                  <a:pt x="1581" y="75"/>
                  <a:pt x="1581" y="75"/>
                </a:cubicBezTo>
                <a:cubicBezTo>
                  <a:pt x="1583" y="75"/>
                  <a:pt x="1583" y="75"/>
                  <a:pt x="1583" y="75"/>
                </a:cubicBezTo>
                <a:cubicBezTo>
                  <a:pt x="1583" y="74"/>
                  <a:pt x="1583" y="74"/>
                  <a:pt x="1583" y="74"/>
                </a:cubicBezTo>
                <a:cubicBezTo>
                  <a:pt x="1582" y="73"/>
                  <a:pt x="1582" y="73"/>
                  <a:pt x="1582" y="73"/>
                </a:cubicBezTo>
                <a:cubicBezTo>
                  <a:pt x="1581" y="72"/>
                  <a:pt x="1581" y="72"/>
                  <a:pt x="1581" y="72"/>
                </a:cubicBezTo>
                <a:cubicBezTo>
                  <a:pt x="1579" y="71"/>
                  <a:pt x="1579" y="71"/>
                  <a:pt x="1579" y="71"/>
                </a:cubicBezTo>
                <a:cubicBezTo>
                  <a:pt x="1579" y="70"/>
                  <a:pt x="1579" y="70"/>
                  <a:pt x="1579" y="70"/>
                </a:cubicBezTo>
                <a:cubicBezTo>
                  <a:pt x="1579" y="69"/>
                  <a:pt x="1579" y="69"/>
                  <a:pt x="1579" y="69"/>
                </a:cubicBezTo>
                <a:cubicBezTo>
                  <a:pt x="1580" y="68"/>
                  <a:pt x="1580" y="68"/>
                  <a:pt x="1580" y="68"/>
                </a:cubicBezTo>
                <a:cubicBezTo>
                  <a:pt x="1581" y="68"/>
                  <a:pt x="1581" y="68"/>
                  <a:pt x="1581" y="68"/>
                </a:cubicBezTo>
                <a:cubicBezTo>
                  <a:pt x="1582" y="68"/>
                  <a:pt x="1582" y="68"/>
                  <a:pt x="1582" y="68"/>
                </a:cubicBezTo>
                <a:cubicBezTo>
                  <a:pt x="1582" y="67"/>
                  <a:pt x="1582" y="67"/>
                  <a:pt x="1582" y="67"/>
                </a:cubicBezTo>
                <a:cubicBezTo>
                  <a:pt x="1581" y="65"/>
                  <a:pt x="1581" y="65"/>
                  <a:pt x="1581" y="65"/>
                </a:cubicBezTo>
                <a:cubicBezTo>
                  <a:pt x="1580" y="65"/>
                  <a:pt x="1580" y="65"/>
                  <a:pt x="1580" y="65"/>
                </a:cubicBezTo>
                <a:cubicBezTo>
                  <a:pt x="1579" y="63"/>
                  <a:pt x="1579" y="63"/>
                  <a:pt x="1579" y="63"/>
                </a:cubicBezTo>
                <a:cubicBezTo>
                  <a:pt x="1579" y="64"/>
                  <a:pt x="1579" y="64"/>
                  <a:pt x="1579" y="64"/>
                </a:cubicBezTo>
                <a:close/>
                <a:moveTo>
                  <a:pt x="1616" y="255"/>
                </a:moveTo>
                <a:cubicBezTo>
                  <a:pt x="1615" y="255"/>
                  <a:pt x="1615" y="255"/>
                  <a:pt x="1615" y="255"/>
                </a:cubicBezTo>
                <a:cubicBezTo>
                  <a:pt x="1614" y="256"/>
                  <a:pt x="1614" y="256"/>
                  <a:pt x="1614" y="256"/>
                </a:cubicBezTo>
                <a:cubicBezTo>
                  <a:pt x="1615" y="256"/>
                  <a:pt x="1615" y="256"/>
                  <a:pt x="1615" y="256"/>
                </a:cubicBezTo>
                <a:cubicBezTo>
                  <a:pt x="1616" y="255"/>
                  <a:pt x="1616" y="255"/>
                  <a:pt x="1616" y="255"/>
                </a:cubicBezTo>
                <a:close/>
                <a:moveTo>
                  <a:pt x="1614" y="263"/>
                </a:moveTo>
                <a:cubicBezTo>
                  <a:pt x="1614" y="264"/>
                  <a:pt x="1614" y="264"/>
                  <a:pt x="1614" y="264"/>
                </a:cubicBezTo>
                <a:cubicBezTo>
                  <a:pt x="1615" y="262"/>
                  <a:pt x="1615" y="262"/>
                  <a:pt x="1615" y="262"/>
                </a:cubicBezTo>
                <a:cubicBezTo>
                  <a:pt x="1614" y="262"/>
                  <a:pt x="1614" y="262"/>
                  <a:pt x="1614" y="262"/>
                </a:cubicBezTo>
                <a:cubicBezTo>
                  <a:pt x="1614" y="263"/>
                  <a:pt x="1614" y="263"/>
                  <a:pt x="1614" y="263"/>
                </a:cubicBezTo>
                <a:close/>
                <a:moveTo>
                  <a:pt x="1596" y="263"/>
                </a:moveTo>
                <a:cubicBezTo>
                  <a:pt x="1598" y="263"/>
                  <a:pt x="1598" y="263"/>
                  <a:pt x="1598" y="263"/>
                </a:cubicBezTo>
                <a:cubicBezTo>
                  <a:pt x="1598" y="262"/>
                  <a:pt x="1598" y="262"/>
                  <a:pt x="1598" y="262"/>
                </a:cubicBezTo>
                <a:cubicBezTo>
                  <a:pt x="1597" y="262"/>
                  <a:pt x="1597" y="262"/>
                  <a:pt x="1597" y="262"/>
                </a:cubicBezTo>
                <a:cubicBezTo>
                  <a:pt x="1596" y="263"/>
                  <a:pt x="1596" y="263"/>
                  <a:pt x="1596" y="263"/>
                </a:cubicBezTo>
                <a:close/>
                <a:moveTo>
                  <a:pt x="1618" y="256"/>
                </a:moveTo>
                <a:cubicBezTo>
                  <a:pt x="1619" y="257"/>
                  <a:pt x="1619" y="257"/>
                  <a:pt x="1619" y="257"/>
                </a:cubicBezTo>
                <a:cubicBezTo>
                  <a:pt x="1618" y="255"/>
                  <a:pt x="1618" y="255"/>
                  <a:pt x="1618" y="255"/>
                </a:cubicBezTo>
                <a:cubicBezTo>
                  <a:pt x="1617" y="255"/>
                  <a:pt x="1617" y="255"/>
                  <a:pt x="1617" y="255"/>
                </a:cubicBezTo>
                <a:cubicBezTo>
                  <a:pt x="1616" y="255"/>
                  <a:pt x="1616" y="255"/>
                  <a:pt x="1616" y="255"/>
                </a:cubicBezTo>
                <a:cubicBezTo>
                  <a:pt x="1617" y="256"/>
                  <a:pt x="1617" y="256"/>
                  <a:pt x="1617" y="256"/>
                </a:cubicBezTo>
                <a:cubicBezTo>
                  <a:pt x="1618" y="256"/>
                  <a:pt x="1618" y="256"/>
                  <a:pt x="1618" y="256"/>
                </a:cubicBezTo>
                <a:close/>
                <a:moveTo>
                  <a:pt x="2137" y="121"/>
                </a:moveTo>
                <a:cubicBezTo>
                  <a:pt x="2137" y="120"/>
                  <a:pt x="2137" y="120"/>
                  <a:pt x="2137" y="120"/>
                </a:cubicBezTo>
                <a:cubicBezTo>
                  <a:pt x="2136" y="120"/>
                  <a:pt x="2136" y="120"/>
                  <a:pt x="2136" y="120"/>
                </a:cubicBezTo>
                <a:cubicBezTo>
                  <a:pt x="2137" y="122"/>
                  <a:pt x="2137" y="122"/>
                  <a:pt x="2137" y="122"/>
                </a:cubicBezTo>
                <a:cubicBezTo>
                  <a:pt x="2137" y="121"/>
                  <a:pt x="2137" y="121"/>
                  <a:pt x="2137" y="121"/>
                </a:cubicBezTo>
                <a:close/>
                <a:moveTo>
                  <a:pt x="1599" y="227"/>
                </a:moveTo>
                <a:cubicBezTo>
                  <a:pt x="1597" y="227"/>
                  <a:pt x="1597" y="227"/>
                  <a:pt x="1597" y="227"/>
                </a:cubicBezTo>
                <a:cubicBezTo>
                  <a:pt x="1597" y="226"/>
                  <a:pt x="1597" y="226"/>
                  <a:pt x="1597" y="226"/>
                </a:cubicBezTo>
                <a:cubicBezTo>
                  <a:pt x="1596" y="226"/>
                  <a:pt x="1596" y="226"/>
                  <a:pt x="1596" y="226"/>
                </a:cubicBezTo>
                <a:cubicBezTo>
                  <a:pt x="1595" y="226"/>
                  <a:pt x="1595" y="226"/>
                  <a:pt x="1595" y="226"/>
                </a:cubicBezTo>
                <a:cubicBezTo>
                  <a:pt x="1594" y="227"/>
                  <a:pt x="1594" y="227"/>
                  <a:pt x="1594" y="227"/>
                </a:cubicBezTo>
                <a:cubicBezTo>
                  <a:pt x="1595" y="228"/>
                  <a:pt x="1595" y="228"/>
                  <a:pt x="1595" y="228"/>
                </a:cubicBezTo>
                <a:cubicBezTo>
                  <a:pt x="1596" y="228"/>
                  <a:pt x="1596" y="228"/>
                  <a:pt x="1596" y="228"/>
                </a:cubicBezTo>
                <a:cubicBezTo>
                  <a:pt x="1596" y="229"/>
                  <a:pt x="1596" y="229"/>
                  <a:pt x="1596" y="229"/>
                </a:cubicBezTo>
                <a:cubicBezTo>
                  <a:pt x="1597" y="229"/>
                  <a:pt x="1597" y="229"/>
                  <a:pt x="1597" y="229"/>
                </a:cubicBezTo>
                <a:cubicBezTo>
                  <a:pt x="1598" y="231"/>
                  <a:pt x="1598" y="231"/>
                  <a:pt x="1598" y="231"/>
                </a:cubicBezTo>
                <a:cubicBezTo>
                  <a:pt x="1599" y="231"/>
                  <a:pt x="1599" y="231"/>
                  <a:pt x="1599" y="231"/>
                </a:cubicBezTo>
                <a:cubicBezTo>
                  <a:pt x="1599" y="230"/>
                  <a:pt x="1599" y="230"/>
                  <a:pt x="1599" y="230"/>
                </a:cubicBezTo>
                <a:cubicBezTo>
                  <a:pt x="1598" y="229"/>
                  <a:pt x="1598" y="229"/>
                  <a:pt x="1598" y="229"/>
                </a:cubicBezTo>
                <a:cubicBezTo>
                  <a:pt x="1599" y="228"/>
                  <a:pt x="1599" y="228"/>
                  <a:pt x="1599" y="228"/>
                </a:cubicBezTo>
                <a:cubicBezTo>
                  <a:pt x="1599" y="227"/>
                  <a:pt x="1599" y="227"/>
                  <a:pt x="1599" y="227"/>
                </a:cubicBezTo>
                <a:close/>
                <a:moveTo>
                  <a:pt x="1540" y="88"/>
                </a:moveTo>
                <a:cubicBezTo>
                  <a:pt x="1539" y="87"/>
                  <a:pt x="1539" y="87"/>
                  <a:pt x="1539" y="87"/>
                </a:cubicBezTo>
                <a:cubicBezTo>
                  <a:pt x="1538" y="87"/>
                  <a:pt x="1538" y="87"/>
                  <a:pt x="1538" y="87"/>
                </a:cubicBezTo>
                <a:cubicBezTo>
                  <a:pt x="1537" y="88"/>
                  <a:pt x="1537" y="88"/>
                  <a:pt x="1537" y="88"/>
                </a:cubicBezTo>
                <a:cubicBezTo>
                  <a:pt x="1537" y="89"/>
                  <a:pt x="1537" y="89"/>
                  <a:pt x="1537" y="89"/>
                </a:cubicBezTo>
                <a:cubicBezTo>
                  <a:pt x="1538" y="90"/>
                  <a:pt x="1538" y="90"/>
                  <a:pt x="1538" y="90"/>
                </a:cubicBezTo>
                <a:cubicBezTo>
                  <a:pt x="1539" y="91"/>
                  <a:pt x="1539" y="91"/>
                  <a:pt x="1539" y="91"/>
                </a:cubicBezTo>
                <a:cubicBezTo>
                  <a:pt x="1540" y="90"/>
                  <a:pt x="1540" y="90"/>
                  <a:pt x="1540" y="90"/>
                </a:cubicBezTo>
                <a:cubicBezTo>
                  <a:pt x="1540" y="89"/>
                  <a:pt x="1540" y="89"/>
                  <a:pt x="1540" y="89"/>
                </a:cubicBezTo>
                <a:cubicBezTo>
                  <a:pt x="1540" y="88"/>
                  <a:pt x="1540" y="88"/>
                  <a:pt x="1540" y="88"/>
                </a:cubicBezTo>
                <a:close/>
                <a:moveTo>
                  <a:pt x="1581" y="60"/>
                </a:moveTo>
                <a:cubicBezTo>
                  <a:pt x="1581" y="60"/>
                  <a:pt x="1581" y="60"/>
                  <a:pt x="1581" y="61"/>
                </a:cubicBezTo>
                <a:cubicBezTo>
                  <a:pt x="1581" y="61"/>
                  <a:pt x="1581" y="61"/>
                  <a:pt x="1581" y="62"/>
                </a:cubicBezTo>
                <a:cubicBezTo>
                  <a:pt x="1581" y="62"/>
                  <a:pt x="1581" y="62"/>
                  <a:pt x="1582" y="63"/>
                </a:cubicBezTo>
                <a:cubicBezTo>
                  <a:pt x="1582" y="63"/>
                  <a:pt x="1582" y="63"/>
                  <a:pt x="1583" y="63"/>
                </a:cubicBezTo>
                <a:cubicBezTo>
                  <a:pt x="1583" y="63"/>
                  <a:pt x="1583" y="63"/>
                  <a:pt x="1584" y="64"/>
                </a:cubicBezTo>
                <a:cubicBezTo>
                  <a:pt x="1584" y="64"/>
                  <a:pt x="1584" y="64"/>
                  <a:pt x="1584" y="65"/>
                </a:cubicBezTo>
                <a:cubicBezTo>
                  <a:pt x="1584" y="65"/>
                  <a:pt x="1584" y="65"/>
                  <a:pt x="1585" y="66"/>
                </a:cubicBezTo>
                <a:cubicBezTo>
                  <a:pt x="1585" y="66"/>
                  <a:pt x="1585" y="66"/>
                  <a:pt x="1586" y="64"/>
                </a:cubicBezTo>
                <a:cubicBezTo>
                  <a:pt x="1586" y="64"/>
                  <a:pt x="1586" y="64"/>
                  <a:pt x="1586" y="63"/>
                </a:cubicBezTo>
                <a:cubicBezTo>
                  <a:pt x="1586" y="63"/>
                  <a:pt x="1586" y="63"/>
                  <a:pt x="1586" y="62"/>
                </a:cubicBezTo>
                <a:cubicBezTo>
                  <a:pt x="1586" y="62"/>
                  <a:pt x="1586" y="62"/>
                  <a:pt x="1586" y="61"/>
                </a:cubicBezTo>
                <a:cubicBezTo>
                  <a:pt x="1586" y="61"/>
                  <a:pt x="1586" y="61"/>
                  <a:pt x="1588" y="60"/>
                </a:cubicBezTo>
                <a:cubicBezTo>
                  <a:pt x="1588" y="60"/>
                  <a:pt x="1588" y="60"/>
                  <a:pt x="1590" y="59"/>
                </a:cubicBezTo>
                <a:cubicBezTo>
                  <a:pt x="1590" y="59"/>
                  <a:pt x="1590" y="59"/>
                  <a:pt x="1590" y="58"/>
                </a:cubicBezTo>
                <a:cubicBezTo>
                  <a:pt x="1590" y="58"/>
                  <a:pt x="1590" y="58"/>
                  <a:pt x="1588" y="57"/>
                </a:cubicBezTo>
                <a:cubicBezTo>
                  <a:pt x="1588" y="57"/>
                  <a:pt x="1588" y="57"/>
                  <a:pt x="1587" y="56"/>
                </a:cubicBezTo>
                <a:cubicBezTo>
                  <a:pt x="1587" y="56"/>
                  <a:pt x="1587" y="56"/>
                  <a:pt x="1587" y="54"/>
                </a:cubicBezTo>
                <a:cubicBezTo>
                  <a:pt x="1587" y="54"/>
                  <a:pt x="1587" y="54"/>
                  <a:pt x="1586" y="52"/>
                </a:cubicBezTo>
                <a:cubicBezTo>
                  <a:pt x="1586" y="52"/>
                  <a:pt x="1586" y="52"/>
                  <a:pt x="1585" y="52"/>
                </a:cubicBezTo>
                <a:cubicBezTo>
                  <a:pt x="1585" y="52"/>
                  <a:pt x="1585" y="52"/>
                  <a:pt x="1584" y="52"/>
                </a:cubicBezTo>
                <a:cubicBezTo>
                  <a:pt x="1584" y="52"/>
                  <a:pt x="1584" y="52"/>
                  <a:pt x="1583" y="52"/>
                </a:cubicBezTo>
                <a:cubicBezTo>
                  <a:pt x="1583" y="52"/>
                  <a:pt x="1583" y="52"/>
                  <a:pt x="1583" y="53"/>
                </a:cubicBezTo>
                <a:cubicBezTo>
                  <a:pt x="1583" y="53"/>
                  <a:pt x="1583" y="53"/>
                  <a:pt x="1582" y="55"/>
                </a:cubicBezTo>
                <a:cubicBezTo>
                  <a:pt x="1582" y="55"/>
                  <a:pt x="1582" y="55"/>
                  <a:pt x="1581" y="56"/>
                </a:cubicBezTo>
                <a:cubicBezTo>
                  <a:pt x="1581" y="56"/>
                  <a:pt x="1581" y="56"/>
                  <a:pt x="1580" y="57"/>
                </a:cubicBezTo>
                <a:cubicBezTo>
                  <a:pt x="1580" y="57"/>
                  <a:pt x="1580" y="57"/>
                  <a:pt x="1581" y="59"/>
                </a:cubicBezTo>
                <a:cubicBezTo>
                  <a:pt x="1581" y="59"/>
                  <a:pt x="1581" y="59"/>
                  <a:pt x="1581" y="60"/>
                </a:cubicBezTo>
                <a:close/>
                <a:moveTo>
                  <a:pt x="1590" y="191"/>
                </a:moveTo>
                <a:cubicBezTo>
                  <a:pt x="1589" y="191"/>
                  <a:pt x="1589" y="191"/>
                  <a:pt x="1589" y="191"/>
                </a:cubicBezTo>
                <a:cubicBezTo>
                  <a:pt x="1590" y="193"/>
                  <a:pt x="1590" y="193"/>
                  <a:pt x="1590" y="193"/>
                </a:cubicBezTo>
                <a:cubicBezTo>
                  <a:pt x="1591" y="193"/>
                  <a:pt x="1591" y="193"/>
                  <a:pt x="1591" y="193"/>
                </a:cubicBezTo>
                <a:cubicBezTo>
                  <a:pt x="1592" y="193"/>
                  <a:pt x="1592" y="193"/>
                  <a:pt x="1592" y="193"/>
                </a:cubicBezTo>
                <a:cubicBezTo>
                  <a:pt x="1592" y="192"/>
                  <a:pt x="1592" y="192"/>
                  <a:pt x="1592" y="192"/>
                </a:cubicBezTo>
                <a:cubicBezTo>
                  <a:pt x="1593" y="192"/>
                  <a:pt x="1593" y="192"/>
                  <a:pt x="1593" y="192"/>
                </a:cubicBezTo>
                <a:cubicBezTo>
                  <a:pt x="1595" y="190"/>
                  <a:pt x="1595" y="190"/>
                  <a:pt x="1595" y="190"/>
                </a:cubicBezTo>
                <a:cubicBezTo>
                  <a:pt x="1596" y="190"/>
                  <a:pt x="1596" y="190"/>
                  <a:pt x="1596" y="190"/>
                </a:cubicBezTo>
                <a:cubicBezTo>
                  <a:pt x="1597" y="190"/>
                  <a:pt x="1597" y="190"/>
                  <a:pt x="1597" y="190"/>
                </a:cubicBezTo>
                <a:cubicBezTo>
                  <a:pt x="1598" y="191"/>
                  <a:pt x="1598" y="191"/>
                  <a:pt x="1598" y="191"/>
                </a:cubicBezTo>
                <a:cubicBezTo>
                  <a:pt x="1597" y="191"/>
                  <a:pt x="1597" y="191"/>
                  <a:pt x="1597" y="191"/>
                </a:cubicBezTo>
                <a:cubicBezTo>
                  <a:pt x="1596" y="191"/>
                  <a:pt x="1596" y="191"/>
                  <a:pt x="1596" y="191"/>
                </a:cubicBezTo>
                <a:cubicBezTo>
                  <a:pt x="1595" y="191"/>
                  <a:pt x="1595" y="191"/>
                  <a:pt x="1595" y="191"/>
                </a:cubicBezTo>
                <a:cubicBezTo>
                  <a:pt x="1594" y="192"/>
                  <a:pt x="1594" y="192"/>
                  <a:pt x="1594" y="192"/>
                </a:cubicBezTo>
                <a:cubicBezTo>
                  <a:pt x="1593" y="193"/>
                  <a:pt x="1593" y="193"/>
                  <a:pt x="1593" y="193"/>
                </a:cubicBezTo>
                <a:cubicBezTo>
                  <a:pt x="1593" y="195"/>
                  <a:pt x="1593" y="195"/>
                  <a:pt x="1593" y="195"/>
                </a:cubicBezTo>
                <a:cubicBezTo>
                  <a:pt x="1593" y="196"/>
                  <a:pt x="1593" y="196"/>
                  <a:pt x="1593" y="196"/>
                </a:cubicBezTo>
                <a:cubicBezTo>
                  <a:pt x="1593" y="197"/>
                  <a:pt x="1593" y="197"/>
                  <a:pt x="1593" y="197"/>
                </a:cubicBezTo>
                <a:cubicBezTo>
                  <a:pt x="1592" y="198"/>
                  <a:pt x="1592" y="198"/>
                  <a:pt x="1592" y="198"/>
                </a:cubicBezTo>
                <a:cubicBezTo>
                  <a:pt x="1590" y="199"/>
                  <a:pt x="1590" y="199"/>
                  <a:pt x="1590" y="199"/>
                </a:cubicBezTo>
                <a:cubicBezTo>
                  <a:pt x="1590" y="201"/>
                  <a:pt x="1590" y="201"/>
                  <a:pt x="1590" y="201"/>
                </a:cubicBezTo>
                <a:cubicBezTo>
                  <a:pt x="1590" y="203"/>
                  <a:pt x="1590" y="203"/>
                  <a:pt x="1590" y="203"/>
                </a:cubicBezTo>
                <a:cubicBezTo>
                  <a:pt x="1591" y="203"/>
                  <a:pt x="1591" y="203"/>
                  <a:pt x="1591" y="203"/>
                </a:cubicBezTo>
                <a:cubicBezTo>
                  <a:pt x="1592" y="203"/>
                  <a:pt x="1592" y="203"/>
                  <a:pt x="1592" y="203"/>
                </a:cubicBezTo>
                <a:cubicBezTo>
                  <a:pt x="1591" y="204"/>
                  <a:pt x="1591" y="204"/>
                  <a:pt x="1591" y="204"/>
                </a:cubicBezTo>
                <a:cubicBezTo>
                  <a:pt x="1590" y="204"/>
                  <a:pt x="1590" y="204"/>
                  <a:pt x="1590" y="204"/>
                </a:cubicBezTo>
                <a:cubicBezTo>
                  <a:pt x="1589" y="204"/>
                  <a:pt x="1589" y="204"/>
                  <a:pt x="1589" y="204"/>
                </a:cubicBezTo>
                <a:cubicBezTo>
                  <a:pt x="1588" y="206"/>
                  <a:pt x="1588" y="206"/>
                  <a:pt x="1588" y="206"/>
                </a:cubicBezTo>
                <a:cubicBezTo>
                  <a:pt x="1588" y="207"/>
                  <a:pt x="1588" y="207"/>
                  <a:pt x="1588" y="207"/>
                </a:cubicBezTo>
                <a:cubicBezTo>
                  <a:pt x="1588" y="208"/>
                  <a:pt x="1588" y="208"/>
                  <a:pt x="1588" y="208"/>
                </a:cubicBezTo>
                <a:cubicBezTo>
                  <a:pt x="1589" y="208"/>
                  <a:pt x="1589" y="208"/>
                  <a:pt x="1589" y="208"/>
                </a:cubicBezTo>
                <a:cubicBezTo>
                  <a:pt x="1591" y="207"/>
                  <a:pt x="1591" y="207"/>
                  <a:pt x="1591" y="207"/>
                </a:cubicBezTo>
                <a:cubicBezTo>
                  <a:pt x="1590" y="208"/>
                  <a:pt x="1590" y="208"/>
                  <a:pt x="1590" y="208"/>
                </a:cubicBezTo>
                <a:cubicBezTo>
                  <a:pt x="1590" y="210"/>
                  <a:pt x="1590" y="210"/>
                  <a:pt x="1590" y="210"/>
                </a:cubicBezTo>
                <a:cubicBezTo>
                  <a:pt x="1591" y="210"/>
                  <a:pt x="1591" y="210"/>
                  <a:pt x="1591" y="210"/>
                </a:cubicBezTo>
                <a:cubicBezTo>
                  <a:pt x="1591" y="209"/>
                  <a:pt x="1591" y="209"/>
                  <a:pt x="1591" y="209"/>
                </a:cubicBezTo>
                <a:cubicBezTo>
                  <a:pt x="1592" y="208"/>
                  <a:pt x="1592" y="208"/>
                  <a:pt x="1592" y="208"/>
                </a:cubicBezTo>
                <a:cubicBezTo>
                  <a:pt x="1593" y="209"/>
                  <a:pt x="1593" y="209"/>
                  <a:pt x="1593" y="209"/>
                </a:cubicBezTo>
                <a:cubicBezTo>
                  <a:pt x="1592" y="210"/>
                  <a:pt x="1592" y="210"/>
                  <a:pt x="1592" y="210"/>
                </a:cubicBezTo>
                <a:cubicBezTo>
                  <a:pt x="1591" y="211"/>
                  <a:pt x="1591" y="211"/>
                  <a:pt x="1591" y="211"/>
                </a:cubicBezTo>
                <a:cubicBezTo>
                  <a:pt x="1592" y="212"/>
                  <a:pt x="1592" y="212"/>
                  <a:pt x="1592" y="212"/>
                </a:cubicBezTo>
                <a:cubicBezTo>
                  <a:pt x="1591" y="213"/>
                  <a:pt x="1591" y="213"/>
                  <a:pt x="1591" y="213"/>
                </a:cubicBezTo>
                <a:cubicBezTo>
                  <a:pt x="1591" y="214"/>
                  <a:pt x="1591" y="214"/>
                  <a:pt x="1591" y="214"/>
                </a:cubicBezTo>
                <a:cubicBezTo>
                  <a:pt x="1592" y="215"/>
                  <a:pt x="1592" y="215"/>
                  <a:pt x="1592" y="215"/>
                </a:cubicBezTo>
                <a:cubicBezTo>
                  <a:pt x="1591" y="215"/>
                  <a:pt x="1591" y="215"/>
                  <a:pt x="1591" y="215"/>
                </a:cubicBezTo>
                <a:cubicBezTo>
                  <a:pt x="1590" y="215"/>
                  <a:pt x="1590" y="215"/>
                  <a:pt x="1590" y="215"/>
                </a:cubicBezTo>
                <a:cubicBezTo>
                  <a:pt x="1589" y="215"/>
                  <a:pt x="1589" y="215"/>
                  <a:pt x="1589" y="215"/>
                </a:cubicBezTo>
                <a:cubicBezTo>
                  <a:pt x="1588" y="215"/>
                  <a:pt x="1588" y="215"/>
                  <a:pt x="1588" y="215"/>
                </a:cubicBezTo>
                <a:cubicBezTo>
                  <a:pt x="1587" y="216"/>
                  <a:pt x="1587" y="216"/>
                  <a:pt x="1587" y="216"/>
                </a:cubicBezTo>
                <a:cubicBezTo>
                  <a:pt x="1587" y="218"/>
                  <a:pt x="1587" y="218"/>
                  <a:pt x="1587" y="218"/>
                </a:cubicBezTo>
                <a:cubicBezTo>
                  <a:pt x="1587" y="219"/>
                  <a:pt x="1587" y="219"/>
                  <a:pt x="1587" y="219"/>
                </a:cubicBezTo>
                <a:cubicBezTo>
                  <a:pt x="1587" y="221"/>
                  <a:pt x="1587" y="221"/>
                  <a:pt x="1587" y="221"/>
                </a:cubicBezTo>
                <a:cubicBezTo>
                  <a:pt x="1587" y="222"/>
                  <a:pt x="1587" y="222"/>
                  <a:pt x="1587" y="222"/>
                </a:cubicBezTo>
                <a:cubicBezTo>
                  <a:pt x="1589" y="223"/>
                  <a:pt x="1589" y="223"/>
                  <a:pt x="1589" y="223"/>
                </a:cubicBezTo>
                <a:cubicBezTo>
                  <a:pt x="1589" y="224"/>
                  <a:pt x="1589" y="224"/>
                  <a:pt x="1589" y="224"/>
                </a:cubicBezTo>
                <a:cubicBezTo>
                  <a:pt x="1591" y="225"/>
                  <a:pt x="1591" y="225"/>
                  <a:pt x="1591" y="225"/>
                </a:cubicBezTo>
                <a:cubicBezTo>
                  <a:pt x="1592" y="226"/>
                  <a:pt x="1592" y="226"/>
                  <a:pt x="1592" y="226"/>
                </a:cubicBezTo>
                <a:cubicBezTo>
                  <a:pt x="1592" y="225"/>
                  <a:pt x="1592" y="225"/>
                  <a:pt x="1592" y="225"/>
                </a:cubicBezTo>
                <a:cubicBezTo>
                  <a:pt x="1593" y="225"/>
                  <a:pt x="1593" y="225"/>
                  <a:pt x="1593" y="225"/>
                </a:cubicBezTo>
                <a:cubicBezTo>
                  <a:pt x="1594" y="224"/>
                  <a:pt x="1594" y="224"/>
                  <a:pt x="1594" y="224"/>
                </a:cubicBezTo>
                <a:cubicBezTo>
                  <a:pt x="1594" y="222"/>
                  <a:pt x="1594" y="222"/>
                  <a:pt x="1594" y="222"/>
                </a:cubicBezTo>
                <a:cubicBezTo>
                  <a:pt x="1595" y="223"/>
                  <a:pt x="1595" y="223"/>
                  <a:pt x="1595" y="223"/>
                </a:cubicBezTo>
                <a:cubicBezTo>
                  <a:pt x="1595" y="224"/>
                  <a:pt x="1595" y="224"/>
                  <a:pt x="1595" y="224"/>
                </a:cubicBezTo>
                <a:cubicBezTo>
                  <a:pt x="1596" y="225"/>
                  <a:pt x="1596" y="225"/>
                  <a:pt x="1596" y="225"/>
                </a:cubicBezTo>
                <a:cubicBezTo>
                  <a:pt x="1597" y="224"/>
                  <a:pt x="1597" y="224"/>
                  <a:pt x="1597" y="224"/>
                </a:cubicBezTo>
                <a:cubicBezTo>
                  <a:pt x="1597" y="223"/>
                  <a:pt x="1597" y="223"/>
                  <a:pt x="1597" y="223"/>
                </a:cubicBezTo>
                <a:cubicBezTo>
                  <a:pt x="1598" y="222"/>
                  <a:pt x="1598" y="222"/>
                  <a:pt x="1598" y="222"/>
                </a:cubicBezTo>
                <a:cubicBezTo>
                  <a:pt x="1598" y="223"/>
                  <a:pt x="1598" y="223"/>
                  <a:pt x="1598" y="223"/>
                </a:cubicBezTo>
                <a:cubicBezTo>
                  <a:pt x="1598" y="224"/>
                  <a:pt x="1598" y="224"/>
                  <a:pt x="1598" y="224"/>
                </a:cubicBezTo>
                <a:cubicBezTo>
                  <a:pt x="1599" y="226"/>
                  <a:pt x="1599" y="226"/>
                  <a:pt x="1599" y="226"/>
                </a:cubicBezTo>
                <a:cubicBezTo>
                  <a:pt x="1600" y="227"/>
                  <a:pt x="1600" y="227"/>
                  <a:pt x="1600" y="227"/>
                </a:cubicBezTo>
                <a:cubicBezTo>
                  <a:pt x="1601" y="227"/>
                  <a:pt x="1601" y="227"/>
                  <a:pt x="1601" y="227"/>
                </a:cubicBezTo>
                <a:cubicBezTo>
                  <a:pt x="1602" y="226"/>
                  <a:pt x="1602" y="226"/>
                  <a:pt x="1602" y="226"/>
                </a:cubicBezTo>
                <a:cubicBezTo>
                  <a:pt x="1603" y="227"/>
                  <a:pt x="1603" y="227"/>
                  <a:pt x="1603" y="227"/>
                </a:cubicBezTo>
                <a:cubicBezTo>
                  <a:pt x="1602" y="227"/>
                  <a:pt x="1602" y="227"/>
                  <a:pt x="1602" y="227"/>
                </a:cubicBezTo>
                <a:cubicBezTo>
                  <a:pt x="1602" y="228"/>
                  <a:pt x="1602" y="228"/>
                  <a:pt x="1602" y="228"/>
                </a:cubicBezTo>
                <a:cubicBezTo>
                  <a:pt x="1601" y="228"/>
                  <a:pt x="1601" y="228"/>
                  <a:pt x="1601" y="228"/>
                </a:cubicBezTo>
                <a:cubicBezTo>
                  <a:pt x="1600" y="229"/>
                  <a:pt x="1600" y="229"/>
                  <a:pt x="1600" y="229"/>
                </a:cubicBezTo>
                <a:cubicBezTo>
                  <a:pt x="1602" y="230"/>
                  <a:pt x="1602" y="230"/>
                  <a:pt x="1602" y="230"/>
                </a:cubicBezTo>
                <a:cubicBezTo>
                  <a:pt x="1602" y="231"/>
                  <a:pt x="1602" y="231"/>
                  <a:pt x="1602" y="231"/>
                </a:cubicBezTo>
                <a:cubicBezTo>
                  <a:pt x="1601" y="231"/>
                  <a:pt x="1601" y="231"/>
                  <a:pt x="1601" y="231"/>
                </a:cubicBezTo>
                <a:cubicBezTo>
                  <a:pt x="1600" y="231"/>
                  <a:pt x="1600" y="231"/>
                  <a:pt x="1600" y="231"/>
                </a:cubicBezTo>
                <a:cubicBezTo>
                  <a:pt x="1600" y="232"/>
                  <a:pt x="1600" y="232"/>
                  <a:pt x="1600" y="232"/>
                </a:cubicBezTo>
                <a:cubicBezTo>
                  <a:pt x="1601" y="232"/>
                  <a:pt x="1601" y="232"/>
                  <a:pt x="1601" y="232"/>
                </a:cubicBezTo>
                <a:cubicBezTo>
                  <a:pt x="1603" y="232"/>
                  <a:pt x="1603" y="232"/>
                  <a:pt x="1603" y="232"/>
                </a:cubicBezTo>
                <a:cubicBezTo>
                  <a:pt x="1604" y="233"/>
                  <a:pt x="1604" y="233"/>
                  <a:pt x="1604" y="233"/>
                </a:cubicBezTo>
                <a:cubicBezTo>
                  <a:pt x="1605" y="233"/>
                  <a:pt x="1605" y="233"/>
                  <a:pt x="1605" y="233"/>
                </a:cubicBezTo>
                <a:cubicBezTo>
                  <a:pt x="1607" y="233"/>
                  <a:pt x="1607" y="233"/>
                  <a:pt x="1607" y="233"/>
                </a:cubicBezTo>
                <a:cubicBezTo>
                  <a:pt x="1607" y="232"/>
                  <a:pt x="1607" y="232"/>
                  <a:pt x="1607" y="232"/>
                </a:cubicBezTo>
                <a:cubicBezTo>
                  <a:pt x="1608" y="232"/>
                  <a:pt x="1608" y="232"/>
                  <a:pt x="1608" y="232"/>
                </a:cubicBezTo>
                <a:cubicBezTo>
                  <a:pt x="1608" y="233"/>
                  <a:pt x="1608" y="233"/>
                  <a:pt x="1608" y="233"/>
                </a:cubicBezTo>
                <a:cubicBezTo>
                  <a:pt x="1608" y="235"/>
                  <a:pt x="1608" y="235"/>
                  <a:pt x="1608" y="235"/>
                </a:cubicBezTo>
                <a:cubicBezTo>
                  <a:pt x="1609" y="236"/>
                  <a:pt x="1609" y="236"/>
                  <a:pt x="1609" y="236"/>
                </a:cubicBezTo>
                <a:cubicBezTo>
                  <a:pt x="1610" y="236"/>
                  <a:pt x="1610" y="236"/>
                  <a:pt x="1610" y="236"/>
                </a:cubicBezTo>
                <a:cubicBezTo>
                  <a:pt x="1611" y="235"/>
                  <a:pt x="1611" y="235"/>
                  <a:pt x="1611" y="235"/>
                </a:cubicBezTo>
                <a:cubicBezTo>
                  <a:pt x="1611" y="233"/>
                  <a:pt x="1611" y="233"/>
                  <a:pt x="1611" y="233"/>
                </a:cubicBezTo>
                <a:cubicBezTo>
                  <a:pt x="1609" y="233"/>
                  <a:pt x="1609" y="233"/>
                  <a:pt x="1609" y="233"/>
                </a:cubicBezTo>
                <a:cubicBezTo>
                  <a:pt x="1609" y="232"/>
                  <a:pt x="1609" y="232"/>
                  <a:pt x="1609" y="232"/>
                </a:cubicBezTo>
                <a:cubicBezTo>
                  <a:pt x="1610" y="232"/>
                  <a:pt x="1610" y="232"/>
                  <a:pt x="1610" y="232"/>
                </a:cubicBezTo>
                <a:cubicBezTo>
                  <a:pt x="1611" y="233"/>
                  <a:pt x="1611" y="233"/>
                  <a:pt x="1611" y="233"/>
                </a:cubicBezTo>
                <a:cubicBezTo>
                  <a:pt x="1612" y="234"/>
                  <a:pt x="1612" y="234"/>
                  <a:pt x="1612" y="234"/>
                </a:cubicBezTo>
                <a:cubicBezTo>
                  <a:pt x="1612" y="235"/>
                  <a:pt x="1612" y="235"/>
                  <a:pt x="1612" y="235"/>
                </a:cubicBezTo>
                <a:cubicBezTo>
                  <a:pt x="1613" y="235"/>
                  <a:pt x="1613" y="235"/>
                  <a:pt x="1613" y="235"/>
                </a:cubicBezTo>
                <a:cubicBezTo>
                  <a:pt x="1613" y="234"/>
                  <a:pt x="1613" y="234"/>
                  <a:pt x="1613" y="234"/>
                </a:cubicBezTo>
                <a:cubicBezTo>
                  <a:pt x="1614" y="234"/>
                  <a:pt x="1614" y="234"/>
                  <a:pt x="1614" y="234"/>
                </a:cubicBezTo>
                <a:cubicBezTo>
                  <a:pt x="1614" y="235"/>
                  <a:pt x="1614" y="235"/>
                  <a:pt x="1614" y="235"/>
                </a:cubicBezTo>
                <a:cubicBezTo>
                  <a:pt x="1616" y="235"/>
                  <a:pt x="1616" y="235"/>
                  <a:pt x="1616" y="235"/>
                </a:cubicBezTo>
                <a:cubicBezTo>
                  <a:pt x="1617" y="235"/>
                  <a:pt x="1617" y="235"/>
                  <a:pt x="1617" y="235"/>
                </a:cubicBezTo>
                <a:cubicBezTo>
                  <a:pt x="1616" y="234"/>
                  <a:pt x="1616" y="234"/>
                  <a:pt x="1616" y="234"/>
                </a:cubicBezTo>
                <a:cubicBezTo>
                  <a:pt x="1616" y="233"/>
                  <a:pt x="1616" y="233"/>
                  <a:pt x="1616" y="233"/>
                </a:cubicBezTo>
                <a:cubicBezTo>
                  <a:pt x="1617" y="234"/>
                  <a:pt x="1617" y="234"/>
                  <a:pt x="1617" y="234"/>
                </a:cubicBezTo>
                <a:cubicBezTo>
                  <a:pt x="1618" y="234"/>
                  <a:pt x="1618" y="234"/>
                  <a:pt x="1618" y="234"/>
                </a:cubicBezTo>
                <a:cubicBezTo>
                  <a:pt x="1619" y="235"/>
                  <a:pt x="1619" y="235"/>
                  <a:pt x="1619" y="235"/>
                </a:cubicBezTo>
                <a:cubicBezTo>
                  <a:pt x="1619" y="236"/>
                  <a:pt x="1619" y="236"/>
                  <a:pt x="1619" y="236"/>
                </a:cubicBezTo>
                <a:cubicBezTo>
                  <a:pt x="1620" y="236"/>
                  <a:pt x="1620" y="236"/>
                  <a:pt x="1620" y="236"/>
                </a:cubicBezTo>
                <a:cubicBezTo>
                  <a:pt x="1620" y="235"/>
                  <a:pt x="1620" y="235"/>
                  <a:pt x="1620" y="235"/>
                </a:cubicBezTo>
                <a:cubicBezTo>
                  <a:pt x="1620" y="234"/>
                  <a:pt x="1620" y="234"/>
                  <a:pt x="1620" y="234"/>
                </a:cubicBezTo>
                <a:cubicBezTo>
                  <a:pt x="1619" y="234"/>
                  <a:pt x="1619" y="234"/>
                  <a:pt x="1619" y="234"/>
                </a:cubicBezTo>
                <a:cubicBezTo>
                  <a:pt x="1618" y="233"/>
                  <a:pt x="1618" y="233"/>
                  <a:pt x="1618" y="233"/>
                </a:cubicBezTo>
                <a:cubicBezTo>
                  <a:pt x="1619" y="233"/>
                  <a:pt x="1619" y="233"/>
                  <a:pt x="1619" y="233"/>
                </a:cubicBezTo>
                <a:cubicBezTo>
                  <a:pt x="1620" y="233"/>
                  <a:pt x="1620" y="233"/>
                  <a:pt x="1620" y="233"/>
                </a:cubicBezTo>
                <a:cubicBezTo>
                  <a:pt x="1621" y="232"/>
                  <a:pt x="1621" y="232"/>
                  <a:pt x="1621" y="232"/>
                </a:cubicBezTo>
                <a:cubicBezTo>
                  <a:pt x="1621" y="231"/>
                  <a:pt x="1621" y="231"/>
                  <a:pt x="1621" y="231"/>
                </a:cubicBezTo>
                <a:cubicBezTo>
                  <a:pt x="1620" y="230"/>
                  <a:pt x="1620" y="230"/>
                  <a:pt x="1620" y="230"/>
                </a:cubicBezTo>
                <a:cubicBezTo>
                  <a:pt x="1619" y="230"/>
                  <a:pt x="1619" y="230"/>
                  <a:pt x="1619" y="230"/>
                </a:cubicBezTo>
                <a:cubicBezTo>
                  <a:pt x="1618" y="230"/>
                  <a:pt x="1618" y="230"/>
                  <a:pt x="1618" y="230"/>
                </a:cubicBezTo>
                <a:cubicBezTo>
                  <a:pt x="1617" y="228"/>
                  <a:pt x="1617" y="228"/>
                  <a:pt x="1617" y="228"/>
                </a:cubicBezTo>
                <a:cubicBezTo>
                  <a:pt x="1616" y="228"/>
                  <a:pt x="1616" y="228"/>
                  <a:pt x="1616" y="228"/>
                </a:cubicBezTo>
                <a:cubicBezTo>
                  <a:pt x="1614" y="226"/>
                  <a:pt x="1614" y="226"/>
                  <a:pt x="1614" y="226"/>
                </a:cubicBezTo>
                <a:cubicBezTo>
                  <a:pt x="1613" y="225"/>
                  <a:pt x="1613" y="225"/>
                  <a:pt x="1613" y="225"/>
                </a:cubicBezTo>
                <a:cubicBezTo>
                  <a:pt x="1611" y="225"/>
                  <a:pt x="1611" y="225"/>
                  <a:pt x="1611" y="225"/>
                </a:cubicBezTo>
                <a:cubicBezTo>
                  <a:pt x="1610" y="222"/>
                  <a:pt x="1610" y="222"/>
                  <a:pt x="1610" y="222"/>
                </a:cubicBezTo>
                <a:cubicBezTo>
                  <a:pt x="1608" y="220"/>
                  <a:pt x="1608" y="220"/>
                  <a:pt x="1608" y="220"/>
                </a:cubicBezTo>
                <a:cubicBezTo>
                  <a:pt x="1607" y="217"/>
                  <a:pt x="1607" y="217"/>
                  <a:pt x="1607" y="217"/>
                </a:cubicBezTo>
                <a:cubicBezTo>
                  <a:pt x="1606" y="215"/>
                  <a:pt x="1606" y="215"/>
                  <a:pt x="1606" y="215"/>
                </a:cubicBezTo>
                <a:cubicBezTo>
                  <a:pt x="1606" y="212"/>
                  <a:pt x="1606" y="212"/>
                  <a:pt x="1606" y="212"/>
                </a:cubicBezTo>
                <a:cubicBezTo>
                  <a:pt x="1605" y="210"/>
                  <a:pt x="1605" y="210"/>
                  <a:pt x="1605" y="210"/>
                </a:cubicBezTo>
                <a:cubicBezTo>
                  <a:pt x="1604" y="207"/>
                  <a:pt x="1604" y="207"/>
                  <a:pt x="1604" y="207"/>
                </a:cubicBezTo>
                <a:cubicBezTo>
                  <a:pt x="1604" y="206"/>
                  <a:pt x="1604" y="206"/>
                  <a:pt x="1604" y="206"/>
                </a:cubicBezTo>
                <a:cubicBezTo>
                  <a:pt x="1605" y="205"/>
                  <a:pt x="1605" y="205"/>
                  <a:pt x="1605" y="205"/>
                </a:cubicBezTo>
                <a:cubicBezTo>
                  <a:pt x="1604" y="204"/>
                  <a:pt x="1604" y="204"/>
                  <a:pt x="1604" y="204"/>
                </a:cubicBezTo>
                <a:cubicBezTo>
                  <a:pt x="1603" y="204"/>
                  <a:pt x="1603" y="204"/>
                  <a:pt x="1603" y="204"/>
                </a:cubicBezTo>
                <a:cubicBezTo>
                  <a:pt x="1602" y="204"/>
                  <a:pt x="1602" y="204"/>
                  <a:pt x="1602" y="204"/>
                </a:cubicBezTo>
                <a:cubicBezTo>
                  <a:pt x="1602" y="203"/>
                  <a:pt x="1602" y="203"/>
                  <a:pt x="1602" y="203"/>
                </a:cubicBezTo>
                <a:cubicBezTo>
                  <a:pt x="1604" y="203"/>
                  <a:pt x="1604" y="203"/>
                  <a:pt x="1604" y="203"/>
                </a:cubicBezTo>
                <a:cubicBezTo>
                  <a:pt x="1605" y="203"/>
                  <a:pt x="1605" y="203"/>
                  <a:pt x="1605" y="203"/>
                </a:cubicBezTo>
                <a:cubicBezTo>
                  <a:pt x="1605" y="200"/>
                  <a:pt x="1605" y="200"/>
                  <a:pt x="1605" y="200"/>
                </a:cubicBezTo>
                <a:cubicBezTo>
                  <a:pt x="1605" y="199"/>
                  <a:pt x="1605" y="199"/>
                  <a:pt x="1605" y="199"/>
                </a:cubicBezTo>
                <a:cubicBezTo>
                  <a:pt x="1604" y="199"/>
                  <a:pt x="1604" y="199"/>
                  <a:pt x="1604" y="199"/>
                </a:cubicBezTo>
                <a:cubicBezTo>
                  <a:pt x="1603" y="200"/>
                  <a:pt x="1603" y="200"/>
                  <a:pt x="1603" y="200"/>
                </a:cubicBezTo>
                <a:cubicBezTo>
                  <a:pt x="1603" y="199"/>
                  <a:pt x="1603" y="199"/>
                  <a:pt x="1603" y="199"/>
                </a:cubicBezTo>
                <a:cubicBezTo>
                  <a:pt x="1605" y="198"/>
                  <a:pt x="1605" y="198"/>
                  <a:pt x="1605" y="198"/>
                </a:cubicBezTo>
                <a:cubicBezTo>
                  <a:pt x="1605" y="197"/>
                  <a:pt x="1605" y="197"/>
                  <a:pt x="1605" y="197"/>
                </a:cubicBezTo>
                <a:cubicBezTo>
                  <a:pt x="1602" y="197"/>
                  <a:pt x="1602" y="197"/>
                  <a:pt x="1602" y="197"/>
                </a:cubicBezTo>
                <a:cubicBezTo>
                  <a:pt x="1599" y="197"/>
                  <a:pt x="1599" y="197"/>
                  <a:pt x="1599" y="197"/>
                </a:cubicBezTo>
                <a:cubicBezTo>
                  <a:pt x="1598" y="196"/>
                  <a:pt x="1598" y="196"/>
                  <a:pt x="1598" y="196"/>
                </a:cubicBezTo>
                <a:cubicBezTo>
                  <a:pt x="1597" y="196"/>
                  <a:pt x="1597" y="196"/>
                  <a:pt x="1597" y="196"/>
                </a:cubicBezTo>
                <a:cubicBezTo>
                  <a:pt x="1595" y="197"/>
                  <a:pt x="1595" y="197"/>
                  <a:pt x="1595" y="197"/>
                </a:cubicBezTo>
                <a:cubicBezTo>
                  <a:pt x="1596" y="196"/>
                  <a:pt x="1596" y="196"/>
                  <a:pt x="1596" y="196"/>
                </a:cubicBezTo>
                <a:cubicBezTo>
                  <a:pt x="1598" y="195"/>
                  <a:pt x="1598" y="195"/>
                  <a:pt x="1598" y="195"/>
                </a:cubicBezTo>
                <a:cubicBezTo>
                  <a:pt x="1599" y="195"/>
                  <a:pt x="1599" y="195"/>
                  <a:pt x="1599" y="195"/>
                </a:cubicBezTo>
                <a:cubicBezTo>
                  <a:pt x="1600" y="196"/>
                  <a:pt x="1600" y="196"/>
                  <a:pt x="1600" y="196"/>
                </a:cubicBezTo>
                <a:cubicBezTo>
                  <a:pt x="1601" y="196"/>
                  <a:pt x="1601" y="196"/>
                  <a:pt x="1601" y="196"/>
                </a:cubicBezTo>
                <a:cubicBezTo>
                  <a:pt x="1602" y="196"/>
                  <a:pt x="1602" y="196"/>
                  <a:pt x="1602" y="196"/>
                </a:cubicBezTo>
                <a:cubicBezTo>
                  <a:pt x="1601" y="195"/>
                  <a:pt x="1601" y="195"/>
                  <a:pt x="1601" y="195"/>
                </a:cubicBezTo>
                <a:cubicBezTo>
                  <a:pt x="1602" y="194"/>
                  <a:pt x="1602" y="194"/>
                  <a:pt x="1602" y="194"/>
                </a:cubicBezTo>
                <a:cubicBezTo>
                  <a:pt x="1602" y="195"/>
                  <a:pt x="1602" y="195"/>
                  <a:pt x="1602" y="195"/>
                </a:cubicBezTo>
                <a:cubicBezTo>
                  <a:pt x="1603" y="196"/>
                  <a:pt x="1603" y="196"/>
                  <a:pt x="1603" y="196"/>
                </a:cubicBezTo>
                <a:cubicBezTo>
                  <a:pt x="1604" y="196"/>
                  <a:pt x="1604" y="196"/>
                  <a:pt x="1604" y="196"/>
                </a:cubicBezTo>
                <a:cubicBezTo>
                  <a:pt x="1606" y="196"/>
                  <a:pt x="1606" y="196"/>
                  <a:pt x="1606" y="196"/>
                </a:cubicBezTo>
                <a:cubicBezTo>
                  <a:pt x="1607" y="195"/>
                  <a:pt x="1607" y="195"/>
                  <a:pt x="1607" y="195"/>
                </a:cubicBezTo>
                <a:cubicBezTo>
                  <a:pt x="1607" y="194"/>
                  <a:pt x="1607" y="194"/>
                  <a:pt x="1607" y="194"/>
                </a:cubicBezTo>
                <a:cubicBezTo>
                  <a:pt x="1607" y="192"/>
                  <a:pt x="1607" y="192"/>
                  <a:pt x="1607" y="192"/>
                </a:cubicBezTo>
                <a:cubicBezTo>
                  <a:pt x="1608" y="191"/>
                  <a:pt x="1608" y="191"/>
                  <a:pt x="1608" y="191"/>
                </a:cubicBezTo>
                <a:cubicBezTo>
                  <a:pt x="1608" y="190"/>
                  <a:pt x="1608" y="190"/>
                  <a:pt x="1608" y="190"/>
                </a:cubicBezTo>
                <a:cubicBezTo>
                  <a:pt x="1607" y="189"/>
                  <a:pt x="1607" y="189"/>
                  <a:pt x="1607" y="189"/>
                </a:cubicBezTo>
                <a:cubicBezTo>
                  <a:pt x="1607" y="188"/>
                  <a:pt x="1607" y="188"/>
                  <a:pt x="1607" y="188"/>
                </a:cubicBezTo>
                <a:cubicBezTo>
                  <a:pt x="1606" y="187"/>
                  <a:pt x="1606" y="187"/>
                  <a:pt x="1606" y="187"/>
                </a:cubicBezTo>
                <a:cubicBezTo>
                  <a:pt x="1605" y="187"/>
                  <a:pt x="1605" y="187"/>
                  <a:pt x="1605" y="187"/>
                </a:cubicBezTo>
                <a:cubicBezTo>
                  <a:pt x="1604" y="187"/>
                  <a:pt x="1604" y="187"/>
                  <a:pt x="1604" y="187"/>
                </a:cubicBezTo>
                <a:cubicBezTo>
                  <a:pt x="1605" y="186"/>
                  <a:pt x="1605" y="186"/>
                  <a:pt x="1605" y="186"/>
                </a:cubicBezTo>
                <a:cubicBezTo>
                  <a:pt x="1606" y="187"/>
                  <a:pt x="1606" y="187"/>
                  <a:pt x="1606" y="187"/>
                </a:cubicBezTo>
                <a:cubicBezTo>
                  <a:pt x="1607" y="186"/>
                  <a:pt x="1607" y="186"/>
                  <a:pt x="1607" y="186"/>
                </a:cubicBezTo>
                <a:cubicBezTo>
                  <a:pt x="1608" y="187"/>
                  <a:pt x="1608" y="187"/>
                  <a:pt x="1608" y="187"/>
                </a:cubicBezTo>
                <a:cubicBezTo>
                  <a:pt x="1608" y="188"/>
                  <a:pt x="1608" y="188"/>
                  <a:pt x="1608" y="188"/>
                </a:cubicBezTo>
                <a:cubicBezTo>
                  <a:pt x="1608" y="189"/>
                  <a:pt x="1608" y="189"/>
                  <a:pt x="1608" y="189"/>
                </a:cubicBezTo>
                <a:cubicBezTo>
                  <a:pt x="1609" y="188"/>
                  <a:pt x="1609" y="188"/>
                  <a:pt x="1609" y="188"/>
                </a:cubicBezTo>
                <a:cubicBezTo>
                  <a:pt x="1608" y="186"/>
                  <a:pt x="1608" y="186"/>
                  <a:pt x="1608" y="186"/>
                </a:cubicBezTo>
                <a:cubicBezTo>
                  <a:pt x="1607" y="184"/>
                  <a:pt x="1607" y="184"/>
                  <a:pt x="1607" y="184"/>
                </a:cubicBezTo>
                <a:cubicBezTo>
                  <a:pt x="1606" y="182"/>
                  <a:pt x="1606" y="182"/>
                  <a:pt x="1606" y="182"/>
                </a:cubicBezTo>
                <a:cubicBezTo>
                  <a:pt x="1607" y="183"/>
                  <a:pt x="1607" y="183"/>
                  <a:pt x="1607" y="183"/>
                </a:cubicBezTo>
                <a:cubicBezTo>
                  <a:pt x="1607" y="184"/>
                  <a:pt x="1607" y="184"/>
                  <a:pt x="1607" y="184"/>
                </a:cubicBezTo>
                <a:cubicBezTo>
                  <a:pt x="1608" y="184"/>
                  <a:pt x="1608" y="184"/>
                  <a:pt x="1608" y="184"/>
                </a:cubicBezTo>
                <a:cubicBezTo>
                  <a:pt x="1609" y="185"/>
                  <a:pt x="1609" y="185"/>
                  <a:pt x="1609" y="185"/>
                </a:cubicBezTo>
                <a:cubicBezTo>
                  <a:pt x="1610" y="184"/>
                  <a:pt x="1610" y="184"/>
                  <a:pt x="1610" y="184"/>
                </a:cubicBezTo>
                <a:cubicBezTo>
                  <a:pt x="1610" y="183"/>
                  <a:pt x="1610" y="183"/>
                  <a:pt x="1610" y="183"/>
                </a:cubicBezTo>
                <a:cubicBezTo>
                  <a:pt x="1609" y="182"/>
                  <a:pt x="1609" y="182"/>
                  <a:pt x="1609" y="182"/>
                </a:cubicBezTo>
                <a:cubicBezTo>
                  <a:pt x="1610" y="180"/>
                  <a:pt x="1610" y="180"/>
                  <a:pt x="1610" y="180"/>
                </a:cubicBezTo>
                <a:cubicBezTo>
                  <a:pt x="1610" y="179"/>
                  <a:pt x="1610" y="179"/>
                  <a:pt x="1610" y="179"/>
                </a:cubicBezTo>
                <a:cubicBezTo>
                  <a:pt x="1609" y="178"/>
                  <a:pt x="1609" y="178"/>
                  <a:pt x="1609" y="178"/>
                </a:cubicBezTo>
                <a:cubicBezTo>
                  <a:pt x="1607" y="176"/>
                  <a:pt x="1607" y="176"/>
                  <a:pt x="1607" y="176"/>
                </a:cubicBezTo>
                <a:cubicBezTo>
                  <a:pt x="1608" y="176"/>
                  <a:pt x="1608" y="176"/>
                  <a:pt x="1608" y="176"/>
                </a:cubicBezTo>
                <a:cubicBezTo>
                  <a:pt x="1609" y="177"/>
                  <a:pt x="1609" y="177"/>
                  <a:pt x="1609" y="177"/>
                </a:cubicBezTo>
                <a:cubicBezTo>
                  <a:pt x="1610" y="177"/>
                  <a:pt x="1610" y="177"/>
                  <a:pt x="1610" y="177"/>
                </a:cubicBezTo>
                <a:cubicBezTo>
                  <a:pt x="1611" y="176"/>
                  <a:pt x="1611" y="176"/>
                  <a:pt x="1611" y="176"/>
                </a:cubicBezTo>
                <a:cubicBezTo>
                  <a:pt x="1610" y="175"/>
                  <a:pt x="1610" y="175"/>
                  <a:pt x="1610" y="175"/>
                </a:cubicBezTo>
                <a:cubicBezTo>
                  <a:pt x="1610" y="174"/>
                  <a:pt x="1610" y="174"/>
                  <a:pt x="1610" y="174"/>
                </a:cubicBezTo>
                <a:cubicBezTo>
                  <a:pt x="1610" y="173"/>
                  <a:pt x="1610" y="173"/>
                  <a:pt x="1610" y="173"/>
                </a:cubicBezTo>
                <a:cubicBezTo>
                  <a:pt x="1612" y="174"/>
                  <a:pt x="1612" y="174"/>
                  <a:pt x="1612" y="174"/>
                </a:cubicBezTo>
                <a:cubicBezTo>
                  <a:pt x="1613" y="175"/>
                  <a:pt x="1613" y="175"/>
                  <a:pt x="1613" y="175"/>
                </a:cubicBezTo>
                <a:cubicBezTo>
                  <a:pt x="1614" y="174"/>
                  <a:pt x="1614" y="174"/>
                  <a:pt x="1614" y="174"/>
                </a:cubicBezTo>
                <a:cubicBezTo>
                  <a:pt x="1613" y="174"/>
                  <a:pt x="1613" y="174"/>
                  <a:pt x="1613" y="174"/>
                </a:cubicBezTo>
                <a:cubicBezTo>
                  <a:pt x="1613" y="173"/>
                  <a:pt x="1613" y="173"/>
                  <a:pt x="1613" y="173"/>
                </a:cubicBezTo>
                <a:cubicBezTo>
                  <a:pt x="1614" y="173"/>
                  <a:pt x="1614" y="173"/>
                  <a:pt x="1614" y="173"/>
                </a:cubicBezTo>
                <a:cubicBezTo>
                  <a:pt x="1615" y="172"/>
                  <a:pt x="1615" y="172"/>
                  <a:pt x="1615" y="172"/>
                </a:cubicBezTo>
                <a:cubicBezTo>
                  <a:pt x="1615" y="171"/>
                  <a:pt x="1615" y="171"/>
                  <a:pt x="1615" y="171"/>
                </a:cubicBezTo>
                <a:cubicBezTo>
                  <a:pt x="1615" y="170"/>
                  <a:pt x="1615" y="170"/>
                  <a:pt x="1615" y="170"/>
                </a:cubicBezTo>
                <a:cubicBezTo>
                  <a:pt x="1617" y="169"/>
                  <a:pt x="1617" y="169"/>
                  <a:pt x="1617" y="169"/>
                </a:cubicBezTo>
                <a:cubicBezTo>
                  <a:pt x="1616" y="168"/>
                  <a:pt x="1616" y="168"/>
                  <a:pt x="1616" y="168"/>
                </a:cubicBezTo>
                <a:cubicBezTo>
                  <a:pt x="1616" y="167"/>
                  <a:pt x="1616" y="167"/>
                  <a:pt x="1616" y="167"/>
                </a:cubicBezTo>
                <a:cubicBezTo>
                  <a:pt x="1616" y="166"/>
                  <a:pt x="1616" y="166"/>
                  <a:pt x="1616" y="166"/>
                </a:cubicBezTo>
                <a:cubicBezTo>
                  <a:pt x="1617" y="167"/>
                  <a:pt x="1617" y="167"/>
                  <a:pt x="1617" y="167"/>
                </a:cubicBezTo>
                <a:cubicBezTo>
                  <a:pt x="1618" y="166"/>
                  <a:pt x="1618" y="166"/>
                  <a:pt x="1618" y="166"/>
                </a:cubicBezTo>
                <a:cubicBezTo>
                  <a:pt x="1619" y="164"/>
                  <a:pt x="1619" y="164"/>
                  <a:pt x="1619" y="164"/>
                </a:cubicBezTo>
                <a:cubicBezTo>
                  <a:pt x="1620" y="163"/>
                  <a:pt x="1620" y="163"/>
                  <a:pt x="1620" y="163"/>
                </a:cubicBezTo>
                <a:cubicBezTo>
                  <a:pt x="1621" y="162"/>
                  <a:pt x="1621" y="162"/>
                  <a:pt x="1621" y="162"/>
                </a:cubicBezTo>
                <a:cubicBezTo>
                  <a:pt x="1621" y="160"/>
                  <a:pt x="1621" y="160"/>
                  <a:pt x="1621" y="160"/>
                </a:cubicBezTo>
                <a:cubicBezTo>
                  <a:pt x="1622" y="159"/>
                  <a:pt x="1622" y="159"/>
                  <a:pt x="1622" y="159"/>
                </a:cubicBezTo>
                <a:cubicBezTo>
                  <a:pt x="1623" y="158"/>
                  <a:pt x="1623" y="158"/>
                  <a:pt x="1623" y="158"/>
                </a:cubicBezTo>
                <a:cubicBezTo>
                  <a:pt x="1624" y="155"/>
                  <a:pt x="1624" y="155"/>
                  <a:pt x="1624" y="155"/>
                </a:cubicBezTo>
                <a:cubicBezTo>
                  <a:pt x="1625" y="155"/>
                  <a:pt x="1625" y="155"/>
                  <a:pt x="1625" y="155"/>
                </a:cubicBezTo>
                <a:cubicBezTo>
                  <a:pt x="1628" y="153"/>
                  <a:pt x="1628" y="153"/>
                  <a:pt x="1628" y="153"/>
                </a:cubicBezTo>
                <a:cubicBezTo>
                  <a:pt x="1630" y="151"/>
                  <a:pt x="1630" y="151"/>
                  <a:pt x="1630" y="151"/>
                </a:cubicBezTo>
                <a:cubicBezTo>
                  <a:pt x="1632" y="149"/>
                  <a:pt x="1632" y="149"/>
                  <a:pt x="1632" y="149"/>
                </a:cubicBezTo>
                <a:cubicBezTo>
                  <a:pt x="1633" y="149"/>
                  <a:pt x="1633" y="149"/>
                  <a:pt x="1633" y="149"/>
                </a:cubicBezTo>
                <a:cubicBezTo>
                  <a:pt x="1634" y="147"/>
                  <a:pt x="1634" y="147"/>
                  <a:pt x="1634" y="147"/>
                </a:cubicBezTo>
                <a:cubicBezTo>
                  <a:pt x="1636" y="147"/>
                  <a:pt x="1636" y="147"/>
                  <a:pt x="1636" y="147"/>
                </a:cubicBezTo>
                <a:cubicBezTo>
                  <a:pt x="1638" y="146"/>
                  <a:pt x="1638" y="146"/>
                  <a:pt x="1638" y="146"/>
                </a:cubicBezTo>
                <a:cubicBezTo>
                  <a:pt x="1639" y="144"/>
                  <a:pt x="1639" y="144"/>
                  <a:pt x="1639" y="144"/>
                </a:cubicBezTo>
                <a:cubicBezTo>
                  <a:pt x="1640" y="143"/>
                  <a:pt x="1640" y="143"/>
                  <a:pt x="1640" y="143"/>
                </a:cubicBezTo>
                <a:cubicBezTo>
                  <a:pt x="1641" y="143"/>
                  <a:pt x="1641" y="143"/>
                  <a:pt x="1641" y="143"/>
                </a:cubicBezTo>
                <a:cubicBezTo>
                  <a:pt x="1642" y="143"/>
                  <a:pt x="1642" y="143"/>
                  <a:pt x="1642" y="143"/>
                </a:cubicBezTo>
                <a:cubicBezTo>
                  <a:pt x="1642" y="142"/>
                  <a:pt x="1642" y="142"/>
                  <a:pt x="1642" y="142"/>
                </a:cubicBezTo>
                <a:cubicBezTo>
                  <a:pt x="1642" y="141"/>
                  <a:pt x="1642" y="141"/>
                  <a:pt x="1642" y="141"/>
                </a:cubicBezTo>
                <a:cubicBezTo>
                  <a:pt x="1642" y="140"/>
                  <a:pt x="1642" y="140"/>
                  <a:pt x="1642" y="140"/>
                </a:cubicBezTo>
                <a:cubicBezTo>
                  <a:pt x="1642" y="139"/>
                  <a:pt x="1642" y="139"/>
                  <a:pt x="1642" y="139"/>
                </a:cubicBezTo>
                <a:cubicBezTo>
                  <a:pt x="1642" y="137"/>
                  <a:pt x="1642" y="137"/>
                  <a:pt x="1642" y="137"/>
                </a:cubicBezTo>
                <a:cubicBezTo>
                  <a:pt x="1641" y="137"/>
                  <a:pt x="1641" y="137"/>
                  <a:pt x="1641" y="137"/>
                </a:cubicBezTo>
                <a:cubicBezTo>
                  <a:pt x="1641" y="135"/>
                  <a:pt x="1641" y="135"/>
                  <a:pt x="1641" y="135"/>
                </a:cubicBezTo>
                <a:cubicBezTo>
                  <a:pt x="1641" y="134"/>
                  <a:pt x="1641" y="134"/>
                  <a:pt x="1641" y="134"/>
                </a:cubicBezTo>
                <a:cubicBezTo>
                  <a:pt x="1641" y="133"/>
                  <a:pt x="1641" y="133"/>
                  <a:pt x="1641" y="133"/>
                </a:cubicBezTo>
                <a:cubicBezTo>
                  <a:pt x="1640" y="133"/>
                  <a:pt x="1640" y="133"/>
                  <a:pt x="1640" y="133"/>
                </a:cubicBezTo>
                <a:cubicBezTo>
                  <a:pt x="1639" y="132"/>
                  <a:pt x="1639" y="132"/>
                  <a:pt x="1639" y="132"/>
                </a:cubicBezTo>
                <a:cubicBezTo>
                  <a:pt x="1638" y="132"/>
                  <a:pt x="1638" y="132"/>
                  <a:pt x="1638" y="132"/>
                </a:cubicBezTo>
                <a:cubicBezTo>
                  <a:pt x="1637" y="131"/>
                  <a:pt x="1637" y="131"/>
                  <a:pt x="1637" y="131"/>
                </a:cubicBezTo>
                <a:cubicBezTo>
                  <a:pt x="1637" y="130"/>
                  <a:pt x="1637" y="130"/>
                  <a:pt x="1637" y="130"/>
                </a:cubicBezTo>
                <a:cubicBezTo>
                  <a:pt x="1635" y="131"/>
                  <a:pt x="1635" y="131"/>
                  <a:pt x="1635" y="131"/>
                </a:cubicBezTo>
                <a:cubicBezTo>
                  <a:pt x="1634" y="131"/>
                  <a:pt x="1634" y="131"/>
                  <a:pt x="1634" y="131"/>
                </a:cubicBezTo>
                <a:cubicBezTo>
                  <a:pt x="1633" y="130"/>
                  <a:pt x="1633" y="130"/>
                  <a:pt x="1633" y="130"/>
                </a:cubicBezTo>
                <a:cubicBezTo>
                  <a:pt x="1632" y="131"/>
                  <a:pt x="1632" y="131"/>
                  <a:pt x="1632" y="131"/>
                </a:cubicBezTo>
                <a:cubicBezTo>
                  <a:pt x="1631" y="132"/>
                  <a:pt x="1631" y="132"/>
                  <a:pt x="1631" y="132"/>
                </a:cubicBezTo>
                <a:cubicBezTo>
                  <a:pt x="1630" y="133"/>
                  <a:pt x="1630" y="133"/>
                  <a:pt x="1630" y="133"/>
                </a:cubicBezTo>
                <a:cubicBezTo>
                  <a:pt x="1629" y="134"/>
                  <a:pt x="1629" y="134"/>
                  <a:pt x="1629" y="134"/>
                </a:cubicBezTo>
                <a:cubicBezTo>
                  <a:pt x="1628" y="134"/>
                  <a:pt x="1628" y="134"/>
                  <a:pt x="1628" y="134"/>
                </a:cubicBezTo>
                <a:cubicBezTo>
                  <a:pt x="1628" y="135"/>
                  <a:pt x="1628" y="135"/>
                  <a:pt x="1628" y="135"/>
                </a:cubicBezTo>
                <a:cubicBezTo>
                  <a:pt x="1627" y="136"/>
                  <a:pt x="1627" y="136"/>
                  <a:pt x="1627" y="136"/>
                </a:cubicBezTo>
                <a:cubicBezTo>
                  <a:pt x="1627" y="137"/>
                  <a:pt x="1627" y="137"/>
                  <a:pt x="1627" y="137"/>
                </a:cubicBezTo>
                <a:cubicBezTo>
                  <a:pt x="1628" y="138"/>
                  <a:pt x="1628" y="138"/>
                  <a:pt x="1628" y="138"/>
                </a:cubicBezTo>
                <a:cubicBezTo>
                  <a:pt x="1628" y="139"/>
                  <a:pt x="1628" y="139"/>
                  <a:pt x="1628" y="139"/>
                </a:cubicBezTo>
                <a:cubicBezTo>
                  <a:pt x="1627" y="139"/>
                  <a:pt x="1627" y="139"/>
                  <a:pt x="1627" y="139"/>
                </a:cubicBezTo>
                <a:cubicBezTo>
                  <a:pt x="1626" y="140"/>
                  <a:pt x="1626" y="140"/>
                  <a:pt x="1626" y="140"/>
                </a:cubicBezTo>
                <a:cubicBezTo>
                  <a:pt x="1626" y="141"/>
                  <a:pt x="1626" y="141"/>
                  <a:pt x="1626" y="141"/>
                </a:cubicBezTo>
                <a:cubicBezTo>
                  <a:pt x="1625" y="141"/>
                  <a:pt x="1625" y="141"/>
                  <a:pt x="1625" y="141"/>
                </a:cubicBezTo>
                <a:cubicBezTo>
                  <a:pt x="1625" y="142"/>
                  <a:pt x="1625" y="142"/>
                  <a:pt x="1625" y="142"/>
                </a:cubicBezTo>
                <a:cubicBezTo>
                  <a:pt x="1623" y="143"/>
                  <a:pt x="1623" y="143"/>
                  <a:pt x="1623" y="143"/>
                </a:cubicBezTo>
                <a:cubicBezTo>
                  <a:pt x="1622" y="144"/>
                  <a:pt x="1622" y="144"/>
                  <a:pt x="1622" y="144"/>
                </a:cubicBezTo>
                <a:cubicBezTo>
                  <a:pt x="1621" y="144"/>
                  <a:pt x="1621" y="144"/>
                  <a:pt x="1621" y="144"/>
                </a:cubicBezTo>
                <a:cubicBezTo>
                  <a:pt x="1620" y="144"/>
                  <a:pt x="1620" y="144"/>
                  <a:pt x="1620" y="144"/>
                </a:cubicBezTo>
                <a:cubicBezTo>
                  <a:pt x="1619" y="144"/>
                  <a:pt x="1619" y="144"/>
                  <a:pt x="1619" y="144"/>
                </a:cubicBezTo>
                <a:cubicBezTo>
                  <a:pt x="1618" y="146"/>
                  <a:pt x="1618" y="146"/>
                  <a:pt x="1618" y="146"/>
                </a:cubicBezTo>
                <a:cubicBezTo>
                  <a:pt x="1617" y="147"/>
                  <a:pt x="1617" y="147"/>
                  <a:pt x="1617" y="147"/>
                </a:cubicBezTo>
                <a:cubicBezTo>
                  <a:pt x="1617" y="146"/>
                  <a:pt x="1617" y="146"/>
                  <a:pt x="1617" y="146"/>
                </a:cubicBezTo>
                <a:cubicBezTo>
                  <a:pt x="1616" y="145"/>
                  <a:pt x="1616" y="145"/>
                  <a:pt x="1616" y="145"/>
                </a:cubicBezTo>
                <a:cubicBezTo>
                  <a:pt x="1616" y="146"/>
                  <a:pt x="1616" y="146"/>
                  <a:pt x="1616" y="146"/>
                </a:cubicBezTo>
                <a:cubicBezTo>
                  <a:pt x="1616" y="148"/>
                  <a:pt x="1616" y="148"/>
                  <a:pt x="1616" y="148"/>
                </a:cubicBezTo>
                <a:cubicBezTo>
                  <a:pt x="1615" y="147"/>
                  <a:pt x="1615" y="147"/>
                  <a:pt x="1615" y="147"/>
                </a:cubicBezTo>
                <a:cubicBezTo>
                  <a:pt x="1615" y="146"/>
                  <a:pt x="1615" y="146"/>
                  <a:pt x="1615" y="146"/>
                </a:cubicBezTo>
                <a:cubicBezTo>
                  <a:pt x="1613" y="146"/>
                  <a:pt x="1613" y="146"/>
                  <a:pt x="1613" y="146"/>
                </a:cubicBezTo>
                <a:cubicBezTo>
                  <a:pt x="1610" y="147"/>
                  <a:pt x="1610" y="147"/>
                  <a:pt x="1610" y="147"/>
                </a:cubicBezTo>
                <a:cubicBezTo>
                  <a:pt x="1609" y="147"/>
                  <a:pt x="1609" y="147"/>
                  <a:pt x="1609" y="147"/>
                </a:cubicBezTo>
                <a:cubicBezTo>
                  <a:pt x="1609" y="148"/>
                  <a:pt x="1609" y="148"/>
                  <a:pt x="1609" y="148"/>
                </a:cubicBezTo>
                <a:cubicBezTo>
                  <a:pt x="1609" y="150"/>
                  <a:pt x="1609" y="150"/>
                  <a:pt x="1609" y="150"/>
                </a:cubicBezTo>
                <a:cubicBezTo>
                  <a:pt x="1610" y="150"/>
                  <a:pt x="1610" y="150"/>
                  <a:pt x="1610" y="150"/>
                </a:cubicBezTo>
                <a:cubicBezTo>
                  <a:pt x="1610" y="151"/>
                  <a:pt x="1610" y="151"/>
                  <a:pt x="1610" y="151"/>
                </a:cubicBezTo>
                <a:cubicBezTo>
                  <a:pt x="1609" y="151"/>
                  <a:pt x="1609" y="151"/>
                  <a:pt x="1609" y="151"/>
                </a:cubicBezTo>
                <a:cubicBezTo>
                  <a:pt x="1608" y="152"/>
                  <a:pt x="1608" y="152"/>
                  <a:pt x="1608" y="152"/>
                </a:cubicBezTo>
                <a:cubicBezTo>
                  <a:pt x="1608" y="151"/>
                  <a:pt x="1608" y="151"/>
                  <a:pt x="1608" y="151"/>
                </a:cubicBezTo>
                <a:cubicBezTo>
                  <a:pt x="1608" y="150"/>
                  <a:pt x="1608" y="150"/>
                  <a:pt x="1608" y="150"/>
                </a:cubicBezTo>
                <a:cubicBezTo>
                  <a:pt x="1607" y="151"/>
                  <a:pt x="1607" y="151"/>
                  <a:pt x="1607" y="151"/>
                </a:cubicBezTo>
                <a:cubicBezTo>
                  <a:pt x="1606" y="152"/>
                  <a:pt x="1606" y="152"/>
                  <a:pt x="1606" y="152"/>
                </a:cubicBezTo>
                <a:cubicBezTo>
                  <a:pt x="1606" y="153"/>
                  <a:pt x="1606" y="153"/>
                  <a:pt x="1606" y="153"/>
                </a:cubicBezTo>
                <a:cubicBezTo>
                  <a:pt x="1606" y="154"/>
                  <a:pt x="1606" y="154"/>
                  <a:pt x="1606" y="154"/>
                </a:cubicBezTo>
                <a:cubicBezTo>
                  <a:pt x="1605" y="155"/>
                  <a:pt x="1605" y="155"/>
                  <a:pt x="1605" y="155"/>
                </a:cubicBezTo>
                <a:cubicBezTo>
                  <a:pt x="1604" y="155"/>
                  <a:pt x="1604" y="155"/>
                  <a:pt x="1604" y="155"/>
                </a:cubicBezTo>
                <a:cubicBezTo>
                  <a:pt x="1603" y="155"/>
                  <a:pt x="1603" y="155"/>
                  <a:pt x="1603" y="155"/>
                </a:cubicBezTo>
                <a:cubicBezTo>
                  <a:pt x="1603" y="156"/>
                  <a:pt x="1603" y="156"/>
                  <a:pt x="1603" y="156"/>
                </a:cubicBezTo>
                <a:cubicBezTo>
                  <a:pt x="1602" y="156"/>
                  <a:pt x="1602" y="156"/>
                  <a:pt x="1602" y="156"/>
                </a:cubicBezTo>
                <a:cubicBezTo>
                  <a:pt x="1601" y="157"/>
                  <a:pt x="1601" y="157"/>
                  <a:pt x="1601" y="157"/>
                </a:cubicBezTo>
                <a:cubicBezTo>
                  <a:pt x="1601" y="159"/>
                  <a:pt x="1601" y="159"/>
                  <a:pt x="1601" y="159"/>
                </a:cubicBezTo>
                <a:cubicBezTo>
                  <a:pt x="1602" y="159"/>
                  <a:pt x="1602" y="159"/>
                  <a:pt x="1602" y="159"/>
                </a:cubicBezTo>
                <a:cubicBezTo>
                  <a:pt x="1601" y="160"/>
                  <a:pt x="1601" y="160"/>
                  <a:pt x="1601" y="160"/>
                </a:cubicBezTo>
                <a:cubicBezTo>
                  <a:pt x="1599" y="160"/>
                  <a:pt x="1599" y="160"/>
                  <a:pt x="1599" y="160"/>
                </a:cubicBezTo>
                <a:cubicBezTo>
                  <a:pt x="1599" y="161"/>
                  <a:pt x="1599" y="161"/>
                  <a:pt x="1599" y="161"/>
                </a:cubicBezTo>
                <a:cubicBezTo>
                  <a:pt x="1598" y="162"/>
                  <a:pt x="1598" y="162"/>
                  <a:pt x="1598" y="162"/>
                </a:cubicBezTo>
                <a:cubicBezTo>
                  <a:pt x="1598" y="163"/>
                  <a:pt x="1598" y="163"/>
                  <a:pt x="1598" y="163"/>
                </a:cubicBezTo>
                <a:cubicBezTo>
                  <a:pt x="1599" y="163"/>
                  <a:pt x="1599" y="163"/>
                  <a:pt x="1599" y="163"/>
                </a:cubicBezTo>
                <a:cubicBezTo>
                  <a:pt x="1600" y="163"/>
                  <a:pt x="1600" y="163"/>
                  <a:pt x="1600" y="163"/>
                </a:cubicBezTo>
                <a:cubicBezTo>
                  <a:pt x="1600" y="164"/>
                  <a:pt x="1600" y="164"/>
                  <a:pt x="1600" y="164"/>
                </a:cubicBezTo>
                <a:cubicBezTo>
                  <a:pt x="1600" y="165"/>
                  <a:pt x="1600" y="165"/>
                  <a:pt x="1600" y="165"/>
                </a:cubicBezTo>
                <a:cubicBezTo>
                  <a:pt x="1599" y="166"/>
                  <a:pt x="1599" y="166"/>
                  <a:pt x="1599" y="166"/>
                </a:cubicBezTo>
                <a:cubicBezTo>
                  <a:pt x="1597" y="166"/>
                  <a:pt x="1597" y="166"/>
                  <a:pt x="1597" y="166"/>
                </a:cubicBezTo>
                <a:cubicBezTo>
                  <a:pt x="1596" y="166"/>
                  <a:pt x="1596" y="166"/>
                  <a:pt x="1596" y="166"/>
                </a:cubicBezTo>
                <a:cubicBezTo>
                  <a:pt x="1595" y="167"/>
                  <a:pt x="1595" y="167"/>
                  <a:pt x="1595" y="167"/>
                </a:cubicBezTo>
                <a:cubicBezTo>
                  <a:pt x="1596" y="168"/>
                  <a:pt x="1596" y="168"/>
                  <a:pt x="1596" y="168"/>
                </a:cubicBezTo>
                <a:cubicBezTo>
                  <a:pt x="1595" y="169"/>
                  <a:pt x="1595" y="169"/>
                  <a:pt x="1595" y="169"/>
                </a:cubicBezTo>
                <a:cubicBezTo>
                  <a:pt x="1594" y="170"/>
                  <a:pt x="1594" y="170"/>
                  <a:pt x="1594" y="170"/>
                </a:cubicBezTo>
                <a:cubicBezTo>
                  <a:pt x="1593" y="170"/>
                  <a:pt x="1593" y="170"/>
                  <a:pt x="1593" y="170"/>
                </a:cubicBezTo>
                <a:cubicBezTo>
                  <a:pt x="1592" y="169"/>
                  <a:pt x="1592" y="169"/>
                  <a:pt x="1592" y="169"/>
                </a:cubicBezTo>
                <a:cubicBezTo>
                  <a:pt x="1592" y="168"/>
                  <a:pt x="1592" y="168"/>
                  <a:pt x="1592" y="168"/>
                </a:cubicBezTo>
                <a:cubicBezTo>
                  <a:pt x="1591" y="170"/>
                  <a:pt x="1591" y="170"/>
                  <a:pt x="1591" y="170"/>
                </a:cubicBezTo>
                <a:cubicBezTo>
                  <a:pt x="1591" y="171"/>
                  <a:pt x="1591" y="171"/>
                  <a:pt x="1591" y="171"/>
                </a:cubicBezTo>
                <a:cubicBezTo>
                  <a:pt x="1593" y="172"/>
                  <a:pt x="1593" y="172"/>
                  <a:pt x="1593" y="172"/>
                </a:cubicBezTo>
                <a:cubicBezTo>
                  <a:pt x="1594" y="172"/>
                  <a:pt x="1594" y="172"/>
                  <a:pt x="1594" y="172"/>
                </a:cubicBezTo>
                <a:cubicBezTo>
                  <a:pt x="1594" y="173"/>
                  <a:pt x="1594" y="173"/>
                  <a:pt x="1594" y="173"/>
                </a:cubicBezTo>
                <a:cubicBezTo>
                  <a:pt x="1593" y="174"/>
                  <a:pt x="1593" y="174"/>
                  <a:pt x="1593" y="174"/>
                </a:cubicBezTo>
                <a:cubicBezTo>
                  <a:pt x="1593" y="175"/>
                  <a:pt x="1593" y="175"/>
                  <a:pt x="1593" y="175"/>
                </a:cubicBezTo>
                <a:cubicBezTo>
                  <a:pt x="1594" y="175"/>
                  <a:pt x="1594" y="175"/>
                  <a:pt x="1594" y="175"/>
                </a:cubicBezTo>
                <a:cubicBezTo>
                  <a:pt x="1595" y="174"/>
                  <a:pt x="1595" y="174"/>
                  <a:pt x="1595" y="174"/>
                </a:cubicBezTo>
                <a:cubicBezTo>
                  <a:pt x="1596" y="175"/>
                  <a:pt x="1596" y="175"/>
                  <a:pt x="1596" y="175"/>
                </a:cubicBezTo>
                <a:cubicBezTo>
                  <a:pt x="1597" y="175"/>
                  <a:pt x="1597" y="175"/>
                  <a:pt x="1597" y="175"/>
                </a:cubicBezTo>
                <a:cubicBezTo>
                  <a:pt x="1598" y="174"/>
                  <a:pt x="1598" y="174"/>
                  <a:pt x="1598" y="174"/>
                </a:cubicBezTo>
                <a:cubicBezTo>
                  <a:pt x="1598" y="175"/>
                  <a:pt x="1598" y="175"/>
                  <a:pt x="1598" y="175"/>
                </a:cubicBezTo>
                <a:cubicBezTo>
                  <a:pt x="1597" y="176"/>
                  <a:pt x="1597" y="176"/>
                  <a:pt x="1597" y="176"/>
                </a:cubicBezTo>
                <a:cubicBezTo>
                  <a:pt x="1595" y="175"/>
                  <a:pt x="1595" y="175"/>
                  <a:pt x="1595" y="175"/>
                </a:cubicBezTo>
                <a:cubicBezTo>
                  <a:pt x="1595" y="176"/>
                  <a:pt x="1595" y="176"/>
                  <a:pt x="1595" y="176"/>
                </a:cubicBezTo>
                <a:cubicBezTo>
                  <a:pt x="1594" y="176"/>
                  <a:pt x="1594" y="176"/>
                  <a:pt x="1594" y="176"/>
                </a:cubicBezTo>
                <a:cubicBezTo>
                  <a:pt x="1594" y="177"/>
                  <a:pt x="1594" y="177"/>
                  <a:pt x="1594" y="177"/>
                </a:cubicBezTo>
                <a:cubicBezTo>
                  <a:pt x="1594" y="178"/>
                  <a:pt x="1594" y="178"/>
                  <a:pt x="1594" y="178"/>
                </a:cubicBezTo>
                <a:cubicBezTo>
                  <a:pt x="1595" y="179"/>
                  <a:pt x="1595" y="179"/>
                  <a:pt x="1595" y="179"/>
                </a:cubicBezTo>
                <a:cubicBezTo>
                  <a:pt x="1596" y="179"/>
                  <a:pt x="1596" y="179"/>
                  <a:pt x="1596" y="179"/>
                </a:cubicBezTo>
                <a:cubicBezTo>
                  <a:pt x="1597" y="178"/>
                  <a:pt x="1597" y="178"/>
                  <a:pt x="1597" y="178"/>
                </a:cubicBezTo>
                <a:cubicBezTo>
                  <a:pt x="1597" y="179"/>
                  <a:pt x="1597" y="179"/>
                  <a:pt x="1597" y="179"/>
                </a:cubicBezTo>
                <a:cubicBezTo>
                  <a:pt x="1595" y="180"/>
                  <a:pt x="1595" y="180"/>
                  <a:pt x="1595" y="180"/>
                </a:cubicBezTo>
                <a:cubicBezTo>
                  <a:pt x="1594" y="180"/>
                  <a:pt x="1594" y="180"/>
                  <a:pt x="1594" y="180"/>
                </a:cubicBezTo>
                <a:cubicBezTo>
                  <a:pt x="1593" y="180"/>
                  <a:pt x="1593" y="180"/>
                  <a:pt x="1593" y="180"/>
                </a:cubicBezTo>
                <a:cubicBezTo>
                  <a:pt x="1593" y="181"/>
                  <a:pt x="1593" y="181"/>
                  <a:pt x="1593" y="181"/>
                </a:cubicBezTo>
                <a:cubicBezTo>
                  <a:pt x="1594" y="181"/>
                  <a:pt x="1594" y="181"/>
                  <a:pt x="1594" y="181"/>
                </a:cubicBezTo>
                <a:cubicBezTo>
                  <a:pt x="1595" y="181"/>
                  <a:pt x="1595" y="181"/>
                  <a:pt x="1595" y="181"/>
                </a:cubicBezTo>
                <a:cubicBezTo>
                  <a:pt x="1596" y="181"/>
                  <a:pt x="1596" y="181"/>
                  <a:pt x="1596" y="181"/>
                </a:cubicBezTo>
                <a:cubicBezTo>
                  <a:pt x="1596" y="182"/>
                  <a:pt x="1596" y="182"/>
                  <a:pt x="1596" y="182"/>
                </a:cubicBezTo>
                <a:cubicBezTo>
                  <a:pt x="1595" y="182"/>
                  <a:pt x="1595" y="182"/>
                  <a:pt x="1595" y="182"/>
                </a:cubicBezTo>
                <a:cubicBezTo>
                  <a:pt x="1594" y="182"/>
                  <a:pt x="1594" y="182"/>
                  <a:pt x="1594" y="182"/>
                </a:cubicBezTo>
                <a:cubicBezTo>
                  <a:pt x="1594" y="183"/>
                  <a:pt x="1594" y="183"/>
                  <a:pt x="1594" y="183"/>
                </a:cubicBezTo>
                <a:cubicBezTo>
                  <a:pt x="1596" y="183"/>
                  <a:pt x="1596" y="183"/>
                  <a:pt x="1596" y="183"/>
                </a:cubicBezTo>
                <a:cubicBezTo>
                  <a:pt x="1598" y="185"/>
                  <a:pt x="1598" y="185"/>
                  <a:pt x="1598" y="185"/>
                </a:cubicBezTo>
                <a:cubicBezTo>
                  <a:pt x="1599" y="185"/>
                  <a:pt x="1599" y="185"/>
                  <a:pt x="1599" y="185"/>
                </a:cubicBezTo>
                <a:cubicBezTo>
                  <a:pt x="1599" y="186"/>
                  <a:pt x="1599" y="186"/>
                  <a:pt x="1599" y="186"/>
                </a:cubicBezTo>
                <a:cubicBezTo>
                  <a:pt x="1598" y="185"/>
                  <a:pt x="1598" y="185"/>
                  <a:pt x="1598" y="185"/>
                </a:cubicBezTo>
                <a:cubicBezTo>
                  <a:pt x="1597" y="185"/>
                  <a:pt x="1597" y="185"/>
                  <a:pt x="1597" y="185"/>
                </a:cubicBezTo>
                <a:cubicBezTo>
                  <a:pt x="1596" y="185"/>
                  <a:pt x="1596" y="185"/>
                  <a:pt x="1596" y="185"/>
                </a:cubicBezTo>
                <a:cubicBezTo>
                  <a:pt x="1595" y="184"/>
                  <a:pt x="1595" y="184"/>
                  <a:pt x="1595" y="184"/>
                </a:cubicBezTo>
                <a:cubicBezTo>
                  <a:pt x="1594" y="184"/>
                  <a:pt x="1594" y="184"/>
                  <a:pt x="1594" y="184"/>
                </a:cubicBezTo>
                <a:cubicBezTo>
                  <a:pt x="1593" y="185"/>
                  <a:pt x="1593" y="185"/>
                  <a:pt x="1593" y="185"/>
                </a:cubicBezTo>
                <a:cubicBezTo>
                  <a:pt x="1592" y="186"/>
                  <a:pt x="1592" y="186"/>
                  <a:pt x="1592" y="186"/>
                </a:cubicBezTo>
                <a:cubicBezTo>
                  <a:pt x="1592" y="187"/>
                  <a:pt x="1592" y="187"/>
                  <a:pt x="1592" y="187"/>
                </a:cubicBezTo>
                <a:cubicBezTo>
                  <a:pt x="1593" y="187"/>
                  <a:pt x="1593" y="187"/>
                  <a:pt x="1593" y="187"/>
                </a:cubicBezTo>
                <a:cubicBezTo>
                  <a:pt x="1592" y="188"/>
                  <a:pt x="1592" y="188"/>
                  <a:pt x="1592" y="188"/>
                </a:cubicBezTo>
                <a:cubicBezTo>
                  <a:pt x="1591" y="188"/>
                  <a:pt x="1591" y="188"/>
                  <a:pt x="1591" y="188"/>
                </a:cubicBezTo>
                <a:cubicBezTo>
                  <a:pt x="1591" y="189"/>
                  <a:pt x="1591" y="189"/>
                  <a:pt x="1591" y="189"/>
                </a:cubicBezTo>
                <a:cubicBezTo>
                  <a:pt x="1590" y="190"/>
                  <a:pt x="1590" y="190"/>
                  <a:pt x="1590" y="190"/>
                </a:cubicBezTo>
                <a:cubicBezTo>
                  <a:pt x="1590" y="191"/>
                  <a:pt x="1590" y="191"/>
                  <a:pt x="1590" y="191"/>
                </a:cubicBezTo>
                <a:close/>
                <a:moveTo>
                  <a:pt x="1620" y="256"/>
                </a:moveTo>
                <a:cubicBezTo>
                  <a:pt x="1621" y="256"/>
                  <a:pt x="1621" y="256"/>
                  <a:pt x="1621" y="256"/>
                </a:cubicBezTo>
                <a:cubicBezTo>
                  <a:pt x="1622" y="256"/>
                  <a:pt x="1622" y="256"/>
                  <a:pt x="1622" y="256"/>
                </a:cubicBezTo>
                <a:cubicBezTo>
                  <a:pt x="1621" y="255"/>
                  <a:pt x="1621" y="255"/>
                  <a:pt x="1621" y="255"/>
                </a:cubicBezTo>
                <a:cubicBezTo>
                  <a:pt x="1620" y="256"/>
                  <a:pt x="1620" y="256"/>
                  <a:pt x="1620" y="256"/>
                </a:cubicBezTo>
                <a:close/>
                <a:moveTo>
                  <a:pt x="1576" y="89"/>
                </a:moveTo>
                <a:cubicBezTo>
                  <a:pt x="1575" y="88"/>
                  <a:pt x="1575" y="88"/>
                  <a:pt x="1575" y="88"/>
                </a:cubicBezTo>
                <a:cubicBezTo>
                  <a:pt x="1574" y="88"/>
                  <a:pt x="1574" y="88"/>
                  <a:pt x="1574" y="88"/>
                </a:cubicBezTo>
                <a:cubicBezTo>
                  <a:pt x="1574" y="89"/>
                  <a:pt x="1574" y="89"/>
                  <a:pt x="1574" y="89"/>
                </a:cubicBezTo>
                <a:cubicBezTo>
                  <a:pt x="1575" y="89"/>
                  <a:pt x="1575" y="89"/>
                  <a:pt x="1575" y="89"/>
                </a:cubicBezTo>
                <a:cubicBezTo>
                  <a:pt x="1575" y="90"/>
                  <a:pt x="1575" y="90"/>
                  <a:pt x="1575" y="90"/>
                </a:cubicBezTo>
                <a:cubicBezTo>
                  <a:pt x="1576" y="89"/>
                  <a:pt x="1576" y="89"/>
                  <a:pt x="1576" y="89"/>
                </a:cubicBezTo>
                <a:close/>
                <a:moveTo>
                  <a:pt x="1566" y="77"/>
                </a:moveTo>
                <a:cubicBezTo>
                  <a:pt x="1566" y="78"/>
                  <a:pt x="1566" y="78"/>
                  <a:pt x="1566" y="78"/>
                </a:cubicBezTo>
                <a:cubicBezTo>
                  <a:pt x="1567" y="81"/>
                  <a:pt x="1567" y="81"/>
                  <a:pt x="1567" y="81"/>
                </a:cubicBezTo>
                <a:cubicBezTo>
                  <a:pt x="1567" y="83"/>
                  <a:pt x="1567" y="83"/>
                  <a:pt x="1567" y="83"/>
                </a:cubicBezTo>
                <a:cubicBezTo>
                  <a:pt x="1568" y="85"/>
                  <a:pt x="1568" y="85"/>
                  <a:pt x="1568" y="85"/>
                </a:cubicBezTo>
                <a:cubicBezTo>
                  <a:pt x="1569" y="85"/>
                  <a:pt x="1569" y="85"/>
                  <a:pt x="1569" y="85"/>
                </a:cubicBezTo>
                <a:cubicBezTo>
                  <a:pt x="1570" y="85"/>
                  <a:pt x="1570" y="85"/>
                  <a:pt x="1570" y="85"/>
                </a:cubicBezTo>
                <a:cubicBezTo>
                  <a:pt x="1569" y="84"/>
                  <a:pt x="1569" y="84"/>
                  <a:pt x="1569" y="84"/>
                </a:cubicBezTo>
                <a:cubicBezTo>
                  <a:pt x="1569" y="83"/>
                  <a:pt x="1569" y="83"/>
                  <a:pt x="1569" y="83"/>
                </a:cubicBezTo>
                <a:cubicBezTo>
                  <a:pt x="1570" y="83"/>
                  <a:pt x="1570" y="83"/>
                  <a:pt x="1570" y="83"/>
                </a:cubicBezTo>
                <a:cubicBezTo>
                  <a:pt x="1571" y="81"/>
                  <a:pt x="1571" y="81"/>
                  <a:pt x="1571" y="81"/>
                </a:cubicBezTo>
                <a:cubicBezTo>
                  <a:pt x="1573" y="80"/>
                  <a:pt x="1573" y="80"/>
                  <a:pt x="1573" y="80"/>
                </a:cubicBezTo>
                <a:cubicBezTo>
                  <a:pt x="1574" y="79"/>
                  <a:pt x="1574" y="79"/>
                  <a:pt x="1574" y="79"/>
                </a:cubicBezTo>
                <a:cubicBezTo>
                  <a:pt x="1573" y="79"/>
                  <a:pt x="1573" y="79"/>
                  <a:pt x="1573" y="79"/>
                </a:cubicBezTo>
                <a:cubicBezTo>
                  <a:pt x="1572" y="79"/>
                  <a:pt x="1572" y="79"/>
                  <a:pt x="1572" y="79"/>
                </a:cubicBezTo>
                <a:cubicBezTo>
                  <a:pt x="1569" y="78"/>
                  <a:pt x="1569" y="78"/>
                  <a:pt x="1569" y="78"/>
                </a:cubicBezTo>
                <a:cubicBezTo>
                  <a:pt x="1568" y="76"/>
                  <a:pt x="1568" y="76"/>
                  <a:pt x="1568" y="76"/>
                </a:cubicBezTo>
                <a:cubicBezTo>
                  <a:pt x="1567" y="77"/>
                  <a:pt x="1567" y="77"/>
                  <a:pt x="1567" y="77"/>
                </a:cubicBezTo>
                <a:cubicBezTo>
                  <a:pt x="1566" y="77"/>
                  <a:pt x="1566" y="77"/>
                  <a:pt x="1566" y="77"/>
                </a:cubicBezTo>
                <a:close/>
                <a:moveTo>
                  <a:pt x="1639" y="240"/>
                </a:moveTo>
                <a:cubicBezTo>
                  <a:pt x="1637" y="239"/>
                  <a:pt x="1637" y="239"/>
                  <a:pt x="1637" y="239"/>
                </a:cubicBezTo>
                <a:cubicBezTo>
                  <a:pt x="1635" y="237"/>
                  <a:pt x="1635" y="237"/>
                  <a:pt x="1635" y="237"/>
                </a:cubicBezTo>
                <a:cubicBezTo>
                  <a:pt x="1634" y="237"/>
                  <a:pt x="1634" y="237"/>
                  <a:pt x="1634" y="237"/>
                </a:cubicBezTo>
                <a:cubicBezTo>
                  <a:pt x="1632" y="236"/>
                  <a:pt x="1632" y="236"/>
                  <a:pt x="1632" y="236"/>
                </a:cubicBezTo>
                <a:cubicBezTo>
                  <a:pt x="1631" y="235"/>
                  <a:pt x="1631" y="235"/>
                  <a:pt x="1631" y="235"/>
                </a:cubicBezTo>
                <a:cubicBezTo>
                  <a:pt x="1631" y="234"/>
                  <a:pt x="1631" y="234"/>
                  <a:pt x="1631" y="234"/>
                </a:cubicBezTo>
                <a:cubicBezTo>
                  <a:pt x="1629" y="233"/>
                  <a:pt x="1629" y="233"/>
                  <a:pt x="1629" y="233"/>
                </a:cubicBezTo>
                <a:cubicBezTo>
                  <a:pt x="1628" y="233"/>
                  <a:pt x="1628" y="233"/>
                  <a:pt x="1628" y="233"/>
                </a:cubicBezTo>
                <a:cubicBezTo>
                  <a:pt x="1628" y="234"/>
                  <a:pt x="1628" y="234"/>
                  <a:pt x="1628" y="234"/>
                </a:cubicBezTo>
                <a:cubicBezTo>
                  <a:pt x="1627" y="235"/>
                  <a:pt x="1627" y="235"/>
                  <a:pt x="1627" y="235"/>
                </a:cubicBezTo>
                <a:cubicBezTo>
                  <a:pt x="1628" y="236"/>
                  <a:pt x="1628" y="236"/>
                  <a:pt x="1628" y="236"/>
                </a:cubicBezTo>
                <a:cubicBezTo>
                  <a:pt x="1629" y="236"/>
                  <a:pt x="1629" y="236"/>
                  <a:pt x="1629" y="236"/>
                </a:cubicBezTo>
                <a:cubicBezTo>
                  <a:pt x="1628" y="237"/>
                  <a:pt x="1628" y="237"/>
                  <a:pt x="1628" y="237"/>
                </a:cubicBezTo>
                <a:cubicBezTo>
                  <a:pt x="1627" y="236"/>
                  <a:pt x="1627" y="236"/>
                  <a:pt x="1627" y="236"/>
                </a:cubicBezTo>
                <a:cubicBezTo>
                  <a:pt x="1626" y="236"/>
                  <a:pt x="1626" y="236"/>
                  <a:pt x="1626" y="236"/>
                </a:cubicBezTo>
                <a:cubicBezTo>
                  <a:pt x="1627" y="237"/>
                  <a:pt x="1627" y="237"/>
                  <a:pt x="1627" y="237"/>
                </a:cubicBezTo>
                <a:cubicBezTo>
                  <a:pt x="1629" y="240"/>
                  <a:pt x="1629" y="240"/>
                  <a:pt x="1629" y="240"/>
                </a:cubicBezTo>
                <a:cubicBezTo>
                  <a:pt x="1630" y="240"/>
                  <a:pt x="1630" y="240"/>
                  <a:pt x="1630" y="240"/>
                </a:cubicBezTo>
                <a:cubicBezTo>
                  <a:pt x="1631" y="242"/>
                  <a:pt x="1631" y="242"/>
                  <a:pt x="1631" y="242"/>
                </a:cubicBezTo>
                <a:cubicBezTo>
                  <a:pt x="1632" y="242"/>
                  <a:pt x="1632" y="242"/>
                  <a:pt x="1632" y="242"/>
                </a:cubicBezTo>
                <a:cubicBezTo>
                  <a:pt x="1632" y="240"/>
                  <a:pt x="1632" y="240"/>
                  <a:pt x="1632" y="240"/>
                </a:cubicBezTo>
                <a:cubicBezTo>
                  <a:pt x="1633" y="241"/>
                  <a:pt x="1633" y="241"/>
                  <a:pt x="1633" y="241"/>
                </a:cubicBezTo>
                <a:cubicBezTo>
                  <a:pt x="1634" y="240"/>
                  <a:pt x="1634" y="240"/>
                  <a:pt x="1634" y="240"/>
                </a:cubicBezTo>
                <a:cubicBezTo>
                  <a:pt x="1634" y="241"/>
                  <a:pt x="1634" y="241"/>
                  <a:pt x="1634" y="241"/>
                </a:cubicBezTo>
                <a:cubicBezTo>
                  <a:pt x="1634" y="243"/>
                  <a:pt x="1634" y="243"/>
                  <a:pt x="1634" y="243"/>
                </a:cubicBezTo>
                <a:cubicBezTo>
                  <a:pt x="1635" y="244"/>
                  <a:pt x="1635" y="244"/>
                  <a:pt x="1635" y="244"/>
                </a:cubicBezTo>
                <a:cubicBezTo>
                  <a:pt x="1637" y="244"/>
                  <a:pt x="1637" y="244"/>
                  <a:pt x="1637" y="244"/>
                </a:cubicBezTo>
                <a:cubicBezTo>
                  <a:pt x="1637" y="243"/>
                  <a:pt x="1637" y="243"/>
                  <a:pt x="1637" y="243"/>
                </a:cubicBezTo>
                <a:cubicBezTo>
                  <a:pt x="1639" y="244"/>
                  <a:pt x="1639" y="244"/>
                  <a:pt x="1639" y="244"/>
                </a:cubicBezTo>
                <a:cubicBezTo>
                  <a:pt x="1639" y="242"/>
                  <a:pt x="1639" y="242"/>
                  <a:pt x="1639" y="242"/>
                </a:cubicBezTo>
                <a:cubicBezTo>
                  <a:pt x="1639" y="240"/>
                  <a:pt x="1639" y="240"/>
                  <a:pt x="1639" y="240"/>
                </a:cubicBezTo>
                <a:close/>
                <a:moveTo>
                  <a:pt x="1540" y="270"/>
                </a:moveTo>
                <a:cubicBezTo>
                  <a:pt x="1540" y="270"/>
                  <a:pt x="1540" y="270"/>
                  <a:pt x="1539" y="270"/>
                </a:cubicBezTo>
                <a:cubicBezTo>
                  <a:pt x="1539" y="270"/>
                  <a:pt x="1539" y="270"/>
                  <a:pt x="1540" y="271"/>
                </a:cubicBezTo>
                <a:cubicBezTo>
                  <a:pt x="1540" y="271"/>
                  <a:pt x="1540" y="271"/>
                  <a:pt x="1541" y="273"/>
                </a:cubicBezTo>
                <a:cubicBezTo>
                  <a:pt x="1541" y="273"/>
                  <a:pt x="1541" y="273"/>
                  <a:pt x="1541" y="272"/>
                </a:cubicBezTo>
                <a:cubicBezTo>
                  <a:pt x="1541" y="272"/>
                  <a:pt x="1541" y="272"/>
                  <a:pt x="1540" y="270"/>
                </a:cubicBezTo>
                <a:close/>
                <a:moveTo>
                  <a:pt x="1574" y="65"/>
                </a:moveTo>
                <a:cubicBezTo>
                  <a:pt x="1575" y="66"/>
                  <a:pt x="1575" y="66"/>
                  <a:pt x="1575" y="66"/>
                </a:cubicBezTo>
                <a:cubicBezTo>
                  <a:pt x="1576" y="65"/>
                  <a:pt x="1576" y="65"/>
                  <a:pt x="1576" y="65"/>
                </a:cubicBezTo>
                <a:cubicBezTo>
                  <a:pt x="1577" y="64"/>
                  <a:pt x="1577" y="64"/>
                  <a:pt x="1577" y="64"/>
                </a:cubicBezTo>
                <a:cubicBezTo>
                  <a:pt x="1578" y="63"/>
                  <a:pt x="1578" y="63"/>
                  <a:pt x="1578" y="63"/>
                </a:cubicBezTo>
                <a:cubicBezTo>
                  <a:pt x="1577" y="62"/>
                  <a:pt x="1577" y="62"/>
                  <a:pt x="1577" y="62"/>
                </a:cubicBezTo>
                <a:cubicBezTo>
                  <a:pt x="1576" y="61"/>
                  <a:pt x="1576" y="61"/>
                  <a:pt x="1576" y="61"/>
                </a:cubicBezTo>
                <a:cubicBezTo>
                  <a:pt x="1575" y="61"/>
                  <a:pt x="1575" y="61"/>
                  <a:pt x="1575" y="61"/>
                </a:cubicBezTo>
                <a:cubicBezTo>
                  <a:pt x="1573" y="61"/>
                  <a:pt x="1573" y="61"/>
                  <a:pt x="1573" y="61"/>
                </a:cubicBezTo>
                <a:cubicBezTo>
                  <a:pt x="1572" y="62"/>
                  <a:pt x="1572" y="62"/>
                  <a:pt x="1572" y="62"/>
                </a:cubicBezTo>
                <a:cubicBezTo>
                  <a:pt x="1571" y="63"/>
                  <a:pt x="1571" y="63"/>
                  <a:pt x="1571" y="63"/>
                </a:cubicBezTo>
                <a:cubicBezTo>
                  <a:pt x="1572" y="64"/>
                  <a:pt x="1572" y="64"/>
                  <a:pt x="1572" y="64"/>
                </a:cubicBezTo>
                <a:cubicBezTo>
                  <a:pt x="1574" y="65"/>
                  <a:pt x="1574" y="65"/>
                  <a:pt x="1574" y="65"/>
                </a:cubicBezTo>
                <a:close/>
                <a:moveTo>
                  <a:pt x="1915" y="117"/>
                </a:moveTo>
                <a:cubicBezTo>
                  <a:pt x="1916" y="117"/>
                  <a:pt x="1916" y="117"/>
                  <a:pt x="1916" y="117"/>
                </a:cubicBezTo>
                <a:cubicBezTo>
                  <a:pt x="1916" y="115"/>
                  <a:pt x="1916" y="115"/>
                  <a:pt x="1916" y="115"/>
                </a:cubicBezTo>
                <a:cubicBezTo>
                  <a:pt x="1916" y="114"/>
                  <a:pt x="1916" y="114"/>
                  <a:pt x="1916" y="114"/>
                </a:cubicBezTo>
                <a:cubicBezTo>
                  <a:pt x="1914" y="115"/>
                  <a:pt x="1914" y="115"/>
                  <a:pt x="1914" y="115"/>
                </a:cubicBezTo>
                <a:cubicBezTo>
                  <a:pt x="1914" y="116"/>
                  <a:pt x="1914" y="116"/>
                  <a:pt x="1914" y="116"/>
                </a:cubicBezTo>
                <a:cubicBezTo>
                  <a:pt x="1915" y="116"/>
                  <a:pt x="1915" y="116"/>
                  <a:pt x="1915" y="116"/>
                </a:cubicBezTo>
                <a:cubicBezTo>
                  <a:pt x="1915" y="117"/>
                  <a:pt x="1915" y="117"/>
                  <a:pt x="1915" y="117"/>
                </a:cubicBezTo>
                <a:close/>
                <a:moveTo>
                  <a:pt x="1939" y="66"/>
                </a:moveTo>
                <a:cubicBezTo>
                  <a:pt x="1941" y="69"/>
                  <a:pt x="1941" y="69"/>
                  <a:pt x="1941" y="69"/>
                </a:cubicBezTo>
                <a:cubicBezTo>
                  <a:pt x="1941" y="71"/>
                  <a:pt x="1941" y="71"/>
                  <a:pt x="1941" y="71"/>
                </a:cubicBezTo>
                <a:cubicBezTo>
                  <a:pt x="1943" y="72"/>
                  <a:pt x="1943" y="72"/>
                  <a:pt x="1943" y="72"/>
                </a:cubicBezTo>
                <a:cubicBezTo>
                  <a:pt x="1943" y="71"/>
                  <a:pt x="1943" y="71"/>
                  <a:pt x="1943" y="71"/>
                </a:cubicBezTo>
                <a:cubicBezTo>
                  <a:pt x="1943" y="70"/>
                  <a:pt x="1943" y="70"/>
                  <a:pt x="1943" y="70"/>
                </a:cubicBezTo>
                <a:cubicBezTo>
                  <a:pt x="1942" y="67"/>
                  <a:pt x="1942" y="67"/>
                  <a:pt x="1942" y="67"/>
                </a:cubicBezTo>
                <a:cubicBezTo>
                  <a:pt x="1942" y="65"/>
                  <a:pt x="1942" y="65"/>
                  <a:pt x="1942" y="65"/>
                </a:cubicBezTo>
                <a:cubicBezTo>
                  <a:pt x="1941" y="65"/>
                  <a:pt x="1941" y="65"/>
                  <a:pt x="1941" y="65"/>
                </a:cubicBezTo>
                <a:cubicBezTo>
                  <a:pt x="1938" y="64"/>
                  <a:pt x="1938" y="64"/>
                  <a:pt x="1938" y="64"/>
                </a:cubicBezTo>
                <a:cubicBezTo>
                  <a:pt x="1937" y="63"/>
                  <a:pt x="1937" y="63"/>
                  <a:pt x="1937" y="63"/>
                </a:cubicBezTo>
                <a:cubicBezTo>
                  <a:pt x="1936" y="62"/>
                  <a:pt x="1936" y="62"/>
                  <a:pt x="1936" y="62"/>
                </a:cubicBezTo>
                <a:cubicBezTo>
                  <a:pt x="1936" y="63"/>
                  <a:pt x="1936" y="63"/>
                  <a:pt x="1936" y="63"/>
                </a:cubicBezTo>
                <a:cubicBezTo>
                  <a:pt x="1937" y="65"/>
                  <a:pt x="1937" y="65"/>
                  <a:pt x="1937" y="65"/>
                </a:cubicBezTo>
                <a:cubicBezTo>
                  <a:pt x="1939" y="66"/>
                  <a:pt x="1939" y="66"/>
                  <a:pt x="1939" y="66"/>
                </a:cubicBezTo>
                <a:close/>
                <a:moveTo>
                  <a:pt x="2135" y="122"/>
                </a:moveTo>
                <a:cubicBezTo>
                  <a:pt x="2134" y="121"/>
                  <a:pt x="2134" y="121"/>
                  <a:pt x="2134" y="121"/>
                </a:cubicBezTo>
                <a:cubicBezTo>
                  <a:pt x="2133" y="121"/>
                  <a:pt x="2133" y="121"/>
                  <a:pt x="2133" y="121"/>
                </a:cubicBezTo>
                <a:cubicBezTo>
                  <a:pt x="2133" y="123"/>
                  <a:pt x="2133" y="123"/>
                  <a:pt x="2133" y="123"/>
                </a:cubicBezTo>
                <a:cubicBezTo>
                  <a:pt x="2134" y="123"/>
                  <a:pt x="2134" y="123"/>
                  <a:pt x="2134" y="123"/>
                </a:cubicBezTo>
                <a:cubicBezTo>
                  <a:pt x="2135" y="122"/>
                  <a:pt x="2135" y="122"/>
                  <a:pt x="2135" y="122"/>
                </a:cubicBezTo>
                <a:close/>
                <a:moveTo>
                  <a:pt x="2001" y="129"/>
                </a:moveTo>
                <a:cubicBezTo>
                  <a:pt x="2000" y="130"/>
                  <a:pt x="2000" y="130"/>
                  <a:pt x="2000" y="130"/>
                </a:cubicBezTo>
                <a:cubicBezTo>
                  <a:pt x="2000" y="131"/>
                  <a:pt x="2000" y="131"/>
                  <a:pt x="2000" y="131"/>
                </a:cubicBezTo>
                <a:cubicBezTo>
                  <a:pt x="1999" y="131"/>
                  <a:pt x="1999" y="131"/>
                  <a:pt x="1999" y="131"/>
                </a:cubicBezTo>
                <a:cubicBezTo>
                  <a:pt x="1999" y="131"/>
                  <a:pt x="1998" y="132"/>
                  <a:pt x="1997" y="131"/>
                </a:cubicBezTo>
                <a:cubicBezTo>
                  <a:pt x="1999" y="133"/>
                  <a:pt x="1999" y="133"/>
                  <a:pt x="1999" y="133"/>
                </a:cubicBezTo>
                <a:cubicBezTo>
                  <a:pt x="2000" y="133"/>
                  <a:pt x="2000" y="133"/>
                  <a:pt x="2000" y="133"/>
                </a:cubicBezTo>
                <a:cubicBezTo>
                  <a:pt x="2001" y="132"/>
                  <a:pt x="2001" y="132"/>
                  <a:pt x="2001" y="132"/>
                </a:cubicBezTo>
                <a:cubicBezTo>
                  <a:pt x="2002" y="132"/>
                  <a:pt x="2002" y="132"/>
                  <a:pt x="2002" y="132"/>
                </a:cubicBezTo>
                <a:cubicBezTo>
                  <a:pt x="2001" y="131"/>
                  <a:pt x="2001" y="131"/>
                  <a:pt x="2001" y="131"/>
                </a:cubicBezTo>
                <a:cubicBezTo>
                  <a:pt x="2001" y="129"/>
                  <a:pt x="2001" y="129"/>
                  <a:pt x="2001" y="129"/>
                </a:cubicBezTo>
                <a:close/>
                <a:moveTo>
                  <a:pt x="1733" y="152"/>
                </a:moveTo>
                <a:cubicBezTo>
                  <a:pt x="1732" y="152"/>
                  <a:pt x="1732" y="152"/>
                  <a:pt x="1732" y="152"/>
                </a:cubicBezTo>
                <a:cubicBezTo>
                  <a:pt x="1732" y="153"/>
                  <a:pt x="1732" y="153"/>
                  <a:pt x="1732" y="153"/>
                </a:cubicBezTo>
                <a:cubicBezTo>
                  <a:pt x="1732" y="154"/>
                  <a:pt x="1732" y="154"/>
                  <a:pt x="1732" y="154"/>
                </a:cubicBezTo>
                <a:cubicBezTo>
                  <a:pt x="1732" y="155"/>
                  <a:pt x="1732" y="155"/>
                  <a:pt x="1732" y="155"/>
                </a:cubicBezTo>
                <a:cubicBezTo>
                  <a:pt x="1733" y="155"/>
                  <a:pt x="1733" y="155"/>
                  <a:pt x="1733" y="155"/>
                </a:cubicBezTo>
                <a:cubicBezTo>
                  <a:pt x="1734" y="154"/>
                  <a:pt x="1734" y="154"/>
                  <a:pt x="1734" y="154"/>
                </a:cubicBezTo>
                <a:cubicBezTo>
                  <a:pt x="1734" y="153"/>
                  <a:pt x="1734" y="153"/>
                  <a:pt x="1734" y="153"/>
                </a:cubicBezTo>
                <a:cubicBezTo>
                  <a:pt x="1733" y="152"/>
                  <a:pt x="1733" y="152"/>
                  <a:pt x="1733" y="152"/>
                </a:cubicBezTo>
                <a:close/>
                <a:moveTo>
                  <a:pt x="1672" y="243"/>
                </a:moveTo>
                <a:cubicBezTo>
                  <a:pt x="1672" y="244"/>
                  <a:pt x="1672" y="244"/>
                  <a:pt x="1672" y="244"/>
                </a:cubicBezTo>
                <a:cubicBezTo>
                  <a:pt x="1673" y="244"/>
                  <a:pt x="1673" y="244"/>
                  <a:pt x="1673" y="244"/>
                </a:cubicBezTo>
                <a:cubicBezTo>
                  <a:pt x="1674" y="243"/>
                  <a:pt x="1674" y="243"/>
                  <a:pt x="1674" y="243"/>
                </a:cubicBezTo>
                <a:cubicBezTo>
                  <a:pt x="1674" y="242"/>
                  <a:pt x="1674" y="242"/>
                  <a:pt x="1674" y="242"/>
                </a:cubicBezTo>
                <a:cubicBezTo>
                  <a:pt x="1673" y="241"/>
                  <a:pt x="1673" y="241"/>
                  <a:pt x="1673" y="241"/>
                </a:cubicBezTo>
                <a:cubicBezTo>
                  <a:pt x="1672" y="242"/>
                  <a:pt x="1672" y="242"/>
                  <a:pt x="1672" y="242"/>
                </a:cubicBezTo>
                <a:cubicBezTo>
                  <a:pt x="1672" y="243"/>
                  <a:pt x="1672" y="243"/>
                  <a:pt x="1672" y="243"/>
                </a:cubicBezTo>
                <a:close/>
                <a:moveTo>
                  <a:pt x="1958" y="140"/>
                </a:moveTo>
                <a:cubicBezTo>
                  <a:pt x="1958" y="140"/>
                  <a:pt x="1958" y="140"/>
                  <a:pt x="1958" y="142"/>
                </a:cubicBezTo>
                <a:cubicBezTo>
                  <a:pt x="1958" y="142"/>
                  <a:pt x="1958" y="142"/>
                  <a:pt x="1957" y="143"/>
                </a:cubicBezTo>
                <a:cubicBezTo>
                  <a:pt x="1957" y="143"/>
                  <a:pt x="1957" y="143"/>
                  <a:pt x="1960" y="141"/>
                </a:cubicBezTo>
                <a:cubicBezTo>
                  <a:pt x="1960" y="141"/>
                  <a:pt x="1960" y="141"/>
                  <a:pt x="1958" y="140"/>
                </a:cubicBezTo>
                <a:close/>
                <a:moveTo>
                  <a:pt x="1945" y="60"/>
                </a:moveTo>
                <a:cubicBezTo>
                  <a:pt x="1946" y="61"/>
                  <a:pt x="1946" y="61"/>
                  <a:pt x="1946" y="61"/>
                </a:cubicBezTo>
                <a:cubicBezTo>
                  <a:pt x="1945" y="61"/>
                  <a:pt x="1945" y="61"/>
                  <a:pt x="1945" y="61"/>
                </a:cubicBezTo>
                <a:cubicBezTo>
                  <a:pt x="1944" y="61"/>
                  <a:pt x="1944" y="61"/>
                  <a:pt x="1944" y="61"/>
                </a:cubicBezTo>
                <a:cubicBezTo>
                  <a:pt x="1945" y="63"/>
                  <a:pt x="1945" y="63"/>
                  <a:pt x="1945" y="63"/>
                </a:cubicBezTo>
                <a:cubicBezTo>
                  <a:pt x="1946" y="63"/>
                  <a:pt x="1946" y="63"/>
                  <a:pt x="1946" y="63"/>
                </a:cubicBezTo>
                <a:cubicBezTo>
                  <a:pt x="1946" y="64"/>
                  <a:pt x="1946" y="64"/>
                  <a:pt x="1946" y="64"/>
                </a:cubicBezTo>
                <a:cubicBezTo>
                  <a:pt x="1946" y="65"/>
                  <a:pt x="1946" y="65"/>
                  <a:pt x="1946" y="65"/>
                </a:cubicBezTo>
                <a:cubicBezTo>
                  <a:pt x="1947" y="66"/>
                  <a:pt x="1947" y="66"/>
                  <a:pt x="1947" y="66"/>
                </a:cubicBezTo>
                <a:cubicBezTo>
                  <a:pt x="1948" y="66"/>
                  <a:pt x="1948" y="66"/>
                  <a:pt x="1948" y="66"/>
                </a:cubicBezTo>
                <a:cubicBezTo>
                  <a:pt x="1949" y="67"/>
                  <a:pt x="1949" y="67"/>
                  <a:pt x="1949" y="67"/>
                </a:cubicBezTo>
                <a:cubicBezTo>
                  <a:pt x="1949" y="68"/>
                  <a:pt x="1949" y="68"/>
                  <a:pt x="1949" y="68"/>
                </a:cubicBezTo>
                <a:cubicBezTo>
                  <a:pt x="1950" y="68"/>
                  <a:pt x="1950" y="68"/>
                  <a:pt x="1950" y="68"/>
                </a:cubicBezTo>
                <a:cubicBezTo>
                  <a:pt x="1951" y="68"/>
                  <a:pt x="1951" y="68"/>
                  <a:pt x="1951" y="68"/>
                </a:cubicBezTo>
                <a:cubicBezTo>
                  <a:pt x="1950" y="69"/>
                  <a:pt x="1950" y="69"/>
                  <a:pt x="1950" y="69"/>
                </a:cubicBezTo>
                <a:cubicBezTo>
                  <a:pt x="1949" y="69"/>
                  <a:pt x="1949" y="69"/>
                  <a:pt x="1949" y="69"/>
                </a:cubicBezTo>
                <a:cubicBezTo>
                  <a:pt x="1949" y="71"/>
                  <a:pt x="1949" y="71"/>
                  <a:pt x="1949" y="71"/>
                </a:cubicBezTo>
                <a:cubicBezTo>
                  <a:pt x="1953" y="73"/>
                  <a:pt x="1953" y="73"/>
                  <a:pt x="1953" y="73"/>
                </a:cubicBezTo>
                <a:cubicBezTo>
                  <a:pt x="1955" y="74"/>
                  <a:pt x="1955" y="74"/>
                  <a:pt x="1955" y="74"/>
                </a:cubicBezTo>
                <a:cubicBezTo>
                  <a:pt x="1957" y="74"/>
                  <a:pt x="1957" y="74"/>
                  <a:pt x="1957" y="74"/>
                </a:cubicBezTo>
                <a:cubicBezTo>
                  <a:pt x="1958" y="75"/>
                  <a:pt x="1958" y="75"/>
                  <a:pt x="1958" y="75"/>
                </a:cubicBezTo>
                <a:cubicBezTo>
                  <a:pt x="1959" y="75"/>
                  <a:pt x="1959" y="75"/>
                  <a:pt x="1959" y="75"/>
                </a:cubicBezTo>
                <a:cubicBezTo>
                  <a:pt x="1959" y="77"/>
                  <a:pt x="1959" y="77"/>
                  <a:pt x="1959" y="77"/>
                </a:cubicBezTo>
                <a:cubicBezTo>
                  <a:pt x="1960" y="78"/>
                  <a:pt x="1960" y="78"/>
                  <a:pt x="1960" y="78"/>
                </a:cubicBezTo>
                <a:cubicBezTo>
                  <a:pt x="1962" y="78"/>
                  <a:pt x="1962" y="78"/>
                  <a:pt x="1962" y="78"/>
                </a:cubicBezTo>
                <a:cubicBezTo>
                  <a:pt x="1964" y="77"/>
                  <a:pt x="1964" y="77"/>
                  <a:pt x="1964" y="77"/>
                </a:cubicBezTo>
                <a:cubicBezTo>
                  <a:pt x="1966" y="77"/>
                  <a:pt x="1966" y="77"/>
                  <a:pt x="1966" y="77"/>
                </a:cubicBezTo>
                <a:cubicBezTo>
                  <a:pt x="1967" y="78"/>
                  <a:pt x="1967" y="78"/>
                  <a:pt x="1967" y="78"/>
                </a:cubicBezTo>
                <a:cubicBezTo>
                  <a:pt x="1968" y="78"/>
                  <a:pt x="1968" y="78"/>
                  <a:pt x="1968" y="78"/>
                </a:cubicBezTo>
                <a:cubicBezTo>
                  <a:pt x="1969" y="76"/>
                  <a:pt x="1969" y="76"/>
                  <a:pt x="1969" y="76"/>
                </a:cubicBezTo>
                <a:cubicBezTo>
                  <a:pt x="1969" y="75"/>
                  <a:pt x="1969" y="75"/>
                  <a:pt x="1969" y="75"/>
                </a:cubicBezTo>
                <a:cubicBezTo>
                  <a:pt x="1968" y="74"/>
                  <a:pt x="1968" y="74"/>
                  <a:pt x="1968" y="74"/>
                </a:cubicBezTo>
                <a:cubicBezTo>
                  <a:pt x="1968" y="73"/>
                  <a:pt x="1968" y="73"/>
                  <a:pt x="1968" y="73"/>
                </a:cubicBezTo>
                <a:cubicBezTo>
                  <a:pt x="1967" y="73"/>
                  <a:pt x="1967" y="73"/>
                  <a:pt x="1967" y="73"/>
                </a:cubicBezTo>
                <a:cubicBezTo>
                  <a:pt x="1966" y="72"/>
                  <a:pt x="1966" y="72"/>
                  <a:pt x="1966" y="72"/>
                </a:cubicBezTo>
                <a:cubicBezTo>
                  <a:pt x="1966" y="71"/>
                  <a:pt x="1966" y="71"/>
                  <a:pt x="1966" y="71"/>
                </a:cubicBezTo>
                <a:cubicBezTo>
                  <a:pt x="1967" y="71"/>
                  <a:pt x="1967" y="71"/>
                  <a:pt x="1967" y="71"/>
                </a:cubicBezTo>
                <a:cubicBezTo>
                  <a:pt x="1968" y="72"/>
                  <a:pt x="1968" y="72"/>
                  <a:pt x="1968" y="72"/>
                </a:cubicBezTo>
                <a:cubicBezTo>
                  <a:pt x="1969" y="72"/>
                  <a:pt x="1969" y="72"/>
                  <a:pt x="1969" y="72"/>
                </a:cubicBezTo>
                <a:cubicBezTo>
                  <a:pt x="1969" y="73"/>
                  <a:pt x="1969" y="73"/>
                  <a:pt x="1969" y="73"/>
                </a:cubicBezTo>
                <a:cubicBezTo>
                  <a:pt x="1969" y="74"/>
                  <a:pt x="1969" y="74"/>
                  <a:pt x="1969" y="74"/>
                </a:cubicBezTo>
                <a:cubicBezTo>
                  <a:pt x="1970" y="74"/>
                  <a:pt x="1970" y="74"/>
                  <a:pt x="1970" y="74"/>
                </a:cubicBezTo>
                <a:cubicBezTo>
                  <a:pt x="1971" y="72"/>
                  <a:pt x="1971" y="72"/>
                  <a:pt x="1971" y="72"/>
                </a:cubicBezTo>
                <a:cubicBezTo>
                  <a:pt x="1973" y="70"/>
                  <a:pt x="1973" y="70"/>
                  <a:pt x="1973" y="70"/>
                </a:cubicBezTo>
                <a:cubicBezTo>
                  <a:pt x="1975" y="68"/>
                  <a:pt x="1975" y="68"/>
                  <a:pt x="1975" y="68"/>
                </a:cubicBezTo>
                <a:cubicBezTo>
                  <a:pt x="1976" y="67"/>
                  <a:pt x="1976" y="67"/>
                  <a:pt x="1976" y="67"/>
                </a:cubicBezTo>
                <a:cubicBezTo>
                  <a:pt x="1977" y="66"/>
                  <a:pt x="1977" y="66"/>
                  <a:pt x="1977" y="66"/>
                </a:cubicBezTo>
                <a:cubicBezTo>
                  <a:pt x="1978" y="67"/>
                  <a:pt x="1978" y="67"/>
                  <a:pt x="1978" y="67"/>
                </a:cubicBezTo>
                <a:cubicBezTo>
                  <a:pt x="1977" y="68"/>
                  <a:pt x="1977" y="68"/>
                  <a:pt x="1977" y="68"/>
                </a:cubicBezTo>
                <a:cubicBezTo>
                  <a:pt x="1979" y="68"/>
                  <a:pt x="1979" y="68"/>
                  <a:pt x="1979" y="68"/>
                </a:cubicBezTo>
                <a:cubicBezTo>
                  <a:pt x="1980" y="68"/>
                  <a:pt x="1980" y="68"/>
                  <a:pt x="1980" y="68"/>
                </a:cubicBezTo>
                <a:cubicBezTo>
                  <a:pt x="1981" y="68"/>
                  <a:pt x="1981" y="68"/>
                  <a:pt x="1981" y="68"/>
                </a:cubicBezTo>
                <a:cubicBezTo>
                  <a:pt x="1981" y="67"/>
                  <a:pt x="1981" y="67"/>
                  <a:pt x="1981" y="67"/>
                </a:cubicBezTo>
                <a:cubicBezTo>
                  <a:pt x="1982" y="66"/>
                  <a:pt x="1982" y="66"/>
                  <a:pt x="1982" y="66"/>
                </a:cubicBezTo>
                <a:cubicBezTo>
                  <a:pt x="1983" y="65"/>
                  <a:pt x="1983" y="65"/>
                  <a:pt x="1983" y="65"/>
                </a:cubicBezTo>
                <a:cubicBezTo>
                  <a:pt x="1983" y="64"/>
                  <a:pt x="1983" y="64"/>
                  <a:pt x="1983" y="64"/>
                </a:cubicBezTo>
                <a:cubicBezTo>
                  <a:pt x="1981" y="64"/>
                  <a:pt x="1981" y="64"/>
                  <a:pt x="1981" y="64"/>
                </a:cubicBezTo>
                <a:cubicBezTo>
                  <a:pt x="1979" y="65"/>
                  <a:pt x="1979" y="65"/>
                  <a:pt x="1979" y="65"/>
                </a:cubicBezTo>
                <a:cubicBezTo>
                  <a:pt x="1978" y="64"/>
                  <a:pt x="1978" y="64"/>
                  <a:pt x="1978" y="64"/>
                </a:cubicBezTo>
                <a:cubicBezTo>
                  <a:pt x="1976" y="64"/>
                  <a:pt x="1976" y="64"/>
                  <a:pt x="1976" y="64"/>
                </a:cubicBezTo>
                <a:cubicBezTo>
                  <a:pt x="1975" y="63"/>
                  <a:pt x="1975" y="63"/>
                  <a:pt x="1975" y="63"/>
                </a:cubicBezTo>
                <a:cubicBezTo>
                  <a:pt x="1973" y="63"/>
                  <a:pt x="1973" y="63"/>
                  <a:pt x="1973" y="63"/>
                </a:cubicBezTo>
                <a:cubicBezTo>
                  <a:pt x="1973" y="62"/>
                  <a:pt x="1973" y="62"/>
                  <a:pt x="1973" y="62"/>
                </a:cubicBezTo>
                <a:cubicBezTo>
                  <a:pt x="1971" y="60"/>
                  <a:pt x="1971" y="60"/>
                  <a:pt x="1971" y="60"/>
                </a:cubicBezTo>
                <a:cubicBezTo>
                  <a:pt x="1970" y="59"/>
                  <a:pt x="1970" y="59"/>
                  <a:pt x="1970" y="59"/>
                </a:cubicBezTo>
                <a:cubicBezTo>
                  <a:pt x="1970" y="57"/>
                  <a:pt x="1970" y="57"/>
                  <a:pt x="1970" y="57"/>
                </a:cubicBezTo>
                <a:cubicBezTo>
                  <a:pt x="1969" y="56"/>
                  <a:pt x="1969" y="56"/>
                  <a:pt x="1969" y="56"/>
                </a:cubicBezTo>
                <a:cubicBezTo>
                  <a:pt x="1968" y="55"/>
                  <a:pt x="1968" y="55"/>
                  <a:pt x="1968" y="55"/>
                </a:cubicBezTo>
                <a:cubicBezTo>
                  <a:pt x="1968" y="54"/>
                  <a:pt x="1968" y="54"/>
                  <a:pt x="1968" y="54"/>
                </a:cubicBezTo>
                <a:cubicBezTo>
                  <a:pt x="1967" y="53"/>
                  <a:pt x="1967" y="53"/>
                  <a:pt x="1967" y="53"/>
                </a:cubicBezTo>
                <a:cubicBezTo>
                  <a:pt x="1968" y="52"/>
                  <a:pt x="1968" y="52"/>
                  <a:pt x="1968" y="52"/>
                </a:cubicBezTo>
                <a:cubicBezTo>
                  <a:pt x="1967" y="51"/>
                  <a:pt x="1967" y="51"/>
                  <a:pt x="1967" y="51"/>
                </a:cubicBezTo>
                <a:cubicBezTo>
                  <a:pt x="1968" y="51"/>
                  <a:pt x="1968" y="51"/>
                  <a:pt x="1968" y="51"/>
                </a:cubicBezTo>
                <a:cubicBezTo>
                  <a:pt x="1968" y="50"/>
                  <a:pt x="1968" y="50"/>
                  <a:pt x="1968" y="50"/>
                </a:cubicBezTo>
                <a:cubicBezTo>
                  <a:pt x="1967" y="49"/>
                  <a:pt x="1967" y="49"/>
                  <a:pt x="1967" y="49"/>
                </a:cubicBezTo>
                <a:cubicBezTo>
                  <a:pt x="1966" y="49"/>
                  <a:pt x="1966" y="49"/>
                  <a:pt x="1966" y="49"/>
                </a:cubicBezTo>
                <a:cubicBezTo>
                  <a:pt x="1964" y="49"/>
                  <a:pt x="1964" y="49"/>
                  <a:pt x="1964" y="49"/>
                </a:cubicBezTo>
                <a:cubicBezTo>
                  <a:pt x="1962" y="48"/>
                  <a:pt x="1962" y="48"/>
                  <a:pt x="1962" y="48"/>
                </a:cubicBezTo>
                <a:cubicBezTo>
                  <a:pt x="1961" y="47"/>
                  <a:pt x="1961" y="47"/>
                  <a:pt x="1961" y="47"/>
                </a:cubicBezTo>
                <a:cubicBezTo>
                  <a:pt x="1960" y="47"/>
                  <a:pt x="1960" y="47"/>
                  <a:pt x="1960" y="47"/>
                </a:cubicBezTo>
                <a:cubicBezTo>
                  <a:pt x="1959" y="47"/>
                  <a:pt x="1959" y="47"/>
                  <a:pt x="1959" y="47"/>
                </a:cubicBezTo>
                <a:cubicBezTo>
                  <a:pt x="1958" y="47"/>
                  <a:pt x="1958" y="47"/>
                  <a:pt x="1958" y="47"/>
                </a:cubicBezTo>
                <a:cubicBezTo>
                  <a:pt x="1960" y="49"/>
                  <a:pt x="1960" y="49"/>
                  <a:pt x="1960" y="49"/>
                </a:cubicBezTo>
                <a:cubicBezTo>
                  <a:pt x="1961" y="49"/>
                  <a:pt x="1961" y="49"/>
                  <a:pt x="1961" y="49"/>
                </a:cubicBezTo>
                <a:cubicBezTo>
                  <a:pt x="1962" y="50"/>
                  <a:pt x="1962" y="50"/>
                  <a:pt x="1962" y="50"/>
                </a:cubicBezTo>
                <a:cubicBezTo>
                  <a:pt x="1960" y="50"/>
                  <a:pt x="1960" y="50"/>
                  <a:pt x="1960" y="50"/>
                </a:cubicBezTo>
                <a:cubicBezTo>
                  <a:pt x="1959" y="50"/>
                  <a:pt x="1959" y="50"/>
                  <a:pt x="1959" y="50"/>
                </a:cubicBezTo>
                <a:cubicBezTo>
                  <a:pt x="1958" y="50"/>
                  <a:pt x="1958" y="50"/>
                  <a:pt x="1958" y="50"/>
                </a:cubicBezTo>
                <a:cubicBezTo>
                  <a:pt x="1958" y="52"/>
                  <a:pt x="1958" y="52"/>
                  <a:pt x="1958" y="52"/>
                </a:cubicBezTo>
                <a:cubicBezTo>
                  <a:pt x="1959" y="53"/>
                  <a:pt x="1959" y="53"/>
                  <a:pt x="1959" y="53"/>
                </a:cubicBezTo>
                <a:cubicBezTo>
                  <a:pt x="1960" y="55"/>
                  <a:pt x="1960" y="55"/>
                  <a:pt x="1960" y="55"/>
                </a:cubicBezTo>
                <a:cubicBezTo>
                  <a:pt x="1961" y="57"/>
                  <a:pt x="1961" y="57"/>
                  <a:pt x="1961" y="57"/>
                </a:cubicBezTo>
                <a:cubicBezTo>
                  <a:pt x="1962" y="58"/>
                  <a:pt x="1962" y="58"/>
                  <a:pt x="1962" y="58"/>
                </a:cubicBezTo>
                <a:cubicBezTo>
                  <a:pt x="1961" y="58"/>
                  <a:pt x="1961" y="58"/>
                  <a:pt x="1961" y="58"/>
                </a:cubicBezTo>
                <a:cubicBezTo>
                  <a:pt x="1960" y="58"/>
                  <a:pt x="1960" y="58"/>
                  <a:pt x="1960" y="58"/>
                </a:cubicBezTo>
                <a:cubicBezTo>
                  <a:pt x="1958" y="57"/>
                  <a:pt x="1958" y="57"/>
                  <a:pt x="1958" y="57"/>
                </a:cubicBezTo>
                <a:cubicBezTo>
                  <a:pt x="1958" y="55"/>
                  <a:pt x="1958" y="55"/>
                  <a:pt x="1958" y="55"/>
                </a:cubicBezTo>
                <a:cubicBezTo>
                  <a:pt x="1957" y="55"/>
                  <a:pt x="1957" y="55"/>
                  <a:pt x="1957" y="55"/>
                </a:cubicBezTo>
                <a:cubicBezTo>
                  <a:pt x="1956" y="55"/>
                  <a:pt x="1956" y="55"/>
                  <a:pt x="1956" y="55"/>
                </a:cubicBezTo>
                <a:cubicBezTo>
                  <a:pt x="1955" y="55"/>
                  <a:pt x="1955" y="55"/>
                  <a:pt x="1955" y="55"/>
                </a:cubicBezTo>
                <a:cubicBezTo>
                  <a:pt x="1954" y="55"/>
                  <a:pt x="1954" y="55"/>
                  <a:pt x="1954" y="55"/>
                </a:cubicBezTo>
                <a:cubicBezTo>
                  <a:pt x="1953" y="55"/>
                  <a:pt x="1953" y="55"/>
                  <a:pt x="1953" y="55"/>
                </a:cubicBezTo>
                <a:cubicBezTo>
                  <a:pt x="1953" y="53"/>
                  <a:pt x="1953" y="53"/>
                  <a:pt x="1953" y="53"/>
                </a:cubicBezTo>
                <a:cubicBezTo>
                  <a:pt x="1953" y="52"/>
                  <a:pt x="1953" y="52"/>
                  <a:pt x="1953" y="52"/>
                </a:cubicBezTo>
                <a:cubicBezTo>
                  <a:pt x="1952" y="52"/>
                  <a:pt x="1952" y="52"/>
                  <a:pt x="1952" y="52"/>
                </a:cubicBezTo>
                <a:cubicBezTo>
                  <a:pt x="1950" y="51"/>
                  <a:pt x="1950" y="51"/>
                  <a:pt x="1950" y="51"/>
                </a:cubicBezTo>
                <a:cubicBezTo>
                  <a:pt x="1948" y="51"/>
                  <a:pt x="1948" y="51"/>
                  <a:pt x="1948" y="51"/>
                </a:cubicBezTo>
                <a:cubicBezTo>
                  <a:pt x="1948" y="50"/>
                  <a:pt x="1948" y="50"/>
                  <a:pt x="1948" y="50"/>
                </a:cubicBezTo>
                <a:cubicBezTo>
                  <a:pt x="1947" y="49"/>
                  <a:pt x="1947" y="49"/>
                  <a:pt x="1947" y="49"/>
                </a:cubicBezTo>
                <a:cubicBezTo>
                  <a:pt x="1946" y="50"/>
                  <a:pt x="1946" y="50"/>
                  <a:pt x="1946" y="50"/>
                </a:cubicBezTo>
                <a:cubicBezTo>
                  <a:pt x="1945" y="51"/>
                  <a:pt x="1945" y="51"/>
                  <a:pt x="1945" y="51"/>
                </a:cubicBezTo>
                <a:cubicBezTo>
                  <a:pt x="1945" y="52"/>
                  <a:pt x="1945" y="52"/>
                  <a:pt x="1945" y="52"/>
                </a:cubicBezTo>
                <a:cubicBezTo>
                  <a:pt x="1944" y="53"/>
                  <a:pt x="1944" y="53"/>
                  <a:pt x="1944" y="53"/>
                </a:cubicBezTo>
                <a:cubicBezTo>
                  <a:pt x="1945" y="54"/>
                  <a:pt x="1945" y="54"/>
                  <a:pt x="1945" y="54"/>
                </a:cubicBezTo>
                <a:cubicBezTo>
                  <a:pt x="1944" y="56"/>
                  <a:pt x="1944" y="56"/>
                  <a:pt x="1944" y="56"/>
                </a:cubicBezTo>
                <a:cubicBezTo>
                  <a:pt x="1943" y="57"/>
                  <a:pt x="1943" y="57"/>
                  <a:pt x="1943" y="57"/>
                </a:cubicBezTo>
                <a:cubicBezTo>
                  <a:pt x="1943" y="58"/>
                  <a:pt x="1943" y="58"/>
                  <a:pt x="1943" y="58"/>
                </a:cubicBezTo>
                <a:cubicBezTo>
                  <a:pt x="1944" y="60"/>
                  <a:pt x="1944" y="60"/>
                  <a:pt x="1944" y="60"/>
                </a:cubicBezTo>
                <a:cubicBezTo>
                  <a:pt x="1945" y="60"/>
                  <a:pt x="1945" y="60"/>
                  <a:pt x="1945" y="60"/>
                </a:cubicBezTo>
                <a:close/>
                <a:moveTo>
                  <a:pt x="1995" y="55"/>
                </a:moveTo>
                <a:cubicBezTo>
                  <a:pt x="1999" y="56"/>
                  <a:pt x="1999" y="56"/>
                  <a:pt x="1999" y="56"/>
                </a:cubicBezTo>
                <a:cubicBezTo>
                  <a:pt x="2003" y="57"/>
                  <a:pt x="2003" y="57"/>
                  <a:pt x="2003" y="57"/>
                </a:cubicBezTo>
                <a:cubicBezTo>
                  <a:pt x="2005" y="58"/>
                  <a:pt x="2005" y="58"/>
                  <a:pt x="2005" y="58"/>
                </a:cubicBezTo>
                <a:cubicBezTo>
                  <a:pt x="2007" y="58"/>
                  <a:pt x="2007" y="58"/>
                  <a:pt x="2007" y="58"/>
                </a:cubicBezTo>
                <a:cubicBezTo>
                  <a:pt x="2009" y="57"/>
                  <a:pt x="2009" y="57"/>
                  <a:pt x="2009" y="57"/>
                </a:cubicBezTo>
                <a:cubicBezTo>
                  <a:pt x="2010" y="58"/>
                  <a:pt x="2010" y="58"/>
                  <a:pt x="2010" y="58"/>
                </a:cubicBezTo>
                <a:cubicBezTo>
                  <a:pt x="2012" y="57"/>
                  <a:pt x="2012" y="57"/>
                  <a:pt x="2012" y="57"/>
                </a:cubicBezTo>
                <a:cubicBezTo>
                  <a:pt x="2014" y="56"/>
                  <a:pt x="2014" y="56"/>
                  <a:pt x="2014" y="56"/>
                </a:cubicBezTo>
                <a:cubicBezTo>
                  <a:pt x="2015" y="54"/>
                  <a:pt x="2015" y="54"/>
                  <a:pt x="2015" y="54"/>
                </a:cubicBezTo>
                <a:cubicBezTo>
                  <a:pt x="2015" y="53"/>
                  <a:pt x="2015" y="53"/>
                  <a:pt x="2015" y="53"/>
                </a:cubicBezTo>
                <a:cubicBezTo>
                  <a:pt x="2015" y="51"/>
                  <a:pt x="2015" y="51"/>
                  <a:pt x="2015" y="51"/>
                </a:cubicBezTo>
                <a:cubicBezTo>
                  <a:pt x="2014" y="51"/>
                  <a:pt x="2014" y="51"/>
                  <a:pt x="2014" y="51"/>
                </a:cubicBezTo>
                <a:cubicBezTo>
                  <a:pt x="2013" y="51"/>
                  <a:pt x="2013" y="51"/>
                  <a:pt x="2013" y="51"/>
                </a:cubicBezTo>
                <a:cubicBezTo>
                  <a:pt x="2013" y="50"/>
                  <a:pt x="2013" y="50"/>
                  <a:pt x="2013" y="50"/>
                </a:cubicBezTo>
                <a:cubicBezTo>
                  <a:pt x="2013" y="49"/>
                  <a:pt x="2013" y="49"/>
                  <a:pt x="2013" y="49"/>
                </a:cubicBezTo>
                <a:cubicBezTo>
                  <a:pt x="2012" y="48"/>
                  <a:pt x="2012" y="48"/>
                  <a:pt x="2012" y="48"/>
                </a:cubicBezTo>
                <a:cubicBezTo>
                  <a:pt x="2011" y="49"/>
                  <a:pt x="2011" y="49"/>
                  <a:pt x="2011" y="49"/>
                </a:cubicBezTo>
                <a:cubicBezTo>
                  <a:pt x="2009" y="48"/>
                  <a:pt x="2009" y="48"/>
                  <a:pt x="2009" y="48"/>
                </a:cubicBezTo>
                <a:cubicBezTo>
                  <a:pt x="2006" y="49"/>
                  <a:pt x="2006" y="49"/>
                  <a:pt x="2006" y="49"/>
                </a:cubicBezTo>
                <a:cubicBezTo>
                  <a:pt x="2004" y="50"/>
                  <a:pt x="2004" y="50"/>
                  <a:pt x="2004" y="50"/>
                </a:cubicBezTo>
                <a:cubicBezTo>
                  <a:pt x="2003" y="51"/>
                  <a:pt x="2003" y="51"/>
                  <a:pt x="2003" y="51"/>
                </a:cubicBezTo>
                <a:cubicBezTo>
                  <a:pt x="2003" y="50"/>
                  <a:pt x="2003" y="50"/>
                  <a:pt x="2003" y="50"/>
                </a:cubicBezTo>
                <a:cubicBezTo>
                  <a:pt x="2002" y="49"/>
                  <a:pt x="2002" y="49"/>
                  <a:pt x="2002" y="49"/>
                </a:cubicBezTo>
                <a:cubicBezTo>
                  <a:pt x="2001" y="49"/>
                  <a:pt x="2001" y="49"/>
                  <a:pt x="2001" y="49"/>
                </a:cubicBezTo>
                <a:cubicBezTo>
                  <a:pt x="2000" y="49"/>
                  <a:pt x="2000" y="49"/>
                  <a:pt x="2000" y="49"/>
                </a:cubicBezTo>
                <a:cubicBezTo>
                  <a:pt x="1998" y="49"/>
                  <a:pt x="1998" y="49"/>
                  <a:pt x="1998" y="49"/>
                </a:cubicBezTo>
                <a:cubicBezTo>
                  <a:pt x="1997" y="49"/>
                  <a:pt x="1997" y="49"/>
                  <a:pt x="1997" y="49"/>
                </a:cubicBezTo>
                <a:cubicBezTo>
                  <a:pt x="1997" y="50"/>
                  <a:pt x="1997" y="50"/>
                  <a:pt x="1997" y="50"/>
                </a:cubicBezTo>
                <a:cubicBezTo>
                  <a:pt x="1996" y="51"/>
                  <a:pt x="1996" y="51"/>
                  <a:pt x="1996" y="51"/>
                </a:cubicBezTo>
                <a:cubicBezTo>
                  <a:pt x="1994" y="50"/>
                  <a:pt x="1994" y="50"/>
                  <a:pt x="1994" y="50"/>
                </a:cubicBezTo>
                <a:cubicBezTo>
                  <a:pt x="1993" y="50"/>
                  <a:pt x="1993" y="50"/>
                  <a:pt x="1993" y="50"/>
                </a:cubicBezTo>
                <a:cubicBezTo>
                  <a:pt x="1993" y="49"/>
                  <a:pt x="1993" y="49"/>
                  <a:pt x="1993" y="49"/>
                </a:cubicBezTo>
                <a:cubicBezTo>
                  <a:pt x="1992" y="48"/>
                  <a:pt x="1992" y="48"/>
                  <a:pt x="1992" y="48"/>
                </a:cubicBezTo>
                <a:cubicBezTo>
                  <a:pt x="1992" y="51"/>
                  <a:pt x="1992" y="51"/>
                  <a:pt x="1992" y="51"/>
                </a:cubicBezTo>
                <a:cubicBezTo>
                  <a:pt x="1994" y="54"/>
                  <a:pt x="1994" y="54"/>
                  <a:pt x="1994" y="54"/>
                </a:cubicBezTo>
                <a:cubicBezTo>
                  <a:pt x="1995" y="55"/>
                  <a:pt x="1995" y="55"/>
                  <a:pt x="1995" y="55"/>
                </a:cubicBezTo>
                <a:close/>
                <a:moveTo>
                  <a:pt x="2116" y="101"/>
                </a:moveTo>
                <a:cubicBezTo>
                  <a:pt x="2115" y="100"/>
                  <a:pt x="2115" y="100"/>
                  <a:pt x="2115" y="100"/>
                </a:cubicBezTo>
                <a:cubicBezTo>
                  <a:pt x="2114" y="100"/>
                  <a:pt x="2114" y="100"/>
                  <a:pt x="2114" y="100"/>
                </a:cubicBezTo>
                <a:cubicBezTo>
                  <a:pt x="2114" y="101"/>
                  <a:pt x="2114" y="101"/>
                  <a:pt x="2114" y="101"/>
                </a:cubicBezTo>
                <a:cubicBezTo>
                  <a:pt x="2115" y="102"/>
                  <a:pt x="2115" y="102"/>
                  <a:pt x="2115" y="102"/>
                </a:cubicBezTo>
                <a:cubicBezTo>
                  <a:pt x="2116" y="101"/>
                  <a:pt x="2116" y="101"/>
                  <a:pt x="2116" y="101"/>
                </a:cubicBezTo>
                <a:close/>
                <a:moveTo>
                  <a:pt x="2125" y="100"/>
                </a:moveTo>
                <a:cubicBezTo>
                  <a:pt x="2124" y="100"/>
                  <a:pt x="2124" y="100"/>
                  <a:pt x="2124" y="100"/>
                </a:cubicBezTo>
                <a:cubicBezTo>
                  <a:pt x="2124" y="101"/>
                  <a:pt x="2124" y="101"/>
                  <a:pt x="2124" y="101"/>
                </a:cubicBezTo>
                <a:cubicBezTo>
                  <a:pt x="2125" y="101"/>
                  <a:pt x="2125" y="101"/>
                  <a:pt x="2125" y="101"/>
                </a:cubicBezTo>
                <a:cubicBezTo>
                  <a:pt x="2125" y="100"/>
                  <a:pt x="2125" y="100"/>
                  <a:pt x="2125" y="100"/>
                </a:cubicBezTo>
                <a:close/>
                <a:moveTo>
                  <a:pt x="1989" y="96"/>
                </a:moveTo>
                <a:cubicBezTo>
                  <a:pt x="1991" y="95"/>
                  <a:pt x="1991" y="95"/>
                  <a:pt x="1991" y="95"/>
                </a:cubicBezTo>
                <a:cubicBezTo>
                  <a:pt x="1993" y="95"/>
                  <a:pt x="1993" y="95"/>
                  <a:pt x="1993" y="95"/>
                </a:cubicBezTo>
                <a:cubicBezTo>
                  <a:pt x="1996" y="95"/>
                  <a:pt x="1996" y="95"/>
                  <a:pt x="1996" y="95"/>
                </a:cubicBezTo>
                <a:cubicBezTo>
                  <a:pt x="1997" y="95"/>
                  <a:pt x="1997" y="95"/>
                  <a:pt x="1997" y="95"/>
                </a:cubicBezTo>
                <a:cubicBezTo>
                  <a:pt x="2000" y="95"/>
                  <a:pt x="2000" y="95"/>
                  <a:pt x="2000" y="95"/>
                </a:cubicBezTo>
                <a:cubicBezTo>
                  <a:pt x="2001" y="94"/>
                  <a:pt x="2001" y="94"/>
                  <a:pt x="2001" y="94"/>
                </a:cubicBezTo>
                <a:cubicBezTo>
                  <a:pt x="2003" y="94"/>
                  <a:pt x="2003" y="94"/>
                  <a:pt x="2003" y="94"/>
                </a:cubicBezTo>
                <a:cubicBezTo>
                  <a:pt x="2005" y="94"/>
                  <a:pt x="2005" y="94"/>
                  <a:pt x="2005" y="94"/>
                </a:cubicBezTo>
                <a:cubicBezTo>
                  <a:pt x="2006" y="93"/>
                  <a:pt x="2006" y="93"/>
                  <a:pt x="2006" y="93"/>
                </a:cubicBezTo>
                <a:cubicBezTo>
                  <a:pt x="2005" y="92"/>
                  <a:pt x="2005" y="92"/>
                  <a:pt x="2005" y="92"/>
                </a:cubicBezTo>
                <a:cubicBezTo>
                  <a:pt x="2004" y="91"/>
                  <a:pt x="2004" y="91"/>
                  <a:pt x="2004" y="91"/>
                </a:cubicBezTo>
                <a:cubicBezTo>
                  <a:pt x="2003" y="89"/>
                  <a:pt x="2003" y="89"/>
                  <a:pt x="2003" y="89"/>
                </a:cubicBezTo>
                <a:cubicBezTo>
                  <a:pt x="2000" y="87"/>
                  <a:pt x="2000" y="87"/>
                  <a:pt x="2000" y="87"/>
                </a:cubicBezTo>
                <a:cubicBezTo>
                  <a:pt x="1998" y="87"/>
                  <a:pt x="1998" y="87"/>
                  <a:pt x="1998" y="87"/>
                </a:cubicBezTo>
                <a:cubicBezTo>
                  <a:pt x="1997" y="87"/>
                  <a:pt x="1997" y="87"/>
                  <a:pt x="1997" y="87"/>
                </a:cubicBezTo>
                <a:cubicBezTo>
                  <a:pt x="1995" y="85"/>
                  <a:pt x="1995" y="85"/>
                  <a:pt x="1995" y="85"/>
                </a:cubicBezTo>
                <a:cubicBezTo>
                  <a:pt x="1994" y="85"/>
                  <a:pt x="1994" y="85"/>
                  <a:pt x="1994" y="85"/>
                </a:cubicBezTo>
                <a:cubicBezTo>
                  <a:pt x="1993" y="86"/>
                  <a:pt x="1993" y="86"/>
                  <a:pt x="1993" y="86"/>
                </a:cubicBezTo>
                <a:cubicBezTo>
                  <a:pt x="1992" y="85"/>
                  <a:pt x="1992" y="85"/>
                  <a:pt x="1992" y="85"/>
                </a:cubicBezTo>
                <a:cubicBezTo>
                  <a:pt x="1991" y="85"/>
                  <a:pt x="1991" y="85"/>
                  <a:pt x="1991" y="85"/>
                </a:cubicBezTo>
                <a:cubicBezTo>
                  <a:pt x="1990" y="87"/>
                  <a:pt x="1990" y="87"/>
                  <a:pt x="1990" y="87"/>
                </a:cubicBezTo>
                <a:cubicBezTo>
                  <a:pt x="1988" y="89"/>
                  <a:pt x="1988" y="89"/>
                  <a:pt x="1988" y="89"/>
                </a:cubicBezTo>
                <a:cubicBezTo>
                  <a:pt x="1989" y="90"/>
                  <a:pt x="1989" y="90"/>
                  <a:pt x="1989" y="90"/>
                </a:cubicBezTo>
                <a:cubicBezTo>
                  <a:pt x="1989" y="93"/>
                  <a:pt x="1989" y="93"/>
                  <a:pt x="1989" y="93"/>
                </a:cubicBezTo>
                <a:cubicBezTo>
                  <a:pt x="1988" y="96"/>
                  <a:pt x="1988" y="96"/>
                  <a:pt x="1988" y="96"/>
                </a:cubicBezTo>
                <a:cubicBezTo>
                  <a:pt x="1987" y="97"/>
                  <a:pt x="1987" y="97"/>
                  <a:pt x="1987" y="97"/>
                </a:cubicBezTo>
                <a:cubicBezTo>
                  <a:pt x="1987" y="98"/>
                  <a:pt x="1987" y="98"/>
                  <a:pt x="1987" y="98"/>
                </a:cubicBezTo>
                <a:cubicBezTo>
                  <a:pt x="1988" y="97"/>
                  <a:pt x="1988" y="97"/>
                  <a:pt x="1988" y="97"/>
                </a:cubicBezTo>
                <a:cubicBezTo>
                  <a:pt x="1989" y="96"/>
                  <a:pt x="1989" y="96"/>
                  <a:pt x="1989" y="96"/>
                </a:cubicBezTo>
                <a:close/>
                <a:moveTo>
                  <a:pt x="2120" y="99"/>
                </a:moveTo>
                <a:cubicBezTo>
                  <a:pt x="2119" y="99"/>
                  <a:pt x="2119" y="99"/>
                  <a:pt x="2119" y="99"/>
                </a:cubicBezTo>
                <a:cubicBezTo>
                  <a:pt x="2119" y="100"/>
                  <a:pt x="2119" y="100"/>
                  <a:pt x="2119" y="100"/>
                </a:cubicBezTo>
                <a:cubicBezTo>
                  <a:pt x="2120" y="100"/>
                  <a:pt x="2120" y="100"/>
                  <a:pt x="2120" y="100"/>
                </a:cubicBezTo>
                <a:cubicBezTo>
                  <a:pt x="2120" y="99"/>
                  <a:pt x="2120" y="99"/>
                  <a:pt x="2120" y="99"/>
                </a:cubicBezTo>
                <a:close/>
                <a:moveTo>
                  <a:pt x="1983" y="62"/>
                </a:moveTo>
                <a:cubicBezTo>
                  <a:pt x="1983" y="62"/>
                  <a:pt x="1983" y="62"/>
                  <a:pt x="1984" y="63"/>
                </a:cubicBezTo>
                <a:cubicBezTo>
                  <a:pt x="1984" y="63"/>
                  <a:pt x="1984" y="63"/>
                  <a:pt x="1985" y="62"/>
                </a:cubicBezTo>
                <a:cubicBezTo>
                  <a:pt x="1985" y="62"/>
                  <a:pt x="1985" y="62"/>
                  <a:pt x="1986" y="60"/>
                </a:cubicBezTo>
                <a:cubicBezTo>
                  <a:pt x="1986" y="60"/>
                  <a:pt x="1986" y="60"/>
                  <a:pt x="1986" y="59"/>
                </a:cubicBezTo>
                <a:cubicBezTo>
                  <a:pt x="1986" y="59"/>
                  <a:pt x="1986" y="59"/>
                  <a:pt x="1986" y="58"/>
                </a:cubicBezTo>
                <a:cubicBezTo>
                  <a:pt x="1986" y="58"/>
                  <a:pt x="1986" y="58"/>
                  <a:pt x="1986" y="56"/>
                </a:cubicBezTo>
                <a:cubicBezTo>
                  <a:pt x="1986" y="56"/>
                  <a:pt x="1986" y="56"/>
                  <a:pt x="1984" y="56"/>
                </a:cubicBezTo>
                <a:cubicBezTo>
                  <a:pt x="1984" y="56"/>
                  <a:pt x="1984" y="56"/>
                  <a:pt x="1983" y="54"/>
                </a:cubicBezTo>
                <a:cubicBezTo>
                  <a:pt x="1983" y="54"/>
                  <a:pt x="1983" y="54"/>
                  <a:pt x="1983" y="53"/>
                </a:cubicBezTo>
                <a:cubicBezTo>
                  <a:pt x="1983" y="53"/>
                  <a:pt x="1983" y="53"/>
                  <a:pt x="1984" y="52"/>
                </a:cubicBezTo>
                <a:cubicBezTo>
                  <a:pt x="1984" y="52"/>
                  <a:pt x="1984" y="52"/>
                  <a:pt x="1985" y="52"/>
                </a:cubicBezTo>
                <a:cubicBezTo>
                  <a:pt x="1985" y="52"/>
                  <a:pt x="1985" y="52"/>
                  <a:pt x="1985" y="51"/>
                </a:cubicBezTo>
                <a:cubicBezTo>
                  <a:pt x="1985" y="51"/>
                  <a:pt x="1985" y="51"/>
                  <a:pt x="1982" y="50"/>
                </a:cubicBezTo>
                <a:cubicBezTo>
                  <a:pt x="1982" y="50"/>
                  <a:pt x="1982" y="50"/>
                  <a:pt x="1979" y="50"/>
                </a:cubicBezTo>
                <a:cubicBezTo>
                  <a:pt x="1979" y="50"/>
                  <a:pt x="1979" y="50"/>
                  <a:pt x="1978" y="50"/>
                </a:cubicBezTo>
                <a:cubicBezTo>
                  <a:pt x="1978" y="50"/>
                  <a:pt x="1978" y="50"/>
                  <a:pt x="1977" y="50"/>
                </a:cubicBezTo>
                <a:cubicBezTo>
                  <a:pt x="1977" y="50"/>
                  <a:pt x="1977" y="50"/>
                  <a:pt x="1974" y="48"/>
                </a:cubicBezTo>
                <a:cubicBezTo>
                  <a:pt x="1974" y="48"/>
                  <a:pt x="1974" y="48"/>
                  <a:pt x="1972" y="48"/>
                </a:cubicBezTo>
                <a:cubicBezTo>
                  <a:pt x="1972" y="48"/>
                  <a:pt x="1972" y="48"/>
                  <a:pt x="1970" y="48"/>
                </a:cubicBezTo>
                <a:cubicBezTo>
                  <a:pt x="1970" y="48"/>
                  <a:pt x="1970" y="48"/>
                  <a:pt x="1968" y="48"/>
                </a:cubicBezTo>
                <a:cubicBezTo>
                  <a:pt x="1968" y="48"/>
                  <a:pt x="1968" y="48"/>
                  <a:pt x="1969" y="50"/>
                </a:cubicBezTo>
                <a:cubicBezTo>
                  <a:pt x="1969" y="50"/>
                  <a:pt x="1969" y="50"/>
                  <a:pt x="1970" y="51"/>
                </a:cubicBezTo>
                <a:cubicBezTo>
                  <a:pt x="1970" y="51"/>
                  <a:pt x="1970" y="51"/>
                  <a:pt x="1971" y="51"/>
                </a:cubicBezTo>
                <a:cubicBezTo>
                  <a:pt x="1971" y="51"/>
                  <a:pt x="1971" y="51"/>
                  <a:pt x="1971" y="52"/>
                </a:cubicBezTo>
                <a:cubicBezTo>
                  <a:pt x="1971" y="52"/>
                  <a:pt x="1971" y="52"/>
                  <a:pt x="1972" y="53"/>
                </a:cubicBezTo>
                <a:cubicBezTo>
                  <a:pt x="1972" y="53"/>
                  <a:pt x="1972" y="53"/>
                  <a:pt x="1973" y="54"/>
                </a:cubicBezTo>
                <a:cubicBezTo>
                  <a:pt x="1973" y="54"/>
                  <a:pt x="1973" y="54"/>
                  <a:pt x="1972" y="55"/>
                </a:cubicBezTo>
                <a:cubicBezTo>
                  <a:pt x="1972" y="55"/>
                  <a:pt x="1972" y="55"/>
                  <a:pt x="1972" y="56"/>
                </a:cubicBezTo>
                <a:cubicBezTo>
                  <a:pt x="1972" y="56"/>
                  <a:pt x="1972" y="56"/>
                  <a:pt x="1972" y="57"/>
                </a:cubicBezTo>
                <a:cubicBezTo>
                  <a:pt x="1972" y="57"/>
                  <a:pt x="1972" y="57"/>
                  <a:pt x="1972" y="59"/>
                </a:cubicBezTo>
                <a:cubicBezTo>
                  <a:pt x="1972" y="59"/>
                  <a:pt x="1972" y="59"/>
                  <a:pt x="1975" y="61"/>
                </a:cubicBezTo>
                <a:cubicBezTo>
                  <a:pt x="1975" y="61"/>
                  <a:pt x="1975" y="61"/>
                  <a:pt x="1976" y="62"/>
                </a:cubicBezTo>
                <a:cubicBezTo>
                  <a:pt x="1976" y="62"/>
                  <a:pt x="1976" y="62"/>
                  <a:pt x="1979" y="64"/>
                </a:cubicBezTo>
                <a:cubicBezTo>
                  <a:pt x="1979" y="64"/>
                  <a:pt x="1979" y="64"/>
                  <a:pt x="1981" y="64"/>
                </a:cubicBezTo>
                <a:cubicBezTo>
                  <a:pt x="1981" y="64"/>
                  <a:pt x="1981" y="64"/>
                  <a:pt x="1982" y="63"/>
                </a:cubicBezTo>
                <a:cubicBezTo>
                  <a:pt x="1982" y="63"/>
                  <a:pt x="1982" y="63"/>
                  <a:pt x="1983" y="62"/>
                </a:cubicBezTo>
                <a:close/>
                <a:moveTo>
                  <a:pt x="2137" y="125"/>
                </a:moveTo>
                <a:cubicBezTo>
                  <a:pt x="2138" y="124"/>
                  <a:pt x="2138" y="124"/>
                  <a:pt x="2138" y="124"/>
                </a:cubicBezTo>
                <a:cubicBezTo>
                  <a:pt x="2137" y="123"/>
                  <a:pt x="2137" y="123"/>
                  <a:pt x="2137" y="123"/>
                </a:cubicBezTo>
                <a:cubicBezTo>
                  <a:pt x="2136" y="122"/>
                  <a:pt x="2136" y="122"/>
                  <a:pt x="2136" y="122"/>
                </a:cubicBezTo>
                <a:cubicBezTo>
                  <a:pt x="2137" y="124"/>
                  <a:pt x="2137" y="124"/>
                  <a:pt x="2137" y="124"/>
                </a:cubicBezTo>
                <a:cubicBezTo>
                  <a:pt x="2137" y="125"/>
                  <a:pt x="2137" y="125"/>
                  <a:pt x="2137" y="125"/>
                </a:cubicBezTo>
                <a:close/>
                <a:moveTo>
                  <a:pt x="1980" y="25"/>
                </a:moveTo>
                <a:cubicBezTo>
                  <a:pt x="1980" y="25"/>
                  <a:pt x="1980" y="25"/>
                  <a:pt x="1981" y="25"/>
                </a:cubicBezTo>
                <a:cubicBezTo>
                  <a:pt x="1981" y="25"/>
                  <a:pt x="1981" y="25"/>
                  <a:pt x="1981" y="24"/>
                </a:cubicBezTo>
                <a:cubicBezTo>
                  <a:pt x="1981" y="24"/>
                  <a:pt x="1981" y="24"/>
                  <a:pt x="1981" y="23"/>
                </a:cubicBezTo>
                <a:cubicBezTo>
                  <a:pt x="1981" y="23"/>
                  <a:pt x="1981" y="23"/>
                  <a:pt x="1979" y="25"/>
                </a:cubicBezTo>
                <a:cubicBezTo>
                  <a:pt x="1979" y="25"/>
                  <a:pt x="1979" y="25"/>
                  <a:pt x="1978" y="27"/>
                </a:cubicBezTo>
                <a:cubicBezTo>
                  <a:pt x="1978" y="27"/>
                  <a:pt x="1978" y="27"/>
                  <a:pt x="1980" y="26"/>
                </a:cubicBezTo>
                <a:cubicBezTo>
                  <a:pt x="1980" y="26"/>
                  <a:pt x="1980" y="26"/>
                  <a:pt x="1980" y="25"/>
                </a:cubicBezTo>
                <a:close/>
                <a:moveTo>
                  <a:pt x="1981" y="86"/>
                </a:moveTo>
                <a:cubicBezTo>
                  <a:pt x="1983" y="88"/>
                  <a:pt x="1983" y="88"/>
                  <a:pt x="1983" y="88"/>
                </a:cubicBezTo>
                <a:cubicBezTo>
                  <a:pt x="1984" y="89"/>
                  <a:pt x="1984" y="89"/>
                  <a:pt x="1984" y="89"/>
                </a:cubicBezTo>
                <a:cubicBezTo>
                  <a:pt x="1984" y="88"/>
                  <a:pt x="1984" y="88"/>
                  <a:pt x="1984" y="88"/>
                </a:cubicBezTo>
                <a:cubicBezTo>
                  <a:pt x="1985" y="86"/>
                  <a:pt x="1985" y="86"/>
                  <a:pt x="1985" y="86"/>
                </a:cubicBezTo>
                <a:cubicBezTo>
                  <a:pt x="1985" y="85"/>
                  <a:pt x="1985" y="85"/>
                  <a:pt x="1985" y="85"/>
                </a:cubicBezTo>
                <a:cubicBezTo>
                  <a:pt x="1985" y="84"/>
                  <a:pt x="1985" y="84"/>
                  <a:pt x="1985" y="84"/>
                </a:cubicBezTo>
                <a:cubicBezTo>
                  <a:pt x="1983" y="82"/>
                  <a:pt x="1983" y="82"/>
                  <a:pt x="1983" y="82"/>
                </a:cubicBezTo>
                <a:cubicBezTo>
                  <a:pt x="1983" y="81"/>
                  <a:pt x="1983" y="81"/>
                  <a:pt x="1983" y="81"/>
                </a:cubicBezTo>
                <a:cubicBezTo>
                  <a:pt x="1982" y="81"/>
                  <a:pt x="1982" y="81"/>
                  <a:pt x="1982" y="81"/>
                </a:cubicBezTo>
                <a:cubicBezTo>
                  <a:pt x="1980" y="81"/>
                  <a:pt x="1980" y="81"/>
                  <a:pt x="1980" y="81"/>
                </a:cubicBezTo>
                <a:cubicBezTo>
                  <a:pt x="1979" y="82"/>
                  <a:pt x="1979" y="82"/>
                  <a:pt x="1979" y="82"/>
                </a:cubicBezTo>
                <a:cubicBezTo>
                  <a:pt x="1979" y="83"/>
                  <a:pt x="1979" y="83"/>
                  <a:pt x="1979" y="83"/>
                </a:cubicBezTo>
                <a:cubicBezTo>
                  <a:pt x="1980" y="85"/>
                  <a:pt x="1980" y="85"/>
                  <a:pt x="1980" y="85"/>
                </a:cubicBezTo>
                <a:cubicBezTo>
                  <a:pt x="1980" y="86"/>
                  <a:pt x="1980" y="86"/>
                  <a:pt x="1980" y="86"/>
                </a:cubicBezTo>
                <a:cubicBezTo>
                  <a:pt x="1981" y="86"/>
                  <a:pt x="1981" y="86"/>
                  <a:pt x="1981" y="86"/>
                </a:cubicBezTo>
                <a:close/>
                <a:moveTo>
                  <a:pt x="1962" y="93"/>
                </a:moveTo>
                <a:cubicBezTo>
                  <a:pt x="1960" y="93"/>
                  <a:pt x="1960" y="93"/>
                  <a:pt x="1960" y="93"/>
                </a:cubicBezTo>
                <a:cubicBezTo>
                  <a:pt x="1959" y="92"/>
                  <a:pt x="1959" y="92"/>
                  <a:pt x="1959" y="92"/>
                </a:cubicBezTo>
                <a:cubicBezTo>
                  <a:pt x="1958" y="91"/>
                  <a:pt x="1958" y="91"/>
                  <a:pt x="1958" y="91"/>
                </a:cubicBezTo>
                <a:cubicBezTo>
                  <a:pt x="1957" y="92"/>
                  <a:pt x="1957" y="92"/>
                  <a:pt x="1957" y="92"/>
                </a:cubicBezTo>
                <a:cubicBezTo>
                  <a:pt x="1958" y="93"/>
                  <a:pt x="1958" y="93"/>
                  <a:pt x="1958" y="93"/>
                </a:cubicBezTo>
                <a:cubicBezTo>
                  <a:pt x="1959" y="94"/>
                  <a:pt x="1959" y="94"/>
                  <a:pt x="1959" y="94"/>
                </a:cubicBezTo>
                <a:cubicBezTo>
                  <a:pt x="1960" y="94"/>
                  <a:pt x="1960" y="94"/>
                  <a:pt x="1960" y="94"/>
                </a:cubicBezTo>
                <a:cubicBezTo>
                  <a:pt x="1961" y="95"/>
                  <a:pt x="1961" y="95"/>
                  <a:pt x="1961" y="95"/>
                </a:cubicBezTo>
                <a:cubicBezTo>
                  <a:pt x="1963" y="95"/>
                  <a:pt x="1963" y="95"/>
                  <a:pt x="1963" y="95"/>
                </a:cubicBezTo>
                <a:cubicBezTo>
                  <a:pt x="1964" y="96"/>
                  <a:pt x="1964" y="96"/>
                  <a:pt x="1964" y="96"/>
                </a:cubicBezTo>
                <a:cubicBezTo>
                  <a:pt x="1965" y="96"/>
                  <a:pt x="1965" y="96"/>
                  <a:pt x="1965" y="96"/>
                </a:cubicBezTo>
                <a:cubicBezTo>
                  <a:pt x="1965" y="95"/>
                  <a:pt x="1965" y="95"/>
                  <a:pt x="1965" y="95"/>
                </a:cubicBezTo>
                <a:cubicBezTo>
                  <a:pt x="1963" y="93"/>
                  <a:pt x="1963" y="93"/>
                  <a:pt x="1963" y="93"/>
                </a:cubicBezTo>
                <a:cubicBezTo>
                  <a:pt x="1962" y="93"/>
                  <a:pt x="1962" y="93"/>
                  <a:pt x="1962" y="93"/>
                </a:cubicBezTo>
                <a:close/>
                <a:moveTo>
                  <a:pt x="2173" y="285"/>
                </a:moveTo>
                <a:cubicBezTo>
                  <a:pt x="2173" y="284"/>
                  <a:pt x="2173" y="284"/>
                  <a:pt x="2173" y="284"/>
                </a:cubicBezTo>
                <a:cubicBezTo>
                  <a:pt x="2172" y="284"/>
                  <a:pt x="2172" y="284"/>
                  <a:pt x="2172" y="284"/>
                </a:cubicBezTo>
                <a:cubicBezTo>
                  <a:pt x="2171" y="285"/>
                  <a:pt x="2171" y="285"/>
                  <a:pt x="2171" y="285"/>
                </a:cubicBezTo>
                <a:cubicBezTo>
                  <a:pt x="2171" y="286"/>
                  <a:pt x="2171" y="286"/>
                  <a:pt x="2171" y="286"/>
                </a:cubicBezTo>
                <a:cubicBezTo>
                  <a:pt x="2172" y="286"/>
                  <a:pt x="2172" y="286"/>
                  <a:pt x="2172" y="286"/>
                </a:cubicBezTo>
                <a:cubicBezTo>
                  <a:pt x="2173" y="285"/>
                  <a:pt x="2173" y="285"/>
                  <a:pt x="2173" y="285"/>
                </a:cubicBezTo>
                <a:close/>
                <a:moveTo>
                  <a:pt x="1718" y="162"/>
                </a:moveTo>
                <a:cubicBezTo>
                  <a:pt x="1718" y="163"/>
                  <a:pt x="1718" y="163"/>
                  <a:pt x="1718" y="163"/>
                </a:cubicBezTo>
                <a:cubicBezTo>
                  <a:pt x="1718" y="164"/>
                  <a:pt x="1718" y="164"/>
                  <a:pt x="1718" y="164"/>
                </a:cubicBezTo>
                <a:cubicBezTo>
                  <a:pt x="1719" y="164"/>
                  <a:pt x="1719" y="164"/>
                  <a:pt x="1719" y="164"/>
                </a:cubicBezTo>
                <a:cubicBezTo>
                  <a:pt x="1720" y="163"/>
                  <a:pt x="1720" y="163"/>
                  <a:pt x="1720" y="163"/>
                </a:cubicBezTo>
                <a:cubicBezTo>
                  <a:pt x="1719" y="162"/>
                  <a:pt x="1719" y="162"/>
                  <a:pt x="1719" y="162"/>
                </a:cubicBezTo>
                <a:cubicBezTo>
                  <a:pt x="1718" y="162"/>
                  <a:pt x="1718" y="162"/>
                  <a:pt x="1718" y="162"/>
                </a:cubicBezTo>
                <a:close/>
                <a:moveTo>
                  <a:pt x="1710" y="59"/>
                </a:moveTo>
                <a:cubicBezTo>
                  <a:pt x="1711" y="57"/>
                  <a:pt x="1711" y="57"/>
                  <a:pt x="1711" y="57"/>
                </a:cubicBezTo>
                <a:cubicBezTo>
                  <a:pt x="1712" y="57"/>
                  <a:pt x="1712" y="57"/>
                  <a:pt x="1712" y="57"/>
                </a:cubicBezTo>
                <a:cubicBezTo>
                  <a:pt x="1713" y="55"/>
                  <a:pt x="1713" y="55"/>
                  <a:pt x="1713" y="55"/>
                </a:cubicBezTo>
                <a:cubicBezTo>
                  <a:pt x="1713" y="53"/>
                  <a:pt x="1713" y="53"/>
                  <a:pt x="1713" y="53"/>
                </a:cubicBezTo>
                <a:cubicBezTo>
                  <a:pt x="1713" y="52"/>
                  <a:pt x="1713" y="52"/>
                  <a:pt x="1713" y="52"/>
                </a:cubicBezTo>
                <a:cubicBezTo>
                  <a:pt x="1710" y="51"/>
                  <a:pt x="1710" y="51"/>
                  <a:pt x="1710" y="51"/>
                </a:cubicBezTo>
                <a:cubicBezTo>
                  <a:pt x="1708" y="51"/>
                  <a:pt x="1708" y="51"/>
                  <a:pt x="1708" y="51"/>
                </a:cubicBezTo>
                <a:cubicBezTo>
                  <a:pt x="1706" y="51"/>
                  <a:pt x="1706" y="51"/>
                  <a:pt x="1706" y="51"/>
                </a:cubicBezTo>
                <a:cubicBezTo>
                  <a:pt x="1705" y="52"/>
                  <a:pt x="1705" y="52"/>
                  <a:pt x="1705" y="52"/>
                </a:cubicBezTo>
                <a:cubicBezTo>
                  <a:pt x="1704" y="51"/>
                  <a:pt x="1704" y="51"/>
                  <a:pt x="1704" y="51"/>
                </a:cubicBezTo>
                <a:cubicBezTo>
                  <a:pt x="1703" y="51"/>
                  <a:pt x="1703" y="51"/>
                  <a:pt x="1703" y="51"/>
                </a:cubicBezTo>
                <a:cubicBezTo>
                  <a:pt x="1702" y="52"/>
                  <a:pt x="1702" y="52"/>
                  <a:pt x="1702" y="52"/>
                </a:cubicBezTo>
                <a:cubicBezTo>
                  <a:pt x="1701" y="52"/>
                  <a:pt x="1701" y="52"/>
                  <a:pt x="1701" y="52"/>
                </a:cubicBezTo>
                <a:cubicBezTo>
                  <a:pt x="1700" y="52"/>
                  <a:pt x="1700" y="52"/>
                  <a:pt x="1700" y="52"/>
                </a:cubicBezTo>
                <a:cubicBezTo>
                  <a:pt x="1701" y="53"/>
                  <a:pt x="1701" y="53"/>
                  <a:pt x="1701" y="53"/>
                </a:cubicBezTo>
                <a:cubicBezTo>
                  <a:pt x="1702" y="54"/>
                  <a:pt x="1702" y="54"/>
                  <a:pt x="1702" y="54"/>
                </a:cubicBezTo>
                <a:cubicBezTo>
                  <a:pt x="1703" y="55"/>
                  <a:pt x="1703" y="55"/>
                  <a:pt x="1703" y="55"/>
                </a:cubicBezTo>
                <a:cubicBezTo>
                  <a:pt x="1704" y="55"/>
                  <a:pt x="1704" y="55"/>
                  <a:pt x="1704" y="55"/>
                </a:cubicBezTo>
                <a:cubicBezTo>
                  <a:pt x="1705" y="57"/>
                  <a:pt x="1705" y="57"/>
                  <a:pt x="1705" y="57"/>
                </a:cubicBezTo>
                <a:cubicBezTo>
                  <a:pt x="1707" y="57"/>
                  <a:pt x="1707" y="57"/>
                  <a:pt x="1707" y="57"/>
                </a:cubicBezTo>
                <a:cubicBezTo>
                  <a:pt x="1709" y="57"/>
                  <a:pt x="1709" y="57"/>
                  <a:pt x="1709" y="57"/>
                </a:cubicBezTo>
                <a:cubicBezTo>
                  <a:pt x="1710" y="57"/>
                  <a:pt x="1710" y="57"/>
                  <a:pt x="1710" y="57"/>
                </a:cubicBezTo>
                <a:cubicBezTo>
                  <a:pt x="1709" y="58"/>
                  <a:pt x="1709" y="58"/>
                  <a:pt x="1709" y="58"/>
                </a:cubicBezTo>
                <a:cubicBezTo>
                  <a:pt x="1708" y="58"/>
                  <a:pt x="1708" y="58"/>
                  <a:pt x="1708" y="58"/>
                </a:cubicBezTo>
                <a:cubicBezTo>
                  <a:pt x="1706" y="58"/>
                  <a:pt x="1706" y="58"/>
                  <a:pt x="1706" y="58"/>
                </a:cubicBezTo>
                <a:cubicBezTo>
                  <a:pt x="1706" y="59"/>
                  <a:pt x="1706" y="59"/>
                  <a:pt x="1706" y="59"/>
                </a:cubicBezTo>
                <a:cubicBezTo>
                  <a:pt x="1707" y="59"/>
                  <a:pt x="1707" y="59"/>
                  <a:pt x="1707" y="59"/>
                </a:cubicBezTo>
                <a:cubicBezTo>
                  <a:pt x="1709" y="60"/>
                  <a:pt x="1709" y="60"/>
                  <a:pt x="1709" y="60"/>
                </a:cubicBezTo>
                <a:cubicBezTo>
                  <a:pt x="1710" y="59"/>
                  <a:pt x="1710" y="59"/>
                  <a:pt x="1710" y="59"/>
                </a:cubicBezTo>
                <a:close/>
                <a:moveTo>
                  <a:pt x="1704" y="136"/>
                </a:moveTo>
                <a:cubicBezTo>
                  <a:pt x="1705" y="135"/>
                  <a:pt x="1705" y="135"/>
                  <a:pt x="1705" y="135"/>
                </a:cubicBezTo>
                <a:cubicBezTo>
                  <a:pt x="1703" y="135"/>
                  <a:pt x="1703" y="135"/>
                  <a:pt x="1703" y="135"/>
                </a:cubicBezTo>
                <a:cubicBezTo>
                  <a:pt x="1703" y="134"/>
                  <a:pt x="1703" y="134"/>
                  <a:pt x="1703" y="134"/>
                </a:cubicBezTo>
                <a:cubicBezTo>
                  <a:pt x="1702" y="134"/>
                  <a:pt x="1702" y="134"/>
                  <a:pt x="1702" y="134"/>
                </a:cubicBezTo>
                <a:cubicBezTo>
                  <a:pt x="1701" y="134"/>
                  <a:pt x="1701" y="134"/>
                  <a:pt x="1701" y="134"/>
                </a:cubicBezTo>
                <a:cubicBezTo>
                  <a:pt x="1701" y="135"/>
                  <a:pt x="1701" y="135"/>
                  <a:pt x="1701" y="135"/>
                </a:cubicBezTo>
                <a:cubicBezTo>
                  <a:pt x="1703" y="136"/>
                  <a:pt x="1703" y="136"/>
                  <a:pt x="1703" y="136"/>
                </a:cubicBezTo>
                <a:cubicBezTo>
                  <a:pt x="1704" y="136"/>
                  <a:pt x="1704" y="136"/>
                  <a:pt x="1704" y="136"/>
                </a:cubicBezTo>
                <a:close/>
                <a:moveTo>
                  <a:pt x="1689" y="180"/>
                </a:moveTo>
                <a:cubicBezTo>
                  <a:pt x="1690" y="179"/>
                  <a:pt x="1690" y="179"/>
                  <a:pt x="1690" y="179"/>
                </a:cubicBezTo>
                <a:cubicBezTo>
                  <a:pt x="1691" y="180"/>
                  <a:pt x="1691" y="180"/>
                  <a:pt x="1691" y="180"/>
                </a:cubicBezTo>
                <a:cubicBezTo>
                  <a:pt x="1692" y="179"/>
                  <a:pt x="1692" y="179"/>
                  <a:pt x="1692" y="179"/>
                </a:cubicBezTo>
                <a:cubicBezTo>
                  <a:pt x="1692" y="178"/>
                  <a:pt x="1692" y="178"/>
                  <a:pt x="1692" y="178"/>
                </a:cubicBezTo>
                <a:cubicBezTo>
                  <a:pt x="1692" y="177"/>
                  <a:pt x="1692" y="177"/>
                  <a:pt x="1692" y="177"/>
                </a:cubicBezTo>
                <a:cubicBezTo>
                  <a:pt x="1690" y="178"/>
                  <a:pt x="1690" y="178"/>
                  <a:pt x="1690" y="178"/>
                </a:cubicBezTo>
                <a:cubicBezTo>
                  <a:pt x="1689" y="179"/>
                  <a:pt x="1689" y="179"/>
                  <a:pt x="1689" y="179"/>
                </a:cubicBezTo>
                <a:cubicBezTo>
                  <a:pt x="1689" y="180"/>
                  <a:pt x="1689" y="180"/>
                  <a:pt x="1689" y="180"/>
                </a:cubicBezTo>
                <a:close/>
                <a:moveTo>
                  <a:pt x="1752" y="109"/>
                </a:moveTo>
                <a:cubicBezTo>
                  <a:pt x="1753" y="109"/>
                  <a:pt x="1753" y="109"/>
                  <a:pt x="1753" y="109"/>
                </a:cubicBezTo>
                <a:cubicBezTo>
                  <a:pt x="1754" y="109"/>
                  <a:pt x="1754" y="109"/>
                  <a:pt x="1754" y="109"/>
                </a:cubicBezTo>
                <a:cubicBezTo>
                  <a:pt x="1755" y="109"/>
                  <a:pt x="1755" y="109"/>
                  <a:pt x="1755" y="109"/>
                </a:cubicBezTo>
                <a:cubicBezTo>
                  <a:pt x="1755" y="108"/>
                  <a:pt x="1755" y="108"/>
                  <a:pt x="1755" y="108"/>
                </a:cubicBezTo>
                <a:cubicBezTo>
                  <a:pt x="1754" y="108"/>
                  <a:pt x="1754" y="108"/>
                  <a:pt x="1754" y="108"/>
                </a:cubicBezTo>
                <a:cubicBezTo>
                  <a:pt x="1752" y="109"/>
                  <a:pt x="1752" y="109"/>
                  <a:pt x="1752" y="109"/>
                </a:cubicBezTo>
                <a:close/>
                <a:moveTo>
                  <a:pt x="1709" y="133"/>
                </a:moveTo>
                <a:cubicBezTo>
                  <a:pt x="1707" y="133"/>
                  <a:pt x="1707" y="133"/>
                  <a:pt x="1707" y="133"/>
                </a:cubicBezTo>
                <a:cubicBezTo>
                  <a:pt x="1706" y="132"/>
                  <a:pt x="1706" y="132"/>
                  <a:pt x="1706" y="132"/>
                </a:cubicBezTo>
                <a:cubicBezTo>
                  <a:pt x="1705" y="133"/>
                  <a:pt x="1705" y="133"/>
                  <a:pt x="1705" y="133"/>
                </a:cubicBezTo>
                <a:cubicBezTo>
                  <a:pt x="1705" y="134"/>
                  <a:pt x="1705" y="134"/>
                  <a:pt x="1705" y="134"/>
                </a:cubicBezTo>
                <a:cubicBezTo>
                  <a:pt x="1707" y="134"/>
                  <a:pt x="1707" y="134"/>
                  <a:pt x="1707" y="134"/>
                </a:cubicBezTo>
                <a:cubicBezTo>
                  <a:pt x="1708" y="134"/>
                  <a:pt x="1708" y="134"/>
                  <a:pt x="1708" y="134"/>
                </a:cubicBezTo>
                <a:cubicBezTo>
                  <a:pt x="1709" y="134"/>
                  <a:pt x="1709" y="134"/>
                  <a:pt x="1709" y="134"/>
                </a:cubicBezTo>
                <a:cubicBezTo>
                  <a:pt x="1709" y="133"/>
                  <a:pt x="1709" y="133"/>
                  <a:pt x="1709" y="133"/>
                </a:cubicBezTo>
                <a:close/>
                <a:moveTo>
                  <a:pt x="1698" y="183"/>
                </a:moveTo>
                <a:cubicBezTo>
                  <a:pt x="1699" y="183"/>
                  <a:pt x="1699" y="183"/>
                  <a:pt x="1699" y="183"/>
                </a:cubicBezTo>
                <a:cubicBezTo>
                  <a:pt x="1698" y="182"/>
                  <a:pt x="1698" y="182"/>
                  <a:pt x="1698" y="182"/>
                </a:cubicBezTo>
                <a:cubicBezTo>
                  <a:pt x="1697" y="182"/>
                  <a:pt x="1697" y="182"/>
                  <a:pt x="1697" y="182"/>
                </a:cubicBezTo>
                <a:cubicBezTo>
                  <a:pt x="1695" y="182"/>
                  <a:pt x="1695" y="182"/>
                  <a:pt x="1695" y="182"/>
                </a:cubicBezTo>
                <a:cubicBezTo>
                  <a:pt x="1696" y="183"/>
                  <a:pt x="1696" y="183"/>
                  <a:pt x="1696" y="183"/>
                </a:cubicBezTo>
                <a:cubicBezTo>
                  <a:pt x="1698" y="183"/>
                  <a:pt x="1698" y="183"/>
                  <a:pt x="1698" y="183"/>
                </a:cubicBezTo>
                <a:close/>
                <a:moveTo>
                  <a:pt x="1699" y="45"/>
                </a:moveTo>
                <a:cubicBezTo>
                  <a:pt x="1699" y="46"/>
                  <a:pt x="1699" y="46"/>
                  <a:pt x="1699" y="46"/>
                </a:cubicBezTo>
                <a:cubicBezTo>
                  <a:pt x="1698" y="47"/>
                  <a:pt x="1698" y="47"/>
                  <a:pt x="1698" y="47"/>
                </a:cubicBezTo>
                <a:cubicBezTo>
                  <a:pt x="1699" y="48"/>
                  <a:pt x="1699" y="48"/>
                  <a:pt x="1699" y="48"/>
                </a:cubicBezTo>
                <a:cubicBezTo>
                  <a:pt x="1700" y="47"/>
                  <a:pt x="1700" y="47"/>
                  <a:pt x="1700" y="47"/>
                </a:cubicBezTo>
                <a:cubicBezTo>
                  <a:pt x="1702" y="46"/>
                  <a:pt x="1702" y="46"/>
                  <a:pt x="1702" y="46"/>
                </a:cubicBezTo>
                <a:cubicBezTo>
                  <a:pt x="1703" y="48"/>
                  <a:pt x="1703" y="48"/>
                  <a:pt x="1703" y="48"/>
                </a:cubicBezTo>
                <a:cubicBezTo>
                  <a:pt x="1705" y="49"/>
                  <a:pt x="1705" y="49"/>
                  <a:pt x="1705" y="49"/>
                </a:cubicBezTo>
                <a:cubicBezTo>
                  <a:pt x="1706" y="49"/>
                  <a:pt x="1706" y="49"/>
                  <a:pt x="1706" y="49"/>
                </a:cubicBezTo>
                <a:cubicBezTo>
                  <a:pt x="1706" y="48"/>
                  <a:pt x="1706" y="48"/>
                  <a:pt x="1706" y="48"/>
                </a:cubicBezTo>
                <a:cubicBezTo>
                  <a:pt x="1707" y="48"/>
                  <a:pt x="1707" y="48"/>
                  <a:pt x="1707" y="48"/>
                </a:cubicBezTo>
                <a:cubicBezTo>
                  <a:pt x="1709" y="49"/>
                  <a:pt x="1709" y="49"/>
                  <a:pt x="1709" y="49"/>
                </a:cubicBezTo>
                <a:cubicBezTo>
                  <a:pt x="1710" y="50"/>
                  <a:pt x="1710" y="50"/>
                  <a:pt x="1710" y="50"/>
                </a:cubicBezTo>
                <a:cubicBezTo>
                  <a:pt x="1712" y="50"/>
                  <a:pt x="1712" y="50"/>
                  <a:pt x="1712" y="50"/>
                </a:cubicBezTo>
                <a:cubicBezTo>
                  <a:pt x="1714" y="48"/>
                  <a:pt x="1714" y="48"/>
                  <a:pt x="1714" y="48"/>
                </a:cubicBezTo>
                <a:cubicBezTo>
                  <a:pt x="1715" y="47"/>
                  <a:pt x="1715" y="47"/>
                  <a:pt x="1715" y="47"/>
                </a:cubicBezTo>
                <a:cubicBezTo>
                  <a:pt x="1715" y="46"/>
                  <a:pt x="1715" y="46"/>
                  <a:pt x="1715" y="46"/>
                </a:cubicBezTo>
                <a:cubicBezTo>
                  <a:pt x="1717" y="44"/>
                  <a:pt x="1717" y="44"/>
                  <a:pt x="1717" y="44"/>
                </a:cubicBezTo>
                <a:cubicBezTo>
                  <a:pt x="1719" y="43"/>
                  <a:pt x="1719" y="43"/>
                  <a:pt x="1719" y="43"/>
                </a:cubicBezTo>
                <a:cubicBezTo>
                  <a:pt x="1721" y="42"/>
                  <a:pt x="1721" y="42"/>
                  <a:pt x="1721" y="42"/>
                </a:cubicBezTo>
                <a:cubicBezTo>
                  <a:pt x="1721" y="41"/>
                  <a:pt x="1721" y="41"/>
                  <a:pt x="1721" y="41"/>
                </a:cubicBezTo>
                <a:cubicBezTo>
                  <a:pt x="1721" y="39"/>
                  <a:pt x="1721" y="39"/>
                  <a:pt x="1721" y="39"/>
                </a:cubicBezTo>
                <a:cubicBezTo>
                  <a:pt x="1719" y="38"/>
                  <a:pt x="1719" y="38"/>
                  <a:pt x="1719" y="38"/>
                </a:cubicBezTo>
                <a:cubicBezTo>
                  <a:pt x="1717" y="36"/>
                  <a:pt x="1717" y="36"/>
                  <a:pt x="1717" y="36"/>
                </a:cubicBezTo>
                <a:cubicBezTo>
                  <a:pt x="1716" y="34"/>
                  <a:pt x="1716" y="34"/>
                  <a:pt x="1716" y="34"/>
                </a:cubicBezTo>
                <a:cubicBezTo>
                  <a:pt x="1716" y="33"/>
                  <a:pt x="1716" y="33"/>
                  <a:pt x="1716" y="33"/>
                </a:cubicBezTo>
                <a:cubicBezTo>
                  <a:pt x="1717" y="32"/>
                  <a:pt x="1717" y="32"/>
                  <a:pt x="1717" y="32"/>
                </a:cubicBezTo>
                <a:cubicBezTo>
                  <a:pt x="1717" y="30"/>
                  <a:pt x="1717" y="30"/>
                  <a:pt x="1717" y="30"/>
                </a:cubicBezTo>
                <a:cubicBezTo>
                  <a:pt x="1716" y="30"/>
                  <a:pt x="1716" y="30"/>
                  <a:pt x="1716" y="30"/>
                </a:cubicBezTo>
                <a:cubicBezTo>
                  <a:pt x="1713" y="30"/>
                  <a:pt x="1713" y="30"/>
                  <a:pt x="1713" y="30"/>
                </a:cubicBezTo>
                <a:cubicBezTo>
                  <a:pt x="1711" y="29"/>
                  <a:pt x="1711" y="29"/>
                  <a:pt x="1711" y="29"/>
                </a:cubicBezTo>
                <a:cubicBezTo>
                  <a:pt x="1709" y="28"/>
                  <a:pt x="1709" y="28"/>
                  <a:pt x="1709" y="28"/>
                </a:cubicBezTo>
                <a:cubicBezTo>
                  <a:pt x="1707" y="25"/>
                  <a:pt x="1707" y="25"/>
                  <a:pt x="1707" y="25"/>
                </a:cubicBezTo>
                <a:cubicBezTo>
                  <a:pt x="1705" y="24"/>
                  <a:pt x="1705" y="24"/>
                  <a:pt x="1705" y="24"/>
                </a:cubicBezTo>
                <a:cubicBezTo>
                  <a:pt x="1703" y="23"/>
                  <a:pt x="1703" y="23"/>
                  <a:pt x="1703" y="23"/>
                </a:cubicBezTo>
                <a:cubicBezTo>
                  <a:pt x="1702" y="23"/>
                  <a:pt x="1702" y="23"/>
                  <a:pt x="1702" y="23"/>
                </a:cubicBezTo>
                <a:cubicBezTo>
                  <a:pt x="1701" y="23"/>
                  <a:pt x="1701" y="23"/>
                  <a:pt x="1701" y="23"/>
                </a:cubicBezTo>
                <a:cubicBezTo>
                  <a:pt x="1701" y="24"/>
                  <a:pt x="1701" y="24"/>
                  <a:pt x="1701" y="24"/>
                </a:cubicBezTo>
                <a:cubicBezTo>
                  <a:pt x="1701" y="25"/>
                  <a:pt x="1701" y="25"/>
                  <a:pt x="1701" y="25"/>
                </a:cubicBezTo>
                <a:cubicBezTo>
                  <a:pt x="1701" y="27"/>
                  <a:pt x="1701" y="27"/>
                  <a:pt x="1701" y="27"/>
                </a:cubicBezTo>
                <a:cubicBezTo>
                  <a:pt x="1700" y="28"/>
                  <a:pt x="1700" y="28"/>
                  <a:pt x="1700" y="28"/>
                </a:cubicBezTo>
                <a:cubicBezTo>
                  <a:pt x="1699" y="30"/>
                  <a:pt x="1699" y="30"/>
                  <a:pt x="1699" y="30"/>
                </a:cubicBezTo>
                <a:cubicBezTo>
                  <a:pt x="1698" y="32"/>
                  <a:pt x="1698" y="32"/>
                  <a:pt x="1698" y="32"/>
                </a:cubicBezTo>
                <a:cubicBezTo>
                  <a:pt x="1698" y="33"/>
                  <a:pt x="1698" y="33"/>
                  <a:pt x="1698" y="33"/>
                </a:cubicBezTo>
                <a:cubicBezTo>
                  <a:pt x="1698" y="38"/>
                  <a:pt x="1698" y="38"/>
                  <a:pt x="1698" y="38"/>
                </a:cubicBezTo>
                <a:cubicBezTo>
                  <a:pt x="1699" y="39"/>
                  <a:pt x="1699" y="39"/>
                  <a:pt x="1699" y="39"/>
                </a:cubicBezTo>
                <a:cubicBezTo>
                  <a:pt x="1700" y="40"/>
                  <a:pt x="1700" y="40"/>
                  <a:pt x="1700" y="40"/>
                </a:cubicBezTo>
                <a:cubicBezTo>
                  <a:pt x="1700" y="41"/>
                  <a:pt x="1700" y="41"/>
                  <a:pt x="1700" y="41"/>
                </a:cubicBezTo>
                <a:cubicBezTo>
                  <a:pt x="1699" y="45"/>
                  <a:pt x="1699" y="45"/>
                  <a:pt x="1699" y="45"/>
                </a:cubicBezTo>
                <a:close/>
                <a:moveTo>
                  <a:pt x="1714" y="187"/>
                </a:moveTo>
                <a:cubicBezTo>
                  <a:pt x="1715" y="186"/>
                  <a:pt x="1715" y="186"/>
                  <a:pt x="1715" y="186"/>
                </a:cubicBezTo>
                <a:cubicBezTo>
                  <a:pt x="1714" y="184"/>
                  <a:pt x="1714" y="184"/>
                  <a:pt x="1714" y="184"/>
                </a:cubicBezTo>
                <a:cubicBezTo>
                  <a:pt x="1713" y="182"/>
                  <a:pt x="1713" y="182"/>
                  <a:pt x="1713" y="182"/>
                </a:cubicBezTo>
                <a:cubicBezTo>
                  <a:pt x="1712" y="181"/>
                  <a:pt x="1712" y="181"/>
                  <a:pt x="1712" y="181"/>
                </a:cubicBezTo>
                <a:cubicBezTo>
                  <a:pt x="1711" y="179"/>
                  <a:pt x="1711" y="179"/>
                  <a:pt x="1711" y="179"/>
                </a:cubicBezTo>
                <a:cubicBezTo>
                  <a:pt x="1710" y="181"/>
                  <a:pt x="1710" y="181"/>
                  <a:pt x="1710" y="181"/>
                </a:cubicBezTo>
                <a:cubicBezTo>
                  <a:pt x="1710" y="183"/>
                  <a:pt x="1710" y="183"/>
                  <a:pt x="1710" y="183"/>
                </a:cubicBezTo>
                <a:cubicBezTo>
                  <a:pt x="1709" y="184"/>
                  <a:pt x="1709" y="184"/>
                  <a:pt x="1709" y="184"/>
                </a:cubicBezTo>
                <a:cubicBezTo>
                  <a:pt x="1709" y="185"/>
                  <a:pt x="1709" y="185"/>
                  <a:pt x="1709" y="185"/>
                </a:cubicBezTo>
                <a:cubicBezTo>
                  <a:pt x="1711" y="185"/>
                  <a:pt x="1711" y="185"/>
                  <a:pt x="1711" y="185"/>
                </a:cubicBezTo>
                <a:cubicBezTo>
                  <a:pt x="1711" y="186"/>
                  <a:pt x="1711" y="186"/>
                  <a:pt x="1711" y="186"/>
                </a:cubicBezTo>
                <a:cubicBezTo>
                  <a:pt x="1713" y="186"/>
                  <a:pt x="1713" y="186"/>
                  <a:pt x="1713" y="186"/>
                </a:cubicBezTo>
                <a:cubicBezTo>
                  <a:pt x="1714" y="187"/>
                  <a:pt x="1714" y="187"/>
                  <a:pt x="1714" y="187"/>
                </a:cubicBezTo>
                <a:close/>
                <a:moveTo>
                  <a:pt x="1707" y="196"/>
                </a:moveTo>
                <a:cubicBezTo>
                  <a:pt x="1708" y="194"/>
                  <a:pt x="1708" y="194"/>
                  <a:pt x="1708" y="194"/>
                </a:cubicBezTo>
                <a:cubicBezTo>
                  <a:pt x="1709" y="194"/>
                  <a:pt x="1709" y="194"/>
                  <a:pt x="1709" y="194"/>
                </a:cubicBezTo>
                <a:cubicBezTo>
                  <a:pt x="1709" y="193"/>
                  <a:pt x="1709" y="193"/>
                  <a:pt x="1709" y="193"/>
                </a:cubicBezTo>
                <a:cubicBezTo>
                  <a:pt x="1710" y="192"/>
                  <a:pt x="1710" y="192"/>
                  <a:pt x="1710" y="192"/>
                </a:cubicBezTo>
                <a:cubicBezTo>
                  <a:pt x="1712" y="191"/>
                  <a:pt x="1712" y="191"/>
                  <a:pt x="1712" y="191"/>
                </a:cubicBezTo>
                <a:cubicBezTo>
                  <a:pt x="1711" y="190"/>
                  <a:pt x="1711" y="190"/>
                  <a:pt x="1711" y="190"/>
                </a:cubicBezTo>
                <a:cubicBezTo>
                  <a:pt x="1711" y="189"/>
                  <a:pt x="1711" y="189"/>
                  <a:pt x="1711" y="189"/>
                </a:cubicBezTo>
                <a:cubicBezTo>
                  <a:pt x="1710" y="189"/>
                  <a:pt x="1710" y="189"/>
                  <a:pt x="1710" y="189"/>
                </a:cubicBezTo>
                <a:cubicBezTo>
                  <a:pt x="1708" y="190"/>
                  <a:pt x="1708" y="190"/>
                  <a:pt x="1708" y="190"/>
                </a:cubicBezTo>
                <a:cubicBezTo>
                  <a:pt x="1707" y="191"/>
                  <a:pt x="1707" y="191"/>
                  <a:pt x="1707" y="191"/>
                </a:cubicBezTo>
                <a:cubicBezTo>
                  <a:pt x="1707" y="192"/>
                  <a:pt x="1707" y="192"/>
                  <a:pt x="1707" y="192"/>
                </a:cubicBezTo>
                <a:cubicBezTo>
                  <a:pt x="1706" y="193"/>
                  <a:pt x="1706" y="193"/>
                  <a:pt x="1706" y="193"/>
                </a:cubicBezTo>
                <a:cubicBezTo>
                  <a:pt x="1705" y="194"/>
                  <a:pt x="1705" y="194"/>
                  <a:pt x="1705" y="194"/>
                </a:cubicBezTo>
                <a:cubicBezTo>
                  <a:pt x="1705" y="195"/>
                  <a:pt x="1705" y="195"/>
                  <a:pt x="1705" y="195"/>
                </a:cubicBezTo>
                <a:cubicBezTo>
                  <a:pt x="1706" y="196"/>
                  <a:pt x="1706" y="196"/>
                  <a:pt x="1706" y="196"/>
                </a:cubicBezTo>
                <a:cubicBezTo>
                  <a:pt x="1707" y="196"/>
                  <a:pt x="1707" y="196"/>
                  <a:pt x="1707" y="196"/>
                </a:cubicBezTo>
                <a:close/>
                <a:moveTo>
                  <a:pt x="1702" y="156"/>
                </a:moveTo>
                <a:cubicBezTo>
                  <a:pt x="1700" y="156"/>
                  <a:pt x="1700" y="156"/>
                  <a:pt x="1700" y="156"/>
                </a:cubicBezTo>
                <a:cubicBezTo>
                  <a:pt x="1700" y="157"/>
                  <a:pt x="1700" y="157"/>
                  <a:pt x="1700" y="157"/>
                </a:cubicBezTo>
                <a:cubicBezTo>
                  <a:pt x="1701" y="157"/>
                  <a:pt x="1701" y="157"/>
                  <a:pt x="1701" y="157"/>
                </a:cubicBezTo>
                <a:cubicBezTo>
                  <a:pt x="1701" y="158"/>
                  <a:pt x="1701" y="158"/>
                  <a:pt x="1701" y="158"/>
                </a:cubicBezTo>
                <a:cubicBezTo>
                  <a:pt x="1702" y="159"/>
                  <a:pt x="1702" y="159"/>
                  <a:pt x="1702" y="159"/>
                </a:cubicBezTo>
                <a:cubicBezTo>
                  <a:pt x="1703" y="158"/>
                  <a:pt x="1703" y="158"/>
                  <a:pt x="1703" y="158"/>
                </a:cubicBezTo>
                <a:cubicBezTo>
                  <a:pt x="1702" y="157"/>
                  <a:pt x="1702" y="157"/>
                  <a:pt x="1702" y="157"/>
                </a:cubicBezTo>
                <a:cubicBezTo>
                  <a:pt x="1703" y="157"/>
                  <a:pt x="1703" y="157"/>
                  <a:pt x="1703" y="157"/>
                </a:cubicBezTo>
                <a:cubicBezTo>
                  <a:pt x="1702" y="156"/>
                  <a:pt x="1702" y="156"/>
                  <a:pt x="1702" y="156"/>
                </a:cubicBezTo>
                <a:close/>
                <a:moveTo>
                  <a:pt x="1734" y="145"/>
                </a:moveTo>
                <a:cubicBezTo>
                  <a:pt x="1733" y="145"/>
                  <a:pt x="1733" y="145"/>
                  <a:pt x="1733" y="145"/>
                </a:cubicBezTo>
                <a:cubicBezTo>
                  <a:pt x="1732" y="145"/>
                  <a:pt x="1732" y="145"/>
                  <a:pt x="1732" y="145"/>
                </a:cubicBezTo>
                <a:cubicBezTo>
                  <a:pt x="1732" y="146"/>
                  <a:pt x="1732" y="146"/>
                  <a:pt x="1732" y="146"/>
                </a:cubicBezTo>
                <a:cubicBezTo>
                  <a:pt x="1731" y="145"/>
                  <a:pt x="1731" y="145"/>
                  <a:pt x="1731" y="145"/>
                </a:cubicBezTo>
                <a:cubicBezTo>
                  <a:pt x="1731" y="146"/>
                  <a:pt x="1731" y="146"/>
                  <a:pt x="1731" y="146"/>
                </a:cubicBezTo>
                <a:cubicBezTo>
                  <a:pt x="1731" y="147"/>
                  <a:pt x="1731" y="147"/>
                  <a:pt x="1731" y="147"/>
                </a:cubicBezTo>
                <a:cubicBezTo>
                  <a:pt x="1732" y="147"/>
                  <a:pt x="1732" y="147"/>
                  <a:pt x="1732" y="147"/>
                </a:cubicBezTo>
                <a:cubicBezTo>
                  <a:pt x="1733" y="147"/>
                  <a:pt x="1733" y="147"/>
                  <a:pt x="1733" y="147"/>
                </a:cubicBezTo>
                <a:cubicBezTo>
                  <a:pt x="1734" y="148"/>
                  <a:pt x="1734" y="148"/>
                  <a:pt x="1734" y="148"/>
                </a:cubicBezTo>
                <a:cubicBezTo>
                  <a:pt x="1735" y="148"/>
                  <a:pt x="1735" y="148"/>
                  <a:pt x="1735" y="148"/>
                </a:cubicBezTo>
                <a:cubicBezTo>
                  <a:pt x="1734" y="147"/>
                  <a:pt x="1734" y="147"/>
                  <a:pt x="1734" y="147"/>
                </a:cubicBezTo>
                <a:cubicBezTo>
                  <a:pt x="1735" y="146"/>
                  <a:pt x="1735" y="146"/>
                  <a:pt x="1735" y="146"/>
                </a:cubicBezTo>
                <a:cubicBezTo>
                  <a:pt x="1734" y="145"/>
                  <a:pt x="1734" y="145"/>
                  <a:pt x="1734" y="145"/>
                </a:cubicBezTo>
                <a:close/>
                <a:moveTo>
                  <a:pt x="1729" y="94"/>
                </a:moveTo>
                <a:cubicBezTo>
                  <a:pt x="1730" y="94"/>
                  <a:pt x="1730" y="94"/>
                  <a:pt x="1730" y="94"/>
                </a:cubicBezTo>
                <a:cubicBezTo>
                  <a:pt x="1730" y="93"/>
                  <a:pt x="1730" y="93"/>
                  <a:pt x="1730" y="93"/>
                </a:cubicBezTo>
                <a:cubicBezTo>
                  <a:pt x="1729" y="93"/>
                  <a:pt x="1729" y="93"/>
                  <a:pt x="1729" y="93"/>
                </a:cubicBezTo>
                <a:cubicBezTo>
                  <a:pt x="1729" y="94"/>
                  <a:pt x="1729" y="94"/>
                  <a:pt x="1729" y="94"/>
                </a:cubicBezTo>
                <a:close/>
                <a:moveTo>
                  <a:pt x="1727" y="149"/>
                </a:moveTo>
                <a:cubicBezTo>
                  <a:pt x="1726" y="150"/>
                  <a:pt x="1726" y="150"/>
                  <a:pt x="1726" y="150"/>
                </a:cubicBezTo>
                <a:cubicBezTo>
                  <a:pt x="1728" y="150"/>
                  <a:pt x="1728" y="150"/>
                  <a:pt x="1728" y="150"/>
                </a:cubicBezTo>
                <a:cubicBezTo>
                  <a:pt x="1728" y="151"/>
                  <a:pt x="1728" y="151"/>
                  <a:pt x="1728" y="151"/>
                </a:cubicBezTo>
                <a:cubicBezTo>
                  <a:pt x="1729" y="150"/>
                  <a:pt x="1729" y="150"/>
                  <a:pt x="1729" y="150"/>
                </a:cubicBezTo>
                <a:cubicBezTo>
                  <a:pt x="1729" y="149"/>
                  <a:pt x="1729" y="149"/>
                  <a:pt x="1729" y="149"/>
                </a:cubicBezTo>
                <a:cubicBezTo>
                  <a:pt x="1728" y="149"/>
                  <a:pt x="1728" y="149"/>
                  <a:pt x="1728" y="149"/>
                </a:cubicBezTo>
                <a:cubicBezTo>
                  <a:pt x="1727" y="149"/>
                  <a:pt x="1727" y="149"/>
                  <a:pt x="1727" y="149"/>
                </a:cubicBezTo>
                <a:close/>
                <a:moveTo>
                  <a:pt x="1719" y="45"/>
                </a:moveTo>
                <a:cubicBezTo>
                  <a:pt x="1719" y="45"/>
                  <a:pt x="1719" y="45"/>
                  <a:pt x="1718" y="46"/>
                </a:cubicBezTo>
                <a:cubicBezTo>
                  <a:pt x="1718" y="46"/>
                  <a:pt x="1718" y="46"/>
                  <a:pt x="1718" y="47"/>
                </a:cubicBezTo>
                <a:cubicBezTo>
                  <a:pt x="1718" y="47"/>
                  <a:pt x="1718" y="47"/>
                  <a:pt x="1717" y="47"/>
                </a:cubicBezTo>
                <a:cubicBezTo>
                  <a:pt x="1717" y="47"/>
                  <a:pt x="1717" y="47"/>
                  <a:pt x="1715" y="48"/>
                </a:cubicBezTo>
                <a:cubicBezTo>
                  <a:pt x="1715" y="48"/>
                  <a:pt x="1715" y="48"/>
                  <a:pt x="1715" y="50"/>
                </a:cubicBezTo>
                <a:cubicBezTo>
                  <a:pt x="1715" y="50"/>
                  <a:pt x="1715" y="50"/>
                  <a:pt x="1715" y="51"/>
                </a:cubicBezTo>
                <a:cubicBezTo>
                  <a:pt x="1715" y="51"/>
                  <a:pt x="1715" y="51"/>
                  <a:pt x="1716" y="52"/>
                </a:cubicBezTo>
                <a:cubicBezTo>
                  <a:pt x="1716" y="52"/>
                  <a:pt x="1716" y="52"/>
                  <a:pt x="1717" y="52"/>
                </a:cubicBezTo>
                <a:cubicBezTo>
                  <a:pt x="1717" y="52"/>
                  <a:pt x="1717" y="52"/>
                  <a:pt x="1718" y="53"/>
                </a:cubicBezTo>
                <a:cubicBezTo>
                  <a:pt x="1718" y="53"/>
                  <a:pt x="1718" y="53"/>
                  <a:pt x="1716" y="54"/>
                </a:cubicBezTo>
                <a:cubicBezTo>
                  <a:pt x="1716" y="54"/>
                  <a:pt x="1716" y="54"/>
                  <a:pt x="1716" y="55"/>
                </a:cubicBezTo>
                <a:cubicBezTo>
                  <a:pt x="1716" y="55"/>
                  <a:pt x="1716" y="55"/>
                  <a:pt x="1716" y="57"/>
                </a:cubicBezTo>
                <a:cubicBezTo>
                  <a:pt x="1716" y="57"/>
                  <a:pt x="1716" y="57"/>
                  <a:pt x="1716" y="58"/>
                </a:cubicBezTo>
                <a:cubicBezTo>
                  <a:pt x="1716" y="58"/>
                  <a:pt x="1716" y="58"/>
                  <a:pt x="1715" y="59"/>
                </a:cubicBezTo>
                <a:cubicBezTo>
                  <a:pt x="1715" y="59"/>
                  <a:pt x="1715" y="59"/>
                  <a:pt x="1714" y="60"/>
                </a:cubicBezTo>
                <a:cubicBezTo>
                  <a:pt x="1714" y="60"/>
                  <a:pt x="1714" y="60"/>
                  <a:pt x="1716" y="61"/>
                </a:cubicBezTo>
                <a:cubicBezTo>
                  <a:pt x="1716" y="61"/>
                  <a:pt x="1716" y="61"/>
                  <a:pt x="1717" y="61"/>
                </a:cubicBezTo>
                <a:cubicBezTo>
                  <a:pt x="1717" y="61"/>
                  <a:pt x="1717" y="61"/>
                  <a:pt x="1716" y="60"/>
                </a:cubicBezTo>
                <a:cubicBezTo>
                  <a:pt x="1716" y="60"/>
                  <a:pt x="1716" y="60"/>
                  <a:pt x="1717" y="59"/>
                </a:cubicBezTo>
                <a:cubicBezTo>
                  <a:pt x="1717" y="59"/>
                  <a:pt x="1717" y="59"/>
                  <a:pt x="1718" y="60"/>
                </a:cubicBezTo>
                <a:cubicBezTo>
                  <a:pt x="1718" y="60"/>
                  <a:pt x="1718" y="60"/>
                  <a:pt x="1719" y="61"/>
                </a:cubicBezTo>
                <a:cubicBezTo>
                  <a:pt x="1719" y="61"/>
                  <a:pt x="1719" y="61"/>
                  <a:pt x="1720" y="60"/>
                </a:cubicBezTo>
                <a:cubicBezTo>
                  <a:pt x="1720" y="60"/>
                  <a:pt x="1720" y="60"/>
                  <a:pt x="1721" y="60"/>
                </a:cubicBezTo>
                <a:cubicBezTo>
                  <a:pt x="1721" y="60"/>
                  <a:pt x="1721" y="60"/>
                  <a:pt x="1722" y="61"/>
                </a:cubicBezTo>
                <a:cubicBezTo>
                  <a:pt x="1722" y="61"/>
                  <a:pt x="1722" y="61"/>
                  <a:pt x="1723" y="64"/>
                </a:cubicBezTo>
                <a:cubicBezTo>
                  <a:pt x="1723" y="64"/>
                  <a:pt x="1723" y="64"/>
                  <a:pt x="1723" y="65"/>
                </a:cubicBezTo>
                <a:cubicBezTo>
                  <a:pt x="1723" y="65"/>
                  <a:pt x="1723" y="65"/>
                  <a:pt x="1725" y="65"/>
                </a:cubicBezTo>
                <a:cubicBezTo>
                  <a:pt x="1725" y="65"/>
                  <a:pt x="1725" y="65"/>
                  <a:pt x="1726" y="66"/>
                </a:cubicBezTo>
                <a:cubicBezTo>
                  <a:pt x="1726" y="66"/>
                  <a:pt x="1726" y="66"/>
                  <a:pt x="1727" y="66"/>
                </a:cubicBezTo>
                <a:cubicBezTo>
                  <a:pt x="1727" y="66"/>
                  <a:pt x="1727" y="66"/>
                  <a:pt x="1729" y="65"/>
                </a:cubicBezTo>
                <a:cubicBezTo>
                  <a:pt x="1729" y="65"/>
                  <a:pt x="1729" y="65"/>
                  <a:pt x="1731" y="65"/>
                </a:cubicBezTo>
                <a:cubicBezTo>
                  <a:pt x="1731" y="65"/>
                  <a:pt x="1731" y="65"/>
                  <a:pt x="1733" y="66"/>
                </a:cubicBezTo>
                <a:cubicBezTo>
                  <a:pt x="1733" y="66"/>
                  <a:pt x="1733" y="66"/>
                  <a:pt x="1736" y="66"/>
                </a:cubicBezTo>
                <a:cubicBezTo>
                  <a:pt x="1736" y="66"/>
                  <a:pt x="1736" y="66"/>
                  <a:pt x="1737" y="66"/>
                </a:cubicBezTo>
                <a:cubicBezTo>
                  <a:pt x="1737" y="66"/>
                  <a:pt x="1737" y="66"/>
                  <a:pt x="1738" y="66"/>
                </a:cubicBezTo>
                <a:cubicBezTo>
                  <a:pt x="1738" y="66"/>
                  <a:pt x="1738" y="66"/>
                  <a:pt x="1739" y="66"/>
                </a:cubicBezTo>
                <a:cubicBezTo>
                  <a:pt x="1739" y="66"/>
                  <a:pt x="1739" y="66"/>
                  <a:pt x="1740" y="67"/>
                </a:cubicBezTo>
                <a:cubicBezTo>
                  <a:pt x="1740" y="67"/>
                  <a:pt x="1740" y="67"/>
                  <a:pt x="1741" y="68"/>
                </a:cubicBezTo>
                <a:cubicBezTo>
                  <a:pt x="1741" y="68"/>
                  <a:pt x="1741" y="68"/>
                  <a:pt x="1743" y="68"/>
                </a:cubicBezTo>
                <a:cubicBezTo>
                  <a:pt x="1743" y="68"/>
                  <a:pt x="1743" y="68"/>
                  <a:pt x="1744" y="67"/>
                </a:cubicBezTo>
                <a:cubicBezTo>
                  <a:pt x="1744" y="67"/>
                  <a:pt x="1744" y="67"/>
                  <a:pt x="1745" y="66"/>
                </a:cubicBezTo>
                <a:cubicBezTo>
                  <a:pt x="1745" y="66"/>
                  <a:pt x="1745" y="66"/>
                  <a:pt x="1747" y="65"/>
                </a:cubicBezTo>
                <a:cubicBezTo>
                  <a:pt x="1747" y="65"/>
                  <a:pt x="1747" y="65"/>
                  <a:pt x="1749" y="63"/>
                </a:cubicBezTo>
                <a:cubicBezTo>
                  <a:pt x="1749" y="63"/>
                  <a:pt x="1749" y="63"/>
                  <a:pt x="1749" y="62"/>
                </a:cubicBezTo>
                <a:cubicBezTo>
                  <a:pt x="1749" y="62"/>
                  <a:pt x="1749" y="62"/>
                  <a:pt x="1747" y="60"/>
                </a:cubicBezTo>
                <a:cubicBezTo>
                  <a:pt x="1747" y="60"/>
                  <a:pt x="1747" y="60"/>
                  <a:pt x="1746" y="60"/>
                </a:cubicBezTo>
                <a:cubicBezTo>
                  <a:pt x="1746" y="60"/>
                  <a:pt x="1746" y="60"/>
                  <a:pt x="1745" y="58"/>
                </a:cubicBezTo>
                <a:cubicBezTo>
                  <a:pt x="1745" y="58"/>
                  <a:pt x="1745" y="58"/>
                  <a:pt x="1743" y="58"/>
                </a:cubicBezTo>
                <a:cubicBezTo>
                  <a:pt x="1743" y="58"/>
                  <a:pt x="1743" y="58"/>
                  <a:pt x="1742" y="57"/>
                </a:cubicBezTo>
                <a:cubicBezTo>
                  <a:pt x="1742" y="57"/>
                  <a:pt x="1742" y="57"/>
                  <a:pt x="1741" y="56"/>
                </a:cubicBezTo>
                <a:cubicBezTo>
                  <a:pt x="1741" y="56"/>
                  <a:pt x="1741" y="56"/>
                  <a:pt x="1742" y="56"/>
                </a:cubicBezTo>
                <a:cubicBezTo>
                  <a:pt x="1742" y="56"/>
                  <a:pt x="1742" y="56"/>
                  <a:pt x="1743" y="56"/>
                </a:cubicBezTo>
                <a:cubicBezTo>
                  <a:pt x="1743" y="56"/>
                  <a:pt x="1743" y="56"/>
                  <a:pt x="1744" y="56"/>
                </a:cubicBezTo>
                <a:cubicBezTo>
                  <a:pt x="1744" y="56"/>
                  <a:pt x="1744" y="56"/>
                  <a:pt x="1744" y="55"/>
                </a:cubicBezTo>
                <a:cubicBezTo>
                  <a:pt x="1744" y="55"/>
                  <a:pt x="1744" y="55"/>
                  <a:pt x="1743" y="54"/>
                </a:cubicBezTo>
                <a:cubicBezTo>
                  <a:pt x="1743" y="54"/>
                  <a:pt x="1743" y="54"/>
                  <a:pt x="1741" y="52"/>
                </a:cubicBezTo>
                <a:cubicBezTo>
                  <a:pt x="1741" y="52"/>
                  <a:pt x="1741" y="52"/>
                  <a:pt x="1741" y="50"/>
                </a:cubicBezTo>
                <a:cubicBezTo>
                  <a:pt x="1741" y="50"/>
                  <a:pt x="1741" y="50"/>
                  <a:pt x="1741" y="48"/>
                </a:cubicBezTo>
                <a:cubicBezTo>
                  <a:pt x="1741" y="48"/>
                  <a:pt x="1741" y="48"/>
                  <a:pt x="1740" y="48"/>
                </a:cubicBezTo>
                <a:cubicBezTo>
                  <a:pt x="1740" y="48"/>
                  <a:pt x="1740" y="48"/>
                  <a:pt x="1740" y="46"/>
                </a:cubicBezTo>
                <a:cubicBezTo>
                  <a:pt x="1740" y="46"/>
                  <a:pt x="1740" y="46"/>
                  <a:pt x="1739" y="46"/>
                </a:cubicBezTo>
                <a:cubicBezTo>
                  <a:pt x="1739" y="46"/>
                  <a:pt x="1739" y="46"/>
                  <a:pt x="1738" y="46"/>
                </a:cubicBezTo>
                <a:cubicBezTo>
                  <a:pt x="1738" y="46"/>
                  <a:pt x="1738" y="46"/>
                  <a:pt x="1734" y="42"/>
                </a:cubicBezTo>
                <a:cubicBezTo>
                  <a:pt x="1734" y="42"/>
                  <a:pt x="1734" y="42"/>
                  <a:pt x="1732" y="42"/>
                </a:cubicBezTo>
                <a:cubicBezTo>
                  <a:pt x="1732" y="42"/>
                  <a:pt x="1732" y="42"/>
                  <a:pt x="1730" y="42"/>
                </a:cubicBezTo>
                <a:cubicBezTo>
                  <a:pt x="1730" y="42"/>
                  <a:pt x="1730" y="42"/>
                  <a:pt x="1730" y="43"/>
                </a:cubicBezTo>
                <a:cubicBezTo>
                  <a:pt x="1730" y="43"/>
                  <a:pt x="1730" y="43"/>
                  <a:pt x="1730" y="44"/>
                </a:cubicBezTo>
                <a:cubicBezTo>
                  <a:pt x="1730" y="44"/>
                  <a:pt x="1730" y="44"/>
                  <a:pt x="1731" y="46"/>
                </a:cubicBezTo>
                <a:cubicBezTo>
                  <a:pt x="1731" y="46"/>
                  <a:pt x="1731" y="46"/>
                  <a:pt x="1732" y="47"/>
                </a:cubicBezTo>
                <a:cubicBezTo>
                  <a:pt x="1732" y="47"/>
                  <a:pt x="1732" y="47"/>
                  <a:pt x="1731" y="48"/>
                </a:cubicBezTo>
                <a:cubicBezTo>
                  <a:pt x="1731" y="48"/>
                  <a:pt x="1731" y="48"/>
                  <a:pt x="1731" y="49"/>
                </a:cubicBezTo>
                <a:cubicBezTo>
                  <a:pt x="1731" y="49"/>
                  <a:pt x="1731" y="49"/>
                  <a:pt x="1731" y="50"/>
                </a:cubicBezTo>
                <a:cubicBezTo>
                  <a:pt x="1731" y="50"/>
                  <a:pt x="1731" y="50"/>
                  <a:pt x="1730" y="52"/>
                </a:cubicBezTo>
                <a:cubicBezTo>
                  <a:pt x="1730" y="52"/>
                  <a:pt x="1730" y="52"/>
                  <a:pt x="1729" y="52"/>
                </a:cubicBezTo>
                <a:cubicBezTo>
                  <a:pt x="1729" y="52"/>
                  <a:pt x="1729" y="52"/>
                  <a:pt x="1730" y="51"/>
                </a:cubicBezTo>
                <a:cubicBezTo>
                  <a:pt x="1730" y="51"/>
                  <a:pt x="1730" y="51"/>
                  <a:pt x="1730" y="49"/>
                </a:cubicBezTo>
                <a:cubicBezTo>
                  <a:pt x="1730" y="49"/>
                  <a:pt x="1730" y="49"/>
                  <a:pt x="1730" y="47"/>
                </a:cubicBezTo>
                <a:cubicBezTo>
                  <a:pt x="1730" y="47"/>
                  <a:pt x="1730" y="47"/>
                  <a:pt x="1730" y="46"/>
                </a:cubicBezTo>
                <a:cubicBezTo>
                  <a:pt x="1730" y="46"/>
                  <a:pt x="1730" y="46"/>
                  <a:pt x="1728" y="43"/>
                </a:cubicBezTo>
                <a:cubicBezTo>
                  <a:pt x="1728" y="43"/>
                  <a:pt x="1728" y="43"/>
                  <a:pt x="1726" y="42"/>
                </a:cubicBezTo>
                <a:cubicBezTo>
                  <a:pt x="1726" y="42"/>
                  <a:pt x="1726" y="42"/>
                  <a:pt x="1724" y="41"/>
                </a:cubicBezTo>
                <a:cubicBezTo>
                  <a:pt x="1724" y="41"/>
                  <a:pt x="1724" y="41"/>
                  <a:pt x="1723" y="42"/>
                </a:cubicBezTo>
                <a:cubicBezTo>
                  <a:pt x="1723" y="42"/>
                  <a:pt x="1723" y="42"/>
                  <a:pt x="1723" y="43"/>
                </a:cubicBezTo>
                <a:cubicBezTo>
                  <a:pt x="1723" y="43"/>
                  <a:pt x="1723" y="43"/>
                  <a:pt x="1720" y="45"/>
                </a:cubicBezTo>
                <a:cubicBezTo>
                  <a:pt x="1720" y="45"/>
                  <a:pt x="1720" y="45"/>
                  <a:pt x="1719" y="45"/>
                </a:cubicBezTo>
                <a:close/>
                <a:moveTo>
                  <a:pt x="1722" y="162"/>
                </a:moveTo>
                <a:cubicBezTo>
                  <a:pt x="1721" y="162"/>
                  <a:pt x="1721" y="162"/>
                  <a:pt x="1721" y="162"/>
                </a:cubicBezTo>
                <a:cubicBezTo>
                  <a:pt x="1721" y="163"/>
                  <a:pt x="1721" y="163"/>
                  <a:pt x="1721" y="163"/>
                </a:cubicBezTo>
                <a:cubicBezTo>
                  <a:pt x="1723" y="163"/>
                  <a:pt x="1723" y="163"/>
                  <a:pt x="1723" y="163"/>
                </a:cubicBezTo>
                <a:cubicBezTo>
                  <a:pt x="1724" y="162"/>
                  <a:pt x="1724" y="162"/>
                  <a:pt x="1724" y="162"/>
                </a:cubicBezTo>
                <a:cubicBezTo>
                  <a:pt x="1722" y="161"/>
                  <a:pt x="1722" y="161"/>
                  <a:pt x="1722" y="161"/>
                </a:cubicBezTo>
                <a:cubicBezTo>
                  <a:pt x="1722" y="162"/>
                  <a:pt x="1722" y="162"/>
                  <a:pt x="1722" y="162"/>
                </a:cubicBezTo>
                <a:close/>
                <a:moveTo>
                  <a:pt x="1727" y="155"/>
                </a:moveTo>
                <a:cubicBezTo>
                  <a:pt x="1728" y="155"/>
                  <a:pt x="1728" y="155"/>
                  <a:pt x="1728" y="155"/>
                </a:cubicBezTo>
                <a:cubicBezTo>
                  <a:pt x="1728" y="154"/>
                  <a:pt x="1728" y="154"/>
                  <a:pt x="1728" y="154"/>
                </a:cubicBezTo>
                <a:cubicBezTo>
                  <a:pt x="1727" y="154"/>
                  <a:pt x="1727" y="154"/>
                  <a:pt x="1727" y="154"/>
                </a:cubicBezTo>
                <a:cubicBezTo>
                  <a:pt x="1726" y="155"/>
                  <a:pt x="1726" y="155"/>
                  <a:pt x="1726" y="155"/>
                </a:cubicBezTo>
                <a:cubicBezTo>
                  <a:pt x="1726" y="156"/>
                  <a:pt x="1726" y="156"/>
                  <a:pt x="1726" y="156"/>
                </a:cubicBezTo>
                <a:cubicBezTo>
                  <a:pt x="1727" y="157"/>
                  <a:pt x="1727" y="157"/>
                  <a:pt x="1727" y="157"/>
                </a:cubicBezTo>
                <a:cubicBezTo>
                  <a:pt x="1727" y="156"/>
                  <a:pt x="1727" y="156"/>
                  <a:pt x="1727" y="156"/>
                </a:cubicBezTo>
                <a:cubicBezTo>
                  <a:pt x="1727" y="155"/>
                  <a:pt x="1727" y="155"/>
                  <a:pt x="1727" y="155"/>
                </a:cubicBezTo>
                <a:close/>
                <a:moveTo>
                  <a:pt x="1730" y="155"/>
                </a:moveTo>
                <a:cubicBezTo>
                  <a:pt x="1731" y="155"/>
                  <a:pt x="1731" y="155"/>
                  <a:pt x="1731" y="155"/>
                </a:cubicBezTo>
                <a:cubicBezTo>
                  <a:pt x="1731" y="154"/>
                  <a:pt x="1731" y="154"/>
                  <a:pt x="1731" y="154"/>
                </a:cubicBezTo>
                <a:cubicBezTo>
                  <a:pt x="1731" y="153"/>
                  <a:pt x="1731" y="153"/>
                  <a:pt x="1731" y="153"/>
                </a:cubicBezTo>
                <a:cubicBezTo>
                  <a:pt x="1730" y="153"/>
                  <a:pt x="1730" y="153"/>
                  <a:pt x="1730" y="153"/>
                </a:cubicBezTo>
                <a:cubicBezTo>
                  <a:pt x="1729" y="154"/>
                  <a:pt x="1729" y="154"/>
                  <a:pt x="1729" y="154"/>
                </a:cubicBezTo>
                <a:cubicBezTo>
                  <a:pt x="1730" y="155"/>
                  <a:pt x="1730" y="155"/>
                  <a:pt x="1730" y="155"/>
                </a:cubicBezTo>
                <a:close/>
                <a:moveTo>
                  <a:pt x="1725" y="104"/>
                </a:moveTo>
                <a:cubicBezTo>
                  <a:pt x="1725" y="103"/>
                  <a:pt x="1725" y="103"/>
                  <a:pt x="1725" y="103"/>
                </a:cubicBezTo>
                <a:cubicBezTo>
                  <a:pt x="1724" y="102"/>
                  <a:pt x="1724" y="102"/>
                  <a:pt x="1724" y="102"/>
                </a:cubicBezTo>
                <a:cubicBezTo>
                  <a:pt x="1723" y="102"/>
                  <a:pt x="1723" y="102"/>
                  <a:pt x="1723" y="102"/>
                </a:cubicBezTo>
                <a:cubicBezTo>
                  <a:pt x="1722" y="103"/>
                  <a:pt x="1722" y="103"/>
                  <a:pt x="1722" y="103"/>
                </a:cubicBezTo>
                <a:cubicBezTo>
                  <a:pt x="1723" y="104"/>
                  <a:pt x="1723" y="104"/>
                  <a:pt x="1723" y="104"/>
                </a:cubicBezTo>
                <a:cubicBezTo>
                  <a:pt x="1722" y="105"/>
                  <a:pt x="1722" y="105"/>
                  <a:pt x="1722" y="105"/>
                </a:cubicBezTo>
                <a:cubicBezTo>
                  <a:pt x="1723" y="106"/>
                  <a:pt x="1723" y="106"/>
                  <a:pt x="1723" y="106"/>
                </a:cubicBezTo>
                <a:cubicBezTo>
                  <a:pt x="1724" y="105"/>
                  <a:pt x="1724" y="105"/>
                  <a:pt x="1724" y="105"/>
                </a:cubicBezTo>
                <a:cubicBezTo>
                  <a:pt x="1725" y="104"/>
                  <a:pt x="1725" y="104"/>
                  <a:pt x="1725" y="104"/>
                </a:cubicBezTo>
                <a:close/>
                <a:moveTo>
                  <a:pt x="1727" y="164"/>
                </a:moveTo>
                <a:cubicBezTo>
                  <a:pt x="1728" y="164"/>
                  <a:pt x="1728" y="164"/>
                  <a:pt x="1728" y="164"/>
                </a:cubicBezTo>
                <a:cubicBezTo>
                  <a:pt x="1729" y="164"/>
                  <a:pt x="1729" y="164"/>
                  <a:pt x="1729" y="164"/>
                </a:cubicBezTo>
                <a:cubicBezTo>
                  <a:pt x="1728" y="163"/>
                  <a:pt x="1728" y="163"/>
                  <a:pt x="1728" y="163"/>
                </a:cubicBezTo>
                <a:cubicBezTo>
                  <a:pt x="1726" y="164"/>
                  <a:pt x="1726" y="164"/>
                  <a:pt x="1726" y="164"/>
                </a:cubicBezTo>
                <a:cubicBezTo>
                  <a:pt x="1727" y="164"/>
                  <a:pt x="1727" y="164"/>
                  <a:pt x="1727" y="164"/>
                </a:cubicBezTo>
                <a:close/>
                <a:moveTo>
                  <a:pt x="1706" y="142"/>
                </a:moveTo>
                <a:cubicBezTo>
                  <a:pt x="1705" y="142"/>
                  <a:pt x="1705" y="142"/>
                  <a:pt x="1705" y="142"/>
                </a:cubicBezTo>
                <a:cubicBezTo>
                  <a:pt x="1706" y="144"/>
                  <a:pt x="1706" y="144"/>
                  <a:pt x="1706" y="144"/>
                </a:cubicBezTo>
                <a:cubicBezTo>
                  <a:pt x="1707" y="144"/>
                  <a:pt x="1707" y="144"/>
                  <a:pt x="1707" y="144"/>
                </a:cubicBezTo>
                <a:cubicBezTo>
                  <a:pt x="1708" y="144"/>
                  <a:pt x="1708" y="144"/>
                  <a:pt x="1708" y="144"/>
                </a:cubicBezTo>
                <a:cubicBezTo>
                  <a:pt x="1709" y="143"/>
                  <a:pt x="1709" y="143"/>
                  <a:pt x="1709" y="143"/>
                </a:cubicBezTo>
                <a:cubicBezTo>
                  <a:pt x="1709" y="142"/>
                  <a:pt x="1709" y="142"/>
                  <a:pt x="1709" y="142"/>
                </a:cubicBezTo>
                <a:cubicBezTo>
                  <a:pt x="1708" y="142"/>
                  <a:pt x="1708" y="142"/>
                  <a:pt x="1708" y="142"/>
                </a:cubicBezTo>
                <a:cubicBezTo>
                  <a:pt x="1708" y="141"/>
                  <a:pt x="1708" y="141"/>
                  <a:pt x="1708" y="141"/>
                </a:cubicBezTo>
                <a:cubicBezTo>
                  <a:pt x="1708" y="140"/>
                  <a:pt x="1708" y="140"/>
                  <a:pt x="1708" y="140"/>
                </a:cubicBezTo>
                <a:cubicBezTo>
                  <a:pt x="1707" y="140"/>
                  <a:pt x="1707" y="140"/>
                  <a:pt x="1707" y="140"/>
                </a:cubicBezTo>
                <a:cubicBezTo>
                  <a:pt x="1706" y="140"/>
                  <a:pt x="1706" y="140"/>
                  <a:pt x="1706" y="140"/>
                </a:cubicBezTo>
                <a:cubicBezTo>
                  <a:pt x="1706" y="141"/>
                  <a:pt x="1706" y="141"/>
                  <a:pt x="1706" y="141"/>
                </a:cubicBezTo>
                <a:cubicBezTo>
                  <a:pt x="1707" y="142"/>
                  <a:pt x="1707" y="142"/>
                  <a:pt x="1707" y="142"/>
                </a:cubicBezTo>
                <a:cubicBezTo>
                  <a:pt x="1707" y="143"/>
                  <a:pt x="1707" y="143"/>
                  <a:pt x="1707" y="143"/>
                </a:cubicBezTo>
                <a:cubicBezTo>
                  <a:pt x="1706" y="142"/>
                  <a:pt x="1706" y="142"/>
                  <a:pt x="1706" y="142"/>
                </a:cubicBezTo>
                <a:close/>
                <a:moveTo>
                  <a:pt x="1631" y="245"/>
                </a:moveTo>
                <a:cubicBezTo>
                  <a:pt x="1630" y="245"/>
                  <a:pt x="1630" y="245"/>
                  <a:pt x="1630" y="245"/>
                </a:cubicBezTo>
                <a:cubicBezTo>
                  <a:pt x="1630" y="246"/>
                  <a:pt x="1630" y="246"/>
                  <a:pt x="1630" y="246"/>
                </a:cubicBezTo>
                <a:cubicBezTo>
                  <a:pt x="1631" y="246"/>
                  <a:pt x="1631" y="246"/>
                  <a:pt x="1631" y="246"/>
                </a:cubicBezTo>
                <a:cubicBezTo>
                  <a:pt x="1631" y="245"/>
                  <a:pt x="1631" y="245"/>
                  <a:pt x="1631" y="245"/>
                </a:cubicBezTo>
                <a:close/>
                <a:moveTo>
                  <a:pt x="1734" y="159"/>
                </a:moveTo>
                <a:cubicBezTo>
                  <a:pt x="1733" y="159"/>
                  <a:pt x="1733" y="159"/>
                  <a:pt x="1733" y="159"/>
                </a:cubicBezTo>
                <a:cubicBezTo>
                  <a:pt x="1732" y="159"/>
                  <a:pt x="1732" y="159"/>
                  <a:pt x="1732" y="159"/>
                </a:cubicBezTo>
                <a:cubicBezTo>
                  <a:pt x="1732" y="160"/>
                  <a:pt x="1732" y="160"/>
                  <a:pt x="1732" y="160"/>
                </a:cubicBezTo>
                <a:cubicBezTo>
                  <a:pt x="1733" y="160"/>
                  <a:pt x="1733" y="160"/>
                  <a:pt x="1733" y="160"/>
                </a:cubicBezTo>
                <a:cubicBezTo>
                  <a:pt x="1734" y="159"/>
                  <a:pt x="1734" y="159"/>
                  <a:pt x="1734" y="159"/>
                </a:cubicBezTo>
                <a:close/>
                <a:moveTo>
                  <a:pt x="1697" y="273"/>
                </a:moveTo>
                <a:cubicBezTo>
                  <a:pt x="1696" y="273"/>
                  <a:pt x="1696" y="273"/>
                  <a:pt x="1696" y="273"/>
                </a:cubicBezTo>
                <a:cubicBezTo>
                  <a:pt x="1697" y="274"/>
                  <a:pt x="1697" y="274"/>
                  <a:pt x="1697" y="274"/>
                </a:cubicBezTo>
                <a:cubicBezTo>
                  <a:pt x="1698" y="275"/>
                  <a:pt x="1698" y="275"/>
                  <a:pt x="1698" y="275"/>
                </a:cubicBezTo>
                <a:cubicBezTo>
                  <a:pt x="1699" y="275"/>
                  <a:pt x="1699" y="275"/>
                  <a:pt x="1699" y="275"/>
                </a:cubicBezTo>
                <a:cubicBezTo>
                  <a:pt x="1700" y="274"/>
                  <a:pt x="1700" y="274"/>
                  <a:pt x="1700" y="274"/>
                </a:cubicBezTo>
                <a:cubicBezTo>
                  <a:pt x="1699" y="273"/>
                  <a:pt x="1699" y="273"/>
                  <a:pt x="1699" y="273"/>
                </a:cubicBezTo>
                <a:cubicBezTo>
                  <a:pt x="1698" y="273"/>
                  <a:pt x="1698" y="273"/>
                  <a:pt x="1698" y="273"/>
                </a:cubicBezTo>
                <a:cubicBezTo>
                  <a:pt x="1697" y="273"/>
                  <a:pt x="1697" y="273"/>
                  <a:pt x="1697" y="273"/>
                </a:cubicBezTo>
                <a:close/>
                <a:moveTo>
                  <a:pt x="1689" y="185"/>
                </a:moveTo>
                <a:cubicBezTo>
                  <a:pt x="1688" y="188"/>
                  <a:pt x="1688" y="188"/>
                  <a:pt x="1688" y="188"/>
                </a:cubicBezTo>
                <a:cubicBezTo>
                  <a:pt x="1689" y="189"/>
                  <a:pt x="1689" y="189"/>
                  <a:pt x="1689" y="189"/>
                </a:cubicBezTo>
                <a:cubicBezTo>
                  <a:pt x="1690" y="189"/>
                  <a:pt x="1690" y="189"/>
                  <a:pt x="1690" y="189"/>
                </a:cubicBezTo>
                <a:cubicBezTo>
                  <a:pt x="1691" y="189"/>
                  <a:pt x="1691" y="189"/>
                  <a:pt x="1691" y="189"/>
                </a:cubicBezTo>
                <a:cubicBezTo>
                  <a:pt x="1691" y="188"/>
                  <a:pt x="1691" y="188"/>
                  <a:pt x="1691" y="188"/>
                </a:cubicBezTo>
                <a:cubicBezTo>
                  <a:pt x="1691" y="187"/>
                  <a:pt x="1691" y="187"/>
                  <a:pt x="1691" y="187"/>
                </a:cubicBezTo>
                <a:cubicBezTo>
                  <a:pt x="1691" y="186"/>
                  <a:pt x="1691" y="186"/>
                  <a:pt x="1691" y="186"/>
                </a:cubicBezTo>
                <a:cubicBezTo>
                  <a:pt x="1691" y="185"/>
                  <a:pt x="1691" y="185"/>
                  <a:pt x="1691" y="185"/>
                </a:cubicBezTo>
                <a:cubicBezTo>
                  <a:pt x="1690" y="185"/>
                  <a:pt x="1690" y="185"/>
                  <a:pt x="1690" y="185"/>
                </a:cubicBezTo>
                <a:cubicBezTo>
                  <a:pt x="1689" y="185"/>
                  <a:pt x="1689" y="185"/>
                  <a:pt x="1689" y="185"/>
                </a:cubicBezTo>
                <a:close/>
                <a:moveTo>
                  <a:pt x="1635" y="250"/>
                </a:moveTo>
                <a:cubicBezTo>
                  <a:pt x="1635" y="248"/>
                  <a:pt x="1635" y="248"/>
                  <a:pt x="1635" y="248"/>
                </a:cubicBezTo>
                <a:cubicBezTo>
                  <a:pt x="1633" y="247"/>
                  <a:pt x="1633" y="247"/>
                  <a:pt x="1633" y="247"/>
                </a:cubicBezTo>
                <a:cubicBezTo>
                  <a:pt x="1632" y="246"/>
                  <a:pt x="1632" y="246"/>
                  <a:pt x="1632" y="246"/>
                </a:cubicBezTo>
                <a:cubicBezTo>
                  <a:pt x="1632" y="247"/>
                  <a:pt x="1632" y="247"/>
                  <a:pt x="1632" y="247"/>
                </a:cubicBezTo>
                <a:cubicBezTo>
                  <a:pt x="1633" y="248"/>
                  <a:pt x="1633" y="248"/>
                  <a:pt x="1633" y="248"/>
                </a:cubicBezTo>
                <a:cubicBezTo>
                  <a:pt x="1635" y="250"/>
                  <a:pt x="1635" y="250"/>
                  <a:pt x="1635" y="250"/>
                </a:cubicBezTo>
                <a:close/>
                <a:moveTo>
                  <a:pt x="1746" y="209"/>
                </a:moveTo>
                <a:cubicBezTo>
                  <a:pt x="1745" y="208"/>
                  <a:pt x="1745" y="208"/>
                  <a:pt x="1745" y="208"/>
                </a:cubicBezTo>
                <a:cubicBezTo>
                  <a:pt x="1745" y="209"/>
                  <a:pt x="1745" y="209"/>
                  <a:pt x="1745" y="209"/>
                </a:cubicBezTo>
                <a:cubicBezTo>
                  <a:pt x="1745" y="210"/>
                  <a:pt x="1745" y="210"/>
                  <a:pt x="1745" y="210"/>
                </a:cubicBezTo>
                <a:cubicBezTo>
                  <a:pt x="1746" y="210"/>
                  <a:pt x="1746" y="210"/>
                  <a:pt x="1746" y="210"/>
                </a:cubicBezTo>
                <a:cubicBezTo>
                  <a:pt x="1746" y="209"/>
                  <a:pt x="1746" y="209"/>
                  <a:pt x="1746" y="209"/>
                </a:cubicBezTo>
                <a:close/>
                <a:moveTo>
                  <a:pt x="2297" y="320"/>
                </a:moveTo>
                <a:cubicBezTo>
                  <a:pt x="2298" y="321"/>
                  <a:pt x="2298" y="321"/>
                  <a:pt x="2298" y="321"/>
                </a:cubicBezTo>
                <a:cubicBezTo>
                  <a:pt x="2299" y="321"/>
                  <a:pt x="2299" y="321"/>
                  <a:pt x="2299" y="321"/>
                </a:cubicBezTo>
                <a:cubicBezTo>
                  <a:pt x="2301" y="321"/>
                  <a:pt x="2301" y="321"/>
                  <a:pt x="2301" y="321"/>
                </a:cubicBezTo>
                <a:cubicBezTo>
                  <a:pt x="2300" y="320"/>
                  <a:pt x="2300" y="320"/>
                  <a:pt x="2300" y="320"/>
                </a:cubicBezTo>
                <a:cubicBezTo>
                  <a:pt x="2298" y="320"/>
                  <a:pt x="2298" y="320"/>
                  <a:pt x="2298" y="320"/>
                </a:cubicBezTo>
                <a:cubicBezTo>
                  <a:pt x="2298" y="319"/>
                  <a:pt x="2298" y="319"/>
                  <a:pt x="2298" y="319"/>
                </a:cubicBezTo>
                <a:cubicBezTo>
                  <a:pt x="2296" y="319"/>
                  <a:pt x="2296" y="319"/>
                  <a:pt x="2296" y="319"/>
                </a:cubicBezTo>
                <a:cubicBezTo>
                  <a:pt x="2295" y="318"/>
                  <a:pt x="2295" y="318"/>
                  <a:pt x="2295" y="318"/>
                </a:cubicBezTo>
                <a:cubicBezTo>
                  <a:pt x="2294" y="317"/>
                  <a:pt x="2294" y="317"/>
                  <a:pt x="2294" y="317"/>
                </a:cubicBezTo>
                <a:cubicBezTo>
                  <a:pt x="2293" y="318"/>
                  <a:pt x="2293" y="318"/>
                  <a:pt x="2293" y="318"/>
                </a:cubicBezTo>
                <a:cubicBezTo>
                  <a:pt x="2294" y="319"/>
                  <a:pt x="2294" y="319"/>
                  <a:pt x="2294" y="319"/>
                </a:cubicBezTo>
                <a:cubicBezTo>
                  <a:pt x="2295" y="319"/>
                  <a:pt x="2295" y="319"/>
                  <a:pt x="2295" y="319"/>
                </a:cubicBezTo>
                <a:cubicBezTo>
                  <a:pt x="2297" y="320"/>
                  <a:pt x="2297" y="320"/>
                  <a:pt x="2297" y="320"/>
                </a:cubicBezTo>
                <a:close/>
                <a:moveTo>
                  <a:pt x="2175" y="104"/>
                </a:moveTo>
                <a:cubicBezTo>
                  <a:pt x="2176" y="103"/>
                  <a:pt x="2176" y="103"/>
                  <a:pt x="2176" y="103"/>
                </a:cubicBezTo>
                <a:cubicBezTo>
                  <a:pt x="2175" y="103"/>
                  <a:pt x="2175" y="103"/>
                  <a:pt x="2175" y="103"/>
                </a:cubicBezTo>
                <a:cubicBezTo>
                  <a:pt x="2175" y="104"/>
                  <a:pt x="2175" y="104"/>
                  <a:pt x="2175" y="104"/>
                </a:cubicBezTo>
                <a:close/>
                <a:moveTo>
                  <a:pt x="2289" y="318"/>
                </a:moveTo>
                <a:cubicBezTo>
                  <a:pt x="2288" y="318"/>
                  <a:pt x="2288" y="318"/>
                  <a:pt x="2288" y="318"/>
                </a:cubicBezTo>
                <a:cubicBezTo>
                  <a:pt x="2286" y="317"/>
                  <a:pt x="2286" y="317"/>
                  <a:pt x="2286" y="317"/>
                </a:cubicBezTo>
                <a:cubicBezTo>
                  <a:pt x="2286" y="316"/>
                  <a:pt x="2286" y="316"/>
                  <a:pt x="2286" y="316"/>
                </a:cubicBezTo>
                <a:cubicBezTo>
                  <a:pt x="2285" y="315"/>
                  <a:pt x="2285" y="315"/>
                  <a:pt x="2285" y="315"/>
                </a:cubicBezTo>
                <a:cubicBezTo>
                  <a:pt x="2284" y="314"/>
                  <a:pt x="2284" y="314"/>
                  <a:pt x="2284" y="314"/>
                </a:cubicBezTo>
                <a:cubicBezTo>
                  <a:pt x="2284" y="313"/>
                  <a:pt x="2284" y="313"/>
                  <a:pt x="2284" y="313"/>
                </a:cubicBezTo>
                <a:cubicBezTo>
                  <a:pt x="2283" y="313"/>
                  <a:pt x="2283" y="313"/>
                  <a:pt x="2283" y="313"/>
                </a:cubicBezTo>
                <a:cubicBezTo>
                  <a:pt x="2282" y="313"/>
                  <a:pt x="2282" y="313"/>
                  <a:pt x="2282" y="313"/>
                </a:cubicBezTo>
                <a:cubicBezTo>
                  <a:pt x="2281" y="313"/>
                  <a:pt x="2281" y="313"/>
                  <a:pt x="2281" y="313"/>
                </a:cubicBezTo>
                <a:cubicBezTo>
                  <a:pt x="2280" y="314"/>
                  <a:pt x="2280" y="314"/>
                  <a:pt x="2280" y="314"/>
                </a:cubicBezTo>
                <a:cubicBezTo>
                  <a:pt x="2280" y="315"/>
                  <a:pt x="2280" y="315"/>
                  <a:pt x="2280" y="315"/>
                </a:cubicBezTo>
                <a:cubicBezTo>
                  <a:pt x="2281" y="315"/>
                  <a:pt x="2281" y="315"/>
                  <a:pt x="2281" y="315"/>
                </a:cubicBezTo>
                <a:cubicBezTo>
                  <a:pt x="2282" y="315"/>
                  <a:pt x="2282" y="315"/>
                  <a:pt x="2282" y="315"/>
                </a:cubicBezTo>
                <a:cubicBezTo>
                  <a:pt x="2283" y="316"/>
                  <a:pt x="2283" y="316"/>
                  <a:pt x="2283" y="316"/>
                </a:cubicBezTo>
                <a:cubicBezTo>
                  <a:pt x="2284" y="318"/>
                  <a:pt x="2284" y="318"/>
                  <a:pt x="2284" y="318"/>
                </a:cubicBezTo>
                <a:cubicBezTo>
                  <a:pt x="2285" y="318"/>
                  <a:pt x="2285" y="318"/>
                  <a:pt x="2285" y="318"/>
                </a:cubicBezTo>
                <a:cubicBezTo>
                  <a:pt x="2286" y="319"/>
                  <a:pt x="2286" y="319"/>
                  <a:pt x="2286" y="319"/>
                </a:cubicBezTo>
                <a:cubicBezTo>
                  <a:pt x="2287" y="319"/>
                  <a:pt x="2287" y="319"/>
                  <a:pt x="2287" y="319"/>
                </a:cubicBezTo>
                <a:cubicBezTo>
                  <a:pt x="2288" y="320"/>
                  <a:pt x="2288" y="320"/>
                  <a:pt x="2288" y="320"/>
                </a:cubicBezTo>
                <a:cubicBezTo>
                  <a:pt x="2290" y="320"/>
                  <a:pt x="2290" y="320"/>
                  <a:pt x="2290" y="320"/>
                </a:cubicBezTo>
                <a:cubicBezTo>
                  <a:pt x="2289" y="318"/>
                  <a:pt x="2289" y="318"/>
                  <a:pt x="2289" y="318"/>
                </a:cubicBezTo>
                <a:close/>
                <a:moveTo>
                  <a:pt x="1603" y="154"/>
                </a:moveTo>
                <a:cubicBezTo>
                  <a:pt x="1601" y="155"/>
                  <a:pt x="1601" y="155"/>
                  <a:pt x="1601" y="155"/>
                </a:cubicBezTo>
                <a:cubicBezTo>
                  <a:pt x="1600" y="156"/>
                  <a:pt x="1600" y="156"/>
                  <a:pt x="1600" y="156"/>
                </a:cubicBezTo>
                <a:cubicBezTo>
                  <a:pt x="1601" y="156"/>
                  <a:pt x="1601" y="156"/>
                  <a:pt x="1601" y="156"/>
                </a:cubicBezTo>
                <a:cubicBezTo>
                  <a:pt x="1603" y="154"/>
                  <a:pt x="1603" y="154"/>
                  <a:pt x="1603" y="154"/>
                </a:cubicBezTo>
                <a:close/>
                <a:moveTo>
                  <a:pt x="1739" y="162"/>
                </a:moveTo>
                <a:cubicBezTo>
                  <a:pt x="1738" y="162"/>
                  <a:pt x="1738" y="162"/>
                  <a:pt x="1738" y="162"/>
                </a:cubicBezTo>
                <a:cubicBezTo>
                  <a:pt x="1737" y="161"/>
                  <a:pt x="1737" y="161"/>
                  <a:pt x="1737" y="161"/>
                </a:cubicBezTo>
                <a:cubicBezTo>
                  <a:pt x="1738" y="163"/>
                  <a:pt x="1738" y="163"/>
                  <a:pt x="1738" y="163"/>
                </a:cubicBezTo>
                <a:cubicBezTo>
                  <a:pt x="1739" y="162"/>
                  <a:pt x="1739" y="162"/>
                  <a:pt x="1739" y="162"/>
                </a:cubicBezTo>
                <a:close/>
                <a:moveTo>
                  <a:pt x="1646" y="52"/>
                </a:moveTo>
                <a:cubicBezTo>
                  <a:pt x="1646" y="52"/>
                  <a:pt x="1646" y="52"/>
                  <a:pt x="1648" y="52"/>
                </a:cubicBezTo>
                <a:cubicBezTo>
                  <a:pt x="1648" y="52"/>
                  <a:pt x="1648" y="52"/>
                  <a:pt x="1650" y="52"/>
                </a:cubicBezTo>
                <a:cubicBezTo>
                  <a:pt x="1650" y="52"/>
                  <a:pt x="1650" y="52"/>
                  <a:pt x="1650" y="51"/>
                </a:cubicBezTo>
                <a:cubicBezTo>
                  <a:pt x="1650" y="51"/>
                  <a:pt x="1650" y="51"/>
                  <a:pt x="1650" y="49"/>
                </a:cubicBezTo>
                <a:cubicBezTo>
                  <a:pt x="1650" y="49"/>
                  <a:pt x="1650" y="49"/>
                  <a:pt x="1648" y="49"/>
                </a:cubicBezTo>
                <a:cubicBezTo>
                  <a:pt x="1648" y="49"/>
                  <a:pt x="1648" y="49"/>
                  <a:pt x="1646" y="49"/>
                </a:cubicBezTo>
                <a:cubicBezTo>
                  <a:pt x="1646" y="49"/>
                  <a:pt x="1646" y="49"/>
                  <a:pt x="1644" y="50"/>
                </a:cubicBezTo>
                <a:cubicBezTo>
                  <a:pt x="1644" y="50"/>
                  <a:pt x="1644" y="50"/>
                  <a:pt x="1644" y="51"/>
                </a:cubicBezTo>
                <a:cubicBezTo>
                  <a:pt x="1644" y="51"/>
                  <a:pt x="1644" y="51"/>
                  <a:pt x="1645" y="52"/>
                </a:cubicBezTo>
                <a:lnTo>
                  <a:pt x="1646" y="52"/>
                </a:lnTo>
                <a:close/>
                <a:moveTo>
                  <a:pt x="1649" y="78"/>
                </a:moveTo>
                <a:cubicBezTo>
                  <a:pt x="1648" y="77"/>
                  <a:pt x="1648" y="77"/>
                  <a:pt x="1648" y="77"/>
                </a:cubicBezTo>
                <a:cubicBezTo>
                  <a:pt x="1648" y="78"/>
                  <a:pt x="1648" y="78"/>
                  <a:pt x="1648" y="78"/>
                </a:cubicBezTo>
                <a:cubicBezTo>
                  <a:pt x="1647" y="78"/>
                  <a:pt x="1647" y="78"/>
                  <a:pt x="1647" y="78"/>
                </a:cubicBezTo>
                <a:cubicBezTo>
                  <a:pt x="1648" y="79"/>
                  <a:pt x="1648" y="79"/>
                  <a:pt x="1648" y="79"/>
                </a:cubicBezTo>
                <a:cubicBezTo>
                  <a:pt x="1649" y="79"/>
                  <a:pt x="1649" y="79"/>
                  <a:pt x="1649" y="79"/>
                </a:cubicBezTo>
                <a:cubicBezTo>
                  <a:pt x="1650" y="80"/>
                  <a:pt x="1650" y="80"/>
                  <a:pt x="1650" y="80"/>
                </a:cubicBezTo>
                <a:cubicBezTo>
                  <a:pt x="1651" y="80"/>
                  <a:pt x="1651" y="80"/>
                  <a:pt x="1651" y="80"/>
                </a:cubicBezTo>
                <a:cubicBezTo>
                  <a:pt x="1652" y="79"/>
                  <a:pt x="1652" y="79"/>
                  <a:pt x="1652" y="79"/>
                </a:cubicBezTo>
                <a:cubicBezTo>
                  <a:pt x="1652" y="78"/>
                  <a:pt x="1652" y="78"/>
                  <a:pt x="1652" y="78"/>
                </a:cubicBezTo>
                <a:cubicBezTo>
                  <a:pt x="1650" y="78"/>
                  <a:pt x="1650" y="78"/>
                  <a:pt x="1650" y="78"/>
                </a:cubicBezTo>
                <a:cubicBezTo>
                  <a:pt x="1649" y="78"/>
                  <a:pt x="1649" y="78"/>
                  <a:pt x="1649" y="78"/>
                </a:cubicBezTo>
                <a:close/>
                <a:moveTo>
                  <a:pt x="1667" y="188"/>
                </a:moveTo>
                <a:cubicBezTo>
                  <a:pt x="1667" y="189"/>
                  <a:pt x="1667" y="189"/>
                  <a:pt x="1667" y="189"/>
                </a:cubicBezTo>
                <a:cubicBezTo>
                  <a:pt x="1668" y="190"/>
                  <a:pt x="1668" y="190"/>
                  <a:pt x="1668" y="190"/>
                </a:cubicBezTo>
                <a:cubicBezTo>
                  <a:pt x="1669" y="190"/>
                  <a:pt x="1669" y="190"/>
                  <a:pt x="1669" y="190"/>
                </a:cubicBezTo>
                <a:cubicBezTo>
                  <a:pt x="1669" y="189"/>
                  <a:pt x="1669" y="189"/>
                  <a:pt x="1669" y="189"/>
                </a:cubicBezTo>
                <a:cubicBezTo>
                  <a:pt x="1670" y="190"/>
                  <a:pt x="1670" y="190"/>
                  <a:pt x="1670" y="190"/>
                </a:cubicBezTo>
                <a:cubicBezTo>
                  <a:pt x="1671" y="190"/>
                  <a:pt x="1671" y="190"/>
                  <a:pt x="1671" y="190"/>
                </a:cubicBezTo>
                <a:cubicBezTo>
                  <a:pt x="1672" y="190"/>
                  <a:pt x="1672" y="190"/>
                  <a:pt x="1672" y="190"/>
                </a:cubicBezTo>
                <a:cubicBezTo>
                  <a:pt x="1672" y="189"/>
                  <a:pt x="1672" y="189"/>
                  <a:pt x="1672" y="189"/>
                </a:cubicBezTo>
                <a:cubicBezTo>
                  <a:pt x="1674" y="188"/>
                  <a:pt x="1674" y="188"/>
                  <a:pt x="1674" y="188"/>
                </a:cubicBezTo>
                <a:cubicBezTo>
                  <a:pt x="1675" y="187"/>
                  <a:pt x="1675" y="187"/>
                  <a:pt x="1675" y="187"/>
                </a:cubicBezTo>
                <a:cubicBezTo>
                  <a:pt x="1674" y="185"/>
                  <a:pt x="1674" y="185"/>
                  <a:pt x="1674" y="185"/>
                </a:cubicBezTo>
                <a:cubicBezTo>
                  <a:pt x="1673" y="184"/>
                  <a:pt x="1673" y="184"/>
                  <a:pt x="1673" y="184"/>
                </a:cubicBezTo>
                <a:cubicBezTo>
                  <a:pt x="1673" y="183"/>
                  <a:pt x="1673" y="183"/>
                  <a:pt x="1673" y="183"/>
                </a:cubicBezTo>
                <a:cubicBezTo>
                  <a:pt x="1671" y="182"/>
                  <a:pt x="1671" y="182"/>
                  <a:pt x="1671" y="182"/>
                </a:cubicBezTo>
                <a:cubicBezTo>
                  <a:pt x="1670" y="182"/>
                  <a:pt x="1670" y="182"/>
                  <a:pt x="1670" y="182"/>
                </a:cubicBezTo>
                <a:cubicBezTo>
                  <a:pt x="1669" y="183"/>
                  <a:pt x="1669" y="183"/>
                  <a:pt x="1669" y="183"/>
                </a:cubicBezTo>
                <a:cubicBezTo>
                  <a:pt x="1668" y="183"/>
                  <a:pt x="1668" y="183"/>
                  <a:pt x="1668" y="183"/>
                </a:cubicBezTo>
                <a:cubicBezTo>
                  <a:pt x="1666" y="184"/>
                  <a:pt x="1666" y="184"/>
                  <a:pt x="1666" y="184"/>
                </a:cubicBezTo>
                <a:cubicBezTo>
                  <a:pt x="1666" y="185"/>
                  <a:pt x="1666" y="185"/>
                  <a:pt x="1666" y="185"/>
                </a:cubicBezTo>
                <a:cubicBezTo>
                  <a:pt x="1667" y="186"/>
                  <a:pt x="1667" y="186"/>
                  <a:pt x="1667" y="186"/>
                </a:cubicBezTo>
                <a:cubicBezTo>
                  <a:pt x="1667" y="188"/>
                  <a:pt x="1667" y="188"/>
                  <a:pt x="1667" y="188"/>
                </a:cubicBezTo>
                <a:close/>
                <a:moveTo>
                  <a:pt x="1554" y="85"/>
                </a:moveTo>
                <a:cubicBezTo>
                  <a:pt x="1555" y="86"/>
                  <a:pt x="1555" y="86"/>
                  <a:pt x="1555" y="86"/>
                </a:cubicBezTo>
                <a:cubicBezTo>
                  <a:pt x="1555" y="85"/>
                  <a:pt x="1555" y="85"/>
                  <a:pt x="1555" y="85"/>
                </a:cubicBezTo>
                <a:cubicBezTo>
                  <a:pt x="1555" y="84"/>
                  <a:pt x="1555" y="84"/>
                  <a:pt x="1555" y="84"/>
                </a:cubicBezTo>
                <a:cubicBezTo>
                  <a:pt x="1554" y="84"/>
                  <a:pt x="1554" y="84"/>
                  <a:pt x="1554" y="84"/>
                </a:cubicBezTo>
                <a:cubicBezTo>
                  <a:pt x="1554" y="85"/>
                  <a:pt x="1554" y="85"/>
                  <a:pt x="1554" y="85"/>
                </a:cubicBezTo>
                <a:close/>
                <a:moveTo>
                  <a:pt x="1497" y="361"/>
                </a:moveTo>
                <a:cubicBezTo>
                  <a:pt x="1495" y="359"/>
                  <a:pt x="1495" y="359"/>
                  <a:pt x="1495" y="359"/>
                </a:cubicBezTo>
                <a:cubicBezTo>
                  <a:pt x="1495" y="361"/>
                  <a:pt x="1495" y="361"/>
                  <a:pt x="1495" y="361"/>
                </a:cubicBezTo>
                <a:cubicBezTo>
                  <a:pt x="1496" y="361"/>
                  <a:pt x="1496" y="361"/>
                  <a:pt x="1496" y="361"/>
                </a:cubicBezTo>
                <a:cubicBezTo>
                  <a:pt x="1497" y="361"/>
                  <a:pt x="1497" y="361"/>
                  <a:pt x="1497" y="361"/>
                </a:cubicBezTo>
                <a:close/>
                <a:moveTo>
                  <a:pt x="1611" y="263"/>
                </a:moveTo>
                <a:cubicBezTo>
                  <a:pt x="1612" y="263"/>
                  <a:pt x="1612" y="263"/>
                  <a:pt x="1612" y="263"/>
                </a:cubicBezTo>
                <a:cubicBezTo>
                  <a:pt x="1613" y="263"/>
                  <a:pt x="1613" y="263"/>
                  <a:pt x="1613" y="263"/>
                </a:cubicBezTo>
                <a:cubicBezTo>
                  <a:pt x="1612" y="262"/>
                  <a:pt x="1612" y="262"/>
                  <a:pt x="1612" y="262"/>
                </a:cubicBezTo>
                <a:cubicBezTo>
                  <a:pt x="1611" y="263"/>
                  <a:pt x="1611" y="263"/>
                  <a:pt x="1611" y="263"/>
                </a:cubicBezTo>
                <a:close/>
                <a:moveTo>
                  <a:pt x="1527" y="309"/>
                </a:moveTo>
                <a:cubicBezTo>
                  <a:pt x="1526" y="308"/>
                  <a:pt x="1526" y="308"/>
                  <a:pt x="1526" y="308"/>
                </a:cubicBezTo>
                <a:cubicBezTo>
                  <a:pt x="1526" y="307"/>
                  <a:pt x="1526" y="307"/>
                  <a:pt x="1526" y="307"/>
                </a:cubicBezTo>
                <a:cubicBezTo>
                  <a:pt x="1525" y="307"/>
                  <a:pt x="1525" y="307"/>
                  <a:pt x="1525" y="307"/>
                </a:cubicBezTo>
                <a:cubicBezTo>
                  <a:pt x="1525" y="308"/>
                  <a:pt x="1525" y="308"/>
                  <a:pt x="1525" y="308"/>
                </a:cubicBezTo>
                <a:cubicBezTo>
                  <a:pt x="1526" y="309"/>
                  <a:pt x="1526" y="309"/>
                  <a:pt x="1526" y="309"/>
                </a:cubicBezTo>
                <a:cubicBezTo>
                  <a:pt x="1526" y="310"/>
                  <a:pt x="1526" y="310"/>
                  <a:pt x="1526" y="310"/>
                </a:cubicBezTo>
                <a:cubicBezTo>
                  <a:pt x="1527" y="309"/>
                  <a:pt x="1527" y="309"/>
                  <a:pt x="1527" y="309"/>
                </a:cubicBezTo>
                <a:close/>
                <a:moveTo>
                  <a:pt x="1629" y="256"/>
                </a:moveTo>
                <a:cubicBezTo>
                  <a:pt x="1630" y="256"/>
                  <a:pt x="1630" y="256"/>
                  <a:pt x="1630" y="256"/>
                </a:cubicBezTo>
                <a:cubicBezTo>
                  <a:pt x="1629" y="255"/>
                  <a:pt x="1629" y="255"/>
                  <a:pt x="1629" y="255"/>
                </a:cubicBezTo>
                <a:cubicBezTo>
                  <a:pt x="1627" y="256"/>
                  <a:pt x="1627" y="256"/>
                  <a:pt x="1627" y="256"/>
                </a:cubicBezTo>
                <a:cubicBezTo>
                  <a:pt x="1626" y="257"/>
                  <a:pt x="1626" y="257"/>
                  <a:pt x="1626" y="257"/>
                </a:cubicBezTo>
                <a:cubicBezTo>
                  <a:pt x="1627" y="257"/>
                  <a:pt x="1627" y="257"/>
                  <a:pt x="1627" y="257"/>
                </a:cubicBezTo>
                <a:cubicBezTo>
                  <a:pt x="1629" y="256"/>
                  <a:pt x="1629" y="256"/>
                  <a:pt x="1629" y="256"/>
                </a:cubicBezTo>
                <a:close/>
                <a:moveTo>
                  <a:pt x="1553" y="87"/>
                </a:moveTo>
                <a:cubicBezTo>
                  <a:pt x="1553" y="86"/>
                  <a:pt x="1553" y="86"/>
                  <a:pt x="1553" y="86"/>
                </a:cubicBezTo>
                <a:cubicBezTo>
                  <a:pt x="1553" y="85"/>
                  <a:pt x="1553" y="85"/>
                  <a:pt x="1553" y="85"/>
                </a:cubicBezTo>
                <a:cubicBezTo>
                  <a:pt x="1552" y="85"/>
                  <a:pt x="1552" y="85"/>
                  <a:pt x="1552" y="85"/>
                </a:cubicBezTo>
                <a:cubicBezTo>
                  <a:pt x="1551" y="84"/>
                  <a:pt x="1551" y="84"/>
                  <a:pt x="1551" y="84"/>
                </a:cubicBezTo>
                <a:cubicBezTo>
                  <a:pt x="1550" y="84"/>
                  <a:pt x="1550" y="84"/>
                  <a:pt x="1550" y="84"/>
                </a:cubicBezTo>
                <a:cubicBezTo>
                  <a:pt x="1549" y="84"/>
                  <a:pt x="1549" y="84"/>
                  <a:pt x="1549" y="84"/>
                </a:cubicBezTo>
                <a:cubicBezTo>
                  <a:pt x="1550" y="85"/>
                  <a:pt x="1550" y="85"/>
                  <a:pt x="1550" y="85"/>
                </a:cubicBezTo>
                <a:cubicBezTo>
                  <a:pt x="1550" y="86"/>
                  <a:pt x="1550" y="86"/>
                  <a:pt x="1550" y="86"/>
                </a:cubicBezTo>
                <a:cubicBezTo>
                  <a:pt x="1549" y="87"/>
                  <a:pt x="1549" y="87"/>
                  <a:pt x="1549" y="87"/>
                </a:cubicBezTo>
                <a:cubicBezTo>
                  <a:pt x="1549" y="88"/>
                  <a:pt x="1549" y="88"/>
                  <a:pt x="1549" y="88"/>
                </a:cubicBezTo>
                <a:cubicBezTo>
                  <a:pt x="1551" y="88"/>
                  <a:pt x="1551" y="88"/>
                  <a:pt x="1551" y="88"/>
                </a:cubicBezTo>
                <a:cubicBezTo>
                  <a:pt x="1553" y="87"/>
                  <a:pt x="1553" y="87"/>
                  <a:pt x="1553" y="87"/>
                </a:cubicBezTo>
                <a:close/>
                <a:moveTo>
                  <a:pt x="1687" y="32"/>
                </a:moveTo>
                <a:cubicBezTo>
                  <a:pt x="1687" y="32"/>
                  <a:pt x="1687" y="32"/>
                  <a:pt x="1688" y="31"/>
                </a:cubicBezTo>
                <a:cubicBezTo>
                  <a:pt x="1688" y="31"/>
                  <a:pt x="1688" y="31"/>
                  <a:pt x="1689" y="30"/>
                </a:cubicBezTo>
                <a:cubicBezTo>
                  <a:pt x="1689" y="30"/>
                  <a:pt x="1689" y="30"/>
                  <a:pt x="1687" y="29"/>
                </a:cubicBezTo>
                <a:cubicBezTo>
                  <a:pt x="1687" y="29"/>
                  <a:pt x="1687" y="29"/>
                  <a:pt x="1686" y="29"/>
                </a:cubicBezTo>
                <a:cubicBezTo>
                  <a:pt x="1686" y="29"/>
                  <a:pt x="1686" y="29"/>
                  <a:pt x="1685" y="31"/>
                </a:cubicBezTo>
                <a:cubicBezTo>
                  <a:pt x="1685" y="31"/>
                  <a:pt x="1685" y="31"/>
                  <a:pt x="1684" y="32"/>
                </a:cubicBezTo>
                <a:cubicBezTo>
                  <a:pt x="1684" y="32"/>
                  <a:pt x="1684" y="32"/>
                  <a:pt x="1686" y="33"/>
                </a:cubicBezTo>
                <a:cubicBezTo>
                  <a:pt x="1686" y="33"/>
                  <a:pt x="1686" y="33"/>
                  <a:pt x="1687" y="32"/>
                </a:cubicBezTo>
                <a:close/>
                <a:moveTo>
                  <a:pt x="1752" y="55"/>
                </a:moveTo>
                <a:cubicBezTo>
                  <a:pt x="1752" y="57"/>
                  <a:pt x="1752" y="57"/>
                  <a:pt x="1752" y="57"/>
                </a:cubicBezTo>
                <a:cubicBezTo>
                  <a:pt x="1753" y="57"/>
                  <a:pt x="1753" y="57"/>
                  <a:pt x="1753" y="57"/>
                </a:cubicBezTo>
                <a:cubicBezTo>
                  <a:pt x="1754" y="58"/>
                  <a:pt x="1754" y="58"/>
                  <a:pt x="1754" y="58"/>
                </a:cubicBezTo>
                <a:cubicBezTo>
                  <a:pt x="1754" y="59"/>
                  <a:pt x="1754" y="59"/>
                  <a:pt x="1754" y="59"/>
                </a:cubicBezTo>
                <a:cubicBezTo>
                  <a:pt x="1755" y="62"/>
                  <a:pt x="1755" y="62"/>
                  <a:pt x="1755" y="62"/>
                </a:cubicBezTo>
                <a:cubicBezTo>
                  <a:pt x="1756" y="63"/>
                  <a:pt x="1756" y="63"/>
                  <a:pt x="1756" y="63"/>
                </a:cubicBezTo>
                <a:cubicBezTo>
                  <a:pt x="1757" y="63"/>
                  <a:pt x="1757" y="63"/>
                  <a:pt x="1757" y="63"/>
                </a:cubicBezTo>
                <a:cubicBezTo>
                  <a:pt x="1756" y="64"/>
                  <a:pt x="1756" y="64"/>
                  <a:pt x="1756" y="64"/>
                </a:cubicBezTo>
                <a:cubicBezTo>
                  <a:pt x="1755" y="64"/>
                  <a:pt x="1755" y="64"/>
                  <a:pt x="1755" y="64"/>
                </a:cubicBezTo>
                <a:cubicBezTo>
                  <a:pt x="1754" y="66"/>
                  <a:pt x="1754" y="66"/>
                  <a:pt x="1754" y="66"/>
                </a:cubicBezTo>
                <a:cubicBezTo>
                  <a:pt x="1756" y="69"/>
                  <a:pt x="1756" y="69"/>
                  <a:pt x="1756" y="69"/>
                </a:cubicBezTo>
                <a:cubicBezTo>
                  <a:pt x="1756" y="70"/>
                  <a:pt x="1756" y="70"/>
                  <a:pt x="1756" y="70"/>
                </a:cubicBezTo>
                <a:cubicBezTo>
                  <a:pt x="1756" y="72"/>
                  <a:pt x="1756" y="72"/>
                  <a:pt x="1756" y="72"/>
                </a:cubicBezTo>
                <a:cubicBezTo>
                  <a:pt x="1757" y="72"/>
                  <a:pt x="1757" y="72"/>
                  <a:pt x="1757" y="72"/>
                </a:cubicBezTo>
                <a:cubicBezTo>
                  <a:pt x="1757" y="73"/>
                  <a:pt x="1757" y="73"/>
                  <a:pt x="1757" y="73"/>
                </a:cubicBezTo>
                <a:cubicBezTo>
                  <a:pt x="1756" y="74"/>
                  <a:pt x="1756" y="74"/>
                  <a:pt x="1756" y="74"/>
                </a:cubicBezTo>
                <a:cubicBezTo>
                  <a:pt x="1757" y="76"/>
                  <a:pt x="1757" y="76"/>
                  <a:pt x="1757" y="76"/>
                </a:cubicBezTo>
                <a:cubicBezTo>
                  <a:pt x="1758" y="78"/>
                  <a:pt x="1758" y="78"/>
                  <a:pt x="1758" y="78"/>
                </a:cubicBezTo>
                <a:cubicBezTo>
                  <a:pt x="1759" y="79"/>
                  <a:pt x="1759" y="79"/>
                  <a:pt x="1759" y="79"/>
                </a:cubicBezTo>
                <a:cubicBezTo>
                  <a:pt x="1759" y="80"/>
                  <a:pt x="1759" y="80"/>
                  <a:pt x="1759" y="80"/>
                </a:cubicBezTo>
                <a:cubicBezTo>
                  <a:pt x="1760" y="81"/>
                  <a:pt x="1760" y="81"/>
                  <a:pt x="1760" y="81"/>
                </a:cubicBezTo>
                <a:cubicBezTo>
                  <a:pt x="1760" y="80"/>
                  <a:pt x="1761" y="80"/>
                  <a:pt x="1761" y="80"/>
                </a:cubicBezTo>
                <a:cubicBezTo>
                  <a:pt x="1762" y="79"/>
                  <a:pt x="1762" y="79"/>
                  <a:pt x="1762" y="79"/>
                </a:cubicBezTo>
                <a:cubicBezTo>
                  <a:pt x="1763" y="77"/>
                  <a:pt x="1763" y="77"/>
                  <a:pt x="1763" y="77"/>
                </a:cubicBezTo>
                <a:cubicBezTo>
                  <a:pt x="1764" y="76"/>
                  <a:pt x="1764" y="76"/>
                  <a:pt x="1764" y="76"/>
                </a:cubicBezTo>
                <a:cubicBezTo>
                  <a:pt x="1764" y="75"/>
                  <a:pt x="1764" y="75"/>
                  <a:pt x="1764" y="75"/>
                </a:cubicBezTo>
                <a:cubicBezTo>
                  <a:pt x="1764" y="74"/>
                  <a:pt x="1764" y="74"/>
                  <a:pt x="1764" y="74"/>
                </a:cubicBezTo>
                <a:cubicBezTo>
                  <a:pt x="1767" y="73"/>
                  <a:pt x="1767" y="73"/>
                  <a:pt x="1767" y="73"/>
                </a:cubicBezTo>
                <a:cubicBezTo>
                  <a:pt x="1768" y="72"/>
                  <a:pt x="1768" y="72"/>
                  <a:pt x="1768" y="72"/>
                </a:cubicBezTo>
                <a:cubicBezTo>
                  <a:pt x="1769" y="73"/>
                  <a:pt x="1769" y="73"/>
                  <a:pt x="1769" y="73"/>
                </a:cubicBezTo>
                <a:cubicBezTo>
                  <a:pt x="1770" y="73"/>
                  <a:pt x="1770" y="73"/>
                  <a:pt x="1770" y="73"/>
                </a:cubicBezTo>
                <a:cubicBezTo>
                  <a:pt x="1770" y="72"/>
                  <a:pt x="1770" y="72"/>
                  <a:pt x="1770" y="72"/>
                </a:cubicBezTo>
                <a:cubicBezTo>
                  <a:pt x="1771" y="71"/>
                  <a:pt x="1771" y="71"/>
                  <a:pt x="1771" y="71"/>
                </a:cubicBezTo>
                <a:cubicBezTo>
                  <a:pt x="1772" y="70"/>
                  <a:pt x="1772" y="70"/>
                  <a:pt x="1772" y="70"/>
                </a:cubicBezTo>
                <a:cubicBezTo>
                  <a:pt x="1774" y="69"/>
                  <a:pt x="1774" y="69"/>
                  <a:pt x="1774" y="69"/>
                </a:cubicBezTo>
                <a:cubicBezTo>
                  <a:pt x="1775" y="68"/>
                  <a:pt x="1775" y="68"/>
                  <a:pt x="1775" y="68"/>
                </a:cubicBezTo>
                <a:cubicBezTo>
                  <a:pt x="1776" y="67"/>
                  <a:pt x="1776" y="67"/>
                  <a:pt x="1776" y="67"/>
                </a:cubicBezTo>
                <a:cubicBezTo>
                  <a:pt x="1777" y="65"/>
                  <a:pt x="1777" y="65"/>
                  <a:pt x="1777" y="65"/>
                </a:cubicBezTo>
                <a:cubicBezTo>
                  <a:pt x="1776" y="63"/>
                  <a:pt x="1776" y="63"/>
                  <a:pt x="1776" y="63"/>
                </a:cubicBezTo>
                <a:cubicBezTo>
                  <a:pt x="1775" y="61"/>
                  <a:pt x="1775" y="61"/>
                  <a:pt x="1775" y="61"/>
                </a:cubicBezTo>
                <a:cubicBezTo>
                  <a:pt x="1774" y="60"/>
                  <a:pt x="1774" y="60"/>
                  <a:pt x="1774" y="60"/>
                </a:cubicBezTo>
                <a:cubicBezTo>
                  <a:pt x="1774" y="59"/>
                  <a:pt x="1774" y="59"/>
                  <a:pt x="1774" y="59"/>
                </a:cubicBezTo>
                <a:cubicBezTo>
                  <a:pt x="1772" y="57"/>
                  <a:pt x="1772" y="57"/>
                  <a:pt x="1772" y="57"/>
                </a:cubicBezTo>
                <a:cubicBezTo>
                  <a:pt x="1771" y="57"/>
                  <a:pt x="1771" y="57"/>
                  <a:pt x="1771" y="57"/>
                </a:cubicBezTo>
                <a:cubicBezTo>
                  <a:pt x="1770" y="58"/>
                  <a:pt x="1770" y="58"/>
                  <a:pt x="1770" y="58"/>
                </a:cubicBezTo>
                <a:cubicBezTo>
                  <a:pt x="1769" y="57"/>
                  <a:pt x="1769" y="57"/>
                  <a:pt x="1769" y="57"/>
                </a:cubicBezTo>
                <a:cubicBezTo>
                  <a:pt x="1768" y="56"/>
                  <a:pt x="1768" y="56"/>
                  <a:pt x="1768" y="56"/>
                </a:cubicBezTo>
                <a:cubicBezTo>
                  <a:pt x="1766" y="55"/>
                  <a:pt x="1766" y="55"/>
                  <a:pt x="1766" y="55"/>
                </a:cubicBezTo>
                <a:cubicBezTo>
                  <a:pt x="1765" y="55"/>
                  <a:pt x="1765" y="55"/>
                  <a:pt x="1765" y="55"/>
                </a:cubicBezTo>
                <a:cubicBezTo>
                  <a:pt x="1764" y="55"/>
                  <a:pt x="1764" y="55"/>
                  <a:pt x="1764" y="55"/>
                </a:cubicBezTo>
                <a:cubicBezTo>
                  <a:pt x="1764" y="54"/>
                  <a:pt x="1764" y="54"/>
                  <a:pt x="1764" y="54"/>
                </a:cubicBezTo>
                <a:cubicBezTo>
                  <a:pt x="1763" y="53"/>
                  <a:pt x="1763" y="53"/>
                  <a:pt x="1763" y="53"/>
                </a:cubicBezTo>
                <a:cubicBezTo>
                  <a:pt x="1762" y="53"/>
                  <a:pt x="1762" y="53"/>
                  <a:pt x="1762" y="53"/>
                </a:cubicBezTo>
                <a:cubicBezTo>
                  <a:pt x="1762" y="54"/>
                  <a:pt x="1762" y="54"/>
                  <a:pt x="1762" y="54"/>
                </a:cubicBezTo>
                <a:cubicBezTo>
                  <a:pt x="1761" y="54"/>
                  <a:pt x="1761" y="54"/>
                  <a:pt x="1761" y="54"/>
                </a:cubicBezTo>
                <a:cubicBezTo>
                  <a:pt x="1760" y="52"/>
                  <a:pt x="1760" y="52"/>
                  <a:pt x="1760" y="52"/>
                </a:cubicBezTo>
                <a:cubicBezTo>
                  <a:pt x="1759" y="52"/>
                  <a:pt x="1759" y="52"/>
                  <a:pt x="1759" y="52"/>
                </a:cubicBezTo>
                <a:cubicBezTo>
                  <a:pt x="1759" y="53"/>
                  <a:pt x="1759" y="53"/>
                  <a:pt x="1759" y="53"/>
                </a:cubicBezTo>
                <a:cubicBezTo>
                  <a:pt x="1760" y="54"/>
                  <a:pt x="1760" y="54"/>
                  <a:pt x="1760" y="54"/>
                </a:cubicBezTo>
                <a:cubicBezTo>
                  <a:pt x="1759" y="55"/>
                  <a:pt x="1759" y="55"/>
                  <a:pt x="1759" y="55"/>
                </a:cubicBezTo>
                <a:cubicBezTo>
                  <a:pt x="1759" y="56"/>
                  <a:pt x="1759" y="56"/>
                  <a:pt x="1759" y="56"/>
                </a:cubicBezTo>
                <a:cubicBezTo>
                  <a:pt x="1758" y="55"/>
                  <a:pt x="1758" y="55"/>
                  <a:pt x="1758" y="55"/>
                </a:cubicBezTo>
                <a:cubicBezTo>
                  <a:pt x="1758" y="51"/>
                  <a:pt x="1758" y="51"/>
                  <a:pt x="1758" y="51"/>
                </a:cubicBezTo>
                <a:cubicBezTo>
                  <a:pt x="1757" y="51"/>
                  <a:pt x="1757" y="51"/>
                  <a:pt x="1757" y="51"/>
                </a:cubicBezTo>
                <a:cubicBezTo>
                  <a:pt x="1756" y="50"/>
                  <a:pt x="1756" y="50"/>
                  <a:pt x="1756" y="50"/>
                </a:cubicBezTo>
                <a:cubicBezTo>
                  <a:pt x="1754" y="50"/>
                  <a:pt x="1754" y="50"/>
                  <a:pt x="1754" y="50"/>
                </a:cubicBezTo>
                <a:cubicBezTo>
                  <a:pt x="1753" y="50"/>
                  <a:pt x="1753" y="50"/>
                  <a:pt x="1753" y="50"/>
                </a:cubicBezTo>
                <a:cubicBezTo>
                  <a:pt x="1752" y="51"/>
                  <a:pt x="1752" y="51"/>
                  <a:pt x="1752" y="51"/>
                </a:cubicBezTo>
                <a:cubicBezTo>
                  <a:pt x="1753" y="52"/>
                  <a:pt x="1753" y="52"/>
                  <a:pt x="1753" y="52"/>
                </a:cubicBezTo>
                <a:cubicBezTo>
                  <a:pt x="1754" y="53"/>
                  <a:pt x="1754" y="53"/>
                  <a:pt x="1754" y="53"/>
                </a:cubicBezTo>
                <a:cubicBezTo>
                  <a:pt x="1755" y="54"/>
                  <a:pt x="1755" y="54"/>
                  <a:pt x="1755" y="54"/>
                </a:cubicBezTo>
                <a:cubicBezTo>
                  <a:pt x="1754" y="54"/>
                  <a:pt x="1754" y="54"/>
                  <a:pt x="1754" y="54"/>
                </a:cubicBezTo>
                <a:cubicBezTo>
                  <a:pt x="1753" y="54"/>
                  <a:pt x="1753" y="54"/>
                  <a:pt x="1753" y="54"/>
                </a:cubicBezTo>
                <a:cubicBezTo>
                  <a:pt x="1753" y="53"/>
                  <a:pt x="1753" y="53"/>
                  <a:pt x="1753" y="53"/>
                </a:cubicBezTo>
                <a:cubicBezTo>
                  <a:pt x="1752" y="53"/>
                  <a:pt x="1752" y="53"/>
                  <a:pt x="1752" y="53"/>
                </a:cubicBezTo>
                <a:cubicBezTo>
                  <a:pt x="1751" y="53"/>
                  <a:pt x="1751" y="53"/>
                  <a:pt x="1751" y="53"/>
                </a:cubicBezTo>
                <a:cubicBezTo>
                  <a:pt x="1752" y="54"/>
                  <a:pt x="1752" y="54"/>
                  <a:pt x="1752" y="54"/>
                </a:cubicBezTo>
                <a:cubicBezTo>
                  <a:pt x="1752" y="55"/>
                  <a:pt x="1752" y="55"/>
                  <a:pt x="1752" y="55"/>
                </a:cubicBezTo>
                <a:close/>
                <a:moveTo>
                  <a:pt x="1551" y="82"/>
                </a:moveTo>
                <a:cubicBezTo>
                  <a:pt x="1551" y="81"/>
                  <a:pt x="1551" y="81"/>
                  <a:pt x="1551" y="81"/>
                </a:cubicBezTo>
                <a:cubicBezTo>
                  <a:pt x="1551" y="80"/>
                  <a:pt x="1551" y="80"/>
                  <a:pt x="1551" y="80"/>
                </a:cubicBezTo>
                <a:cubicBezTo>
                  <a:pt x="1551" y="79"/>
                  <a:pt x="1551" y="79"/>
                  <a:pt x="1551" y="79"/>
                </a:cubicBezTo>
                <a:cubicBezTo>
                  <a:pt x="1553" y="81"/>
                  <a:pt x="1553" y="81"/>
                  <a:pt x="1553" y="81"/>
                </a:cubicBezTo>
                <a:cubicBezTo>
                  <a:pt x="1554" y="80"/>
                  <a:pt x="1554" y="80"/>
                  <a:pt x="1554" y="80"/>
                </a:cubicBezTo>
                <a:cubicBezTo>
                  <a:pt x="1553" y="79"/>
                  <a:pt x="1553" y="79"/>
                  <a:pt x="1553" y="79"/>
                </a:cubicBezTo>
                <a:cubicBezTo>
                  <a:pt x="1552" y="78"/>
                  <a:pt x="1552" y="78"/>
                  <a:pt x="1552" y="78"/>
                </a:cubicBezTo>
                <a:cubicBezTo>
                  <a:pt x="1551" y="78"/>
                  <a:pt x="1551" y="78"/>
                  <a:pt x="1551" y="78"/>
                </a:cubicBezTo>
                <a:cubicBezTo>
                  <a:pt x="1550" y="78"/>
                  <a:pt x="1550" y="78"/>
                  <a:pt x="1550" y="78"/>
                </a:cubicBezTo>
                <a:cubicBezTo>
                  <a:pt x="1550" y="80"/>
                  <a:pt x="1550" y="80"/>
                  <a:pt x="1550" y="80"/>
                </a:cubicBezTo>
                <a:cubicBezTo>
                  <a:pt x="1549" y="80"/>
                  <a:pt x="1549" y="80"/>
                  <a:pt x="1549" y="80"/>
                </a:cubicBezTo>
                <a:cubicBezTo>
                  <a:pt x="1550" y="81"/>
                  <a:pt x="1550" y="81"/>
                  <a:pt x="1550" y="81"/>
                </a:cubicBezTo>
                <a:cubicBezTo>
                  <a:pt x="1551" y="82"/>
                  <a:pt x="1551" y="82"/>
                  <a:pt x="1551" y="82"/>
                </a:cubicBezTo>
                <a:close/>
                <a:moveTo>
                  <a:pt x="1760" y="81"/>
                </a:moveTo>
                <a:cubicBezTo>
                  <a:pt x="1760" y="81"/>
                  <a:pt x="1760" y="81"/>
                  <a:pt x="1760" y="81"/>
                </a:cubicBezTo>
                <a:cubicBezTo>
                  <a:pt x="1760" y="81"/>
                  <a:pt x="1760" y="81"/>
                  <a:pt x="1760" y="81"/>
                </a:cubicBezTo>
                <a:close/>
                <a:moveTo>
                  <a:pt x="1766" y="113"/>
                </a:moveTo>
                <a:cubicBezTo>
                  <a:pt x="1765" y="113"/>
                  <a:pt x="1765" y="113"/>
                  <a:pt x="1765" y="113"/>
                </a:cubicBezTo>
                <a:cubicBezTo>
                  <a:pt x="1765" y="114"/>
                  <a:pt x="1765" y="114"/>
                  <a:pt x="1765" y="114"/>
                </a:cubicBezTo>
                <a:cubicBezTo>
                  <a:pt x="1764" y="114"/>
                  <a:pt x="1764" y="114"/>
                  <a:pt x="1764" y="114"/>
                </a:cubicBezTo>
                <a:cubicBezTo>
                  <a:pt x="1763" y="114"/>
                  <a:pt x="1763" y="114"/>
                  <a:pt x="1763" y="114"/>
                </a:cubicBezTo>
                <a:cubicBezTo>
                  <a:pt x="1762" y="114"/>
                  <a:pt x="1762" y="114"/>
                  <a:pt x="1762" y="114"/>
                </a:cubicBezTo>
                <a:cubicBezTo>
                  <a:pt x="1762" y="115"/>
                  <a:pt x="1762" y="115"/>
                  <a:pt x="1762" y="115"/>
                </a:cubicBezTo>
                <a:cubicBezTo>
                  <a:pt x="1761" y="114"/>
                  <a:pt x="1761" y="114"/>
                  <a:pt x="1761" y="114"/>
                </a:cubicBezTo>
                <a:cubicBezTo>
                  <a:pt x="1760" y="115"/>
                  <a:pt x="1760" y="115"/>
                  <a:pt x="1760" y="115"/>
                </a:cubicBezTo>
                <a:cubicBezTo>
                  <a:pt x="1760" y="116"/>
                  <a:pt x="1760" y="116"/>
                  <a:pt x="1760" y="116"/>
                </a:cubicBezTo>
                <a:cubicBezTo>
                  <a:pt x="1761" y="116"/>
                  <a:pt x="1761" y="116"/>
                  <a:pt x="1761" y="116"/>
                </a:cubicBezTo>
                <a:cubicBezTo>
                  <a:pt x="1762" y="116"/>
                  <a:pt x="1762" y="116"/>
                  <a:pt x="1762" y="116"/>
                </a:cubicBezTo>
                <a:cubicBezTo>
                  <a:pt x="1763" y="116"/>
                  <a:pt x="1763" y="116"/>
                  <a:pt x="1763" y="116"/>
                </a:cubicBezTo>
                <a:cubicBezTo>
                  <a:pt x="1764" y="116"/>
                  <a:pt x="1764" y="116"/>
                  <a:pt x="1764" y="116"/>
                </a:cubicBezTo>
                <a:cubicBezTo>
                  <a:pt x="1765" y="116"/>
                  <a:pt x="1765" y="116"/>
                  <a:pt x="1765" y="116"/>
                </a:cubicBezTo>
                <a:cubicBezTo>
                  <a:pt x="1766" y="116"/>
                  <a:pt x="1766" y="116"/>
                  <a:pt x="1766" y="116"/>
                </a:cubicBezTo>
                <a:cubicBezTo>
                  <a:pt x="1767" y="115"/>
                  <a:pt x="1767" y="115"/>
                  <a:pt x="1767" y="115"/>
                </a:cubicBezTo>
                <a:cubicBezTo>
                  <a:pt x="1766" y="114"/>
                  <a:pt x="1766" y="114"/>
                  <a:pt x="1766" y="114"/>
                </a:cubicBezTo>
                <a:cubicBezTo>
                  <a:pt x="1767" y="114"/>
                  <a:pt x="1767" y="114"/>
                  <a:pt x="1767" y="114"/>
                </a:cubicBezTo>
                <a:cubicBezTo>
                  <a:pt x="1766" y="113"/>
                  <a:pt x="1766" y="113"/>
                  <a:pt x="1766" y="113"/>
                </a:cubicBezTo>
                <a:close/>
                <a:moveTo>
                  <a:pt x="1761" y="108"/>
                </a:moveTo>
                <a:cubicBezTo>
                  <a:pt x="1760" y="108"/>
                  <a:pt x="1760" y="108"/>
                  <a:pt x="1760" y="108"/>
                </a:cubicBezTo>
                <a:cubicBezTo>
                  <a:pt x="1760" y="109"/>
                  <a:pt x="1760" y="109"/>
                  <a:pt x="1760" y="109"/>
                </a:cubicBezTo>
                <a:cubicBezTo>
                  <a:pt x="1761" y="108"/>
                  <a:pt x="1761" y="108"/>
                  <a:pt x="1761" y="108"/>
                </a:cubicBezTo>
                <a:close/>
                <a:moveTo>
                  <a:pt x="2224" y="237"/>
                </a:moveTo>
                <a:cubicBezTo>
                  <a:pt x="2224" y="236"/>
                  <a:pt x="2224" y="236"/>
                  <a:pt x="2224" y="236"/>
                </a:cubicBezTo>
                <a:cubicBezTo>
                  <a:pt x="2224" y="235"/>
                  <a:pt x="2224" y="235"/>
                  <a:pt x="2224" y="235"/>
                </a:cubicBezTo>
                <a:cubicBezTo>
                  <a:pt x="2223" y="235"/>
                  <a:pt x="2223" y="235"/>
                  <a:pt x="2223" y="235"/>
                </a:cubicBezTo>
                <a:cubicBezTo>
                  <a:pt x="2224" y="237"/>
                  <a:pt x="2224" y="237"/>
                  <a:pt x="2224" y="237"/>
                </a:cubicBezTo>
                <a:close/>
                <a:moveTo>
                  <a:pt x="1758" y="109"/>
                </a:moveTo>
                <a:cubicBezTo>
                  <a:pt x="1759" y="108"/>
                  <a:pt x="1759" y="108"/>
                  <a:pt x="1759" y="108"/>
                </a:cubicBezTo>
                <a:cubicBezTo>
                  <a:pt x="1757" y="108"/>
                  <a:pt x="1757" y="108"/>
                  <a:pt x="1757" y="108"/>
                </a:cubicBezTo>
                <a:cubicBezTo>
                  <a:pt x="1758" y="109"/>
                  <a:pt x="1758" y="109"/>
                  <a:pt x="1758" y="109"/>
                </a:cubicBezTo>
                <a:close/>
                <a:moveTo>
                  <a:pt x="2123" y="353"/>
                </a:moveTo>
                <a:cubicBezTo>
                  <a:pt x="2123" y="354"/>
                  <a:pt x="2123" y="354"/>
                  <a:pt x="2123" y="354"/>
                </a:cubicBezTo>
                <a:cubicBezTo>
                  <a:pt x="2123" y="355"/>
                  <a:pt x="2123" y="355"/>
                  <a:pt x="2123" y="355"/>
                </a:cubicBezTo>
                <a:cubicBezTo>
                  <a:pt x="2124" y="355"/>
                  <a:pt x="2124" y="355"/>
                  <a:pt x="2124" y="355"/>
                </a:cubicBezTo>
                <a:cubicBezTo>
                  <a:pt x="2124" y="354"/>
                  <a:pt x="2124" y="354"/>
                  <a:pt x="2124" y="354"/>
                </a:cubicBezTo>
                <a:cubicBezTo>
                  <a:pt x="2123" y="353"/>
                  <a:pt x="2123" y="353"/>
                  <a:pt x="2123" y="353"/>
                </a:cubicBezTo>
                <a:close/>
                <a:moveTo>
                  <a:pt x="2118" y="348"/>
                </a:moveTo>
                <a:cubicBezTo>
                  <a:pt x="2117" y="348"/>
                  <a:pt x="2117" y="348"/>
                  <a:pt x="2117" y="348"/>
                </a:cubicBezTo>
                <a:cubicBezTo>
                  <a:pt x="2116" y="349"/>
                  <a:pt x="2116" y="349"/>
                  <a:pt x="2116" y="349"/>
                </a:cubicBezTo>
                <a:cubicBezTo>
                  <a:pt x="2115" y="349"/>
                  <a:pt x="2115" y="349"/>
                  <a:pt x="2115" y="349"/>
                </a:cubicBezTo>
                <a:cubicBezTo>
                  <a:pt x="2115" y="350"/>
                  <a:pt x="2115" y="350"/>
                  <a:pt x="2115" y="350"/>
                </a:cubicBezTo>
                <a:cubicBezTo>
                  <a:pt x="2116" y="351"/>
                  <a:pt x="2116" y="351"/>
                  <a:pt x="2116" y="351"/>
                </a:cubicBezTo>
                <a:cubicBezTo>
                  <a:pt x="2117" y="350"/>
                  <a:pt x="2117" y="350"/>
                  <a:pt x="2117" y="350"/>
                </a:cubicBezTo>
                <a:cubicBezTo>
                  <a:pt x="2117" y="351"/>
                  <a:pt x="2117" y="351"/>
                  <a:pt x="2117" y="351"/>
                </a:cubicBezTo>
                <a:cubicBezTo>
                  <a:pt x="2118" y="350"/>
                  <a:pt x="2118" y="350"/>
                  <a:pt x="2118" y="350"/>
                </a:cubicBezTo>
                <a:cubicBezTo>
                  <a:pt x="2117" y="349"/>
                  <a:pt x="2117" y="349"/>
                  <a:pt x="2117" y="349"/>
                </a:cubicBezTo>
                <a:cubicBezTo>
                  <a:pt x="2118" y="349"/>
                  <a:pt x="2118" y="349"/>
                  <a:pt x="2118" y="349"/>
                </a:cubicBezTo>
                <a:cubicBezTo>
                  <a:pt x="2118" y="348"/>
                  <a:pt x="2118" y="348"/>
                  <a:pt x="2118" y="348"/>
                </a:cubicBezTo>
                <a:close/>
                <a:moveTo>
                  <a:pt x="2125" y="354"/>
                </a:moveTo>
                <a:cubicBezTo>
                  <a:pt x="2124" y="355"/>
                  <a:pt x="2124" y="355"/>
                  <a:pt x="2124" y="355"/>
                </a:cubicBezTo>
                <a:cubicBezTo>
                  <a:pt x="2124" y="356"/>
                  <a:pt x="2124" y="356"/>
                  <a:pt x="2124" y="356"/>
                </a:cubicBezTo>
                <a:cubicBezTo>
                  <a:pt x="2125" y="355"/>
                  <a:pt x="2125" y="355"/>
                  <a:pt x="2125" y="355"/>
                </a:cubicBezTo>
                <a:cubicBezTo>
                  <a:pt x="2125" y="354"/>
                  <a:pt x="2125" y="354"/>
                  <a:pt x="2125" y="354"/>
                </a:cubicBezTo>
                <a:close/>
                <a:moveTo>
                  <a:pt x="2122" y="358"/>
                </a:moveTo>
                <a:cubicBezTo>
                  <a:pt x="2122" y="359"/>
                  <a:pt x="2122" y="359"/>
                  <a:pt x="2122" y="359"/>
                </a:cubicBezTo>
                <a:cubicBezTo>
                  <a:pt x="2123" y="360"/>
                  <a:pt x="2123" y="360"/>
                  <a:pt x="2123" y="360"/>
                </a:cubicBezTo>
                <a:cubicBezTo>
                  <a:pt x="2124" y="358"/>
                  <a:pt x="2124" y="358"/>
                  <a:pt x="2124" y="358"/>
                </a:cubicBezTo>
                <a:cubicBezTo>
                  <a:pt x="2125" y="358"/>
                  <a:pt x="2125" y="358"/>
                  <a:pt x="2125" y="358"/>
                </a:cubicBezTo>
                <a:cubicBezTo>
                  <a:pt x="2125" y="357"/>
                  <a:pt x="2125" y="357"/>
                  <a:pt x="2125" y="357"/>
                </a:cubicBezTo>
                <a:cubicBezTo>
                  <a:pt x="2125" y="356"/>
                  <a:pt x="2125" y="356"/>
                  <a:pt x="2125" y="356"/>
                </a:cubicBezTo>
                <a:cubicBezTo>
                  <a:pt x="2123" y="357"/>
                  <a:pt x="2123" y="357"/>
                  <a:pt x="2123" y="357"/>
                </a:cubicBezTo>
                <a:cubicBezTo>
                  <a:pt x="2122" y="358"/>
                  <a:pt x="2122" y="358"/>
                  <a:pt x="2122" y="358"/>
                </a:cubicBezTo>
                <a:close/>
                <a:moveTo>
                  <a:pt x="2125" y="348"/>
                </a:moveTo>
                <a:cubicBezTo>
                  <a:pt x="2124" y="348"/>
                  <a:pt x="2124" y="348"/>
                  <a:pt x="2124" y="348"/>
                </a:cubicBezTo>
                <a:cubicBezTo>
                  <a:pt x="2123" y="349"/>
                  <a:pt x="2123" y="349"/>
                  <a:pt x="2123" y="349"/>
                </a:cubicBezTo>
                <a:cubicBezTo>
                  <a:pt x="2123" y="348"/>
                  <a:pt x="2123" y="348"/>
                  <a:pt x="2123" y="348"/>
                </a:cubicBezTo>
                <a:cubicBezTo>
                  <a:pt x="2123" y="347"/>
                  <a:pt x="2123" y="347"/>
                  <a:pt x="2123" y="347"/>
                </a:cubicBezTo>
                <a:cubicBezTo>
                  <a:pt x="2121" y="347"/>
                  <a:pt x="2121" y="347"/>
                  <a:pt x="2121" y="347"/>
                </a:cubicBezTo>
                <a:cubicBezTo>
                  <a:pt x="2120" y="348"/>
                  <a:pt x="2120" y="348"/>
                  <a:pt x="2120" y="348"/>
                </a:cubicBezTo>
                <a:cubicBezTo>
                  <a:pt x="2120" y="349"/>
                  <a:pt x="2120" y="349"/>
                  <a:pt x="2120" y="349"/>
                </a:cubicBezTo>
                <a:cubicBezTo>
                  <a:pt x="2119" y="349"/>
                  <a:pt x="2119" y="349"/>
                  <a:pt x="2119" y="349"/>
                </a:cubicBezTo>
                <a:cubicBezTo>
                  <a:pt x="2119" y="350"/>
                  <a:pt x="2119" y="350"/>
                  <a:pt x="2119" y="350"/>
                </a:cubicBezTo>
                <a:cubicBezTo>
                  <a:pt x="2120" y="352"/>
                  <a:pt x="2120" y="352"/>
                  <a:pt x="2120" y="352"/>
                </a:cubicBezTo>
                <a:cubicBezTo>
                  <a:pt x="2120" y="351"/>
                  <a:pt x="2120" y="351"/>
                  <a:pt x="2120" y="351"/>
                </a:cubicBezTo>
                <a:cubicBezTo>
                  <a:pt x="2121" y="351"/>
                  <a:pt x="2121" y="351"/>
                  <a:pt x="2121" y="351"/>
                </a:cubicBezTo>
                <a:cubicBezTo>
                  <a:pt x="2122" y="352"/>
                  <a:pt x="2122" y="352"/>
                  <a:pt x="2122" y="352"/>
                </a:cubicBezTo>
                <a:cubicBezTo>
                  <a:pt x="2123" y="352"/>
                  <a:pt x="2123" y="352"/>
                  <a:pt x="2123" y="352"/>
                </a:cubicBezTo>
                <a:cubicBezTo>
                  <a:pt x="2124" y="352"/>
                  <a:pt x="2124" y="352"/>
                  <a:pt x="2124" y="352"/>
                </a:cubicBezTo>
                <a:cubicBezTo>
                  <a:pt x="2124" y="351"/>
                  <a:pt x="2124" y="351"/>
                  <a:pt x="2124" y="351"/>
                </a:cubicBezTo>
                <a:cubicBezTo>
                  <a:pt x="2124" y="350"/>
                  <a:pt x="2124" y="350"/>
                  <a:pt x="2124" y="350"/>
                </a:cubicBezTo>
                <a:cubicBezTo>
                  <a:pt x="2124" y="349"/>
                  <a:pt x="2124" y="349"/>
                  <a:pt x="2124" y="349"/>
                </a:cubicBezTo>
                <a:cubicBezTo>
                  <a:pt x="2125" y="349"/>
                  <a:pt x="2125" y="349"/>
                  <a:pt x="2125" y="349"/>
                </a:cubicBezTo>
                <a:cubicBezTo>
                  <a:pt x="2125" y="348"/>
                  <a:pt x="2125" y="348"/>
                  <a:pt x="2125" y="348"/>
                </a:cubicBezTo>
                <a:close/>
                <a:moveTo>
                  <a:pt x="1785" y="66"/>
                </a:moveTo>
                <a:cubicBezTo>
                  <a:pt x="1785" y="65"/>
                  <a:pt x="1785" y="65"/>
                  <a:pt x="1785" y="65"/>
                </a:cubicBezTo>
                <a:cubicBezTo>
                  <a:pt x="1784" y="65"/>
                  <a:pt x="1784" y="65"/>
                  <a:pt x="1784" y="65"/>
                </a:cubicBezTo>
                <a:cubicBezTo>
                  <a:pt x="1785" y="64"/>
                  <a:pt x="1785" y="64"/>
                  <a:pt x="1785" y="64"/>
                </a:cubicBezTo>
                <a:cubicBezTo>
                  <a:pt x="1784" y="64"/>
                  <a:pt x="1784" y="64"/>
                  <a:pt x="1784" y="64"/>
                </a:cubicBezTo>
                <a:cubicBezTo>
                  <a:pt x="1783" y="65"/>
                  <a:pt x="1783" y="65"/>
                  <a:pt x="1783" y="65"/>
                </a:cubicBezTo>
                <a:cubicBezTo>
                  <a:pt x="1784" y="66"/>
                  <a:pt x="1784" y="66"/>
                  <a:pt x="1784" y="66"/>
                </a:cubicBezTo>
                <a:cubicBezTo>
                  <a:pt x="1783" y="66"/>
                  <a:pt x="1783" y="66"/>
                  <a:pt x="1783" y="66"/>
                </a:cubicBezTo>
                <a:cubicBezTo>
                  <a:pt x="1783" y="67"/>
                  <a:pt x="1783" y="67"/>
                  <a:pt x="1783" y="67"/>
                </a:cubicBezTo>
                <a:cubicBezTo>
                  <a:pt x="1784" y="67"/>
                  <a:pt x="1784" y="67"/>
                  <a:pt x="1784" y="67"/>
                </a:cubicBezTo>
                <a:cubicBezTo>
                  <a:pt x="1785" y="66"/>
                  <a:pt x="1785" y="66"/>
                  <a:pt x="1785" y="66"/>
                </a:cubicBezTo>
                <a:close/>
                <a:moveTo>
                  <a:pt x="1763" y="103"/>
                </a:moveTo>
                <a:cubicBezTo>
                  <a:pt x="1762" y="103"/>
                  <a:pt x="1762" y="103"/>
                  <a:pt x="1762" y="103"/>
                </a:cubicBezTo>
                <a:cubicBezTo>
                  <a:pt x="1763" y="104"/>
                  <a:pt x="1763" y="104"/>
                  <a:pt x="1763" y="104"/>
                </a:cubicBezTo>
                <a:cubicBezTo>
                  <a:pt x="1764" y="103"/>
                  <a:pt x="1764" y="103"/>
                  <a:pt x="1764" y="103"/>
                </a:cubicBezTo>
                <a:cubicBezTo>
                  <a:pt x="1765" y="102"/>
                  <a:pt x="1765" y="102"/>
                  <a:pt x="1765" y="102"/>
                </a:cubicBezTo>
                <a:cubicBezTo>
                  <a:pt x="1764" y="102"/>
                  <a:pt x="1764" y="102"/>
                  <a:pt x="1764" y="102"/>
                </a:cubicBezTo>
                <a:cubicBezTo>
                  <a:pt x="1763" y="103"/>
                  <a:pt x="1763" y="103"/>
                  <a:pt x="1763" y="103"/>
                </a:cubicBezTo>
                <a:close/>
                <a:moveTo>
                  <a:pt x="1752" y="102"/>
                </a:moveTo>
                <a:cubicBezTo>
                  <a:pt x="1753" y="101"/>
                  <a:pt x="1753" y="101"/>
                  <a:pt x="1753" y="101"/>
                </a:cubicBezTo>
                <a:cubicBezTo>
                  <a:pt x="1754" y="102"/>
                  <a:pt x="1754" y="102"/>
                  <a:pt x="1754" y="102"/>
                </a:cubicBezTo>
                <a:cubicBezTo>
                  <a:pt x="1756" y="100"/>
                  <a:pt x="1756" y="100"/>
                  <a:pt x="1756" y="100"/>
                </a:cubicBezTo>
                <a:cubicBezTo>
                  <a:pt x="1756" y="99"/>
                  <a:pt x="1756" y="99"/>
                  <a:pt x="1756" y="99"/>
                </a:cubicBezTo>
                <a:cubicBezTo>
                  <a:pt x="1756" y="97"/>
                  <a:pt x="1756" y="97"/>
                  <a:pt x="1756" y="97"/>
                </a:cubicBezTo>
                <a:cubicBezTo>
                  <a:pt x="1755" y="97"/>
                  <a:pt x="1755" y="97"/>
                  <a:pt x="1755" y="97"/>
                </a:cubicBezTo>
                <a:cubicBezTo>
                  <a:pt x="1755" y="98"/>
                  <a:pt x="1755" y="98"/>
                  <a:pt x="1755" y="98"/>
                </a:cubicBezTo>
                <a:cubicBezTo>
                  <a:pt x="1754" y="99"/>
                  <a:pt x="1754" y="99"/>
                  <a:pt x="1754" y="99"/>
                </a:cubicBezTo>
                <a:cubicBezTo>
                  <a:pt x="1752" y="100"/>
                  <a:pt x="1752" y="100"/>
                  <a:pt x="1752" y="100"/>
                </a:cubicBezTo>
                <a:cubicBezTo>
                  <a:pt x="1751" y="101"/>
                  <a:pt x="1751" y="101"/>
                  <a:pt x="1751" y="101"/>
                </a:cubicBezTo>
                <a:cubicBezTo>
                  <a:pt x="1750" y="103"/>
                  <a:pt x="1750" y="103"/>
                  <a:pt x="1750" y="103"/>
                </a:cubicBezTo>
                <a:cubicBezTo>
                  <a:pt x="1751" y="103"/>
                  <a:pt x="1751" y="103"/>
                  <a:pt x="1751" y="103"/>
                </a:cubicBezTo>
                <a:cubicBezTo>
                  <a:pt x="1752" y="102"/>
                  <a:pt x="1752" y="102"/>
                  <a:pt x="1752" y="102"/>
                </a:cubicBezTo>
                <a:close/>
                <a:moveTo>
                  <a:pt x="1759" y="106"/>
                </a:moveTo>
                <a:cubicBezTo>
                  <a:pt x="1759" y="107"/>
                  <a:pt x="1759" y="107"/>
                  <a:pt x="1759" y="107"/>
                </a:cubicBezTo>
                <a:cubicBezTo>
                  <a:pt x="1759" y="108"/>
                  <a:pt x="1759" y="108"/>
                  <a:pt x="1759" y="108"/>
                </a:cubicBezTo>
                <a:cubicBezTo>
                  <a:pt x="1760" y="108"/>
                  <a:pt x="1760" y="108"/>
                  <a:pt x="1760" y="108"/>
                </a:cubicBezTo>
                <a:cubicBezTo>
                  <a:pt x="1760" y="106"/>
                  <a:pt x="1760" y="106"/>
                  <a:pt x="1760" y="106"/>
                </a:cubicBezTo>
                <a:cubicBezTo>
                  <a:pt x="1759" y="106"/>
                  <a:pt x="1759" y="106"/>
                  <a:pt x="1759" y="106"/>
                </a:cubicBezTo>
                <a:close/>
                <a:moveTo>
                  <a:pt x="1764" y="105"/>
                </a:moveTo>
                <a:cubicBezTo>
                  <a:pt x="1765" y="106"/>
                  <a:pt x="1765" y="106"/>
                  <a:pt x="1765" y="106"/>
                </a:cubicBezTo>
                <a:cubicBezTo>
                  <a:pt x="1766" y="106"/>
                  <a:pt x="1766" y="106"/>
                  <a:pt x="1766" y="106"/>
                </a:cubicBezTo>
                <a:cubicBezTo>
                  <a:pt x="1766" y="105"/>
                  <a:pt x="1766" y="105"/>
                  <a:pt x="1766" y="105"/>
                </a:cubicBezTo>
                <a:cubicBezTo>
                  <a:pt x="1765" y="105"/>
                  <a:pt x="1765" y="105"/>
                  <a:pt x="1765" y="105"/>
                </a:cubicBezTo>
                <a:cubicBezTo>
                  <a:pt x="1764" y="104"/>
                  <a:pt x="1764" y="104"/>
                  <a:pt x="1764" y="104"/>
                </a:cubicBezTo>
                <a:cubicBezTo>
                  <a:pt x="1764" y="105"/>
                  <a:pt x="1764" y="105"/>
                  <a:pt x="1764" y="105"/>
                </a:cubicBezTo>
                <a:close/>
                <a:moveTo>
                  <a:pt x="2086" y="628"/>
                </a:moveTo>
                <a:cubicBezTo>
                  <a:pt x="2086" y="627"/>
                  <a:pt x="2086" y="627"/>
                  <a:pt x="2086" y="627"/>
                </a:cubicBezTo>
                <a:cubicBezTo>
                  <a:pt x="2086" y="627"/>
                  <a:pt x="2086" y="627"/>
                  <a:pt x="2085" y="627"/>
                </a:cubicBezTo>
                <a:cubicBezTo>
                  <a:pt x="2085" y="627"/>
                  <a:pt x="2085" y="627"/>
                  <a:pt x="2085" y="628"/>
                </a:cubicBezTo>
                <a:cubicBezTo>
                  <a:pt x="2085" y="628"/>
                  <a:pt x="2085" y="628"/>
                  <a:pt x="2086" y="628"/>
                </a:cubicBezTo>
                <a:close/>
                <a:moveTo>
                  <a:pt x="2075" y="642"/>
                </a:moveTo>
                <a:cubicBezTo>
                  <a:pt x="2074" y="641"/>
                  <a:pt x="2074" y="641"/>
                  <a:pt x="2074" y="641"/>
                </a:cubicBezTo>
                <a:cubicBezTo>
                  <a:pt x="2073" y="642"/>
                  <a:pt x="2073" y="642"/>
                  <a:pt x="2073" y="642"/>
                </a:cubicBezTo>
                <a:cubicBezTo>
                  <a:pt x="2074" y="642"/>
                  <a:pt x="2074" y="642"/>
                  <a:pt x="2074" y="642"/>
                </a:cubicBezTo>
                <a:cubicBezTo>
                  <a:pt x="2075" y="642"/>
                  <a:pt x="2075" y="642"/>
                  <a:pt x="2075" y="642"/>
                </a:cubicBezTo>
                <a:close/>
                <a:moveTo>
                  <a:pt x="2088" y="626"/>
                </a:moveTo>
                <a:cubicBezTo>
                  <a:pt x="2087" y="625"/>
                  <a:pt x="2087" y="625"/>
                  <a:pt x="2087" y="625"/>
                </a:cubicBezTo>
                <a:cubicBezTo>
                  <a:pt x="2087" y="626"/>
                  <a:pt x="2087" y="626"/>
                  <a:pt x="2087" y="626"/>
                </a:cubicBezTo>
                <a:cubicBezTo>
                  <a:pt x="2087" y="627"/>
                  <a:pt x="2087" y="627"/>
                  <a:pt x="2087" y="627"/>
                </a:cubicBezTo>
                <a:cubicBezTo>
                  <a:pt x="2088" y="627"/>
                  <a:pt x="2088" y="627"/>
                  <a:pt x="2088" y="627"/>
                </a:cubicBezTo>
                <a:cubicBezTo>
                  <a:pt x="2088" y="626"/>
                  <a:pt x="2088" y="626"/>
                  <a:pt x="2088" y="626"/>
                </a:cubicBezTo>
                <a:close/>
                <a:moveTo>
                  <a:pt x="2090" y="577"/>
                </a:moveTo>
                <a:cubicBezTo>
                  <a:pt x="2090" y="578"/>
                  <a:pt x="2090" y="578"/>
                  <a:pt x="2090" y="578"/>
                </a:cubicBezTo>
                <a:cubicBezTo>
                  <a:pt x="2092" y="578"/>
                  <a:pt x="2092" y="578"/>
                  <a:pt x="2092" y="578"/>
                </a:cubicBezTo>
                <a:cubicBezTo>
                  <a:pt x="2091" y="577"/>
                  <a:pt x="2091" y="577"/>
                  <a:pt x="2091" y="577"/>
                </a:cubicBezTo>
                <a:cubicBezTo>
                  <a:pt x="2090" y="577"/>
                  <a:pt x="2090" y="577"/>
                  <a:pt x="2090" y="577"/>
                </a:cubicBezTo>
                <a:close/>
                <a:moveTo>
                  <a:pt x="2093" y="578"/>
                </a:moveTo>
                <a:cubicBezTo>
                  <a:pt x="2092" y="578"/>
                  <a:pt x="2092" y="578"/>
                  <a:pt x="2092" y="578"/>
                </a:cubicBezTo>
                <a:cubicBezTo>
                  <a:pt x="2093" y="579"/>
                  <a:pt x="2093" y="579"/>
                  <a:pt x="2093" y="579"/>
                </a:cubicBezTo>
                <a:cubicBezTo>
                  <a:pt x="2093" y="578"/>
                  <a:pt x="2093" y="578"/>
                  <a:pt x="2093" y="578"/>
                </a:cubicBezTo>
                <a:close/>
                <a:moveTo>
                  <a:pt x="2025" y="676"/>
                </a:moveTo>
                <a:cubicBezTo>
                  <a:pt x="2025" y="677"/>
                  <a:pt x="2025" y="677"/>
                  <a:pt x="2025" y="677"/>
                </a:cubicBezTo>
                <a:cubicBezTo>
                  <a:pt x="2026" y="678"/>
                  <a:pt x="2026" y="678"/>
                  <a:pt x="2026" y="678"/>
                </a:cubicBezTo>
                <a:cubicBezTo>
                  <a:pt x="2028" y="678"/>
                  <a:pt x="2028" y="678"/>
                  <a:pt x="2028" y="678"/>
                </a:cubicBezTo>
                <a:cubicBezTo>
                  <a:pt x="2029" y="679"/>
                  <a:pt x="2029" y="679"/>
                  <a:pt x="2029" y="679"/>
                </a:cubicBezTo>
                <a:cubicBezTo>
                  <a:pt x="2030" y="679"/>
                  <a:pt x="2030" y="679"/>
                  <a:pt x="2030" y="679"/>
                </a:cubicBezTo>
                <a:cubicBezTo>
                  <a:pt x="2031" y="679"/>
                  <a:pt x="2031" y="679"/>
                  <a:pt x="2031" y="679"/>
                </a:cubicBezTo>
                <a:cubicBezTo>
                  <a:pt x="2032" y="678"/>
                  <a:pt x="2032" y="678"/>
                  <a:pt x="2032" y="678"/>
                </a:cubicBezTo>
                <a:cubicBezTo>
                  <a:pt x="2033" y="678"/>
                  <a:pt x="2033" y="678"/>
                  <a:pt x="2033" y="678"/>
                </a:cubicBezTo>
                <a:cubicBezTo>
                  <a:pt x="2034" y="678"/>
                  <a:pt x="2034" y="678"/>
                  <a:pt x="2034" y="678"/>
                </a:cubicBezTo>
                <a:cubicBezTo>
                  <a:pt x="2035" y="677"/>
                  <a:pt x="2035" y="677"/>
                  <a:pt x="2035" y="677"/>
                </a:cubicBezTo>
                <a:cubicBezTo>
                  <a:pt x="2035" y="676"/>
                  <a:pt x="2035" y="676"/>
                  <a:pt x="2035" y="676"/>
                </a:cubicBezTo>
                <a:cubicBezTo>
                  <a:pt x="2036" y="676"/>
                  <a:pt x="2036" y="676"/>
                  <a:pt x="2036" y="676"/>
                </a:cubicBezTo>
                <a:cubicBezTo>
                  <a:pt x="2037" y="675"/>
                  <a:pt x="2037" y="675"/>
                  <a:pt x="2037" y="675"/>
                </a:cubicBezTo>
                <a:cubicBezTo>
                  <a:pt x="2037" y="674"/>
                  <a:pt x="2037" y="674"/>
                  <a:pt x="2037" y="674"/>
                </a:cubicBezTo>
                <a:cubicBezTo>
                  <a:pt x="2037" y="672"/>
                  <a:pt x="2037" y="672"/>
                  <a:pt x="2037" y="672"/>
                </a:cubicBezTo>
                <a:cubicBezTo>
                  <a:pt x="2038" y="672"/>
                  <a:pt x="2038" y="672"/>
                  <a:pt x="2038" y="672"/>
                </a:cubicBezTo>
                <a:cubicBezTo>
                  <a:pt x="2038" y="671"/>
                  <a:pt x="2038" y="671"/>
                  <a:pt x="2038" y="671"/>
                </a:cubicBezTo>
                <a:cubicBezTo>
                  <a:pt x="2039" y="669"/>
                  <a:pt x="2039" y="669"/>
                  <a:pt x="2039" y="669"/>
                </a:cubicBezTo>
                <a:cubicBezTo>
                  <a:pt x="2038" y="667"/>
                  <a:pt x="2038" y="667"/>
                  <a:pt x="2038" y="667"/>
                </a:cubicBezTo>
                <a:cubicBezTo>
                  <a:pt x="2037" y="667"/>
                  <a:pt x="2037" y="667"/>
                  <a:pt x="2037" y="667"/>
                </a:cubicBezTo>
                <a:cubicBezTo>
                  <a:pt x="2036" y="666"/>
                  <a:pt x="2036" y="666"/>
                  <a:pt x="2036" y="666"/>
                </a:cubicBezTo>
                <a:cubicBezTo>
                  <a:pt x="2035" y="667"/>
                  <a:pt x="2035" y="667"/>
                  <a:pt x="2035" y="667"/>
                </a:cubicBezTo>
                <a:cubicBezTo>
                  <a:pt x="2034" y="666"/>
                  <a:pt x="2034" y="666"/>
                  <a:pt x="2034" y="666"/>
                </a:cubicBezTo>
                <a:cubicBezTo>
                  <a:pt x="2033" y="666"/>
                  <a:pt x="2033" y="666"/>
                  <a:pt x="2033" y="666"/>
                </a:cubicBezTo>
                <a:cubicBezTo>
                  <a:pt x="2032" y="666"/>
                  <a:pt x="2032" y="666"/>
                  <a:pt x="2032" y="666"/>
                </a:cubicBezTo>
                <a:cubicBezTo>
                  <a:pt x="2031" y="667"/>
                  <a:pt x="2031" y="667"/>
                  <a:pt x="2031" y="667"/>
                </a:cubicBezTo>
                <a:cubicBezTo>
                  <a:pt x="2030" y="667"/>
                  <a:pt x="2030" y="667"/>
                  <a:pt x="2030" y="667"/>
                </a:cubicBezTo>
                <a:cubicBezTo>
                  <a:pt x="2029" y="667"/>
                  <a:pt x="2029" y="667"/>
                  <a:pt x="2029" y="667"/>
                </a:cubicBezTo>
                <a:cubicBezTo>
                  <a:pt x="2028" y="668"/>
                  <a:pt x="2028" y="668"/>
                  <a:pt x="2028" y="668"/>
                </a:cubicBezTo>
                <a:cubicBezTo>
                  <a:pt x="2028" y="669"/>
                  <a:pt x="2028" y="669"/>
                  <a:pt x="2028" y="669"/>
                </a:cubicBezTo>
                <a:cubicBezTo>
                  <a:pt x="2026" y="670"/>
                  <a:pt x="2026" y="670"/>
                  <a:pt x="2026" y="670"/>
                </a:cubicBezTo>
                <a:cubicBezTo>
                  <a:pt x="2024" y="672"/>
                  <a:pt x="2024" y="672"/>
                  <a:pt x="2024" y="672"/>
                </a:cubicBezTo>
                <a:cubicBezTo>
                  <a:pt x="2025" y="673"/>
                  <a:pt x="2025" y="673"/>
                  <a:pt x="2025" y="673"/>
                </a:cubicBezTo>
                <a:cubicBezTo>
                  <a:pt x="2025" y="675"/>
                  <a:pt x="2025" y="675"/>
                  <a:pt x="2025" y="675"/>
                </a:cubicBezTo>
                <a:cubicBezTo>
                  <a:pt x="2025" y="676"/>
                  <a:pt x="2025" y="676"/>
                  <a:pt x="2025" y="676"/>
                </a:cubicBezTo>
                <a:close/>
                <a:moveTo>
                  <a:pt x="2099" y="590"/>
                </a:moveTo>
                <a:cubicBezTo>
                  <a:pt x="2098" y="589"/>
                  <a:pt x="2098" y="589"/>
                  <a:pt x="2098" y="589"/>
                </a:cubicBezTo>
                <a:cubicBezTo>
                  <a:pt x="2097" y="590"/>
                  <a:pt x="2097" y="590"/>
                  <a:pt x="2097" y="590"/>
                </a:cubicBezTo>
                <a:cubicBezTo>
                  <a:pt x="2098" y="591"/>
                  <a:pt x="2098" y="591"/>
                  <a:pt x="2098" y="591"/>
                </a:cubicBezTo>
                <a:cubicBezTo>
                  <a:pt x="2099" y="591"/>
                  <a:pt x="2099" y="591"/>
                  <a:pt x="2099" y="591"/>
                </a:cubicBezTo>
                <a:cubicBezTo>
                  <a:pt x="2099" y="590"/>
                  <a:pt x="2099" y="590"/>
                  <a:pt x="2099" y="590"/>
                </a:cubicBezTo>
                <a:close/>
                <a:moveTo>
                  <a:pt x="2037" y="660"/>
                </a:moveTo>
                <a:cubicBezTo>
                  <a:pt x="2036" y="660"/>
                  <a:pt x="2036" y="660"/>
                  <a:pt x="2036" y="660"/>
                </a:cubicBezTo>
                <a:cubicBezTo>
                  <a:pt x="2035" y="660"/>
                  <a:pt x="2035" y="660"/>
                  <a:pt x="2035" y="660"/>
                </a:cubicBezTo>
                <a:cubicBezTo>
                  <a:pt x="2037" y="661"/>
                  <a:pt x="2037" y="661"/>
                  <a:pt x="2037" y="661"/>
                </a:cubicBezTo>
                <a:cubicBezTo>
                  <a:pt x="2037" y="660"/>
                  <a:pt x="2037" y="660"/>
                  <a:pt x="2037" y="660"/>
                </a:cubicBezTo>
                <a:close/>
                <a:moveTo>
                  <a:pt x="2096" y="630"/>
                </a:moveTo>
                <a:cubicBezTo>
                  <a:pt x="2095" y="632"/>
                  <a:pt x="2095" y="632"/>
                  <a:pt x="2095" y="632"/>
                </a:cubicBezTo>
                <a:cubicBezTo>
                  <a:pt x="2095" y="633"/>
                  <a:pt x="2095" y="633"/>
                  <a:pt x="2095" y="633"/>
                </a:cubicBezTo>
                <a:cubicBezTo>
                  <a:pt x="2094" y="634"/>
                  <a:pt x="2094" y="634"/>
                  <a:pt x="2094" y="634"/>
                </a:cubicBezTo>
                <a:cubicBezTo>
                  <a:pt x="2093" y="636"/>
                  <a:pt x="2093" y="636"/>
                  <a:pt x="2093" y="636"/>
                </a:cubicBezTo>
                <a:cubicBezTo>
                  <a:pt x="2092" y="639"/>
                  <a:pt x="2092" y="639"/>
                  <a:pt x="2092" y="639"/>
                </a:cubicBezTo>
                <a:cubicBezTo>
                  <a:pt x="2092" y="640"/>
                  <a:pt x="2092" y="640"/>
                  <a:pt x="2092" y="640"/>
                </a:cubicBezTo>
                <a:cubicBezTo>
                  <a:pt x="2092" y="642"/>
                  <a:pt x="2092" y="642"/>
                  <a:pt x="2092" y="642"/>
                </a:cubicBezTo>
                <a:cubicBezTo>
                  <a:pt x="2093" y="644"/>
                  <a:pt x="2093" y="644"/>
                  <a:pt x="2093" y="644"/>
                </a:cubicBezTo>
                <a:cubicBezTo>
                  <a:pt x="2093" y="645"/>
                  <a:pt x="2093" y="645"/>
                  <a:pt x="2093" y="645"/>
                </a:cubicBezTo>
                <a:cubicBezTo>
                  <a:pt x="2093" y="646"/>
                  <a:pt x="2093" y="646"/>
                  <a:pt x="2093" y="646"/>
                </a:cubicBezTo>
                <a:cubicBezTo>
                  <a:pt x="2094" y="648"/>
                  <a:pt x="2094" y="648"/>
                  <a:pt x="2094" y="648"/>
                </a:cubicBezTo>
                <a:cubicBezTo>
                  <a:pt x="2095" y="649"/>
                  <a:pt x="2095" y="649"/>
                  <a:pt x="2095" y="649"/>
                </a:cubicBezTo>
                <a:cubicBezTo>
                  <a:pt x="2096" y="649"/>
                  <a:pt x="2096" y="649"/>
                  <a:pt x="2096" y="649"/>
                </a:cubicBezTo>
                <a:cubicBezTo>
                  <a:pt x="2097" y="650"/>
                  <a:pt x="2097" y="650"/>
                  <a:pt x="2097" y="650"/>
                </a:cubicBezTo>
                <a:cubicBezTo>
                  <a:pt x="2097" y="652"/>
                  <a:pt x="2097" y="652"/>
                  <a:pt x="2097" y="652"/>
                </a:cubicBezTo>
                <a:cubicBezTo>
                  <a:pt x="2097" y="653"/>
                  <a:pt x="2097" y="653"/>
                  <a:pt x="2097" y="653"/>
                </a:cubicBezTo>
                <a:cubicBezTo>
                  <a:pt x="2098" y="653"/>
                  <a:pt x="2098" y="653"/>
                  <a:pt x="2098" y="653"/>
                </a:cubicBezTo>
                <a:cubicBezTo>
                  <a:pt x="2099" y="653"/>
                  <a:pt x="2099" y="653"/>
                  <a:pt x="2099" y="653"/>
                </a:cubicBezTo>
                <a:cubicBezTo>
                  <a:pt x="2099" y="652"/>
                  <a:pt x="2099" y="652"/>
                  <a:pt x="2099" y="652"/>
                </a:cubicBezTo>
                <a:cubicBezTo>
                  <a:pt x="2099" y="650"/>
                  <a:pt x="2099" y="650"/>
                  <a:pt x="2099" y="650"/>
                </a:cubicBezTo>
                <a:cubicBezTo>
                  <a:pt x="2099" y="648"/>
                  <a:pt x="2099" y="648"/>
                  <a:pt x="2099" y="648"/>
                </a:cubicBezTo>
                <a:cubicBezTo>
                  <a:pt x="2100" y="647"/>
                  <a:pt x="2100" y="647"/>
                  <a:pt x="2100" y="647"/>
                </a:cubicBezTo>
                <a:cubicBezTo>
                  <a:pt x="2101" y="645"/>
                  <a:pt x="2101" y="645"/>
                  <a:pt x="2101" y="645"/>
                </a:cubicBezTo>
                <a:cubicBezTo>
                  <a:pt x="2101" y="643"/>
                  <a:pt x="2101" y="643"/>
                  <a:pt x="2101" y="643"/>
                </a:cubicBezTo>
                <a:cubicBezTo>
                  <a:pt x="2102" y="643"/>
                  <a:pt x="2102" y="643"/>
                  <a:pt x="2102" y="643"/>
                </a:cubicBezTo>
                <a:cubicBezTo>
                  <a:pt x="2101" y="642"/>
                  <a:pt x="2101" y="642"/>
                  <a:pt x="2101" y="642"/>
                </a:cubicBezTo>
                <a:cubicBezTo>
                  <a:pt x="2101" y="640"/>
                  <a:pt x="2101" y="640"/>
                  <a:pt x="2101" y="640"/>
                </a:cubicBezTo>
                <a:cubicBezTo>
                  <a:pt x="2102" y="638"/>
                  <a:pt x="2102" y="638"/>
                  <a:pt x="2102" y="638"/>
                </a:cubicBezTo>
                <a:cubicBezTo>
                  <a:pt x="2101" y="636"/>
                  <a:pt x="2101" y="636"/>
                  <a:pt x="2101" y="636"/>
                </a:cubicBezTo>
                <a:cubicBezTo>
                  <a:pt x="2102" y="635"/>
                  <a:pt x="2102" y="635"/>
                  <a:pt x="2102" y="635"/>
                </a:cubicBezTo>
                <a:cubicBezTo>
                  <a:pt x="2102" y="632"/>
                  <a:pt x="2102" y="632"/>
                  <a:pt x="2102" y="632"/>
                </a:cubicBezTo>
                <a:cubicBezTo>
                  <a:pt x="2103" y="630"/>
                  <a:pt x="2103" y="630"/>
                  <a:pt x="2103" y="630"/>
                </a:cubicBezTo>
                <a:cubicBezTo>
                  <a:pt x="2103" y="629"/>
                  <a:pt x="2103" y="629"/>
                  <a:pt x="2103" y="629"/>
                </a:cubicBezTo>
                <a:cubicBezTo>
                  <a:pt x="2102" y="628"/>
                  <a:pt x="2102" y="628"/>
                  <a:pt x="2102" y="628"/>
                </a:cubicBezTo>
                <a:cubicBezTo>
                  <a:pt x="2101" y="628"/>
                  <a:pt x="2101" y="628"/>
                  <a:pt x="2101" y="628"/>
                </a:cubicBezTo>
                <a:cubicBezTo>
                  <a:pt x="2101" y="627"/>
                  <a:pt x="2101" y="627"/>
                  <a:pt x="2101" y="627"/>
                </a:cubicBezTo>
                <a:cubicBezTo>
                  <a:pt x="2099" y="626"/>
                  <a:pt x="2099" y="626"/>
                  <a:pt x="2099" y="626"/>
                </a:cubicBezTo>
                <a:cubicBezTo>
                  <a:pt x="2099" y="627"/>
                  <a:pt x="2099" y="627"/>
                  <a:pt x="2099" y="627"/>
                </a:cubicBezTo>
                <a:cubicBezTo>
                  <a:pt x="2099" y="628"/>
                  <a:pt x="2099" y="628"/>
                  <a:pt x="2099" y="628"/>
                </a:cubicBezTo>
                <a:cubicBezTo>
                  <a:pt x="2098" y="628"/>
                  <a:pt x="2098" y="628"/>
                  <a:pt x="2098" y="628"/>
                </a:cubicBezTo>
                <a:cubicBezTo>
                  <a:pt x="2096" y="630"/>
                  <a:pt x="2096" y="630"/>
                  <a:pt x="2096" y="630"/>
                </a:cubicBezTo>
                <a:close/>
                <a:moveTo>
                  <a:pt x="1425" y="123"/>
                </a:moveTo>
                <a:cubicBezTo>
                  <a:pt x="1427" y="123"/>
                  <a:pt x="1427" y="123"/>
                  <a:pt x="1427" y="123"/>
                </a:cubicBezTo>
                <a:cubicBezTo>
                  <a:pt x="1427" y="122"/>
                  <a:pt x="1427" y="122"/>
                  <a:pt x="1427" y="122"/>
                </a:cubicBezTo>
                <a:cubicBezTo>
                  <a:pt x="1426" y="121"/>
                  <a:pt x="1426" y="121"/>
                  <a:pt x="1426" y="121"/>
                </a:cubicBezTo>
                <a:cubicBezTo>
                  <a:pt x="1424" y="120"/>
                  <a:pt x="1424" y="120"/>
                  <a:pt x="1424" y="120"/>
                </a:cubicBezTo>
                <a:cubicBezTo>
                  <a:pt x="1423" y="120"/>
                  <a:pt x="1423" y="120"/>
                  <a:pt x="1423" y="120"/>
                </a:cubicBezTo>
                <a:cubicBezTo>
                  <a:pt x="1423" y="121"/>
                  <a:pt x="1423" y="121"/>
                  <a:pt x="1423" y="121"/>
                </a:cubicBezTo>
                <a:cubicBezTo>
                  <a:pt x="1424" y="122"/>
                  <a:pt x="1424" y="122"/>
                  <a:pt x="1424" y="122"/>
                </a:cubicBezTo>
                <a:cubicBezTo>
                  <a:pt x="1424" y="123"/>
                  <a:pt x="1424" y="123"/>
                  <a:pt x="1424" y="123"/>
                </a:cubicBezTo>
                <a:cubicBezTo>
                  <a:pt x="1425" y="123"/>
                  <a:pt x="1425" y="123"/>
                  <a:pt x="1425" y="123"/>
                </a:cubicBezTo>
                <a:close/>
                <a:moveTo>
                  <a:pt x="1469" y="99"/>
                </a:moveTo>
                <a:cubicBezTo>
                  <a:pt x="1469" y="99"/>
                  <a:pt x="1469" y="99"/>
                  <a:pt x="1471" y="97"/>
                </a:cubicBezTo>
                <a:cubicBezTo>
                  <a:pt x="1471" y="97"/>
                  <a:pt x="1471" y="97"/>
                  <a:pt x="1472" y="97"/>
                </a:cubicBezTo>
                <a:cubicBezTo>
                  <a:pt x="1472" y="97"/>
                  <a:pt x="1472" y="97"/>
                  <a:pt x="1473" y="96"/>
                </a:cubicBezTo>
                <a:cubicBezTo>
                  <a:pt x="1473" y="96"/>
                  <a:pt x="1473" y="96"/>
                  <a:pt x="1473" y="95"/>
                </a:cubicBezTo>
                <a:cubicBezTo>
                  <a:pt x="1473" y="95"/>
                  <a:pt x="1473" y="95"/>
                  <a:pt x="1472" y="95"/>
                </a:cubicBezTo>
                <a:cubicBezTo>
                  <a:pt x="1472" y="95"/>
                  <a:pt x="1472" y="95"/>
                  <a:pt x="1471" y="95"/>
                </a:cubicBezTo>
                <a:cubicBezTo>
                  <a:pt x="1471" y="95"/>
                  <a:pt x="1471" y="95"/>
                  <a:pt x="1470" y="97"/>
                </a:cubicBezTo>
                <a:cubicBezTo>
                  <a:pt x="1470" y="97"/>
                  <a:pt x="1470" y="97"/>
                  <a:pt x="1469" y="97"/>
                </a:cubicBezTo>
                <a:cubicBezTo>
                  <a:pt x="1469" y="97"/>
                  <a:pt x="1469" y="97"/>
                  <a:pt x="1468" y="98"/>
                </a:cubicBezTo>
                <a:cubicBezTo>
                  <a:pt x="1468" y="98"/>
                  <a:pt x="1467" y="98"/>
                  <a:pt x="1467" y="99"/>
                </a:cubicBezTo>
                <a:cubicBezTo>
                  <a:pt x="1467" y="99"/>
                  <a:pt x="1467" y="99"/>
                  <a:pt x="1468" y="99"/>
                </a:cubicBezTo>
                <a:cubicBezTo>
                  <a:pt x="1468" y="99"/>
                  <a:pt x="1468" y="99"/>
                  <a:pt x="1469" y="99"/>
                </a:cubicBezTo>
                <a:close/>
                <a:moveTo>
                  <a:pt x="1458" y="123"/>
                </a:moveTo>
                <a:cubicBezTo>
                  <a:pt x="1458" y="123"/>
                  <a:pt x="1458" y="123"/>
                  <a:pt x="1459" y="123"/>
                </a:cubicBezTo>
                <a:cubicBezTo>
                  <a:pt x="1459" y="123"/>
                  <a:pt x="1459" y="123"/>
                  <a:pt x="1460" y="123"/>
                </a:cubicBezTo>
                <a:cubicBezTo>
                  <a:pt x="1460" y="123"/>
                  <a:pt x="1460" y="123"/>
                  <a:pt x="1461" y="124"/>
                </a:cubicBezTo>
                <a:cubicBezTo>
                  <a:pt x="1461" y="124"/>
                  <a:pt x="1461" y="124"/>
                  <a:pt x="1462" y="123"/>
                </a:cubicBezTo>
                <a:cubicBezTo>
                  <a:pt x="1462" y="123"/>
                  <a:pt x="1462" y="123"/>
                  <a:pt x="1463" y="122"/>
                </a:cubicBezTo>
                <a:cubicBezTo>
                  <a:pt x="1463" y="122"/>
                  <a:pt x="1463" y="122"/>
                  <a:pt x="1462" y="122"/>
                </a:cubicBezTo>
                <a:cubicBezTo>
                  <a:pt x="1462" y="122"/>
                  <a:pt x="1462" y="122"/>
                  <a:pt x="1460" y="122"/>
                </a:cubicBezTo>
                <a:cubicBezTo>
                  <a:pt x="1460" y="122"/>
                  <a:pt x="1460" y="122"/>
                  <a:pt x="1460" y="121"/>
                </a:cubicBezTo>
                <a:cubicBezTo>
                  <a:pt x="1460" y="121"/>
                  <a:pt x="1460" y="121"/>
                  <a:pt x="1459" y="122"/>
                </a:cubicBezTo>
                <a:cubicBezTo>
                  <a:pt x="1459" y="122"/>
                  <a:pt x="1459" y="122"/>
                  <a:pt x="1458" y="122"/>
                </a:cubicBezTo>
                <a:cubicBezTo>
                  <a:pt x="1458" y="122"/>
                  <a:pt x="1458" y="122"/>
                  <a:pt x="1457" y="123"/>
                </a:cubicBezTo>
                <a:cubicBezTo>
                  <a:pt x="1457" y="123"/>
                  <a:pt x="1457" y="123"/>
                  <a:pt x="1456" y="124"/>
                </a:cubicBezTo>
                <a:cubicBezTo>
                  <a:pt x="1456" y="124"/>
                  <a:pt x="1456" y="124"/>
                  <a:pt x="1457" y="125"/>
                </a:cubicBezTo>
                <a:cubicBezTo>
                  <a:pt x="1457" y="125"/>
                  <a:pt x="1457" y="125"/>
                  <a:pt x="1458" y="123"/>
                </a:cubicBezTo>
                <a:close/>
                <a:moveTo>
                  <a:pt x="1429" y="197"/>
                </a:moveTo>
                <a:cubicBezTo>
                  <a:pt x="1429" y="196"/>
                  <a:pt x="1429" y="196"/>
                  <a:pt x="1429" y="196"/>
                </a:cubicBezTo>
                <a:cubicBezTo>
                  <a:pt x="1428" y="195"/>
                  <a:pt x="1428" y="195"/>
                  <a:pt x="1428" y="195"/>
                </a:cubicBezTo>
                <a:cubicBezTo>
                  <a:pt x="1427" y="195"/>
                  <a:pt x="1427" y="195"/>
                  <a:pt x="1427" y="195"/>
                </a:cubicBezTo>
                <a:cubicBezTo>
                  <a:pt x="1427" y="196"/>
                  <a:pt x="1427" y="196"/>
                  <a:pt x="1427" y="196"/>
                </a:cubicBezTo>
                <a:cubicBezTo>
                  <a:pt x="1428" y="197"/>
                  <a:pt x="1428" y="197"/>
                  <a:pt x="1428" y="197"/>
                </a:cubicBezTo>
                <a:cubicBezTo>
                  <a:pt x="1428" y="198"/>
                  <a:pt x="1428" y="198"/>
                  <a:pt x="1428" y="198"/>
                </a:cubicBezTo>
                <a:cubicBezTo>
                  <a:pt x="1429" y="197"/>
                  <a:pt x="1429" y="197"/>
                  <a:pt x="1429" y="197"/>
                </a:cubicBezTo>
                <a:close/>
                <a:moveTo>
                  <a:pt x="1451" y="125"/>
                </a:moveTo>
                <a:cubicBezTo>
                  <a:pt x="1451" y="125"/>
                  <a:pt x="1451" y="125"/>
                  <a:pt x="1451" y="127"/>
                </a:cubicBezTo>
                <a:cubicBezTo>
                  <a:pt x="1451" y="127"/>
                  <a:pt x="1451" y="127"/>
                  <a:pt x="1451" y="128"/>
                </a:cubicBezTo>
                <a:cubicBezTo>
                  <a:pt x="1451" y="128"/>
                  <a:pt x="1451" y="128"/>
                  <a:pt x="1451" y="129"/>
                </a:cubicBezTo>
                <a:cubicBezTo>
                  <a:pt x="1451" y="129"/>
                  <a:pt x="1451" y="129"/>
                  <a:pt x="1452" y="129"/>
                </a:cubicBezTo>
                <a:cubicBezTo>
                  <a:pt x="1452" y="129"/>
                  <a:pt x="1452" y="129"/>
                  <a:pt x="1453" y="128"/>
                </a:cubicBezTo>
                <a:cubicBezTo>
                  <a:pt x="1453" y="128"/>
                  <a:pt x="1453" y="128"/>
                  <a:pt x="1453" y="127"/>
                </a:cubicBezTo>
                <a:cubicBezTo>
                  <a:pt x="1453" y="127"/>
                  <a:pt x="1453" y="127"/>
                  <a:pt x="1452" y="126"/>
                </a:cubicBezTo>
                <a:cubicBezTo>
                  <a:pt x="1452" y="126"/>
                  <a:pt x="1452" y="126"/>
                  <a:pt x="1452" y="125"/>
                </a:cubicBezTo>
                <a:cubicBezTo>
                  <a:pt x="1452" y="125"/>
                  <a:pt x="1452" y="125"/>
                  <a:pt x="1451" y="125"/>
                </a:cubicBezTo>
                <a:close/>
                <a:moveTo>
                  <a:pt x="1429" y="130"/>
                </a:moveTo>
                <a:cubicBezTo>
                  <a:pt x="1428" y="131"/>
                  <a:pt x="1428" y="131"/>
                  <a:pt x="1428" y="131"/>
                </a:cubicBezTo>
                <a:cubicBezTo>
                  <a:pt x="1427" y="130"/>
                  <a:pt x="1427" y="130"/>
                  <a:pt x="1427" y="130"/>
                </a:cubicBezTo>
                <a:cubicBezTo>
                  <a:pt x="1426" y="131"/>
                  <a:pt x="1426" y="131"/>
                  <a:pt x="1426" y="131"/>
                </a:cubicBezTo>
                <a:cubicBezTo>
                  <a:pt x="1426" y="132"/>
                  <a:pt x="1426" y="132"/>
                  <a:pt x="1426" y="132"/>
                </a:cubicBezTo>
                <a:cubicBezTo>
                  <a:pt x="1427" y="132"/>
                  <a:pt x="1427" y="132"/>
                  <a:pt x="1427" y="132"/>
                </a:cubicBezTo>
                <a:cubicBezTo>
                  <a:pt x="1428" y="133"/>
                  <a:pt x="1428" y="133"/>
                  <a:pt x="1428" y="133"/>
                </a:cubicBezTo>
                <a:cubicBezTo>
                  <a:pt x="1428" y="134"/>
                  <a:pt x="1428" y="134"/>
                  <a:pt x="1428" y="134"/>
                </a:cubicBezTo>
                <a:cubicBezTo>
                  <a:pt x="1429" y="134"/>
                  <a:pt x="1429" y="134"/>
                  <a:pt x="1429" y="134"/>
                </a:cubicBezTo>
                <a:cubicBezTo>
                  <a:pt x="1429" y="135"/>
                  <a:pt x="1429" y="135"/>
                  <a:pt x="1429" y="135"/>
                </a:cubicBezTo>
                <a:cubicBezTo>
                  <a:pt x="1429" y="136"/>
                  <a:pt x="1429" y="136"/>
                  <a:pt x="1429" y="136"/>
                </a:cubicBezTo>
                <a:cubicBezTo>
                  <a:pt x="1430" y="136"/>
                  <a:pt x="1430" y="136"/>
                  <a:pt x="1430" y="136"/>
                </a:cubicBezTo>
                <a:cubicBezTo>
                  <a:pt x="1431" y="136"/>
                  <a:pt x="1431" y="136"/>
                  <a:pt x="1431" y="136"/>
                </a:cubicBezTo>
                <a:cubicBezTo>
                  <a:pt x="1432" y="135"/>
                  <a:pt x="1432" y="135"/>
                  <a:pt x="1432" y="135"/>
                </a:cubicBezTo>
                <a:cubicBezTo>
                  <a:pt x="1433" y="135"/>
                  <a:pt x="1433" y="135"/>
                  <a:pt x="1433" y="135"/>
                </a:cubicBezTo>
                <a:cubicBezTo>
                  <a:pt x="1434" y="134"/>
                  <a:pt x="1434" y="134"/>
                  <a:pt x="1434" y="134"/>
                </a:cubicBezTo>
                <a:cubicBezTo>
                  <a:pt x="1434" y="132"/>
                  <a:pt x="1434" y="132"/>
                  <a:pt x="1434" y="132"/>
                </a:cubicBezTo>
                <a:cubicBezTo>
                  <a:pt x="1435" y="131"/>
                  <a:pt x="1435" y="131"/>
                  <a:pt x="1435" y="131"/>
                </a:cubicBezTo>
                <a:cubicBezTo>
                  <a:pt x="1435" y="130"/>
                  <a:pt x="1435" y="130"/>
                  <a:pt x="1435" y="130"/>
                </a:cubicBezTo>
                <a:cubicBezTo>
                  <a:pt x="1435" y="129"/>
                  <a:pt x="1435" y="129"/>
                  <a:pt x="1435" y="129"/>
                </a:cubicBezTo>
                <a:cubicBezTo>
                  <a:pt x="1434" y="129"/>
                  <a:pt x="1434" y="129"/>
                  <a:pt x="1434" y="129"/>
                </a:cubicBezTo>
                <a:cubicBezTo>
                  <a:pt x="1433" y="129"/>
                  <a:pt x="1433" y="129"/>
                  <a:pt x="1433" y="129"/>
                </a:cubicBezTo>
                <a:cubicBezTo>
                  <a:pt x="1433" y="128"/>
                  <a:pt x="1433" y="128"/>
                  <a:pt x="1433" y="128"/>
                </a:cubicBezTo>
                <a:cubicBezTo>
                  <a:pt x="1432" y="129"/>
                  <a:pt x="1432" y="129"/>
                  <a:pt x="1432" y="129"/>
                </a:cubicBezTo>
                <a:cubicBezTo>
                  <a:pt x="1430" y="130"/>
                  <a:pt x="1430" y="130"/>
                  <a:pt x="1430" y="130"/>
                </a:cubicBezTo>
                <a:cubicBezTo>
                  <a:pt x="1430" y="129"/>
                  <a:pt x="1430" y="129"/>
                  <a:pt x="1430" y="129"/>
                </a:cubicBezTo>
                <a:cubicBezTo>
                  <a:pt x="1429" y="130"/>
                  <a:pt x="1429" y="130"/>
                  <a:pt x="1429" y="130"/>
                </a:cubicBezTo>
                <a:close/>
                <a:moveTo>
                  <a:pt x="1453" y="100"/>
                </a:moveTo>
                <a:cubicBezTo>
                  <a:pt x="1452" y="99"/>
                  <a:pt x="1452" y="99"/>
                  <a:pt x="1452" y="99"/>
                </a:cubicBezTo>
                <a:cubicBezTo>
                  <a:pt x="1451" y="99"/>
                  <a:pt x="1451" y="99"/>
                  <a:pt x="1451" y="99"/>
                </a:cubicBezTo>
                <a:cubicBezTo>
                  <a:pt x="1451" y="100"/>
                  <a:pt x="1451" y="100"/>
                  <a:pt x="1451" y="100"/>
                </a:cubicBezTo>
                <a:cubicBezTo>
                  <a:pt x="1452" y="101"/>
                  <a:pt x="1452" y="101"/>
                  <a:pt x="1452" y="101"/>
                </a:cubicBezTo>
                <a:cubicBezTo>
                  <a:pt x="1453" y="100"/>
                  <a:pt x="1453" y="100"/>
                  <a:pt x="1453" y="100"/>
                </a:cubicBezTo>
                <a:close/>
                <a:moveTo>
                  <a:pt x="1443" y="145"/>
                </a:moveTo>
                <a:cubicBezTo>
                  <a:pt x="1443" y="145"/>
                  <a:pt x="1443" y="145"/>
                  <a:pt x="1444" y="143"/>
                </a:cubicBezTo>
                <a:cubicBezTo>
                  <a:pt x="1444" y="143"/>
                  <a:pt x="1444" y="143"/>
                  <a:pt x="1446" y="143"/>
                </a:cubicBezTo>
                <a:cubicBezTo>
                  <a:pt x="1446" y="143"/>
                  <a:pt x="1446" y="143"/>
                  <a:pt x="1446" y="142"/>
                </a:cubicBezTo>
                <a:cubicBezTo>
                  <a:pt x="1446" y="142"/>
                  <a:pt x="1446" y="142"/>
                  <a:pt x="1445" y="142"/>
                </a:cubicBezTo>
                <a:cubicBezTo>
                  <a:pt x="1445" y="142"/>
                  <a:pt x="1445" y="142"/>
                  <a:pt x="1444" y="141"/>
                </a:cubicBezTo>
                <a:cubicBezTo>
                  <a:pt x="1444" y="141"/>
                  <a:pt x="1444" y="141"/>
                  <a:pt x="1443" y="140"/>
                </a:cubicBezTo>
                <a:cubicBezTo>
                  <a:pt x="1443" y="140"/>
                  <a:pt x="1443" y="140"/>
                  <a:pt x="1442" y="141"/>
                </a:cubicBezTo>
                <a:cubicBezTo>
                  <a:pt x="1442" y="141"/>
                  <a:pt x="1442" y="141"/>
                  <a:pt x="1441" y="142"/>
                </a:cubicBezTo>
                <a:cubicBezTo>
                  <a:pt x="1441" y="142"/>
                  <a:pt x="1441" y="142"/>
                  <a:pt x="1440" y="141"/>
                </a:cubicBezTo>
                <a:cubicBezTo>
                  <a:pt x="1440" y="141"/>
                  <a:pt x="1440" y="141"/>
                  <a:pt x="1438" y="140"/>
                </a:cubicBezTo>
                <a:cubicBezTo>
                  <a:pt x="1438" y="140"/>
                  <a:pt x="1438" y="140"/>
                  <a:pt x="1438" y="138"/>
                </a:cubicBezTo>
                <a:cubicBezTo>
                  <a:pt x="1438" y="138"/>
                  <a:pt x="1438" y="138"/>
                  <a:pt x="1438" y="137"/>
                </a:cubicBezTo>
                <a:cubicBezTo>
                  <a:pt x="1438" y="137"/>
                  <a:pt x="1438" y="137"/>
                  <a:pt x="1439" y="137"/>
                </a:cubicBezTo>
                <a:cubicBezTo>
                  <a:pt x="1439" y="137"/>
                  <a:pt x="1439" y="137"/>
                  <a:pt x="1438" y="135"/>
                </a:cubicBezTo>
                <a:cubicBezTo>
                  <a:pt x="1438" y="135"/>
                  <a:pt x="1438" y="135"/>
                  <a:pt x="1438" y="134"/>
                </a:cubicBezTo>
                <a:cubicBezTo>
                  <a:pt x="1438" y="134"/>
                  <a:pt x="1438" y="134"/>
                  <a:pt x="1436" y="135"/>
                </a:cubicBezTo>
                <a:cubicBezTo>
                  <a:pt x="1436" y="135"/>
                  <a:pt x="1436" y="135"/>
                  <a:pt x="1435" y="136"/>
                </a:cubicBezTo>
                <a:cubicBezTo>
                  <a:pt x="1435" y="136"/>
                  <a:pt x="1435" y="136"/>
                  <a:pt x="1433" y="136"/>
                </a:cubicBezTo>
                <a:cubicBezTo>
                  <a:pt x="1433" y="136"/>
                  <a:pt x="1433" y="136"/>
                  <a:pt x="1431" y="137"/>
                </a:cubicBezTo>
                <a:cubicBezTo>
                  <a:pt x="1431" y="137"/>
                  <a:pt x="1431" y="137"/>
                  <a:pt x="1430" y="138"/>
                </a:cubicBezTo>
                <a:cubicBezTo>
                  <a:pt x="1430" y="138"/>
                  <a:pt x="1430" y="138"/>
                  <a:pt x="1429" y="139"/>
                </a:cubicBezTo>
                <a:cubicBezTo>
                  <a:pt x="1429" y="139"/>
                  <a:pt x="1429" y="139"/>
                  <a:pt x="1430" y="140"/>
                </a:cubicBezTo>
                <a:cubicBezTo>
                  <a:pt x="1430" y="140"/>
                  <a:pt x="1430" y="140"/>
                  <a:pt x="1431" y="141"/>
                </a:cubicBezTo>
                <a:cubicBezTo>
                  <a:pt x="1431" y="141"/>
                  <a:pt x="1431" y="141"/>
                  <a:pt x="1432" y="141"/>
                </a:cubicBezTo>
                <a:cubicBezTo>
                  <a:pt x="1432" y="141"/>
                  <a:pt x="1432" y="141"/>
                  <a:pt x="1432" y="142"/>
                </a:cubicBezTo>
                <a:cubicBezTo>
                  <a:pt x="1432" y="142"/>
                  <a:pt x="1432" y="142"/>
                  <a:pt x="1432" y="143"/>
                </a:cubicBezTo>
                <a:cubicBezTo>
                  <a:pt x="1432" y="143"/>
                  <a:pt x="1432" y="143"/>
                  <a:pt x="1431" y="145"/>
                </a:cubicBezTo>
                <a:cubicBezTo>
                  <a:pt x="1431" y="145"/>
                  <a:pt x="1431" y="145"/>
                  <a:pt x="1431" y="147"/>
                </a:cubicBezTo>
                <a:cubicBezTo>
                  <a:pt x="1431" y="147"/>
                  <a:pt x="1431" y="147"/>
                  <a:pt x="1430" y="148"/>
                </a:cubicBezTo>
                <a:cubicBezTo>
                  <a:pt x="1430" y="148"/>
                  <a:pt x="1430" y="148"/>
                  <a:pt x="1430" y="149"/>
                </a:cubicBezTo>
                <a:cubicBezTo>
                  <a:pt x="1430" y="149"/>
                  <a:pt x="1430" y="149"/>
                  <a:pt x="1430" y="150"/>
                </a:cubicBezTo>
                <a:cubicBezTo>
                  <a:pt x="1430" y="150"/>
                  <a:pt x="1430" y="150"/>
                  <a:pt x="1431" y="150"/>
                </a:cubicBezTo>
                <a:cubicBezTo>
                  <a:pt x="1431" y="150"/>
                  <a:pt x="1431" y="150"/>
                  <a:pt x="1433" y="150"/>
                </a:cubicBezTo>
                <a:cubicBezTo>
                  <a:pt x="1433" y="150"/>
                  <a:pt x="1433" y="150"/>
                  <a:pt x="1434" y="149"/>
                </a:cubicBezTo>
                <a:cubicBezTo>
                  <a:pt x="1434" y="149"/>
                  <a:pt x="1434" y="149"/>
                  <a:pt x="1435" y="149"/>
                </a:cubicBezTo>
                <a:cubicBezTo>
                  <a:pt x="1435" y="149"/>
                  <a:pt x="1435" y="149"/>
                  <a:pt x="1436" y="148"/>
                </a:cubicBezTo>
                <a:cubicBezTo>
                  <a:pt x="1436" y="148"/>
                  <a:pt x="1436" y="148"/>
                  <a:pt x="1436" y="147"/>
                </a:cubicBezTo>
                <a:cubicBezTo>
                  <a:pt x="1436" y="147"/>
                  <a:pt x="1436" y="147"/>
                  <a:pt x="1437" y="146"/>
                </a:cubicBezTo>
                <a:cubicBezTo>
                  <a:pt x="1437" y="146"/>
                  <a:pt x="1437" y="146"/>
                  <a:pt x="1438" y="146"/>
                </a:cubicBezTo>
                <a:cubicBezTo>
                  <a:pt x="1438" y="146"/>
                  <a:pt x="1438" y="146"/>
                  <a:pt x="1438" y="147"/>
                </a:cubicBezTo>
                <a:cubicBezTo>
                  <a:pt x="1438" y="147"/>
                  <a:pt x="1438" y="147"/>
                  <a:pt x="1438" y="149"/>
                </a:cubicBezTo>
                <a:cubicBezTo>
                  <a:pt x="1438" y="149"/>
                  <a:pt x="1438" y="149"/>
                  <a:pt x="1438" y="150"/>
                </a:cubicBezTo>
                <a:cubicBezTo>
                  <a:pt x="1438" y="150"/>
                  <a:pt x="1438" y="150"/>
                  <a:pt x="1437" y="151"/>
                </a:cubicBezTo>
                <a:cubicBezTo>
                  <a:pt x="1437" y="151"/>
                  <a:pt x="1437" y="151"/>
                  <a:pt x="1438" y="152"/>
                </a:cubicBezTo>
                <a:cubicBezTo>
                  <a:pt x="1438" y="152"/>
                  <a:pt x="1438" y="152"/>
                  <a:pt x="1439" y="152"/>
                </a:cubicBezTo>
                <a:cubicBezTo>
                  <a:pt x="1439" y="152"/>
                  <a:pt x="1439" y="152"/>
                  <a:pt x="1439" y="151"/>
                </a:cubicBezTo>
                <a:cubicBezTo>
                  <a:pt x="1439" y="151"/>
                  <a:pt x="1439" y="151"/>
                  <a:pt x="1440" y="150"/>
                </a:cubicBezTo>
                <a:cubicBezTo>
                  <a:pt x="1440" y="150"/>
                  <a:pt x="1440" y="150"/>
                  <a:pt x="1441" y="149"/>
                </a:cubicBezTo>
                <a:cubicBezTo>
                  <a:pt x="1441" y="149"/>
                  <a:pt x="1441" y="149"/>
                  <a:pt x="1442" y="149"/>
                </a:cubicBezTo>
                <a:cubicBezTo>
                  <a:pt x="1442" y="149"/>
                  <a:pt x="1442" y="149"/>
                  <a:pt x="1443" y="146"/>
                </a:cubicBezTo>
                <a:cubicBezTo>
                  <a:pt x="1443" y="146"/>
                  <a:pt x="1443" y="146"/>
                  <a:pt x="1443" y="145"/>
                </a:cubicBezTo>
                <a:close/>
                <a:moveTo>
                  <a:pt x="1387" y="131"/>
                </a:moveTo>
                <a:cubicBezTo>
                  <a:pt x="1387" y="131"/>
                  <a:pt x="1387" y="131"/>
                  <a:pt x="1387" y="133"/>
                </a:cubicBezTo>
                <a:cubicBezTo>
                  <a:pt x="1387" y="133"/>
                  <a:pt x="1387" y="133"/>
                  <a:pt x="1387" y="134"/>
                </a:cubicBezTo>
                <a:cubicBezTo>
                  <a:pt x="1387" y="134"/>
                  <a:pt x="1387" y="134"/>
                  <a:pt x="1388" y="134"/>
                </a:cubicBezTo>
                <a:cubicBezTo>
                  <a:pt x="1388" y="134"/>
                  <a:pt x="1388" y="134"/>
                  <a:pt x="1389" y="135"/>
                </a:cubicBezTo>
                <a:cubicBezTo>
                  <a:pt x="1389" y="135"/>
                  <a:pt x="1389" y="135"/>
                  <a:pt x="1390" y="136"/>
                </a:cubicBezTo>
                <a:cubicBezTo>
                  <a:pt x="1390" y="136"/>
                  <a:pt x="1390" y="136"/>
                  <a:pt x="1391" y="138"/>
                </a:cubicBezTo>
                <a:cubicBezTo>
                  <a:pt x="1391" y="138"/>
                  <a:pt x="1391" y="138"/>
                  <a:pt x="1392" y="138"/>
                </a:cubicBezTo>
                <a:cubicBezTo>
                  <a:pt x="1392" y="138"/>
                  <a:pt x="1392" y="138"/>
                  <a:pt x="1392" y="137"/>
                </a:cubicBezTo>
                <a:cubicBezTo>
                  <a:pt x="1392" y="137"/>
                  <a:pt x="1392" y="137"/>
                  <a:pt x="1392" y="136"/>
                </a:cubicBezTo>
                <a:cubicBezTo>
                  <a:pt x="1392" y="136"/>
                  <a:pt x="1392" y="136"/>
                  <a:pt x="1391" y="134"/>
                </a:cubicBezTo>
                <a:cubicBezTo>
                  <a:pt x="1391" y="134"/>
                  <a:pt x="1391" y="134"/>
                  <a:pt x="1390" y="133"/>
                </a:cubicBezTo>
                <a:cubicBezTo>
                  <a:pt x="1390" y="133"/>
                  <a:pt x="1390" y="133"/>
                  <a:pt x="1389" y="133"/>
                </a:cubicBezTo>
                <a:cubicBezTo>
                  <a:pt x="1389" y="133"/>
                  <a:pt x="1389" y="133"/>
                  <a:pt x="1388" y="132"/>
                </a:cubicBezTo>
                <a:cubicBezTo>
                  <a:pt x="1388" y="132"/>
                  <a:pt x="1388" y="132"/>
                  <a:pt x="1387" y="130"/>
                </a:cubicBezTo>
                <a:cubicBezTo>
                  <a:pt x="1387" y="130"/>
                  <a:pt x="1387" y="130"/>
                  <a:pt x="1388" y="129"/>
                </a:cubicBezTo>
                <a:cubicBezTo>
                  <a:pt x="1388" y="129"/>
                  <a:pt x="1388" y="129"/>
                  <a:pt x="1387" y="128"/>
                </a:cubicBezTo>
                <a:cubicBezTo>
                  <a:pt x="1387" y="128"/>
                  <a:pt x="1387" y="128"/>
                  <a:pt x="1386" y="127"/>
                </a:cubicBezTo>
                <a:cubicBezTo>
                  <a:pt x="1386" y="127"/>
                  <a:pt x="1386" y="127"/>
                  <a:pt x="1386" y="126"/>
                </a:cubicBezTo>
                <a:cubicBezTo>
                  <a:pt x="1386" y="126"/>
                  <a:pt x="1386" y="126"/>
                  <a:pt x="1385" y="127"/>
                </a:cubicBezTo>
                <a:cubicBezTo>
                  <a:pt x="1385" y="127"/>
                  <a:pt x="1385" y="127"/>
                  <a:pt x="1385" y="129"/>
                </a:cubicBezTo>
                <a:cubicBezTo>
                  <a:pt x="1385" y="129"/>
                  <a:pt x="1385" y="129"/>
                  <a:pt x="1386" y="129"/>
                </a:cubicBezTo>
                <a:cubicBezTo>
                  <a:pt x="1386" y="129"/>
                  <a:pt x="1386" y="129"/>
                  <a:pt x="1387" y="131"/>
                </a:cubicBezTo>
                <a:close/>
                <a:moveTo>
                  <a:pt x="1416" y="100"/>
                </a:moveTo>
                <a:cubicBezTo>
                  <a:pt x="1416" y="100"/>
                  <a:pt x="1416" y="100"/>
                  <a:pt x="1416" y="99"/>
                </a:cubicBezTo>
                <a:cubicBezTo>
                  <a:pt x="1416" y="99"/>
                  <a:pt x="1416" y="99"/>
                  <a:pt x="1415" y="98"/>
                </a:cubicBezTo>
                <a:cubicBezTo>
                  <a:pt x="1415" y="98"/>
                  <a:pt x="1415" y="98"/>
                  <a:pt x="1414" y="99"/>
                </a:cubicBezTo>
                <a:cubicBezTo>
                  <a:pt x="1414" y="99"/>
                  <a:pt x="1414" y="99"/>
                  <a:pt x="1414" y="100"/>
                </a:cubicBezTo>
                <a:cubicBezTo>
                  <a:pt x="1414" y="100"/>
                  <a:pt x="1414" y="100"/>
                  <a:pt x="1415" y="101"/>
                </a:cubicBezTo>
                <a:cubicBezTo>
                  <a:pt x="1415" y="101"/>
                  <a:pt x="1415" y="101"/>
                  <a:pt x="1416" y="100"/>
                </a:cubicBezTo>
                <a:close/>
                <a:moveTo>
                  <a:pt x="1386" y="122"/>
                </a:moveTo>
                <a:cubicBezTo>
                  <a:pt x="1386" y="122"/>
                  <a:pt x="1386" y="122"/>
                  <a:pt x="1387" y="122"/>
                </a:cubicBezTo>
                <a:cubicBezTo>
                  <a:pt x="1387" y="122"/>
                  <a:pt x="1387" y="122"/>
                  <a:pt x="1388" y="121"/>
                </a:cubicBezTo>
                <a:cubicBezTo>
                  <a:pt x="1388" y="121"/>
                  <a:pt x="1388" y="121"/>
                  <a:pt x="1388" y="120"/>
                </a:cubicBezTo>
                <a:cubicBezTo>
                  <a:pt x="1388" y="120"/>
                  <a:pt x="1388" y="120"/>
                  <a:pt x="1388" y="119"/>
                </a:cubicBezTo>
                <a:cubicBezTo>
                  <a:pt x="1388" y="119"/>
                  <a:pt x="1388" y="119"/>
                  <a:pt x="1389" y="119"/>
                </a:cubicBezTo>
                <a:cubicBezTo>
                  <a:pt x="1389" y="119"/>
                  <a:pt x="1389" y="119"/>
                  <a:pt x="1390" y="119"/>
                </a:cubicBezTo>
                <a:cubicBezTo>
                  <a:pt x="1390" y="119"/>
                  <a:pt x="1390" y="119"/>
                  <a:pt x="1390" y="120"/>
                </a:cubicBezTo>
                <a:cubicBezTo>
                  <a:pt x="1390" y="120"/>
                  <a:pt x="1390" y="120"/>
                  <a:pt x="1389" y="122"/>
                </a:cubicBezTo>
                <a:cubicBezTo>
                  <a:pt x="1389" y="122"/>
                  <a:pt x="1389" y="122"/>
                  <a:pt x="1389" y="123"/>
                </a:cubicBezTo>
                <a:cubicBezTo>
                  <a:pt x="1389" y="123"/>
                  <a:pt x="1389" y="123"/>
                  <a:pt x="1390" y="124"/>
                </a:cubicBezTo>
                <a:cubicBezTo>
                  <a:pt x="1390" y="124"/>
                  <a:pt x="1390" y="124"/>
                  <a:pt x="1391" y="125"/>
                </a:cubicBezTo>
                <a:cubicBezTo>
                  <a:pt x="1391" y="125"/>
                  <a:pt x="1391" y="125"/>
                  <a:pt x="1391" y="124"/>
                </a:cubicBezTo>
                <a:cubicBezTo>
                  <a:pt x="1391" y="124"/>
                  <a:pt x="1391" y="124"/>
                  <a:pt x="1392" y="125"/>
                </a:cubicBezTo>
                <a:cubicBezTo>
                  <a:pt x="1392" y="125"/>
                  <a:pt x="1392" y="125"/>
                  <a:pt x="1392" y="126"/>
                </a:cubicBezTo>
                <a:cubicBezTo>
                  <a:pt x="1392" y="126"/>
                  <a:pt x="1392" y="126"/>
                  <a:pt x="1391" y="126"/>
                </a:cubicBezTo>
                <a:cubicBezTo>
                  <a:pt x="1391" y="126"/>
                  <a:pt x="1391" y="126"/>
                  <a:pt x="1390" y="126"/>
                </a:cubicBezTo>
                <a:cubicBezTo>
                  <a:pt x="1390" y="126"/>
                  <a:pt x="1390" y="126"/>
                  <a:pt x="1390" y="125"/>
                </a:cubicBezTo>
                <a:cubicBezTo>
                  <a:pt x="1390" y="125"/>
                  <a:pt x="1390" y="125"/>
                  <a:pt x="1388" y="124"/>
                </a:cubicBezTo>
                <a:cubicBezTo>
                  <a:pt x="1388" y="124"/>
                  <a:pt x="1388" y="124"/>
                  <a:pt x="1388" y="125"/>
                </a:cubicBezTo>
                <a:cubicBezTo>
                  <a:pt x="1388" y="125"/>
                  <a:pt x="1388" y="125"/>
                  <a:pt x="1388" y="126"/>
                </a:cubicBezTo>
                <a:cubicBezTo>
                  <a:pt x="1388" y="126"/>
                  <a:pt x="1388" y="126"/>
                  <a:pt x="1389" y="127"/>
                </a:cubicBezTo>
                <a:cubicBezTo>
                  <a:pt x="1389" y="127"/>
                  <a:pt x="1389" y="127"/>
                  <a:pt x="1390" y="127"/>
                </a:cubicBezTo>
                <a:cubicBezTo>
                  <a:pt x="1390" y="127"/>
                  <a:pt x="1390" y="127"/>
                  <a:pt x="1390" y="128"/>
                </a:cubicBezTo>
                <a:cubicBezTo>
                  <a:pt x="1390" y="128"/>
                  <a:pt x="1390" y="128"/>
                  <a:pt x="1389" y="128"/>
                </a:cubicBezTo>
                <a:cubicBezTo>
                  <a:pt x="1389" y="128"/>
                  <a:pt x="1389" y="128"/>
                  <a:pt x="1390" y="129"/>
                </a:cubicBezTo>
                <a:cubicBezTo>
                  <a:pt x="1390" y="129"/>
                  <a:pt x="1390" y="129"/>
                  <a:pt x="1391" y="130"/>
                </a:cubicBezTo>
                <a:cubicBezTo>
                  <a:pt x="1391" y="130"/>
                  <a:pt x="1391" y="130"/>
                  <a:pt x="1392" y="130"/>
                </a:cubicBezTo>
                <a:cubicBezTo>
                  <a:pt x="1392" y="130"/>
                  <a:pt x="1392" y="130"/>
                  <a:pt x="1392" y="131"/>
                </a:cubicBezTo>
                <a:cubicBezTo>
                  <a:pt x="1392" y="131"/>
                  <a:pt x="1392" y="131"/>
                  <a:pt x="1393" y="131"/>
                </a:cubicBezTo>
                <a:cubicBezTo>
                  <a:pt x="1393" y="131"/>
                  <a:pt x="1393" y="131"/>
                  <a:pt x="1394" y="131"/>
                </a:cubicBezTo>
                <a:cubicBezTo>
                  <a:pt x="1394" y="131"/>
                  <a:pt x="1394" y="131"/>
                  <a:pt x="1395" y="131"/>
                </a:cubicBezTo>
                <a:cubicBezTo>
                  <a:pt x="1395" y="131"/>
                  <a:pt x="1395" y="131"/>
                  <a:pt x="1395" y="132"/>
                </a:cubicBezTo>
                <a:cubicBezTo>
                  <a:pt x="1395" y="132"/>
                  <a:pt x="1395" y="132"/>
                  <a:pt x="1394" y="132"/>
                </a:cubicBezTo>
                <a:cubicBezTo>
                  <a:pt x="1394" y="132"/>
                  <a:pt x="1394" y="132"/>
                  <a:pt x="1393" y="132"/>
                </a:cubicBezTo>
                <a:cubicBezTo>
                  <a:pt x="1393" y="132"/>
                  <a:pt x="1393" y="132"/>
                  <a:pt x="1393" y="133"/>
                </a:cubicBezTo>
                <a:cubicBezTo>
                  <a:pt x="1393" y="133"/>
                  <a:pt x="1393" y="133"/>
                  <a:pt x="1394" y="134"/>
                </a:cubicBezTo>
                <a:cubicBezTo>
                  <a:pt x="1394" y="134"/>
                  <a:pt x="1394" y="134"/>
                  <a:pt x="1395" y="135"/>
                </a:cubicBezTo>
                <a:cubicBezTo>
                  <a:pt x="1395" y="135"/>
                  <a:pt x="1395" y="135"/>
                  <a:pt x="1396" y="136"/>
                </a:cubicBezTo>
                <a:cubicBezTo>
                  <a:pt x="1396" y="136"/>
                  <a:pt x="1396" y="136"/>
                  <a:pt x="1397" y="137"/>
                </a:cubicBezTo>
                <a:cubicBezTo>
                  <a:pt x="1397" y="137"/>
                  <a:pt x="1397" y="137"/>
                  <a:pt x="1396" y="138"/>
                </a:cubicBezTo>
                <a:cubicBezTo>
                  <a:pt x="1396" y="138"/>
                  <a:pt x="1396" y="138"/>
                  <a:pt x="1398" y="138"/>
                </a:cubicBezTo>
                <a:cubicBezTo>
                  <a:pt x="1398" y="138"/>
                  <a:pt x="1398" y="138"/>
                  <a:pt x="1400" y="138"/>
                </a:cubicBezTo>
                <a:cubicBezTo>
                  <a:pt x="1400" y="138"/>
                  <a:pt x="1400" y="138"/>
                  <a:pt x="1401" y="137"/>
                </a:cubicBezTo>
                <a:cubicBezTo>
                  <a:pt x="1401" y="137"/>
                  <a:pt x="1401" y="137"/>
                  <a:pt x="1401" y="135"/>
                </a:cubicBezTo>
                <a:cubicBezTo>
                  <a:pt x="1401" y="135"/>
                  <a:pt x="1401" y="135"/>
                  <a:pt x="1402" y="135"/>
                </a:cubicBezTo>
                <a:cubicBezTo>
                  <a:pt x="1402" y="135"/>
                  <a:pt x="1402" y="135"/>
                  <a:pt x="1403" y="135"/>
                </a:cubicBezTo>
                <a:cubicBezTo>
                  <a:pt x="1403" y="135"/>
                  <a:pt x="1403" y="135"/>
                  <a:pt x="1403" y="134"/>
                </a:cubicBezTo>
                <a:cubicBezTo>
                  <a:pt x="1403" y="134"/>
                  <a:pt x="1403" y="134"/>
                  <a:pt x="1402" y="133"/>
                </a:cubicBezTo>
                <a:cubicBezTo>
                  <a:pt x="1402" y="133"/>
                  <a:pt x="1402" y="133"/>
                  <a:pt x="1402" y="132"/>
                </a:cubicBezTo>
                <a:cubicBezTo>
                  <a:pt x="1402" y="132"/>
                  <a:pt x="1402" y="132"/>
                  <a:pt x="1402" y="131"/>
                </a:cubicBezTo>
                <a:cubicBezTo>
                  <a:pt x="1402" y="131"/>
                  <a:pt x="1402" y="131"/>
                  <a:pt x="1401" y="130"/>
                </a:cubicBezTo>
                <a:cubicBezTo>
                  <a:pt x="1401" y="130"/>
                  <a:pt x="1401" y="130"/>
                  <a:pt x="1401" y="129"/>
                </a:cubicBezTo>
                <a:cubicBezTo>
                  <a:pt x="1401" y="129"/>
                  <a:pt x="1401" y="129"/>
                  <a:pt x="1402" y="129"/>
                </a:cubicBezTo>
                <a:cubicBezTo>
                  <a:pt x="1402" y="129"/>
                  <a:pt x="1402" y="129"/>
                  <a:pt x="1403" y="129"/>
                </a:cubicBezTo>
                <a:cubicBezTo>
                  <a:pt x="1403" y="129"/>
                  <a:pt x="1403" y="129"/>
                  <a:pt x="1403" y="130"/>
                </a:cubicBezTo>
                <a:cubicBezTo>
                  <a:pt x="1403" y="130"/>
                  <a:pt x="1403" y="130"/>
                  <a:pt x="1403" y="131"/>
                </a:cubicBezTo>
                <a:cubicBezTo>
                  <a:pt x="1403" y="131"/>
                  <a:pt x="1403" y="131"/>
                  <a:pt x="1404" y="130"/>
                </a:cubicBezTo>
                <a:cubicBezTo>
                  <a:pt x="1404" y="130"/>
                  <a:pt x="1404" y="130"/>
                  <a:pt x="1404" y="129"/>
                </a:cubicBezTo>
                <a:cubicBezTo>
                  <a:pt x="1404" y="129"/>
                  <a:pt x="1404" y="129"/>
                  <a:pt x="1404" y="127"/>
                </a:cubicBezTo>
                <a:cubicBezTo>
                  <a:pt x="1404" y="127"/>
                  <a:pt x="1404" y="127"/>
                  <a:pt x="1405" y="127"/>
                </a:cubicBezTo>
                <a:cubicBezTo>
                  <a:pt x="1405" y="127"/>
                  <a:pt x="1405" y="127"/>
                  <a:pt x="1405" y="129"/>
                </a:cubicBezTo>
                <a:cubicBezTo>
                  <a:pt x="1405" y="129"/>
                  <a:pt x="1405" y="129"/>
                  <a:pt x="1406" y="129"/>
                </a:cubicBezTo>
                <a:cubicBezTo>
                  <a:pt x="1406" y="129"/>
                  <a:pt x="1406" y="129"/>
                  <a:pt x="1406" y="130"/>
                </a:cubicBezTo>
                <a:cubicBezTo>
                  <a:pt x="1406" y="130"/>
                  <a:pt x="1406" y="130"/>
                  <a:pt x="1405" y="131"/>
                </a:cubicBezTo>
                <a:cubicBezTo>
                  <a:pt x="1405" y="131"/>
                  <a:pt x="1405" y="131"/>
                  <a:pt x="1405" y="132"/>
                </a:cubicBezTo>
                <a:cubicBezTo>
                  <a:pt x="1405" y="132"/>
                  <a:pt x="1405" y="132"/>
                  <a:pt x="1405" y="133"/>
                </a:cubicBezTo>
                <a:cubicBezTo>
                  <a:pt x="1405" y="133"/>
                  <a:pt x="1405" y="133"/>
                  <a:pt x="1406" y="134"/>
                </a:cubicBezTo>
                <a:cubicBezTo>
                  <a:pt x="1406" y="134"/>
                  <a:pt x="1406" y="134"/>
                  <a:pt x="1407" y="133"/>
                </a:cubicBezTo>
                <a:cubicBezTo>
                  <a:pt x="1407" y="133"/>
                  <a:pt x="1407" y="133"/>
                  <a:pt x="1408" y="132"/>
                </a:cubicBezTo>
                <a:cubicBezTo>
                  <a:pt x="1408" y="132"/>
                  <a:pt x="1408" y="132"/>
                  <a:pt x="1409" y="130"/>
                </a:cubicBezTo>
                <a:cubicBezTo>
                  <a:pt x="1409" y="130"/>
                  <a:pt x="1409" y="130"/>
                  <a:pt x="1409" y="129"/>
                </a:cubicBezTo>
                <a:cubicBezTo>
                  <a:pt x="1409" y="129"/>
                  <a:pt x="1409" y="129"/>
                  <a:pt x="1409" y="128"/>
                </a:cubicBezTo>
                <a:cubicBezTo>
                  <a:pt x="1409" y="128"/>
                  <a:pt x="1409" y="128"/>
                  <a:pt x="1410" y="128"/>
                </a:cubicBezTo>
                <a:cubicBezTo>
                  <a:pt x="1410" y="128"/>
                  <a:pt x="1410" y="128"/>
                  <a:pt x="1410" y="129"/>
                </a:cubicBezTo>
                <a:cubicBezTo>
                  <a:pt x="1410" y="129"/>
                  <a:pt x="1410" y="129"/>
                  <a:pt x="1410" y="131"/>
                </a:cubicBezTo>
                <a:cubicBezTo>
                  <a:pt x="1410" y="131"/>
                  <a:pt x="1410" y="131"/>
                  <a:pt x="1410" y="132"/>
                </a:cubicBezTo>
                <a:cubicBezTo>
                  <a:pt x="1410" y="132"/>
                  <a:pt x="1410" y="132"/>
                  <a:pt x="1410" y="133"/>
                </a:cubicBezTo>
                <a:cubicBezTo>
                  <a:pt x="1410" y="133"/>
                  <a:pt x="1410" y="133"/>
                  <a:pt x="1411" y="133"/>
                </a:cubicBezTo>
                <a:cubicBezTo>
                  <a:pt x="1411" y="133"/>
                  <a:pt x="1411" y="133"/>
                  <a:pt x="1412" y="132"/>
                </a:cubicBezTo>
                <a:cubicBezTo>
                  <a:pt x="1412" y="132"/>
                  <a:pt x="1412" y="132"/>
                  <a:pt x="1413" y="132"/>
                </a:cubicBezTo>
                <a:cubicBezTo>
                  <a:pt x="1413" y="132"/>
                  <a:pt x="1413" y="132"/>
                  <a:pt x="1413" y="133"/>
                </a:cubicBezTo>
                <a:cubicBezTo>
                  <a:pt x="1413" y="133"/>
                  <a:pt x="1413" y="133"/>
                  <a:pt x="1412" y="133"/>
                </a:cubicBezTo>
                <a:cubicBezTo>
                  <a:pt x="1412" y="133"/>
                  <a:pt x="1412" y="133"/>
                  <a:pt x="1411" y="134"/>
                </a:cubicBezTo>
                <a:cubicBezTo>
                  <a:pt x="1411" y="134"/>
                  <a:pt x="1411" y="134"/>
                  <a:pt x="1410" y="135"/>
                </a:cubicBezTo>
                <a:cubicBezTo>
                  <a:pt x="1410" y="135"/>
                  <a:pt x="1410" y="135"/>
                  <a:pt x="1408" y="135"/>
                </a:cubicBezTo>
                <a:cubicBezTo>
                  <a:pt x="1408" y="135"/>
                  <a:pt x="1408" y="135"/>
                  <a:pt x="1407" y="135"/>
                </a:cubicBezTo>
                <a:cubicBezTo>
                  <a:pt x="1407" y="135"/>
                  <a:pt x="1407" y="135"/>
                  <a:pt x="1406" y="136"/>
                </a:cubicBezTo>
                <a:cubicBezTo>
                  <a:pt x="1406" y="136"/>
                  <a:pt x="1406" y="136"/>
                  <a:pt x="1406" y="137"/>
                </a:cubicBezTo>
                <a:cubicBezTo>
                  <a:pt x="1406" y="137"/>
                  <a:pt x="1406" y="137"/>
                  <a:pt x="1405" y="137"/>
                </a:cubicBezTo>
                <a:cubicBezTo>
                  <a:pt x="1405" y="137"/>
                  <a:pt x="1405" y="137"/>
                  <a:pt x="1404" y="138"/>
                </a:cubicBezTo>
                <a:cubicBezTo>
                  <a:pt x="1404" y="138"/>
                  <a:pt x="1404" y="138"/>
                  <a:pt x="1403" y="139"/>
                </a:cubicBezTo>
                <a:cubicBezTo>
                  <a:pt x="1403" y="139"/>
                  <a:pt x="1403" y="139"/>
                  <a:pt x="1402" y="140"/>
                </a:cubicBezTo>
                <a:cubicBezTo>
                  <a:pt x="1402" y="140"/>
                  <a:pt x="1402" y="140"/>
                  <a:pt x="1402" y="141"/>
                </a:cubicBezTo>
                <a:cubicBezTo>
                  <a:pt x="1402" y="141"/>
                  <a:pt x="1402" y="141"/>
                  <a:pt x="1401" y="141"/>
                </a:cubicBezTo>
                <a:cubicBezTo>
                  <a:pt x="1401" y="141"/>
                  <a:pt x="1401" y="141"/>
                  <a:pt x="1401" y="140"/>
                </a:cubicBezTo>
                <a:cubicBezTo>
                  <a:pt x="1401" y="140"/>
                  <a:pt x="1401" y="140"/>
                  <a:pt x="1400" y="140"/>
                </a:cubicBezTo>
                <a:cubicBezTo>
                  <a:pt x="1400" y="140"/>
                  <a:pt x="1400" y="140"/>
                  <a:pt x="1399" y="141"/>
                </a:cubicBezTo>
                <a:cubicBezTo>
                  <a:pt x="1399" y="141"/>
                  <a:pt x="1399" y="141"/>
                  <a:pt x="1399" y="142"/>
                </a:cubicBezTo>
                <a:cubicBezTo>
                  <a:pt x="1399" y="142"/>
                  <a:pt x="1399" y="142"/>
                  <a:pt x="1399" y="143"/>
                </a:cubicBezTo>
                <a:cubicBezTo>
                  <a:pt x="1399" y="143"/>
                  <a:pt x="1399" y="143"/>
                  <a:pt x="1399" y="145"/>
                </a:cubicBezTo>
                <a:cubicBezTo>
                  <a:pt x="1399" y="145"/>
                  <a:pt x="1399" y="145"/>
                  <a:pt x="1400" y="145"/>
                </a:cubicBezTo>
                <a:cubicBezTo>
                  <a:pt x="1400" y="145"/>
                  <a:pt x="1400" y="145"/>
                  <a:pt x="1401" y="145"/>
                </a:cubicBezTo>
                <a:cubicBezTo>
                  <a:pt x="1401" y="145"/>
                  <a:pt x="1401" y="145"/>
                  <a:pt x="1403" y="145"/>
                </a:cubicBezTo>
                <a:cubicBezTo>
                  <a:pt x="1403" y="145"/>
                  <a:pt x="1403" y="145"/>
                  <a:pt x="1403" y="144"/>
                </a:cubicBezTo>
                <a:cubicBezTo>
                  <a:pt x="1403" y="144"/>
                  <a:pt x="1403" y="144"/>
                  <a:pt x="1404" y="144"/>
                </a:cubicBezTo>
                <a:cubicBezTo>
                  <a:pt x="1404" y="144"/>
                  <a:pt x="1404" y="144"/>
                  <a:pt x="1405" y="144"/>
                </a:cubicBezTo>
                <a:cubicBezTo>
                  <a:pt x="1405" y="144"/>
                  <a:pt x="1405" y="144"/>
                  <a:pt x="1406" y="143"/>
                </a:cubicBezTo>
                <a:cubicBezTo>
                  <a:pt x="1406" y="143"/>
                  <a:pt x="1406" y="143"/>
                  <a:pt x="1407" y="143"/>
                </a:cubicBezTo>
                <a:cubicBezTo>
                  <a:pt x="1407" y="143"/>
                  <a:pt x="1407" y="143"/>
                  <a:pt x="1408" y="143"/>
                </a:cubicBezTo>
                <a:cubicBezTo>
                  <a:pt x="1408" y="143"/>
                  <a:pt x="1408" y="143"/>
                  <a:pt x="1409" y="143"/>
                </a:cubicBezTo>
                <a:cubicBezTo>
                  <a:pt x="1409" y="143"/>
                  <a:pt x="1409" y="143"/>
                  <a:pt x="1411" y="143"/>
                </a:cubicBezTo>
                <a:cubicBezTo>
                  <a:pt x="1411" y="143"/>
                  <a:pt x="1411" y="143"/>
                  <a:pt x="1412" y="142"/>
                </a:cubicBezTo>
                <a:cubicBezTo>
                  <a:pt x="1412" y="142"/>
                  <a:pt x="1412" y="142"/>
                  <a:pt x="1413" y="142"/>
                </a:cubicBezTo>
                <a:cubicBezTo>
                  <a:pt x="1413" y="142"/>
                  <a:pt x="1413" y="142"/>
                  <a:pt x="1413" y="143"/>
                </a:cubicBezTo>
                <a:cubicBezTo>
                  <a:pt x="1413" y="143"/>
                  <a:pt x="1413" y="143"/>
                  <a:pt x="1412" y="143"/>
                </a:cubicBezTo>
                <a:cubicBezTo>
                  <a:pt x="1412" y="143"/>
                  <a:pt x="1412" y="143"/>
                  <a:pt x="1412" y="144"/>
                </a:cubicBezTo>
                <a:cubicBezTo>
                  <a:pt x="1412" y="144"/>
                  <a:pt x="1412" y="144"/>
                  <a:pt x="1411" y="144"/>
                </a:cubicBezTo>
                <a:cubicBezTo>
                  <a:pt x="1411" y="144"/>
                  <a:pt x="1411" y="144"/>
                  <a:pt x="1409" y="144"/>
                </a:cubicBezTo>
                <a:cubicBezTo>
                  <a:pt x="1409" y="144"/>
                  <a:pt x="1409" y="144"/>
                  <a:pt x="1408" y="145"/>
                </a:cubicBezTo>
                <a:cubicBezTo>
                  <a:pt x="1408" y="145"/>
                  <a:pt x="1408" y="145"/>
                  <a:pt x="1406" y="146"/>
                </a:cubicBezTo>
                <a:cubicBezTo>
                  <a:pt x="1406" y="146"/>
                  <a:pt x="1406" y="146"/>
                  <a:pt x="1405" y="146"/>
                </a:cubicBezTo>
                <a:cubicBezTo>
                  <a:pt x="1405" y="146"/>
                  <a:pt x="1405" y="146"/>
                  <a:pt x="1404" y="146"/>
                </a:cubicBezTo>
                <a:cubicBezTo>
                  <a:pt x="1404" y="146"/>
                  <a:pt x="1404" y="146"/>
                  <a:pt x="1405" y="147"/>
                </a:cubicBezTo>
                <a:cubicBezTo>
                  <a:pt x="1405" y="147"/>
                  <a:pt x="1405" y="147"/>
                  <a:pt x="1407" y="147"/>
                </a:cubicBezTo>
                <a:cubicBezTo>
                  <a:pt x="1407" y="147"/>
                  <a:pt x="1407" y="147"/>
                  <a:pt x="1408" y="147"/>
                </a:cubicBezTo>
                <a:cubicBezTo>
                  <a:pt x="1408" y="147"/>
                  <a:pt x="1408" y="147"/>
                  <a:pt x="1409" y="148"/>
                </a:cubicBezTo>
                <a:cubicBezTo>
                  <a:pt x="1409" y="148"/>
                  <a:pt x="1409" y="148"/>
                  <a:pt x="1407" y="149"/>
                </a:cubicBezTo>
                <a:cubicBezTo>
                  <a:pt x="1407" y="149"/>
                  <a:pt x="1407" y="149"/>
                  <a:pt x="1406" y="149"/>
                </a:cubicBezTo>
                <a:cubicBezTo>
                  <a:pt x="1406" y="149"/>
                  <a:pt x="1406" y="149"/>
                  <a:pt x="1405" y="148"/>
                </a:cubicBezTo>
                <a:cubicBezTo>
                  <a:pt x="1405" y="148"/>
                  <a:pt x="1405" y="148"/>
                  <a:pt x="1404" y="148"/>
                </a:cubicBezTo>
                <a:cubicBezTo>
                  <a:pt x="1404" y="148"/>
                  <a:pt x="1404" y="148"/>
                  <a:pt x="1404" y="149"/>
                </a:cubicBezTo>
                <a:cubicBezTo>
                  <a:pt x="1404" y="149"/>
                  <a:pt x="1404" y="149"/>
                  <a:pt x="1403" y="148"/>
                </a:cubicBezTo>
                <a:cubicBezTo>
                  <a:pt x="1403" y="148"/>
                  <a:pt x="1403" y="148"/>
                  <a:pt x="1402" y="147"/>
                </a:cubicBezTo>
                <a:cubicBezTo>
                  <a:pt x="1402" y="147"/>
                  <a:pt x="1402" y="147"/>
                  <a:pt x="1400" y="148"/>
                </a:cubicBezTo>
                <a:cubicBezTo>
                  <a:pt x="1400" y="148"/>
                  <a:pt x="1400" y="148"/>
                  <a:pt x="1400" y="149"/>
                </a:cubicBezTo>
                <a:cubicBezTo>
                  <a:pt x="1400" y="149"/>
                  <a:pt x="1400" y="149"/>
                  <a:pt x="1401" y="149"/>
                </a:cubicBezTo>
                <a:cubicBezTo>
                  <a:pt x="1401" y="149"/>
                  <a:pt x="1401" y="149"/>
                  <a:pt x="1401" y="150"/>
                </a:cubicBezTo>
                <a:cubicBezTo>
                  <a:pt x="1401" y="150"/>
                  <a:pt x="1401" y="150"/>
                  <a:pt x="1401" y="151"/>
                </a:cubicBezTo>
                <a:cubicBezTo>
                  <a:pt x="1401" y="151"/>
                  <a:pt x="1401" y="151"/>
                  <a:pt x="1401" y="152"/>
                </a:cubicBezTo>
                <a:cubicBezTo>
                  <a:pt x="1401" y="152"/>
                  <a:pt x="1401" y="152"/>
                  <a:pt x="1402" y="152"/>
                </a:cubicBezTo>
                <a:cubicBezTo>
                  <a:pt x="1402" y="152"/>
                  <a:pt x="1402" y="152"/>
                  <a:pt x="1402" y="153"/>
                </a:cubicBezTo>
                <a:cubicBezTo>
                  <a:pt x="1402" y="153"/>
                  <a:pt x="1402" y="153"/>
                  <a:pt x="1403" y="153"/>
                </a:cubicBezTo>
                <a:cubicBezTo>
                  <a:pt x="1403" y="153"/>
                  <a:pt x="1403" y="153"/>
                  <a:pt x="1403" y="154"/>
                </a:cubicBezTo>
                <a:cubicBezTo>
                  <a:pt x="1403" y="154"/>
                  <a:pt x="1403" y="154"/>
                  <a:pt x="1403" y="155"/>
                </a:cubicBezTo>
                <a:cubicBezTo>
                  <a:pt x="1403" y="155"/>
                  <a:pt x="1403" y="155"/>
                  <a:pt x="1404" y="155"/>
                </a:cubicBezTo>
                <a:cubicBezTo>
                  <a:pt x="1404" y="155"/>
                  <a:pt x="1404" y="155"/>
                  <a:pt x="1405" y="156"/>
                </a:cubicBezTo>
                <a:cubicBezTo>
                  <a:pt x="1405" y="156"/>
                  <a:pt x="1405" y="156"/>
                  <a:pt x="1406" y="156"/>
                </a:cubicBezTo>
                <a:cubicBezTo>
                  <a:pt x="1406" y="156"/>
                  <a:pt x="1406" y="156"/>
                  <a:pt x="1406" y="157"/>
                </a:cubicBezTo>
                <a:cubicBezTo>
                  <a:pt x="1406" y="157"/>
                  <a:pt x="1406" y="157"/>
                  <a:pt x="1406" y="158"/>
                </a:cubicBezTo>
                <a:cubicBezTo>
                  <a:pt x="1406" y="158"/>
                  <a:pt x="1406" y="158"/>
                  <a:pt x="1408" y="159"/>
                </a:cubicBezTo>
                <a:cubicBezTo>
                  <a:pt x="1408" y="159"/>
                  <a:pt x="1408" y="159"/>
                  <a:pt x="1409" y="158"/>
                </a:cubicBezTo>
                <a:cubicBezTo>
                  <a:pt x="1409" y="158"/>
                  <a:pt x="1409" y="158"/>
                  <a:pt x="1409" y="157"/>
                </a:cubicBezTo>
                <a:cubicBezTo>
                  <a:pt x="1409" y="157"/>
                  <a:pt x="1409" y="157"/>
                  <a:pt x="1410" y="157"/>
                </a:cubicBezTo>
                <a:cubicBezTo>
                  <a:pt x="1410" y="157"/>
                  <a:pt x="1410" y="157"/>
                  <a:pt x="1410" y="158"/>
                </a:cubicBezTo>
                <a:cubicBezTo>
                  <a:pt x="1410" y="158"/>
                  <a:pt x="1410" y="158"/>
                  <a:pt x="1411" y="158"/>
                </a:cubicBezTo>
                <a:cubicBezTo>
                  <a:pt x="1411" y="158"/>
                  <a:pt x="1411" y="158"/>
                  <a:pt x="1411" y="159"/>
                </a:cubicBezTo>
                <a:cubicBezTo>
                  <a:pt x="1411" y="159"/>
                  <a:pt x="1411" y="159"/>
                  <a:pt x="1410" y="159"/>
                </a:cubicBezTo>
                <a:cubicBezTo>
                  <a:pt x="1410" y="159"/>
                  <a:pt x="1410" y="159"/>
                  <a:pt x="1409" y="160"/>
                </a:cubicBezTo>
                <a:cubicBezTo>
                  <a:pt x="1409" y="160"/>
                  <a:pt x="1409" y="160"/>
                  <a:pt x="1409" y="161"/>
                </a:cubicBezTo>
                <a:cubicBezTo>
                  <a:pt x="1409" y="161"/>
                  <a:pt x="1409" y="161"/>
                  <a:pt x="1411" y="163"/>
                </a:cubicBezTo>
                <a:cubicBezTo>
                  <a:pt x="1411" y="163"/>
                  <a:pt x="1411" y="163"/>
                  <a:pt x="1412" y="163"/>
                </a:cubicBezTo>
                <a:cubicBezTo>
                  <a:pt x="1412" y="163"/>
                  <a:pt x="1412" y="163"/>
                  <a:pt x="1412" y="164"/>
                </a:cubicBezTo>
                <a:cubicBezTo>
                  <a:pt x="1412" y="164"/>
                  <a:pt x="1412" y="164"/>
                  <a:pt x="1412" y="165"/>
                </a:cubicBezTo>
                <a:cubicBezTo>
                  <a:pt x="1412" y="165"/>
                  <a:pt x="1412" y="165"/>
                  <a:pt x="1412" y="166"/>
                </a:cubicBezTo>
                <a:cubicBezTo>
                  <a:pt x="1412" y="166"/>
                  <a:pt x="1412" y="166"/>
                  <a:pt x="1413" y="166"/>
                </a:cubicBezTo>
                <a:cubicBezTo>
                  <a:pt x="1413" y="166"/>
                  <a:pt x="1413" y="166"/>
                  <a:pt x="1413" y="165"/>
                </a:cubicBezTo>
                <a:cubicBezTo>
                  <a:pt x="1413" y="165"/>
                  <a:pt x="1413" y="165"/>
                  <a:pt x="1414" y="165"/>
                </a:cubicBezTo>
                <a:cubicBezTo>
                  <a:pt x="1414" y="165"/>
                  <a:pt x="1414" y="165"/>
                  <a:pt x="1414" y="166"/>
                </a:cubicBezTo>
                <a:cubicBezTo>
                  <a:pt x="1414" y="166"/>
                  <a:pt x="1414" y="166"/>
                  <a:pt x="1415" y="166"/>
                </a:cubicBezTo>
                <a:cubicBezTo>
                  <a:pt x="1415" y="166"/>
                  <a:pt x="1415" y="166"/>
                  <a:pt x="1416" y="165"/>
                </a:cubicBezTo>
                <a:cubicBezTo>
                  <a:pt x="1416" y="165"/>
                  <a:pt x="1416" y="165"/>
                  <a:pt x="1416" y="163"/>
                </a:cubicBezTo>
                <a:cubicBezTo>
                  <a:pt x="1416" y="163"/>
                  <a:pt x="1416" y="163"/>
                  <a:pt x="1417" y="162"/>
                </a:cubicBezTo>
                <a:cubicBezTo>
                  <a:pt x="1417" y="162"/>
                  <a:pt x="1417" y="162"/>
                  <a:pt x="1416" y="161"/>
                </a:cubicBezTo>
                <a:cubicBezTo>
                  <a:pt x="1416" y="161"/>
                  <a:pt x="1416" y="161"/>
                  <a:pt x="1416" y="159"/>
                </a:cubicBezTo>
                <a:cubicBezTo>
                  <a:pt x="1416" y="159"/>
                  <a:pt x="1416" y="159"/>
                  <a:pt x="1417" y="157"/>
                </a:cubicBezTo>
                <a:cubicBezTo>
                  <a:pt x="1417" y="157"/>
                  <a:pt x="1417" y="157"/>
                  <a:pt x="1417" y="154"/>
                </a:cubicBezTo>
                <a:cubicBezTo>
                  <a:pt x="1417" y="154"/>
                  <a:pt x="1417" y="154"/>
                  <a:pt x="1417" y="153"/>
                </a:cubicBezTo>
                <a:cubicBezTo>
                  <a:pt x="1417" y="153"/>
                  <a:pt x="1417" y="153"/>
                  <a:pt x="1417" y="152"/>
                </a:cubicBezTo>
                <a:cubicBezTo>
                  <a:pt x="1417" y="152"/>
                  <a:pt x="1417" y="152"/>
                  <a:pt x="1418" y="151"/>
                </a:cubicBezTo>
                <a:cubicBezTo>
                  <a:pt x="1418" y="151"/>
                  <a:pt x="1418" y="151"/>
                  <a:pt x="1418" y="150"/>
                </a:cubicBezTo>
                <a:cubicBezTo>
                  <a:pt x="1418" y="150"/>
                  <a:pt x="1418" y="150"/>
                  <a:pt x="1417" y="150"/>
                </a:cubicBezTo>
                <a:cubicBezTo>
                  <a:pt x="1417" y="150"/>
                  <a:pt x="1417" y="150"/>
                  <a:pt x="1418" y="149"/>
                </a:cubicBezTo>
                <a:cubicBezTo>
                  <a:pt x="1418" y="149"/>
                  <a:pt x="1418" y="149"/>
                  <a:pt x="1419" y="149"/>
                </a:cubicBezTo>
                <a:cubicBezTo>
                  <a:pt x="1419" y="149"/>
                  <a:pt x="1419" y="149"/>
                  <a:pt x="1420" y="149"/>
                </a:cubicBezTo>
                <a:cubicBezTo>
                  <a:pt x="1420" y="149"/>
                  <a:pt x="1420" y="149"/>
                  <a:pt x="1420" y="148"/>
                </a:cubicBezTo>
                <a:cubicBezTo>
                  <a:pt x="1420" y="148"/>
                  <a:pt x="1420" y="148"/>
                  <a:pt x="1420" y="146"/>
                </a:cubicBezTo>
                <a:cubicBezTo>
                  <a:pt x="1420" y="146"/>
                  <a:pt x="1420" y="146"/>
                  <a:pt x="1420" y="145"/>
                </a:cubicBezTo>
                <a:cubicBezTo>
                  <a:pt x="1420" y="145"/>
                  <a:pt x="1420" y="145"/>
                  <a:pt x="1420" y="143"/>
                </a:cubicBezTo>
                <a:cubicBezTo>
                  <a:pt x="1420" y="143"/>
                  <a:pt x="1420" y="143"/>
                  <a:pt x="1419" y="142"/>
                </a:cubicBezTo>
                <a:cubicBezTo>
                  <a:pt x="1419" y="142"/>
                  <a:pt x="1419" y="142"/>
                  <a:pt x="1419" y="141"/>
                </a:cubicBezTo>
                <a:cubicBezTo>
                  <a:pt x="1419" y="141"/>
                  <a:pt x="1419" y="141"/>
                  <a:pt x="1420" y="140"/>
                </a:cubicBezTo>
                <a:cubicBezTo>
                  <a:pt x="1420" y="140"/>
                  <a:pt x="1420" y="140"/>
                  <a:pt x="1421" y="141"/>
                </a:cubicBezTo>
                <a:cubicBezTo>
                  <a:pt x="1421" y="141"/>
                  <a:pt x="1421" y="141"/>
                  <a:pt x="1422" y="140"/>
                </a:cubicBezTo>
                <a:cubicBezTo>
                  <a:pt x="1422" y="140"/>
                  <a:pt x="1422" y="140"/>
                  <a:pt x="1421" y="139"/>
                </a:cubicBezTo>
                <a:cubicBezTo>
                  <a:pt x="1421" y="139"/>
                  <a:pt x="1421" y="139"/>
                  <a:pt x="1421" y="138"/>
                </a:cubicBezTo>
                <a:cubicBezTo>
                  <a:pt x="1421" y="138"/>
                  <a:pt x="1421" y="138"/>
                  <a:pt x="1422" y="137"/>
                </a:cubicBezTo>
                <a:cubicBezTo>
                  <a:pt x="1422" y="137"/>
                  <a:pt x="1422" y="137"/>
                  <a:pt x="1421" y="135"/>
                </a:cubicBezTo>
                <a:cubicBezTo>
                  <a:pt x="1421" y="135"/>
                  <a:pt x="1421" y="135"/>
                  <a:pt x="1421" y="133"/>
                </a:cubicBezTo>
                <a:cubicBezTo>
                  <a:pt x="1421" y="133"/>
                  <a:pt x="1421" y="133"/>
                  <a:pt x="1421" y="132"/>
                </a:cubicBezTo>
                <a:cubicBezTo>
                  <a:pt x="1421" y="132"/>
                  <a:pt x="1421" y="132"/>
                  <a:pt x="1423" y="131"/>
                </a:cubicBezTo>
                <a:cubicBezTo>
                  <a:pt x="1423" y="131"/>
                  <a:pt x="1423" y="131"/>
                  <a:pt x="1422" y="130"/>
                </a:cubicBezTo>
                <a:cubicBezTo>
                  <a:pt x="1422" y="130"/>
                  <a:pt x="1422" y="130"/>
                  <a:pt x="1423" y="129"/>
                </a:cubicBezTo>
                <a:cubicBezTo>
                  <a:pt x="1423" y="129"/>
                  <a:pt x="1423" y="129"/>
                  <a:pt x="1424" y="129"/>
                </a:cubicBezTo>
                <a:cubicBezTo>
                  <a:pt x="1424" y="129"/>
                  <a:pt x="1424" y="129"/>
                  <a:pt x="1426" y="128"/>
                </a:cubicBezTo>
                <a:cubicBezTo>
                  <a:pt x="1426" y="128"/>
                  <a:pt x="1426" y="128"/>
                  <a:pt x="1428" y="128"/>
                </a:cubicBezTo>
                <a:cubicBezTo>
                  <a:pt x="1428" y="128"/>
                  <a:pt x="1428" y="128"/>
                  <a:pt x="1428" y="129"/>
                </a:cubicBezTo>
                <a:cubicBezTo>
                  <a:pt x="1428" y="129"/>
                  <a:pt x="1428" y="129"/>
                  <a:pt x="1429" y="129"/>
                </a:cubicBezTo>
                <a:cubicBezTo>
                  <a:pt x="1429" y="129"/>
                  <a:pt x="1429" y="129"/>
                  <a:pt x="1429" y="128"/>
                </a:cubicBezTo>
                <a:cubicBezTo>
                  <a:pt x="1429" y="128"/>
                  <a:pt x="1429" y="128"/>
                  <a:pt x="1429" y="127"/>
                </a:cubicBezTo>
                <a:cubicBezTo>
                  <a:pt x="1429" y="127"/>
                  <a:pt x="1429" y="127"/>
                  <a:pt x="1429" y="126"/>
                </a:cubicBezTo>
                <a:cubicBezTo>
                  <a:pt x="1429" y="126"/>
                  <a:pt x="1429" y="126"/>
                  <a:pt x="1428" y="125"/>
                </a:cubicBezTo>
                <a:cubicBezTo>
                  <a:pt x="1428" y="125"/>
                  <a:pt x="1428" y="125"/>
                  <a:pt x="1426" y="125"/>
                </a:cubicBezTo>
                <a:cubicBezTo>
                  <a:pt x="1426" y="125"/>
                  <a:pt x="1426" y="125"/>
                  <a:pt x="1424" y="124"/>
                </a:cubicBezTo>
                <a:cubicBezTo>
                  <a:pt x="1424" y="124"/>
                  <a:pt x="1424" y="124"/>
                  <a:pt x="1423" y="122"/>
                </a:cubicBezTo>
                <a:cubicBezTo>
                  <a:pt x="1423" y="122"/>
                  <a:pt x="1423" y="122"/>
                  <a:pt x="1422" y="122"/>
                </a:cubicBezTo>
                <a:cubicBezTo>
                  <a:pt x="1422" y="122"/>
                  <a:pt x="1422" y="122"/>
                  <a:pt x="1421" y="120"/>
                </a:cubicBezTo>
                <a:cubicBezTo>
                  <a:pt x="1421" y="120"/>
                  <a:pt x="1421" y="120"/>
                  <a:pt x="1420" y="120"/>
                </a:cubicBezTo>
                <a:cubicBezTo>
                  <a:pt x="1420" y="120"/>
                  <a:pt x="1420" y="120"/>
                  <a:pt x="1419" y="119"/>
                </a:cubicBezTo>
                <a:cubicBezTo>
                  <a:pt x="1419" y="119"/>
                  <a:pt x="1419" y="119"/>
                  <a:pt x="1418" y="119"/>
                </a:cubicBezTo>
                <a:cubicBezTo>
                  <a:pt x="1418" y="119"/>
                  <a:pt x="1418" y="119"/>
                  <a:pt x="1418" y="118"/>
                </a:cubicBezTo>
                <a:cubicBezTo>
                  <a:pt x="1418" y="118"/>
                  <a:pt x="1418" y="118"/>
                  <a:pt x="1417" y="115"/>
                </a:cubicBezTo>
                <a:cubicBezTo>
                  <a:pt x="1417" y="115"/>
                  <a:pt x="1417" y="115"/>
                  <a:pt x="1416" y="113"/>
                </a:cubicBezTo>
                <a:cubicBezTo>
                  <a:pt x="1416" y="113"/>
                  <a:pt x="1416" y="113"/>
                  <a:pt x="1415" y="111"/>
                </a:cubicBezTo>
                <a:cubicBezTo>
                  <a:pt x="1415" y="111"/>
                  <a:pt x="1415" y="111"/>
                  <a:pt x="1414" y="112"/>
                </a:cubicBezTo>
                <a:cubicBezTo>
                  <a:pt x="1414" y="112"/>
                  <a:pt x="1414" y="112"/>
                  <a:pt x="1413" y="113"/>
                </a:cubicBezTo>
                <a:cubicBezTo>
                  <a:pt x="1413" y="113"/>
                  <a:pt x="1413" y="113"/>
                  <a:pt x="1414" y="115"/>
                </a:cubicBezTo>
                <a:cubicBezTo>
                  <a:pt x="1414" y="115"/>
                  <a:pt x="1414" y="115"/>
                  <a:pt x="1414" y="117"/>
                </a:cubicBezTo>
                <a:cubicBezTo>
                  <a:pt x="1414" y="117"/>
                  <a:pt x="1414" y="117"/>
                  <a:pt x="1413" y="118"/>
                </a:cubicBezTo>
                <a:cubicBezTo>
                  <a:pt x="1413" y="118"/>
                  <a:pt x="1413" y="118"/>
                  <a:pt x="1412" y="117"/>
                </a:cubicBezTo>
                <a:cubicBezTo>
                  <a:pt x="1412" y="117"/>
                  <a:pt x="1412" y="117"/>
                  <a:pt x="1413" y="117"/>
                </a:cubicBezTo>
                <a:cubicBezTo>
                  <a:pt x="1413" y="117"/>
                  <a:pt x="1413" y="117"/>
                  <a:pt x="1413" y="115"/>
                </a:cubicBezTo>
                <a:cubicBezTo>
                  <a:pt x="1413" y="115"/>
                  <a:pt x="1413" y="115"/>
                  <a:pt x="1413" y="113"/>
                </a:cubicBezTo>
                <a:cubicBezTo>
                  <a:pt x="1413" y="112"/>
                  <a:pt x="1413" y="112"/>
                  <a:pt x="1413" y="112"/>
                </a:cubicBezTo>
                <a:cubicBezTo>
                  <a:pt x="1413" y="112"/>
                  <a:pt x="1413" y="112"/>
                  <a:pt x="1413" y="110"/>
                </a:cubicBezTo>
                <a:cubicBezTo>
                  <a:pt x="1413" y="110"/>
                  <a:pt x="1413" y="110"/>
                  <a:pt x="1413" y="109"/>
                </a:cubicBezTo>
                <a:cubicBezTo>
                  <a:pt x="1413" y="109"/>
                  <a:pt x="1413" y="109"/>
                  <a:pt x="1411" y="107"/>
                </a:cubicBezTo>
                <a:cubicBezTo>
                  <a:pt x="1411" y="107"/>
                  <a:pt x="1411" y="107"/>
                  <a:pt x="1410" y="107"/>
                </a:cubicBezTo>
                <a:cubicBezTo>
                  <a:pt x="1410" y="107"/>
                  <a:pt x="1410" y="107"/>
                  <a:pt x="1409" y="107"/>
                </a:cubicBezTo>
                <a:cubicBezTo>
                  <a:pt x="1409" y="107"/>
                  <a:pt x="1409" y="107"/>
                  <a:pt x="1409" y="108"/>
                </a:cubicBezTo>
                <a:cubicBezTo>
                  <a:pt x="1409" y="108"/>
                  <a:pt x="1409" y="108"/>
                  <a:pt x="1408" y="108"/>
                </a:cubicBezTo>
                <a:cubicBezTo>
                  <a:pt x="1408" y="108"/>
                  <a:pt x="1408" y="108"/>
                  <a:pt x="1408" y="106"/>
                </a:cubicBezTo>
                <a:cubicBezTo>
                  <a:pt x="1408" y="106"/>
                  <a:pt x="1408" y="106"/>
                  <a:pt x="1407" y="105"/>
                </a:cubicBezTo>
                <a:cubicBezTo>
                  <a:pt x="1407" y="105"/>
                  <a:pt x="1407" y="105"/>
                  <a:pt x="1406" y="104"/>
                </a:cubicBezTo>
                <a:cubicBezTo>
                  <a:pt x="1406" y="104"/>
                  <a:pt x="1406" y="104"/>
                  <a:pt x="1406" y="105"/>
                </a:cubicBezTo>
                <a:cubicBezTo>
                  <a:pt x="1406" y="105"/>
                  <a:pt x="1406" y="105"/>
                  <a:pt x="1405" y="106"/>
                </a:cubicBezTo>
                <a:cubicBezTo>
                  <a:pt x="1405" y="106"/>
                  <a:pt x="1405" y="106"/>
                  <a:pt x="1405" y="108"/>
                </a:cubicBezTo>
                <a:cubicBezTo>
                  <a:pt x="1405" y="108"/>
                  <a:pt x="1405" y="108"/>
                  <a:pt x="1405" y="109"/>
                </a:cubicBezTo>
                <a:cubicBezTo>
                  <a:pt x="1405" y="109"/>
                  <a:pt x="1405" y="109"/>
                  <a:pt x="1405" y="110"/>
                </a:cubicBezTo>
                <a:cubicBezTo>
                  <a:pt x="1405" y="110"/>
                  <a:pt x="1405" y="110"/>
                  <a:pt x="1404" y="111"/>
                </a:cubicBezTo>
                <a:cubicBezTo>
                  <a:pt x="1404" y="111"/>
                  <a:pt x="1404" y="111"/>
                  <a:pt x="1405" y="112"/>
                </a:cubicBezTo>
                <a:cubicBezTo>
                  <a:pt x="1405" y="112"/>
                  <a:pt x="1405" y="112"/>
                  <a:pt x="1405" y="113"/>
                </a:cubicBezTo>
                <a:cubicBezTo>
                  <a:pt x="1405" y="113"/>
                  <a:pt x="1405" y="113"/>
                  <a:pt x="1405" y="116"/>
                </a:cubicBezTo>
                <a:cubicBezTo>
                  <a:pt x="1405" y="116"/>
                  <a:pt x="1405" y="116"/>
                  <a:pt x="1405" y="118"/>
                </a:cubicBezTo>
                <a:cubicBezTo>
                  <a:pt x="1405" y="118"/>
                  <a:pt x="1405" y="118"/>
                  <a:pt x="1406" y="119"/>
                </a:cubicBezTo>
                <a:cubicBezTo>
                  <a:pt x="1406" y="119"/>
                  <a:pt x="1406" y="119"/>
                  <a:pt x="1407" y="121"/>
                </a:cubicBezTo>
                <a:cubicBezTo>
                  <a:pt x="1407" y="121"/>
                  <a:pt x="1407" y="121"/>
                  <a:pt x="1407" y="122"/>
                </a:cubicBezTo>
                <a:cubicBezTo>
                  <a:pt x="1407" y="122"/>
                  <a:pt x="1407" y="122"/>
                  <a:pt x="1408" y="124"/>
                </a:cubicBezTo>
                <a:cubicBezTo>
                  <a:pt x="1408" y="124"/>
                  <a:pt x="1408" y="124"/>
                  <a:pt x="1408" y="125"/>
                </a:cubicBezTo>
                <a:cubicBezTo>
                  <a:pt x="1408" y="125"/>
                  <a:pt x="1408" y="125"/>
                  <a:pt x="1407" y="125"/>
                </a:cubicBezTo>
                <a:cubicBezTo>
                  <a:pt x="1407" y="125"/>
                  <a:pt x="1407" y="125"/>
                  <a:pt x="1407" y="124"/>
                </a:cubicBezTo>
                <a:cubicBezTo>
                  <a:pt x="1407" y="124"/>
                  <a:pt x="1407" y="124"/>
                  <a:pt x="1406" y="122"/>
                </a:cubicBezTo>
                <a:cubicBezTo>
                  <a:pt x="1406" y="122"/>
                  <a:pt x="1406" y="122"/>
                  <a:pt x="1405" y="121"/>
                </a:cubicBezTo>
                <a:cubicBezTo>
                  <a:pt x="1405" y="121"/>
                  <a:pt x="1405" y="121"/>
                  <a:pt x="1404" y="121"/>
                </a:cubicBezTo>
                <a:cubicBezTo>
                  <a:pt x="1404" y="121"/>
                  <a:pt x="1404" y="121"/>
                  <a:pt x="1403" y="122"/>
                </a:cubicBezTo>
                <a:cubicBezTo>
                  <a:pt x="1403" y="122"/>
                  <a:pt x="1403" y="122"/>
                  <a:pt x="1403" y="121"/>
                </a:cubicBezTo>
                <a:cubicBezTo>
                  <a:pt x="1403" y="121"/>
                  <a:pt x="1403" y="121"/>
                  <a:pt x="1404" y="120"/>
                </a:cubicBezTo>
                <a:cubicBezTo>
                  <a:pt x="1404" y="120"/>
                  <a:pt x="1404" y="120"/>
                  <a:pt x="1404" y="119"/>
                </a:cubicBezTo>
                <a:cubicBezTo>
                  <a:pt x="1404" y="119"/>
                  <a:pt x="1404" y="119"/>
                  <a:pt x="1404" y="118"/>
                </a:cubicBezTo>
                <a:cubicBezTo>
                  <a:pt x="1404" y="118"/>
                  <a:pt x="1404" y="118"/>
                  <a:pt x="1403" y="116"/>
                </a:cubicBezTo>
                <a:cubicBezTo>
                  <a:pt x="1403" y="116"/>
                  <a:pt x="1403" y="116"/>
                  <a:pt x="1403" y="113"/>
                </a:cubicBezTo>
                <a:cubicBezTo>
                  <a:pt x="1403" y="113"/>
                  <a:pt x="1403" y="113"/>
                  <a:pt x="1402" y="112"/>
                </a:cubicBezTo>
                <a:cubicBezTo>
                  <a:pt x="1402" y="112"/>
                  <a:pt x="1402" y="112"/>
                  <a:pt x="1400" y="110"/>
                </a:cubicBezTo>
                <a:cubicBezTo>
                  <a:pt x="1400" y="110"/>
                  <a:pt x="1400" y="110"/>
                  <a:pt x="1399" y="111"/>
                </a:cubicBezTo>
                <a:cubicBezTo>
                  <a:pt x="1399" y="111"/>
                  <a:pt x="1399" y="111"/>
                  <a:pt x="1399" y="112"/>
                </a:cubicBezTo>
                <a:cubicBezTo>
                  <a:pt x="1399" y="112"/>
                  <a:pt x="1399" y="112"/>
                  <a:pt x="1398" y="114"/>
                </a:cubicBezTo>
                <a:cubicBezTo>
                  <a:pt x="1398" y="114"/>
                  <a:pt x="1398" y="114"/>
                  <a:pt x="1397" y="115"/>
                </a:cubicBezTo>
                <a:cubicBezTo>
                  <a:pt x="1397" y="115"/>
                  <a:pt x="1397" y="115"/>
                  <a:pt x="1398" y="117"/>
                </a:cubicBezTo>
                <a:cubicBezTo>
                  <a:pt x="1398" y="117"/>
                  <a:pt x="1398" y="117"/>
                  <a:pt x="1398" y="118"/>
                </a:cubicBezTo>
                <a:cubicBezTo>
                  <a:pt x="1398" y="118"/>
                  <a:pt x="1398" y="118"/>
                  <a:pt x="1399" y="120"/>
                </a:cubicBezTo>
                <a:cubicBezTo>
                  <a:pt x="1399" y="120"/>
                  <a:pt x="1399" y="120"/>
                  <a:pt x="1398" y="120"/>
                </a:cubicBezTo>
                <a:cubicBezTo>
                  <a:pt x="1398" y="120"/>
                  <a:pt x="1398" y="120"/>
                  <a:pt x="1398" y="119"/>
                </a:cubicBezTo>
                <a:cubicBezTo>
                  <a:pt x="1398" y="119"/>
                  <a:pt x="1398" y="119"/>
                  <a:pt x="1397" y="117"/>
                </a:cubicBezTo>
                <a:cubicBezTo>
                  <a:pt x="1397" y="117"/>
                  <a:pt x="1397" y="117"/>
                  <a:pt x="1397" y="116"/>
                </a:cubicBezTo>
                <a:cubicBezTo>
                  <a:pt x="1397" y="116"/>
                  <a:pt x="1397" y="116"/>
                  <a:pt x="1396" y="115"/>
                </a:cubicBezTo>
                <a:cubicBezTo>
                  <a:pt x="1396" y="115"/>
                  <a:pt x="1396" y="115"/>
                  <a:pt x="1396" y="116"/>
                </a:cubicBezTo>
                <a:cubicBezTo>
                  <a:pt x="1396" y="116"/>
                  <a:pt x="1396" y="116"/>
                  <a:pt x="1395" y="116"/>
                </a:cubicBezTo>
                <a:cubicBezTo>
                  <a:pt x="1395" y="116"/>
                  <a:pt x="1395" y="116"/>
                  <a:pt x="1395" y="115"/>
                </a:cubicBezTo>
                <a:cubicBezTo>
                  <a:pt x="1395" y="115"/>
                  <a:pt x="1395" y="115"/>
                  <a:pt x="1396" y="114"/>
                </a:cubicBezTo>
                <a:cubicBezTo>
                  <a:pt x="1396" y="114"/>
                  <a:pt x="1396" y="114"/>
                  <a:pt x="1396" y="113"/>
                </a:cubicBezTo>
                <a:cubicBezTo>
                  <a:pt x="1396" y="113"/>
                  <a:pt x="1396" y="113"/>
                  <a:pt x="1394" y="114"/>
                </a:cubicBezTo>
                <a:cubicBezTo>
                  <a:pt x="1394" y="114"/>
                  <a:pt x="1394" y="114"/>
                  <a:pt x="1393" y="115"/>
                </a:cubicBezTo>
                <a:cubicBezTo>
                  <a:pt x="1393" y="115"/>
                  <a:pt x="1393" y="115"/>
                  <a:pt x="1392" y="114"/>
                </a:cubicBezTo>
                <a:cubicBezTo>
                  <a:pt x="1392" y="114"/>
                  <a:pt x="1392" y="114"/>
                  <a:pt x="1393" y="113"/>
                </a:cubicBezTo>
                <a:cubicBezTo>
                  <a:pt x="1393" y="113"/>
                  <a:pt x="1393" y="113"/>
                  <a:pt x="1395" y="112"/>
                </a:cubicBezTo>
                <a:cubicBezTo>
                  <a:pt x="1395" y="112"/>
                  <a:pt x="1395" y="112"/>
                  <a:pt x="1395" y="111"/>
                </a:cubicBezTo>
                <a:cubicBezTo>
                  <a:pt x="1395" y="111"/>
                  <a:pt x="1395" y="111"/>
                  <a:pt x="1396" y="112"/>
                </a:cubicBezTo>
                <a:cubicBezTo>
                  <a:pt x="1396" y="112"/>
                  <a:pt x="1396" y="112"/>
                  <a:pt x="1397" y="111"/>
                </a:cubicBezTo>
                <a:cubicBezTo>
                  <a:pt x="1397" y="111"/>
                  <a:pt x="1397" y="111"/>
                  <a:pt x="1397" y="110"/>
                </a:cubicBezTo>
                <a:cubicBezTo>
                  <a:pt x="1397" y="110"/>
                  <a:pt x="1397" y="110"/>
                  <a:pt x="1397" y="109"/>
                </a:cubicBezTo>
                <a:cubicBezTo>
                  <a:pt x="1397" y="109"/>
                  <a:pt x="1397" y="109"/>
                  <a:pt x="1396" y="108"/>
                </a:cubicBezTo>
                <a:cubicBezTo>
                  <a:pt x="1396" y="108"/>
                  <a:pt x="1396" y="108"/>
                  <a:pt x="1395" y="108"/>
                </a:cubicBezTo>
                <a:cubicBezTo>
                  <a:pt x="1395" y="108"/>
                  <a:pt x="1395" y="108"/>
                  <a:pt x="1392" y="110"/>
                </a:cubicBezTo>
                <a:cubicBezTo>
                  <a:pt x="1392" y="110"/>
                  <a:pt x="1392" y="110"/>
                  <a:pt x="1391" y="111"/>
                </a:cubicBezTo>
                <a:cubicBezTo>
                  <a:pt x="1391" y="111"/>
                  <a:pt x="1391" y="111"/>
                  <a:pt x="1391" y="110"/>
                </a:cubicBezTo>
                <a:cubicBezTo>
                  <a:pt x="1391" y="110"/>
                  <a:pt x="1391" y="110"/>
                  <a:pt x="1390" y="109"/>
                </a:cubicBezTo>
                <a:cubicBezTo>
                  <a:pt x="1390" y="109"/>
                  <a:pt x="1390" y="109"/>
                  <a:pt x="1389" y="110"/>
                </a:cubicBezTo>
                <a:cubicBezTo>
                  <a:pt x="1389" y="110"/>
                  <a:pt x="1389" y="110"/>
                  <a:pt x="1389" y="111"/>
                </a:cubicBezTo>
                <a:cubicBezTo>
                  <a:pt x="1389" y="111"/>
                  <a:pt x="1389" y="111"/>
                  <a:pt x="1391" y="112"/>
                </a:cubicBezTo>
                <a:cubicBezTo>
                  <a:pt x="1391" y="112"/>
                  <a:pt x="1391" y="112"/>
                  <a:pt x="1390" y="113"/>
                </a:cubicBezTo>
                <a:cubicBezTo>
                  <a:pt x="1390" y="113"/>
                  <a:pt x="1390" y="113"/>
                  <a:pt x="1389" y="113"/>
                </a:cubicBezTo>
                <a:cubicBezTo>
                  <a:pt x="1389" y="113"/>
                  <a:pt x="1389" y="113"/>
                  <a:pt x="1389" y="112"/>
                </a:cubicBezTo>
                <a:cubicBezTo>
                  <a:pt x="1389" y="112"/>
                  <a:pt x="1389" y="112"/>
                  <a:pt x="1388" y="110"/>
                </a:cubicBezTo>
                <a:cubicBezTo>
                  <a:pt x="1388" y="110"/>
                  <a:pt x="1388" y="110"/>
                  <a:pt x="1387" y="110"/>
                </a:cubicBezTo>
                <a:cubicBezTo>
                  <a:pt x="1387" y="110"/>
                  <a:pt x="1387" y="110"/>
                  <a:pt x="1386" y="111"/>
                </a:cubicBezTo>
                <a:cubicBezTo>
                  <a:pt x="1386" y="111"/>
                  <a:pt x="1386" y="111"/>
                  <a:pt x="1386" y="112"/>
                </a:cubicBezTo>
                <a:cubicBezTo>
                  <a:pt x="1386" y="112"/>
                  <a:pt x="1386" y="112"/>
                  <a:pt x="1387" y="113"/>
                </a:cubicBezTo>
                <a:cubicBezTo>
                  <a:pt x="1387" y="113"/>
                  <a:pt x="1387" y="113"/>
                  <a:pt x="1387" y="114"/>
                </a:cubicBezTo>
                <a:cubicBezTo>
                  <a:pt x="1387" y="114"/>
                  <a:pt x="1387" y="114"/>
                  <a:pt x="1386" y="114"/>
                </a:cubicBezTo>
                <a:cubicBezTo>
                  <a:pt x="1386" y="114"/>
                  <a:pt x="1386" y="114"/>
                  <a:pt x="1385" y="115"/>
                </a:cubicBezTo>
                <a:cubicBezTo>
                  <a:pt x="1385" y="115"/>
                  <a:pt x="1385" y="115"/>
                  <a:pt x="1385" y="116"/>
                </a:cubicBezTo>
                <a:cubicBezTo>
                  <a:pt x="1385" y="116"/>
                  <a:pt x="1385" y="116"/>
                  <a:pt x="1385" y="118"/>
                </a:cubicBezTo>
                <a:cubicBezTo>
                  <a:pt x="1385" y="118"/>
                  <a:pt x="1385" y="118"/>
                  <a:pt x="1385" y="119"/>
                </a:cubicBezTo>
                <a:cubicBezTo>
                  <a:pt x="1385" y="119"/>
                  <a:pt x="1385" y="119"/>
                  <a:pt x="1386" y="121"/>
                </a:cubicBezTo>
                <a:cubicBezTo>
                  <a:pt x="1386" y="121"/>
                  <a:pt x="1386" y="121"/>
                  <a:pt x="1386" y="122"/>
                </a:cubicBezTo>
                <a:close/>
                <a:moveTo>
                  <a:pt x="1415" y="104"/>
                </a:moveTo>
                <a:cubicBezTo>
                  <a:pt x="1414" y="104"/>
                  <a:pt x="1414" y="104"/>
                  <a:pt x="1414" y="104"/>
                </a:cubicBezTo>
                <a:cubicBezTo>
                  <a:pt x="1414" y="105"/>
                  <a:pt x="1414" y="105"/>
                  <a:pt x="1414" y="105"/>
                </a:cubicBezTo>
                <a:cubicBezTo>
                  <a:pt x="1416" y="105"/>
                  <a:pt x="1416" y="105"/>
                  <a:pt x="1416" y="105"/>
                </a:cubicBezTo>
                <a:cubicBezTo>
                  <a:pt x="1414" y="106"/>
                  <a:pt x="1414" y="106"/>
                  <a:pt x="1414" y="106"/>
                </a:cubicBezTo>
                <a:cubicBezTo>
                  <a:pt x="1414" y="107"/>
                  <a:pt x="1414" y="107"/>
                  <a:pt x="1414" y="107"/>
                </a:cubicBezTo>
                <a:cubicBezTo>
                  <a:pt x="1415" y="109"/>
                  <a:pt x="1415" y="109"/>
                  <a:pt x="1415" y="109"/>
                </a:cubicBezTo>
                <a:cubicBezTo>
                  <a:pt x="1416" y="110"/>
                  <a:pt x="1416" y="110"/>
                  <a:pt x="1416" y="110"/>
                </a:cubicBezTo>
                <a:cubicBezTo>
                  <a:pt x="1417" y="110"/>
                  <a:pt x="1417" y="110"/>
                  <a:pt x="1417" y="110"/>
                </a:cubicBezTo>
                <a:cubicBezTo>
                  <a:pt x="1419" y="110"/>
                  <a:pt x="1419" y="110"/>
                  <a:pt x="1419" y="110"/>
                </a:cubicBezTo>
                <a:cubicBezTo>
                  <a:pt x="1420" y="110"/>
                  <a:pt x="1420" y="110"/>
                  <a:pt x="1420" y="110"/>
                </a:cubicBezTo>
                <a:cubicBezTo>
                  <a:pt x="1421" y="110"/>
                  <a:pt x="1421" y="110"/>
                  <a:pt x="1421" y="110"/>
                </a:cubicBezTo>
                <a:cubicBezTo>
                  <a:pt x="1423" y="109"/>
                  <a:pt x="1423" y="109"/>
                  <a:pt x="1423" y="109"/>
                </a:cubicBezTo>
                <a:cubicBezTo>
                  <a:pt x="1426" y="109"/>
                  <a:pt x="1426" y="109"/>
                  <a:pt x="1426" y="109"/>
                </a:cubicBezTo>
                <a:cubicBezTo>
                  <a:pt x="1427" y="109"/>
                  <a:pt x="1427" y="109"/>
                  <a:pt x="1427" y="109"/>
                </a:cubicBezTo>
                <a:cubicBezTo>
                  <a:pt x="1428" y="108"/>
                  <a:pt x="1428" y="108"/>
                  <a:pt x="1428" y="108"/>
                </a:cubicBezTo>
                <a:cubicBezTo>
                  <a:pt x="1429" y="108"/>
                  <a:pt x="1429" y="108"/>
                  <a:pt x="1429" y="108"/>
                </a:cubicBezTo>
                <a:cubicBezTo>
                  <a:pt x="1429" y="109"/>
                  <a:pt x="1429" y="109"/>
                  <a:pt x="1429" y="109"/>
                </a:cubicBezTo>
                <a:cubicBezTo>
                  <a:pt x="1429" y="110"/>
                  <a:pt x="1429" y="110"/>
                  <a:pt x="1429" y="110"/>
                </a:cubicBezTo>
                <a:cubicBezTo>
                  <a:pt x="1428" y="111"/>
                  <a:pt x="1428" y="111"/>
                  <a:pt x="1428" y="111"/>
                </a:cubicBezTo>
                <a:cubicBezTo>
                  <a:pt x="1427" y="110"/>
                  <a:pt x="1427" y="110"/>
                  <a:pt x="1427" y="110"/>
                </a:cubicBezTo>
                <a:cubicBezTo>
                  <a:pt x="1425" y="110"/>
                  <a:pt x="1425" y="110"/>
                  <a:pt x="1425" y="110"/>
                </a:cubicBezTo>
                <a:cubicBezTo>
                  <a:pt x="1424" y="110"/>
                  <a:pt x="1424" y="110"/>
                  <a:pt x="1424" y="110"/>
                </a:cubicBezTo>
                <a:cubicBezTo>
                  <a:pt x="1424" y="111"/>
                  <a:pt x="1424" y="111"/>
                  <a:pt x="1424" y="111"/>
                </a:cubicBezTo>
                <a:cubicBezTo>
                  <a:pt x="1426" y="111"/>
                  <a:pt x="1426" y="111"/>
                  <a:pt x="1426" y="111"/>
                </a:cubicBezTo>
                <a:cubicBezTo>
                  <a:pt x="1427" y="112"/>
                  <a:pt x="1427" y="112"/>
                  <a:pt x="1427" y="112"/>
                </a:cubicBezTo>
                <a:cubicBezTo>
                  <a:pt x="1426" y="113"/>
                  <a:pt x="1426" y="113"/>
                  <a:pt x="1426" y="113"/>
                </a:cubicBezTo>
                <a:cubicBezTo>
                  <a:pt x="1425" y="112"/>
                  <a:pt x="1425" y="112"/>
                  <a:pt x="1425" y="112"/>
                </a:cubicBezTo>
                <a:cubicBezTo>
                  <a:pt x="1424" y="113"/>
                  <a:pt x="1424" y="113"/>
                  <a:pt x="1424" y="113"/>
                </a:cubicBezTo>
                <a:cubicBezTo>
                  <a:pt x="1423" y="112"/>
                  <a:pt x="1423" y="112"/>
                  <a:pt x="1423" y="112"/>
                </a:cubicBezTo>
                <a:cubicBezTo>
                  <a:pt x="1421" y="111"/>
                  <a:pt x="1421" y="111"/>
                  <a:pt x="1421" y="111"/>
                </a:cubicBezTo>
                <a:cubicBezTo>
                  <a:pt x="1420" y="112"/>
                  <a:pt x="1420" y="112"/>
                  <a:pt x="1420" y="112"/>
                </a:cubicBezTo>
                <a:cubicBezTo>
                  <a:pt x="1421" y="113"/>
                  <a:pt x="1421" y="113"/>
                  <a:pt x="1421" y="113"/>
                </a:cubicBezTo>
                <a:cubicBezTo>
                  <a:pt x="1423" y="115"/>
                  <a:pt x="1423" y="115"/>
                  <a:pt x="1423" y="115"/>
                </a:cubicBezTo>
                <a:cubicBezTo>
                  <a:pt x="1424" y="115"/>
                  <a:pt x="1424" y="115"/>
                  <a:pt x="1424" y="115"/>
                </a:cubicBezTo>
                <a:cubicBezTo>
                  <a:pt x="1425" y="115"/>
                  <a:pt x="1425" y="115"/>
                  <a:pt x="1425" y="115"/>
                </a:cubicBezTo>
                <a:cubicBezTo>
                  <a:pt x="1426" y="116"/>
                  <a:pt x="1426" y="116"/>
                  <a:pt x="1426" y="116"/>
                </a:cubicBezTo>
                <a:cubicBezTo>
                  <a:pt x="1426" y="117"/>
                  <a:pt x="1426" y="117"/>
                  <a:pt x="1426" y="117"/>
                </a:cubicBezTo>
                <a:cubicBezTo>
                  <a:pt x="1427" y="117"/>
                  <a:pt x="1427" y="117"/>
                  <a:pt x="1427" y="117"/>
                </a:cubicBezTo>
                <a:cubicBezTo>
                  <a:pt x="1428" y="117"/>
                  <a:pt x="1428" y="117"/>
                  <a:pt x="1428" y="117"/>
                </a:cubicBezTo>
                <a:cubicBezTo>
                  <a:pt x="1430" y="117"/>
                  <a:pt x="1430" y="117"/>
                  <a:pt x="1430" y="117"/>
                </a:cubicBezTo>
                <a:cubicBezTo>
                  <a:pt x="1431" y="116"/>
                  <a:pt x="1431" y="116"/>
                  <a:pt x="1431" y="116"/>
                </a:cubicBezTo>
                <a:cubicBezTo>
                  <a:pt x="1433" y="116"/>
                  <a:pt x="1433" y="116"/>
                  <a:pt x="1433" y="116"/>
                </a:cubicBezTo>
                <a:cubicBezTo>
                  <a:pt x="1434" y="116"/>
                  <a:pt x="1434" y="116"/>
                  <a:pt x="1434" y="116"/>
                </a:cubicBezTo>
                <a:cubicBezTo>
                  <a:pt x="1434" y="117"/>
                  <a:pt x="1434" y="117"/>
                  <a:pt x="1434" y="117"/>
                </a:cubicBezTo>
                <a:cubicBezTo>
                  <a:pt x="1434" y="119"/>
                  <a:pt x="1434" y="119"/>
                  <a:pt x="1434" y="119"/>
                </a:cubicBezTo>
                <a:cubicBezTo>
                  <a:pt x="1436" y="120"/>
                  <a:pt x="1436" y="120"/>
                  <a:pt x="1436" y="120"/>
                </a:cubicBezTo>
                <a:cubicBezTo>
                  <a:pt x="1437" y="120"/>
                  <a:pt x="1437" y="120"/>
                  <a:pt x="1437" y="120"/>
                </a:cubicBezTo>
                <a:cubicBezTo>
                  <a:pt x="1439" y="119"/>
                  <a:pt x="1439" y="119"/>
                  <a:pt x="1439" y="119"/>
                </a:cubicBezTo>
                <a:cubicBezTo>
                  <a:pt x="1439" y="118"/>
                  <a:pt x="1439" y="118"/>
                  <a:pt x="1439" y="118"/>
                </a:cubicBezTo>
                <a:cubicBezTo>
                  <a:pt x="1439" y="117"/>
                  <a:pt x="1439" y="117"/>
                  <a:pt x="1439" y="117"/>
                </a:cubicBezTo>
                <a:cubicBezTo>
                  <a:pt x="1440" y="117"/>
                  <a:pt x="1440" y="117"/>
                  <a:pt x="1440" y="117"/>
                </a:cubicBezTo>
                <a:cubicBezTo>
                  <a:pt x="1441" y="115"/>
                  <a:pt x="1441" y="115"/>
                  <a:pt x="1441" y="115"/>
                </a:cubicBezTo>
                <a:cubicBezTo>
                  <a:pt x="1442" y="115"/>
                  <a:pt x="1442" y="115"/>
                  <a:pt x="1442" y="115"/>
                </a:cubicBezTo>
                <a:cubicBezTo>
                  <a:pt x="1442" y="116"/>
                  <a:pt x="1442" y="116"/>
                  <a:pt x="1442" y="116"/>
                </a:cubicBezTo>
                <a:cubicBezTo>
                  <a:pt x="1443" y="117"/>
                  <a:pt x="1443" y="117"/>
                  <a:pt x="1443" y="117"/>
                </a:cubicBezTo>
                <a:cubicBezTo>
                  <a:pt x="1444" y="117"/>
                  <a:pt x="1444" y="117"/>
                  <a:pt x="1444" y="117"/>
                </a:cubicBezTo>
                <a:cubicBezTo>
                  <a:pt x="1446" y="116"/>
                  <a:pt x="1446" y="116"/>
                  <a:pt x="1446" y="116"/>
                </a:cubicBezTo>
                <a:cubicBezTo>
                  <a:pt x="1446" y="115"/>
                  <a:pt x="1446" y="115"/>
                  <a:pt x="1446" y="115"/>
                </a:cubicBezTo>
                <a:cubicBezTo>
                  <a:pt x="1446" y="113"/>
                  <a:pt x="1446" y="113"/>
                  <a:pt x="1446" y="113"/>
                </a:cubicBezTo>
                <a:cubicBezTo>
                  <a:pt x="1446" y="112"/>
                  <a:pt x="1446" y="112"/>
                  <a:pt x="1446" y="112"/>
                </a:cubicBezTo>
                <a:cubicBezTo>
                  <a:pt x="1447" y="111"/>
                  <a:pt x="1447" y="111"/>
                  <a:pt x="1447" y="111"/>
                </a:cubicBezTo>
                <a:cubicBezTo>
                  <a:pt x="1448" y="109"/>
                  <a:pt x="1448" y="109"/>
                  <a:pt x="1448" y="109"/>
                </a:cubicBezTo>
                <a:cubicBezTo>
                  <a:pt x="1449" y="108"/>
                  <a:pt x="1449" y="108"/>
                  <a:pt x="1449" y="108"/>
                </a:cubicBezTo>
                <a:cubicBezTo>
                  <a:pt x="1450" y="106"/>
                  <a:pt x="1450" y="106"/>
                  <a:pt x="1450" y="106"/>
                </a:cubicBezTo>
                <a:cubicBezTo>
                  <a:pt x="1451" y="105"/>
                  <a:pt x="1451" y="105"/>
                  <a:pt x="1451" y="105"/>
                </a:cubicBezTo>
                <a:cubicBezTo>
                  <a:pt x="1451" y="104"/>
                  <a:pt x="1451" y="104"/>
                  <a:pt x="1451" y="104"/>
                </a:cubicBezTo>
                <a:cubicBezTo>
                  <a:pt x="1450" y="103"/>
                  <a:pt x="1450" y="103"/>
                  <a:pt x="1450" y="103"/>
                </a:cubicBezTo>
                <a:cubicBezTo>
                  <a:pt x="1450" y="102"/>
                  <a:pt x="1450" y="102"/>
                  <a:pt x="1450" y="102"/>
                </a:cubicBezTo>
                <a:cubicBezTo>
                  <a:pt x="1450" y="101"/>
                  <a:pt x="1450" y="101"/>
                  <a:pt x="1450" y="101"/>
                </a:cubicBezTo>
                <a:cubicBezTo>
                  <a:pt x="1448" y="101"/>
                  <a:pt x="1448" y="101"/>
                  <a:pt x="1448" y="101"/>
                </a:cubicBezTo>
                <a:cubicBezTo>
                  <a:pt x="1447" y="100"/>
                  <a:pt x="1447" y="100"/>
                  <a:pt x="1447" y="100"/>
                </a:cubicBezTo>
                <a:cubicBezTo>
                  <a:pt x="1444" y="100"/>
                  <a:pt x="1444" y="100"/>
                  <a:pt x="1444" y="100"/>
                </a:cubicBezTo>
                <a:cubicBezTo>
                  <a:pt x="1443" y="100"/>
                  <a:pt x="1443" y="100"/>
                  <a:pt x="1443" y="100"/>
                </a:cubicBezTo>
                <a:cubicBezTo>
                  <a:pt x="1442" y="99"/>
                  <a:pt x="1442" y="99"/>
                  <a:pt x="1442" y="99"/>
                </a:cubicBezTo>
                <a:cubicBezTo>
                  <a:pt x="1441" y="99"/>
                  <a:pt x="1441" y="99"/>
                  <a:pt x="1441" y="99"/>
                </a:cubicBezTo>
                <a:cubicBezTo>
                  <a:pt x="1440" y="99"/>
                  <a:pt x="1440" y="99"/>
                  <a:pt x="1440" y="99"/>
                </a:cubicBezTo>
                <a:cubicBezTo>
                  <a:pt x="1440" y="98"/>
                  <a:pt x="1440" y="98"/>
                  <a:pt x="1440" y="98"/>
                </a:cubicBezTo>
                <a:cubicBezTo>
                  <a:pt x="1439" y="98"/>
                  <a:pt x="1439" y="98"/>
                  <a:pt x="1439" y="98"/>
                </a:cubicBezTo>
                <a:cubicBezTo>
                  <a:pt x="1439" y="97"/>
                  <a:pt x="1439" y="97"/>
                  <a:pt x="1439" y="97"/>
                </a:cubicBezTo>
                <a:cubicBezTo>
                  <a:pt x="1439" y="96"/>
                  <a:pt x="1439" y="96"/>
                  <a:pt x="1439" y="96"/>
                </a:cubicBezTo>
                <a:cubicBezTo>
                  <a:pt x="1438" y="97"/>
                  <a:pt x="1438" y="97"/>
                  <a:pt x="1438" y="97"/>
                </a:cubicBezTo>
                <a:cubicBezTo>
                  <a:pt x="1438" y="98"/>
                  <a:pt x="1438" y="98"/>
                  <a:pt x="1438" y="98"/>
                </a:cubicBezTo>
                <a:cubicBezTo>
                  <a:pt x="1437" y="98"/>
                  <a:pt x="1437" y="98"/>
                  <a:pt x="1437" y="98"/>
                </a:cubicBezTo>
                <a:cubicBezTo>
                  <a:pt x="1437" y="97"/>
                  <a:pt x="1437" y="97"/>
                  <a:pt x="1437" y="97"/>
                </a:cubicBezTo>
                <a:cubicBezTo>
                  <a:pt x="1436" y="97"/>
                  <a:pt x="1436" y="97"/>
                  <a:pt x="1436" y="97"/>
                </a:cubicBezTo>
                <a:cubicBezTo>
                  <a:pt x="1436" y="98"/>
                  <a:pt x="1436" y="98"/>
                  <a:pt x="1436" y="98"/>
                </a:cubicBezTo>
                <a:cubicBezTo>
                  <a:pt x="1435" y="99"/>
                  <a:pt x="1435" y="99"/>
                  <a:pt x="1435" y="99"/>
                </a:cubicBezTo>
                <a:cubicBezTo>
                  <a:pt x="1435" y="100"/>
                  <a:pt x="1435" y="100"/>
                  <a:pt x="1435" y="100"/>
                </a:cubicBezTo>
                <a:cubicBezTo>
                  <a:pt x="1435" y="101"/>
                  <a:pt x="1435" y="101"/>
                  <a:pt x="1435" y="101"/>
                </a:cubicBezTo>
                <a:cubicBezTo>
                  <a:pt x="1434" y="101"/>
                  <a:pt x="1434" y="101"/>
                  <a:pt x="1434" y="101"/>
                </a:cubicBezTo>
                <a:cubicBezTo>
                  <a:pt x="1434" y="100"/>
                  <a:pt x="1434" y="100"/>
                  <a:pt x="1434" y="100"/>
                </a:cubicBezTo>
                <a:cubicBezTo>
                  <a:pt x="1433" y="101"/>
                  <a:pt x="1433" y="101"/>
                  <a:pt x="1433" y="101"/>
                </a:cubicBezTo>
                <a:cubicBezTo>
                  <a:pt x="1433" y="100"/>
                  <a:pt x="1433" y="100"/>
                  <a:pt x="1433" y="100"/>
                </a:cubicBezTo>
                <a:cubicBezTo>
                  <a:pt x="1433" y="98"/>
                  <a:pt x="1433" y="98"/>
                  <a:pt x="1433" y="98"/>
                </a:cubicBezTo>
                <a:cubicBezTo>
                  <a:pt x="1433" y="96"/>
                  <a:pt x="1433" y="96"/>
                  <a:pt x="1433" y="96"/>
                </a:cubicBezTo>
                <a:cubicBezTo>
                  <a:pt x="1433" y="95"/>
                  <a:pt x="1433" y="95"/>
                  <a:pt x="1433" y="95"/>
                </a:cubicBezTo>
                <a:cubicBezTo>
                  <a:pt x="1432" y="95"/>
                  <a:pt x="1432" y="95"/>
                  <a:pt x="1432" y="95"/>
                </a:cubicBezTo>
                <a:cubicBezTo>
                  <a:pt x="1431" y="94"/>
                  <a:pt x="1431" y="94"/>
                  <a:pt x="1431" y="94"/>
                </a:cubicBezTo>
                <a:cubicBezTo>
                  <a:pt x="1430" y="95"/>
                  <a:pt x="1430" y="95"/>
                  <a:pt x="1430" y="95"/>
                </a:cubicBezTo>
                <a:cubicBezTo>
                  <a:pt x="1430" y="96"/>
                  <a:pt x="1430" y="96"/>
                  <a:pt x="1430" y="96"/>
                </a:cubicBezTo>
                <a:cubicBezTo>
                  <a:pt x="1430" y="97"/>
                  <a:pt x="1430" y="97"/>
                  <a:pt x="1430" y="97"/>
                </a:cubicBezTo>
                <a:cubicBezTo>
                  <a:pt x="1431" y="98"/>
                  <a:pt x="1431" y="98"/>
                  <a:pt x="1431" y="98"/>
                </a:cubicBezTo>
                <a:cubicBezTo>
                  <a:pt x="1431" y="99"/>
                  <a:pt x="1431" y="99"/>
                  <a:pt x="1431" y="99"/>
                </a:cubicBezTo>
                <a:cubicBezTo>
                  <a:pt x="1430" y="100"/>
                  <a:pt x="1430" y="100"/>
                  <a:pt x="1430" y="100"/>
                </a:cubicBezTo>
                <a:cubicBezTo>
                  <a:pt x="1430" y="102"/>
                  <a:pt x="1430" y="102"/>
                  <a:pt x="1430" y="102"/>
                </a:cubicBezTo>
                <a:cubicBezTo>
                  <a:pt x="1431" y="103"/>
                  <a:pt x="1431" y="103"/>
                  <a:pt x="1431" y="103"/>
                </a:cubicBezTo>
                <a:cubicBezTo>
                  <a:pt x="1431" y="105"/>
                  <a:pt x="1431" y="105"/>
                  <a:pt x="1431" y="105"/>
                </a:cubicBezTo>
                <a:cubicBezTo>
                  <a:pt x="1430" y="105"/>
                  <a:pt x="1430" y="105"/>
                  <a:pt x="1430" y="105"/>
                </a:cubicBezTo>
                <a:cubicBezTo>
                  <a:pt x="1430" y="103"/>
                  <a:pt x="1430" y="103"/>
                  <a:pt x="1430" y="103"/>
                </a:cubicBezTo>
                <a:cubicBezTo>
                  <a:pt x="1429" y="102"/>
                  <a:pt x="1429" y="102"/>
                  <a:pt x="1429" y="102"/>
                </a:cubicBezTo>
                <a:cubicBezTo>
                  <a:pt x="1428" y="102"/>
                  <a:pt x="1428" y="102"/>
                  <a:pt x="1428" y="102"/>
                </a:cubicBezTo>
                <a:cubicBezTo>
                  <a:pt x="1427" y="101"/>
                  <a:pt x="1427" y="101"/>
                  <a:pt x="1427" y="101"/>
                </a:cubicBezTo>
                <a:cubicBezTo>
                  <a:pt x="1428" y="100"/>
                  <a:pt x="1428" y="100"/>
                  <a:pt x="1428" y="100"/>
                </a:cubicBezTo>
                <a:cubicBezTo>
                  <a:pt x="1428" y="99"/>
                  <a:pt x="1428" y="99"/>
                  <a:pt x="1428" y="99"/>
                </a:cubicBezTo>
                <a:cubicBezTo>
                  <a:pt x="1427" y="99"/>
                  <a:pt x="1427" y="99"/>
                  <a:pt x="1427" y="99"/>
                </a:cubicBezTo>
                <a:cubicBezTo>
                  <a:pt x="1426" y="100"/>
                  <a:pt x="1426" y="100"/>
                  <a:pt x="1426" y="100"/>
                </a:cubicBezTo>
                <a:cubicBezTo>
                  <a:pt x="1425" y="100"/>
                  <a:pt x="1425" y="100"/>
                  <a:pt x="1425" y="100"/>
                </a:cubicBezTo>
                <a:cubicBezTo>
                  <a:pt x="1424" y="101"/>
                  <a:pt x="1424" y="101"/>
                  <a:pt x="1424" y="101"/>
                </a:cubicBezTo>
                <a:cubicBezTo>
                  <a:pt x="1423" y="100"/>
                  <a:pt x="1423" y="100"/>
                  <a:pt x="1423" y="100"/>
                </a:cubicBezTo>
                <a:cubicBezTo>
                  <a:pt x="1423" y="99"/>
                  <a:pt x="1423" y="99"/>
                  <a:pt x="1423" y="99"/>
                </a:cubicBezTo>
                <a:cubicBezTo>
                  <a:pt x="1422" y="98"/>
                  <a:pt x="1422" y="98"/>
                  <a:pt x="1422" y="98"/>
                </a:cubicBezTo>
                <a:cubicBezTo>
                  <a:pt x="1422" y="97"/>
                  <a:pt x="1422" y="97"/>
                  <a:pt x="1422" y="97"/>
                </a:cubicBezTo>
                <a:cubicBezTo>
                  <a:pt x="1421" y="97"/>
                  <a:pt x="1421" y="97"/>
                  <a:pt x="1421" y="97"/>
                </a:cubicBezTo>
                <a:cubicBezTo>
                  <a:pt x="1420" y="97"/>
                  <a:pt x="1420" y="97"/>
                  <a:pt x="1420" y="97"/>
                </a:cubicBezTo>
                <a:cubicBezTo>
                  <a:pt x="1419" y="96"/>
                  <a:pt x="1419" y="96"/>
                  <a:pt x="1419" y="96"/>
                </a:cubicBezTo>
                <a:cubicBezTo>
                  <a:pt x="1420" y="95"/>
                  <a:pt x="1420" y="95"/>
                  <a:pt x="1420" y="95"/>
                </a:cubicBezTo>
                <a:cubicBezTo>
                  <a:pt x="1419" y="94"/>
                  <a:pt x="1419" y="94"/>
                  <a:pt x="1419" y="94"/>
                </a:cubicBezTo>
                <a:cubicBezTo>
                  <a:pt x="1418" y="95"/>
                  <a:pt x="1418" y="95"/>
                  <a:pt x="1418" y="95"/>
                </a:cubicBezTo>
                <a:cubicBezTo>
                  <a:pt x="1418" y="97"/>
                  <a:pt x="1418" y="97"/>
                  <a:pt x="1418" y="97"/>
                </a:cubicBezTo>
                <a:cubicBezTo>
                  <a:pt x="1418" y="98"/>
                  <a:pt x="1418" y="98"/>
                  <a:pt x="1418" y="98"/>
                </a:cubicBezTo>
                <a:cubicBezTo>
                  <a:pt x="1419" y="99"/>
                  <a:pt x="1419" y="99"/>
                  <a:pt x="1419" y="99"/>
                </a:cubicBezTo>
                <a:cubicBezTo>
                  <a:pt x="1419" y="101"/>
                  <a:pt x="1419" y="101"/>
                  <a:pt x="1419" y="101"/>
                </a:cubicBezTo>
                <a:cubicBezTo>
                  <a:pt x="1418" y="100"/>
                  <a:pt x="1418" y="100"/>
                  <a:pt x="1418" y="100"/>
                </a:cubicBezTo>
                <a:cubicBezTo>
                  <a:pt x="1418" y="99"/>
                  <a:pt x="1418" y="99"/>
                  <a:pt x="1418" y="99"/>
                </a:cubicBezTo>
                <a:cubicBezTo>
                  <a:pt x="1417" y="99"/>
                  <a:pt x="1417" y="99"/>
                  <a:pt x="1417" y="99"/>
                </a:cubicBezTo>
                <a:cubicBezTo>
                  <a:pt x="1417" y="100"/>
                  <a:pt x="1417" y="100"/>
                  <a:pt x="1417" y="100"/>
                </a:cubicBezTo>
                <a:cubicBezTo>
                  <a:pt x="1417" y="101"/>
                  <a:pt x="1417" y="101"/>
                  <a:pt x="1417" y="101"/>
                </a:cubicBezTo>
                <a:cubicBezTo>
                  <a:pt x="1418" y="102"/>
                  <a:pt x="1418" y="102"/>
                  <a:pt x="1418" y="102"/>
                </a:cubicBezTo>
                <a:cubicBezTo>
                  <a:pt x="1418" y="103"/>
                  <a:pt x="1418" y="103"/>
                  <a:pt x="1418" y="103"/>
                </a:cubicBezTo>
                <a:cubicBezTo>
                  <a:pt x="1418" y="104"/>
                  <a:pt x="1418" y="104"/>
                  <a:pt x="1418" y="104"/>
                </a:cubicBezTo>
                <a:cubicBezTo>
                  <a:pt x="1417" y="104"/>
                  <a:pt x="1417" y="104"/>
                  <a:pt x="1417" y="104"/>
                </a:cubicBezTo>
                <a:cubicBezTo>
                  <a:pt x="1417" y="102"/>
                  <a:pt x="1417" y="102"/>
                  <a:pt x="1417" y="102"/>
                </a:cubicBezTo>
                <a:cubicBezTo>
                  <a:pt x="1416" y="102"/>
                  <a:pt x="1416" y="102"/>
                  <a:pt x="1416" y="102"/>
                </a:cubicBezTo>
                <a:cubicBezTo>
                  <a:pt x="1414" y="102"/>
                  <a:pt x="1414" y="102"/>
                  <a:pt x="1414" y="102"/>
                </a:cubicBezTo>
                <a:cubicBezTo>
                  <a:pt x="1413" y="101"/>
                  <a:pt x="1413" y="101"/>
                  <a:pt x="1413" y="101"/>
                </a:cubicBezTo>
                <a:cubicBezTo>
                  <a:pt x="1413" y="102"/>
                  <a:pt x="1413" y="102"/>
                  <a:pt x="1413" y="102"/>
                </a:cubicBezTo>
                <a:cubicBezTo>
                  <a:pt x="1413" y="103"/>
                  <a:pt x="1413" y="103"/>
                  <a:pt x="1413" y="103"/>
                </a:cubicBezTo>
                <a:cubicBezTo>
                  <a:pt x="1414" y="103"/>
                  <a:pt x="1414" y="103"/>
                  <a:pt x="1414" y="103"/>
                </a:cubicBezTo>
                <a:cubicBezTo>
                  <a:pt x="1415" y="104"/>
                  <a:pt x="1415" y="104"/>
                  <a:pt x="1415" y="104"/>
                </a:cubicBezTo>
                <a:close/>
                <a:moveTo>
                  <a:pt x="1423" y="92"/>
                </a:moveTo>
                <a:cubicBezTo>
                  <a:pt x="1424" y="92"/>
                  <a:pt x="1424" y="92"/>
                  <a:pt x="1424" y="92"/>
                </a:cubicBezTo>
                <a:cubicBezTo>
                  <a:pt x="1424" y="91"/>
                  <a:pt x="1424" y="91"/>
                  <a:pt x="1424" y="91"/>
                </a:cubicBezTo>
                <a:cubicBezTo>
                  <a:pt x="1425" y="91"/>
                  <a:pt x="1425" y="91"/>
                  <a:pt x="1425" y="91"/>
                </a:cubicBezTo>
                <a:cubicBezTo>
                  <a:pt x="1424" y="90"/>
                  <a:pt x="1424" y="90"/>
                  <a:pt x="1424" y="90"/>
                </a:cubicBezTo>
                <a:cubicBezTo>
                  <a:pt x="1423" y="90"/>
                  <a:pt x="1423" y="90"/>
                  <a:pt x="1423" y="90"/>
                </a:cubicBezTo>
                <a:cubicBezTo>
                  <a:pt x="1422" y="90"/>
                  <a:pt x="1422" y="90"/>
                  <a:pt x="1422" y="90"/>
                </a:cubicBezTo>
                <a:cubicBezTo>
                  <a:pt x="1421" y="89"/>
                  <a:pt x="1421" y="89"/>
                  <a:pt x="1421" y="89"/>
                </a:cubicBezTo>
                <a:cubicBezTo>
                  <a:pt x="1420" y="90"/>
                  <a:pt x="1420" y="90"/>
                  <a:pt x="1420" y="90"/>
                </a:cubicBezTo>
                <a:cubicBezTo>
                  <a:pt x="1421" y="90"/>
                  <a:pt x="1421" y="90"/>
                  <a:pt x="1421" y="90"/>
                </a:cubicBezTo>
                <a:cubicBezTo>
                  <a:pt x="1423" y="92"/>
                  <a:pt x="1423" y="92"/>
                  <a:pt x="1423" y="92"/>
                </a:cubicBezTo>
                <a:close/>
                <a:moveTo>
                  <a:pt x="2183" y="520"/>
                </a:moveTo>
                <a:cubicBezTo>
                  <a:pt x="2184" y="520"/>
                  <a:pt x="2184" y="520"/>
                  <a:pt x="2184" y="520"/>
                </a:cubicBezTo>
                <a:cubicBezTo>
                  <a:pt x="2184" y="519"/>
                  <a:pt x="2184" y="519"/>
                  <a:pt x="2184" y="519"/>
                </a:cubicBezTo>
                <a:cubicBezTo>
                  <a:pt x="2185" y="518"/>
                  <a:pt x="2185" y="518"/>
                  <a:pt x="2185" y="518"/>
                </a:cubicBezTo>
                <a:cubicBezTo>
                  <a:pt x="2184" y="517"/>
                  <a:pt x="2184" y="517"/>
                  <a:pt x="2184" y="517"/>
                </a:cubicBezTo>
                <a:cubicBezTo>
                  <a:pt x="2184" y="516"/>
                  <a:pt x="2184" y="516"/>
                  <a:pt x="2184" y="516"/>
                </a:cubicBezTo>
                <a:cubicBezTo>
                  <a:pt x="2184" y="515"/>
                  <a:pt x="2184" y="515"/>
                  <a:pt x="2184" y="515"/>
                </a:cubicBezTo>
                <a:cubicBezTo>
                  <a:pt x="2183" y="516"/>
                  <a:pt x="2183" y="516"/>
                  <a:pt x="2183" y="516"/>
                </a:cubicBezTo>
                <a:cubicBezTo>
                  <a:pt x="2183" y="518"/>
                  <a:pt x="2183" y="518"/>
                  <a:pt x="2183" y="518"/>
                </a:cubicBezTo>
                <a:cubicBezTo>
                  <a:pt x="2184" y="518"/>
                  <a:pt x="2184" y="518"/>
                  <a:pt x="2184" y="518"/>
                </a:cubicBezTo>
                <a:cubicBezTo>
                  <a:pt x="2183" y="519"/>
                  <a:pt x="2183" y="519"/>
                  <a:pt x="2183" y="519"/>
                </a:cubicBezTo>
                <a:cubicBezTo>
                  <a:pt x="2183" y="520"/>
                  <a:pt x="2183" y="520"/>
                  <a:pt x="2183" y="520"/>
                </a:cubicBezTo>
                <a:close/>
                <a:moveTo>
                  <a:pt x="2156" y="535"/>
                </a:moveTo>
                <a:cubicBezTo>
                  <a:pt x="2156" y="536"/>
                  <a:pt x="2156" y="536"/>
                  <a:pt x="2156" y="536"/>
                </a:cubicBezTo>
                <a:cubicBezTo>
                  <a:pt x="2156" y="537"/>
                  <a:pt x="2156" y="537"/>
                  <a:pt x="2156" y="537"/>
                </a:cubicBezTo>
                <a:cubicBezTo>
                  <a:pt x="2157" y="536"/>
                  <a:pt x="2157" y="536"/>
                  <a:pt x="2157" y="536"/>
                </a:cubicBezTo>
                <a:cubicBezTo>
                  <a:pt x="2157" y="535"/>
                  <a:pt x="2157" y="535"/>
                  <a:pt x="2157" y="535"/>
                </a:cubicBezTo>
                <a:cubicBezTo>
                  <a:pt x="2156" y="535"/>
                  <a:pt x="2156" y="535"/>
                  <a:pt x="2156" y="535"/>
                </a:cubicBezTo>
                <a:close/>
                <a:moveTo>
                  <a:pt x="2193" y="453"/>
                </a:moveTo>
                <a:cubicBezTo>
                  <a:pt x="2190" y="450"/>
                  <a:pt x="2190" y="450"/>
                  <a:pt x="2190" y="450"/>
                </a:cubicBezTo>
                <a:cubicBezTo>
                  <a:pt x="2189" y="448"/>
                  <a:pt x="2189" y="448"/>
                  <a:pt x="2189" y="448"/>
                </a:cubicBezTo>
                <a:cubicBezTo>
                  <a:pt x="2188" y="448"/>
                  <a:pt x="2188" y="448"/>
                  <a:pt x="2188" y="448"/>
                </a:cubicBezTo>
                <a:cubicBezTo>
                  <a:pt x="2185" y="446"/>
                  <a:pt x="2185" y="446"/>
                  <a:pt x="2185" y="446"/>
                </a:cubicBezTo>
                <a:cubicBezTo>
                  <a:pt x="2185" y="445"/>
                  <a:pt x="2185" y="445"/>
                  <a:pt x="2185" y="445"/>
                </a:cubicBezTo>
                <a:cubicBezTo>
                  <a:pt x="2184" y="445"/>
                  <a:pt x="2184" y="445"/>
                  <a:pt x="2184" y="445"/>
                </a:cubicBezTo>
                <a:cubicBezTo>
                  <a:pt x="2184" y="446"/>
                  <a:pt x="2184" y="446"/>
                  <a:pt x="2184" y="446"/>
                </a:cubicBezTo>
                <a:cubicBezTo>
                  <a:pt x="2183" y="446"/>
                  <a:pt x="2183" y="446"/>
                  <a:pt x="2183" y="446"/>
                </a:cubicBezTo>
                <a:cubicBezTo>
                  <a:pt x="2182" y="447"/>
                  <a:pt x="2182" y="447"/>
                  <a:pt x="2182" y="447"/>
                </a:cubicBezTo>
                <a:cubicBezTo>
                  <a:pt x="2183" y="448"/>
                  <a:pt x="2183" y="448"/>
                  <a:pt x="2183" y="448"/>
                </a:cubicBezTo>
                <a:cubicBezTo>
                  <a:pt x="2183" y="449"/>
                  <a:pt x="2183" y="449"/>
                  <a:pt x="2183" y="449"/>
                </a:cubicBezTo>
                <a:cubicBezTo>
                  <a:pt x="2185" y="453"/>
                  <a:pt x="2185" y="453"/>
                  <a:pt x="2185" y="453"/>
                </a:cubicBezTo>
                <a:cubicBezTo>
                  <a:pt x="2186" y="454"/>
                  <a:pt x="2186" y="454"/>
                  <a:pt x="2186" y="454"/>
                </a:cubicBezTo>
                <a:cubicBezTo>
                  <a:pt x="2186" y="456"/>
                  <a:pt x="2186" y="456"/>
                  <a:pt x="2186" y="456"/>
                </a:cubicBezTo>
                <a:cubicBezTo>
                  <a:pt x="2186" y="457"/>
                  <a:pt x="2186" y="457"/>
                  <a:pt x="2186" y="457"/>
                </a:cubicBezTo>
                <a:cubicBezTo>
                  <a:pt x="2186" y="459"/>
                  <a:pt x="2186" y="459"/>
                  <a:pt x="2186" y="459"/>
                </a:cubicBezTo>
                <a:cubicBezTo>
                  <a:pt x="2187" y="460"/>
                  <a:pt x="2187" y="460"/>
                  <a:pt x="2187" y="460"/>
                </a:cubicBezTo>
                <a:cubicBezTo>
                  <a:pt x="2187" y="461"/>
                  <a:pt x="2187" y="461"/>
                  <a:pt x="2187" y="461"/>
                </a:cubicBezTo>
                <a:cubicBezTo>
                  <a:pt x="2186" y="461"/>
                  <a:pt x="2186" y="461"/>
                  <a:pt x="2186" y="461"/>
                </a:cubicBezTo>
                <a:cubicBezTo>
                  <a:pt x="2185" y="462"/>
                  <a:pt x="2185" y="462"/>
                  <a:pt x="2185" y="462"/>
                </a:cubicBezTo>
                <a:cubicBezTo>
                  <a:pt x="2186" y="463"/>
                  <a:pt x="2186" y="463"/>
                  <a:pt x="2186" y="463"/>
                </a:cubicBezTo>
                <a:cubicBezTo>
                  <a:pt x="2186" y="464"/>
                  <a:pt x="2186" y="464"/>
                  <a:pt x="2186" y="464"/>
                </a:cubicBezTo>
                <a:cubicBezTo>
                  <a:pt x="2187" y="465"/>
                  <a:pt x="2187" y="465"/>
                  <a:pt x="2187" y="465"/>
                </a:cubicBezTo>
                <a:cubicBezTo>
                  <a:pt x="2187" y="466"/>
                  <a:pt x="2187" y="466"/>
                  <a:pt x="2187" y="466"/>
                </a:cubicBezTo>
                <a:cubicBezTo>
                  <a:pt x="2187" y="467"/>
                  <a:pt x="2187" y="467"/>
                  <a:pt x="2187" y="467"/>
                </a:cubicBezTo>
                <a:cubicBezTo>
                  <a:pt x="2186" y="468"/>
                  <a:pt x="2186" y="468"/>
                  <a:pt x="2186" y="468"/>
                </a:cubicBezTo>
                <a:cubicBezTo>
                  <a:pt x="2184" y="468"/>
                  <a:pt x="2184" y="468"/>
                  <a:pt x="2184" y="468"/>
                </a:cubicBezTo>
                <a:cubicBezTo>
                  <a:pt x="2182" y="467"/>
                  <a:pt x="2182" y="467"/>
                  <a:pt x="2182" y="467"/>
                </a:cubicBezTo>
                <a:cubicBezTo>
                  <a:pt x="2181" y="467"/>
                  <a:pt x="2181" y="467"/>
                  <a:pt x="2181" y="467"/>
                </a:cubicBezTo>
                <a:cubicBezTo>
                  <a:pt x="2181" y="468"/>
                  <a:pt x="2181" y="468"/>
                  <a:pt x="2181" y="468"/>
                </a:cubicBezTo>
                <a:cubicBezTo>
                  <a:pt x="2182" y="468"/>
                  <a:pt x="2182" y="468"/>
                  <a:pt x="2182" y="468"/>
                </a:cubicBezTo>
                <a:cubicBezTo>
                  <a:pt x="2183" y="469"/>
                  <a:pt x="2183" y="469"/>
                  <a:pt x="2183" y="469"/>
                </a:cubicBezTo>
                <a:cubicBezTo>
                  <a:pt x="2183" y="470"/>
                  <a:pt x="2183" y="470"/>
                  <a:pt x="2183" y="470"/>
                </a:cubicBezTo>
                <a:cubicBezTo>
                  <a:pt x="2182" y="472"/>
                  <a:pt x="2182" y="472"/>
                  <a:pt x="2182" y="472"/>
                </a:cubicBezTo>
                <a:cubicBezTo>
                  <a:pt x="2181" y="472"/>
                  <a:pt x="2181" y="472"/>
                  <a:pt x="2181" y="472"/>
                </a:cubicBezTo>
                <a:cubicBezTo>
                  <a:pt x="2180" y="473"/>
                  <a:pt x="2180" y="473"/>
                  <a:pt x="2180" y="473"/>
                </a:cubicBezTo>
                <a:cubicBezTo>
                  <a:pt x="2180" y="474"/>
                  <a:pt x="2180" y="474"/>
                  <a:pt x="2180" y="474"/>
                </a:cubicBezTo>
                <a:cubicBezTo>
                  <a:pt x="2180" y="475"/>
                  <a:pt x="2180" y="475"/>
                  <a:pt x="2180" y="475"/>
                </a:cubicBezTo>
                <a:cubicBezTo>
                  <a:pt x="2180" y="477"/>
                  <a:pt x="2180" y="477"/>
                  <a:pt x="2180" y="477"/>
                </a:cubicBezTo>
                <a:cubicBezTo>
                  <a:pt x="2180" y="478"/>
                  <a:pt x="2180" y="478"/>
                  <a:pt x="2180" y="478"/>
                </a:cubicBezTo>
                <a:cubicBezTo>
                  <a:pt x="2181" y="478"/>
                  <a:pt x="2181" y="478"/>
                  <a:pt x="2181" y="478"/>
                </a:cubicBezTo>
                <a:cubicBezTo>
                  <a:pt x="2182" y="478"/>
                  <a:pt x="2182" y="478"/>
                  <a:pt x="2182" y="478"/>
                </a:cubicBezTo>
                <a:cubicBezTo>
                  <a:pt x="2183" y="479"/>
                  <a:pt x="2183" y="479"/>
                  <a:pt x="2183" y="479"/>
                </a:cubicBezTo>
                <a:cubicBezTo>
                  <a:pt x="2184" y="481"/>
                  <a:pt x="2184" y="481"/>
                  <a:pt x="2184" y="481"/>
                </a:cubicBezTo>
                <a:cubicBezTo>
                  <a:pt x="2184" y="484"/>
                  <a:pt x="2184" y="484"/>
                  <a:pt x="2184" y="484"/>
                </a:cubicBezTo>
                <a:cubicBezTo>
                  <a:pt x="2184" y="485"/>
                  <a:pt x="2184" y="485"/>
                  <a:pt x="2184" y="485"/>
                </a:cubicBezTo>
                <a:cubicBezTo>
                  <a:pt x="2185" y="486"/>
                  <a:pt x="2185" y="486"/>
                  <a:pt x="2185" y="486"/>
                </a:cubicBezTo>
                <a:cubicBezTo>
                  <a:pt x="2187" y="484"/>
                  <a:pt x="2187" y="484"/>
                  <a:pt x="2187" y="484"/>
                </a:cubicBezTo>
                <a:cubicBezTo>
                  <a:pt x="2187" y="483"/>
                  <a:pt x="2187" y="483"/>
                  <a:pt x="2187" y="483"/>
                </a:cubicBezTo>
                <a:cubicBezTo>
                  <a:pt x="2187" y="482"/>
                  <a:pt x="2187" y="482"/>
                  <a:pt x="2187" y="482"/>
                </a:cubicBezTo>
                <a:cubicBezTo>
                  <a:pt x="2188" y="481"/>
                  <a:pt x="2188" y="481"/>
                  <a:pt x="2188" y="481"/>
                </a:cubicBezTo>
                <a:cubicBezTo>
                  <a:pt x="2189" y="482"/>
                  <a:pt x="2189" y="482"/>
                  <a:pt x="2189" y="482"/>
                </a:cubicBezTo>
                <a:cubicBezTo>
                  <a:pt x="2190" y="482"/>
                  <a:pt x="2190" y="482"/>
                  <a:pt x="2190" y="482"/>
                </a:cubicBezTo>
                <a:cubicBezTo>
                  <a:pt x="2191" y="481"/>
                  <a:pt x="2191" y="481"/>
                  <a:pt x="2191" y="481"/>
                </a:cubicBezTo>
                <a:cubicBezTo>
                  <a:pt x="2192" y="480"/>
                  <a:pt x="2192" y="480"/>
                  <a:pt x="2192" y="480"/>
                </a:cubicBezTo>
                <a:cubicBezTo>
                  <a:pt x="2191" y="479"/>
                  <a:pt x="2191" y="479"/>
                  <a:pt x="2191" y="479"/>
                </a:cubicBezTo>
                <a:cubicBezTo>
                  <a:pt x="2190" y="479"/>
                  <a:pt x="2190" y="479"/>
                  <a:pt x="2190" y="479"/>
                </a:cubicBezTo>
                <a:cubicBezTo>
                  <a:pt x="2188" y="479"/>
                  <a:pt x="2188" y="479"/>
                  <a:pt x="2188" y="479"/>
                </a:cubicBezTo>
                <a:cubicBezTo>
                  <a:pt x="2187" y="477"/>
                  <a:pt x="2187" y="477"/>
                  <a:pt x="2187" y="477"/>
                </a:cubicBezTo>
                <a:cubicBezTo>
                  <a:pt x="2185" y="478"/>
                  <a:pt x="2185" y="478"/>
                  <a:pt x="2185" y="478"/>
                </a:cubicBezTo>
                <a:cubicBezTo>
                  <a:pt x="2184" y="477"/>
                  <a:pt x="2184" y="477"/>
                  <a:pt x="2184" y="477"/>
                </a:cubicBezTo>
                <a:cubicBezTo>
                  <a:pt x="2184" y="476"/>
                  <a:pt x="2184" y="476"/>
                  <a:pt x="2184" y="476"/>
                </a:cubicBezTo>
                <a:cubicBezTo>
                  <a:pt x="2184" y="475"/>
                  <a:pt x="2184" y="475"/>
                  <a:pt x="2184" y="475"/>
                </a:cubicBezTo>
                <a:cubicBezTo>
                  <a:pt x="2184" y="474"/>
                  <a:pt x="2184" y="474"/>
                  <a:pt x="2184" y="474"/>
                </a:cubicBezTo>
                <a:cubicBezTo>
                  <a:pt x="2185" y="474"/>
                  <a:pt x="2185" y="474"/>
                  <a:pt x="2185" y="474"/>
                </a:cubicBezTo>
                <a:cubicBezTo>
                  <a:pt x="2187" y="475"/>
                  <a:pt x="2187" y="475"/>
                  <a:pt x="2187" y="475"/>
                </a:cubicBezTo>
                <a:cubicBezTo>
                  <a:pt x="2189" y="473"/>
                  <a:pt x="2189" y="473"/>
                  <a:pt x="2189" y="473"/>
                </a:cubicBezTo>
                <a:cubicBezTo>
                  <a:pt x="2190" y="472"/>
                  <a:pt x="2190" y="472"/>
                  <a:pt x="2190" y="472"/>
                </a:cubicBezTo>
                <a:cubicBezTo>
                  <a:pt x="2192" y="472"/>
                  <a:pt x="2192" y="472"/>
                  <a:pt x="2192" y="472"/>
                </a:cubicBezTo>
                <a:cubicBezTo>
                  <a:pt x="2192" y="473"/>
                  <a:pt x="2192" y="473"/>
                  <a:pt x="2192" y="473"/>
                </a:cubicBezTo>
                <a:cubicBezTo>
                  <a:pt x="2193" y="473"/>
                  <a:pt x="2193" y="473"/>
                  <a:pt x="2193" y="473"/>
                </a:cubicBezTo>
                <a:cubicBezTo>
                  <a:pt x="2194" y="473"/>
                  <a:pt x="2194" y="473"/>
                  <a:pt x="2194" y="473"/>
                </a:cubicBezTo>
                <a:cubicBezTo>
                  <a:pt x="2195" y="474"/>
                  <a:pt x="2195" y="474"/>
                  <a:pt x="2195" y="474"/>
                </a:cubicBezTo>
                <a:cubicBezTo>
                  <a:pt x="2197" y="475"/>
                  <a:pt x="2197" y="475"/>
                  <a:pt x="2197" y="475"/>
                </a:cubicBezTo>
                <a:cubicBezTo>
                  <a:pt x="2199" y="476"/>
                  <a:pt x="2199" y="476"/>
                  <a:pt x="2199" y="476"/>
                </a:cubicBezTo>
                <a:cubicBezTo>
                  <a:pt x="2201" y="477"/>
                  <a:pt x="2201" y="477"/>
                  <a:pt x="2201" y="477"/>
                </a:cubicBezTo>
                <a:cubicBezTo>
                  <a:pt x="2201" y="478"/>
                  <a:pt x="2201" y="478"/>
                  <a:pt x="2201" y="478"/>
                </a:cubicBezTo>
                <a:cubicBezTo>
                  <a:pt x="2202" y="478"/>
                  <a:pt x="2202" y="478"/>
                  <a:pt x="2202" y="478"/>
                </a:cubicBezTo>
                <a:cubicBezTo>
                  <a:pt x="2202" y="477"/>
                  <a:pt x="2202" y="477"/>
                  <a:pt x="2202" y="477"/>
                </a:cubicBezTo>
                <a:cubicBezTo>
                  <a:pt x="2203" y="476"/>
                  <a:pt x="2203" y="476"/>
                  <a:pt x="2203" y="476"/>
                </a:cubicBezTo>
                <a:cubicBezTo>
                  <a:pt x="2202" y="475"/>
                  <a:pt x="2202" y="475"/>
                  <a:pt x="2202" y="475"/>
                </a:cubicBezTo>
                <a:cubicBezTo>
                  <a:pt x="2203" y="473"/>
                  <a:pt x="2203" y="473"/>
                  <a:pt x="2203" y="473"/>
                </a:cubicBezTo>
                <a:cubicBezTo>
                  <a:pt x="2203" y="470"/>
                  <a:pt x="2203" y="470"/>
                  <a:pt x="2203" y="470"/>
                </a:cubicBezTo>
                <a:cubicBezTo>
                  <a:pt x="2205" y="468"/>
                  <a:pt x="2205" y="468"/>
                  <a:pt x="2205" y="468"/>
                </a:cubicBezTo>
                <a:cubicBezTo>
                  <a:pt x="2206" y="468"/>
                  <a:pt x="2206" y="468"/>
                  <a:pt x="2206" y="468"/>
                </a:cubicBezTo>
                <a:cubicBezTo>
                  <a:pt x="2207" y="468"/>
                  <a:pt x="2207" y="468"/>
                  <a:pt x="2207" y="468"/>
                </a:cubicBezTo>
                <a:cubicBezTo>
                  <a:pt x="2209" y="468"/>
                  <a:pt x="2209" y="468"/>
                  <a:pt x="2209" y="468"/>
                </a:cubicBezTo>
                <a:cubicBezTo>
                  <a:pt x="2209" y="467"/>
                  <a:pt x="2209" y="467"/>
                  <a:pt x="2209" y="467"/>
                </a:cubicBezTo>
                <a:cubicBezTo>
                  <a:pt x="2210" y="467"/>
                  <a:pt x="2210" y="467"/>
                  <a:pt x="2210" y="467"/>
                </a:cubicBezTo>
                <a:cubicBezTo>
                  <a:pt x="2211" y="467"/>
                  <a:pt x="2211" y="467"/>
                  <a:pt x="2211" y="467"/>
                </a:cubicBezTo>
                <a:cubicBezTo>
                  <a:pt x="2211" y="466"/>
                  <a:pt x="2211" y="466"/>
                  <a:pt x="2211" y="466"/>
                </a:cubicBezTo>
                <a:cubicBezTo>
                  <a:pt x="2211" y="465"/>
                  <a:pt x="2211" y="465"/>
                  <a:pt x="2211" y="465"/>
                </a:cubicBezTo>
                <a:cubicBezTo>
                  <a:pt x="2213" y="465"/>
                  <a:pt x="2213" y="465"/>
                  <a:pt x="2213" y="465"/>
                </a:cubicBezTo>
                <a:cubicBezTo>
                  <a:pt x="2213" y="464"/>
                  <a:pt x="2213" y="464"/>
                  <a:pt x="2213" y="464"/>
                </a:cubicBezTo>
                <a:cubicBezTo>
                  <a:pt x="2213" y="463"/>
                  <a:pt x="2213" y="463"/>
                  <a:pt x="2213" y="463"/>
                </a:cubicBezTo>
                <a:cubicBezTo>
                  <a:pt x="2212" y="464"/>
                  <a:pt x="2212" y="464"/>
                  <a:pt x="2212" y="464"/>
                </a:cubicBezTo>
                <a:cubicBezTo>
                  <a:pt x="2211" y="464"/>
                  <a:pt x="2211" y="464"/>
                  <a:pt x="2211" y="464"/>
                </a:cubicBezTo>
                <a:cubicBezTo>
                  <a:pt x="2211" y="463"/>
                  <a:pt x="2211" y="463"/>
                  <a:pt x="2211" y="463"/>
                </a:cubicBezTo>
                <a:cubicBezTo>
                  <a:pt x="2211" y="462"/>
                  <a:pt x="2211" y="462"/>
                  <a:pt x="2211" y="462"/>
                </a:cubicBezTo>
                <a:cubicBezTo>
                  <a:pt x="2210" y="461"/>
                  <a:pt x="2210" y="461"/>
                  <a:pt x="2210" y="461"/>
                </a:cubicBezTo>
                <a:cubicBezTo>
                  <a:pt x="2209" y="460"/>
                  <a:pt x="2209" y="460"/>
                  <a:pt x="2209" y="460"/>
                </a:cubicBezTo>
                <a:cubicBezTo>
                  <a:pt x="2208" y="459"/>
                  <a:pt x="2208" y="459"/>
                  <a:pt x="2208" y="459"/>
                </a:cubicBezTo>
                <a:cubicBezTo>
                  <a:pt x="2208" y="458"/>
                  <a:pt x="2208" y="458"/>
                  <a:pt x="2208" y="458"/>
                </a:cubicBezTo>
                <a:cubicBezTo>
                  <a:pt x="2209" y="456"/>
                  <a:pt x="2209" y="456"/>
                  <a:pt x="2209" y="456"/>
                </a:cubicBezTo>
                <a:cubicBezTo>
                  <a:pt x="2209" y="455"/>
                  <a:pt x="2209" y="455"/>
                  <a:pt x="2209" y="455"/>
                </a:cubicBezTo>
                <a:cubicBezTo>
                  <a:pt x="2209" y="454"/>
                  <a:pt x="2209" y="454"/>
                  <a:pt x="2209" y="454"/>
                </a:cubicBezTo>
                <a:cubicBezTo>
                  <a:pt x="2208" y="454"/>
                  <a:pt x="2208" y="454"/>
                  <a:pt x="2208" y="454"/>
                </a:cubicBezTo>
                <a:cubicBezTo>
                  <a:pt x="2208" y="456"/>
                  <a:pt x="2208" y="456"/>
                  <a:pt x="2208" y="456"/>
                </a:cubicBezTo>
                <a:cubicBezTo>
                  <a:pt x="2207" y="457"/>
                  <a:pt x="2207" y="457"/>
                  <a:pt x="2207" y="457"/>
                </a:cubicBezTo>
                <a:cubicBezTo>
                  <a:pt x="2205" y="458"/>
                  <a:pt x="2205" y="458"/>
                  <a:pt x="2205" y="458"/>
                </a:cubicBezTo>
                <a:cubicBezTo>
                  <a:pt x="2203" y="458"/>
                  <a:pt x="2203" y="458"/>
                  <a:pt x="2203" y="458"/>
                </a:cubicBezTo>
                <a:cubicBezTo>
                  <a:pt x="2202" y="458"/>
                  <a:pt x="2202" y="458"/>
                  <a:pt x="2202" y="458"/>
                </a:cubicBezTo>
                <a:cubicBezTo>
                  <a:pt x="2201" y="457"/>
                  <a:pt x="2201" y="457"/>
                  <a:pt x="2201" y="457"/>
                </a:cubicBezTo>
                <a:cubicBezTo>
                  <a:pt x="2199" y="457"/>
                  <a:pt x="2199" y="457"/>
                  <a:pt x="2199" y="457"/>
                </a:cubicBezTo>
                <a:cubicBezTo>
                  <a:pt x="2197" y="456"/>
                  <a:pt x="2197" y="456"/>
                  <a:pt x="2197" y="456"/>
                </a:cubicBezTo>
                <a:cubicBezTo>
                  <a:pt x="2196" y="455"/>
                  <a:pt x="2196" y="455"/>
                  <a:pt x="2196" y="455"/>
                </a:cubicBezTo>
                <a:cubicBezTo>
                  <a:pt x="2195" y="455"/>
                  <a:pt x="2195" y="455"/>
                  <a:pt x="2195" y="455"/>
                </a:cubicBezTo>
                <a:cubicBezTo>
                  <a:pt x="2195" y="454"/>
                  <a:pt x="2195" y="454"/>
                  <a:pt x="2195" y="454"/>
                </a:cubicBezTo>
                <a:cubicBezTo>
                  <a:pt x="2193" y="453"/>
                  <a:pt x="2193" y="453"/>
                  <a:pt x="2193" y="453"/>
                </a:cubicBezTo>
                <a:close/>
                <a:moveTo>
                  <a:pt x="2143" y="568"/>
                </a:moveTo>
                <a:cubicBezTo>
                  <a:pt x="2142" y="568"/>
                  <a:pt x="2142" y="568"/>
                  <a:pt x="2142" y="568"/>
                </a:cubicBezTo>
                <a:cubicBezTo>
                  <a:pt x="2142" y="569"/>
                  <a:pt x="2142" y="569"/>
                  <a:pt x="2142" y="569"/>
                </a:cubicBezTo>
                <a:cubicBezTo>
                  <a:pt x="2142" y="570"/>
                  <a:pt x="2142" y="570"/>
                  <a:pt x="2142" y="570"/>
                </a:cubicBezTo>
                <a:cubicBezTo>
                  <a:pt x="2143" y="570"/>
                  <a:pt x="2143" y="570"/>
                  <a:pt x="2143" y="570"/>
                </a:cubicBezTo>
                <a:cubicBezTo>
                  <a:pt x="2143" y="569"/>
                  <a:pt x="2143" y="569"/>
                  <a:pt x="2143" y="569"/>
                </a:cubicBezTo>
                <a:cubicBezTo>
                  <a:pt x="2143" y="568"/>
                  <a:pt x="2143" y="568"/>
                  <a:pt x="2143" y="568"/>
                </a:cubicBezTo>
                <a:close/>
                <a:moveTo>
                  <a:pt x="2123" y="631"/>
                </a:moveTo>
                <a:cubicBezTo>
                  <a:pt x="2124" y="632"/>
                  <a:pt x="2124" y="632"/>
                  <a:pt x="2124" y="632"/>
                </a:cubicBezTo>
                <a:cubicBezTo>
                  <a:pt x="2125" y="631"/>
                  <a:pt x="2125" y="631"/>
                  <a:pt x="2125" y="631"/>
                </a:cubicBezTo>
                <a:cubicBezTo>
                  <a:pt x="2123" y="630"/>
                  <a:pt x="2123" y="630"/>
                  <a:pt x="2123" y="630"/>
                </a:cubicBezTo>
                <a:cubicBezTo>
                  <a:pt x="2123" y="631"/>
                  <a:pt x="2123" y="631"/>
                  <a:pt x="2123" y="631"/>
                </a:cubicBezTo>
                <a:close/>
                <a:moveTo>
                  <a:pt x="2144" y="569"/>
                </a:moveTo>
                <a:cubicBezTo>
                  <a:pt x="2145" y="568"/>
                  <a:pt x="2145" y="568"/>
                  <a:pt x="2145" y="568"/>
                </a:cubicBezTo>
                <a:cubicBezTo>
                  <a:pt x="2144" y="568"/>
                  <a:pt x="2144" y="568"/>
                  <a:pt x="2144" y="568"/>
                </a:cubicBezTo>
                <a:cubicBezTo>
                  <a:pt x="2144" y="569"/>
                  <a:pt x="2144" y="569"/>
                  <a:pt x="2144" y="569"/>
                </a:cubicBezTo>
                <a:close/>
                <a:moveTo>
                  <a:pt x="2148" y="577"/>
                </a:moveTo>
                <a:cubicBezTo>
                  <a:pt x="2148" y="575"/>
                  <a:pt x="2148" y="575"/>
                  <a:pt x="2148" y="575"/>
                </a:cubicBezTo>
                <a:cubicBezTo>
                  <a:pt x="2149" y="575"/>
                  <a:pt x="2149" y="575"/>
                  <a:pt x="2149" y="575"/>
                </a:cubicBezTo>
                <a:cubicBezTo>
                  <a:pt x="2149" y="576"/>
                  <a:pt x="2149" y="576"/>
                  <a:pt x="2149" y="576"/>
                </a:cubicBezTo>
                <a:cubicBezTo>
                  <a:pt x="2150" y="577"/>
                  <a:pt x="2150" y="577"/>
                  <a:pt x="2150" y="577"/>
                </a:cubicBezTo>
                <a:cubicBezTo>
                  <a:pt x="2150" y="579"/>
                  <a:pt x="2150" y="579"/>
                  <a:pt x="2150" y="579"/>
                </a:cubicBezTo>
                <a:cubicBezTo>
                  <a:pt x="2150" y="580"/>
                  <a:pt x="2150" y="580"/>
                  <a:pt x="2150" y="580"/>
                </a:cubicBezTo>
                <a:cubicBezTo>
                  <a:pt x="2150" y="581"/>
                  <a:pt x="2150" y="581"/>
                  <a:pt x="2150" y="581"/>
                </a:cubicBezTo>
                <a:cubicBezTo>
                  <a:pt x="2151" y="580"/>
                  <a:pt x="2151" y="580"/>
                  <a:pt x="2151" y="580"/>
                </a:cubicBezTo>
                <a:cubicBezTo>
                  <a:pt x="2152" y="579"/>
                  <a:pt x="2152" y="579"/>
                  <a:pt x="2152" y="579"/>
                </a:cubicBezTo>
                <a:cubicBezTo>
                  <a:pt x="2151" y="577"/>
                  <a:pt x="2151" y="577"/>
                  <a:pt x="2151" y="577"/>
                </a:cubicBezTo>
                <a:cubicBezTo>
                  <a:pt x="2152" y="576"/>
                  <a:pt x="2152" y="576"/>
                  <a:pt x="2152" y="576"/>
                </a:cubicBezTo>
                <a:cubicBezTo>
                  <a:pt x="2152" y="577"/>
                  <a:pt x="2152" y="577"/>
                  <a:pt x="2152" y="577"/>
                </a:cubicBezTo>
                <a:cubicBezTo>
                  <a:pt x="2153" y="577"/>
                  <a:pt x="2153" y="577"/>
                  <a:pt x="2153" y="577"/>
                </a:cubicBezTo>
                <a:cubicBezTo>
                  <a:pt x="2153" y="576"/>
                  <a:pt x="2153" y="576"/>
                  <a:pt x="2153" y="576"/>
                </a:cubicBezTo>
                <a:cubicBezTo>
                  <a:pt x="2153" y="574"/>
                  <a:pt x="2153" y="574"/>
                  <a:pt x="2153" y="574"/>
                </a:cubicBezTo>
                <a:cubicBezTo>
                  <a:pt x="2153" y="573"/>
                  <a:pt x="2153" y="573"/>
                  <a:pt x="2153" y="573"/>
                </a:cubicBezTo>
                <a:cubicBezTo>
                  <a:pt x="2153" y="569"/>
                  <a:pt x="2153" y="569"/>
                  <a:pt x="2153" y="569"/>
                </a:cubicBezTo>
                <a:cubicBezTo>
                  <a:pt x="2153" y="567"/>
                  <a:pt x="2153" y="567"/>
                  <a:pt x="2153" y="567"/>
                </a:cubicBezTo>
                <a:cubicBezTo>
                  <a:pt x="2154" y="566"/>
                  <a:pt x="2154" y="566"/>
                  <a:pt x="2154" y="566"/>
                </a:cubicBezTo>
                <a:cubicBezTo>
                  <a:pt x="2155" y="565"/>
                  <a:pt x="2155" y="565"/>
                  <a:pt x="2155" y="565"/>
                </a:cubicBezTo>
                <a:cubicBezTo>
                  <a:pt x="2154" y="564"/>
                  <a:pt x="2154" y="564"/>
                  <a:pt x="2154" y="564"/>
                </a:cubicBezTo>
                <a:cubicBezTo>
                  <a:pt x="2154" y="563"/>
                  <a:pt x="2154" y="563"/>
                  <a:pt x="2154" y="563"/>
                </a:cubicBezTo>
                <a:cubicBezTo>
                  <a:pt x="2153" y="563"/>
                  <a:pt x="2153" y="563"/>
                  <a:pt x="2153" y="563"/>
                </a:cubicBezTo>
                <a:cubicBezTo>
                  <a:pt x="2153" y="562"/>
                  <a:pt x="2153" y="562"/>
                  <a:pt x="2153" y="562"/>
                </a:cubicBezTo>
                <a:cubicBezTo>
                  <a:pt x="2151" y="562"/>
                  <a:pt x="2151" y="562"/>
                  <a:pt x="2151" y="562"/>
                </a:cubicBezTo>
                <a:cubicBezTo>
                  <a:pt x="2151" y="561"/>
                  <a:pt x="2151" y="561"/>
                  <a:pt x="2151" y="561"/>
                </a:cubicBezTo>
                <a:cubicBezTo>
                  <a:pt x="2152" y="561"/>
                  <a:pt x="2152" y="561"/>
                  <a:pt x="2152" y="561"/>
                </a:cubicBezTo>
                <a:cubicBezTo>
                  <a:pt x="2152" y="560"/>
                  <a:pt x="2152" y="560"/>
                  <a:pt x="2152" y="560"/>
                </a:cubicBezTo>
                <a:cubicBezTo>
                  <a:pt x="2152" y="558"/>
                  <a:pt x="2152" y="558"/>
                  <a:pt x="2152" y="558"/>
                </a:cubicBezTo>
                <a:cubicBezTo>
                  <a:pt x="2151" y="558"/>
                  <a:pt x="2151" y="558"/>
                  <a:pt x="2151" y="558"/>
                </a:cubicBezTo>
                <a:cubicBezTo>
                  <a:pt x="2150" y="558"/>
                  <a:pt x="2150" y="558"/>
                  <a:pt x="2150" y="558"/>
                </a:cubicBezTo>
                <a:cubicBezTo>
                  <a:pt x="2149" y="559"/>
                  <a:pt x="2149" y="559"/>
                  <a:pt x="2149" y="559"/>
                </a:cubicBezTo>
                <a:cubicBezTo>
                  <a:pt x="2148" y="559"/>
                  <a:pt x="2148" y="559"/>
                  <a:pt x="2148" y="559"/>
                </a:cubicBezTo>
                <a:cubicBezTo>
                  <a:pt x="2147" y="557"/>
                  <a:pt x="2147" y="557"/>
                  <a:pt x="2147" y="557"/>
                </a:cubicBezTo>
                <a:cubicBezTo>
                  <a:pt x="2149" y="556"/>
                  <a:pt x="2149" y="556"/>
                  <a:pt x="2149" y="556"/>
                </a:cubicBezTo>
                <a:cubicBezTo>
                  <a:pt x="2151" y="555"/>
                  <a:pt x="2151" y="555"/>
                  <a:pt x="2151" y="555"/>
                </a:cubicBezTo>
                <a:cubicBezTo>
                  <a:pt x="2153" y="556"/>
                  <a:pt x="2153" y="556"/>
                  <a:pt x="2153" y="556"/>
                </a:cubicBezTo>
                <a:cubicBezTo>
                  <a:pt x="2154" y="556"/>
                  <a:pt x="2154" y="556"/>
                  <a:pt x="2154" y="556"/>
                </a:cubicBezTo>
                <a:cubicBezTo>
                  <a:pt x="2154" y="555"/>
                  <a:pt x="2154" y="555"/>
                  <a:pt x="2154" y="555"/>
                </a:cubicBezTo>
                <a:cubicBezTo>
                  <a:pt x="2154" y="554"/>
                  <a:pt x="2154" y="554"/>
                  <a:pt x="2154" y="554"/>
                </a:cubicBezTo>
                <a:cubicBezTo>
                  <a:pt x="2154" y="553"/>
                  <a:pt x="2154" y="553"/>
                  <a:pt x="2154" y="553"/>
                </a:cubicBezTo>
                <a:cubicBezTo>
                  <a:pt x="2154" y="552"/>
                  <a:pt x="2154" y="552"/>
                  <a:pt x="2154" y="552"/>
                </a:cubicBezTo>
                <a:cubicBezTo>
                  <a:pt x="2155" y="552"/>
                  <a:pt x="2155" y="552"/>
                  <a:pt x="2155" y="552"/>
                </a:cubicBezTo>
                <a:cubicBezTo>
                  <a:pt x="2155" y="553"/>
                  <a:pt x="2155" y="553"/>
                  <a:pt x="2155" y="553"/>
                </a:cubicBezTo>
                <a:cubicBezTo>
                  <a:pt x="2156" y="553"/>
                  <a:pt x="2156" y="553"/>
                  <a:pt x="2156" y="553"/>
                </a:cubicBezTo>
                <a:cubicBezTo>
                  <a:pt x="2157" y="552"/>
                  <a:pt x="2157" y="552"/>
                  <a:pt x="2157" y="552"/>
                </a:cubicBezTo>
                <a:cubicBezTo>
                  <a:pt x="2159" y="552"/>
                  <a:pt x="2159" y="552"/>
                  <a:pt x="2159" y="552"/>
                </a:cubicBezTo>
                <a:cubicBezTo>
                  <a:pt x="2161" y="551"/>
                  <a:pt x="2161" y="551"/>
                  <a:pt x="2161" y="551"/>
                </a:cubicBezTo>
                <a:cubicBezTo>
                  <a:pt x="2163" y="551"/>
                  <a:pt x="2163" y="551"/>
                  <a:pt x="2163" y="551"/>
                </a:cubicBezTo>
                <a:cubicBezTo>
                  <a:pt x="2164" y="551"/>
                  <a:pt x="2164" y="551"/>
                  <a:pt x="2164" y="551"/>
                </a:cubicBezTo>
                <a:cubicBezTo>
                  <a:pt x="2165" y="550"/>
                  <a:pt x="2165" y="550"/>
                  <a:pt x="2165" y="550"/>
                </a:cubicBezTo>
                <a:cubicBezTo>
                  <a:pt x="2165" y="549"/>
                  <a:pt x="2165" y="549"/>
                  <a:pt x="2165" y="549"/>
                </a:cubicBezTo>
                <a:cubicBezTo>
                  <a:pt x="2167" y="548"/>
                  <a:pt x="2167" y="548"/>
                  <a:pt x="2167" y="548"/>
                </a:cubicBezTo>
                <a:cubicBezTo>
                  <a:pt x="2168" y="548"/>
                  <a:pt x="2168" y="548"/>
                  <a:pt x="2168" y="548"/>
                </a:cubicBezTo>
                <a:cubicBezTo>
                  <a:pt x="2170" y="548"/>
                  <a:pt x="2170" y="548"/>
                  <a:pt x="2170" y="548"/>
                </a:cubicBezTo>
                <a:cubicBezTo>
                  <a:pt x="2171" y="548"/>
                  <a:pt x="2171" y="548"/>
                  <a:pt x="2171" y="548"/>
                </a:cubicBezTo>
                <a:cubicBezTo>
                  <a:pt x="2172" y="548"/>
                  <a:pt x="2172" y="548"/>
                  <a:pt x="2172" y="548"/>
                </a:cubicBezTo>
                <a:cubicBezTo>
                  <a:pt x="2172" y="549"/>
                  <a:pt x="2172" y="549"/>
                  <a:pt x="2172" y="549"/>
                </a:cubicBezTo>
                <a:cubicBezTo>
                  <a:pt x="2171" y="550"/>
                  <a:pt x="2171" y="550"/>
                  <a:pt x="2171" y="550"/>
                </a:cubicBezTo>
                <a:cubicBezTo>
                  <a:pt x="2171" y="552"/>
                  <a:pt x="2171" y="552"/>
                  <a:pt x="2171" y="552"/>
                </a:cubicBezTo>
                <a:cubicBezTo>
                  <a:pt x="2171" y="553"/>
                  <a:pt x="2171" y="553"/>
                  <a:pt x="2171" y="553"/>
                </a:cubicBezTo>
                <a:cubicBezTo>
                  <a:pt x="2171" y="554"/>
                  <a:pt x="2171" y="554"/>
                  <a:pt x="2171" y="554"/>
                </a:cubicBezTo>
                <a:cubicBezTo>
                  <a:pt x="2171" y="555"/>
                  <a:pt x="2171" y="555"/>
                  <a:pt x="2171" y="555"/>
                </a:cubicBezTo>
                <a:cubicBezTo>
                  <a:pt x="2172" y="556"/>
                  <a:pt x="2172" y="556"/>
                  <a:pt x="2172" y="556"/>
                </a:cubicBezTo>
                <a:cubicBezTo>
                  <a:pt x="2173" y="556"/>
                  <a:pt x="2173" y="556"/>
                  <a:pt x="2173" y="556"/>
                </a:cubicBezTo>
                <a:cubicBezTo>
                  <a:pt x="2175" y="558"/>
                  <a:pt x="2175" y="558"/>
                  <a:pt x="2175" y="558"/>
                </a:cubicBezTo>
                <a:cubicBezTo>
                  <a:pt x="2176" y="558"/>
                  <a:pt x="2176" y="558"/>
                  <a:pt x="2176" y="558"/>
                </a:cubicBezTo>
                <a:cubicBezTo>
                  <a:pt x="2177" y="558"/>
                  <a:pt x="2177" y="558"/>
                  <a:pt x="2177" y="558"/>
                </a:cubicBezTo>
                <a:cubicBezTo>
                  <a:pt x="2178" y="556"/>
                  <a:pt x="2178" y="556"/>
                  <a:pt x="2178" y="556"/>
                </a:cubicBezTo>
                <a:cubicBezTo>
                  <a:pt x="2178" y="555"/>
                  <a:pt x="2178" y="555"/>
                  <a:pt x="2178" y="555"/>
                </a:cubicBezTo>
                <a:cubicBezTo>
                  <a:pt x="2179" y="555"/>
                  <a:pt x="2179" y="555"/>
                  <a:pt x="2179" y="555"/>
                </a:cubicBezTo>
                <a:cubicBezTo>
                  <a:pt x="2179" y="554"/>
                  <a:pt x="2179" y="554"/>
                  <a:pt x="2179" y="554"/>
                </a:cubicBezTo>
                <a:cubicBezTo>
                  <a:pt x="2179" y="553"/>
                  <a:pt x="2179" y="553"/>
                  <a:pt x="2179" y="553"/>
                </a:cubicBezTo>
                <a:cubicBezTo>
                  <a:pt x="2179" y="552"/>
                  <a:pt x="2179" y="552"/>
                  <a:pt x="2179" y="552"/>
                </a:cubicBezTo>
                <a:cubicBezTo>
                  <a:pt x="2180" y="551"/>
                  <a:pt x="2180" y="551"/>
                  <a:pt x="2180" y="551"/>
                </a:cubicBezTo>
                <a:cubicBezTo>
                  <a:pt x="2181" y="551"/>
                  <a:pt x="2181" y="551"/>
                  <a:pt x="2181" y="551"/>
                </a:cubicBezTo>
                <a:cubicBezTo>
                  <a:pt x="2182" y="551"/>
                  <a:pt x="2182" y="551"/>
                  <a:pt x="2182" y="551"/>
                </a:cubicBezTo>
                <a:cubicBezTo>
                  <a:pt x="2181" y="550"/>
                  <a:pt x="2181" y="550"/>
                  <a:pt x="2181" y="550"/>
                </a:cubicBezTo>
                <a:cubicBezTo>
                  <a:pt x="2181" y="549"/>
                  <a:pt x="2181" y="549"/>
                  <a:pt x="2181" y="549"/>
                </a:cubicBezTo>
                <a:cubicBezTo>
                  <a:pt x="2179" y="548"/>
                  <a:pt x="2179" y="548"/>
                  <a:pt x="2179" y="548"/>
                </a:cubicBezTo>
                <a:cubicBezTo>
                  <a:pt x="2179" y="547"/>
                  <a:pt x="2179" y="547"/>
                  <a:pt x="2179" y="547"/>
                </a:cubicBezTo>
                <a:cubicBezTo>
                  <a:pt x="2179" y="546"/>
                  <a:pt x="2179" y="546"/>
                  <a:pt x="2179" y="546"/>
                </a:cubicBezTo>
                <a:cubicBezTo>
                  <a:pt x="2180" y="545"/>
                  <a:pt x="2180" y="545"/>
                  <a:pt x="2180" y="545"/>
                </a:cubicBezTo>
                <a:cubicBezTo>
                  <a:pt x="2180" y="547"/>
                  <a:pt x="2180" y="547"/>
                  <a:pt x="2180" y="547"/>
                </a:cubicBezTo>
                <a:cubicBezTo>
                  <a:pt x="2181" y="547"/>
                  <a:pt x="2181" y="547"/>
                  <a:pt x="2181" y="547"/>
                </a:cubicBezTo>
                <a:cubicBezTo>
                  <a:pt x="2181" y="546"/>
                  <a:pt x="2181" y="546"/>
                  <a:pt x="2181" y="546"/>
                </a:cubicBezTo>
                <a:cubicBezTo>
                  <a:pt x="2182" y="547"/>
                  <a:pt x="2182" y="547"/>
                  <a:pt x="2182" y="547"/>
                </a:cubicBezTo>
                <a:cubicBezTo>
                  <a:pt x="2183" y="547"/>
                  <a:pt x="2183" y="547"/>
                  <a:pt x="2183" y="547"/>
                </a:cubicBezTo>
                <a:cubicBezTo>
                  <a:pt x="2184" y="547"/>
                  <a:pt x="2184" y="547"/>
                  <a:pt x="2184" y="547"/>
                </a:cubicBezTo>
                <a:cubicBezTo>
                  <a:pt x="2184" y="548"/>
                  <a:pt x="2184" y="548"/>
                  <a:pt x="2184" y="548"/>
                </a:cubicBezTo>
                <a:cubicBezTo>
                  <a:pt x="2185" y="547"/>
                  <a:pt x="2185" y="547"/>
                  <a:pt x="2185" y="547"/>
                </a:cubicBezTo>
                <a:cubicBezTo>
                  <a:pt x="2189" y="548"/>
                  <a:pt x="2189" y="548"/>
                  <a:pt x="2189" y="548"/>
                </a:cubicBezTo>
                <a:cubicBezTo>
                  <a:pt x="2190" y="547"/>
                  <a:pt x="2190" y="547"/>
                  <a:pt x="2190" y="547"/>
                </a:cubicBezTo>
                <a:cubicBezTo>
                  <a:pt x="2189" y="546"/>
                  <a:pt x="2189" y="546"/>
                  <a:pt x="2189" y="546"/>
                </a:cubicBezTo>
                <a:cubicBezTo>
                  <a:pt x="2190" y="544"/>
                  <a:pt x="2190" y="544"/>
                  <a:pt x="2190" y="544"/>
                </a:cubicBezTo>
                <a:cubicBezTo>
                  <a:pt x="2191" y="544"/>
                  <a:pt x="2191" y="544"/>
                  <a:pt x="2191" y="544"/>
                </a:cubicBezTo>
                <a:cubicBezTo>
                  <a:pt x="2192" y="544"/>
                  <a:pt x="2192" y="544"/>
                  <a:pt x="2192" y="544"/>
                </a:cubicBezTo>
                <a:cubicBezTo>
                  <a:pt x="2192" y="545"/>
                  <a:pt x="2192" y="545"/>
                  <a:pt x="2192" y="545"/>
                </a:cubicBezTo>
                <a:cubicBezTo>
                  <a:pt x="2192" y="546"/>
                  <a:pt x="2192" y="546"/>
                  <a:pt x="2192" y="546"/>
                </a:cubicBezTo>
                <a:cubicBezTo>
                  <a:pt x="2193" y="547"/>
                  <a:pt x="2193" y="547"/>
                  <a:pt x="2193" y="547"/>
                </a:cubicBezTo>
                <a:cubicBezTo>
                  <a:pt x="2194" y="547"/>
                  <a:pt x="2194" y="547"/>
                  <a:pt x="2194" y="547"/>
                </a:cubicBezTo>
                <a:cubicBezTo>
                  <a:pt x="2194" y="546"/>
                  <a:pt x="2194" y="546"/>
                  <a:pt x="2194" y="546"/>
                </a:cubicBezTo>
                <a:cubicBezTo>
                  <a:pt x="2194" y="543"/>
                  <a:pt x="2194" y="543"/>
                  <a:pt x="2194" y="543"/>
                </a:cubicBezTo>
                <a:cubicBezTo>
                  <a:pt x="2194" y="542"/>
                  <a:pt x="2194" y="542"/>
                  <a:pt x="2194" y="542"/>
                </a:cubicBezTo>
                <a:cubicBezTo>
                  <a:pt x="2196" y="541"/>
                  <a:pt x="2196" y="541"/>
                  <a:pt x="2196" y="541"/>
                </a:cubicBezTo>
                <a:cubicBezTo>
                  <a:pt x="2197" y="540"/>
                  <a:pt x="2197" y="540"/>
                  <a:pt x="2197" y="540"/>
                </a:cubicBezTo>
                <a:cubicBezTo>
                  <a:pt x="2196" y="540"/>
                  <a:pt x="2196" y="540"/>
                  <a:pt x="2196" y="540"/>
                </a:cubicBezTo>
                <a:cubicBezTo>
                  <a:pt x="2196" y="538"/>
                  <a:pt x="2196" y="538"/>
                  <a:pt x="2196" y="538"/>
                </a:cubicBezTo>
                <a:cubicBezTo>
                  <a:pt x="2197" y="538"/>
                  <a:pt x="2197" y="538"/>
                  <a:pt x="2197" y="538"/>
                </a:cubicBezTo>
                <a:cubicBezTo>
                  <a:pt x="2198" y="538"/>
                  <a:pt x="2198" y="538"/>
                  <a:pt x="2198" y="538"/>
                </a:cubicBezTo>
                <a:cubicBezTo>
                  <a:pt x="2199" y="539"/>
                  <a:pt x="2199" y="539"/>
                  <a:pt x="2199" y="539"/>
                </a:cubicBezTo>
                <a:cubicBezTo>
                  <a:pt x="2198" y="539"/>
                  <a:pt x="2198" y="539"/>
                  <a:pt x="2198" y="539"/>
                </a:cubicBezTo>
                <a:cubicBezTo>
                  <a:pt x="2198" y="541"/>
                  <a:pt x="2198" y="541"/>
                  <a:pt x="2198" y="541"/>
                </a:cubicBezTo>
                <a:cubicBezTo>
                  <a:pt x="2198" y="545"/>
                  <a:pt x="2198" y="545"/>
                  <a:pt x="2198" y="545"/>
                </a:cubicBezTo>
                <a:cubicBezTo>
                  <a:pt x="2199" y="545"/>
                  <a:pt x="2199" y="545"/>
                  <a:pt x="2199" y="545"/>
                </a:cubicBezTo>
                <a:cubicBezTo>
                  <a:pt x="2200" y="544"/>
                  <a:pt x="2200" y="544"/>
                  <a:pt x="2200" y="544"/>
                </a:cubicBezTo>
                <a:cubicBezTo>
                  <a:pt x="2200" y="543"/>
                  <a:pt x="2200" y="543"/>
                  <a:pt x="2200" y="543"/>
                </a:cubicBezTo>
                <a:cubicBezTo>
                  <a:pt x="2201" y="543"/>
                  <a:pt x="2201" y="543"/>
                  <a:pt x="2201" y="543"/>
                </a:cubicBezTo>
                <a:cubicBezTo>
                  <a:pt x="2202" y="542"/>
                  <a:pt x="2202" y="542"/>
                  <a:pt x="2202" y="542"/>
                </a:cubicBezTo>
                <a:cubicBezTo>
                  <a:pt x="2203" y="540"/>
                  <a:pt x="2203" y="540"/>
                  <a:pt x="2203" y="540"/>
                </a:cubicBezTo>
                <a:cubicBezTo>
                  <a:pt x="2203" y="539"/>
                  <a:pt x="2203" y="539"/>
                  <a:pt x="2203" y="539"/>
                </a:cubicBezTo>
                <a:cubicBezTo>
                  <a:pt x="2204" y="538"/>
                  <a:pt x="2204" y="538"/>
                  <a:pt x="2204" y="538"/>
                </a:cubicBezTo>
                <a:cubicBezTo>
                  <a:pt x="2204" y="537"/>
                  <a:pt x="2204" y="537"/>
                  <a:pt x="2204" y="537"/>
                </a:cubicBezTo>
                <a:cubicBezTo>
                  <a:pt x="2203" y="536"/>
                  <a:pt x="2203" y="536"/>
                  <a:pt x="2203" y="536"/>
                </a:cubicBezTo>
                <a:cubicBezTo>
                  <a:pt x="2202" y="534"/>
                  <a:pt x="2202" y="534"/>
                  <a:pt x="2202" y="534"/>
                </a:cubicBezTo>
                <a:cubicBezTo>
                  <a:pt x="2201" y="533"/>
                  <a:pt x="2201" y="533"/>
                  <a:pt x="2201" y="533"/>
                </a:cubicBezTo>
                <a:cubicBezTo>
                  <a:pt x="2201" y="530"/>
                  <a:pt x="2201" y="530"/>
                  <a:pt x="2201" y="530"/>
                </a:cubicBezTo>
                <a:cubicBezTo>
                  <a:pt x="2201" y="526"/>
                  <a:pt x="2201" y="526"/>
                  <a:pt x="2201" y="526"/>
                </a:cubicBezTo>
                <a:cubicBezTo>
                  <a:pt x="2201" y="524"/>
                  <a:pt x="2201" y="524"/>
                  <a:pt x="2201" y="524"/>
                </a:cubicBezTo>
                <a:cubicBezTo>
                  <a:pt x="2200" y="520"/>
                  <a:pt x="2200" y="520"/>
                  <a:pt x="2200" y="520"/>
                </a:cubicBezTo>
                <a:cubicBezTo>
                  <a:pt x="2199" y="518"/>
                  <a:pt x="2199" y="518"/>
                  <a:pt x="2199" y="518"/>
                </a:cubicBezTo>
                <a:cubicBezTo>
                  <a:pt x="2198" y="516"/>
                  <a:pt x="2198" y="516"/>
                  <a:pt x="2198" y="516"/>
                </a:cubicBezTo>
                <a:cubicBezTo>
                  <a:pt x="2199" y="514"/>
                  <a:pt x="2199" y="514"/>
                  <a:pt x="2199" y="514"/>
                </a:cubicBezTo>
                <a:cubicBezTo>
                  <a:pt x="2201" y="513"/>
                  <a:pt x="2201" y="513"/>
                  <a:pt x="2201" y="513"/>
                </a:cubicBezTo>
                <a:cubicBezTo>
                  <a:pt x="2202" y="513"/>
                  <a:pt x="2202" y="513"/>
                  <a:pt x="2202" y="513"/>
                </a:cubicBezTo>
                <a:cubicBezTo>
                  <a:pt x="2202" y="514"/>
                  <a:pt x="2202" y="514"/>
                  <a:pt x="2202" y="514"/>
                </a:cubicBezTo>
                <a:cubicBezTo>
                  <a:pt x="2203" y="513"/>
                  <a:pt x="2203" y="513"/>
                  <a:pt x="2203" y="513"/>
                </a:cubicBezTo>
                <a:cubicBezTo>
                  <a:pt x="2202" y="512"/>
                  <a:pt x="2202" y="512"/>
                  <a:pt x="2202" y="512"/>
                </a:cubicBezTo>
                <a:cubicBezTo>
                  <a:pt x="2202" y="511"/>
                  <a:pt x="2202" y="511"/>
                  <a:pt x="2202" y="511"/>
                </a:cubicBezTo>
                <a:cubicBezTo>
                  <a:pt x="2201" y="509"/>
                  <a:pt x="2201" y="509"/>
                  <a:pt x="2201" y="509"/>
                </a:cubicBezTo>
                <a:cubicBezTo>
                  <a:pt x="2201" y="508"/>
                  <a:pt x="2201" y="508"/>
                  <a:pt x="2201" y="508"/>
                </a:cubicBezTo>
                <a:cubicBezTo>
                  <a:pt x="2202" y="507"/>
                  <a:pt x="2202" y="507"/>
                  <a:pt x="2202" y="507"/>
                </a:cubicBezTo>
                <a:cubicBezTo>
                  <a:pt x="2202" y="506"/>
                  <a:pt x="2202" y="506"/>
                  <a:pt x="2202" y="506"/>
                </a:cubicBezTo>
                <a:cubicBezTo>
                  <a:pt x="2202" y="505"/>
                  <a:pt x="2202" y="505"/>
                  <a:pt x="2202" y="505"/>
                </a:cubicBezTo>
                <a:cubicBezTo>
                  <a:pt x="2201" y="503"/>
                  <a:pt x="2201" y="503"/>
                  <a:pt x="2201" y="503"/>
                </a:cubicBezTo>
                <a:cubicBezTo>
                  <a:pt x="2202" y="503"/>
                  <a:pt x="2202" y="503"/>
                  <a:pt x="2202" y="503"/>
                </a:cubicBezTo>
                <a:cubicBezTo>
                  <a:pt x="2201" y="502"/>
                  <a:pt x="2201" y="502"/>
                  <a:pt x="2201" y="502"/>
                </a:cubicBezTo>
                <a:cubicBezTo>
                  <a:pt x="2201" y="499"/>
                  <a:pt x="2201" y="499"/>
                  <a:pt x="2201" y="499"/>
                </a:cubicBezTo>
                <a:cubicBezTo>
                  <a:pt x="2200" y="497"/>
                  <a:pt x="2200" y="497"/>
                  <a:pt x="2200" y="497"/>
                </a:cubicBezTo>
                <a:cubicBezTo>
                  <a:pt x="2199" y="497"/>
                  <a:pt x="2199" y="497"/>
                  <a:pt x="2199" y="497"/>
                </a:cubicBezTo>
                <a:cubicBezTo>
                  <a:pt x="2198" y="497"/>
                  <a:pt x="2198" y="497"/>
                  <a:pt x="2198" y="497"/>
                </a:cubicBezTo>
                <a:cubicBezTo>
                  <a:pt x="2198" y="494"/>
                  <a:pt x="2198" y="494"/>
                  <a:pt x="2198" y="494"/>
                </a:cubicBezTo>
                <a:cubicBezTo>
                  <a:pt x="2197" y="493"/>
                  <a:pt x="2197" y="493"/>
                  <a:pt x="2197" y="493"/>
                </a:cubicBezTo>
                <a:cubicBezTo>
                  <a:pt x="2195" y="490"/>
                  <a:pt x="2195" y="490"/>
                  <a:pt x="2195" y="490"/>
                </a:cubicBezTo>
                <a:cubicBezTo>
                  <a:pt x="2194" y="489"/>
                  <a:pt x="2194" y="489"/>
                  <a:pt x="2194" y="489"/>
                </a:cubicBezTo>
                <a:cubicBezTo>
                  <a:pt x="2193" y="487"/>
                  <a:pt x="2193" y="487"/>
                  <a:pt x="2193" y="487"/>
                </a:cubicBezTo>
                <a:cubicBezTo>
                  <a:pt x="2193" y="485"/>
                  <a:pt x="2193" y="485"/>
                  <a:pt x="2193" y="485"/>
                </a:cubicBezTo>
                <a:cubicBezTo>
                  <a:pt x="2192" y="485"/>
                  <a:pt x="2192" y="485"/>
                  <a:pt x="2192" y="485"/>
                </a:cubicBezTo>
                <a:cubicBezTo>
                  <a:pt x="2191" y="484"/>
                  <a:pt x="2191" y="484"/>
                  <a:pt x="2191" y="484"/>
                </a:cubicBezTo>
                <a:cubicBezTo>
                  <a:pt x="2190" y="484"/>
                  <a:pt x="2190" y="484"/>
                  <a:pt x="2190" y="484"/>
                </a:cubicBezTo>
                <a:cubicBezTo>
                  <a:pt x="2190" y="485"/>
                  <a:pt x="2190" y="485"/>
                  <a:pt x="2190" y="485"/>
                </a:cubicBezTo>
                <a:cubicBezTo>
                  <a:pt x="2190" y="486"/>
                  <a:pt x="2190" y="486"/>
                  <a:pt x="2190" y="486"/>
                </a:cubicBezTo>
                <a:cubicBezTo>
                  <a:pt x="2190" y="487"/>
                  <a:pt x="2190" y="487"/>
                  <a:pt x="2190" y="487"/>
                </a:cubicBezTo>
                <a:cubicBezTo>
                  <a:pt x="2190" y="488"/>
                  <a:pt x="2190" y="488"/>
                  <a:pt x="2190" y="488"/>
                </a:cubicBezTo>
                <a:cubicBezTo>
                  <a:pt x="2191" y="487"/>
                  <a:pt x="2191" y="487"/>
                  <a:pt x="2191" y="487"/>
                </a:cubicBezTo>
                <a:cubicBezTo>
                  <a:pt x="2192" y="486"/>
                  <a:pt x="2192" y="486"/>
                  <a:pt x="2192" y="486"/>
                </a:cubicBezTo>
                <a:cubicBezTo>
                  <a:pt x="2193" y="488"/>
                  <a:pt x="2193" y="488"/>
                  <a:pt x="2193" y="488"/>
                </a:cubicBezTo>
                <a:cubicBezTo>
                  <a:pt x="2192" y="489"/>
                  <a:pt x="2192" y="489"/>
                  <a:pt x="2192" y="489"/>
                </a:cubicBezTo>
                <a:cubicBezTo>
                  <a:pt x="2191" y="489"/>
                  <a:pt x="2191" y="489"/>
                  <a:pt x="2191" y="489"/>
                </a:cubicBezTo>
                <a:cubicBezTo>
                  <a:pt x="2190" y="489"/>
                  <a:pt x="2190" y="489"/>
                  <a:pt x="2190" y="489"/>
                </a:cubicBezTo>
                <a:cubicBezTo>
                  <a:pt x="2191" y="490"/>
                  <a:pt x="2191" y="490"/>
                  <a:pt x="2191" y="490"/>
                </a:cubicBezTo>
                <a:cubicBezTo>
                  <a:pt x="2190" y="491"/>
                  <a:pt x="2190" y="491"/>
                  <a:pt x="2190" y="491"/>
                </a:cubicBezTo>
                <a:cubicBezTo>
                  <a:pt x="2189" y="490"/>
                  <a:pt x="2189" y="490"/>
                  <a:pt x="2189" y="490"/>
                </a:cubicBezTo>
                <a:cubicBezTo>
                  <a:pt x="2189" y="489"/>
                  <a:pt x="2189" y="489"/>
                  <a:pt x="2189" y="489"/>
                </a:cubicBezTo>
                <a:cubicBezTo>
                  <a:pt x="2189" y="488"/>
                  <a:pt x="2189" y="488"/>
                  <a:pt x="2189" y="488"/>
                </a:cubicBezTo>
                <a:cubicBezTo>
                  <a:pt x="2189" y="487"/>
                  <a:pt x="2189" y="487"/>
                  <a:pt x="2189" y="487"/>
                </a:cubicBezTo>
                <a:cubicBezTo>
                  <a:pt x="2188" y="488"/>
                  <a:pt x="2188" y="488"/>
                  <a:pt x="2188" y="488"/>
                </a:cubicBezTo>
                <a:cubicBezTo>
                  <a:pt x="2187" y="487"/>
                  <a:pt x="2187" y="487"/>
                  <a:pt x="2187" y="487"/>
                </a:cubicBezTo>
                <a:cubicBezTo>
                  <a:pt x="2187" y="488"/>
                  <a:pt x="2187" y="488"/>
                  <a:pt x="2187" y="488"/>
                </a:cubicBezTo>
                <a:cubicBezTo>
                  <a:pt x="2187" y="490"/>
                  <a:pt x="2187" y="490"/>
                  <a:pt x="2187" y="490"/>
                </a:cubicBezTo>
                <a:cubicBezTo>
                  <a:pt x="2187" y="491"/>
                  <a:pt x="2187" y="491"/>
                  <a:pt x="2187" y="491"/>
                </a:cubicBezTo>
                <a:cubicBezTo>
                  <a:pt x="2187" y="492"/>
                  <a:pt x="2187" y="492"/>
                  <a:pt x="2187" y="492"/>
                </a:cubicBezTo>
                <a:cubicBezTo>
                  <a:pt x="2186" y="493"/>
                  <a:pt x="2186" y="493"/>
                  <a:pt x="2186" y="493"/>
                </a:cubicBezTo>
                <a:cubicBezTo>
                  <a:pt x="2186" y="494"/>
                  <a:pt x="2186" y="494"/>
                  <a:pt x="2186" y="494"/>
                </a:cubicBezTo>
                <a:cubicBezTo>
                  <a:pt x="2187" y="495"/>
                  <a:pt x="2187" y="495"/>
                  <a:pt x="2187" y="495"/>
                </a:cubicBezTo>
                <a:cubicBezTo>
                  <a:pt x="2188" y="496"/>
                  <a:pt x="2188" y="496"/>
                  <a:pt x="2188" y="496"/>
                </a:cubicBezTo>
                <a:cubicBezTo>
                  <a:pt x="2187" y="498"/>
                  <a:pt x="2187" y="498"/>
                  <a:pt x="2187" y="498"/>
                </a:cubicBezTo>
                <a:cubicBezTo>
                  <a:pt x="2186" y="498"/>
                  <a:pt x="2186" y="498"/>
                  <a:pt x="2186" y="498"/>
                </a:cubicBezTo>
                <a:cubicBezTo>
                  <a:pt x="2185" y="499"/>
                  <a:pt x="2185" y="499"/>
                  <a:pt x="2185" y="499"/>
                </a:cubicBezTo>
                <a:cubicBezTo>
                  <a:pt x="2186" y="500"/>
                  <a:pt x="2186" y="500"/>
                  <a:pt x="2186" y="500"/>
                </a:cubicBezTo>
                <a:cubicBezTo>
                  <a:pt x="2187" y="500"/>
                  <a:pt x="2187" y="500"/>
                  <a:pt x="2187" y="500"/>
                </a:cubicBezTo>
                <a:cubicBezTo>
                  <a:pt x="2188" y="499"/>
                  <a:pt x="2188" y="499"/>
                  <a:pt x="2188" y="499"/>
                </a:cubicBezTo>
                <a:cubicBezTo>
                  <a:pt x="2189" y="502"/>
                  <a:pt x="2189" y="502"/>
                  <a:pt x="2189" y="502"/>
                </a:cubicBezTo>
                <a:cubicBezTo>
                  <a:pt x="2190" y="505"/>
                  <a:pt x="2190" y="505"/>
                  <a:pt x="2190" y="505"/>
                </a:cubicBezTo>
                <a:cubicBezTo>
                  <a:pt x="2189" y="506"/>
                  <a:pt x="2189" y="506"/>
                  <a:pt x="2189" y="506"/>
                </a:cubicBezTo>
                <a:cubicBezTo>
                  <a:pt x="2190" y="509"/>
                  <a:pt x="2190" y="509"/>
                  <a:pt x="2190" y="509"/>
                </a:cubicBezTo>
                <a:cubicBezTo>
                  <a:pt x="2188" y="514"/>
                  <a:pt x="2188" y="514"/>
                  <a:pt x="2188" y="514"/>
                </a:cubicBezTo>
                <a:cubicBezTo>
                  <a:pt x="2189" y="515"/>
                  <a:pt x="2189" y="515"/>
                  <a:pt x="2189" y="515"/>
                </a:cubicBezTo>
                <a:cubicBezTo>
                  <a:pt x="2188" y="517"/>
                  <a:pt x="2188" y="517"/>
                  <a:pt x="2188" y="517"/>
                </a:cubicBezTo>
                <a:cubicBezTo>
                  <a:pt x="2187" y="518"/>
                  <a:pt x="2187" y="518"/>
                  <a:pt x="2187" y="518"/>
                </a:cubicBezTo>
                <a:cubicBezTo>
                  <a:pt x="2186" y="520"/>
                  <a:pt x="2186" y="520"/>
                  <a:pt x="2186" y="520"/>
                </a:cubicBezTo>
                <a:cubicBezTo>
                  <a:pt x="2186" y="522"/>
                  <a:pt x="2186" y="522"/>
                  <a:pt x="2186" y="522"/>
                </a:cubicBezTo>
                <a:cubicBezTo>
                  <a:pt x="2185" y="523"/>
                  <a:pt x="2185" y="523"/>
                  <a:pt x="2185" y="523"/>
                </a:cubicBezTo>
                <a:cubicBezTo>
                  <a:pt x="2185" y="524"/>
                  <a:pt x="2185" y="524"/>
                  <a:pt x="2185" y="524"/>
                </a:cubicBezTo>
                <a:cubicBezTo>
                  <a:pt x="2184" y="526"/>
                  <a:pt x="2184" y="526"/>
                  <a:pt x="2184" y="526"/>
                </a:cubicBezTo>
                <a:cubicBezTo>
                  <a:pt x="2181" y="528"/>
                  <a:pt x="2181" y="528"/>
                  <a:pt x="2181" y="528"/>
                </a:cubicBezTo>
                <a:cubicBezTo>
                  <a:pt x="2180" y="528"/>
                  <a:pt x="2180" y="528"/>
                  <a:pt x="2180" y="528"/>
                </a:cubicBezTo>
                <a:cubicBezTo>
                  <a:pt x="2179" y="529"/>
                  <a:pt x="2179" y="529"/>
                  <a:pt x="2179" y="529"/>
                </a:cubicBezTo>
                <a:cubicBezTo>
                  <a:pt x="2177" y="528"/>
                  <a:pt x="2177" y="528"/>
                  <a:pt x="2177" y="528"/>
                </a:cubicBezTo>
                <a:cubicBezTo>
                  <a:pt x="2176" y="527"/>
                  <a:pt x="2176" y="527"/>
                  <a:pt x="2176" y="527"/>
                </a:cubicBezTo>
                <a:cubicBezTo>
                  <a:pt x="2176" y="526"/>
                  <a:pt x="2176" y="526"/>
                  <a:pt x="2176" y="526"/>
                </a:cubicBezTo>
                <a:cubicBezTo>
                  <a:pt x="2177" y="525"/>
                  <a:pt x="2177" y="525"/>
                  <a:pt x="2177" y="525"/>
                </a:cubicBezTo>
                <a:cubicBezTo>
                  <a:pt x="2177" y="524"/>
                  <a:pt x="2177" y="524"/>
                  <a:pt x="2177" y="524"/>
                </a:cubicBezTo>
                <a:cubicBezTo>
                  <a:pt x="2178" y="523"/>
                  <a:pt x="2178" y="523"/>
                  <a:pt x="2178" y="523"/>
                </a:cubicBezTo>
                <a:cubicBezTo>
                  <a:pt x="2176" y="523"/>
                  <a:pt x="2176" y="523"/>
                  <a:pt x="2176" y="523"/>
                </a:cubicBezTo>
                <a:cubicBezTo>
                  <a:pt x="2175" y="524"/>
                  <a:pt x="2175" y="524"/>
                  <a:pt x="2175" y="524"/>
                </a:cubicBezTo>
                <a:cubicBezTo>
                  <a:pt x="2174" y="524"/>
                  <a:pt x="2174" y="524"/>
                  <a:pt x="2174" y="524"/>
                </a:cubicBezTo>
                <a:cubicBezTo>
                  <a:pt x="2174" y="526"/>
                  <a:pt x="2174" y="526"/>
                  <a:pt x="2174" y="526"/>
                </a:cubicBezTo>
                <a:cubicBezTo>
                  <a:pt x="2175" y="527"/>
                  <a:pt x="2175" y="527"/>
                  <a:pt x="2175" y="527"/>
                </a:cubicBezTo>
                <a:cubicBezTo>
                  <a:pt x="2175" y="530"/>
                  <a:pt x="2175" y="530"/>
                  <a:pt x="2175" y="530"/>
                </a:cubicBezTo>
                <a:cubicBezTo>
                  <a:pt x="2175" y="532"/>
                  <a:pt x="2175" y="532"/>
                  <a:pt x="2175" y="532"/>
                </a:cubicBezTo>
                <a:cubicBezTo>
                  <a:pt x="2173" y="533"/>
                  <a:pt x="2173" y="533"/>
                  <a:pt x="2173" y="533"/>
                </a:cubicBezTo>
                <a:cubicBezTo>
                  <a:pt x="2173" y="534"/>
                  <a:pt x="2173" y="534"/>
                  <a:pt x="2173" y="534"/>
                </a:cubicBezTo>
                <a:cubicBezTo>
                  <a:pt x="2172" y="537"/>
                  <a:pt x="2172" y="537"/>
                  <a:pt x="2172" y="537"/>
                </a:cubicBezTo>
                <a:cubicBezTo>
                  <a:pt x="2173" y="537"/>
                  <a:pt x="2173" y="537"/>
                  <a:pt x="2173" y="537"/>
                </a:cubicBezTo>
                <a:cubicBezTo>
                  <a:pt x="2173" y="538"/>
                  <a:pt x="2173" y="538"/>
                  <a:pt x="2173" y="538"/>
                </a:cubicBezTo>
                <a:cubicBezTo>
                  <a:pt x="2173" y="539"/>
                  <a:pt x="2173" y="539"/>
                  <a:pt x="2173" y="539"/>
                </a:cubicBezTo>
                <a:cubicBezTo>
                  <a:pt x="2173" y="540"/>
                  <a:pt x="2173" y="540"/>
                  <a:pt x="2173" y="540"/>
                </a:cubicBezTo>
                <a:cubicBezTo>
                  <a:pt x="2172" y="540"/>
                  <a:pt x="2172" y="540"/>
                  <a:pt x="2172" y="540"/>
                </a:cubicBezTo>
                <a:cubicBezTo>
                  <a:pt x="2172" y="541"/>
                  <a:pt x="2172" y="541"/>
                  <a:pt x="2172" y="541"/>
                </a:cubicBezTo>
                <a:cubicBezTo>
                  <a:pt x="2171" y="540"/>
                  <a:pt x="2171" y="540"/>
                  <a:pt x="2171" y="540"/>
                </a:cubicBezTo>
                <a:cubicBezTo>
                  <a:pt x="2170" y="541"/>
                  <a:pt x="2170" y="541"/>
                  <a:pt x="2170" y="541"/>
                </a:cubicBezTo>
                <a:cubicBezTo>
                  <a:pt x="2169" y="541"/>
                  <a:pt x="2169" y="541"/>
                  <a:pt x="2169" y="541"/>
                </a:cubicBezTo>
                <a:cubicBezTo>
                  <a:pt x="2169" y="539"/>
                  <a:pt x="2169" y="539"/>
                  <a:pt x="2169" y="539"/>
                </a:cubicBezTo>
                <a:cubicBezTo>
                  <a:pt x="2168" y="540"/>
                  <a:pt x="2168" y="540"/>
                  <a:pt x="2168" y="540"/>
                </a:cubicBezTo>
                <a:cubicBezTo>
                  <a:pt x="2167" y="540"/>
                  <a:pt x="2167" y="540"/>
                  <a:pt x="2167" y="540"/>
                </a:cubicBezTo>
                <a:cubicBezTo>
                  <a:pt x="2164" y="540"/>
                  <a:pt x="2164" y="540"/>
                  <a:pt x="2164" y="540"/>
                </a:cubicBezTo>
                <a:cubicBezTo>
                  <a:pt x="2163" y="541"/>
                  <a:pt x="2163" y="541"/>
                  <a:pt x="2163" y="541"/>
                </a:cubicBezTo>
                <a:cubicBezTo>
                  <a:pt x="2161" y="542"/>
                  <a:pt x="2161" y="542"/>
                  <a:pt x="2161" y="542"/>
                </a:cubicBezTo>
                <a:cubicBezTo>
                  <a:pt x="2160" y="542"/>
                  <a:pt x="2160" y="542"/>
                  <a:pt x="2160" y="542"/>
                </a:cubicBezTo>
                <a:cubicBezTo>
                  <a:pt x="2158" y="542"/>
                  <a:pt x="2158" y="542"/>
                  <a:pt x="2158" y="542"/>
                </a:cubicBezTo>
                <a:cubicBezTo>
                  <a:pt x="2156" y="542"/>
                  <a:pt x="2156" y="542"/>
                  <a:pt x="2156" y="542"/>
                </a:cubicBezTo>
                <a:cubicBezTo>
                  <a:pt x="2154" y="544"/>
                  <a:pt x="2154" y="544"/>
                  <a:pt x="2154" y="544"/>
                </a:cubicBezTo>
                <a:cubicBezTo>
                  <a:pt x="2153" y="545"/>
                  <a:pt x="2153" y="545"/>
                  <a:pt x="2153" y="545"/>
                </a:cubicBezTo>
                <a:cubicBezTo>
                  <a:pt x="2153" y="546"/>
                  <a:pt x="2153" y="546"/>
                  <a:pt x="2153" y="546"/>
                </a:cubicBezTo>
                <a:cubicBezTo>
                  <a:pt x="2152" y="547"/>
                  <a:pt x="2152" y="547"/>
                  <a:pt x="2152" y="547"/>
                </a:cubicBezTo>
                <a:cubicBezTo>
                  <a:pt x="2151" y="548"/>
                  <a:pt x="2151" y="548"/>
                  <a:pt x="2151" y="548"/>
                </a:cubicBezTo>
                <a:cubicBezTo>
                  <a:pt x="2150" y="549"/>
                  <a:pt x="2150" y="549"/>
                  <a:pt x="2150" y="549"/>
                </a:cubicBezTo>
                <a:cubicBezTo>
                  <a:pt x="2149" y="550"/>
                  <a:pt x="2149" y="550"/>
                  <a:pt x="2149" y="550"/>
                </a:cubicBezTo>
                <a:cubicBezTo>
                  <a:pt x="2148" y="551"/>
                  <a:pt x="2148" y="551"/>
                  <a:pt x="2148" y="551"/>
                </a:cubicBezTo>
                <a:cubicBezTo>
                  <a:pt x="2148" y="552"/>
                  <a:pt x="2148" y="552"/>
                  <a:pt x="2148" y="552"/>
                </a:cubicBezTo>
                <a:cubicBezTo>
                  <a:pt x="2146" y="552"/>
                  <a:pt x="2146" y="552"/>
                  <a:pt x="2146" y="552"/>
                </a:cubicBezTo>
                <a:cubicBezTo>
                  <a:pt x="2145" y="553"/>
                  <a:pt x="2145" y="553"/>
                  <a:pt x="2145" y="553"/>
                </a:cubicBezTo>
                <a:cubicBezTo>
                  <a:pt x="2146" y="555"/>
                  <a:pt x="2146" y="555"/>
                  <a:pt x="2146" y="555"/>
                </a:cubicBezTo>
                <a:cubicBezTo>
                  <a:pt x="2146" y="556"/>
                  <a:pt x="2146" y="556"/>
                  <a:pt x="2146" y="556"/>
                </a:cubicBezTo>
                <a:cubicBezTo>
                  <a:pt x="2146" y="557"/>
                  <a:pt x="2146" y="557"/>
                  <a:pt x="2146" y="557"/>
                </a:cubicBezTo>
                <a:cubicBezTo>
                  <a:pt x="2145" y="557"/>
                  <a:pt x="2145" y="557"/>
                  <a:pt x="2145" y="557"/>
                </a:cubicBezTo>
                <a:cubicBezTo>
                  <a:pt x="2144" y="558"/>
                  <a:pt x="2144" y="558"/>
                  <a:pt x="2144" y="558"/>
                </a:cubicBezTo>
                <a:cubicBezTo>
                  <a:pt x="2143" y="559"/>
                  <a:pt x="2143" y="559"/>
                  <a:pt x="2143" y="559"/>
                </a:cubicBezTo>
                <a:cubicBezTo>
                  <a:pt x="2141" y="561"/>
                  <a:pt x="2141" y="561"/>
                  <a:pt x="2141" y="561"/>
                </a:cubicBezTo>
                <a:cubicBezTo>
                  <a:pt x="2140" y="562"/>
                  <a:pt x="2140" y="562"/>
                  <a:pt x="2140" y="562"/>
                </a:cubicBezTo>
                <a:cubicBezTo>
                  <a:pt x="2140" y="563"/>
                  <a:pt x="2140" y="563"/>
                  <a:pt x="2140" y="563"/>
                </a:cubicBezTo>
                <a:cubicBezTo>
                  <a:pt x="2141" y="565"/>
                  <a:pt x="2141" y="565"/>
                  <a:pt x="2141" y="565"/>
                </a:cubicBezTo>
                <a:cubicBezTo>
                  <a:pt x="2140" y="564"/>
                  <a:pt x="2140" y="564"/>
                  <a:pt x="2140" y="564"/>
                </a:cubicBezTo>
                <a:cubicBezTo>
                  <a:pt x="2140" y="563"/>
                  <a:pt x="2140" y="563"/>
                  <a:pt x="2140" y="563"/>
                </a:cubicBezTo>
                <a:cubicBezTo>
                  <a:pt x="2139" y="564"/>
                  <a:pt x="2139" y="564"/>
                  <a:pt x="2139" y="564"/>
                </a:cubicBezTo>
                <a:cubicBezTo>
                  <a:pt x="2140" y="566"/>
                  <a:pt x="2140" y="566"/>
                  <a:pt x="2140" y="566"/>
                </a:cubicBezTo>
                <a:cubicBezTo>
                  <a:pt x="2141" y="566"/>
                  <a:pt x="2141" y="566"/>
                  <a:pt x="2141" y="566"/>
                </a:cubicBezTo>
                <a:cubicBezTo>
                  <a:pt x="2142" y="566"/>
                  <a:pt x="2142" y="566"/>
                  <a:pt x="2142" y="566"/>
                </a:cubicBezTo>
                <a:cubicBezTo>
                  <a:pt x="2143" y="566"/>
                  <a:pt x="2143" y="566"/>
                  <a:pt x="2143" y="566"/>
                </a:cubicBezTo>
                <a:cubicBezTo>
                  <a:pt x="2142" y="567"/>
                  <a:pt x="2142" y="567"/>
                  <a:pt x="2142" y="567"/>
                </a:cubicBezTo>
                <a:cubicBezTo>
                  <a:pt x="2143" y="567"/>
                  <a:pt x="2143" y="567"/>
                  <a:pt x="2143" y="567"/>
                </a:cubicBezTo>
                <a:cubicBezTo>
                  <a:pt x="2144" y="567"/>
                  <a:pt x="2144" y="567"/>
                  <a:pt x="2144" y="567"/>
                </a:cubicBezTo>
                <a:cubicBezTo>
                  <a:pt x="2144" y="566"/>
                  <a:pt x="2144" y="566"/>
                  <a:pt x="2144" y="566"/>
                </a:cubicBezTo>
                <a:cubicBezTo>
                  <a:pt x="2143" y="565"/>
                  <a:pt x="2143" y="565"/>
                  <a:pt x="2143" y="565"/>
                </a:cubicBezTo>
                <a:cubicBezTo>
                  <a:pt x="2142" y="565"/>
                  <a:pt x="2142" y="565"/>
                  <a:pt x="2142" y="565"/>
                </a:cubicBezTo>
                <a:cubicBezTo>
                  <a:pt x="2142" y="564"/>
                  <a:pt x="2142" y="564"/>
                  <a:pt x="2142" y="564"/>
                </a:cubicBezTo>
                <a:cubicBezTo>
                  <a:pt x="2142" y="563"/>
                  <a:pt x="2142" y="563"/>
                  <a:pt x="2142" y="563"/>
                </a:cubicBezTo>
                <a:cubicBezTo>
                  <a:pt x="2143" y="563"/>
                  <a:pt x="2143" y="563"/>
                  <a:pt x="2143" y="563"/>
                </a:cubicBezTo>
                <a:cubicBezTo>
                  <a:pt x="2144" y="563"/>
                  <a:pt x="2144" y="563"/>
                  <a:pt x="2144" y="563"/>
                </a:cubicBezTo>
                <a:cubicBezTo>
                  <a:pt x="2145" y="565"/>
                  <a:pt x="2145" y="565"/>
                  <a:pt x="2145" y="565"/>
                </a:cubicBezTo>
                <a:cubicBezTo>
                  <a:pt x="2145" y="566"/>
                  <a:pt x="2145" y="566"/>
                  <a:pt x="2145" y="566"/>
                </a:cubicBezTo>
                <a:cubicBezTo>
                  <a:pt x="2145" y="567"/>
                  <a:pt x="2145" y="567"/>
                  <a:pt x="2145" y="567"/>
                </a:cubicBezTo>
                <a:cubicBezTo>
                  <a:pt x="2145" y="568"/>
                  <a:pt x="2145" y="568"/>
                  <a:pt x="2145" y="568"/>
                </a:cubicBezTo>
                <a:cubicBezTo>
                  <a:pt x="2145" y="569"/>
                  <a:pt x="2145" y="569"/>
                  <a:pt x="2145" y="569"/>
                </a:cubicBezTo>
                <a:cubicBezTo>
                  <a:pt x="2145" y="571"/>
                  <a:pt x="2145" y="571"/>
                  <a:pt x="2145" y="571"/>
                </a:cubicBezTo>
                <a:cubicBezTo>
                  <a:pt x="2144" y="571"/>
                  <a:pt x="2144" y="571"/>
                  <a:pt x="2144" y="571"/>
                </a:cubicBezTo>
                <a:cubicBezTo>
                  <a:pt x="2143" y="570"/>
                  <a:pt x="2143" y="570"/>
                  <a:pt x="2143" y="570"/>
                </a:cubicBezTo>
                <a:cubicBezTo>
                  <a:pt x="2143" y="571"/>
                  <a:pt x="2143" y="571"/>
                  <a:pt x="2143" y="571"/>
                </a:cubicBezTo>
                <a:cubicBezTo>
                  <a:pt x="2144" y="572"/>
                  <a:pt x="2144" y="572"/>
                  <a:pt x="2144" y="572"/>
                </a:cubicBezTo>
                <a:cubicBezTo>
                  <a:pt x="2145" y="573"/>
                  <a:pt x="2145" y="573"/>
                  <a:pt x="2145" y="573"/>
                </a:cubicBezTo>
                <a:cubicBezTo>
                  <a:pt x="2145" y="576"/>
                  <a:pt x="2145" y="576"/>
                  <a:pt x="2145" y="576"/>
                </a:cubicBezTo>
                <a:cubicBezTo>
                  <a:pt x="2146" y="577"/>
                  <a:pt x="2146" y="577"/>
                  <a:pt x="2146" y="577"/>
                </a:cubicBezTo>
                <a:cubicBezTo>
                  <a:pt x="2146" y="578"/>
                  <a:pt x="2146" y="578"/>
                  <a:pt x="2146" y="578"/>
                </a:cubicBezTo>
                <a:cubicBezTo>
                  <a:pt x="2146" y="579"/>
                  <a:pt x="2146" y="579"/>
                  <a:pt x="2146" y="579"/>
                </a:cubicBezTo>
                <a:cubicBezTo>
                  <a:pt x="2146" y="580"/>
                  <a:pt x="2146" y="580"/>
                  <a:pt x="2146" y="580"/>
                </a:cubicBezTo>
                <a:cubicBezTo>
                  <a:pt x="2147" y="579"/>
                  <a:pt x="2147" y="579"/>
                  <a:pt x="2147" y="579"/>
                </a:cubicBezTo>
                <a:cubicBezTo>
                  <a:pt x="2148" y="580"/>
                  <a:pt x="2148" y="580"/>
                  <a:pt x="2148" y="580"/>
                </a:cubicBezTo>
                <a:cubicBezTo>
                  <a:pt x="2149" y="579"/>
                  <a:pt x="2149" y="579"/>
                  <a:pt x="2149" y="579"/>
                </a:cubicBezTo>
                <a:cubicBezTo>
                  <a:pt x="2148" y="577"/>
                  <a:pt x="2148" y="577"/>
                  <a:pt x="2148" y="577"/>
                </a:cubicBezTo>
                <a:close/>
                <a:moveTo>
                  <a:pt x="2214" y="462"/>
                </a:moveTo>
                <a:cubicBezTo>
                  <a:pt x="2213" y="463"/>
                  <a:pt x="2213" y="463"/>
                  <a:pt x="2213" y="463"/>
                </a:cubicBezTo>
                <a:cubicBezTo>
                  <a:pt x="2214" y="463"/>
                  <a:pt x="2214" y="463"/>
                  <a:pt x="2214" y="463"/>
                </a:cubicBezTo>
                <a:cubicBezTo>
                  <a:pt x="2214" y="462"/>
                  <a:pt x="2214" y="462"/>
                  <a:pt x="2214" y="462"/>
                </a:cubicBezTo>
                <a:close/>
                <a:moveTo>
                  <a:pt x="2170" y="551"/>
                </a:moveTo>
                <a:cubicBezTo>
                  <a:pt x="2170" y="550"/>
                  <a:pt x="2170" y="550"/>
                  <a:pt x="2170" y="550"/>
                </a:cubicBezTo>
                <a:cubicBezTo>
                  <a:pt x="2170" y="549"/>
                  <a:pt x="2170" y="549"/>
                  <a:pt x="2170" y="549"/>
                </a:cubicBezTo>
                <a:cubicBezTo>
                  <a:pt x="2169" y="550"/>
                  <a:pt x="2169" y="550"/>
                  <a:pt x="2169" y="550"/>
                </a:cubicBezTo>
                <a:cubicBezTo>
                  <a:pt x="2169" y="551"/>
                  <a:pt x="2169" y="551"/>
                  <a:pt x="2169" y="551"/>
                </a:cubicBezTo>
                <a:cubicBezTo>
                  <a:pt x="2169" y="552"/>
                  <a:pt x="2169" y="552"/>
                  <a:pt x="2169" y="552"/>
                </a:cubicBezTo>
                <a:cubicBezTo>
                  <a:pt x="2170" y="552"/>
                  <a:pt x="2170" y="552"/>
                  <a:pt x="2170" y="552"/>
                </a:cubicBezTo>
                <a:cubicBezTo>
                  <a:pt x="2170" y="551"/>
                  <a:pt x="2170" y="551"/>
                  <a:pt x="2170" y="551"/>
                </a:cubicBezTo>
                <a:close/>
                <a:moveTo>
                  <a:pt x="2166" y="550"/>
                </a:moveTo>
                <a:cubicBezTo>
                  <a:pt x="2165" y="551"/>
                  <a:pt x="2165" y="551"/>
                  <a:pt x="2165" y="551"/>
                </a:cubicBezTo>
                <a:cubicBezTo>
                  <a:pt x="2166" y="552"/>
                  <a:pt x="2166" y="552"/>
                  <a:pt x="2166" y="552"/>
                </a:cubicBezTo>
                <a:cubicBezTo>
                  <a:pt x="2167" y="551"/>
                  <a:pt x="2167" y="551"/>
                  <a:pt x="2167" y="551"/>
                </a:cubicBezTo>
                <a:cubicBezTo>
                  <a:pt x="2166" y="550"/>
                  <a:pt x="2166" y="550"/>
                  <a:pt x="2166" y="550"/>
                </a:cubicBezTo>
                <a:close/>
                <a:moveTo>
                  <a:pt x="2134" y="567"/>
                </a:moveTo>
                <a:cubicBezTo>
                  <a:pt x="2134" y="568"/>
                  <a:pt x="2134" y="568"/>
                  <a:pt x="2134" y="568"/>
                </a:cubicBezTo>
                <a:cubicBezTo>
                  <a:pt x="2135" y="568"/>
                  <a:pt x="2135" y="568"/>
                  <a:pt x="2135" y="568"/>
                </a:cubicBezTo>
                <a:cubicBezTo>
                  <a:pt x="2136" y="568"/>
                  <a:pt x="2136" y="568"/>
                  <a:pt x="2136" y="568"/>
                </a:cubicBezTo>
                <a:cubicBezTo>
                  <a:pt x="2135" y="567"/>
                  <a:pt x="2135" y="567"/>
                  <a:pt x="2135" y="567"/>
                </a:cubicBezTo>
                <a:cubicBezTo>
                  <a:pt x="2135" y="566"/>
                  <a:pt x="2135" y="566"/>
                  <a:pt x="2135" y="566"/>
                </a:cubicBezTo>
                <a:cubicBezTo>
                  <a:pt x="2134" y="566"/>
                  <a:pt x="2134" y="566"/>
                  <a:pt x="2134" y="566"/>
                </a:cubicBezTo>
                <a:cubicBezTo>
                  <a:pt x="2134" y="567"/>
                  <a:pt x="2134" y="567"/>
                  <a:pt x="2134" y="567"/>
                </a:cubicBezTo>
                <a:close/>
                <a:moveTo>
                  <a:pt x="2145" y="602"/>
                </a:moveTo>
                <a:cubicBezTo>
                  <a:pt x="2144" y="603"/>
                  <a:pt x="2144" y="603"/>
                  <a:pt x="2144" y="603"/>
                </a:cubicBezTo>
                <a:cubicBezTo>
                  <a:pt x="2143" y="603"/>
                  <a:pt x="2143" y="603"/>
                  <a:pt x="2143" y="603"/>
                </a:cubicBezTo>
                <a:cubicBezTo>
                  <a:pt x="2144" y="604"/>
                  <a:pt x="2144" y="604"/>
                  <a:pt x="2144" y="604"/>
                </a:cubicBezTo>
                <a:cubicBezTo>
                  <a:pt x="2145" y="604"/>
                  <a:pt x="2145" y="604"/>
                  <a:pt x="2145" y="604"/>
                </a:cubicBezTo>
                <a:cubicBezTo>
                  <a:pt x="2146" y="603"/>
                  <a:pt x="2146" y="603"/>
                  <a:pt x="2146" y="603"/>
                </a:cubicBezTo>
                <a:cubicBezTo>
                  <a:pt x="2147" y="602"/>
                  <a:pt x="2147" y="602"/>
                  <a:pt x="2147" y="602"/>
                </a:cubicBezTo>
                <a:cubicBezTo>
                  <a:pt x="2147" y="601"/>
                  <a:pt x="2147" y="601"/>
                  <a:pt x="2147" y="601"/>
                </a:cubicBezTo>
                <a:cubicBezTo>
                  <a:pt x="2146" y="601"/>
                  <a:pt x="2146" y="601"/>
                  <a:pt x="2146" y="601"/>
                </a:cubicBezTo>
                <a:cubicBezTo>
                  <a:pt x="2145" y="602"/>
                  <a:pt x="2145" y="602"/>
                  <a:pt x="2145" y="602"/>
                </a:cubicBezTo>
                <a:close/>
                <a:moveTo>
                  <a:pt x="2142" y="607"/>
                </a:moveTo>
                <a:cubicBezTo>
                  <a:pt x="2142" y="608"/>
                  <a:pt x="2142" y="608"/>
                  <a:pt x="2142" y="608"/>
                </a:cubicBezTo>
                <a:cubicBezTo>
                  <a:pt x="2143" y="608"/>
                  <a:pt x="2143" y="608"/>
                  <a:pt x="2143" y="608"/>
                </a:cubicBezTo>
                <a:cubicBezTo>
                  <a:pt x="2144" y="608"/>
                  <a:pt x="2144" y="608"/>
                  <a:pt x="2144" y="608"/>
                </a:cubicBezTo>
                <a:cubicBezTo>
                  <a:pt x="2143" y="607"/>
                  <a:pt x="2143" y="607"/>
                  <a:pt x="2143" y="607"/>
                </a:cubicBezTo>
                <a:cubicBezTo>
                  <a:pt x="2143" y="606"/>
                  <a:pt x="2143" y="606"/>
                  <a:pt x="2143" y="606"/>
                </a:cubicBezTo>
                <a:cubicBezTo>
                  <a:pt x="2142" y="607"/>
                  <a:pt x="2142" y="607"/>
                  <a:pt x="2142" y="607"/>
                </a:cubicBezTo>
                <a:close/>
                <a:moveTo>
                  <a:pt x="2139" y="615"/>
                </a:moveTo>
                <a:cubicBezTo>
                  <a:pt x="2137" y="616"/>
                  <a:pt x="2137" y="616"/>
                  <a:pt x="2137" y="616"/>
                </a:cubicBezTo>
                <a:cubicBezTo>
                  <a:pt x="2138" y="616"/>
                  <a:pt x="2138" y="616"/>
                  <a:pt x="2138" y="616"/>
                </a:cubicBezTo>
                <a:cubicBezTo>
                  <a:pt x="2138" y="617"/>
                  <a:pt x="2138" y="617"/>
                  <a:pt x="2138" y="617"/>
                </a:cubicBezTo>
                <a:cubicBezTo>
                  <a:pt x="2136" y="617"/>
                  <a:pt x="2136" y="617"/>
                  <a:pt x="2136" y="617"/>
                </a:cubicBezTo>
                <a:cubicBezTo>
                  <a:pt x="2137" y="619"/>
                  <a:pt x="2137" y="619"/>
                  <a:pt x="2137" y="619"/>
                </a:cubicBezTo>
                <a:cubicBezTo>
                  <a:pt x="2138" y="619"/>
                  <a:pt x="2138" y="619"/>
                  <a:pt x="2138" y="619"/>
                </a:cubicBezTo>
                <a:cubicBezTo>
                  <a:pt x="2138" y="618"/>
                  <a:pt x="2138" y="618"/>
                  <a:pt x="2138" y="618"/>
                </a:cubicBezTo>
                <a:cubicBezTo>
                  <a:pt x="2139" y="617"/>
                  <a:pt x="2139" y="617"/>
                  <a:pt x="2139" y="617"/>
                </a:cubicBezTo>
                <a:cubicBezTo>
                  <a:pt x="2139" y="616"/>
                  <a:pt x="2139" y="616"/>
                  <a:pt x="2139" y="616"/>
                </a:cubicBezTo>
                <a:cubicBezTo>
                  <a:pt x="2140" y="615"/>
                  <a:pt x="2140" y="615"/>
                  <a:pt x="2140" y="615"/>
                </a:cubicBezTo>
                <a:cubicBezTo>
                  <a:pt x="2139" y="614"/>
                  <a:pt x="2139" y="614"/>
                  <a:pt x="2139" y="614"/>
                </a:cubicBezTo>
                <a:cubicBezTo>
                  <a:pt x="2139" y="615"/>
                  <a:pt x="2139" y="615"/>
                  <a:pt x="2139" y="615"/>
                </a:cubicBezTo>
                <a:close/>
                <a:moveTo>
                  <a:pt x="2117" y="634"/>
                </a:moveTo>
                <a:cubicBezTo>
                  <a:pt x="2118" y="635"/>
                  <a:pt x="2118" y="635"/>
                  <a:pt x="2118" y="635"/>
                </a:cubicBezTo>
                <a:cubicBezTo>
                  <a:pt x="2119" y="634"/>
                  <a:pt x="2119" y="634"/>
                  <a:pt x="2119" y="634"/>
                </a:cubicBezTo>
                <a:cubicBezTo>
                  <a:pt x="2118" y="634"/>
                  <a:pt x="2118" y="634"/>
                  <a:pt x="2118" y="634"/>
                </a:cubicBezTo>
                <a:cubicBezTo>
                  <a:pt x="2117" y="634"/>
                  <a:pt x="2117" y="634"/>
                  <a:pt x="2117" y="634"/>
                </a:cubicBezTo>
                <a:close/>
                <a:moveTo>
                  <a:pt x="2168" y="558"/>
                </a:moveTo>
                <a:cubicBezTo>
                  <a:pt x="2170" y="556"/>
                  <a:pt x="2170" y="556"/>
                  <a:pt x="2170" y="556"/>
                </a:cubicBezTo>
                <a:cubicBezTo>
                  <a:pt x="2170" y="555"/>
                  <a:pt x="2170" y="555"/>
                  <a:pt x="2170" y="555"/>
                </a:cubicBezTo>
                <a:cubicBezTo>
                  <a:pt x="2169" y="555"/>
                  <a:pt x="2169" y="555"/>
                  <a:pt x="2169" y="555"/>
                </a:cubicBezTo>
                <a:cubicBezTo>
                  <a:pt x="2169" y="554"/>
                  <a:pt x="2169" y="554"/>
                  <a:pt x="2169" y="554"/>
                </a:cubicBezTo>
                <a:cubicBezTo>
                  <a:pt x="2168" y="553"/>
                  <a:pt x="2168" y="553"/>
                  <a:pt x="2168" y="553"/>
                </a:cubicBezTo>
                <a:cubicBezTo>
                  <a:pt x="2167" y="553"/>
                  <a:pt x="2167" y="553"/>
                  <a:pt x="2167" y="553"/>
                </a:cubicBezTo>
                <a:cubicBezTo>
                  <a:pt x="2166" y="552"/>
                  <a:pt x="2166" y="552"/>
                  <a:pt x="2166" y="552"/>
                </a:cubicBezTo>
                <a:cubicBezTo>
                  <a:pt x="2164" y="552"/>
                  <a:pt x="2164" y="552"/>
                  <a:pt x="2164" y="552"/>
                </a:cubicBezTo>
                <a:cubicBezTo>
                  <a:pt x="2163" y="553"/>
                  <a:pt x="2163" y="553"/>
                  <a:pt x="2163" y="553"/>
                </a:cubicBezTo>
                <a:cubicBezTo>
                  <a:pt x="2163" y="554"/>
                  <a:pt x="2163" y="554"/>
                  <a:pt x="2163" y="554"/>
                </a:cubicBezTo>
                <a:cubicBezTo>
                  <a:pt x="2162" y="555"/>
                  <a:pt x="2162" y="555"/>
                  <a:pt x="2162" y="555"/>
                </a:cubicBezTo>
                <a:cubicBezTo>
                  <a:pt x="2161" y="556"/>
                  <a:pt x="2161" y="556"/>
                  <a:pt x="2161" y="556"/>
                </a:cubicBezTo>
                <a:cubicBezTo>
                  <a:pt x="2160" y="556"/>
                  <a:pt x="2160" y="556"/>
                  <a:pt x="2160" y="556"/>
                </a:cubicBezTo>
                <a:cubicBezTo>
                  <a:pt x="2159" y="556"/>
                  <a:pt x="2159" y="556"/>
                  <a:pt x="2159" y="556"/>
                </a:cubicBezTo>
                <a:cubicBezTo>
                  <a:pt x="2159" y="554"/>
                  <a:pt x="2159" y="554"/>
                  <a:pt x="2159" y="554"/>
                </a:cubicBezTo>
                <a:cubicBezTo>
                  <a:pt x="2158" y="554"/>
                  <a:pt x="2158" y="554"/>
                  <a:pt x="2158" y="554"/>
                </a:cubicBezTo>
                <a:cubicBezTo>
                  <a:pt x="2156" y="556"/>
                  <a:pt x="2156" y="556"/>
                  <a:pt x="2156" y="556"/>
                </a:cubicBezTo>
                <a:cubicBezTo>
                  <a:pt x="2156" y="557"/>
                  <a:pt x="2156" y="557"/>
                  <a:pt x="2156" y="557"/>
                </a:cubicBezTo>
                <a:cubicBezTo>
                  <a:pt x="2155" y="558"/>
                  <a:pt x="2155" y="558"/>
                  <a:pt x="2155" y="558"/>
                </a:cubicBezTo>
                <a:cubicBezTo>
                  <a:pt x="2155" y="559"/>
                  <a:pt x="2155" y="559"/>
                  <a:pt x="2155" y="559"/>
                </a:cubicBezTo>
                <a:cubicBezTo>
                  <a:pt x="2157" y="560"/>
                  <a:pt x="2157" y="560"/>
                  <a:pt x="2157" y="560"/>
                </a:cubicBezTo>
                <a:cubicBezTo>
                  <a:pt x="2157" y="561"/>
                  <a:pt x="2157" y="561"/>
                  <a:pt x="2157" y="561"/>
                </a:cubicBezTo>
                <a:cubicBezTo>
                  <a:pt x="2157" y="562"/>
                  <a:pt x="2157" y="562"/>
                  <a:pt x="2157" y="562"/>
                </a:cubicBezTo>
                <a:cubicBezTo>
                  <a:pt x="2158" y="564"/>
                  <a:pt x="2158" y="564"/>
                  <a:pt x="2158" y="564"/>
                </a:cubicBezTo>
                <a:cubicBezTo>
                  <a:pt x="2159" y="564"/>
                  <a:pt x="2159" y="564"/>
                  <a:pt x="2159" y="564"/>
                </a:cubicBezTo>
                <a:cubicBezTo>
                  <a:pt x="2159" y="565"/>
                  <a:pt x="2159" y="565"/>
                  <a:pt x="2159" y="565"/>
                </a:cubicBezTo>
                <a:cubicBezTo>
                  <a:pt x="2160" y="565"/>
                  <a:pt x="2160" y="565"/>
                  <a:pt x="2160" y="565"/>
                </a:cubicBezTo>
                <a:cubicBezTo>
                  <a:pt x="2160" y="564"/>
                  <a:pt x="2160" y="564"/>
                  <a:pt x="2160" y="564"/>
                </a:cubicBezTo>
                <a:cubicBezTo>
                  <a:pt x="2161" y="565"/>
                  <a:pt x="2161" y="565"/>
                  <a:pt x="2161" y="565"/>
                </a:cubicBezTo>
                <a:cubicBezTo>
                  <a:pt x="2161" y="564"/>
                  <a:pt x="2161" y="564"/>
                  <a:pt x="2161" y="564"/>
                </a:cubicBezTo>
                <a:cubicBezTo>
                  <a:pt x="2160" y="562"/>
                  <a:pt x="2160" y="562"/>
                  <a:pt x="2160" y="562"/>
                </a:cubicBezTo>
                <a:cubicBezTo>
                  <a:pt x="2161" y="561"/>
                  <a:pt x="2161" y="561"/>
                  <a:pt x="2161" y="561"/>
                </a:cubicBezTo>
                <a:cubicBezTo>
                  <a:pt x="2161" y="560"/>
                  <a:pt x="2161" y="560"/>
                  <a:pt x="2161" y="560"/>
                </a:cubicBezTo>
                <a:cubicBezTo>
                  <a:pt x="2163" y="559"/>
                  <a:pt x="2163" y="559"/>
                  <a:pt x="2163" y="559"/>
                </a:cubicBezTo>
                <a:cubicBezTo>
                  <a:pt x="2163" y="558"/>
                  <a:pt x="2163" y="558"/>
                  <a:pt x="2163" y="558"/>
                </a:cubicBezTo>
                <a:cubicBezTo>
                  <a:pt x="2165" y="558"/>
                  <a:pt x="2165" y="558"/>
                  <a:pt x="2165" y="558"/>
                </a:cubicBezTo>
                <a:cubicBezTo>
                  <a:pt x="2166" y="559"/>
                  <a:pt x="2166" y="559"/>
                  <a:pt x="2166" y="559"/>
                </a:cubicBezTo>
                <a:cubicBezTo>
                  <a:pt x="2167" y="560"/>
                  <a:pt x="2167" y="560"/>
                  <a:pt x="2167" y="560"/>
                </a:cubicBezTo>
                <a:cubicBezTo>
                  <a:pt x="2168" y="560"/>
                  <a:pt x="2168" y="560"/>
                  <a:pt x="2168" y="560"/>
                </a:cubicBezTo>
                <a:cubicBezTo>
                  <a:pt x="2168" y="558"/>
                  <a:pt x="2168" y="558"/>
                  <a:pt x="2168" y="558"/>
                </a:cubicBezTo>
                <a:close/>
                <a:moveTo>
                  <a:pt x="2115" y="636"/>
                </a:moveTo>
                <a:cubicBezTo>
                  <a:pt x="2116" y="636"/>
                  <a:pt x="2116" y="636"/>
                  <a:pt x="2116" y="636"/>
                </a:cubicBezTo>
                <a:cubicBezTo>
                  <a:pt x="2117" y="636"/>
                  <a:pt x="2117" y="636"/>
                  <a:pt x="2117" y="636"/>
                </a:cubicBezTo>
                <a:cubicBezTo>
                  <a:pt x="2116" y="635"/>
                  <a:pt x="2116" y="635"/>
                  <a:pt x="2116" y="635"/>
                </a:cubicBezTo>
                <a:cubicBezTo>
                  <a:pt x="2115" y="635"/>
                  <a:pt x="2115" y="635"/>
                  <a:pt x="2115" y="635"/>
                </a:cubicBezTo>
                <a:cubicBezTo>
                  <a:pt x="2115" y="636"/>
                  <a:pt x="2115" y="636"/>
                  <a:pt x="2115" y="636"/>
                </a:cubicBezTo>
                <a:close/>
                <a:moveTo>
                  <a:pt x="2135" y="565"/>
                </a:moveTo>
                <a:cubicBezTo>
                  <a:pt x="2135" y="566"/>
                  <a:pt x="2135" y="566"/>
                  <a:pt x="2135" y="566"/>
                </a:cubicBezTo>
                <a:cubicBezTo>
                  <a:pt x="2136" y="565"/>
                  <a:pt x="2136" y="565"/>
                  <a:pt x="2136" y="565"/>
                </a:cubicBezTo>
                <a:cubicBezTo>
                  <a:pt x="2135" y="565"/>
                  <a:pt x="2135" y="565"/>
                  <a:pt x="2135" y="565"/>
                </a:cubicBezTo>
                <a:close/>
                <a:moveTo>
                  <a:pt x="2151" y="587"/>
                </a:moveTo>
                <a:cubicBezTo>
                  <a:pt x="2151" y="586"/>
                  <a:pt x="2151" y="586"/>
                  <a:pt x="2151" y="586"/>
                </a:cubicBezTo>
                <a:cubicBezTo>
                  <a:pt x="2150" y="585"/>
                  <a:pt x="2150" y="585"/>
                  <a:pt x="2150" y="585"/>
                </a:cubicBezTo>
                <a:cubicBezTo>
                  <a:pt x="2149" y="585"/>
                  <a:pt x="2149" y="585"/>
                  <a:pt x="2149" y="585"/>
                </a:cubicBezTo>
                <a:cubicBezTo>
                  <a:pt x="2149" y="586"/>
                  <a:pt x="2149" y="586"/>
                  <a:pt x="2149" y="586"/>
                </a:cubicBezTo>
                <a:cubicBezTo>
                  <a:pt x="2150" y="587"/>
                  <a:pt x="2150" y="587"/>
                  <a:pt x="2150" y="587"/>
                </a:cubicBezTo>
                <a:cubicBezTo>
                  <a:pt x="2151" y="587"/>
                  <a:pt x="2151" y="587"/>
                  <a:pt x="2151" y="587"/>
                </a:cubicBezTo>
                <a:close/>
                <a:moveTo>
                  <a:pt x="2136" y="564"/>
                </a:moveTo>
                <a:cubicBezTo>
                  <a:pt x="2136" y="565"/>
                  <a:pt x="2136" y="565"/>
                  <a:pt x="2136" y="565"/>
                </a:cubicBezTo>
                <a:cubicBezTo>
                  <a:pt x="2137" y="564"/>
                  <a:pt x="2137" y="564"/>
                  <a:pt x="2137" y="564"/>
                </a:cubicBezTo>
                <a:cubicBezTo>
                  <a:pt x="2136" y="564"/>
                  <a:pt x="2136" y="564"/>
                  <a:pt x="2136" y="564"/>
                </a:cubicBezTo>
                <a:close/>
                <a:moveTo>
                  <a:pt x="2152" y="582"/>
                </a:moveTo>
                <a:cubicBezTo>
                  <a:pt x="2152" y="584"/>
                  <a:pt x="2152" y="584"/>
                  <a:pt x="2152" y="584"/>
                </a:cubicBezTo>
                <a:cubicBezTo>
                  <a:pt x="2153" y="583"/>
                  <a:pt x="2153" y="583"/>
                  <a:pt x="2153" y="583"/>
                </a:cubicBezTo>
                <a:cubicBezTo>
                  <a:pt x="2152" y="582"/>
                  <a:pt x="2152" y="582"/>
                  <a:pt x="2152" y="582"/>
                </a:cubicBezTo>
                <a:close/>
                <a:moveTo>
                  <a:pt x="2177" y="478"/>
                </a:moveTo>
                <a:cubicBezTo>
                  <a:pt x="2177" y="479"/>
                  <a:pt x="2177" y="479"/>
                  <a:pt x="2177" y="479"/>
                </a:cubicBezTo>
                <a:cubicBezTo>
                  <a:pt x="2178" y="479"/>
                  <a:pt x="2178" y="479"/>
                  <a:pt x="2178" y="479"/>
                </a:cubicBezTo>
                <a:cubicBezTo>
                  <a:pt x="2178" y="478"/>
                  <a:pt x="2178" y="478"/>
                  <a:pt x="2178" y="478"/>
                </a:cubicBezTo>
                <a:cubicBezTo>
                  <a:pt x="2179" y="477"/>
                  <a:pt x="2179" y="477"/>
                  <a:pt x="2179" y="477"/>
                </a:cubicBezTo>
                <a:cubicBezTo>
                  <a:pt x="2178" y="477"/>
                  <a:pt x="2178" y="477"/>
                  <a:pt x="2178" y="477"/>
                </a:cubicBezTo>
                <a:cubicBezTo>
                  <a:pt x="2177" y="478"/>
                  <a:pt x="2177" y="478"/>
                  <a:pt x="2177" y="478"/>
                </a:cubicBezTo>
                <a:close/>
                <a:moveTo>
                  <a:pt x="2136" y="551"/>
                </a:moveTo>
                <a:cubicBezTo>
                  <a:pt x="2135" y="551"/>
                  <a:pt x="2135" y="551"/>
                  <a:pt x="2135" y="551"/>
                </a:cubicBezTo>
                <a:cubicBezTo>
                  <a:pt x="2135" y="552"/>
                  <a:pt x="2135" y="552"/>
                  <a:pt x="2135" y="552"/>
                </a:cubicBezTo>
                <a:cubicBezTo>
                  <a:pt x="2135" y="553"/>
                  <a:pt x="2135" y="553"/>
                  <a:pt x="2135" y="553"/>
                </a:cubicBezTo>
                <a:cubicBezTo>
                  <a:pt x="2136" y="552"/>
                  <a:pt x="2136" y="552"/>
                  <a:pt x="2136" y="552"/>
                </a:cubicBezTo>
                <a:cubicBezTo>
                  <a:pt x="2136" y="551"/>
                  <a:pt x="2136" y="551"/>
                  <a:pt x="2136" y="551"/>
                </a:cubicBezTo>
                <a:close/>
                <a:moveTo>
                  <a:pt x="2125" y="550"/>
                </a:moveTo>
                <a:cubicBezTo>
                  <a:pt x="2125" y="551"/>
                  <a:pt x="2125" y="551"/>
                  <a:pt x="2125" y="551"/>
                </a:cubicBezTo>
                <a:cubicBezTo>
                  <a:pt x="2126" y="550"/>
                  <a:pt x="2126" y="550"/>
                  <a:pt x="2126" y="550"/>
                </a:cubicBezTo>
                <a:cubicBezTo>
                  <a:pt x="2125" y="550"/>
                  <a:pt x="2125" y="550"/>
                  <a:pt x="2125" y="550"/>
                </a:cubicBezTo>
                <a:close/>
                <a:moveTo>
                  <a:pt x="2131" y="549"/>
                </a:moveTo>
                <a:cubicBezTo>
                  <a:pt x="2131" y="548"/>
                  <a:pt x="2131" y="548"/>
                  <a:pt x="2131" y="548"/>
                </a:cubicBezTo>
                <a:cubicBezTo>
                  <a:pt x="2130" y="548"/>
                  <a:pt x="2130" y="548"/>
                  <a:pt x="2130" y="548"/>
                </a:cubicBezTo>
                <a:cubicBezTo>
                  <a:pt x="2129" y="549"/>
                  <a:pt x="2129" y="549"/>
                  <a:pt x="2129" y="549"/>
                </a:cubicBezTo>
                <a:cubicBezTo>
                  <a:pt x="2130" y="550"/>
                  <a:pt x="2130" y="550"/>
                  <a:pt x="2130" y="550"/>
                </a:cubicBezTo>
                <a:cubicBezTo>
                  <a:pt x="2131" y="549"/>
                  <a:pt x="2131" y="549"/>
                  <a:pt x="2131" y="549"/>
                </a:cubicBezTo>
                <a:close/>
                <a:moveTo>
                  <a:pt x="2135" y="555"/>
                </a:moveTo>
                <a:cubicBezTo>
                  <a:pt x="2134" y="555"/>
                  <a:pt x="2134" y="555"/>
                  <a:pt x="2134" y="555"/>
                </a:cubicBezTo>
                <a:cubicBezTo>
                  <a:pt x="2134" y="556"/>
                  <a:pt x="2134" y="556"/>
                  <a:pt x="2134" y="556"/>
                </a:cubicBezTo>
                <a:cubicBezTo>
                  <a:pt x="2135" y="556"/>
                  <a:pt x="2135" y="556"/>
                  <a:pt x="2135" y="556"/>
                </a:cubicBezTo>
                <a:cubicBezTo>
                  <a:pt x="2135" y="555"/>
                  <a:pt x="2135" y="555"/>
                  <a:pt x="2135" y="555"/>
                </a:cubicBezTo>
                <a:close/>
                <a:moveTo>
                  <a:pt x="2116" y="553"/>
                </a:moveTo>
                <a:cubicBezTo>
                  <a:pt x="2115" y="554"/>
                  <a:pt x="2115" y="554"/>
                  <a:pt x="2115" y="554"/>
                </a:cubicBezTo>
                <a:cubicBezTo>
                  <a:pt x="2116" y="555"/>
                  <a:pt x="2116" y="555"/>
                  <a:pt x="2116" y="555"/>
                </a:cubicBezTo>
                <a:cubicBezTo>
                  <a:pt x="2116" y="554"/>
                  <a:pt x="2116" y="554"/>
                  <a:pt x="2116" y="554"/>
                </a:cubicBezTo>
                <a:cubicBezTo>
                  <a:pt x="2117" y="554"/>
                  <a:pt x="2117" y="554"/>
                  <a:pt x="2117" y="554"/>
                </a:cubicBezTo>
                <a:cubicBezTo>
                  <a:pt x="2117" y="553"/>
                  <a:pt x="2117" y="553"/>
                  <a:pt x="2117" y="553"/>
                </a:cubicBezTo>
                <a:cubicBezTo>
                  <a:pt x="2116" y="552"/>
                  <a:pt x="2116" y="552"/>
                  <a:pt x="2116" y="552"/>
                </a:cubicBezTo>
                <a:cubicBezTo>
                  <a:pt x="2116" y="553"/>
                  <a:pt x="2116" y="553"/>
                  <a:pt x="2116" y="553"/>
                </a:cubicBezTo>
                <a:close/>
                <a:moveTo>
                  <a:pt x="2121" y="563"/>
                </a:moveTo>
                <a:cubicBezTo>
                  <a:pt x="2122" y="561"/>
                  <a:pt x="2122" y="561"/>
                  <a:pt x="2122" y="561"/>
                </a:cubicBezTo>
                <a:cubicBezTo>
                  <a:pt x="2122" y="560"/>
                  <a:pt x="2122" y="560"/>
                  <a:pt x="2122" y="560"/>
                </a:cubicBezTo>
                <a:cubicBezTo>
                  <a:pt x="2121" y="560"/>
                  <a:pt x="2121" y="560"/>
                  <a:pt x="2121" y="560"/>
                </a:cubicBezTo>
                <a:cubicBezTo>
                  <a:pt x="2118" y="561"/>
                  <a:pt x="2118" y="561"/>
                  <a:pt x="2118" y="561"/>
                </a:cubicBezTo>
                <a:cubicBezTo>
                  <a:pt x="2117" y="562"/>
                  <a:pt x="2117" y="562"/>
                  <a:pt x="2117" y="562"/>
                </a:cubicBezTo>
                <a:cubicBezTo>
                  <a:pt x="2118" y="563"/>
                  <a:pt x="2118" y="563"/>
                  <a:pt x="2118" y="563"/>
                </a:cubicBezTo>
                <a:cubicBezTo>
                  <a:pt x="2119" y="563"/>
                  <a:pt x="2119" y="563"/>
                  <a:pt x="2119" y="563"/>
                </a:cubicBezTo>
                <a:cubicBezTo>
                  <a:pt x="2121" y="563"/>
                  <a:pt x="2121" y="563"/>
                  <a:pt x="2121" y="563"/>
                </a:cubicBezTo>
                <a:close/>
                <a:moveTo>
                  <a:pt x="2463" y="920"/>
                </a:moveTo>
                <a:cubicBezTo>
                  <a:pt x="2460" y="921"/>
                  <a:pt x="2460" y="921"/>
                  <a:pt x="2460" y="921"/>
                </a:cubicBezTo>
                <a:cubicBezTo>
                  <a:pt x="2458" y="922"/>
                  <a:pt x="2458" y="922"/>
                  <a:pt x="2458" y="922"/>
                </a:cubicBezTo>
                <a:cubicBezTo>
                  <a:pt x="2458" y="924"/>
                  <a:pt x="2458" y="924"/>
                  <a:pt x="2458" y="924"/>
                </a:cubicBezTo>
                <a:cubicBezTo>
                  <a:pt x="2456" y="924"/>
                  <a:pt x="2456" y="924"/>
                  <a:pt x="2456" y="924"/>
                </a:cubicBezTo>
                <a:cubicBezTo>
                  <a:pt x="2456" y="926"/>
                  <a:pt x="2456" y="926"/>
                  <a:pt x="2456" y="926"/>
                </a:cubicBezTo>
                <a:cubicBezTo>
                  <a:pt x="2458" y="927"/>
                  <a:pt x="2458" y="927"/>
                  <a:pt x="2458" y="927"/>
                </a:cubicBezTo>
                <a:cubicBezTo>
                  <a:pt x="2461" y="927"/>
                  <a:pt x="2461" y="927"/>
                  <a:pt x="2461" y="927"/>
                </a:cubicBezTo>
                <a:cubicBezTo>
                  <a:pt x="2462" y="926"/>
                  <a:pt x="2462" y="926"/>
                  <a:pt x="2462" y="926"/>
                </a:cubicBezTo>
                <a:cubicBezTo>
                  <a:pt x="2464" y="927"/>
                  <a:pt x="2464" y="927"/>
                  <a:pt x="2464" y="927"/>
                </a:cubicBezTo>
                <a:cubicBezTo>
                  <a:pt x="2466" y="926"/>
                  <a:pt x="2466" y="926"/>
                  <a:pt x="2466" y="926"/>
                </a:cubicBezTo>
                <a:cubicBezTo>
                  <a:pt x="2465" y="922"/>
                  <a:pt x="2465" y="922"/>
                  <a:pt x="2465" y="922"/>
                </a:cubicBezTo>
                <a:cubicBezTo>
                  <a:pt x="2463" y="920"/>
                  <a:pt x="2463" y="920"/>
                  <a:pt x="2463" y="920"/>
                </a:cubicBezTo>
                <a:close/>
                <a:moveTo>
                  <a:pt x="2474" y="913"/>
                </a:moveTo>
                <a:cubicBezTo>
                  <a:pt x="2475" y="912"/>
                  <a:pt x="2475" y="912"/>
                  <a:pt x="2475" y="912"/>
                </a:cubicBezTo>
                <a:cubicBezTo>
                  <a:pt x="2475" y="911"/>
                  <a:pt x="2475" y="911"/>
                  <a:pt x="2475" y="911"/>
                </a:cubicBezTo>
                <a:cubicBezTo>
                  <a:pt x="2473" y="913"/>
                  <a:pt x="2473" y="913"/>
                  <a:pt x="2473" y="913"/>
                </a:cubicBezTo>
                <a:cubicBezTo>
                  <a:pt x="2472" y="913"/>
                  <a:pt x="2472" y="913"/>
                  <a:pt x="2472" y="913"/>
                </a:cubicBezTo>
                <a:cubicBezTo>
                  <a:pt x="2470" y="914"/>
                  <a:pt x="2470" y="914"/>
                  <a:pt x="2470" y="914"/>
                </a:cubicBezTo>
                <a:cubicBezTo>
                  <a:pt x="2469" y="914"/>
                  <a:pt x="2469" y="914"/>
                  <a:pt x="2469" y="914"/>
                </a:cubicBezTo>
                <a:cubicBezTo>
                  <a:pt x="2467" y="915"/>
                  <a:pt x="2467" y="915"/>
                  <a:pt x="2467" y="915"/>
                </a:cubicBezTo>
                <a:cubicBezTo>
                  <a:pt x="2466" y="915"/>
                  <a:pt x="2466" y="915"/>
                  <a:pt x="2466" y="915"/>
                </a:cubicBezTo>
                <a:cubicBezTo>
                  <a:pt x="2465" y="917"/>
                  <a:pt x="2465" y="917"/>
                  <a:pt x="2465" y="917"/>
                </a:cubicBezTo>
                <a:cubicBezTo>
                  <a:pt x="2466" y="918"/>
                  <a:pt x="2466" y="918"/>
                  <a:pt x="2466" y="918"/>
                </a:cubicBezTo>
                <a:cubicBezTo>
                  <a:pt x="2467" y="917"/>
                  <a:pt x="2467" y="917"/>
                  <a:pt x="2467" y="917"/>
                </a:cubicBezTo>
                <a:cubicBezTo>
                  <a:pt x="2469" y="917"/>
                  <a:pt x="2469" y="917"/>
                  <a:pt x="2469" y="917"/>
                </a:cubicBezTo>
                <a:cubicBezTo>
                  <a:pt x="2469" y="916"/>
                  <a:pt x="2469" y="916"/>
                  <a:pt x="2469" y="916"/>
                </a:cubicBezTo>
                <a:cubicBezTo>
                  <a:pt x="2470" y="916"/>
                  <a:pt x="2470" y="916"/>
                  <a:pt x="2470" y="916"/>
                </a:cubicBezTo>
                <a:cubicBezTo>
                  <a:pt x="2471" y="917"/>
                  <a:pt x="2471" y="917"/>
                  <a:pt x="2471" y="917"/>
                </a:cubicBezTo>
                <a:cubicBezTo>
                  <a:pt x="2474" y="917"/>
                  <a:pt x="2474" y="917"/>
                  <a:pt x="2474" y="917"/>
                </a:cubicBezTo>
                <a:cubicBezTo>
                  <a:pt x="2475" y="916"/>
                  <a:pt x="2475" y="916"/>
                  <a:pt x="2475" y="916"/>
                </a:cubicBezTo>
                <a:cubicBezTo>
                  <a:pt x="2474" y="915"/>
                  <a:pt x="2474" y="915"/>
                  <a:pt x="2474" y="915"/>
                </a:cubicBezTo>
                <a:cubicBezTo>
                  <a:pt x="2473" y="916"/>
                  <a:pt x="2473" y="916"/>
                  <a:pt x="2473" y="916"/>
                </a:cubicBezTo>
                <a:cubicBezTo>
                  <a:pt x="2472" y="916"/>
                  <a:pt x="2472" y="916"/>
                  <a:pt x="2472" y="916"/>
                </a:cubicBezTo>
                <a:cubicBezTo>
                  <a:pt x="2474" y="914"/>
                  <a:pt x="2474" y="914"/>
                  <a:pt x="2474" y="914"/>
                </a:cubicBezTo>
                <a:cubicBezTo>
                  <a:pt x="2474" y="913"/>
                  <a:pt x="2474" y="913"/>
                  <a:pt x="2474" y="913"/>
                </a:cubicBezTo>
                <a:close/>
                <a:moveTo>
                  <a:pt x="2402" y="915"/>
                </a:moveTo>
                <a:cubicBezTo>
                  <a:pt x="2402" y="915"/>
                  <a:pt x="2402" y="915"/>
                  <a:pt x="2401" y="914"/>
                </a:cubicBezTo>
                <a:cubicBezTo>
                  <a:pt x="2401" y="914"/>
                  <a:pt x="2401" y="914"/>
                  <a:pt x="2400" y="915"/>
                </a:cubicBezTo>
                <a:cubicBezTo>
                  <a:pt x="2400" y="915"/>
                  <a:pt x="2400" y="915"/>
                  <a:pt x="2400" y="916"/>
                </a:cubicBezTo>
                <a:cubicBezTo>
                  <a:pt x="2400" y="916"/>
                  <a:pt x="2400" y="916"/>
                  <a:pt x="2402" y="916"/>
                </a:cubicBezTo>
                <a:cubicBezTo>
                  <a:pt x="2402" y="916"/>
                  <a:pt x="2402" y="916"/>
                  <a:pt x="2402" y="915"/>
                </a:cubicBezTo>
                <a:close/>
                <a:moveTo>
                  <a:pt x="2400" y="904"/>
                </a:moveTo>
                <a:cubicBezTo>
                  <a:pt x="2399" y="904"/>
                  <a:pt x="2399" y="904"/>
                  <a:pt x="2399" y="904"/>
                </a:cubicBezTo>
                <a:cubicBezTo>
                  <a:pt x="2398" y="905"/>
                  <a:pt x="2398" y="905"/>
                  <a:pt x="2398" y="905"/>
                </a:cubicBezTo>
                <a:cubicBezTo>
                  <a:pt x="2399" y="905"/>
                  <a:pt x="2399" y="905"/>
                  <a:pt x="2399" y="905"/>
                </a:cubicBezTo>
                <a:cubicBezTo>
                  <a:pt x="2400" y="904"/>
                  <a:pt x="2400" y="904"/>
                  <a:pt x="2400" y="904"/>
                </a:cubicBezTo>
                <a:close/>
                <a:moveTo>
                  <a:pt x="2399" y="912"/>
                </a:moveTo>
                <a:cubicBezTo>
                  <a:pt x="2399" y="912"/>
                  <a:pt x="2399" y="912"/>
                  <a:pt x="2399" y="913"/>
                </a:cubicBezTo>
                <a:cubicBezTo>
                  <a:pt x="2399" y="913"/>
                  <a:pt x="2399" y="913"/>
                  <a:pt x="2400" y="913"/>
                </a:cubicBezTo>
                <a:cubicBezTo>
                  <a:pt x="2400" y="913"/>
                  <a:pt x="2400" y="913"/>
                  <a:pt x="2401" y="913"/>
                </a:cubicBezTo>
                <a:cubicBezTo>
                  <a:pt x="2401" y="913"/>
                  <a:pt x="2401" y="913"/>
                  <a:pt x="2402" y="912"/>
                </a:cubicBezTo>
                <a:cubicBezTo>
                  <a:pt x="2402" y="912"/>
                  <a:pt x="2402" y="912"/>
                  <a:pt x="2401" y="912"/>
                </a:cubicBezTo>
                <a:cubicBezTo>
                  <a:pt x="2401" y="912"/>
                  <a:pt x="2401" y="912"/>
                  <a:pt x="2401" y="911"/>
                </a:cubicBezTo>
                <a:cubicBezTo>
                  <a:pt x="2401" y="911"/>
                  <a:pt x="2401" y="911"/>
                  <a:pt x="2399" y="912"/>
                </a:cubicBezTo>
                <a:close/>
                <a:moveTo>
                  <a:pt x="2400" y="922"/>
                </a:moveTo>
                <a:cubicBezTo>
                  <a:pt x="2400" y="922"/>
                  <a:pt x="2400" y="922"/>
                  <a:pt x="2401" y="923"/>
                </a:cubicBezTo>
                <a:cubicBezTo>
                  <a:pt x="2401" y="923"/>
                  <a:pt x="2401" y="923"/>
                  <a:pt x="2402" y="923"/>
                </a:cubicBezTo>
                <a:cubicBezTo>
                  <a:pt x="2402" y="923"/>
                  <a:pt x="2402" y="923"/>
                  <a:pt x="2402" y="921"/>
                </a:cubicBezTo>
                <a:cubicBezTo>
                  <a:pt x="2402" y="921"/>
                  <a:pt x="2402" y="921"/>
                  <a:pt x="2401" y="920"/>
                </a:cubicBezTo>
                <a:cubicBezTo>
                  <a:pt x="2401" y="920"/>
                  <a:pt x="2401" y="920"/>
                  <a:pt x="2400" y="921"/>
                </a:cubicBezTo>
                <a:cubicBezTo>
                  <a:pt x="2400" y="921"/>
                  <a:pt x="2400" y="921"/>
                  <a:pt x="2400" y="922"/>
                </a:cubicBezTo>
                <a:close/>
                <a:moveTo>
                  <a:pt x="2394" y="909"/>
                </a:moveTo>
                <a:cubicBezTo>
                  <a:pt x="2394" y="909"/>
                  <a:pt x="2394" y="909"/>
                  <a:pt x="2395" y="910"/>
                </a:cubicBezTo>
                <a:cubicBezTo>
                  <a:pt x="2395" y="910"/>
                  <a:pt x="2395" y="910"/>
                  <a:pt x="2396" y="911"/>
                </a:cubicBezTo>
                <a:cubicBezTo>
                  <a:pt x="2396" y="911"/>
                  <a:pt x="2396" y="911"/>
                  <a:pt x="2396" y="912"/>
                </a:cubicBezTo>
                <a:cubicBezTo>
                  <a:pt x="2396" y="912"/>
                  <a:pt x="2396" y="912"/>
                  <a:pt x="2395" y="913"/>
                </a:cubicBezTo>
                <a:cubicBezTo>
                  <a:pt x="2395" y="913"/>
                  <a:pt x="2395" y="913"/>
                  <a:pt x="2396" y="914"/>
                </a:cubicBezTo>
                <a:cubicBezTo>
                  <a:pt x="2396" y="914"/>
                  <a:pt x="2396" y="914"/>
                  <a:pt x="2397" y="914"/>
                </a:cubicBezTo>
                <a:cubicBezTo>
                  <a:pt x="2397" y="914"/>
                  <a:pt x="2397" y="914"/>
                  <a:pt x="2398" y="913"/>
                </a:cubicBezTo>
                <a:cubicBezTo>
                  <a:pt x="2398" y="913"/>
                  <a:pt x="2398" y="913"/>
                  <a:pt x="2398" y="912"/>
                </a:cubicBezTo>
                <a:cubicBezTo>
                  <a:pt x="2398" y="912"/>
                  <a:pt x="2398" y="912"/>
                  <a:pt x="2397" y="911"/>
                </a:cubicBezTo>
                <a:cubicBezTo>
                  <a:pt x="2397" y="911"/>
                  <a:pt x="2397" y="911"/>
                  <a:pt x="2397" y="910"/>
                </a:cubicBezTo>
                <a:cubicBezTo>
                  <a:pt x="2397" y="910"/>
                  <a:pt x="2397" y="910"/>
                  <a:pt x="2396" y="909"/>
                </a:cubicBezTo>
                <a:cubicBezTo>
                  <a:pt x="2396" y="909"/>
                  <a:pt x="2396" y="909"/>
                  <a:pt x="2395" y="909"/>
                </a:cubicBezTo>
                <a:cubicBezTo>
                  <a:pt x="2395" y="909"/>
                  <a:pt x="2395" y="909"/>
                  <a:pt x="2394" y="909"/>
                </a:cubicBezTo>
                <a:close/>
                <a:moveTo>
                  <a:pt x="2391" y="902"/>
                </a:moveTo>
                <a:cubicBezTo>
                  <a:pt x="2391" y="904"/>
                  <a:pt x="2391" y="904"/>
                  <a:pt x="2391" y="904"/>
                </a:cubicBezTo>
                <a:cubicBezTo>
                  <a:pt x="2391" y="905"/>
                  <a:pt x="2391" y="905"/>
                  <a:pt x="2391" y="905"/>
                </a:cubicBezTo>
                <a:cubicBezTo>
                  <a:pt x="2392" y="907"/>
                  <a:pt x="2392" y="907"/>
                  <a:pt x="2392" y="907"/>
                </a:cubicBezTo>
                <a:cubicBezTo>
                  <a:pt x="2393" y="907"/>
                  <a:pt x="2393" y="907"/>
                  <a:pt x="2393" y="907"/>
                </a:cubicBezTo>
                <a:cubicBezTo>
                  <a:pt x="2394" y="906"/>
                  <a:pt x="2394" y="906"/>
                  <a:pt x="2394" y="906"/>
                </a:cubicBezTo>
                <a:cubicBezTo>
                  <a:pt x="2395" y="906"/>
                  <a:pt x="2395" y="906"/>
                  <a:pt x="2395" y="906"/>
                </a:cubicBezTo>
                <a:cubicBezTo>
                  <a:pt x="2395" y="904"/>
                  <a:pt x="2395" y="904"/>
                  <a:pt x="2395" y="904"/>
                </a:cubicBezTo>
                <a:cubicBezTo>
                  <a:pt x="2395" y="903"/>
                  <a:pt x="2395" y="903"/>
                  <a:pt x="2395" y="903"/>
                </a:cubicBezTo>
                <a:cubicBezTo>
                  <a:pt x="2395" y="902"/>
                  <a:pt x="2395" y="902"/>
                  <a:pt x="2395" y="902"/>
                </a:cubicBezTo>
                <a:cubicBezTo>
                  <a:pt x="2394" y="901"/>
                  <a:pt x="2394" y="901"/>
                  <a:pt x="2394" y="901"/>
                </a:cubicBezTo>
                <a:cubicBezTo>
                  <a:pt x="2394" y="902"/>
                  <a:pt x="2394" y="902"/>
                  <a:pt x="2394" y="902"/>
                </a:cubicBezTo>
                <a:cubicBezTo>
                  <a:pt x="2394" y="903"/>
                  <a:pt x="2394" y="903"/>
                  <a:pt x="2394" y="903"/>
                </a:cubicBezTo>
                <a:cubicBezTo>
                  <a:pt x="2393" y="903"/>
                  <a:pt x="2393" y="903"/>
                  <a:pt x="2393" y="903"/>
                </a:cubicBezTo>
                <a:cubicBezTo>
                  <a:pt x="2392" y="900"/>
                  <a:pt x="2392" y="900"/>
                  <a:pt x="2392" y="900"/>
                </a:cubicBezTo>
                <a:cubicBezTo>
                  <a:pt x="2392" y="899"/>
                  <a:pt x="2392" y="899"/>
                  <a:pt x="2392" y="899"/>
                </a:cubicBezTo>
                <a:cubicBezTo>
                  <a:pt x="2391" y="902"/>
                  <a:pt x="2391" y="902"/>
                  <a:pt x="2391" y="902"/>
                </a:cubicBezTo>
                <a:close/>
                <a:moveTo>
                  <a:pt x="2402" y="908"/>
                </a:moveTo>
                <a:cubicBezTo>
                  <a:pt x="2402" y="908"/>
                  <a:pt x="2402" y="908"/>
                  <a:pt x="2402" y="907"/>
                </a:cubicBezTo>
                <a:cubicBezTo>
                  <a:pt x="2402" y="907"/>
                  <a:pt x="2402" y="907"/>
                  <a:pt x="2401" y="906"/>
                </a:cubicBezTo>
                <a:cubicBezTo>
                  <a:pt x="2401" y="908"/>
                  <a:pt x="2401" y="908"/>
                  <a:pt x="2401" y="908"/>
                </a:cubicBezTo>
                <a:cubicBezTo>
                  <a:pt x="2401" y="908"/>
                  <a:pt x="2401" y="908"/>
                  <a:pt x="2401" y="909"/>
                </a:cubicBezTo>
                <a:cubicBezTo>
                  <a:pt x="2401" y="909"/>
                  <a:pt x="2401" y="909"/>
                  <a:pt x="2402" y="909"/>
                </a:cubicBezTo>
                <a:cubicBezTo>
                  <a:pt x="2402" y="909"/>
                  <a:pt x="2402" y="909"/>
                  <a:pt x="2402" y="908"/>
                </a:cubicBezTo>
                <a:close/>
                <a:moveTo>
                  <a:pt x="2405" y="930"/>
                </a:moveTo>
                <a:cubicBezTo>
                  <a:pt x="2405" y="930"/>
                  <a:pt x="2405" y="930"/>
                  <a:pt x="2404" y="929"/>
                </a:cubicBezTo>
                <a:cubicBezTo>
                  <a:pt x="2404" y="929"/>
                  <a:pt x="2404" y="929"/>
                  <a:pt x="2404" y="931"/>
                </a:cubicBezTo>
                <a:cubicBezTo>
                  <a:pt x="2404" y="931"/>
                  <a:pt x="2404" y="931"/>
                  <a:pt x="2405" y="932"/>
                </a:cubicBezTo>
                <a:cubicBezTo>
                  <a:pt x="2405" y="932"/>
                  <a:pt x="2405" y="932"/>
                  <a:pt x="2405" y="930"/>
                </a:cubicBezTo>
                <a:close/>
                <a:moveTo>
                  <a:pt x="2352" y="861"/>
                </a:moveTo>
                <a:cubicBezTo>
                  <a:pt x="2352" y="861"/>
                  <a:pt x="2352" y="861"/>
                  <a:pt x="2351" y="863"/>
                </a:cubicBezTo>
                <a:cubicBezTo>
                  <a:pt x="2351" y="863"/>
                  <a:pt x="2351" y="863"/>
                  <a:pt x="2353" y="865"/>
                </a:cubicBezTo>
                <a:cubicBezTo>
                  <a:pt x="2353" y="865"/>
                  <a:pt x="2353" y="865"/>
                  <a:pt x="2354" y="865"/>
                </a:cubicBezTo>
                <a:cubicBezTo>
                  <a:pt x="2354" y="865"/>
                  <a:pt x="2354" y="865"/>
                  <a:pt x="2356" y="865"/>
                </a:cubicBezTo>
                <a:cubicBezTo>
                  <a:pt x="2356" y="865"/>
                  <a:pt x="2356" y="865"/>
                  <a:pt x="2357" y="866"/>
                </a:cubicBezTo>
                <a:cubicBezTo>
                  <a:pt x="2357" y="866"/>
                  <a:pt x="2357" y="866"/>
                  <a:pt x="2358" y="866"/>
                </a:cubicBezTo>
                <a:cubicBezTo>
                  <a:pt x="2358" y="866"/>
                  <a:pt x="2358" y="866"/>
                  <a:pt x="2359" y="865"/>
                </a:cubicBezTo>
                <a:cubicBezTo>
                  <a:pt x="2359" y="865"/>
                  <a:pt x="2359" y="865"/>
                  <a:pt x="2358" y="864"/>
                </a:cubicBezTo>
                <a:cubicBezTo>
                  <a:pt x="2358" y="864"/>
                  <a:pt x="2358" y="864"/>
                  <a:pt x="2357" y="863"/>
                </a:cubicBezTo>
                <a:cubicBezTo>
                  <a:pt x="2357" y="863"/>
                  <a:pt x="2357" y="863"/>
                  <a:pt x="2355" y="862"/>
                </a:cubicBezTo>
                <a:cubicBezTo>
                  <a:pt x="2355" y="862"/>
                  <a:pt x="2355" y="862"/>
                  <a:pt x="2353" y="862"/>
                </a:cubicBezTo>
                <a:cubicBezTo>
                  <a:pt x="2353" y="862"/>
                  <a:pt x="2353" y="862"/>
                  <a:pt x="2352" y="861"/>
                </a:cubicBezTo>
                <a:close/>
                <a:moveTo>
                  <a:pt x="2353" y="877"/>
                </a:moveTo>
                <a:cubicBezTo>
                  <a:pt x="2353" y="877"/>
                  <a:pt x="2353" y="877"/>
                  <a:pt x="2353" y="878"/>
                </a:cubicBezTo>
                <a:cubicBezTo>
                  <a:pt x="2353" y="878"/>
                  <a:pt x="2353" y="878"/>
                  <a:pt x="2354" y="878"/>
                </a:cubicBezTo>
                <a:cubicBezTo>
                  <a:pt x="2354" y="878"/>
                  <a:pt x="2354" y="878"/>
                  <a:pt x="2355" y="878"/>
                </a:cubicBezTo>
                <a:cubicBezTo>
                  <a:pt x="2355" y="878"/>
                  <a:pt x="2355" y="878"/>
                  <a:pt x="2356" y="878"/>
                </a:cubicBezTo>
                <a:cubicBezTo>
                  <a:pt x="2356" y="878"/>
                  <a:pt x="2356" y="878"/>
                  <a:pt x="2355" y="877"/>
                </a:cubicBezTo>
                <a:cubicBezTo>
                  <a:pt x="2355" y="877"/>
                  <a:pt x="2355" y="877"/>
                  <a:pt x="2354" y="877"/>
                </a:cubicBezTo>
                <a:cubicBezTo>
                  <a:pt x="2354" y="877"/>
                  <a:pt x="2354" y="877"/>
                  <a:pt x="2353" y="877"/>
                </a:cubicBezTo>
                <a:close/>
                <a:moveTo>
                  <a:pt x="2339" y="853"/>
                </a:moveTo>
                <a:cubicBezTo>
                  <a:pt x="2338" y="852"/>
                  <a:pt x="2338" y="852"/>
                  <a:pt x="2338" y="852"/>
                </a:cubicBezTo>
                <a:cubicBezTo>
                  <a:pt x="2337" y="853"/>
                  <a:pt x="2337" y="853"/>
                  <a:pt x="2337" y="853"/>
                </a:cubicBezTo>
                <a:cubicBezTo>
                  <a:pt x="2337" y="855"/>
                  <a:pt x="2337" y="855"/>
                  <a:pt x="2337" y="855"/>
                </a:cubicBezTo>
                <a:cubicBezTo>
                  <a:pt x="2338" y="855"/>
                  <a:pt x="2338" y="855"/>
                  <a:pt x="2338" y="855"/>
                </a:cubicBezTo>
                <a:cubicBezTo>
                  <a:pt x="2339" y="855"/>
                  <a:pt x="2339" y="855"/>
                  <a:pt x="2339" y="855"/>
                </a:cubicBezTo>
                <a:cubicBezTo>
                  <a:pt x="2339" y="856"/>
                  <a:pt x="2339" y="856"/>
                  <a:pt x="2339" y="856"/>
                </a:cubicBezTo>
                <a:cubicBezTo>
                  <a:pt x="2340" y="856"/>
                  <a:pt x="2340" y="856"/>
                  <a:pt x="2340" y="856"/>
                </a:cubicBezTo>
                <a:cubicBezTo>
                  <a:pt x="2341" y="855"/>
                  <a:pt x="2341" y="855"/>
                  <a:pt x="2341" y="855"/>
                </a:cubicBezTo>
                <a:cubicBezTo>
                  <a:pt x="2340" y="854"/>
                  <a:pt x="2340" y="854"/>
                  <a:pt x="2340" y="854"/>
                </a:cubicBezTo>
                <a:cubicBezTo>
                  <a:pt x="2339" y="854"/>
                  <a:pt x="2339" y="854"/>
                  <a:pt x="2339" y="854"/>
                </a:cubicBezTo>
                <a:cubicBezTo>
                  <a:pt x="2339" y="853"/>
                  <a:pt x="2339" y="853"/>
                  <a:pt x="2339" y="853"/>
                </a:cubicBezTo>
                <a:close/>
                <a:moveTo>
                  <a:pt x="2349" y="854"/>
                </a:moveTo>
                <a:cubicBezTo>
                  <a:pt x="2349" y="854"/>
                  <a:pt x="2349" y="854"/>
                  <a:pt x="2350" y="855"/>
                </a:cubicBezTo>
                <a:cubicBezTo>
                  <a:pt x="2350" y="855"/>
                  <a:pt x="2350" y="855"/>
                  <a:pt x="2351" y="855"/>
                </a:cubicBezTo>
                <a:cubicBezTo>
                  <a:pt x="2351" y="855"/>
                  <a:pt x="2351" y="855"/>
                  <a:pt x="2351" y="856"/>
                </a:cubicBezTo>
                <a:cubicBezTo>
                  <a:pt x="2351" y="856"/>
                  <a:pt x="2351" y="856"/>
                  <a:pt x="2352" y="856"/>
                </a:cubicBezTo>
                <a:cubicBezTo>
                  <a:pt x="2352" y="856"/>
                  <a:pt x="2352" y="856"/>
                  <a:pt x="2352" y="855"/>
                </a:cubicBezTo>
                <a:cubicBezTo>
                  <a:pt x="2352" y="855"/>
                  <a:pt x="2352" y="855"/>
                  <a:pt x="2353" y="855"/>
                </a:cubicBezTo>
                <a:cubicBezTo>
                  <a:pt x="2353" y="855"/>
                  <a:pt x="2353" y="855"/>
                  <a:pt x="2350" y="852"/>
                </a:cubicBezTo>
                <a:cubicBezTo>
                  <a:pt x="2350" y="852"/>
                  <a:pt x="2350" y="852"/>
                  <a:pt x="2348" y="851"/>
                </a:cubicBezTo>
                <a:cubicBezTo>
                  <a:pt x="2348" y="851"/>
                  <a:pt x="2348" y="851"/>
                  <a:pt x="2347" y="850"/>
                </a:cubicBezTo>
                <a:cubicBezTo>
                  <a:pt x="2347" y="850"/>
                  <a:pt x="2347" y="850"/>
                  <a:pt x="2344" y="850"/>
                </a:cubicBezTo>
                <a:cubicBezTo>
                  <a:pt x="2346" y="851"/>
                  <a:pt x="2346" y="851"/>
                  <a:pt x="2346" y="851"/>
                </a:cubicBezTo>
                <a:cubicBezTo>
                  <a:pt x="2346" y="851"/>
                  <a:pt x="2346" y="851"/>
                  <a:pt x="2349" y="854"/>
                </a:cubicBezTo>
                <a:close/>
                <a:moveTo>
                  <a:pt x="2358" y="857"/>
                </a:moveTo>
                <a:cubicBezTo>
                  <a:pt x="2359" y="858"/>
                  <a:pt x="2359" y="858"/>
                  <a:pt x="2359" y="858"/>
                </a:cubicBezTo>
                <a:cubicBezTo>
                  <a:pt x="2359" y="860"/>
                  <a:pt x="2359" y="860"/>
                  <a:pt x="2359" y="860"/>
                </a:cubicBezTo>
                <a:cubicBezTo>
                  <a:pt x="2361" y="862"/>
                  <a:pt x="2361" y="862"/>
                  <a:pt x="2361" y="862"/>
                </a:cubicBezTo>
                <a:cubicBezTo>
                  <a:pt x="2362" y="863"/>
                  <a:pt x="2362" y="863"/>
                  <a:pt x="2362" y="863"/>
                </a:cubicBezTo>
                <a:cubicBezTo>
                  <a:pt x="2363" y="864"/>
                  <a:pt x="2363" y="864"/>
                  <a:pt x="2363" y="864"/>
                </a:cubicBezTo>
                <a:cubicBezTo>
                  <a:pt x="2364" y="864"/>
                  <a:pt x="2364" y="864"/>
                  <a:pt x="2364" y="864"/>
                </a:cubicBezTo>
                <a:cubicBezTo>
                  <a:pt x="2364" y="863"/>
                  <a:pt x="2364" y="863"/>
                  <a:pt x="2364" y="863"/>
                </a:cubicBezTo>
                <a:cubicBezTo>
                  <a:pt x="2363" y="861"/>
                  <a:pt x="2363" y="861"/>
                  <a:pt x="2363" y="861"/>
                </a:cubicBezTo>
                <a:cubicBezTo>
                  <a:pt x="2362" y="861"/>
                  <a:pt x="2362" y="861"/>
                  <a:pt x="2362" y="861"/>
                </a:cubicBezTo>
                <a:cubicBezTo>
                  <a:pt x="2361" y="860"/>
                  <a:pt x="2361" y="860"/>
                  <a:pt x="2361" y="860"/>
                </a:cubicBezTo>
                <a:cubicBezTo>
                  <a:pt x="2360" y="858"/>
                  <a:pt x="2360" y="858"/>
                  <a:pt x="2360" y="858"/>
                </a:cubicBezTo>
                <a:cubicBezTo>
                  <a:pt x="2360" y="857"/>
                  <a:pt x="2360" y="857"/>
                  <a:pt x="2360" y="857"/>
                </a:cubicBezTo>
                <a:cubicBezTo>
                  <a:pt x="2359" y="855"/>
                  <a:pt x="2359" y="855"/>
                  <a:pt x="2359" y="855"/>
                </a:cubicBezTo>
                <a:cubicBezTo>
                  <a:pt x="2357" y="855"/>
                  <a:pt x="2357" y="855"/>
                  <a:pt x="2357" y="855"/>
                </a:cubicBezTo>
                <a:cubicBezTo>
                  <a:pt x="2357" y="856"/>
                  <a:pt x="2357" y="856"/>
                  <a:pt x="2357" y="856"/>
                </a:cubicBezTo>
                <a:cubicBezTo>
                  <a:pt x="2358" y="856"/>
                  <a:pt x="2358" y="856"/>
                  <a:pt x="2358" y="856"/>
                </a:cubicBezTo>
                <a:cubicBezTo>
                  <a:pt x="2358" y="857"/>
                  <a:pt x="2358" y="857"/>
                  <a:pt x="2358" y="857"/>
                </a:cubicBezTo>
                <a:close/>
                <a:moveTo>
                  <a:pt x="2363" y="868"/>
                </a:moveTo>
                <a:cubicBezTo>
                  <a:pt x="2363" y="868"/>
                  <a:pt x="2363" y="868"/>
                  <a:pt x="2361" y="868"/>
                </a:cubicBezTo>
                <a:cubicBezTo>
                  <a:pt x="2361" y="868"/>
                  <a:pt x="2361" y="868"/>
                  <a:pt x="2362" y="869"/>
                </a:cubicBezTo>
                <a:cubicBezTo>
                  <a:pt x="2362" y="869"/>
                  <a:pt x="2362" y="869"/>
                  <a:pt x="2362" y="870"/>
                </a:cubicBezTo>
                <a:cubicBezTo>
                  <a:pt x="2362" y="870"/>
                  <a:pt x="2362" y="870"/>
                  <a:pt x="2364" y="872"/>
                </a:cubicBezTo>
                <a:cubicBezTo>
                  <a:pt x="2364" y="872"/>
                  <a:pt x="2364" y="872"/>
                  <a:pt x="2366" y="873"/>
                </a:cubicBezTo>
                <a:cubicBezTo>
                  <a:pt x="2366" y="873"/>
                  <a:pt x="2366" y="873"/>
                  <a:pt x="2367" y="873"/>
                </a:cubicBezTo>
                <a:cubicBezTo>
                  <a:pt x="2367" y="873"/>
                  <a:pt x="2367" y="873"/>
                  <a:pt x="2367" y="872"/>
                </a:cubicBezTo>
                <a:cubicBezTo>
                  <a:pt x="2367" y="872"/>
                  <a:pt x="2367" y="872"/>
                  <a:pt x="2367" y="871"/>
                </a:cubicBezTo>
                <a:cubicBezTo>
                  <a:pt x="2367" y="871"/>
                  <a:pt x="2367" y="871"/>
                  <a:pt x="2366" y="870"/>
                </a:cubicBezTo>
                <a:cubicBezTo>
                  <a:pt x="2366" y="870"/>
                  <a:pt x="2366" y="870"/>
                  <a:pt x="2364" y="870"/>
                </a:cubicBezTo>
                <a:cubicBezTo>
                  <a:pt x="2364" y="870"/>
                  <a:pt x="2364" y="870"/>
                  <a:pt x="2363" y="868"/>
                </a:cubicBezTo>
                <a:close/>
                <a:moveTo>
                  <a:pt x="2356" y="860"/>
                </a:moveTo>
                <a:cubicBezTo>
                  <a:pt x="2355" y="859"/>
                  <a:pt x="2355" y="859"/>
                  <a:pt x="2355" y="859"/>
                </a:cubicBezTo>
                <a:cubicBezTo>
                  <a:pt x="2355" y="860"/>
                  <a:pt x="2355" y="860"/>
                  <a:pt x="2355" y="860"/>
                </a:cubicBezTo>
                <a:cubicBezTo>
                  <a:pt x="2357" y="861"/>
                  <a:pt x="2357" y="861"/>
                  <a:pt x="2357" y="861"/>
                </a:cubicBezTo>
                <a:cubicBezTo>
                  <a:pt x="2356" y="860"/>
                  <a:pt x="2356" y="860"/>
                  <a:pt x="2356" y="860"/>
                </a:cubicBezTo>
                <a:close/>
                <a:moveTo>
                  <a:pt x="2338" y="857"/>
                </a:moveTo>
                <a:cubicBezTo>
                  <a:pt x="2338" y="857"/>
                  <a:pt x="2338" y="857"/>
                  <a:pt x="2338" y="856"/>
                </a:cubicBezTo>
                <a:cubicBezTo>
                  <a:pt x="2338" y="856"/>
                  <a:pt x="2338" y="856"/>
                  <a:pt x="2337" y="856"/>
                </a:cubicBezTo>
                <a:cubicBezTo>
                  <a:pt x="2337" y="856"/>
                  <a:pt x="2337" y="856"/>
                  <a:pt x="2338" y="857"/>
                </a:cubicBezTo>
                <a:close/>
                <a:moveTo>
                  <a:pt x="2332" y="844"/>
                </a:moveTo>
                <a:cubicBezTo>
                  <a:pt x="2333" y="846"/>
                  <a:pt x="2333" y="846"/>
                  <a:pt x="2333" y="846"/>
                </a:cubicBezTo>
                <a:cubicBezTo>
                  <a:pt x="2335" y="847"/>
                  <a:pt x="2335" y="847"/>
                  <a:pt x="2335" y="847"/>
                </a:cubicBezTo>
                <a:cubicBezTo>
                  <a:pt x="2336" y="848"/>
                  <a:pt x="2336" y="848"/>
                  <a:pt x="2336" y="848"/>
                </a:cubicBezTo>
                <a:cubicBezTo>
                  <a:pt x="2338" y="849"/>
                  <a:pt x="2338" y="849"/>
                  <a:pt x="2338" y="849"/>
                </a:cubicBezTo>
                <a:cubicBezTo>
                  <a:pt x="2339" y="849"/>
                  <a:pt x="2339" y="849"/>
                  <a:pt x="2339" y="849"/>
                </a:cubicBezTo>
                <a:cubicBezTo>
                  <a:pt x="2339" y="848"/>
                  <a:pt x="2339" y="848"/>
                  <a:pt x="2339" y="848"/>
                </a:cubicBezTo>
                <a:cubicBezTo>
                  <a:pt x="2338" y="847"/>
                  <a:pt x="2338" y="847"/>
                  <a:pt x="2338" y="847"/>
                </a:cubicBezTo>
                <a:cubicBezTo>
                  <a:pt x="2337" y="846"/>
                  <a:pt x="2337" y="846"/>
                  <a:pt x="2337" y="846"/>
                </a:cubicBezTo>
                <a:cubicBezTo>
                  <a:pt x="2337" y="845"/>
                  <a:pt x="2337" y="845"/>
                  <a:pt x="2337" y="845"/>
                </a:cubicBezTo>
                <a:cubicBezTo>
                  <a:pt x="2336" y="845"/>
                  <a:pt x="2336" y="845"/>
                  <a:pt x="2336" y="845"/>
                </a:cubicBezTo>
                <a:cubicBezTo>
                  <a:pt x="2334" y="845"/>
                  <a:pt x="2334" y="845"/>
                  <a:pt x="2334" y="845"/>
                </a:cubicBezTo>
                <a:cubicBezTo>
                  <a:pt x="2333" y="843"/>
                  <a:pt x="2333" y="843"/>
                  <a:pt x="2333" y="843"/>
                </a:cubicBezTo>
                <a:cubicBezTo>
                  <a:pt x="2332" y="844"/>
                  <a:pt x="2332" y="844"/>
                  <a:pt x="2332" y="844"/>
                </a:cubicBezTo>
                <a:close/>
                <a:moveTo>
                  <a:pt x="2341" y="858"/>
                </a:moveTo>
                <a:cubicBezTo>
                  <a:pt x="2341" y="858"/>
                  <a:pt x="2341" y="858"/>
                  <a:pt x="2342" y="858"/>
                </a:cubicBezTo>
                <a:cubicBezTo>
                  <a:pt x="2342" y="858"/>
                  <a:pt x="2342" y="858"/>
                  <a:pt x="2342" y="857"/>
                </a:cubicBezTo>
                <a:cubicBezTo>
                  <a:pt x="2342" y="857"/>
                  <a:pt x="2342" y="857"/>
                  <a:pt x="2341" y="857"/>
                </a:cubicBezTo>
                <a:cubicBezTo>
                  <a:pt x="2341" y="857"/>
                  <a:pt x="2341" y="857"/>
                  <a:pt x="2341" y="858"/>
                </a:cubicBezTo>
                <a:close/>
                <a:moveTo>
                  <a:pt x="2391" y="872"/>
                </a:moveTo>
                <a:cubicBezTo>
                  <a:pt x="2391" y="872"/>
                  <a:pt x="2391" y="872"/>
                  <a:pt x="2390" y="871"/>
                </a:cubicBezTo>
                <a:cubicBezTo>
                  <a:pt x="2390" y="871"/>
                  <a:pt x="2390" y="871"/>
                  <a:pt x="2389" y="871"/>
                </a:cubicBezTo>
                <a:cubicBezTo>
                  <a:pt x="2389" y="871"/>
                  <a:pt x="2389" y="871"/>
                  <a:pt x="2388" y="872"/>
                </a:cubicBezTo>
                <a:cubicBezTo>
                  <a:pt x="2388" y="872"/>
                  <a:pt x="2388" y="872"/>
                  <a:pt x="2388" y="873"/>
                </a:cubicBezTo>
                <a:cubicBezTo>
                  <a:pt x="2388" y="873"/>
                  <a:pt x="2388" y="873"/>
                  <a:pt x="2390" y="873"/>
                </a:cubicBezTo>
                <a:cubicBezTo>
                  <a:pt x="2390" y="873"/>
                  <a:pt x="2390" y="873"/>
                  <a:pt x="2391" y="872"/>
                </a:cubicBezTo>
                <a:close/>
                <a:moveTo>
                  <a:pt x="2336" y="852"/>
                </a:moveTo>
                <a:cubicBezTo>
                  <a:pt x="2336" y="852"/>
                  <a:pt x="2336" y="852"/>
                  <a:pt x="2335" y="852"/>
                </a:cubicBezTo>
                <a:cubicBezTo>
                  <a:pt x="2335" y="853"/>
                  <a:pt x="2335" y="853"/>
                  <a:pt x="2335" y="853"/>
                </a:cubicBezTo>
                <a:cubicBezTo>
                  <a:pt x="2335" y="853"/>
                  <a:pt x="2335" y="853"/>
                  <a:pt x="2336" y="853"/>
                </a:cubicBezTo>
                <a:cubicBezTo>
                  <a:pt x="2336" y="853"/>
                  <a:pt x="2336" y="853"/>
                  <a:pt x="2337" y="853"/>
                </a:cubicBezTo>
                <a:cubicBezTo>
                  <a:pt x="2337" y="853"/>
                  <a:pt x="2337" y="853"/>
                  <a:pt x="2337" y="852"/>
                </a:cubicBezTo>
                <a:cubicBezTo>
                  <a:pt x="2337" y="852"/>
                  <a:pt x="2337" y="852"/>
                  <a:pt x="2336" y="852"/>
                </a:cubicBezTo>
                <a:close/>
                <a:moveTo>
                  <a:pt x="2333" y="841"/>
                </a:moveTo>
                <a:cubicBezTo>
                  <a:pt x="2331" y="843"/>
                  <a:pt x="2331" y="843"/>
                  <a:pt x="2331" y="843"/>
                </a:cubicBezTo>
                <a:cubicBezTo>
                  <a:pt x="2333" y="842"/>
                  <a:pt x="2333" y="842"/>
                  <a:pt x="2333" y="842"/>
                </a:cubicBezTo>
                <a:cubicBezTo>
                  <a:pt x="2333" y="841"/>
                  <a:pt x="2333" y="841"/>
                  <a:pt x="2333" y="841"/>
                </a:cubicBezTo>
                <a:close/>
                <a:moveTo>
                  <a:pt x="2333" y="851"/>
                </a:moveTo>
                <a:cubicBezTo>
                  <a:pt x="2333" y="851"/>
                  <a:pt x="2333" y="851"/>
                  <a:pt x="2333" y="852"/>
                </a:cubicBezTo>
                <a:cubicBezTo>
                  <a:pt x="2333" y="852"/>
                  <a:pt x="2333" y="852"/>
                  <a:pt x="2334" y="852"/>
                </a:cubicBezTo>
                <a:cubicBezTo>
                  <a:pt x="2334" y="852"/>
                  <a:pt x="2334" y="852"/>
                  <a:pt x="2334" y="851"/>
                </a:cubicBezTo>
                <a:cubicBezTo>
                  <a:pt x="2334" y="851"/>
                  <a:pt x="2334" y="851"/>
                  <a:pt x="2333" y="850"/>
                </a:cubicBezTo>
                <a:cubicBezTo>
                  <a:pt x="2333" y="850"/>
                  <a:pt x="2333" y="850"/>
                  <a:pt x="2333" y="851"/>
                </a:cubicBezTo>
                <a:close/>
                <a:moveTo>
                  <a:pt x="2296" y="865"/>
                </a:moveTo>
                <a:cubicBezTo>
                  <a:pt x="2296" y="865"/>
                  <a:pt x="2296" y="865"/>
                  <a:pt x="2296" y="866"/>
                </a:cubicBezTo>
                <a:cubicBezTo>
                  <a:pt x="2296" y="866"/>
                  <a:pt x="2296" y="866"/>
                  <a:pt x="2296" y="867"/>
                </a:cubicBezTo>
                <a:cubicBezTo>
                  <a:pt x="2296" y="867"/>
                  <a:pt x="2296" y="867"/>
                  <a:pt x="2297" y="867"/>
                </a:cubicBezTo>
                <a:cubicBezTo>
                  <a:pt x="2297" y="867"/>
                  <a:pt x="2297" y="867"/>
                  <a:pt x="2298" y="867"/>
                </a:cubicBezTo>
                <a:cubicBezTo>
                  <a:pt x="2298" y="867"/>
                  <a:pt x="2298" y="867"/>
                  <a:pt x="2299" y="866"/>
                </a:cubicBezTo>
                <a:cubicBezTo>
                  <a:pt x="2299" y="866"/>
                  <a:pt x="2299" y="866"/>
                  <a:pt x="2298" y="866"/>
                </a:cubicBezTo>
                <a:cubicBezTo>
                  <a:pt x="2298" y="866"/>
                  <a:pt x="2298" y="866"/>
                  <a:pt x="2297" y="866"/>
                </a:cubicBezTo>
                <a:cubicBezTo>
                  <a:pt x="2297" y="866"/>
                  <a:pt x="2297" y="866"/>
                  <a:pt x="2296" y="865"/>
                </a:cubicBezTo>
                <a:close/>
                <a:moveTo>
                  <a:pt x="2251" y="859"/>
                </a:moveTo>
                <a:cubicBezTo>
                  <a:pt x="2251" y="859"/>
                  <a:pt x="2251" y="859"/>
                  <a:pt x="2250" y="858"/>
                </a:cubicBezTo>
                <a:cubicBezTo>
                  <a:pt x="2248" y="857"/>
                  <a:pt x="2248" y="857"/>
                  <a:pt x="2248" y="857"/>
                </a:cubicBezTo>
                <a:cubicBezTo>
                  <a:pt x="2248" y="857"/>
                  <a:pt x="2248" y="857"/>
                  <a:pt x="2251" y="859"/>
                </a:cubicBezTo>
                <a:close/>
                <a:moveTo>
                  <a:pt x="2249" y="856"/>
                </a:moveTo>
                <a:cubicBezTo>
                  <a:pt x="2249" y="857"/>
                  <a:pt x="2249" y="857"/>
                  <a:pt x="2249" y="857"/>
                </a:cubicBezTo>
                <a:cubicBezTo>
                  <a:pt x="2250" y="856"/>
                  <a:pt x="2250" y="856"/>
                  <a:pt x="2250" y="856"/>
                </a:cubicBezTo>
                <a:cubicBezTo>
                  <a:pt x="2249" y="856"/>
                  <a:pt x="2249" y="856"/>
                  <a:pt x="2249" y="856"/>
                </a:cubicBezTo>
                <a:close/>
                <a:moveTo>
                  <a:pt x="2293" y="861"/>
                </a:moveTo>
                <a:cubicBezTo>
                  <a:pt x="2292" y="861"/>
                  <a:pt x="2292" y="861"/>
                  <a:pt x="2292" y="861"/>
                </a:cubicBezTo>
                <a:cubicBezTo>
                  <a:pt x="2291" y="862"/>
                  <a:pt x="2291" y="862"/>
                  <a:pt x="2291" y="862"/>
                </a:cubicBezTo>
                <a:cubicBezTo>
                  <a:pt x="2292" y="863"/>
                  <a:pt x="2292" y="863"/>
                  <a:pt x="2292" y="863"/>
                </a:cubicBezTo>
                <a:cubicBezTo>
                  <a:pt x="2293" y="863"/>
                  <a:pt x="2293" y="863"/>
                  <a:pt x="2293" y="863"/>
                </a:cubicBezTo>
                <a:cubicBezTo>
                  <a:pt x="2293" y="861"/>
                  <a:pt x="2293" y="861"/>
                  <a:pt x="2293" y="861"/>
                </a:cubicBezTo>
                <a:close/>
                <a:moveTo>
                  <a:pt x="2256" y="851"/>
                </a:moveTo>
                <a:cubicBezTo>
                  <a:pt x="2256" y="851"/>
                  <a:pt x="2256" y="851"/>
                  <a:pt x="2257" y="851"/>
                </a:cubicBezTo>
                <a:cubicBezTo>
                  <a:pt x="2257" y="851"/>
                  <a:pt x="2257" y="851"/>
                  <a:pt x="2257" y="850"/>
                </a:cubicBezTo>
                <a:cubicBezTo>
                  <a:pt x="2257" y="850"/>
                  <a:pt x="2257" y="850"/>
                  <a:pt x="2256" y="850"/>
                </a:cubicBezTo>
                <a:cubicBezTo>
                  <a:pt x="2256" y="850"/>
                  <a:pt x="2256" y="850"/>
                  <a:pt x="2256" y="851"/>
                </a:cubicBezTo>
                <a:close/>
                <a:moveTo>
                  <a:pt x="2307" y="860"/>
                </a:moveTo>
                <a:cubicBezTo>
                  <a:pt x="2307" y="861"/>
                  <a:pt x="2307" y="861"/>
                  <a:pt x="2307" y="861"/>
                </a:cubicBezTo>
                <a:cubicBezTo>
                  <a:pt x="2308" y="861"/>
                  <a:pt x="2308" y="861"/>
                  <a:pt x="2308" y="861"/>
                </a:cubicBezTo>
                <a:cubicBezTo>
                  <a:pt x="2309" y="862"/>
                  <a:pt x="2309" y="862"/>
                  <a:pt x="2309" y="862"/>
                </a:cubicBezTo>
                <a:cubicBezTo>
                  <a:pt x="2309" y="861"/>
                  <a:pt x="2309" y="861"/>
                  <a:pt x="2309" y="861"/>
                </a:cubicBezTo>
                <a:cubicBezTo>
                  <a:pt x="2307" y="859"/>
                  <a:pt x="2307" y="859"/>
                  <a:pt x="2307" y="859"/>
                </a:cubicBezTo>
                <a:cubicBezTo>
                  <a:pt x="2307" y="860"/>
                  <a:pt x="2307" y="860"/>
                  <a:pt x="2307" y="860"/>
                </a:cubicBezTo>
                <a:close/>
                <a:moveTo>
                  <a:pt x="2299" y="857"/>
                </a:moveTo>
                <a:cubicBezTo>
                  <a:pt x="2298" y="855"/>
                  <a:pt x="2298" y="855"/>
                  <a:pt x="2298" y="855"/>
                </a:cubicBezTo>
                <a:cubicBezTo>
                  <a:pt x="2297" y="856"/>
                  <a:pt x="2297" y="856"/>
                  <a:pt x="2297" y="856"/>
                </a:cubicBezTo>
                <a:cubicBezTo>
                  <a:pt x="2298" y="857"/>
                  <a:pt x="2298" y="857"/>
                  <a:pt x="2298" y="857"/>
                </a:cubicBezTo>
                <a:cubicBezTo>
                  <a:pt x="2298" y="858"/>
                  <a:pt x="2298" y="858"/>
                  <a:pt x="2298" y="858"/>
                </a:cubicBezTo>
                <a:cubicBezTo>
                  <a:pt x="2299" y="857"/>
                  <a:pt x="2299" y="857"/>
                  <a:pt x="2299" y="857"/>
                </a:cubicBezTo>
                <a:close/>
                <a:moveTo>
                  <a:pt x="2294" y="862"/>
                </a:moveTo>
                <a:cubicBezTo>
                  <a:pt x="2294" y="863"/>
                  <a:pt x="2294" y="863"/>
                  <a:pt x="2294" y="863"/>
                </a:cubicBezTo>
                <a:cubicBezTo>
                  <a:pt x="2294" y="864"/>
                  <a:pt x="2294" y="864"/>
                  <a:pt x="2294" y="864"/>
                </a:cubicBezTo>
                <a:cubicBezTo>
                  <a:pt x="2295" y="864"/>
                  <a:pt x="2295" y="864"/>
                  <a:pt x="2295" y="864"/>
                </a:cubicBezTo>
                <a:cubicBezTo>
                  <a:pt x="2296" y="864"/>
                  <a:pt x="2296" y="864"/>
                  <a:pt x="2296" y="864"/>
                </a:cubicBezTo>
                <a:cubicBezTo>
                  <a:pt x="2296" y="863"/>
                  <a:pt x="2296" y="863"/>
                  <a:pt x="2296" y="863"/>
                </a:cubicBezTo>
                <a:cubicBezTo>
                  <a:pt x="2295" y="863"/>
                  <a:pt x="2295" y="863"/>
                  <a:pt x="2295" y="863"/>
                </a:cubicBezTo>
                <a:cubicBezTo>
                  <a:pt x="2294" y="862"/>
                  <a:pt x="2294" y="862"/>
                  <a:pt x="2294" y="862"/>
                </a:cubicBezTo>
                <a:close/>
                <a:moveTo>
                  <a:pt x="2310" y="876"/>
                </a:moveTo>
                <a:cubicBezTo>
                  <a:pt x="2312" y="877"/>
                  <a:pt x="2312" y="877"/>
                  <a:pt x="2312" y="877"/>
                </a:cubicBezTo>
                <a:cubicBezTo>
                  <a:pt x="2311" y="876"/>
                  <a:pt x="2311" y="876"/>
                  <a:pt x="2311" y="876"/>
                </a:cubicBezTo>
                <a:cubicBezTo>
                  <a:pt x="2310" y="876"/>
                  <a:pt x="2310" y="876"/>
                  <a:pt x="2310" y="876"/>
                </a:cubicBezTo>
                <a:close/>
                <a:moveTo>
                  <a:pt x="2321" y="833"/>
                </a:moveTo>
                <a:cubicBezTo>
                  <a:pt x="2320" y="833"/>
                  <a:pt x="2320" y="833"/>
                  <a:pt x="2320" y="833"/>
                </a:cubicBezTo>
                <a:cubicBezTo>
                  <a:pt x="2320" y="834"/>
                  <a:pt x="2320" y="834"/>
                  <a:pt x="2320" y="834"/>
                </a:cubicBezTo>
                <a:cubicBezTo>
                  <a:pt x="2321" y="835"/>
                  <a:pt x="2321" y="835"/>
                  <a:pt x="2321" y="835"/>
                </a:cubicBezTo>
                <a:cubicBezTo>
                  <a:pt x="2321" y="833"/>
                  <a:pt x="2321" y="833"/>
                  <a:pt x="2321" y="833"/>
                </a:cubicBezTo>
                <a:close/>
                <a:moveTo>
                  <a:pt x="2319" y="829"/>
                </a:moveTo>
                <a:cubicBezTo>
                  <a:pt x="2319" y="829"/>
                  <a:pt x="2319" y="829"/>
                  <a:pt x="2319" y="830"/>
                </a:cubicBezTo>
                <a:cubicBezTo>
                  <a:pt x="2319" y="830"/>
                  <a:pt x="2319" y="830"/>
                  <a:pt x="2318" y="830"/>
                </a:cubicBezTo>
                <a:cubicBezTo>
                  <a:pt x="2318" y="830"/>
                  <a:pt x="2318" y="830"/>
                  <a:pt x="2318" y="831"/>
                </a:cubicBezTo>
                <a:cubicBezTo>
                  <a:pt x="2318" y="831"/>
                  <a:pt x="2318" y="831"/>
                  <a:pt x="2319" y="831"/>
                </a:cubicBezTo>
                <a:cubicBezTo>
                  <a:pt x="2319" y="831"/>
                  <a:pt x="2319" y="831"/>
                  <a:pt x="2320" y="830"/>
                </a:cubicBezTo>
                <a:cubicBezTo>
                  <a:pt x="2320" y="830"/>
                  <a:pt x="2320" y="830"/>
                  <a:pt x="2319" y="829"/>
                </a:cubicBezTo>
                <a:close/>
                <a:moveTo>
                  <a:pt x="2280" y="856"/>
                </a:moveTo>
                <a:cubicBezTo>
                  <a:pt x="2280" y="856"/>
                  <a:pt x="2280" y="856"/>
                  <a:pt x="2281" y="857"/>
                </a:cubicBezTo>
                <a:cubicBezTo>
                  <a:pt x="2281" y="857"/>
                  <a:pt x="2281" y="857"/>
                  <a:pt x="2281" y="859"/>
                </a:cubicBezTo>
                <a:cubicBezTo>
                  <a:pt x="2281" y="859"/>
                  <a:pt x="2281" y="859"/>
                  <a:pt x="2283" y="860"/>
                </a:cubicBezTo>
                <a:cubicBezTo>
                  <a:pt x="2283" y="860"/>
                  <a:pt x="2283" y="860"/>
                  <a:pt x="2284" y="860"/>
                </a:cubicBezTo>
                <a:cubicBezTo>
                  <a:pt x="2284" y="860"/>
                  <a:pt x="2284" y="860"/>
                  <a:pt x="2285" y="860"/>
                </a:cubicBezTo>
                <a:cubicBezTo>
                  <a:pt x="2285" y="860"/>
                  <a:pt x="2285" y="860"/>
                  <a:pt x="2286" y="860"/>
                </a:cubicBezTo>
                <a:cubicBezTo>
                  <a:pt x="2286" y="860"/>
                  <a:pt x="2286" y="860"/>
                  <a:pt x="2286" y="861"/>
                </a:cubicBezTo>
                <a:cubicBezTo>
                  <a:pt x="2286" y="861"/>
                  <a:pt x="2286" y="861"/>
                  <a:pt x="2285" y="862"/>
                </a:cubicBezTo>
                <a:cubicBezTo>
                  <a:pt x="2285" y="862"/>
                  <a:pt x="2285" y="862"/>
                  <a:pt x="2285" y="863"/>
                </a:cubicBezTo>
                <a:cubicBezTo>
                  <a:pt x="2285" y="863"/>
                  <a:pt x="2285" y="863"/>
                  <a:pt x="2286" y="864"/>
                </a:cubicBezTo>
                <a:cubicBezTo>
                  <a:pt x="2286" y="864"/>
                  <a:pt x="2286" y="864"/>
                  <a:pt x="2288" y="864"/>
                </a:cubicBezTo>
                <a:cubicBezTo>
                  <a:pt x="2288" y="864"/>
                  <a:pt x="2288" y="864"/>
                  <a:pt x="2290" y="864"/>
                </a:cubicBezTo>
                <a:cubicBezTo>
                  <a:pt x="2290" y="864"/>
                  <a:pt x="2290" y="864"/>
                  <a:pt x="2291" y="864"/>
                </a:cubicBezTo>
                <a:cubicBezTo>
                  <a:pt x="2291" y="864"/>
                  <a:pt x="2291" y="864"/>
                  <a:pt x="2290" y="865"/>
                </a:cubicBezTo>
                <a:cubicBezTo>
                  <a:pt x="2290" y="865"/>
                  <a:pt x="2290" y="865"/>
                  <a:pt x="2288" y="865"/>
                </a:cubicBezTo>
                <a:cubicBezTo>
                  <a:pt x="2288" y="865"/>
                  <a:pt x="2288" y="865"/>
                  <a:pt x="2289" y="866"/>
                </a:cubicBezTo>
                <a:cubicBezTo>
                  <a:pt x="2289" y="866"/>
                  <a:pt x="2289" y="866"/>
                  <a:pt x="2290" y="867"/>
                </a:cubicBezTo>
                <a:cubicBezTo>
                  <a:pt x="2290" y="867"/>
                  <a:pt x="2290" y="867"/>
                  <a:pt x="2293" y="867"/>
                </a:cubicBezTo>
                <a:cubicBezTo>
                  <a:pt x="2293" y="867"/>
                  <a:pt x="2293" y="867"/>
                  <a:pt x="2295" y="868"/>
                </a:cubicBezTo>
                <a:cubicBezTo>
                  <a:pt x="2295" y="868"/>
                  <a:pt x="2295" y="868"/>
                  <a:pt x="2294" y="869"/>
                </a:cubicBezTo>
                <a:cubicBezTo>
                  <a:pt x="2294" y="869"/>
                  <a:pt x="2294" y="869"/>
                  <a:pt x="2293" y="868"/>
                </a:cubicBezTo>
                <a:cubicBezTo>
                  <a:pt x="2293" y="868"/>
                  <a:pt x="2293" y="868"/>
                  <a:pt x="2292" y="868"/>
                </a:cubicBezTo>
                <a:cubicBezTo>
                  <a:pt x="2292" y="868"/>
                  <a:pt x="2292" y="868"/>
                  <a:pt x="2292" y="869"/>
                </a:cubicBezTo>
                <a:cubicBezTo>
                  <a:pt x="2292" y="869"/>
                  <a:pt x="2292" y="869"/>
                  <a:pt x="2293" y="869"/>
                </a:cubicBezTo>
                <a:cubicBezTo>
                  <a:pt x="2293" y="869"/>
                  <a:pt x="2293" y="869"/>
                  <a:pt x="2294" y="870"/>
                </a:cubicBezTo>
                <a:cubicBezTo>
                  <a:pt x="2294" y="870"/>
                  <a:pt x="2294" y="870"/>
                  <a:pt x="2294" y="871"/>
                </a:cubicBezTo>
                <a:cubicBezTo>
                  <a:pt x="2294" y="871"/>
                  <a:pt x="2294" y="871"/>
                  <a:pt x="2292" y="871"/>
                </a:cubicBezTo>
                <a:cubicBezTo>
                  <a:pt x="2292" y="871"/>
                  <a:pt x="2292" y="871"/>
                  <a:pt x="2291" y="870"/>
                </a:cubicBezTo>
                <a:cubicBezTo>
                  <a:pt x="2291" y="870"/>
                  <a:pt x="2291" y="870"/>
                  <a:pt x="2290" y="870"/>
                </a:cubicBezTo>
                <a:cubicBezTo>
                  <a:pt x="2290" y="870"/>
                  <a:pt x="2290" y="870"/>
                  <a:pt x="2290" y="869"/>
                </a:cubicBezTo>
                <a:cubicBezTo>
                  <a:pt x="2290" y="869"/>
                  <a:pt x="2290" y="869"/>
                  <a:pt x="2289" y="869"/>
                </a:cubicBezTo>
                <a:cubicBezTo>
                  <a:pt x="2289" y="869"/>
                  <a:pt x="2289" y="869"/>
                  <a:pt x="2288" y="868"/>
                </a:cubicBezTo>
                <a:cubicBezTo>
                  <a:pt x="2288" y="868"/>
                  <a:pt x="2288" y="868"/>
                  <a:pt x="2287" y="869"/>
                </a:cubicBezTo>
                <a:cubicBezTo>
                  <a:pt x="2287" y="869"/>
                  <a:pt x="2287" y="869"/>
                  <a:pt x="2286" y="868"/>
                </a:cubicBezTo>
                <a:cubicBezTo>
                  <a:pt x="2286" y="868"/>
                  <a:pt x="2286" y="868"/>
                  <a:pt x="2284" y="868"/>
                </a:cubicBezTo>
                <a:cubicBezTo>
                  <a:pt x="2284" y="868"/>
                  <a:pt x="2284" y="868"/>
                  <a:pt x="2283" y="868"/>
                </a:cubicBezTo>
                <a:cubicBezTo>
                  <a:pt x="2283" y="868"/>
                  <a:pt x="2283" y="868"/>
                  <a:pt x="2282" y="867"/>
                </a:cubicBezTo>
                <a:cubicBezTo>
                  <a:pt x="2282" y="867"/>
                  <a:pt x="2282" y="867"/>
                  <a:pt x="2280" y="868"/>
                </a:cubicBezTo>
                <a:cubicBezTo>
                  <a:pt x="2280" y="868"/>
                  <a:pt x="2280" y="868"/>
                  <a:pt x="2279" y="867"/>
                </a:cubicBezTo>
                <a:cubicBezTo>
                  <a:pt x="2279" y="867"/>
                  <a:pt x="2279" y="867"/>
                  <a:pt x="2278" y="867"/>
                </a:cubicBezTo>
                <a:cubicBezTo>
                  <a:pt x="2278" y="867"/>
                  <a:pt x="2278" y="867"/>
                  <a:pt x="2277" y="867"/>
                </a:cubicBezTo>
                <a:cubicBezTo>
                  <a:pt x="2277" y="867"/>
                  <a:pt x="2277" y="867"/>
                  <a:pt x="2276" y="867"/>
                </a:cubicBezTo>
                <a:cubicBezTo>
                  <a:pt x="2276" y="867"/>
                  <a:pt x="2276" y="867"/>
                  <a:pt x="2275" y="866"/>
                </a:cubicBezTo>
                <a:cubicBezTo>
                  <a:pt x="2275" y="866"/>
                  <a:pt x="2275" y="866"/>
                  <a:pt x="2274" y="865"/>
                </a:cubicBezTo>
                <a:cubicBezTo>
                  <a:pt x="2274" y="865"/>
                  <a:pt x="2274" y="865"/>
                  <a:pt x="2272" y="862"/>
                </a:cubicBezTo>
                <a:cubicBezTo>
                  <a:pt x="2272" y="862"/>
                  <a:pt x="2272" y="862"/>
                  <a:pt x="2271" y="861"/>
                </a:cubicBezTo>
                <a:cubicBezTo>
                  <a:pt x="2271" y="861"/>
                  <a:pt x="2271" y="861"/>
                  <a:pt x="2271" y="860"/>
                </a:cubicBezTo>
                <a:cubicBezTo>
                  <a:pt x="2271" y="860"/>
                  <a:pt x="2271" y="860"/>
                  <a:pt x="2269" y="860"/>
                </a:cubicBezTo>
                <a:cubicBezTo>
                  <a:pt x="2269" y="860"/>
                  <a:pt x="2269" y="860"/>
                  <a:pt x="2269" y="859"/>
                </a:cubicBezTo>
                <a:cubicBezTo>
                  <a:pt x="2269" y="859"/>
                  <a:pt x="2269" y="859"/>
                  <a:pt x="2268" y="857"/>
                </a:cubicBezTo>
                <a:cubicBezTo>
                  <a:pt x="2268" y="857"/>
                  <a:pt x="2268" y="857"/>
                  <a:pt x="2267" y="855"/>
                </a:cubicBezTo>
                <a:cubicBezTo>
                  <a:pt x="2267" y="855"/>
                  <a:pt x="2267" y="855"/>
                  <a:pt x="2266" y="854"/>
                </a:cubicBezTo>
                <a:cubicBezTo>
                  <a:pt x="2266" y="854"/>
                  <a:pt x="2266" y="854"/>
                  <a:pt x="2265" y="854"/>
                </a:cubicBezTo>
                <a:cubicBezTo>
                  <a:pt x="2265" y="854"/>
                  <a:pt x="2265" y="854"/>
                  <a:pt x="2262" y="853"/>
                </a:cubicBezTo>
                <a:cubicBezTo>
                  <a:pt x="2262" y="853"/>
                  <a:pt x="2262" y="853"/>
                  <a:pt x="2261" y="852"/>
                </a:cubicBezTo>
                <a:cubicBezTo>
                  <a:pt x="2261" y="852"/>
                  <a:pt x="2261" y="852"/>
                  <a:pt x="2260" y="852"/>
                </a:cubicBezTo>
                <a:cubicBezTo>
                  <a:pt x="2260" y="852"/>
                  <a:pt x="2260" y="852"/>
                  <a:pt x="2259" y="851"/>
                </a:cubicBezTo>
                <a:cubicBezTo>
                  <a:pt x="2259" y="851"/>
                  <a:pt x="2259" y="851"/>
                  <a:pt x="2258" y="851"/>
                </a:cubicBezTo>
                <a:cubicBezTo>
                  <a:pt x="2258" y="851"/>
                  <a:pt x="2258" y="851"/>
                  <a:pt x="2258" y="850"/>
                </a:cubicBezTo>
                <a:cubicBezTo>
                  <a:pt x="2258" y="850"/>
                  <a:pt x="2258" y="850"/>
                  <a:pt x="2257" y="850"/>
                </a:cubicBezTo>
                <a:cubicBezTo>
                  <a:pt x="2257" y="850"/>
                  <a:pt x="2257" y="850"/>
                  <a:pt x="2256" y="849"/>
                </a:cubicBezTo>
                <a:cubicBezTo>
                  <a:pt x="2256" y="849"/>
                  <a:pt x="2256" y="849"/>
                  <a:pt x="2255" y="848"/>
                </a:cubicBezTo>
                <a:cubicBezTo>
                  <a:pt x="2255" y="848"/>
                  <a:pt x="2255" y="848"/>
                  <a:pt x="2255" y="850"/>
                </a:cubicBezTo>
                <a:cubicBezTo>
                  <a:pt x="2255" y="850"/>
                  <a:pt x="2255" y="850"/>
                  <a:pt x="2255" y="851"/>
                </a:cubicBezTo>
                <a:cubicBezTo>
                  <a:pt x="2255" y="851"/>
                  <a:pt x="2255" y="851"/>
                  <a:pt x="2254" y="850"/>
                </a:cubicBezTo>
                <a:cubicBezTo>
                  <a:pt x="2254" y="850"/>
                  <a:pt x="2254" y="850"/>
                  <a:pt x="2254" y="851"/>
                </a:cubicBezTo>
                <a:cubicBezTo>
                  <a:pt x="2254" y="851"/>
                  <a:pt x="2254" y="851"/>
                  <a:pt x="2253" y="851"/>
                </a:cubicBezTo>
                <a:cubicBezTo>
                  <a:pt x="2253" y="851"/>
                  <a:pt x="2253" y="851"/>
                  <a:pt x="2252" y="850"/>
                </a:cubicBezTo>
                <a:cubicBezTo>
                  <a:pt x="2252" y="850"/>
                  <a:pt x="2252" y="850"/>
                  <a:pt x="2252" y="849"/>
                </a:cubicBezTo>
                <a:cubicBezTo>
                  <a:pt x="2252" y="849"/>
                  <a:pt x="2252" y="849"/>
                  <a:pt x="2251" y="849"/>
                </a:cubicBezTo>
                <a:cubicBezTo>
                  <a:pt x="2251" y="849"/>
                  <a:pt x="2251" y="849"/>
                  <a:pt x="2251" y="850"/>
                </a:cubicBezTo>
                <a:cubicBezTo>
                  <a:pt x="2251" y="850"/>
                  <a:pt x="2251" y="850"/>
                  <a:pt x="2252" y="851"/>
                </a:cubicBezTo>
                <a:cubicBezTo>
                  <a:pt x="2252" y="851"/>
                  <a:pt x="2252" y="851"/>
                  <a:pt x="2251" y="852"/>
                </a:cubicBezTo>
                <a:cubicBezTo>
                  <a:pt x="2252" y="852"/>
                  <a:pt x="2252" y="852"/>
                  <a:pt x="2252" y="852"/>
                </a:cubicBezTo>
                <a:cubicBezTo>
                  <a:pt x="2252" y="853"/>
                  <a:pt x="2252" y="853"/>
                  <a:pt x="2252" y="853"/>
                </a:cubicBezTo>
                <a:cubicBezTo>
                  <a:pt x="2252" y="854"/>
                  <a:pt x="2252" y="854"/>
                  <a:pt x="2252" y="854"/>
                </a:cubicBezTo>
                <a:cubicBezTo>
                  <a:pt x="2251" y="853"/>
                  <a:pt x="2251" y="853"/>
                  <a:pt x="2251" y="853"/>
                </a:cubicBezTo>
                <a:cubicBezTo>
                  <a:pt x="2251" y="853"/>
                  <a:pt x="2251" y="853"/>
                  <a:pt x="2251" y="854"/>
                </a:cubicBezTo>
                <a:cubicBezTo>
                  <a:pt x="2251" y="854"/>
                  <a:pt x="2251" y="854"/>
                  <a:pt x="2250" y="854"/>
                </a:cubicBezTo>
                <a:cubicBezTo>
                  <a:pt x="2250" y="854"/>
                  <a:pt x="2250" y="854"/>
                  <a:pt x="2249" y="852"/>
                </a:cubicBezTo>
                <a:cubicBezTo>
                  <a:pt x="2249" y="852"/>
                  <a:pt x="2249" y="852"/>
                  <a:pt x="2248" y="853"/>
                </a:cubicBezTo>
                <a:cubicBezTo>
                  <a:pt x="2248" y="853"/>
                  <a:pt x="2248" y="853"/>
                  <a:pt x="2249" y="853"/>
                </a:cubicBezTo>
                <a:cubicBezTo>
                  <a:pt x="2249" y="853"/>
                  <a:pt x="2249" y="853"/>
                  <a:pt x="2249" y="854"/>
                </a:cubicBezTo>
                <a:cubicBezTo>
                  <a:pt x="2249" y="854"/>
                  <a:pt x="2249" y="854"/>
                  <a:pt x="2250" y="854"/>
                </a:cubicBezTo>
                <a:cubicBezTo>
                  <a:pt x="2250" y="854"/>
                  <a:pt x="2250" y="854"/>
                  <a:pt x="2250" y="855"/>
                </a:cubicBezTo>
                <a:cubicBezTo>
                  <a:pt x="2250" y="855"/>
                  <a:pt x="2250" y="855"/>
                  <a:pt x="2249" y="855"/>
                </a:cubicBezTo>
                <a:cubicBezTo>
                  <a:pt x="2249" y="855"/>
                  <a:pt x="2249" y="855"/>
                  <a:pt x="2248" y="855"/>
                </a:cubicBezTo>
                <a:cubicBezTo>
                  <a:pt x="2248" y="855"/>
                  <a:pt x="2248" y="855"/>
                  <a:pt x="2246" y="856"/>
                </a:cubicBezTo>
                <a:cubicBezTo>
                  <a:pt x="2246" y="856"/>
                  <a:pt x="2246" y="856"/>
                  <a:pt x="2245" y="856"/>
                </a:cubicBezTo>
                <a:cubicBezTo>
                  <a:pt x="2245" y="856"/>
                  <a:pt x="2245" y="856"/>
                  <a:pt x="2247" y="857"/>
                </a:cubicBezTo>
                <a:cubicBezTo>
                  <a:pt x="2247" y="857"/>
                  <a:pt x="2247" y="857"/>
                  <a:pt x="2249" y="858"/>
                </a:cubicBezTo>
                <a:cubicBezTo>
                  <a:pt x="2249" y="858"/>
                  <a:pt x="2249" y="858"/>
                  <a:pt x="2249" y="860"/>
                </a:cubicBezTo>
                <a:cubicBezTo>
                  <a:pt x="2249" y="860"/>
                  <a:pt x="2249" y="860"/>
                  <a:pt x="2248" y="861"/>
                </a:cubicBezTo>
                <a:cubicBezTo>
                  <a:pt x="2248" y="861"/>
                  <a:pt x="2248" y="861"/>
                  <a:pt x="2248" y="860"/>
                </a:cubicBezTo>
                <a:cubicBezTo>
                  <a:pt x="2248" y="860"/>
                  <a:pt x="2248" y="860"/>
                  <a:pt x="2247" y="861"/>
                </a:cubicBezTo>
                <a:cubicBezTo>
                  <a:pt x="2247" y="861"/>
                  <a:pt x="2247" y="861"/>
                  <a:pt x="2245" y="861"/>
                </a:cubicBezTo>
                <a:cubicBezTo>
                  <a:pt x="2245" y="861"/>
                  <a:pt x="2245" y="861"/>
                  <a:pt x="2244" y="862"/>
                </a:cubicBezTo>
                <a:cubicBezTo>
                  <a:pt x="2244" y="862"/>
                  <a:pt x="2244" y="862"/>
                  <a:pt x="2243" y="862"/>
                </a:cubicBezTo>
                <a:cubicBezTo>
                  <a:pt x="2243" y="862"/>
                  <a:pt x="2243" y="862"/>
                  <a:pt x="2242" y="861"/>
                </a:cubicBezTo>
                <a:cubicBezTo>
                  <a:pt x="2242" y="861"/>
                  <a:pt x="2242" y="861"/>
                  <a:pt x="2242" y="860"/>
                </a:cubicBezTo>
                <a:cubicBezTo>
                  <a:pt x="2242" y="860"/>
                  <a:pt x="2242" y="860"/>
                  <a:pt x="2241" y="861"/>
                </a:cubicBezTo>
                <a:cubicBezTo>
                  <a:pt x="2241" y="861"/>
                  <a:pt x="2241" y="861"/>
                  <a:pt x="2238" y="860"/>
                </a:cubicBezTo>
                <a:cubicBezTo>
                  <a:pt x="2238" y="860"/>
                  <a:pt x="2238" y="860"/>
                  <a:pt x="2237" y="861"/>
                </a:cubicBezTo>
                <a:cubicBezTo>
                  <a:pt x="2237" y="861"/>
                  <a:pt x="2237" y="861"/>
                  <a:pt x="2236" y="860"/>
                </a:cubicBezTo>
                <a:cubicBezTo>
                  <a:pt x="2236" y="860"/>
                  <a:pt x="2236" y="860"/>
                  <a:pt x="2234" y="860"/>
                </a:cubicBezTo>
                <a:cubicBezTo>
                  <a:pt x="2233" y="860"/>
                  <a:pt x="2233" y="860"/>
                  <a:pt x="2233" y="860"/>
                </a:cubicBezTo>
                <a:cubicBezTo>
                  <a:pt x="2232" y="860"/>
                  <a:pt x="2232" y="860"/>
                  <a:pt x="2232" y="860"/>
                </a:cubicBezTo>
                <a:cubicBezTo>
                  <a:pt x="2230" y="858"/>
                  <a:pt x="2230" y="858"/>
                  <a:pt x="2230" y="858"/>
                </a:cubicBezTo>
                <a:cubicBezTo>
                  <a:pt x="2230" y="857"/>
                  <a:pt x="2230" y="857"/>
                  <a:pt x="2230" y="857"/>
                </a:cubicBezTo>
                <a:cubicBezTo>
                  <a:pt x="2228" y="855"/>
                  <a:pt x="2228" y="855"/>
                  <a:pt x="2228" y="855"/>
                </a:cubicBezTo>
                <a:cubicBezTo>
                  <a:pt x="2228" y="854"/>
                  <a:pt x="2228" y="854"/>
                  <a:pt x="2228" y="854"/>
                </a:cubicBezTo>
                <a:cubicBezTo>
                  <a:pt x="2228" y="853"/>
                  <a:pt x="2228" y="853"/>
                  <a:pt x="2228" y="853"/>
                </a:cubicBezTo>
                <a:cubicBezTo>
                  <a:pt x="2227" y="854"/>
                  <a:pt x="2227" y="854"/>
                  <a:pt x="2227" y="854"/>
                </a:cubicBezTo>
                <a:cubicBezTo>
                  <a:pt x="2225" y="854"/>
                  <a:pt x="2225" y="854"/>
                  <a:pt x="2225" y="854"/>
                </a:cubicBezTo>
                <a:cubicBezTo>
                  <a:pt x="2224" y="854"/>
                  <a:pt x="2224" y="854"/>
                  <a:pt x="2224" y="854"/>
                </a:cubicBezTo>
                <a:cubicBezTo>
                  <a:pt x="2223" y="854"/>
                  <a:pt x="2223" y="854"/>
                  <a:pt x="2223" y="854"/>
                </a:cubicBezTo>
                <a:cubicBezTo>
                  <a:pt x="2221" y="854"/>
                  <a:pt x="2221" y="854"/>
                  <a:pt x="2221" y="854"/>
                </a:cubicBezTo>
                <a:cubicBezTo>
                  <a:pt x="2220" y="853"/>
                  <a:pt x="2220" y="853"/>
                  <a:pt x="2220" y="853"/>
                </a:cubicBezTo>
                <a:cubicBezTo>
                  <a:pt x="2221" y="853"/>
                  <a:pt x="2221" y="853"/>
                  <a:pt x="2221" y="853"/>
                </a:cubicBezTo>
                <a:cubicBezTo>
                  <a:pt x="2221" y="852"/>
                  <a:pt x="2221" y="852"/>
                  <a:pt x="2221" y="852"/>
                </a:cubicBezTo>
                <a:cubicBezTo>
                  <a:pt x="2221" y="852"/>
                  <a:pt x="2221" y="852"/>
                  <a:pt x="2220" y="852"/>
                </a:cubicBezTo>
                <a:cubicBezTo>
                  <a:pt x="2220" y="852"/>
                  <a:pt x="2220" y="852"/>
                  <a:pt x="2220" y="853"/>
                </a:cubicBezTo>
                <a:cubicBezTo>
                  <a:pt x="2220" y="853"/>
                  <a:pt x="2220" y="853"/>
                  <a:pt x="2219" y="854"/>
                </a:cubicBezTo>
                <a:cubicBezTo>
                  <a:pt x="2219" y="854"/>
                  <a:pt x="2219" y="854"/>
                  <a:pt x="2218" y="855"/>
                </a:cubicBezTo>
                <a:cubicBezTo>
                  <a:pt x="2218" y="855"/>
                  <a:pt x="2218" y="855"/>
                  <a:pt x="2217" y="855"/>
                </a:cubicBezTo>
                <a:cubicBezTo>
                  <a:pt x="2217" y="855"/>
                  <a:pt x="2217" y="855"/>
                  <a:pt x="2215" y="855"/>
                </a:cubicBezTo>
                <a:cubicBezTo>
                  <a:pt x="2215" y="855"/>
                  <a:pt x="2215" y="855"/>
                  <a:pt x="2214" y="855"/>
                </a:cubicBezTo>
                <a:cubicBezTo>
                  <a:pt x="2214" y="855"/>
                  <a:pt x="2214" y="855"/>
                  <a:pt x="2212" y="855"/>
                </a:cubicBezTo>
                <a:cubicBezTo>
                  <a:pt x="2212" y="855"/>
                  <a:pt x="2212" y="855"/>
                  <a:pt x="2215" y="853"/>
                </a:cubicBezTo>
                <a:cubicBezTo>
                  <a:pt x="2215" y="853"/>
                  <a:pt x="2215" y="853"/>
                  <a:pt x="2216" y="851"/>
                </a:cubicBezTo>
                <a:cubicBezTo>
                  <a:pt x="2216" y="851"/>
                  <a:pt x="2216" y="851"/>
                  <a:pt x="2216" y="850"/>
                </a:cubicBezTo>
                <a:cubicBezTo>
                  <a:pt x="2216" y="850"/>
                  <a:pt x="2216" y="850"/>
                  <a:pt x="2218" y="849"/>
                </a:cubicBezTo>
                <a:cubicBezTo>
                  <a:pt x="2218" y="849"/>
                  <a:pt x="2218" y="849"/>
                  <a:pt x="2220" y="849"/>
                </a:cubicBezTo>
                <a:cubicBezTo>
                  <a:pt x="2220" y="849"/>
                  <a:pt x="2220" y="849"/>
                  <a:pt x="2221" y="850"/>
                </a:cubicBezTo>
                <a:cubicBezTo>
                  <a:pt x="2221" y="850"/>
                  <a:pt x="2221" y="850"/>
                  <a:pt x="2221" y="851"/>
                </a:cubicBezTo>
                <a:cubicBezTo>
                  <a:pt x="2222" y="851"/>
                  <a:pt x="2222" y="851"/>
                  <a:pt x="2222" y="851"/>
                </a:cubicBezTo>
                <a:cubicBezTo>
                  <a:pt x="2222" y="849"/>
                  <a:pt x="2222" y="849"/>
                  <a:pt x="2222" y="849"/>
                </a:cubicBezTo>
                <a:cubicBezTo>
                  <a:pt x="2221" y="849"/>
                  <a:pt x="2221" y="849"/>
                  <a:pt x="2221" y="849"/>
                </a:cubicBezTo>
                <a:cubicBezTo>
                  <a:pt x="2220" y="848"/>
                  <a:pt x="2220" y="848"/>
                  <a:pt x="2220" y="848"/>
                </a:cubicBezTo>
                <a:cubicBezTo>
                  <a:pt x="2221" y="848"/>
                  <a:pt x="2221" y="848"/>
                  <a:pt x="2221" y="848"/>
                </a:cubicBezTo>
                <a:cubicBezTo>
                  <a:pt x="2222" y="848"/>
                  <a:pt x="2222" y="848"/>
                  <a:pt x="2222" y="848"/>
                </a:cubicBezTo>
                <a:cubicBezTo>
                  <a:pt x="2223" y="848"/>
                  <a:pt x="2223" y="848"/>
                  <a:pt x="2223" y="848"/>
                </a:cubicBezTo>
                <a:cubicBezTo>
                  <a:pt x="2224" y="848"/>
                  <a:pt x="2224" y="848"/>
                  <a:pt x="2224" y="848"/>
                </a:cubicBezTo>
                <a:cubicBezTo>
                  <a:pt x="2223" y="847"/>
                  <a:pt x="2223" y="847"/>
                  <a:pt x="2223" y="847"/>
                </a:cubicBezTo>
                <a:cubicBezTo>
                  <a:pt x="2221" y="848"/>
                  <a:pt x="2221" y="848"/>
                  <a:pt x="2221" y="848"/>
                </a:cubicBezTo>
                <a:cubicBezTo>
                  <a:pt x="2220" y="847"/>
                  <a:pt x="2220" y="847"/>
                  <a:pt x="2220" y="847"/>
                </a:cubicBezTo>
                <a:cubicBezTo>
                  <a:pt x="2219" y="846"/>
                  <a:pt x="2219" y="846"/>
                  <a:pt x="2219" y="846"/>
                </a:cubicBezTo>
                <a:cubicBezTo>
                  <a:pt x="2219" y="845"/>
                  <a:pt x="2219" y="845"/>
                  <a:pt x="2219" y="845"/>
                </a:cubicBezTo>
                <a:cubicBezTo>
                  <a:pt x="2220" y="845"/>
                  <a:pt x="2220" y="845"/>
                  <a:pt x="2220" y="845"/>
                </a:cubicBezTo>
                <a:cubicBezTo>
                  <a:pt x="2221" y="845"/>
                  <a:pt x="2221" y="845"/>
                  <a:pt x="2221" y="845"/>
                </a:cubicBezTo>
                <a:cubicBezTo>
                  <a:pt x="2219" y="844"/>
                  <a:pt x="2219" y="844"/>
                  <a:pt x="2219" y="844"/>
                </a:cubicBezTo>
                <a:cubicBezTo>
                  <a:pt x="2218" y="843"/>
                  <a:pt x="2218" y="843"/>
                  <a:pt x="2218" y="843"/>
                </a:cubicBezTo>
                <a:cubicBezTo>
                  <a:pt x="2217" y="842"/>
                  <a:pt x="2217" y="842"/>
                  <a:pt x="2217" y="842"/>
                </a:cubicBezTo>
                <a:cubicBezTo>
                  <a:pt x="2218" y="841"/>
                  <a:pt x="2218" y="841"/>
                  <a:pt x="2218" y="841"/>
                </a:cubicBezTo>
                <a:cubicBezTo>
                  <a:pt x="2216" y="839"/>
                  <a:pt x="2216" y="839"/>
                  <a:pt x="2216" y="839"/>
                </a:cubicBezTo>
                <a:cubicBezTo>
                  <a:pt x="2218" y="838"/>
                  <a:pt x="2218" y="838"/>
                  <a:pt x="2218" y="838"/>
                </a:cubicBezTo>
                <a:cubicBezTo>
                  <a:pt x="2216" y="838"/>
                  <a:pt x="2216" y="838"/>
                  <a:pt x="2216" y="838"/>
                </a:cubicBezTo>
                <a:cubicBezTo>
                  <a:pt x="2216" y="837"/>
                  <a:pt x="2216" y="837"/>
                  <a:pt x="2216" y="837"/>
                </a:cubicBezTo>
                <a:cubicBezTo>
                  <a:pt x="2216" y="836"/>
                  <a:pt x="2216" y="836"/>
                  <a:pt x="2216" y="836"/>
                </a:cubicBezTo>
                <a:cubicBezTo>
                  <a:pt x="2215" y="836"/>
                  <a:pt x="2215" y="836"/>
                  <a:pt x="2215" y="836"/>
                </a:cubicBezTo>
                <a:cubicBezTo>
                  <a:pt x="2215" y="835"/>
                  <a:pt x="2215" y="835"/>
                  <a:pt x="2215" y="835"/>
                </a:cubicBezTo>
                <a:cubicBezTo>
                  <a:pt x="2214" y="836"/>
                  <a:pt x="2214" y="836"/>
                  <a:pt x="2214" y="836"/>
                </a:cubicBezTo>
                <a:cubicBezTo>
                  <a:pt x="2213" y="835"/>
                  <a:pt x="2213" y="835"/>
                  <a:pt x="2213" y="835"/>
                </a:cubicBezTo>
                <a:cubicBezTo>
                  <a:pt x="2214" y="835"/>
                  <a:pt x="2214" y="835"/>
                  <a:pt x="2214" y="835"/>
                </a:cubicBezTo>
                <a:cubicBezTo>
                  <a:pt x="2214" y="835"/>
                  <a:pt x="2214" y="835"/>
                  <a:pt x="2214" y="834"/>
                </a:cubicBezTo>
                <a:cubicBezTo>
                  <a:pt x="2214" y="834"/>
                  <a:pt x="2214" y="834"/>
                  <a:pt x="2213" y="835"/>
                </a:cubicBezTo>
                <a:cubicBezTo>
                  <a:pt x="2212" y="835"/>
                  <a:pt x="2212" y="835"/>
                  <a:pt x="2212" y="835"/>
                </a:cubicBezTo>
                <a:cubicBezTo>
                  <a:pt x="2211" y="834"/>
                  <a:pt x="2211" y="834"/>
                  <a:pt x="2211" y="834"/>
                </a:cubicBezTo>
                <a:cubicBezTo>
                  <a:pt x="2210" y="833"/>
                  <a:pt x="2210" y="833"/>
                  <a:pt x="2210" y="833"/>
                </a:cubicBezTo>
                <a:cubicBezTo>
                  <a:pt x="2209" y="832"/>
                  <a:pt x="2209" y="832"/>
                  <a:pt x="2209" y="832"/>
                </a:cubicBezTo>
                <a:cubicBezTo>
                  <a:pt x="2207" y="832"/>
                  <a:pt x="2207" y="832"/>
                  <a:pt x="2207" y="832"/>
                </a:cubicBezTo>
                <a:cubicBezTo>
                  <a:pt x="2204" y="831"/>
                  <a:pt x="2204" y="831"/>
                  <a:pt x="2204" y="831"/>
                </a:cubicBezTo>
                <a:cubicBezTo>
                  <a:pt x="2200" y="830"/>
                  <a:pt x="2200" y="830"/>
                  <a:pt x="2200" y="830"/>
                </a:cubicBezTo>
                <a:cubicBezTo>
                  <a:pt x="2198" y="830"/>
                  <a:pt x="2198" y="830"/>
                  <a:pt x="2198" y="830"/>
                </a:cubicBezTo>
                <a:cubicBezTo>
                  <a:pt x="2197" y="829"/>
                  <a:pt x="2197" y="829"/>
                  <a:pt x="2197" y="829"/>
                </a:cubicBezTo>
                <a:cubicBezTo>
                  <a:pt x="2196" y="829"/>
                  <a:pt x="2196" y="829"/>
                  <a:pt x="2196" y="829"/>
                </a:cubicBezTo>
                <a:cubicBezTo>
                  <a:pt x="2196" y="828"/>
                  <a:pt x="2196" y="828"/>
                  <a:pt x="2196" y="828"/>
                </a:cubicBezTo>
                <a:cubicBezTo>
                  <a:pt x="2195" y="828"/>
                  <a:pt x="2195" y="828"/>
                  <a:pt x="2195" y="828"/>
                </a:cubicBezTo>
                <a:cubicBezTo>
                  <a:pt x="2195" y="827"/>
                  <a:pt x="2195" y="827"/>
                  <a:pt x="2195" y="827"/>
                </a:cubicBezTo>
                <a:cubicBezTo>
                  <a:pt x="2194" y="827"/>
                  <a:pt x="2194" y="827"/>
                  <a:pt x="2194" y="827"/>
                </a:cubicBezTo>
                <a:cubicBezTo>
                  <a:pt x="2193" y="827"/>
                  <a:pt x="2193" y="827"/>
                  <a:pt x="2193" y="827"/>
                </a:cubicBezTo>
                <a:cubicBezTo>
                  <a:pt x="2193" y="826"/>
                  <a:pt x="2193" y="826"/>
                  <a:pt x="2193" y="826"/>
                </a:cubicBezTo>
                <a:cubicBezTo>
                  <a:pt x="2192" y="827"/>
                  <a:pt x="2192" y="827"/>
                  <a:pt x="2192" y="827"/>
                </a:cubicBezTo>
                <a:cubicBezTo>
                  <a:pt x="2192" y="825"/>
                  <a:pt x="2192" y="825"/>
                  <a:pt x="2192" y="825"/>
                </a:cubicBezTo>
                <a:cubicBezTo>
                  <a:pt x="2191" y="825"/>
                  <a:pt x="2191" y="825"/>
                  <a:pt x="2191" y="825"/>
                </a:cubicBezTo>
                <a:cubicBezTo>
                  <a:pt x="2190" y="826"/>
                  <a:pt x="2190" y="826"/>
                  <a:pt x="2190" y="826"/>
                </a:cubicBezTo>
                <a:cubicBezTo>
                  <a:pt x="2190" y="825"/>
                  <a:pt x="2190" y="825"/>
                  <a:pt x="2190" y="825"/>
                </a:cubicBezTo>
                <a:cubicBezTo>
                  <a:pt x="2189" y="823"/>
                  <a:pt x="2189" y="823"/>
                  <a:pt x="2189" y="823"/>
                </a:cubicBezTo>
                <a:cubicBezTo>
                  <a:pt x="2189" y="822"/>
                  <a:pt x="2189" y="822"/>
                  <a:pt x="2189" y="822"/>
                </a:cubicBezTo>
                <a:cubicBezTo>
                  <a:pt x="2190" y="821"/>
                  <a:pt x="2190" y="821"/>
                  <a:pt x="2190" y="821"/>
                </a:cubicBezTo>
                <a:cubicBezTo>
                  <a:pt x="2190" y="820"/>
                  <a:pt x="2190" y="820"/>
                  <a:pt x="2190" y="820"/>
                </a:cubicBezTo>
                <a:cubicBezTo>
                  <a:pt x="2189" y="821"/>
                  <a:pt x="2189" y="821"/>
                  <a:pt x="2189" y="821"/>
                </a:cubicBezTo>
                <a:cubicBezTo>
                  <a:pt x="2188" y="822"/>
                  <a:pt x="2188" y="822"/>
                  <a:pt x="2188" y="822"/>
                </a:cubicBezTo>
                <a:cubicBezTo>
                  <a:pt x="2188" y="823"/>
                  <a:pt x="2188" y="823"/>
                  <a:pt x="2188" y="823"/>
                </a:cubicBezTo>
                <a:cubicBezTo>
                  <a:pt x="2187" y="825"/>
                  <a:pt x="2187" y="825"/>
                  <a:pt x="2187" y="825"/>
                </a:cubicBezTo>
                <a:cubicBezTo>
                  <a:pt x="2187" y="826"/>
                  <a:pt x="2187" y="826"/>
                  <a:pt x="2187" y="826"/>
                </a:cubicBezTo>
                <a:cubicBezTo>
                  <a:pt x="2186" y="828"/>
                  <a:pt x="2186" y="828"/>
                  <a:pt x="2186" y="828"/>
                </a:cubicBezTo>
                <a:cubicBezTo>
                  <a:pt x="2184" y="828"/>
                  <a:pt x="2184" y="828"/>
                  <a:pt x="2184" y="828"/>
                </a:cubicBezTo>
                <a:cubicBezTo>
                  <a:pt x="2183" y="828"/>
                  <a:pt x="2183" y="828"/>
                  <a:pt x="2183" y="828"/>
                </a:cubicBezTo>
                <a:cubicBezTo>
                  <a:pt x="2182" y="826"/>
                  <a:pt x="2182" y="826"/>
                  <a:pt x="2182" y="826"/>
                </a:cubicBezTo>
                <a:cubicBezTo>
                  <a:pt x="2182" y="825"/>
                  <a:pt x="2182" y="825"/>
                  <a:pt x="2182" y="825"/>
                </a:cubicBezTo>
                <a:cubicBezTo>
                  <a:pt x="2183" y="825"/>
                  <a:pt x="2183" y="825"/>
                  <a:pt x="2183" y="825"/>
                </a:cubicBezTo>
                <a:cubicBezTo>
                  <a:pt x="2183" y="824"/>
                  <a:pt x="2183" y="824"/>
                  <a:pt x="2183" y="824"/>
                </a:cubicBezTo>
                <a:cubicBezTo>
                  <a:pt x="2183" y="823"/>
                  <a:pt x="2183" y="823"/>
                  <a:pt x="2183" y="823"/>
                </a:cubicBezTo>
                <a:cubicBezTo>
                  <a:pt x="2182" y="823"/>
                  <a:pt x="2182" y="823"/>
                  <a:pt x="2182" y="823"/>
                </a:cubicBezTo>
                <a:cubicBezTo>
                  <a:pt x="2181" y="821"/>
                  <a:pt x="2181" y="821"/>
                  <a:pt x="2181" y="821"/>
                </a:cubicBezTo>
                <a:cubicBezTo>
                  <a:pt x="2180" y="821"/>
                  <a:pt x="2180" y="821"/>
                  <a:pt x="2180" y="821"/>
                </a:cubicBezTo>
                <a:cubicBezTo>
                  <a:pt x="2178" y="820"/>
                  <a:pt x="2178" y="820"/>
                  <a:pt x="2178" y="820"/>
                </a:cubicBezTo>
                <a:cubicBezTo>
                  <a:pt x="2179" y="819"/>
                  <a:pt x="2179" y="819"/>
                  <a:pt x="2179" y="819"/>
                </a:cubicBezTo>
                <a:cubicBezTo>
                  <a:pt x="2180" y="819"/>
                  <a:pt x="2180" y="819"/>
                  <a:pt x="2180" y="819"/>
                </a:cubicBezTo>
                <a:cubicBezTo>
                  <a:pt x="2181" y="819"/>
                  <a:pt x="2181" y="819"/>
                  <a:pt x="2181" y="819"/>
                </a:cubicBezTo>
                <a:cubicBezTo>
                  <a:pt x="2182" y="819"/>
                  <a:pt x="2182" y="819"/>
                  <a:pt x="2182" y="819"/>
                </a:cubicBezTo>
                <a:cubicBezTo>
                  <a:pt x="2183" y="820"/>
                  <a:pt x="2183" y="820"/>
                  <a:pt x="2183" y="820"/>
                </a:cubicBezTo>
                <a:cubicBezTo>
                  <a:pt x="2184" y="819"/>
                  <a:pt x="2184" y="819"/>
                  <a:pt x="2184" y="819"/>
                </a:cubicBezTo>
                <a:cubicBezTo>
                  <a:pt x="2185" y="818"/>
                  <a:pt x="2185" y="818"/>
                  <a:pt x="2185" y="818"/>
                </a:cubicBezTo>
                <a:cubicBezTo>
                  <a:pt x="2186" y="817"/>
                  <a:pt x="2186" y="817"/>
                  <a:pt x="2186" y="817"/>
                </a:cubicBezTo>
                <a:cubicBezTo>
                  <a:pt x="2188" y="818"/>
                  <a:pt x="2188" y="818"/>
                  <a:pt x="2188" y="818"/>
                </a:cubicBezTo>
                <a:cubicBezTo>
                  <a:pt x="2188" y="819"/>
                  <a:pt x="2188" y="819"/>
                  <a:pt x="2188" y="819"/>
                </a:cubicBezTo>
                <a:cubicBezTo>
                  <a:pt x="2189" y="818"/>
                  <a:pt x="2189" y="818"/>
                  <a:pt x="2189" y="818"/>
                </a:cubicBezTo>
                <a:cubicBezTo>
                  <a:pt x="2189" y="817"/>
                  <a:pt x="2189" y="817"/>
                  <a:pt x="2189" y="817"/>
                </a:cubicBezTo>
                <a:cubicBezTo>
                  <a:pt x="2190" y="817"/>
                  <a:pt x="2190" y="817"/>
                  <a:pt x="2190" y="817"/>
                </a:cubicBezTo>
                <a:cubicBezTo>
                  <a:pt x="2190" y="816"/>
                  <a:pt x="2190" y="816"/>
                  <a:pt x="2190" y="816"/>
                </a:cubicBezTo>
                <a:cubicBezTo>
                  <a:pt x="2190" y="815"/>
                  <a:pt x="2190" y="815"/>
                  <a:pt x="2190" y="815"/>
                </a:cubicBezTo>
                <a:cubicBezTo>
                  <a:pt x="2187" y="815"/>
                  <a:pt x="2187" y="815"/>
                  <a:pt x="2187" y="815"/>
                </a:cubicBezTo>
                <a:cubicBezTo>
                  <a:pt x="2186" y="816"/>
                  <a:pt x="2186" y="816"/>
                  <a:pt x="2186" y="816"/>
                </a:cubicBezTo>
                <a:cubicBezTo>
                  <a:pt x="2186" y="815"/>
                  <a:pt x="2186" y="815"/>
                  <a:pt x="2186" y="815"/>
                </a:cubicBezTo>
                <a:cubicBezTo>
                  <a:pt x="2184" y="816"/>
                  <a:pt x="2184" y="816"/>
                  <a:pt x="2184" y="816"/>
                </a:cubicBezTo>
                <a:cubicBezTo>
                  <a:pt x="2183" y="816"/>
                  <a:pt x="2183" y="816"/>
                  <a:pt x="2183" y="816"/>
                </a:cubicBezTo>
                <a:cubicBezTo>
                  <a:pt x="2182" y="816"/>
                  <a:pt x="2182" y="816"/>
                  <a:pt x="2182" y="816"/>
                </a:cubicBezTo>
                <a:cubicBezTo>
                  <a:pt x="2180" y="816"/>
                  <a:pt x="2180" y="816"/>
                  <a:pt x="2180" y="816"/>
                </a:cubicBezTo>
                <a:cubicBezTo>
                  <a:pt x="2179" y="816"/>
                  <a:pt x="2179" y="816"/>
                  <a:pt x="2179" y="816"/>
                </a:cubicBezTo>
                <a:cubicBezTo>
                  <a:pt x="2178" y="815"/>
                  <a:pt x="2178" y="815"/>
                  <a:pt x="2178" y="815"/>
                </a:cubicBezTo>
                <a:cubicBezTo>
                  <a:pt x="2178" y="813"/>
                  <a:pt x="2178" y="813"/>
                  <a:pt x="2178" y="813"/>
                </a:cubicBezTo>
                <a:cubicBezTo>
                  <a:pt x="2177" y="812"/>
                  <a:pt x="2177" y="812"/>
                  <a:pt x="2177" y="812"/>
                </a:cubicBezTo>
                <a:cubicBezTo>
                  <a:pt x="2175" y="811"/>
                  <a:pt x="2175" y="811"/>
                  <a:pt x="2175" y="811"/>
                </a:cubicBezTo>
                <a:cubicBezTo>
                  <a:pt x="2175" y="810"/>
                  <a:pt x="2175" y="810"/>
                  <a:pt x="2175" y="810"/>
                </a:cubicBezTo>
                <a:cubicBezTo>
                  <a:pt x="2174" y="810"/>
                  <a:pt x="2174" y="810"/>
                  <a:pt x="2174" y="810"/>
                </a:cubicBezTo>
                <a:cubicBezTo>
                  <a:pt x="2173" y="811"/>
                  <a:pt x="2173" y="811"/>
                  <a:pt x="2173" y="811"/>
                </a:cubicBezTo>
                <a:cubicBezTo>
                  <a:pt x="2172" y="811"/>
                  <a:pt x="2172" y="811"/>
                  <a:pt x="2172" y="811"/>
                </a:cubicBezTo>
                <a:cubicBezTo>
                  <a:pt x="2172" y="810"/>
                  <a:pt x="2172" y="810"/>
                  <a:pt x="2172" y="810"/>
                </a:cubicBezTo>
                <a:cubicBezTo>
                  <a:pt x="2174" y="809"/>
                  <a:pt x="2174" y="809"/>
                  <a:pt x="2174" y="809"/>
                </a:cubicBezTo>
                <a:cubicBezTo>
                  <a:pt x="2174" y="808"/>
                  <a:pt x="2174" y="808"/>
                  <a:pt x="2174" y="808"/>
                </a:cubicBezTo>
                <a:cubicBezTo>
                  <a:pt x="2173" y="807"/>
                  <a:pt x="2173" y="807"/>
                  <a:pt x="2173" y="807"/>
                </a:cubicBezTo>
                <a:cubicBezTo>
                  <a:pt x="2174" y="806"/>
                  <a:pt x="2174" y="806"/>
                  <a:pt x="2174" y="806"/>
                </a:cubicBezTo>
                <a:cubicBezTo>
                  <a:pt x="2176" y="806"/>
                  <a:pt x="2176" y="806"/>
                  <a:pt x="2176" y="806"/>
                </a:cubicBezTo>
                <a:cubicBezTo>
                  <a:pt x="2177" y="806"/>
                  <a:pt x="2177" y="806"/>
                  <a:pt x="2177" y="806"/>
                </a:cubicBezTo>
                <a:cubicBezTo>
                  <a:pt x="2178" y="805"/>
                  <a:pt x="2178" y="805"/>
                  <a:pt x="2178" y="805"/>
                </a:cubicBezTo>
                <a:cubicBezTo>
                  <a:pt x="2180" y="804"/>
                  <a:pt x="2180" y="804"/>
                  <a:pt x="2180" y="804"/>
                </a:cubicBezTo>
                <a:cubicBezTo>
                  <a:pt x="2182" y="803"/>
                  <a:pt x="2182" y="803"/>
                  <a:pt x="2182" y="803"/>
                </a:cubicBezTo>
                <a:cubicBezTo>
                  <a:pt x="2185" y="804"/>
                  <a:pt x="2185" y="804"/>
                  <a:pt x="2185" y="804"/>
                </a:cubicBezTo>
                <a:cubicBezTo>
                  <a:pt x="2187" y="806"/>
                  <a:pt x="2187" y="806"/>
                  <a:pt x="2187" y="806"/>
                </a:cubicBezTo>
                <a:cubicBezTo>
                  <a:pt x="2189" y="806"/>
                  <a:pt x="2189" y="806"/>
                  <a:pt x="2189" y="806"/>
                </a:cubicBezTo>
                <a:cubicBezTo>
                  <a:pt x="2191" y="806"/>
                  <a:pt x="2191" y="806"/>
                  <a:pt x="2191" y="806"/>
                </a:cubicBezTo>
                <a:cubicBezTo>
                  <a:pt x="2192" y="806"/>
                  <a:pt x="2192" y="806"/>
                  <a:pt x="2192" y="806"/>
                </a:cubicBezTo>
                <a:cubicBezTo>
                  <a:pt x="2191" y="807"/>
                  <a:pt x="2191" y="807"/>
                  <a:pt x="2191" y="807"/>
                </a:cubicBezTo>
                <a:cubicBezTo>
                  <a:pt x="2191" y="809"/>
                  <a:pt x="2191" y="809"/>
                  <a:pt x="2191" y="809"/>
                </a:cubicBezTo>
                <a:cubicBezTo>
                  <a:pt x="2193" y="809"/>
                  <a:pt x="2193" y="809"/>
                  <a:pt x="2193" y="809"/>
                </a:cubicBezTo>
                <a:cubicBezTo>
                  <a:pt x="2193" y="811"/>
                  <a:pt x="2193" y="811"/>
                  <a:pt x="2193" y="811"/>
                </a:cubicBezTo>
                <a:cubicBezTo>
                  <a:pt x="2192" y="812"/>
                  <a:pt x="2192" y="812"/>
                  <a:pt x="2192" y="812"/>
                </a:cubicBezTo>
                <a:cubicBezTo>
                  <a:pt x="2191" y="813"/>
                  <a:pt x="2191" y="813"/>
                  <a:pt x="2191" y="813"/>
                </a:cubicBezTo>
                <a:cubicBezTo>
                  <a:pt x="2192" y="815"/>
                  <a:pt x="2192" y="815"/>
                  <a:pt x="2192" y="815"/>
                </a:cubicBezTo>
                <a:cubicBezTo>
                  <a:pt x="2192" y="817"/>
                  <a:pt x="2192" y="817"/>
                  <a:pt x="2192" y="817"/>
                </a:cubicBezTo>
                <a:cubicBezTo>
                  <a:pt x="2193" y="819"/>
                  <a:pt x="2193" y="819"/>
                  <a:pt x="2193" y="819"/>
                </a:cubicBezTo>
                <a:cubicBezTo>
                  <a:pt x="2194" y="820"/>
                  <a:pt x="2194" y="820"/>
                  <a:pt x="2194" y="820"/>
                </a:cubicBezTo>
                <a:cubicBezTo>
                  <a:pt x="2194" y="818"/>
                  <a:pt x="2194" y="818"/>
                  <a:pt x="2194" y="818"/>
                </a:cubicBezTo>
                <a:cubicBezTo>
                  <a:pt x="2195" y="818"/>
                  <a:pt x="2195" y="818"/>
                  <a:pt x="2195" y="818"/>
                </a:cubicBezTo>
                <a:cubicBezTo>
                  <a:pt x="2195" y="819"/>
                  <a:pt x="2195" y="819"/>
                  <a:pt x="2195" y="819"/>
                </a:cubicBezTo>
                <a:cubicBezTo>
                  <a:pt x="2196" y="821"/>
                  <a:pt x="2196" y="821"/>
                  <a:pt x="2196" y="821"/>
                </a:cubicBezTo>
                <a:cubicBezTo>
                  <a:pt x="2198" y="823"/>
                  <a:pt x="2198" y="823"/>
                  <a:pt x="2198" y="823"/>
                </a:cubicBezTo>
                <a:cubicBezTo>
                  <a:pt x="2199" y="823"/>
                  <a:pt x="2199" y="823"/>
                  <a:pt x="2199" y="823"/>
                </a:cubicBezTo>
                <a:cubicBezTo>
                  <a:pt x="2200" y="823"/>
                  <a:pt x="2200" y="823"/>
                  <a:pt x="2200" y="823"/>
                </a:cubicBezTo>
                <a:cubicBezTo>
                  <a:pt x="2201" y="823"/>
                  <a:pt x="2201" y="823"/>
                  <a:pt x="2201" y="823"/>
                </a:cubicBezTo>
                <a:cubicBezTo>
                  <a:pt x="2201" y="822"/>
                  <a:pt x="2201" y="822"/>
                  <a:pt x="2201" y="822"/>
                </a:cubicBezTo>
                <a:cubicBezTo>
                  <a:pt x="2202" y="821"/>
                  <a:pt x="2202" y="821"/>
                  <a:pt x="2202" y="821"/>
                </a:cubicBezTo>
                <a:cubicBezTo>
                  <a:pt x="2203" y="821"/>
                  <a:pt x="2203" y="821"/>
                  <a:pt x="2203" y="821"/>
                </a:cubicBezTo>
                <a:cubicBezTo>
                  <a:pt x="2203" y="819"/>
                  <a:pt x="2203" y="819"/>
                  <a:pt x="2203" y="819"/>
                </a:cubicBezTo>
                <a:cubicBezTo>
                  <a:pt x="2203" y="818"/>
                  <a:pt x="2203" y="818"/>
                  <a:pt x="2203" y="818"/>
                </a:cubicBezTo>
                <a:cubicBezTo>
                  <a:pt x="2205" y="818"/>
                  <a:pt x="2205" y="818"/>
                  <a:pt x="2205" y="818"/>
                </a:cubicBezTo>
                <a:cubicBezTo>
                  <a:pt x="2206" y="817"/>
                  <a:pt x="2206" y="817"/>
                  <a:pt x="2206" y="817"/>
                </a:cubicBezTo>
                <a:cubicBezTo>
                  <a:pt x="2206" y="816"/>
                  <a:pt x="2206" y="816"/>
                  <a:pt x="2206" y="816"/>
                </a:cubicBezTo>
                <a:cubicBezTo>
                  <a:pt x="2206" y="815"/>
                  <a:pt x="2206" y="815"/>
                  <a:pt x="2206" y="815"/>
                </a:cubicBezTo>
                <a:cubicBezTo>
                  <a:pt x="2207" y="816"/>
                  <a:pt x="2207" y="816"/>
                  <a:pt x="2207" y="816"/>
                </a:cubicBezTo>
                <a:cubicBezTo>
                  <a:pt x="2208" y="816"/>
                  <a:pt x="2208" y="816"/>
                  <a:pt x="2208" y="816"/>
                </a:cubicBezTo>
                <a:cubicBezTo>
                  <a:pt x="2209" y="815"/>
                  <a:pt x="2209" y="815"/>
                  <a:pt x="2209" y="815"/>
                </a:cubicBezTo>
                <a:cubicBezTo>
                  <a:pt x="2211" y="815"/>
                  <a:pt x="2211" y="815"/>
                  <a:pt x="2211" y="815"/>
                </a:cubicBezTo>
                <a:cubicBezTo>
                  <a:pt x="2211" y="814"/>
                  <a:pt x="2211" y="814"/>
                  <a:pt x="2211" y="814"/>
                </a:cubicBezTo>
                <a:cubicBezTo>
                  <a:pt x="2210" y="813"/>
                  <a:pt x="2210" y="813"/>
                  <a:pt x="2210" y="813"/>
                </a:cubicBezTo>
                <a:cubicBezTo>
                  <a:pt x="2211" y="812"/>
                  <a:pt x="2211" y="812"/>
                  <a:pt x="2211" y="812"/>
                </a:cubicBezTo>
                <a:cubicBezTo>
                  <a:pt x="2214" y="810"/>
                  <a:pt x="2214" y="810"/>
                  <a:pt x="2214" y="810"/>
                </a:cubicBezTo>
                <a:cubicBezTo>
                  <a:pt x="2215" y="811"/>
                  <a:pt x="2215" y="811"/>
                  <a:pt x="2215" y="811"/>
                </a:cubicBezTo>
                <a:cubicBezTo>
                  <a:pt x="2216" y="811"/>
                  <a:pt x="2216" y="811"/>
                  <a:pt x="2216" y="811"/>
                </a:cubicBezTo>
                <a:cubicBezTo>
                  <a:pt x="2218" y="812"/>
                  <a:pt x="2218" y="812"/>
                  <a:pt x="2218" y="812"/>
                </a:cubicBezTo>
                <a:cubicBezTo>
                  <a:pt x="2220" y="813"/>
                  <a:pt x="2220" y="813"/>
                  <a:pt x="2220" y="813"/>
                </a:cubicBezTo>
                <a:cubicBezTo>
                  <a:pt x="2221" y="814"/>
                  <a:pt x="2221" y="814"/>
                  <a:pt x="2221" y="814"/>
                </a:cubicBezTo>
                <a:cubicBezTo>
                  <a:pt x="2223" y="814"/>
                  <a:pt x="2223" y="814"/>
                  <a:pt x="2223" y="814"/>
                </a:cubicBezTo>
                <a:cubicBezTo>
                  <a:pt x="2224" y="814"/>
                  <a:pt x="2224" y="814"/>
                  <a:pt x="2224" y="814"/>
                </a:cubicBezTo>
                <a:cubicBezTo>
                  <a:pt x="2228" y="816"/>
                  <a:pt x="2228" y="816"/>
                  <a:pt x="2228" y="816"/>
                </a:cubicBezTo>
                <a:cubicBezTo>
                  <a:pt x="2229" y="816"/>
                  <a:pt x="2229" y="816"/>
                  <a:pt x="2229" y="816"/>
                </a:cubicBezTo>
                <a:cubicBezTo>
                  <a:pt x="2230" y="816"/>
                  <a:pt x="2230" y="816"/>
                  <a:pt x="2230" y="816"/>
                </a:cubicBezTo>
                <a:cubicBezTo>
                  <a:pt x="2231" y="816"/>
                  <a:pt x="2231" y="816"/>
                  <a:pt x="2231" y="816"/>
                </a:cubicBezTo>
                <a:cubicBezTo>
                  <a:pt x="2232" y="816"/>
                  <a:pt x="2232" y="816"/>
                  <a:pt x="2232" y="816"/>
                </a:cubicBezTo>
                <a:cubicBezTo>
                  <a:pt x="2233" y="817"/>
                  <a:pt x="2233" y="817"/>
                  <a:pt x="2233" y="817"/>
                </a:cubicBezTo>
                <a:cubicBezTo>
                  <a:pt x="2233" y="818"/>
                  <a:pt x="2233" y="818"/>
                  <a:pt x="2233" y="818"/>
                </a:cubicBezTo>
                <a:cubicBezTo>
                  <a:pt x="2234" y="819"/>
                  <a:pt x="2234" y="819"/>
                  <a:pt x="2234" y="819"/>
                </a:cubicBezTo>
                <a:cubicBezTo>
                  <a:pt x="2235" y="818"/>
                  <a:pt x="2235" y="818"/>
                  <a:pt x="2235" y="818"/>
                </a:cubicBezTo>
                <a:cubicBezTo>
                  <a:pt x="2235" y="818"/>
                  <a:pt x="2235" y="818"/>
                  <a:pt x="2236" y="818"/>
                </a:cubicBezTo>
                <a:cubicBezTo>
                  <a:pt x="2236" y="818"/>
                  <a:pt x="2236" y="818"/>
                  <a:pt x="2238" y="819"/>
                </a:cubicBezTo>
                <a:cubicBezTo>
                  <a:pt x="2238" y="819"/>
                  <a:pt x="2238" y="819"/>
                  <a:pt x="2239" y="820"/>
                </a:cubicBezTo>
                <a:cubicBezTo>
                  <a:pt x="2239" y="820"/>
                  <a:pt x="2239" y="820"/>
                  <a:pt x="2240" y="820"/>
                </a:cubicBezTo>
                <a:cubicBezTo>
                  <a:pt x="2240" y="820"/>
                  <a:pt x="2240" y="820"/>
                  <a:pt x="2242" y="821"/>
                </a:cubicBezTo>
                <a:cubicBezTo>
                  <a:pt x="2242" y="821"/>
                  <a:pt x="2242" y="821"/>
                  <a:pt x="2243" y="821"/>
                </a:cubicBezTo>
                <a:cubicBezTo>
                  <a:pt x="2243" y="821"/>
                  <a:pt x="2243" y="821"/>
                  <a:pt x="2244" y="821"/>
                </a:cubicBezTo>
                <a:cubicBezTo>
                  <a:pt x="2244" y="821"/>
                  <a:pt x="2244" y="821"/>
                  <a:pt x="2244" y="822"/>
                </a:cubicBezTo>
                <a:cubicBezTo>
                  <a:pt x="2244" y="822"/>
                  <a:pt x="2244" y="822"/>
                  <a:pt x="2246" y="822"/>
                </a:cubicBezTo>
                <a:cubicBezTo>
                  <a:pt x="2246" y="822"/>
                  <a:pt x="2246" y="822"/>
                  <a:pt x="2249" y="823"/>
                </a:cubicBezTo>
                <a:cubicBezTo>
                  <a:pt x="2249" y="823"/>
                  <a:pt x="2249" y="823"/>
                  <a:pt x="2251" y="824"/>
                </a:cubicBezTo>
                <a:cubicBezTo>
                  <a:pt x="2251" y="824"/>
                  <a:pt x="2251" y="824"/>
                  <a:pt x="2253" y="824"/>
                </a:cubicBezTo>
                <a:cubicBezTo>
                  <a:pt x="2253" y="824"/>
                  <a:pt x="2253" y="824"/>
                  <a:pt x="2254" y="825"/>
                </a:cubicBezTo>
                <a:cubicBezTo>
                  <a:pt x="2254" y="825"/>
                  <a:pt x="2254" y="825"/>
                  <a:pt x="2255" y="826"/>
                </a:cubicBezTo>
                <a:cubicBezTo>
                  <a:pt x="2255" y="826"/>
                  <a:pt x="2255" y="826"/>
                  <a:pt x="2256" y="826"/>
                </a:cubicBezTo>
                <a:cubicBezTo>
                  <a:pt x="2256" y="826"/>
                  <a:pt x="2256" y="826"/>
                  <a:pt x="2257" y="826"/>
                </a:cubicBezTo>
                <a:cubicBezTo>
                  <a:pt x="2257" y="826"/>
                  <a:pt x="2257" y="826"/>
                  <a:pt x="2258" y="827"/>
                </a:cubicBezTo>
                <a:cubicBezTo>
                  <a:pt x="2258" y="827"/>
                  <a:pt x="2258" y="827"/>
                  <a:pt x="2259" y="827"/>
                </a:cubicBezTo>
                <a:cubicBezTo>
                  <a:pt x="2259" y="827"/>
                  <a:pt x="2259" y="827"/>
                  <a:pt x="2259" y="828"/>
                </a:cubicBezTo>
                <a:cubicBezTo>
                  <a:pt x="2259" y="828"/>
                  <a:pt x="2259" y="828"/>
                  <a:pt x="2261" y="829"/>
                </a:cubicBezTo>
                <a:cubicBezTo>
                  <a:pt x="2261" y="829"/>
                  <a:pt x="2261" y="829"/>
                  <a:pt x="2261" y="830"/>
                </a:cubicBezTo>
                <a:cubicBezTo>
                  <a:pt x="2261" y="830"/>
                  <a:pt x="2261" y="830"/>
                  <a:pt x="2262" y="830"/>
                </a:cubicBezTo>
                <a:cubicBezTo>
                  <a:pt x="2262" y="830"/>
                  <a:pt x="2262" y="830"/>
                  <a:pt x="2262" y="829"/>
                </a:cubicBezTo>
                <a:cubicBezTo>
                  <a:pt x="2262" y="829"/>
                  <a:pt x="2262" y="829"/>
                  <a:pt x="2265" y="832"/>
                </a:cubicBezTo>
                <a:cubicBezTo>
                  <a:pt x="2265" y="832"/>
                  <a:pt x="2265" y="832"/>
                  <a:pt x="2265" y="833"/>
                </a:cubicBezTo>
                <a:cubicBezTo>
                  <a:pt x="2265" y="833"/>
                  <a:pt x="2265" y="833"/>
                  <a:pt x="2265" y="834"/>
                </a:cubicBezTo>
                <a:cubicBezTo>
                  <a:pt x="2265" y="834"/>
                  <a:pt x="2265" y="834"/>
                  <a:pt x="2264" y="835"/>
                </a:cubicBezTo>
                <a:cubicBezTo>
                  <a:pt x="2264" y="835"/>
                  <a:pt x="2264" y="835"/>
                  <a:pt x="2265" y="836"/>
                </a:cubicBezTo>
                <a:cubicBezTo>
                  <a:pt x="2265" y="836"/>
                  <a:pt x="2265" y="836"/>
                  <a:pt x="2268" y="837"/>
                </a:cubicBezTo>
                <a:cubicBezTo>
                  <a:pt x="2268" y="837"/>
                  <a:pt x="2268" y="837"/>
                  <a:pt x="2269" y="837"/>
                </a:cubicBezTo>
                <a:cubicBezTo>
                  <a:pt x="2269" y="837"/>
                  <a:pt x="2269" y="837"/>
                  <a:pt x="2270" y="838"/>
                </a:cubicBezTo>
                <a:cubicBezTo>
                  <a:pt x="2270" y="838"/>
                  <a:pt x="2270" y="838"/>
                  <a:pt x="2272" y="839"/>
                </a:cubicBezTo>
                <a:cubicBezTo>
                  <a:pt x="2272" y="839"/>
                  <a:pt x="2272" y="839"/>
                  <a:pt x="2274" y="840"/>
                </a:cubicBezTo>
                <a:cubicBezTo>
                  <a:pt x="2274" y="840"/>
                  <a:pt x="2274" y="840"/>
                  <a:pt x="2276" y="840"/>
                </a:cubicBezTo>
                <a:cubicBezTo>
                  <a:pt x="2276" y="840"/>
                  <a:pt x="2276" y="840"/>
                  <a:pt x="2277" y="842"/>
                </a:cubicBezTo>
                <a:cubicBezTo>
                  <a:pt x="2277" y="842"/>
                  <a:pt x="2277" y="842"/>
                  <a:pt x="2278" y="843"/>
                </a:cubicBezTo>
                <a:cubicBezTo>
                  <a:pt x="2278" y="843"/>
                  <a:pt x="2278" y="843"/>
                  <a:pt x="2277" y="844"/>
                </a:cubicBezTo>
                <a:cubicBezTo>
                  <a:pt x="2277" y="844"/>
                  <a:pt x="2277" y="844"/>
                  <a:pt x="2275" y="845"/>
                </a:cubicBezTo>
                <a:cubicBezTo>
                  <a:pt x="2275" y="845"/>
                  <a:pt x="2275" y="845"/>
                  <a:pt x="2272" y="845"/>
                </a:cubicBezTo>
                <a:cubicBezTo>
                  <a:pt x="2272" y="845"/>
                  <a:pt x="2272" y="845"/>
                  <a:pt x="2272" y="846"/>
                </a:cubicBezTo>
                <a:cubicBezTo>
                  <a:pt x="2272" y="846"/>
                  <a:pt x="2272" y="846"/>
                  <a:pt x="2273" y="847"/>
                </a:cubicBezTo>
                <a:cubicBezTo>
                  <a:pt x="2273" y="847"/>
                  <a:pt x="2273" y="847"/>
                  <a:pt x="2274" y="848"/>
                </a:cubicBezTo>
                <a:cubicBezTo>
                  <a:pt x="2274" y="848"/>
                  <a:pt x="2274" y="848"/>
                  <a:pt x="2274" y="849"/>
                </a:cubicBezTo>
                <a:cubicBezTo>
                  <a:pt x="2274" y="849"/>
                  <a:pt x="2274" y="849"/>
                  <a:pt x="2275" y="851"/>
                </a:cubicBezTo>
                <a:cubicBezTo>
                  <a:pt x="2275" y="851"/>
                  <a:pt x="2275" y="851"/>
                  <a:pt x="2276" y="852"/>
                </a:cubicBezTo>
                <a:cubicBezTo>
                  <a:pt x="2276" y="852"/>
                  <a:pt x="2276" y="852"/>
                  <a:pt x="2277" y="852"/>
                </a:cubicBezTo>
                <a:cubicBezTo>
                  <a:pt x="2277" y="852"/>
                  <a:pt x="2277" y="852"/>
                  <a:pt x="2278" y="852"/>
                </a:cubicBezTo>
                <a:cubicBezTo>
                  <a:pt x="2278" y="852"/>
                  <a:pt x="2278" y="852"/>
                  <a:pt x="2279" y="853"/>
                </a:cubicBezTo>
                <a:cubicBezTo>
                  <a:pt x="2279" y="853"/>
                  <a:pt x="2279" y="853"/>
                  <a:pt x="2279" y="854"/>
                </a:cubicBezTo>
                <a:cubicBezTo>
                  <a:pt x="2279" y="854"/>
                  <a:pt x="2279" y="854"/>
                  <a:pt x="2280" y="856"/>
                </a:cubicBezTo>
                <a:close/>
                <a:moveTo>
                  <a:pt x="2240" y="852"/>
                </a:moveTo>
                <a:cubicBezTo>
                  <a:pt x="2240" y="852"/>
                  <a:pt x="2240" y="852"/>
                  <a:pt x="2241" y="853"/>
                </a:cubicBezTo>
                <a:cubicBezTo>
                  <a:pt x="2241" y="853"/>
                  <a:pt x="2241" y="853"/>
                  <a:pt x="2241" y="852"/>
                </a:cubicBezTo>
                <a:cubicBezTo>
                  <a:pt x="2241" y="852"/>
                  <a:pt x="2241" y="852"/>
                  <a:pt x="2239" y="851"/>
                </a:cubicBezTo>
                <a:cubicBezTo>
                  <a:pt x="2239" y="851"/>
                  <a:pt x="2239" y="851"/>
                  <a:pt x="2240" y="852"/>
                </a:cubicBezTo>
                <a:close/>
                <a:moveTo>
                  <a:pt x="2242" y="855"/>
                </a:moveTo>
                <a:cubicBezTo>
                  <a:pt x="2242" y="855"/>
                  <a:pt x="2242" y="855"/>
                  <a:pt x="2243" y="855"/>
                </a:cubicBezTo>
                <a:cubicBezTo>
                  <a:pt x="2243" y="855"/>
                  <a:pt x="2243" y="855"/>
                  <a:pt x="2242" y="854"/>
                </a:cubicBezTo>
                <a:cubicBezTo>
                  <a:pt x="2242" y="854"/>
                  <a:pt x="2242" y="854"/>
                  <a:pt x="2241" y="854"/>
                </a:cubicBezTo>
                <a:cubicBezTo>
                  <a:pt x="2241" y="855"/>
                  <a:pt x="2241" y="855"/>
                  <a:pt x="2241" y="855"/>
                </a:cubicBezTo>
                <a:cubicBezTo>
                  <a:pt x="2241" y="855"/>
                  <a:pt x="2241" y="855"/>
                  <a:pt x="2242" y="855"/>
                </a:cubicBezTo>
                <a:close/>
                <a:moveTo>
                  <a:pt x="2326" y="839"/>
                </a:moveTo>
                <a:cubicBezTo>
                  <a:pt x="2326" y="839"/>
                  <a:pt x="2326" y="839"/>
                  <a:pt x="2324" y="839"/>
                </a:cubicBezTo>
                <a:cubicBezTo>
                  <a:pt x="2324" y="839"/>
                  <a:pt x="2324" y="839"/>
                  <a:pt x="2324" y="837"/>
                </a:cubicBezTo>
                <a:cubicBezTo>
                  <a:pt x="2324" y="837"/>
                  <a:pt x="2324" y="837"/>
                  <a:pt x="2323" y="836"/>
                </a:cubicBezTo>
                <a:cubicBezTo>
                  <a:pt x="2323" y="836"/>
                  <a:pt x="2323" y="836"/>
                  <a:pt x="2322" y="836"/>
                </a:cubicBezTo>
                <a:cubicBezTo>
                  <a:pt x="2322" y="836"/>
                  <a:pt x="2322" y="836"/>
                  <a:pt x="2321" y="837"/>
                </a:cubicBezTo>
                <a:cubicBezTo>
                  <a:pt x="2321" y="837"/>
                  <a:pt x="2321" y="837"/>
                  <a:pt x="2322" y="838"/>
                </a:cubicBezTo>
                <a:cubicBezTo>
                  <a:pt x="2322" y="838"/>
                  <a:pt x="2322" y="838"/>
                  <a:pt x="2322" y="840"/>
                </a:cubicBezTo>
                <a:cubicBezTo>
                  <a:pt x="2322" y="840"/>
                  <a:pt x="2322" y="840"/>
                  <a:pt x="2323" y="841"/>
                </a:cubicBezTo>
                <a:cubicBezTo>
                  <a:pt x="2323" y="841"/>
                  <a:pt x="2323" y="841"/>
                  <a:pt x="2324" y="843"/>
                </a:cubicBezTo>
                <a:cubicBezTo>
                  <a:pt x="2324" y="843"/>
                  <a:pt x="2324" y="843"/>
                  <a:pt x="2324" y="844"/>
                </a:cubicBezTo>
                <a:cubicBezTo>
                  <a:pt x="2324" y="844"/>
                  <a:pt x="2324" y="844"/>
                  <a:pt x="2324" y="845"/>
                </a:cubicBezTo>
                <a:cubicBezTo>
                  <a:pt x="2324" y="845"/>
                  <a:pt x="2324" y="845"/>
                  <a:pt x="2325" y="845"/>
                </a:cubicBezTo>
                <a:cubicBezTo>
                  <a:pt x="2325" y="845"/>
                  <a:pt x="2325" y="845"/>
                  <a:pt x="2326" y="845"/>
                </a:cubicBezTo>
                <a:cubicBezTo>
                  <a:pt x="2326" y="845"/>
                  <a:pt x="2326" y="845"/>
                  <a:pt x="2328" y="845"/>
                </a:cubicBezTo>
                <a:cubicBezTo>
                  <a:pt x="2328" y="845"/>
                  <a:pt x="2328" y="845"/>
                  <a:pt x="2328" y="844"/>
                </a:cubicBezTo>
                <a:cubicBezTo>
                  <a:pt x="2328" y="844"/>
                  <a:pt x="2328" y="844"/>
                  <a:pt x="2329" y="844"/>
                </a:cubicBezTo>
                <a:cubicBezTo>
                  <a:pt x="2329" y="844"/>
                  <a:pt x="2329" y="844"/>
                  <a:pt x="2329" y="842"/>
                </a:cubicBezTo>
                <a:cubicBezTo>
                  <a:pt x="2329" y="842"/>
                  <a:pt x="2329" y="842"/>
                  <a:pt x="2328" y="841"/>
                </a:cubicBezTo>
                <a:cubicBezTo>
                  <a:pt x="2328" y="841"/>
                  <a:pt x="2328" y="841"/>
                  <a:pt x="2326" y="839"/>
                </a:cubicBezTo>
                <a:close/>
                <a:moveTo>
                  <a:pt x="2314" y="877"/>
                </a:moveTo>
                <a:cubicBezTo>
                  <a:pt x="2313" y="877"/>
                  <a:pt x="2313" y="877"/>
                  <a:pt x="2313" y="877"/>
                </a:cubicBezTo>
                <a:cubicBezTo>
                  <a:pt x="2312" y="877"/>
                  <a:pt x="2312" y="877"/>
                  <a:pt x="2312" y="877"/>
                </a:cubicBezTo>
                <a:cubicBezTo>
                  <a:pt x="2313" y="878"/>
                  <a:pt x="2313" y="878"/>
                  <a:pt x="2313" y="878"/>
                </a:cubicBezTo>
                <a:cubicBezTo>
                  <a:pt x="2314" y="877"/>
                  <a:pt x="2314" y="877"/>
                  <a:pt x="2314" y="877"/>
                </a:cubicBezTo>
                <a:close/>
                <a:moveTo>
                  <a:pt x="2315" y="876"/>
                </a:moveTo>
                <a:cubicBezTo>
                  <a:pt x="2315" y="876"/>
                  <a:pt x="2315" y="876"/>
                  <a:pt x="2316" y="876"/>
                </a:cubicBezTo>
                <a:cubicBezTo>
                  <a:pt x="2316" y="876"/>
                  <a:pt x="2316" y="876"/>
                  <a:pt x="2317" y="876"/>
                </a:cubicBezTo>
                <a:cubicBezTo>
                  <a:pt x="2317" y="876"/>
                  <a:pt x="2317" y="876"/>
                  <a:pt x="2317" y="875"/>
                </a:cubicBezTo>
                <a:cubicBezTo>
                  <a:pt x="2317" y="875"/>
                  <a:pt x="2317" y="875"/>
                  <a:pt x="2316" y="875"/>
                </a:cubicBezTo>
                <a:cubicBezTo>
                  <a:pt x="2316" y="875"/>
                  <a:pt x="2316" y="875"/>
                  <a:pt x="2315" y="876"/>
                </a:cubicBezTo>
                <a:close/>
                <a:moveTo>
                  <a:pt x="2305" y="837"/>
                </a:moveTo>
                <a:cubicBezTo>
                  <a:pt x="2306" y="835"/>
                  <a:pt x="2306" y="835"/>
                  <a:pt x="2306" y="835"/>
                </a:cubicBezTo>
                <a:cubicBezTo>
                  <a:pt x="2304" y="834"/>
                  <a:pt x="2304" y="834"/>
                  <a:pt x="2304" y="834"/>
                </a:cubicBezTo>
                <a:cubicBezTo>
                  <a:pt x="2304" y="833"/>
                  <a:pt x="2304" y="833"/>
                  <a:pt x="2304" y="833"/>
                </a:cubicBezTo>
                <a:cubicBezTo>
                  <a:pt x="2305" y="833"/>
                  <a:pt x="2305" y="833"/>
                  <a:pt x="2305" y="833"/>
                </a:cubicBezTo>
                <a:cubicBezTo>
                  <a:pt x="2306" y="833"/>
                  <a:pt x="2306" y="833"/>
                  <a:pt x="2306" y="833"/>
                </a:cubicBezTo>
                <a:cubicBezTo>
                  <a:pt x="2307" y="832"/>
                  <a:pt x="2307" y="832"/>
                  <a:pt x="2307" y="832"/>
                </a:cubicBezTo>
                <a:cubicBezTo>
                  <a:pt x="2307" y="829"/>
                  <a:pt x="2307" y="829"/>
                  <a:pt x="2307" y="829"/>
                </a:cubicBezTo>
                <a:cubicBezTo>
                  <a:pt x="2306" y="828"/>
                  <a:pt x="2306" y="828"/>
                  <a:pt x="2306" y="828"/>
                </a:cubicBezTo>
                <a:cubicBezTo>
                  <a:pt x="2305" y="828"/>
                  <a:pt x="2305" y="828"/>
                  <a:pt x="2305" y="828"/>
                </a:cubicBezTo>
                <a:cubicBezTo>
                  <a:pt x="2305" y="829"/>
                  <a:pt x="2305" y="829"/>
                  <a:pt x="2305" y="829"/>
                </a:cubicBezTo>
                <a:cubicBezTo>
                  <a:pt x="2304" y="828"/>
                  <a:pt x="2304" y="828"/>
                  <a:pt x="2304" y="828"/>
                </a:cubicBezTo>
                <a:cubicBezTo>
                  <a:pt x="2302" y="828"/>
                  <a:pt x="2302" y="828"/>
                  <a:pt x="2302" y="828"/>
                </a:cubicBezTo>
                <a:cubicBezTo>
                  <a:pt x="2302" y="829"/>
                  <a:pt x="2302" y="829"/>
                  <a:pt x="2302" y="829"/>
                </a:cubicBezTo>
                <a:cubicBezTo>
                  <a:pt x="2302" y="832"/>
                  <a:pt x="2302" y="832"/>
                  <a:pt x="2302" y="832"/>
                </a:cubicBezTo>
                <a:cubicBezTo>
                  <a:pt x="2303" y="832"/>
                  <a:pt x="2303" y="832"/>
                  <a:pt x="2303" y="832"/>
                </a:cubicBezTo>
                <a:cubicBezTo>
                  <a:pt x="2302" y="833"/>
                  <a:pt x="2302" y="833"/>
                  <a:pt x="2302" y="833"/>
                </a:cubicBezTo>
                <a:cubicBezTo>
                  <a:pt x="2301" y="833"/>
                  <a:pt x="2301" y="833"/>
                  <a:pt x="2301" y="833"/>
                </a:cubicBezTo>
                <a:cubicBezTo>
                  <a:pt x="2299" y="835"/>
                  <a:pt x="2299" y="835"/>
                  <a:pt x="2299" y="835"/>
                </a:cubicBezTo>
                <a:cubicBezTo>
                  <a:pt x="2298" y="836"/>
                  <a:pt x="2298" y="836"/>
                  <a:pt x="2298" y="836"/>
                </a:cubicBezTo>
                <a:cubicBezTo>
                  <a:pt x="2297" y="837"/>
                  <a:pt x="2297" y="837"/>
                  <a:pt x="2297" y="837"/>
                </a:cubicBezTo>
                <a:cubicBezTo>
                  <a:pt x="2297" y="836"/>
                  <a:pt x="2297" y="836"/>
                  <a:pt x="2297" y="836"/>
                </a:cubicBezTo>
                <a:cubicBezTo>
                  <a:pt x="2296" y="837"/>
                  <a:pt x="2296" y="837"/>
                  <a:pt x="2296" y="837"/>
                </a:cubicBezTo>
                <a:cubicBezTo>
                  <a:pt x="2295" y="836"/>
                  <a:pt x="2295" y="836"/>
                  <a:pt x="2295" y="836"/>
                </a:cubicBezTo>
                <a:cubicBezTo>
                  <a:pt x="2294" y="836"/>
                  <a:pt x="2294" y="836"/>
                  <a:pt x="2294" y="836"/>
                </a:cubicBezTo>
                <a:cubicBezTo>
                  <a:pt x="2293" y="837"/>
                  <a:pt x="2293" y="837"/>
                  <a:pt x="2293" y="837"/>
                </a:cubicBezTo>
                <a:cubicBezTo>
                  <a:pt x="2292" y="837"/>
                  <a:pt x="2292" y="837"/>
                  <a:pt x="2292" y="837"/>
                </a:cubicBezTo>
                <a:cubicBezTo>
                  <a:pt x="2292" y="836"/>
                  <a:pt x="2292" y="836"/>
                  <a:pt x="2292" y="836"/>
                </a:cubicBezTo>
                <a:cubicBezTo>
                  <a:pt x="2292" y="835"/>
                  <a:pt x="2292" y="835"/>
                  <a:pt x="2292" y="835"/>
                </a:cubicBezTo>
                <a:cubicBezTo>
                  <a:pt x="2291" y="834"/>
                  <a:pt x="2291" y="834"/>
                  <a:pt x="2291" y="834"/>
                </a:cubicBezTo>
                <a:cubicBezTo>
                  <a:pt x="2291" y="835"/>
                  <a:pt x="2291" y="835"/>
                  <a:pt x="2291" y="835"/>
                </a:cubicBezTo>
                <a:cubicBezTo>
                  <a:pt x="2291" y="836"/>
                  <a:pt x="2291" y="836"/>
                  <a:pt x="2291" y="836"/>
                </a:cubicBezTo>
                <a:cubicBezTo>
                  <a:pt x="2290" y="836"/>
                  <a:pt x="2290" y="836"/>
                  <a:pt x="2290" y="836"/>
                </a:cubicBezTo>
                <a:cubicBezTo>
                  <a:pt x="2289" y="836"/>
                  <a:pt x="2289" y="836"/>
                  <a:pt x="2289" y="836"/>
                </a:cubicBezTo>
                <a:cubicBezTo>
                  <a:pt x="2287" y="837"/>
                  <a:pt x="2287" y="837"/>
                  <a:pt x="2287" y="837"/>
                </a:cubicBezTo>
                <a:cubicBezTo>
                  <a:pt x="2286" y="837"/>
                  <a:pt x="2286" y="837"/>
                  <a:pt x="2286" y="837"/>
                </a:cubicBezTo>
                <a:cubicBezTo>
                  <a:pt x="2285" y="836"/>
                  <a:pt x="2285" y="836"/>
                  <a:pt x="2285" y="836"/>
                </a:cubicBezTo>
                <a:cubicBezTo>
                  <a:pt x="2284" y="836"/>
                  <a:pt x="2284" y="836"/>
                  <a:pt x="2284" y="836"/>
                </a:cubicBezTo>
                <a:cubicBezTo>
                  <a:pt x="2283" y="836"/>
                  <a:pt x="2283" y="836"/>
                  <a:pt x="2283" y="836"/>
                </a:cubicBezTo>
                <a:cubicBezTo>
                  <a:pt x="2281" y="836"/>
                  <a:pt x="2281" y="836"/>
                  <a:pt x="2281" y="836"/>
                </a:cubicBezTo>
                <a:cubicBezTo>
                  <a:pt x="2281" y="837"/>
                  <a:pt x="2281" y="837"/>
                  <a:pt x="2281" y="837"/>
                </a:cubicBezTo>
                <a:cubicBezTo>
                  <a:pt x="2282" y="839"/>
                  <a:pt x="2282" y="839"/>
                  <a:pt x="2282" y="839"/>
                </a:cubicBezTo>
                <a:cubicBezTo>
                  <a:pt x="2283" y="839"/>
                  <a:pt x="2283" y="839"/>
                  <a:pt x="2283" y="839"/>
                </a:cubicBezTo>
                <a:cubicBezTo>
                  <a:pt x="2285" y="840"/>
                  <a:pt x="2285" y="840"/>
                  <a:pt x="2285" y="840"/>
                </a:cubicBezTo>
                <a:cubicBezTo>
                  <a:pt x="2285" y="841"/>
                  <a:pt x="2285" y="841"/>
                  <a:pt x="2285" y="841"/>
                </a:cubicBezTo>
                <a:cubicBezTo>
                  <a:pt x="2286" y="841"/>
                  <a:pt x="2286" y="841"/>
                  <a:pt x="2286" y="841"/>
                </a:cubicBezTo>
                <a:cubicBezTo>
                  <a:pt x="2288" y="841"/>
                  <a:pt x="2288" y="841"/>
                  <a:pt x="2288" y="841"/>
                </a:cubicBezTo>
                <a:cubicBezTo>
                  <a:pt x="2289" y="842"/>
                  <a:pt x="2289" y="842"/>
                  <a:pt x="2289" y="842"/>
                </a:cubicBezTo>
                <a:cubicBezTo>
                  <a:pt x="2290" y="842"/>
                  <a:pt x="2290" y="842"/>
                  <a:pt x="2290" y="842"/>
                </a:cubicBezTo>
                <a:cubicBezTo>
                  <a:pt x="2291" y="842"/>
                  <a:pt x="2291" y="842"/>
                  <a:pt x="2291" y="842"/>
                </a:cubicBezTo>
                <a:cubicBezTo>
                  <a:pt x="2294" y="841"/>
                  <a:pt x="2294" y="841"/>
                  <a:pt x="2294" y="841"/>
                </a:cubicBezTo>
                <a:cubicBezTo>
                  <a:pt x="2295" y="842"/>
                  <a:pt x="2295" y="842"/>
                  <a:pt x="2295" y="842"/>
                </a:cubicBezTo>
                <a:cubicBezTo>
                  <a:pt x="2296" y="841"/>
                  <a:pt x="2296" y="841"/>
                  <a:pt x="2296" y="841"/>
                </a:cubicBezTo>
                <a:cubicBezTo>
                  <a:pt x="2297" y="842"/>
                  <a:pt x="2297" y="842"/>
                  <a:pt x="2297" y="842"/>
                </a:cubicBezTo>
                <a:cubicBezTo>
                  <a:pt x="2298" y="841"/>
                  <a:pt x="2298" y="841"/>
                  <a:pt x="2298" y="841"/>
                </a:cubicBezTo>
                <a:cubicBezTo>
                  <a:pt x="2298" y="840"/>
                  <a:pt x="2298" y="840"/>
                  <a:pt x="2298" y="840"/>
                </a:cubicBezTo>
                <a:cubicBezTo>
                  <a:pt x="2300" y="840"/>
                  <a:pt x="2300" y="840"/>
                  <a:pt x="2300" y="840"/>
                </a:cubicBezTo>
                <a:cubicBezTo>
                  <a:pt x="2302" y="838"/>
                  <a:pt x="2302" y="838"/>
                  <a:pt x="2302" y="838"/>
                </a:cubicBezTo>
                <a:cubicBezTo>
                  <a:pt x="2302" y="837"/>
                  <a:pt x="2302" y="837"/>
                  <a:pt x="2302" y="837"/>
                </a:cubicBezTo>
                <a:cubicBezTo>
                  <a:pt x="2303" y="836"/>
                  <a:pt x="2303" y="836"/>
                  <a:pt x="2303" y="836"/>
                </a:cubicBezTo>
                <a:cubicBezTo>
                  <a:pt x="2303" y="837"/>
                  <a:pt x="2303" y="837"/>
                  <a:pt x="2303" y="837"/>
                </a:cubicBezTo>
                <a:cubicBezTo>
                  <a:pt x="2305" y="837"/>
                  <a:pt x="2305" y="837"/>
                  <a:pt x="2305" y="837"/>
                </a:cubicBezTo>
                <a:close/>
                <a:moveTo>
                  <a:pt x="2309" y="831"/>
                </a:moveTo>
                <a:cubicBezTo>
                  <a:pt x="2309" y="831"/>
                  <a:pt x="2309" y="831"/>
                  <a:pt x="2311" y="832"/>
                </a:cubicBezTo>
                <a:cubicBezTo>
                  <a:pt x="2311" y="832"/>
                  <a:pt x="2311" y="832"/>
                  <a:pt x="2311" y="831"/>
                </a:cubicBezTo>
                <a:cubicBezTo>
                  <a:pt x="2311" y="831"/>
                  <a:pt x="2311" y="831"/>
                  <a:pt x="2312" y="830"/>
                </a:cubicBezTo>
                <a:cubicBezTo>
                  <a:pt x="2312" y="830"/>
                  <a:pt x="2312" y="830"/>
                  <a:pt x="2312" y="829"/>
                </a:cubicBezTo>
                <a:cubicBezTo>
                  <a:pt x="2312" y="829"/>
                  <a:pt x="2312" y="829"/>
                  <a:pt x="2311" y="828"/>
                </a:cubicBezTo>
                <a:cubicBezTo>
                  <a:pt x="2311" y="828"/>
                  <a:pt x="2311" y="828"/>
                  <a:pt x="2310" y="826"/>
                </a:cubicBezTo>
                <a:cubicBezTo>
                  <a:pt x="2310" y="826"/>
                  <a:pt x="2310" y="826"/>
                  <a:pt x="2309" y="826"/>
                </a:cubicBezTo>
                <a:cubicBezTo>
                  <a:pt x="2309" y="826"/>
                  <a:pt x="2309" y="826"/>
                  <a:pt x="2308" y="824"/>
                </a:cubicBezTo>
                <a:cubicBezTo>
                  <a:pt x="2308" y="824"/>
                  <a:pt x="2308" y="824"/>
                  <a:pt x="2307" y="823"/>
                </a:cubicBezTo>
                <a:cubicBezTo>
                  <a:pt x="2307" y="823"/>
                  <a:pt x="2307" y="823"/>
                  <a:pt x="2306" y="822"/>
                </a:cubicBezTo>
                <a:cubicBezTo>
                  <a:pt x="2306" y="822"/>
                  <a:pt x="2306" y="822"/>
                  <a:pt x="2304" y="822"/>
                </a:cubicBezTo>
                <a:cubicBezTo>
                  <a:pt x="2304" y="822"/>
                  <a:pt x="2304" y="822"/>
                  <a:pt x="2302" y="820"/>
                </a:cubicBezTo>
                <a:cubicBezTo>
                  <a:pt x="2302" y="820"/>
                  <a:pt x="2302" y="820"/>
                  <a:pt x="2300" y="819"/>
                </a:cubicBezTo>
                <a:cubicBezTo>
                  <a:pt x="2300" y="819"/>
                  <a:pt x="2300" y="819"/>
                  <a:pt x="2297" y="818"/>
                </a:cubicBezTo>
                <a:cubicBezTo>
                  <a:pt x="2297" y="818"/>
                  <a:pt x="2297" y="818"/>
                  <a:pt x="2298" y="819"/>
                </a:cubicBezTo>
                <a:cubicBezTo>
                  <a:pt x="2298" y="819"/>
                  <a:pt x="2298" y="819"/>
                  <a:pt x="2302" y="822"/>
                </a:cubicBezTo>
                <a:cubicBezTo>
                  <a:pt x="2302" y="822"/>
                  <a:pt x="2302" y="822"/>
                  <a:pt x="2305" y="823"/>
                </a:cubicBezTo>
                <a:cubicBezTo>
                  <a:pt x="2305" y="823"/>
                  <a:pt x="2305" y="823"/>
                  <a:pt x="2306" y="823"/>
                </a:cubicBezTo>
                <a:cubicBezTo>
                  <a:pt x="2306" y="823"/>
                  <a:pt x="2306" y="823"/>
                  <a:pt x="2308" y="825"/>
                </a:cubicBezTo>
                <a:cubicBezTo>
                  <a:pt x="2308" y="825"/>
                  <a:pt x="2308" y="825"/>
                  <a:pt x="2309" y="829"/>
                </a:cubicBezTo>
                <a:cubicBezTo>
                  <a:pt x="2309" y="829"/>
                  <a:pt x="2309" y="829"/>
                  <a:pt x="2309" y="830"/>
                </a:cubicBezTo>
                <a:cubicBezTo>
                  <a:pt x="2309" y="830"/>
                  <a:pt x="2309" y="830"/>
                  <a:pt x="2309" y="831"/>
                </a:cubicBezTo>
                <a:close/>
                <a:moveTo>
                  <a:pt x="2292" y="832"/>
                </a:moveTo>
                <a:cubicBezTo>
                  <a:pt x="2292" y="833"/>
                  <a:pt x="2292" y="833"/>
                  <a:pt x="2292" y="833"/>
                </a:cubicBezTo>
                <a:cubicBezTo>
                  <a:pt x="2293" y="834"/>
                  <a:pt x="2293" y="834"/>
                  <a:pt x="2293" y="834"/>
                </a:cubicBezTo>
                <a:cubicBezTo>
                  <a:pt x="2294" y="833"/>
                  <a:pt x="2294" y="833"/>
                  <a:pt x="2294" y="833"/>
                </a:cubicBezTo>
                <a:cubicBezTo>
                  <a:pt x="2293" y="832"/>
                  <a:pt x="2293" y="832"/>
                  <a:pt x="2293" y="832"/>
                </a:cubicBezTo>
                <a:cubicBezTo>
                  <a:pt x="2292" y="832"/>
                  <a:pt x="2292" y="832"/>
                  <a:pt x="2292" y="832"/>
                </a:cubicBezTo>
                <a:close/>
                <a:moveTo>
                  <a:pt x="2295" y="817"/>
                </a:moveTo>
                <a:cubicBezTo>
                  <a:pt x="2295" y="817"/>
                  <a:pt x="2295" y="817"/>
                  <a:pt x="2294" y="817"/>
                </a:cubicBezTo>
                <a:cubicBezTo>
                  <a:pt x="2294" y="817"/>
                  <a:pt x="2294" y="817"/>
                  <a:pt x="2292" y="817"/>
                </a:cubicBezTo>
                <a:cubicBezTo>
                  <a:pt x="2292" y="817"/>
                  <a:pt x="2292" y="817"/>
                  <a:pt x="2292" y="818"/>
                </a:cubicBezTo>
                <a:cubicBezTo>
                  <a:pt x="2292" y="818"/>
                  <a:pt x="2292" y="818"/>
                  <a:pt x="2293" y="819"/>
                </a:cubicBezTo>
                <a:cubicBezTo>
                  <a:pt x="2293" y="819"/>
                  <a:pt x="2293" y="819"/>
                  <a:pt x="2295" y="819"/>
                </a:cubicBezTo>
                <a:cubicBezTo>
                  <a:pt x="2295" y="819"/>
                  <a:pt x="2295" y="819"/>
                  <a:pt x="2295" y="817"/>
                </a:cubicBezTo>
                <a:close/>
                <a:moveTo>
                  <a:pt x="2275" y="814"/>
                </a:moveTo>
                <a:cubicBezTo>
                  <a:pt x="2275" y="814"/>
                  <a:pt x="2275" y="814"/>
                  <a:pt x="2275" y="813"/>
                </a:cubicBezTo>
                <a:cubicBezTo>
                  <a:pt x="2275" y="813"/>
                  <a:pt x="2275" y="813"/>
                  <a:pt x="2274" y="814"/>
                </a:cubicBezTo>
                <a:cubicBezTo>
                  <a:pt x="2274" y="814"/>
                  <a:pt x="2274" y="814"/>
                  <a:pt x="2273" y="813"/>
                </a:cubicBezTo>
                <a:cubicBezTo>
                  <a:pt x="2273" y="813"/>
                  <a:pt x="2273" y="813"/>
                  <a:pt x="2272" y="813"/>
                </a:cubicBezTo>
                <a:cubicBezTo>
                  <a:pt x="2272" y="813"/>
                  <a:pt x="2272" y="813"/>
                  <a:pt x="2271" y="813"/>
                </a:cubicBezTo>
                <a:cubicBezTo>
                  <a:pt x="2271" y="813"/>
                  <a:pt x="2271" y="813"/>
                  <a:pt x="2271" y="814"/>
                </a:cubicBezTo>
                <a:cubicBezTo>
                  <a:pt x="2271" y="815"/>
                  <a:pt x="2271" y="815"/>
                  <a:pt x="2271" y="815"/>
                </a:cubicBezTo>
                <a:cubicBezTo>
                  <a:pt x="2271" y="815"/>
                  <a:pt x="2271" y="815"/>
                  <a:pt x="2272" y="815"/>
                </a:cubicBezTo>
                <a:cubicBezTo>
                  <a:pt x="2272" y="815"/>
                  <a:pt x="2272" y="815"/>
                  <a:pt x="2273" y="815"/>
                </a:cubicBezTo>
                <a:cubicBezTo>
                  <a:pt x="2273" y="815"/>
                  <a:pt x="2273" y="815"/>
                  <a:pt x="2274" y="815"/>
                </a:cubicBezTo>
                <a:cubicBezTo>
                  <a:pt x="2274" y="815"/>
                  <a:pt x="2274" y="815"/>
                  <a:pt x="2275" y="814"/>
                </a:cubicBezTo>
                <a:close/>
                <a:moveTo>
                  <a:pt x="2266" y="831"/>
                </a:moveTo>
                <a:cubicBezTo>
                  <a:pt x="2266" y="832"/>
                  <a:pt x="2266" y="832"/>
                  <a:pt x="2266" y="832"/>
                </a:cubicBezTo>
                <a:cubicBezTo>
                  <a:pt x="2267" y="831"/>
                  <a:pt x="2267" y="831"/>
                  <a:pt x="2267" y="831"/>
                </a:cubicBezTo>
                <a:cubicBezTo>
                  <a:pt x="2267" y="830"/>
                  <a:pt x="2267" y="830"/>
                  <a:pt x="2267" y="830"/>
                </a:cubicBezTo>
                <a:cubicBezTo>
                  <a:pt x="2266" y="831"/>
                  <a:pt x="2266" y="831"/>
                  <a:pt x="2266" y="831"/>
                </a:cubicBezTo>
                <a:close/>
                <a:moveTo>
                  <a:pt x="2290" y="810"/>
                </a:moveTo>
                <a:cubicBezTo>
                  <a:pt x="2290" y="810"/>
                  <a:pt x="2290" y="810"/>
                  <a:pt x="2290" y="809"/>
                </a:cubicBezTo>
                <a:cubicBezTo>
                  <a:pt x="2290" y="809"/>
                  <a:pt x="2290" y="809"/>
                  <a:pt x="2290" y="808"/>
                </a:cubicBezTo>
                <a:cubicBezTo>
                  <a:pt x="2290" y="808"/>
                  <a:pt x="2290" y="808"/>
                  <a:pt x="2289" y="808"/>
                </a:cubicBezTo>
                <a:cubicBezTo>
                  <a:pt x="2289" y="808"/>
                  <a:pt x="2289" y="808"/>
                  <a:pt x="2289" y="809"/>
                </a:cubicBezTo>
                <a:cubicBezTo>
                  <a:pt x="2289" y="809"/>
                  <a:pt x="2289" y="809"/>
                  <a:pt x="2290" y="810"/>
                </a:cubicBezTo>
                <a:close/>
                <a:moveTo>
                  <a:pt x="2279" y="839"/>
                </a:moveTo>
                <a:cubicBezTo>
                  <a:pt x="2279" y="839"/>
                  <a:pt x="2279" y="839"/>
                  <a:pt x="2279" y="838"/>
                </a:cubicBezTo>
                <a:cubicBezTo>
                  <a:pt x="2279" y="838"/>
                  <a:pt x="2279" y="838"/>
                  <a:pt x="2279" y="837"/>
                </a:cubicBezTo>
                <a:cubicBezTo>
                  <a:pt x="2279" y="837"/>
                  <a:pt x="2279" y="837"/>
                  <a:pt x="2278" y="836"/>
                </a:cubicBezTo>
                <a:cubicBezTo>
                  <a:pt x="2278" y="836"/>
                  <a:pt x="2278" y="836"/>
                  <a:pt x="2277" y="837"/>
                </a:cubicBezTo>
                <a:cubicBezTo>
                  <a:pt x="2277" y="837"/>
                  <a:pt x="2277" y="837"/>
                  <a:pt x="2278" y="838"/>
                </a:cubicBezTo>
                <a:cubicBezTo>
                  <a:pt x="2278" y="838"/>
                  <a:pt x="2278" y="838"/>
                  <a:pt x="2279" y="839"/>
                </a:cubicBezTo>
                <a:close/>
                <a:moveTo>
                  <a:pt x="2273" y="836"/>
                </a:moveTo>
                <a:cubicBezTo>
                  <a:pt x="2274" y="836"/>
                  <a:pt x="2274" y="836"/>
                  <a:pt x="2274" y="836"/>
                </a:cubicBezTo>
                <a:cubicBezTo>
                  <a:pt x="2274" y="835"/>
                  <a:pt x="2274" y="835"/>
                  <a:pt x="2274" y="835"/>
                </a:cubicBezTo>
                <a:cubicBezTo>
                  <a:pt x="2273" y="835"/>
                  <a:pt x="2273" y="835"/>
                  <a:pt x="2273" y="835"/>
                </a:cubicBezTo>
                <a:cubicBezTo>
                  <a:pt x="2273" y="836"/>
                  <a:pt x="2273" y="836"/>
                  <a:pt x="2273" y="836"/>
                </a:cubicBezTo>
                <a:close/>
                <a:moveTo>
                  <a:pt x="2255" y="852"/>
                </a:moveTo>
                <a:cubicBezTo>
                  <a:pt x="2256" y="852"/>
                  <a:pt x="2256" y="852"/>
                  <a:pt x="2256" y="852"/>
                </a:cubicBezTo>
                <a:cubicBezTo>
                  <a:pt x="2256" y="851"/>
                  <a:pt x="2256" y="851"/>
                  <a:pt x="2256" y="851"/>
                </a:cubicBezTo>
                <a:cubicBezTo>
                  <a:pt x="2255" y="851"/>
                  <a:pt x="2255" y="851"/>
                  <a:pt x="2255" y="851"/>
                </a:cubicBezTo>
                <a:cubicBezTo>
                  <a:pt x="2255" y="852"/>
                  <a:pt x="2255" y="852"/>
                  <a:pt x="2255" y="852"/>
                </a:cubicBezTo>
                <a:close/>
                <a:moveTo>
                  <a:pt x="2098" y="724"/>
                </a:moveTo>
                <a:cubicBezTo>
                  <a:pt x="2098" y="724"/>
                  <a:pt x="2098" y="724"/>
                  <a:pt x="2099" y="724"/>
                </a:cubicBezTo>
                <a:cubicBezTo>
                  <a:pt x="2099" y="724"/>
                  <a:pt x="2099" y="724"/>
                  <a:pt x="2099" y="723"/>
                </a:cubicBezTo>
                <a:cubicBezTo>
                  <a:pt x="2099" y="723"/>
                  <a:pt x="2099" y="723"/>
                  <a:pt x="2100" y="723"/>
                </a:cubicBezTo>
                <a:cubicBezTo>
                  <a:pt x="2100" y="723"/>
                  <a:pt x="2100" y="723"/>
                  <a:pt x="2099" y="722"/>
                </a:cubicBezTo>
                <a:cubicBezTo>
                  <a:pt x="2099" y="722"/>
                  <a:pt x="2099" y="722"/>
                  <a:pt x="2098" y="722"/>
                </a:cubicBezTo>
                <a:cubicBezTo>
                  <a:pt x="2098" y="722"/>
                  <a:pt x="2098" y="722"/>
                  <a:pt x="2098" y="724"/>
                </a:cubicBezTo>
                <a:close/>
                <a:moveTo>
                  <a:pt x="2098" y="719"/>
                </a:moveTo>
                <a:cubicBezTo>
                  <a:pt x="2098" y="719"/>
                  <a:pt x="2098" y="719"/>
                  <a:pt x="2098" y="720"/>
                </a:cubicBezTo>
                <a:cubicBezTo>
                  <a:pt x="2098" y="720"/>
                  <a:pt x="2098" y="720"/>
                  <a:pt x="2099" y="721"/>
                </a:cubicBezTo>
                <a:cubicBezTo>
                  <a:pt x="2099" y="721"/>
                  <a:pt x="2099" y="721"/>
                  <a:pt x="2100" y="721"/>
                </a:cubicBezTo>
                <a:cubicBezTo>
                  <a:pt x="2100" y="721"/>
                  <a:pt x="2100" y="721"/>
                  <a:pt x="2101" y="722"/>
                </a:cubicBezTo>
                <a:cubicBezTo>
                  <a:pt x="2101" y="722"/>
                  <a:pt x="2101" y="722"/>
                  <a:pt x="2101" y="721"/>
                </a:cubicBezTo>
                <a:cubicBezTo>
                  <a:pt x="2101" y="721"/>
                  <a:pt x="2101" y="721"/>
                  <a:pt x="2101" y="720"/>
                </a:cubicBezTo>
                <a:cubicBezTo>
                  <a:pt x="2101" y="720"/>
                  <a:pt x="2101" y="720"/>
                  <a:pt x="2100" y="720"/>
                </a:cubicBezTo>
                <a:cubicBezTo>
                  <a:pt x="2100" y="720"/>
                  <a:pt x="2100" y="720"/>
                  <a:pt x="2099" y="719"/>
                </a:cubicBezTo>
                <a:cubicBezTo>
                  <a:pt x="2099" y="719"/>
                  <a:pt x="2099" y="719"/>
                  <a:pt x="2098" y="719"/>
                </a:cubicBezTo>
                <a:close/>
                <a:moveTo>
                  <a:pt x="2099" y="732"/>
                </a:moveTo>
                <a:cubicBezTo>
                  <a:pt x="2099" y="732"/>
                  <a:pt x="2099" y="732"/>
                  <a:pt x="2100" y="732"/>
                </a:cubicBezTo>
                <a:cubicBezTo>
                  <a:pt x="2100" y="732"/>
                  <a:pt x="2100" y="732"/>
                  <a:pt x="2100" y="731"/>
                </a:cubicBezTo>
                <a:cubicBezTo>
                  <a:pt x="2100" y="731"/>
                  <a:pt x="2100" y="731"/>
                  <a:pt x="2099" y="730"/>
                </a:cubicBezTo>
                <a:cubicBezTo>
                  <a:pt x="2099" y="730"/>
                  <a:pt x="2099" y="730"/>
                  <a:pt x="2099" y="731"/>
                </a:cubicBezTo>
                <a:cubicBezTo>
                  <a:pt x="2099" y="731"/>
                  <a:pt x="2099" y="731"/>
                  <a:pt x="2098" y="732"/>
                </a:cubicBezTo>
                <a:cubicBezTo>
                  <a:pt x="2098" y="732"/>
                  <a:pt x="2098" y="732"/>
                  <a:pt x="2099" y="732"/>
                </a:cubicBezTo>
                <a:close/>
                <a:moveTo>
                  <a:pt x="2120" y="721"/>
                </a:moveTo>
                <a:cubicBezTo>
                  <a:pt x="2120" y="722"/>
                  <a:pt x="2120" y="722"/>
                  <a:pt x="2120" y="722"/>
                </a:cubicBezTo>
                <a:cubicBezTo>
                  <a:pt x="2121" y="720"/>
                  <a:pt x="2121" y="720"/>
                  <a:pt x="2121" y="720"/>
                </a:cubicBezTo>
                <a:cubicBezTo>
                  <a:pt x="2120" y="720"/>
                  <a:pt x="2120" y="720"/>
                  <a:pt x="2120" y="720"/>
                </a:cubicBezTo>
                <a:cubicBezTo>
                  <a:pt x="2120" y="721"/>
                  <a:pt x="2120" y="721"/>
                  <a:pt x="2120" y="721"/>
                </a:cubicBezTo>
                <a:close/>
                <a:moveTo>
                  <a:pt x="2103" y="673"/>
                </a:moveTo>
                <a:cubicBezTo>
                  <a:pt x="2103" y="673"/>
                  <a:pt x="2103" y="673"/>
                  <a:pt x="2104" y="672"/>
                </a:cubicBezTo>
                <a:cubicBezTo>
                  <a:pt x="2104" y="672"/>
                  <a:pt x="2104" y="672"/>
                  <a:pt x="2103" y="672"/>
                </a:cubicBezTo>
                <a:cubicBezTo>
                  <a:pt x="2103" y="672"/>
                  <a:pt x="2103" y="672"/>
                  <a:pt x="2103" y="673"/>
                </a:cubicBezTo>
                <a:close/>
                <a:moveTo>
                  <a:pt x="2099" y="709"/>
                </a:moveTo>
                <a:cubicBezTo>
                  <a:pt x="2101" y="710"/>
                  <a:pt x="2101" y="710"/>
                  <a:pt x="2101" y="710"/>
                </a:cubicBezTo>
                <a:cubicBezTo>
                  <a:pt x="2100" y="709"/>
                  <a:pt x="2100" y="709"/>
                  <a:pt x="2100" y="709"/>
                </a:cubicBezTo>
                <a:cubicBezTo>
                  <a:pt x="2099" y="709"/>
                  <a:pt x="2099" y="709"/>
                  <a:pt x="2099" y="709"/>
                </a:cubicBezTo>
                <a:close/>
                <a:moveTo>
                  <a:pt x="2117" y="718"/>
                </a:moveTo>
                <a:cubicBezTo>
                  <a:pt x="2116" y="718"/>
                  <a:pt x="2116" y="718"/>
                  <a:pt x="2116" y="718"/>
                </a:cubicBezTo>
                <a:cubicBezTo>
                  <a:pt x="2116" y="719"/>
                  <a:pt x="2116" y="719"/>
                  <a:pt x="2116" y="719"/>
                </a:cubicBezTo>
                <a:cubicBezTo>
                  <a:pt x="2117" y="719"/>
                  <a:pt x="2117" y="719"/>
                  <a:pt x="2117" y="719"/>
                </a:cubicBezTo>
                <a:cubicBezTo>
                  <a:pt x="2117" y="718"/>
                  <a:pt x="2117" y="718"/>
                  <a:pt x="2117" y="718"/>
                </a:cubicBezTo>
                <a:close/>
                <a:moveTo>
                  <a:pt x="2113" y="721"/>
                </a:moveTo>
                <a:cubicBezTo>
                  <a:pt x="2113" y="720"/>
                  <a:pt x="2113" y="720"/>
                  <a:pt x="2113" y="720"/>
                </a:cubicBezTo>
                <a:cubicBezTo>
                  <a:pt x="2114" y="719"/>
                  <a:pt x="2114" y="719"/>
                  <a:pt x="2114" y="719"/>
                </a:cubicBezTo>
                <a:cubicBezTo>
                  <a:pt x="2113" y="718"/>
                  <a:pt x="2113" y="718"/>
                  <a:pt x="2113" y="718"/>
                </a:cubicBezTo>
                <a:cubicBezTo>
                  <a:pt x="2112" y="719"/>
                  <a:pt x="2112" y="719"/>
                  <a:pt x="2112" y="719"/>
                </a:cubicBezTo>
                <a:cubicBezTo>
                  <a:pt x="2113" y="721"/>
                  <a:pt x="2113" y="721"/>
                  <a:pt x="2113" y="721"/>
                </a:cubicBezTo>
                <a:close/>
                <a:moveTo>
                  <a:pt x="2081" y="748"/>
                </a:moveTo>
                <a:cubicBezTo>
                  <a:pt x="2081" y="749"/>
                  <a:pt x="2081" y="749"/>
                  <a:pt x="2081" y="749"/>
                </a:cubicBezTo>
                <a:cubicBezTo>
                  <a:pt x="2082" y="750"/>
                  <a:pt x="2082" y="750"/>
                  <a:pt x="2082" y="750"/>
                </a:cubicBezTo>
                <a:cubicBezTo>
                  <a:pt x="2083" y="750"/>
                  <a:pt x="2083" y="750"/>
                  <a:pt x="2083" y="750"/>
                </a:cubicBezTo>
                <a:cubicBezTo>
                  <a:pt x="2083" y="748"/>
                  <a:pt x="2083" y="748"/>
                  <a:pt x="2083" y="748"/>
                </a:cubicBezTo>
                <a:cubicBezTo>
                  <a:pt x="2082" y="747"/>
                  <a:pt x="2082" y="747"/>
                  <a:pt x="2082" y="747"/>
                </a:cubicBezTo>
                <a:cubicBezTo>
                  <a:pt x="2081" y="748"/>
                  <a:pt x="2081" y="748"/>
                  <a:pt x="2081" y="748"/>
                </a:cubicBezTo>
                <a:close/>
                <a:moveTo>
                  <a:pt x="2113" y="717"/>
                </a:moveTo>
                <a:cubicBezTo>
                  <a:pt x="2113" y="718"/>
                  <a:pt x="2113" y="718"/>
                  <a:pt x="2113" y="718"/>
                </a:cubicBezTo>
                <a:cubicBezTo>
                  <a:pt x="2114" y="716"/>
                  <a:pt x="2114" y="716"/>
                  <a:pt x="2114" y="716"/>
                </a:cubicBezTo>
                <a:cubicBezTo>
                  <a:pt x="2113" y="717"/>
                  <a:pt x="2113" y="717"/>
                  <a:pt x="2113" y="717"/>
                </a:cubicBezTo>
                <a:close/>
                <a:moveTo>
                  <a:pt x="2113" y="723"/>
                </a:moveTo>
                <a:cubicBezTo>
                  <a:pt x="2113" y="723"/>
                  <a:pt x="2113" y="723"/>
                  <a:pt x="2113" y="725"/>
                </a:cubicBezTo>
                <a:cubicBezTo>
                  <a:pt x="2113" y="725"/>
                  <a:pt x="2113" y="725"/>
                  <a:pt x="2113" y="726"/>
                </a:cubicBezTo>
                <a:cubicBezTo>
                  <a:pt x="2113" y="726"/>
                  <a:pt x="2113" y="726"/>
                  <a:pt x="2113" y="728"/>
                </a:cubicBezTo>
                <a:cubicBezTo>
                  <a:pt x="2113" y="728"/>
                  <a:pt x="2113" y="728"/>
                  <a:pt x="2113" y="729"/>
                </a:cubicBezTo>
                <a:cubicBezTo>
                  <a:pt x="2113" y="729"/>
                  <a:pt x="2113" y="729"/>
                  <a:pt x="2113" y="732"/>
                </a:cubicBezTo>
                <a:cubicBezTo>
                  <a:pt x="2113" y="732"/>
                  <a:pt x="2113" y="732"/>
                  <a:pt x="2114" y="731"/>
                </a:cubicBezTo>
                <a:cubicBezTo>
                  <a:pt x="2114" y="731"/>
                  <a:pt x="2114" y="731"/>
                  <a:pt x="2116" y="730"/>
                </a:cubicBezTo>
                <a:cubicBezTo>
                  <a:pt x="2116" y="732"/>
                  <a:pt x="2116" y="732"/>
                  <a:pt x="2116" y="732"/>
                </a:cubicBezTo>
                <a:cubicBezTo>
                  <a:pt x="2117" y="732"/>
                  <a:pt x="2117" y="732"/>
                  <a:pt x="2117" y="732"/>
                </a:cubicBezTo>
                <a:cubicBezTo>
                  <a:pt x="2118" y="731"/>
                  <a:pt x="2118" y="731"/>
                  <a:pt x="2118" y="731"/>
                </a:cubicBezTo>
                <a:cubicBezTo>
                  <a:pt x="2118" y="730"/>
                  <a:pt x="2118" y="730"/>
                  <a:pt x="2118" y="730"/>
                </a:cubicBezTo>
                <a:cubicBezTo>
                  <a:pt x="2117" y="730"/>
                  <a:pt x="2117" y="730"/>
                  <a:pt x="2117" y="730"/>
                </a:cubicBezTo>
                <a:cubicBezTo>
                  <a:pt x="2117" y="730"/>
                  <a:pt x="2117" y="730"/>
                  <a:pt x="2118" y="729"/>
                </a:cubicBezTo>
                <a:cubicBezTo>
                  <a:pt x="2118" y="729"/>
                  <a:pt x="2118" y="729"/>
                  <a:pt x="2119" y="727"/>
                </a:cubicBezTo>
                <a:cubicBezTo>
                  <a:pt x="2119" y="727"/>
                  <a:pt x="2119" y="727"/>
                  <a:pt x="2120" y="726"/>
                </a:cubicBezTo>
                <a:cubicBezTo>
                  <a:pt x="2120" y="726"/>
                  <a:pt x="2120" y="726"/>
                  <a:pt x="2121" y="725"/>
                </a:cubicBezTo>
                <a:cubicBezTo>
                  <a:pt x="2121" y="725"/>
                  <a:pt x="2121" y="725"/>
                  <a:pt x="2120" y="724"/>
                </a:cubicBezTo>
                <a:cubicBezTo>
                  <a:pt x="2120" y="724"/>
                  <a:pt x="2120" y="724"/>
                  <a:pt x="2119" y="724"/>
                </a:cubicBezTo>
                <a:cubicBezTo>
                  <a:pt x="2119" y="724"/>
                  <a:pt x="2119" y="724"/>
                  <a:pt x="2119" y="725"/>
                </a:cubicBezTo>
                <a:cubicBezTo>
                  <a:pt x="2119" y="725"/>
                  <a:pt x="2119" y="725"/>
                  <a:pt x="2118" y="724"/>
                </a:cubicBezTo>
                <a:cubicBezTo>
                  <a:pt x="2118" y="724"/>
                  <a:pt x="2118" y="724"/>
                  <a:pt x="2117" y="724"/>
                </a:cubicBezTo>
                <a:cubicBezTo>
                  <a:pt x="2117" y="724"/>
                  <a:pt x="2117" y="724"/>
                  <a:pt x="2116" y="724"/>
                </a:cubicBezTo>
                <a:cubicBezTo>
                  <a:pt x="2116" y="724"/>
                  <a:pt x="2116" y="724"/>
                  <a:pt x="2115" y="724"/>
                </a:cubicBezTo>
                <a:cubicBezTo>
                  <a:pt x="2115" y="724"/>
                  <a:pt x="2115" y="724"/>
                  <a:pt x="2115" y="723"/>
                </a:cubicBezTo>
                <a:cubicBezTo>
                  <a:pt x="2115" y="723"/>
                  <a:pt x="2115" y="723"/>
                  <a:pt x="2114" y="723"/>
                </a:cubicBezTo>
                <a:cubicBezTo>
                  <a:pt x="2114" y="723"/>
                  <a:pt x="2114" y="723"/>
                  <a:pt x="2113" y="722"/>
                </a:cubicBezTo>
                <a:cubicBezTo>
                  <a:pt x="2113" y="722"/>
                  <a:pt x="2113" y="722"/>
                  <a:pt x="2112" y="722"/>
                </a:cubicBezTo>
                <a:cubicBezTo>
                  <a:pt x="2112" y="722"/>
                  <a:pt x="2112" y="722"/>
                  <a:pt x="2111" y="723"/>
                </a:cubicBezTo>
                <a:cubicBezTo>
                  <a:pt x="2111" y="723"/>
                  <a:pt x="2111" y="723"/>
                  <a:pt x="2113" y="723"/>
                </a:cubicBezTo>
                <a:close/>
                <a:moveTo>
                  <a:pt x="2111" y="710"/>
                </a:moveTo>
                <a:cubicBezTo>
                  <a:pt x="2111" y="711"/>
                  <a:pt x="2111" y="711"/>
                  <a:pt x="2111" y="711"/>
                </a:cubicBezTo>
                <a:cubicBezTo>
                  <a:pt x="2111" y="712"/>
                  <a:pt x="2111" y="712"/>
                  <a:pt x="2111" y="712"/>
                </a:cubicBezTo>
                <a:cubicBezTo>
                  <a:pt x="2112" y="713"/>
                  <a:pt x="2112" y="713"/>
                  <a:pt x="2112" y="713"/>
                </a:cubicBezTo>
                <a:cubicBezTo>
                  <a:pt x="2112" y="712"/>
                  <a:pt x="2112" y="712"/>
                  <a:pt x="2112" y="712"/>
                </a:cubicBezTo>
                <a:cubicBezTo>
                  <a:pt x="2113" y="712"/>
                  <a:pt x="2113" y="712"/>
                  <a:pt x="2113" y="712"/>
                </a:cubicBezTo>
                <a:cubicBezTo>
                  <a:pt x="2112" y="711"/>
                  <a:pt x="2112" y="711"/>
                  <a:pt x="2112" y="711"/>
                </a:cubicBezTo>
                <a:cubicBezTo>
                  <a:pt x="2111" y="710"/>
                  <a:pt x="2111" y="710"/>
                  <a:pt x="2111" y="710"/>
                </a:cubicBezTo>
                <a:close/>
                <a:moveTo>
                  <a:pt x="2128" y="731"/>
                </a:moveTo>
                <a:cubicBezTo>
                  <a:pt x="2128" y="731"/>
                  <a:pt x="2128" y="731"/>
                  <a:pt x="2128" y="730"/>
                </a:cubicBezTo>
                <a:cubicBezTo>
                  <a:pt x="2128" y="730"/>
                  <a:pt x="2128" y="730"/>
                  <a:pt x="2127" y="730"/>
                </a:cubicBezTo>
                <a:cubicBezTo>
                  <a:pt x="2127" y="730"/>
                  <a:pt x="2127" y="730"/>
                  <a:pt x="2128" y="731"/>
                </a:cubicBezTo>
                <a:close/>
                <a:moveTo>
                  <a:pt x="2123" y="740"/>
                </a:moveTo>
                <a:cubicBezTo>
                  <a:pt x="2123" y="740"/>
                  <a:pt x="2123" y="740"/>
                  <a:pt x="2124" y="741"/>
                </a:cubicBezTo>
                <a:cubicBezTo>
                  <a:pt x="2124" y="741"/>
                  <a:pt x="2124" y="741"/>
                  <a:pt x="2125" y="741"/>
                </a:cubicBezTo>
                <a:cubicBezTo>
                  <a:pt x="2125" y="741"/>
                  <a:pt x="2125" y="741"/>
                  <a:pt x="2125" y="740"/>
                </a:cubicBezTo>
                <a:cubicBezTo>
                  <a:pt x="2125" y="740"/>
                  <a:pt x="2125" y="740"/>
                  <a:pt x="2124" y="739"/>
                </a:cubicBezTo>
                <a:cubicBezTo>
                  <a:pt x="2124" y="739"/>
                  <a:pt x="2124" y="739"/>
                  <a:pt x="2123" y="740"/>
                </a:cubicBezTo>
                <a:close/>
                <a:moveTo>
                  <a:pt x="2118" y="714"/>
                </a:moveTo>
                <a:cubicBezTo>
                  <a:pt x="2120" y="716"/>
                  <a:pt x="2120" y="716"/>
                  <a:pt x="2120" y="716"/>
                </a:cubicBezTo>
                <a:cubicBezTo>
                  <a:pt x="2120" y="715"/>
                  <a:pt x="2120" y="715"/>
                  <a:pt x="2120" y="715"/>
                </a:cubicBezTo>
                <a:cubicBezTo>
                  <a:pt x="2119" y="713"/>
                  <a:pt x="2119" y="713"/>
                  <a:pt x="2119" y="713"/>
                </a:cubicBezTo>
                <a:cubicBezTo>
                  <a:pt x="2118" y="714"/>
                  <a:pt x="2118" y="714"/>
                  <a:pt x="2118" y="714"/>
                </a:cubicBezTo>
                <a:close/>
                <a:moveTo>
                  <a:pt x="2122" y="731"/>
                </a:moveTo>
                <a:cubicBezTo>
                  <a:pt x="2123" y="730"/>
                  <a:pt x="2123" y="730"/>
                  <a:pt x="2123" y="730"/>
                </a:cubicBezTo>
                <a:cubicBezTo>
                  <a:pt x="2123" y="729"/>
                  <a:pt x="2123" y="729"/>
                  <a:pt x="2123" y="729"/>
                </a:cubicBezTo>
                <a:cubicBezTo>
                  <a:pt x="2122" y="728"/>
                  <a:pt x="2122" y="728"/>
                  <a:pt x="2122" y="728"/>
                </a:cubicBezTo>
                <a:cubicBezTo>
                  <a:pt x="2121" y="729"/>
                  <a:pt x="2121" y="729"/>
                  <a:pt x="2121" y="729"/>
                </a:cubicBezTo>
                <a:cubicBezTo>
                  <a:pt x="2121" y="728"/>
                  <a:pt x="2121" y="728"/>
                  <a:pt x="2121" y="728"/>
                </a:cubicBezTo>
                <a:cubicBezTo>
                  <a:pt x="2120" y="729"/>
                  <a:pt x="2120" y="729"/>
                  <a:pt x="2120" y="729"/>
                </a:cubicBezTo>
                <a:cubicBezTo>
                  <a:pt x="2120" y="730"/>
                  <a:pt x="2120" y="730"/>
                  <a:pt x="2120" y="730"/>
                </a:cubicBezTo>
                <a:cubicBezTo>
                  <a:pt x="2119" y="731"/>
                  <a:pt x="2119" y="731"/>
                  <a:pt x="2119" y="731"/>
                </a:cubicBezTo>
                <a:cubicBezTo>
                  <a:pt x="2119" y="733"/>
                  <a:pt x="2119" y="733"/>
                  <a:pt x="2119" y="733"/>
                </a:cubicBezTo>
                <a:cubicBezTo>
                  <a:pt x="2118" y="735"/>
                  <a:pt x="2118" y="735"/>
                  <a:pt x="2118" y="735"/>
                </a:cubicBezTo>
                <a:cubicBezTo>
                  <a:pt x="2116" y="735"/>
                  <a:pt x="2116" y="735"/>
                  <a:pt x="2116" y="735"/>
                </a:cubicBezTo>
                <a:cubicBezTo>
                  <a:pt x="2116" y="736"/>
                  <a:pt x="2116" y="736"/>
                  <a:pt x="2116" y="736"/>
                </a:cubicBezTo>
                <a:cubicBezTo>
                  <a:pt x="2116" y="738"/>
                  <a:pt x="2116" y="738"/>
                  <a:pt x="2116" y="738"/>
                </a:cubicBezTo>
                <a:cubicBezTo>
                  <a:pt x="2117" y="738"/>
                  <a:pt x="2117" y="738"/>
                  <a:pt x="2117" y="738"/>
                </a:cubicBezTo>
                <a:cubicBezTo>
                  <a:pt x="2118" y="739"/>
                  <a:pt x="2118" y="739"/>
                  <a:pt x="2118" y="739"/>
                </a:cubicBezTo>
                <a:cubicBezTo>
                  <a:pt x="2120" y="739"/>
                  <a:pt x="2120" y="739"/>
                  <a:pt x="2120" y="739"/>
                </a:cubicBezTo>
                <a:cubicBezTo>
                  <a:pt x="2120" y="740"/>
                  <a:pt x="2120" y="740"/>
                  <a:pt x="2120" y="740"/>
                </a:cubicBezTo>
                <a:cubicBezTo>
                  <a:pt x="2121" y="741"/>
                  <a:pt x="2121" y="741"/>
                  <a:pt x="2121" y="741"/>
                </a:cubicBezTo>
                <a:cubicBezTo>
                  <a:pt x="2122" y="740"/>
                  <a:pt x="2122" y="740"/>
                  <a:pt x="2122" y="740"/>
                </a:cubicBezTo>
                <a:cubicBezTo>
                  <a:pt x="2122" y="739"/>
                  <a:pt x="2122" y="739"/>
                  <a:pt x="2122" y="739"/>
                </a:cubicBezTo>
                <a:cubicBezTo>
                  <a:pt x="2121" y="737"/>
                  <a:pt x="2121" y="737"/>
                  <a:pt x="2121" y="737"/>
                </a:cubicBezTo>
                <a:cubicBezTo>
                  <a:pt x="2121" y="735"/>
                  <a:pt x="2121" y="735"/>
                  <a:pt x="2121" y="735"/>
                </a:cubicBezTo>
                <a:cubicBezTo>
                  <a:pt x="2122" y="731"/>
                  <a:pt x="2122" y="731"/>
                  <a:pt x="2122" y="731"/>
                </a:cubicBezTo>
                <a:close/>
                <a:moveTo>
                  <a:pt x="2113" y="758"/>
                </a:moveTo>
                <a:cubicBezTo>
                  <a:pt x="2114" y="759"/>
                  <a:pt x="2114" y="759"/>
                  <a:pt x="2114" y="759"/>
                </a:cubicBezTo>
                <a:cubicBezTo>
                  <a:pt x="2115" y="759"/>
                  <a:pt x="2115" y="759"/>
                  <a:pt x="2115" y="759"/>
                </a:cubicBezTo>
                <a:cubicBezTo>
                  <a:pt x="2116" y="758"/>
                  <a:pt x="2116" y="758"/>
                  <a:pt x="2116" y="758"/>
                </a:cubicBezTo>
                <a:cubicBezTo>
                  <a:pt x="2116" y="757"/>
                  <a:pt x="2116" y="757"/>
                  <a:pt x="2116" y="757"/>
                </a:cubicBezTo>
                <a:cubicBezTo>
                  <a:pt x="2115" y="757"/>
                  <a:pt x="2115" y="757"/>
                  <a:pt x="2115" y="757"/>
                </a:cubicBezTo>
                <a:cubicBezTo>
                  <a:pt x="2114" y="757"/>
                  <a:pt x="2114" y="757"/>
                  <a:pt x="2114" y="757"/>
                </a:cubicBezTo>
                <a:cubicBezTo>
                  <a:pt x="2113" y="757"/>
                  <a:pt x="2113" y="757"/>
                  <a:pt x="2113" y="757"/>
                </a:cubicBezTo>
                <a:cubicBezTo>
                  <a:pt x="2113" y="758"/>
                  <a:pt x="2113" y="758"/>
                  <a:pt x="2113" y="758"/>
                </a:cubicBezTo>
                <a:close/>
                <a:moveTo>
                  <a:pt x="2139" y="737"/>
                </a:moveTo>
                <a:cubicBezTo>
                  <a:pt x="2138" y="737"/>
                  <a:pt x="2138" y="737"/>
                  <a:pt x="2138" y="737"/>
                </a:cubicBezTo>
                <a:cubicBezTo>
                  <a:pt x="2139" y="738"/>
                  <a:pt x="2139" y="738"/>
                  <a:pt x="2139" y="738"/>
                </a:cubicBezTo>
                <a:cubicBezTo>
                  <a:pt x="2139" y="737"/>
                  <a:pt x="2139" y="737"/>
                  <a:pt x="2139" y="737"/>
                </a:cubicBezTo>
                <a:close/>
                <a:moveTo>
                  <a:pt x="2137" y="729"/>
                </a:moveTo>
                <a:cubicBezTo>
                  <a:pt x="2138" y="729"/>
                  <a:pt x="2138" y="729"/>
                  <a:pt x="2138" y="729"/>
                </a:cubicBezTo>
                <a:cubicBezTo>
                  <a:pt x="2137" y="728"/>
                  <a:pt x="2137" y="728"/>
                  <a:pt x="2137" y="728"/>
                </a:cubicBezTo>
                <a:cubicBezTo>
                  <a:pt x="2137" y="729"/>
                  <a:pt x="2137" y="729"/>
                  <a:pt x="2137" y="729"/>
                </a:cubicBezTo>
                <a:close/>
                <a:moveTo>
                  <a:pt x="2104" y="675"/>
                </a:moveTo>
                <a:cubicBezTo>
                  <a:pt x="2104" y="675"/>
                  <a:pt x="2104" y="675"/>
                  <a:pt x="2105" y="674"/>
                </a:cubicBezTo>
                <a:cubicBezTo>
                  <a:pt x="2105" y="674"/>
                  <a:pt x="2105" y="674"/>
                  <a:pt x="2104" y="674"/>
                </a:cubicBezTo>
                <a:cubicBezTo>
                  <a:pt x="2104" y="674"/>
                  <a:pt x="2104" y="674"/>
                  <a:pt x="2104" y="675"/>
                </a:cubicBezTo>
                <a:close/>
                <a:moveTo>
                  <a:pt x="2125" y="736"/>
                </a:moveTo>
                <a:cubicBezTo>
                  <a:pt x="2125" y="736"/>
                  <a:pt x="2125" y="736"/>
                  <a:pt x="2126" y="737"/>
                </a:cubicBezTo>
                <a:cubicBezTo>
                  <a:pt x="2126" y="737"/>
                  <a:pt x="2126" y="737"/>
                  <a:pt x="2127" y="737"/>
                </a:cubicBezTo>
                <a:cubicBezTo>
                  <a:pt x="2127" y="737"/>
                  <a:pt x="2127" y="737"/>
                  <a:pt x="2129" y="736"/>
                </a:cubicBezTo>
                <a:cubicBezTo>
                  <a:pt x="2129" y="736"/>
                  <a:pt x="2129" y="736"/>
                  <a:pt x="2130" y="736"/>
                </a:cubicBezTo>
                <a:cubicBezTo>
                  <a:pt x="2130" y="736"/>
                  <a:pt x="2130" y="736"/>
                  <a:pt x="2130" y="734"/>
                </a:cubicBezTo>
                <a:cubicBezTo>
                  <a:pt x="2130" y="734"/>
                  <a:pt x="2130" y="734"/>
                  <a:pt x="2129" y="734"/>
                </a:cubicBezTo>
                <a:cubicBezTo>
                  <a:pt x="2129" y="734"/>
                  <a:pt x="2129" y="734"/>
                  <a:pt x="2128" y="734"/>
                </a:cubicBezTo>
                <a:cubicBezTo>
                  <a:pt x="2128" y="734"/>
                  <a:pt x="2128" y="734"/>
                  <a:pt x="2126" y="735"/>
                </a:cubicBezTo>
                <a:cubicBezTo>
                  <a:pt x="2126" y="735"/>
                  <a:pt x="2126" y="735"/>
                  <a:pt x="2125" y="736"/>
                </a:cubicBezTo>
                <a:close/>
                <a:moveTo>
                  <a:pt x="2105" y="711"/>
                </a:moveTo>
                <a:cubicBezTo>
                  <a:pt x="2104" y="711"/>
                  <a:pt x="2104" y="711"/>
                  <a:pt x="2104" y="711"/>
                </a:cubicBezTo>
                <a:cubicBezTo>
                  <a:pt x="2102" y="711"/>
                  <a:pt x="2102" y="711"/>
                  <a:pt x="2102" y="711"/>
                </a:cubicBezTo>
                <a:cubicBezTo>
                  <a:pt x="2101" y="711"/>
                  <a:pt x="2101" y="711"/>
                  <a:pt x="2101" y="711"/>
                </a:cubicBezTo>
                <a:cubicBezTo>
                  <a:pt x="2101" y="712"/>
                  <a:pt x="2101" y="712"/>
                  <a:pt x="2101" y="712"/>
                </a:cubicBezTo>
                <a:cubicBezTo>
                  <a:pt x="2102" y="712"/>
                  <a:pt x="2102" y="712"/>
                  <a:pt x="2102" y="712"/>
                </a:cubicBezTo>
                <a:cubicBezTo>
                  <a:pt x="2102" y="713"/>
                  <a:pt x="2102" y="713"/>
                  <a:pt x="2102" y="713"/>
                </a:cubicBezTo>
                <a:cubicBezTo>
                  <a:pt x="2103" y="714"/>
                  <a:pt x="2103" y="714"/>
                  <a:pt x="2103" y="714"/>
                </a:cubicBezTo>
                <a:cubicBezTo>
                  <a:pt x="2104" y="715"/>
                  <a:pt x="2104" y="715"/>
                  <a:pt x="2104" y="715"/>
                </a:cubicBezTo>
                <a:cubicBezTo>
                  <a:pt x="2104" y="717"/>
                  <a:pt x="2104" y="717"/>
                  <a:pt x="2104" y="717"/>
                </a:cubicBezTo>
                <a:cubicBezTo>
                  <a:pt x="2105" y="717"/>
                  <a:pt x="2105" y="717"/>
                  <a:pt x="2105" y="717"/>
                </a:cubicBezTo>
                <a:cubicBezTo>
                  <a:pt x="2105" y="718"/>
                  <a:pt x="2105" y="718"/>
                  <a:pt x="2105" y="718"/>
                </a:cubicBezTo>
                <a:cubicBezTo>
                  <a:pt x="2106" y="720"/>
                  <a:pt x="2106" y="720"/>
                  <a:pt x="2106" y="720"/>
                </a:cubicBezTo>
                <a:cubicBezTo>
                  <a:pt x="2107" y="720"/>
                  <a:pt x="2107" y="720"/>
                  <a:pt x="2107" y="720"/>
                </a:cubicBezTo>
                <a:cubicBezTo>
                  <a:pt x="2109" y="719"/>
                  <a:pt x="2109" y="719"/>
                  <a:pt x="2109" y="719"/>
                </a:cubicBezTo>
                <a:cubicBezTo>
                  <a:pt x="2109" y="718"/>
                  <a:pt x="2109" y="718"/>
                  <a:pt x="2109" y="718"/>
                </a:cubicBezTo>
                <a:cubicBezTo>
                  <a:pt x="2109" y="717"/>
                  <a:pt x="2109" y="717"/>
                  <a:pt x="2109" y="717"/>
                </a:cubicBezTo>
                <a:cubicBezTo>
                  <a:pt x="2109" y="716"/>
                  <a:pt x="2109" y="716"/>
                  <a:pt x="2109" y="716"/>
                </a:cubicBezTo>
                <a:cubicBezTo>
                  <a:pt x="2109" y="715"/>
                  <a:pt x="2109" y="715"/>
                  <a:pt x="2109" y="715"/>
                </a:cubicBezTo>
                <a:cubicBezTo>
                  <a:pt x="2109" y="714"/>
                  <a:pt x="2109" y="714"/>
                  <a:pt x="2109" y="714"/>
                </a:cubicBezTo>
                <a:cubicBezTo>
                  <a:pt x="2108" y="713"/>
                  <a:pt x="2108" y="713"/>
                  <a:pt x="2108" y="713"/>
                </a:cubicBezTo>
                <a:cubicBezTo>
                  <a:pt x="2105" y="711"/>
                  <a:pt x="2105" y="711"/>
                  <a:pt x="2105" y="711"/>
                </a:cubicBezTo>
                <a:close/>
                <a:moveTo>
                  <a:pt x="2131" y="726"/>
                </a:moveTo>
                <a:cubicBezTo>
                  <a:pt x="2130" y="726"/>
                  <a:pt x="2130" y="726"/>
                  <a:pt x="2130" y="726"/>
                </a:cubicBezTo>
                <a:cubicBezTo>
                  <a:pt x="2129" y="726"/>
                  <a:pt x="2129" y="726"/>
                  <a:pt x="2129" y="726"/>
                </a:cubicBezTo>
                <a:cubicBezTo>
                  <a:pt x="2128" y="726"/>
                  <a:pt x="2128" y="726"/>
                  <a:pt x="2128" y="726"/>
                </a:cubicBezTo>
                <a:cubicBezTo>
                  <a:pt x="2128" y="727"/>
                  <a:pt x="2128" y="727"/>
                  <a:pt x="2128" y="727"/>
                </a:cubicBezTo>
                <a:cubicBezTo>
                  <a:pt x="2128" y="728"/>
                  <a:pt x="2128" y="728"/>
                  <a:pt x="2128" y="728"/>
                </a:cubicBezTo>
                <a:cubicBezTo>
                  <a:pt x="2129" y="729"/>
                  <a:pt x="2129" y="729"/>
                  <a:pt x="2129" y="729"/>
                </a:cubicBezTo>
                <a:cubicBezTo>
                  <a:pt x="2130" y="728"/>
                  <a:pt x="2130" y="728"/>
                  <a:pt x="2130" y="728"/>
                </a:cubicBezTo>
                <a:cubicBezTo>
                  <a:pt x="2130" y="729"/>
                  <a:pt x="2130" y="729"/>
                  <a:pt x="2130" y="729"/>
                </a:cubicBezTo>
                <a:cubicBezTo>
                  <a:pt x="2130" y="731"/>
                  <a:pt x="2130" y="731"/>
                  <a:pt x="2130" y="731"/>
                </a:cubicBezTo>
                <a:cubicBezTo>
                  <a:pt x="2131" y="732"/>
                  <a:pt x="2131" y="732"/>
                  <a:pt x="2131" y="732"/>
                </a:cubicBezTo>
                <a:cubicBezTo>
                  <a:pt x="2131" y="734"/>
                  <a:pt x="2131" y="734"/>
                  <a:pt x="2131" y="734"/>
                </a:cubicBezTo>
                <a:cubicBezTo>
                  <a:pt x="2132" y="734"/>
                  <a:pt x="2132" y="734"/>
                  <a:pt x="2132" y="734"/>
                </a:cubicBezTo>
                <a:cubicBezTo>
                  <a:pt x="2132" y="733"/>
                  <a:pt x="2132" y="733"/>
                  <a:pt x="2132" y="733"/>
                </a:cubicBezTo>
                <a:cubicBezTo>
                  <a:pt x="2133" y="734"/>
                  <a:pt x="2133" y="734"/>
                  <a:pt x="2133" y="734"/>
                </a:cubicBezTo>
                <a:cubicBezTo>
                  <a:pt x="2134" y="733"/>
                  <a:pt x="2134" y="733"/>
                  <a:pt x="2134" y="733"/>
                </a:cubicBezTo>
                <a:cubicBezTo>
                  <a:pt x="2134" y="732"/>
                  <a:pt x="2134" y="732"/>
                  <a:pt x="2134" y="732"/>
                </a:cubicBezTo>
                <a:cubicBezTo>
                  <a:pt x="2133" y="730"/>
                  <a:pt x="2133" y="730"/>
                  <a:pt x="2133" y="730"/>
                </a:cubicBezTo>
                <a:cubicBezTo>
                  <a:pt x="2132" y="730"/>
                  <a:pt x="2132" y="730"/>
                  <a:pt x="2132" y="730"/>
                </a:cubicBezTo>
                <a:cubicBezTo>
                  <a:pt x="2132" y="728"/>
                  <a:pt x="2132" y="728"/>
                  <a:pt x="2132" y="728"/>
                </a:cubicBezTo>
                <a:cubicBezTo>
                  <a:pt x="2131" y="726"/>
                  <a:pt x="2131" y="726"/>
                  <a:pt x="2131" y="726"/>
                </a:cubicBezTo>
                <a:close/>
                <a:moveTo>
                  <a:pt x="2124" y="719"/>
                </a:moveTo>
                <a:cubicBezTo>
                  <a:pt x="2123" y="717"/>
                  <a:pt x="2123" y="717"/>
                  <a:pt x="2123" y="717"/>
                </a:cubicBezTo>
                <a:cubicBezTo>
                  <a:pt x="2122" y="717"/>
                  <a:pt x="2122" y="717"/>
                  <a:pt x="2122" y="717"/>
                </a:cubicBezTo>
                <a:cubicBezTo>
                  <a:pt x="2123" y="718"/>
                  <a:pt x="2123" y="718"/>
                  <a:pt x="2123" y="718"/>
                </a:cubicBezTo>
                <a:cubicBezTo>
                  <a:pt x="2124" y="719"/>
                  <a:pt x="2124" y="719"/>
                  <a:pt x="2124" y="719"/>
                </a:cubicBezTo>
                <a:close/>
                <a:moveTo>
                  <a:pt x="2140" y="735"/>
                </a:moveTo>
                <a:cubicBezTo>
                  <a:pt x="2139" y="734"/>
                  <a:pt x="2139" y="734"/>
                  <a:pt x="2139" y="734"/>
                </a:cubicBezTo>
                <a:cubicBezTo>
                  <a:pt x="2139" y="735"/>
                  <a:pt x="2139" y="735"/>
                  <a:pt x="2139" y="735"/>
                </a:cubicBezTo>
                <a:cubicBezTo>
                  <a:pt x="2139" y="736"/>
                  <a:pt x="2139" y="736"/>
                  <a:pt x="2139" y="736"/>
                </a:cubicBezTo>
                <a:cubicBezTo>
                  <a:pt x="2140" y="736"/>
                  <a:pt x="2140" y="736"/>
                  <a:pt x="2140" y="736"/>
                </a:cubicBezTo>
                <a:cubicBezTo>
                  <a:pt x="2140" y="735"/>
                  <a:pt x="2140" y="735"/>
                  <a:pt x="2140" y="735"/>
                </a:cubicBezTo>
                <a:close/>
                <a:moveTo>
                  <a:pt x="2130" y="740"/>
                </a:moveTo>
                <a:cubicBezTo>
                  <a:pt x="2130" y="740"/>
                  <a:pt x="2130" y="740"/>
                  <a:pt x="2131" y="741"/>
                </a:cubicBezTo>
                <a:cubicBezTo>
                  <a:pt x="2131" y="741"/>
                  <a:pt x="2131" y="741"/>
                  <a:pt x="2131" y="740"/>
                </a:cubicBezTo>
                <a:cubicBezTo>
                  <a:pt x="2131" y="740"/>
                  <a:pt x="2131" y="740"/>
                  <a:pt x="2130" y="739"/>
                </a:cubicBezTo>
                <a:cubicBezTo>
                  <a:pt x="2130" y="739"/>
                  <a:pt x="2130" y="739"/>
                  <a:pt x="2130" y="740"/>
                </a:cubicBezTo>
                <a:close/>
                <a:moveTo>
                  <a:pt x="2121" y="718"/>
                </a:moveTo>
                <a:cubicBezTo>
                  <a:pt x="2120" y="717"/>
                  <a:pt x="2120" y="717"/>
                  <a:pt x="2120" y="717"/>
                </a:cubicBezTo>
                <a:cubicBezTo>
                  <a:pt x="2120" y="719"/>
                  <a:pt x="2120" y="719"/>
                  <a:pt x="2120" y="719"/>
                </a:cubicBezTo>
                <a:cubicBezTo>
                  <a:pt x="2121" y="720"/>
                  <a:pt x="2121" y="720"/>
                  <a:pt x="2121" y="720"/>
                </a:cubicBezTo>
                <a:cubicBezTo>
                  <a:pt x="2122" y="720"/>
                  <a:pt x="2122" y="720"/>
                  <a:pt x="2122" y="720"/>
                </a:cubicBezTo>
                <a:cubicBezTo>
                  <a:pt x="2124" y="722"/>
                  <a:pt x="2124" y="722"/>
                  <a:pt x="2124" y="722"/>
                </a:cubicBezTo>
                <a:cubicBezTo>
                  <a:pt x="2125" y="722"/>
                  <a:pt x="2125" y="722"/>
                  <a:pt x="2125" y="722"/>
                </a:cubicBezTo>
                <a:cubicBezTo>
                  <a:pt x="2126" y="722"/>
                  <a:pt x="2126" y="722"/>
                  <a:pt x="2126" y="722"/>
                </a:cubicBezTo>
                <a:cubicBezTo>
                  <a:pt x="2126" y="721"/>
                  <a:pt x="2126" y="721"/>
                  <a:pt x="2126" y="721"/>
                </a:cubicBezTo>
                <a:cubicBezTo>
                  <a:pt x="2125" y="720"/>
                  <a:pt x="2125" y="720"/>
                  <a:pt x="2125" y="720"/>
                </a:cubicBezTo>
                <a:cubicBezTo>
                  <a:pt x="2123" y="719"/>
                  <a:pt x="2123" y="719"/>
                  <a:pt x="2123" y="719"/>
                </a:cubicBezTo>
                <a:cubicBezTo>
                  <a:pt x="2122" y="718"/>
                  <a:pt x="2122" y="718"/>
                  <a:pt x="2122" y="718"/>
                </a:cubicBezTo>
                <a:cubicBezTo>
                  <a:pt x="2121" y="718"/>
                  <a:pt x="2121" y="718"/>
                  <a:pt x="2121" y="718"/>
                </a:cubicBezTo>
                <a:close/>
                <a:moveTo>
                  <a:pt x="2126" y="731"/>
                </a:moveTo>
                <a:cubicBezTo>
                  <a:pt x="2126" y="730"/>
                  <a:pt x="2126" y="730"/>
                  <a:pt x="2126" y="730"/>
                </a:cubicBezTo>
                <a:cubicBezTo>
                  <a:pt x="2126" y="729"/>
                  <a:pt x="2126" y="729"/>
                  <a:pt x="2126" y="729"/>
                </a:cubicBezTo>
                <a:cubicBezTo>
                  <a:pt x="2126" y="727"/>
                  <a:pt x="2126" y="727"/>
                  <a:pt x="2126" y="727"/>
                </a:cubicBezTo>
                <a:cubicBezTo>
                  <a:pt x="2125" y="727"/>
                  <a:pt x="2125" y="727"/>
                  <a:pt x="2125" y="727"/>
                </a:cubicBezTo>
                <a:cubicBezTo>
                  <a:pt x="2125" y="729"/>
                  <a:pt x="2125" y="729"/>
                  <a:pt x="2125" y="729"/>
                </a:cubicBezTo>
                <a:cubicBezTo>
                  <a:pt x="2124" y="731"/>
                  <a:pt x="2124" y="731"/>
                  <a:pt x="2124" y="731"/>
                </a:cubicBezTo>
                <a:cubicBezTo>
                  <a:pt x="2124" y="733"/>
                  <a:pt x="2124" y="733"/>
                  <a:pt x="2124" y="733"/>
                </a:cubicBezTo>
                <a:cubicBezTo>
                  <a:pt x="2123" y="734"/>
                  <a:pt x="2123" y="734"/>
                  <a:pt x="2123" y="734"/>
                </a:cubicBezTo>
                <a:cubicBezTo>
                  <a:pt x="2122" y="736"/>
                  <a:pt x="2122" y="736"/>
                  <a:pt x="2122" y="736"/>
                </a:cubicBezTo>
                <a:cubicBezTo>
                  <a:pt x="2122" y="737"/>
                  <a:pt x="2122" y="737"/>
                  <a:pt x="2122" y="737"/>
                </a:cubicBezTo>
                <a:cubicBezTo>
                  <a:pt x="2122" y="738"/>
                  <a:pt x="2122" y="738"/>
                  <a:pt x="2122" y="738"/>
                </a:cubicBezTo>
                <a:cubicBezTo>
                  <a:pt x="2123" y="737"/>
                  <a:pt x="2123" y="737"/>
                  <a:pt x="2123" y="737"/>
                </a:cubicBezTo>
                <a:cubicBezTo>
                  <a:pt x="2124" y="734"/>
                  <a:pt x="2124" y="734"/>
                  <a:pt x="2124" y="734"/>
                </a:cubicBezTo>
                <a:cubicBezTo>
                  <a:pt x="2126" y="732"/>
                  <a:pt x="2126" y="732"/>
                  <a:pt x="2126" y="732"/>
                </a:cubicBezTo>
                <a:cubicBezTo>
                  <a:pt x="2126" y="731"/>
                  <a:pt x="2126" y="731"/>
                  <a:pt x="2126" y="731"/>
                </a:cubicBezTo>
                <a:close/>
                <a:moveTo>
                  <a:pt x="2127" y="725"/>
                </a:moveTo>
                <a:cubicBezTo>
                  <a:pt x="2127" y="725"/>
                  <a:pt x="2127" y="725"/>
                  <a:pt x="2128" y="725"/>
                </a:cubicBezTo>
                <a:cubicBezTo>
                  <a:pt x="2128" y="725"/>
                  <a:pt x="2128" y="725"/>
                  <a:pt x="2129" y="725"/>
                </a:cubicBezTo>
                <a:cubicBezTo>
                  <a:pt x="2129" y="725"/>
                  <a:pt x="2129" y="725"/>
                  <a:pt x="2129" y="724"/>
                </a:cubicBezTo>
                <a:cubicBezTo>
                  <a:pt x="2129" y="724"/>
                  <a:pt x="2129" y="724"/>
                  <a:pt x="2128" y="724"/>
                </a:cubicBezTo>
                <a:cubicBezTo>
                  <a:pt x="2128" y="724"/>
                  <a:pt x="2128" y="724"/>
                  <a:pt x="2127" y="725"/>
                </a:cubicBezTo>
                <a:close/>
                <a:moveTo>
                  <a:pt x="2141" y="759"/>
                </a:moveTo>
                <a:cubicBezTo>
                  <a:pt x="2141" y="759"/>
                  <a:pt x="2141" y="759"/>
                  <a:pt x="2142" y="760"/>
                </a:cubicBezTo>
                <a:cubicBezTo>
                  <a:pt x="2142" y="760"/>
                  <a:pt x="2142" y="760"/>
                  <a:pt x="2142" y="759"/>
                </a:cubicBezTo>
                <a:cubicBezTo>
                  <a:pt x="2142" y="759"/>
                  <a:pt x="2142" y="759"/>
                  <a:pt x="2142" y="758"/>
                </a:cubicBezTo>
                <a:cubicBezTo>
                  <a:pt x="2142" y="758"/>
                  <a:pt x="2142" y="758"/>
                  <a:pt x="2141" y="756"/>
                </a:cubicBezTo>
                <a:cubicBezTo>
                  <a:pt x="2141" y="756"/>
                  <a:pt x="2141" y="756"/>
                  <a:pt x="2141" y="757"/>
                </a:cubicBezTo>
                <a:cubicBezTo>
                  <a:pt x="2141" y="757"/>
                  <a:pt x="2141" y="757"/>
                  <a:pt x="2141" y="759"/>
                </a:cubicBezTo>
                <a:close/>
                <a:moveTo>
                  <a:pt x="2126" y="709"/>
                </a:moveTo>
                <a:cubicBezTo>
                  <a:pt x="2125" y="710"/>
                  <a:pt x="2125" y="710"/>
                  <a:pt x="2125" y="710"/>
                </a:cubicBezTo>
                <a:cubicBezTo>
                  <a:pt x="2125" y="711"/>
                  <a:pt x="2125" y="711"/>
                  <a:pt x="2125" y="711"/>
                </a:cubicBezTo>
                <a:cubicBezTo>
                  <a:pt x="2127" y="710"/>
                  <a:pt x="2127" y="710"/>
                  <a:pt x="2127" y="710"/>
                </a:cubicBezTo>
                <a:cubicBezTo>
                  <a:pt x="2127" y="709"/>
                  <a:pt x="2127" y="709"/>
                  <a:pt x="2127" y="709"/>
                </a:cubicBezTo>
                <a:cubicBezTo>
                  <a:pt x="2127" y="708"/>
                  <a:pt x="2127" y="708"/>
                  <a:pt x="2127" y="708"/>
                </a:cubicBezTo>
                <a:cubicBezTo>
                  <a:pt x="2126" y="707"/>
                  <a:pt x="2126" y="707"/>
                  <a:pt x="2126" y="707"/>
                </a:cubicBezTo>
                <a:cubicBezTo>
                  <a:pt x="2125" y="707"/>
                  <a:pt x="2125" y="707"/>
                  <a:pt x="2125" y="707"/>
                </a:cubicBezTo>
                <a:cubicBezTo>
                  <a:pt x="2126" y="709"/>
                  <a:pt x="2126" y="709"/>
                  <a:pt x="2126" y="709"/>
                </a:cubicBezTo>
                <a:close/>
                <a:moveTo>
                  <a:pt x="2132" y="717"/>
                </a:moveTo>
                <a:cubicBezTo>
                  <a:pt x="2131" y="717"/>
                  <a:pt x="2131" y="717"/>
                  <a:pt x="2131" y="717"/>
                </a:cubicBezTo>
                <a:cubicBezTo>
                  <a:pt x="2130" y="717"/>
                  <a:pt x="2130" y="717"/>
                  <a:pt x="2130" y="717"/>
                </a:cubicBezTo>
                <a:cubicBezTo>
                  <a:pt x="2130" y="718"/>
                  <a:pt x="2130" y="718"/>
                  <a:pt x="2130" y="718"/>
                </a:cubicBezTo>
                <a:cubicBezTo>
                  <a:pt x="2129" y="718"/>
                  <a:pt x="2129" y="718"/>
                  <a:pt x="2129" y="718"/>
                </a:cubicBezTo>
                <a:cubicBezTo>
                  <a:pt x="2128" y="718"/>
                  <a:pt x="2128" y="718"/>
                  <a:pt x="2128" y="718"/>
                </a:cubicBezTo>
                <a:cubicBezTo>
                  <a:pt x="2127" y="717"/>
                  <a:pt x="2127" y="717"/>
                  <a:pt x="2127" y="717"/>
                </a:cubicBezTo>
                <a:cubicBezTo>
                  <a:pt x="2127" y="718"/>
                  <a:pt x="2127" y="718"/>
                  <a:pt x="2127" y="718"/>
                </a:cubicBezTo>
                <a:cubicBezTo>
                  <a:pt x="2128" y="720"/>
                  <a:pt x="2128" y="720"/>
                  <a:pt x="2128" y="720"/>
                </a:cubicBezTo>
                <a:cubicBezTo>
                  <a:pt x="2130" y="721"/>
                  <a:pt x="2130" y="721"/>
                  <a:pt x="2130" y="721"/>
                </a:cubicBezTo>
                <a:cubicBezTo>
                  <a:pt x="2131" y="723"/>
                  <a:pt x="2131" y="723"/>
                  <a:pt x="2131" y="723"/>
                </a:cubicBezTo>
                <a:cubicBezTo>
                  <a:pt x="2132" y="724"/>
                  <a:pt x="2132" y="724"/>
                  <a:pt x="2132" y="724"/>
                </a:cubicBezTo>
                <a:cubicBezTo>
                  <a:pt x="2131" y="725"/>
                  <a:pt x="2131" y="725"/>
                  <a:pt x="2131" y="725"/>
                </a:cubicBezTo>
                <a:cubicBezTo>
                  <a:pt x="2132" y="725"/>
                  <a:pt x="2132" y="725"/>
                  <a:pt x="2132" y="725"/>
                </a:cubicBezTo>
                <a:cubicBezTo>
                  <a:pt x="2132" y="726"/>
                  <a:pt x="2132" y="726"/>
                  <a:pt x="2132" y="726"/>
                </a:cubicBezTo>
                <a:cubicBezTo>
                  <a:pt x="2133" y="726"/>
                  <a:pt x="2133" y="726"/>
                  <a:pt x="2133" y="726"/>
                </a:cubicBezTo>
                <a:cubicBezTo>
                  <a:pt x="2133" y="727"/>
                  <a:pt x="2133" y="727"/>
                  <a:pt x="2133" y="727"/>
                </a:cubicBezTo>
                <a:cubicBezTo>
                  <a:pt x="2135" y="727"/>
                  <a:pt x="2135" y="727"/>
                  <a:pt x="2135" y="727"/>
                </a:cubicBezTo>
                <a:cubicBezTo>
                  <a:pt x="2136" y="727"/>
                  <a:pt x="2136" y="727"/>
                  <a:pt x="2136" y="727"/>
                </a:cubicBezTo>
                <a:cubicBezTo>
                  <a:pt x="2136" y="725"/>
                  <a:pt x="2136" y="725"/>
                  <a:pt x="2136" y="725"/>
                </a:cubicBezTo>
                <a:cubicBezTo>
                  <a:pt x="2135" y="725"/>
                  <a:pt x="2135" y="725"/>
                  <a:pt x="2135" y="725"/>
                </a:cubicBezTo>
                <a:cubicBezTo>
                  <a:pt x="2135" y="723"/>
                  <a:pt x="2135" y="723"/>
                  <a:pt x="2135" y="723"/>
                </a:cubicBezTo>
                <a:cubicBezTo>
                  <a:pt x="2135" y="721"/>
                  <a:pt x="2135" y="721"/>
                  <a:pt x="2135" y="721"/>
                </a:cubicBezTo>
                <a:cubicBezTo>
                  <a:pt x="2135" y="720"/>
                  <a:pt x="2135" y="720"/>
                  <a:pt x="2135" y="720"/>
                </a:cubicBezTo>
                <a:cubicBezTo>
                  <a:pt x="2134" y="720"/>
                  <a:pt x="2134" y="720"/>
                  <a:pt x="2134" y="720"/>
                </a:cubicBezTo>
                <a:cubicBezTo>
                  <a:pt x="2133" y="718"/>
                  <a:pt x="2133" y="718"/>
                  <a:pt x="2133" y="718"/>
                </a:cubicBezTo>
                <a:cubicBezTo>
                  <a:pt x="2133" y="717"/>
                  <a:pt x="2133" y="717"/>
                  <a:pt x="2133" y="717"/>
                </a:cubicBezTo>
                <a:cubicBezTo>
                  <a:pt x="2132" y="717"/>
                  <a:pt x="2132" y="717"/>
                  <a:pt x="2132" y="717"/>
                </a:cubicBezTo>
                <a:close/>
                <a:moveTo>
                  <a:pt x="2136" y="735"/>
                </a:moveTo>
                <a:cubicBezTo>
                  <a:pt x="2137" y="736"/>
                  <a:pt x="2137" y="736"/>
                  <a:pt x="2137" y="736"/>
                </a:cubicBezTo>
                <a:cubicBezTo>
                  <a:pt x="2137" y="735"/>
                  <a:pt x="2137" y="735"/>
                  <a:pt x="2137" y="735"/>
                </a:cubicBezTo>
                <a:cubicBezTo>
                  <a:pt x="2136" y="735"/>
                  <a:pt x="2136" y="735"/>
                  <a:pt x="2136" y="735"/>
                </a:cubicBezTo>
                <a:close/>
                <a:moveTo>
                  <a:pt x="2137" y="733"/>
                </a:moveTo>
                <a:cubicBezTo>
                  <a:pt x="2137" y="732"/>
                  <a:pt x="2137" y="732"/>
                  <a:pt x="2137" y="732"/>
                </a:cubicBezTo>
                <a:cubicBezTo>
                  <a:pt x="2136" y="732"/>
                  <a:pt x="2136" y="732"/>
                  <a:pt x="2136" y="732"/>
                </a:cubicBezTo>
                <a:cubicBezTo>
                  <a:pt x="2136" y="733"/>
                  <a:pt x="2136" y="733"/>
                  <a:pt x="2136" y="733"/>
                </a:cubicBezTo>
                <a:cubicBezTo>
                  <a:pt x="2137" y="735"/>
                  <a:pt x="2137" y="735"/>
                  <a:pt x="2137" y="735"/>
                </a:cubicBezTo>
                <a:cubicBezTo>
                  <a:pt x="2137" y="734"/>
                  <a:pt x="2137" y="734"/>
                  <a:pt x="2137" y="734"/>
                </a:cubicBezTo>
                <a:cubicBezTo>
                  <a:pt x="2137" y="733"/>
                  <a:pt x="2137" y="733"/>
                  <a:pt x="2137" y="733"/>
                </a:cubicBezTo>
                <a:close/>
                <a:moveTo>
                  <a:pt x="2111" y="705"/>
                </a:moveTo>
                <a:cubicBezTo>
                  <a:pt x="2111" y="706"/>
                  <a:pt x="2111" y="706"/>
                  <a:pt x="2111" y="706"/>
                </a:cubicBezTo>
                <a:cubicBezTo>
                  <a:pt x="2112" y="707"/>
                  <a:pt x="2112" y="707"/>
                  <a:pt x="2112" y="707"/>
                </a:cubicBezTo>
                <a:cubicBezTo>
                  <a:pt x="2112" y="706"/>
                  <a:pt x="2112" y="706"/>
                  <a:pt x="2112" y="706"/>
                </a:cubicBezTo>
                <a:cubicBezTo>
                  <a:pt x="2111" y="705"/>
                  <a:pt x="2111" y="705"/>
                  <a:pt x="2111" y="705"/>
                </a:cubicBezTo>
                <a:close/>
                <a:moveTo>
                  <a:pt x="2141" y="742"/>
                </a:moveTo>
                <a:cubicBezTo>
                  <a:pt x="2141" y="742"/>
                  <a:pt x="2141" y="742"/>
                  <a:pt x="2141" y="740"/>
                </a:cubicBezTo>
                <a:cubicBezTo>
                  <a:pt x="2141" y="740"/>
                  <a:pt x="2141" y="740"/>
                  <a:pt x="2141" y="739"/>
                </a:cubicBezTo>
                <a:cubicBezTo>
                  <a:pt x="2141" y="739"/>
                  <a:pt x="2141" y="739"/>
                  <a:pt x="2140" y="740"/>
                </a:cubicBezTo>
                <a:cubicBezTo>
                  <a:pt x="2140" y="740"/>
                  <a:pt x="2140" y="740"/>
                  <a:pt x="2139" y="739"/>
                </a:cubicBezTo>
                <a:cubicBezTo>
                  <a:pt x="2139" y="739"/>
                  <a:pt x="2139" y="739"/>
                  <a:pt x="2137" y="737"/>
                </a:cubicBezTo>
                <a:cubicBezTo>
                  <a:pt x="2137" y="737"/>
                  <a:pt x="2137" y="737"/>
                  <a:pt x="2137" y="736"/>
                </a:cubicBezTo>
                <a:cubicBezTo>
                  <a:pt x="2137" y="736"/>
                  <a:pt x="2137" y="736"/>
                  <a:pt x="2136" y="736"/>
                </a:cubicBezTo>
                <a:cubicBezTo>
                  <a:pt x="2136" y="736"/>
                  <a:pt x="2136" y="736"/>
                  <a:pt x="2135" y="736"/>
                </a:cubicBezTo>
                <a:cubicBezTo>
                  <a:pt x="2135" y="736"/>
                  <a:pt x="2135" y="736"/>
                  <a:pt x="2135" y="738"/>
                </a:cubicBezTo>
                <a:cubicBezTo>
                  <a:pt x="2135" y="738"/>
                  <a:pt x="2135" y="738"/>
                  <a:pt x="2136" y="740"/>
                </a:cubicBezTo>
                <a:cubicBezTo>
                  <a:pt x="2136" y="740"/>
                  <a:pt x="2136" y="740"/>
                  <a:pt x="2136" y="741"/>
                </a:cubicBezTo>
                <a:cubicBezTo>
                  <a:pt x="2136" y="741"/>
                  <a:pt x="2136" y="741"/>
                  <a:pt x="2135" y="740"/>
                </a:cubicBezTo>
                <a:cubicBezTo>
                  <a:pt x="2135" y="740"/>
                  <a:pt x="2135" y="740"/>
                  <a:pt x="2134" y="740"/>
                </a:cubicBezTo>
                <a:cubicBezTo>
                  <a:pt x="2134" y="740"/>
                  <a:pt x="2134" y="740"/>
                  <a:pt x="2134" y="742"/>
                </a:cubicBezTo>
                <a:cubicBezTo>
                  <a:pt x="2134" y="742"/>
                  <a:pt x="2134" y="742"/>
                  <a:pt x="2133" y="742"/>
                </a:cubicBezTo>
                <a:cubicBezTo>
                  <a:pt x="2133" y="742"/>
                  <a:pt x="2133" y="742"/>
                  <a:pt x="2132" y="741"/>
                </a:cubicBezTo>
                <a:cubicBezTo>
                  <a:pt x="2132" y="741"/>
                  <a:pt x="2132" y="741"/>
                  <a:pt x="2131" y="744"/>
                </a:cubicBezTo>
                <a:cubicBezTo>
                  <a:pt x="2131" y="744"/>
                  <a:pt x="2131" y="744"/>
                  <a:pt x="2132" y="744"/>
                </a:cubicBezTo>
                <a:cubicBezTo>
                  <a:pt x="2132" y="744"/>
                  <a:pt x="2132" y="744"/>
                  <a:pt x="2131" y="745"/>
                </a:cubicBezTo>
                <a:cubicBezTo>
                  <a:pt x="2131" y="745"/>
                  <a:pt x="2131" y="745"/>
                  <a:pt x="2130" y="744"/>
                </a:cubicBezTo>
                <a:cubicBezTo>
                  <a:pt x="2130" y="744"/>
                  <a:pt x="2130" y="744"/>
                  <a:pt x="2129" y="744"/>
                </a:cubicBezTo>
                <a:cubicBezTo>
                  <a:pt x="2129" y="744"/>
                  <a:pt x="2129" y="744"/>
                  <a:pt x="2128" y="747"/>
                </a:cubicBezTo>
                <a:cubicBezTo>
                  <a:pt x="2128" y="747"/>
                  <a:pt x="2128" y="747"/>
                  <a:pt x="2127" y="747"/>
                </a:cubicBezTo>
                <a:cubicBezTo>
                  <a:pt x="2127" y="747"/>
                  <a:pt x="2127" y="747"/>
                  <a:pt x="2125" y="748"/>
                </a:cubicBezTo>
                <a:cubicBezTo>
                  <a:pt x="2126" y="747"/>
                  <a:pt x="2126" y="747"/>
                  <a:pt x="2126" y="747"/>
                </a:cubicBezTo>
                <a:cubicBezTo>
                  <a:pt x="2126" y="747"/>
                  <a:pt x="2126" y="747"/>
                  <a:pt x="2126" y="745"/>
                </a:cubicBezTo>
                <a:cubicBezTo>
                  <a:pt x="2126" y="745"/>
                  <a:pt x="2126" y="745"/>
                  <a:pt x="2124" y="743"/>
                </a:cubicBezTo>
                <a:cubicBezTo>
                  <a:pt x="2124" y="743"/>
                  <a:pt x="2124" y="743"/>
                  <a:pt x="2123" y="743"/>
                </a:cubicBezTo>
                <a:cubicBezTo>
                  <a:pt x="2123" y="743"/>
                  <a:pt x="2123" y="743"/>
                  <a:pt x="2122" y="744"/>
                </a:cubicBezTo>
                <a:cubicBezTo>
                  <a:pt x="2122" y="744"/>
                  <a:pt x="2122" y="744"/>
                  <a:pt x="2121" y="745"/>
                </a:cubicBezTo>
                <a:cubicBezTo>
                  <a:pt x="2121" y="745"/>
                  <a:pt x="2121" y="745"/>
                  <a:pt x="2120" y="746"/>
                </a:cubicBezTo>
                <a:cubicBezTo>
                  <a:pt x="2120" y="746"/>
                  <a:pt x="2120" y="746"/>
                  <a:pt x="2121" y="747"/>
                </a:cubicBezTo>
                <a:cubicBezTo>
                  <a:pt x="2121" y="747"/>
                  <a:pt x="2121" y="747"/>
                  <a:pt x="2119" y="748"/>
                </a:cubicBezTo>
                <a:cubicBezTo>
                  <a:pt x="2119" y="748"/>
                  <a:pt x="2119" y="748"/>
                  <a:pt x="2118" y="747"/>
                </a:cubicBezTo>
                <a:cubicBezTo>
                  <a:pt x="2118" y="747"/>
                  <a:pt x="2118" y="747"/>
                  <a:pt x="2117" y="748"/>
                </a:cubicBezTo>
                <a:cubicBezTo>
                  <a:pt x="2117" y="748"/>
                  <a:pt x="2117" y="748"/>
                  <a:pt x="2116" y="749"/>
                </a:cubicBezTo>
                <a:cubicBezTo>
                  <a:pt x="2116" y="749"/>
                  <a:pt x="2116" y="749"/>
                  <a:pt x="2114" y="750"/>
                </a:cubicBezTo>
                <a:cubicBezTo>
                  <a:pt x="2114" y="750"/>
                  <a:pt x="2114" y="750"/>
                  <a:pt x="2115" y="751"/>
                </a:cubicBezTo>
                <a:cubicBezTo>
                  <a:pt x="2115" y="751"/>
                  <a:pt x="2115" y="751"/>
                  <a:pt x="2114" y="753"/>
                </a:cubicBezTo>
                <a:cubicBezTo>
                  <a:pt x="2114" y="753"/>
                  <a:pt x="2114" y="753"/>
                  <a:pt x="2114" y="754"/>
                </a:cubicBezTo>
                <a:cubicBezTo>
                  <a:pt x="2114" y="754"/>
                  <a:pt x="2114" y="754"/>
                  <a:pt x="2115" y="756"/>
                </a:cubicBezTo>
                <a:cubicBezTo>
                  <a:pt x="2115" y="756"/>
                  <a:pt x="2115" y="756"/>
                  <a:pt x="2115" y="755"/>
                </a:cubicBezTo>
                <a:cubicBezTo>
                  <a:pt x="2115" y="755"/>
                  <a:pt x="2115" y="755"/>
                  <a:pt x="2116" y="752"/>
                </a:cubicBezTo>
                <a:cubicBezTo>
                  <a:pt x="2116" y="752"/>
                  <a:pt x="2116" y="752"/>
                  <a:pt x="2117" y="752"/>
                </a:cubicBezTo>
                <a:cubicBezTo>
                  <a:pt x="2117" y="752"/>
                  <a:pt x="2117" y="752"/>
                  <a:pt x="2118" y="750"/>
                </a:cubicBezTo>
                <a:cubicBezTo>
                  <a:pt x="2118" y="750"/>
                  <a:pt x="2118" y="750"/>
                  <a:pt x="2119" y="751"/>
                </a:cubicBezTo>
                <a:cubicBezTo>
                  <a:pt x="2119" y="751"/>
                  <a:pt x="2119" y="751"/>
                  <a:pt x="2119" y="752"/>
                </a:cubicBezTo>
                <a:cubicBezTo>
                  <a:pt x="2119" y="752"/>
                  <a:pt x="2119" y="752"/>
                  <a:pt x="2120" y="752"/>
                </a:cubicBezTo>
                <a:cubicBezTo>
                  <a:pt x="2120" y="752"/>
                  <a:pt x="2120" y="752"/>
                  <a:pt x="2121" y="752"/>
                </a:cubicBezTo>
                <a:cubicBezTo>
                  <a:pt x="2121" y="752"/>
                  <a:pt x="2121" y="752"/>
                  <a:pt x="2121" y="751"/>
                </a:cubicBezTo>
                <a:cubicBezTo>
                  <a:pt x="2121" y="751"/>
                  <a:pt x="2121" y="751"/>
                  <a:pt x="2122" y="751"/>
                </a:cubicBezTo>
                <a:cubicBezTo>
                  <a:pt x="2122" y="751"/>
                  <a:pt x="2122" y="751"/>
                  <a:pt x="2122" y="752"/>
                </a:cubicBezTo>
                <a:cubicBezTo>
                  <a:pt x="2122" y="752"/>
                  <a:pt x="2122" y="752"/>
                  <a:pt x="2123" y="752"/>
                </a:cubicBezTo>
                <a:cubicBezTo>
                  <a:pt x="2123" y="752"/>
                  <a:pt x="2123" y="752"/>
                  <a:pt x="2123" y="751"/>
                </a:cubicBezTo>
                <a:cubicBezTo>
                  <a:pt x="2123" y="751"/>
                  <a:pt x="2123" y="751"/>
                  <a:pt x="2123" y="750"/>
                </a:cubicBezTo>
                <a:cubicBezTo>
                  <a:pt x="2123" y="750"/>
                  <a:pt x="2123" y="750"/>
                  <a:pt x="2124" y="750"/>
                </a:cubicBezTo>
                <a:cubicBezTo>
                  <a:pt x="2124" y="750"/>
                  <a:pt x="2124" y="750"/>
                  <a:pt x="2125" y="751"/>
                </a:cubicBezTo>
                <a:cubicBezTo>
                  <a:pt x="2125" y="751"/>
                  <a:pt x="2125" y="751"/>
                  <a:pt x="2126" y="751"/>
                </a:cubicBezTo>
                <a:cubicBezTo>
                  <a:pt x="2126" y="751"/>
                  <a:pt x="2126" y="751"/>
                  <a:pt x="2128" y="752"/>
                </a:cubicBezTo>
                <a:cubicBezTo>
                  <a:pt x="2128" y="752"/>
                  <a:pt x="2128" y="752"/>
                  <a:pt x="2128" y="753"/>
                </a:cubicBezTo>
                <a:cubicBezTo>
                  <a:pt x="2128" y="753"/>
                  <a:pt x="2128" y="753"/>
                  <a:pt x="2129" y="754"/>
                </a:cubicBezTo>
                <a:cubicBezTo>
                  <a:pt x="2129" y="754"/>
                  <a:pt x="2129" y="754"/>
                  <a:pt x="2128" y="754"/>
                </a:cubicBezTo>
                <a:cubicBezTo>
                  <a:pt x="2128" y="754"/>
                  <a:pt x="2128" y="754"/>
                  <a:pt x="2127" y="754"/>
                </a:cubicBezTo>
                <a:cubicBezTo>
                  <a:pt x="2127" y="754"/>
                  <a:pt x="2127" y="754"/>
                  <a:pt x="2127" y="755"/>
                </a:cubicBezTo>
                <a:cubicBezTo>
                  <a:pt x="2127" y="755"/>
                  <a:pt x="2127" y="755"/>
                  <a:pt x="2127" y="756"/>
                </a:cubicBezTo>
                <a:cubicBezTo>
                  <a:pt x="2127" y="756"/>
                  <a:pt x="2127" y="756"/>
                  <a:pt x="2128" y="757"/>
                </a:cubicBezTo>
                <a:cubicBezTo>
                  <a:pt x="2128" y="757"/>
                  <a:pt x="2128" y="757"/>
                  <a:pt x="2127" y="758"/>
                </a:cubicBezTo>
                <a:cubicBezTo>
                  <a:pt x="2127" y="758"/>
                  <a:pt x="2127" y="758"/>
                  <a:pt x="2128" y="759"/>
                </a:cubicBezTo>
                <a:cubicBezTo>
                  <a:pt x="2128" y="759"/>
                  <a:pt x="2128" y="759"/>
                  <a:pt x="2128" y="760"/>
                </a:cubicBezTo>
                <a:cubicBezTo>
                  <a:pt x="2128" y="760"/>
                  <a:pt x="2128" y="760"/>
                  <a:pt x="2130" y="761"/>
                </a:cubicBezTo>
                <a:cubicBezTo>
                  <a:pt x="2130" y="761"/>
                  <a:pt x="2130" y="761"/>
                  <a:pt x="2131" y="761"/>
                </a:cubicBezTo>
                <a:cubicBezTo>
                  <a:pt x="2131" y="761"/>
                  <a:pt x="2131" y="761"/>
                  <a:pt x="2132" y="762"/>
                </a:cubicBezTo>
                <a:cubicBezTo>
                  <a:pt x="2132" y="762"/>
                  <a:pt x="2132" y="762"/>
                  <a:pt x="2133" y="763"/>
                </a:cubicBezTo>
                <a:cubicBezTo>
                  <a:pt x="2133" y="763"/>
                  <a:pt x="2133" y="763"/>
                  <a:pt x="2134" y="762"/>
                </a:cubicBezTo>
                <a:cubicBezTo>
                  <a:pt x="2134" y="762"/>
                  <a:pt x="2134" y="762"/>
                  <a:pt x="2135" y="762"/>
                </a:cubicBezTo>
                <a:cubicBezTo>
                  <a:pt x="2135" y="762"/>
                  <a:pt x="2135" y="762"/>
                  <a:pt x="2135" y="761"/>
                </a:cubicBezTo>
                <a:cubicBezTo>
                  <a:pt x="2135" y="761"/>
                  <a:pt x="2135" y="761"/>
                  <a:pt x="2136" y="762"/>
                </a:cubicBezTo>
                <a:cubicBezTo>
                  <a:pt x="2136" y="762"/>
                  <a:pt x="2136" y="762"/>
                  <a:pt x="2135" y="763"/>
                </a:cubicBezTo>
                <a:cubicBezTo>
                  <a:pt x="2135" y="763"/>
                  <a:pt x="2135" y="763"/>
                  <a:pt x="2136" y="764"/>
                </a:cubicBezTo>
                <a:cubicBezTo>
                  <a:pt x="2136" y="764"/>
                  <a:pt x="2136" y="764"/>
                  <a:pt x="2137" y="764"/>
                </a:cubicBezTo>
                <a:cubicBezTo>
                  <a:pt x="2137" y="764"/>
                  <a:pt x="2137" y="764"/>
                  <a:pt x="2139" y="761"/>
                </a:cubicBezTo>
                <a:cubicBezTo>
                  <a:pt x="2139" y="761"/>
                  <a:pt x="2139" y="761"/>
                  <a:pt x="2139" y="760"/>
                </a:cubicBezTo>
                <a:cubicBezTo>
                  <a:pt x="2139" y="760"/>
                  <a:pt x="2139" y="760"/>
                  <a:pt x="2138" y="759"/>
                </a:cubicBezTo>
                <a:cubicBezTo>
                  <a:pt x="2138" y="759"/>
                  <a:pt x="2138" y="759"/>
                  <a:pt x="2137" y="758"/>
                </a:cubicBezTo>
                <a:cubicBezTo>
                  <a:pt x="2137" y="758"/>
                  <a:pt x="2137" y="758"/>
                  <a:pt x="2136" y="757"/>
                </a:cubicBezTo>
                <a:cubicBezTo>
                  <a:pt x="2136" y="757"/>
                  <a:pt x="2136" y="757"/>
                  <a:pt x="2136" y="756"/>
                </a:cubicBezTo>
                <a:cubicBezTo>
                  <a:pt x="2136" y="756"/>
                  <a:pt x="2136" y="756"/>
                  <a:pt x="2138" y="753"/>
                </a:cubicBezTo>
                <a:cubicBezTo>
                  <a:pt x="2138" y="753"/>
                  <a:pt x="2138" y="753"/>
                  <a:pt x="2139" y="753"/>
                </a:cubicBezTo>
                <a:cubicBezTo>
                  <a:pt x="2139" y="753"/>
                  <a:pt x="2139" y="753"/>
                  <a:pt x="2140" y="754"/>
                </a:cubicBezTo>
                <a:cubicBezTo>
                  <a:pt x="2140" y="754"/>
                  <a:pt x="2140" y="754"/>
                  <a:pt x="2140" y="755"/>
                </a:cubicBezTo>
                <a:cubicBezTo>
                  <a:pt x="2140" y="755"/>
                  <a:pt x="2140" y="755"/>
                  <a:pt x="2141" y="756"/>
                </a:cubicBezTo>
                <a:cubicBezTo>
                  <a:pt x="2141" y="756"/>
                  <a:pt x="2141" y="756"/>
                  <a:pt x="2142" y="755"/>
                </a:cubicBezTo>
                <a:cubicBezTo>
                  <a:pt x="2142" y="755"/>
                  <a:pt x="2142" y="755"/>
                  <a:pt x="2143" y="756"/>
                </a:cubicBezTo>
                <a:cubicBezTo>
                  <a:pt x="2143" y="756"/>
                  <a:pt x="2143" y="756"/>
                  <a:pt x="2143" y="755"/>
                </a:cubicBezTo>
                <a:cubicBezTo>
                  <a:pt x="2143" y="755"/>
                  <a:pt x="2143" y="755"/>
                  <a:pt x="2144" y="753"/>
                </a:cubicBezTo>
                <a:cubicBezTo>
                  <a:pt x="2144" y="753"/>
                  <a:pt x="2144" y="753"/>
                  <a:pt x="2144" y="751"/>
                </a:cubicBezTo>
                <a:cubicBezTo>
                  <a:pt x="2144" y="751"/>
                  <a:pt x="2144" y="751"/>
                  <a:pt x="2143" y="750"/>
                </a:cubicBezTo>
                <a:cubicBezTo>
                  <a:pt x="2143" y="750"/>
                  <a:pt x="2143" y="750"/>
                  <a:pt x="2142" y="749"/>
                </a:cubicBezTo>
                <a:cubicBezTo>
                  <a:pt x="2142" y="749"/>
                  <a:pt x="2142" y="749"/>
                  <a:pt x="2142" y="748"/>
                </a:cubicBezTo>
                <a:cubicBezTo>
                  <a:pt x="2142" y="748"/>
                  <a:pt x="2142" y="748"/>
                  <a:pt x="2142" y="747"/>
                </a:cubicBezTo>
                <a:cubicBezTo>
                  <a:pt x="2142" y="747"/>
                  <a:pt x="2142" y="747"/>
                  <a:pt x="2141" y="745"/>
                </a:cubicBezTo>
                <a:cubicBezTo>
                  <a:pt x="2141" y="745"/>
                  <a:pt x="2141" y="745"/>
                  <a:pt x="2140" y="744"/>
                </a:cubicBezTo>
                <a:cubicBezTo>
                  <a:pt x="2140" y="744"/>
                  <a:pt x="2140" y="744"/>
                  <a:pt x="2141" y="743"/>
                </a:cubicBezTo>
                <a:cubicBezTo>
                  <a:pt x="2141" y="743"/>
                  <a:pt x="2141" y="743"/>
                  <a:pt x="2141" y="742"/>
                </a:cubicBezTo>
                <a:close/>
                <a:moveTo>
                  <a:pt x="2111" y="704"/>
                </a:moveTo>
                <a:cubicBezTo>
                  <a:pt x="2112" y="703"/>
                  <a:pt x="2112" y="703"/>
                  <a:pt x="2112" y="703"/>
                </a:cubicBezTo>
                <a:cubicBezTo>
                  <a:pt x="2112" y="701"/>
                  <a:pt x="2112" y="701"/>
                  <a:pt x="2112" y="701"/>
                </a:cubicBezTo>
                <a:cubicBezTo>
                  <a:pt x="2112" y="700"/>
                  <a:pt x="2112" y="700"/>
                  <a:pt x="2112" y="700"/>
                </a:cubicBezTo>
                <a:cubicBezTo>
                  <a:pt x="2111" y="700"/>
                  <a:pt x="2111" y="700"/>
                  <a:pt x="2111" y="700"/>
                </a:cubicBezTo>
                <a:cubicBezTo>
                  <a:pt x="2110" y="701"/>
                  <a:pt x="2110" y="701"/>
                  <a:pt x="2110" y="701"/>
                </a:cubicBezTo>
                <a:cubicBezTo>
                  <a:pt x="2111" y="702"/>
                  <a:pt x="2111" y="702"/>
                  <a:pt x="2111" y="702"/>
                </a:cubicBezTo>
                <a:cubicBezTo>
                  <a:pt x="2110" y="703"/>
                  <a:pt x="2110" y="703"/>
                  <a:pt x="2110" y="703"/>
                </a:cubicBezTo>
                <a:cubicBezTo>
                  <a:pt x="2111" y="704"/>
                  <a:pt x="2111" y="704"/>
                  <a:pt x="2111" y="704"/>
                </a:cubicBezTo>
                <a:close/>
                <a:moveTo>
                  <a:pt x="2086" y="742"/>
                </a:moveTo>
                <a:cubicBezTo>
                  <a:pt x="2085" y="742"/>
                  <a:pt x="2085" y="742"/>
                  <a:pt x="2085" y="742"/>
                </a:cubicBezTo>
                <a:cubicBezTo>
                  <a:pt x="2084" y="744"/>
                  <a:pt x="2084" y="744"/>
                  <a:pt x="2084" y="744"/>
                </a:cubicBezTo>
                <a:cubicBezTo>
                  <a:pt x="2083" y="745"/>
                  <a:pt x="2083" y="745"/>
                  <a:pt x="2083" y="745"/>
                </a:cubicBezTo>
                <a:cubicBezTo>
                  <a:pt x="2085" y="744"/>
                  <a:pt x="2085" y="744"/>
                  <a:pt x="2085" y="744"/>
                </a:cubicBezTo>
                <a:cubicBezTo>
                  <a:pt x="2086" y="743"/>
                  <a:pt x="2086" y="743"/>
                  <a:pt x="2086" y="743"/>
                </a:cubicBezTo>
                <a:cubicBezTo>
                  <a:pt x="2088" y="743"/>
                  <a:pt x="2088" y="743"/>
                  <a:pt x="2088" y="743"/>
                </a:cubicBezTo>
                <a:cubicBezTo>
                  <a:pt x="2089" y="741"/>
                  <a:pt x="2089" y="741"/>
                  <a:pt x="2089" y="741"/>
                </a:cubicBezTo>
                <a:cubicBezTo>
                  <a:pt x="2090" y="740"/>
                  <a:pt x="2090" y="740"/>
                  <a:pt x="2090" y="740"/>
                </a:cubicBezTo>
                <a:cubicBezTo>
                  <a:pt x="2091" y="739"/>
                  <a:pt x="2091" y="739"/>
                  <a:pt x="2091" y="739"/>
                </a:cubicBezTo>
                <a:cubicBezTo>
                  <a:pt x="2092" y="739"/>
                  <a:pt x="2092" y="739"/>
                  <a:pt x="2092" y="739"/>
                </a:cubicBezTo>
                <a:cubicBezTo>
                  <a:pt x="2092" y="738"/>
                  <a:pt x="2092" y="738"/>
                  <a:pt x="2092" y="738"/>
                </a:cubicBezTo>
                <a:cubicBezTo>
                  <a:pt x="2092" y="736"/>
                  <a:pt x="2092" y="736"/>
                  <a:pt x="2092" y="736"/>
                </a:cubicBezTo>
                <a:cubicBezTo>
                  <a:pt x="2093" y="735"/>
                  <a:pt x="2093" y="735"/>
                  <a:pt x="2093" y="735"/>
                </a:cubicBezTo>
                <a:cubicBezTo>
                  <a:pt x="2095" y="735"/>
                  <a:pt x="2095" y="735"/>
                  <a:pt x="2095" y="735"/>
                </a:cubicBezTo>
                <a:cubicBezTo>
                  <a:pt x="2095" y="733"/>
                  <a:pt x="2095" y="733"/>
                  <a:pt x="2095" y="733"/>
                </a:cubicBezTo>
                <a:cubicBezTo>
                  <a:pt x="2096" y="732"/>
                  <a:pt x="2096" y="732"/>
                  <a:pt x="2096" y="732"/>
                </a:cubicBezTo>
                <a:cubicBezTo>
                  <a:pt x="2097" y="732"/>
                  <a:pt x="2097" y="732"/>
                  <a:pt x="2097" y="732"/>
                </a:cubicBezTo>
                <a:cubicBezTo>
                  <a:pt x="2098" y="731"/>
                  <a:pt x="2098" y="731"/>
                  <a:pt x="2098" y="731"/>
                </a:cubicBezTo>
                <a:cubicBezTo>
                  <a:pt x="2097" y="730"/>
                  <a:pt x="2097" y="730"/>
                  <a:pt x="2097" y="730"/>
                </a:cubicBezTo>
                <a:cubicBezTo>
                  <a:pt x="2096" y="729"/>
                  <a:pt x="2096" y="729"/>
                  <a:pt x="2096" y="729"/>
                </a:cubicBezTo>
                <a:cubicBezTo>
                  <a:pt x="2096" y="727"/>
                  <a:pt x="2096" y="727"/>
                  <a:pt x="2096" y="727"/>
                </a:cubicBezTo>
                <a:cubicBezTo>
                  <a:pt x="2096" y="726"/>
                  <a:pt x="2096" y="726"/>
                  <a:pt x="2096" y="726"/>
                </a:cubicBezTo>
                <a:cubicBezTo>
                  <a:pt x="2095" y="728"/>
                  <a:pt x="2095" y="728"/>
                  <a:pt x="2095" y="728"/>
                </a:cubicBezTo>
                <a:cubicBezTo>
                  <a:pt x="2096" y="730"/>
                  <a:pt x="2096" y="730"/>
                  <a:pt x="2096" y="730"/>
                </a:cubicBezTo>
                <a:cubicBezTo>
                  <a:pt x="2095" y="729"/>
                  <a:pt x="2095" y="729"/>
                  <a:pt x="2095" y="729"/>
                </a:cubicBezTo>
                <a:cubicBezTo>
                  <a:pt x="2095" y="730"/>
                  <a:pt x="2095" y="730"/>
                  <a:pt x="2095" y="730"/>
                </a:cubicBezTo>
                <a:cubicBezTo>
                  <a:pt x="2095" y="731"/>
                  <a:pt x="2095" y="731"/>
                  <a:pt x="2095" y="731"/>
                </a:cubicBezTo>
                <a:cubicBezTo>
                  <a:pt x="2094" y="732"/>
                  <a:pt x="2094" y="732"/>
                  <a:pt x="2094" y="732"/>
                </a:cubicBezTo>
                <a:cubicBezTo>
                  <a:pt x="2092" y="734"/>
                  <a:pt x="2092" y="734"/>
                  <a:pt x="2092" y="734"/>
                </a:cubicBezTo>
                <a:cubicBezTo>
                  <a:pt x="2091" y="735"/>
                  <a:pt x="2091" y="735"/>
                  <a:pt x="2091" y="735"/>
                </a:cubicBezTo>
                <a:cubicBezTo>
                  <a:pt x="2090" y="738"/>
                  <a:pt x="2090" y="738"/>
                  <a:pt x="2090" y="738"/>
                </a:cubicBezTo>
                <a:cubicBezTo>
                  <a:pt x="2088" y="740"/>
                  <a:pt x="2088" y="740"/>
                  <a:pt x="2088" y="740"/>
                </a:cubicBezTo>
                <a:cubicBezTo>
                  <a:pt x="2087" y="740"/>
                  <a:pt x="2087" y="740"/>
                  <a:pt x="2087" y="740"/>
                </a:cubicBezTo>
                <a:cubicBezTo>
                  <a:pt x="2086" y="742"/>
                  <a:pt x="2086" y="742"/>
                  <a:pt x="2086" y="742"/>
                </a:cubicBezTo>
                <a:close/>
                <a:moveTo>
                  <a:pt x="2108" y="673"/>
                </a:moveTo>
                <a:cubicBezTo>
                  <a:pt x="2107" y="674"/>
                  <a:pt x="2107" y="674"/>
                  <a:pt x="2107" y="674"/>
                </a:cubicBezTo>
                <a:cubicBezTo>
                  <a:pt x="2108" y="675"/>
                  <a:pt x="2108" y="675"/>
                  <a:pt x="2108" y="675"/>
                </a:cubicBezTo>
                <a:cubicBezTo>
                  <a:pt x="2109" y="674"/>
                  <a:pt x="2109" y="674"/>
                  <a:pt x="2109" y="674"/>
                </a:cubicBezTo>
                <a:lnTo>
                  <a:pt x="2108" y="673"/>
                </a:lnTo>
                <a:close/>
                <a:moveTo>
                  <a:pt x="2106" y="678"/>
                </a:moveTo>
                <a:cubicBezTo>
                  <a:pt x="2106" y="678"/>
                  <a:pt x="2106" y="678"/>
                  <a:pt x="2105" y="677"/>
                </a:cubicBezTo>
                <a:cubicBezTo>
                  <a:pt x="2105" y="677"/>
                  <a:pt x="2105" y="677"/>
                  <a:pt x="2102" y="676"/>
                </a:cubicBezTo>
                <a:cubicBezTo>
                  <a:pt x="2102" y="676"/>
                  <a:pt x="2102" y="676"/>
                  <a:pt x="2100" y="677"/>
                </a:cubicBezTo>
                <a:cubicBezTo>
                  <a:pt x="2100" y="677"/>
                  <a:pt x="2100" y="677"/>
                  <a:pt x="2100" y="678"/>
                </a:cubicBezTo>
                <a:cubicBezTo>
                  <a:pt x="2100" y="678"/>
                  <a:pt x="2100" y="678"/>
                  <a:pt x="2099" y="681"/>
                </a:cubicBezTo>
                <a:cubicBezTo>
                  <a:pt x="2099" y="681"/>
                  <a:pt x="2099" y="681"/>
                  <a:pt x="2099" y="682"/>
                </a:cubicBezTo>
                <a:cubicBezTo>
                  <a:pt x="2099" y="682"/>
                  <a:pt x="2099" y="682"/>
                  <a:pt x="2099" y="685"/>
                </a:cubicBezTo>
                <a:cubicBezTo>
                  <a:pt x="2099" y="685"/>
                  <a:pt x="2099" y="685"/>
                  <a:pt x="2099" y="688"/>
                </a:cubicBezTo>
                <a:cubicBezTo>
                  <a:pt x="2099" y="688"/>
                  <a:pt x="2099" y="688"/>
                  <a:pt x="2098" y="689"/>
                </a:cubicBezTo>
                <a:cubicBezTo>
                  <a:pt x="2098" y="689"/>
                  <a:pt x="2098" y="689"/>
                  <a:pt x="2099" y="692"/>
                </a:cubicBezTo>
                <a:cubicBezTo>
                  <a:pt x="2099" y="692"/>
                  <a:pt x="2099" y="692"/>
                  <a:pt x="2098" y="693"/>
                </a:cubicBezTo>
                <a:cubicBezTo>
                  <a:pt x="2098" y="693"/>
                  <a:pt x="2098" y="693"/>
                  <a:pt x="2097" y="693"/>
                </a:cubicBezTo>
                <a:cubicBezTo>
                  <a:pt x="2097" y="693"/>
                  <a:pt x="2097" y="693"/>
                  <a:pt x="2096" y="692"/>
                </a:cubicBezTo>
                <a:cubicBezTo>
                  <a:pt x="2096" y="692"/>
                  <a:pt x="2096" y="692"/>
                  <a:pt x="2096" y="693"/>
                </a:cubicBezTo>
                <a:cubicBezTo>
                  <a:pt x="2096" y="693"/>
                  <a:pt x="2096" y="693"/>
                  <a:pt x="2096" y="695"/>
                </a:cubicBezTo>
                <a:cubicBezTo>
                  <a:pt x="2096" y="695"/>
                  <a:pt x="2096" y="695"/>
                  <a:pt x="2097" y="695"/>
                </a:cubicBezTo>
                <a:cubicBezTo>
                  <a:pt x="2097" y="695"/>
                  <a:pt x="2097" y="695"/>
                  <a:pt x="2097" y="696"/>
                </a:cubicBezTo>
                <a:cubicBezTo>
                  <a:pt x="2097" y="696"/>
                  <a:pt x="2097" y="696"/>
                  <a:pt x="2097" y="698"/>
                </a:cubicBezTo>
                <a:cubicBezTo>
                  <a:pt x="2097" y="698"/>
                  <a:pt x="2097" y="698"/>
                  <a:pt x="2098" y="699"/>
                </a:cubicBezTo>
                <a:cubicBezTo>
                  <a:pt x="2098" y="699"/>
                  <a:pt x="2098" y="699"/>
                  <a:pt x="2098" y="702"/>
                </a:cubicBezTo>
                <a:cubicBezTo>
                  <a:pt x="2098" y="702"/>
                  <a:pt x="2098" y="702"/>
                  <a:pt x="2099" y="702"/>
                </a:cubicBezTo>
                <a:cubicBezTo>
                  <a:pt x="2099" y="702"/>
                  <a:pt x="2099" y="702"/>
                  <a:pt x="2100" y="702"/>
                </a:cubicBezTo>
                <a:cubicBezTo>
                  <a:pt x="2100" y="702"/>
                  <a:pt x="2100" y="702"/>
                  <a:pt x="2100" y="703"/>
                </a:cubicBezTo>
                <a:cubicBezTo>
                  <a:pt x="2100" y="703"/>
                  <a:pt x="2100" y="703"/>
                  <a:pt x="2101" y="705"/>
                </a:cubicBezTo>
                <a:cubicBezTo>
                  <a:pt x="2101" y="705"/>
                  <a:pt x="2101" y="705"/>
                  <a:pt x="2102" y="705"/>
                </a:cubicBezTo>
                <a:cubicBezTo>
                  <a:pt x="2102" y="705"/>
                  <a:pt x="2102" y="705"/>
                  <a:pt x="2102" y="704"/>
                </a:cubicBezTo>
                <a:cubicBezTo>
                  <a:pt x="2102" y="704"/>
                  <a:pt x="2102" y="704"/>
                  <a:pt x="2102" y="703"/>
                </a:cubicBezTo>
                <a:cubicBezTo>
                  <a:pt x="2102" y="703"/>
                  <a:pt x="2102" y="703"/>
                  <a:pt x="2102" y="702"/>
                </a:cubicBezTo>
                <a:cubicBezTo>
                  <a:pt x="2102" y="702"/>
                  <a:pt x="2102" y="702"/>
                  <a:pt x="2103" y="703"/>
                </a:cubicBezTo>
                <a:cubicBezTo>
                  <a:pt x="2103" y="703"/>
                  <a:pt x="2103" y="703"/>
                  <a:pt x="2104" y="703"/>
                </a:cubicBezTo>
                <a:cubicBezTo>
                  <a:pt x="2104" y="703"/>
                  <a:pt x="2104" y="703"/>
                  <a:pt x="2103" y="705"/>
                </a:cubicBezTo>
                <a:cubicBezTo>
                  <a:pt x="2103" y="705"/>
                  <a:pt x="2103" y="705"/>
                  <a:pt x="2102" y="706"/>
                </a:cubicBezTo>
                <a:cubicBezTo>
                  <a:pt x="2102" y="706"/>
                  <a:pt x="2102" y="706"/>
                  <a:pt x="2102" y="707"/>
                </a:cubicBezTo>
                <a:cubicBezTo>
                  <a:pt x="2102" y="707"/>
                  <a:pt x="2102" y="707"/>
                  <a:pt x="2102" y="708"/>
                </a:cubicBezTo>
                <a:cubicBezTo>
                  <a:pt x="2102" y="708"/>
                  <a:pt x="2102" y="708"/>
                  <a:pt x="2103" y="710"/>
                </a:cubicBezTo>
                <a:cubicBezTo>
                  <a:pt x="2103" y="710"/>
                  <a:pt x="2103" y="710"/>
                  <a:pt x="2103" y="708"/>
                </a:cubicBezTo>
                <a:cubicBezTo>
                  <a:pt x="2103" y="708"/>
                  <a:pt x="2103" y="708"/>
                  <a:pt x="2104" y="708"/>
                </a:cubicBezTo>
                <a:cubicBezTo>
                  <a:pt x="2104" y="708"/>
                  <a:pt x="2104" y="708"/>
                  <a:pt x="2105" y="709"/>
                </a:cubicBezTo>
                <a:cubicBezTo>
                  <a:pt x="2105" y="709"/>
                  <a:pt x="2105" y="709"/>
                  <a:pt x="2104" y="710"/>
                </a:cubicBezTo>
                <a:cubicBezTo>
                  <a:pt x="2104" y="710"/>
                  <a:pt x="2104" y="710"/>
                  <a:pt x="2105" y="710"/>
                </a:cubicBezTo>
                <a:cubicBezTo>
                  <a:pt x="2105" y="710"/>
                  <a:pt x="2105" y="710"/>
                  <a:pt x="2106" y="709"/>
                </a:cubicBezTo>
                <a:cubicBezTo>
                  <a:pt x="2106" y="709"/>
                  <a:pt x="2106" y="709"/>
                  <a:pt x="2107" y="711"/>
                </a:cubicBezTo>
                <a:cubicBezTo>
                  <a:pt x="2107" y="711"/>
                  <a:pt x="2107" y="711"/>
                  <a:pt x="2109" y="710"/>
                </a:cubicBezTo>
                <a:cubicBezTo>
                  <a:pt x="2109" y="710"/>
                  <a:pt x="2109" y="710"/>
                  <a:pt x="2108" y="709"/>
                </a:cubicBezTo>
                <a:cubicBezTo>
                  <a:pt x="2108" y="709"/>
                  <a:pt x="2108" y="709"/>
                  <a:pt x="2109" y="708"/>
                </a:cubicBezTo>
                <a:cubicBezTo>
                  <a:pt x="2109" y="708"/>
                  <a:pt x="2109" y="708"/>
                  <a:pt x="2110" y="708"/>
                </a:cubicBezTo>
                <a:cubicBezTo>
                  <a:pt x="2110" y="708"/>
                  <a:pt x="2110" y="708"/>
                  <a:pt x="2113" y="709"/>
                </a:cubicBezTo>
                <a:cubicBezTo>
                  <a:pt x="2113" y="709"/>
                  <a:pt x="2113" y="709"/>
                  <a:pt x="2113" y="710"/>
                </a:cubicBezTo>
                <a:cubicBezTo>
                  <a:pt x="2113" y="710"/>
                  <a:pt x="2113" y="710"/>
                  <a:pt x="2115" y="711"/>
                </a:cubicBezTo>
                <a:cubicBezTo>
                  <a:pt x="2115" y="711"/>
                  <a:pt x="2115" y="711"/>
                  <a:pt x="2116" y="713"/>
                </a:cubicBezTo>
                <a:cubicBezTo>
                  <a:pt x="2116" y="713"/>
                  <a:pt x="2116" y="713"/>
                  <a:pt x="2116" y="711"/>
                </a:cubicBezTo>
                <a:cubicBezTo>
                  <a:pt x="2116" y="711"/>
                  <a:pt x="2116" y="711"/>
                  <a:pt x="2115" y="709"/>
                </a:cubicBezTo>
                <a:cubicBezTo>
                  <a:pt x="2115" y="709"/>
                  <a:pt x="2115" y="709"/>
                  <a:pt x="2115" y="708"/>
                </a:cubicBezTo>
                <a:cubicBezTo>
                  <a:pt x="2115" y="708"/>
                  <a:pt x="2115" y="708"/>
                  <a:pt x="2116" y="708"/>
                </a:cubicBezTo>
                <a:cubicBezTo>
                  <a:pt x="2116" y="708"/>
                  <a:pt x="2116" y="708"/>
                  <a:pt x="2116" y="709"/>
                </a:cubicBezTo>
                <a:cubicBezTo>
                  <a:pt x="2116" y="709"/>
                  <a:pt x="2116" y="709"/>
                  <a:pt x="2117" y="709"/>
                </a:cubicBezTo>
                <a:cubicBezTo>
                  <a:pt x="2117" y="709"/>
                  <a:pt x="2117" y="709"/>
                  <a:pt x="2118" y="711"/>
                </a:cubicBezTo>
                <a:cubicBezTo>
                  <a:pt x="2118" y="711"/>
                  <a:pt x="2118" y="711"/>
                  <a:pt x="2120" y="711"/>
                </a:cubicBezTo>
                <a:cubicBezTo>
                  <a:pt x="2120" y="711"/>
                  <a:pt x="2120" y="711"/>
                  <a:pt x="2120" y="713"/>
                </a:cubicBezTo>
                <a:cubicBezTo>
                  <a:pt x="2120" y="713"/>
                  <a:pt x="2120" y="713"/>
                  <a:pt x="2120" y="714"/>
                </a:cubicBezTo>
                <a:cubicBezTo>
                  <a:pt x="2120" y="714"/>
                  <a:pt x="2120" y="714"/>
                  <a:pt x="2121" y="714"/>
                </a:cubicBezTo>
                <a:cubicBezTo>
                  <a:pt x="2121" y="714"/>
                  <a:pt x="2121" y="714"/>
                  <a:pt x="2123" y="716"/>
                </a:cubicBezTo>
                <a:cubicBezTo>
                  <a:pt x="2123" y="716"/>
                  <a:pt x="2123" y="716"/>
                  <a:pt x="2124" y="716"/>
                </a:cubicBezTo>
                <a:cubicBezTo>
                  <a:pt x="2124" y="716"/>
                  <a:pt x="2124" y="716"/>
                  <a:pt x="2124" y="715"/>
                </a:cubicBezTo>
                <a:cubicBezTo>
                  <a:pt x="2124" y="715"/>
                  <a:pt x="2124" y="715"/>
                  <a:pt x="2125" y="715"/>
                </a:cubicBezTo>
                <a:cubicBezTo>
                  <a:pt x="2125" y="715"/>
                  <a:pt x="2125" y="715"/>
                  <a:pt x="2125" y="716"/>
                </a:cubicBezTo>
                <a:cubicBezTo>
                  <a:pt x="2125" y="716"/>
                  <a:pt x="2125" y="716"/>
                  <a:pt x="2124" y="717"/>
                </a:cubicBezTo>
                <a:cubicBezTo>
                  <a:pt x="2124" y="717"/>
                  <a:pt x="2124" y="717"/>
                  <a:pt x="2125" y="718"/>
                </a:cubicBezTo>
                <a:cubicBezTo>
                  <a:pt x="2125" y="718"/>
                  <a:pt x="2125" y="718"/>
                  <a:pt x="2126" y="718"/>
                </a:cubicBezTo>
                <a:cubicBezTo>
                  <a:pt x="2126" y="718"/>
                  <a:pt x="2126" y="718"/>
                  <a:pt x="2126" y="716"/>
                </a:cubicBezTo>
                <a:cubicBezTo>
                  <a:pt x="2126" y="716"/>
                  <a:pt x="2126" y="716"/>
                  <a:pt x="2127" y="715"/>
                </a:cubicBezTo>
                <a:cubicBezTo>
                  <a:pt x="2127" y="715"/>
                  <a:pt x="2127" y="715"/>
                  <a:pt x="2126" y="714"/>
                </a:cubicBezTo>
                <a:cubicBezTo>
                  <a:pt x="2126" y="714"/>
                  <a:pt x="2126" y="714"/>
                  <a:pt x="2125" y="714"/>
                </a:cubicBezTo>
                <a:cubicBezTo>
                  <a:pt x="2125" y="714"/>
                  <a:pt x="2125" y="714"/>
                  <a:pt x="2124" y="714"/>
                </a:cubicBezTo>
                <a:cubicBezTo>
                  <a:pt x="2124" y="714"/>
                  <a:pt x="2124" y="714"/>
                  <a:pt x="2123" y="714"/>
                </a:cubicBezTo>
                <a:cubicBezTo>
                  <a:pt x="2123" y="714"/>
                  <a:pt x="2123" y="714"/>
                  <a:pt x="2123" y="713"/>
                </a:cubicBezTo>
                <a:cubicBezTo>
                  <a:pt x="2123" y="713"/>
                  <a:pt x="2123" y="713"/>
                  <a:pt x="2122" y="711"/>
                </a:cubicBezTo>
                <a:cubicBezTo>
                  <a:pt x="2122" y="711"/>
                  <a:pt x="2122" y="711"/>
                  <a:pt x="2122" y="710"/>
                </a:cubicBezTo>
                <a:cubicBezTo>
                  <a:pt x="2122" y="710"/>
                  <a:pt x="2122" y="710"/>
                  <a:pt x="2122" y="709"/>
                </a:cubicBezTo>
                <a:cubicBezTo>
                  <a:pt x="2122" y="709"/>
                  <a:pt x="2122" y="709"/>
                  <a:pt x="2123" y="710"/>
                </a:cubicBezTo>
                <a:cubicBezTo>
                  <a:pt x="2123" y="710"/>
                  <a:pt x="2123" y="710"/>
                  <a:pt x="2124" y="710"/>
                </a:cubicBezTo>
                <a:cubicBezTo>
                  <a:pt x="2124" y="710"/>
                  <a:pt x="2124" y="710"/>
                  <a:pt x="2124" y="709"/>
                </a:cubicBezTo>
                <a:cubicBezTo>
                  <a:pt x="2124" y="709"/>
                  <a:pt x="2124" y="709"/>
                  <a:pt x="2122" y="708"/>
                </a:cubicBezTo>
                <a:cubicBezTo>
                  <a:pt x="2122" y="708"/>
                  <a:pt x="2122" y="708"/>
                  <a:pt x="2121" y="708"/>
                </a:cubicBezTo>
                <a:cubicBezTo>
                  <a:pt x="2121" y="708"/>
                  <a:pt x="2121" y="708"/>
                  <a:pt x="2120" y="707"/>
                </a:cubicBezTo>
                <a:cubicBezTo>
                  <a:pt x="2120" y="707"/>
                  <a:pt x="2120" y="707"/>
                  <a:pt x="2120" y="708"/>
                </a:cubicBezTo>
                <a:cubicBezTo>
                  <a:pt x="2120" y="708"/>
                  <a:pt x="2120" y="708"/>
                  <a:pt x="2120" y="709"/>
                </a:cubicBezTo>
                <a:cubicBezTo>
                  <a:pt x="2120" y="709"/>
                  <a:pt x="2120" y="709"/>
                  <a:pt x="2119" y="709"/>
                </a:cubicBezTo>
                <a:cubicBezTo>
                  <a:pt x="2119" y="709"/>
                  <a:pt x="2119" y="709"/>
                  <a:pt x="2118" y="709"/>
                </a:cubicBezTo>
                <a:cubicBezTo>
                  <a:pt x="2118" y="709"/>
                  <a:pt x="2118" y="709"/>
                  <a:pt x="2119" y="707"/>
                </a:cubicBezTo>
                <a:cubicBezTo>
                  <a:pt x="2119" y="707"/>
                  <a:pt x="2119" y="707"/>
                  <a:pt x="2118" y="706"/>
                </a:cubicBezTo>
                <a:cubicBezTo>
                  <a:pt x="2118" y="706"/>
                  <a:pt x="2118" y="706"/>
                  <a:pt x="2116" y="705"/>
                </a:cubicBezTo>
                <a:cubicBezTo>
                  <a:pt x="2116" y="705"/>
                  <a:pt x="2116" y="705"/>
                  <a:pt x="2115" y="705"/>
                </a:cubicBezTo>
                <a:cubicBezTo>
                  <a:pt x="2115" y="705"/>
                  <a:pt x="2115" y="705"/>
                  <a:pt x="2113" y="706"/>
                </a:cubicBezTo>
                <a:cubicBezTo>
                  <a:pt x="2113" y="706"/>
                  <a:pt x="2113" y="706"/>
                  <a:pt x="2113" y="707"/>
                </a:cubicBezTo>
                <a:cubicBezTo>
                  <a:pt x="2113" y="707"/>
                  <a:pt x="2113" y="707"/>
                  <a:pt x="2112" y="707"/>
                </a:cubicBezTo>
                <a:cubicBezTo>
                  <a:pt x="2112" y="707"/>
                  <a:pt x="2112" y="707"/>
                  <a:pt x="2110" y="707"/>
                </a:cubicBezTo>
                <a:cubicBezTo>
                  <a:pt x="2110" y="707"/>
                  <a:pt x="2110" y="707"/>
                  <a:pt x="2110" y="706"/>
                </a:cubicBezTo>
                <a:cubicBezTo>
                  <a:pt x="2110" y="706"/>
                  <a:pt x="2110" y="706"/>
                  <a:pt x="2109" y="705"/>
                </a:cubicBezTo>
                <a:cubicBezTo>
                  <a:pt x="2109" y="705"/>
                  <a:pt x="2109" y="705"/>
                  <a:pt x="2109" y="704"/>
                </a:cubicBezTo>
                <a:cubicBezTo>
                  <a:pt x="2109" y="704"/>
                  <a:pt x="2109" y="704"/>
                  <a:pt x="2109" y="703"/>
                </a:cubicBezTo>
                <a:cubicBezTo>
                  <a:pt x="2109" y="703"/>
                  <a:pt x="2109" y="703"/>
                  <a:pt x="2108" y="702"/>
                </a:cubicBezTo>
                <a:cubicBezTo>
                  <a:pt x="2108" y="702"/>
                  <a:pt x="2108" y="702"/>
                  <a:pt x="2108" y="700"/>
                </a:cubicBezTo>
                <a:cubicBezTo>
                  <a:pt x="2108" y="700"/>
                  <a:pt x="2108" y="700"/>
                  <a:pt x="2107" y="700"/>
                </a:cubicBezTo>
                <a:cubicBezTo>
                  <a:pt x="2107" y="700"/>
                  <a:pt x="2107" y="700"/>
                  <a:pt x="2107" y="698"/>
                </a:cubicBezTo>
                <a:cubicBezTo>
                  <a:pt x="2107" y="698"/>
                  <a:pt x="2107" y="698"/>
                  <a:pt x="2108" y="697"/>
                </a:cubicBezTo>
                <a:cubicBezTo>
                  <a:pt x="2108" y="697"/>
                  <a:pt x="2108" y="697"/>
                  <a:pt x="2108" y="696"/>
                </a:cubicBezTo>
                <a:cubicBezTo>
                  <a:pt x="2108" y="696"/>
                  <a:pt x="2108" y="696"/>
                  <a:pt x="2108" y="695"/>
                </a:cubicBezTo>
                <a:cubicBezTo>
                  <a:pt x="2108" y="695"/>
                  <a:pt x="2108" y="695"/>
                  <a:pt x="2110" y="693"/>
                </a:cubicBezTo>
                <a:cubicBezTo>
                  <a:pt x="2110" y="693"/>
                  <a:pt x="2110" y="693"/>
                  <a:pt x="2111" y="692"/>
                </a:cubicBezTo>
                <a:cubicBezTo>
                  <a:pt x="2111" y="692"/>
                  <a:pt x="2111" y="692"/>
                  <a:pt x="2111" y="693"/>
                </a:cubicBezTo>
                <a:cubicBezTo>
                  <a:pt x="2111" y="693"/>
                  <a:pt x="2111" y="693"/>
                  <a:pt x="2111" y="694"/>
                </a:cubicBezTo>
                <a:cubicBezTo>
                  <a:pt x="2111" y="694"/>
                  <a:pt x="2111" y="694"/>
                  <a:pt x="2112" y="692"/>
                </a:cubicBezTo>
                <a:cubicBezTo>
                  <a:pt x="2112" y="692"/>
                  <a:pt x="2112" y="692"/>
                  <a:pt x="2111" y="691"/>
                </a:cubicBezTo>
                <a:cubicBezTo>
                  <a:pt x="2111" y="691"/>
                  <a:pt x="2111" y="691"/>
                  <a:pt x="2112" y="689"/>
                </a:cubicBezTo>
                <a:cubicBezTo>
                  <a:pt x="2112" y="689"/>
                  <a:pt x="2112" y="689"/>
                  <a:pt x="2113" y="686"/>
                </a:cubicBezTo>
                <a:cubicBezTo>
                  <a:pt x="2113" y="686"/>
                  <a:pt x="2113" y="686"/>
                  <a:pt x="2112" y="685"/>
                </a:cubicBezTo>
                <a:cubicBezTo>
                  <a:pt x="2112" y="685"/>
                  <a:pt x="2112" y="685"/>
                  <a:pt x="2112" y="684"/>
                </a:cubicBezTo>
                <a:cubicBezTo>
                  <a:pt x="2112" y="684"/>
                  <a:pt x="2112" y="684"/>
                  <a:pt x="2111" y="683"/>
                </a:cubicBezTo>
                <a:cubicBezTo>
                  <a:pt x="2111" y="683"/>
                  <a:pt x="2111" y="683"/>
                  <a:pt x="2110" y="682"/>
                </a:cubicBezTo>
                <a:cubicBezTo>
                  <a:pt x="2110" y="682"/>
                  <a:pt x="2110" y="682"/>
                  <a:pt x="2110" y="679"/>
                </a:cubicBezTo>
                <a:cubicBezTo>
                  <a:pt x="2110" y="679"/>
                  <a:pt x="2110" y="679"/>
                  <a:pt x="2111" y="678"/>
                </a:cubicBezTo>
                <a:cubicBezTo>
                  <a:pt x="2111" y="678"/>
                  <a:pt x="2111" y="678"/>
                  <a:pt x="2111" y="677"/>
                </a:cubicBezTo>
                <a:cubicBezTo>
                  <a:pt x="2111" y="677"/>
                  <a:pt x="2111" y="677"/>
                  <a:pt x="2110" y="676"/>
                </a:cubicBezTo>
                <a:cubicBezTo>
                  <a:pt x="2110" y="676"/>
                  <a:pt x="2110" y="676"/>
                  <a:pt x="2109" y="677"/>
                </a:cubicBezTo>
                <a:cubicBezTo>
                  <a:pt x="2109" y="677"/>
                  <a:pt x="2109" y="677"/>
                  <a:pt x="2109" y="678"/>
                </a:cubicBezTo>
                <a:cubicBezTo>
                  <a:pt x="2109" y="678"/>
                  <a:pt x="2109" y="678"/>
                  <a:pt x="2107" y="678"/>
                </a:cubicBezTo>
                <a:cubicBezTo>
                  <a:pt x="2107" y="678"/>
                  <a:pt x="2107" y="678"/>
                  <a:pt x="2106" y="678"/>
                </a:cubicBezTo>
                <a:close/>
                <a:moveTo>
                  <a:pt x="2005" y="806"/>
                </a:moveTo>
                <a:cubicBezTo>
                  <a:pt x="2006" y="806"/>
                  <a:pt x="2006" y="806"/>
                  <a:pt x="2006" y="806"/>
                </a:cubicBezTo>
                <a:cubicBezTo>
                  <a:pt x="2006" y="805"/>
                  <a:pt x="2006" y="805"/>
                  <a:pt x="2006" y="805"/>
                </a:cubicBezTo>
                <a:cubicBezTo>
                  <a:pt x="2005" y="805"/>
                  <a:pt x="2005" y="805"/>
                  <a:pt x="2005" y="805"/>
                </a:cubicBezTo>
                <a:cubicBezTo>
                  <a:pt x="2004" y="806"/>
                  <a:pt x="2004" y="806"/>
                  <a:pt x="2004" y="806"/>
                </a:cubicBezTo>
                <a:cubicBezTo>
                  <a:pt x="2005" y="806"/>
                  <a:pt x="2005" y="806"/>
                  <a:pt x="2005" y="806"/>
                </a:cubicBezTo>
                <a:close/>
                <a:moveTo>
                  <a:pt x="2006" y="793"/>
                </a:moveTo>
                <a:cubicBezTo>
                  <a:pt x="2005" y="793"/>
                  <a:pt x="2005" y="793"/>
                  <a:pt x="2005" y="793"/>
                </a:cubicBezTo>
                <a:cubicBezTo>
                  <a:pt x="2004" y="793"/>
                  <a:pt x="2004" y="793"/>
                  <a:pt x="2004" y="793"/>
                </a:cubicBezTo>
                <a:cubicBezTo>
                  <a:pt x="2004" y="795"/>
                  <a:pt x="2004" y="795"/>
                  <a:pt x="2004" y="795"/>
                </a:cubicBezTo>
                <a:cubicBezTo>
                  <a:pt x="2005" y="795"/>
                  <a:pt x="2005" y="795"/>
                  <a:pt x="2005" y="795"/>
                </a:cubicBezTo>
                <a:cubicBezTo>
                  <a:pt x="2006" y="797"/>
                  <a:pt x="2006" y="797"/>
                  <a:pt x="2006" y="797"/>
                </a:cubicBezTo>
                <a:cubicBezTo>
                  <a:pt x="2006" y="796"/>
                  <a:pt x="2006" y="796"/>
                  <a:pt x="2006" y="796"/>
                </a:cubicBezTo>
                <a:cubicBezTo>
                  <a:pt x="2007" y="794"/>
                  <a:pt x="2007" y="794"/>
                  <a:pt x="2007" y="794"/>
                </a:cubicBezTo>
                <a:cubicBezTo>
                  <a:pt x="2006" y="794"/>
                  <a:pt x="2006" y="794"/>
                  <a:pt x="2006" y="794"/>
                </a:cubicBezTo>
                <a:cubicBezTo>
                  <a:pt x="2007" y="793"/>
                  <a:pt x="2007" y="793"/>
                  <a:pt x="2007" y="793"/>
                </a:cubicBezTo>
                <a:cubicBezTo>
                  <a:pt x="2006" y="793"/>
                  <a:pt x="2006" y="793"/>
                  <a:pt x="2006" y="793"/>
                </a:cubicBezTo>
                <a:close/>
                <a:moveTo>
                  <a:pt x="2007" y="804"/>
                </a:moveTo>
                <a:cubicBezTo>
                  <a:pt x="2008" y="804"/>
                  <a:pt x="2008" y="804"/>
                  <a:pt x="2008" y="804"/>
                </a:cubicBezTo>
                <a:cubicBezTo>
                  <a:pt x="2009" y="804"/>
                  <a:pt x="2009" y="804"/>
                  <a:pt x="2009" y="804"/>
                </a:cubicBezTo>
                <a:cubicBezTo>
                  <a:pt x="2007" y="802"/>
                  <a:pt x="2007" y="802"/>
                  <a:pt x="2007" y="802"/>
                </a:cubicBezTo>
                <a:cubicBezTo>
                  <a:pt x="2006" y="802"/>
                  <a:pt x="2006" y="802"/>
                  <a:pt x="2006" y="802"/>
                </a:cubicBezTo>
                <a:cubicBezTo>
                  <a:pt x="2005" y="803"/>
                  <a:pt x="2005" y="803"/>
                  <a:pt x="2005" y="803"/>
                </a:cubicBezTo>
                <a:cubicBezTo>
                  <a:pt x="2006" y="804"/>
                  <a:pt x="2006" y="804"/>
                  <a:pt x="2006" y="804"/>
                </a:cubicBezTo>
                <a:cubicBezTo>
                  <a:pt x="2007" y="804"/>
                  <a:pt x="2007" y="804"/>
                  <a:pt x="2007" y="804"/>
                </a:cubicBezTo>
                <a:close/>
                <a:moveTo>
                  <a:pt x="1995" y="797"/>
                </a:moveTo>
                <a:cubicBezTo>
                  <a:pt x="1996" y="797"/>
                  <a:pt x="1996" y="797"/>
                  <a:pt x="1996" y="797"/>
                </a:cubicBezTo>
                <a:cubicBezTo>
                  <a:pt x="1997" y="797"/>
                  <a:pt x="1997" y="797"/>
                  <a:pt x="1997" y="797"/>
                </a:cubicBezTo>
                <a:cubicBezTo>
                  <a:pt x="1996" y="795"/>
                  <a:pt x="1996" y="795"/>
                  <a:pt x="1996" y="795"/>
                </a:cubicBezTo>
                <a:cubicBezTo>
                  <a:pt x="1995" y="794"/>
                  <a:pt x="1995" y="794"/>
                  <a:pt x="1995" y="794"/>
                </a:cubicBezTo>
                <a:cubicBezTo>
                  <a:pt x="1993" y="794"/>
                  <a:pt x="1993" y="794"/>
                  <a:pt x="1993" y="794"/>
                </a:cubicBezTo>
                <a:cubicBezTo>
                  <a:pt x="1992" y="795"/>
                  <a:pt x="1992" y="795"/>
                  <a:pt x="1992" y="795"/>
                </a:cubicBezTo>
                <a:cubicBezTo>
                  <a:pt x="1993" y="796"/>
                  <a:pt x="1993" y="796"/>
                  <a:pt x="1993" y="796"/>
                </a:cubicBezTo>
                <a:cubicBezTo>
                  <a:pt x="1995" y="797"/>
                  <a:pt x="1995" y="797"/>
                  <a:pt x="1995" y="797"/>
                </a:cubicBezTo>
                <a:close/>
                <a:moveTo>
                  <a:pt x="2016" y="778"/>
                </a:moveTo>
                <a:cubicBezTo>
                  <a:pt x="2016" y="779"/>
                  <a:pt x="2016" y="779"/>
                  <a:pt x="2016" y="779"/>
                </a:cubicBezTo>
                <a:cubicBezTo>
                  <a:pt x="2017" y="778"/>
                  <a:pt x="2017" y="778"/>
                  <a:pt x="2017" y="778"/>
                </a:cubicBezTo>
                <a:cubicBezTo>
                  <a:pt x="2016" y="778"/>
                  <a:pt x="2016" y="778"/>
                  <a:pt x="2016" y="778"/>
                </a:cubicBezTo>
                <a:close/>
                <a:moveTo>
                  <a:pt x="2003" y="795"/>
                </a:moveTo>
                <a:cubicBezTo>
                  <a:pt x="2003" y="794"/>
                  <a:pt x="2003" y="794"/>
                  <a:pt x="2003" y="794"/>
                </a:cubicBezTo>
                <a:cubicBezTo>
                  <a:pt x="2003" y="793"/>
                  <a:pt x="2003" y="793"/>
                  <a:pt x="2003" y="793"/>
                </a:cubicBezTo>
                <a:cubicBezTo>
                  <a:pt x="2001" y="795"/>
                  <a:pt x="2001" y="795"/>
                  <a:pt x="2001" y="795"/>
                </a:cubicBezTo>
                <a:cubicBezTo>
                  <a:pt x="2003" y="795"/>
                  <a:pt x="2003" y="795"/>
                  <a:pt x="2003" y="795"/>
                </a:cubicBezTo>
                <a:close/>
                <a:moveTo>
                  <a:pt x="2016" y="783"/>
                </a:moveTo>
                <a:cubicBezTo>
                  <a:pt x="2017" y="782"/>
                  <a:pt x="2017" y="782"/>
                  <a:pt x="2017" y="782"/>
                </a:cubicBezTo>
                <a:cubicBezTo>
                  <a:pt x="2016" y="782"/>
                  <a:pt x="2016" y="782"/>
                  <a:pt x="2016" y="782"/>
                </a:cubicBezTo>
                <a:cubicBezTo>
                  <a:pt x="2016" y="783"/>
                  <a:pt x="2016" y="783"/>
                  <a:pt x="2016" y="783"/>
                </a:cubicBezTo>
                <a:close/>
                <a:moveTo>
                  <a:pt x="2021" y="821"/>
                </a:moveTo>
                <a:cubicBezTo>
                  <a:pt x="2020" y="820"/>
                  <a:pt x="2020" y="820"/>
                  <a:pt x="2020" y="820"/>
                </a:cubicBezTo>
                <a:cubicBezTo>
                  <a:pt x="2020" y="821"/>
                  <a:pt x="2020" y="821"/>
                  <a:pt x="2020" y="821"/>
                </a:cubicBezTo>
                <a:cubicBezTo>
                  <a:pt x="2021" y="821"/>
                  <a:pt x="2021" y="821"/>
                  <a:pt x="2021" y="821"/>
                </a:cubicBezTo>
                <a:close/>
                <a:moveTo>
                  <a:pt x="1992" y="792"/>
                </a:moveTo>
                <a:cubicBezTo>
                  <a:pt x="1992" y="792"/>
                  <a:pt x="1992" y="792"/>
                  <a:pt x="1990" y="792"/>
                </a:cubicBezTo>
                <a:cubicBezTo>
                  <a:pt x="1990" y="792"/>
                  <a:pt x="1990" y="792"/>
                  <a:pt x="1991" y="794"/>
                </a:cubicBezTo>
                <a:cubicBezTo>
                  <a:pt x="1991" y="794"/>
                  <a:pt x="1991" y="794"/>
                  <a:pt x="1992" y="794"/>
                </a:cubicBezTo>
                <a:cubicBezTo>
                  <a:pt x="1992" y="794"/>
                  <a:pt x="1992" y="794"/>
                  <a:pt x="1993" y="793"/>
                </a:cubicBezTo>
                <a:cubicBezTo>
                  <a:pt x="1993" y="793"/>
                  <a:pt x="1993" y="793"/>
                  <a:pt x="1992" y="792"/>
                </a:cubicBezTo>
                <a:close/>
                <a:moveTo>
                  <a:pt x="2025" y="823"/>
                </a:moveTo>
                <a:cubicBezTo>
                  <a:pt x="2026" y="821"/>
                  <a:pt x="2026" y="821"/>
                  <a:pt x="2026" y="821"/>
                </a:cubicBezTo>
                <a:cubicBezTo>
                  <a:pt x="2027" y="822"/>
                  <a:pt x="2027" y="822"/>
                  <a:pt x="2027" y="822"/>
                </a:cubicBezTo>
                <a:cubicBezTo>
                  <a:pt x="2028" y="822"/>
                  <a:pt x="2028" y="822"/>
                  <a:pt x="2028" y="822"/>
                </a:cubicBezTo>
                <a:cubicBezTo>
                  <a:pt x="2028" y="821"/>
                  <a:pt x="2028" y="821"/>
                  <a:pt x="2028" y="821"/>
                </a:cubicBezTo>
                <a:cubicBezTo>
                  <a:pt x="2029" y="821"/>
                  <a:pt x="2029" y="821"/>
                  <a:pt x="2029" y="821"/>
                </a:cubicBezTo>
                <a:cubicBezTo>
                  <a:pt x="2029" y="820"/>
                  <a:pt x="2029" y="820"/>
                  <a:pt x="2029" y="820"/>
                </a:cubicBezTo>
                <a:cubicBezTo>
                  <a:pt x="2027" y="818"/>
                  <a:pt x="2027" y="818"/>
                  <a:pt x="2027" y="818"/>
                </a:cubicBezTo>
                <a:cubicBezTo>
                  <a:pt x="2025" y="818"/>
                  <a:pt x="2025" y="818"/>
                  <a:pt x="2025" y="818"/>
                </a:cubicBezTo>
                <a:cubicBezTo>
                  <a:pt x="2024" y="818"/>
                  <a:pt x="2024" y="818"/>
                  <a:pt x="2024" y="818"/>
                </a:cubicBezTo>
                <a:cubicBezTo>
                  <a:pt x="2024" y="819"/>
                  <a:pt x="2024" y="819"/>
                  <a:pt x="2024" y="819"/>
                </a:cubicBezTo>
                <a:cubicBezTo>
                  <a:pt x="2024" y="820"/>
                  <a:pt x="2024" y="820"/>
                  <a:pt x="2024" y="820"/>
                </a:cubicBezTo>
                <a:cubicBezTo>
                  <a:pt x="2023" y="820"/>
                  <a:pt x="2023" y="820"/>
                  <a:pt x="2023" y="820"/>
                </a:cubicBezTo>
                <a:cubicBezTo>
                  <a:pt x="2023" y="821"/>
                  <a:pt x="2023" y="821"/>
                  <a:pt x="2023" y="821"/>
                </a:cubicBezTo>
                <a:cubicBezTo>
                  <a:pt x="2024" y="821"/>
                  <a:pt x="2024" y="821"/>
                  <a:pt x="2024" y="821"/>
                </a:cubicBezTo>
                <a:cubicBezTo>
                  <a:pt x="2024" y="822"/>
                  <a:pt x="2024" y="822"/>
                  <a:pt x="2024" y="822"/>
                </a:cubicBezTo>
                <a:cubicBezTo>
                  <a:pt x="2025" y="823"/>
                  <a:pt x="2025" y="823"/>
                  <a:pt x="2025" y="823"/>
                </a:cubicBezTo>
                <a:close/>
                <a:moveTo>
                  <a:pt x="2029" y="774"/>
                </a:moveTo>
                <a:cubicBezTo>
                  <a:pt x="2028" y="772"/>
                  <a:pt x="2028" y="772"/>
                  <a:pt x="2028" y="772"/>
                </a:cubicBezTo>
                <a:cubicBezTo>
                  <a:pt x="2027" y="773"/>
                  <a:pt x="2027" y="773"/>
                  <a:pt x="2027" y="773"/>
                </a:cubicBezTo>
                <a:cubicBezTo>
                  <a:pt x="2026" y="774"/>
                  <a:pt x="2026" y="774"/>
                  <a:pt x="2026" y="774"/>
                </a:cubicBezTo>
                <a:cubicBezTo>
                  <a:pt x="2028" y="775"/>
                  <a:pt x="2028" y="775"/>
                  <a:pt x="2028" y="775"/>
                </a:cubicBezTo>
                <a:cubicBezTo>
                  <a:pt x="2028" y="776"/>
                  <a:pt x="2028" y="776"/>
                  <a:pt x="2028" y="776"/>
                </a:cubicBezTo>
                <a:cubicBezTo>
                  <a:pt x="2029" y="776"/>
                  <a:pt x="2029" y="776"/>
                  <a:pt x="2029" y="776"/>
                </a:cubicBezTo>
                <a:cubicBezTo>
                  <a:pt x="2029" y="774"/>
                  <a:pt x="2029" y="774"/>
                  <a:pt x="2029" y="774"/>
                </a:cubicBezTo>
                <a:close/>
                <a:moveTo>
                  <a:pt x="2017" y="818"/>
                </a:moveTo>
                <a:cubicBezTo>
                  <a:pt x="2016" y="816"/>
                  <a:pt x="2016" y="816"/>
                  <a:pt x="2016" y="816"/>
                </a:cubicBezTo>
                <a:cubicBezTo>
                  <a:pt x="2015" y="813"/>
                  <a:pt x="2015" y="813"/>
                  <a:pt x="2015" y="813"/>
                </a:cubicBezTo>
                <a:cubicBezTo>
                  <a:pt x="2014" y="812"/>
                  <a:pt x="2014" y="812"/>
                  <a:pt x="2014" y="812"/>
                </a:cubicBezTo>
                <a:cubicBezTo>
                  <a:pt x="2013" y="812"/>
                  <a:pt x="2013" y="812"/>
                  <a:pt x="2013" y="812"/>
                </a:cubicBezTo>
                <a:cubicBezTo>
                  <a:pt x="2013" y="813"/>
                  <a:pt x="2013" y="813"/>
                  <a:pt x="2013" y="813"/>
                </a:cubicBezTo>
                <a:cubicBezTo>
                  <a:pt x="2012" y="813"/>
                  <a:pt x="2012" y="813"/>
                  <a:pt x="2012" y="813"/>
                </a:cubicBezTo>
                <a:cubicBezTo>
                  <a:pt x="2011" y="812"/>
                  <a:pt x="2011" y="812"/>
                  <a:pt x="2011" y="812"/>
                </a:cubicBezTo>
                <a:cubicBezTo>
                  <a:pt x="2011" y="813"/>
                  <a:pt x="2011" y="813"/>
                  <a:pt x="2011" y="813"/>
                </a:cubicBezTo>
                <a:cubicBezTo>
                  <a:pt x="2010" y="814"/>
                  <a:pt x="2010" y="814"/>
                  <a:pt x="2010" y="814"/>
                </a:cubicBezTo>
                <a:cubicBezTo>
                  <a:pt x="2011" y="815"/>
                  <a:pt x="2011" y="815"/>
                  <a:pt x="2011" y="815"/>
                </a:cubicBezTo>
                <a:cubicBezTo>
                  <a:pt x="2013" y="816"/>
                  <a:pt x="2013" y="816"/>
                  <a:pt x="2013" y="816"/>
                </a:cubicBezTo>
                <a:cubicBezTo>
                  <a:pt x="2013" y="817"/>
                  <a:pt x="2013" y="817"/>
                  <a:pt x="2013" y="817"/>
                </a:cubicBezTo>
                <a:cubicBezTo>
                  <a:pt x="2014" y="818"/>
                  <a:pt x="2014" y="818"/>
                  <a:pt x="2014" y="818"/>
                </a:cubicBezTo>
                <a:cubicBezTo>
                  <a:pt x="2015" y="819"/>
                  <a:pt x="2015" y="819"/>
                  <a:pt x="2015" y="819"/>
                </a:cubicBezTo>
                <a:cubicBezTo>
                  <a:pt x="2016" y="820"/>
                  <a:pt x="2016" y="820"/>
                  <a:pt x="2016" y="820"/>
                </a:cubicBezTo>
                <a:cubicBezTo>
                  <a:pt x="2017" y="820"/>
                  <a:pt x="2017" y="820"/>
                  <a:pt x="2017" y="820"/>
                </a:cubicBezTo>
                <a:cubicBezTo>
                  <a:pt x="2018" y="821"/>
                  <a:pt x="2018" y="821"/>
                  <a:pt x="2018" y="821"/>
                </a:cubicBezTo>
                <a:cubicBezTo>
                  <a:pt x="2018" y="822"/>
                  <a:pt x="2018" y="822"/>
                  <a:pt x="2018" y="822"/>
                </a:cubicBezTo>
                <a:cubicBezTo>
                  <a:pt x="2019" y="821"/>
                  <a:pt x="2019" y="821"/>
                  <a:pt x="2019" y="821"/>
                </a:cubicBezTo>
                <a:cubicBezTo>
                  <a:pt x="2018" y="820"/>
                  <a:pt x="2018" y="820"/>
                  <a:pt x="2018" y="820"/>
                </a:cubicBezTo>
                <a:cubicBezTo>
                  <a:pt x="2019" y="818"/>
                  <a:pt x="2019" y="818"/>
                  <a:pt x="2019" y="818"/>
                </a:cubicBezTo>
                <a:cubicBezTo>
                  <a:pt x="2017" y="818"/>
                  <a:pt x="2017" y="818"/>
                  <a:pt x="2017" y="818"/>
                </a:cubicBezTo>
                <a:close/>
                <a:moveTo>
                  <a:pt x="1969" y="808"/>
                </a:moveTo>
                <a:cubicBezTo>
                  <a:pt x="1967" y="809"/>
                  <a:pt x="1967" y="809"/>
                  <a:pt x="1967" y="809"/>
                </a:cubicBezTo>
                <a:cubicBezTo>
                  <a:pt x="1967" y="810"/>
                  <a:pt x="1967" y="810"/>
                  <a:pt x="1967" y="810"/>
                </a:cubicBezTo>
                <a:cubicBezTo>
                  <a:pt x="1969" y="810"/>
                  <a:pt x="1969" y="810"/>
                  <a:pt x="1969" y="810"/>
                </a:cubicBezTo>
                <a:cubicBezTo>
                  <a:pt x="1970" y="813"/>
                  <a:pt x="1970" y="813"/>
                  <a:pt x="1970" y="813"/>
                </a:cubicBezTo>
                <a:cubicBezTo>
                  <a:pt x="1972" y="813"/>
                  <a:pt x="1972" y="813"/>
                  <a:pt x="1972" y="813"/>
                </a:cubicBezTo>
                <a:cubicBezTo>
                  <a:pt x="1972" y="811"/>
                  <a:pt x="1972" y="811"/>
                  <a:pt x="1972" y="811"/>
                </a:cubicBezTo>
                <a:cubicBezTo>
                  <a:pt x="1970" y="808"/>
                  <a:pt x="1970" y="808"/>
                  <a:pt x="1970" y="808"/>
                </a:cubicBezTo>
                <a:cubicBezTo>
                  <a:pt x="1969" y="808"/>
                  <a:pt x="1969" y="808"/>
                  <a:pt x="1969" y="808"/>
                </a:cubicBezTo>
                <a:close/>
                <a:moveTo>
                  <a:pt x="2014" y="781"/>
                </a:moveTo>
                <a:cubicBezTo>
                  <a:pt x="2013" y="781"/>
                  <a:pt x="2013" y="781"/>
                  <a:pt x="2013" y="781"/>
                </a:cubicBezTo>
                <a:cubicBezTo>
                  <a:pt x="2012" y="781"/>
                  <a:pt x="2012" y="781"/>
                  <a:pt x="2012" y="781"/>
                </a:cubicBezTo>
                <a:cubicBezTo>
                  <a:pt x="2012" y="782"/>
                  <a:pt x="2012" y="782"/>
                  <a:pt x="2012" y="782"/>
                </a:cubicBezTo>
                <a:cubicBezTo>
                  <a:pt x="2013" y="782"/>
                  <a:pt x="2013" y="782"/>
                  <a:pt x="2013" y="782"/>
                </a:cubicBezTo>
                <a:cubicBezTo>
                  <a:pt x="2014" y="781"/>
                  <a:pt x="2014" y="781"/>
                  <a:pt x="2014" y="781"/>
                </a:cubicBezTo>
                <a:close/>
                <a:moveTo>
                  <a:pt x="2195" y="838"/>
                </a:moveTo>
                <a:cubicBezTo>
                  <a:pt x="2195" y="837"/>
                  <a:pt x="2195" y="837"/>
                  <a:pt x="2195" y="837"/>
                </a:cubicBezTo>
                <a:cubicBezTo>
                  <a:pt x="2194" y="836"/>
                  <a:pt x="2194" y="836"/>
                  <a:pt x="2194" y="836"/>
                </a:cubicBezTo>
                <a:cubicBezTo>
                  <a:pt x="2194" y="837"/>
                  <a:pt x="2194" y="837"/>
                  <a:pt x="2194" y="837"/>
                </a:cubicBezTo>
                <a:cubicBezTo>
                  <a:pt x="2193" y="837"/>
                  <a:pt x="2193" y="837"/>
                  <a:pt x="2193" y="837"/>
                </a:cubicBezTo>
                <a:cubicBezTo>
                  <a:pt x="2192" y="838"/>
                  <a:pt x="2192" y="838"/>
                  <a:pt x="2192" y="838"/>
                </a:cubicBezTo>
                <a:cubicBezTo>
                  <a:pt x="2193" y="838"/>
                  <a:pt x="2193" y="838"/>
                  <a:pt x="2193" y="838"/>
                </a:cubicBezTo>
                <a:cubicBezTo>
                  <a:pt x="2192" y="839"/>
                  <a:pt x="2192" y="839"/>
                  <a:pt x="2192" y="839"/>
                </a:cubicBezTo>
                <a:cubicBezTo>
                  <a:pt x="2192" y="840"/>
                  <a:pt x="2192" y="840"/>
                  <a:pt x="2192" y="840"/>
                </a:cubicBezTo>
                <a:cubicBezTo>
                  <a:pt x="2193" y="840"/>
                  <a:pt x="2193" y="840"/>
                  <a:pt x="2193" y="840"/>
                </a:cubicBezTo>
                <a:cubicBezTo>
                  <a:pt x="2194" y="839"/>
                  <a:pt x="2194" y="839"/>
                  <a:pt x="2194" y="839"/>
                </a:cubicBezTo>
                <a:cubicBezTo>
                  <a:pt x="2195" y="838"/>
                  <a:pt x="2195" y="838"/>
                  <a:pt x="2195" y="838"/>
                </a:cubicBezTo>
                <a:close/>
                <a:moveTo>
                  <a:pt x="1978" y="820"/>
                </a:moveTo>
                <a:cubicBezTo>
                  <a:pt x="1977" y="821"/>
                  <a:pt x="1977" y="821"/>
                  <a:pt x="1977" y="821"/>
                </a:cubicBezTo>
                <a:cubicBezTo>
                  <a:pt x="1980" y="823"/>
                  <a:pt x="1980" y="823"/>
                  <a:pt x="1980" y="823"/>
                </a:cubicBezTo>
                <a:cubicBezTo>
                  <a:pt x="1979" y="822"/>
                  <a:pt x="1979" y="822"/>
                  <a:pt x="1979" y="822"/>
                </a:cubicBezTo>
                <a:cubicBezTo>
                  <a:pt x="1980" y="821"/>
                  <a:pt x="1980" y="821"/>
                  <a:pt x="1980" y="821"/>
                </a:cubicBezTo>
                <a:cubicBezTo>
                  <a:pt x="1978" y="820"/>
                  <a:pt x="1978" y="820"/>
                  <a:pt x="1978" y="820"/>
                </a:cubicBezTo>
                <a:close/>
                <a:moveTo>
                  <a:pt x="1949" y="783"/>
                </a:moveTo>
                <a:cubicBezTo>
                  <a:pt x="1950" y="784"/>
                  <a:pt x="1950" y="784"/>
                  <a:pt x="1950" y="784"/>
                </a:cubicBezTo>
                <a:cubicBezTo>
                  <a:pt x="1951" y="784"/>
                  <a:pt x="1951" y="784"/>
                  <a:pt x="1951" y="784"/>
                </a:cubicBezTo>
                <a:cubicBezTo>
                  <a:pt x="1951" y="783"/>
                  <a:pt x="1951" y="783"/>
                  <a:pt x="1951" y="783"/>
                </a:cubicBezTo>
                <a:cubicBezTo>
                  <a:pt x="1950" y="782"/>
                  <a:pt x="1950" y="782"/>
                  <a:pt x="1950" y="782"/>
                </a:cubicBezTo>
                <a:cubicBezTo>
                  <a:pt x="1949" y="783"/>
                  <a:pt x="1949" y="783"/>
                  <a:pt x="1949" y="783"/>
                </a:cubicBezTo>
                <a:close/>
                <a:moveTo>
                  <a:pt x="1969" y="800"/>
                </a:moveTo>
                <a:cubicBezTo>
                  <a:pt x="1968" y="800"/>
                  <a:pt x="1968" y="800"/>
                  <a:pt x="1968" y="800"/>
                </a:cubicBezTo>
                <a:cubicBezTo>
                  <a:pt x="1967" y="801"/>
                  <a:pt x="1967" y="801"/>
                  <a:pt x="1967" y="801"/>
                </a:cubicBezTo>
                <a:cubicBezTo>
                  <a:pt x="1969" y="801"/>
                  <a:pt x="1969" y="801"/>
                  <a:pt x="1969" y="801"/>
                </a:cubicBezTo>
                <a:cubicBezTo>
                  <a:pt x="1969" y="800"/>
                  <a:pt x="1969" y="800"/>
                  <a:pt x="1969" y="800"/>
                </a:cubicBezTo>
                <a:close/>
                <a:moveTo>
                  <a:pt x="1991" y="837"/>
                </a:moveTo>
                <a:cubicBezTo>
                  <a:pt x="1991" y="836"/>
                  <a:pt x="1991" y="836"/>
                  <a:pt x="1991" y="836"/>
                </a:cubicBezTo>
                <a:cubicBezTo>
                  <a:pt x="1991" y="835"/>
                  <a:pt x="1991" y="835"/>
                  <a:pt x="1991" y="835"/>
                </a:cubicBezTo>
                <a:cubicBezTo>
                  <a:pt x="1990" y="836"/>
                  <a:pt x="1990" y="836"/>
                  <a:pt x="1990" y="836"/>
                </a:cubicBezTo>
                <a:cubicBezTo>
                  <a:pt x="1991" y="837"/>
                  <a:pt x="1991" y="837"/>
                  <a:pt x="1991" y="837"/>
                </a:cubicBezTo>
                <a:close/>
                <a:moveTo>
                  <a:pt x="1967" y="805"/>
                </a:moveTo>
                <a:cubicBezTo>
                  <a:pt x="1966" y="804"/>
                  <a:pt x="1966" y="804"/>
                  <a:pt x="1966" y="804"/>
                </a:cubicBezTo>
                <a:cubicBezTo>
                  <a:pt x="1966" y="806"/>
                  <a:pt x="1966" y="806"/>
                  <a:pt x="1966" y="806"/>
                </a:cubicBezTo>
                <a:cubicBezTo>
                  <a:pt x="1967" y="806"/>
                  <a:pt x="1967" y="806"/>
                  <a:pt x="1967" y="806"/>
                </a:cubicBezTo>
                <a:cubicBezTo>
                  <a:pt x="1967" y="805"/>
                  <a:pt x="1967" y="805"/>
                  <a:pt x="1967" y="805"/>
                </a:cubicBezTo>
                <a:close/>
                <a:moveTo>
                  <a:pt x="2122" y="836"/>
                </a:moveTo>
                <a:cubicBezTo>
                  <a:pt x="2122" y="836"/>
                  <a:pt x="2122" y="836"/>
                  <a:pt x="2122" y="835"/>
                </a:cubicBezTo>
                <a:cubicBezTo>
                  <a:pt x="2122" y="835"/>
                  <a:pt x="2122" y="835"/>
                  <a:pt x="2121" y="835"/>
                </a:cubicBezTo>
                <a:cubicBezTo>
                  <a:pt x="2121" y="835"/>
                  <a:pt x="2121" y="835"/>
                  <a:pt x="2120" y="834"/>
                </a:cubicBezTo>
                <a:cubicBezTo>
                  <a:pt x="2120" y="835"/>
                  <a:pt x="2120" y="835"/>
                  <a:pt x="2120" y="835"/>
                </a:cubicBezTo>
                <a:cubicBezTo>
                  <a:pt x="2120" y="835"/>
                  <a:pt x="2120" y="835"/>
                  <a:pt x="2119" y="836"/>
                </a:cubicBezTo>
                <a:cubicBezTo>
                  <a:pt x="2119" y="836"/>
                  <a:pt x="2119" y="836"/>
                  <a:pt x="2118" y="837"/>
                </a:cubicBezTo>
                <a:cubicBezTo>
                  <a:pt x="2118" y="837"/>
                  <a:pt x="2118" y="837"/>
                  <a:pt x="2119" y="838"/>
                </a:cubicBezTo>
                <a:cubicBezTo>
                  <a:pt x="2119" y="838"/>
                  <a:pt x="2119" y="838"/>
                  <a:pt x="2120" y="837"/>
                </a:cubicBezTo>
                <a:cubicBezTo>
                  <a:pt x="2120" y="837"/>
                  <a:pt x="2120" y="837"/>
                  <a:pt x="2121" y="836"/>
                </a:cubicBezTo>
                <a:cubicBezTo>
                  <a:pt x="2121" y="836"/>
                  <a:pt x="2121" y="836"/>
                  <a:pt x="2122" y="836"/>
                </a:cubicBezTo>
                <a:close/>
                <a:moveTo>
                  <a:pt x="1959" y="787"/>
                </a:moveTo>
                <a:cubicBezTo>
                  <a:pt x="1958" y="788"/>
                  <a:pt x="1958" y="788"/>
                  <a:pt x="1958" y="788"/>
                </a:cubicBezTo>
                <a:cubicBezTo>
                  <a:pt x="1960" y="788"/>
                  <a:pt x="1960" y="788"/>
                  <a:pt x="1960" y="788"/>
                </a:cubicBezTo>
                <a:cubicBezTo>
                  <a:pt x="1959" y="787"/>
                  <a:pt x="1959" y="787"/>
                  <a:pt x="1959" y="787"/>
                </a:cubicBezTo>
                <a:close/>
                <a:moveTo>
                  <a:pt x="1961" y="792"/>
                </a:moveTo>
                <a:cubicBezTo>
                  <a:pt x="1961" y="792"/>
                  <a:pt x="1961" y="792"/>
                  <a:pt x="1960" y="792"/>
                </a:cubicBezTo>
                <a:cubicBezTo>
                  <a:pt x="1960" y="792"/>
                  <a:pt x="1960" y="792"/>
                  <a:pt x="1959" y="792"/>
                </a:cubicBezTo>
                <a:cubicBezTo>
                  <a:pt x="1959" y="792"/>
                  <a:pt x="1959" y="792"/>
                  <a:pt x="1958" y="792"/>
                </a:cubicBezTo>
                <a:cubicBezTo>
                  <a:pt x="1958" y="792"/>
                  <a:pt x="1958" y="792"/>
                  <a:pt x="1960" y="794"/>
                </a:cubicBezTo>
                <a:cubicBezTo>
                  <a:pt x="1960" y="794"/>
                  <a:pt x="1960" y="794"/>
                  <a:pt x="1960" y="795"/>
                </a:cubicBezTo>
                <a:cubicBezTo>
                  <a:pt x="1960" y="795"/>
                  <a:pt x="1960" y="795"/>
                  <a:pt x="1961" y="795"/>
                </a:cubicBezTo>
                <a:cubicBezTo>
                  <a:pt x="1961" y="795"/>
                  <a:pt x="1961" y="795"/>
                  <a:pt x="1962" y="798"/>
                </a:cubicBezTo>
                <a:cubicBezTo>
                  <a:pt x="1962" y="798"/>
                  <a:pt x="1962" y="798"/>
                  <a:pt x="1963" y="797"/>
                </a:cubicBezTo>
                <a:cubicBezTo>
                  <a:pt x="1963" y="797"/>
                  <a:pt x="1963" y="797"/>
                  <a:pt x="1963" y="796"/>
                </a:cubicBezTo>
                <a:cubicBezTo>
                  <a:pt x="1963" y="796"/>
                  <a:pt x="1963" y="796"/>
                  <a:pt x="1963" y="795"/>
                </a:cubicBezTo>
                <a:cubicBezTo>
                  <a:pt x="1963" y="795"/>
                  <a:pt x="1963" y="795"/>
                  <a:pt x="1962" y="794"/>
                </a:cubicBezTo>
                <a:cubicBezTo>
                  <a:pt x="1962" y="794"/>
                  <a:pt x="1962" y="794"/>
                  <a:pt x="1961" y="792"/>
                </a:cubicBezTo>
                <a:close/>
                <a:moveTo>
                  <a:pt x="1987" y="790"/>
                </a:moveTo>
                <a:cubicBezTo>
                  <a:pt x="1988" y="789"/>
                  <a:pt x="1988" y="789"/>
                  <a:pt x="1988" y="789"/>
                </a:cubicBezTo>
                <a:cubicBezTo>
                  <a:pt x="1987" y="788"/>
                  <a:pt x="1987" y="788"/>
                  <a:pt x="1987" y="788"/>
                </a:cubicBezTo>
                <a:cubicBezTo>
                  <a:pt x="1985" y="789"/>
                  <a:pt x="1985" y="789"/>
                  <a:pt x="1985" y="789"/>
                </a:cubicBezTo>
                <a:cubicBezTo>
                  <a:pt x="1986" y="790"/>
                  <a:pt x="1986" y="790"/>
                  <a:pt x="1986" y="790"/>
                </a:cubicBezTo>
                <a:cubicBezTo>
                  <a:pt x="1987" y="790"/>
                  <a:pt x="1987" y="790"/>
                  <a:pt x="1987" y="790"/>
                </a:cubicBezTo>
                <a:close/>
                <a:moveTo>
                  <a:pt x="2047" y="855"/>
                </a:moveTo>
                <a:cubicBezTo>
                  <a:pt x="2047" y="855"/>
                  <a:pt x="2047" y="855"/>
                  <a:pt x="2049" y="856"/>
                </a:cubicBezTo>
                <a:cubicBezTo>
                  <a:pt x="2049" y="856"/>
                  <a:pt x="2049" y="856"/>
                  <a:pt x="2050" y="855"/>
                </a:cubicBezTo>
                <a:cubicBezTo>
                  <a:pt x="2050" y="855"/>
                  <a:pt x="2050" y="855"/>
                  <a:pt x="2052" y="855"/>
                </a:cubicBezTo>
                <a:cubicBezTo>
                  <a:pt x="2052" y="855"/>
                  <a:pt x="2052" y="855"/>
                  <a:pt x="2054" y="856"/>
                </a:cubicBezTo>
                <a:cubicBezTo>
                  <a:pt x="2054" y="856"/>
                  <a:pt x="2054" y="856"/>
                  <a:pt x="2056" y="856"/>
                </a:cubicBezTo>
                <a:cubicBezTo>
                  <a:pt x="2056" y="856"/>
                  <a:pt x="2056" y="856"/>
                  <a:pt x="2058" y="855"/>
                </a:cubicBezTo>
                <a:cubicBezTo>
                  <a:pt x="2058" y="855"/>
                  <a:pt x="2058" y="855"/>
                  <a:pt x="2060" y="856"/>
                </a:cubicBezTo>
                <a:cubicBezTo>
                  <a:pt x="2060" y="856"/>
                  <a:pt x="2060" y="856"/>
                  <a:pt x="2061" y="856"/>
                </a:cubicBezTo>
                <a:cubicBezTo>
                  <a:pt x="2061" y="856"/>
                  <a:pt x="2061" y="856"/>
                  <a:pt x="2063" y="858"/>
                </a:cubicBezTo>
                <a:cubicBezTo>
                  <a:pt x="2063" y="858"/>
                  <a:pt x="2063" y="858"/>
                  <a:pt x="2064" y="858"/>
                </a:cubicBezTo>
                <a:cubicBezTo>
                  <a:pt x="2064" y="858"/>
                  <a:pt x="2064" y="858"/>
                  <a:pt x="2065" y="859"/>
                </a:cubicBezTo>
                <a:cubicBezTo>
                  <a:pt x="2065" y="859"/>
                  <a:pt x="2065" y="859"/>
                  <a:pt x="2066" y="858"/>
                </a:cubicBezTo>
                <a:cubicBezTo>
                  <a:pt x="2066" y="858"/>
                  <a:pt x="2066" y="858"/>
                  <a:pt x="2065" y="856"/>
                </a:cubicBezTo>
                <a:cubicBezTo>
                  <a:pt x="2065" y="856"/>
                  <a:pt x="2065" y="856"/>
                  <a:pt x="2065" y="855"/>
                </a:cubicBezTo>
                <a:cubicBezTo>
                  <a:pt x="2065" y="855"/>
                  <a:pt x="2065" y="855"/>
                  <a:pt x="2066" y="852"/>
                </a:cubicBezTo>
                <a:cubicBezTo>
                  <a:pt x="2066" y="852"/>
                  <a:pt x="2066" y="852"/>
                  <a:pt x="2065" y="852"/>
                </a:cubicBezTo>
                <a:cubicBezTo>
                  <a:pt x="2065" y="852"/>
                  <a:pt x="2065" y="852"/>
                  <a:pt x="2064" y="852"/>
                </a:cubicBezTo>
                <a:cubicBezTo>
                  <a:pt x="2064" y="852"/>
                  <a:pt x="2064" y="852"/>
                  <a:pt x="2064" y="851"/>
                </a:cubicBezTo>
                <a:cubicBezTo>
                  <a:pt x="2064" y="851"/>
                  <a:pt x="2064" y="851"/>
                  <a:pt x="2062" y="851"/>
                </a:cubicBezTo>
                <a:cubicBezTo>
                  <a:pt x="2062" y="851"/>
                  <a:pt x="2062" y="851"/>
                  <a:pt x="2062" y="852"/>
                </a:cubicBezTo>
                <a:cubicBezTo>
                  <a:pt x="2062" y="852"/>
                  <a:pt x="2062" y="852"/>
                  <a:pt x="2061" y="852"/>
                </a:cubicBezTo>
                <a:cubicBezTo>
                  <a:pt x="2061" y="852"/>
                  <a:pt x="2061" y="852"/>
                  <a:pt x="2060" y="851"/>
                </a:cubicBezTo>
                <a:cubicBezTo>
                  <a:pt x="2060" y="851"/>
                  <a:pt x="2060" y="851"/>
                  <a:pt x="2058" y="852"/>
                </a:cubicBezTo>
                <a:cubicBezTo>
                  <a:pt x="2058" y="852"/>
                  <a:pt x="2058" y="852"/>
                  <a:pt x="2057" y="851"/>
                </a:cubicBezTo>
                <a:cubicBezTo>
                  <a:pt x="2057" y="851"/>
                  <a:pt x="2057" y="851"/>
                  <a:pt x="2056" y="850"/>
                </a:cubicBezTo>
                <a:cubicBezTo>
                  <a:pt x="2056" y="850"/>
                  <a:pt x="2056" y="850"/>
                  <a:pt x="2056" y="849"/>
                </a:cubicBezTo>
                <a:cubicBezTo>
                  <a:pt x="2056" y="849"/>
                  <a:pt x="2056" y="849"/>
                  <a:pt x="2055" y="847"/>
                </a:cubicBezTo>
                <a:cubicBezTo>
                  <a:pt x="2055" y="847"/>
                  <a:pt x="2055" y="847"/>
                  <a:pt x="2055" y="846"/>
                </a:cubicBezTo>
                <a:cubicBezTo>
                  <a:pt x="2055" y="846"/>
                  <a:pt x="2055" y="846"/>
                  <a:pt x="2053" y="846"/>
                </a:cubicBezTo>
                <a:cubicBezTo>
                  <a:pt x="2053" y="846"/>
                  <a:pt x="2053" y="846"/>
                  <a:pt x="2052" y="846"/>
                </a:cubicBezTo>
                <a:cubicBezTo>
                  <a:pt x="2052" y="846"/>
                  <a:pt x="2052" y="846"/>
                  <a:pt x="2051" y="845"/>
                </a:cubicBezTo>
                <a:cubicBezTo>
                  <a:pt x="2051" y="845"/>
                  <a:pt x="2051" y="845"/>
                  <a:pt x="2050" y="845"/>
                </a:cubicBezTo>
                <a:cubicBezTo>
                  <a:pt x="2050" y="845"/>
                  <a:pt x="2050" y="845"/>
                  <a:pt x="2049" y="844"/>
                </a:cubicBezTo>
                <a:cubicBezTo>
                  <a:pt x="2049" y="844"/>
                  <a:pt x="2049" y="844"/>
                  <a:pt x="2048" y="844"/>
                </a:cubicBezTo>
                <a:cubicBezTo>
                  <a:pt x="2048" y="844"/>
                  <a:pt x="2048" y="844"/>
                  <a:pt x="2047" y="844"/>
                </a:cubicBezTo>
                <a:cubicBezTo>
                  <a:pt x="2047" y="844"/>
                  <a:pt x="2047" y="844"/>
                  <a:pt x="2046" y="844"/>
                </a:cubicBezTo>
                <a:cubicBezTo>
                  <a:pt x="2046" y="844"/>
                  <a:pt x="2046" y="844"/>
                  <a:pt x="2044" y="842"/>
                </a:cubicBezTo>
                <a:cubicBezTo>
                  <a:pt x="2044" y="842"/>
                  <a:pt x="2044" y="842"/>
                  <a:pt x="2043" y="842"/>
                </a:cubicBezTo>
                <a:cubicBezTo>
                  <a:pt x="2043" y="842"/>
                  <a:pt x="2043" y="842"/>
                  <a:pt x="2043" y="845"/>
                </a:cubicBezTo>
                <a:cubicBezTo>
                  <a:pt x="2043" y="845"/>
                  <a:pt x="2043" y="845"/>
                  <a:pt x="2042" y="846"/>
                </a:cubicBezTo>
                <a:cubicBezTo>
                  <a:pt x="2042" y="846"/>
                  <a:pt x="2042" y="846"/>
                  <a:pt x="2039" y="846"/>
                </a:cubicBezTo>
                <a:cubicBezTo>
                  <a:pt x="2039" y="846"/>
                  <a:pt x="2039" y="846"/>
                  <a:pt x="2036" y="846"/>
                </a:cubicBezTo>
                <a:cubicBezTo>
                  <a:pt x="2036" y="846"/>
                  <a:pt x="2036" y="846"/>
                  <a:pt x="2032" y="846"/>
                </a:cubicBezTo>
                <a:cubicBezTo>
                  <a:pt x="2032" y="846"/>
                  <a:pt x="2032" y="846"/>
                  <a:pt x="2030" y="845"/>
                </a:cubicBezTo>
                <a:cubicBezTo>
                  <a:pt x="2030" y="845"/>
                  <a:pt x="2030" y="845"/>
                  <a:pt x="2029" y="844"/>
                </a:cubicBezTo>
                <a:cubicBezTo>
                  <a:pt x="2029" y="844"/>
                  <a:pt x="2029" y="844"/>
                  <a:pt x="2030" y="843"/>
                </a:cubicBezTo>
                <a:cubicBezTo>
                  <a:pt x="2030" y="843"/>
                  <a:pt x="2030" y="843"/>
                  <a:pt x="2029" y="842"/>
                </a:cubicBezTo>
                <a:cubicBezTo>
                  <a:pt x="2029" y="842"/>
                  <a:pt x="2029" y="842"/>
                  <a:pt x="2026" y="841"/>
                </a:cubicBezTo>
                <a:cubicBezTo>
                  <a:pt x="2026" y="841"/>
                  <a:pt x="2026" y="841"/>
                  <a:pt x="2024" y="841"/>
                </a:cubicBezTo>
                <a:cubicBezTo>
                  <a:pt x="2024" y="841"/>
                  <a:pt x="2024" y="841"/>
                  <a:pt x="2023" y="840"/>
                </a:cubicBezTo>
                <a:cubicBezTo>
                  <a:pt x="2023" y="840"/>
                  <a:pt x="2023" y="840"/>
                  <a:pt x="2021" y="840"/>
                </a:cubicBezTo>
                <a:cubicBezTo>
                  <a:pt x="2021" y="840"/>
                  <a:pt x="2021" y="840"/>
                  <a:pt x="2020" y="840"/>
                </a:cubicBezTo>
                <a:cubicBezTo>
                  <a:pt x="2020" y="840"/>
                  <a:pt x="2020" y="840"/>
                  <a:pt x="2020" y="841"/>
                </a:cubicBezTo>
                <a:cubicBezTo>
                  <a:pt x="2020" y="841"/>
                  <a:pt x="2020" y="841"/>
                  <a:pt x="2019" y="840"/>
                </a:cubicBezTo>
                <a:cubicBezTo>
                  <a:pt x="2019" y="840"/>
                  <a:pt x="2019" y="840"/>
                  <a:pt x="2017" y="840"/>
                </a:cubicBezTo>
                <a:cubicBezTo>
                  <a:pt x="2017" y="840"/>
                  <a:pt x="2017" y="840"/>
                  <a:pt x="2015" y="840"/>
                </a:cubicBezTo>
                <a:cubicBezTo>
                  <a:pt x="2015" y="840"/>
                  <a:pt x="2015" y="840"/>
                  <a:pt x="2015" y="839"/>
                </a:cubicBezTo>
                <a:cubicBezTo>
                  <a:pt x="2015" y="839"/>
                  <a:pt x="2015" y="839"/>
                  <a:pt x="2013" y="841"/>
                </a:cubicBezTo>
                <a:cubicBezTo>
                  <a:pt x="2013" y="841"/>
                  <a:pt x="2013" y="841"/>
                  <a:pt x="2014" y="842"/>
                </a:cubicBezTo>
                <a:cubicBezTo>
                  <a:pt x="2014" y="842"/>
                  <a:pt x="2014" y="842"/>
                  <a:pt x="2013" y="843"/>
                </a:cubicBezTo>
                <a:cubicBezTo>
                  <a:pt x="2013" y="843"/>
                  <a:pt x="2013" y="843"/>
                  <a:pt x="2012" y="843"/>
                </a:cubicBezTo>
                <a:cubicBezTo>
                  <a:pt x="2012" y="843"/>
                  <a:pt x="2012" y="843"/>
                  <a:pt x="2011" y="845"/>
                </a:cubicBezTo>
                <a:cubicBezTo>
                  <a:pt x="2011" y="845"/>
                  <a:pt x="2011" y="845"/>
                  <a:pt x="2010" y="845"/>
                </a:cubicBezTo>
                <a:cubicBezTo>
                  <a:pt x="2010" y="845"/>
                  <a:pt x="2010" y="845"/>
                  <a:pt x="2010" y="846"/>
                </a:cubicBezTo>
                <a:cubicBezTo>
                  <a:pt x="2010" y="846"/>
                  <a:pt x="2010" y="846"/>
                  <a:pt x="2013" y="846"/>
                </a:cubicBezTo>
                <a:cubicBezTo>
                  <a:pt x="2013" y="846"/>
                  <a:pt x="2013" y="846"/>
                  <a:pt x="2014" y="845"/>
                </a:cubicBezTo>
                <a:cubicBezTo>
                  <a:pt x="2014" y="845"/>
                  <a:pt x="2014" y="845"/>
                  <a:pt x="2015" y="846"/>
                </a:cubicBezTo>
                <a:cubicBezTo>
                  <a:pt x="2015" y="846"/>
                  <a:pt x="2015" y="846"/>
                  <a:pt x="2016" y="847"/>
                </a:cubicBezTo>
                <a:cubicBezTo>
                  <a:pt x="2016" y="847"/>
                  <a:pt x="2016" y="847"/>
                  <a:pt x="2017" y="847"/>
                </a:cubicBezTo>
                <a:cubicBezTo>
                  <a:pt x="2017" y="847"/>
                  <a:pt x="2017" y="847"/>
                  <a:pt x="2016" y="849"/>
                </a:cubicBezTo>
                <a:cubicBezTo>
                  <a:pt x="2016" y="849"/>
                  <a:pt x="2016" y="849"/>
                  <a:pt x="2017" y="849"/>
                </a:cubicBezTo>
                <a:cubicBezTo>
                  <a:pt x="2017" y="849"/>
                  <a:pt x="2017" y="849"/>
                  <a:pt x="2018" y="850"/>
                </a:cubicBezTo>
                <a:cubicBezTo>
                  <a:pt x="2018" y="850"/>
                  <a:pt x="2018" y="850"/>
                  <a:pt x="2020" y="850"/>
                </a:cubicBezTo>
                <a:cubicBezTo>
                  <a:pt x="2020" y="850"/>
                  <a:pt x="2020" y="850"/>
                  <a:pt x="2021" y="849"/>
                </a:cubicBezTo>
                <a:cubicBezTo>
                  <a:pt x="2021" y="849"/>
                  <a:pt x="2021" y="849"/>
                  <a:pt x="2022" y="850"/>
                </a:cubicBezTo>
                <a:cubicBezTo>
                  <a:pt x="2022" y="850"/>
                  <a:pt x="2022" y="850"/>
                  <a:pt x="2024" y="850"/>
                </a:cubicBezTo>
                <a:cubicBezTo>
                  <a:pt x="2024" y="850"/>
                  <a:pt x="2024" y="850"/>
                  <a:pt x="2026" y="851"/>
                </a:cubicBezTo>
                <a:cubicBezTo>
                  <a:pt x="2026" y="851"/>
                  <a:pt x="2026" y="851"/>
                  <a:pt x="2028" y="852"/>
                </a:cubicBezTo>
                <a:cubicBezTo>
                  <a:pt x="2028" y="852"/>
                  <a:pt x="2028" y="852"/>
                  <a:pt x="2029" y="851"/>
                </a:cubicBezTo>
                <a:cubicBezTo>
                  <a:pt x="2029" y="851"/>
                  <a:pt x="2029" y="851"/>
                  <a:pt x="2030" y="851"/>
                </a:cubicBezTo>
                <a:cubicBezTo>
                  <a:pt x="2030" y="851"/>
                  <a:pt x="2030" y="851"/>
                  <a:pt x="2031" y="852"/>
                </a:cubicBezTo>
                <a:cubicBezTo>
                  <a:pt x="2031" y="852"/>
                  <a:pt x="2031" y="852"/>
                  <a:pt x="2032" y="852"/>
                </a:cubicBezTo>
                <a:cubicBezTo>
                  <a:pt x="2032" y="852"/>
                  <a:pt x="2032" y="852"/>
                  <a:pt x="2033" y="851"/>
                </a:cubicBezTo>
                <a:cubicBezTo>
                  <a:pt x="2033" y="851"/>
                  <a:pt x="2033" y="851"/>
                  <a:pt x="2034" y="851"/>
                </a:cubicBezTo>
                <a:cubicBezTo>
                  <a:pt x="2034" y="851"/>
                  <a:pt x="2034" y="851"/>
                  <a:pt x="2036" y="852"/>
                </a:cubicBezTo>
                <a:cubicBezTo>
                  <a:pt x="2036" y="852"/>
                  <a:pt x="2036" y="852"/>
                  <a:pt x="2038" y="852"/>
                </a:cubicBezTo>
                <a:cubicBezTo>
                  <a:pt x="2038" y="852"/>
                  <a:pt x="2038" y="852"/>
                  <a:pt x="2041" y="854"/>
                </a:cubicBezTo>
                <a:cubicBezTo>
                  <a:pt x="2041" y="854"/>
                  <a:pt x="2041" y="854"/>
                  <a:pt x="2044" y="855"/>
                </a:cubicBezTo>
                <a:cubicBezTo>
                  <a:pt x="2044" y="855"/>
                  <a:pt x="2044" y="855"/>
                  <a:pt x="2045" y="855"/>
                </a:cubicBezTo>
                <a:cubicBezTo>
                  <a:pt x="2045" y="855"/>
                  <a:pt x="2045" y="855"/>
                  <a:pt x="2047" y="855"/>
                </a:cubicBezTo>
                <a:close/>
                <a:moveTo>
                  <a:pt x="2012" y="838"/>
                </a:moveTo>
                <a:cubicBezTo>
                  <a:pt x="2012" y="839"/>
                  <a:pt x="2012" y="839"/>
                  <a:pt x="2012" y="839"/>
                </a:cubicBezTo>
                <a:cubicBezTo>
                  <a:pt x="2013" y="838"/>
                  <a:pt x="2013" y="838"/>
                  <a:pt x="2013" y="838"/>
                </a:cubicBezTo>
                <a:cubicBezTo>
                  <a:pt x="2013" y="835"/>
                  <a:pt x="2013" y="835"/>
                  <a:pt x="2013" y="835"/>
                </a:cubicBezTo>
                <a:cubicBezTo>
                  <a:pt x="2014" y="832"/>
                  <a:pt x="2014" y="832"/>
                  <a:pt x="2014" y="832"/>
                </a:cubicBezTo>
                <a:cubicBezTo>
                  <a:pt x="2013" y="829"/>
                  <a:pt x="2013" y="829"/>
                  <a:pt x="2013" y="829"/>
                </a:cubicBezTo>
                <a:cubicBezTo>
                  <a:pt x="2014" y="827"/>
                  <a:pt x="2014" y="827"/>
                  <a:pt x="2014" y="827"/>
                </a:cubicBezTo>
                <a:cubicBezTo>
                  <a:pt x="2013" y="826"/>
                  <a:pt x="2013" y="826"/>
                  <a:pt x="2013" y="826"/>
                </a:cubicBezTo>
                <a:cubicBezTo>
                  <a:pt x="2014" y="824"/>
                  <a:pt x="2014" y="824"/>
                  <a:pt x="2014" y="824"/>
                </a:cubicBezTo>
                <a:cubicBezTo>
                  <a:pt x="2015" y="823"/>
                  <a:pt x="2015" y="823"/>
                  <a:pt x="2015" y="823"/>
                </a:cubicBezTo>
                <a:cubicBezTo>
                  <a:pt x="2015" y="822"/>
                  <a:pt x="2015" y="822"/>
                  <a:pt x="2015" y="822"/>
                </a:cubicBezTo>
                <a:cubicBezTo>
                  <a:pt x="2015" y="821"/>
                  <a:pt x="2015" y="821"/>
                  <a:pt x="2015" y="821"/>
                </a:cubicBezTo>
                <a:cubicBezTo>
                  <a:pt x="2014" y="821"/>
                  <a:pt x="2014" y="821"/>
                  <a:pt x="2014" y="821"/>
                </a:cubicBezTo>
                <a:cubicBezTo>
                  <a:pt x="2013" y="820"/>
                  <a:pt x="2013" y="820"/>
                  <a:pt x="2013" y="820"/>
                </a:cubicBezTo>
                <a:cubicBezTo>
                  <a:pt x="2012" y="818"/>
                  <a:pt x="2012" y="818"/>
                  <a:pt x="2012" y="818"/>
                </a:cubicBezTo>
                <a:cubicBezTo>
                  <a:pt x="2011" y="817"/>
                  <a:pt x="2011" y="817"/>
                  <a:pt x="2011" y="817"/>
                </a:cubicBezTo>
                <a:cubicBezTo>
                  <a:pt x="2010" y="817"/>
                  <a:pt x="2010" y="817"/>
                  <a:pt x="2010" y="817"/>
                </a:cubicBezTo>
                <a:cubicBezTo>
                  <a:pt x="2008" y="817"/>
                  <a:pt x="2008" y="817"/>
                  <a:pt x="2008" y="817"/>
                </a:cubicBezTo>
                <a:cubicBezTo>
                  <a:pt x="2007" y="817"/>
                  <a:pt x="2007" y="817"/>
                  <a:pt x="2007" y="817"/>
                </a:cubicBezTo>
                <a:cubicBezTo>
                  <a:pt x="2007" y="815"/>
                  <a:pt x="2007" y="815"/>
                  <a:pt x="2007" y="815"/>
                </a:cubicBezTo>
                <a:cubicBezTo>
                  <a:pt x="2006" y="814"/>
                  <a:pt x="2006" y="814"/>
                  <a:pt x="2006" y="814"/>
                </a:cubicBezTo>
                <a:cubicBezTo>
                  <a:pt x="2005" y="814"/>
                  <a:pt x="2005" y="814"/>
                  <a:pt x="2005" y="814"/>
                </a:cubicBezTo>
                <a:cubicBezTo>
                  <a:pt x="2006" y="813"/>
                  <a:pt x="2006" y="813"/>
                  <a:pt x="2006" y="813"/>
                </a:cubicBezTo>
                <a:cubicBezTo>
                  <a:pt x="2005" y="811"/>
                  <a:pt x="2005" y="811"/>
                  <a:pt x="2005" y="811"/>
                </a:cubicBezTo>
                <a:cubicBezTo>
                  <a:pt x="2005" y="808"/>
                  <a:pt x="2005" y="808"/>
                  <a:pt x="2005" y="808"/>
                </a:cubicBezTo>
                <a:cubicBezTo>
                  <a:pt x="2004" y="809"/>
                  <a:pt x="2004" y="809"/>
                  <a:pt x="2004" y="809"/>
                </a:cubicBezTo>
                <a:cubicBezTo>
                  <a:pt x="2003" y="808"/>
                  <a:pt x="2003" y="808"/>
                  <a:pt x="2003" y="808"/>
                </a:cubicBezTo>
                <a:cubicBezTo>
                  <a:pt x="2000" y="808"/>
                  <a:pt x="2000" y="808"/>
                  <a:pt x="2000" y="808"/>
                </a:cubicBezTo>
                <a:cubicBezTo>
                  <a:pt x="1998" y="807"/>
                  <a:pt x="1998" y="807"/>
                  <a:pt x="1998" y="807"/>
                </a:cubicBezTo>
                <a:cubicBezTo>
                  <a:pt x="1998" y="806"/>
                  <a:pt x="1998" y="806"/>
                  <a:pt x="1998" y="806"/>
                </a:cubicBezTo>
                <a:cubicBezTo>
                  <a:pt x="2000" y="805"/>
                  <a:pt x="2000" y="805"/>
                  <a:pt x="2000" y="805"/>
                </a:cubicBezTo>
                <a:cubicBezTo>
                  <a:pt x="2001" y="804"/>
                  <a:pt x="2001" y="804"/>
                  <a:pt x="2001" y="804"/>
                </a:cubicBezTo>
                <a:cubicBezTo>
                  <a:pt x="2000" y="804"/>
                  <a:pt x="2000" y="804"/>
                  <a:pt x="2000" y="804"/>
                </a:cubicBezTo>
                <a:cubicBezTo>
                  <a:pt x="1999" y="804"/>
                  <a:pt x="1999" y="804"/>
                  <a:pt x="1999" y="804"/>
                </a:cubicBezTo>
                <a:cubicBezTo>
                  <a:pt x="1998" y="804"/>
                  <a:pt x="1998" y="804"/>
                  <a:pt x="1998" y="804"/>
                </a:cubicBezTo>
                <a:cubicBezTo>
                  <a:pt x="1997" y="804"/>
                  <a:pt x="1997" y="804"/>
                  <a:pt x="1997" y="804"/>
                </a:cubicBezTo>
                <a:cubicBezTo>
                  <a:pt x="1998" y="803"/>
                  <a:pt x="1998" y="803"/>
                  <a:pt x="1998" y="803"/>
                </a:cubicBezTo>
                <a:cubicBezTo>
                  <a:pt x="1999" y="802"/>
                  <a:pt x="1999" y="802"/>
                  <a:pt x="1999" y="802"/>
                </a:cubicBezTo>
                <a:cubicBezTo>
                  <a:pt x="2001" y="802"/>
                  <a:pt x="2001" y="802"/>
                  <a:pt x="2001" y="802"/>
                </a:cubicBezTo>
                <a:cubicBezTo>
                  <a:pt x="2001" y="801"/>
                  <a:pt x="2001" y="801"/>
                  <a:pt x="2001" y="801"/>
                </a:cubicBezTo>
                <a:cubicBezTo>
                  <a:pt x="1999" y="799"/>
                  <a:pt x="1999" y="799"/>
                  <a:pt x="1999" y="799"/>
                </a:cubicBezTo>
                <a:cubicBezTo>
                  <a:pt x="1998" y="799"/>
                  <a:pt x="1998" y="799"/>
                  <a:pt x="1998" y="799"/>
                </a:cubicBezTo>
                <a:cubicBezTo>
                  <a:pt x="1996" y="799"/>
                  <a:pt x="1996" y="799"/>
                  <a:pt x="1996" y="799"/>
                </a:cubicBezTo>
                <a:cubicBezTo>
                  <a:pt x="1995" y="800"/>
                  <a:pt x="1995" y="800"/>
                  <a:pt x="1995" y="800"/>
                </a:cubicBezTo>
                <a:cubicBezTo>
                  <a:pt x="1995" y="799"/>
                  <a:pt x="1995" y="799"/>
                  <a:pt x="1995" y="799"/>
                </a:cubicBezTo>
                <a:cubicBezTo>
                  <a:pt x="1996" y="799"/>
                  <a:pt x="1996" y="799"/>
                  <a:pt x="1996" y="799"/>
                </a:cubicBezTo>
                <a:cubicBezTo>
                  <a:pt x="1996" y="798"/>
                  <a:pt x="1996" y="798"/>
                  <a:pt x="1996" y="798"/>
                </a:cubicBezTo>
                <a:cubicBezTo>
                  <a:pt x="1994" y="797"/>
                  <a:pt x="1994" y="797"/>
                  <a:pt x="1994" y="797"/>
                </a:cubicBezTo>
                <a:cubicBezTo>
                  <a:pt x="1992" y="797"/>
                  <a:pt x="1992" y="797"/>
                  <a:pt x="1992" y="797"/>
                </a:cubicBezTo>
                <a:cubicBezTo>
                  <a:pt x="1990" y="796"/>
                  <a:pt x="1990" y="796"/>
                  <a:pt x="1990" y="796"/>
                </a:cubicBezTo>
                <a:cubicBezTo>
                  <a:pt x="1990" y="795"/>
                  <a:pt x="1990" y="795"/>
                  <a:pt x="1990" y="795"/>
                </a:cubicBezTo>
                <a:cubicBezTo>
                  <a:pt x="1990" y="793"/>
                  <a:pt x="1990" y="793"/>
                  <a:pt x="1990" y="793"/>
                </a:cubicBezTo>
                <a:cubicBezTo>
                  <a:pt x="1988" y="791"/>
                  <a:pt x="1988" y="791"/>
                  <a:pt x="1988" y="791"/>
                </a:cubicBezTo>
                <a:cubicBezTo>
                  <a:pt x="1987" y="791"/>
                  <a:pt x="1987" y="791"/>
                  <a:pt x="1987" y="791"/>
                </a:cubicBezTo>
                <a:cubicBezTo>
                  <a:pt x="1986" y="791"/>
                  <a:pt x="1986" y="791"/>
                  <a:pt x="1986" y="791"/>
                </a:cubicBezTo>
                <a:cubicBezTo>
                  <a:pt x="1985" y="790"/>
                  <a:pt x="1985" y="790"/>
                  <a:pt x="1985" y="790"/>
                </a:cubicBezTo>
                <a:cubicBezTo>
                  <a:pt x="1985" y="789"/>
                  <a:pt x="1985" y="789"/>
                  <a:pt x="1985" y="789"/>
                </a:cubicBezTo>
                <a:cubicBezTo>
                  <a:pt x="1985" y="788"/>
                  <a:pt x="1985" y="788"/>
                  <a:pt x="1985" y="788"/>
                </a:cubicBezTo>
                <a:cubicBezTo>
                  <a:pt x="1983" y="786"/>
                  <a:pt x="1983" y="786"/>
                  <a:pt x="1983" y="786"/>
                </a:cubicBezTo>
                <a:cubicBezTo>
                  <a:pt x="1981" y="785"/>
                  <a:pt x="1981" y="785"/>
                  <a:pt x="1981" y="785"/>
                </a:cubicBezTo>
                <a:cubicBezTo>
                  <a:pt x="1979" y="785"/>
                  <a:pt x="1979" y="785"/>
                  <a:pt x="1979" y="785"/>
                </a:cubicBezTo>
                <a:cubicBezTo>
                  <a:pt x="1978" y="785"/>
                  <a:pt x="1978" y="785"/>
                  <a:pt x="1978" y="785"/>
                </a:cubicBezTo>
                <a:cubicBezTo>
                  <a:pt x="1978" y="783"/>
                  <a:pt x="1978" y="783"/>
                  <a:pt x="1978" y="783"/>
                </a:cubicBezTo>
                <a:cubicBezTo>
                  <a:pt x="1977" y="784"/>
                  <a:pt x="1977" y="784"/>
                  <a:pt x="1977" y="784"/>
                </a:cubicBezTo>
                <a:cubicBezTo>
                  <a:pt x="1976" y="783"/>
                  <a:pt x="1976" y="783"/>
                  <a:pt x="1976" y="783"/>
                </a:cubicBezTo>
                <a:cubicBezTo>
                  <a:pt x="1976" y="781"/>
                  <a:pt x="1976" y="781"/>
                  <a:pt x="1976" y="781"/>
                </a:cubicBezTo>
                <a:cubicBezTo>
                  <a:pt x="1975" y="780"/>
                  <a:pt x="1975" y="780"/>
                  <a:pt x="1975" y="780"/>
                </a:cubicBezTo>
                <a:cubicBezTo>
                  <a:pt x="1974" y="779"/>
                  <a:pt x="1974" y="779"/>
                  <a:pt x="1974" y="779"/>
                </a:cubicBezTo>
                <a:cubicBezTo>
                  <a:pt x="1973" y="779"/>
                  <a:pt x="1973" y="779"/>
                  <a:pt x="1973" y="779"/>
                </a:cubicBezTo>
                <a:cubicBezTo>
                  <a:pt x="1969" y="776"/>
                  <a:pt x="1969" y="776"/>
                  <a:pt x="1969" y="776"/>
                </a:cubicBezTo>
                <a:cubicBezTo>
                  <a:pt x="1968" y="776"/>
                  <a:pt x="1968" y="776"/>
                  <a:pt x="1968" y="776"/>
                </a:cubicBezTo>
                <a:cubicBezTo>
                  <a:pt x="1967" y="774"/>
                  <a:pt x="1967" y="774"/>
                  <a:pt x="1967" y="774"/>
                </a:cubicBezTo>
                <a:cubicBezTo>
                  <a:pt x="1965" y="774"/>
                  <a:pt x="1965" y="774"/>
                  <a:pt x="1965" y="774"/>
                </a:cubicBezTo>
                <a:cubicBezTo>
                  <a:pt x="1965" y="773"/>
                  <a:pt x="1965" y="773"/>
                  <a:pt x="1965" y="773"/>
                </a:cubicBezTo>
                <a:cubicBezTo>
                  <a:pt x="1964" y="771"/>
                  <a:pt x="1964" y="771"/>
                  <a:pt x="1964" y="771"/>
                </a:cubicBezTo>
                <a:cubicBezTo>
                  <a:pt x="1963" y="770"/>
                  <a:pt x="1963" y="770"/>
                  <a:pt x="1963" y="770"/>
                </a:cubicBezTo>
                <a:cubicBezTo>
                  <a:pt x="1962" y="769"/>
                  <a:pt x="1962" y="769"/>
                  <a:pt x="1962" y="769"/>
                </a:cubicBezTo>
                <a:cubicBezTo>
                  <a:pt x="1961" y="767"/>
                  <a:pt x="1961" y="767"/>
                  <a:pt x="1961" y="767"/>
                </a:cubicBezTo>
                <a:cubicBezTo>
                  <a:pt x="1960" y="767"/>
                  <a:pt x="1960" y="767"/>
                  <a:pt x="1960" y="767"/>
                </a:cubicBezTo>
                <a:cubicBezTo>
                  <a:pt x="1958" y="767"/>
                  <a:pt x="1958" y="767"/>
                  <a:pt x="1958" y="767"/>
                </a:cubicBezTo>
                <a:cubicBezTo>
                  <a:pt x="1957" y="767"/>
                  <a:pt x="1957" y="767"/>
                  <a:pt x="1957" y="767"/>
                </a:cubicBezTo>
                <a:cubicBezTo>
                  <a:pt x="1957" y="766"/>
                  <a:pt x="1957" y="766"/>
                  <a:pt x="1957" y="766"/>
                </a:cubicBezTo>
                <a:cubicBezTo>
                  <a:pt x="1955" y="766"/>
                  <a:pt x="1955" y="766"/>
                  <a:pt x="1955" y="766"/>
                </a:cubicBezTo>
                <a:cubicBezTo>
                  <a:pt x="1953" y="767"/>
                  <a:pt x="1953" y="767"/>
                  <a:pt x="1953" y="767"/>
                </a:cubicBezTo>
                <a:cubicBezTo>
                  <a:pt x="1952" y="766"/>
                  <a:pt x="1952" y="766"/>
                  <a:pt x="1952" y="766"/>
                </a:cubicBezTo>
                <a:cubicBezTo>
                  <a:pt x="1950" y="764"/>
                  <a:pt x="1950" y="764"/>
                  <a:pt x="1950" y="764"/>
                </a:cubicBezTo>
                <a:cubicBezTo>
                  <a:pt x="1947" y="764"/>
                  <a:pt x="1947" y="764"/>
                  <a:pt x="1947" y="764"/>
                </a:cubicBezTo>
                <a:cubicBezTo>
                  <a:pt x="1946" y="764"/>
                  <a:pt x="1946" y="764"/>
                  <a:pt x="1946" y="764"/>
                </a:cubicBezTo>
                <a:cubicBezTo>
                  <a:pt x="1946" y="765"/>
                  <a:pt x="1946" y="765"/>
                  <a:pt x="1946" y="765"/>
                </a:cubicBezTo>
                <a:cubicBezTo>
                  <a:pt x="1946" y="767"/>
                  <a:pt x="1946" y="767"/>
                  <a:pt x="1946" y="767"/>
                </a:cubicBezTo>
                <a:cubicBezTo>
                  <a:pt x="1948" y="770"/>
                  <a:pt x="1948" y="770"/>
                  <a:pt x="1948" y="770"/>
                </a:cubicBezTo>
                <a:cubicBezTo>
                  <a:pt x="1949" y="771"/>
                  <a:pt x="1949" y="771"/>
                  <a:pt x="1949" y="771"/>
                </a:cubicBezTo>
                <a:cubicBezTo>
                  <a:pt x="1951" y="774"/>
                  <a:pt x="1951" y="774"/>
                  <a:pt x="1951" y="774"/>
                </a:cubicBezTo>
                <a:cubicBezTo>
                  <a:pt x="1952" y="774"/>
                  <a:pt x="1952" y="774"/>
                  <a:pt x="1952" y="774"/>
                </a:cubicBezTo>
                <a:cubicBezTo>
                  <a:pt x="1954" y="776"/>
                  <a:pt x="1954" y="776"/>
                  <a:pt x="1954" y="776"/>
                </a:cubicBezTo>
                <a:cubicBezTo>
                  <a:pt x="1955" y="776"/>
                  <a:pt x="1955" y="776"/>
                  <a:pt x="1955" y="776"/>
                </a:cubicBezTo>
                <a:cubicBezTo>
                  <a:pt x="1956" y="776"/>
                  <a:pt x="1956" y="776"/>
                  <a:pt x="1956" y="776"/>
                </a:cubicBezTo>
                <a:cubicBezTo>
                  <a:pt x="1958" y="778"/>
                  <a:pt x="1958" y="778"/>
                  <a:pt x="1958" y="778"/>
                </a:cubicBezTo>
                <a:cubicBezTo>
                  <a:pt x="1960" y="781"/>
                  <a:pt x="1960" y="781"/>
                  <a:pt x="1960" y="781"/>
                </a:cubicBezTo>
                <a:cubicBezTo>
                  <a:pt x="1962" y="783"/>
                  <a:pt x="1962" y="783"/>
                  <a:pt x="1962" y="783"/>
                </a:cubicBezTo>
                <a:cubicBezTo>
                  <a:pt x="1963" y="783"/>
                  <a:pt x="1963" y="783"/>
                  <a:pt x="1963" y="783"/>
                </a:cubicBezTo>
                <a:cubicBezTo>
                  <a:pt x="1963" y="785"/>
                  <a:pt x="1963" y="785"/>
                  <a:pt x="1963" y="785"/>
                </a:cubicBezTo>
                <a:cubicBezTo>
                  <a:pt x="1964" y="787"/>
                  <a:pt x="1964" y="787"/>
                  <a:pt x="1964" y="787"/>
                </a:cubicBezTo>
                <a:cubicBezTo>
                  <a:pt x="1964" y="788"/>
                  <a:pt x="1964" y="788"/>
                  <a:pt x="1964" y="788"/>
                </a:cubicBezTo>
                <a:cubicBezTo>
                  <a:pt x="1966" y="788"/>
                  <a:pt x="1966" y="788"/>
                  <a:pt x="1966" y="788"/>
                </a:cubicBezTo>
                <a:cubicBezTo>
                  <a:pt x="1967" y="790"/>
                  <a:pt x="1967" y="790"/>
                  <a:pt x="1967" y="790"/>
                </a:cubicBezTo>
                <a:cubicBezTo>
                  <a:pt x="1968" y="790"/>
                  <a:pt x="1968" y="790"/>
                  <a:pt x="1968" y="790"/>
                </a:cubicBezTo>
                <a:cubicBezTo>
                  <a:pt x="1969" y="790"/>
                  <a:pt x="1969" y="790"/>
                  <a:pt x="1969" y="790"/>
                </a:cubicBezTo>
                <a:cubicBezTo>
                  <a:pt x="1969" y="791"/>
                  <a:pt x="1969" y="791"/>
                  <a:pt x="1969" y="791"/>
                </a:cubicBezTo>
                <a:cubicBezTo>
                  <a:pt x="1969" y="792"/>
                  <a:pt x="1969" y="792"/>
                  <a:pt x="1969" y="792"/>
                </a:cubicBezTo>
                <a:cubicBezTo>
                  <a:pt x="1969" y="793"/>
                  <a:pt x="1969" y="793"/>
                  <a:pt x="1969" y="793"/>
                </a:cubicBezTo>
                <a:cubicBezTo>
                  <a:pt x="1970" y="794"/>
                  <a:pt x="1970" y="794"/>
                  <a:pt x="1970" y="794"/>
                </a:cubicBezTo>
                <a:cubicBezTo>
                  <a:pt x="1970" y="795"/>
                  <a:pt x="1970" y="795"/>
                  <a:pt x="1970" y="795"/>
                </a:cubicBezTo>
                <a:cubicBezTo>
                  <a:pt x="1971" y="798"/>
                  <a:pt x="1971" y="798"/>
                  <a:pt x="1971" y="798"/>
                </a:cubicBezTo>
                <a:cubicBezTo>
                  <a:pt x="1972" y="800"/>
                  <a:pt x="1972" y="800"/>
                  <a:pt x="1972" y="800"/>
                </a:cubicBezTo>
                <a:cubicBezTo>
                  <a:pt x="1973" y="800"/>
                  <a:pt x="1973" y="800"/>
                  <a:pt x="1973" y="800"/>
                </a:cubicBezTo>
                <a:cubicBezTo>
                  <a:pt x="1975" y="802"/>
                  <a:pt x="1975" y="802"/>
                  <a:pt x="1975" y="802"/>
                </a:cubicBezTo>
                <a:cubicBezTo>
                  <a:pt x="1975" y="803"/>
                  <a:pt x="1975" y="803"/>
                  <a:pt x="1975" y="803"/>
                </a:cubicBezTo>
                <a:cubicBezTo>
                  <a:pt x="1977" y="805"/>
                  <a:pt x="1977" y="805"/>
                  <a:pt x="1977" y="805"/>
                </a:cubicBezTo>
                <a:cubicBezTo>
                  <a:pt x="1978" y="806"/>
                  <a:pt x="1978" y="806"/>
                  <a:pt x="1978" y="806"/>
                </a:cubicBezTo>
                <a:cubicBezTo>
                  <a:pt x="1979" y="810"/>
                  <a:pt x="1979" y="810"/>
                  <a:pt x="1979" y="810"/>
                </a:cubicBezTo>
                <a:cubicBezTo>
                  <a:pt x="1981" y="814"/>
                  <a:pt x="1981" y="814"/>
                  <a:pt x="1981" y="814"/>
                </a:cubicBezTo>
                <a:cubicBezTo>
                  <a:pt x="1981" y="816"/>
                  <a:pt x="1981" y="816"/>
                  <a:pt x="1981" y="816"/>
                </a:cubicBezTo>
                <a:cubicBezTo>
                  <a:pt x="1981" y="817"/>
                  <a:pt x="1981" y="817"/>
                  <a:pt x="1981" y="817"/>
                </a:cubicBezTo>
                <a:cubicBezTo>
                  <a:pt x="1984" y="819"/>
                  <a:pt x="1984" y="819"/>
                  <a:pt x="1984" y="819"/>
                </a:cubicBezTo>
                <a:cubicBezTo>
                  <a:pt x="1986" y="822"/>
                  <a:pt x="1986" y="822"/>
                  <a:pt x="1986" y="822"/>
                </a:cubicBezTo>
                <a:cubicBezTo>
                  <a:pt x="1987" y="823"/>
                  <a:pt x="1987" y="823"/>
                  <a:pt x="1987" y="823"/>
                </a:cubicBezTo>
                <a:cubicBezTo>
                  <a:pt x="1988" y="824"/>
                  <a:pt x="1988" y="824"/>
                  <a:pt x="1988" y="824"/>
                </a:cubicBezTo>
                <a:cubicBezTo>
                  <a:pt x="1989" y="824"/>
                  <a:pt x="1989" y="824"/>
                  <a:pt x="1989" y="824"/>
                </a:cubicBezTo>
                <a:cubicBezTo>
                  <a:pt x="1991" y="825"/>
                  <a:pt x="1991" y="825"/>
                  <a:pt x="1991" y="825"/>
                </a:cubicBezTo>
                <a:cubicBezTo>
                  <a:pt x="1991" y="827"/>
                  <a:pt x="1991" y="827"/>
                  <a:pt x="1991" y="827"/>
                </a:cubicBezTo>
                <a:cubicBezTo>
                  <a:pt x="1992" y="828"/>
                  <a:pt x="1992" y="828"/>
                  <a:pt x="1992" y="828"/>
                </a:cubicBezTo>
                <a:cubicBezTo>
                  <a:pt x="1994" y="830"/>
                  <a:pt x="1994" y="830"/>
                  <a:pt x="1994" y="830"/>
                </a:cubicBezTo>
                <a:cubicBezTo>
                  <a:pt x="1997" y="832"/>
                  <a:pt x="1997" y="832"/>
                  <a:pt x="1997" y="832"/>
                </a:cubicBezTo>
                <a:cubicBezTo>
                  <a:pt x="1997" y="833"/>
                  <a:pt x="1997" y="833"/>
                  <a:pt x="1997" y="833"/>
                </a:cubicBezTo>
                <a:cubicBezTo>
                  <a:pt x="1999" y="833"/>
                  <a:pt x="1999" y="833"/>
                  <a:pt x="1999" y="833"/>
                </a:cubicBezTo>
                <a:cubicBezTo>
                  <a:pt x="2003" y="837"/>
                  <a:pt x="2003" y="837"/>
                  <a:pt x="2003" y="837"/>
                </a:cubicBezTo>
                <a:cubicBezTo>
                  <a:pt x="2003" y="838"/>
                  <a:pt x="2003" y="838"/>
                  <a:pt x="2003" y="838"/>
                </a:cubicBezTo>
                <a:cubicBezTo>
                  <a:pt x="2004" y="838"/>
                  <a:pt x="2004" y="838"/>
                  <a:pt x="2004" y="838"/>
                </a:cubicBezTo>
                <a:cubicBezTo>
                  <a:pt x="2005" y="840"/>
                  <a:pt x="2005" y="840"/>
                  <a:pt x="2005" y="840"/>
                </a:cubicBezTo>
                <a:cubicBezTo>
                  <a:pt x="2005" y="839"/>
                  <a:pt x="2005" y="839"/>
                  <a:pt x="2005" y="839"/>
                </a:cubicBezTo>
                <a:cubicBezTo>
                  <a:pt x="2005" y="838"/>
                  <a:pt x="2005" y="838"/>
                  <a:pt x="2005" y="838"/>
                </a:cubicBezTo>
                <a:cubicBezTo>
                  <a:pt x="2005" y="837"/>
                  <a:pt x="2005" y="837"/>
                  <a:pt x="2005" y="837"/>
                </a:cubicBezTo>
                <a:cubicBezTo>
                  <a:pt x="2006" y="837"/>
                  <a:pt x="2006" y="837"/>
                  <a:pt x="2006" y="837"/>
                </a:cubicBezTo>
                <a:cubicBezTo>
                  <a:pt x="2008" y="839"/>
                  <a:pt x="2008" y="839"/>
                  <a:pt x="2008" y="839"/>
                </a:cubicBezTo>
                <a:cubicBezTo>
                  <a:pt x="2009" y="839"/>
                  <a:pt x="2009" y="839"/>
                  <a:pt x="2009" y="839"/>
                </a:cubicBezTo>
                <a:cubicBezTo>
                  <a:pt x="2009" y="837"/>
                  <a:pt x="2009" y="837"/>
                  <a:pt x="2009" y="837"/>
                </a:cubicBezTo>
                <a:cubicBezTo>
                  <a:pt x="2009" y="836"/>
                  <a:pt x="2009" y="836"/>
                  <a:pt x="2009" y="836"/>
                </a:cubicBezTo>
                <a:cubicBezTo>
                  <a:pt x="2010" y="837"/>
                  <a:pt x="2010" y="837"/>
                  <a:pt x="2010" y="837"/>
                </a:cubicBezTo>
                <a:cubicBezTo>
                  <a:pt x="2012" y="838"/>
                  <a:pt x="2012" y="838"/>
                  <a:pt x="2012" y="838"/>
                </a:cubicBezTo>
                <a:close/>
                <a:moveTo>
                  <a:pt x="2175" y="851"/>
                </a:moveTo>
                <a:cubicBezTo>
                  <a:pt x="2175" y="850"/>
                  <a:pt x="2175" y="850"/>
                  <a:pt x="2175" y="850"/>
                </a:cubicBezTo>
                <a:cubicBezTo>
                  <a:pt x="2175" y="849"/>
                  <a:pt x="2175" y="849"/>
                  <a:pt x="2175" y="849"/>
                </a:cubicBezTo>
                <a:cubicBezTo>
                  <a:pt x="2175" y="848"/>
                  <a:pt x="2175" y="848"/>
                  <a:pt x="2175" y="848"/>
                </a:cubicBezTo>
                <a:cubicBezTo>
                  <a:pt x="2174" y="848"/>
                  <a:pt x="2174" y="848"/>
                  <a:pt x="2174" y="848"/>
                </a:cubicBezTo>
                <a:cubicBezTo>
                  <a:pt x="2172" y="850"/>
                  <a:pt x="2172" y="850"/>
                  <a:pt x="2172" y="850"/>
                </a:cubicBezTo>
                <a:cubicBezTo>
                  <a:pt x="2172" y="851"/>
                  <a:pt x="2172" y="851"/>
                  <a:pt x="2172" y="851"/>
                </a:cubicBezTo>
                <a:cubicBezTo>
                  <a:pt x="2172" y="852"/>
                  <a:pt x="2172" y="852"/>
                  <a:pt x="2172" y="852"/>
                </a:cubicBezTo>
                <a:cubicBezTo>
                  <a:pt x="2172" y="853"/>
                  <a:pt x="2172" y="853"/>
                  <a:pt x="2172" y="853"/>
                </a:cubicBezTo>
                <a:cubicBezTo>
                  <a:pt x="2173" y="853"/>
                  <a:pt x="2173" y="853"/>
                  <a:pt x="2173" y="853"/>
                </a:cubicBezTo>
                <a:cubicBezTo>
                  <a:pt x="2175" y="851"/>
                  <a:pt x="2175" y="851"/>
                  <a:pt x="2175" y="851"/>
                </a:cubicBezTo>
                <a:close/>
                <a:moveTo>
                  <a:pt x="1974" y="815"/>
                </a:moveTo>
                <a:cubicBezTo>
                  <a:pt x="1973" y="815"/>
                  <a:pt x="1973" y="815"/>
                  <a:pt x="1973" y="815"/>
                </a:cubicBezTo>
                <a:cubicBezTo>
                  <a:pt x="1974" y="816"/>
                  <a:pt x="1974" y="816"/>
                  <a:pt x="1974" y="816"/>
                </a:cubicBezTo>
                <a:cubicBezTo>
                  <a:pt x="1976" y="817"/>
                  <a:pt x="1976" y="817"/>
                  <a:pt x="1976" y="817"/>
                </a:cubicBezTo>
                <a:cubicBezTo>
                  <a:pt x="1974" y="815"/>
                  <a:pt x="1974" y="815"/>
                  <a:pt x="1974" y="815"/>
                </a:cubicBezTo>
                <a:close/>
                <a:moveTo>
                  <a:pt x="2195" y="807"/>
                </a:moveTo>
                <a:cubicBezTo>
                  <a:pt x="2196" y="808"/>
                  <a:pt x="2196" y="808"/>
                  <a:pt x="2196" y="808"/>
                </a:cubicBezTo>
                <a:cubicBezTo>
                  <a:pt x="2197" y="808"/>
                  <a:pt x="2197" y="808"/>
                  <a:pt x="2197" y="808"/>
                </a:cubicBezTo>
                <a:cubicBezTo>
                  <a:pt x="2196" y="807"/>
                  <a:pt x="2196" y="807"/>
                  <a:pt x="2196" y="807"/>
                </a:cubicBezTo>
                <a:cubicBezTo>
                  <a:pt x="2195" y="807"/>
                  <a:pt x="2195" y="807"/>
                  <a:pt x="2195" y="807"/>
                </a:cubicBezTo>
                <a:close/>
                <a:moveTo>
                  <a:pt x="2165" y="813"/>
                </a:moveTo>
                <a:cubicBezTo>
                  <a:pt x="2164" y="813"/>
                  <a:pt x="2164" y="813"/>
                  <a:pt x="2164" y="813"/>
                </a:cubicBezTo>
                <a:cubicBezTo>
                  <a:pt x="2164" y="814"/>
                  <a:pt x="2164" y="814"/>
                  <a:pt x="2164" y="814"/>
                </a:cubicBezTo>
                <a:cubicBezTo>
                  <a:pt x="2166" y="815"/>
                  <a:pt x="2166" y="815"/>
                  <a:pt x="2166" y="815"/>
                </a:cubicBezTo>
                <a:cubicBezTo>
                  <a:pt x="2168" y="814"/>
                  <a:pt x="2168" y="814"/>
                  <a:pt x="2168" y="814"/>
                </a:cubicBezTo>
                <a:cubicBezTo>
                  <a:pt x="2167" y="813"/>
                  <a:pt x="2167" y="813"/>
                  <a:pt x="2167" y="813"/>
                </a:cubicBezTo>
                <a:cubicBezTo>
                  <a:pt x="2167" y="812"/>
                  <a:pt x="2167" y="812"/>
                  <a:pt x="2167" y="812"/>
                </a:cubicBezTo>
                <a:cubicBezTo>
                  <a:pt x="2165" y="813"/>
                  <a:pt x="2165" y="813"/>
                  <a:pt x="2165" y="813"/>
                </a:cubicBezTo>
                <a:close/>
                <a:moveTo>
                  <a:pt x="2173" y="803"/>
                </a:moveTo>
                <a:cubicBezTo>
                  <a:pt x="2174" y="804"/>
                  <a:pt x="2174" y="804"/>
                  <a:pt x="2174" y="804"/>
                </a:cubicBezTo>
                <a:cubicBezTo>
                  <a:pt x="2175" y="803"/>
                  <a:pt x="2175" y="803"/>
                  <a:pt x="2175" y="803"/>
                </a:cubicBezTo>
                <a:cubicBezTo>
                  <a:pt x="2174" y="802"/>
                  <a:pt x="2174" y="802"/>
                  <a:pt x="2174" y="802"/>
                </a:cubicBezTo>
                <a:cubicBezTo>
                  <a:pt x="2173" y="801"/>
                  <a:pt x="2173" y="801"/>
                  <a:pt x="2173" y="801"/>
                </a:cubicBezTo>
                <a:cubicBezTo>
                  <a:pt x="2171" y="801"/>
                  <a:pt x="2171" y="801"/>
                  <a:pt x="2171" y="801"/>
                </a:cubicBezTo>
                <a:cubicBezTo>
                  <a:pt x="2170" y="802"/>
                  <a:pt x="2170" y="802"/>
                  <a:pt x="2170" y="802"/>
                </a:cubicBezTo>
                <a:cubicBezTo>
                  <a:pt x="2169" y="802"/>
                  <a:pt x="2169" y="802"/>
                  <a:pt x="2169" y="802"/>
                </a:cubicBezTo>
                <a:cubicBezTo>
                  <a:pt x="2168" y="802"/>
                  <a:pt x="2168" y="802"/>
                  <a:pt x="2168" y="802"/>
                </a:cubicBezTo>
                <a:cubicBezTo>
                  <a:pt x="2169" y="803"/>
                  <a:pt x="2169" y="803"/>
                  <a:pt x="2169" y="803"/>
                </a:cubicBezTo>
                <a:cubicBezTo>
                  <a:pt x="2170" y="803"/>
                  <a:pt x="2170" y="803"/>
                  <a:pt x="2170" y="803"/>
                </a:cubicBezTo>
                <a:cubicBezTo>
                  <a:pt x="2171" y="804"/>
                  <a:pt x="2171" y="804"/>
                  <a:pt x="2171" y="804"/>
                </a:cubicBezTo>
                <a:cubicBezTo>
                  <a:pt x="2172" y="804"/>
                  <a:pt x="2172" y="804"/>
                  <a:pt x="2172" y="804"/>
                </a:cubicBezTo>
                <a:cubicBezTo>
                  <a:pt x="2172" y="803"/>
                  <a:pt x="2172" y="803"/>
                  <a:pt x="2172" y="803"/>
                </a:cubicBezTo>
                <a:cubicBezTo>
                  <a:pt x="2171" y="803"/>
                  <a:pt x="2171" y="803"/>
                  <a:pt x="2171" y="803"/>
                </a:cubicBezTo>
                <a:cubicBezTo>
                  <a:pt x="2171" y="802"/>
                  <a:pt x="2171" y="802"/>
                  <a:pt x="2171" y="802"/>
                </a:cubicBezTo>
                <a:cubicBezTo>
                  <a:pt x="2173" y="803"/>
                  <a:pt x="2173" y="803"/>
                  <a:pt x="2173" y="803"/>
                </a:cubicBezTo>
                <a:close/>
                <a:moveTo>
                  <a:pt x="2171" y="807"/>
                </a:moveTo>
                <a:cubicBezTo>
                  <a:pt x="2171" y="807"/>
                  <a:pt x="2171" y="807"/>
                  <a:pt x="2172" y="806"/>
                </a:cubicBezTo>
                <a:cubicBezTo>
                  <a:pt x="2172" y="806"/>
                  <a:pt x="2172" y="806"/>
                  <a:pt x="2171" y="806"/>
                </a:cubicBezTo>
                <a:cubicBezTo>
                  <a:pt x="2171" y="806"/>
                  <a:pt x="2171" y="806"/>
                  <a:pt x="2171" y="807"/>
                </a:cubicBezTo>
                <a:close/>
                <a:moveTo>
                  <a:pt x="2161" y="802"/>
                </a:moveTo>
                <a:cubicBezTo>
                  <a:pt x="2161" y="802"/>
                  <a:pt x="2161" y="802"/>
                  <a:pt x="2163" y="803"/>
                </a:cubicBezTo>
                <a:cubicBezTo>
                  <a:pt x="2163" y="803"/>
                  <a:pt x="2163" y="803"/>
                  <a:pt x="2163" y="802"/>
                </a:cubicBezTo>
                <a:cubicBezTo>
                  <a:pt x="2163" y="802"/>
                  <a:pt x="2163" y="802"/>
                  <a:pt x="2160" y="801"/>
                </a:cubicBezTo>
                <a:cubicBezTo>
                  <a:pt x="2160" y="801"/>
                  <a:pt x="2160" y="801"/>
                  <a:pt x="2161" y="802"/>
                </a:cubicBezTo>
                <a:close/>
                <a:moveTo>
                  <a:pt x="2157" y="795"/>
                </a:moveTo>
                <a:cubicBezTo>
                  <a:pt x="2157" y="795"/>
                  <a:pt x="2157" y="795"/>
                  <a:pt x="2158" y="792"/>
                </a:cubicBezTo>
                <a:cubicBezTo>
                  <a:pt x="2158" y="792"/>
                  <a:pt x="2158" y="792"/>
                  <a:pt x="2158" y="791"/>
                </a:cubicBezTo>
                <a:cubicBezTo>
                  <a:pt x="2158" y="791"/>
                  <a:pt x="2158" y="791"/>
                  <a:pt x="2156" y="791"/>
                </a:cubicBezTo>
                <a:cubicBezTo>
                  <a:pt x="2156" y="791"/>
                  <a:pt x="2156" y="791"/>
                  <a:pt x="2154" y="792"/>
                </a:cubicBezTo>
                <a:cubicBezTo>
                  <a:pt x="2154" y="792"/>
                  <a:pt x="2154" y="792"/>
                  <a:pt x="2154" y="793"/>
                </a:cubicBezTo>
                <a:cubicBezTo>
                  <a:pt x="2154" y="793"/>
                  <a:pt x="2154" y="793"/>
                  <a:pt x="2154" y="794"/>
                </a:cubicBezTo>
                <a:cubicBezTo>
                  <a:pt x="2154" y="794"/>
                  <a:pt x="2154" y="794"/>
                  <a:pt x="2153" y="794"/>
                </a:cubicBezTo>
                <a:cubicBezTo>
                  <a:pt x="2153" y="794"/>
                  <a:pt x="2153" y="794"/>
                  <a:pt x="2152" y="795"/>
                </a:cubicBezTo>
                <a:cubicBezTo>
                  <a:pt x="2152" y="795"/>
                  <a:pt x="2152" y="795"/>
                  <a:pt x="2151" y="796"/>
                </a:cubicBezTo>
                <a:cubicBezTo>
                  <a:pt x="2151" y="796"/>
                  <a:pt x="2151" y="796"/>
                  <a:pt x="2151" y="794"/>
                </a:cubicBezTo>
                <a:cubicBezTo>
                  <a:pt x="2151" y="794"/>
                  <a:pt x="2151" y="794"/>
                  <a:pt x="2152" y="794"/>
                </a:cubicBezTo>
                <a:cubicBezTo>
                  <a:pt x="2152" y="794"/>
                  <a:pt x="2152" y="794"/>
                  <a:pt x="2153" y="794"/>
                </a:cubicBezTo>
                <a:cubicBezTo>
                  <a:pt x="2153" y="794"/>
                  <a:pt x="2153" y="794"/>
                  <a:pt x="2153" y="792"/>
                </a:cubicBezTo>
                <a:cubicBezTo>
                  <a:pt x="2153" y="792"/>
                  <a:pt x="2153" y="792"/>
                  <a:pt x="2153" y="790"/>
                </a:cubicBezTo>
                <a:cubicBezTo>
                  <a:pt x="2153" y="790"/>
                  <a:pt x="2153" y="790"/>
                  <a:pt x="2152" y="790"/>
                </a:cubicBezTo>
                <a:cubicBezTo>
                  <a:pt x="2152" y="790"/>
                  <a:pt x="2152" y="790"/>
                  <a:pt x="2152" y="789"/>
                </a:cubicBezTo>
                <a:cubicBezTo>
                  <a:pt x="2152" y="789"/>
                  <a:pt x="2152" y="789"/>
                  <a:pt x="2153" y="788"/>
                </a:cubicBezTo>
                <a:cubicBezTo>
                  <a:pt x="2153" y="788"/>
                  <a:pt x="2153" y="788"/>
                  <a:pt x="2153" y="787"/>
                </a:cubicBezTo>
                <a:cubicBezTo>
                  <a:pt x="2153" y="787"/>
                  <a:pt x="2153" y="787"/>
                  <a:pt x="2152" y="787"/>
                </a:cubicBezTo>
                <a:cubicBezTo>
                  <a:pt x="2152" y="787"/>
                  <a:pt x="2152" y="787"/>
                  <a:pt x="2151" y="789"/>
                </a:cubicBezTo>
                <a:cubicBezTo>
                  <a:pt x="2151" y="789"/>
                  <a:pt x="2151" y="789"/>
                  <a:pt x="2150" y="791"/>
                </a:cubicBezTo>
                <a:cubicBezTo>
                  <a:pt x="2150" y="791"/>
                  <a:pt x="2150" y="791"/>
                  <a:pt x="2150" y="792"/>
                </a:cubicBezTo>
                <a:cubicBezTo>
                  <a:pt x="2150" y="792"/>
                  <a:pt x="2150" y="792"/>
                  <a:pt x="2149" y="793"/>
                </a:cubicBezTo>
                <a:cubicBezTo>
                  <a:pt x="2149" y="793"/>
                  <a:pt x="2149" y="793"/>
                  <a:pt x="2149" y="794"/>
                </a:cubicBezTo>
                <a:cubicBezTo>
                  <a:pt x="2149" y="794"/>
                  <a:pt x="2149" y="794"/>
                  <a:pt x="2150" y="795"/>
                </a:cubicBezTo>
                <a:cubicBezTo>
                  <a:pt x="2150" y="795"/>
                  <a:pt x="2150" y="795"/>
                  <a:pt x="2150" y="797"/>
                </a:cubicBezTo>
                <a:cubicBezTo>
                  <a:pt x="2150" y="797"/>
                  <a:pt x="2150" y="797"/>
                  <a:pt x="2150" y="799"/>
                </a:cubicBezTo>
                <a:cubicBezTo>
                  <a:pt x="2150" y="799"/>
                  <a:pt x="2150" y="799"/>
                  <a:pt x="2151" y="800"/>
                </a:cubicBezTo>
                <a:cubicBezTo>
                  <a:pt x="2151" y="800"/>
                  <a:pt x="2151" y="800"/>
                  <a:pt x="2151" y="801"/>
                </a:cubicBezTo>
                <a:cubicBezTo>
                  <a:pt x="2151" y="801"/>
                  <a:pt x="2151" y="801"/>
                  <a:pt x="2150" y="802"/>
                </a:cubicBezTo>
                <a:cubicBezTo>
                  <a:pt x="2150" y="802"/>
                  <a:pt x="2150" y="802"/>
                  <a:pt x="2151" y="804"/>
                </a:cubicBezTo>
                <a:cubicBezTo>
                  <a:pt x="2151" y="804"/>
                  <a:pt x="2151" y="804"/>
                  <a:pt x="2153" y="805"/>
                </a:cubicBezTo>
                <a:cubicBezTo>
                  <a:pt x="2153" y="805"/>
                  <a:pt x="2153" y="805"/>
                  <a:pt x="2154" y="807"/>
                </a:cubicBezTo>
                <a:cubicBezTo>
                  <a:pt x="2154" y="807"/>
                  <a:pt x="2154" y="807"/>
                  <a:pt x="2155" y="807"/>
                </a:cubicBezTo>
                <a:cubicBezTo>
                  <a:pt x="2155" y="807"/>
                  <a:pt x="2155" y="807"/>
                  <a:pt x="2154" y="805"/>
                </a:cubicBezTo>
                <a:cubicBezTo>
                  <a:pt x="2154" y="805"/>
                  <a:pt x="2154" y="805"/>
                  <a:pt x="2153" y="803"/>
                </a:cubicBezTo>
                <a:cubicBezTo>
                  <a:pt x="2153" y="803"/>
                  <a:pt x="2153" y="803"/>
                  <a:pt x="2152" y="801"/>
                </a:cubicBezTo>
                <a:cubicBezTo>
                  <a:pt x="2152" y="801"/>
                  <a:pt x="2152" y="801"/>
                  <a:pt x="2152" y="799"/>
                </a:cubicBezTo>
                <a:cubicBezTo>
                  <a:pt x="2152" y="799"/>
                  <a:pt x="2152" y="799"/>
                  <a:pt x="2153" y="799"/>
                </a:cubicBezTo>
                <a:cubicBezTo>
                  <a:pt x="2153" y="799"/>
                  <a:pt x="2153" y="799"/>
                  <a:pt x="2154" y="799"/>
                </a:cubicBezTo>
                <a:cubicBezTo>
                  <a:pt x="2154" y="799"/>
                  <a:pt x="2154" y="799"/>
                  <a:pt x="2156" y="799"/>
                </a:cubicBezTo>
                <a:cubicBezTo>
                  <a:pt x="2156" y="799"/>
                  <a:pt x="2156" y="799"/>
                  <a:pt x="2157" y="800"/>
                </a:cubicBezTo>
                <a:cubicBezTo>
                  <a:pt x="2157" y="800"/>
                  <a:pt x="2157" y="800"/>
                  <a:pt x="2158" y="800"/>
                </a:cubicBezTo>
                <a:cubicBezTo>
                  <a:pt x="2158" y="800"/>
                  <a:pt x="2158" y="800"/>
                  <a:pt x="2157" y="799"/>
                </a:cubicBezTo>
                <a:cubicBezTo>
                  <a:pt x="2157" y="799"/>
                  <a:pt x="2157" y="799"/>
                  <a:pt x="2157" y="798"/>
                </a:cubicBezTo>
                <a:cubicBezTo>
                  <a:pt x="2157" y="798"/>
                  <a:pt x="2157" y="798"/>
                  <a:pt x="2156" y="797"/>
                </a:cubicBezTo>
                <a:cubicBezTo>
                  <a:pt x="2156" y="797"/>
                  <a:pt x="2156" y="797"/>
                  <a:pt x="2155" y="797"/>
                </a:cubicBezTo>
                <a:cubicBezTo>
                  <a:pt x="2155" y="797"/>
                  <a:pt x="2155" y="797"/>
                  <a:pt x="2154" y="796"/>
                </a:cubicBezTo>
                <a:cubicBezTo>
                  <a:pt x="2154" y="796"/>
                  <a:pt x="2154" y="796"/>
                  <a:pt x="2155" y="795"/>
                </a:cubicBezTo>
                <a:cubicBezTo>
                  <a:pt x="2155" y="795"/>
                  <a:pt x="2155" y="795"/>
                  <a:pt x="2157" y="795"/>
                </a:cubicBezTo>
                <a:close/>
                <a:moveTo>
                  <a:pt x="2149" y="854"/>
                </a:moveTo>
                <a:cubicBezTo>
                  <a:pt x="2149" y="854"/>
                  <a:pt x="2149" y="854"/>
                  <a:pt x="2148" y="855"/>
                </a:cubicBezTo>
                <a:cubicBezTo>
                  <a:pt x="2148" y="855"/>
                  <a:pt x="2148" y="855"/>
                  <a:pt x="2149" y="855"/>
                </a:cubicBezTo>
                <a:cubicBezTo>
                  <a:pt x="2149" y="855"/>
                  <a:pt x="2149" y="855"/>
                  <a:pt x="2149" y="854"/>
                </a:cubicBezTo>
                <a:close/>
                <a:moveTo>
                  <a:pt x="2126" y="868"/>
                </a:moveTo>
                <a:cubicBezTo>
                  <a:pt x="2127" y="868"/>
                  <a:pt x="2127" y="868"/>
                  <a:pt x="2127" y="868"/>
                </a:cubicBezTo>
                <a:cubicBezTo>
                  <a:pt x="2128" y="868"/>
                  <a:pt x="2128" y="868"/>
                  <a:pt x="2128" y="868"/>
                </a:cubicBezTo>
                <a:cubicBezTo>
                  <a:pt x="2130" y="867"/>
                  <a:pt x="2130" y="867"/>
                  <a:pt x="2130" y="867"/>
                </a:cubicBezTo>
                <a:cubicBezTo>
                  <a:pt x="2130" y="866"/>
                  <a:pt x="2130" y="866"/>
                  <a:pt x="2130" y="866"/>
                </a:cubicBezTo>
                <a:cubicBezTo>
                  <a:pt x="2133" y="864"/>
                  <a:pt x="2133" y="864"/>
                  <a:pt x="2133" y="864"/>
                </a:cubicBezTo>
                <a:cubicBezTo>
                  <a:pt x="2133" y="863"/>
                  <a:pt x="2133" y="863"/>
                  <a:pt x="2133" y="863"/>
                </a:cubicBezTo>
                <a:cubicBezTo>
                  <a:pt x="2134" y="863"/>
                  <a:pt x="2134" y="863"/>
                  <a:pt x="2134" y="863"/>
                </a:cubicBezTo>
                <a:cubicBezTo>
                  <a:pt x="2135" y="862"/>
                  <a:pt x="2135" y="862"/>
                  <a:pt x="2135" y="862"/>
                </a:cubicBezTo>
                <a:cubicBezTo>
                  <a:pt x="2136" y="861"/>
                  <a:pt x="2136" y="861"/>
                  <a:pt x="2136" y="861"/>
                </a:cubicBezTo>
                <a:cubicBezTo>
                  <a:pt x="2137" y="861"/>
                  <a:pt x="2137" y="861"/>
                  <a:pt x="2137" y="861"/>
                </a:cubicBezTo>
                <a:cubicBezTo>
                  <a:pt x="2140" y="861"/>
                  <a:pt x="2140" y="861"/>
                  <a:pt x="2140" y="861"/>
                </a:cubicBezTo>
                <a:cubicBezTo>
                  <a:pt x="2142" y="860"/>
                  <a:pt x="2142" y="860"/>
                  <a:pt x="2142" y="860"/>
                </a:cubicBezTo>
                <a:cubicBezTo>
                  <a:pt x="2144" y="859"/>
                  <a:pt x="2144" y="859"/>
                  <a:pt x="2144" y="859"/>
                </a:cubicBezTo>
                <a:cubicBezTo>
                  <a:pt x="2145" y="859"/>
                  <a:pt x="2145" y="859"/>
                  <a:pt x="2145" y="859"/>
                </a:cubicBezTo>
                <a:cubicBezTo>
                  <a:pt x="2146" y="858"/>
                  <a:pt x="2146" y="858"/>
                  <a:pt x="2146" y="858"/>
                </a:cubicBezTo>
                <a:cubicBezTo>
                  <a:pt x="2146" y="857"/>
                  <a:pt x="2146" y="857"/>
                  <a:pt x="2146" y="857"/>
                </a:cubicBezTo>
                <a:cubicBezTo>
                  <a:pt x="2145" y="857"/>
                  <a:pt x="2145" y="857"/>
                  <a:pt x="2145" y="857"/>
                </a:cubicBezTo>
                <a:cubicBezTo>
                  <a:pt x="2143" y="857"/>
                  <a:pt x="2143" y="857"/>
                  <a:pt x="2143" y="857"/>
                </a:cubicBezTo>
                <a:cubicBezTo>
                  <a:pt x="2142" y="857"/>
                  <a:pt x="2142" y="857"/>
                  <a:pt x="2142" y="857"/>
                </a:cubicBezTo>
                <a:cubicBezTo>
                  <a:pt x="2140" y="857"/>
                  <a:pt x="2140" y="857"/>
                  <a:pt x="2140" y="857"/>
                </a:cubicBezTo>
                <a:cubicBezTo>
                  <a:pt x="2139" y="857"/>
                  <a:pt x="2139" y="857"/>
                  <a:pt x="2139" y="857"/>
                </a:cubicBezTo>
                <a:cubicBezTo>
                  <a:pt x="2137" y="858"/>
                  <a:pt x="2137" y="858"/>
                  <a:pt x="2137" y="858"/>
                </a:cubicBezTo>
                <a:cubicBezTo>
                  <a:pt x="2135" y="858"/>
                  <a:pt x="2135" y="858"/>
                  <a:pt x="2135" y="858"/>
                </a:cubicBezTo>
                <a:cubicBezTo>
                  <a:pt x="2133" y="859"/>
                  <a:pt x="2133" y="859"/>
                  <a:pt x="2133" y="859"/>
                </a:cubicBezTo>
                <a:cubicBezTo>
                  <a:pt x="2131" y="860"/>
                  <a:pt x="2131" y="860"/>
                  <a:pt x="2131" y="860"/>
                </a:cubicBezTo>
                <a:cubicBezTo>
                  <a:pt x="2129" y="861"/>
                  <a:pt x="2129" y="861"/>
                  <a:pt x="2129" y="861"/>
                </a:cubicBezTo>
                <a:cubicBezTo>
                  <a:pt x="2127" y="861"/>
                  <a:pt x="2127" y="861"/>
                  <a:pt x="2127" y="861"/>
                </a:cubicBezTo>
                <a:cubicBezTo>
                  <a:pt x="2126" y="862"/>
                  <a:pt x="2126" y="862"/>
                  <a:pt x="2126" y="862"/>
                </a:cubicBezTo>
                <a:cubicBezTo>
                  <a:pt x="2124" y="863"/>
                  <a:pt x="2124" y="863"/>
                  <a:pt x="2124" y="863"/>
                </a:cubicBezTo>
                <a:cubicBezTo>
                  <a:pt x="2124" y="864"/>
                  <a:pt x="2124" y="864"/>
                  <a:pt x="2124" y="864"/>
                </a:cubicBezTo>
                <a:cubicBezTo>
                  <a:pt x="2123" y="866"/>
                  <a:pt x="2123" y="866"/>
                  <a:pt x="2123" y="866"/>
                </a:cubicBezTo>
                <a:cubicBezTo>
                  <a:pt x="2123" y="867"/>
                  <a:pt x="2123" y="867"/>
                  <a:pt x="2123" y="867"/>
                </a:cubicBezTo>
                <a:cubicBezTo>
                  <a:pt x="2123" y="868"/>
                  <a:pt x="2123" y="868"/>
                  <a:pt x="2123" y="868"/>
                </a:cubicBezTo>
                <a:cubicBezTo>
                  <a:pt x="2122" y="867"/>
                  <a:pt x="2122" y="867"/>
                  <a:pt x="2122" y="867"/>
                </a:cubicBezTo>
                <a:cubicBezTo>
                  <a:pt x="2122" y="869"/>
                  <a:pt x="2122" y="869"/>
                  <a:pt x="2122" y="869"/>
                </a:cubicBezTo>
                <a:cubicBezTo>
                  <a:pt x="2124" y="869"/>
                  <a:pt x="2124" y="869"/>
                  <a:pt x="2124" y="869"/>
                </a:cubicBezTo>
                <a:cubicBezTo>
                  <a:pt x="2126" y="868"/>
                  <a:pt x="2126" y="868"/>
                  <a:pt x="2126" y="868"/>
                </a:cubicBezTo>
                <a:close/>
                <a:moveTo>
                  <a:pt x="2121" y="855"/>
                </a:moveTo>
                <a:cubicBezTo>
                  <a:pt x="2121" y="856"/>
                  <a:pt x="2121" y="856"/>
                  <a:pt x="2121" y="856"/>
                </a:cubicBezTo>
                <a:cubicBezTo>
                  <a:pt x="2122" y="855"/>
                  <a:pt x="2122" y="855"/>
                  <a:pt x="2122" y="855"/>
                </a:cubicBezTo>
                <a:cubicBezTo>
                  <a:pt x="2121" y="855"/>
                  <a:pt x="2121" y="855"/>
                  <a:pt x="2121" y="855"/>
                </a:cubicBezTo>
                <a:close/>
                <a:moveTo>
                  <a:pt x="2147" y="849"/>
                </a:moveTo>
                <a:cubicBezTo>
                  <a:pt x="2147" y="850"/>
                  <a:pt x="2147" y="850"/>
                  <a:pt x="2147" y="850"/>
                </a:cubicBezTo>
                <a:cubicBezTo>
                  <a:pt x="2147" y="851"/>
                  <a:pt x="2147" y="851"/>
                  <a:pt x="2147" y="851"/>
                </a:cubicBezTo>
                <a:cubicBezTo>
                  <a:pt x="2148" y="850"/>
                  <a:pt x="2148" y="850"/>
                  <a:pt x="2148" y="850"/>
                </a:cubicBezTo>
                <a:cubicBezTo>
                  <a:pt x="2147" y="849"/>
                  <a:pt x="2147" y="849"/>
                  <a:pt x="2147" y="849"/>
                </a:cubicBezTo>
                <a:close/>
                <a:moveTo>
                  <a:pt x="2206" y="808"/>
                </a:moveTo>
                <a:cubicBezTo>
                  <a:pt x="2205" y="808"/>
                  <a:pt x="2205" y="808"/>
                  <a:pt x="2205" y="808"/>
                </a:cubicBezTo>
                <a:cubicBezTo>
                  <a:pt x="2204" y="807"/>
                  <a:pt x="2204" y="807"/>
                  <a:pt x="2204" y="807"/>
                </a:cubicBezTo>
                <a:cubicBezTo>
                  <a:pt x="2203" y="806"/>
                  <a:pt x="2203" y="806"/>
                  <a:pt x="2203" y="806"/>
                </a:cubicBezTo>
                <a:cubicBezTo>
                  <a:pt x="2202" y="805"/>
                  <a:pt x="2202" y="805"/>
                  <a:pt x="2202" y="805"/>
                </a:cubicBezTo>
                <a:cubicBezTo>
                  <a:pt x="2201" y="805"/>
                  <a:pt x="2201" y="805"/>
                  <a:pt x="2201" y="805"/>
                </a:cubicBezTo>
                <a:cubicBezTo>
                  <a:pt x="2200" y="805"/>
                  <a:pt x="2200" y="805"/>
                  <a:pt x="2200" y="805"/>
                </a:cubicBezTo>
                <a:cubicBezTo>
                  <a:pt x="2200" y="806"/>
                  <a:pt x="2200" y="806"/>
                  <a:pt x="2200" y="806"/>
                </a:cubicBezTo>
                <a:cubicBezTo>
                  <a:pt x="2201" y="807"/>
                  <a:pt x="2201" y="807"/>
                  <a:pt x="2201" y="807"/>
                </a:cubicBezTo>
                <a:cubicBezTo>
                  <a:pt x="2201" y="806"/>
                  <a:pt x="2201" y="806"/>
                  <a:pt x="2201" y="806"/>
                </a:cubicBezTo>
                <a:cubicBezTo>
                  <a:pt x="2202" y="807"/>
                  <a:pt x="2202" y="807"/>
                  <a:pt x="2202" y="807"/>
                </a:cubicBezTo>
                <a:cubicBezTo>
                  <a:pt x="2202" y="808"/>
                  <a:pt x="2202" y="808"/>
                  <a:pt x="2202" y="808"/>
                </a:cubicBezTo>
                <a:cubicBezTo>
                  <a:pt x="2203" y="808"/>
                  <a:pt x="2203" y="808"/>
                  <a:pt x="2203" y="808"/>
                </a:cubicBezTo>
                <a:cubicBezTo>
                  <a:pt x="2204" y="808"/>
                  <a:pt x="2204" y="808"/>
                  <a:pt x="2204" y="808"/>
                </a:cubicBezTo>
                <a:cubicBezTo>
                  <a:pt x="2204" y="809"/>
                  <a:pt x="2204" y="809"/>
                  <a:pt x="2204" y="809"/>
                </a:cubicBezTo>
                <a:cubicBezTo>
                  <a:pt x="2206" y="808"/>
                  <a:pt x="2206" y="808"/>
                  <a:pt x="2206" y="808"/>
                </a:cubicBezTo>
                <a:close/>
                <a:moveTo>
                  <a:pt x="2150" y="804"/>
                </a:moveTo>
                <a:cubicBezTo>
                  <a:pt x="2149" y="804"/>
                  <a:pt x="2149" y="804"/>
                  <a:pt x="2149" y="804"/>
                </a:cubicBezTo>
                <a:cubicBezTo>
                  <a:pt x="2149" y="805"/>
                  <a:pt x="2149" y="805"/>
                  <a:pt x="2149" y="805"/>
                </a:cubicBezTo>
                <a:cubicBezTo>
                  <a:pt x="2149" y="806"/>
                  <a:pt x="2149" y="806"/>
                  <a:pt x="2149" y="806"/>
                </a:cubicBezTo>
                <a:cubicBezTo>
                  <a:pt x="2149" y="807"/>
                  <a:pt x="2149" y="807"/>
                  <a:pt x="2149" y="807"/>
                </a:cubicBezTo>
                <a:cubicBezTo>
                  <a:pt x="2150" y="807"/>
                  <a:pt x="2150" y="807"/>
                  <a:pt x="2150" y="807"/>
                </a:cubicBezTo>
                <a:cubicBezTo>
                  <a:pt x="2151" y="807"/>
                  <a:pt x="2151" y="807"/>
                  <a:pt x="2151" y="807"/>
                </a:cubicBezTo>
                <a:cubicBezTo>
                  <a:pt x="2152" y="807"/>
                  <a:pt x="2152" y="807"/>
                  <a:pt x="2152" y="807"/>
                </a:cubicBezTo>
                <a:cubicBezTo>
                  <a:pt x="2151" y="806"/>
                  <a:pt x="2151" y="806"/>
                  <a:pt x="2151" y="806"/>
                </a:cubicBezTo>
                <a:cubicBezTo>
                  <a:pt x="2150" y="806"/>
                  <a:pt x="2150" y="806"/>
                  <a:pt x="2150" y="806"/>
                </a:cubicBezTo>
                <a:cubicBezTo>
                  <a:pt x="2151" y="805"/>
                  <a:pt x="2151" y="805"/>
                  <a:pt x="2151" y="805"/>
                </a:cubicBezTo>
                <a:cubicBezTo>
                  <a:pt x="2150" y="804"/>
                  <a:pt x="2150" y="804"/>
                  <a:pt x="2150" y="804"/>
                </a:cubicBezTo>
                <a:close/>
                <a:moveTo>
                  <a:pt x="2202" y="813"/>
                </a:moveTo>
                <a:cubicBezTo>
                  <a:pt x="2205" y="813"/>
                  <a:pt x="2205" y="813"/>
                  <a:pt x="2205" y="813"/>
                </a:cubicBezTo>
                <a:cubicBezTo>
                  <a:pt x="2208" y="813"/>
                  <a:pt x="2208" y="813"/>
                  <a:pt x="2208" y="813"/>
                </a:cubicBezTo>
                <a:cubicBezTo>
                  <a:pt x="2208" y="812"/>
                  <a:pt x="2208" y="812"/>
                  <a:pt x="2208" y="812"/>
                </a:cubicBezTo>
                <a:cubicBezTo>
                  <a:pt x="2206" y="812"/>
                  <a:pt x="2206" y="812"/>
                  <a:pt x="2206" y="812"/>
                </a:cubicBezTo>
                <a:cubicBezTo>
                  <a:pt x="2205" y="812"/>
                  <a:pt x="2205" y="812"/>
                  <a:pt x="2205" y="812"/>
                </a:cubicBezTo>
                <a:cubicBezTo>
                  <a:pt x="2203" y="812"/>
                  <a:pt x="2203" y="812"/>
                  <a:pt x="2203" y="812"/>
                </a:cubicBezTo>
                <a:cubicBezTo>
                  <a:pt x="2202" y="812"/>
                  <a:pt x="2202" y="812"/>
                  <a:pt x="2202" y="812"/>
                </a:cubicBezTo>
                <a:cubicBezTo>
                  <a:pt x="2200" y="812"/>
                  <a:pt x="2200" y="812"/>
                  <a:pt x="2200" y="812"/>
                </a:cubicBezTo>
                <a:cubicBezTo>
                  <a:pt x="2202" y="813"/>
                  <a:pt x="2202" y="813"/>
                  <a:pt x="2202" y="813"/>
                </a:cubicBezTo>
                <a:close/>
                <a:moveTo>
                  <a:pt x="2170" y="854"/>
                </a:moveTo>
                <a:cubicBezTo>
                  <a:pt x="2170" y="855"/>
                  <a:pt x="2170" y="855"/>
                  <a:pt x="2170" y="855"/>
                </a:cubicBezTo>
                <a:cubicBezTo>
                  <a:pt x="2171" y="855"/>
                  <a:pt x="2171" y="855"/>
                  <a:pt x="2171" y="855"/>
                </a:cubicBezTo>
                <a:cubicBezTo>
                  <a:pt x="2172" y="854"/>
                  <a:pt x="2172" y="854"/>
                  <a:pt x="2172" y="854"/>
                </a:cubicBezTo>
                <a:cubicBezTo>
                  <a:pt x="2171" y="854"/>
                  <a:pt x="2171" y="854"/>
                  <a:pt x="2171" y="854"/>
                </a:cubicBezTo>
                <a:cubicBezTo>
                  <a:pt x="2170" y="854"/>
                  <a:pt x="2170" y="854"/>
                  <a:pt x="2170" y="854"/>
                </a:cubicBezTo>
                <a:close/>
                <a:moveTo>
                  <a:pt x="2153" y="855"/>
                </a:moveTo>
                <a:cubicBezTo>
                  <a:pt x="2153" y="855"/>
                  <a:pt x="2153" y="855"/>
                  <a:pt x="2153" y="854"/>
                </a:cubicBezTo>
                <a:cubicBezTo>
                  <a:pt x="2153" y="854"/>
                  <a:pt x="2153" y="854"/>
                  <a:pt x="2152" y="854"/>
                </a:cubicBezTo>
                <a:cubicBezTo>
                  <a:pt x="2152" y="854"/>
                  <a:pt x="2152" y="854"/>
                  <a:pt x="2150" y="854"/>
                </a:cubicBezTo>
                <a:cubicBezTo>
                  <a:pt x="2150" y="854"/>
                  <a:pt x="2150" y="854"/>
                  <a:pt x="2150" y="855"/>
                </a:cubicBezTo>
                <a:cubicBezTo>
                  <a:pt x="2150" y="855"/>
                  <a:pt x="2150" y="855"/>
                  <a:pt x="2152" y="855"/>
                </a:cubicBezTo>
                <a:cubicBezTo>
                  <a:pt x="2152" y="855"/>
                  <a:pt x="2152" y="855"/>
                  <a:pt x="2153" y="855"/>
                </a:cubicBezTo>
                <a:close/>
                <a:moveTo>
                  <a:pt x="2152" y="821"/>
                </a:moveTo>
                <a:cubicBezTo>
                  <a:pt x="2153" y="820"/>
                  <a:pt x="2153" y="820"/>
                  <a:pt x="2153" y="820"/>
                </a:cubicBezTo>
                <a:cubicBezTo>
                  <a:pt x="2151" y="820"/>
                  <a:pt x="2151" y="820"/>
                  <a:pt x="2151" y="820"/>
                </a:cubicBezTo>
                <a:cubicBezTo>
                  <a:pt x="2152" y="821"/>
                  <a:pt x="2152" y="821"/>
                  <a:pt x="2152" y="821"/>
                </a:cubicBezTo>
                <a:close/>
                <a:moveTo>
                  <a:pt x="2088" y="775"/>
                </a:moveTo>
                <a:cubicBezTo>
                  <a:pt x="2088" y="774"/>
                  <a:pt x="2088" y="774"/>
                  <a:pt x="2088" y="774"/>
                </a:cubicBezTo>
                <a:cubicBezTo>
                  <a:pt x="2087" y="774"/>
                  <a:pt x="2087" y="774"/>
                  <a:pt x="2087" y="774"/>
                </a:cubicBezTo>
                <a:cubicBezTo>
                  <a:pt x="2088" y="775"/>
                  <a:pt x="2088" y="775"/>
                  <a:pt x="2088" y="775"/>
                </a:cubicBezTo>
                <a:close/>
                <a:moveTo>
                  <a:pt x="2154" y="825"/>
                </a:moveTo>
                <a:cubicBezTo>
                  <a:pt x="2154" y="825"/>
                  <a:pt x="2154" y="825"/>
                  <a:pt x="2154" y="824"/>
                </a:cubicBezTo>
                <a:cubicBezTo>
                  <a:pt x="2154" y="824"/>
                  <a:pt x="2154" y="824"/>
                  <a:pt x="2153" y="825"/>
                </a:cubicBezTo>
                <a:cubicBezTo>
                  <a:pt x="2153" y="825"/>
                  <a:pt x="2153" y="825"/>
                  <a:pt x="2154" y="826"/>
                </a:cubicBezTo>
                <a:cubicBezTo>
                  <a:pt x="2154" y="826"/>
                  <a:pt x="2154" y="826"/>
                  <a:pt x="2154" y="825"/>
                </a:cubicBezTo>
                <a:close/>
                <a:moveTo>
                  <a:pt x="2153" y="825"/>
                </a:moveTo>
                <a:cubicBezTo>
                  <a:pt x="2153" y="825"/>
                  <a:pt x="2153" y="825"/>
                  <a:pt x="2152" y="825"/>
                </a:cubicBezTo>
                <a:cubicBezTo>
                  <a:pt x="2152" y="825"/>
                  <a:pt x="2152" y="825"/>
                  <a:pt x="2153" y="826"/>
                </a:cubicBezTo>
                <a:cubicBezTo>
                  <a:pt x="2153" y="826"/>
                  <a:pt x="2153" y="826"/>
                  <a:pt x="2153" y="825"/>
                </a:cubicBezTo>
                <a:close/>
                <a:moveTo>
                  <a:pt x="2156" y="788"/>
                </a:moveTo>
                <a:cubicBezTo>
                  <a:pt x="2157" y="787"/>
                  <a:pt x="2157" y="787"/>
                  <a:pt x="2157" y="787"/>
                </a:cubicBezTo>
                <a:cubicBezTo>
                  <a:pt x="2157" y="786"/>
                  <a:pt x="2157" y="786"/>
                  <a:pt x="2157" y="786"/>
                </a:cubicBezTo>
                <a:cubicBezTo>
                  <a:pt x="2156" y="786"/>
                  <a:pt x="2156" y="786"/>
                  <a:pt x="2156" y="786"/>
                </a:cubicBezTo>
                <a:cubicBezTo>
                  <a:pt x="2155" y="786"/>
                  <a:pt x="2155" y="786"/>
                  <a:pt x="2155" y="786"/>
                </a:cubicBezTo>
                <a:cubicBezTo>
                  <a:pt x="2154" y="787"/>
                  <a:pt x="2154" y="787"/>
                  <a:pt x="2154" y="787"/>
                </a:cubicBezTo>
                <a:cubicBezTo>
                  <a:pt x="2155" y="789"/>
                  <a:pt x="2155" y="789"/>
                  <a:pt x="2155" y="789"/>
                </a:cubicBezTo>
                <a:cubicBezTo>
                  <a:pt x="2155" y="788"/>
                  <a:pt x="2155" y="788"/>
                  <a:pt x="2155" y="788"/>
                </a:cubicBezTo>
                <a:cubicBezTo>
                  <a:pt x="2156" y="788"/>
                  <a:pt x="2156" y="788"/>
                  <a:pt x="2156" y="788"/>
                </a:cubicBezTo>
                <a:close/>
                <a:moveTo>
                  <a:pt x="2170" y="849"/>
                </a:moveTo>
                <a:cubicBezTo>
                  <a:pt x="2171" y="850"/>
                  <a:pt x="2171" y="850"/>
                  <a:pt x="2171" y="850"/>
                </a:cubicBezTo>
                <a:cubicBezTo>
                  <a:pt x="2172" y="849"/>
                  <a:pt x="2172" y="849"/>
                  <a:pt x="2172" y="849"/>
                </a:cubicBezTo>
                <a:cubicBezTo>
                  <a:pt x="2170" y="849"/>
                  <a:pt x="2170" y="849"/>
                  <a:pt x="2170" y="849"/>
                </a:cubicBezTo>
                <a:close/>
                <a:moveTo>
                  <a:pt x="2121" y="868"/>
                </a:moveTo>
                <a:cubicBezTo>
                  <a:pt x="2120" y="869"/>
                  <a:pt x="2120" y="869"/>
                  <a:pt x="2120" y="869"/>
                </a:cubicBezTo>
                <a:cubicBezTo>
                  <a:pt x="2121" y="869"/>
                  <a:pt x="2121" y="869"/>
                  <a:pt x="2121" y="869"/>
                </a:cubicBezTo>
                <a:cubicBezTo>
                  <a:pt x="2121" y="868"/>
                  <a:pt x="2121" y="868"/>
                  <a:pt x="2121" y="868"/>
                </a:cubicBezTo>
                <a:close/>
                <a:moveTo>
                  <a:pt x="2122" y="833"/>
                </a:moveTo>
                <a:cubicBezTo>
                  <a:pt x="2122" y="833"/>
                  <a:pt x="2122" y="833"/>
                  <a:pt x="2122" y="832"/>
                </a:cubicBezTo>
                <a:cubicBezTo>
                  <a:pt x="2122" y="832"/>
                  <a:pt x="2122" y="832"/>
                  <a:pt x="2122" y="831"/>
                </a:cubicBezTo>
                <a:cubicBezTo>
                  <a:pt x="2122" y="831"/>
                  <a:pt x="2122" y="831"/>
                  <a:pt x="2122" y="830"/>
                </a:cubicBezTo>
                <a:cubicBezTo>
                  <a:pt x="2122" y="830"/>
                  <a:pt x="2122" y="830"/>
                  <a:pt x="2121" y="830"/>
                </a:cubicBezTo>
                <a:cubicBezTo>
                  <a:pt x="2121" y="830"/>
                  <a:pt x="2121" y="830"/>
                  <a:pt x="2120" y="831"/>
                </a:cubicBezTo>
                <a:cubicBezTo>
                  <a:pt x="2120" y="831"/>
                  <a:pt x="2120" y="831"/>
                  <a:pt x="2120" y="833"/>
                </a:cubicBezTo>
                <a:cubicBezTo>
                  <a:pt x="2120" y="833"/>
                  <a:pt x="2120" y="833"/>
                  <a:pt x="2120" y="834"/>
                </a:cubicBezTo>
                <a:cubicBezTo>
                  <a:pt x="2120" y="834"/>
                  <a:pt x="2120" y="834"/>
                  <a:pt x="2121" y="833"/>
                </a:cubicBezTo>
                <a:cubicBezTo>
                  <a:pt x="2121" y="833"/>
                  <a:pt x="2121" y="833"/>
                  <a:pt x="2122" y="833"/>
                </a:cubicBezTo>
                <a:close/>
                <a:moveTo>
                  <a:pt x="2152" y="813"/>
                </a:moveTo>
                <a:cubicBezTo>
                  <a:pt x="2152" y="813"/>
                  <a:pt x="2152" y="813"/>
                  <a:pt x="2153" y="813"/>
                </a:cubicBezTo>
                <a:cubicBezTo>
                  <a:pt x="2153" y="813"/>
                  <a:pt x="2153" y="813"/>
                  <a:pt x="2154" y="812"/>
                </a:cubicBezTo>
                <a:cubicBezTo>
                  <a:pt x="2154" y="812"/>
                  <a:pt x="2154" y="812"/>
                  <a:pt x="2152" y="810"/>
                </a:cubicBezTo>
                <a:cubicBezTo>
                  <a:pt x="2152" y="810"/>
                  <a:pt x="2152" y="810"/>
                  <a:pt x="2151" y="810"/>
                </a:cubicBezTo>
                <a:cubicBezTo>
                  <a:pt x="2151" y="810"/>
                  <a:pt x="2151" y="810"/>
                  <a:pt x="2149" y="812"/>
                </a:cubicBezTo>
                <a:cubicBezTo>
                  <a:pt x="2149" y="812"/>
                  <a:pt x="2149" y="812"/>
                  <a:pt x="2151" y="813"/>
                </a:cubicBezTo>
                <a:cubicBezTo>
                  <a:pt x="2151" y="813"/>
                  <a:pt x="2151" y="813"/>
                  <a:pt x="2152" y="813"/>
                </a:cubicBezTo>
                <a:close/>
                <a:moveTo>
                  <a:pt x="2121" y="871"/>
                </a:moveTo>
                <a:cubicBezTo>
                  <a:pt x="2121" y="870"/>
                  <a:pt x="2121" y="870"/>
                  <a:pt x="2121" y="870"/>
                </a:cubicBezTo>
                <a:cubicBezTo>
                  <a:pt x="2120" y="870"/>
                  <a:pt x="2120" y="870"/>
                  <a:pt x="2120" y="870"/>
                </a:cubicBezTo>
                <a:cubicBezTo>
                  <a:pt x="2120" y="871"/>
                  <a:pt x="2120" y="871"/>
                  <a:pt x="2120" y="871"/>
                </a:cubicBezTo>
                <a:cubicBezTo>
                  <a:pt x="2118" y="871"/>
                  <a:pt x="2118" y="871"/>
                  <a:pt x="2118" y="871"/>
                </a:cubicBezTo>
                <a:cubicBezTo>
                  <a:pt x="2117" y="872"/>
                  <a:pt x="2117" y="872"/>
                  <a:pt x="2117" y="872"/>
                </a:cubicBezTo>
                <a:cubicBezTo>
                  <a:pt x="2118" y="873"/>
                  <a:pt x="2118" y="873"/>
                  <a:pt x="2118" y="873"/>
                </a:cubicBezTo>
                <a:cubicBezTo>
                  <a:pt x="2121" y="871"/>
                  <a:pt x="2121" y="871"/>
                  <a:pt x="2121" y="871"/>
                </a:cubicBezTo>
                <a:close/>
                <a:moveTo>
                  <a:pt x="2096" y="865"/>
                </a:moveTo>
                <a:cubicBezTo>
                  <a:pt x="2096" y="865"/>
                  <a:pt x="2096" y="865"/>
                  <a:pt x="2098" y="865"/>
                </a:cubicBezTo>
                <a:cubicBezTo>
                  <a:pt x="2098" y="865"/>
                  <a:pt x="2098" y="865"/>
                  <a:pt x="2099" y="866"/>
                </a:cubicBezTo>
                <a:cubicBezTo>
                  <a:pt x="2099" y="866"/>
                  <a:pt x="2099" y="866"/>
                  <a:pt x="2100" y="866"/>
                </a:cubicBezTo>
                <a:cubicBezTo>
                  <a:pt x="2100" y="866"/>
                  <a:pt x="2100" y="866"/>
                  <a:pt x="2101" y="868"/>
                </a:cubicBezTo>
                <a:cubicBezTo>
                  <a:pt x="2101" y="868"/>
                  <a:pt x="2101" y="868"/>
                  <a:pt x="2102" y="868"/>
                </a:cubicBezTo>
                <a:cubicBezTo>
                  <a:pt x="2102" y="868"/>
                  <a:pt x="2102" y="868"/>
                  <a:pt x="2104" y="868"/>
                </a:cubicBezTo>
                <a:cubicBezTo>
                  <a:pt x="2104" y="868"/>
                  <a:pt x="2104" y="868"/>
                  <a:pt x="2105" y="867"/>
                </a:cubicBezTo>
                <a:cubicBezTo>
                  <a:pt x="2105" y="867"/>
                  <a:pt x="2105" y="867"/>
                  <a:pt x="2105" y="866"/>
                </a:cubicBezTo>
                <a:cubicBezTo>
                  <a:pt x="2105" y="866"/>
                  <a:pt x="2105" y="866"/>
                  <a:pt x="2104" y="866"/>
                </a:cubicBezTo>
                <a:cubicBezTo>
                  <a:pt x="2104" y="866"/>
                  <a:pt x="2104" y="866"/>
                  <a:pt x="2103" y="864"/>
                </a:cubicBezTo>
                <a:cubicBezTo>
                  <a:pt x="2103" y="864"/>
                  <a:pt x="2103" y="864"/>
                  <a:pt x="2102" y="864"/>
                </a:cubicBezTo>
                <a:cubicBezTo>
                  <a:pt x="2102" y="864"/>
                  <a:pt x="2102" y="864"/>
                  <a:pt x="2102" y="863"/>
                </a:cubicBezTo>
                <a:cubicBezTo>
                  <a:pt x="2102" y="863"/>
                  <a:pt x="2102" y="863"/>
                  <a:pt x="2100" y="862"/>
                </a:cubicBezTo>
                <a:cubicBezTo>
                  <a:pt x="2100" y="862"/>
                  <a:pt x="2100" y="862"/>
                  <a:pt x="2099" y="863"/>
                </a:cubicBezTo>
                <a:cubicBezTo>
                  <a:pt x="2099" y="863"/>
                  <a:pt x="2099" y="863"/>
                  <a:pt x="2098" y="863"/>
                </a:cubicBezTo>
                <a:cubicBezTo>
                  <a:pt x="2098" y="863"/>
                  <a:pt x="2098" y="863"/>
                  <a:pt x="2096" y="861"/>
                </a:cubicBezTo>
                <a:cubicBezTo>
                  <a:pt x="2096" y="861"/>
                  <a:pt x="2096" y="861"/>
                  <a:pt x="2094" y="863"/>
                </a:cubicBezTo>
                <a:cubicBezTo>
                  <a:pt x="2094" y="863"/>
                  <a:pt x="2094" y="863"/>
                  <a:pt x="2093" y="864"/>
                </a:cubicBezTo>
                <a:cubicBezTo>
                  <a:pt x="2093" y="864"/>
                  <a:pt x="2093" y="864"/>
                  <a:pt x="2094" y="865"/>
                </a:cubicBezTo>
                <a:cubicBezTo>
                  <a:pt x="2094" y="865"/>
                  <a:pt x="2094" y="865"/>
                  <a:pt x="2096" y="865"/>
                </a:cubicBezTo>
                <a:close/>
                <a:moveTo>
                  <a:pt x="1977" y="819"/>
                </a:moveTo>
                <a:cubicBezTo>
                  <a:pt x="1977" y="819"/>
                  <a:pt x="1977" y="819"/>
                  <a:pt x="1976" y="819"/>
                </a:cubicBezTo>
                <a:cubicBezTo>
                  <a:pt x="1976" y="819"/>
                  <a:pt x="1976" y="819"/>
                  <a:pt x="1977" y="820"/>
                </a:cubicBezTo>
                <a:cubicBezTo>
                  <a:pt x="1977" y="820"/>
                  <a:pt x="1977" y="820"/>
                  <a:pt x="1977" y="819"/>
                </a:cubicBezTo>
                <a:close/>
                <a:moveTo>
                  <a:pt x="2156" y="848"/>
                </a:moveTo>
                <a:cubicBezTo>
                  <a:pt x="2156" y="848"/>
                  <a:pt x="2156" y="848"/>
                  <a:pt x="2156" y="847"/>
                </a:cubicBezTo>
                <a:cubicBezTo>
                  <a:pt x="2156" y="847"/>
                  <a:pt x="2156" y="847"/>
                  <a:pt x="2155" y="848"/>
                </a:cubicBezTo>
                <a:cubicBezTo>
                  <a:pt x="2155" y="848"/>
                  <a:pt x="2155" y="848"/>
                  <a:pt x="2156" y="848"/>
                </a:cubicBezTo>
                <a:close/>
                <a:moveTo>
                  <a:pt x="2148" y="825"/>
                </a:moveTo>
                <a:cubicBezTo>
                  <a:pt x="2148" y="825"/>
                  <a:pt x="2148" y="825"/>
                  <a:pt x="2148" y="824"/>
                </a:cubicBezTo>
                <a:cubicBezTo>
                  <a:pt x="2148" y="824"/>
                  <a:pt x="2148" y="824"/>
                  <a:pt x="2147" y="823"/>
                </a:cubicBezTo>
                <a:cubicBezTo>
                  <a:pt x="2147" y="823"/>
                  <a:pt x="2147" y="823"/>
                  <a:pt x="2147" y="822"/>
                </a:cubicBezTo>
                <a:cubicBezTo>
                  <a:pt x="2147" y="822"/>
                  <a:pt x="2147" y="822"/>
                  <a:pt x="2145" y="821"/>
                </a:cubicBezTo>
                <a:cubicBezTo>
                  <a:pt x="2145" y="821"/>
                  <a:pt x="2145" y="821"/>
                  <a:pt x="2143" y="821"/>
                </a:cubicBezTo>
                <a:cubicBezTo>
                  <a:pt x="2143" y="821"/>
                  <a:pt x="2143" y="821"/>
                  <a:pt x="2142" y="822"/>
                </a:cubicBezTo>
                <a:cubicBezTo>
                  <a:pt x="2142" y="822"/>
                  <a:pt x="2142" y="822"/>
                  <a:pt x="2141" y="822"/>
                </a:cubicBezTo>
                <a:cubicBezTo>
                  <a:pt x="2141" y="822"/>
                  <a:pt x="2141" y="822"/>
                  <a:pt x="2139" y="822"/>
                </a:cubicBezTo>
                <a:cubicBezTo>
                  <a:pt x="2139" y="822"/>
                  <a:pt x="2139" y="822"/>
                  <a:pt x="2139" y="824"/>
                </a:cubicBezTo>
                <a:cubicBezTo>
                  <a:pt x="2139" y="824"/>
                  <a:pt x="2139" y="824"/>
                  <a:pt x="2140" y="825"/>
                </a:cubicBezTo>
                <a:cubicBezTo>
                  <a:pt x="2140" y="825"/>
                  <a:pt x="2140" y="825"/>
                  <a:pt x="2142" y="826"/>
                </a:cubicBezTo>
                <a:cubicBezTo>
                  <a:pt x="2142" y="826"/>
                  <a:pt x="2142" y="826"/>
                  <a:pt x="2143" y="826"/>
                </a:cubicBezTo>
                <a:cubicBezTo>
                  <a:pt x="2143" y="826"/>
                  <a:pt x="2143" y="826"/>
                  <a:pt x="2144" y="826"/>
                </a:cubicBezTo>
                <a:cubicBezTo>
                  <a:pt x="2144" y="826"/>
                  <a:pt x="2144" y="826"/>
                  <a:pt x="2146" y="826"/>
                </a:cubicBezTo>
                <a:cubicBezTo>
                  <a:pt x="2146" y="826"/>
                  <a:pt x="2146" y="826"/>
                  <a:pt x="2147" y="825"/>
                </a:cubicBezTo>
                <a:cubicBezTo>
                  <a:pt x="2147" y="825"/>
                  <a:pt x="2147" y="825"/>
                  <a:pt x="2148" y="825"/>
                </a:cubicBezTo>
                <a:close/>
                <a:moveTo>
                  <a:pt x="2126" y="857"/>
                </a:moveTo>
                <a:cubicBezTo>
                  <a:pt x="2127" y="857"/>
                  <a:pt x="2127" y="857"/>
                  <a:pt x="2127" y="857"/>
                </a:cubicBezTo>
                <a:cubicBezTo>
                  <a:pt x="2128" y="856"/>
                  <a:pt x="2128" y="856"/>
                  <a:pt x="2128" y="856"/>
                </a:cubicBezTo>
                <a:cubicBezTo>
                  <a:pt x="2127" y="856"/>
                  <a:pt x="2127" y="856"/>
                  <a:pt x="2127" y="856"/>
                </a:cubicBezTo>
                <a:cubicBezTo>
                  <a:pt x="2126" y="856"/>
                  <a:pt x="2126" y="856"/>
                  <a:pt x="2126" y="856"/>
                </a:cubicBezTo>
                <a:cubicBezTo>
                  <a:pt x="2126" y="857"/>
                  <a:pt x="2126" y="857"/>
                  <a:pt x="2126" y="857"/>
                </a:cubicBezTo>
                <a:close/>
                <a:moveTo>
                  <a:pt x="2167" y="825"/>
                </a:moveTo>
                <a:cubicBezTo>
                  <a:pt x="2169" y="826"/>
                  <a:pt x="2169" y="826"/>
                  <a:pt x="2169" y="826"/>
                </a:cubicBezTo>
                <a:cubicBezTo>
                  <a:pt x="2170" y="826"/>
                  <a:pt x="2170" y="826"/>
                  <a:pt x="2170" y="826"/>
                </a:cubicBezTo>
                <a:cubicBezTo>
                  <a:pt x="2171" y="825"/>
                  <a:pt x="2171" y="825"/>
                  <a:pt x="2171" y="825"/>
                </a:cubicBezTo>
                <a:cubicBezTo>
                  <a:pt x="2170" y="823"/>
                  <a:pt x="2170" y="823"/>
                  <a:pt x="2170" y="823"/>
                </a:cubicBezTo>
                <a:cubicBezTo>
                  <a:pt x="2167" y="821"/>
                  <a:pt x="2167" y="821"/>
                  <a:pt x="2167" y="821"/>
                </a:cubicBezTo>
                <a:cubicBezTo>
                  <a:pt x="2164" y="821"/>
                  <a:pt x="2164" y="821"/>
                  <a:pt x="2164" y="821"/>
                </a:cubicBezTo>
                <a:cubicBezTo>
                  <a:pt x="2163" y="819"/>
                  <a:pt x="2163" y="819"/>
                  <a:pt x="2163" y="819"/>
                </a:cubicBezTo>
                <a:cubicBezTo>
                  <a:pt x="2162" y="819"/>
                  <a:pt x="2162" y="819"/>
                  <a:pt x="2162" y="819"/>
                </a:cubicBezTo>
                <a:cubicBezTo>
                  <a:pt x="2161" y="820"/>
                  <a:pt x="2161" y="820"/>
                  <a:pt x="2161" y="820"/>
                </a:cubicBezTo>
                <a:cubicBezTo>
                  <a:pt x="2159" y="820"/>
                  <a:pt x="2159" y="820"/>
                  <a:pt x="2159" y="820"/>
                </a:cubicBezTo>
                <a:cubicBezTo>
                  <a:pt x="2158" y="820"/>
                  <a:pt x="2158" y="820"/>
                  <a:pt x="2158" y="820"/>
                </a:cubicBezTo>
                <a:cubicBezTo>
                  <a:pt x="2157" y="820"/>
                  <a:pt x="2157" y="820"/>
                  <a:pt x="2157" y="820"/>
                </a:cubicBezTo>
                <a:cubicBezTo>
                  <a:pt x="2154" y="820"/>
                  <a:pt x="2154" y="820"/>
                  <a:pt x="2154" y="820"/>
                </a:cubicBezTo>
                <a:cubicBezTo>
                  <a:pt x="2153" y="821"/>
                  <a:pt x="2153" y="821"/>
                  <a:pt x="2153" y="821"/>
                </a:cubicBezTo>
                <a:cubicBezTo>
                  <a:pt x="2152" y="822"/>
                  <a:pt x="2152" y="822"/>
                  <a:pt x="2152" y="822"/>
                </a:cubicBezTo>
                <a:cubicBezTo>
                  <a:pt x="2152" y="823"/>
                  <a:pt x="2152" y="823"/>
                  <a:pt x="2152" y="823"/>
                </a:cubicBezTo>
                <a:cubicBezTo>
                  <a:pt x="2152" y="824"/>
                  <a:pt x="2152" y="824"/>
                  <a:pt x="2152" y="824"/>
                </a:cubicBezTo>
                <a:cubicBezTo>
                  <a:pt x="2153" y="824"/>
                  <a:pt x="2153" y="824"/>
                  <a:pt x="2153" y="824"/>
                </a:cubicBezTo>
                <a:cubicBezTo>
                  <a:pt x="2154" y="822"/>
                  <a:pt x="2154" y="822"/>
                  <a:pt x="2154" y="822"/>
                </a:cubicBezTo>
                <a:cubicBezTo>
                  <a:pt x="2155" y="823"/>
                  <a:pt x="2155" y="823"/>
                  <a:pt x="2155" y="823"/>
                </a:cubicBezTo>
                <a:cubicBezTo>
                  <a:pt x="2156" y="824"/>
                  <a:pt x="2156" y="824"/>
                  <a:pt x="2156" y="824"/>
                </a:cubicBezTo>
                <a:cubicBezTo>
                  <a:pt x="2157" y="824"/>
                  <a:pt x="2157" y="824"/>
                  <a:pt x="2157" y="824"/>
                </a:cubicBezTo>
                <a:cubicBezTo>
                  <a:pt x="2158" y="822"/>
                  <a:pt x="2158" y="822"/>
                  <a:pt x="2158" y="822"/>
                </a:cubicBezTo>
                <a:cubicBezTo>
                  <a:pt x="2159" y="822"/>
                  <a:pt x="2159" y="822"/>
                  <a:pt x="2159" y="822"/>
                </a:cubicBezTo>
                <a:cubicBezTo>
                  <a:pt x="2159" y="824"/>
                  <a:pt x="2159" y="824"/>
                  <a:pt x="2159" y="824"/>
                </a:cubicBezTo>
                <a:cubicBezTo>
                  <a:pt x="2162" y="824"/>
                  <a:pt x="2162" y="824"/>
                  <a:pt x="2162" y="824"/>
                </a:cubicBezTo>
                <a:cubicBezTo>
                  <a:pt x="2163" y="823"/>
                  <a:pt x="2163" y="823"/>
                  <a:pt x="2163" y="823"/>
                </a:cubicBezTo>
                <a:cubicBezTo>
                  <a:pt x="2164" y="823"/>
                  <a:pt x="2164" y="823"/>
                  <a:pt x="2164" y="823"/>
                </a:cubicBezTo>
                <a:cubicBezTo>
                  <a:pt x="2166" y="825"/>
                  <a:pt x="2166" y="825"/>
                  <a:pt x="2166" y="825"/>
                </a:cubicBezTo>
                <a:cubicBezTo>
                  <a:pt x="2167" y="825"/>
                  <a:pt x="2167" y="825"/>
                  <a:pt x="2167" y="825"/>
                </a:cubicBezTo>
                <a:close/>
                <a:moveTo>
                  <a:pt x="2148" y="807"/>
                </a:moveTo>
                <a:cubicBezTo>
                  <a:pt x="2148" y="807"/>
                  <a:pt x="2148" y="807"/>
                  <a:pt x="2148" y="806"/>
                </a:cubicBezTo>
                <a:cubicBezTo>
                  <a:pt x="2148" y="806"/>
                  <a:pt x="2148" y="806"/>
                  <a:pt x="2147" y="807"/>
                </a:cubicBezTo>
                <a:cubicBezTo>
                  <a:pt x="2147" y="807"/>
                  <a:pt x="2147" y="807"/>
                  <a:pt x="2148" y="807"/>
                </a:cubicBezTo>
                <a:close/>
                <a:moveTo>
                  <a:pt x="2157" y="825"/>
                </a:moveTo>
                <a:cubicBezTo>
                  <a:pt x="2157" y="825"/>
                  <a:pt x="2157" y="825"/>
                  <a:pt x="2157" y="824"/>
                </a:cubicBezTo>
                <a:cubicBezTo>
                  <a:pt x="2157" y="824"/>
                  <a:pt x="2157" y="824"/>
                  <a:pt x="2156" y="825"/>
                </a:cubicBezTo>
                <a:cubicBezTo>
                  <a:pt x="2156" y="825"/>
                  <a:pt x="2156" y="825"/>
                  <a:pt x="2157" y="825"/>
                </a:cubicBezTo>
                <a:close/>
                <a:moveTo>
                  <a:pt x="2146" y="773"/>
                </a:moveTo>
                <a:cubicBezTo>
                  <a:pt x="2146" y="772"/>
                  <a:pt x="2146" y="772"/>
                  <a:pt x="2146" y="772"/>
                </a:cubicBezTo>
                <a:cubicBezTo>
                  <a:pt x="2145" y="771"/>
                  <a:pt x="2145" y="771"/>
                  <a:pt x="2145" y="771"/>
                </a:cubicBezTo>
                <a:cubicBezTo>
                  <a:pt x="2144" y="772"/>
                  <a:pt x="2144" y="772"/>
                  <a:pt x="2144" y="772"/>
                </a:cubicBezTo>
                <a:cubicBezTo>
                  <a:pt x="2145" y="773"/>
                  <a:pt x="2145" y="773"/>
                  <a:pt x="2145" y="773"/>
                </a:cubicBezTo>
                <a:cubicBezTo>
                  <a:pt x="2145" y="774"/>
                  <a:pt x="2145" y="774"/>
                  <a:pt x="2145" y="774"/>
                </a:cubicBezTo>
                <a:cubicBezTo>
                  <a:pt x="2146" y="773"/>
                  <a:pt x="2146" y="773"/>
                  <a:pt x="2146" y="773"/>
                </a:cubicBezTo>
                <a:close/>
                <a:moveTo>
                  <a:pt x="2111" y="870"/>
                </a:moveTo>
                <a:cubicBezTo>
                  <a:pt x="2111" y="870"/>
                  <a:pt x="2111" y="870"/>
                  <a:pt x="2111" y="871"/>
                </a:cubicBezTo>
                <a:cubicBezTo>
                  <a:pt x="2111" y="871"/>
                  <a:pt x="2111" y="871"/>
                  <a:pt x="2112" y="871"/>
                </a:cubicBezTo>
                <a:cubicBezTo>
                  <a:pt x="2112" y="871"/>
                  <a:pt x="2112" y="871"/>
                  <a:pt x="2113" y="871"/>
                </a:cubicBezTo>
                <a:cubicBezTo>
                  <a:pt x="2113" y="871"/>
                  <a:pt x="2113" y="871"/>
                  <a:pt x="2112" y="870"/>
                </a:cubicBezTo>
                <a:cubicBezTo>
                  <a:pt x="2112" y="870"/>
                  <a:pt x="2112" y="870"/>
                  <a:pt x="2112" y="869"/>
                </a:cubicBezTo>
                <a:cubicBezTo>
                  <a:pt x="2112" y="869"/>
                  <a:pt x="2112" y="869"/>
                  <a:pt x="2111" y="870"/>
                </a:cubicBezTo>
                <a:close/>
                <a:moveTo>
                  <a:pt x="2120" y="857"/>
                </a:moveTo>
                <a:cubicBezTo>
                  <a:pt x="2119" y="857"/>
                  <a:pt x="2119" y="857"/>
                  <a:pt x="2119" y="857"/>
                </a:cubicBezTo>
                <a:cubicBezTo>
                  <a:pt x="2119" y="858"/>
                  <a:pt x="2119" y="858"/>
                  <a:pt x="2119" y="858"/>
                </a:cubicBezTo>
                <a:cubicBezTo>
                  <a:pt x="2120" y="857"/>
                  <a:pt x="2120" y="857"/>
                  <a:pt x="2120" y="857"/>
                </a:cubicBezTo>
                <a:close/>
                <a:moveTo>
                  <a:pt x="2115" y="858"/>
                </a:moveTo>
                <a:cubicBezTo>
                  <a:pt x="2115" y="858"/>
                  <a:pt x="2115" y="858"/>
                  <a:pt x="2116" y="858"/>
                </a:cubicBezTo>
                <a:cubicBezTo>
                  <a:pt x="2116" y="858"/>
                  <a:pt x="2116" y="858"/>
                  <a:pt x="2118" y="858"/>
                </a:cubicBezTo>
                <a:cubicBezTo>
                  <a:pt x="2118" y="858"/>
                  <a:pt x="2118" y="858"/>
                  <a:pt x="2119" y="857"/>
                </a:cubicBezTo>
                <a:cubicBezTo>
                  <a:pt x="2119" y="857"/>
                  <a:pt x="2119" y="857"/>
                  <a:pt x="2119" y="856"/>
                </a:cubicBezTo>
                <a:cubicBezTo>
                  <a:pt x="2119" y="856"/>
                  <a:pt x="2119" y="856"/>
                  <a:pt x="2120" y="855"/>
                </a:cubicBezTo>
                <a:cubicBezTo>
                  <a:pt x="2120" y="855"/>
                  <a:pt x="2120" y="855"/>
                  <a:pt x="2120" y="854"/>
                </a:cubicBezTo>
                <a:cubicBezTo>
                  <a:pt x="2120" y="854"/>
                  <a:pt x="2120" y="854"/>
                  <a:pt x="2119" y="853"/>
                </a:cubicBezTo>
                <a:cubicBezTo>
                  <a:pt x="2119" y="853"/>
                  <a:pt x="2119" y="853"/>
                  <a:pt x="2118" y="854"/>
                </a:cubicBezTo>
                <a:cubicBezTo>
                  <a:pt x="2118" y="854"/>
                  <a:pt x="2118" y="854"/>
                  <a:pt x="2117" y="856"/>
                </a:cubicBezTo>
                <a:cubicBezTo>
                  <a:pt x="2117" y="856"/>
                  <a:pt x="2117" y="856"/>
                  <a:pt x="2116" y="856"/>
                </a:cubicBezTo>
                <a:cubicBezTo>
                  <a:pt x="2116" y="856"/>
                  <a:pt x="2116" y="856"/>
                  <a:pt x="2115" y="857"/>
                </a:cubicBezTo>
                <a:cubicBezTo>
                  <a:pt x="2115" y="857"/>
                  <a:pt x="2115" y="857"/>
                  <a:pt x="2114" y="857"/>
                </a:cubicBezTo>
                <a:cubicBezTo>
                  <a:pt x="2114" y="857"/>
                  <a:pt x="2114" y="857"/>
                  <a:pt x="2113" y="856"/>
                </a:cubicBezTo>
                <a:cubicBezTo>
                  <a:pt x="2113" y="856"/>
                  <a:pt x="2113" y="856"/>
                  <a:pt x="2111" y="856"/>
                </a:cubicBezTo>
                <a:cubicBezTo>
                  <a:pt x="2111" y="856"/>
                  <a:pt x="2111" y="856"/>
                  <a:pt x="2110" y="857"/>
                </a:cubicBezTo>
                <a:cubicBezTo>
                  <a:pt x="2110" y="857"/>
                  <a:pt x="2110" y="857"/>
                  <a:pt x="2108" y="856"/>
                </a:cubicBezTo>
                <a:cubicBezTo>
                  <a:pt x="2108" y="856"/>
                  <a:pt x="2108" y="856"/>
                  <a:pt x="2107" y="855"/>
                </a:cubicBezTo>
                <a:cubicBezTo>
                  <a:pt x="2107" y="855"/>
                  <a:pt x="2107" y="855"/>
                  <a:pt x="2106" y="855"/>
                </a:cubicBezTo>
                <a:cubicBezTo>
                  <a:pt x="2106" y="855"/>
                  <a:pt x="2106" y="855"/>
                  <a:pt x="2104" y="855"/>
                </a:cubicBezTo>
                <a:cubicBezTo>
                  <a:pt x="2104" y="855"/>
                  <a:pt x="2104" y="855"/>
                  <a:pt x="2101" y="855"/>
                </a:cubicBezTo>
                <a:cubicBezTo>
                  <a:pt x="2101" y="855"/>
                  <a:pt x="2101" y="855"/>
                  <a:pt x="2099" y="856"/>
                </a:cubicBezTo>
                <a:cubicBezTo>
                  <a:pt x="2099" y="857"/>
                  <a:pt x="2099" y="857"/>
                  <a:pt x="2099" y="857"/>
                </a:cubicBezTo>
                <a:cubicBezTo>
                  <a:pt x="2099" y="857"/>
                  <a:pt x="2099" y="857"/>
                  <a:pt x="2099" y="858"/>
                </a:cubicBezTo>
                <a:cubicBezTo>
                  <a:pt x="2099" y="859"/>
                  <a:pt x="2099" y="859"/>
                  <a:pt x="2099" y="859"/>
                </a:cubicBezTo>
                <a:cubicBezTo>
                  <a:pt x="2099" y="859"/>
                  <a:pt x="2099" y="859"/>
                  <a:pt x="2100" y="859"/>
                </a:cubicBezTo>
                <a:cubicBezTo>
                  <a:pt x="2100" y="859"/>
                  <a:pt x="2100" y="859"/>
                  <a:pt x="2101" y="859"/>
                </a:cubicBezTo>
                <a:cubicBezTo>
                  <a:pt x="2101" y="859"/>
                  <a:pt x="2101" y="859"/>
                  <a:pt x="2102" y="859"/>
                </a:cubicBezTo>
                <a:cubicBezTo>
                  <a:pt x="2102" y="859"/>
                  <a:pt x="2102" y="859"/>
                  <a:pt x="2103" y="859"/>
                </a:cubicBezTo>
                <a:cubicBezTo>
                  <a:pt x="2103" y="859"/>
                  <a:pt x="2103" y="859"/>
                  <a:pt x="2104" y="859"/>
                </a:cubicBezTo>
                <a:cubicBezTo>
                  <a:pt x="2104" y="859"/>
                  <a:pt x="2104" y="859"/>
                  <a:pt x="2105" y="860"/>
                </a:cubicBezTo>
                <a:cubicBezTo>
                  <a:pt x="2105" y="860"/>
                  <a:pt x="2105" y="860"/>
                  <a:pt x="2106" y="859"/>
                </a:cubicBezTo>
                <a:cubicBezTo>
                  <a:pt x="2106" y="859"/>
                  <a:pt x="2106" y="859"/>
                  <a:pt x="2107" y="859"/>
                </a:cubicBezTo>
                <a:cubicBezTo>
                  <a:pt x="2107" y="859"/>
                  <a:pt x="2107" y="859"/>
                  <a:pt x="2108" y="859"/>
                </a:cubicBezTo>
                <a:cubicBezTo>
                  <a:pt x="2108" y="859"/>
                  <a:pt x="2108" y="859"/>
                  <a:pt x="2109" y="859"/>
                </a:cubicBezTo>
                <a:cubicBezTo>
                  <a:pt x="2109" y="859"/>
                  <a:pt x="2109" y="859"/>
                  <a:pt x="2111" y="859"/>
                </a:cubicBezTo>
                <a:cubicBezTo>
                  <a:pt x="2111" y="859"/>
                  <a:pt x="2111" y="859"/>
                  <a:pt x="2113" y="858"/>
                </a:cubicBezTo>
                <a:cubicBezTo>
                  <a:pt x="2113" y="858"/>
                  <a:pt x="2113" y="858"/>
                  <a:pt x="2115" y="858"/>
                </a:cubicBezTo>
                <a:close/>
                <a:moveTo>
                  <a:pt x="2092" y="859"/>
                </a:moveTo>
                <a:cubicBezTo>
                  <a:pt x="2094" y="859"/>
                  <a:pt x="2094" y="859"/>
                  <a:pt x="2094" y="859"/>
                </a:cubicBezTo>
                <a:cubicBezTo>
                  <a:pt x="2093" y="858"/>
                  <a:pt x="2093" y="858"/>
                  <a:pt x="2093" y="858"/>
                </a:cubicBezTo>
                <a:cubicBezTo>
                  <a:pt x="2095" y="858"/>
                  <a:pt x="2095" y="858"/>
                  <a:pt x="2095" y="858"/>
                </a:cubicBezTo>
                <a:cubicBezTo>
                  <a:pt x="2094" y="857"/>
                  <a:pt x="2094" y="857"/>
                  <a:pt x="2094" y="857"/>
                </a:cubicBezTo>
                <a:cubicBezTo>
                  <a:pt x="2094" y="856"/>
                  <a:pt x="2094" y="856"/>
                  <a:pt x="2094" y="856"/>
                </a:cubicBezTo>
                <a:cubicBezTo>
                  <a:pt x="2093" y="855"/>
                  <a:pt x="2093" y="855"/>
                  <a:pt x="2093" y="855"/>
                </a:cubicBezTo>
                <a:cubicBezTo>
                  <a:pt x="2091" y="855"/>
                  <a:pt x="2091" y="855"/>
                  <a:pt x="2091" y="855"/>
                </a:cubicBezTo>
                <a:cubicBezTo>
                  <a:pt x="2090" y="855"/>
                  <a:pt x="2090" y="855"/>
                  <a:pt x="2090" y="855"/>
                </a:cubicBezTo>
                <a:cubicBezTo>
                  <a:pt x="2089" y="854"/>
                  <a:pt x="2089" y="854"/>
                  <a:pt x="2089" y="854"/>
                </a:cubicBezTo>
                <a:cubicBezTo>
                  <a:pt x="2088" y="854"/>
                  <a:pt x="2088" y="854"/>
                  <a:pt x="2088" y="854"/>
                </a:cubicBezTo>
                <a:cubicBezTo>
                  <a:pt x="2086" y="855"/>
                  <a:pt x="2086" y="855"/>
                  <a:pt x="2086" y="855"/>
                </a:cubicBezTo>
                <a:cubicBezTo>
                  <a:pt x="2086" y="856"/>
                  <a:pt x="2086" y="856"/>
                  <a:pt x="2086" y="856"/>
                </a:cubicBezTo>
                <a:cubicBezTo>
                  <a:pt x="2089" y="856"/>
                  <a:pt x="2089" y="856"/>
                  <a:pt x="2089" y="856"/>
                </a:cubicBezTo>
                <a:cubicBezTo>
                  <a:pt x="2090" y="857"/>
                  <a:pt x="2090" y="857"/>
                  <a:pt x="2090" y="857"/>
                </a:cubicBezTo>
                <a:cubicBezTo>
                  <a:pt x="2088" y="858"/>
                  <a:pt x="2088" y="858"/>
                  <a:pt x="2088" y="858"/>
                </a:cubicBezTo>
                <a:cubicBezTo>
                  <a:pt x="2087" y="858"/>
                  <a:pt x="2087" y="858"/>
                  <a:pt x="2087" y="858"/>
                </a:cubicBezTo>
                <a:cubicBezTo>
                  <a:pt x="2086" y="857"/>
                  <a:pt x="2086" y="857"/>
                  <a:pt x="2086" y="857"/>
                </a:cubicBezTo>
                <a:cubicBezTo>
                  <a:pt x="2085" y="856"/>
                  <a:pt x="2085" y="856"/>
                  <a:pt x="2085" y="856"/>
                </a:cubicBezTo>
                <a:cubicBezTo>
                  <a:pt x="2084" y="856"/>
                  <a:pt x="2084" y="856"/>
                  <a:pt x="2084" y="856"/>
                </a:cubicBezTo>
                <a:cubicBezTo>
                  <a:pt x="2083" y="856"/>
                  <a:pt x="2083" y="856"/>
                  <a:pt x="2083" y="856"/>
                </a:cubicBezTo>
                <a:cubicBezTo>
                  <a:pt x="2082" y="856"/>
                  <a:pt x="2082" y="856"/>
                  <a:pt x="2082" y="856"/>
                </a:cubicBezTo>
                <a:cubicBezTo>
                  <a:pt x="2081" y="857"/>
                  <a:pt x="2081" y="857"/>
                  <a:pt x="2081" y="857"/>
                </a:cubicBezTo>
                <a:cubicBezTo>
                  <a:pt x="2080" y="858"/>
                  <a:pt x="2080" y="858"/>
                  <a:pt x="2080" y="858"/>
                </a:cubicBezTo>
                <a:cubicBezTo>
                  <a:pt x="2080" y="859"/>
                  <a:pt x="2080" y="859"/>
                  <a:pt x="2080" y="859"/>
                </a:cubicBezTo>
                <a:cubicBezTo>
                  <a:pt x="2080" y="860"/>
                  <a:pt x="2080" y="860"/>
                  <a:pt x="2080" y="860"/>
                </a:cubicBezTo>
                <a:cubicBezTo>
                  <a:pt x="2081" y="861"/>
                  <a:pt x="2081" y="861"/>
                  <a:pt x="2081" y="861"/>
                </a:cubicBezTo>
                <a:cubicBezTo>
                  <a:pt x="2083" y="860"/>
                  <a:pt x="2083" y="860"/>
                  <a:pt x="2083" y="860"/>
                </a:cubicBezTo>
                <a:cubicBezTo>
                  <a:pt x="2084" y="861"/>
                  <a:pt x="2084" y="861"/>
                  <a:pt x="2084" y="861"/>
                </a:cubicBezTo>
                <a:cubicBezTo>
                  <a:pt x="2085" y="860"/>
                  <a:pt x="2085" y="860"/>
                  <a:pt x="2085" y="860"/>
                </a:cubicBezTo>
                <a:cubicBezTo>
                  <a:pt x="2086" y="859"/>
                  <a:pt x="2086" y="859"/>
                  <a:pt x="2086" y="859"/>
                </a:cubicBezTo>
                <a:cubicBezTo>
                  <a:pt x="2087" y="860"/>
                  <a:pt x="2087" y="860"/>
                  <a:pt x="2087" y="860"/>
                </a:cubicBezTo>
                <a:cubicBezTo>
                  <a:pt x="2088" y="859"/>
                  <a:pt x="2088" y="859"/>
                  <a:pt x="2088" y="859"/>
                </a:cubicBezTo>
                <a:cubicBezTo>
                  <a:pt x="2089" y="859"/>
                  <a:pt x="2089" y="859"/>
                  <a:pt x="2089" y="859"/>
                </a:cubicBezTo>
                <a:cubicBezTo>
                  <a:pt x="2091" y="858"/>
                  <a:pt x="2091" y="858"/>
                  <a:pt x="2091" y="858"/>
                </a:cubicBezTo>
                <a:cubicBezTo>
                  <a:pt x="2091" y="859"/>
                  <a:pt x="2091" y="859"/>
                  <a:pt x="2091" y="859"/>
                </a:cubicBezTo>
                <a:cubicBezTo>
                  <a:pt x="2092" y="859"/>
                  <a:pt x="2092" y="859"/>
                  <a:pt x="2092" y="859"/>
                </a:cubicBezTo>
                <a:close/>
                <a:moveTo>
                  <a:pt x="2146" y="855"/>
                </a:moveTo>
                <a:cubicBezTo>
                  <a:pt x="2146" y="855"/>
                  <a:pt x="2146" y="855"/>
                  <a:pt x="2147" y="854"/>
                </a:cubicBezTo>
                <a:cubicBezTo>
                  <a:pt x="2147" y="854"/>
                  <a:pt x="2147" y="854"/>
                  <a:pt x="2146" y="854"/>
                </a:cubicBezTo>
                <a:cubicBezTo>
                  <a:pt x="2146" y="854"/>
                  <a:pt x="2146" y="854"/>
                  <a:pt x="2146" y="855"/>
                </a:cubicBezTo>
                <a:close/>
                <a:moveTo>
                  <a:pt x="2148" y="804"/>
                </a:moveTo>
                <a:cubicBezTo>
                  <a:pt x="2147" y="804"/>
                  <a:pt x="2147" y="804"/>
                  <a:pt x="2147" y="804"/>
                </a:cubicBezTo>
                <a:cubicBezTo>
                  <a:pt x="2147" y="805"/>
                  <a:pt x="2147" y="805"/>
                  <a:pt x="2147" y="805"/>
                </a:cubicBezTo>
                <a:cubicBezTo>
                  <a:pt x="2148" y="805"/>
                  <a:pt x="2148" y="805"/>
                  <a:pt x="2148" y="805"/>
                </a:cubicBezTo>
                <a:cubicBezTo>
                  <a:pt x="2148" y="804"/>
                  <a:pt x="2148" y="804"/>
                  <a:pt x="2148" y="804"/>
                </a:cubicBezTo>
                <a:close/>
                <a:moveTo>
                  <a:pt x="2096" y="858"/>
                </a:moveTo>
                <a:cubicBezTo>
                  <a:pt x="2097" y="859"/>
                  <a:pt x="2097" y="859"/>
                  <a:pt x="2097" y="859"/>
                </a:cubicBezTo>
                <a:cubicBezTo>
                  <a:pt x="2097" y="857"/>
                  <a:pt x="2097" y="857"/>
                  <a:pt x="2097" y="857"/>
                </a:cubicBezTo>
                <a:cubicBezTo>
                  <a:pt x="2098" y="857"/>
                  <a:pt x="2098" y="857"/>
                  <a:pt x="2098" y="857"/>
                </a:cubicBezTo>
                <a:cubicBezTo>
                  <a:pt x="2097" y="856"/>
                  <a:pt x="2097" y="856"/>
                  <a:pt x="2097" y="856"/>
                </a:cubicBezTo>
                <a:cubicBezTo>
                  <a:pt x="2096" y="858"/>
                  <a:pt x="2096" y="858"/>
                  <a:pt x="2096" y="858"/>
                </a:cubicBezTo>
                <a:close/>
                <a:moveTo>
                  <a:pt x="2098" y="859"/>
                </a:moveTo>
                <a:cubicBezTo>
                  <a:pt x="2099" y="858"/>
                  <a:pt x="2099" y="858"/>
                  <a:pt x="2099" y="858"/>
                </a:cubicBezTo>
                <a:cubicBezTo>
                  <a:pt x="2098" y="857"/>
                  <a:pt x="2098" y="857"/>
                  <a:pt x="2098" y="857"/>
                </a:cubicBezTo>
                <a:cubicBezTo>
                  <a:pt x="2098" y="859"/>
                  <a:pt x="2098" y="859"/>
                  <a:pt x="2098" y="859"/>
                </a:cubicBezTo>
                <a:close/>
                <a:moveTo>
                  <a:pt x="2194" y="842"/>
                </a:moveTo>
                <a:cubicBezTo>
                  <a:pt x="2195" y="841"/>
                  <a:pt x="2195" y="841"/>
                  <a:pt x="2195" y="841"/>
                </a:cubicBezTo>
                <a:cubicBezTo>
                  <a:pt x="2195" y="840"/>
                  <a:pt x="2195" y="840"/>
                  <a:pt x="2195" y="840"/>
                </a:cubicBezTo>
                <a:cubicBezTo>
                  <a:pt x="2194" y="840"/>
                  <a:pt x="2194" y="840"/>
                  <a:pt x="2194" y="840"/>
                </a:cubicBezTo>
                <a:cubicBezTo>
                  <a:pt x="2193" y="840"/>
                  <a:pt x="2193" y="840"/>
                  <a:pt x="2193" y="840"/>
                </a:cubicBezTo>
                <a:cubicBezTo>
                  <a:pt x="2192" y="841"/>
                  <a:pt x="2192" y="841"/>
                  <a:pt x="2192" y="841"/>
                </a:cubicBezTo>
                <a:cubicBezTo>
                  <a:pt x="2194" y="842"/>
                  <a:pt x="2194" y="842"/>
                  <a:pt x="2194" y="842"/>
                </a:cubicBezTo>
                <a:close/>
                <a:moveTo>
                  <a:pt x="2072" y="846"/>
                </a:moveTo>
                <a:cubicBezTo>
                  <a:pt x="2071" y="846"/>
                  <a:pt x="2071" y="846"/>
                  <a:pt x="2071" y="846"/>
                </a:cubicBezTo>
                <a:cubicBezTo>
                  <a:pt x="2070" y="846"/>
                  <a:pt x="2070" y="846"/>
                  <a:pt x="2070" y="846"/>
                </a:cubicBezTo>
                <a:cubicBezTo>
                  <a:pt x="2071" y="847"/>
                  <a:pt x="2071" y="847"/>
                  <a:pt x="2071" y="847"/>
                </a:cubicBezTo>
                <a:cubicBezTo>
                  <a:pt x="2072" y="846"/>
                  <a:pt x="2072" y="846"/>
                  <a:pt x="2072" y="846"/>
                </a:cubicBezTo>
                <a:close/>
                <a:moveTo>
                  <a:pt x="2075" y="848"/>
                </a:moveTo>
                <a:cubicBezTo>
                  <a:pt x="2075" y="848"/>
                  <a:pt x="2075" y="848"/>
                  <a:pt x="2074" y="848"/>
                </a:cubicBezTo>
                <a:cubicBezTo>
                  <a:pt x="2074" y="848"/>
                  <a:pt x="2074" y="848"/>
                  <a:pt x="2074" y="849"/>
                </a:cubicBezTo>
                <a:cubicBezTo>
                  <a:pt x="2074" y="849"/>
                  <a:pt x="2074" y="849"/>
                  <a:pt x="2075" y="849"/>
                </a:cubicBezTo>
                <a:cubicBezTo>
                  <a:pt x="2075" y="849"/>
                  <a:pt x="2075" y="849"/>
                  <a:pt x="2075" y="848"/>
                </a:cubicBezTo>
                <a:close/>
                <a:moveTo>
                  <a:pt x="2138" y="779"/>
                </a:moveTo>
                <a:cubicBezTo>
                  <a:pt x="2138" y="779"/>
                  <a:pt x="2138" y="779"/>
                  <a:pt x="2138" y="778"/>
                </a:cubicBezTo>
                <a:cubicBezTo>
                  <a:pt x="2138" y="778"/>
                  <a:pt x="2138" y="778"/>
                  <a:pt x="2136" y="776"/>
                </a:cubicBezTo>
                <a:cubicBezTo>
                  <a:pt x="2136" y="776"/>
                  <a:pt x="2136" y="776"/>
                  <a:pt x="2136" y="777"/>
                </a:cubicBezTo>
                <a:cubicBezTo>
                  <a:pt x="2136" y="777"/>
                  <a:pt x="2136" y="777"/>
                  <a:pt x="2136" y="779"/>
                </a:cubicBezTo>
                <a:cubicBezTo>
                  <a:pt x="2136" y="779"/>
                  <a:pt x="2136" y="779"/>
                  <a:pt x="2138" y="780"/>
                </a:cubicBezTo>
                <a:cubicBezTo>
                  <a:pt x="2138" y="780"/>
                  <a:pt x="2138" y="780"/>
                  <a:pt x="2138" y="779"/>
                </a:cubicBezTo>
                <a:close/>
                <a:moveTo>
                  <a:pt x="2195" y="845"/>
                </a:moveTo>
                <a:cubicBezTo>
                  <a:pt x="2195" y="844"/>
                  <a:pt x="2195" y="844"/>
                  <a:pt x="2195" y="844"/>
                </a:cubicBezTo>
                <a:cubicBezTo>
                  <a:pt x="2194" y="845"/>
                  <a:pt x="2194" y="845"/>
                  <a:pt x="2194" y="845"/>
                </a:cubicBezTo>
                <a:cubicBezTo>
                  <a:pt x="2195" y="845"/>
                  <a:pt x="2195" y="845"/>
                  <a:pt x="2195" y="845"/>
                </a:cubicBezTo>
                <a:close/>
                <a:moveTo>
                  <a:pt x="2077" y="828"/>
                </a:moveTo>
                <a:cubicBezTo>
                  <a:pt x="2077" y="828"/>
                  <a:pt x="2077" y="828"/>
                  <a:pt x="2078" y="827"/>
                </a:cubicBezTo>
                <a:cubicBezTo>
                  <a:pt x="2078" y="827"/>
                  <a:pt x="2078" y="827"/>
                  <a:pt x="2078" y="826"/>
                </a:cubicBezTo>
                <a:cubicBezTo>
                  <a:pt x="2078" y="826"/>
                  <a:pt x="2078" y="826"/>
                  <a:pt x="2079" y="826"/>
                </a:cubicBezTo>
                <a:cubicBezTo>
                  <a:pt x="2079" y="826"/>
                  <a:pt x="2079" y="826"/>
                  <a:pt x="2079" y="824"/>
                </a:cubicBezTo>
                <a:cubicBezTo>
                  <a:pt x="2079" y="824"/>
                  <a:pt x="2079" y="824"/>
                  <a:pt x="2078" y="824"/>
                </a:cubicBezTo>
                <a:cubicBezTo>
                  <a:pt x="2078" y="824"/>
                  <a:pt x="2078" y="824"/>
                  <a:pt x="2078" y="823"/>
                </a:cubicBezTo>
                <a:cubicBezTo>
                  <a:pt x="2078" y="823"/>
                  <a:pt x="2078" y="823"/>
                  <a:pt x="2077" y="824"/>
                </a:cubicBezTo>
                <a:cubicBezTo>
                  <a:pt x="2077" y="824"/>
                  <a:pt x="2077" y="824"/>
                  <a:pt x="2076" y="825"/>
                </a:cubicBezTo>
                <a:cubicBezTo>
                  <a:pt x="2076" y="825"/>
                  <a:pt x="2076" y="825"/>
                  <a:pt x="2076" y="827"/>
                </a:cubicBezTo>
                <a:cubicBezTo>
                  <a:pt x="2076" y="827"/>
                  <a:pt x="2076" y="827"/>
                  <a:pt x="2077" y="828"/>
                </a:cubicBezTo>
                <a:close/>
                <a:moveTo>
                  <a:pt x="2191" y="838"/>
                </a:moveTo>
                <a:cubicBezTo>
                  <a:pt x="2191" y="839"/>
                  <a:pt x="2191" y="839"/>
                  <a:pt x="2191" y="839"/>
                </a:cubicBezTo>
                <a:cubicBezTo>
                  <a:pt x="2192" y="839"/>
                  <a:pt x="2192" y="839"/>
                  <a:pt x="2192" y="839"/>
                </a:cubicBezTo>
                <a:cubicBezTo>
                  <a:pt x="2192" y="838"/>
                  <a:pt x="2192" y="838"/>
                  <a:pt x="2192" y="838"/>
                </a:cubicBezTo>
                <a:cubicBezTo>
                  <a:pt x="2191" y="838"/>
                  <a:pt x="2191" y="838"/>
                  <a:pt x="2191" y="838"/>
                </a:cubicBezTo>
                <a:close/>
                <a:moveTo>
                  <a:pt x="2073" y="846"/>
                </a:moveTo>
                <a:cubicBezTo>
                  <a:pt x="2072" y="846"/>
                  <a:pt x="2072" y="846"/>
                  <a:pt x="2072" y="846"/>
                </a:cubicBezTo>
                <a:cubicBezTo>
                  <a:pt x="2073" y="847"/>
                  <a:pt x="2073" y="847"/>
                  <a:pt x="2073" y="847"/>
                </a:cubicBezTo>
                <a:cubicBezTo>
                  <a:pt x="2073" y="846"/>
                  <a:pt x="2073" y="846"/>
                  <a:pt x="2073" y="846"/>
                </a:cubicBezTo>
                <a:close/>
                <a:moveTo>
                  <a:pt x="2061" y="847"/>
                </a:moveTo>
                <a:cubicBezTo>
                  <a:pt x="2060" y="846"/>
                  <a:pt x="2060" y="846"/>
                  <a:pt x="2060" y="846"/>
                </a:cubicBezTo>
                <a:cubicBezTo>
                  <a:pt x="2057" y="846"/>
                  <a:pt x="2057" y="846"/>
                  <a:pt x="2057" y="846"/>
                </a:cubicBezTo>
                <a:cubicBezTo>
                  <a:pt x="2056" y="846"/>
                  <a:pt x="2056" y="846"/>
                  <a:pt x="2056" y="846"/>
                </a:cubicBezTo>
                <a:cubicBezTo>
                  <a:pt x="2056" y="847"/>
                  <a:pt x="2056" y="847"/>
                  <a:pt x="2056" y="847"/>
                </a:cubicBezTo>
                <a:cubicBezTo>
                  <a:pt x="2057" y="848"/>
                  <a:pt x="2057" y="848"/>
                  <a:pt x="2057" y="848"/>
                </a:cubicBezTo>
                <a:cubicBezTo>
                  <a:pt x="2058" y="848"/>
                  <a:pt x="2058" y="848"/>
                  <a:pt x="2058" y="848"/>
                </a:cubicBezTo>
                <a:cubicBezTo>
                  <a:pt x="2059" y="848"/>
                  <a:pt x="2059" y="848"/>
                  <a:pt x="2059" y="848"/>
                </a:cubicBezTo>
                <a:cubicBezTo>
                  <a:pt x="2061" y="848"/>
                  <a:pt x="2061" y="848"/>
                  <a:pt x="2061" y="848"/>
                </a:cubicBezTo>
                <a:cubicBezTo>
                  <a:pt x="2062" y="848"/>
                  <a:pt x="2062" y="848"/>
                  <a:pt x="2062" y="848"/>
                </a:cubicBezTo>
                <a:cubicBezTo>
                  <a:pt x="2063" y="847"/>
                  <a:pt x="2063" y="847"/>
                  <a:pt x="2063" y="847"/>
                </a:cubicBezTo>
                <a:cubicBezTo>
                  <a:pt x="2064" y="847"/>
                  <a:pt x="2064" y="847"/>
                  <a:pt x="2064" y="847"/>
                </a:cubicBezTo>
                <a:cubicBezTo>
                  <a:pt x="2063" y="846"/>
                  <a:pt x="2063" y="846"/>
                  <a:pt x="2063" y="846"/>
                </a:cubicBezTo>
                <a:cubicBezTo>
                  <a:pt x="2061" y="847"/>
                  <a:pt x="2061" y="847"/>
                  <a:pt x="2061" y="847"/>
                </a:cubicBezTo>
                <a:close/>
                <a:moveTo>
                  <a:pt x="2138" y="852"/>
                </a:moveTo>
                <a:cubicBezTo>
                  <a:pt x="2138" y="853"/>
                  <a:pt x="2138" y="853"/>
                  <a:pt x="2138" y="853"/>
                </a:cubicBezTo>
                <a:cubicBezTo>
                  <a:pt x="2139" y="852"/>
                  <a:pt x="2139" y="852"/>
                  <a:pt x="2139" y="852"/>
                </a:cubicBezTo>
                <a:cubicBezTo>
                  <a:pt x="2141" y="852"/>
                  <a:pt x="2141" y="852"/>
                  <a:pt x="2141" y="852"/>
                </a:cubicBezTo>
                <a:cubicBezTo>
                  <a:pt x="2142" y="853"/>
                  <a:pt x="2142" y="853"/>
                  <a:pt x="2142" y="853"/>
                </a:cubicBezTo>
                <a:cubicBezTo>
                  <a:pt x="2142" y="852"/>
                  <a:pt x="2142" y="852"/>
                  <a:pt x="2142" y="852"/>
                </a:cubicBezTo>
                <a:cubicBezTo>
                  <a:pt x="2143" y="852"/>
                  <a:pt x="2143" y="852"/>
                  <a:pt x="2143" y="852"/>
                </a:cubicBezTo>
                <a:cubicBezTo>
                  <a:pt x="2144" y="851"/>
                  <a:pt x="2144" y="851"/>
                  <a:pt x="2144" y="851"/>
                </a:cubicBezTo>
                <a:cubicBezTo>
                  <a:pt x="2143" y="850"/>
                  <a:pt x="2143" y="850"/>
                  <a:pt x="2143" y="850"/>
                </a:cubicBezTo>
                <a:cubicBezTo>
                  <a:pt x="2142" y="851"/>
                  <a:pt x="2142" y="851"/>
                  <a:pt x="2142" y="851"/>
                </a:cubicBezTo>
                <a:cubicBezTo>
                  <a:pt x="2140" y="851"/>
                  <a:pt x="2140" y="851"/>
                  <a:pt x="2140" y="851"/>
                </a:cubicBezTo>
                <a:cubicBezTo>
                  <a:pt x="2139" y="850"/>
                  <a:pt x="2139" y="850"/>
                  <a:pt x="2139" y="850"/>
                </a:cubicBezTo>
                <a:cubicBezTo>
                  <a:pt x="2138" y="851"/>
                  <a:pt x="2138" y="851"/>
                  <a:pt x="2138" y="851"/>
                </a:cubicBezTo>
                <a:cubicBezTo>
                  <a:pt x="2138" y="852"/>
                  <a:pt x="2138" y="852"/>
                  <a:pt x="2138" y="852"/>
                </a:cubicBezTo>
                <a:close/>
                <a:moveTo>
                  <a:pt x="2073" y="858"/>
                </a:moveTo>
                <a:cubicBezTo>
                  <a:pt x="2073" y="858"/>
                  <a:pt x="2073" y="858"/>
                  <a:pt x="2073" y="857"/>
                </a:cubicBezTo>
                <a:cubicBezTo>
                  <a:pt x="2073" y="857"/>
                  <a:pt x="2073" y="857"/>
                  <a:pt x="2072" y="858"/>
                </a:cubicBezTo>
                <a:cubicBezTo>
                  <a:pt x="2072" y="858"/>
                  <a:pt x="2072" y="858"/>
                  <a:pt x="2073" y="858"/>
                </a:cubicBezTo>
                <a:close/>
                <a:moveTo>
                  <a:pt x="2194" y="844"/>
                </a:moveTo>
                <a:cubicBezTo>
                  <a:pt x="2194" y="843"/>
                  <a:pt x="2194" y="843"/>
                  <a:pt x="2194" y="843"/>
                </a:cubicBezTo>
                <a:cubicBezTo>
                  <a:pt x="2193" y="842"/>
                  <a:pt x="2193" y="842"/>
                  <a:pt x="2193" y="842"/>
                </a:cubicBezTo>
                <a:cubicBezTo>
                  <a:pt x="2193" y="843"/>
                  <a:pt x="2193" y="843"/>
                  <a:pt x="2193" y="843"/>
                </a:cubicBezTo>
                <a:cubicBezTo>
                  <a:pt x="2194" y="844"/>
                  <a:pt x="2194" y="844"/>
                  <a:pt x="2194" y="844"/>
                </a:cubicBezTo>
                <a:close/>
                <a:moveTo>
                  <a:pt x="2032" y="812"/>
                </a:moveTo>
                <a:cubicBezTo>
                  <a:pt x="2032" y="813"/>
                  <a:pt x="2032" y="813"/>
                  <a:pt x="2032" y="813"/>
                </a:cubicBezTo>
                <a:cubicBezTo>
                  <a:pt x="2033" y="813"/>
                  <a:pt x="2033" y="813"/>
                  <a:pt x="2033" y="813"/>
                </a:cubicBezTo>
                <a:cubicBezTo>
                  <a:pt x="2034" y="813"/>
                  <a:pt x="2034" y="813"/>
                  <a:pt x="2034" y="813"/>
                </a:cubicBezTo>
                <a:cubicBezTo>
                  <a:pt x="2033" y="812"/>
                  <a:pt x="2033" y="812"/>
                  <a:pt x="2033" y="812"/>
                </a:cubicBezTo>
                <a:cubicBezTo>
                  <a:pt x="2032" y="812"/>
                  <a:pt x="2032" y="812"/>
                  <a:pt x="2032" y="812"/>
                </a:cubicBezTo>
                <a:close/>
                <a:moveTo>
                  <a:pt x="2037" y="807"/>
                </a:moveTo>
                <a:cubicBezTo>
                  <a:pt x="2037" y="807"/>
                  <a:pt x="2037" y="807"/>
                  <a:pt x="2035" y="807"/>
                </a:cubicBezTo>
                <a:cubicBezTo>
                  <a:pt x="2035" y="807"/>
                  <a:pt x="2035" y="807"/>
                  <a:pt x="2036" y="808"/>
                </a:cubicBezTo>
                <a:cubicBezTo>
                  <a:pt x="2036" y="808"/>
                  <a:pt x="2036" y="808"/>
                  <a:pt x="2037" y="808"/>
                </a:cubicBezTo>
                <a:cubicBezTo>
                  <a:pt x="2037" y="808"/>
                  <a:pt x="2037" y="808"/>
                  <a:pt x="2037" y="807"/>
                </a:cubicBezTo>
                <a:close/>
                <a:moveTo>
                  <a:pt x="2038" y="811"/>
                </a:moveTo>
                <a:cubicBezTo>
                  <a:pt x="2038" y="811"/>
                  <a:pt x="2038" y="811"/>
                  <a:pt x="2039" y="809"/>
                </a:cubicBezTo>
                <a:cubicBezTo>
                  <a:pt x="2039" y="809"/>
                  <a:pt x="2039" y="809"/>
                  <a:pt x="2038" y="809"/>
                </a:cubicBezTo>
                <a:cubicBezTo>
                  <a:pt x="2038" y="809"/>
                  <a:pt x="2038" y="809"/>
                  <a:pt x="2037" y="809"/>
                </a:cubicBezTo>
                <a:cubicBezTo>
                  <a:pt x="2037" y="809"/>
                  <a:pt x="2037" y="809"/>
                  <a:pt x="2036" y="810"/>
                </a:cubicBezTo>
                <a:cubicBezTo>
                  <a:pt x="2036" y="810"/>
                  <a:pt x="2036" y="810"/>
                  <a:pt x="2037" y="811"/>
                </a:cubicBezTo>
                <a:cubicBezTo>
                  <a:pt x="2037" y="811"/>
                  <a:pt x="2037" y="811"/>
                  <a:pt x="2038" y="811"/>
                </a:cubicBezTo>
                <a:close/>
                <a:moveTo>
                  <a:pt x="2131" y="798"/>
                </a:moveTo>
                <a:cubicBezTo>
                  <a:pt x="2132" y="796"/>
                  <a:pt x="2132" y="796"/>
                  <a:pt x="2132" y="796"/>
                </a:cubicBezTo>
                <a:cubicBezTo>
                  <a:pt x="2133" y="796"/>
                  <a:pt x="2133" y="796"/>
                  <a:pt x="2133" y="796"/>
                </a:cubicBezTo>
                <a:cubicBezTo>
                  <a:pt x="2134" y="795"/>
                  <a:pt x="2134" y="795"/>
                  <a:pt x="2134" y="795"/>
                </a:cubicBezTo>
                <a:cubicBezTo>
                  <a:pt x="2134" y="794"/>
                  <a:pt x="2134" y="794"/>
                  <a:pt x="2134" y="794"/>
                </a:cubicBezTo>
                <a:cubicBezTo>
                  <a:pt x="2135" y="793"/>
                  <a:pt x="2135" y="793"/>
                  <a:pt x="2135" y="793"/>
                </a:cubicBezTo>
                <a:cubicBezTo>
                  <a:pt x="2136" y="793"/>
                  <a:pt x="2136" y="793"/>
                  <a:pt x="2136" y="793"/>
                </a:cubicBezTo>
                <a:cubicBezTo>
                  <a:pt x="2135" y="792"/>
                  <a:pt x="2135" y="792"/>
                  <a:pt x="2135" y="792"/>
                </a:cubicBezTo>
                <a:cubicBezTo>
                  <a:pt x="2135" y="791"/>
                  <a:pt x="2135" y="791"/>
                  <a:pt x="2135" y="791"/>
                </a:cubicBezTo>
                <a:cubicBezTo>
                  <a:pt x="2133" y="791"/>
                  <a:pt x="2133" y="791"/>
                  <a:pt x="2133" y="791"/>
                </a:cubicBezTo>
                <a:cubicBezTo>
                  <a:pt x="2132" y="791"/>
                  <a:pt x="2132" y="791"/>
                  <a:pt x="2132" y="791"/>
                </a:cubicBezTo>
                <a:cubicBezTo>
                  <a:pt x="2132" y="792"/>
                  <a:pt x="2132" y="792"/>
                  <a:pt x="2132" y="792"/>
                </a:cubicBezTo>
                <a:cubicBezTo>
                  <a:pt x="2131" y="793"/>
                  <a:pt x="2131" y="793"/>
                  <a:pt x="2131" y="793"/>
                </a:cubicBezTo>
                <a:cubicBezTo>
                  <a:pt x="2131" y="794"/>
                  <a:pt x="2131" y="794"/>
                  <a:pt x="2131" y="794"/>
                </a:cubicBezTo>
                <a:cubicBezTo>
                  <a:pt x="2129" y="795"/>
                  <a:pt x="2129" y="795"/>
                  <a:pt x="2129" y="795"/>
                </a:cubicBezTo>
                <a:cubicBezTo>
                  <a:pt x="2128" y="795"/>
                  <a:pt x="2128" y="795"/>
                  <a:pt x="2128" y="795"/>
                </a:cubicBezTo>
                <a:cubicBezTo>
                  <a:pt x="2128" y="796"/>
                  <a:pt x="2128" y="796"/>
                  <a:pt x="2128" y="796"/>
                </a:cubicBezTo>
                <a:cubicBezTo>
                  <a:pt x="2126" y="796"/>
                  <a:pt x="2126" y="796"/>
                  <a:pt x="2126" y="796"/>
                </a:cubicBezTo>
                <a:cubicBezTo>
                  <a:pt x="2123" y="796"/>
                  <a:pt x="2123" y="796"/>
                  <a:pt x="2123" y="796"/>
                </a:cubicBezTo>
                <a:cubicBezTo>
                  <a:pt x="2121" y="795"/>
                  <a:pt x="2121" y="795"/>
                  <a:pt x="2121" y="795"/>
                </a:cubicBezTo>
                <a:cubicBezTo>
                  <a:pt x="2120" y="796"/>
                  <a:pt x="2120" y="796"/>
                  <a:pt x="2120" y="796"/>
                </a:cubicBezTo>
                <a:cubicBezTo>
                  <a:pt x="2118" y="795"/>
                  <a:pt x="2118" y="795"/>
                  <a:pt x="2118" y="795"/>
                </a:cubicBezTo>
                <a:cubicBezTo>
                  <a:pt x="2117" y="795"/>
                  <a:pt x="2117" y="795"/>
                  <a:pt x="2117" y="795"/>
                </a:cubicBezTo>
                <a:cubicBezTo>
                  <a:pt x="2116" y="795"/>
                  <a:pt x="2116" y="795"/>
                  <a:pt x="2116" y="795"/>
                </a:cubicBezTo>
                <a:cubicBezTo>
                  <a:pt x="2115" y="795"/>
                  <a:pt x="2115" y="795"/>
                  <a:pt x="2115" y="795"/>
                </a:cubicBezTo>
                <a:cubicBezTo>
                  <a:pt x="2114" y="794"/>
                  <a:pt x="2114" y="794"/>
                  <a:pt x="2114" y="794"/>
                </a:cubicBezTo>
                <a:cubicBezTo>
                  <a:pt x="2113" y="795"/>
                  <a:pt x="2113" y="795"/>
                  <a:pt x="2113" y="795"/>
                </a:cubicBezTo>
                <a:cubicBezTo>
                  <a:pt x="2112" y="794"/>
                  <a:pt x="2112" y="794"/>
                  <a:pt x="2112" y="794"/>
                </a:cubicBezTo>
                <a:cubicBezTo>
                  <a:pt x="2111" y="793"/>
                  <a:pt x="2111" y="793"/>
                  <a:pt x="2111" y="793"/>
                </a:cubicBezTo>
                <a:cubicBezTo>
                  <a:pt x="2109" y="793"/>
                  <a:pt x="2109" y="793"/>
                  <a:pt x="2109" y="793"/>
                </a:cubicBezTo>
                <a:cubicBezTo>
                  <a:pt x="2108" y="793"/>
                  <a:pt x="2108" y="793"/>
                  <a:pt x="2108" y="793"/>
                </a:cubicBezTo>
                <a:cubicBezTo>
                  <a:pt x="2108" y="794"/>
                  <a:pt x="2108" y="794"/>
                  <a:pt x="2108" y="794"/>
                </a:cubicBezTo>
                <a:cubicBezTo>
                  <a:pt x="2107" y="795"/>
                  <a:pt x="2107" y="795"/>
                  <a:pt x="2107" y="795"/>
                </a:cubicBezTo>
                <a:cubicBezTo>
                  <a:pt x="2106" y="796"/>
                  <a:pt x="2106" y="796"/>
                  <a:pt x="2106" y="796"/>
                </a:cubicBezTo>
                <a:cubicBezTo>
                  <a:pt x="2105" y="797"/>
                  <a:pt x="2105" y="797"/>
                  <a:pt x="2105" y="797"/>
                </a:cubicBezTo>
                <a:cubicBezTo>
                  <a:pt x="2104" y="796"/>
                  <a:pt x="2104" y="796"/>
                  <a:pt x="2104" y="796"/>
                </a:cubicBezTo>
                <a:cubicBezTo>
                  <a:pt x="2102" y="797"/>
                  <a:pt x="2102" y="797"/>
                  <a:pt x="2102" y="797"/>
                </a:cubicBezTo>
                <a:cubicBezTo>
                  <a:pt x="2102" y="798"/>
                  <a:pt x="2102" y="798"/>
                  <a:pt x="2102" y="798"/>
                </a:cubicBezTo>
                <a:cubicBezTo>
                  <a:pt x="2100" y="799"/>
                  <a:pt x="2100" y="799"/>
                  <a:pt x="2100" y="799"/>
                </a:cubicBezTo>
                <a:cubicBezTo>
                  <a:pt x="2100" y="801"/>
                  <a:pt x="2100" y="801"/>
                  <a:pt x="2100" y="801"/>
                </a:cubicBezTo>
                <a:cubicBezTo>
                  <a:pt x="2100" y="802"/>
                  <a:pt x="2100" y="802"/>
                  <a:pt x="2100" y="802"/>
                </a:cubicBezTo>
                <a:cubicBezTo>
                  <a:pt x="2100" y="804"/>
                  <a:pt x="2100" y="804"/>
                  <a:pt x="2100" y="804"/>
                </a:cubicBezTo>
                <a:cubicBezTo>
                  <a:pt x="2100" y="805"/>
                  <a:pt x="2100" y="805"/>
                  <a:pt x="2100" y="805"/>
                </a:cubicBezTo>
                <a:cubicBezTo>
                  <a:pt x="2101" y="806"/>
                  <a:pt x="2101" y="806"/>
                  <a:pt x="2101" y="806"/>
                </a:cubicBezTo>
                <a:cubicBezTo>
                  <a:pt x="2101" y="808"/>
                  <a:pt x="2101" y="808"/>
                  <a:pt x="2101" y="808"/>
                </a:cubicBezTo>
                <a:cubicBezTo>
                  <a:pt x="2100" y="807"/>
                  <a:pt x="2100" y="807"/>
                  <a:pt x="2100" y="807"/>
                </a:cubicBezTo>
                <a:cubicBezTo>
                  <a:pt x="2100" y="806"/>
                  <a:pt x="2100" y="806"/>
                  <a:pt x="2100" y="806"/>
                </a:cubicBezTo>
                <a:cubicBezTo>
                  <a:pt x="2099" y="806"/>
                  <a:pt x="2099" y="806"/>
                  <a:pt x="2099" y="806"/>
                </a:cubicBezTo>
                <a:cubicBezTo>
                  <a:pt x="2098" y="807"/>
                  <a:pt x="2098" y="807"/>
                  <a:pt x="2098" y="807"/>
                </a:cubicBezTo>
                <a:cubicBezTo>
                  <a:pt x="2097" y="808"/>
                  <a:pt x="2097" y="808"/>
                  <a:pt x="2097" y="808"/>
                </a:cubicBezTo>
                <a:cubicBezTo>
                  <a:pt x="2097" y="809"/>
                  <a:pt x="2097" y="809"/>
                  <a:pt x="2097" y="809"/>
                </a:cubicBezTo>
                <a:cubicBezTo>
                  <a:pt x="2097" y="810"/>
                  <a:pt x="2097" y="810"/>
                  <a:pt x="2097" y="810"/>
                </a:cubicBezTo>
                <a:cubicBezTo>
                  <a:pt x="2097" y="811"/>
                  <a:pt x="2097" y="811"/>
                  <a:pt x="2097" y="811"/>
                </a:cubicBezTo>
                <a:cubicBezTo>
                  <a:pt x="2097" y="814"/>
                  <a:pt x="2097" y="814"/>
                  <a:pt x="2097" y="814"/>
                </a:cubicBezTo>
                <a:cubicBezTo>
                  <a:pt x="2097" y="815"/>
                  <a:pt x="2097" y="815"/>
                  <a:pt x="2097" y="815"/>
                </a:cubicBezTo>
                <a:cubicBezTo>
                  <a:pt x="2097" y="816"/>
                  <a:pt x="2097" y="816"/>
                  <a:pt x="2097" y="816"/>
                </a:cubicBezTo>
                <a:cubicBezTo>
                  <a:pt x="2096" y="816"/>
                  <a:pt x="2096" y="816"/>
                  <a:pt x="2096" y="816"/>
                </a:cubicBezTo>
                <a:cubicBezTo>
                  <a:pt x="2096" y="818"/>
                  <a:pt x="2096" y="818"/>
                  <a:pt x="2096" y="818"/>
                </a:cubicBezTo>
                <a:cubicBezTo>
                  <a:pt x="2094" y="819"/>
                  <a:pt x="2094" y="819"/>
                  <a:pt x="2094" y="819"/>
                </a:cubicBezTo>
                <a:cubicBezTo>
                  <a:pt x="2094" y="820"/>
                  <a:pt x="2094" y="820"/>
                  <a:pt x="2094" y="820"/>
                </a:cubicBezTo>
                <a:cubicBezTo>
                  <a:pt x="2094" y="821"/>
                  <a:pt x="2094" y="821"/>
                  <a:pt x="2094" y="821"/>
                </a:cubicBezTo>
                <a:cubicBezTo>
                  <a:pt x="2094" y="822"/>
                  <a:pt x="2094" y="822"/>
                  <a:pt x="2094" y="822"/>
                </a:cubicBezTo>
                <a:cubicBezTo>
                  <a:pt x="2094" y="824"/>
                  <a:pt x="2094" y="824"/>
                  <a:pt x="2094" y="824"/>
                </a:cubicBezTo>
                <a:cubicBezTo>
                  <a:pt x="2095" y="825"/>
                  <a:pt x="2095" y="825"/>
                  <a:pt x="2095" y="825"/>
                </a:cubicBezTo>
                <a:cubicBezTo>
                  <a:pt x="2096" y="824"/>
                  <a:pt x="2096" y="824"/>
                  <a:pt x="2096" y="824"/>
                </a:cubicBezTo>
                <a:cubicBezTo>
                  <a:pt x="2097" y="824"/>
                  <a:pt x="2097" y="824"/>
                  <a:pt x="2097" y="824"/>
                </a:cubicBezTo>
                <a:cubicBezTo>
                  <a:pt x="2098" y="824"/>
                  <a:pt x="2098" y="824"/>
                  <a:pt x="2098" y="824"/>
                </a:cubicBezTo>
                <a:cubicBezTo>
                  <a:pt x="2098" y="826"/>
                  <a:pt x="2098" y="826"/>
                  <a:pt x="2098" y="826"/>
                </a:cubicBezTo>
                <a:cubicBezTo>
                  <a:pt x="2099" y="829"/>
                  <a:pt x="2099" y="829"/>
                  <a:pt x="2099" y="829"/>
                </a:cubicBezTo>
                <a:cubicBezTo>
                  <a:pt x="2098" y="831"/>
                  <a:pt x="2098" y="831"/>
                  <a:pt x="2098" y="831"/>
                </a:cubicBezTo>
                <a:cubicBezTo>
                  <a:pt x="2098" y="832"/>
                  <a:pt x="2098" y="832"/>
                  <a:pt x="2098" y="832"/>
                </a:cubicBezTo>
                <a:cubicBezTo>
                  <a:pt x="2097" y="835"/>
                  <a:pt x="2097" y="835"/>
                  <a:pt x="2097" y="835"/>
                </a:cubicBezTo>
                <a:cubicBezTo>
                  <a:pt x="2098" y="837"/>
                  <a:pt x="2098" y="837"/>
                  <a:pt x="2098" y="837"/>
                </a:cubicBezTo>
                <a:cubicBezTo>
                  <a:pt x="2099" y="838"/>
                  <a:pt x="2099" y="838"/>
                  <a:pt x="2099" y="838"/>
                </a:cubicBezTo>
                <a:cubicBezTo>
                  <a:pt x="2100" y="838"/>
                  <a:pt x="2100" y="838"/>
                  <a:pt x="2100" y="838"/>
                </a:cubicBezTo>
                <a:cubicBezTo>
                  <a:pt x="2101" y="837"/>
                  <a:pt x="2101" y="837"/>
                  <a:pt x="2101" y="837"/>
                </a:cubicBezTo>
                <a:cubicBezTo>
                  <a:pt x="2102" y="837"/>
                  <a:pt x="2102" y="837"/>
                  <a:pt x="2102" y="837"/>
                </a:cubicBezTo>
                <a:cubicBezTo>
                  <a:pt x="2103" y="837"/>
                  <a:pt x="2103" y="837"/>
                  <a:pt x="2103" y="837"/>
                </a:cubicBezTo>
                <a:cubicBezTo>
                  <a:pt x="2104" y="838"/>
                  <a:pt x="2104" y="838"/>
                  <a:pt x="2104" y="838"/>
                </a:cubicBezTo>
                <a:cubicBezTo>
                  <a:pt x="2104" y="837"/>
                  <a:pt x="2104" y="837"/>
                  <a:pt x="2104" y="837"/>
                </a:cubicBezTo>
                <a:cubicBezTo>
                  <a:pt x="2104" y="836"/>
                  <a:pt x="2104" y="836"/>
                  <a:pt x="2104" y="836"/>
                </a:cubicBezTo>
                <a:cubicBezTo>
                  <a:pt x="2103" y="835"/>
                  <a:pt x="2103" y="835"/>
                  <a:pt x="2103" y="835"/>
                </a:cubicBezTo>
                <a:cubicBezTo>
                  <a:pt x="2103" y="833"/>
                  <a:pt x="2103" y="833"/>
                  <a:pt x="2103" y="833"/>
                </a:cubicBezTo>
                <a:cubicBezTo>
                  <a:pt x="2104" y="832"/>
                  <a:pt x="2104" y="832"/>
                  <a:pt x="2104" y="832"/>
                </a:cubicBezTo>
                <a:cubicBezTo>
                  <a:pt x="2104" y="830"/>
                  <a:pt x="2104" y="830"/>
                  <a:pt x="2104" y="830"/>
                </a:cubicBezTo>
                <a:cubicBezTo>
                  <a:pt x="2104" y="828"/>
                  <a:pt x="2104" y="828"/>
                  <a:pt x="2104" y="828"/>
                </a:cubicBezTo>
                <a:cubicBezTo>
                  <a:pt x="2103" y="828"/>
                  <a:pt x="2103" y="828"/>
                  <a:pt x="2103" y="828"/>
                </a:cubicBezTo>
                <a:cubicBezTo>
                  <a:pt x="2105" y="826"/>
                  <a:pt x="2105" y="826"/>
                  <a:pt x="2105" y="826"/>
                </a:cubicBezTo>
                <a:cubicBezTo>
                  <a:pt x="2105" y="824"/>
                  <a:pt x="2105" y="824"/>
                  <a:pt x="2105" y="824"/>
                </a:cubicBezTo>
                <a:cubicBezTo>
                  <a:pt x="2105" y="822"/>
                  <a:pt x="2105" y="822"/>
                  <a:pt x="2105" y="822"/>
                </a:cubicBezTo>
                <a:cubicBezTo>
                  <a:pt x="2104" y="821"/>
                  <a:pt x="2104" y="821"/>
                  <a:pt x="2104" y="821"/>
                </a:cubicBezTo>
                <a:cubicBezTo>
                  <a:pt x="2105" y="820"/>
                  <a:pt x="2105" y="820"/>
                  <a:pt x="2105" y="820"/>
                </a:cubicBezTo>
                <a:cubicBezTo>
                  <a:pt x="2106" y="819"/>
                  <a:pt x="2106" y="819"/>
                  <a:pt x="2106" y="819"/>
                </a:cubicBezTo>
                <a:cubicBezTo>
                  <a:pt x="2107" y="819"/>
                  <a:pt x="2107" y="819"/>
                  <a:pt x="2107" y="819"/>
                </a:cubicBezTo>
                <a:cubicBezTo>
                  <a:pt x="2108" y="819"/>
                  <a:pt x="2108" y="819"/>
                  <a:pt x="2108" y="819"/>
                </a:cubicBezTo>
                <a:cubicBezTo>
                  <a:pt x="2108" y="820"/>
                  <a:pt x="2108" y="820"/>
                  <a:pt x="2108" y="820"/>
                </a:cubicBezTo>
                <a:cubicBezTo>
                  <a:pt x="2109" y="821"/>
                  <a:pt x="2109" y="821"/>
                  <a:pt x="2109" y="821"/>
                </a:cubicBezTo>
                <a:cubicBezTo>
                  <a:pt x="2109" y="822"/>
                  <a:pt x="2109" y="822"/>
                  <a:pt x="2109" y="822"/>
                </a:cubicBezTo>
                <a:cubicBezTo>
                  <a:pt x="2108" y="823"/>
                  <a:pt x="2108" y="823"/>
                  <a:pt x="2108" y="823"/>
                </a:cubicBezTo>
                <a:cubicBezTo>
                  <a:pt x="2107" y="825"/>
                  <a:pt x="2107" y="825"/>
                  <a:pt x="2107" y="825"/>
                </a:cubicBezTo>
                <a:cubicBezTo>
                  <a:pt x="2108" y="826"/>
                  <a:pt x="2108" y="826"/>
                  <a:pt x="2108" y="826"/>
                </a:cubicBezTo>
                <a:cubicBezTo>
                  <a:pt x="2109" y="826"/>
                  <a:pt x="2109" y="826"/>
                  <a:pt x="2109" y="826"/>
                </a:cubicBezTo>
                <a:cubicBezTo>
                  <a:pt x="2110" y="827"/>
                  <a:pt x="2110" y="827"/>
                  <a:pt x="2110" y="827"/>
                </a:cubicBezTo>
                <a:cubicBezTo>
                  <a:pt x="2111" y="828"/>
                  <a:pt x="2111" y="828"/>
                  <a:pt x="2111" y="828"/>
                </a:cubicBezTo>
                <a:cubicBezTo>
                  <a:pt x="2111" y="829"/>
                  <a:pt x="2111" y="829"/>
                  <a:pt x="2111" y="829"/>
                </a:cubicBezTo>
                <a:cubicBezTo>
                  <a:pt x="2111" y="831"/>
                  <a:pt x="2111" y="831"/>
                  <a:pt x="2111" y="831"/>
                </a:cubicBezTo>
                <a:cubicBezTo>
                  <a:pt x="2111" y="832"/>
                  <a:pt x="2111" y="832"/>
                  <a:pt x="2111" y="832"/>
                </a:cubicBezTo>
                <a:cubicBezTo>
                  <a:pt x="2112" y="833"/>
                  <a:pt x="2112" y="833"/>
                  <a:pt x="2112" y="833"/>
                </a:cubicBezTo>
                <a:cubicBezTo>
                  <a:pt x="2113" y="833"/>
                  <a:pt x="2113" y="833"/>
                  <a:pt x="2113" y="833"/>
                </a:cubicBezTo>
                <a:cubicBezTo>
                  <a:pt x="2114" y="833"/>
                  <a:pt x="2114" y="833"/>
                  <a:pt x="2114" y="833"/>
                </a:cubicBezTo>
                <a:cubicBezTo>
                  <a:pt x="2115" y="833"/>
                  <a:pt x="2115" y="833"/>
                  <a:pt x="2115" y="833"/>
                </a:cubicBezTo>
                <a:cubicBezTo>
                  <a:pt x="2115" y="832"/>
                  <a:pt x="2115" y="832"/>
                  <a:pt x="2115" y="832"/>
                </a:cubicBezTo>
                <a:cubicBezTo>
                  <a:pt x="2116" y="831"/>
                  <a:pt x="2116" y="831"/>
                  <a:pt x="2116" y="831"/>
                </a:cubicBezTo>
                <a:cubicBezTo>
                  <a:pt x="2117" y="830"/>
                  <a:pt x="2117" y="830"/>
                  <a:pt x="2117" y="830"/>
                </a:cubicBezTo>
                <a:cubicBezTo>
                  <a:pt x="2118" y="829"/>
                  <a:pt x="2118" y="829"/>
                  <a:pt x="2118" y="829"/>
                </a:cubicBezTo>
                <a:cubicBezTo>
                  <a:pt x="2120" y="830"/>
                  <a:pt x="2120" y="830"/>
                  <a:pt x="2120" y="830"/>
                </a:cubicBezTo>
                <a:cubicBezTo>
                  <a:pt x="2121" y="829"/>
                  <a:pt x="2121" y="829"/>
                  <a:pt x="2121" y="829"/>
                </a:cubicBezTo>
                <a:cubicBezTo>
                  <a:pt x="2122" y="829"/>
                  <a:pt x="2122" y="829"/>
                  <a:pt x="2122" y="829"/>
                </a:cubicBezTo>
                <a:cubicBezTo>
                  <a:pt x="2123" y="828"/>
                  <a:pt x="2123" y="828"/>
                  <a:pt x="2123" y="828"/>
                </a:cubicBezTo>
                <a:cubicBezTo>
                  <a:pt x="2121" y="828"/>
                  <a:pt x="2121" y="828"/>
                  <a:pt x="2121" y="828"/>
                </a:cubicBezTo>
                <a:cubicBezTo>
                  <a:pt x="2120" y="828"/>
                  <a:pt x="2120" y="828"/>
                  <a:pt x="2120" y="828"/>
                </a:cubicBezTo>
                <a:cubicBezTo>
                  <a:pt x="2119" y="828"/>
                  <a:pt x="2119" y="828"/>
                  <a:pt x="2119" y="828"/>
                </a:cubicBezTo>
                <a:cubicBezTo>
                  <a:pt x="2119" y="827"/>
                  <a:pt x="2119" y="827"/>
                  <a:pt x="2119" y="827"/>
                </a:cubicBezTo>
                <a:cubicBezTo>
                  <a:pt x="2118" y="827"/>
                  <a:pt x="2118" y="827"/>
                  <a:pt x="2118" y="827"/>
                </a:cubicBezTo>
                <a:cubicBezTo>
                  <a:pt x="2118" y="826"/>
                  <a:pt x="2118" y="826"/>
                  <a:pt x="2118" y="826"/>
                </a:cubicBezTo>
                <a:cubicBezTo>
                  <a:pt x="2117" y="826"/>
                  <a:pt x="2117" y="826"/>
                  <a:pt x="2117" y="826"/>
                </a:cubicBezTo>
                <a:cubicBezTo>
                  <a:pt x="2116" y="825"/>
                  <a:pt x="2116" y="825"/>
                  <a:pt x="2116" y="825"/>
                </a:cubicBezTo>
                <a:cubicBezTo>
                  <a:pt x="2115" y="825"/>
                  <a:pt x="2115" y="825"/>
                  <a:pt x="2115" y="825"/>
                </a:cubicBezTo>
                <a:cubicBezTo>
                  <a:pt x="2116" y="824"/>
                  <a:pt x="2116" y="824"/>
                  <a:pt x="2116" y="824"/>
                </a:cubicBezTo>
                <a:cubicBezTo>
                  <a:pt x="2116" y="823"/>
                  <a:pt x="2116" y="823"/>
                  <a:pt x="2116" y="823"/>
                </a:cubicBezTo>
                <a:cubicBezTo>
                  <a:pt x="2117" y="823"/>
                  <a:pt x="2117" y="823"/>
                  <a:pt x="2117" y="823"/>
                </a:cubicBezTo>
                <a:cubicBezTo>
                  <a:pt x="2117" y="822"/>
                  <a:pt x="2117" y="822"/>
                  <a:pt x="2117" y="822"/>
                </a:cubicBezTo>
                <a:cubicBezTo>
                  <a:pt x="2117" y="821"/>
                  <a:pt x="2117" y="821"/>
                  <a:pt x="2117" y="821"/>
                </a:cubicBezTo>
                <a:cubicBezTo>
                  <a:pt x="2116" y="821"/>
                  <a:pt x="2116" y="821"/>
                  <a:pt x="2116" y="821"/>
                </a:cubicBezTo>
                <a:cubicBezTo>
                  <a:pt x="2116" y="820"/>
                  <a:pt x="2116" y="820"/>
                  <a:pt x="2116" y="820"/>
                </a:cubicBezTo>
                <a:cubicBezTo>
                  <a:pt x="2115" y="819"/>
                  <a:pt x="2115" y="819"/>
                  <a:pt x="2115" y="819"/>
                </a:cubicBezTo>
                <a:cubicBezTo>
                  <a:pt x="2114" y="819"/>
                  <a:pt x="2114" y="819"/>
                  <a:pt x="2114" y="819"/>
                </a:cubicBezTo>
                <a:cubicBezTo>
                  <a:pt x="2114" y="818"/>
                  <a:pt x="2114" y="818"/>
                  <a:pt x="2114" y="818"/>
                </a:cubicBezTo>
                <a:cubicBezTo>
                  <a:pt x="2112" y="816"/>
                  <a:pt x="2112" y="816"/>
                  <a:pt x="2112" y="816"/>
                </a:cubicBezTo>
                <a:cubicBezTo>
                  <a:pt x="2111" y="815"/>
                  <a:pt x="2111" y="815"/>
                  <a:pt x="2111" y="815"/>
                </a:cubicBezTo>
                <a:cubicBezTo>
                  <a:pt x="2111" y="814"/>
                  <a:pt x="2111" y="814"/>
                  <a:pt x="2111" y="814"/>
                </a:cubicBezTo>
                <a:cubicBezTo>
                  <a:pt x="2112" y="814"/>
                  <a:pt x="2112" y="814"/>
                  <a:pt x="2112" y="814"/>
                </a:cubicBezTo>
                <a:cubicBezTo>
                  <a:pt x="2113" y="814"/>
                  <a:pt x="2113" y="814"/>
                  <a:pt x="2113" y="814"/>
                </a:cubicBezTo>
                <a:cubicBezTo>
                  <a:pt x="2114" y="814"/>
                  <a:pt x="2114" y="814"/>
                  <a:pt x="2114" y="814"/>
                </a:cubicBezTo>
                <a:cubicBezTo>
                  <a:pt x="2114" y="813"/>
                  <a:pt x="2114" y="813"/>
                  <a:pt x="2114" y="813"/>
                </a:cubicBezTo>
                <a:cubicBezTo>
                  <a:pt x="2116" y="812"/>
                  <a:pt x="2116" y="812"/>
                  <a:pt x="2116" y="812"/>
                </a:cubicBezTo>
                <a:cubicBezTo>
                  <a:pt x="2118" y="810"/>
                  <a:pt x="2118" y="810"/>
                  <a:pt x="2118" y="810"/>
                </a:cubicBezTo>
                <a:cubicBezTo>
                  <a:pt x="2119" y="809"/>
                  <a:pt x="2119" y="809"/>
                  <a:pt x="2119" y="809"/>
                </a:cubicBezTo>
                <a:cubicBezTo>
                  <a:pt x="2120" y="808"/>
                  <a:pt x="2120" y="808"/>
                  <a:pt x="2120" y="808"/>
                </a:cubicBezTo>
                <a:cubicBezTo>
                  <a:pt x="2122" y="807"/>
                  <a:pt x="2122" y="807"/>
                  <a:pt x="2122" y="807"/>
                </a:cubicBezTo>
                <a:cubicBezTo>
                  <a:pt x="2123" y="808"/>
                  <a:pt x="2123" y="808"/>
                  <a:pt x="2123" y="808"/>
                </a:cubicBezTo>
                <a:cubicBezTo>
                  <a:pt x="2124" y="808"/>
                  <a:pt x="2124" y="808"/>
                  <a:pt x="2124" y="808"/>
                </a:cubicBezTo>
                <a:cubicBezTo>
                  <a:pt x="2125" y="806"/>
                  <a:pt x="2125" y="806"/>
                  <a:pt x="2125" y="806"/>
                </a:cubicBezTo>
                <a:cubicBezTo>
                  <a:pt x="2125" y="805"/>
                  <a:pt x="2125" y="805"/>
                  <a:pt x="2125" y="805"/>
                </a:cubicBezTo>
                <a:cubicBezTo>
                  <a:pt x="2123" y="805"/>
                  <a:pt x="2123" y="805"/>
                  <a:pt x="2123" y="805"/>
                </a:cubicBezTo>
                <a:cubicBezTo>
                  <a:pt x="2121" y="805"/>
                  <a:pt x="2121" y="805"/>
                  <a:pt x="2121" y="805"/>
                </a:cubicBezTo>
                <a:cubicBezTo>
                  <a:pt x="2119" y="806"/>
                  <a:pt x="2119" y="806"/>
                  <a:pt x="2119" y="806"/>
                </a:cubicBezTo>
                <a:cubicBezTo>
                  <a:pt x="2118" y="806"/>
                  <a:pt x="2118" y="806"/>
                  <a:pt x="2118" y="806"/>
                </a:cubicBezTo>
                <a:cubicBezTo>
                  <a:pt x="2117" y="806"/>
                  <a:pt x="2117" y="806"/>
                  <a:pt x="2117" y="806"/>
                </a:cubicBezTo>
                <a:cubicBezTo>
                  <a:pt x="2116" y="807"/>
                  <a:pt x="2116" y="807"/>
                  <a:pt x="2116" y="807"/>
                </a:cubicBezTo>
                <a:cubicBezTo>
                  <a:pt x="2114" y="807"/>
                  <a:pt x="2114" y="807"/>
                  <a:pt x="2114" y="807"/>
                </a:cubicBezTo>
                <a:cubicBezTo>
                  <a:pt x="2113" y="808"/>
                  <a:pt x="2113" y="808"/>
                  <a:pt x="2113" y="808"/>
                </a:cubicBezTo>
                <a:cubicBezTo>
                  <a:pt x="2112" y="807"/>
                  <a:pt x="2112" y="807"/>
                  <a:pt x="2112" y="807"/>
                </a:cubicBezTo>
                <a:cubicBezTo>
                  <a:pt x="2111" y="807"/>
                  <a:pt x="2111" y="807"/>
                  <a:pt x="2111" y="807"/>
                </a:cubicBezTo>
                <a:cubicBezTo>
                  <a:pt x="2110" y="808"/>
                  <a:pt x="2110" y="808"/>
                  <a:pt x="2110" y="808"/>
                </a:cubicBezTo>
                <a:cubicBezTo>
                  <a:pt x="2109" y="810"/>
                  <a:pt x="2109" y="810"/>
                  <a:pt x="2109" y="810"/>
                </a:cubicBezTo>
                <a:cubicBezTo>
                  <a:pt x="2108" y="811"/>
                  <a:pt x="2108" y="811"/>
                  <a:pt x="2108" y="811"/>
                </a:cubicBezTo>
                <a:cubicBezTo>
                  <a:pt x="2107" y="811"/>
                  <a:pt x="2107" y="811"/>
                  <a:pt x="2107" y="811"/>
                </a:cubicBezTo>
                <a:cubicBezTo>
                  <a:pt x="2106" y="810"/>
                  <a:pt x="2106" y="810"/>
                  <a:pt x="2106" y="810"/>
                </a:cubicBezTo>
                <a:cubicBezTo>
                  <a:pt x="2105" y="808"/>
                  <a:pt x="2105" y="808"/>
                  <a:pt x="2105" y="808"/>
                </a:cubicBezTo>
                <a:cubicBezTo>
                  <a:pt x="2103" y="807"/>
                  <a:pt x="2103" y="807"/>
                  <a:pt x="2103" y="807"/>
                </a:cubicBezTo>
                <a:cubicBezTo>
                  <a:pt x="2102" y="805"/>
                  <a:pt x="2102" y="805"/>
                  <a:pt x="2102" y="805"/>
                </a:cubicBezTo>
                <a:cubicBezTo>
                  <a:pt x="2102" y="802"/>
                  <a:pt x="2102" y="802"/>
                  <a:pt x="2102" y="802"/>
                </a:cubicBezTo>
                <a:cubicBezTo>
                  <a:pt x="2103" y="800"/>
                  <a:pt x="2103" y="800"/>
                  <a:pt x="2103" y="800"/>
                </a:cubicBezTo>
                <a:cubicBezTo>
                  <a:pt x="2104" y="799"/>
                  <a:pt x="2104" y="799"/>
                  <a:pt x="2104" y="799"/>
                </a:cubicBezTo>
                <a:cubicBezTo>
                  <a:pt x="2106" y="798"/>
                  <a:pt x="2106" y="798"/>
                  <a:pt x="2106" y="798"/>
                </a:cubicBezTo>
                <a:cubicBezTo>
                  <a:pt x="2108" y="799"/>
                  <a:pt x="2108" y="799"/>
                  <a:pt x="2108" y="799"/>
                </a:cubicBezTo>
                <a:cubicBezTo>
                  <a:pt x="2110" y="799"/>
                  <a:pt x="2110" y="799"/>
                  <a:pt x="2110" y="799"/>
                </a:cubicBezTo>
                <a:cubicBezTo>
                  <a:pt x="2112" y="798"/>
                  <a:pt x="2112" y="798"/>
                  <a:pt x="2112" y="798"/>
                </a:cubicBezTo>
                <a:cubicBezTo>
                  <a:pt x="2113" y="798"/>
                  <a:pt x="2113" y="798"/>
                  <a:pt x="2113" y="798"/>
                </a:cubicBezTo>
                <a:cubicBezTo>
                  <a:pt x="2114" y="799"/>
                  <a:pt x="2114" y="799"/>
                  <a:pt x="2114" y="799"/>
                </a:cubicBezTo>
                <a:cubicBezTo>
                  <a:pt x="2115" y="799"/>
                  <a:pt x="2115" y="799"/>
                  <a:pt x="2115" y="799"/>
                </a:cubicBezTo>
                <a:cubicBezTo>
                  <a:pt x="2116" y="799"/>
                  <a:pt x="2116" y="799"/>
                  <a:pt x="2116" y="799"/>
                </a:cubicBezTo>
                <a:cubicBezTo>
                  <a:pt x="2119" y="799"/>
                  <a:pt x="2119" y="799"/>
                  <a:pt x="2119" y="799"/>
                </a:cubicBezTo>
                <a:cubicBezTo>
                  <a:pt x="2120" y="799"/>
                  <a:pt x="2120" y="799"/>
                  <a:pt x="2120" y="799"/>
                </a:cubicBezTo>
                <a:cubicBezTo>
                  <a:pt x="2120" y="798"/>
                  <a:pt x="2120" y="798"/>
                  <a:pt x="2120" y="798"/>
                </a:cubicBezTo>
                <a:cubicBezTo>
                  <a:pt x="2122" y="798"/>
                  <a:pt x="2122" y="798"/>
                  <a:pt x="2122" y="798"/>
                </a:cubicBezTo>
                <a:cubicBezTo>
                  <a:pt x="2123" y="799"/>
                  <a:pt x="2123" y="799"/>
                  <a:pt x="2123" y="799"/>
                </a:cubicBezTo>
                <a:cubicBezTo>
                  <a:pt x="2123" y="800"/>
                  <a:pt x="2123" y="800"/>
                  <a:pt x="2123" y="800"/>
                </a:cubicBezTo>
                <a:cubicBezTo>
                  <a:pt x="2124" y="800"/>
                  <a:pt x="2124" y="800"/>
                  <a:pt x="2124" y="800"/>
                </a:cubicBezTo>
                <a:cubicBezTo>
                  <a:pt x="2129" y="799"/>
                  <a:pt x="2129" y="799"/>
                  <a:pt x="2129" y="799"/>
                </a:cubicBezTo>
                <a:cubicBezTo>
                  <a:pt x="2131" y="798"/>
                  <a:pt x="2131" y="798"/>
                  <a:pt x="2131" y="798"/>
                </a:cubicBezTo>
                <a:close/>
                <a:moveTo>
                  <a:pt x="2191" y="840"/>
                </a:moveTo>
                <a:cubicBezTo>
                  <a:pt x="2191" y="841"/>
                  <a:pt x="2191" y="841"/>
                  <a:pt x="2191" y="841"/>
                </a:cubicBezTo>
                <a:cubicBezTo>
                  <a:pt x="2192" y="842"/>
                  <a:pt x="2192" y="842"/>
                  <a:pt x="2192" y="842"/>
                </a:cubicBezTo>
                <a:cubicBezTo>
                  <a:pt x="2193" y="842"/>
                  <a:pt x="2193" y="842"/>
                  <a:pt x="2193" y="842"/>
                </a:cubicBezTo>
                <a:cubicBezTo>
                  <a:pt x="2192" y="841"/>
                  <a:pt x="2192" y="841"/>
                  <a:pt x="2192" y="841"/>
                </a:cubicBezTo>
                <a:cubicBezTo>
                  <a:pt x="2192" y="840"/>
                  <a:pt x="2192" y="840"/>
                  <a:pt x="2192" y="840"/>
                </a:cubicBezTo>
                <a:cubicBezTo>
                  <a:pt x="2191" y="840"/>
                  <a:pt x="2191" y="840"/>
                  <a:pt x="2191" y="840"/>
                </a:cubicBezTo>
                <a:close/>
                <a:moveTo>
                  <a:pt x="2183" y="839"/>
                </a:moveTo>
                <a:cubicBezTo>
                  <a:pt x="2183" y="840"/>
                  <a:pt x="2183" y="840"/>
                  <a:pt x="2183" y="840"/>
                </a:cubicBezTo>
                <a:cubicBezTo>
                  <a:pt x="2184" y="839"/>
                  <a:pt x="2184" y="839"/>
                  <a:pt x="2184" y="839"/>
                </a:cubicBezTo>
                <a:cubicBezTo>
                  <a:pt x="2184" y="837"/>
                  <a:pt x="2184" y="837"/>
                  <a:pt x="2184" y="837"/>
                </a:cubicBezTo>
                <a:cubicBezTo>
                  <a:pt x="2185" y="836"/>
                  <a:pt x="2185" y="836"/>
                  <a:pt x="2185" y="836"/>
                </a:cubicBezTo>
                <a:cubicBezTo>
                  <a:pt x="2184" y="836"/>
                  <a:pt x="2184" y="836"/>
                  <a:pt x="2184" y="836"/>
                </a:cubicBezTo>
                <a:cubicBezTo>
                  <a:pt x="2183" y="839"/>
                  <a:pt x="2183" y="839"/>
                  <a:pt x="2183" y="839"/>
                </a:cubicBezTo>
                <a:close/>
                <a:moveTo>
                  <a:pt x="2177" y="848"/>
                </a:moveTo>
                <a:cubicBezTo>
                  <a:pt x="2177" y="847"/>
                  <a:pt x="2177" y="847"/>
                  <a:pt x="2177" y="847"/>
                </a:cubicBezTo>
                <a:cubicBezTo>
                  <a:pt x="2176" y="847"/>
                  <a:pt x="2176" y="847"/>
                  <a:pt x="2176" y="847"/>
                </a:cubicBezTo>
                <a:cubicBezTo>
                  <a:pt x="2177" y="848"/>
                  <a:pt x="2177" y="848"/>
                  <a:pt x="2177" y="848"/>
                </a:cubicBezTo>
                <a:close/>
                <a:moveTo>
                  <a:pt x="2105" y="842"/>
                </a:moveTo>
                <a:cubicBezTo>
                  <a:pt x="2105" y="842"/>
                  <a:pt x="2105" y="842"/>
                  <a:pt x="2105" y="841"/>
                </a:cubicBezTo>
                <a:cubicBezTo>
                  <a:pt x="2105" y="841"/>
                  <a:pt x="2105" y="841"/>
                  <a:pt x="2104" y="839"/>
                </a:cubicBezTo>
                <a:cubicBezTo>
                  <a:pt x="2104" y="839"/>
                  <a:pt x="2104" y="839"/>
                  <a:pt x="2104" y="840"/>
                </a:cubicBezTo>
                <a:cubicBezTo>
                  <a:pt x="2104" y="840"/>
                  <a:pt x="2104" y="840"/>
                  <a:pt x="2104" y="841"/>
                </a:cubicBezTo>
                <a:cubicBezTo>
                  <a:pt x="2104" y="841"/>
                  <a:pt x="2104" y="841"/>
                  <a:pt x="2104" y="842"/>
                </a:cubicBezTo>
                <a:cubicBezTo>
                  <a:pt x="2104" y="842"/>
                  <a:pt x="2104" y="842"/>
                  <a:pt x="2105" y="843"/>
                </a:cubicBezTo>
                <a:cubicBezTo>
                  <a:pt x="2105" y="843"/>
                  <a:pt x="2105" y="843"/>
                  <a:pt x="2105" y="842"/>
                </a:cubicBezTo>
                <a:close/>
                <a:moveTo>
                  <a:pt x="2106" y="759"/>
                </a:moveTo>
                <a:cubicBezTo>
                  <a:pt x="2106" y="758"/>
                  <a:pt x="2106" y="758"/>
                  <a:pt x="2106" y="758"/>
                </a:cubicBezTo>
                <a:cubicBezTo>
                  <a:pt x="2105" y="759"/>
                  <a:pt x="2105" y="759"/>
                  <a:pt x="2105" y="759"/>
                </a:cubicBezTo>
                <a:cubicBezTo>
                  <a:pt x="2106" y="759"/>
                  <a:pt x="2106" y="759"/>
                  <a:pt x="2106" y="759"/>
                </a:cubicBezTo>
                <a:close/>
                <a:moveTo>
                  <a:pt x="2098" y="770"/>
                </a:moveTo>
                <a:cubicBezTo>
                  <a:pt x="2098" y="769"/>
                  <a:pt x="2098" y="769"/>
                  <a:pt x="2098" y="769"/>
                </a:cubicBezTo>
                <a:cubicBezTo>
                  <a:pt x="2097" y="770"/>
                  <a:pt x="2097" y="770"/>
                  <a:pt x="2097" y="770"/>
                </a:cubicBezTo>
                <a:cubicBezTo>
                  <a:pt x="2098" y="771"/>
                  <a:pt x="2098" y="771"/>
                  <a:pt x="2098" y="771"/>
                </a:cubicBezTo>
                <a:cubicBezTo>
                  <a:pt x="2098" y="770"/>
                  <a:pt x="2098" y="770"/>
                  <a:pt x="2098" y="770"/>
                </a:cubicBezTo>
                <a:close/>
                <a:moveTo>
                  <a:pt x="2191" y="842"/>
                </a:moveTo>
                <a:cubicBezTo>
                  <a:pt x="2191" y="843"/>
                  <a:pt x="2191" y="843"/>
                  <a:pt x="2191" y="843"/>
                </a:cubicBezTo>
                <a:cubicBezTo>
                  <a:pt x="2191" y="844"/>
                  <a:pt x="2191" y="844"/>
                  <a:pt x="2191" y="844"/>
                </a:cubicBezTo>
                <a:cubicBezTo>
                  <a:pt x="2191" y="845"/>
                  <a:pt x="2191" y="845"/>
                  <a:pt x="2191" y="845"/>
                </a:cubicBezTo>
                <a:cubicBezTo>
                  <a:pt x="2191" y="846"/>
                  <a:pt x="2191" y="846"/>
                  <a:pt x="2191" y="846"/>
                </a:cubicBezTo>
                <a:cubicBezTo>
                  <a:pt x="2192" y="846"/>
                  <a:pt x="2192" y="846"/>
                  <a:pt x="2192" y="846"/>
                </a:cubicBezTo>
                <a:cubicBezTo>
                  <a:pt x="2193" y="845"/>
                  <a:pt x="2193" y="845"/>
                  <a:pt x="2193" y="845"/>
                </a:cubicBezTo>
                <a:cubicBezTo>
                  <a:pt x="2193" y="844"/>
                  <a:pt x="2193" y="844"/>
                  <a:pt x="2193" y="844"/>
                </a:cubicBezTo>
                <a:cubicBezTo>
                  <a:pt x="2192" y="843"/>
                  <a:pt x="2192" y="843"/>
                  <a:pt x="2192" y="843"/>
                </a:cubicBezTo>
                <a:cubicBezTo>
                  <a:pt x="2191" y="842"/>
                  <a:pt x="2191" y="842"/>
                  <a:pt x="2191" y="842"/>
                </a:cubicBezTo>
                <a:close/>
                <a:moveTo>
                  <a:pt x="2107" y="761"/>
                </a:moveTo>
                <a:cubicBezTo>
                  <a:pt x="2107" y="762"/>
                  <a:pt x="2107" y="762"/>
                  <a:pt x="2107" y="762"/>
                </a:cubicBezTo>
                <a:cubicBezTo>
                  <a:pt x="2108" y="762"/>
                  <a:pt x="2108" y="762"/>
                  <a:pt x="2108" y="762"/>
                </a:cubicBezTo>
                <a:cubicBezTo>
                  <a:pt x="2109" y="762"/>
                  <a:pt x="2109" y="762"/>
                  <a:pt x="2109" y="762"/>
                </a:cubicBezTo>
                <a:cubicBezTo>
                  <a:pt x="2110" y="762"/>
                  <a:pt x="2110" y="762"/>
                  <a:pt x="2110" y="762"/>
                </a:cubicBezTo>
                <a:cubicBezTo>
                  <a:pt x="2110" y="761"/>
                  <a:pt x="2110" y="761"/>
                  <a:pt x="2110" y="761"/>
                </a:cubicBezTo>
                <a:cubicBezTo>
                  <a:pt x="2109" y="761"/>
                  <a:pt x="2109" y="761"/>
                  <a:pt x="2109" y="761"/>
                </a:cubicBezTo>
                <a:cubicBezTo>
                  <a:pt x="2107" y="761"/>
                  <a:pt x="2107" y="761"/>
                  <a:pt x="2107" y="761"/>
                </a:cubicBezTo>
                <a:close/>
                <a:moveTo>
                  <a:pt x="2123" y="855"/>
                </a:moveTo>
                <a:cubicBezTo>
                  <a:pt x="2123" y="855"/>
                  <a:pt x="2123" y="855"/>
                  <a:pt x="2123" y="856"/>
                </a:cubicBezTo>
                <a:cubicBezTo>
                  <a:pt x="2123" y="856"/>
                  <a:pt x="2123" y="856"/>
                  <a:pt x="2122" y="857"/>
                </a:cubicBezTo>
                <a:cubicBezTo>
                  <a:pt x="2122" y="857"/>
                  <a:pt x="2122" y="857"/>
                  <a:pt x="2122" y="858"/>
                </a:cubicBezTo>
                <a:cubicBezTo>
                  <a:pt x="2122" y="858"/>
                  <a:pt x="2122" y="858"/>
                  <a:pt x="2124" y="857"/>
                </a:cubicBezTo>
                <a:cubicBezTo>
                  <a:pt x="2124" y="857"/>
                  <a:pt x="2124" y="857"/>
                  <a:pt x="2125" y="855"/>
                </a:cubicBezTo>
                <a:cubicBezTo>
                  <a:pt x="2125" y="855"/>
                  <a:pt x="2125" y="855"/>
                  <a:pt x="2124" y="856"/>
                </a:cubicBezTo>
                <a:cubicBezTo>
                  <a:pt x="2124" y="856"/>
                  <a:pt x="2124" y="856"/>
                  <a:pt x="2123" y="855"/>
                </a:cubicBezTo>
                <a:close/>
                <a:moveTo>
                  <a:pt x="2125" y="810"/>
                </a:moveTo>
                <a:cubicBezTo>
                  <a:pt x="2125" y="810"/>
                  <a:pt x="2125" y="810"/>
                  <a:pt x="2124" y="810"/>
                </a:cubicBezTo>
                <a:cubicBezTo>
                  <a:pt x="2124" y="810"/>
                  <a:pt x="2124" y="810"/>
                  <a:pt x="2123" y="811"/>
                </a:cubicBezTo>
                <a:cubicBezTo>
                  <a:pt x="2123" y="811"/>
                  <a:pt x="2123" y="811"/>
                  <a:pt x="2124" y="812"/>
                </a:cubicBezTo>
                <a:cubicBezTo>
                  <a:pt x="2124" y="812"/>
                  <a:pt x="2124" y="812"/>
                  <a:pt x="2125" y="811"/>
                </a:cubicBezTo>
                <a:cubicBezTo>
                  <a:pt x="2125" y="811"/>
                  <a:pt x="2125" y="811"/>
                  <a:pt x="2125" y="810"/>
                </a:cubicBezTo>
                <a:close/>
                <a:moveTo>
                  <a:pt x="2177" y="847"/>
                </a:moveTo>
                <a:cubicBezTo>
                  <a:pt x="2178" y="846"/>
                  <a:pt x="2178" y="846"/>
                  <a:pt x="2178" y="846"/>
                </a:cubicBezTo>
                <a:cubicBezTo>
                  <a:pt x="2177" y="846"/>
                  <a:pt x="2177" y="846"/>
                  <a:pt x="2177" y="846"/>
                </a:cubicBezTo>
                <a:cubicBezTo>
                  <a:pt x="2177" y="847"/>
                  <a:pt x="2177" y="847"/>
                  <a:pt x="2177" y="847"/>
                </a:cubicBezTo>
                <a:close/>
                <a:moveTo>
                  <a:pt x="2123" y="809"/>
                </a:moveTo>
                <a:cubicBezTo>
                  <a:pt x="2123" y="809"/>
                  <a:pt x="2123" y="809"/>
                  <a:pt x="2121" y="809"/>
                </a:cubicBezTo>
                <a:cubicBezTo>
                  <a:pt x="2121" y="809"/>
                  <a:pt x="2121" y="809"/>
                  <a:pt x="2120" y="810"/>
                </a:cubicBezTo>
                <a:cubicBezTo>
                  <a:pt x="2120" y="810"/>
                  <a:pt x="2120" y="810"/>
                  <a:pt x="2120" y="811"/>
                </a:cubicBezTo>
                <a:cubicBezTo>
                  <a:pt x="2120" y="811"/>
                  <a:pt x="2120" y="811"/>
                  <a:pt x="2121" y="812"/>
                </a:cubicBezTo>
                <a:cubicBezTo>
                  <a:pt x="2121" y="812"/>
                  <a:pt x="2121" y="812"/>
                  <a:pt x="2122" y="811"/>
                </a:cubicBezTo>
                <a:cubicBezTo>
                  <a:pt x="2122" y="811"/>
                  <a:pt x="2122" y="811"/>
                  <a:pt x="2123" y="812"/>
                </a:cubicBezTo>
                <a:cubicBezTo>
                  <a:pt x="2123" y="812"/>
                  <a:pt x="2123" y="812"/>
                  <a:pt x="2123" y="811"/>
                </a:cubicBezTo>
                <a:cubicBezTo>
                  <a:pt x="2123" y="811"/>
                  <a:pt x="2123" y="811"/>
                  <a:pt x="2123" y="810"/>
                </a:cubicBezTo>
                <a:cubicBezTo>
                  <a:pt x="2123" y="810"/>
                  <a:pt x="2123" y="810"/>
                  <a:pt x="2123" y="809"/>
                </a:cubicBezTo>
                <a:close/>
                <a:moveTo>
                  <a:pt x="2116" y="836"/>
                </a:moveTo>
                <a:cubicBezTo>
                  <a:pt x="2117" y="836"/>
                  <a:pt x="2117" y="836"/>
                  <a:pt x="2117" y="836"/>
                </a:cubicBezTo>
                <a:cubicBezTo>
                  <a:pt x="2118" y="835"/>
                  <a:pt x="2118" y="835"/>
                  <a:pt x="2118" y="835"/>
                </a:cubicBezTo>
                <a:cubicBezTo>
                  <a:pt x="2118" y="834"/>
                  <a:pt x="2118" y="834"/>
                  <a:pt x="2118" y="834"/>
                </a:cubicBezTo>
                <a:cubicBezTo>
                  <a:pt x="2119" y="833"/>
                  <a:pt x="2119" y="833"/>
                  <a:pt x="2119" y="833"/>
                </a:cubicBezTo>
                <a:cubicBezTo>
                  <a:pt x="2118" y="832"/>
                  <a:pt x="2118" y="832"/>
                  <a:pt x="2118" y="832"/>
                </a:cubicBezTo>
                <a:cubicBezTo>
                  <a:pt x="2117" y="832"/>
                  <a:pt x="2117" y="832"/>
                  <a:pt x="2117" y="832"/>
                </a:cubicBezTo>
                <a:cubicBezTo>
                  <a:pt x="2116" y="833"/>
                  <a:pt x="2116" y="833"/>
                  <a:pt x="2116" y="833"/>
                </a:cubicBezTo>
                <a:cubicBezTo>
                  <a:pt x="2117" y="834"/>
                  <a:pt x="2117" y="834"/>
                  <a:pt x="2117" y="834"/>
                </a:cubicBezTo>
                <a:cubicBezTo>
                  <a:pt x="2116" y="835"/>
                  <a:pt x="2116" y="835"/>
                  <a:pt x="2116" y="835"/>
                </a:cubicBezTo>
                <a:lnTo>
                  <a:pt x="2116" y="836"/>
                </a:lnTo>
                <a:close/>
                <a:moveTo>
                  <a:pt x="2113" y="835"/>
                </a:moveTo>
                <a:cubicBezTo>
                  <a:pt x="2113" y="837"/>
                  <a:pt x="2113" y="837"/>
                  <a:pt x="2113" y="837"/>
                </a:cubicBezTo>
                <a:cubicBezTo>
                  <a:pt x="2114" y="837"/>
                  <a:pt x="2114" y="837"/>
                  <a:pt x="2114" y="837"/>
                </a:cubicBezTo>
                <a:cubicBezTo>
                  <a:pt x="2114" y="836"/>
                  <a:pt x="2114" y="836"/>
                  <a:pt x="2114" y="836"/>
                </a:cubicBezTo>
                <a:cubicBezTo>
                  <a:pt x="2114" y="835"/>
                  <a:pt x="2114" y="835"/>
                  <a:pt x="2114" y="835"/>
                </a:cubicBezTo>
                <a:cubicBezTo>
                  <a:pt x="2113" y="834"/>
                  <a:pt x="2113" y="834"/>
                  <a:pt x="2113" y="834"/>
                </a:cubicBezTo>
                <a:cubicBezTo>
                  <a:pt x="2113" y="835"/>
                  <a:pt x="2113" y="835"/>
                  <a:pt x="2113" y="835"/>
                </a:cubicBezTo>
                <a:close/>
                <a:moveTo>
                  <a:pt x="2105" y="848"/>
                </a:moveTo>
                <a:cubicBezTo>
                  <a:pt x="2106" y="848"/>
                  <a:pt x="2106" y="848"/>
                  <a:pt x="2106" y="848"/>
                </a:cubicBezTo>
                <a:cubicBezTo>
                  <a:pt x="2105" y="847"/>
                  <a:pt x="2105" y="847"/>
                  <a:pt x="2105" y="847"/>
                </a:cubicBezTo>
                <a:cubicBezTo>
                  <a:pt x="2104" y="848"/>
                  <a:pt x="2104" y="848"/>
                  <a:pt x="2104" y="848"/>
                </a:cubicBezTo>
                <a:cubicBezTo>
                  <a:pt x="2105" y="848"/>
                  <a:pt x="2105" y="848"/>
                  <a:pt x="2105" y="848"/>
                </a:cubicBezTo>
                <a:close/>
                <a:moveTo>
                  <a:pt x="2079" y="856"/>
                </a:moveTo>
                <a:cubicBezTo>
                  <a:pt x="2079" y="856"/>
                  <a:pt x="2079" y="856"/>
                  <a:pt x="2077" y="855"/>
                </a:cubicBezTo>
                <a:cubicBezTo>
                  <a:pt x="2077" y="855"/>
                  <a:pt x="2077" y="855"/>
                  <a:pt x="2076" y="856"/>
                </a:cubicBezTo>
                <a:cubicBezTo>
                  <a:pt x="2076" y="856"/>
                  <a:pt x="2076" y="856"/>
                  <a:pt x="2076" y="858"/>
                </a:cubicBezTo>
                <a:cubicBezTo>
                  <a:pt x="2076" y="858"/>
                  <a:pt x="2076" y="858"/>
                  <a:pt x="2075" y="858"/>
                </a:cubicBezTo>
                <a:cubicBezTo>
                  <a:pt x="2075" y="858"/>
                  <a:pt x="2075" y="858"/>
                  <a:pt x="2074" y="858"/>
                </a:cubicBezTo>
                <a:cubicBezTo>
                  <a:pt x="2074" y="858"/>
                  <a:pt x="2074" y="858"/>
                  <a:pt x="2075" y="859"/>
                </a:cubicBezTo>
                <a:cubicBezTo>
                  <a:pt x="2075" y="859"/>
                  <a:pt x="2075" y="859"/>
                  <a:pt x="2077" y="859"/>
                </a:cubicBezTo>
                <a:cubicBezTo>
                  <a:pt x="2077" y="859"/>
                  <a:pt x="2077" y="859"/>
                  <a:pt x="2078" y="859"/>
                </a:cubicBezTo>
                <a:cubicBezTo>
                  <a:pt x="2078" y="859"/>
                  <a:pt x="2078" y="859"/>
                  <a:pt x="2079" y="859"/>
                </a:cubicBezTo>
                <a:cubicBezTo>
                  <a:pt x="2079" y="859"/>
                  <a:pt x="2079" y="859"/>
                  <a:pt x="2078" y="858"/>
                </a:cubicBezTo>
                <a:cubicBezTo>
                  <a:pt x="2078" y="858"/>
                  <a:pt x="2078" y="858"/>
                  <a:pt x="2079" y="857"/>
                </a:cubicBezTo>
                <a:cubicBezTo>
                  <a:pt x="2079" y="857"/>
                  <a:pt x="2079" y="857"/>
                  <a:pt x="2079" y="856"/>
                </a:cubicBezTo>
                <a:close/>
                <a:moveTo>
                  <a:pt x="2077" y="822"/>
                </a:moveTo>
                <a:cubicBezTo>
                  <a:pt x="2077" y="822"/>
                  <a:pt x="2077" y="822"/>
                  <a:pt x="2077" y="821"/>
                </a:cubicBezTo>
                <a:cubicBezTo>
                  <a:pt x="2077" y="821"/>
                  <a:pt x="2077" y="821"/>
                  <a:pt x="2078" y="821"/>
                </a:cubicBezTo>
                <a:cubicBezTo>
                  <a:pt x="2078" y="821"/>
                  <a:pt x="2078" y="821"/>
                  <a:pt x="2079" y="819"/>
                </a:cubicBezTo>
                <a:cubicBezTo>
                  <a:pt x="2079" y="819"/>
                  <a:pt x="2079" y="819"/>
                  <a:pt x="2079" y="818"/>
                </a:cubicBezTo>
                <a:cubicBezTo>
                  <a:pt x="2079" y="818"/>
                  <a:pt x="2079" y="818"/>
                  <a:pt x="2080" y="817"/>
                </a:cubicBezTo>
                <a:cubicBezTo>
                  <a:pt x="2080" y="817"/>
                  <a:pt x="2080" y="817"/>
                  <a:pt x="2080" y="816"/>
                </a:cubicBezTo>
                <a:cubicBezTo>
                  <a:pt x="2080" y="816"/>
                  <a:pt x="2080" y="816"/>
                  <a:pt x="2079" y="816"/>
                </a:cubicBezTo>
                <a:cubicBezTo>
                  <a:pt x="2079" y="816"/>
                  <a:pt x="2079" y="816"/>
                  <a:pt x="2078" y="816"/>
                </a:cubicBezTo>
                <a:cubicBezTo>
                  <a:pt x="2078" y="816"/>
                  <a:pt x="2078" y="816"/>
                  <a:pt x="2079" y="815"/>
                </a:cubicBezTo>
                <a:cubicBezTo>
                  <a:pt x="2079" y="815"/>
                  <a:pt x="2079" y="815"/>
                  <a:pt x="2079" y="814"/>
                </a:cubicBezTo>
                <a:cubicBezTo>
                  <a:pt x="2079" y="814"/>
                  <a:pt x="2079" y="814"/>
                  <a:pt x="2078" y="814"/>
                </a:cubicBezTo>
                <a:cubicBezTo>
                  <a:pt x="2078" y="814"/>
                  <a:pt x="2078" y="814"/>
                  <a:pt x="2078" y="813"/>
                </a:cubicBezTo>
                <a:cubicBezTo>
                  <a:pt x="2078" y="813"/>
                  <a:pt x="2078" y="813"/>
                  <a:pt x="2079" y="813"/>
                </a:cubicBezTo>
                <a:cubicBezTo>
                  <a:pt x="2079" y="813"/>
                  <a:pt x="2079" y="813"/>
                  <a:pt x="2080" y="812"/>
                </a:cubicBezTo>
                <a:cubicBezTo>
                  <a:pt x="2080" y="812"/>
                  <a:pt x="2080" y="812"/>
                  <a:pt x="2080" y="811"/>
                </a:cubicBezTo>
                <a:cubicBezTo>
                  <a:pt x="2080" y="811"/>
                  <a:pt x="2080" y="811"/>
                  <a:pt x="2081" y="810"/>
                </a:cubicBezTo>
                <a:cubicBezTo>
                  <a:pt x="2081" y="810"/>
                  <a:pt x="2081" y="810"/>
                  <a:pt x="2081" y="809"/>
                </a:cubicBezTo>
                <a:cubicBezTo>
                  <a:pt x="2081" y="809"/>
                  <a:pt x="2081" y="809"/>
                  <a:pt x="2081" y="808"/>
                </a:cubicBezTo>
                <a:cubicBezTo>
                  <a:pt x="2081" y="808"/>
                  <a:pt x="2081" y="808"/>
                  <a:pt x="2082" y="808"/>
                </a:cubicBezTo>
                <a:cubicBezTo>
                  <a:pt x="2082" y="808"/>
                  <a:pt x="2082" y="808"/>
                  <a:pt x="2082" y="809"/>
                </a:cubicBezTo>
                <a:cubicBezTo>
                  <a:pt x="2082" y="809"/>
                  <a:pt x="2082" y="809"/>
                  <a:pt x="2083" y="808"/>
                </a:cubicBezTo>
                <a:cubicBezTo>
                  <a:pt x="2083" y="808"/>
                  <a:pt x="2083" y="808"/>
                  <a:pt x="2084" y="807"/>
                </a:cubicBezTo>
                <a:cubicBezTo>
                  <a:pt x="2084" y="807"/>
                  <a:pt x="2084" y="807"/>
                  <a:pt x="2083" y="806"/>
                </a:cubicBezTo>
                <a:cubicBezTo>
                  <a:pt x="2083" y="806"/>
                  <a:pt x="2083" y="806"/>
                  <a:pt x="2085" y="804"/>
                </a:cubicBezTo>
                <a:cubicBezTo>
                  <a:pt x="2085" y="804"/>
                  <a:pt x="2085" y="804"/>
                  <a:pt x="2085" y="802"/>
                </a:cubicBezTo>
                <a:cubicBezTo>
                  <a:pt x="2085" y="802"/>
                  <a:pt x="2085" y="802"/>
                  <a:pt x="2086" y="801"/>
                </a:cubicBezTo>
                <a:cubicBezTo>
                  <a:pt x="2086" y="801"/>
                  <a:pt x="2086" y="801"/>
                  <a:pt x="2086" y="799"/>
                </a:cubicBezTo>
                <a:cubicBezTo>
                  <a:pt x="2086" y="799"/>
                  <a:pt x="2086" y="799"/>
                  <a:pt x="2087" y="798"/>
                </a:cubicBezTo>
                <a:cubicBezTo>
                  <a:pt x="2087" y="798"/>
                  <a:pt x="2087" y="798"/>
                  <a:pt x="2087" y="797"/>
                </a:cubicBezTo>
                <a:cubicBezTo>
                  <a:pt x="2087" y="797"/>
                  <a:pt x="2087" y="797"/>
                  <a:pt x="2088" y="796"/>
                </a:cubicBezTo>
                <a:cubicBezTo>
                  <a:pt x="2088" y="796"/>
                  <a:pt x="2088" y="796"/>
                  <a:pt x="2089" y="797"/>
                </a:cubicBezTo>
                <a:cubicBezTo>
                  <a:pt x="2089" y="797"/>
                  <a:pt x="2089" y="797"/>
                  <a:pt x="2089" y="796"/>
                </a:cubicBezTo>
                <a:cubicBezTo>
                  <a:pt x="2089" y="796"/>
                  <a:pt x="2089" y="796"/>
                  <a:pt x="2089" y="794"/>
                </a:cubicBezTo>
                <a:cubicBezTo>
                  <a:pt x="2089" y="794"/>
                  <a:pt x="2089" y="794"/>
                  <a:pt x="2091" y="796"/>
                </a:cubicBezTo>
                <a:cubicBezTo>
                  <a:pt x="2091" y="796"/>
                  <a:pt x="2091" y="796"/>
                  <a:pt x="2092" y="797"/>
                </a:cubicBezTo>
                <a:cubicBezTo>
                  <a:pt x="2092" y="797"/>
                  <a:pt x="2092" y="797"/>
                  <a:pt x="2093" y="796"/>
                </a:cubicBezTo>
                <a:cubicBezTo>
                  <a:pt x="2093" y="796"/>
                  <a:pt x="2093" y="796"/>
                  <a:pt x="2094" y="796"/>
                </a:cubicBezTo>
                <a:cubicBezTo>
                  <a:pt x="2094" y="796"/>
                  <a:pt x="2094" y="796"/>
                  <a:pt x="2095" y="796"/>
                </a:cubicBezTo>
                <a:cubicBezTo>
                  <a:pt x="2095" y="796"/>
                  <a:pt x="2095" y="796"/>
                  <a:pt x="2095" y="795"/>
                </a:cubicBezTo>
                <a:cubicBezTo>
                  <a:pt x="2095" y="795"/>
                  <a:pt x="2095" y="795"/>
                  <a:pt x="2094" y="794"/>
                </a:cubicBezTo>
                <a:cubicBezTo>
                  <a:pt x="2094" y="794"/>
                  <a:pt x="2094" y="794"/>
                  <a:pt x="2093" y="793"/>
                </a:cubicBezTo>
                <a:cubicBezTo>
                  <a:pt x="2093" y="793"/>
                  <a:pt x="2093" y="793"/>
                  <a:pt x="2092" y="793"/>
                </a:cubicBezTo>
                <a:cubicBezTo>
                  <a:pt x="2092" y="793"/>
                  <a:pt x="2092" y="793"/>
                  <a:pt x="2089" y="790"/>
                </a:cubicBezTo>
                <a:cubicBezTo>
                  <a:pt x="2089" y="790"/>
                  <a:pt x="2089" y="790"/>
                  <a:pt x="2088" y="790"/>
                </a:cubicBezTo>
                <a:cubicBezTo>
                  <a:pt x="2088" y="790"/>
                  <a:pt x="2088" y="790"/>
                  <a:pt x="2088" y="788"/>
                </a:cubicBezTo>
                <a:cubicBezTo>
                  <a:pt x="2088" y="788"/>
                  <a:pt x="2088" y="788"/>
                  <a:pt x="2087" y="788"/>
                </a:cubicBezTo>
                <a:cubicBezTo>
                  <a:pt x="2087" y="788"/>
                  <a:pt x="2087" y="788"/>
                  <a:pt x="2087" y="787"/>
                </a:cubicBezTo>
                <a:cubicBezTo>
                  <a:pt x="2087" y="787"/>
                  <a:pt x="2087" y="787"/>
                  <a:pt x="2089" y="787"/>
                </a:cubicBezTo>
                <a:cubicBezTo>
                  <a:pt x="2089" y="787"/>
                  <a:pt x="2089" y="787"/>
                  <a:pt x="2090" y="786"/>
                </a:cubicBezTo>
                <a:cubicBezTo>
                  <a:pt x="2090" y="786"/>
                  <a:pt x="2090" y="786"/>
                  <a:pt x="2089" y="785"/>
                </a:cubicBezTo>
                <a:cubicBezTo>
                  <a:pt x="2089" y="785"/>
                  <a:pt x="2089" y="785"/>
                  <a:pt x="2087" y="783"/>
                </a:cubicBezTo>
                <a:cubicBezTo>
                  <a:pt x="2087" y="783"/>
                  <a:pt x="2087" y="783"/>
                  <a:pt x="2086" y="781"/>
                </a:cubicBezTo>
                <a:cubicBezTo>
                  <a:pt x="2086" y="781"/>
                  <a:pt x="2086" y="781"/>
                  <a:pt x="2085" y="780"/>
                </a:cubicBezTo>
                <a:cubicBezTo>
                  <a:pt x="2085" y="780"/>
                  <a:pt x="2085" y="780"/>
                  <a:pt x="2086" y="779"/>
                </a:cubicBezTo>
                <a:cubicBezTo>
                  <a:pt x="2086" y="779"/>
                  <a:pt x="2086" y="779"/>
                  <a:pt x="2086" y="778"/>
                </a:cubicBezTo>
                <a:cubicBezTo>
                  <a:pt x="2086" y="778"/>
                  <a:pt x="2086" y="778"/>
                  <a:pt x="2085" y="777"/>
                </a:cubicBezTo>
                <a:cubicBezTo>
                  <a:pt x="2085" y="777"/>
                  <a:pt x="2085" y="777"/>
                  <a:pt x="2086" y="777"/>
                </a:cubicBezTo>
                <a:cubicBezTo>
                  <a:pt x="2087" y="778"/>
                  <a:pt x="2087" y="778"/>
                  <a:pt x="2087" y="778"/>
                </a:cubicBezTo>
                <a:cubicBezTo>
                  <a:pt x="2088" y="777"/>
                  <a:pt x="2088" y="777"/>
                  <a:pt x="2088" y="777"/>
                </a:cubicBezTo>
                <a:cubicBezTo>
                  <a:pt x="2088" y="777"/>
                  <a:pt x="2088" y="777"/>
                  <a:pt x="2087" y="775"/>
                </a:cubicBezTo>
                <a:cubicBezTo>
                  <a:pt x="2087" y="775"/>
                  <a:pt x="2087" y="775"/>
                  <a:pt x="2085" y="775"/>
                </a:cubicBezTo>
                <a:cubicBezTo>
                  <a:pt x="2085" y="775"/>
                  <a:pt x="2085" y="775"/>
                  <a:pt x="2086" y="774"/>
                </a:cubicBezTo>
                <a:cubicBezTo>
                  <a:pt x="2086" y="774"/>
                  <a:pt x="2086" y="774"/>
                  <a:pt x="2086" y="773"/>
                </a:cubicBezTo>
                <a:cubicBezTo>
                  <a:pt x="2087" y="772"/>
                  <a:pt x="2087" y="772"/>
                  <a:pt x="2087" y="772"/>
                </a:cubicBezTo>
                <a:cubicBezTo>
                  <a:pt x="2088" y="773"/>
                  <a:pt x="2088" y="773"/>
                  <a:pt x="2088" y="773"/>
                </a:cubicBezTo>
                <a:cubicBezTo>
                  <a:pt x="2089" y="774"/>
                  <a:pt x="2089" y="774"/>
                  <a:pt x="2089" y="774"/>
                </a:cubicBezTo>
                <a:cubicBezTo>
                  <a:pt x="2090" y="773"/>
                  <a:pt x="2090" y="773"/>
                  <a:pt x="2090" y="773"/>
                </a:cubicBezTo>
                <a:cubicBezTo>
                  <a:pt x="2092" y="773"/>
                  <a:pt x="2092" y="773"/>
                  <a:pt x="2092" y="773"/>
                </a:cubicBezTo>
                <a:cubicBezTo>
                  <a:pt x="2092" y="772"/>
                  <a:pt x="2092" y="772"/>
                  <a:pt x="2092" y="772"/>
                </a:cubicBezTo>
                <a:cubicBezTo>
                  <a:pt x="2090" y="771"/>
                  <a:pt x="2090" y="771"/>
                  <a:pt x="2090" y="771"/>
                </a:cubicBezTo>
                <a:cubicBezTo>
                  <a:pt x="2090" y="769"/>
                  <a:pt x="2090" y="769"/>
                  <a:pt x="2090" y="769"/>
                </a:cubicBezTo>
                <a:cubicBezTo>
                  <a:pt x="2091" y="768"/>
                  <a:pt x="2091" y="768"/>
                  <a:pt x="2091" y="768"/>
                </a:cubicBezTo>
                <a:cubicBezTo>
                  <a:pt x="2094" y="769"/>
                  <a:pt x="2094" y="769"/>
                  <a:pt x="2094" y="769"/>
                </a:cubicBezTo>
                <a:cubicBezTo>
                  <a:pt x="2096" y="768"/>
                  <a:pt x="2096" y="768"/>
                  <a:pt x="2096" y="768"/>
                </a:cubicBezTo>
                <a:cubicBezTo>
                  <a:pt x="2097" y="767"/>
                  <a:pt x="2097" y="767"/>
                  <a:pt x="2097" y="767"/>
                </a:cubicBezTo>
                <a:cubicBezTo>
                  <a:pt x="2097" y="766"/>
                  <a:pt x="2097" y="766"/>
                  <a:pt x="2097" y="766"/>
                </a:cubicBezTo>
                <a:cubicBezTo>
                  <a:pt x="2096" y="766"/>
                  <a:pt x="2096" y="766"/>
                  <a:pt x="2096" y="766"/>
                </a:cubicBezTo>
                <a:cubicBezTo>
                  <a:pt x="2094" y="766"/>
                  <a:pt x="2094" y="766"/>
                  <a:pt x="2094" y="766"/>
                </a:cubicBezTo>
                <a:cubicBezTo>
                  <a:pt x="2093" y="765"/>
                  <a:pt x="2093" y="765"/>
                  <a:pt x="2093" y="765"/>
                </a:cubicBezTo>
                <a:cubicBezTo>
                  <a:pt x="2092" y="765"/>
                  <a:pt x="2092" y="765"/>
                  <a:pt x="2092" y="765"/>
                </a:cubicBezTo>
                <a:cubicBezTo>
                  <a:pt x="2091" y="763"/>
                  <a:pt x="2091" y="763"/>
                  <a:pt x="2091" y="763"/>
                </a:cubicBezTo>
                <a:cubicBezTo>
                  <a:pt x="2090" y="763"/>
                  <a:pt x="2090" y="763"/>
                  <a:pt x="2090" y="763"/>
                </a:cubicBezTo>
                <a:cubicBezTo>
                  <a:pt x="2089" y="764"/>
                  <a:pt x="2089" y="764"/>
                  <a:pt x="2089" y="764"/>
                </a:cubicBezTo>
                <a:cubicBezTo>
                  <a:pt x="2088" y="764"/>
                  <a:pt x="2088" y="764"/>
                  <a:pt x="2088" y="764"/>
                </a:cubicBezTo>
                <a:cubicBezTo>
                  <a:pt x="2090" y="763"/>
                  <a:pt x="2090" y="763"/>
                  <a:pt x="2090" y="763"/>
                </a:cubicBezTo>
                <a:cubicBezTo>
                  <a:pt x="2089" y="762"/>
                  <a:pt x="2089" y="762"/>
                  <a:pt x="2089" y="762"/>
                </a:cubicBezTo>
                <a:cubicBezTo>
                  <a:pt x="2088" y="762"/>
                  <a:pt x="2088" y="762"/>
                  <a:pt x="2088" y="762"/>
                </a:cubicBezTo>
                <a:cubicBezTo>
                  <a:pt x="2087" y="763"/>
                  <a:pt x="2087" y="763"/>
                  <a:pt x="2087" y="763"/>
                </a:cubicBezTo>
                <a:cubicBezTo>
                  <a:pt x="2086" y="762"/>
                  <a:pt x="2086" y="762"/>
                  <a:pt x="2086" y="762"/>
                </a:cubicBezTo>
                <a:cubicBezTo>
                  <a:pt x="2086" y="761"/>
                  <a:pt x="2086" y="761"/>
                  <a:pt x="2086" y="761"/>
                </a:cubicBezTo>
                <a:cubicBezTo>
                  <a:pt x="2088" y="760"/>
                  <a:pt x="2088" y="760"/>
                  <a:pt x="2088" y="760"/>
                </a:cubicBezTo>
                <a:cubicBezTo>
                  <a:pt x="2087" y="759"/>
                  <a:pt x="2087" y="759"/>
                  <a:pt x="2087" y="759"/>
                </a:cubicBezTo>
                <a:cubicBezTo>
                  <a:pt x="2086" y="758"/>
                  <a:pt x="2086" y="758"/>
                  <a:pt x="2086" y="758"/>
                </a:cubicBezTo>
                <a:cubicBezTo>
                  <a:pt x="2085" y="759"/>
                  <a:pt x="2085" y="759"/>
                  <a:pt x="2085" y="759"/>
                </a:cubicBezTo>
                <a:cubicBezTo>
                  <a:pt x="2084" y="758"/>
                  <a:pt x="2084" y="758"/>
                  <a:pt x="2084" y="758"/>
                </a:cubicBezTo>
                <a:cubicBezTo>
                  <a:pt x="2084" y="756"/>
                  <a:pt x="2084" y="756"/>
                  <a:pt x="2084" y="756"/>
                </a:cubicBezTo>
                <a:cubicBezTo>
                  <a:pt x="2083" y="755"/>
                  <a:pt x="2083" y="755"/>
                  <a:pt x="2083" y="755"/>
                </a:cubicBezTo>
                <a:cubicBezTo>
                  <a:pt x="2082" y="755"/>
                  <a:pt x="2082" y="755"/>
                  <a:pt x="2082" y="755"/>
                </a:cubicBezTo>
                <a:cubicBezTo>
                  <a:pt x="2083" y="757"/>
                  <a:pt x="2083" y="757"/>
                  <a:pt x="2083" y="757"/>
                </a:cubicBezTo>
                <a:cubicBezTo>
                  <a:pt x="2081" y="758"/>
                  <a:pt x="2081" y="758"/>
                  <a:pt x="2081" y="758"/>
                </a:cubicBezTo>
                <a:cubicBezTo>
                  <a:pt x="2081" y="757"/>
                  <a:pt x="2081" y="757"/>
                  <a:pt x="2081" y="757"/>
                </a:cubicBezTo>
                <a:cubicBezTo>
                  <a:pt x="2081" y="756"/>
                  <a:pt x="2081" y="756"/>
                  <a:pt x="2081" y="756"/>
                </a:cubicBezTo>
                <a:cubicBezTo>
                  <a:pt x="2080" y="756"/>
                  <a:pt x="2080" y="756"/>
                  <a:pt x="2080" y="756"/>
                </a:cubicBezTo>
                <a:cubicBezTo>
                  <a:pt x="2079" y="758"/>
                  <a:pt x="2079" y="758"/>
                  <a:pt x="2079" y="758"/>
                </a:cubicBezTo>
                <a:cubicBezTo>
                  <a:pt x="2078" y="759"/>
                  <a:pt x="2078" y="759"/>
                  <a:pt x="2078" y="759"/>
                </a:cubicBezTo>
                <a:cubicBezTo>
                  <a:pt x="2077" y="762"/>
                  <a:pt x="2077" y="762"/>
                  <a:pt x="2077" y="762"/>
                </a:cubicBezTo>
                <a:cubicBezTo>
                  <a:pt x="2077" y="763"/>
                  <a:pt x="2077" y="763"/>
                  <a:pt x="2077" y="763"/>
                </a:cubicBezTo>
                <a:cubicBezTo>
                  <a:pt x="2075" y="766"/>
                  <a:pt x="2075" y="766"/>
                  <a:pt x="2075" y="766"/>
                </a:cubicBezTo>
                <a:cubicBezTo>
                  <a:pt x="2074" y="766"/>
                  <a:pt x="2074" y="766"/>
                  <a:pt x="2074" y="766"/>
                </a:cubicBezTo>
                <a:cubicBezTo>
                  <a:pt x="2072" y="766"/>
                  <a:pt x="2072" y="766"/>
                  <a:pt x="2072" y="766"/>
                </a:cubicBezTo>
                <a:cubicBezTo>
                  <a:pt x="2071" y="767"/>
                  <a:pt x="2071" y="767"/>
                  <a:pt x="2071" y="767"/>
                </a:cubicBezTo>
                <a:cubicBezTo>
                  <a:pt x="2072" y="767"/>
                  <a:pt x="2072" y="767"/>
                  <a:pt x="2072" y="767"/>
                </a:cubicBezTo>
                <a:cubicBezTo>
                  <a:pt x="2071" y="768"/>
                  <a:pt x="2071" y="768"/>
                  <a:pt x="2071" y="768"/>
                </a:cubicBezTo>
                <a:cubicBezTo>
                  <a:pt x="2072" y="768"/>
                  <a:pt x="2072" y="768"/>
                  <a:pt x="2072" y="768"/>
                </a:cubicBezTo>
                <a:cubicBezTo>
                  <a:pt x="2073" y="768"/>
                  <a:pt x="2073" y="768"/>
                  <a:pt x="2073" y="768"/>
                </a:cubicBezTo>
                <a:cubicBezTo>
                  <a:pt x="2072" y="769"/>
                  <a:pt x="2072" y="769"/>
                  <a:pt x="2072" y="769"/>
                </a:cubicBezTo>
                <a:cubicBezTo>
                  <a:pt x="2071" y="770"/>
                  <a:pt x="2071" y="770"/>
                  <a:pt x="2071" y="770"/>
                </a:cubicBezTo>
                <a:cubicBezTo>
                  <a:pt x="2071" y="769"/>
                  <a:pt x="2071" y="769"/>
                  <a:pt x="2071" y="769"/>
                </a:cubicBezTo>
                <a:cubicBezTo>
                  <a:pt x="2070" y="768"/>
                  <a:pt x="2070" y="768"/>
                  <a:pt x="2070" y="768"/>
                </a:cubicBezTo>
                <a:cubicBezTo>
                  <a:pt x="2069" y="768"/>
                  <a:pt x="2069" y="768"/>
                  <a:pt x="2069" y="768"/>
                </a:cubicBezTo>
                <a:cubicBezTo>
                  <a:pt x="2068" y="769"/>
                  <a:pt x="2068" y="769"/>
                  <a:pt x="2068" y="769"/>
                </a:cubicBezTo>
                <a:cubicBezTo>
                  <a:pt x="2065" y="770"/>
                  <a:pt x="2065" y="770"/>
                  <a:pt x="2065" y="770"/>
                </a:cubicBezTo>
                <a:cubicBezTo>
                  <a:pt x="2064" y="772"/>
                  <a:pt x="2064" y="772"/>
                  <a:pt x="2064" y="772"/>
                </a:cubicBezTo>
                <a:cubicBezTo>
                  <a:pt x="2064" y="773"/>
                  <a:pt x="2064" y="773"/>
                  <a:pt x="2064" y="773"/>
                </a:cubicBezTo>
                <a:cubicBezTo>
                  <a:pt x="2063" y="774"/>
                  <a:pt x="2063" y="774"/>
                  <a:pt x="2063" y="774"/>
                </a:cubicBezTo>
                <a:cubicBezTo>
                  <a:pt x="2062" y="776"/>
                  <a:pt x="2062" y="776"/>
                  <a:pt x="2062" y="776"/>
                </a:cubicBezTo>
                <a:cubicBezTo>
                  <a:pt x="2060" y="777"/>
                  <a:pt x="2060" y="777"/>
                  <a:pt x="2060" y="777"/>
                </a:cubicBezTo>
                <a:cubicBezTo>
                  <a:pt x="2060" y="779"/>
                  <a:pt x="2060" y="779"/>
                  <a:pt x="2060" y="779"/>
                </a:cubicBezTo>
                <a:cubicBezTo>
                  <a:pt x="2058" y="780"/>
                  <a:pt x="2058" y="780"/>
                  <a:pt x="2058" y="780"/>
                </a:cubicBezTo>
                <a:cubicBezTo>
                  <a:pt x="2057" y="782"/>
                  <a:pt x="2057" y="782"/>
                  <a:pt x="2057" y="782"/>
                </a:cubicBezTo>
                <a:cubicBezTo>
                  <a:pt x="2052" y="783"/>
                  <a:pt x="2052" y="783"/>
                  <a:pt x="2052" y="783"/>
                </a:cubicBezTo>
                <a:cubicBezTo>
                  <a:pt x="2051" y="783"/>
                  <a:pt x="2051" y="783"/>
                  <a:pt x="2051" y="783"/>
                </a:cubicBezTo>
                <a:cubicBezTo>
                  <a:pt x="2050" y="784"/>
                  <a:pt x="2050" y="784"/>
                  <a:pt x="2050" y="784"/>
                </a:cubicBezTo>
                <a:cubicBezTo>
                  <a:pt x="2049" y="784"/>
                  <a:pt x="2049" y="784"/>
                  <a:pt x="2049" y="784"/>
                </a:cubicBezTo>
                <a:cubicBezTo>
                  <a:pt x="2050" y="785"/>
                  <a:pt x="2050" y="785"/>
                  <a:pt x="2050" y="785"/>
                </a:cubicBezTo>
                <a:cubicBezTo>
                  <a:pt x="2051" y="785"/>
                  <a:pt x="2051" y="785"/>
                  <a:pt x="2051" y="785"/>
                </a:cubicBezTo>
                <a:cubicBezTo>
                  <a:pt x="2050" y="786"/>
                  <a:pt x="2050" y="786"/>
                  <a:pt x="2050" y="786"/>
                </a:cubicBezTo>
                <a:cubicBezTo>
                  <a:pt x="2049" y="786"/>
                  <a:pt x="2049" y="786"/>
                  <a:pt x="2049" y="786"/>
                </a:cubicBezTo>
                <a:cubicBezTo>
                  <a:pt x="2048" y="787"/>
                  <a:pt x="2048" y="787"/>
                  <a:pt x="2048" y="787"/>
                </a:cubicBezTo>
                <a:cubicBezTo>
                  <a:pt x="2048" y="788"/>
                  <a:pt x="2048" y="788"/>
                  <a:pt x="2048" y="788"/>
                </a:cubicBezTo>
                <a:cubicBezTo>
                  <a:pt x="2048" y="790"/>
                  <a:pt x="2048" y="790"/>
                  <a:pt x="2048" y="790"/>
                </a:cubicBezTo>
                <a:cubicBezTo>
                  <a:pt x="2047" y="791"/>
                  <a:pt x="2047" y="791"/>
                  <a:pt x="2047" y="791"/>
                </a:cubicBezTo>
                <a:cubicBezTo>
                  <a:pt x="2047" y="792"/>
                  <a:pt x="2047" y="792"/>
                  <a:pt x="2047" y="792"/>
                </a:cubicBezTo>
                <a:cubicBezTo>
                  <a:pt x="2044" y="792"/>
                  <a:pt x="2044" y="792"/>
                  <a:pt x="2044" y="792"/>
                </a:cubicBezTo>
                <a:cubicBezTo>
                  <a:pt x="2042" y="791"/>
                  <a:pt x="2042" y="791"/>
                  <a:pt x="2042" y="791"/>
                </a:cubicBezTo>
                <a:cubicBezTo>
                  <a:pt x="2040" y="791"/>
                  <a:pt x="2040" y="791"/>
                  <a:pt x="2040" y="791"/>
                </a:cubicBezTo>
                <a:cubicBezTo>
                  <a:pt x="2039" y="790"/>
                  <a:pt x="2039" y="790"/>
                  <a:pt x="2039" y="790"/>
                </a:cubicBezTo>
                <a:cubicBezTo>
                  <a:pt x="2038" y="789"/>
                  <a:pt x="2038" y="789"/>
                  <a:pt x="2038" y="789"/>
                </a:cubicBezTo>
                <a:cubicBezTo>
                  <a:pt x="2038" y="789"/>
                  <a:pt x="2038" y="789"/>
                  <a:pt x="2037" y="789"/>
                </a:cubicBezTo>
                <a:cubicBezTo>
                  <a:pt x="2037" y="789"/>
                  <a:pt x="2037" y="789"/>
                  <a:pt x="2036" y="790"/>
                </a:cubicBezTo>
                <a:cubicBezTo>
                  <a:pt x="2036" y="790"/>
                  <a:pt x="2036" y="790"/>
                  <a:pt x="2034" y="792"/>
                </a:cubicBezTo>
                <a:cubicBezTo>
                  <a:pt x="2034" y="792"/>
                  <a:pt x="2034" y="792"/>
                  <a:pt x="2033" y="794"/>
                </a:cubicBezTo>
                <a:cubicBezTo>
                  <a:pt x="2033" y="794"/>
                  <a:pt x="2033" y="794"/>
                  <a:pt x="2034" y="795"/>
                </a:cubicBezTo>
                <a:cubicBezTo>
                  <a:pt x="2034" y="795"/>
                  <a:pt x="2034" y="795"/>
                  <a:pt x="2034" y="796"/>
                </a:cubicBezTo>
                <a:cubicBezTo>
                  <a:pt x="2034" y="796"/>
                  <a:pt x="2034" y="796"/>
                  <a:pt x="2033" y="797"/>
                </a:cubicBezTo>
                <a:cubicBezTo>
                  <a:pt x="2033" y="797"/>
                  <a:pt x="2033" y="797"/>
                  <a:pt x="2033" y="799"/>
                </a:cubicBezTo>
                <a:cubicBezTo>
                  <a:pt x="2033" y="799"/>
                  <a:pt x="2033" y="799"/>
                  <a:pt x="2035" y="801"/>
                </a:cubicBezTo>
                <a:cubicBezTo>
                  <a:pt x="2035" y="801"/>
                  <a:pt x="2035" y="801"/>
                  <a:pt x="2035" y="802"/>
                </a:cubicBezTo>
                <a:cubicBezTo>
                  <a:pt x="2035" y="802"/>
                  <a:pt x="2035" y="802"/>
                  <a:pt x="2034" y="802"/>
                </a:cubicBezTo>
                <a:cubicBezTo>
                  <a:pt x="2034" y="802"/>
                  <a:pt x="2034" y="802"/>
                  <a:pt x="2035" y="804"/>
                </a:cubicBezTo>
                <a:cubicBezTo>
                  <a:pt x="2035" y="804"/>
                  <a:pt x="2035" y="804"/>
                  <a:pt x="2034" y="804"/>
                </a:cubicBezTo>
                <a:cubicBezTo>
                  <a:pt x="2034" y="804"/>
                  <a:pt x="2034" y="804"/>
                  <a:pt x="2035" y="805"/>
                </a:cubicBezTo>
                <a:cubicBezTo>
                  <a:pt x="2035" y="805"/>
                  <a:pt x="2035" y="805"/>
                  <a:pt x="2036" y="805"/>
                </a:cubicBezTo>
                <a:cubicBezTo>
                  <a:pt x="2036" y="805"/>
                  <a:pt x="2036" y="805"/>
                  <a:pt x="2036" y="804"/>
                </a:cubicBezTo>
                <a:cubicBezTo>
                  <a:pt x="2036" y="804"/>
                  <a:pt x="2036" y="804"/>
                  <a:pt x="2037" y="804"/>
                </a:cubicBezTo>
                <a:cubicBezTo>
                  <a:pt x="2037" y="804"/>
                  <a:pt x="2037" y="804"/>
                  <a:pt x="2039" y="804"/>
                </a:cubicBezTo>
                <a:cubicBezTo>
                  <a:pt x="2039" y="804"/>
                  <a:pt x="2039" y="804"/>
                  <a:pt x="2037" y="805"/>
                </a:cubicBezTo>
                <a:cubicBezTo>
                  <a:pt x="2037" y="805"/>
                  <a:pt x="2037" y="805"/>
                  <a:pt x="2036" y="805"/>
                </a:cubicBezTo>
                <a:cubicBezTo>
                  <a:pt x="2036" y="805"/>
                  <a:pt x="2036" y="805"/>
                  <a:pt x="2035" y="806"/>
                </a:cubicBezTo>
                <a:cubicBezTo>
                  <a:pt x="2035" y="806"/>
                  <a:pt x="2035" y="806"/>
                  <a:pt x="2036" y="806"/>
                </a:cubicBezTo>
                <a:cubicBezTo>
                  <a:pt x="2036" y="806"/>
                  <a:pt x="2036" y="806"/>
                  <a:pt x="2038" y="807"/>
                </a:cubicBezTo>
                <a:cubicBezTo>
                  <a:pt x="2038" y="807"/>
                  <a:pt x="2038" y="807"/>
                  <a:pt x="2040" y="809"/>
                </a:cubicBezTo>
                <a:cubicBezTo>
                  <a:pt x="2040" y="809"/>
                  <a:pt x="2040" y="809"/>
                  <a:pt x="2040" y="810"/>
                </a:cubicBezTo>
                <a:cubicBezTo>
                  <a:pt x="2040" y="810"/>
                  <a:pt x="2040" y="810"/>
                  <a:pt x="2040" y="811"/>
                </a:cubicBezTo>
                <a:cubicBezTo>
                  <a:pt x="2040" y="811"/>
                  <a:pt x="2040" y="811"/>
                  <a:pt x="2040" y="813"/>
                </a:cubicBezTo>
                <a:cubicBezTo>
                  <a:pt x="2040" y="813"/>
                  <a:pt x="2040" y="813"/>
                  <a:pt x="2039" y="813"/>
                </a:cubicBezTo>
                <a:cubicBezTo>
                  <a:pt x="2039" y="813"/>
                  <a:pt x="2039" y="813"/>
                  <a:pt x="2039" y="814"/>
                </a:cubicBezTo>
                <a:cubicBezTo>
                  <a:pt x="2039" y="814"/>
                  <a:pt x="2039" y="814"/>
                  <a:pt x="2040" y="815"/>
                </a:cubicBezTo>
                <a:cubicBezTo>
                  <a:pt x="2040" y="815"/>
                  <a:pt x="2040" y="815"/>
                  <a:pt x="2041" y="818"/>
                </a:cubicBezTo>
                <a:cubicBezTo>
                  <a:pt x="2041" y="818"/>
                  <a:pt x="2041" y="818"/>
                  <a:pt x="2041" y="819"/>
                </a:cubicBezTo>
                <a:cubicBezTo>
                  <a:pt x="2041" y="819"/>
                  <a:pt x="2041" y="819"/>
                  <a:pt x="2041" y="821"/>
                </a:cubicBezTo>
                <a:cubicBezTo>
                  <a:pt x="2041" y="821"/>
                  <a:pt x="2041" y="821"/>
                  <a:pt x="2042" y="821"/>
                </a:cubicBezTo>
                <a:cubicBezTo>
                  <a:pt x="2042" y="821"/>
                  <a:pt x="2042" y="821"/>
                  <a:pt x="2043" y="820"/>
                </a:cubicBezTo>
                <a:cubicBezTo>
                  <a:pt x="2043" y="820"/>
                  <a:pt x="2043" y="820"/>
                  <a:pt x="2043" y="821"/>
                </a:cubicBezTo>
                <a:cubicBezTo>
                  <a:pt x="2043" y="821"/>
                  <a:pt x="2043" y="821"/>
                  <a:pt x="2045" y="821"/>
                </a:cubicBezTo>
                <a:cubicBezTo>
                  <a:pt x="2045" y="821"/>
                  <a:pt x="2045" y="821"/>
                  <a:pt x="2046" y="821"/>
                </a:cubicBezTo>
                <a:cubicBezTo>
                  <a:pt x="2046" y="821"/>
                  <a:pt x="2046" y="821"/>
                  <a:pt x="2047" y="821"/>
                </a:cubicBezTo>
                <a:cubicBezTo>
                  <a:pt x="2047" y="821"/>
                  <a:pt x="2047" y="821"/>
                  <a:pt x="2048" y="820"/>
                </a:cubicBezTo>
                <a:cubicBezTo>
                  <a:pt x="2048" y="820"/>
                  <a:pt x="2048" y="820"/>
                  <a:pt x="2049" y="821"/>
                </a:cubicBezTo>
                <a:cubicBezTo>
                  <a:pt x="2049" y="821"/>
                  <a:pt x="2049" y="821"/>
                  <a:pt x="2050" y="820"/>
                </a:cubicBezTo>
                <a:cubicBezTo>
                  <a:pt x="2050" y="820"/>
                  <a:pt x="2050" y="820"/>
                  <a:pt x="2051" y="819"/>
                </a:cubicBezTo>
                <a:cubicBezTo>
                  <a:pt x="2051" y="819"/>
                  <a:pt x="2051" y="819"/>
                  <a:pt x="2051" y="820"/>
                </a:cubicBezTo>
                <a:cubicBezTo>
                  <a:pt x="2051" y="820"/>
                  <a:pt x="2051" y="820"/>
                  <a:pt x="2051" y="822"/>
                </a:cubicBezTo>
                <a:cubicBezTo>
                  <a:pt x="2051" y="822"/>
                  <a:pt x="2051" y="822"/>
                  <a:pt x="2051" y="824"/>
                </a:cubicBezTo>
                <a:cubicBezTo>
                  <a:pt x="2051" y="824"/>
                  <a:pt x="2051" y="824"/>
                  <a:pt x="2051" y="825"/>
                </a:cubicBezTo>
                <a:cubicBezTo>
                  <a:pt x="2051" y="825"/>
                  <a:pt x="2051" y="825"/>
                  <a:pt x="2052" y="825"/>
                </a:cubicBezTo>
                <a:cubicBezTo>
                  <a:pt x="2052" y="825"/>
                  <a:pt x="2052" y="825"/>
                  <a:pt x="2053" y="823"/>
                </a:cubicBezTo>
                <a:cubicBezTo>
                  <a:pt x="2053" y="823"/>
                  <a:pt x="2053" y="823"/>
                  <a:pt x="2054" y="823"/>
                </a:cubicBezTo>
                <a:cubicBezTo>
                  <a:pt x="2054" y="823"/>
                  <a:pt x="2054" y="823"/>
                  <a:pt x="2055" y="824"/>
                </a:cubicBezTo>
                <a:cubicBezTo>
                  <a:pt x="2055" y="824"/>
                  <a:pt x="2055" y="824"/>
                  <a:pt x="2056" y="824"/>
                </a:cubicBezTo>
                <a:cubicBezTo>
                  <a:pt x="2056" y="824"/>
                  <a:pt x="2056" y="824"/>
                  <a:pt x="2056" y="823"/>
                </a:cubicBezTo>
                <a:cubicBezTo>
                  <a:pt x="2056" y="823"/>
                  <a:pt x="2056" y="823"/>
                  <a:pt x="2058" y="823"/>
                </a:cubicBezTo>
                <a:cubicBezTo>
                  <a:pt x="2058" y="823"/>
                  <a:pt x="2058" y="823"/>
                  <a:pt x="2059" y="822"/>
                </a:cubicBezTo>
                <a:cubicBezTo>
                  <a:pt x="2059" y="822"/>
                  <a:pt x="2059" y="822"/>
                  <a:pt x="2060" y="822"/>
                </a:cubicBezTo>
                <a:cubicBezTo>
                  <a:pt x="2060" y="822"/>
                  <a:pt x="2060" y="822"/>
                  <a:pt x="2061" y="822"/>
                </a:cubicBezTo>
                <a:cubicBezTo>
                  <a:pt x="2061" y="822"/>
                  <a:pt x="2061" y="822"/>
                  <a:pt x="2062" y="822"/>
                </a:cubicBezTo>
                <a:cubicBezTo>
                  <a:pt x="2062" y="822"/>
                  <a:pt x="2062" y="822"/>
                  <a:pt x="2062" y="823"/>
                </a:cubicBezTo>
                <a:cubicBezTo>
                  <a:pt x="2062" y="823"/>
                  <a:pt x="2062" y="823"/>
                  <a:pt x="2062" y="824"/>
                </a:cubicBezTo>
                <a:cubicBezTo>
                  <a:pt x="2062" y="824"/>
                  <a:pt x="2062" y="824"/>
                  <a:pt x="2063" y="824"/>
                </a:cubicBezTo>
                <a:cubicBezTo>
                  <a:pt x="2063" y="824"/>
                  <a:pt x="2063" y="824"/>
                  <a:pt x="2063" y="823"/>
                </a:cubicBezTo>
                <a:cubicBezTo>
                  <a:pt x="2063" y="823"/>
                  <a:pt x="2063" y="823"/>
                  <a:pt x="2064" y="824"/>
                </a:cubicBezTo>
                <a:cubicBezTo>
                  <a:pt x="2064" y="824"/>
                  <a:pt x="2064" y="824"/>
                  <a:pt x="2065" y="824"/>
                </a:cubicBezTo>
                <a:cubicBezTo>
                  <a:pt x="2065" y="824"/>
                  <a:pt x="2065" y="824"/>
                  <a:pt x="2066" y="824"/>
                </a:cubicBezTo>
                <a:cubicBezTo>
                  <a:pt x="2066" y="824"/>
                  <a:pt x="2066" y="824"/>
                  <a:pt x="2067" y="824"/>
                </a:cubicBezTo>
                <a:cubicBezTo>
                  <a:pt x="2067" y="824"/>
                  <a:pt x="2067" y="824"/>
                  <a:pt x="2067" y="825"/>
                </a:cubicBezTo>
                <a:cubicBezTo>
                  <a:pt x="2067" y="825"/>
                  <a:pt x="2067" y="825"/>
                  <a:pt x="2068" y="826"/>
                </a:cubicBezTo>
                <a:cubicBezTo>
                  <a:pt x="2068" y="826"/>
                  <a:pt x="2068" y="826"/>
                  <a:pt x="2067" y="827"/>
                </a:cubicBezTo>
                <a:cubicBezTo>
                  <a:pt x="2067" y="827"/>
                  <a:pt x="2067" y="827"/>
                  <a:pt x="2068" y="828"/>
                </a:cubicBezTo>
                <a:cubicBezTo>
                  <a:pt x="2068" y="828"/>
                  <a:pt x="2068" y="828"/>
                  <a:pt x="2069" y="828"/>
                </a:cubicBezTo>
                <a:cubicBezTo>
                  <a:pt x="2069" y="828"/>
                  <a:pt x="2069" y="828"/>
                  <a:pt x="2072" y="827"/>
                </a:cubicBezTo>
                <a:cubicBezTo>
                  <a:pt x="2072" y="827"/>
                  <a:pt x="2072" y="827"/>
                  <a:pt x="2073" y="827"/>
                </a:cubicBezTo>
                <a:cubicBezTo>
                  <a:pt x="2073" y="827"/>
                  <a:pt x="2073" y="827"/>
                  <a:pt x="2076" y="825"/>
                </a:cubicBezTo>
                <a:cubicBezTo>
                  <a:pt x="2076" y="825"/>
                  <a:pt x="2076" y="825"/>
                  <a:pt x="2077" y="823"/>
                </a:cubicBezTo>
                <a:cubicBezTo>
                  <a:pt x="2077" y="823"/>
                  <a:pt x="2077" y="823"/>
                  <a:pt x="2077" y="822"/>
                </a:cubicBezTo>
                <a:close/>
                <a:moveTo>
                  <a:pt x="2112" y="804"/>
                </a:moveTo>
                <a:cubicBezTo>
                  <a:pt x="2112" y="804"/>
                  <a:pt x="2112" y="804"/>
                  <a:pt x="2113" y="805"/>
                </a:cubicBezTo>
                <a:cubicBezTo>
                  <a:pt x="2113" y="805"/>
                  <a:pt x="2113" y="805"/>
                  <a:pt x="2114" y="805"/>
                </a:cubicBezTo>
                <a:cubicBezTo>
                  <a:pt x="2114" y="805"/>
                  <a:pt x="2114" y="805"/>
                  <a:pt x="2113" y="804"/>
                </a:cubicBezTo>
                <a:cubicBezTo>
                  <a:pt x="2113" y="804"/>
                  <a:pt x="2113" y="804"/>
                  <a:pt x="2112" y="804"/>
                </a:cubicBezTo>
                <a:close/>
                <a:moveTo>
                  <a:pt x="2142" y="813"/>
                </a:moveTo>
                <a:cubicBezTo>
                  <a:pt x="2142" y="813"/>
                  <a:pt x="2142" y="813"/>
                  <a:pt x="2141" y="813"/>
                </a:cubicBezTo>
                <a:cubicBezTo>
                  <a:pt x="2141" y="813"/>
                  <a:pt x="2141" y="813"/>
                  <a:pt x="2138" y="813"/>
                </a:cubicBezTo>
                <a:cubicBezTo>
                  <a:pt x="2138" y="813"/>
                  <a:pt x="2138" y="813"/>
                  <a:pt x="2137" y="813"/>
                </a:cubicBezTo>
                <a:cubicBezTo>
                  <a:pt x="2137" y="813"/>
                  <a:pt x="2137" y="813"/>
                  <a:pt x="2136" y="813"/>
                </a:cubicBezTo>
                <a:cubicBezTo>
                  <a:pt x="2136" y="813"/>
                  <a:pt x="2136" y="813"/>
                  <a:pt x="2135" y="812"/>
                </a:cubicBezTo>
                <a:cubicBezTo>
                  <a:pt x="2135" y="812"/>
                  <a:pt x="2135" y="812"/>
                  <a:pt x="2134" y="813"/>
                </a:cubicBezTo>
                <a:cubicBezTo>
                  <a:pt x="2134" y="813"/>
                  <a:pt x="2134" y="813"/>
                  <a:pt x="2133" y="813"/>
                </a:cubicBezTo>
                <a:cubicBezTo>
                  <a:pt x="2133" y="813"/>
                  <a:pt x="2133" y="813"/>
                  <a:pt x="2132" y="812"/>
                </a:cubicBezTo>
                <a:cubicBezTo>
                  <a:pt x="2132" y="812"/>
                  <a:pt x="2132" y="812"/>
                  <a:pt x="2131" y="813"/>
                </a:cubicBezTo>
                <a:cubicBezTo>
                  <a:pt x="2131" y="813"/>
                  <a:pt x="2131" y="813"/>
                  <a:pt x="2130" y="812"/>
                </a:cubicBezTo>
                <a:cubicBezTo>
                  <a:pt x="2130" y="812"/>
                  <a:pt x="2130" y="812"/>
                  <a:pt x="2130" y="813"/>
                </a:cubicBezTo>
                <a:cubicBezTo>
                  <a:pt x="2130" y="813"/>
                  <a:pt x="2130" y="813"/>
                  <a:pt x="2130" y="814"/>
                </a:cubicBezTo>
                <a:cubicBezTo>
                  <a:pt x="2130" y="814"/>
                  <a:pt x="2130" y="814"/>
                  <a:pt x="2131" y="815"/>
                </a:cubicBezTo>
                <a:cubicBezTo>
                  <a:pt x="2131" y="815"/>
                  <a:pt x="2131" y="815"/>
                  <a:pt x="2133" y="814"/>
                </a:cubicBezTo>
                <a:cubicBezTo>
                  <a:pt x="2133" y="814"/>
                  <a:pt x="2133" y="814"/>
                  <a:pt x="2135" y="814"/>
                </a:cubicBezTo>
                <a:cubicBezTo>
                  <a:pt x="2135" y="814"/>
                  <a:pt x="2135" y="814"/>
                  <a:pt x="2136" y="814"/>
                </a:cubicBezTo>
                <a:cubicBezTo>
                  <a:pt x="2136" y="814"/>
                  <a:pt x="2136" y="814"/>
                  <a:pt x="2138" y="814"/>
                </a:cubicBezTo>
                <a:cubicBezTo>
                  <a:pt x="2138" y="814"/>
                  <a:pt x="2138" y="814"/>
                  <a:pt x="2141" y="814"/>
                </a:cubicBezTo>
                <a:cubicBezTo>
                  <a:pt x="2141" y="814"/>
                  <a:pt x="2141" y="814"/>
                  <a:pt x="2142" y="813"/>
                </a:cubicBezTo>
                <a:close/>
                <a:moveTo>
                  <a:pt x="2220" y="856"/>
                </a:moveTo>
                <a:cubicBezTo>
                  <a:pt x="2221" y="855"/>
                  <a:pt x="2221" y="855"/>
                  <a:pt x="2221" y="855"/>
                </a:cubicBezTo>
                <a:cubicBezTo>
                  <a:pt x="2220" y="854"/>
                  <a:pt x="2220" y="854"/>
                  <a:pt x="2220" y="854"/>
                </a:cubicBezTo>
                <a:cubicBezTo>
                  <a:pt x="2219" y="854"/>
                  <a:pt x="2219" y="854"/>
                  <a:pt x="2219" y="854"/>
                </a:cubicBezTo>
                <a:cubicBezTo>
                  <a:pt x="2219" y="855"/>
                  <a:pt x="2219" y="855"/>
                  <a:pt x="2219" y="855"/>
                </a:cubicBezTo>
                <a:cubicBezTo>
                  <a:pt x="2220" y="856"/>
                  <a:pt x="2220" y="856"/>
                  <a:pt x="2220" y="856"/>
                </a:cubicBezTo>
                <a:close/>
                <a:moveTo>
                  <a:pt x="2087" y="779"/>
                </a:moveTo>
                <a:cubicBezTo>
                  <a:pt x="2087" y="779"/>
                  <a:pt x="2087" y="779"/>
                  <a:pt x="2086" y="778"/>
                </a:cubicBezTo>
                <a:cubicBezTo>
                  <a:pt x="2086" y="778"/>
                  <a:pt x="2086" y="778"/>
                  <a:pt x="2087" y="780"/>
                </a:cubicBezTo>
                <a:cubicBezTo>
                  <a:pt x="2087" y="780"/>
                  <a:pt x="2087" y="780"/>
                  <a:pt x="2087" y="779"/>
                </a:cubicBezTo>
                <a:close/>
                <a:moveTo>
                  <a:pt x="2074" y="856"/>
                </a:moveTo>
                <a:cubicBezTo>
                  <a:pt x="2072" y="854"/>
                  <a:pt x="2072" y="854"/>
                  <a:pt x="2072" y="854"/>
                </a:cubicBezTo>
                <a:cubicBezTo>
                  <a:pt x="2071" y="854"/>
                  <a:pt x="2071" y="854"/>
                  <a:pt x="2071" y="854"/>
                </a:cubicBezTo>
                <a:cubicBezTo>
                  <a:pt x="2069" y="854"/>
                  <a:pt x="2069" y="854"/>
                  <a:pt x="2069" y="854"/>
                </a:cubicBezTo>
                <a:cubicBezTo>
                  <a:pt x="2067" y="854"/>
                  <a:pt x="2067" y="854"/>
                  <a:pt x="2067" y="854"/>
                </a:cubicBezTo>
                <a:cubicBezTo>
                  <a:pt x="2066" y="854"/>
                  <a:pt x="2066" y="854"/>
                  <a:pt x="2066" y="854"/>
                </a:cubicBezTo>
                <a:cubicBezTo>
                  <a:pt x="2066" y="855"/>
                  <a:pt x="2066" y="855"/>
                  <a:pt x="2066" y="855"/>
                </a:cubicBezTo>
                <a:cubicBezTo>
                  <a:pt x="2067" y="856"/>
                  <a:pt x="2067" y="856"/>
                  <a:pt x="2067" y="856"/>
                </a:cubicBezTo>
                <a:cubicBezTo>
                  <a:pt x="2068" y="856"/>
                  <a:pt x="2068" y="856"/>
                  <a:pt x="2068" y="856"/>
                </a:cubicBezTo>
                <a:cubicBezTo>
                  <a:pt x="2070" y="857"/>
                  <a:pt x="2070" y="857"/>
                  <a:pt x="2070" y="857"/>
                </a:cubicBezTo>
                <a:cubicBezTo>
                  <a:pt x="2070" y="858"/>
                  <a:pt x="2070" y="858"/>
                  <a:pt x="2070" y="858"/>
                </a:cubicBezTo>
                <a:cubicBezTo>
                  <a:pt x="2071" y="857"/>
                  <a:pt x="2071" y="857"/>
                  <a:pt x="2071" y="857"/>
                </a:cubicBezTo>
                <a:cubicBezTo>
                  <a:pt x="2072" y="857"/>
                  <a:pt x="2072" y="857"/>
                  <a:pt x="2072" y="857"/>
                </a:cubicBezTo>
                <a:cubicBezTo>
                  <a:pt x="2072" y="856"/>
                  <a:pt x="2072" y="856"/>
                  <a:pt x="2072" y="856"/>
                </a:cubicBezTo>
                <a:cubicBezTo>
                  <a:pt x="2073" y="856"/>
                  <a:pt x="2073" y="856"/>
                  <a:pt x="2073" y="856"/>
                </a:cubicBezTo>
                <a:cubicBezTo>
                  <a:pt x="2074" y="856"/>
                  <a:pt x="2074" y="856"/>
                  <a:pt x="2074" y="856"/>
                </a:cubicBezTo>
                <a:close/>
                <a:moveTo>
                  <a:pt x="2145" y="776"/>
                </a:moveTo>
                <a:cubicBezTo>
                  <a:pt x="2145" y="776"/>
                  <a:pt x="2145" y="776"/>
                  <a:pt x="2145" y="775"/>
                </a:cubicBezTo>
                <a:cubicBezTo>
                  <a:pt x="2145" y="775"/>
                  <a:pt x="2145" y="775"/>
                  <a:pt x="2144" y="775"/>
                </a:cubicBezTo>
                <a:lnTo>
                  <a:pt x="2145" y="776"/>
                </a:lnTo>
                <a:close/>
                <a:moveTo>
                  <a:pt x="2170" y="808"/>
                </a:moveTo>
                <a:cubicBezTo>
                  <a:pt x="2170" y="810"/>
                  <a:pt x="2170" y="810"/>
                  <a:pt x="2170" y="810"/>
                </a:cubicBezTo>
                <a:cubicBezTo>
                  <a:pt x="2172" y="810"/>
                  <a:pt x="2172" y="810"/>
                  <a:pt x="2172" y="810"/>
                </a:cubicBezTo>
                <a:cubicBezTo>
                  <a:pt x="2172" y="807"/>
                  <a:pt x="2172" y="807"/>
                  <a:pt x="2172" y="807"/>
                </a:cubicBezTo>
                <a:cubicBezTo>
                  <a:pt x="2170" y="808"/>
                  <a:pt x="2170" y="808"/>
                  <a:pt x="2170" y="808"/>
                </a:cubicBezTo>
                <a:close/>
                <a:moveTo>
                  <a:pt x="2162" y="844"/>
                </a:moveTo>
                <a:cubicBezTo>
                  <a:pt x="2161" y="845"/>
                  <a:pt x="2161" y="845"/>
                  <a:pt x="2161" y="845"/>
                </a:cubicBezTo>
                <a:cubicBezTo>
                  <a:pt x="2162" y="845"/>
                  <a:pt x="2162" y="845"/>
                  <a:pt x="2162" y="845"/>
                </a:cubicBezTo>
                <a:cubicBezTo>
                  <a:pt x="2162" y="844"/>
                  <a:pt x="2162" y="844"/>
                  <a:pt x="2162" y="844"/>
                </a:cubicBezTo>
                <a:close/>
                <a:moveTo>
                  <a:pt x="2164" y="853"/>
                </a:moveTo>
                <a:cubicBezTo>
                  <a:pt x="2164" y="853"/>
                  <a:pt x="2164" y="853"/>
                  <a:pt x="2163" y="852"/>
                </a:cubicBezTo>
                <a:cubicBezTo>
                  <a:pt x="2163" y="852"/>
                  <a:pt x="2163" y="852"/>
                  <a:pt x="2163" y="851"/>
                </a:cubicBezTo>
                <a:cubicBezTo>
                  <a:pt x="2163" y="851"/>
                  <a:pt x="2163" y="851"/>
                  <a:pt x="2162" y="852"/>
                </a:cubicBezTo>
                <a:cubicBezTo>
                  <a:pt x="2162" y="852"/>
                  <a:pt x="2162" y="852"/>
                  <a:pt x="2162" y="853"/>
                </a:cubicBezTo>
                <a:cubicBezTo>
                  <a:pt x="2162" y="853"/>
                  <a:pt x="2162" y="853"/>
                  <a:pt x="2163" y="853"/>
                </a:cubicBezTo>
                <a:cubicBezTo>
                  <a:pt x="2163" y="853"/>
                  <a:pt x="2163" y="853"/>
                  <a:pt x="2164" y="853"/>
                </a:cubicBezTo>
                <a:close/>
                <a:moveTo>
                  <a:pt x="2100" y="767"/>
                </a:moveTo>
                <a:cubicBezTo>
                  <a:pt x="2100" y="767"/>
                  <a:pt x="2100" y="767"/>
                  <a:pt x="2100" y="768"/>
                </a:cubicBezTo>
                <a:cubicBezTo>
                  <a:pt x="2100" y="768"/>
                  <a:pt x="2100" y="768"/>
                  <a:pt x="2102" y="768"/>
                </a:cubicBezTo>
                <a:cubicBezTo>
                  <a:pt x="2102" y="768"/>
                  <a:pt x="2102" y="768"/>
                  <a:pt x="2103" y="767"/>
                </a:cubicBezTo>
                <a:cubicBezTo>
                  <a:pt x="2103" y="767"/>
                  <a:pt x="2103" y="767"/>
                  <a:pt x="2103" y="766"/>
                </a:cubicBezTo>
                <a:cubicBezTo>
                  <a:pt x="2103" y="766"/>
                  <a:pt x="2103" y="766"/>
                  <a:pt x="2102" y="766"/>
                </a:cubicBezTo>
                <a:cubicBezTo>
                  <a:pt x="2102" y="766"/>
                  <a:pt x="2102" y="766"/>
                  <a:pt x="2100" y="767"/>
                </a:cubicBezTo>
                <a:close/>
                <a:moveTo>
                  <a:pt x="2132" y="856"/>
                </a:moveTo>
                <a:cubicBezTo>
                  <a:pt x="2133" y="855"/>
                  <a:pt x="2133" y="855"/>
                  <a:pt x="2133" y="855"/>
                </a:cubicBezTo>
                <a:cubicBezTo>
                  <a:pt x="2132" y="855"/>
                  <a:pt x="2132" y="855"/>
                  <a:pt x="2132" y="855"/>
                </a:cubicBezTo>
                <a:cubicBezTo>
                  <a:pt x="2131" y="855"/>
                  <a:pt x="2131" y="855"/>
                  <a:pt x="2131" y="855"/>
                </a:cubicBezTo>
                <a:cubicBezTo>
                  <a:pt x="2130" y="854"/>
                  <a:pt x="2130" y="854"/>
                  <a:pt x="2130" y="854"/>
                </a:cubicBezTo>
                <a:cubicBezTo>
                  <a:pt x="2129" y="855"/>
                  <a:pt x="2129" y="855"/>
                  <a:pt x="2129" y="855"/>
                </a:cubicBezTo>
                <a:cubicBezTo>
                  <a:pt x="2129" y="856"/>
                  <a:pt x="2129" y="856"/>
                  <a:pt x="2129" y="856"/>
                </a:cubicBezTo>
                <a:cubicBezTo>
                  <a:pt x="2130" y="857"/>
                  <a:pt x="2130" y="857"/>
                  <a:pt x="2130" y="857"/>
                </a:cubicBezTo>
                <a:cubicBezTo>
                  <a:pt x="2132" y="856"/>
                  <a:pt x="2132" y="856"/>
                  <a:pt x="2132" y="856"/>
                </a:cubicBezTo>
                <a:close/>
                <a:moveTo>
                  <a:pt x="2049" y="785"/>
                </a:moveTo>
                <a:cubicBezTo>
                  <a:pt x="2048" y="786"/>
                  <a:pt x="2048" y="786"/>
                  <a:pt x="2048" y="786"/>
                </a:cubicBezTo>
                <a:cubicBezTo>
                  <a:pt x="2049" y="786"/>
                  <a:pt x="2049" y="786"/>
                  <a:pt x="2049" y="786"/>
                </a:cubicBezTo>
                <a:cubicBezTo>
                  <a:pt x="2050" y="785"/>
                  <a:pt x="2050" y="785"/>
                  <a:pt x="2050" y="785"/>
                </a:cubicBezTo>
                <a:cubicBezTo>
                  <a:pt x="2049" y="785"/>
                  <a:pt x="2049" y="785"/>
                  <a:pt x="2049" y="785"/>
                </a:cubicBezTo>
                <a:close/>
                <a:moveTo>
                  <a:pt x="2084" y="754"/>
                </a:moveTo>
                <a:cubicBezTo>
                  <a:pt x="2084" y="753"/>
                  <a:pt x="2084" y="753"/>
                  <a:pt x="2084" y="753"/>
                </a:cubicBezTo>
                <a:cubicBezTo>
                  <a:pt x="2083" y="754"/>
                  <a:pt x="2083" y="754"/>
                  <a:pt x="2083" y="754"/>
                </a:cubicBezTo>
                <a:cubicBezTo>
                  <a:pt x="2084" y="754"/>
                  <a:pt x="2084" y="754"/>
                  <a:pt x="2084" y="754"/>
                </a:cubicBezTo>
                <a:close/>
                <a:moveTo>
                  <a:pt x="1976" y="764"/>
                </a:moveTo>
                <a:cubicBezTo>
                  <a:pt x="1977" y="766"/>
                  <a:pt x="1977" y="766"/>
                  <a:pt x="1977" y="766"/>
                </a:cubicBezTo>
                <a:cubicBezTo>
                  <a:pt x="1978" y="766"/>
                  <a:pt x="1978" y="766"/>
                  <a:pt x="1978" y="766"/>
                </a:cubicBezTo>
                <a:cubicBezTo>
                  <a:pt x="1978" y="765"/>
                  <a:pt x="1978" y="765"/>
                  <a:pt x="1978" y="765"/>
                </a:cubicBezTo>
                <a:cubicBezTo>
                  <a:pt x="1977" y="764"/>
                  <a:pt x="1977" y="764"/>
                  <a:pt x="1977" y="764"/>
                </a:cubicBezTo>
                <a:cubicBezTo>
                  <a:pt x="1976" y="764"/>
                  <a:pt x="1976" y="764"/>
                  <a:pt x="1976" y="764"/>
                </a:cubicBezTo>
                <a:close/>
                <a:moveTo>
                  <a:pt x="2000" y="735"/>
                </a:moveTo>
                <a:cubicBezTo>
                  <a:pt x="2001" y="735"/>
                  <a:pt x="2001" y="735"/>
                  <a:pt x="2001" y="735"/>
                </a:cubicBezTo>
                <a:cubicBezTo>
                  <a:pt x="2001" y="733"/>
                  <a:pt x="2001" y="733"/>
                  <a:pt x="2001" y="733"/>
                </a:cubicBezTo>
                <a:cubicBezTo>
                  <a:pt x="2000" y="732"/>
                  <a:pt x="2000" y="732"/>
                  <a:pt x="2000" y="732"/>
                </a:cubicBezTo>
                <a:cubicBezTo>
                  <a:pt x="1999" y="733"/>
                  <a:pt x="1999" y="733"/>
                  <a:pt x="1999" y="733"/>
                </a:cubicBezTo>
                <a:cubicBezTo>
                  <a:pt x="2000" y="734"/>
                  <a:pt x="2000" y="734"/>
                  <a:pt x="2000" y="734"/>
                </a:cubicBezTo>
                <a:cubicBezTo>
                  <a:pt x="1999" y="734"/>
                  <a:pt x="1999" y="734"/>
                  <a:pt x="1999" y="734"/>
                </a:cubicBezTo>
                <a:cubicBezTo>
                  <a:pt x="2000" y="735"/>
                  <a:pt x="2000" y="735"/>
                  <a:pt x="2000" y="735"/>
                </a:cubicBezTo>
                <a:close/>
                <a:moveTo>
                  <a:pt x="1987" y="722"/>
                </a:moveTo>
                <a:cubicBezTo>
                  <a:pt x="1988" y="723"/>
                  <a:pt x="1988" y="723"/>
                  <a:pt x="1988" y="723"/>
                </a:cubicBezTo>
                <a:cubicBezTo>
                  <a:pt x="1989" y="722"/>
                  <a:pt x="1989" y="722"/>
                  <a:pt x="1989" y="722"/>
                </a:cubicBezTo>
                <a:cubicBezTo>
                  <a:pt x="1987" y="721"/>
                  <a:pt x="1987" y="721"/>
                  <a:pt x="1987" y="721"/>
                </a:cubicBezTo>
                <a:cubicBezTo>
                  <a:pt x="1987" y="722"/>
                  <a:pt x="1987" y="722"/>
                  <a:pt x="1987" y="722"/>
                </a:cubicBezTo>
                <a:close/>
                <a:moveTo>
                  <a:pt x="1973" y="758"/>
                </a:moveTo>
                <a:cubicBezTo>
                  <a:pt x="1974" y="758"/>
                  <a:pt x="1974" y="758"/>
                  <a:pt x="1974" y="758"/>
                </a:cubicBezTo>
                <a:cubicBezTo>
                  <a:pt x="1974" y="757"/>
                  <a:pt x="1974" y="757"/>
                  <a:pt x="1974" y="757"/>
                </a:cubicBezTo>
                <a:cubicBezTo>
                  <a:pt x="1973" y="757"/>
                  <a:pt x="1973" y="757"/>
                  <a:pt x="1973" y="757"/>
                </a:cubicBezTo>
                <a:cubicBezTo>
                  <a:pt x="1973" y="758"/>
                  <a:pt x="1973" y="758"/>
                  <a:pt x="1973" y="758"/>
                </a:cubicBezTo>
                <a:close/>
                <a:moveTo>
                  <a:pt x="1975" y="736"/>
                </a:moveTo>
                <a:cubicBezTo>
                  <a:pt x="1974" y="737"/>
                  <a:pt x="1974" y="737"/>
                  <a:pt x="1974" y="737"/>
                </a:cubicBezTo>
                <a:cubicBezTo>
                  <a:pt x="1975" y="737"/>
                  <a:pt x="1975" y="737"/>
                  <a:pt x="1975" y="737"/>
                </a:cubicBezTo>
                <a:cubicBezTo>
                  <a:pt x="1975" y="736"/>
                  <a:pt x="1975" y="736"/>
                  <a:pt x="1975" y="736"/>
                </a:cubicBezTo>
                <a:close/>
                <a:moveTo>
                  <a:pt x="1965" y="749"/>
                </a:moveTo>
                <a:cubicBezTo>
                  <a:pt x="1965" y="748"/>
                  <a:pt x="1965" y="748"/>
                  <a:pt x="1965" y="748"/>
                </a:cubicBezTo>
                <a:cubicBezTo>
                  <a:pt x="1964" y="749"/>
                  <a:pt x="1964" y="749"/>
                  <a:pt x="1964" y="749"/>
                </a:cubicBezTo>
                <a:cubicBezTo>
                  <a:pt x="1965" y="749"/>
                  <a:pt x="1965" y="749"/>
                  <a:pt x="1965" y="749"/>
                </a:cubicBezTo>
                <a:close/>
                <a:moveTo>
                  <a:pt x="1974" y="739"/>
                </a:moveTo>
                <a:cubicBezTo>
                  <a:pt x="1975" y="740"/>
                  <a:pt x="1975" y="740"/>
                  <a:pt x="1975" y="740"/>
                </a:cubicBezTo>
                <a:cubicBezTo>
                  <a:pt x="1976" y="738"/>
                  <a:pt x="1976" y="738"/>
                  <a:pt x="1976" y="738"/>
                </a:cubicBezTo>
                <a:cubicBezTo>
                  <a:pt x="1975" y="738"/>
                  <a:pt x="1975" y="738"/>
                  <a:pt x="1975" y="738"/>
                </a:cubicBezTo>
                <a:cubicBezTo>
                  <a:pt x="1974" y="738"/>
                  <a:pt x="1974" y="738"/>
                  <a:pt x="1974" y="738"/>
                </a:cubicBezTo>
                <a:cubicBezTo>
                  <a:pt x="1974" y="739"/>
                  <a:pt x="1974" y="739"/>
                  <a:pt x="1974" y="739"/>
                </a:cubicBezTo>
                <a:close/>
                <a:moveTo>
                  <a:pt x="1928" y="677"/>
                </a:moveTo>
                <a:cubicBezTo>
                  <a:pt x="1929" y="678"/>
                  <a:pt x="1929" y="678"/>
                  <a:pt x="1929" y="678"/>
                </a:cubicBezTo>
                <a:cubicBezTo>
                  <a:pt x="1930" y="679"/>
                  <a:pt x="1930" y="679"/>
                  <a:pt x="1930" y="679"/>
                </a:cubicBezTo>
                <a:cubicBezTo>
                  <a:pt x="1930" y="678"/>
                  <a:pt x="1930" y="678"/>
                  <a:pt x="1930" y="678"/>
                </a:cubicBezTo>
                <a:cubicBezTo>
                  <a:pt x="1929" y="677"/>
                  <a:pt x="1929" y="677"/>
                  <a:pt x="1929" y="677"/>
                </a:cubicBezTo>
                <a:cubicBezTo>
                  <a:pt x="1928" y="677"/>
                  <a:pt x="1928" y="677"/>
                  <a:pt x="1928" y="677"/>
                </a:cubicBezTo>
                <a:close/>
                <a:moveTo>
                  <a:pt x="1946" y="694"/>
                </a:moveTo>
                <a:cubicBezTo>
                  <a:pt x="1946" y="694"/>
                  <a:pt x="1946" y="694"/>
                  <a:pt x="1943" y="696"/>
                </a:cubicBezTo>
                <a:cubicBezTo>
                  <a:pt x="1943" y="696"/>
                  <a:pt x="1943" y="696"/>
                  <a:pt x="1942" y="696"/>
                </a:cubicBezTo>
                <a:cubicBezTo>
                  <a:pt x="1942" y="696"/>
                  <a:pt x="1942" y="696"/>
                  <a:pt x="1941" y="696"/>
                </a:cubicBezTo>
                <a:cubicBezTo>
                  <a:pt x="1941" y="696"/>
                  <a:pt x="1941" y="696"/>
                  <a:pt x="1940" y="696"/>
                </a:cubicBezTo>
                <a:cubicBezTo>
                  <a:pt x="1940" y="696"/>
                  <a:pt x="1940" y="696"/>
                  <a:pt x="1939" y="695"/>
                </a:cubicBezTo>
                <a:cubicBezTo>
                  <a:pt x="1939" y="695"/>
                  <a:pt x="1939" y="695"/>
                  <a:pt x="1938" y="696"/>
                </a:cubicBezTo>
                <a:cubicBezTo>
                  <a:pt x="1938" y="696"/>
                  <a:pt x="1938" y="696"/>
                  <a:pt x="1938" y="697"/>
                </a:cubicBezTo>
                <a:cubicBezTo>
                  <a:pt x="1938" y="697"/>
                  <a:pt x="1938" y="697"/>
                  <a:pt x="1937" y="697"/>
                </a:cubicBezTo>
                <a:cubicBezTo>
                  <a:pt x="1937" y="697"/>
                  <a:pt x="1937" y="697"/>
                  <a:pt x="1937" y="695"/>
                </a:cubicBezTo>
                <a:cubicBezTo>
                  <a:pt x="1937" y="695"/>
                  <a:pt x="1937" y="695"/>
                  <a:pt x="1939" y="694"/>
                </a:cubicBezTo>
                <a:cubicBezTo>
                  <a:pt x="1939" y="694"/>
                  <a:pt x="1939" y="694"/>
                  <a:pt x="1939" y="692"/>
                </a:cubicBezTo>
                <a:cubicBezTo>
                  <a:pt x="1939" y="692"/>
                  <a:pt x="1939" y="692"/>
                  <a:pt x="1938" y="694"/>
                </a:cubicBezTo>
                <a:cubicBezTo>
                  <a:pt x="1938" y="694"/>
                  <a:pt x="1938" y="694"/>
                  <a:pt x="1937" y="695"/>
                </a:cubicBezTo>
                <a:cubicBezTo>
                  <a:pt x="1937" y="695"/>
                  <a:pt x="1937" y="695"/>
                  <a:pt x="1936" y="696"/>
                </a:cubicBezTo>
                <a:cubicBezTo>
                  <a:pt x="1936" y="696"/>
                  <a:pt x="1936" y="696"/>
                  <a:pt x="1935" y="696"/>
                </a:cubicBezTo>
                <a:cubicBezTo>
                  <a:pt x="1935" y="696"/>
                  <a:pt x="1935" y="696"/>
                  <a:pt x="1936" y="695"/>
                </a:cubicBezTo>
                <a:cubicBezTo>
                  <a:pt x="1936" y="695"/>
                  <a:pt x="1936" y="695"/>
                  <a:pt x="1935" y="694"/>
                </a:cubicBezTo>
                <a:cubicBezTo>
                  <a:pt x="1935" y="694"/>
                  <a:pt x="1935" y="694"/>
                  <a:pt x="1936" y="688"/>
                </a:cubicBezTo>
                <a:cubicBezTo>
                  <a:pt x="1936" y="688"/>
                  <a:pt x="1936" y="688"/>
                  <a:pt x="1938" y="687"/>
                </a:cubicBezTo>
                <a:cubicBezTo>
                  <a:pt x="1938" y="687"/>
                  <a:pt x="1938" y="687"/>
                  <a:pt x="1937" y="686"/>
                </a:cubicBezTo>
                <a:cubicBezTo>
                  <a:pt x="1937" y="686"/>
                  <a:pt x="1937" y="686"/>
                  <a:pt x="1936" y="684"/>
                </a:cubicBezTo>
                <a:cubicBezTo>
                  <a:pt x="1936" y="684"/>
                  <a:pt x="1936" y="684"/>
                  <a:pt x="1936" y="681"/>
                </a:cubicBezTo>
                <a:cubicBezTo>
                  <a:pt x="1936" y="681"/>
                  <a:pt x="1936" y="681"/>
                  <a:pt x="1935" y="681"/>
                </a:cubicBezTo>
                <a:cubicBezTo>
                  <a:pt x="1935" y="681"/>
                  <a:pt x="1935" y="681"/>
                  <a:pt x="1935" y="680"/>
                </a:cubicBezTo>
                <a:cubicBezTo>
                  <a:pt x="1935" y="680"/>
                  <a:pt x="1935" y="680"/>
                  <a:pt x="1934" y="679"/>
                </a:cubicBezTo>
                <a:cubicBezTo>
                  <a:pt x="1934" y="679"/>
                  <a:pt x="1934" y="679"/>
                  <a:pt x="1934" y="677"/>
                </a:cubicBezTo>
                <a:cubicBezTo>
                  <a:pt x="1934" y="677"/>
                  <a:pt x="1934" y="677"/>
                  <a:pt x="1933" y="676"/>
                </a:cubicBezTo>
                <a:cubicBezTo>
                  <a:pt x="1933" y="676"/>
                  <a:pt x="1933" y="676"/>
                  <a:pt x="1933" y="675"/>
                </a:cubicBezTo>
                <a:cubicBezTo>
                  <a:pt x="1933" y="675"/>
                  <a:pt x="1933" y="675"/>
                  <a:pt x="1933" y="674"/>
                </a:cubicBezTo>
                <a:cubicBezTo>
                  <a:pt x="1933" y="674"/>
                  <a:pt x="1933" y="674"/>
                  <a:pt x="1931" y="673"/>
                </a:cubicBezTo>
                <a:cubicBezTo>
                  <a:pt x="1931" y="673"/>
                  <a:pt x="1931" y="673"/>
                  <a:pt x="1932" y="674"/>
                </a:cubicBezTo>
                <a:cubicBezTo>
                  <a:pt x="1932" y="674"/>
                  <a:pt x="1932" y="674"/>
                  <a:pt x="1932" y="677"/>
                </a:cubicBezTo>
                <a:cubicBezTo>
                  <a:pt x="1932" y="677"/>
                  <a:pt x="1932" y="677"/>
                  <a:pt x="1930" y="676"/>
                </a:cubicBezTo>
                <a:cubicBezTo>
                  <a:pt x="1930" y="676"/>
                  <a:pt x="1930" y="676"/>
                  <a:pt x="1929" y="675"/>
                </a:cubicBezTo>
                <a:cubicBezTo>
                  <a:pt x="1929" y="675"/>
                  <a:pt x="1929" y="675"/>
                  <a:pt x="1928" y="674"/>
                </a:cubicBezTo>
                <a:cubicBezTo>
                  <a:pt x="1928" y="674"/>
                  <a:pt x="1928" y="674"/>
                  <a:pt x="1927" y="673"/>
                </a:cubicBezTo>
                <a:cubicBezTo>
                  <a:pt x="1927" y="673"/>
                  <a:pt x="1927" y="673"/>
                  <a:pt x="1927" y="672"/>
                </a:cubicBezTo>
                <a:cubicBezTo>
                  <a:pt x="1927" y="672"/>
                  <a:pt x="1927" y="672"/>
                  <a:pt x="1928" y="672"/>
                </a:cubicBezTo>
                <a:cubicBezTo>
                  <a:pt x="1928" y="672"/>
                  <a:pt x="1928" y="672"/>
                  <a:pt x="1929" y="673"/>
                </a:cubicBezTo>
                <a:cubicBezTo>
                  <a:pt x="1929" y="673"/>
                  <a:pt x="1929" y="673"/>
                  <a:pt x="1930" y="674"/>
                </a:cubicBezTo>
                <a:cubicBezTo>
                  <a:pt x="1930" y="674"/>
                  <a:pt x="1930" y="674"/>
                  <a:pt x="1930" y="673"/>
                </a:cubicBezTo>
                <a:cubicBezTo>
                  <a:pt x="1930" y="673"/>
                  <a:pt x="1930" y="673"/>
                  <a:pt x="1929" y="672"/>
                </a:cubicBezTo>
                <a:cubicBezTo>
                  <a:pt x="1929" y="672"/>
                  <a:pt x="1929" y="672"/>
                  <a:pt x="1930" y="672"/>
                </a:cubicBezTo>
                <a:cubicBezTo>
                  <a:pt x="1930" y="672"/>
                  <a:pt x="1930" y="672"/>
                  <a:pt x="1931" y="672"/>
                </a:cubicBezTo>
                <a:cubicBezTo>
                  <a:pt x="1931" y="672"/>
                  <a:pt x="1931" y="672"/>
                  <a:pt x="1931" y="671"/>
                </a:cubicBezTo>
                <a:cubicBezTo>
                  <a:pt x="1931" y="671"/>
                  <a:pt x="1931" y="671"/>
                  <a:pt x="1930" y="669"/>
                </a:cubicBezTo>
                <a:cubicBezTo>
                  <a:pt x="1930" y="669"/>
                  <a:pt x="1930" y="669"/>
                  <a:pt x="1928" y="669"/>
                </a:cubicBezTo>
                <a:cubicBezTo>
                  <a:pt x="1928" y="669"/>
                  <a:pt x="1928" y="669"/>
                  <a:pt x="1927" y="668"/>
                </a:cubicBezTo>
                <a:cubicBezTo>
                  <a:pt x="1927" y="668"/>
                  <a:pt x="1927" y="668"/>
                  <a:pt x="1926" y="668"/>
                </a:cubicBezTo>
                <a:cubicBezTo>
                  <a:pt x="1926" y="668"/>
                  <a:pt x="1926" y="668"/>
                  <a:pt x="1925" y="668"/>
                </a:cubicBezTo>
                <a:cubicBezTo>
                  <a:pt x="1925" y="668"/>
                  <a:pt x="1925" y="668"/>
                  <a:pt x="1925" y="667"/>
                </a:cubicBezTo>
                <a:cubicBezTo>
                  <a:pt x="1925" y="667"/>
                  <a:pt x="1925" y="667"/>
                  <a:pt x="1926" y="666"/>
                </a:cubicBezTo>
                <a:cubicBezTo>
                  <a:pt x="1926" y="666"/>
                  <a:pt x="1926" y="666"/>
                  <a:pt x="1924" y="666"/>
                </a:cubicBezTo>
                <a:cubicBezTo>
                  <a:pt x="1924" y="666"/>
                  <a:pt x="1924" y="666"/>
                  <a:pt x="1923" y="666"/>
                </a:cubicBezTo>
                <a:cubicBezTo>
                  <a:pt x="1923" y="666"/>
                  <a:pt x="1923" y="666"/>
                  <a:pt x="1924" y="667"/>
                </a:cubicBezTo>
                <a:cubicBezTo>
                  <a:pt x="1924" y="667"/>
                  <a:pt x="1924" y="667"/>
                  <a:pt x="1921" y="665"/>
                </a:cubicBezTo>
                <a:cubicBezTo>
                  <a:pt x="1921" y="665"/>
                  <a:pt x="1921" y="665"/>
                  <a:pt x="1921" y="663"/>
                </a:cubicBezTo>
                <a:cubicBezTo>
                  <a:pt x="1921" y="663"/>
                  <a:pt x="1921" y="663"/>
                  <a:pt x="1920" y="662"/>
                </a:cubicBezTo>
                <a:cubicBezTo>
                  <a:pt x="1920" y="664"/>
                  <a:pt x="1920" y="664"/>
                  <a:pt x="1920" y="664"/>
                </a:cubicBezTo>
                <a:cubicBezTo>
                  <a:pt x="1919" y="661"/>
                  <a:pt x="1919" y="661"/>
                  <a:pt x="1919" y="661"/>
                </a:cubicBezTo>
                <a:cubicBezTo>
                  <a:pt x="1918" y="660"/>
                  <a:pt x="1918" y="660"/>
                  <a:pt x="1918" y="660"/>
                </a:cubicBezTo>
                <a:cubicBezTo>
                  <a:pt x="1918" y="659"/>
                  <a:pt x="1918" y="659"/>
                  <a:pt x="1918" y="659"/>
                </a:cubicBezTo>
                <a:cubicBezTo>
                  <a:pt x="1918" y="658"/>
                  <a:pt x="1918" y="658"/>
                  <a:pt x="1918" y="658"/>
                </a:cubicBezTo>
                <a:cubicBezTo>
                  <a:pt x="1917" y="659"/>
                  <a:pt x="1917" y="659"/>
                  <a:pt x="1917" y="659"/>
                </a:cubicBezTo>
                <a:cubicBezTo>
                  <a:pt x="1917" y="658"/>
                  <a:pt x="1917" y="658"/>
                  <a:pt x="1917" y="658"/>
                </a:cubicBezTo>
                <a:cubicBezTo>
                  <a:pt x="1917" y="656"/>
                  <a:pt x="1917" y="656"/>
                  <a:pt x="1917" y="656"/>
                </a:cubicBezTo>
                <a:cubicBezTo>
                  <a:pt x="1917" y="655"/>
                  <a:pt x="1917" y="655"/>
                  <a:pt x="1917" y="655"/>
                </a:cubicBezTo>
                <a:cubicBezTo>
                  <a:pt x="1917" y="654"/>
                  <a:pt x="1917" y="654"/>
                  <a:pt x="1917" y="654"/>
                </a:cubicBezTo>
                <a:cubicBezTo>
                  <a:pt x="1916" y="653"/>
                  <a:pt x="1916" y="653"/>
                  <a:pt x="1916" y="653"/>
                </a:cubicBezTo>
                <a:cubicBezTo>
                  <a:pt x="1914" y="649"/>
                  <a:pt x="1914" y="649"/>
                  <a:pt x="1914" y="649"/>
                </a:cubicBezTo>
                <a:cubicBezTo>
                  <a:pt x="1913" y="649"/>
                  <a:pt x="1913" y="649"/>
                  <a:pt x="1913" y="649"/>
                </a:cubicBezTo>
                <a:cubicBezTo>
                  <a:pt x="1912" y="650"/>
                  <a:pt x="1912" y="650"/>
                  <a:pt x="1912" y="650"/>
                </a:cubicBezTo>
                <a:cubicBezTo>
                  <a:pt x="1910" y="649"/>
                  <a:pt x="1910" y="649"/>
                  <a:pt x="1910" y="649"/>
                </a:cubicBezTo>
                <a:cubicBezTo>
                  <a:pt x="1910" y="648"/>
                  <a:pt x="1910" y="648"/>
                  <a:pt x="1910" y="648"/>
                </a:cubicBezTo>
                <a:cubicBezTo>
                  <a:pt x="1909" y="648"/>
                  <a:pt x="1909" y="648"/>
                  <a:pt x="1909" y="648"/>
                </a:cubicBezTo>
                <a:cubicBezTo>
                  <a:pt x="1908" y="647"/>
                  <a:pt x="1908" y="647"/>
                  <a:pt x="1908" y="647"/>
                </a:cubicBezTo>
                <a:cubicBezTo>
                  <a:pt x="1907" y="646"/>
                  <a:pt x="1907" y="646"/>
                  <a:pt x="1907" y="646"/>
                </a:cubicBezTo>
                <a:cubicBezTo>
                  <a:pt x="1908" y="648"/>
                  <a:pt x="1908" y="648"/>
                  <a:pt x="1908" y="648"/>
                </a:cubicBezTo>
                <a:cubicBezTo>
                  <a:pt x="1908" y="649"/>
                  <a:pt x="1908" y="649"/>
                  <a:pt x="1908" y="649"/>
                </a:cubicBezTo>
                <a:cubicBezTo>
                  <a:pt x="1908" y="650"/>
                  <a:pt x="1908" y="650"/>
                  <a:pt x="1908" y="650"/>
                </a:cubicBezTo>
                <a:cubicBezTo>
                  <a:pt x="1909" y="652"/>
                  <a:pt x="1909" y="652"/>
                  <a:pt x="1909" y="652"/>
                </a:cubicBezTo>
                <a:cubicBezTo>
                  <a:pt x="1908" y="654"/>
                  <a:pt x="1908" y="654"/>
                  <a:pt x="1908" y="654"/>
                </a:cubicBezTo>
                <a:cubicBezTo>
                  <a:pt x="1907" y="654"/>
                  <a:pt x="1907" y="654"/>
                  <a:pt x="1907" y="654"/>
                </a:cubicBezTo>
                <a:cubicBezTo>
                  <a:pt x="1906" y="656"/>
                  <a:pt x="1906" y="656"/>
                  <a:pt x="1906" y="656"/>
                </a:cubicBezTo>
                <a:cubicBezTo>
                  <a:pt x="1905" y="655"/>
                  <a:pt x="1905" y="655"/>
                  <a:pt x="1905" y="655"/>
                </a:cubicBezTo>
                <a:cubicBezTo>
                  <a:pt x="1904" y="654"/>
                  <a:pt x="1904" y="654"/>
                  <a:pt x="1904" y="654"/>
                </a:cubicBezTo>
                <a:cubicBezTo>
                  <a:pt x="1905" y="652"/>
                  <a:pt x="1905" y="652"/>
                  <a:pt x="1905" y="652"/>
                </a:cubicBezTo>
                <a:cubicBezTo>
                  <a:pt x="1905" y="651"/>
                  <a:pt x="1905" y="651"/>
                  <a:pt x="1905" y="651"/>
                </a:cubicBezTo>
                <a:cubicBezTo>
                  <a:pt x="1904" y="652"/>
                  <a:pt x="1904" y="652"/>
                  <a:pt x="1904" y="652"/>
                </a:cubicBezTo>
                <a:cubicBezTo>
                  <a:pt x="1904" y="653"/>
                  <a:pt x="1904" y="653"/>
                  <a:pt x="1904" y="653"/>
                </a:cubicBezTo>
                <a:cubicBezTo>
                  <a:pt x="1904" y="654"/>
                  <a:pt x="1904" y="654"/>
                  <a:pt x="1904" y="654"/>
                </a:cubicBezTo>
                <a:cubicBezTo>
                  <a:pt x="1904" y="655"/>
                  <a:pt x="1904" y="655"/>
                  <a:pt x="1904" y="655"/>
                </a:cubicBezTo>
                <a:cubicBezTo>
                  <a:pt x="1904" y="656"/>
                  <a:pt x="1904" y="656"/>
                  <a:pt x="1904" y="656"/>
                </a:cubicBezTo>
                <a:cubicBezTo>
                  <a:pt x="1903" y="656"/>
                  <a:pt x="1903" y="656"/>
                  <a:pt x="1903" y="656"/>
                </a:cubicBezTo>
                <a:cubicBezTo>
                  <a:pt x="1902" y="656"/>
                  <a:pt x="1902" y="656"/>
                  <a:pt x="1902" y="656"/>
                </a:cubicBezTo>
                <a:cubicBezTo>
                  <a:pt x="1902" y="657"/>
                  <a:pt x="1902" y="657"/>
                  <a:pt x="1902" y="657"/>
                </a:cubicBezTo>
                <a:cubicBezTo>
                  <a:pt x="1901" y="657"/>
                  <a:pt x="1901" y="657"/>
                  <a:pt x="1901" y="657"/>
                </a:cubicBezTo>
                <a:cubicBezTo>
                  <a:pt x="1901" y="656"/>
                  <a:pt x="1901" y="656"/>
                  <a:pt x="1901" y="656"/>
                </a:cubicBezTo>
                <a:cubicBezTo>
                  <a:pt x="1900" y="655"/>
                  <a:pt x="1900" y="655"/>
                  <a:pt x="1900" y="655"/>
                </a:cubicBezTo>
                <a:cubicBezTo>
                  <a:pt x="1900" y="655"/>
                  <a:pt x="1900" y="655"/>
                  <a:pt x="1899" y="655"/>
                </a:cubicBezTo>
                <a:cubicBezTo>
                  <a:pt x="1899" y="655"/>
                  <a:pt x="1899" y="655"/>
                  <a:pt x="1900" y="657"/>
                </a:cubicBezTo>
                <a:cubicBezTo>
                  <a:pt x="1900" y="657"/>
                  <a:pt x="1900" y="657"/>
                  <a:pt x="1900" y="658"/>
                </a:cubicBezTo>
                <a:cubicBezTo>
                  <a:pt x="1900" y="658"/>
                  <a:pt x="1900" y="658"/>
                  <a:pt x="1899" y="657"/>
                </a:cubicBezTo>
                <a:cubicBezTo>
                  <a:pt x="1899" y="657"/>
                  <a:pt x="1899" y="657"/>
                  <a:pt x="1899" y="658"/>
                </a:cubicBezTo>
                <a:cubicBezTo>
                  <a:pt x="1899" y="658"/>
                  <a:pt x="1899" y="658"/>
                  <a:pt x="1898" y="657"/>
                </a:cubicBezTo>
                <a:cubicBezTo>
                  <a:pt x="1898" y="657"/>
                  <a:pt x="1898" y="657"/>
                  <a:pt x="1897" y="656"/>
                </a:cubicBezTo>
                <a:cubicBezTo>
                  <a:pt x="1897" y="656"/>
                  <a:pt x="1897" y="656"/>
                  <a:pt x="1896" y="656"/>
                </a:cubicBezTo>
                <a:cubicBezTo>
                  <a:pt x="1896" y="656"/>
                  <a:pt x="1896" y="656"/>
                  <a:pt x="1895" y="656"/>
                </a:cubicBezTo>
                <a:cubicBezTo>
                  <a:pt x="1895" y="656"/>
                  <a:pt x="1895" y="656"/>
                  <a:pt x="1895" y="657"/>
                </a:cubicBezTo>
                <a:cubicBezTo>
                  <a:pt x="1895" y="657"/>
                  <a:pt x="1895" y="657"/>
                  <a:pt x="1894" y="656"/>
                </a:cubicBezTo>
                <a:cubicBezTo>
                  <a:pt x="1894" y="656"/>
                  <a:pt x="1894" y="656"/>
                  <a:pt x="1894" y="655"/>
                </a:cubicBezTo>
                <a:cubicBezTo>
                  <a:pt x="1894" y="655"/>
                  <a:pt x="1894" y="655"/>
                  <a:pt x="1894" y="654"/>
                </a:cubicBezTo>
                <a:cubicBezTo>
                  <a:pt x="1894" y="654"/>
                  <a:pt x="1894" y="654"/>
                  <a:pt x="1893" y="654"/>
                </a:cubicBezTo>
                <a:cubicBezTo>
                  <a:pt x="1893" y="654"/>
                  <a:pt x="1893" y="654"/>
                  <a:pt x="1893" y="655"/>
                </a:cubicBezTo>
                <a:cubicBezTo>
                  <a:pt x="1893" y="655"/>
                  <a:pt x="1893" y="655"/>
                  <a:pt x="1893" y="656"/>
                </a:cubicBezTo>
                <a:cubicBezTo>
                  <a:pt x="1893" y="656"/>
                  <a:pt x="1893" y="656"/>
                  <a:pt x="1892" y="657"/>
                </a:cubicBezTo>
                <a:cubicBezTo>
                  <a:pt x="1892" y="657"/>
                  <a:pt x="1892" y="657"/>
                  <a:pt x="1888" y="659"/>
                </a:cubicBezTo>
                <a:cubicBezTo>
                  <a:pt x="1888" y="659"/>
                  <a:pt x="1888" y="659"/>
                  <a:pt x="1887" y="659"/>
                </a:cubicBezTo>
                <a:cubicBezTo>
                  <a:pt x="1887" y="659"/>
                  <a:pt x="1887" y="659"/>
                  <a:pt x="1887" y="660"/>
                </a:cubicBezTo>
                <a:cubicBezTo>
                  <a:pt x="1887" y="660"/>
                  <a:pt x="1887" y="660"/>
                  <a:pt x="1886" y="661"/>
                </a:cubicBezTo>
                <a:cubicBezTo>
                  <a:pt x="1886" y="661"/>
                  <a:pt x="1886" y="661"/>
                  <a:pt x="1887" y="662"/>
                </a:cubicBezTo>
                <a:cubicBezTo>
                  <a:pt x="1887" y="662"/>
                  <a:pt x="1887" y="662"/>
                  <a:pt x="1887" y="663"/>
                </a:cubicBezTo>
                <a:cubicBezTo>
                  <a:pt x="1887" y="663"/>
                  <a:pt x="1887" y="663"/>
                  <a:pt x="1887" y="664"/>
                </a:cubicBezTo>
                <a:cubicBezTo>
                  <a:pt x="1887" y="664"/>
                  <a:pt x="1887" y="664"/>
                  <a:pt x="1886" y="665"/>
                </a:cubicBezTo>
                <a:cubicBezTo>
                  <a:pt x="1886" y="665"/>
                  <a:pt x="1886" y="665"/>
                  <a:pt x="1886" y="666"/>
                </a:cubicBezTo>
                <a:cubicBezTo>
                  <a:pt x="1886" y="666"/>
                  <a:pt x="1886" y="666"/>
                  <a:pt x="1885" y="667"/>
                </a:cubicBezTo>
                <a:cubicBezTo>
                  <a:pt x="1885" y="667"/>
                  <a:pt x="1885" y="667"/>
                  <a:pt x="1883" y="669"/>
                </a:cubicBezTo>
                <a:cubicBezTo>
                  <a:pt x="1883" y="669"/>
                  <a:pt x="1883" y="669"/>
                  <a:pt x="1883" y="670"/>
                </a:cubicBezTo>
                <a:cubicBezTo>
                  <a:pt x="1883" y="670"/>
                  <a:pt x="1883" y="670"/>
                  <a:pt x="1880" y="671"/>
                </a:cubicBezTo>
                <a:cubicBezTo>
                  <a:pt x="1880" y="671"/>
                  <a:pt x="1880" y="671"/>
                  <a:pt x="1879" y="671"/>
                </a:cubicBezTo>
                <a:cubicBezTo>
                  <a:pt x="1879" y="671"/>
                  <a:pt x="1879" y="671"/>
                  <a:pt x="1879" y="670"/>
                </a:cubicBezTo>
                <a:cubicBezTo>
                  <a:pt x="1879" y="670"/>
                  <a:pt x="1879" y="670"/>
                  <a:pt x="1878" y="670"/>
                </a:cubicBezTo>
                <a:cubicBezTo>
                  <a:pt x="1878" y="670"/>
                  <a:pt x="1878" y="670"/>
                  <a:pt x="1877" y="671"/>
                </a:cubicBezTo>
                <a:cubicBezTo>
                  <a:pt x="1877" y="671"/>
                  <a:pt x="1877" y="671"/>
                  <a:pt x="1876" y="673"/>
                </a:cubicBezTo>
                <a:cubicBezTo>
                  <a:pt x="1876" y="673"/>
                  <a:pt x="1876" y="673"/>
                  <a:pt x="1877" y="672"/>
                </a:cubicBezTo>
                <a:cubicBezTo>
                  <a:pt x="1877" y="672"/>
                  <a:pt x="1877" y="672"/>
                  <a:pt x="1878" y="672"/>
                </a:cubicBezTo>
                <a:cubicBezTo>
                  <a:pt x="1878" y="672"/>
                  <a:pt x="1878" y="672"/>
                  <a:pt x="1874" y="676"/>
                </a:cubicBezTo>
                <a:cubicBezTo>
                  <a:pt x="1874" y="676"/>
                  <a:pt x="1874" y="676"/>
                  <a:pt x="1873" y="679"/>
                </a:cubicBezTo>
                <a:cubicBezTo>
                  <a:pt x="1873" y="679"/>
                  <a:pt x="1873" y="679"/>
                  <a:pt x="1867" y="683"/>
                </a:cubicBezTo>
                <a:cubicBezTo>
                  <a:pt x="1867" y="683"/>
                  <a:pt x="1867" y="683"/>
                  <a:pt x="1866" y="685"/>
                </a:cubicBezTo>
                <a:cubicBezTo>
                  <a:pt x="1866" y="685"/>
                  <a:pt x="1866" y="685"/>
                  <a:pt x="1865" y="686"/>
                </a:cubicBezTo>
                <a:cubicBezTo>
                  <a:pt x="1865" y="686"/>
                  <a:pt x="1865" y="686"/>
                  <a:pt x="1863" y="687"/>
                </a:cubicBezTo>
                <a:cubicBezTo>
                  <a:pt x="1863" y="687"/>
                  <a:pt x="1863" y="687"/>
                  <a:pt x="1861" y="689"/>
                </a:cubicBezTo>
                <a:cubicBezTo>
                  <a:pt x="1861" y="689"/>
                  <a:pt x="1861" y="689"/>
                  <a:pt x="1861" y="690"/>
                </a:cubicBezTo>
                <a:cubicBezTo>
                  <a:pt x="1861" y="690"/>
                  <a:pt x="1861" y="690"/>
                  <a:pt x="1861" y="691"/>
                </a:cubicBezTo>
                <a:cubicBezTo>
                  <a:pt x="1861" y="691"/>
                  <a:pt x="1861" y="691"/>
                  <a:pt x="1860" y="693"/>
                </a:cubicBezTo>
                <a:cubicBezTo>
                  <a:pt x="1860" y="693"/>
                  <a:pt x="1860" y="693"/>
                  <a:pt x="1859" y="694"/>
                </a:cubicBezTo>
                <a:cubicBezTo>
                  <a:pt x="1859" y="694"/>
                  <a:pt x="1859" y="694"/>
                  <a:pt x="1856" y="693"/>
                </a:cubicBezTo>
                <a:cubicBezTo>
                  <a:pt x="1856" y="693"/>
                  <a:pt x="1856" y="693"/>
                  <a:pt x="1855" y="694"/>
                </a:cubicBezTo>
                <a:cubicBezTo>
                  <a:pt x="1855" y="694"/>
                  <a:pt x="1855" y="694"/>
                  <a:pt x="1855" y="696"/>
                </a:cubicBezTo>
                <a:cubicBezTo>
                  <a:pt x="1855" y="696"/>
                  <a:pt x="1855" y="696"/>
                  <a:pt x="1853" y="698"/>
                </a:cubicBezTo>
                <a:cubicBezTo>
                  <a:pt x="1853" y="698"/>
                  <a:pt x="1853" y="698"/>
                  <a:pt x="1852" y="698"/>
                </a:cubicBezTo>
                <a:cubicBezTo>
                  <a:pt x="1852" y="698"/>
                  <a:pt x="1852" y="698"/>
                  <a:pt x="1851" y="697"/>
                </a:cubicBezTo>
                <a:cubicBezTo>
                  <a:pt x="1851" y="697"/>
                  <a:pt x="1851" y="697"/>
                  <a:pt x="1849" y="699"/>
                </a:cubicBezTo>
                <a:cubicBezTo>
                  <a:pt x="1849" y="699"/>
                  <a:pt x="1849" y="699"/>
                  <a:pt x="1848" y="700"/>
                </a:cubicBezTo>
                <a:cubicBezTo>
                  <a:pt x="1848" y="700"/>
                  <a:pt x="1848" y="700"/>
                  <a:pt x="1848" y="702"/>
                </a:cubicBezTo>
                <a:cubicBezTo>
                  <a:pt x="1848" y="702"/>
                  <a:pt x="1848" y="702"/>
                  <a:pt x="1849" y="705"/>
                </a:cubicBezTo>
                <a:cubicBezTo>
                  <a:pt x="1849" y="705"/>
                  <a:pt x="1849" y="705"/>
                  <a:pt x="1848" y="707"/>
                </a:cubicBezTo>
                <a:cubicBezTo>
                  <a:pt x="1848" y="707"/>
                  <a:pt x="1848" y="707"/>
                  <a:pt x="1848" y="708"/>
                </a:cubicBezTo>
                <a:cubicBezTo>
                  <a:pt x="1848" y="708"/>
                  <a:pt x="1848" y="708"/>
                  <a:pt x="1848" y="713"/>
                </a:cubicBezTo>
                <a:cubicBezTo>
                  <a:pt x="1848" y="713"/>
                  <a:pt x="1848" y="713"/>
                  <a:pt x="1850" y="714"/>
                </a:cubicBezTo>
                <a:cubicBezTo>
                  <a:pt x="1850" y="714"/>
                  <a:pt x="1850" y="714"/>
                  <a:pt x="1850" y="717"/>
                </a:cubicBezTo>
                <a:cubicBezTo>
                  <a:pt x="1850" y="717"/>
                  <a:pt x="1850" y="717"/>
                  <a:pt x="1849" y="721"/>
                </a:cubicBezTo>
                <a:cubicBezTo>
                  <a:pt x="1849" y="721"/>
                  <a:pt x="1849" y="721"/>
                  <a:pt x="1847" y="724"/>
                </a:cubicBezTo>
                <a:cubicBezTo>
                  <a:pt x="1847" y="724"/>
                  <a:pt x="1847" y="724"/>
                  <a:pt x="1847" y="726"/>
                </a:cubicBezTo>
                <a:cubicBezTo>
                  <a:pt x="1847" y="726"/>
                  <a:pt x="1847" y="726"/>
                  <a:pt x="1848" y="727"/>
                </a:cubicBezTo>
                <a:cubicBezTo>
                  <a:pt x="1848" y="727"/>
                  <a:pt x="1848" y="727"/>
                  <a:pt x="1848" y="732"/>
                </a:cubicBezTo>
                <a:cubicBezTo>
                  <a:pt x="1848" y="732"/>
                  <a:pt x="1848" y="732"/>
                  <a:pt x="1848" y="734"/>
                </a:cubicBezTo>
                <a:cubicBezTo>
                  <a:pt x="1848" y="734"/>
                  <a:pt x="1848" y="734"/>
                  <a:pt x="1847" y="734"/>
                </a:cubicBezTo>
                <a:cubicBezTo>
                  <a:pt x="1847" y="734"/>
                  <a:pt x="1847" y="734"/>
                  <a:pt x="1846" y="734"/>
                </a:cubicBezTo>
                <a:cubicBezTo>
                  <a:pt x="1846" y="734"/>
                  <a:pt x="1846" y="734"/>
                  <a:pt x="1845" y="734"/>
                </a:cubicBezTo>
                <a:cubicBezTo>
                  <a:pt x="1845" y="734"/>
                  <a:pt x="1845" y="734"/>
                  <a:pt x="1844" y="735"/>
                </a:cubicBezTo>
                <a:cubicBezTo>
                  <a:pt x="1844" y="735"/>
                  <a:pt x="1844" y="735"/>
                  <a:pt x="1844" y="736"/>
                </a:cubicBezTo>
                <a:cubicBezTo>
                  <a:pt x="1844" y="736"/>
                  <a:pt x="1844" y="736"/>
                  <a:pt x="1843" y="738"/>
                </a:cubicBezTo>
                <a:cubicBezTo>
                  <a:pt x="1843" y="738"/>
                  <a:pt x="1843" y="738"/>
                  <a:pt x="1842" y="739"/>
                </a:cubicBezTo>
                <a:cubicBezTo>
                  <a:pt x="1842" y="739"/>
                  <a:pt x="1842" y="739"/>
                  <a:pt x="1842" y="740"/>
                </a:cubicBezTo>
                <a:cubicBezTo>
                  <a:pt x="1842" y="740"/>
                  <a:pt x="1842" y="740"/>
                  <a:pt x="1844" y="741"/>
                </a:cubicBezTo>
                <a:cubicBezTo>
                  <a:pt x="1844" y="741"/>
                  <a:pt x="1844" y="741"/>
                  <a:pt x="1843" y="741"/>
                </a:cubicBezTo>
                <a:cubicBezTo>
                  <a:pt x="1843" y="741"/>
                  <a:pt x="1843" y="741"/>
                  <a:pt x="1841" y="742"/>
                </a:cubicBezTo>
                <a:cubicBezTo>
                  <a:pt x="1841" y="742"/>
                  <a:pt x="1841" y="742"/>
                  <a:pt x="1840" y="741"/>
                </a:cubicBezTo>
                <a:cubicBezTo>
                  <a:pt x="1840" y="741"/>
                  <a:pt x="1840" y="741"/>
                  <a:pt x="1838" y="742"/>
                </a:cubicBezTo>
                <a:cubicBezTo>
                  <a:pt x="1838" y="742"/>
                  <a:pt x="1838" y="742"/>
                  <a:pt x="1837" y="744"/>
                </a:cubicBezTo>
                <a:cubicBezTo>
                  <a:pt x="1837" y="744"/>
                  <a:pt x="1837" y="744"/>
                  <a:pt x="1837" y="745"/>
                </a:cubicBezTo>
                <a:cubicBezTo>
                  <a:pt x="1837" y="745"/>
                  <a:pt x="1837" y="745"/>
                  <a:pt x="1837" y="747"/>
                </a:cubicBezTo>
                <a:cubicBezTo>
                  <a:pt x="1837" y="747"/>
                  <a:pt x="1837" y="747"/>
                  <a:pt x="1834" y="748"/>
                </a:cubicBezTo>
                <a:cubicBezTo>
                  <a:pt x="1834" y="748"/>
                  <a:pt x="1834" y="748"/>
                  <a:pt x="1832" y="748"/>
                </a:cubicBezTo>
                <a:cubicBezTo>
                  <a:pt x="1832" y="748"/>
                  <a:pt x="1832" y="748"/>
                  <a:pt x="1830" y="747"/>
                </a:cubicBezTo>
                <a:cubicBezTo>
                  <a:pt x="1830" y="747"/>
                  <a:pt x="1830" y="747"/>
                  <a:pt x="1828" y="744"/>
                </a:cubicBezTo>
                <a:cubicBezTo>
                  <a:pt x="1828" y="744"/>
                  <a:pt x="1828" y="744"/>
                  <a:pt x="1826" y="740"/>
                </a:cubicBezTo>
                <a:cubicBezTo>
                  <a:pt x="1826" y="740"/>
                  <a:pt x="1826" y="740"/>
                  <a:pt x="1826" y="737"/>
                </a:cubicBezTo>
                <a:cubicBezTo>
                  <a:pt x="1826" y="737"/>
                  <a:pt x="1826" y="737"/>
                  <a:pt x="1825" y="735"/>
                </a:cubicBezTo>
                <a:cubicBezTo>
                  <a:pt x="1825" y="735"/>
                  <a:pt x="1825" y="735"/>
                  <a:pt x="1824" y="732"/>
                </a:cubicBezTo>
                <a:cubicBezTo>
                  <a:pt x="1824" y="732"/>
                  <a:pt x="1824" y="732"/>
                  <a:pt x="1824" y="731"/>
                </a:cubicBezTo>
                <a:cubicBezTo>
                  <a:pt x="1824" y="731"/>
                  <a:pt x="1824" y="731"/>
                  <a:pt x="1823" y="731"/>
                </a:cubicBezTo>
                <a:cubicBezTo>
                  <a:pt x="1823" y="731"/>
                  <a:pt x="1823" y="731"/>
                  <a:pt x="1823" y="729"/>
                </a:cubicBezTo>
                <a:cubicBezTo>
                  <a:pt x="1823" y="729"/>
                  <a:pt x="1823" y="729"/>
                  <a:pt x="1822" y="727"/>
                </a:cubicBezTo>
                <a:cubicBezTo>
                  <a:pt x="1822" y="727"/>
                  <a:pt x="1822" y="727"/>
                  <a:pt x="1820" y="725"/>
                </a:cubicBezTo>
                <a:cubicBezTo>
                  <a:pt x="1820" y="725"/>
                  <a:pt x="1820" y="725"/>
                  <a:pt x="1819" y="723"/>
                </a:cubicBezTo>
                <a:cubicBezTo>
                  <a:pt x="1819" y="723"/>
                  <a:pt x="1819" y="723"/>
                  <a:pt x="1817" y="721"/>
                </a:cubicBezTo>
                <a:cubicBezTo>
                  <a:pt x="1817" y="721"/>
                  <a:pt x="1817" y="721"/>
                  <a:pt x="1816" y="720"/>
                </a:cubicBezTo>
                <a:cubicBezTo>
                  <a:pt x="1816" y="720"/>
                  <a:pt x="1816" y="720"/>
                  <a:pt x="1816" y="719"/>
                </a:cubicBezTo>
                <a:cubicBezTo>
                  <a:pt x="1816" y="719"/>
                  <a:pt x="1816" y="719"/>
                  <a:pt x="1816" y="717"/>
                </a:cubicBezTo>
                <a:cubicBezTo>
                  <a:pt x="1816" y="717"/>
                  <a:pt x="1816" y="717"/>
                  <a:pt x="1815" y="716"/>
                </a:cubicBezTo>
                <a:cubicBezTo>
                  <a:pt x="1815" y="716"/>
                  <a:pt x="1815" y="716"/>
                  <a:pt x="1814" y="713"/>
                </a:cubicBezTo>
                <a:cubicBezTo>
                  <a:pt x="1814" y="713"/>
                  <a:pt x="1814" y="713"/>
                  <a:pt x="1813" y="711"/>
                </a:cubicBezTo>
                <a:cubicBezTo>
                  <a:pt x="1813" y="711"/>
                  <a:pt x="1813" y="711"/>
                  <a:pt x="1813" y="709"/>
                </a:cubicBezTo>
                <a:cubicBezTo>
                  <a:pt x="1813" y="709"/>
                  <a:pt x="1813" y="709"/>
                  <a:pt x="1812" y="708"/>
                </a:cubicBezTo>
                <a:cubicBezTo>
                  <a:pt x="1812" y="708"/>
                  <a:pt x="1812" y="708"/>
                  <a:pt x="1812" y="706"/>
                </a:cubicBezTo>
                <a:cubicBezTo>
                  <a:pt x="1812" y="706"/>
                  <a:pt x="1812" y="706"/>
                  <a:pt x="1810" y="704"/>
                </a:cubicBezTo>
                <a:cubicBezTo>
                  <a:pt x="1810" y="704"/>
                  <a:pt x="1810" y="704"/>
                  <a:pt x="1810" y="703"/>
                </a:cubicBezTo>
                <a:cubicBezTo>
                  <a:pt x="1810" y="703"/>
                  <a:pt x="1810" y="703"/>
                  <a:pt x="1808" y="701"/>
                </a:cubicBezTo>
                <a:cubicBezTo>
                  <a:pt x="1808" y="701"/>
                  <a:pt x="1808" y="701"/>
                  <a:pt x="1808" y="700"/>
                </a:cubicBezTo>
                <a:cubicBezTo>
                  <a:pt x="1808" y="700"/>
                  <a:pt x="1808" y="700"/>
                  <a:pt x="1807" y="699"/>
                </a:cubicBezTo>
                <a:cubicBezTo>
                  <a:pt x="1807" y="699"/>
                  <a:pt x="1807" y="699"/>
                  <a:pt x="1807" y="698"/>
                </a:cubicBezTo>
                <a:cubicBezTo>
                  <a:pt x="1807" y="698"/>
                  <a:pt x="1807" y="698"/>
                  <a:pt x="1806" y="697"/>
                </a:cubicBezTo>
                <a:cubicBezTo>
                  <a:pt x="1806" y="697"/>
                  <a:pt x="1806" y="697"/>
                  <a:pt x="1805" y="694"/>
                </a:cubicBezTo>
                <a:cubicBezTo>
                  <a:pt x="1805" y="694"/>
                  <a:pt x="1805" y="694"/>
                  <a:pt x="1805" y="691"/>
                </a:cubicBezTo>
                <a:cubicBezTo>
                  <a:pt x="1805" y="691"/>
                  <a:pt x="1805" y="691"/>
                  <a:pt x="1802" y="685"/>
                </a:cubicBezTo>
                <a:cubicBezTo>
                  <a:pt x="1802" y="685"/>
                  <a:pt x="1802" y="685"/>
                  <a:pt x="1802" y="684"/>
                </a:cubicBezTo>
                <a:cubicBezTo>
                  <a:pt x="1802" y="684"/>
                  <a:pt x="1802" y="684"/>
                  <a:pt x="1801" y="682"/>
                </a:cubicBezTo>
                <a:cubicBezTo>
                  <a:pt x="1801" y="682"/>
                  <a:pt x="1801" y="682"/>
                  <a:pt x="1802" y="682"/>
                </a:cubicBezTo>
                <a:cubicBezTo>
                  <a:pt x="1802" y="682"/>
                  <a:pt x="1802" y="682"/>
                  <a:pt x="1800" y="679"/>
                </a:cubicBezTo>
                <a:cubicBezTo>
                  <a:pt x="1800" y="679"/>
                  <a:pt x="1800" y="679"/>
                  <a:pt x="1800" y="678"/>
                </a:cubicBezTo>
                <a:cubicBezTo>
                  <a:pt x="1800" y="678"/>
                  <a:pt x="1800" y="678"/>
                  <a:pt x="1801" y="678"/>
                </a:cubicBezTo>
                <a:cubicBezTo>
                  <a:pt x="1801" y="678"/>
                  <a:pt x="1801" y="678"/>
                  <a:pt x="1801" y="677"/>
                </a:cubicBezTo>
                <a:cubicBezTo>
                  <a:pt x="1801" y="677"/>
                  <a:pt x="1801" y="677"/>
                  <a:pt x="1800" y="676"/>
                </a:cubicBezTo>
                <a:cubicBezTo>
                  <a:pt x="1800" y="676"/>
                  <a:pt x="1800" y="676"/>
                  <a:pt x="1799" y="672"/>
                </a:cubicBezTo>
                <a:cubicBezTo>
                  <a:pt x="1799" y="672"/>
                  <a:pt x="1799" y="672"/>
                  <a:pt x="1798" y="670"/>
                </a:cubicBezTo>
                <a:cubicBezTo>
                  <a:pt x="1798" y="670"/>
                  <a:pt x="1798" y="670"/>
                  <a:pt x="1799" y="670"/>
                </a:cubicBezTo>
                <a:cubicBezTo>
                  <a:pt x="1799" y="670"/>
                  <a:pt x="1799" y="670"/>
                  <a:pt x="1798" y="669"/>
                </a:cubicBezTo>
                <a:cubicBezTo>
                  <a:pt x="1798" y="669"/>
                  <a:pt x="1798" y="669"/>
                  <a:pt x="1798" y="668"/>
                </a:cubicBezTo>
                <a:cubicBezTo>
                  <a:pt x="1798" y="668"/>
                  <a:pt x="1798" y="668"/>
                  <a:pt x="1799" y="667"/>
                </a:cubicBezTo>
                <a:cubicBezTo>
                  <a:pt x="1799" y="667"/>
                  <a:pt x="1799" y="667"/>
                  <a:pt x="1799" y="665"/>
                </a:cubicBezTo>
                <a:cubicBezTo>
                  <a:pt x="1799" y="665"/>
                  <a:pt x="1799" y="665"/>
                  <a:pt x="1798" y="663"/>
                </a:cubicBezTo>
                <a:cubicBezTo>
                  <a:pt x="1798" y="663"/>
                  <a:pt x="1798" y="663"/>
                  <a:pt x="1797" y="660"/>
                </a:cubicBezTo>
                <a:cubicBezTo>
                  <a:pt x="1797" y="660"/>
                  <a:pt x="1797" y="660"/>
                  <a:pt x="1798" y="659"/>
                </a:cubicBezTo>
                <a:cubicBezTo>
                  <a:pt x="1798" y="659"/>
                  <a:pt x="1798" y="659"/>
                  <a:pt x="1799" y="658"/>
                </a:cubicBezTo>
                <a:cubicBezTo>
                  <a:pt x="1799" y="658"/>
                  <a:pt x="1799" y="658"/>
                  <a:pt x="1797" y="658"/>
                </a:cubicBezTo>
                <a:cubicBezTo>
                  <a:pt x="1797" y="658"/>
                  <a:pt x="1797" y="658"/>
                  <a:pt x="1797" y="657"/>
                </a:cubicBezTo>
                <a:cubicBezTo>
                  <a:pt x="1797" y="657"/>
                  <a:pt x="1797" y="657"/>
                  <a:pt x="1796" y="656"/>
                </a:cubicBezTo>
                <a:cubicBezTo>
                  <a:pt x="1796" y="656"/>
                  <a:pt x="1796" y="656"/>
                  <a:pt x="1796" y="655"/>
                </a:cubicBezTo>
                <a:cubicBezTo>
                  <a:pt x="1796" y="655"/>
                  <a:pt x="1796" y="655"/>
                  <a:pt x="1797" y="654"/>
                </a:cubicBezTo>
                <a:cubicBezTo>
                  <a:pt x="1797" y="654"/>
                  <a:pt x="1797" y="654"/>
                  <a:pt x="1799" y="653"/>
                </a:cubicBezTo>
                <a:cubicBezTo>
                  <a:pt x="1799" y="653"/>
                  <a:pt x="1799" y="653"/>
                  <a:pt x="1798" y="653"/>
                </a:cubicBezTo>
                <a:cubicBezTo>
                  <a:pt x="1798" y="653"/>
                  <a:pt x="1798" y="653"/>
                  <a:pt x="1797" y="653"/>
                </a:cubicBezTo>
                <a:cubicBezTo>
                  <a:pt x="1797" y="653"/>
                  <a:pt x="1797" y="653"/>
                  <a:pt x="1796" y="653"/>
                </a:cubicBezTo>
                <a:cubicBezTo>
                  <a:pt x="1796" y="653"/>
                  <a:pt x="1796" y="653"/>
                  <a:pt x="1795" y="652"/>
                </a:cubicBezTo>
                <a:cubicBezTo>
                  <a:pt x="1795" y="652"/>
                  <a:pt x="1795" y="652"/>
                  <a:pt x="1795" y="653"/>
                </a:cubicBezTo>
                <a:cubicBezTo>
                  <a:pt x="1795" y="653"/>
                  <a:pt x="1795" y="653"/>
                  <a:pt x="1795" y="654"/>
                </a:cubicBezTo>
                <a:cubicBezTo>
                  <a:pt x="1795" y="654"/>
                  <a:pt x="1795" y="654"/>
                  <a:pt x="1794" y="657"/>
                </a:cubicBezTo>
                <a:cubicBezTo>
                  <a:pt x="1794" y="657"/>
                  <a:pt x="1794" y="657"/>
                  <a:pt x="1795" y="658"/>
                </a:cubicBezTo>
                <a:cubicBezTo>
                  <a:pt x="1795" y="658"/>
                  <a:pt x="1795" y="658"/>
                  <a:pt x="1795" y="660"/>
                </a:cubicBezTo>
                <a:cubicBezTo>
                  <a:pt x="1795" y="660"/>
                  <a:pt x="1795" y="660"/>
                  <a:pt x="1794" y="661"/>
                </a:cubicBezTo>
                <a:cubicBezTo>
                  <a:pt x="1794" y="661"/>
                  <a:pt x="1794" y="661"/>
                  <a:pt x="1794" y="662"/>
                </a:cubicBezTo>
                <a:cubicBezTo>
                  <a:pt x="1794" y="662"/>
                  <a:pt x="1794" y="662"/>
                  <a:pt x="1792" y="663"/>
                </a:cubicBezTo>
                <a:cubicBezTo>
                  <a:pt x="1792" y="663"/>
                  <a:pt x="1792" y="663"/>
                  <a:pt x="1788" y="665"/>
                </a:cubicBezTo>
                <a:cubicBezTo>
                  <a:pt x="1788" y="665"/>
                  <a:pt x="1788" y="665"/>
                  <a:pt x="1787" y="665"/>
                </a:cubicBezTo>
                <a:cubicBezTo>
                  <a:pt x="1787" y="665"/>
                  <a:pt x="1787" y="665"/>
                  <a:pt x="1785" y="665"/>
                </a:cubicBezTo>
                <a:cubicBezTo>
                  <a:pt x="1785" y="665"/>
                  <a:pt x="1785" y="665"/>
                  <a:pt x="1780" y="661"/>
                </a:cubicBezTo>
                <a:cubicBezTo>
                  <a:pt x="1780" y="661"/>
                  <a:pt x="1780" y="661"/>
                  <a:pt x="1778" y="658"/>
                </a:cubicBezTo>
                <a:cubicBezTo>
                  <a:pt x="1778" y="658"/>
                  <a:pt x="1778" y="658"/>
                  <a:pt x="1777" y="658"/>
                </a:cubicBezTo>
                <a:cubicBezTo>
                  <a:pt x="1777" y="658"/>
                  <a:pt x="1777" y="658"/>
                  <a:pt x="1776" y="657"/>
                </a:cubicBezTo>
                <a:cubicBezTo>
                  <a:pt x="1776" y="657"/>
                  <a:pt x="1776" y="657"/>
                  <a:pt x="1774" y="655"/>
                </a:cubicBezTo>
                <a:cubicBezTo>
                  <a:pt x="1774" y="655"/>
                  <a:pt x="1774" y="655"/>
                  <a:pt x="1773" y="654"/>
                </a:cubicBezTo>
                <a:cubicBezTo>
                  <a:pt x="1773" y="654"/>
                  <a:pt x="1773" y="654"/>
                  <a:pt x="1774" y="653"/>
                </a:cubicBezTo>
                <a:cubicBezTo>
                  <a:pt x="1774" y="653"/>
                  <a:pt x="1774" y="653"/>
                  <a:pt x="1775" y="653"/>
                </a:cubicBezTo>
                <a:cubicBezTo>
                  <a:pt x="1775" y="653"/>
                  <a:pt x="1775" y="653"/>
                  <a:pt x="1775" y="655"/>
                </a:cubicBezTo>
                <a:cubicBezTo>
                  <a:pt x="1775" y="655"/>
                  <a:pt x="1775" y="655"/>
                  <a:pt x="1776" y="655"/>
                </a:cubicBezTo>
                <a:cubicBezTo>
                  <a:pt x="1776" y="655"/>
                  <a:pt x="1776" y="655"/>
                  <a:pt x="1777" y="654"/>
                </a:cubicBezTo>
                <a:cubicBezTo>
                  <a:pt x="1777" y="654"/>
                  <a:pt x="1777" y="654"/>
                  <a:pt x="1778" y="655"/>
                </a:cubicBezTo>
                <a:cubicBezTo>
                  <a:pt x="1778" y="655"/>
                  <a:pt x="1778" y="655"/>
                  <a:pt x="1778" y="654"/>
                </a:cubicBezTo>
                <a:cubicBezTo>
                  <a:pt x="1778" y="654"/>
                  <a:pt x="1778" y="654"/>
                  <a:pt x="1781" y="652"/>
                </a:cubicBezTo>
                <a:cubicBezTo>
                  <a:pt x="1781" y="652"/>
                  <a:pt x="1781" y="652"/>
                  <a:pt x="1782" y="652"/>
                </a:cubicBezTo>
                <a:cubicBezTo>
                  <a:pt x="1782" y="652"/>
                  <a:pt x="1782" y="652"/>
                  <a:pt x="1783" y="650"/>
                </a:cubicBezTo>
                <a:cubicBezTo>
                  <a:pt x="1783" y="650"/>
                  <a:pt x="1783" y="650"/>
                  <a:pt x="1784" y="649"/>
                </a:cubicBezTo>
                <a:cubicBezTo>
                  <a:pt x="1784" y="649"/>
                  <a:pt x="1784" y="649"/>
                  <a:pt x="1782" y="649"/>
                </a:cubicBezTo>
                <a:cubicBezTo>
                  <a:pt x="1782" y="649"/>
                  <a:pt x="1782" y="649"/>
                  <a:pt x="1782" y="650"/>
                </a:cubicBezTo>
                <a:cubicBezTo>
                  <a:pt x="1782" y="650"/>
                  <a:pt x="1782" y="650"/>
                  <a:pt x="1779" y="651"/>
                </a:cubicBezTo>
                <a:cubicBezTo>
                  <a:pt x="1779" y="651"/>
                  <a:pt x="1779" y="651"/>
                  <a:pt x="1778" y="651"/>
                </a:cubicBezTo>
                <a:cubicBezTo>
                  <a:pt x="1778" y="651"/>
                  <a:pt x="1778" y="651"/>
                  <a:pt x="1777" y="651"/>
                </a:cubicBezTo>
                <a:cubicBezTo>
                  <a:pt x="1777" y="651"/>
                  <a:pt x="1777" y="651"/>
                  <a:pt x="1773" y="650"/>
                </a:cubicBezTo>
                <a:cubicBezTo>
                  <a:pt x="1773" y="650"/>
                  <a:pt x="1773" y="650"/>
                  <a:pt x="1771" y="648"/>
                </a:cubicBezTo>
                <a:cubicBezTo>
                  <a:pt x="1771" y="648"/>
                  <a:pt x="1771" y="648"/>
                  <a:pt x="1770" y="647"/>
                </a:cubicBezTo>
                <a:cubicBezTo>
                  <a:pt x="1770" y="647"/>
                  <a:pt x="1770" y="647"/>
                  <a:pt x="1770" y="646"/>
                </a:cubicBezTo>
                <a:cubicBezTo>
                  <a:pt x="1770" y="646"/>
                  <a:pt x="1770" y="646"/>
                  <a:pt x="1771" y="644"/>
                </a:cubicBezTo>
                <a:cubicBezTo>
                  <a:pt x="1771" y="644"/>
                  <a:pt x="1771" y="644"/>
                  <a:pt x="1769" y="645"/>
                </a:cubicBezTo>
                <a:cubicBezTo>
                  <a:pt x="1769" y="645"/>
                  <a:pt x="1769" y="645"/>
                  <a:pt x="1768" y="646"/>
                </a:cubicBezTo>
                <a:cubicBezTo>
                  <a:pt x="1768" y="646"/>
                  <a:pt x="1768" y="646"/>
                  <a:pt x="1768" y="645"/>
                </a:cubicBezTo>
                <a:cubicBezTo>
                  <a:pt x="1768" y="645"/>
                  <a:pt x="1768" y="645"/>
                  <a:pt x="1766" y="644"/>
                </a:cubicBezTo>
                <a:cubicBezTo>
                  <a:pt x="1766" y="644"/>
                  <a:pt x="1766" y="644"/>
                  <a:pt x="1764" y="644"/>
                </a:cubicBezTo>
                <a:cubicBezTo>
                  <a:pt x="1764" y="644"/>
                  <a:pt x="1764" y="644"/>
                  <a:pt x="1763" y="644"/>
                </a:cubicBezTo>
                <a:cubicBezTo>
                  <a:pt x="1763" y="644"/>
                  <a:pt x="1763" y="644"/>
                  <a:pt x="1763" y="643"/>
                </a:cubicBezTo>
                <a:cubicBezTo>
                  <a:pt x="1763" y="643"/>
                  <a:pt x="1763" y="643"/>
                  <a:pt x="1762" y="643"/>
                </a:cubicBezTo>
                <a:cubicBezTo>
                  <a:pt x="1762" y="643"/>
                  <a:pt x="1762" y="643"/>
                  <a:pt x="1762" y="642"/>
                </a:cubicBezTo>
                <a:cubicBezTo>
                  <a:pt x="1762" y="642"/>
                  <a:pt x="1762" y="642"/>
                  <a:pt x="1762" y="641"/>
                </a:cubicBezTo>
                <a:cubicBezTo>
                  <a:pt x="1762" y="641"/>
                  <a:pt x="1762" y="641"/>
                  <a:pt x="1762" y="639"/>
                </a:cubicBezTo>
                <a:cubicBezTo>
                  <a:pt x="1762" y="639"/>
                  <a:pt x="1762" y="639"/>
                  <a:pt x="1760" y="637"/>
                </a:cubicBezTo>
                <a:cubicBezTo>
                  <a:pt x="1760" y="637"/>
                  <a:pt x="1760" y="637"/>
                  <a:pt x="1760" y="636"/>
                </a:cubicBezTo>
                <a:cubicBezTo>
                  <a:pt x="1760" y="636"/>
                  <a:pt x="1760" y="636"/>
                  <a:pt x="1758" y="637"/>
                </a:cubicBezTo>
                <a:cubicBezTo>
                  <a:pt x="1758" y="637"/>
                  <a:pt x="1758" y="637"/>
                  <a:pt x="1757" y="637"/>
                </a:cubicBezTo>
                <a:cubicBezTo>
                  <a:pt x="1757" y="637"/>
                  <a:pt x="1757" y="637"/>
                  <a:pt x="1757" y="636"/>
                </a:cubicBezTo>
                <a:cubicBezTo>
                  <a:pt x="1757" y="636"/>
                  <a:pt x="1757" y="636"/>
                  <a:pt x="1758" y="636"/>
                </a:cubicBezTo>
                <a:cubicBezTo>
                  <a:pt x="1758" y="636"/>
                  <a:pt x="1758" y="636"/>
                  <a:pt x="1758" y="635"/>
                </a:cubicBezTo>
                <a:cubicBezTo>
                  <a:pt x="1758" y="635"/>
                  <a:pt x="1758" y="635"/>
                  <a:pt x="1757" y="634"/>
                </a:cubicBezTo>
                <a:cubicBezTo>
                  <a:pt x="1757" y="634"/>
                  <a:pt x="1757" y="634"/>
                  <a:pt x="1756" y="633"/>
                </a:cubicBezTo>
                <a:cubicBezTo>
                  <a:pt x="1756" y="633"/>
                  <a:pt x="1756" y="633"/>
                  <a:pt x="1754" y="633"/>
                </a:cubicBezTo>
                <a:cubicBezTo>
                  <a:pt x="1754" y="633"/>
                  <a:pt x="1754" y="633"/>
                  <a:pt x="1752" y="633"/>
                </a:cubicBezTo>
                <a:cubicBezTo>
                  <a:pt x="1752" y="633"/>
                  <a:pt x="1752" y="633"/>
                  <a:pt x="1751" y="633"/>
                </a:cubicBezTo>
                <a:cubicBezTo>
                  <a:pt x="1751" y="633"/>
                  <a:pt x="1751" y="633"/>
                  <a:pt x="1750" y="633"/>
                </a:cubicBezTo>
                <a:cubicBezTo>
                  <a:pt x="1750" y="633"/>
                  <a:pt x="1750" y="633"/>
                  <a:pt x="1749" y="633"/>
                </a:cubicBezTo>
                <a:cubicBezTo>
                  <a:pt x="1749" y="633"/>
                  <a:pt x="1749" y="633"/>
                  <a:pt x="1748" y="634"/>
                </a:cubicBezTo>
                <a:cubicBezTo>
                  <a:pt x="1748" y="634"/>
                  <a:pt x="1748" y="634"/>
                  <a:pt x="1747" y="633"/>
                </a:cubicBezTo>
                <a:cubicBezTo>
                  <a:pt x="1747" y="633"/>
                  <a:pt x="1747" y="633"/>
                  <a:pt x="1745" y="633"/>
                </a:cubicBezTo>
                <a:cubicBezTo>
                  <a:pt x="1745" y="633"/>
                  <a:pt x="1745" y="633"/>
                  <a:pt x="1744" y="635"/>
                </a:cubicBezTo>
                <a:cubicBezTo>
                  <a:pt x="1744" y="635"/>
                  <a:pt x="1744" y="635"/>
                  <a:pt x="1743" y="635"/>
                </a:cubicBezTo>
                <a:cubicBezTo>
                  <a:pt x="1743" y="635"/>
                  <a:pt x="1743" y="635"/>
                  <a:pt x="1742" y="634"/>
                </a:cubicBezTo>
                <a:cubicBezTo>
                  <a:pt x="1742" y="634"/>
                  <a:pt x="1742" y="634"/>
                  <a:pt x="1741" y="634"/>
                </a:cubicBezTo>
                <a:cubicBezTo>
                  <a:pt x="1741" y="634"/>
                  <a:pt x="1741" y="634"/>
                  <a:pt x="1741" y="633"/>
                </a:cubicBezTo>
                <a:cubicBezTo>
                  <a:pt x="1741" y="633"/>
                  <a:pt x="1741" y="633"/>
                  <a:pt x="1740" y="633"/>
                </a:cubicBezTo>
                <a:cubicBezTo>
                  <a:pt x="1740" y="633"/>
                  <a:pt x="1740" y="633"/>
                  <a:pt x="1740" y="634"/>
                </a:cubicBezTo>
                <a:cubicBezTo>
                  <a:pt x="1740" y="634"/>
                  <a:pt x="1740" y="634"/>
                  <a:pt x="1739" y="634"/>
                </a:cubicBezTo>
                <a:cubicBezTo>
                  <a:pt x="1739" y="634"/>
                  <a:pt x="1739" y="634"/>
                  <a:pt x="1738" y="633"/>
                </a:cubicBezTo>
                <a:cubicBezTo>
                  <a:pt x="1738" y="633"/>
                  <a:pt x="1738" y="633"/>
                  <a:pt x="1737" y="634"/>
                </a:cubicBezTo>
                <a:cubicBezTo>
                  <a:pt x="1737" y="634"/>
                  <a:pt x="1737" y="634"/>
                  <a:pt x="1736" y="634"/>
                </a:cubicBezTo>
                <a:cubicBezTo>
                  <a:pt x="1736" y="634"/>
                  <a:pt x="1736" y="634"/>
                  <a:pt x="1735" y="634"/>
                </a:cubicBezTo>
                <a:cubicBezTo>
                  <a:pt x="1735" y="634"/>
                  <a:pt x="1735" y="634"/>
                  <a:pt x="1734" y="634"/>
                </a:cubicBezTo>
                <a:cubicBezTo>
                  <a:pt x="1734" y="634"/>
                  <a:pt x="1734" y="634"/>
                  <a:pt x="1733" y="634"/>
                </a:cubicBezTo>
                <a:cubicBezTo>
                  <a:pt x="1733" y="634"/>
                  <a:pt x="1733" y="634"/>
                  <a:pt x="1732" y="635"/>
                </a:cubicBezTo>
                <a:cubicBezTo>
                  <a:pt x="1732" y="635"/>
                  <a:pt x="1732" y="635"/>
                  <a:pt x="1731" y="635"/>
                </a:cubicBezTo>
                <a:cubicBezTo>
                  <a:pt x="1731" y="635"/>
                  <a:pt x="1731" y="635"/>
                  <a:pt x="1730" y="635"/>
                </a:cubicBezTo>
                <a:cubicBezTo>
                  <a:pt x="1730" y="635"/>
                  <a:pt x="1730" y="635"/>
                  <a:pt x="1728" y="636"/>
                </a:cubicBezTo>
                <a:cubicBezTo>
                  <a:pt x="1728" y="636"/>
                  <a:pt x="1728" y="636"/>
                  <a:pt x="1727" y="636"/>
                </a:cubicBezTo>
                <a:cubicBezTo>
                  <a:pt x="1727" y="636"/>
                  <a:pt x="1727" y="636"/>
                  <a:pt x="1727" y="635"/>
                </a:cubicBezTo>
                <a:cubicBezTo>
                  <a:pt x="1727" y="635"/>
                  <a:pt x="1727" y="635"/>
                  <a:pt x="1726" y="635"/>
                </a:cubicBezTo>
                <a:cubicBezTo>
                  <a:pt x="1726" y="635"/>
                  <a:pt x="1726" y="635"/>
                  <a:pt x="1725" y="636"/>
                </a:cubicBezTo>
                <a:cubicBezTo>
                  <a:pt x="1725" y="636"/>
                  <a:pt x="1725" y="636"/>
                  <a:pt x="1723" y="635"/>
                </a:cubicBezTo>
                <a:cubicBezTo>
                  <a:pt x="1723" y="635"/>
                  <a:pt x="1723" y="635"/>
                  <a:pt x="1721" y="634"/>
                </a:cubicBezTo>
                <a:cubicBezTo>
                  <a:pt x="1721" y="634"/>
                  <a:pt x="1721" y="634"/>
                  <a:pt x="1721" y="633"/>
                </a:cubicBezTo>
                <a:cubicBezTo>
                  <a:pt x="1721" y="633"/>
                  <a:pt x="1721" y="633"/>
                  <a:pt x="1720" y="633"/>
                </a:cubicBezTo>
                <a:cubicBezTo>
                  <a:pt x="1720" y="633"/>
                  <a:pt x="1720" y="633"/>
                  <a:pt x="1720" y="634"/>
                </a:cubicBezTo>
                <a:cubicBezTo>
                  <a:pt x="1720" y="634"/>
                  <a:pt x="1720" y="634"/>
                  <a:pt x="1719" y="635"/>
                </a:cubicBezTo>
                <a:cubicBezTo>
                  <a:pt x="1719" y="635"/>
                  <a:pt x="1719" y="635"/>
                  <a:pt x="1718" y="634"/>
                </a:cubicBezTo>
                <a:cubicBezTo>
                  <a:pt x="1718" y="634"/>
                  <a:pt x="1718" y="634"/>
                  <a:pt x="1717" y="634"/>
                </a:cubicBezTo>
                <a:cubicBezTo>
                  <a:pt x="1717" y="634"/>
                  <a:pt x="1717" y="634"/>
                  <a:pt x="1714" y="633"/>
                </a:cubicBezTo>
                <a:cubicBezTo>
                  <a:pt x="1714" y="633"/>
                  <a:pt x="1714" y="633"/>
                  <a:pt x="1712" y="633"/>
                </a:cubicBezTo>
                <a:cubicBezTo>
                  <a:pt x="1712" y="633"/>
                  <a:pt x="1712" y="633"/>
                  <a:pt x="1709" y="633"/>
                </a:cubicBezTo>
                <a:cubicBezTo>
                  <a:pt x="1709" y="633"/>
                  <a:pt x="1709" y="633"/>
                  <a:pt x="1707" y="631"/>
                </a:cubicBezTo>
                <a:cubicBezTo>
                  <a:pt x="1707" y="631"/>
                  <a:pt x="1707" y="631"/>
                  <a:pt x="1706" y="631"/>
                </a:cubicBezTo>
                <a:cubicBezTo>
                  <a:pt x="1706" y="631"/>
                  <a:pt x="1706" y="631"/>
                  <a:pt x="1705" y="633"/>
                </a:cubicBezTo>
                <a:cubicBezTo>
                  <a:pt x="1705" y="633"/>
                  <a:pt x="1705" y="633"/>
                  <a:pt x="1704" y="632"/>
                </a:cubicBezTo>
                <a:cubicBezTo>
                  <a:pt x="1704" y="632"/>
                  <a:pt x="1704" y="632"/>
                  <a:pt x="1702" y="632"/>
                </a:cubicBezTo>
                <a:cubicBezTo>
                  <a:pt x="1702" y="632"/>
                  <a:pt x="1702" y="632"/>
                  <a:pt x="1699" y="632"/>
                </a:cubicBezTo>
                <a:cubicBezTo>
                  <a:pt x="1699" y="632"/>
                  <a:pt x="1699" y="632"/>
                  <a:pt x="1699" y="631"/>
                </a:cubicBezTo>
                <a:cubicBezTo>
                  <a:pt x="1699" y="631"/>
                  <a:pt x="1699" y="631"/>
                  <a:pt x="1698" y="631"/>
                </a:cubicBezTo>
                <a:cubicBezTo>
                  <a:pt x="1698" y="631"/>
                  <a:pt x="1698" y="631"/>
                  <a:pt x="1698" y="629"/>
                </a:cubicBezTo>
                <a:cubicBezTo>
                  <a:pt x="1698" y="629"/>
                  <a:pt x="1698" y="629"/>
                  <a:pt x="1697" y="627"/>
                </a:cubicBezTo>
                <a:cubicBezTo>
                  <a:pt x="1697" y="627"/>
                  <a:pt x="1697" y="627"/>
                  <a:pt x="1696" y="624"/>
                </a:cubicBezTo>
                <a:cubicBezTo>
                  <a:pt x="1696" y="624"/>
                  <a:pt x="1696" y="624"/>
                  <a:pt x="1695" y="623"/>
                </a:cubicBezTo>
                <a:cubicBezTo>
                  <a:pt x="1695" y="623"/>
                  <a:pt x="1695" y="623"/>
                  <a:pt x="1695" y="622"/>
                </a:cubicBezTo>
                <a:cubicBezTo>
                  <a:pt x="1695" y="622"/>
                  <a:pt x="1695" y="622"/>
                  <a:pt x="1694" y="622"/>
                </a:cubicBezTo>
                <a:cubicBezTo>
                  <a:pt x="1694" y="622"/>
                  <a:pt x="1694" y="622"/>
                  <a:pt x="1692" y="621"/>
                </a:cubicBezTo>
                <a:cubicBezTo>
                  <a:pt x="1692" y="621"/>
                  <a:pt x="1692" y="621"/>
                  <a:pt x="1691" y="622"/>
                </a:cubicBezTo>
                <a:cubicBezTo>
                  <a:pt x="1691" y="622"/>
                  <a:pt x="1691" y="622"/>
                  <a:pt x="1689" y="623"/>
                </a:cubicBezTo>
                <a:cubicBezTo>
                  <a:pt x="1689" y="623"/>
                  <a:pt x="1689" y="623"/>
                  <a:pt x="1688" y="623"/>
                </a:cubicBezTo>
                <a:cubicBezTo>
                  <a:pt x="1688" y="623"/>
                  <a:pt x="1688" y="623"/>
                  <a:pt x="1685" y="625"/>
                </a:cubicBezTo>
                <a:cubicBezTo>
                  <a:pt x="1685" y="625"/>
                  <a:pt x="1685" y="625"/>
                  <a:pt x="1683" y="627"/>
                </a:cubicBezTo>
                <a:cubicBezTo>
                  <a:pt x="1683" y="627"/>
                  <a:pt x="1683" y="627"/>
                  <a:pt x="1680" y="625"/>
                </a:cubicBezTo>
                <a:cubicBezTo>
                  <a:pt x="1680" y="625"/>
                  <a:pt x="1680" y="625"/>
                  <a:pt x="1678" y="624"/>
                </a:cubicBezTo>
                <a:cubicBezTo>
                  <a:pt x="1678" y="624"/>
                  <a:pt x="1678" y="624"/>
                  <a:pt x="1677" y="625"/>
                </a:cubicBezTo>
                <a:cubicBezTo>
                  <a:pt x="1677" y="625"/>
                  <a:pt x="1677" y="625"/>
                  <a:pt x="1676" y="625"/>
                </a:cubicBezTo>
                <a:cubicBezTo>
                  <a:pt x="1676" y="625"/>
                  <a:pt x="1676" y="625"/>
                  <a:pt x="1674" y="623"/>
                </a:cubicBezTo>
                <a:cubicBezTo>
                  <a:pt x="1674" y="623"/>
                  <a:pt x="1674" y="623"/>
                  <a:pt x="1673" y="623"/>
                </a:cubicBezTo>
                <a:cubicBezTo>
                  <a:pt x="1673" y="623"/>
                  <a:pt x="1673" y="623"/>
                  <a:pt x="1672" y="622"/>
                </a:cubicBezTo>
                <a:cubicBezTo>
                  <a:pt x="1672" y="622"/>
                  <a:pt x="1672" y="622"/>
                  <a:pt x="1671" y="622"/>
                </a:cubicBezTo>
                <a:cubicBezTo>
                  <a:pt x="1671" y="622"/>
                  <a:pt x="1671" y="622"/>
                  <a:pt x="1669" y="620"/>
                </a:cubicBezTo>
                <a:cubicBezTo>
                  <a:pt x="1669" y="620"/>
                  <a:pt x="1669" y="620"/>
                  <a:pt x="1669" y="619"/>
                </a:cubicBezTo>
                <a:cubicBezTo>
                  <a:pt x="1669" y="619"/>
                  <a:pt x="1669" y="619"/>
                  <a:pt x="1668" y="619"/>
                </a:cubicBezTo>
                <a:cubicBezTo>
                  <a:pt x="1668" y="619"/>
                  <a:pt x="1668" y="619"/>
                  <a:pt x="1668" y="618"/>
                </a:cubicBezTo>
                <a:cubicBezTo>
                  <a:pt x="1668" y="618"/>
                  <a:pt x="1668" y="618"/>
                  <a:pt x="1666" y="618"/>
                </a:cubicBezTo>
                <a:cubicBezTo>
                  <a:pt x="1666" y="618"/>
                  <a:pt x="1666" y="618"/>
                  <a:pt x="1665" y="617"/>
                </a:cubicBezTo>
                <a:cubicBezTo>
                  <a:pt x="1665" y="617"/>
                  <a:pt x="1665" y="617"/>
                  <a:pt x="1663" y="617"/>
                </a:cubicBezTo>
                <a:cubicBezTo>
                  <a:pt x="1663" y="617"/>
                  <a:pt x="1663" y="617"/>
                  <a:pt x="1661" y="617"/>
                </a:cubicBezTo>
                <a:cubicBezTo>
                  <a:pt x="1661" y="617"/>
                  <a:pt x="1661" y="617"/>
                  <a:pt x="1660" y="616"/>
                </a:cubicBezTo>
                <a:cubicBezTo>
                  <a:pt x="1660" y="616"/>
                  <a:pt x="1660" y="616"/>
                  <a:pt x="1658" y="612"/>
                </a:cubicBezTo>
                <a:cubicBezTo>
                  <a:pt x="1658" y="612"/>
                  <a:pt x="1658" y="612"/>
                  <a:pt x="1658" y="611"/>
                </a:cubicBezTo>
                <a:cubicBezTo>
                  <a:pt x="1658" y="611"/>
                  <a:pt x="1658" y="611"/>
                  <a:pt x="1657" y="611"/>
                </a:cubicBezTo>
                <a:cubicBezTo>
                  <a:pt x="1657" y="611"/>
                  <a:pt x="1657" y="611"/>
                  <a:pt x="1656" y="610"/>
                </a:cubicBezTo>
                <a:cubicBezTo>
                  <a:pt x="1656" y="610"/>
                  <a:pt x="1656" y="610"/>
                  <a:pt x="1657" y="610"/>
                </a:cubicBezTo>
                <a:cubicBezTo>
                  <a:pt x="1657" y="610"/>
                  <a:pt x="1657" y="610"/>
                  <a:pt x="1657" y="609"/>
                </a:cubicBezTo>
                <a:cubicBezTo>
                  <a:pt x="1657" y="609"/>
                  <a:pt x="1657" y="609"/>
                  <a:pt x="1656" y="609"/>
                </a:cubicBezTo>
                <a:cubicBezTo>
                  <a:pt x="1656" y="609"/>
                  <a:pt x="1656" y="609"/>
                  <a:pt x="1655" y="609"/>
                </a:cubicBezTo>
                <a:cubicBezTo>
                  <a:pt x="1655" y="609"/>
                  <a:pt x="1655" y="609"/>
                  <a:pt x="1655" y="607"/>
                </a:cubicBezTo>
                <a:cubicBezTo>
                  <a:pt x="1655" y="607"/>
                  <a:pt x="1655" y="607"/>
                  <a:pt x="1653" y="604"/>
                </a:cubicBezTo>
                <a:cubicBezTo>
                  <a:pt x="1653" y="604"/>
                  <a:pt x="1653" y="604"/>
                  <a:pt x="1652" y="603"/>
                </a:cubicBezTo>
                <a:cubicBezTo>
                  <a:pt x="1652" y="603"/>
                  <a:pt x="1652" y="603"/>
                  <a:pt x="1651" y="601"/>
                </a:cubicBezTo>
                <a:cubicBezTo>
                  <a:pt x="1651" y="601"/>
                  <a:pt x="1651" y="601"/>
                  <a:pt x="1650" y="601"/>
                </a:cubicBezTo>
                <a:cubicBezTo>
                  <a:pt x="1650" y="601"/>
                  <a:pt x="1650" y="601"/>
                  <a:pt x="1648" y="602"/>
                </a:cubicBezTo>
                <a:cubicBezTo>
                  <a:pt x="1648" y="602"/>
                  <a:pt x="1648" y="602"/>
                  <a:pt x="1647" y="601"/>
                </a:cubicBezTo>
                <a:cubicBezTo>
                  <a:pt x="1647" y="601"/>
                  <a:pt x="1647" y="601"/>
                  <a:pt x="1645" y="601"/>
                </a:cubicBezTo>
                <a:cubicBezTo>
                  <a:pt x="1645" y="601"/>
                  <a:pt x="1645" y="601"/>
                  <a:pt x="1645" y="602"/>
                </a:cubicBezTo>
                <a:cubicBezTo>
                  <a:pt x="1645" y="602"/>
                  <a:pt x="1645" y="602"/>
                  <a:pt x="1644" y="602"/>
                </a:cubicBezTo>
                <a:cubicBezTo>
                  <a:pt x="1644" y="602"/>
                  <a:pt x="1644" y="602"/>
                  <a:pt x="1643" y="602"/>
                </a:cubicBezTo>
                <a:cubicBezTo>
                  <a:pt x="1643" y="602"/>
                  <a:pt x="1643" y="602"/>
                  <a:pt x="1642" y="601"/>
                </a:cubicBezTo>
                <a:cubicBezTo>
                  <a:pt x="1642" y="601"/>
                  <a:pt x="1642" y="601"/>
                  <a:pt x="1641" y="601"/>
                </a:cubicBezTo>
                <a:cubicBezTo>
                  <a:pt x="1641" y="601"/>
                  <a:pt x="1641" y="601"/>
                  <a:pt x="1640" y="603"/>
                </a:cubicBezTo>
                <a:cubicBezTo>
                  <a:pt x="1640" y="603"/>
                  <a:pt x="1640" y="603"/>
                  <a:pt x="1641" y="606"/>
                </a:cubicBezTo>
                <a:cubicBezTo>
                  <a:pt x="1641" y="606"/>
                  <a:pt x="1641" y="606"/>
                  <a:pt x="1637" y="607"/>
                </a:cubicBezTo>
                <a:cubicBezTo>
                  <a:pt x="1637" y="607"/>
                  <a:pt x="1637" y="607"/>
                  <a:pt x="1640" y="608"/>
                </a:cubicBezTo>
                <a:cubicBezTo>
                  <a:pt x="1640" y="608"/>
                  <a:pt x="1640" y="608"/>
                  <a:pt x="1640" y="609"/>
                </a:cubicBezTo>
                <a:cubicBezTo>
                  <a:pt x="1640" y="609"/>
                  <a:pt x="1640" y="609"/>
                  <a:pt x="1640" y="610"/>
                </a:cubicBezTo>
                <a:cubicBezTo>
                  <a:pt x="1640" y="610"/>
                  <a:pt x="1640" y="610"/>
                  <a:pt x="1641" y="610"/>
                </a:cubicBezTo>
                <a:cubicBezTo>
                  <a:pt x="1641" y="610"/>
                  <a:pt x="1641" y="610"/>
                  <a:pt x="1641" y="611"/>
                </a:cubicBezTo>
                <a:cubicBezTo>
                  <a:pt x="1641" y="611"/>
                  <a:pt x="1641" y="611"/>
                  <a:pt x="1642" y="612"/>
                </a:cubicBezTo>
                <a:cubicBezTo>
                  <a:pt x="1642" y="612"/>
                  <a:pt x="1642" y="612"/>
                  <a:pt x="1642" y="613"/>
                </a:cubicBezTo>
                <a:cubicBezTo>
                  <a:pt x="1642" y="613"/>
                  <a:pt x="1642" y="613"/>
                  <a:pt x="1643" y="613"/>
                </a:cubicBezTo>
                <a:cubicBezTo>
                  <a:pt x="1643" y="613"/>
                  <a:pt x="1643" y="613"/>
                  <a:pt x="1644" y="615"/>
                </a:cubicBezTo>
                <a:cubicBezTo>
                  <a:pt x="1644" y="615"/>
                  <a:pt x="1644" y="615"/>
                  <a:pt x="1645" y="618"/>
                </a:cubicBezTo>
                <a:cubicBezTo>
                  <a:pt x="1645" y="618"/>
                  <a:pt x="1645" y="618"/>
                  <a:pt x="1647" y="618"/>
                </a:cubicBezTo>
                <a:cubicBezTo>
                  <a:pt x="1647" y="618"/>
                  <a:pt x="1647" y="618"/>
                  <a:pt x="1648" y="619"/>
                </a:cubicBezTo>
                <a:cubicBezTo>
                  <a:pt x="1648" y="619"/>
                  <a:pt x="1648" y="619"/>
                  <a:pt x="1648" y="620"/>
                </a:cubicBezTo>
                <a:cubicBezTo>
                  <a:pt x="1648" y="620"/>
                  <a:pt x="1648" y="620"/>
                  <a:pt x="1648" y="621"/>
                </a:cubicBezTo>
                <a:cubicBezTo>
                  <a:pt x="1648" y="621"/>
                  <a:pt x="1648" y="621"/>
                  <a:pt x="1649" y="621"/>
                </a:cubicBezTo>
                <a:cubicBezTo>
                  <a:pt x="1649" y="621"/>
                  <a:pt x="1649" y="621"/>
                  <a:pt x="1651" y="624"/>
                </a:cubicBezTo>
                <a:cubicBezTo>
                  <a:pt x="1651" y="624"/>
                  <a:pt x="1651" y="624"/>
                  <a:pt x="1652" y="624"/>
                </a:cubicBezTo>
                <a:cubicBezTo>
                  <a:pt x="1652" y="624"/>
                  <a:pt x="1652" y="624"/>
                  <a:pt x="1653" y="625"/>
                </a:cubicBezTo>
                <a:cubicBezTo>
                  <a:pt x="1653" y="625"/>
                  <a:pt x="1653" y="625"/>
                  <a:pt x="1653" y="626"/>
                </a:cubicBezTo>
                <a:cubicBezTo>
                  <a:pt x="1653" y="626"/>
                  <a:pt x="1653" y="626"/>
                  <a:pt x="1654" y="629"/>
                </a:cubicBezTo>
                <a:cubicBezTo>
                  <a:pt x="1654" y="629"/>
                  <a:pt x="1654" y="629"/>
                  <a:pt x="1653" y="629"/>
                </a:cubicBezTo>
                <a:cubicBezTo>
                  <a:pt x="1653" y="629"/>
                  <a:pt x="1653" y="629"/>
                  <a:pt x="1654" y="631"/>
                </a:cubicBezTo>
                <a:cubicBezTo>
                  <a:pt x="1654" y="631"/>
                  <a:pt x="1654" y="631"/>
                  <a:pt x="1657" y="635"/>
                </a:cubicBezTo>
                <a:cubicBezTo>
                  <a:pt x="1657" y="635"/>
                  <a:pt x="1657" y="635"/>
                  <a:pt x="1657" y="636"/>
                </a:cubicBezTo>
                <a:cubicBezTo>
                  <a:pt x="1657" y="636"/>
                  <a:pt x="1657" y="636"/>
                  <a:pt x="1658" y="638"/>
                </a:cubicBezTo>
                <a:cubicBezTo>
                  <a:pt x="1658" y="638"/>
                  <a:pt x="1658" y="638"/>
                  <a:pt x="1659" y="637"/>
                </a:cubicBezTo>
                <a:cubicBezTo>
                  <a:pt x="1659" y="637"/>
                  <a:pt x="1659" y="637"/>
                  <a:pt x="1659" y="636"/>
                </a:cubicBezTo>
                <a:cubicBezTo>
                  <a:pt x="1659" y="636"/>
                  <a:pt x="1659" y="636"/>
                  <a:pt x="1659" y="635"/>
                </a:cubicBezTo>
                <a:cubicBezTo>
                  <a:pt x="1659" y="635"/>
                  <a:pt x="1659" y="635"/>
                  <a:pt x="1658" y="635"/>
                </a:cubicBezTo>
                <a:cubicBezTo>
                  <a:pt x="1658" y="635"/>
                  <a:pt x="1658" y="635"/>
                  <a:pt x="1659" y="633"/>
                </a:cubicBezTo>
                <a:cubicBezTo>
                  <a:pt x="1659" y="633"/>
                  <a:pt x="1659" y="633"/>
                  <a:pt x="1659" y="631"/>
                </a:cubicBezTo>
                <a:cubicBezTo>
                  <a:pt x="1659" y="631"/>
                  <a:pt x="1659" y="631"/>
                  <a:pt x="1659" y="630"/>
                </a:cubicBezTo>
                <a:cubicBezTo>
                  <a:pt x="1659" y="630"/>
                  <a:pt x="1659" y="630"/>
                  <a:pt x="1660" y="630"/>
                </a:cubicBezTo>
                <a:cubicBezTo>
                  <a:pt x="1660" y="630"/>
                  <a:pt x="1660" y="630"/>
                  <a:pt x="1660" y="629"/>
                </a:cubicBezTo>
                <a:cubicBezTo>
                  <a:pt x="1660" y="629"/>
                  <a:pt x="1660" y="629"/>
                  <a:pt x="1661" y="629"/>
                </a:cubicBezTo>
                <a:cubicBezTo>
                  <a:pt x="1661" y="629"/>
                  <a:pt x="1661" y="629"/>
                  <a:pt x="1662" y="629"/>
                </a:cubicBezTo>
                <a:cubicBezTo>
                  <a:pt x="1662" y="629"/>
                  <a:pt x="1662" y="629"/>
                  <a:pt x="1662" y="630"/>
                </a:cubicBezTo>
                <a:cubicBezTo>
                  <a:pt x="1662" y="630"/>
                  <a:pt x="1662" y="630"/>
                  <a:pt x="1663" y="630"/>
                </a:cubicBezTo>
                <a:cubicBezTo>
                  <a:pt x="1663" y="630"/>
                  <a:pt x="1663" y="630"/>
                  <a:pt x="1662" y="633"/>
                </a:cubicBezTo>
                <a:cubicBezTo>
                  <a:pt x="1662" y="633"/>
                  <a:pt x="1662" y="633"/>
                  <a:pt x="1662" y="635"/>
                </a:cubicBezTo>
                <a:cubicBezTo>
                  <a:pt x="1662" y="635"/>
                  <a:pt x="1662" y="635"/>
                  <a:pt x="1663" y="635"/>
                </a:cubicBezTo>
                <a:cubicBezTo>
                  <a:pt x="1663" y="635"/>
                  <a:pt x="1663" y="635"/>
                  <a:pt x="1663" y="636"/>
                </a:cubicBezTo>
                <a:cubicBezTo>
                  <a:pt x="1663" y="636"/>
                  <a:pt x="1663" y="636"/>
                  <a:pt x="1663" y="639"/>
                </a:cubicBezTo>
                <a:cubicBezTo>
                  <a:pt x="1663" y="639"/>
                  <a:pt x="1663" y="639"/>
                  <a:pt x="1663" y="640"/>
                </a:cubicBezTo>
                <a:cubicBezTo>
                  <a:pt x="1663" y="640"/>
                  <a:pt x="1663" y="640"/>
                  <a:pt x="1663" y="641"/>
                </a:cubicBezTo>
                <a:cubicBezTo>
                  <a:pt x="1663" y="641"/>
                  <a:pt x="1663" y="641"/>
                  <a:pt x="1663" y="642"/>
                </a:cubicBezTo>
                <a:cubicBezTo>
                  <a:pt x="1663" y="642"/>
                  <a:pt x="1663" y="642"/>
                  <a:pt x="1664" y="642"/>
                </a:cubicBezTo>
                <a:cubicBezTo>
                  <a:pt x="1664" y="642"/>
                  <a:pt x="1664" y="642"/>
                  <a:pt x="1665" y="641"/>
                </a:cubicBezTo>
                <a:cubicBezTo>
                  <a:pt x="1665" y="641"/>
                  <a:pt x="1665" y="641"/>
                  <a:pt x="1665" y="644"/>
                </a:cubicBezTo>
                <a:cubicBezTo>
                  <a:pt x="1665" y="644"/>
                  <a:pt x="1665" y="644"/>
                  <a:pt x="1666" y="644"/>
                </a:cubicBezTo>
                <a:cubicBezTo>
                  <a:pt x="1666" y="644"/>
                  <a:pt x="1666" y="644"/>
                  <a:pt x="1667" y="644"/>
                </a:cubicBezTo>
                <a:cubicBezTo>
                  <a:pt x="1667" y="644"/>
                  <a:pt x="1667" y="644"/>
                  <a:pt x="1668" y="644"/>
                </a:cubicBezTo>
                <a:cubicBezTo>
                  <a:pt x="1668" y="644"/>
                  <a:pt x="1668" y="644"/>
                  <a:pt x="1671" y="642"/>
                </a:cubicBezTo>
                <a:cubicBezTo>
                  <a:pt x="1671" y="642"/>
                  <a:pt x="1671" y="642"/>
                  <a:pt x="1673" y="643"/>
                </a:cubicBezTo>
                <a:cubicBezTo>
                  <a:pt x="1673" y="643"/>
                  <a:pt x="1673" y="643"/>
                  <a:pt x="1674" y="642"/>
                </a:cubicBezTo>
                <a:cubicBezTo>
                  <a:pt x="1674" y="642"/>
                  <a:pt x="1674" y="642"/>
                  <a:pt x="1674" y="643"/>
                </a:cubicBezTo>
                <a:cubicBezTo>
                  <a:pt x="1674" y="643"/>
                  <a:pt x="1674" y="643"/>
                  <a:pt x="1675" y="643"/>
                </a:cubicBezTo>
                <a:cubicBezTo>
                  <a:pt x="1675" y="643"/>
                  <a:pt x="1675" y="643"/>
                  <a:pt x="1676" y="643"/>
                </a:cubicBezTo>
                <a:cubicBezTo>
                  <a:pt x="1676" y="643"/>
                  <a:pt x="1676" y="643"/>
                  <a:pt x="1677" y="643"/>
                </a:cubicBezTo>
                <a:cubicBezTo>
                  <a:pt x="1677" y="643"/>
                  <a:pt x="1677" y="643"/>
                  <a:pt x="1679" y="643"/>
                </a:cubicBezTo>
                <a:cubicBezTo>
                  <a:pt x="1679" y="643"/>
                  <a:pt x="1679" y="643"/>
                  <a:pt x="1679" y="642"/>
                </a:cubicBezTo>
                <a:cubicBezTo>
                  <a:pt x="1679" y="642"/>
                  <a:pt x="1679" y="642"/>
                  <a:pt x="1680" y="642"/>
                </a:cubicBezTo>
                <a:cubicBezTo>
                  <a:pt x="1680" y="642"/>
                  <a:pt x="1680" y="642"/>
                  <a:pt x="1680" y="641"/>
                </a:cubicBezTo>
                <a:cubicBezTo>
                  <a:pt x="1680" y="641"/>
                  <a:pt x="1680" y="641"/>
                  <a:pt x="1681" y="641"/>
                </a:cubicBezTo>
                <a:cubicBezTo>
                  <a:pt x="1681" y="641"/>
                  <a:pt x="1681" y="641"/>
                  <a:pt x="1682" y="642"/>
                </a:cubicBezTo>
                <a:cubicBezTo>
                  <a:pt x="1682" y="642"/>
                  <a:pt x="1682" y="642"/>
                  <a:pt x="1683" y="640"/>
                </a:cubicBezTo>
                <a:cubicBezTo>
                  <a:pt x="1683" y="640"/>
                  <a:pt x="1683" y="640"/>
                  <a:pt x="1683" y="639"/>
                </a:cubicBezTo>
                <a:cubicBezTo>
                  <a:pt x="1683" y="639"/>
                  <a:pt x="1683" y="639"/>
                  <a:pt x="1682" y="639"/>
                </a:cubicBezTo>
                <a:cubicBezTo>
                  <a:pt x="1682" y="639"/>
                  <a:pt x="1682" y="639"/>
                  <a:pt x="1683" y="638"/>
                </a:cubicBezTo>
                <a:cubicBezTo>
                  <a:pt x="1683" y="638"/>
                  <a:pt x="1683" y="638"/>
                  <a:pt x="1686" y="635"/>
                </a:cubicBezTo>
                <a:cubicBezTo>
                  <a:pt x="1686" y="635"/>
                  <a:pt x="1686" y="635"/>
                  <a:pt x="1686" y="633"/>
                </a:cubicBezTo>
                <a:cubicBezTo>
                  <a:pt x="1686" y="633"/>
                  <a:pt x="1686" y="633"/>
                  <a:pt x="1690" y="631"/>
                </a:cubicBezTo>
                <a:cubicBezTo>
                  <a:pt x="1690" y="631"/>
                  <a:pt x="1690" y="631"/>
                  <a:pt x="1691" y="630"/>
                </a:cubicBezTo>
                <a:cubicBezTo>
                  <a:pt x="1691" y="630"/>
                  <a:pt x="1691" y="630"/>
                  <a:pt x="1691" y="629"/>
                </a:cubicBezTo>
                <a:cubicBezTo>
                  <a:pt x="1691" y="629"/>
                  <a:pt x="1691" y="629"/>
                  <a:pt x="1692" y="628"/>
                </a:cubicBezTo>
                <a:cubicBezTo>
                  <a:pt x="1692" y="628"/>
                  <a:pt x="1692" y="628"/>
                  <a:pt x="1692" y="627"/>
                </a:cubicBezTo>
                <a:cubicBezTo>
                  <a:pt x="1692" y="627"/>
                  <a:pt x="1692" y="627"/>
                  <a:pt x="1693" y="626"/>
                </a:cubicBezTo>
                <a:cubicBezTo>
                  <a:pt x="1693" y="626"/>
                  <a:pt x="1693" y="626"/>
                  <a:pt x="1693" y="627"/>
                </a:cubicBezTo>
                <a:cubicBezTo>
                  <a:pt x="1693" y="627"/>
                  <a:pt x="1693" y="627"/>
                  <a:pt x="1693" y="628"/>
                </a:cubicBezTo>
                <a:cubicBezTo>
                  <a:pt x="1693" y="628"/>
                  <a:pt x="1693" y="628"/>
                  <a:pt x="1693" y="630"/>
                </a:cubicBezTo>
                <a:cubicBezTo>
                  <a:pt x="1693" y="630"/>
                  <a:pt x="1693" y="630"/>
                  <a:pt x="1692" y="631"/>
                </a:cubicBezTo>
                <a:cubicBezTo>
                  <a:pt x="1692" y="631"/>
                  <a:pt x="1692" y="631"/>
                  <a:pt x="1692" y="632"/>
                </a:cubicBezTo>
                <a:cubicBezTo>
                  <a:pt x="1692" y="632"/>
                  <a:pt x="1692" y="632"/>
                  <a:pt x="1693" y="632"/>
                </a:cubicBezTo>
                <a:cubicBezTo>
                  <a:pt x="1693" y="632"/>
                  <a:pt x="1693" y="632"/>
                  <a:pt x="1693" y="633"/>
                </a:cubicBezTo>
                <a:cubicBezTo>
                  <a:pt x="1693" y="633"/>
                  <a:pt x="1693" y="633"/>
                  <a:pt x="1694" y="635"/>
                </a:cubicBezTo>
                <a:cubicBezTo>
                  <a:pt x="1694" y="635"/>
                  <a:pt x="1694" y="635"/>
                  <a:pt x="1694" y="638"/>
                </a:cubicBezTo>
                <a:cubicBezTo>
                  <a:pt x="1694" y="638"/>
                  <a:pt x="1694" y="638"/>
                  <a:pt x="1696" y="641"/>
                </a:cubicBezTo>
                <a:cubicBezTo>
                  <a:pt x="1696" y="641"/>
                  <a:pt x="1696" y="641"/>
                  <a:pt x="1696" y="642"/>
                </a:cubicBezTo>
                <a:cubicBezTo>
                  <a:pt x="1696" y="642"/>
                  <a:pt x="1696" y="642"/>
                  <a:pt x="1700" y="645"/>
                </a:cubicBezTo>
                <a:cubicBezTo>
                  <a:pt x="1700" y="645"/>
                  <a:pt x="1700" y="645"/>
                  <a:pt x="1701" y="645"/>
                </a:cubicBezTo>
                <a:cubicBezTo>
                  <a:pt x="1701" y="645"/>
                  <a:pt x="1701" y="645"/>
                  <a:pt x="1702" y="645"/>
                </a:cubicBezTo>
                <a:cubicBezTo>
                  <a:pt x="1702" y="645"/>
                  <a:pt x="1702" y="645"/>
                  <a:pt x="1703" y="645"/>
                </a:cubicBezTo>
                <a:cubicBezTo>
                  <a:pt x="1703" y="645"/>
                  <a:pt x="1703" y="645"/>
                  <a:pt x="1706" y="645"/>
                </a:cubicBezTo>
                <a:cubicBezTo>
                  <a:pt x="1706" y="645"/>
                  <a:pt x="1706" y="645"/>
                  <a:pt x="1708" y="645"/>
                </a:cubicBezTo>
                <a:cubicBezTo>
                  <a:pt x="1708" y="645"/>
                  <a:pt x="1708" y="645"/>
                  <a:pt x="1710" y="647"/>
                </a:cubicBezTo>
                <a:cubicBezTo>
                  <a:pt x="1710" y="647"/>
                  <a:pt x="1710" y="647"/>
                  <a:pt x="1711" y="649"/>
                </a:cubicBezTo>
                <a:cubicBezTo>
                  <a:pt x="1711" y="649"/>
                  <a:pt x="1711" y="649"/>
                  <a:pt x="1712" y="650"/>
                </a:cubicBezTo>
                <a:cubicBezTo>
                  <a:pt x="1712" y="650"/>
                  <a:pt x="1712" y="650"/>
                  <a:pt x="1712" y="651"/>
                </a:cubicBezTo>
                <a:cubicBezTo>
                  <a:pt x="1712" y="651"/>
                  <a:pt x="1712" y="651"/>
                  <a:pt x="1715" y="653"/>
                </a:cubicBezTo>
                <a:cubicBezTo>
                  <a:pt x="1715" y="653"/>
                  <a:pt x="1715" y="653"/>
                  <a:pt x="1716" y="653"/>
                </a:cubicBezTo>
                <a:cubicBezTo>
                  <a:pt x="1716" y="653"/>
                  <a:pt x="1716" y="653"/>
                  <a:pt x="1716" y="654"/>
                </a:cubicBezTo>
                <a:cubicBezTo>
                  <a:pt x="1716" y="654"/>
                  <a:pt x="1716" y="654"/>
                  <a:pt x="1716" y="655"/>
                </a:cubicBezTo>
                <a:cubicBezTo>
                  <a:pt x="1716" y="655"/>
                  <a:pt x="1716" y="655"/>
                  <a:pt x="1715" y="656"/>
                </a:cubicBezTo>
                <a:cubicBezTo>
                  <a:pt x="1715" y="656"/>
                  <a:pt x="1715" y="656"/>
                  <a:pt x="1715" y="657"/>
                </a:cubicBezTo>
                <a:cubicBezTo>
                  <a:pt x="1715" y="657"/>
                  <a:pt x="1715" y="657"/>
                  <a:pt x="1715" y="658"/>
                </a:cubicBezTo>
                <a:cubicBezTo>
                  <a:pt x="1715" y="658"/>
                  <a:pt x="1715" y="658"/>
                  <a:pt x="1713" y="662"/>
                </a:cubicBezTo>
                <a:cubicBezTo>
                  <a:pt x="1713" y="662"/>
                  <a:pt x="1713" y="662"/>
                  <a:pt x="1711" y="663"/>
                </a:cubicBezTo>
                <a:cubicBezTo>
                  <a:pt x="1711" y="663"/>
                  <a:pt x="1711" y="663"/>
                  <a:pt x="1711" y="664"/>
                </a:cubicBezTo>
                <a:cubicBezTo>
                  <a:pt x="1711" y="664"/>
                  <a:pt x="1711" y="664"/>
                  <a:pt x="1710" y="665"/>
                </a:cubicBezTo>
                <a:cubicBezTo>
                  <a:pt x="1710" y="665"/>
                  <a:pt x="1710" y="665"/>
                  <a:pt x="1709" y="667"/>
                </a:cubicBezTo>
                <a:cubicBezTo>
                  <a:pt x="1709" y="667"/>
                  <a:pt x="1709" y="667"/>
                  <a:pt x="1708" y="667"/>
                </a:cubicBezTo>
                <a:cubicBezTo>
                  <a:pt x="1708" y="667"/>
                  <a:pt x="1708" y="667"/>
                  <a:pt x="1708" y="666"/>
                </a:cubicBezTo>
                <a:cubicBezTo>
                  <a:pt x="1708" y="666"/>
                  <a:pt x="1708" y="666"/>
                  <a:pt x="1708" y="665"/>
                </a:cubicBezTo>
                <a:cubicBezTo>
                  <a:pt x="1708" y="665"/>
                  <a:pt x="1708" y="665"/>
                  <a:pt x="1707" y="666"/>
                </a:cubicBezTo>
                <a:cubicBezTo>
                  <a:pt x="1707" y="666"/>
                  <a:pt x="1707" y="666"/>
                  <a:pt x="1706" y="667"/>
                </a:cubicBezTo>
                <a:cubicBezTo>
                  <a:pt x="1706" y="667"/>
                  <a:pt x="1706" y="667"/>
                  <a:pt x="1707" y="668"/>
                </a:cubicBezTo>
                <a:cubicBezTo>
                  <a:pt x="1707" y="668"/>
                  <a:pt x="1707" y="668"/>
                  <a:pt x="1706" y="668"/>
                </a:cubicBezTo>
                <a:cubicBezTo>
                  <a:pt x="1706" y="668"/>
                  <a:pt x="1706" y="668"/>
                  <a:pt x="1705" y="670"/>
                </a:cubicBezTo>
                <a:cubicBezTo>
                  <a:pt x="1705" y="670"/>
                  <a:pt x="1705" y="670"/>
                  <a:pt x="1705" y="672"/>
                </a:cubicBezTo>
                <a:cubicBezTo>
                  <a:pt x="1705" y="672"/>
                  <a:pt x="1705" y="672"/>
                  <a:pt x="1704" y="673"/>
                </a:cubicBezTo>
                <a:cubicBezTo>
                  <a:pt x="1704" y="673"/>
                  <a:pt x="1704" y="673"/>
                  <a:pt x="1705" y="673"/>
                </a:cubicBezTo>
                <a:cubicBezTo>
                  <a:pt x="1705" y="673"/>
                  <a:pt x="1705" y="673"/>
                  <a:pt x="1705" y="674"/>
                </a:cubicBezTo>
                <a:cubicBezTo>
                  <a:pt x="1705" y="674"/>
                  <a:pt x="1705" y="674"/>
                  <a:pt x="1706" y="676"/>
                </a:cubicBezTo>
                <a:cubicBezTo>
                  <a:pt x="1706" y="676"/>
                  <a:pt x="1706" y="676"/>
                  <a:pt x="1706" y="677"/>
                </a:cubicBezTo>
                <a:cubicBezTo>
                  <a:pt x="1706" y="677"/>
                  <a:pt x="1706" y="677"/>
                  <a:pt x="1703" y="677"/>
                </a:cubicBezTo>
                <a:cubicBezTo>
                  <a:pt x="1703" y="677"/>
                  <a:pt x="1703" y="677"/>
                  <a:pt x="1702" y="678"/>
                </a:cubicBezTo>
                <a:cubicBezTo>
                  <a:pt x="1702" y="678"/>
                  <a:pt x="1702" y="678"/>
                  <a:pt x="1701" y="677"/>
                </a:cubicBezTo>
                <a:cubicBezTo>
                  <a:pt x="1701" y="677"/>
                  <a:pt x="1701" y="677"/>
                  <a:pt x="1700" y="678"/>
                </a:cubicBezTo>
                <a:cubicBezTo>
                  <a:pt x="1700" y="678"/>
                  <a:pt x="1700" y="678"/>
                  <a:pt x="1698" y="681"/>
                </a:cubicBezTo>
                <a:cubicBezTo>
                  <a:pt x="1698" y="681"/>
                  <a:pt x="1698" y="681"/>
                  <a:pt x="1698" y="683"/>
                </a:cubicBezTo>
                <a:cubicBezTo>
                  <a:pt x="1698" y="683"/>
                  <a:pt x="1698" y="683"/>
                  <a:pt x="1697" y="683"/>
                </a:cubicBezTo>
                <a:cubicBezTo>
                  <a:pt x="1697" y="683"/>
                  <a:pt x="1697" y="683"/>
                  <a:pt x="1696" y="684"/>
                </a:cubicBezTo>
                <a:cubicBezTo>
                  <a:pt x="1696" y="684"/>
                  <a:pt x="1696" y="684"/>
                  <a:pt x="1695" y="684"/>
                </a:cubicBezTo>
                <a:cubicBezTo>
                  <a:pt x="1695" y="684"/>
                  <a:pt x="1695" y="684"/>
                  <a:pt x="1693" y="684"/>
                </a:cubicBezTo>
                <a:cubicBezTo>
                  <a:pt x="1693" y="684"/>
                  <a:pt x="1693" y="684"/>
                  <a:pt x="1691" y="684"/>
                </a:cubicBezTo>
                <a:cubicBezTo>
                  <a:pt x="1691" y="684"/>
                  <a:pt x="1691" y="684"/>
                  <a:pt x="1691" y="685"/>
                </a:cubicBezTo>
                <a:cubicBezTo>
                  <a:pt x="1691" y="685"/>
                  <a:pt x="1691" y="685"/>
                  <a:pt x="1690" y="686"/>
                </a:cubicBezTo>
                <a:cubicBezTo>
                  <a:pt x="1690" y="686"/>
                  <a:pt x="1690" y="686"/>
                  <a:pt x="1690" y="687"/>
                </a:cubicBezTo>
                <a:cubicBezTo>
                  <a:pt x="1690" y="687"/>
                  <a:pt x="1690" y="687"/>
                  <a:pt x="1690" y="688"/>
                </a:cubicBezTo>
                <a:cubicBezTo>
                  <a:pt x="1690" y="688"/>
                  <a:pt x="1690" y="688"/>
                  <a:pt x="1689" y="691"/>
                </a:cubicBezTo>
                <a:cubicBezTo>
                  <a:pt x="1689" y="691"/>
                  <a:pt x="1689" y="691"/>
                  <a:pt x="1688" y="691"/>
                </a:cubicBezTo>
                <a:cubicBezTo>
                  <a:pt x="1688" y="691"/>
                  <a:pt x="1688" y="691"/>
                  <a:pt x="1687" y="690"/>
                </a:cubicBezTo>
                <a:cubicBezTo>
                  <a:pt x="1687" y="690"/>
                  <a:pt x="1687" y="690"/>
                  <a:pt x="1686" y="690"/>
                </a:cubicBezTo>
                <a:cubicBezTo>
                  <a:pt x="1686" y="690"/>
                  <a:pt x="1686" y="690"/>
                  <a:pt x="1685" y="690"/>
                </a:cubicBezTo>
                <a:cubicBezTo>
                  <a:pt x="1685" y="690"/>
                  <a:pt x="1685" y="690"/>
                  <a:pt x="1682" y="691"/>
                </a:cubicBezTo>
                <a:cubicBezTo>
                  <a:pt x="1682" y="691"/>
                  <a:pt x="1682" y="691"/>
                  <a:pt x="1681" y="691"/>
                </a:cubicBezTo>
                <a:cubicBezTo>
                  <a:pt x="1681" y="691"/>
                  <a:pt x="1681" y="691"/>
                  <a:pt x="1680" y="693"/>
                </a:cubicBezTo>
                <a:cubicBezTo>
                  <a:pt x="1680" y="693"/>
                  <a:pt x="1680" y="693"/>
                  <a:pt x="1679" y="693"/>
                </a:cubicBezTo>
                <a:cubicBezTo>
                  <a:pt x="1679" y="693"/>
                  <a:pt x="1679" y="693"/>
                  <a:pt x="1678" y="693"/>
                </a:cubicBezTo>
                <a:cubicBezTo>
                  <a:pt x="1678" y="693"/>
                  <a:pt x="1678" y="693"/>
                  <a:pt x="1676" y="693"/>
                </a:cubicBezTo>
                <a:cubicBezTo>
                  <a:pt x="1676" y="693"/>
                  <a:pt x="1676" y="693"/>
                  <a:pt x="1674" y="694"/>
                </a:cubicBezTo>
                <a:cubicBezTo>
                  <a:pt x="1674" y="694"/>
                  <a:pt x="1674" y="694"/>
                  <a:pt x="1672" y="696"/>
                </a:cubicBezTo>
                <a:cubicBezTo>
                  <a:pt x="1672" y="696"/>
                  <a:pt x="1672" y="696"/>
                  <a:pt x="1672" y="698"/>
                </a:cubicBezTo>
                <a:cubicBezTo>
                  <a:pt x="1672" y="698"/>
                  <a:pt x="1672" y="698"/>
                  <a:pt x="1672" y="699"/>
                </a:cubicBezTo>
                <a:cubicBezTo>
                  <a:pt x="1672" y="699"/>
                  <a:pt x="1672" y="699"/>
                  <a:pt x="1669" y="700"/>
                </a:cubicBezTo>
                <a:cubicBezTo>
                  <a:pt x="1669" y="700"/>
                  <a:pt x="1669" y="700"/>
                  <a:pt x="1668" y="701"/>
                </a:cubicBezTo>
                <a:cubicBezTo>
                  <a:pt x="1668" y="701"/>
                  <a:pt x="1668" y="701"/>
                  <a:pt x="1666" y="702"/>
                </a:cubicBezTo>
                <a:cubicBezTo>
                  <a:pt x="1666" y="702"/>
                  <a:pt x="1666" y="702"/>
                  <a:pt x="1662" y="703"/>
                </a:cubicBezTo>
                <a:cubicBezTo>
                  <a:pt x="1662" y="703"/>
                  <a:pt x="1662" y="703"/>
                  <a:pt x="1661" y="704"/>
                </a:cubicBezTo>
                <a:cubicBezTo>
                  <a:pt x="1661" y="704"/>
                  <a:pt x="1661" y="704"/>
                  <a:pt x="1654" y="706"/>
                </a:cubicBezTo>
                <a:cubicBezTo>
                  <a:pt x="1654" y="706"/>
                  <a:pt x="1654" y="706"/>
                  <a:pt x="1653" y="706"/>
                </a:cubicBezTo>
                <a:cubicBezTo>
                  <a:pt x="1653" y="706"/>
                  <a:pt x="1653" y="706"/>
                  <a:pt x="1651" y="708"/>
                </a:cubicBezTo>
                <a:cubicBezTo>
                  <a:pt x="1651" y="708"/>
                  <a:pt x="1651" y="708"/>
                  <a:pt x="1649" y="710"/>
                </a:cubicBezTo>
                <a:cubicBezTo>
                  <a:pt x="1649" y="710"/>
                  <a:pt x="1649" y="710"/>
                  <a:pt x="1648" y="710"/>
                </a:cubicBezTo>
                <a:cubicBezTo>
                  <a:pt x="1648" y="710"/>
                  <a:pt x="1648" y="710"/>
                  <a:pt x="1647" y="710"/>
                </a:cubicBezTo>
                <a:cubicBezTo>
                  <a:pt x="1647" y="710"/>
                  <a:pt x="1647" y="710"/>
                  <a:pt x="1646" y="710"/>
                </a:cubicBezTo>
                <a:cubicBezTo>
                  <a:pt x="1646" y="710"/>
                  <a:pt x="1646" y="710"/>
                  <a:pt x="1645" y="710"/>
                </a:cubicBezTo>
                <a:cubicBezTo>
                  <a:pt x="1645" y="710"/>
                  <a:pt x="1645" y="710"/>
                  <a:pt x="1643" y="711"/>
                </a:cubicBezTo>
                <a:cubicBezTo>
                  <a:pt x="1643" y="711"/>
                  <a:pt x="1643" y="711"/>
                  <a:pt x="1643" y="712"/>
                </a:cubicBezTo>
                <a:cubicBezTo>
                  <a:pt x="1643" y="712"/>
                  <a:pt x="1643" y="712"/>
                  <a:pt x="1642" y="713"/>
                </a:cubicBezTo>
                <a:cubicBezTo>
                  <a:pt x="1642" y="713"/>
                  <a:pt x="1642" y="713"/>
                  <a:pt x="1639" y="713"/>
                </a:cubicBezTo>
                <a:cubicBezTo>
                  <a:pt x="1639" y="713"/>
                  <a:pt x="1639" y="713"/>
                  <a:pt x="1636" y="714"/>
                </a:cubicBezTo>
                <a:cubicBezTo>
                  <a:pt x="1636" y="714"/>
                  <a:pt x="1636" y="714"/>
                  <a:pt x="1635" y="714"/>
                </a:cubicBezTo>
                <a:cubicBezTo>
                  <a:pt x="1635" y="714"/>
                  <a:pt x="1635" y="714"/>
                  <a:pt x="1635" y="713"/>
                </a:cubicBezTo>
                <a:cubicBezTo>
                  <a:pt x="1635" y="713"/>
                  <a:pt x="1635" y="713"/>
                  <a:pt x="1633" y="714"/>
                </a:cubicBezTo>
                <a:cubicBezTo>
                  <a:pt x="1633" y="714"/>
                  <a:pt x="1633" y="714"/>
                  <a:pt x="1633" y="713"/>
                </a:cubicBezTo>
                <a:cubicBezTo>
                  <a:pt x="1633" y="713"/>
                  <a:pt x="1633" y="713"/>
                  <a:pt x="1632" y="713"/>
                </a:cubicBezTo>
                <a:cubicBezTo>
                  <a:pt x="1632" y="713"/>
                  <a:pt x="1632" y="713"/>
                  <a:pt x="1631" y="713"/>
                </a:cubicBezTo>
                <a:cubicBezTo>
                  <a:pt x="1631" y="713"/>
                  <a:pt x="1631" y="713"/>
                  <a:pt x="1629" y="714"/>
                </a:cubicBezTo>
                <a:cubicBezTo>
                  <a:pt x="1629" y="714"/>
                  <a:pt x="1629" y="714"/>
                  <a:pt x="1629" y="716"/>
                </a:cubicBezTo>
                <a:cubicBezTo>
                  <a:pt x="1629" y="716"/>
                  <a:pt x="1629" y="716"/>
                  <a:pt x="1628" y="716"/>
                </a:cubicBezTo>
                <a:cubicBezTo>
                  <a:pt x="1628" y="716"/>
                  <a:pt x="1628" y="716"/>
                  <a:pt x="1627" y="718"/>
                </a:cubicBezTo>
                <a:cubicBezTo>
                  <a:pt x="1627" y="718"/>
                  <a:pt x="1627" y="718"/>
                  <a:pt x="1626" y="718"/>
                </a:cubicBezTo>
                <a:cubicBezTo>
                  <a:pt x="1626" y="718"/>
                  <a:pt x="1626" y="718"/>
                  <a:pt x="1625" y="718"/>
                </a:cubicBezTo>
                <a:cubicBezTo>
                  <a:pt x="1625" y="718"/>
                  <a:pt x="1625" y="718"/>
                  <a:pt x="1624" y="718"/>
                </a:cubicBezTo>
                <a:cubicBezTo>
                  <a:pt x="1624" y="718"/>
                  <a:pt x="1624" y="718"/>
                  <a:pt x="1622" y="719"/>
                </a:cubicBezTo>
                <a:cubicBezTo>
                  <a:pt x="1622" y="719"/>
                  <a:pt x="1622" y="719"/>
                  <a:pt x="1621" y="719"/>
                </a:cubicBezTo>
                <a:cubicBezTo>
                  <a:pt x="1621" y="719"/>
                  <a:pt x="1621" y="719"/>
                  <a:pt x="1620" y="718"/>
                </a:cubicBezTo>
                <a:cubicBezTo>
                  <a:pt x="1620" y="718"/>
                  <a:pt x="1620" y="718"/>
                  <a:pt x="1619" y="719"/>
                </a:cubicBezTo>
                <a:cubicBezTo>
                  <a:pt x="1619" y="719"/>
                  <a:pt x="1619" y="719"/>
                  <a:pt x="1618" y="719"/>
                </a:cubicBezTo>
                <a:cubicBezTo>
                  <a:pt x="1618" y="719"/>
                  <a:pt x="1618" y="719"/>
                  <a:pt x="1618" y="718"/>
                </a:cubicBezTo>
                <a:cubicBezTo>
                  <a:pt x="1618" y="718"/>
                  <a:pt x="1618" y="718"/>
                  <a:pt x="1617" y="716"/>
                </a:cubicBezTo>
                <a:cubicBezTo>
                  <a:pt x="1617" y="716"/>
                  <a:pt x="1617" y="716"/>
                  <a:pt x="1616" y="715"/>
                </a:cubicBezTo>
                <a:cubicBezTo>
                  <a:pt x="1616" y="715"/>
                  <a:pt x="1616" y="715"/>
                  <a:pt x="1615" y="713"/>
                </a:cubicBezTo>
                <a:cubicBezTo>
                  <a:pt x="1615" y="713"/>
                  <a:pt x="1615" y="713"/>
                  <a:pt x="1616" y="713"/>
                </a:cubicBezTo>
                <a:cubicBezTo>
                  <a:pt x="1616" y="713"/>
                  <a:pt x="1616" y="713"/>
                  <a:pt x="1616" y="711"/>
                </a:cubicBezTo>
                <a:cubicBezTo>
                  <a:pt x="1616" y="711"/>
                  <a:pt x="1616" y="711"/>
                  <a:pt x="1614" y="710"/>
                </a:cubicBezTo>
                <a:cubicBezTo>
                  <a:pt x="1614" y="710"/>
                  <a:pt x="1614" y="710"/>
                  <a:pt x="1613" y="704"/>
                </a:cubicBezTo>
                <a:cubicBezTo>
                  <a:pt x="1613" y="704"/>
                  <a:pt x="1613" y="704"/>
                  <a:pt x="1612" y="702"/>
                </a:cubicBezTo>
                <a:cubicBezTo>
                  <a:pt x="1612" y="702"/>
                  <a:pt x="1612" y="702"/>
                  <a:pt x="1612" y="701"/>
                </a:cubicBezTo>
                <a:cubicBezTo>
                  <a:pt x="1612" y="701"/>
                  <a:pt x="1612" y="701"/>
                  <a:pt x="1611" y="701"/>
                </a:cubicBezTo>
                <a:cubicBezTo>
                  <a:pt x="1611" y="701"/>
                  <a:pt x="1611" y="701"/>
                  <a:pt x="1611" y="700"/>
                </a:cubicBezTo>
                <a:cubicBezTo>
                  <a:pt x="1611" y="700"/>
                  <a:pt x="1611" y="700"/>
                  <a:pt x="1612" y="700"/>
                </a:cubicBezTo>
                <a:cubicBezTo>
                  <a:pt x="1612" y="700"/>
                  <a:pt x="1612" y="700"/>
                  <a:pt x="1613" y="698"/>
                </a:cubicBezTo>
                <a:cubicBezTo>
                  <a:pt x="1613" y="698"/>
                  <a:pt x="1613" y="698"/>
                  <a:pt x="1612" y="694"/>
                </a:cubicBezTo>
                <a:cubicBezTo>
                  <a:pt x="1612" y="694"/>
                  <a:pt x="1612" y="694"/>
                  <a:pt x="1612" y="693"/>
                </a:cubicBezTo>
                <a:cubicBezTo>
                  <a:pt x="1612" y="693"/>
                  <a:pt x="1612" y="693"/>
                  <a:pt x="1611" y="690"/>
                </a:cubicBezTo>
                <a:cubicBezTo>
                  <a:pt x="1611" y="690"/>
                  <a:pt x="1611" y="690"/>
                  <a:pt x="1609" y="690"/>
                </a:cubicBezTo>
                <a:cubicBezTo>
                  <a:pt x="1609" y="690"/>
                  <a:pt x="1609" y="690"/>
                  <a:pt x="1608" y="687"/>
                </a:cubicBezTo>
                <a:cubicBezTo>
                  <a:pt x="1608" y="687"/>
                  <a:pt x="1608" y="687"/>
                  <a:pt x="1607" y="687"/>
                </a:cubicBezTo>
                <a:cubicBezTo>
                  <a:pt x="1607" y="687"/>
                  <a:pt x="1607" y="687"/>
                  <a:pt x="1603" y="682"/>
                </a:cubicBezTo>
                <a:cubicBezTo>
                  <a:pt x="1603" y="682"/>
                  <a:pt x="1603" y="682"/>
                  <a:pt x="1603" y="680"/>
                </a:cubicBezTo>
                <a:cubicBezTo>
                  <a:pt x="1603" y="680"/>
                  <a:pt x="1603" y="680"/>
                  <a:pt x="1601" y="680"/>
                </a:cubicBezTo>
                <a:cubicBezTo>
                  <a:pt x="1601" y="680"/>
                  <a:pt x="1601" y="680"/>
                  <a:pt x="1600" y="674"/>
                </a:cubicBezTo>
                <a:cubicBezTo>
                  <a:pt x="1600" y="674"/>
                  <a:pt x="1600" y="674"/>
                  <a:pt x="1599" y="674"/>
                </a:cubicBezTo>
                <a:cubicBezTo>
                  <a:pt x="1599" y="674"/>
                  <a:pt x="1599" y="674"/>
                  <a:pt x="1599" y="673"/>
                </a:cubicBezTo>
                <a:cubicBezTo>
                  <a:pt x="1599" y="673"/>
                  <a:pt x="1599" y="673"/>
                  <a:pt x="1598" y="673"/>
                </a:cubicBezTo>
                <a:cubicBezTo>
                  <a:pt x="1598" y="673"/>
                  <a:pt x="1598" y="673"/>
                  <a:pt x="1597" y="672"/>
                </a:cubicBezTo>
                <a:cubicBezTo>
                  <a:pt x="1597" y="672"/>
                  <a:pt x="1597" y="672"/>
                  <a:pt x="1596" y="670"/>
                </a:cubicBezTo>
                <a:cubicBezTo>
                  <a:pt x="1596" y="670"/>
                  <a:pt x="1596" y="670"/>
                  <a:pt x="1595" y="670"/>
                </a:cubicBezTo>
                <a:cubicBezTo>
                  <a:pt x="1595" y="670"/>
                  <a:pt x="1595" y="670"/>
                  <a:pt x="1594" y="669"/>
                </a:cubicBezTo>
                <a:cubicBezTo>
                  <a:pt x="1594" y="669"/>
                  <a:pt x="1594" y="669"/>
                  <a:pt x="1593" y="669"/>
                </a:cubicBezTo>
                <a:cubicBezTo>
                  <a:pt x="1593" y="669"/>
                  <a:pt x="1593" y="669"/>
                  <a:pt x="1592" y="668"/>
                </a:cubicBezTo>
                <a:cubicBezTo>
                  <a:pt x="1592" y="668"/>
                  <a:pt x="1592" y="668"/>
                  <a:pt x="1589" y="665"/>
                </a:cubicBezTo>
                <a:cubicBezTo>
                  <a:pt x="1589" y="665"/>
                  <a:pt x="1589" y="665"/>
                  <a:pt x="1588" y="664"/>
                </a:cubicBezTo>
                <a:cubicBezTo>
                  <a:pt x="1588" y="664"/>
                  <a:pt x="1588" y="664"/>
                  <a:pt x="1587" y="663"/>
                </a:cubicBezTo>
                <a:cubicBezTo>
                  <a:pt x="1587" y="663"/>
                  <a:pt x="1587" y="663"/>
                  <a:pt x="1587" y="661"/>
                </a:cubicBezTo>
                <a:cubicBezTo>
                  <a:pt x="1587" y="661"/>
                  <a:pt x="1587" y="661"/>
                  <a:pt x="1586" y="658"/>
                </a:cubicBezTo>
                <a:cubicBezTo>
                  <a:pt x="1586" y="658"/>
                  <a:pt x="1586" y="658"/>
                  <a:pt x="1586" y="657"/>
                </a:cubicBezTo>
                <a:cubicBezTo>
                  <a:pt x="1586" y="657"/>
                  <a:pt x="1586" y="657"/>
                  <a:pt x="1587" y="655"/>
                </a:cubicBezTo>
                <a:cubicBezTo>
                  <a:pt x="1587" y="655"/>
                  <a:pt x="1587" y="655"/>
                  <a:pt x="1587" y="654"/>
                </a:cubicBezTo>
                <a:cubicBezTo>
                  <a:pt x="1587" y="654"/>
                  <a:pt x="1587" y="654"/>
                  <a:pt x="1586" y="652"/>
                </a:cubicBezTo>
                <a:cubicBezTo>
                  <a:pt x="1586" y="652"/>
                  <a:pt x="1586" y="652"/>
                  <a:pt x="1585" y="651"/>
                </a:cubicBezTo>
                <a:cubicBezTo>
                  <a:pt x="1585" y="651"/>
                  <a:pt x="1585" y="651"/>
                  <a:pt x="1584" y="649"/>
                </a:cubicBezTo>
                <a:cubicBezTo>
                  <a:pt x="1584" y="649"/>
                  <a:pt x="1584" y="649"/>
                  <a:pt x="1584" y="648"/>
                </a:cubicBezTo>
                <a:cubicBezTo>
                  <a:pt x="1584" y="648"/>
                  <a:pt x="1584" y="648"/>
                  <a:pt x="1584" y="647"/>
                </a:cubicBezTo>
                <a:cubicBezTo>
                  <a:pt x="1584" y="647"/>
                  <a:pt x="1584" y="647"/>
                  <a:pt x="1583" y="647"/>
                </a:cubicBezTo>
                <a:cubicBezTo>
                  <a:pt x="1583" y="647"/>
                  <a:pt x="1583" y="647"/>
                  <a:pt x="1583" y="645"/>
                </a:cubicBezTo>
                <a:cubicBezTo>
                  <a:pt x="1583" y="645"/>
                  <a:pt x="1583" y="645"/>
                  <a:pt x="1581" y="644"/>
                </a:cubicBezTo>
                <a:cubicBezTo>
                  <a:pt x="1581" y="644"/>
                  <a:pt x="1581" y="644"/>
                  <a:pt x="1579" y="643"/>
                </a:cubicBezTo>
                <a:cubicBezTo>
                  <a:pt x="1579" y="643"/>
                  <a:pt x="1579" y="643"/>
                  <a:pt x="1578" y="642"/>
                </a:cubicBezTo>
                <a:cubicBezTo>
                  <a:pt x="1578" y="642"/>
                  <a:pt x="1578" y="642"/>
                  <a:pt x="1577" y="643"/>
                </a:cubicBezTo>
                <a:cubicBezTo>
                  <a:pt x="1577" y="643"/>
                  <a:pt x="1577" y="643"/>
                  <a:pt x="1576" y="642"/>
                </a:cubicBezTo>
                <a:cubicBezTo>
                  <a:pt x="1576" y="642"/>
                  <a:pt x="1576" y="642"/>
                  <a:pt x="1576" y="641"/>
                </a:cubicBezTo>
                <a:cubicBezTo>
                  <a:pt x="1576" y="641"/>
                  <a:pt x="1576" y="641"/>
                  <a:pt x="1575" y="640"/>
                </a:cubicBezTo>
                <a:cubicBezTo>
                  <a:pt x="1575" y="640"/>
                  <a:pt x="1575" y="640"/>
                  <a:pt x="1575" y="639"/>
                </a:cubicBezTo>
                <a:cubicBezTo>
                  <a:pt x="1575" y="639"/>
                  <a:pt x="1575" y="639"/>
                  <a:pt x="1575" y="638"/>
                </a:cubicBezTo>
                <a:cubicBezTo>
                  <a:pt x="1575" y="638"/>
                  <a:pt x="1575" y="638"/>
                  <a:pt x="1575" y="636"/>
                </a:cubicBezTo>
                <a:cubicBezTo>
                  <a:pt x="1575" y="636"/>
                  <a:pt x="1575" y="636"/>
                  <a:pt x="1574" y="636"/>
                </a:cubicBezTo>
                <a:cubicBezTo>
                  <a:pt x="1574" y="636"/>
                  <a:pt x="1574" y="636"/>
                  <a:pt x="1573" y="633"/>
                </a:cubicBezTo>
                <a:cubicBezTo>
                  <a:pt x="1573" y="633"/>
                  <a:pt x="1573" y="633"/>
                  <a:pt x="1571" y="632"/>
                </a:cubicBezTo>
                <a:cubicBezTo>
                  <a:pt x="1571" y="632"/>
                  <a:pt x="1571" y="632"/>
                  <a:pt x="1570" y="631"/>
                </a:cubicBezTo>
                <a:cubicBezTo>
                  <a:pt x="1570" y="631"/>
                  <a:pt x="1570" y="631"/>
                  <a:pt x="1570" y="630"/>
                </a:cubicBezTo>
                <a:cubicBezTo>
                  <a:pt x="1570" y="630"/>
                  <a:pt x="1570" y="630"/>
                  <a:pt x="1569" y="630"/>
                </a:cubicBezTo>
                <a:cubicBezTo>
                  <a:pt x="1569" y="630"/>
                  <a:pt x="1569" y="630"/>
                  <a:pt x="1569" y="629"/>
                </a:cubicBezTo>
                <a:cubicBezTo>
                  <a:pt x="1569" y="629"/>
                  <a:pt x="1569" y="629"/>
                  <a:pt x="1569" y="628"/>
                </a:cubicBezTo>
                <a:cubicBezTo>
                  <a:pt x="1569" y="628"/>
                  <a:pt x="1569" y="628"/>
                  <a:pt x="1567" y="624"/>
                </a:cubicBezTo>
                <a:cubicBezTo>
                  <a:pt x="1567" y="624"/>
                  <a:pt x="1567" y="624"/>
                  <a:pt x="1566" y="624"/>
                </a:cubicBezTo>
                <a:cubicBezTo>
                  <a:pt x="1566" y="624"/>
                  <a:pt x="1566" y="624"/>
                  <a:pt x="1565" y="623"/>
                </a:cubicBezTo>
                <a:cubicBezTo>
                  <a:pt x="1565" y="623"/>
                  <a:pt x="1565" y="623"/>
                  <a:pt x="1565" y="622"/>
                </a:cubicBezTo>
                <a:cubicBezTo>
                  <a:pt x="1565" y="622"/>
                  <a:pt x="1565" y="622"/>
                  <a:pt x="1564" y="622"/>
                </a:cubicBezTo>
                <a:cubicBezTo>
                  <a:pt x="1564" y="622"/>
                  <a:pt x="1564" y="622"/>
                  <a:pt x="1564" y="620"/>
                </a:cubicBezTo>
                <a:cubicBezTo>
                  <a:pt x="1564" y="620"/>
                  <a:pt x="1564" y="620"/>
                  <a:pt x="1561" y="617"/>
                </a:cubicBezTo>
                <a:cubicBezTo>
                  <a:pt x="1561" y="617"/>
                  <a:pt x="1561" y="617"/>
                  <a:pt x="1560" y="616"/>
                </a:cubicBezTo>
                <a:cubicBezTo>
                  <a:pt x="1560" y="616"/>
                  <a:pt x="1560" y="616"/>
                  <a:pt x="1559" y="617"/>
                </a:cubicBezTo>
                <a:cubicBezTo>
                  <a:pt x="1559" y="617"/>
                  <a:pt x="1559" y="617"/>
                  <a:pt x="1559" y="616"/>
                </a:cubicBezTo>
                <a:cubicBezTo>
                  <a:pt x="1559" y="616"/>
                  <a:pt x="1559" y="616"/>
                  <a:pt x="1558" y="617"/>
                </a:cubicBezTo>
                <a:cubicBezTo>
                  <a:pt x="1558" y="617"/>
                  <a:pt x="1558" y="617"/>
                  <a:pt x="1558" y="616"/>
                </a:cubicBezTo>
                <a:cubicBezTo>
                  <a:pt x="1558" y="616"/>
                  <a:pt x="1558" y="616"/>
                  <a:pt x="1558" y="614"/>
                </a:cubicBezTo>
                <a:cubicBezTo>
                  <a:pt x="1558" y="614"/>
                  <a:pt x="1558" y="614"/>
                  <a:pt x="1558" y="611"/>
                </a:cubicBezTo>
                <a:cubicBezTo>
                  <a:pt x="1558" y="611"/>
                  <a:pt x="1558" y="611"/>
                  <a:pt x="1558" y="609"/>
                </a:cubicBezTo>
                <a:cubicBezTo>
                  <a:pt x="1558" y="609"/>
                  <a:pt x="1558" y="609"/>
                  <a:pt x="1559" y="609"/>
                </a:cubicBezTo>
                <a:cubicBezTo>
                  <a:pt x="1559" y="609"/>
                  <a:pt x="1559" y="609"/>
                  <a:pt x="1559" y="607"/>
                </a:cubicBezTo>
                <a:cubicBezTo>
                  <a:pt x="1559" y="607"/>
                  <a:pt x="1559" y="607"/>
                  <a:pt x="1558" y="608"/>
                </a:cubicBezTo>
                <a:cubicBezTo>
                  <a:pt x="1558" y="608"/>
                  <a:pt x="1558" y="608"/>
                  <a:pt x="1557" y="612"/>
                </a:cubicBezTo>
                <a:cubicBezTo>
                  <a:pt x="1557" y="612"/>
                  <a:pt x="1557" y="612"/>
                  <a:pt x="1557" y="613"/>
                </a:cubicBezTo>
                <a:cubicBezTo>
                  <a:pt x="1557" y="613"/>
                  <a:pt x="1557" y="613"/>
                  <a:pt x="1556" y="615"/>
                </a:cubicBezTo>
                <a:cubicBezTo>
                  <a:pt x="1556" y="615"/>
                  <a:pt x="1556" y="615"/>
                  <a:pt x="1557" y="616"/>
                </a:cubicBezTo>
                <a:cubicBezTo>
                  <a:pt x="1557" y="616"/>
                  <a:pt x="1557" y="616"/>
                  <a:pt x="1556" y="618"/>
                </a:cubicBezTo>
                <a:cubicBezTo>
                  <a:pt x="1556" y="618"/>
                  <a:pt x="1556" y="618"/>
                  <a:pt x="1555" y="619"/>
                </a:cubicBezTo>
                <a:cubicBezTo>
                  <a:pt x="1555" y="619"/>
                  <a:pt x="1555" y="619"/>
                  <a:pt x="1553" y="618"/>
                </a:cubicBezTo>
                <a:cubicBezTo>
                  <a:pt x="1553" y="618"/>
                  <a:pt x="1553" y="618"/>
                  <a:pt x="1550" y="615"/>
                </a:cubicBezTo>
                <a:cubicBezTo>
                  <a:pt x="1550" y="615"/>
                  <a:pt x="1550" y="615"/>
                  <a:pt x="1550" y="614"/>
                </a:cubicBezTo>
                <a:cubicBezTo>
                  <a:pt x="1550" y="614"/>
                  <a:pt x="1550" y="614"/>
                  <a:pt x="1548" y="613"/>
                </a:cubicBezTo>
                <a:cubicBezTo>
                  <a:pt x="1548" y="613"/>
                  <a:pt x="1548" y="613"/>
                  <a:pt x="1548" y="612"/>
                </a:cubicBezTo>
                <a:cubicBezTo>
                  <a:pt x="1548" y="612"/>
                  <a:pt x="1548" y="612"/>
                  <a:pt x="1548" y="611"/>
                </a:cubicBezTo>
                <a:cubicBezTo>
                  <a:pt x="1548" y="611"/>
                  <a:pt x="1548" y="611"/>
                  <a:pt x="1545" y="608"/>
                </a:cubicBezTo>
                <a:cubicBezTo>
                  <a:pt x="1545" y="608"/>
                  <a:pt x="1545" y="608"/>
                  <a:pt x="1544" y="607"/>
                </a:cubicBezTo>
                <a:cubicBezTo>
                  <a:pt x="1544" y="607"/>
                  <a:pt x="1544" y="607"/>
                  <a:pt x="1544" y="605"/>
                </a:cubicBezTo>
                <a:cubicBezTo>
                  <a:pt x="1544" y="605"/>
                  <a:pt x="1544" y="605"/>
                  <a:pt x="1543" y="605"/>
                </a:cubicBezTo>
                <a:cubicBezTo>
                  <a:pt x="1543" y="605"/>
                  <a:pt x="1543" y="605"/>
                  <a:pt x="1543" y="606"/>
                </a:cubicBezTo>
                <a:cubicBezTo>
                  <a:pt x="1543" y="606"/>
                  <a:pt x="1543" y="606"/>
                  <a:pt x="1543" y="607"/>
                </a:cubicBezTo>
                <a:cubicBezTo>
                  <a:pt x="1543" y="607"/>
                  <a:pt x="1543" y="607"/>
                  <a:pt x="1544" y="609"/>
                </a:cubicBezTo>
                <a:cubicBezTo>
                  <a:pt x="1544" y="609"/>
                  <a:pt x="1544" y="609"/>
                  <a:pt x="1544" y="610"/>
                </a:cubicBezTo>
                <a:cubicBezTo>
                  <a:pt x="1544" y="610"/>
                  <a:pt x="1544" y="610"/>
                  <a:pt x="1547" y="613"/>
                </a:cubicBezTo>
                <a:cubicBezTo>
                  <a:pt x="1547" y="613"/>
                  <a:pt x="1547" y="613"/>
                  <a:pt x="1547" y="614"/>
                </a:cubicBezTo>
                <a:cubicBezTo>
                  <a:pt x="1547" y="614"/>
                  <a:pt x="1547" y="614"/>
                  <a:pt x="1550" y="617"/>
                </a:cubicBezTo>
                <a:cubicBezTo>
                  <a:pt x="1550" y="617"/>
                  <a:pt x="1550" y="617"/>
                  <a:pt x="1551" y="618"/>
                </a:cubicBezTo>
                <a:cubicBezTo>
                  <a:pt x="1551" y="618"/>
                  <a:pt x="1551" y="618"/>
                  <a:pt x="1551" y="619"/>
                </a:cubicBezTo>
                <a:cubicBezTo>
                  <a:pt x="1551" y="619"/>
                  <a:pt x="1551" y="619"/>
                  <a:pt x="1551" y="620"/>
                </a:cubicBezTo>
                <a:cubicBezTo>
                  <a:pt x="1551" y="620"/>
                  <a:pt x="1551" y="620"/>
                  <a:pt x="1553" y="622"/>
                </a:cubicBezTo>
                <a:cubicBezTo>
                  <a:pt x="1553" y="622"/>
                  <a:pt x="1553" y="622"/>
                  <a:pt x="1553" y="623"/>
                </a:cubicBezTo>
                <a:cubicBezTo>
                  <a:pt x="1553" y="623"/>
                  <a:pt x="1553" y="623"/>
                  <a:pt x="1554" y="624"/>
                </a:cubicBezTo>
                <a:cubicBezTo>
                  <a:pt x="1554" y="624"/>
                  <a:pt x="1554" y="624"/>
                  <a:pt x="1554" y="626"/>
                </a:cubicBezTo>
                <a:cubicBezTo>
                  <a:pt x="1554" y="626"/>
                  <a:pt x="1554" y="626"/>
                  <a:pt x="1555" y="627"/>
                </a:cubicBezTo>
                <a:cubicBezTo>
                  <a:pt x="1555" y="627"/>
                  <a:pt x="1555" y="627"/>
                  <a:pt x="1555" y="629"/>
                </a:cubicBezTo>
                <a:cubicBezTo>
                  <a:pt x="1555" y="629"/>
                  <a:pt x="1555" y="629"/>
                  <a:pt x="1558" y="634"/>
                </a:cubicBezTo>
                <a:cubicBezTo>
                  <a:pt x="1558" y="634"/>
                  <a:pt x="1558" y="634"/>
                  <a:pt x="1559" y="636"/>
                </a:cubicBezTo>
                <a:cubicBezTo>
                  <a:pt x="1559" y="636"/>
                  <a:pt x="1559" y="636"/>
                  <a:pt x="1560" y="637"/>
                </a:cubicBezTo>
                <a:cubicBezTo>
                  <a:pt x="1560" y="637"/>
                  <a:pt x="1560" y="637"/>
                  <a:pt x="1562" y="641"/>
                </a:cubicBezTo>
                <a:cubicBezTo>
                  <a:pt x="1562" y="641"/>
                  <a:pt x="1562" y="641"/>
                  <a:pt x="1563" y="642"/>
                </a:cubicBezTo>
                <a:cubicBezTo>
                  <a:pt x="1563" y="642"/>
                  <a:pt x="1563" y="642"/>
                  <a:pt x="1564" y="643"/>
                </a:cubicBezTo>
                <a:cubicBezTo>
                  <a:pt x="1564" y="643"/>
                  <a:pt x="1564" y="643"/>
                  <a:pt x="1565" y="645"/>
                </a:cubicBezTo>
                <a:cubicBezTo>
                  <a:pt x="1565" y="645"/>
                  <a:pt x="1565" y="645"/>
                  <a:pt x="1564" y="645"/>
                </a:cubicBezTo>
                <a:cubicBezTo>
                  <a:pt x="1564" y="645"/>
                  <a:pt x="1564" y="645"/>
                  <a:pt x="1564" y="646"/>
                </a:cubicBezTo>
                <a:cubicBezTo>
                  <a:pt x="1564" y="646"/>
                  <a:pt x="1564" y="646"/>
                  <a:pt x="1564" y="648"/>
                </a:cubicBezTo>
                <a:cubicBezTo>
                  <a:pt x="1564" y="648"/>
                  <a:pt x="1564" y="648"/>
                  <a:pt x="1564" y="649"/>
                </a:cubicBezTo>
                <a:cubicBezTo>
                  <a:pt x="1564" y="649"/>
                  <a:pt x="1564" y="649"/>
                  <a:pt x="1565" y="652"/>
                </a:cubicBezTo>
                <a:cubicBezTo>
                  <a:pt x="1565" y="652"/>
                  <a:pt x="1565" y="652"/>
                  <a:pt x="1567" y="653"/>
                </a:cubicBezTo>
                <a:cubicBezTo>
                  <a:pt x="1567" y="653"/>
                  <a:pt x="1567" y="653"/>
                  <a:pt x="1568" y="653"/>
                </a:cubicBezTo>
                <a:cubicBezTo>
                  <a:pt x="1568" y="653"/>
                  <a:pt x="1568" y="653"/>
                  <a:pt x="1569" y="653"/>
                </a:cubicBezTo>
                <a:cubicBezTo>
                  <a:pt x="1569" y="653"/>
                  <a:pt x="1569" y="653"/>
                  <a:pt x="1570" y="655"/>
                </a:cubicBezTo>
                <a:cubicBezTo>
                  <a:pt x="1570" y="655"/>
                  <a:pt x="1570" y="655"/>
                  <a:pt x="1571" y="655"/>
                </a:cubicBezTo>
                <a:cubicBezTo>
                  <a:pt x="1571" y="655"/>
                  <a:pt x="1571" y="655"/>
                  <a:pt x="1572" y="656"/>
                </a:cubicBezTo>
                <a:cubicBezTo>
                  <a:pt x="1572" y="656"/>
                  <a:pt x="1572" y="656"/>
                  <a:pt x="1573" y="657"/>
                </a:cubicBezTo>
                <a:cubicBezTo>
                  <a:pt x="1573" y="657"/>
                  <a:pt x="1573" y="657"/>
                  <a:pt x="1574" y="658"/>
                </a:cubicBezTo>
                <a:cubicBezTo>
                  <a:pt x="1574" y="658"/>
                  <a:pt x="1574" y="658"/>
                  <a:pt x="1574" y="659"/>
                </a:cubicBezTo>
                <a:cubicBezTo>
                  <a:pt x="1574" y="659"/>
                  <a:pt x="1574" y="659"/>
                  <a:pt x="1574" y="660"/>
                </a:cubicBezTo>
                <a:cubicBezTo>
                  <a:pt x="1574" y="660"/>
                  <a:pt x="1574" y="660"/>
                  <a:pt x="1574" y="661"/>
                </a:cubicBezTo>
                <a:cubicBezTo>
                  <a:pt x="1574" y="661"/>
                  <a:pt x="1574" y="661"/>
                  <a:pt x="1575" y="662"/>
                </a:cubicBezTo>
                <a:cubicBezTo>
                  <a:pt x="1575" y="662"/>
                  <a:pt x="1575" y="662"/>
                  <a:pt x="1576" y="664"/>
                </a:cubicBezTo>
                <a:cubicBezTo>
                  <a:pt x="1576" y="664"/>
                  <a:pt x="1576" y="664"/>
                  <a:pt x="1575" y="663"/>
                </a:cubicBezTo>
                <a:cubicBezTo>
                  <a:pt x="1575" y="663"/>
                  <a:pt x="1575" y="663"/>
                  <a:pt x="1575" y="664"/>
                </a:cubicBezTo>
                <a:cubicBezTo>
                  <a:pt x="1575" y="664"/>
                  <a:pt x="1575" y="664"/>
                  <a:pt x="1575" y="665"/>
                </a:cubicBezTo>
                <a:cubicBezTo>
                  <a:pt x="1575" y="665"/>
                  <a:pt x="1575" y="665"/>
                  <a:pt x="1577" y="669"/>
                </a:cubicBezTo>
                <a:cubicBezTo>
                  <a:pt x="1577" y="669"/>
                  <a:pt x="1577" y="669"/>
                  <a:pt x="1577" y="672"/>
                </a:cubicBezTo>
                <a:cubicBezTo>
                  <a:pt x="1577" y="672"/>
                  <a:pt x="1577" y="672"/>
                  <a:pt x="1577" y="674"/>
                </a:cubicBezTo>
                <a:cubicBezTo>
                  <a:pt x="1577" y="674"/>
                  <a:pt x="1577" y="674"/>
                  <a:pt x="1577" y="677"/>
                </a:cubicBezTo>
                <a:cubicBezTo>
                  <a:pt x="1577" y="677"/>
                  <a:pt x="1577" y="677"/>
                  <a:pt x="1579" y="679"/>
                </a:cubicBezTo>
                <a:cubicBezTo>
                  <a:pt x="1579" y="679"/>
                  <a:pt x="1579" y="679"/>
                  <a:pt x="1580" y="679"/>
                </a:cubicBezTo>
                <a:cubicBezTo>
                  <a:pt x="1580" y="679"/>
                  <a:pt x="1580" y="679"/>
                  <a:pt x="1582" y="681"/>
                </a:cubicBezTo>
                <a:cubicBezTo>
                  <a:pt x="1582" y="681"/>
                  <a:pt x="1582" y="681"/>
                  <a:pt x="1582" y="682"/>
                </a:cubicBezTo>
                <a:cubicBezTo>
                  <a:pt x="1582" y="682"/>
                  <a:pt x="1582" y="682"/>
                  <a:pt x="1584" y="682"/>
                </a:cubicBezTo>
                <a:cubicBezTo>
                  <a:pt x="1584" y="682"/>
                  <a:pt x="1584" y="682"/>
                  <a:pt x="1585" y="683"/>
                </a:cubicBezTo>
                <a:cubicBezTo>
                  <a:pt x="1585" y="683"/>
                  <a:pt x="1585" y="683"/>
                  <a:pt x="1585" y="684"/>
                </a:cubicBezTo>
                <a:cubicBezTo>
                  <a:pt x="1585" y="684"/>
                  <a:pt x="1585" y="684"/>
                  <a:pt x="1587" y="685"/>
                </a:cubicBezTo>
                <a:cubicBezTo>
                  <a:pt x="1587" y="685"/>
                  <a:pt x="1587" y="685"/>
                  <a:pt x="1590" y="692"/>
                </a:cubicBezTo>
                <a:cubicBezTo>
                  <a:pt x="1590" y="692"/>
                  <a:pt x="1590" y="692"/>
                  <a:pt x="1590" y="697"/>
                </a:cubicBezTo>
                <a:cubicBezTo>
                  <a:pt x="1590" y="697"/>
                  <a:pt x="1590" y="697"/>
                  <a:pt x="1591" y="697"/>
                </a:cubicBezTo>
                <a:cubicBezTo>
                  <a:pt x="1591" y="697"/>
                  <a:pt x="1591" y="697"/>
                  <a:pt x="1591" y="699"/>
                </a:cubicBezTo>
                <a:cubicBezTo>
                  <a:pt x="1591" y="699"/>
                  <a:pt x="1591" y="699"/>
                  <a:pt x="1592" y="699"/>
                </a:cubicBezTo>
                <a:cubicBezTo>
                  <a:pt x="1592" y="699"/>
                  <a:pt x="1592" y="699"/>
                  <a:pt x="1593" y="701"/>
                </a:cubicBezTo>
                <a:cubicBezTo>
                  <a:pt x="1593" y="701"/>
                  <a:pt x="1593" y="701"/>
                  <a:pt x="1593" y="703"/>
                </a:cubicBezTo>
                <a:cubicBezTo>
                  <a:pt x="1593" y="703"/>
                  <a:pt x="1593" y="703"/>
                  <a:pt x="1594" y="703"/>
                </a:cubicBezTo>
                <a:cubicBezTo>
                  <a:pt x="1594" y="703"/>
                  <a:pt x="1594" y="703"/>
                  <a:pt x="1594" y="701"/>
                </a:cubicBezTo>
                <a:cubicBezTo>
                  <a:pt x="1594" y="701"/>
                  <a:pt x="1594" y="701"/>
                  <a:pt x="1594" y="700"/>
                </a:cubicBezTo>
                <a:cubicBezTo>
                  <a:pt x="1594" y="700"/>
                  <a:pt x="1594" y="700"/>
                  <a:pt x="1595" y="701"/>
                </a:cubicBezTo>
                <a:cubicBezTo>
                  <a:pt x="1595" y="701"/>
                  <a:pt x="1595" y="701"/>
                  <a:pt x="1595" y="702"/>
                </a:cubicBezTo>
                <a:cubicBezTo>
                  <a:pt x="1595" y="702"/>
                  <a:pt x="1595" y="702"/>
                  <a:pt x="1596" y="703"/>
                </a:cubicBezTo>
                <a:cubicBezTo>
                  <a:pt x="1596" y="703"/>
                  <a:pt x="1596" y="703"/>
                  <a:pt x="1597" y="704"/>
                </a:cubicBezTo>
                <a:cubicBezTo>
                  <a:pt x="1597" y="704"/>
                  <a:pt x="1597" y="704"/>
                  <a:pt x="1598" y="704"/>
                </a:cubicBezTo>
                <a:cubicBezTo>
                  <a:pt x="1598" y="704"/>
                  <a:pt x="1598" y="704"/>
                  <a:pt x="1599" y="704"/>
                </a:cubicBezTo>
                <a:cubicBezTo>
                  <a:pt x="1599" y="704"/>
                  <a:pt x="1599" y="704"/>
                  <a:pt x="1601" y="705"/>
                </a:cubicBezTo>
                <a:cubicBezTo>
                  <a:pt x="1601" y="705"/>
                  <a:pt x="1601" y="705"/>
                  <a:pt x="1601" y="706"/>
                </a:cubicBezTo>
                <a:cubicBezTo>
                  <a:pt x="1601" y="706"/>
                  <a:pt x="1601" y="706"/>
                  <a:pt x="1603" y="706"/>
                </a:cubicBezTo>
                <a:cubicBezTo>
                  <a:pt x="1603" y="706"/>
                  <a:pt x="1603" y="706"/>
                  <a:pt x="1603" y="707"/>
                </a:cubicBezTo>
                <a:cubicBezTo>
                  <a:pt x="1603" y="707"/>
                  <a:pt x="1603" y="707"/>
                  <a:pt x="1605" y="709"/>
                </a:cubicBezTo>
                <a:cubicBezTo>
                  <a:pt x="1605" y="709"/>
                  <a:pt x="1605" y="709"/>
                  <a:pt x="1606" y="711"/>
                </a:cubicBezTo>
                <a:cubicBezTo>
                  <a:pt x="1606" y="711"/>
                  <a:pt x="1606" y="711"/>
                  <a:pt x="1608" y="711"/>
                </a:cubicBezTo>
                <a:cubicBezTo>
                  <a:pt x="1608" y="711"/>
                  <a:pt x="1608" y="711"/>
                  <a:pt x="1609" y="712"/>
                </a:cubicBezTo>
                <a:cubicBezTo>
                  <a:pt x="1609" y="712"/>
                  <a:pt x="1609" y="712"/>
                  <a:pt x="1610" y="713"/>
                </a:cubicBezTo>
                <a:cubicBezTo>
                  <a:pt x="1610" y="713"/>
                  <a:pt x="1610" y="713"/>
                  <a:pt x="1611" y="715"/>
                </a:cubicBezTo>
                <a:cubicBezTo>
                  <a:pt x="1611" y="715"/>
                  <a:pt x="1611" y="715"/>
                  <a:pt x="1612" y="717"/>
                </a:cubicBezTo>
                <a:cubicBezTo>
                  <a:pt x="1612" y="717"/>
                  <a:pt x="1612" y="717"/>
                  <a:pt x="1613" y="718"/>
                </a:cubicBezTo>
                <a:cubicBezTo>
                  <a:pt x="1613" y="718"/>
                  <a:pt x="1613" y="718"/>
                  <a:pt x="1614" y="718"/>
                </a:cubicBezTo>
                <a:cubicBezTo>
                  <a:pt x="1614" y="718"/>
                  <a:pt x="1614" y="718"/>
                  <a:pt x="1615" y="718"/>
                </a:cubicBezTo>
                <a:cubicBezTo>
                  <a:pt x="1615" y="718"/>
                  <a:pt x="1615" y="718"/>
                  <a:pt x="1615" y="719"/>
                </a:cubicBezTo>
                <a:cubicBezTo>
                  <a:pt x="1615" y="719"/>
                  <a:pt x="1615" y="719"/>
                  <a:pt x="1616" y="720"/>
                </a:cubicBezTo>
                <a:cubicBezTo>
                  <a:pt x="1616" y="720"/>
                  <a:pt x="1616" y="720"/>
                  <a:pt x="1617" y="720"/>
                </a:cubicBezTo>
                <a:cubicBezTo>
                  <a:pt x="1617" y="720"/>
                  <a:pt x="1617" y="720"/>
                  <a:pt x="1617" y="721"/>
                </a:cubicBezTo>
                <a:cubicBezTo>
                  <a:pt x="1617" y="721"/>
                  <a:pt x="1617" y="721"/>
                  <a:pt x="1617" y="723"/>
                </a:cubicBezTo>
                <a:cubicBezTo>
                  <a:pt x="1617" y="723"/>
                  <a:pt x="1617" y="723"/>
                  <a:pt x="1616" y="723"/>
                </a:cubicBezTo>
                <a:cubicBezTo>
                  <a:pt x="1616" y="723"/>
                  <a:pt x="1616" y="723"/>
                  <a:pt x="1615" y="725"/>
                </a:cubicBezTo>
                <a:cubicBezTo>
                  <a:pt x="1615" y="725"/>
                  <a:pt x="1615" y="725"/>
                  <a:pt x="1614" y="725"/>
                </a:cubicBezTo>
                <a:cubicBezTo>
                  <a:pt x="1614" y="725"/>
                  <a:pt x="1614" y="725"/>
                  <a:pt x="1614" y="726"/>
                </a:cubicBezTo>
                <a:cubicBezTo>
                  <a:pt x="1614" y="726"/>
                  <a:pt x="1614" y="726"/>
                  <a:pt x="1616" y="726"/>
                </a:cubicBezTo>
                <a:cubicBezTo>
                  <a:pt x="1616" y="726"/>
                  <a:pt x="1616" y="726"/>
                  <a:pt x="1617" y="727"/>
                </a:cubicBezTo>
                <a:cubicBezTo>
                  <a:pt x="1617" y="727"/>
                  <a:pt x="1617" y="727"/>
                  <a:pt x="1621" y="732"/>
                </a:cubicBezTo>
                <a:cubicBezTo>
                  <a:pt x="1621" y="732"/>
                  <a:pt x="1621" y="732"/>
                  <a:pt x="1622" y="733"/>
                </a:cubicBezTo>
                <a:cubicBezTo>
                  <a:pt x="1622" y="733"/>
                  <a:pt x="1622" y="733"/>
                  <a:pt x="1623" y="734"/>
                </a:cubicBezTo>
                <a:cubicBezTo>
                  <a:pt x="1623" y="734"/>
                  <a:pt x="1623" y="734"/>
                  <a:pt x="1625" y="734"/>
                </a:cubicBezTo>
                <a:cubicBezTo>
                  <a:pt x="1625" y="734"/>
                  <a:pt x="1625" y="734"/>
                  <a:pt x="1627" y="734"/>
                </a:cubicBezTo>
                <a:cubicBezTo>
                  <a:pt x="1627" y="734"/>
                  <a:pt x="1627" y="734"/>
                  <a:pt x="1629" y="733"/>
                </a:cubicBezTo>
                <a:cubicBezTo>
                  <a:pt x="1629" y="733"/>
                  <a:pt x="1629" y="733"/>
                  <a:pt x="1630" y="732"/>
                </a:cubicBezTo>
                <a:cubicBezTo>
                  <a:pt x="1630" y="732"/>
                  <a:pt x="1630" y="732"/>
                  <a:pt x="1632" y="731"/>
                </a:cubicBezTo>
                <a:cubicBezTo>
                  <a:pt x="1632" y="731"/>
                  <a:pt x="1632" y="731"/>
                  <a:pt x="1633" y="731"/>
                </a:cubicBezTo>
                <a:cubicBezTo>
                  <a:pt x="1633" y="731"/>
                  <a:pt x="1633" y="731"/>
                  <a:pt x="1635" y="731"/>
                </a:cubicBezTo>
                <a:cubicBezTo>
                  <a:pt x="1635" y="731"/>
                  <a:pt x="1635" y="731"/>
                  <a:pt x="1637" y="731"/>
                </a:cubicBezTo>
                <a:cubicBezTo>
                  <a:pt x="1637" y="731"/>
                  <a:pt x="1637" y="731"/>
                  <a:pt x="1638" y="731"/>
                </a:cubicBezTo>
                <a:cubicBezTo>
                  <a:pt x="1638" y="731"/>
                  <a:pt x="1638" y="731"/>
                  <a:pt x="1642" y="729"/>
                </a:cubicBezTo>
                <a:cubicBezTo>
                  <a:pt x="1642" y="729"/>
                  <a:pt x="1642" y="729"/>
                  <a:pt x="1643" y="729"/>
                </a:cubicBezTo>
                <a:cubicBezTo>
                  <a:pt x="1643" y="729"/>
                  <a:pt x="1643" y="729"/>
                  <a:pt x="1645" y="729"/>
                </a:cubicBezTo>
                <a:cubicBezTo>
                  <a:pt x="1645" y="729"/>
                  <a:pt x="1645" y="729"/>
                  <a:pt x="1646" y="729"/>
                </a:cubicBezTo>
                <a:cubicBezTo>
                  <a:pt x="1646" y="729"/>
                  <a:pt x="1646" y="729"/>
                  <a:pt x="1647" y="729"/>
                </a:cubicBezTo>
                <a:cubicBezTo>
                  <a:pt x="1647" y="729"/>
                  <a:pt x="1647" y="729"/>
                  <a:pt x="1649" y="728"/>
                </a:cubicBezTo>
                <a:cubicBezTo>
                  <a:pt x="1649" y="728"/>
                  <a:pt x="1649" y="728"/>
                  <a:pt x="1651" y="728"/>
                </a:cubicBezTo>
                <a:cubicBezTo>
                  <a:pt x="1651" y="728"/>
                  <a:pt x="1651" y="728"/>
                  <a:pt x="1652" y="728"/>
                </a:cubicBezTo>
                <a:cubicBezTo>
                  <a:pt x="1652" y="728"/>
                  <a:pt x="1652" y="728"/>
                  <a:pt x="1655" y="728"/>
                </a:cubicBezTo>
                <a:cubicBezTo>
                  <a:pt x="1655" y="728"/>
                  <a:pt x="1655" y="728"/>
                  <a:pt x="1657" y="727"/>
                </a:cubicBezTo>
                <a:cubicBezTo>
                  <a:pt x="1657" y="727"/>
                  <a:pt x="1657" y="727"/>
                  <a:pt x="1658" y="727"/>
                </a:cubicBezTo>
                <a:cubicBezTo>
                  <a:pt x="1658" y="727"/>
                  <a:pt x="1658" y="727"/>
                  <a:pt x="1659" y="727"/>
                </a:cubicBezTo>
                <a:cubicBezTo>
                  <a:pt x="1659" y="727"/>
                  <a:pt x="1659" y="727"/>
                  <a:pt x="1659" y="726"/>
                </a:cubicBezTo>
                <a:cubicBezTo>
                  <a:pt x="1659" y="726"/>
                  <a:pt x="1659" y="726"/>
                  <a:pt x="1661" y="726"/>
                </a:cubicBezTo>
                <a:cubicBezTo>
                  <a:pt x="1661" y="726"/>
                  <a:pt x="1661" y="726"/>
                  <a:pt x="1662" y="725"/>
                </a:cubicBezTo>
                <a:cubicBezTo>
                  <a:pt x="1662" y="725"/>
                  <a:pt x="1662" y="725"/>
                  <a:pt x="1663" y="724"/>
                </a:cubicBezTo>
                <a:cubicBezTo>
                  <a:pt x="1663" y="724"/>
                  <a:pt x="1663" y="724"/>
                  <a:pt x="1663" y="723"/>
                </a:cubicBezTo>
                <a:cubicBezTo>
                  <a:pt x="1663" y="723"/>
                  <a:pt x="1663" y="723"/>
                  <a:pt x="1664" y="724"/>
                </a:cubicBezTo>
                <a:cubicBezTo>
                  <a:pt x="1664" y="724"/>
                  <a:pt x="1664" y="724"/>
                  <a:pt x="1664" y="723"/>
                </a:cubicBezTo>
                <a:cubicBezTo>
                  <a:pt x="1664" y="723"/>
                  <a:pt x="1664" y="723"/>
                  <a:pt x="1665" y="724"/>
                </a:cubicBezTo>
                <a:cubicBezTo>
                  <a:pt x="1665" y="724"/>
                  <a:pt x="1665" y="724"/>
                  <a:pt x="1666" y="724"/>
                </a:cubicBezTo>
                <a:cubicBezTo>
                  <a:pt x="1666" y="724"/>
                  <a:pt x="1666" y="724"/>
                  <a:pt x="1667" y="724"/>
                </a:cubicBezTo>
                <a:cubicBezTo>
                  <a:pt x="1667" y="724"/>
                  <a:pt x="1667" y="724"/>
                  <a:pt x="1667" y="725"/>
                </a:cubicBezTo>
                <a:cubicBezTo>
                  <a:pt x="1667" y="725"/>
                  <a:pt x="1667" y="725"/>
                  <a:pt x="1666" y="726"/>
                </a:cubicBezTo>
                <a:cubicBezTo>
                  <a:pt x="1666" y="726"/>
                  <a:pt x="1666" y="726"/>
                  <a:pt x="1666" y="727"/>
                </a:cubicBezTo>
                <a:cubicBezTo>
                  <a:pt x="1666" y="727"/>
                  <a:pt x="1666" y="727"/>
                  <a:pt x="1666" y="728"/>
                </a:cubicBezTo>
                <a:cubicBezTo>
                  <a:pt x="1666" y="728"/>
                  <a:pt x="1666" y="728"/>
                  <a:pt x="1666" y="729"/>
                </a:cubicBezTo>
                <a:cubicBezTo>
                  <a:pt x="1666" y="729"/>
                  <a:pt x="1666" y="729"/>
                  <a:pt x="1667" y="729"/>
                </a:cubicBezTo>
                <a:cubicBezTo>
                  <a:pt x="1667" y="729"/>
                  <a:pt x="1667" y="729"/>
                  <a:pt x="1666" y="730"/>
                </a:cubicBezTo>
                <a:cubicBezTo>
                  <a:pt x="1666" y="730"/>
                  <a:pt x="1666" y="730"/>
                  <a:pt x="1666" y="731"/>
                </a:cubicBezTo>
                <a:cubicBezTo>
                  <a:pt x="1666" y="731"/>
                  <a:pt x="1666" y="731"/>
                  <a:pt x="1666" y="732"/>
                </a:cubicBezTo>
                <a:cubicBezTo>
                  <a:pt x="1666" y="732"/>
                  <a:pt x="1666" y="732"/>
                  <a:pt x="1667" y="733"/>
                </a:cubicBezTo>
                <a:cubicBezTo>
                  <a:pt x="1667" y="733"/>
                  <a:pt x="1667" y="733"/>
                  <a:pt x="1666" y="734"/>
                </a:cubicBezTo>
                <a:cubicBezTo>
                  <a:pt x="1666" y="734"/>
                  <a:pt x="1666" y="734"/>
                  <a:pt x="1665" y="736"/>
                </a:cubicBezTo>
                <a:cubicBezTo>
                  <a:pt x="1665" y="736"/>
                  <a:pt x="1665" y="736"/>
                  <a:pt x="1665" y="737"/>
                </a:cubicBezTo>
                <a:cubicBezTo>
                  <a:pt x="1665" y="737"/>
                  <a:pt x="1665" y="737"/>
                  <a:pt x="1665" y="738"/>
                </a:cubicBezTo>
                <a:cubicBezTo>
                  <a:pt x="1665" y="738"/>
                  <a:pt x="1665" y="738"/>
                  <a:pt x="1665" y="739"/>
                </a:cubicBezTo>
                <a:cubicBezTo>
                  <a:pt x="1665" y="739"/>
                  <a:pt x="1665" y="739"/>
                  <a:pt x="1665" y="740"/>
                </a:cubicBezTo>
                <a:cubicBezTo>
                  <a:pt x="1665" y="740"/>
                  <a:pt x="1665" y="740"/>
                  <a:pt x="1663" y="743"/>
                </a:cubicBezTo>
                <a:cubicBezTo>
                  <a:pt x="1663" y="743"/>
                  <a:pt x="1663" y="743"/>
                  <a:pt x="1661" y="747"/>
                </a:cubicBezTo>
                <a:cubicBezTo>
                  <a:pt x="1661" y="747"/>
                  <a:pt x="1661" y="747"/>
                  <a:pt x="1660" y="748"/>
                </a:cubicBezTo>
                <a:cubicBezTo>
                  <a:pt x="1660" y="748"/>
                  <a:pt x="1660" y="748"/>
                  <a:pt x="1658" y="749"/>
                </a:cubicBezTo>
                <a:cubicBezTo>
                  <a:pt x="1658" y="749"/>
                  <a:pt x="1658" y="749"/>
                  <a:pt x="1658" y="750"/>
                </a:cubicBezTo>
                <a:cubicBezTo>
                  <a:pt x="1658" y="750"/>
                  <a:pt x="1658" y="750"/>
                  <a:pt x="1659" y="751"/>
                </a:cubicBezTo>
                <a:cubicBezTo>
                  <a:pt x="1659" y="751"/>
                  <a:pt x="1659" y="751"/>
                  <a:pt x="1658" y="751"/>
                </a:cubicBezTo>
                <a:cubicBezTo>
                  <a:pt x="1658" y="751"/>
                  <a:pt x="1658" y="751"/>
                  <a:pt x="1654" y="758"/>
                </a:cubicBezTo>
                <a:cubicBezTo>
                  <a:pt x="1654" y="758"/>
                  <a:pt x="1654" y="758"/>
                  <a:pt x="1654" y="760"/>
                </a:cubicBezTo>
                <a:cubicBezTo>
                  <a:pt x="1654" y="760"/>
                  <a:pt x="1654" y="760"/>
                  <a:pt x="1652" y="763"/>
                </a:cubicBezTo>
                <a:cubicBezTo>
                  <a:pt x="1652" y="763"/>
                  <a:pt x="1652" y="763"/>
                  <a:pt x="1652" y="764"/>
                </a:cubicBezTo>
                <a:cubicBezTo>
                  <a:pt x="1652" y="764"/>
                  <a:pt x="1652" y="764"/>
                  <a:pt x="1648" y="770"/>
                </a:cubicBezTo>
                <a:cubicBezTo>
                  <a:pt x="1648" y="770"/>
                  <a:pt x="1648" y="770"/>
                  <a:pt x="1647" y="772"/>
                </a:cubicBezTo>
                <a:cubicBezTo>
                  <a:pt x="1647" y="772"/>
                  <a:pt x="1647" y="772"/>
                  <a:pt x="1645" y="774"/>
                </a:cubicBezTo>
                <a:cubicBezTo>
                  <a:pt x="1645" y="774"/>
                  <a:pt x="1645" y="774"/>
                  <a:pt x="1642" y="778"/>
                </a:cubicBezTo>
                <a:cubicBezTo>
                  <a:pt x="1642" y="778"/>
                  <a:pt x="1642" y="778"/>
                  <a:pt x="1635" y="784"/>
                </a:cubicBezTo>
                <a:cubicBezTo>
                  <a:pt x="1635" y="784"/>
                  <a:pt x="1635" y="784"/>
                  <a:pt x="1632" y="786"/>
                </a:cubicBezTo>
                <a:cubicBezTo>
                  <a:pt x="1632" y="786"/>
                  <a:pt x="1632" y="786"/>
                  <a:pt x="1630" y="787"/>
                </a:cubicBezTo>
                <a:cubicBezTo>
                  <a:pt x="1630" y="787"/>
                  <a:pt x="1630" y="787"/>
                  <a:pt x="1628" y="788"/>
                </a:cubicBezTo>
                <a:cubicBezTo>
                  <a:pt x="1628" y="788"/>
                  <a:pt x="1628" y="788"/>
                  <a:pt x="1626" y="790"/>
                </a:cubicBezTo>
                <a:cubicBezTo>
                  <a:pt x="1626" y="790"/>
                  <a:pt x="1626" y="790"/>
                  <a:pt x="1622" y="794"/>
                </a:cubicBezTo>
                <a:cubicBezTo>
                  <a:pt x="1622" y="794"/>
                  <a:pt x="1622" y="794"/>
                  <a:pt x="1621" y="794"/>
                </a:cubicBezTo>
                <a:cubicBezTo>
                  <a:pt x="1621" y="794"/>
                  <a:pt x="1621" y="794"/>
                  <a:pt x="1617" y="798"/>
                </a:cubicBezTo>
                <a:cubicBezTo>
                  <a:pt x="1617" y="798"/>
                  <a:pt x="1617" y="798"/>
                  <a:pt x="1617" y="799"/>
                </a:cubicBezTo>
                <a:cubicBezTo>
                  <a:pt x="1617" y="799"/>
                  <a:pt x="1617" y="799"/>
                  <a:pt x="1616" y="800"/>
                </a:cubicBezTo>
                <a:cubicBezTo>
                  <a:pt x="1616" y="800"/>
                  <a:pt x="1616" y="800"/>
                  <a:pt x="1615" y="800"/>
                </a:cubicBezTo>
                <a:cubicBezTo>
                  <a:pt x="1615" y="800"/>
                  <a:pt x="1615" y="800"/>
                  <a:pt x="1613" y="801"/>
                </a:cubicBezTo>
                <a:cubicBezTo>
                  <a:pt x="1613" y="801"/>
                  <a:pt x="1613" y="801"/>
                  <a:pt x="1613" y="803"/>
                </a:cubicBezTo>
                <a:cubicBezTo>
                  <a:pt x="1613" y="803"/>
                  <a:pt x="1613" y="803"/>
                  <a:pt x="1608" y="808"/>
                </a:cubicBezTo>
                <a:cubicBezTo>
                  <a:pt x="1608" y="808"/>
                  <a:pt x="1608" y="808"/>
                  <a:pt x="1608" y="809"/>
                </a:cubicBezTo>
                <a:cubicBezTo>
                  <a:pt x="1608" y="809"/>
                  <a:pt x="1608" y="809"/>
                  <a:pt x="1605" y="811"/>
                </a:cubicBezTo>
                <a:cubicBezTo>
                  <a:pt x="1605" y="811"/>
                  <a:pt x="1605" y="811"/>
                  <a:pt x="1605" y="812"/>
                </a:cubicBezTo>
                <a:cubicBezTo>
                  <a:pt x="1605" y="812"/>
                  <a:pt x="1605" y="812"/>
                  <a:pt x="1604" y="812"/>
                </a:cubicBezTo>
                <a:cubicBezTo>
                  <a:pt x="1604" y="812"/>
                  <a:pt x="1604" y="812"/>
                  <a:pt x="1605" y="813"/>
                </a:cubicBezTo>
                <a:cubicBezTo>
                  <a:pt x="1605" y="813"/>
                  <a:pt x="1605" y="813"/>
                  <a:pt x="1602" y="814"/>
                </a:cubicBezTo>
                <a:cubicBezTo>
                  <a:pt x="1602" y="814"/>
                  <a:pt x="1602" y="814"/>
                  <a:pt x="1601" y="815"/>
                </a:cubicBezTo>
                <a:cubicBezTo>
                  <a:pt x="1601" y="815"/>
                  <a:pt x="1601" y="815"/>
                  <a:pt x="1599" y="815"/>
                </a:cubicBezTo>
                <a:cubicBezTo>
                  <a:pt x="1599" y="815"/>
                  <a:pt x="1599" y="815"/>
                  <a:pt x="1599" y="816"/>
                </a:cubicBezTo>
                <a:cubicBezTo>
                  <a:pt x="1599" y="816"/>
                  <a:pt x="1599" y="816"/>
                  <a:pt x="1598" y="817"/>
                </a:cubicBezTo>
                <a:cubicBezTo>
                  <a:pt x="1598" y="817"/>
                  <a:pt x="1598" y="817"/>
                  <a:pt x="1598" y="818"/>
                </a:cubicBezTo>
                <a:cubicBezTo>
                  <a:pt x="1598" y="818"/>
                  <a:pt x="1598" y="818"/>
                  <a:pt x="1597" y="820"/>
                </a:cubicBezTo>
                <a:cubicBezTo>
                  <a:pt x="1597" y="820"/>
                  <a:pt x="1597" y="820"/>
                  <a:pt x="1596" y="821"/>
                </a:cubicBezTo>
                <a:cubicBezTo>
                  <a:pt x="1596" y="821"/>
                  <a:pt x="1596" y="821"/>
                  <a:pt x="1596" y="822"/>
                </a:cubicBezTo>
                <a:cubicBezTo>
                  <a:pt x="1596" y="822"/>
                  <a:pt x="1596" y="822"/>
                  <a:pt x="1595" y="824"/>
                </a:cubicBezTo>
                <a:cubicBezTo>
                  <a:pt x="1595" y="824"/>
                  <a:pt x="1595" y="824"/>
                  <a:pt x="1593" y="828"/>
                </a:cubicBezTo>
                <a:cubicBezTo>
                  <a:pt x="1593" y="828"/>
                  <a:pt x="1593" y="828"/>
                  <a:pt x="1591" y="828"/>
                </a:cubicBezTo>
                <a:cubicBezTo>
                  <a:pt x="1591" y="828"/>
                  <a:pt x="1591" y="828"/>
                  <a:pt x="1591" y="829"/>
                </a:cubicBezTo>
                <a:cubicBezTo>
                  <a:pt x="1591" y="829"/>
                  <a:pt x="1591" y="829"/>
                  <a:pt x="1591" y="830"/>
                </a:cubicBezTo>
                <a:cubicBezTo>
                  <a:pt x="1591" y="830"/>
                  <a:pt x="1591" y="830"/>
                  <a:pt x="1589" y="834"/>
                </a:cubicBezTo>
                <a:cubicBezTo>
                  <a:pt x="1589" y="834"/>
                  <a:pt x="1589" y="834"/>
                  <a:pt x="1588" y="837"/>
                </a:cubicBezTo>
                <a:cubicBezTo>
                  <a:pt x="1588" y="837"/>
                  <a:pt x="1588" y="837"/>
                  <a:pt x="1588" y="838"/>
                </a:cubicBezTo>
                <a:cubicBezTo>
                  <a:pt x="1588" y="838"/>
                  <a:pt x="1588" y="838"/>
                  <a:pt x="1590" y="840"/>
                </a:cubicBezTo>
                <a:cubicBezTo>
                  <a:pt x="1590" y="840"/>
                  <a:pt x="1590" y="840"/>
                  <a:pt x="1591" y="842"/>
                </a:cubicBezTo>
                <a:cubicBezTo>
                  <a:pt x="1591" y="842"/>
                  <a:pt x="1591" y="842"/>
                  <a:pt x="1592" y="841"/>
                </a:cubicBezTo>
                <a:cubicBezTo>
                  <a:pt x="1592" y="841"/>
                  <a:pt x="1592" y="841"/>
                  <a:pt x="1593" y="844"/>
                </a:cubicBezTo>
                <a:cubicBezTo>
                  <a:pt x="1593" y="844"/>
                  <a:pt x="1593" y="844"/>
                  <a:pt x="1592" y="844"/>
                </a:cubicBezTo>
                <a:cubicBezTo>
                  <a:pt x="1592" y="844"/>
                  <a:pt x="1592" y="844"/>
                  <a:pt x="1591" y="845"/>
                </a:cubicBezTo>
                <a:cubicBezTo>
                  <a:pt x="1591" y="845"/>
                  <a:pt x="1591" y="845"/>
                  <a:pt x="1591" y="846"/>
                </a:cubicBezTo>
                <a:cubicBezTo>
                  <a:pt x="1591" y="846"/>
                  <a:pt x="1591" y="846"/>
                  <a:pt x="1591" y="849"/>
                </a:cubicBezTo>
                <a:cubicBezTo>
                  <a:pt x="1591" y="849"/>
                  <a:pt x="1591" y="849"/>
                  <a:pt x="1592" y="850"/>
                </a:cubicBezTo>
                <a:cubicBezTo>
                  <a:pt x="1592" y="850"/>
                  <a:pt x="1592" y="850"/>
                  <a:pt x="1592" y="851"/>
                </a:cubicBezTo>
                <a:cubicBezTo>
                  <a:pt x="1592" y="851"/>
                  <a:pt x="1592" y="851"/>
                  <a:pt x="1591" y="852"/>
                </a:cubicBezTo>
                <a:cubicBezTo>
                  <a:pt x="1591" y="852"/>
                  <a:pt x="1591" y="852"/>
                  <a:pt x="1591" y="853"/>
                </a:cubicBezTo>
                <a:cubicBezTo>
                  <a:pt x="1591" y="853"/>
                  <a:pt x="1591" y="853"/>
                  <a:pt x="1592" y="855"/>
                </a:cubicBezTo>
                <a:cubicBezTo>
                  <a:pt x="1592" y="855"/>
                  <a:pt x="1592" y="855"/>
                  <a:pt x="1592" y="856"/>
                </a:cubicBezTo>
                <a:cubicBezTo>
                  <a:pt x="1592" y="856"/>
                  <a:pt x="1592" y="856"/>
                  <a:pt x="1592" y="857"/>
                </a:cubicBezTo>
                <a:cubicBezTo>
                  <a:pt x="1592" y="857"/>
                  <a:pt x="1592" y="857"/>
                  <a:pt x="1593" y="857"/>
                </a:cubicBezTo>
                <a:cubicBezTo>
                  <a:pt x="1593" y="857"/>
                  <a:pt x="1593" y="857"/>
                  <a:pt x="1592" y="859"/>
                </a:cubicBezTo>
                <a:cubicBezTo>
                  <a:pt x="1592" y="859"/>
                  <a:pt x="1592" y="859"/>
                  <a:pt x="1593" y="859"/>
                </a:cubicBezTo>
                <a:cubicBezTo>
                  <a:pt x="1593" y="859"/>
                  <a:pt x="1593" y="859"/>
                  <a:pt x="1594" y="861"/>
                </a:cubicBezTo>
                <a:cubicBezTo>
                  <a:pt x="1594" y="861"/>
                  <a:pt x="1594" y="861"/>
                  <a:pt x="1593" y="862"/>
                </a:cubicBezTo>
                <a:cubicBezTo>
                  <a:pt x="1593" y="862"/>
                  <a:pt x="1593" y="862"/>
                  <a:pt x="1596" y="864"/>
                </a:cubicBezTo>
                <a:cubicBezTo>
                  <a:pt x="1596" y="864"/>
                  <a:pt x="1596" y="864"/>
                  <a:pt x="1597" y="864"/>
                </a:cubicBezTo>
                <a:cubicBezTo>
                  <a:pt x="1597" y="864"/>
                  <a:pt x="1597" y="864"/>
                  <a:pt x="1599" y="866"/>
                </a:cubicBezTo>
                <a:cubicBezTo>
                  <a:pt x="1599" y="866"/>
                  <a:pt x="1599" y="866"/>
                  <a:pt x="1599" y="867"/>
                </a:cubicBezTo>
                <a:cubicBezTo>
                  <a:pt x="1599" y="867"/>
                  <a:pt x="1599" y="867"/>
                  <a:pt x="1599" y="868"/>
                </a:cubicBezTo>
                <a:cubicBezTo>
                  <a:pt x="1599" y="868"/>
                  <a:pt x="1599" y="868"/>
                  <a:pt x="1599" y="869"/>
                </a:cubicBezTo>
                <a:cubicBezTo>
                  <a:pt x="1599" y="869"/>
                  <a:pt x="1599" y="869"/>
                  <a:pt x="1598" y="871"/>
                </a:cubicBezTo>
                <a:cubicBezTo>
                  <a:pt x="1598" y="871"/>
                  <a:pt x="1598" y="871"/>
                  <a:pt x="1598" y="872"/>
                </a:cubicBezTo>
                <a:cubicBezTo>
                  <a:pt x="1598" y="872"/>
                  <a:pt x="1598" y="872"/>
                  <a:pt x="1597" y="873"/>
                </a:cubicBezTo>
                <a:cubicBezTo>
                  <a:pt x="1597" y="873"/>
                  <a:pt x="1597" y="873"/>
                  <a:pt x="1598" y="875"/>
                </a:cubicBezTo>
                <a:cubicBezTo>
                  <a:pt x="1598" y="875"/>
                  <a:pt x="1598" y="875"/>
                  <a:pt x="1598" y="876"/>
                </a:cubicBezTo>
                <a:cubicBezTo>
                  <a:pt x="1598" y="876"/>
                  <a:pt x="1598" y="876"/>
                  <a:pt x="1598" y="877"/>
                </a:cubicBezTo>
                <a:cubicBezTo>
                  <a:pt x="1598" y="877"/>
                  <a:pt x="1598" y="877"/>
                  <a:pt x="1598" y="878"/>
                </a:cubicBezTo>
                <a:cubicBezTo>
                  <a:pt x="1598" y="878"/>
                  <a:pt x="1598" y="878"/>
                  <a:pt x="1598" y="879"/>
                </a:cubicBezTo>
                <a:cubicBezTo>
                  <a:pt x="1598" y="879"/>
                  <a:pt x="1598" y="879"/>
                  <a:pt x="1599" y="880"/>
                </a:cubicBezTo>
                <a:cubicBezTo>
                  <a:pt x="1599" y="880"/>
                  <a:pt x="1599" y="880"/>
                  <a:pt x="1598" y="881"/>
                </a:cubicBezTo>
                <a:cubicBezTo>
                  <a:pt x="1598" y="881"/>
                  <a:pt x="1598" y="881"/>
                  <a:pt x="1598" y="883"/>
                </a:cubicBezTo>
                <a:cubicBezTo>
                  <a:pt x="1598" y="883"/>
                  <a:pt x="1598" y="883"/>
                  <a:pt x="1598" y="886"/>
                </a:cubicBezTo>
                <a:cubicBezTo>
                  <a:pt x="1598" y="886"/>
                  <a:pt x="1598" y="886"/>
                  <a:pt x="1598" y="889"/>
                </a:cubicBezTo>
                <a:cubicBezTo>
                  <a:pt x="1598" y="889"/>
                  <a:pt x="1598" y="889"/>
                  <a:pt x="1597" y="889"/>
                </a:cubicBezTo>
                <a:cubicBezTo>
                  <a:pt x="1597" y="889"/>
                  <a:pt x="1597" y="889"/>
                  <a:pt x="1597" y="890"/>
                </a:cubicBezTo>
                <a:cubicBezTo>
                  <a:pt x="1597" y="890"/>
                  <a:pt x="1597" y="890"/>
                  <a:pt x="1598" y="890"/>
                </a:cubicBezTo>
                <a:cubicBezTo>
                  <a:pt x="1598" y="890"/>
                  <a:pt x="1598" y="890"/>
                  <a:pt x="1599" y="890"/>
                </a:cubicBezTo>
                <a:cubicBezTo>
                  <a:pt x="1599" y="890"/>
                  <a:pt x="1599" y="890"/>
                  <a:pt x="1599" y="893"/>
                </a:cubicBezTo>
                <a:cubicBezTo>
                  <a:pt x="1599" y="893"/>
                  <a:pt x="1599" y="893"/>
                  <a:pt x="1598" y="894"/>
                </a:cubicBezTo>
                <a:cubicBezTo>
                  <a:pt x="1598" y="894"/>
                  <a:pt x="1598" y="894"/>
                  <a:pt x="1598" y="895"/>
                </a:cubicBezTo>
                <a:cubicBezTo>
                  <a:pt x="1598" y="895"/>
                  <a:pt x="1598" y="895"/>
                  <a:pt x="1597" y="895"/>
                </a:cubicBezTo>
                <a:cubicBezTo>
                  <a:pt x="1597" y="895"/>
                  <a:pt x="1597" y="895"/>
                  <a:pt x="1596" y="896"/>
                </a:cubicBezTo>
                <a:cubicBezTo>
                  <a:pt x="1596" y="896"/>
                  <a:pt x="1596" y="896"/>
                  <a:pt x="1596" y="897"/>
                </a:cubicBezTo>
                <a:cubicBezTo>
                  <a:pt x="1596" y="897"/>
                  <a:pt x="1596" y="897"/>
                  <a:pt x="1597" y="896"/>
                </a:cubicBezTo>
                <a:cubicBezTo>
                  <a:pt x="1597" y="896"/>
                  <a:pt x="1597" y="896"/>
                  <a:pt x="1597" y="897"/>
                </a:cubicBezTo>
                <a:cubicBezTo>
                  <a:pt x="1597" y="897"/>
                  <a:pt x="1597" y="897"/>
                  <a:pt x="1597" y="899"/>
                </a:cubicBezTo>
                <a:cubicBezTo>
                  <a:pt x="1597" y="899"/>
                  <a:pt x="1597" y="899"/>
                  <a:pt x="1596" y="899"/>
                </a:cubicBezTo>
                <a:cubicBezTo>
                  <a:pt x="1596" y="899"/>
                  <a:pt x="1596" y="899"/>
                  <a:pt x="1595" y="900"/>
                </a:cubicBezTo>
                <a:cubicBezTo>
                  <a:pt x="1595" y="900"/>
                  <a:pt x="1595" y="900"/>
                  <a:pt x="1595" y="901"/>
                </a:cubicBezTo>
                <a:cubicBezTo>
                  <a:pt x="1595" y="901"/>
                  <a:pt x="1595" y="901"/>
                  <a:pt x="1593" y="903"/>
                </a:cubicBezTo>
                <a:cubicBezTo>
                  <a:pt x="1593" y="903"/>
                  <a:pt x="1593" y="903"/>
                  <a:pt x="1592" y="903"/>
                </a:cubicBezTo>
                <a:cubicBezTo>
                  <a:pt x="1592" y="903"/>
                  <a:pt x="1592" y="903"/>
                  <a:pt x="1592" y="904"/>
                </a:cubicBezTo>
                <a:cubicBezTo>
                  <a:pt x="1592" y="904"/>
                  <a:pt x="1592" y="904"/>
                  <a:pt x="1588" y="907"/>
                </a:cubicBezTo>
                <a:cubicBezTo>
                  <a:pt x="1588" y="907"/>
                  <a:pt x="1588" y="907"/>
                  <a:pt x="1587" y="907"/>
                </a:cubicBezTo>
                <a:cubicBezTo>
                  <a:pt x="1587" y="907"/>
                  <a:pt x="1587" y="907"/>
                  <a:pt x="1583" y="910"/>
                </a:cubicBezTo>
                <a:cubicBezTo>
                  <a:pt x="1583" y="910"/>
                  <a:pt x="1583" y="910"/>
                  <a:pt x="1582" y="909"/>
                </a:cubicBezTo>
                <a:cubicBezTo>
                  <a:pt x="1582" y="909"/>
                  <a:pt x="1582" y="909"/>
                  <a:pt x="1582" y="910"/>
                </a:cubicBezTo>
                <a:cubicBezTo>
                  <a:pt x="1582" y="910"/>
                  <a:pt x="1582" y="910"/>
                  <a:pt x="1580" y="911"/>
                </a:cubicBezTo>
                <a:cubicBezTo>
                  <a:pt x="1580" y="911"/>
                  <a:pt x="1580" y="911"/>
                  <a:pt x="1577" y="912"/>
                </a:cubicBezTo>
                <a:cubicBezTo>
                  <a:pt x="1577" y="912"/>
                  <a:pt x="1577" y="912"/>
                  <a:pt x="1577" y="913"/>
                </a:cubicBezTo>
                <a:cubicBezTo>
                  <a:pt x="1577" y="913"/>
                  <a:pt x="1577" y="913"/>
                  <a:pt x="1575" y="914"/>
                </a:cubicBezTo>
                <a:cubicBezTo>
                  <a:pt x="1575" y="914"/>
                  <a:pt x="1575" y="914"/>
                  <a:pt x="1574" y="915"/>
                </a:cubicBezTo>
                <a:cubicBezTo>
                  <a:pt x="1574" y="915"/>
                  <a:pt x="1574" y="915"/>
                  <a:pt x="1573" y="916"/>
                </a:cubicBezTo>
                <a:cubicBezTo>
                  <a:pt x="1573" y="916"/>
                  <a:pt x="1573" y="916"/>
                  <a:pt x="1573" y="917"/>
                </a:cubicBezTo>
                <a:cubicBezTo>
                  <a:pt x="1573" y="917"/>
                  <a:pt x="1573" y="917"/>
                  <a:pt x="1570" y="918"/>
                </a:cubicBezTo>
                <a:cubicBezTo>
                  <a:pt x="1570" y="918"/>
                  <a:pt x="1570" y="918"/>
                  <a:pt x="1570" y="919"/>
                </a:cubicBezTo>
                <a:cubicBezTo>
                  <a:pt x="1570" y="919"/>
                  <a:pt x="1570" y="919"/>
                  <a:pt x="1569" y="919"/>
                </a:cubicBezTo>
                <a:cubicBezTo>
                  <a:pt x="1569" y="919"/>
                  <a:pt x="1569" y="919"/>
                  <a:pt x="1569" y="920"/>
                </a:cubicBezTo>
                <a:cubicBezTo>
                  <a:pt x="1569" y="920"/>
                  <a:pt x="1569" y="920"/>
                  <a:pt x="1567" y="920"/>
                </a:cubicBezTo>
                <a:cubicBezTo>
                  <a:pt x="1567" y="920"/>
                  <a:pt x="1567" y="920"/>
                  <a:pt x="1564" y="923"/>
                </a:cubicBezTo>
                <a:cubicBezTo>
                  <a:pt x="1564" y="923"/>
                  <a:pt x="1564" y="923"/>
                  <a:pt x="1564" y="924"/>
                </a:cubicBezTo>
                <a:cubicBezTo>
                  <a:pt x="1564" y="924"/>
                  <a:pt x="1564" y="924"/>
                  <a:pt x="1563" y="925"/>
                </a:cubicBezTo>
                <a:cubicBezTo>
                  <a:pt x="1563" y="925"/>
                  <a:pt x="1563" y="925"/>
                  <a:pt x="1562" y="925"/>
                </a:cubicBezTo>
                <a:cubicBezTo>
                  <a:pt x="1562" y="925"/>
                  <a:pt x="1562" y="925"/>
                  <a:pt x="1561" y="926"/>
                </a:cubicBezTo>
                <a:cubicBezTo>
                  <a:pt x="1561" y="926"/>
                  <a:pt x="1561" y="926"/>
                  <a:pt x="1560" y="925"/>
                </a:cubicBezTo>
                <a:cubicBezTo>
                  <a:pt x="1560" y="925"/>
                  <a:pt x="1560" y="925"/>
                  <a:pt x="1559" y="925"/>
                </a:cubicBezTo>
                <a:cubicBezTo>
                  <a:pt x="1559" y="925"/>
                  <a:pt x="1559" y="925"/>
                  <a:pt x="1559" y="926"/>
                </a:cubicBezTo>
                <a:cubicBezTo>
                  <a:pt x="1559" y="926"/>
                  <a:pt x="1559" y="926"/>
                  <a:pt x="1560" y="926"/>
                </a:cubicBezTo>
                <a:cubicBezTo>
                  <a:pt x="1560" y="926"/>
                  <a:pt x="1560" y="926"/>
                  <a:pt x="1560" y="927"/>
                </a:cubicBezTo>
                <a:cubicBezTo>
                  <a:pt x="1560" y="927"/>
                  <a:pt x="1560" y="927"/>
                  <a:pt x="1559" y="928"/>
                </a:cubicBezTo>
                <a:cubicBezTo>
                  <a:pt x="1559" y="928"/>
                  <a:pt x="1559" y="928"/>
                  <a:pt x="1559" y="929"/>
                </a:cubicBezTo>
                <a:cubicBezTo>
                  <a:pt x="1559" y="929"/>
                  <a:pt x="1559" y="929"/>
                  <a:pt x="1559" y="930"/>
                </a:cubicBezTo>
                <a:cubicBezTo>
                  <a:pt x="1559" y="930"/>
                  <a:pt x="1559" y="930"/>
                  <a:pt x="1561" y="932"/>
                </a:cubicBezTo>
                <a:cubicBezTo>
                  <a:pt x="1561" y="932"/>
                  <a:pt x="1561" y="932"/>
                  <a:pt x="1561" y="933"/>
                </a:cubicBezTo>
                <a:cubicBezTo>
                  <a:pt x="1561" y="933"/>
                  <a:pt x="1561" y="933"/>
                  <a:pt x="1560" y="934"/>
                </a:cubicBezTo>
                <a:cubicBezTo>
                  <a:pt x="1560" y="934"/>
                  <a:pt x="1560" y="934"/>
                  <a:pt x="1561" y="935"/>
                </a:cubicBezTo>
                <a:cubicBezTo>
                  <a:pt x="1561" y="935"/>
                  <a:pt x="1561" y="935"/>
                  <a:pt x="1561" y="937"/>
                </a:cubicBezTo>
                <a:cubicBezTo>
                  <a:pt x="1561" y="937"/>
                  <a:pt x="1561" y="937"/>
                  <a:pt x="1562" y="938"/>
                </a:cubicBezTo>
                <a:cubicBezTo>
                  <a:pt x="1562" y="938"/>
                  <a:pt x="1562" y="938"/>
                  <a:pt x="1562" y="942"/>
                </a:cubicBezTo>
                <a:cubicBezTo>
                  <a:pt x="1562" y="942"/>
                  <a:pt x="1562" y="942"/>
                  <a:pt x="1563" y="941"/>
                </a:cubicBezTo>
                <a:cubicBezTo>
                  <a:pt x="1563" y="941"/>
                  <a:pt x="1563" y="941"/>
                  <a:pt x="1563" y="942"/>
                </a:cubicBezTo>
                <a:cubicBezTo>
                  <a:pt x="1563" y="942"/>
                  <a:pt x="1563" y="942"/>
                  <a:pt x="1564" y="942"/>
                </a:cubicBezTo>
                <a:cubicBezTo>
                  <a:pt x="1564" y="942"/>
                  <a:pt x="1564" y="942"/>
                  <a:pt x="1563" y="944"/>
                </a:cubicBezTo>
                <a:cubicBezTo>
                  <a:pt x="1563" y="944"/>
                  <a:pt x="1563" y="944"/>
                  <a:pt x="1563" y="946"/>
                </a:cubicBezTo>
                <a:cubicBezTo>
                  <a:pt x="1563" y="946"/>
                  <a:pt x="1563" y="946"/>
                  <a:pt x="1562" y="948"/>
                </a:cubicBezTo>
                <a:cubicBezTo>
                  <a:pt x="1562" y="948"/>
                  <a:pt x="1562" y="948"/>
                  <a:pt x="1562" y="949"/>
                </a:cubicBezTo>
                <a:cubicBezTo>
                  <a:pt x="1562" y="949"/>
                  <a:pt x="1562" y="949"/>
                  <a:pt x="1562" y="950"/>
                </a:cubicBezTo>
                <a:cubicBezTo>
                  <a:pt x="1562" y="950"/>
                  <a:pt x="1562" y="950"/>
                  <a:pt x="1562" y="951"/>
                </a:cubicBezTo>
                <a:cubicBezTo>
                  <a:pt x="1562" y="951"/>
                  <a:pt x="1562" y="951"/>
                  <a:pt x="1561" y="951"/>
                </a:cubicBezTo>
                <a:cubicBezTo>
                  <a:pt x="1561" y="951"/>
                  <a:pt x="1561" y="951"/>
                  <a:pt x="1562" y="952"/>
                </a:cubicBezTo>
                <a:cubicBezTo>
                  <a:pt x="1562" y="952"/>
                  <a:pt x="1562" y="952"/>
                  <a:pt x="1563" y="952"/>
                </a:cubicBezTo>
                <a:cubicBezTo>
                  <a:pt x="1563" y="952"/>
                  <a:pt x="1563" y="952"/>
                  <a:pt x="1562" y="954"/>
                </a:cubicBezTo>
                <a:cubicBezTo>
                  <a:pt x="1562" y="954"/>
                  <a:pt x="1562" y="954"/>
                  <a:pt x="1562" y="955"/>
                </a:cubicBezTo>
                <a:cubicBezTo>
                  <a:pt x="1562" y="955"/>
                  <a:pt x="1562" y="955"/>
                  <a:pt x="1559" y="958"/>
                </a:cubicBezTo>
                <a:cubicBezTo>
                  <a:pt x="1559" y="958"/>
                  <a:pt x="1559" y="958"/>
                  <a:pt x="1555" y="960"/>
                </a:cubicBezTo>
                <a:cubicBezTo>
                  <a:pt x="1555" y="960"/>
                  <a:pt x="1555" y="960"/>
                  <a:pt x="1550" y="961"/>
                </a:cubicBezTo>
                <a:cubicBezTo>
                  <a:pt x="1550" y="961"/>
                  <a:pt x="1550" y="961"/>
                  <a:pt x="1548" y="963"/>
                </a:cubicBezTo>
                <a:cubicBezTo>
                  <a:pt x="1548" y="963"/>
                  <a:pt x="1548" y="963"/>
                  <a:pt x="1546" y="963"/>
                </a:cubicBezTo>
                <a:cubicBezTo>
                  <a:pt x="1546" y="963"/>
                  <a:pt x="1546" y="963"/>
                  <a:pt x="1546" y="964"/>
                </a:cubicBezTo>
                <a:cubicBezTo>
                  <a:pt x="1546" y="964"/>
                  <a:pt x="1546" y="964"/>
                  <a:pt x="1545" y="964"/>
                </a:cubicBezTo>
                <a:cubicBezTo>
                  <a:pt x="1545" y="964"/>
                  <a:pt x="1545" y="964"/>
                  <a:pt x="1544" y="966"/>
                </a:cubicBezTo>
                <a:cubicBezTo>
                  <a:pt x="1544" y="966"/>
                  <a:pt x="1544" y="966"/>
                  <a:pt x="1543" y="966"/>
                </a:cubicBezTo>
                <a:cubicBezTo>
                  <a:pt x="1543" y="966"/>
                  <a:pt x="1543" y="966"/>
                  <a:pt x="1543" y="967"/>
                </a:cubicBezTo>
                <a:cubicBezTo>
                  <a:pt x="1543" y="967"/>
                  <a:pt x="1543" y="967"/>
                  <a:pt x="1544" y="968"/>
                </a:cubicBezTo>
                <a:cubicBezTo>
                  <a:pt x="1544" y="968"/>
                  <a:pt x="1544" y="968"/>
                  <a:pt x="1545" y="969"/>
                </a:cubicBezTo>
                <a:cubicBezTo>
                  <a:pt x="1545" y="969"/>
                  <a:pt x="1545" y="969"/>
                  <a:pt x="1546" y="967"/>
                </a:cubicBezTo>
                <a:cubicBezTo>
                  <a:pt x="1546" y="967"/>
                  <a:pt x="1546" y="967"/>
                  <a:pt x="1546" y="968"/>
                </a:cubicBezTo>
                <a:cubicBezTo>
                  <a:pt x="1546" y="968"/>
                  <a:pt x="1546" y="968"/>
                  <a:pt x="1546" y="970"/>
                </a:cubicBezTo>
                <a:cubicBezTo>
                  <a:pt x="1546" y="970"/>
                  <a:pt x="1546" y="970"/>
                  <a:pt x="1545" y="971"/>
                </a:cubicBezTo>
                <a:cubicBezTo>
                  <a:pt x="1545" y="971"/>
                  <a:pt x="1545" y="971"/>
                  <a:pt x="1545" y="972"/>
                </a:cubicBezTo>
                <a:cubicBezTo>
                  <a:pt x="1545" y="972"/>
                  <a:pt x="1545" y="972"/>
                  <a:pt x="1544" y="973"/>
                </a:cubicBezTo>
                <a:cubicBezTo>
                  <a:pt x="1544" y="973"/>
                  <a:pt x="1544" y="973"/>
                  <a:pt x="1545" y="973"/>
                </a:cubicBezTo>
                <a:cubicBezTo>
                  <a:pt x="1545" y="973"/>
                  <a:pt x="1545" y="973"/>
                  <a:pt x="1544" y="976"/>
                </a:cubicBezTo>
                <a:cubicBezTo>
                  <a:pt x="1544" y="976"/>
                  <a:pt x="1544" y="976"/>
                  <a:pt x="1544" y="977"/>
                </a:cubicBezTo>
                <a:cubicBezTo>
                  <a:pt x="1544" y="977"/>
                  <a:pt x="1544" y="977"/>
                  <a:pt x="1543" y="979"/>
                </a:cubicBezTo>
                <a:cubicBezTo>
                  <a:pt x="1543" y="979"/>
                  <a:pt x="1543" y="979"/>
                  <a:pt x="1542" y="982"/>
                </a:cubicBezTo>
                <a:cubicBezTo>
                  <a:pt x="1542" y="982"/>
                  <a:pt x="1542" y="982"/>
                  <a:pt x="1541" y="983"/>
                </a:cubicBezTo>
                <a:cubicBezTo>
                  <a:pt x="1541" y="983"/>
                  <a:pt x="1541" y="983"/>
                  <a:pt x="1541" y="984"/>
                </a:cubicBezTo>
                <a:cubicBezTo>
                  <a:pt x="1541" y="984"/>
                  <a:pt x="1541" y="984"/>
                  <a:pt x="1539" y="986"/>
                </a:cubicBezTo>
                <a:cubicBezTo>
                  <a:pt x="1539" y="986"/>
                  <a:pt x="1539" y="986"/>
                  <a:pt x="1538" y="987"/>
                </a:cubicBezTo>
                <a:cubicBezTo>
                  <a:pt x="1538" y="987"/>
                  <a:pt x="1538" y="987"/>
                  <a:pt x="1537" y="987"/>
                </a:cubicBezTo>
                <a:cubicBezTo>
                  <a:pt x="1537" y="987"/>
                  <a:pt x="1537" y="987"/>
                  <a:pt x="1537" y="988"/>
                </a:cubicBezTo>
                <a:cubicBezTo>
                  <a:pt x="1537" y="988"/>
                  <a:pt x="1537" y="988"/>
                  <a:pt x="1535" y="989"/>
                </a:cubicBezTo>
                <a:cubicBezTo>
                  <a:pt x="1535" y="989"/>
                  <a:pt x="1535" y="989"/>
                  <a:pt x="1534" y="990"/>
                </a:cubicBezTo>
                <a:cubicBezTo>
                  <a:pt x="1534" y="990"/>
                  <a:pt x="1534" y="990"/>
                  <a:pt x="1533" y="992"/>
                </a:cubicBezTo>
                <a:cubicBezTo>
                  <a:pt x="1533" y="992"/>
                  <a:pt x="1533" y="992"/>
                  <a:pt x="1532" y="994"/>
                </a:cubicBezTo>
                <a:cubicBezTo>
                  <a:pt x="1532" y="994"/>
                  <a:pt x="1532" y="994"/>
                  <a:pt x="1531" y="994"/>
                </a:cubicBezTo>
                <a:cubicBezTo>
                  <a:pt x="1531" y="994"/>
                  <a:pt x="1531" y="994"/>
                  <a:pt x="1530" y="996"/>
                </a:cubicBezTo>
                <a:cubicBezTo>
                  <a:pt x="1530" y="996"/>
                  <a:pt x="1530" y="996"/>
                  <a:pt x="1528" y="1000"/>
                </a:cubicBezTo>
                <a:cubicBezTo>
                  <a:pt x="1528" y="1000"/>
                  <a:pt x="1528" y="1000"/>
                  <a:pt x="1526" y="1002"/>
                </a:cubicBezTo>
                <a:cubicBezTo>
                  <a:pt x="1526" y="1002"/>
                  <a:pt x="1526" y="1002"/>
                  <a:pt x="1525" y="1004"/>
                </a:cubicBezTo>
                <a:cubicBezTo>
                  <a:pt x="1525" y="1004"/>
                  <a:pt x="1525" y="1004"/>
                  <a:pt x="1524" y="1004"/>
                </a:cubicBezTo>
                <a:cubicBezTo>
                  <a:pt x="1524" y="1004"/>
                  <a:pt x="1524" y="1004"/>
                  <a:pt x="1523" y="1005"/>
                </a:cubicBezTo>
                <a:cubicBezTo>
                  <a:pt x="1523" y="1005"/>
                  <a:pt x="1523" y="1005"/>
                  <a:pt x="1522" y="1005"/>
                </a:cubicBezTo>
                <a:cubicBezTo>
                  <a:pt x="1522" y="1005"/>
                  <a:pt x="1522" y="1005"/>
                  <a:pt x="1522" y="1006"/>
                </a:cubicBezTo>
                <a:cubicBezTo>
                  <a:pt x="1522" y="1006"/>
                  <a:pt x="1522" y="1006"/>
                  <a:pt x="1515" y="1012"/>
                </a:cubicBezTo>
                <a:cubicBezTo>
                  <a:pt x="1515" y="1012"/>
                  <a:pt x="1515" y="1012"/>
                  <a:pt x="1515" y="1013"/>
                </a:cubicBezTo>
                <a:cubicBezTo>
                  <a:pt x="1515" y="1013"/>
                  <a:pt x="1515" y="1013"/>
                  <a:pt x="1514" y="1014"/>
                </a:cubicBezTo>
                <a:cubicBezTo>
                  <a:pt x="1514" y="1014"/>
                  <a:pt x="1514" y="1014"/>
                  <a:pt x="1509" y="1017"/>
                </a:cubicBezTo>
                <a:cubicBezTo>
                  <a:pt x="1509" y="1017"/>
                  <a:pt x="1509" y="1017"/>
                  <a:pt x="1508" y="1018"/>
                </a:cubicBezTo>
                <a:cubicBezTo>
                  <a:pt x="1508" y="1018"/>
                  <a:pt x="1508" y="1018"/>
                  <a:pt x="1507" y="1018"/>
                </a:cubicBezTo>
                <a:cubicBezTo>
                  <a:pt x="1507" y="1018"/>
                  <a:pt x="1507" y="1018"/>
                  <a:pt x="1507" y="1019"/>
                </a:cubicBezTo>
                <a:cubicBezTo>
                  <a:pt x="1507" y="1019"/>
                  <a:pt x="1507" y="1019"/>
                  <a:pt x="1504" y="1019"/>
                </a:cubicBezTo>
                <a:cubicBezTo>
                  <a:pt x="1504" y="1019"/>
                  <a:pt x="1504" y="1019"/>
                  <a:pt x="1503" y="1020"/>
                </a:cubicBezTo>
                <a:cubicBezTo>
                  <a:pt x="1503" y="1020"/>
                  <a:pt x="1503" y="1020"/>
                  <a:pt x="1502" y="1020"/>
                </a:cubicBezTo>
                <a:cubicBezTo>
                  <a:pt x="1502" y="1020"/>
                  <a:pt x="1502" y="1020"/>
                  <a:pt x="1501" y="1020"/>
                </a:cubicBezTo>
                <a:cubicBezTo>
                  <a:pt x="1501" y="1020"/>
                  <a:pt x="1501" y="1020"/>
                  <a:pt x="1499" y="1020"/>
                </a:cubicBezTo>
                <a:cubicBezTo>
                  <a:pt x="1499" y="1020"/>
                  <a:pt x="1499" y="1020"/>
                  <a:pt x="1498" y="1020"/>
                </a:cubicBezTo>
                <a:cubicBezTo>
                  <a:pt x="1498" y="1020"/>
                  <a:pt x="1498" y="1020"/>
                  <a:pt x="1497" y="1022"/>
                </a:cubicBezTo>
                <a:cubicBezTo>
                  <a:pt x="1497" y="1022"/>
                  <a:pt x="1497" y="1022"/>
                  <a:pt x="1498" y="1022"/>
                </a:cubicBezTo>
                <a:cubicBezTo>
                  <a:pt x="1498" y="1022"/>
                  <a:pt x="1498" y="1022"/>
                  <a:pt x="1498" y="1023"/>
                </a:cubicBezTo>
                <a:cubicBezTo>
                  <a:pt x="1498" y="1023"/>
                  <a:pt x="1498" y="1023"/>
                  <a:pt x="1496" y="1023"/>
                </a:cubicBezTo>
                <a:cubicBezTo>
                  <a:pt x="1496" y="1023"/>
                  <a:pt x="1496" y="1023"/>
                  <a:pt x="1494" y="1022"/>
                </a:cubicBezTo>
                <a:cubicBezTo>
                  <a:pt x="1494" y="1022"/>
                  <a:pt x="1494" y="1022"/>
                  <a:pt x="1493" y="1022"/>
                </a:cubicBezTo>
                <a:cubicBezTo>
                  <a:pt x="1493" y="1022"/>
                  <a:pt x="1493" y="1022"/>
                  <a:pt x="1492" y="1023"/>
                </a:cubicBezTo>
                <a:cubicBezTo>
                  <a:pt x="1492" y="1023"/>
                  <a:pt x="1492" y="1023"/>
                  <a:pt x="1493" y="1024"/>
                </a:cubicBezTo>
                <a:cubicBezTo>
                  <a:pt x="1493" y="1024"/>
                  <a:pt x="1493" y="1024"/>
                  <a:pt x="1492" y="1024"/>
                </a:cubicBezTo>
                <a:cubicBezTo>
                  <a:pt x="1492" y="1024"/>
                  <a:pt x="1492" y="1024"/>
                  <a:pt x="1489" y="1023"/>
                </a:cubicBezTo>
                <a:cubicBezTo>
                  <a:pt x="1489" y="1023"/>
                  <a:pt x="1489" y="1023"/>
                  <a:pt x="1488" y="1023"/>
                </a:cubicBezTo>
                <a:cubicBezTo>
                  <a:pt x="1488" y="1023"/>
                  <a:pt x="1488" y="1023"/>
                  <a:pt x="1486" y="1022"/>
                </a:cubicBezTo>
                <a:cubicBezTo>
                  <a:pt x="1486" y="1022"/>
                  <a:pt x="1486" y="1022"/>
                  <a:pt x="1484" y="1022"/>
                </a:cubicBezTo>
                <a:cubicBezTo>
                  <a:pt x="1484" y="1022"/>
                  <a:pt x="1484" y="1022"/>
                  <a:pt x="1484" y="1023"/>
                </a:cubicBezTo>
                <a:cubicBezTo>
                  <a:pt x="1484" y="1023"/>
                  <a:pt x="1484" y="1023"/>
                  <a:pt x="1483" y="1023"/>
                </a:cubicBezTo>
                <a:cubicBezTo>
                  <a:pt x="1483" y="1023"/>
                  <a:pt x="1483" y="1023"/>
                  <a:pt x="1481" y="1022"/>
                </a:cubicBezTo>
                <a:cubicBezTo>
                  <a:pt x="1481" y="1022"/>
                  <a:pt x="1481" y="1022"/>
                  <a:pt x="1478" y="1022"/>
                </a:cubicBezTo>
                <a:cubicBezTo>
                  <a:pt x="1478" y="1022"/>
                  <a:pt x="1478" y="1022"/>
                  <a:pt x="1477" y="1023"/>
                </a:cubicBezTo>
                <a:cubicBezTo>
                  <a:pt x="1477" y="1023"/>
                  <a:pt x="1477" y="1023"/>
                  <a:pt x="1476" y="1024"/>
                </a:cubicBezTo>
                <a:cubicBezTo>
                  <a:pt x="1476" y="1024"/>
                  <a:pt x="1476" y="1024"/>
                  <a:pt x="1475" y="1024"/>
                </a:cubicBezTo>
                <a:cubicBezTo>
                  <a:pt x="1475" y="1024"/>
                  <a:pt x="1475" y="1024"/>
                  <a:pt x="1474" y="1024"/>
                </a:cubicBezTo>
                <a:cubicBezTo>
                  <a:pt x="1474" y="1024"/>
                  <a:pt x="1474" y="1024"/>
                  <a:pt x="1474" y="1025"/>
                </a:cubicBezTo>
                <a:cubicBezTo>
                  <a:pt x="1474" y="1025"/>
                  <a:pt x="1474" y="1025"/>
                  <a:pt x="1472" y="1025"/>
                </a:cubicBezTo>
                <a:cubicBezTo>
                  <a:pt x="1472" y="1025"/>
                  <a:pt x="1472" y="1025"/>
                  <a:pt x="1470" y="1025"/>
                </a:cubicBezTo>
                <a:cubicBezTo>
                  <a:pt x="1470" y="1025"/>
                  <a:pt x="1470" y="1025"/>
                  <a:pt x="1468" y="1025"/>
                </a:cubicBezTo>
                <a:cubicBezTo>
                  <a:pt x="1468" y="1025"/>
                  <a:pt x="1468" y="1025"/>
                  <a:pt x="1466" y="1025"/>
                </a:cubicBezTo>
                <a:cubicBezTo>
                  <a:pt x="1466" y="1025"/>
                  <a:pt x="1466" y="1025"/>
                  <a:pt x="1465" y="1026"/>
                </a:cubicBezTo>
                <a:cubicBezTo>
                  <a:pt x="1465" y="1026"/>
                  <a:pt x="1465" y="1026"/>
                  <a:pt x="1464" y="1027"/>
                </a:cubicBezTo>
                <a:cubicBezTo>
                  <a:pt x="1464" y="1027"/>
                  <a:pt x="1464" y="1027"/>
                  <a:pt x="1463" y="1028"/>
                </a:cubicBezTo>
                <a:cubicBezTo>
                  <a:pt x="1463" y="1028"/>
                  <a:pt x="1463" y="1028"/>
                  <a:pt x="1463" y="1027"/>
                </a:cubicBezTo>
                <a:cubicBezTo>
                  <a:pt x="1463" y="1027"/>
                  <a:pt x="1463" y="1027"/>
                  <a:pt x="1462" y="1028"/>
                </a:cubicBezTo>
                <a:cubicBezTo>
                  <a:pt x="1462" y="1028"/>
                  <a:pt x="1462" y="1028"/>
                  <a:pt x="1459" y="1026"/>
                </a:cubicBezTo>
                <a:cubicBezTo>
                  <a:pt x="1459" y="1026"/>
                  <a:pt x="1459" y="1026"/>
                  <a:pt x="1458" y="1026"/>
                </a:cubicBezTo>
                <a:cubicBezTo>
                  <a:pt x="1458" y="1026"/>
                  <a:pt x="1458" y="1026"/>
                  <a:pt x="1458" y="1025"/>
                </a:cubicBezTo>
                <a:cubicBezTo>
                  <a:pt x="1458" y="1025"/>
                  <a:pt x="1458" y="1025"/>
                  <a:pt x="1457" y="1024"/>
                </a:cubicBezTo>
                <a:cubicBezTo>
                  <a:pt x="1457" y="1024"/>
                  <a:pt x="1457" y="1024"/>
                  <a:pt x="1456" y="1025"/>
                </a:cubicBezTo>
                <a:cubicBezTo>
                  <a:pt x="1456" y="1025"/>
                  <a:pt x="1456" y="1025"/>
                  <a:pt x="1456" y="1024"/>
                </a:cubicBezTo>
                <a:cubicBezTo>
                  <a:pt x="1456" y="1024"/>
                  <a:pt x="1456" y="1024"/>
                  <a:pt x="1456" y="1023"/>
                </a:cubicBezTo>
                <a:cubicBezTo>
                  <a:pt x="1456" y="1023"/>
                  <a:pt x="1456" y="1023"/>
                  <a:pt x="1454" y="1023"/>
                </a:cubicBezTo>
                <a:cubicBezTo>
                  <a:pt x="1454" y="1023"/>
                  <a:pt x="1454" y="1023"/>
                  <a:pt x="1453" y="1023"/>
                </a:cubicBezTo>
                <a:cubicBezTo>
                  <a:pt x="1453" y="1023"/>
                  <a:pt x="1453" y="1023"/>
                  <a:pt x="1453" y="1022"/>
                </a:cubicBezTo>
                <a:cubicBezTo>
                  <a:pt x="1453" y="1022"/>
                  <a:pt x="1453" y="1022"/>
                  <a:pt x="1453" y="1020"/>
                </a:cubicBezTo>
                <a:cubicBezTo>
                  <a:pt x="1453" y="1020"/>
                  <a:pt x="1453" y="1020"/>
                  <a:pt x="1454" y="1019"/>
                </a:cubicBezTo>
                <a:cubicBezTo>
                  <a:pt x="1454" y="1019"/>
                  <a:pt x="1454" y="1019"/>
                  <a:pt x="1452" y="1017"/>
                </a:cubicBezTo>
                <a:cubicBezTo>
                  <a:pt x="1452" y="1017"/>
                  <a:pt x="1452" y="1017"/>
                  <a:pt x="1451" y="1016"/>
                </a:cubicBezTo>
                <a:cubicBezTo>
                  <a:pt x="1451" y="1016"/>
                  <a:pt x="1451" y="1016"/>
                  <a:pt x="1450" y="1014"/>
                </a:cubicBezTo>
                <a:cubicBezTo>
                  <a:pt x="1450" y="1014"/>
                  <a:pt x="1450" y="1014"/>
                  <a:pt x="1450" y="1012"/>
                </a:cubicBezTo>
                <a:cubicBezTo>
                  <a:pt x="1450" y="1012"/>
                  <a:pt x="1450" y="1012"/>
                  <a:pt x="1451" y="1012"/>
                </a:cubicBezTo>
                <a:cubicBezTo>
                  <a:pt x="1451" y="1012"/>
                  <a:pt x="1451" y="1012"/>
                  <a:pt x="1452" y="1013"/>
                </a:cubicBezTo>
                <a:cubicBezTo>
                  <a:pt x="1452" y="1013"/>
                  <a:pt x="1452" y="1013"/>
                  <a:pt x="1453" y="1012"/>
                </a:cubicBezTo>
                <a:cubicBezTo>
                  <a:pt x="1453" y="1012"/>
                  <a:pt x="1453" y="1012"/>
                  <a:pt x="1453" y="1010"/>
                </a:cubicBezTo>
                <a:cubicBezTo>
                  <a:pt x="1453" y="1010"/>
                  <a:pt x="1453" y="1010"/>
                  <a:pt x="1453" y="1008"/>
                </a:cubicBezTo>
                <a:cubicBezTo>
                  <a:pt x="1453" y="1008"/>
                  <a:pt x="1453" y="1008"/>
                  <a:pt x="1453" y="1007"/>
                </a:cubicBezTo>
                <a:cubicBezTo>
                  <a:pt x="1453" y="1007"/>
                  <a:pt x="1453" y="1007"/>
                  <a:pt x="1451" y="1004"/>
                </a:cubicBezTo>
                <a:cubicBezTo>
                  <a:pt x="1451" y="1004"/>
                  <a:pt x="1451" y="1004"/>
                  <a:pt x="1451" y="1002"/>
                </a:cubicBezTo>
                <a:cubicBezTo>
                  <a:pt x="1451" y="1002"/>
                  <a:pt x="1451" y="1002"/>
                  <a:pt x="1449" y="1000"/>
                </a:cubicBezTo>
                <a:cubicBezTo>
                  <a:pt x="1449" y="1000"/>
                  <a:pt x="1449" y="1000"/>
                  <a:pt x="1448" y="996"/>
                </a:cubicBezTo>
                <a:cubicBezTo>
                  <a:pt x="1448" y="996"/>
                  <a:pt x="1448" y="996"/>
                  <a:pt x="1447" y="993"/>
                </a:cubicBezTo>
                <a:cubicBezTo>
                  <a:pt x="1447" y="993"/>
                  <a:pt x="1447" y="993"/>
                  <a:pt x="1447" y="991"/>
                </a:cubicBezTo>
                <a:cubicBezTo>
                  <a:pt x="1447" y="991"/>
                  <a:pt x="1447" y="991"/>
                  <a:pt x="1446" y="987"/>
                </a:cubicBezTo>
                <a:cubicBezTo>
                  <a:pt x="1446" y="987"/>
                  <a:pt x="1446" y="987"/>
                  <a:pt x="1444" y="986"/>
                </a:cubicBezTo>
                <a:cubicBezTo>
                  <a:pt x="1444" y="986"/>
                  <a:pt x="1444" y="986"/>
                  <a:pt x="1443" y="984"/>
                </a:cubicBezTo>
                <a:cubicBezTo>
                  <a:pt x="1443" y="984"/>
                  <a:pt x="1443" y="984"/>
                  <a:pt x="1441" y="982"/>
                </a:cubicBezTo>
                <a:cubicBezTo>
                  <a:pt x="1441" y="982"/>
                  <a:pt x="1441" y="982"/>
                  <a:pt x="1441" y="981"/>
                </a:cubicBezTo>
                <a:cubicBezTo>
                  <a:pt x="1441" y="981"/>
                  <a:pt x="1441" y="981"/>
                  <a:pt x="1439" y="980"/>
                </a:cubicBezTo>
                <a:cubicBezTo>
                  <a:pt x="1439" y="980"/>
                  <a:pt x="1439" y="980"/>
                  <a:pt x="1438" y="977"/>
                </a:cubicBezTo>
                <a:cubicBezTo>
                  <a:pt x="1438" y="977"/>
                  <a:pt x="1438" y="977"/>
                  <a:pt x="1437" y="975"/>
                </a:cubicBezTo>
                <a:cubicBezTo>
                  <a:pt x="1437" y="975"/>
                  <a:pt x="1437" y="975"/>
                  <a:pt x="1437" y="973"/>
                </a:cubicBezTo>
                <a:cubicBezTo>
                  <a:pt x="1437" y="973"/>
                  <a:pt x="1437" y="973"/>
                  <a:pt x="1436" y="972"/>
                </a:cubicBezTo>
                <a:cubicBezTo>
                  <a:pt x="1436" y="972"/>
                  <a:pt x="1436" y="972"/>
                  <a:pt x="1436" y="971"/>
                </a:cubicBezTo>
                <a:cubicBezTo>
                  <a:pt x="1436" y="971"/>
                  <a:pt x="1436" y="971"/>
                  <a:pt x="1436" y="970"/>
                </a:cubicBezTo>
                <a:cubicBezTo>
                  <a:pt x="1436" y="970"/>
                  <a:pt x="1436" y="970"/>
                  <a:pt x="1436" y="969"/>
                </a:cubicBezTo>
                <a:cubicBezTo>
                  <a:pt x="1436" y="969"/>
                  <a:pt x="1436" y="969"/>
                  <a:pt x="1435" y="968"/>
                </a:cubicBezTo>
                <a:cubicBezTo>
                  <a:pt x="1435" y="968"/>
                  <a:pt x="1435" y="968"/>
                  <a:pt x="1434" y="965"/>
                </a:cubicBezTo>
                <a:cubicBezTo>
                  <a:pt x="1434" y="965"/>
                  <a:pt x="1434" y="965"/>
                  <a:pt x="1434" y="964"/>
                </a:cubicBezTo>
                <a:cubicBezTo>
                  <a:pt x="1434" y="964"/>
                  <a:pt x="1434" y="964"/>
                  <a:pt x="1434" y="962"/>
                </a:cubicBezTo>
                <a:cubicBezTo>
                  <a:pt x="1434" y="962"/>
                  <a:pt x="1434" y="962"/>
                  <a:pt x="1434" y="959"/>
                </a:cubicBezTo>
                <a:cubicBezTo>
                  <a:pt x="1434" y="959"/>
                  <a:pt x="1434" y="959"/>
                  <a:pt x="1432" y="954"/>
                </a:cubicBezTo>
                <a:cubicBezTo>
                  <a:pt x="1432" y="954"/>
                  <a:pt x="1432" y="954"/>
                  <a:pt x="1432" y="949"/>
                </a:cubicBezTo>
                <a:cubicBezTo>
                  <a:pt x="1432" y="949"/>
                  <a:pt x="1432" y="949"/>
                  <a:pt x="1431" y="946"/>
                </a:cubicBezTo>
                <a:cubicBezTo>
                  <a:pt x="1431" y="946"/>
                  <a:pt x="1431" y="946"/>
                  <a:pt x="1432" y="946"/>
                </a:cubicBezTo>
                <a:cubicBezTo>
                  <a:pt x="1432" y="946"/>
                  <a:pt x="1432" y="946"/>
                  <a:pt x="1432" y="943"/>
                </a:cubicBezTo>
                <a:cubicBezTo>
                  <a:pt x="1432" y="943"/>
                  <a:pt x="1432" y="943"/>
                  <a:pt x="1429" y="938"/>
                </a:cubicBezTo>
                <a:cubicBezTo>
                  <a:pt x="1429" y="938"/>
                  <a:pt x="1429" y="938"/>
                  <a:pt x="1429" y="937"/>
                </a:cubicBezTo>
                <a:cubicBezTo>
                  <a:pt x="1429" y="937"/>
                  <a:pt x="1429" y="937"/>
                  <a:pt x="1425" y="932"/>
                </a:cubicBezTo>
                <a:cubicBezTo>
                  <a:pt x="1425" y="932"/>
                  <a:pt x="1425" y="932"/>
                  <a:pt x="1425" y="929"/>
                </a:cubicBezTo>
                <a:cubicBezTo>
                  <a:pt x="1425" y="929"/>
                  <a:pt x="1425" y="929"/>
                  <a:pt x="1422" y="922"/>
                </a:cubicBezTo>
                <a:cubicBezTo>
                  <a:pt x="1422" y="922"/>
                  <a:pt x="1422" y="922"/>
                  <a:pt x="1420" y="919"/>
                </a:cubicBezTo>
                <a:cubicBezTo>
                  <a:pt x="1420" y="919"/>
                  <a:pt x="1420" y="919"/>
                  <a:pt x="1416" y="915"/>
                </a:cubicBezTo>
                <a:cubicBezTo>
                  <a:pt x="1416" y="915"/>
                  <a:pt x="1416" y="915"/>
                  <a:pt x="1416" y="910"/>
                </a:cubicBezTo>
                <a:cubicBezTo>
                  <a:pt x="1416" y="910"/>
                  <a:pt x="1416" y="910"/>
                  <a:pt x="1416" y="909"/>
                </a:cubicBezTo>
                <a:cubicBezTo>
                  <a:pt x="1416" y="909"/>
                  <a:pt x="1416" y="909"/>
                  <a:pt x="1416" y="907"/>
                </a:cubicBezTo>
                <a:cubicBezTo>
                  <a:pt x="1416" y="907"/>
                  <a:pt x="1416" y="907"/>
                  <a:pt x="1416" y="904"/>
                </a:cubicBezTo>
                <a:cubicBezTo>
                  <a:pt x="1416" y="904"/>
                  <a:pt x="1416" y="904"/>
                  <a:pt x="1416" y="902"/>
                </a:cubicBezTo>
                <a:cubicBezTo>
                  <a:pt x="1416" y="902"/>
                  <a:pt x="1416" y="902"/>
                  <a:pt x="1416" y="900"/>
                </a:cubicBezTo>
                <a:cubicBezTo>
                  <a:pt x="1416" y="900"/>
                  <a:pt x="1416" y="900"/>
                  <a:pt x="1418" y="898"/>
                </a:cubicBezTo>
                <a:cubicBezTo>
                  <a:pt x="1418" y="898"/>
                  <a:pt x="1418" y="898"/>
                  <a:pt x="1418" y="895"/>
                </a:cubicBezTo>
                <a:cubicBezTo>
                  <a:pt x="1418" y="895"/>
                  <a:pt x="1418" y="895"/>
                  <a:pt x="1420" y="893"/>
                </a:cubicBezTo>
                <a:cubicBezTo>
                  <a:pt x="1420" y="893"/>
                  <a:pt x="1420" y="893"/>
                  <a:pt x="1420" y="888"/>
                </a:cubicBezTo>
                <a:cubicBezTo>
                  <a:pt x="1420" y="888"/>
                  <a:pt x="1420" y="888"/>
                  <a:pt x="1421" y="886"/>
                </a:cubicBezTo>
                <a:cubicBezTo>
                  <a:pt x="1421" y="886"/>
                  <a:pt x="1421" y="886"/>
                  <a:pt x="1424" y="883"/>
                </a:cubicBezTo>
                <a:cubicBezTo>
                  <a:pt x="1424" y="883"/>
                  <a:pt x="1424" y="883"/>
                  <a:pt x="1424" y="881"/>
                </a:cubicBezTo>
                <a:cubicBezTo>
                  <a:pt x="1424" y="881"/>
                  <a:pt x="1424" y="881"/>
                  <a:pt x="1427" y="879"/>
                </a:cubicBezTo>
                <a:cubicBezTo>
                  <a:pt x="1427" y="879"/>
                  <a:pt x="1427" y="879"/>
                  <a:pt x="1428" y="879"/>
                </a:cubicBezTo>
                <a:cubicBezTo>
                  <a:pt x="1428" y="879"/>
                  <a:pt x="1428" y="879"/>
                  <a:pt x="1430" y="874"/>
                </a:cubicBezTo>
                <a:cubicBezTo>
                  <a:pt x="1430" y="874"/>
                  <a:pt x="1430" y="874"/>
                  <a:pt x="1430" y="869"/>
                </a:cubicBezTo>
                <a:cubicBezTo>
                  <a:pt x="1430" y="869"/>
                  <a:pt x="1430" y="869"/>
                  <a:pt x="1429" y="868"/>
                </a:cubicBezTo>
                <a:cubicBezTo>
                  <a:pt x="1429" y="868"/>
                  <a:pt x="1429" y="868"/>
                  <a:pt x="1429" y="867"/>
                </a:cubicBezTo>
                <a:cubicBezTo>
                  <a:pt x="1429" y="867"/>
                  <a:pt x="1429" y="867"/>
                  <a:pt x="1427" y="863"/>
                </a:cubicBezTo>
                <a:cubicBezTo>
                  <a:pt x="1427" y="863"/>
                  <a:pt x="1427" y="863"/>
                  <a:pt x="1427" y="861"/>
                </a:cubicBezTo>
                <a:cubicBezTo>
                  <a:pt x="1427" y="861"/>
                  <a:pt x="1427" y="861"/>
                  <a:pt x="1426" y="860"/>
                </a:cubicBezTo>
                <a:cubicBezTo>
                  <a:pt x="1426" y="860"/>
                  <a:pt x="1426" y="860"/>
                  <a:pt x="1426" y="858"/>
                </a:cubicBezTo>
                <a:cubicBezTo>
                  <a:pt x="1426" y="858"/>
                  <a:pt x="1426" y="858"/>
                  <a:pt x="1425" y="857"/>
                </a:cubicBezTo>
                <a:cubicBezTo>
                  <a:pt x="1425" y="857"/>
                  <a:pt x="1425" y="857"/>
                  <a:pt x="1427" y="855"/>
                </a:cubicBezTo>
                <a:cubicBezTo>
                  <a:pt x="1427" y="855"/>
                  <a:pt x="1427" y="855"/>
                  <a:pt x="1427" y="852"/>
                </a:cubicBezTo>
                <a:cubicBezTo>
                  <a:pt x="1427" y="852"/>
                  <a:pt x="1427" y="852"/>
                  <a:pt x="1425" y="849"/>
                </a:cubicBezTo>
                <a:cubicBezTo>
                  <a:pt x="1425" y="849"/>
                  <a:pt x="1425" y="849"/>
                  <a:pt x="1425" y="844"/>
                </a:cubicBezTo>
                <a:cubicBezTo>
                  <a:pt x="1425" y="844"/>
                  <a:pt x="1425" y="844"/>
                  <a:pt x="1422" y="841"/>
                </a:cubicBezTo>
                <a:cubicBezTo>
                  <a:pt x="1422" y="841"/>
                  <a:pt x="1422" y="841"/>
                  <a:pt x="1422" y="840"/>
                </a:cubicBezTo>
                <a:cubicBezTo>
                  <a:pt x="1422" y="840"/>
                  <a:pt x="1422" y="840"/>
                  <a:pt x="1421" y="839"/>
                </a:cubicBezTo>
                <a:cubicBezTo>
                  <a:pt x="1421" y="839"/>
                  <a:pt x="1421" y="839"/>
                  <a:pt x="1423" y="838"/>
                </a:cubicBezTo>
                <a:cubicBezTo>
                  <a:pt x="1423" y="838"/>
                  <a:pt x="1423" y="838"/>
                  <a:pt x="1422" y="837"/>
                </a:cubicBezTo>
                <a:cubicBezTo>
                  <a:pt x="1422" y="837"/>
                  <a:pt x="1422" y="837"/>
                  <a:pt x="1420" y="837"/>
                </a:cubicBezTo>
                <a:cubicBezTo>
                  <a:pt x="1420" y="837"/>
                  <a:pt x="1420" y="837"/>
                  <a:pt x="1420" y="836"/>
                </a:cubicBezTo>
                <a:cubicBezTo>
                  <a:pt x="1420" y="836"/>
                  <a:pt x="1420" y="836"/>
                  <a:pt x="1420" y="834"/>
                </a:cubicBezTo>
                <a:cubicBezTo>
                  <a:pt x="1420" y="834"/>
                  <a:pt x="1420" y="834"/>
                  <a:pt x="1420" y="833"/>
                </a:cubicBezTo>
                <a:cubicBezTo>
                  <a:pt x="1420" y="833"/>
                  <a:pt x="1420" y="833"/>
                  <a:pt x="1419" y="832"/>
                </a:cubicBezTo>
                <a:cubicBezTo>
                  <a:pt x="1419" y="832"/>
                  <a:pt x="1419" y="832"/>
                  <a:pt x="1418" y="831"/>
                </a:cubicBezTo>
                <a:cubicBezTo>
                  <a:pt x="1418" y="831"/>
                  <a:pt x="1418" y="831"/>
                  <a:pt x="1419" y="830"/>
                </a:cubicBezTo>
                <a:cubicBezTo>
                  <a:pt x="1419" y="830"/>
                  <a:pt x="1419" y="830"/>
                  <a:pt x="1418" y="829"/>
                </a:cubicBezTo>
                <a:cubicBezTo>
                  <a:pt x="1418" y="829"/>
                  <a:pt x="1418" y="829"/>
                  <a:pt x="1417" y="828"/>
                </a:cubicBezTo>
                <a:cubicBezTo>
                  <a:pt x="1417" y="828"/>
                  <a:pt x="1417" y="828"/>
                  <a:pt x="1416" y="826"/>
                </a:cubicBezTo>
                <a:cubicBezTo>
                  <a:pt x="1416" y="826"/>
                  <a:pt x="1416" y="826"/>
                  <a:pt x="1415" y="826"/>
                </a:cubicBezTo>
                <a:cubicBezTo>
                  <a:pt x="1415" y="826"/>
                  <a:pt x="1415" y="826"/>
                  <a:pt x="1414" y="824"/>
                </a:cubicBezTo>
                <a:cubicBezTo>
                  <a:pt x="1414" y="824"/>
                  <a:pt x="1414" y="824"/>
                  <a:pt x="1413" y="824"/>
                </a:cubicBezTo>
                <a:cubicBezTo>
                  <a:pt x="1413" y="824"/>
                  <a:pt x="1413" y="824"/>
                  <a:pt x="1412" y="823"/>
                </a:cubicBezTo>
                <a:cubicBezTo>
                  <a:pt x="1412" y="823"/>
                  <a:pt x="1412" y="823"/>
                  <a:pt x="1410" y="822"/>
                </a:cubicBezTo>
                <a:cubicBezTo>
                  <a:pt x="1410" y="822"/>
                  <a:pt x="1410" y="822"/>
                  <a:pt x="1409" y="820"/>
                </a:cubicBezTo>
                <a:cubicBezTo>
                  <a:pt x="1409" y="820"/>
                  <a:pt x="1409" y="820"/>
                  <a:pt x="1407" y="818"/>
                </a:cubicBezTo>
                <a:cubicBezTo>
                  <a:pt x="1407" y="818"/>
                  <a:pt x="1407" y="818"/>
                  <a:pt x="1405" y="816"/>
                </a:cubicBezTo>
                <a:cubicBezTo>
                  <a:pt x="1405" y="816"/>
                  <a:pt x="1405" y="816"/>
                  <a:pt x="1404" y="814"/>
                </a:cubicBezTo>
                <a:cubicBezTo>
                  <a:pt x="1404" y="814"/>
                  <a:pt x="1404" y="814"/>
                  <a:pt x="1403" y="813"/>
                </a:cubicBezTo>
                <a:cubicBezTo>
                  <a:pt x="1403" y="813"/>
                  <a:pt x="1403" y="813"/>
                  <a:pt x="1402" y="812"/>
                </a:cubicBezTo>
                <a:cubicBezTo>
                  <a:pt x="1402" y="812"/>
                  <a:pt x="1402" y="812"/>
                  <a:pt x="1402" y="810"/>
                </a:cubicBezTo>
                <a:cubicBezTo>
                  <a:pt x="1402" y="810"/>
                  <a:pt x="1402" y="810"/>
                  <a:pt x="1401" y="809"/>
                </a:cubicBezTo>
                <a:cubicBezTo>
                  <a:pt x="1401" y="809"/>
                  <a:pt x="1401" y="809"/>
                  <a:pt x="1401" y="808"/>
                </a:cubicBezTo>
                <a:cubicBezTo>
                  <a:pt x="1401" y="808"/>
                  <a:pt x="1401" y="808"/>
                  <a:pt x="1400" y="807"/>
                </a:cubicBezTo>
                <a:cubicBezTo>
                  <a:pt x="1400" y="807"/>
                  <a:pt x="1400" y="807"/>
                  <a:pt x="1399" y="804"/>
                </a:cubicBezTo>
                <a:cubicBezTo>
                  <a:pt x="1399" y="804"/>
                  <a:pt x="1399" y="804"/>
                  <a:pt x="1401" y="804"/>
                </a:cubicBezTo>
                <a:cubicBezTo>
                  <a:pt x="1401" y="804"/>
                  <a:pt x="1401" y="804"/>
                  <a:pt x="1402" y="803"/>
                </a:cubicBezTo>
                <a:cubicBezTo>
                  <a:pt x="1402" y="803"/>
                  <a:pt x="1402" y="803"/>
                  <a:pt x="1402" y="800"/>
                </a:cubicBezTo>
                <a:cubicBezTo>
                  <a:pt x="1402" y="800"/>
                  <a:pt x="1402" y="800"/>
                  <a:pt x="1402" y="798"/>
                </a:cubicBezTo>
                <a:cubicBezTo>
                  <a:pt x="1402" y="798"/>
                  <a:pt x="1402" y="798"/>
                  <a:pt x="1403" y="799"/>
                </a:cubicBezTo>
                <a:cubicBezTo>
                  <a:pt x="1403" y="799"/>
                  <a:pt x="1403" y="799"/>
                  <a:pt x="1406" y="798"/>
                </a:cubicBezTo>
                <a:cubicBezTo>
                  <a:pt x="1406" y="798"/>
                  <a:pt x="1406" y="798"/>
                  <a:pt x="1404" y="798"/>
                </a:cubicBezTo>
                <a:cubicBezTo>
                  <a:pt x="1404" y="798"/>
                  <a:pt x="1404" y="798"/>
                  <a:pt x="1403" y="796"/>
                </a:cubicBezTo>
                <a:cubicBezTo>
                  <a:pt x="1403" y="796"/>
                  <a:pt x="1403" y="796"/>
                  <a:pt x="1404" y="795"/>
                </a:cubicBezTo>
                <a:cubicBezTo>
                  <a:pt x="1404" y="795"/>
                  <a:pt x="1404" y="795"/>
                  <a:pt x="1404" y="794"/>
                </a:cubicBezTo>
                <a:cubicBezTo>
                  <a:pt x="1404" y="794"/>
                  <a:pt x="1404" y="794"/>
                  <a:pt x="1404" y="793"/>
                </a:cubicBezTo>
                <a:cubicBezTo>
                  <a:pt x="1404" y="793"/>
                  <a:pt x="1404" y="793"/>
                  <a:pt x="1402" y="793"/>
                </a:cubicBezTo>
                <a:cubicBezTo>
                  <a:pt x="1402" y="793"/>
                  <a:pt x="1402" y="793"/>
                  <a:pt x="1404" y="790"/>
                </a:cubicBezTo>
                <a:cubicBezTo>
                  <a:pt x="1404" y="790"/>
                  <a:pt x="1404" y="790"/>
                  <a:pt x="1406" y="787"/>
                </a:cubicBezTo>
                <a:cubicBezTo>
                  <a:pt x="1406" y="787"/>
                  <a:pt x="1406" y="787"/>
                  <a:pt x="1405" y="786"/>
                </a:cubicBezTo>
                <a:cubicBezTo>
                  <a:pt x="1405" y="786"/>
                  <a:pt x="1405" y="786"/>
                  <a:pt x="1406" y="786"/>
                </a:cubicBezTo>
                <a:cubicBezTo>
                  <a:pt x="1406" y="786"/>
                  <a:pt x="1406" y="786"/>
                  <a:pt x="1407" y="785"/>
                </a:cubicBezTo>
                <a:cubicBezTo>
                  <a:pt x="1407" y="785"/>
                  <a:pt x="1407" y="785"/>
                  <a:pt x="1406" y="784"/>
                </a:cubicBezTo>
                <a:cubicBezTo>
                  <a:pt x="1406" y="784"/>
                  <a:pt x="1406" y="784"/>
                  <a:pt x="1407" y="782"/>
                </a:cubicBezTo>
                <a:cubicBezTo>
                  <a:pt x="1407" y="782"/>
                  <a:pt x="1407" y="782"/>
                  <a:pt x="1406" y="780"/>
                </a:cubicBezTo>
                <a:cubicBezTo>
                  <a:pt x="1406" y="780"/>
                  <a:pt x="1406" y="780"/>
                  <a:pt x="1405" y="778"/>
                </a:cubicBezTo>
                <a:cubicBezTo>
                  <a:pt x="1405" y="778"/>
                  <a:pt x="1405" y="778"/>
                  <a:pt x="1405" y="776"/>
                </a:cubicBezTo>
                <a:cubicBezTo>
                  <a:pt x="1405" y="776"/>
                  <a:pt x="1405" y="776"/>
                  <a:pt x="1406" y="775"/>
                </a:cubicBezTo>
                <a:cubicBezTo>
                  <a:pt x="1406" y="775"/>
                  <a:pt x="1406" y="775"/>
                  <a:pt x="1405" y="774"/>
                </a:cubicBezTo>
                <a:cubicBezTo>
                  <a:pt x="1405" y="774"/>
                  <a:pt x="1405" y="774"/>
                  <a:pt x="1403" y="775"/>
                </a:cubicBezTo>
                <a:cubicBezTo>
                  <a:pt x="1403" y="775"/>
                  <a:pt x="1403" y="775"/>
                  <a:pt x="1402" y="774"/>
                </a:cubicBezTo>
                <a:cubicBezTo>
                  <a:pt x="1402" y="774"/>
                  <a:pt x="1402" y="774"/>
                  <a:pt x="1401" y="774"/>
                </a:cubicBezTo>
                <a:cubicBezTo>
                  <a:pt x="1401" y="774"/>
                  <a:pt x="1401" y="774"/>
                  <a:pt x="1401" y="770"/>
                </a:cubicBezTo>
                <a:cubicBezTo>
                  <a:pt x="1401" y="770"/>
                  <a:pt x="1401" y="770"/>
                  <a:pt x="1400" y="771"/>
                </a:cubicBezTo>
                <a:cubicBezTo>
                  <a:pt x="1400" y="771"/>
                  <a:pt x="1400" y="771"/>
                  <a:pt x="1399" y="770"/>
                </a:cubicBezTo>
                <a:cubicBezTo>
                  <a:pt x="1399" y="770"/>
                  <a:pt x="1399" y="770"/>
                  <a:pt x="1398" y="770"/>
                </a:cubicBezTo>
                <a:cubicBezTo>
                  <a:pt x="1398" y="770"/>
                  <a:pt x="1398" y="770"/>
                  <a:pt x="1397" y="769"/>
                </a:cubicBezTo>
                <a:cubicBezTo>
                  <a:pt x="1397" y="769"/>
                  <a:pt x="1397" y="769"/>
                  <a:pt x="1396" y="771"/>
                </a:cubicBezTo>
                <a:cubicBezTo>
                  <a:pt x="1396" y="771"/>
                  <a:pt x="1396" y="771"/>
                  <a:pt x="1395" y="771"/>
                </a:cubicBezTo>
                <a:cubicBezTo>
                  <a:pt x="1395" y="771"/>
                  <a:pt x="1395" y="771"/>
                  <a:pt x="1394" y="771"/>
                </a:cubicBezTo>
                <a:cubicBezTo>
                  <a:pt x="1394" y="771"/>
                  <a:pt x="1394" y="771"/>
                  <a:pt x="1391" y="772"/>
                </a:cubicBezTo>
                <a:cubicBezTo>
                  <a:pt x="1391" y="772"/>
                  <a:pt x="1391" y="772"/>
                  <a:pt x="1390" y="772"/>
                </a:cubicBezTo>
                <a:cubicBezTo>
                  <a:pt x="1390" y="772"/>
                  <a:pt x="1390" y="772"/>
                  <a:pt x="1389" y="772"/>
                </a:cubicBezTo>
                <a:cubicBezTo>
                  <a:pt x="1389" y="772"/>
                  <a:pt x="1389" y="772"/>
                  <a:pt x="1383" y="773"/>
                </a:cubicBezTo>
                <a:cubicBezTo>
                  <a:pt x="1383" y="773"/>
                  <a:pt x="1383" y="773"/>
                  <a:pt x="1380" y="772"/>
                </a:cubicBezTo>
                <a:cubicBezTo>
                  <a:pt x="1380" y="772"/>
                  <a:pt x="1380" y="772"/>
                  <a:pt x="1379" y="771"/>
                </a:cubicBezTo>
                <a:cubicBezTo>
                  <a:pt x="1379" y="771"/>
                  <a:pt x="1379" y="771"/>
                  <a:pt x="1378" y="768"/>
                </a:cubicBezTo>
                <a:cubicBezTo>
                  <a:pt x="1378" y="768"/>
                  <a:pt x="1378" y="768"/>
                  <a:pt x="1377" y="768"/>
                </a:cubicBezTo>
                <a:cubicBezTo>
                  <a:pt x="1377" y="768"/>
                  <a:pt x="1377" y="768"/>
                  <a:pt x="1377" y="766"/>
                </a:cubicBezTo>
                <a:cubicBezTo>
                  <a:pt x="1377" y="766"/>
                  <a:pt x="1377" y="766"/>
                  <a:pt x="1376" y="763"/>
                </a:cubicBezTo>
                <a:cubicBezTo>
                  <a:pt x="1376" y="763"/>
                  <a:pt x="1376" y="763"/>
                  <a:pt x="1373" y="760"/>
                </a:cubicBezTo>
                <a:cubicBezTo>
                  <a:pt x="1373" y="760"/>
                  <a:pt x="1373" y="760"/>
                  <a:pt x="1369" y="758"/>
                </a:cubicBezTo>
                <a:cubicBezTo>
                  <a:pt x="1369" y="758"/>
                  <a:pt x="1369" y="758"/>
                  <a:pt x="1367" y="759"/>
                </a:cubicBezTo>
                <a:cubicBezTo>
                  <a:pt x="1367" y="759"/>
                  <a:pt x="1367" y="759"/>
                  <a:pt x="1364" y="758"/>
                </a:cubicBezTo>
                <a:cubicBezTo>
                  <a:pt x="1364" y="758"/>
                  <a:pt x="1364" y="758"/>
                  <a:pt x="1360" y="760"/>
                </a:cubicBezTo>
                <a:cubicBezTo>
                  <a:pt x="1360" y="760"/>
                  <a:pt x="1360" y="760"/>
                  <a:pt x="1357" y="759"/>
                </a:cubicBezTo>
                <a:cubicBezTo>
                  <a:pt x="1357" y="759"/>
                  <a:pt x="1357" y="759"/>
                  <a:pt x="1353" y="761"/>
                </a:cubicBezTo>
                <a:cubicBezTo>
                  <a:pt x="1353" y="761"/>
                  <a:pt x="1353" y="761"/>
                  <a:pt x="1349" y="762"/>
                </a:cubicBezTo>
                <a:cubicBezTo>
                  <a:pt x="1349" y="762"/>
                  <a:pt x="1349" y="762"/>
                  <a:pt x="1346" y="763"/>
                </a:cubicBezTo>
                <a:cubicBezTo>
                  <a:pt x="1346" y="763"/>
                  <a:pt x="1346" y="763"/>
                  <a:pt x="1343" y="766"/>
                </a:cubicBezTo>
                <a:cubicBezTo>
                  <a:pt x="1343" y="766"/>
                  <a:pt x="1343" y="766"/>
                  <a:pt x="1339" y="766"/>
                </a:cubicBezTo>
                <a:cubicBezTo>
                  <a:pt x="1339" y="766"/>
                  <a:pt x="1339" y="766"/>
                  <a:pt x="1334" y="769"/>
                </a:cubicBezTo>
                <a:cubicBezTo>
                  <a:pt x="1334" y="769"/>
                  <a:pt x="1334" y="769"/>
                  <a:pt x="1331" y="768"/>
                </a:cubicBezTo>
                <a:cubicBezTo>
                  <a:pt x="1331" y="768"/>
                  <a:pt x="1331" y="768"/>
                  <a:pt x="1328" y="767"/>
                </a:cubicBezTo>
                <a:cubicBezTo>
                  <a:pt x="1328" y="767"/>
                  <a:pt x="1328" y="767"/>
                  <a:pt x="1327" y="765"/>
                </a:cubicBezTo>
                <a:cubicBezTo>
                  <a:pt x="1327" y="765"/>
                  <a:pt x="1327" y="765"/>
                  <a:pt x="1326" y="766"/>
                </a:cubicBezTo>
                <a:cubicBezTo>
                  <a:pt x="1326" y="766"/>
                  <a:pt x="1326" y="766"/>
                  <a:pt x="1325" y="767"/>
                </a:cubicBezTo>
                <a:cubicBezTo>
                  <a:pt x="1325" y="767"/>
                  <a:pt x="1325" y="767"/>
                  <a:pt x="1322" y="766"/>
                </a:cubicBezTo>
                <a:cubicBezTo>
                  <a:pt x="1322" y="766"/>
                  <a:pt x="1322" y="766"/>
                  <a:pt x="1319" y="767"/>
                </a:cubicBezTo>
                <a:cubicBezTo>
                  <a:pt x="1319" y="767"/>
                  <a:pt x="1319" y="767"/>
                  <a:pt x="1311" y="767"/>
                </a:cubicBezTo>
                <a:cubicBezTo>
                  <a:pt x="1311" y="767"/>
                  <a:pt x="1311" y="767"/>
                  <a:pt x="1309" y="767"/>
                </a:cubicBezTo>
                <a:cubicBezTo>
                  <a:pt x="1309" y="767"/>
                  <a:pt x="1309" y="767"/>
                  <a:pt x="1309" y="768"/>
                </a:cubicBezTo>
                <a:cubicBezTo>
                  <a:pt x="1309" y="768"/>
                  <a:pt x="1309" y="768"/>
                  <a:pt x="1304" y="769"/>
                </a:cubicBezTo>
                <a:cubicBezTo>
                  <a:pt x="1304" y="769"/>
                  <a:pt x="1304" y="769"/>
                  <a:pt x="1304" y="770"/>
                </a:cubicBezTo>
                <a:cubicBezTo>
                  <a:pt x="1304" y="770"/>
                  <a:pt x="1304" y="770"/>
                  <a:pt x="1302" y="770"/>
                </a:cubicBezTo>
                <a:cubicBezTo>
                  <a:pt x="1302" y="770"/>
                  <a:pt x="1302" y="770"/>
                  <a:pt x="1300" y="772"/>
                </a:cubicBezTo>
                <a:cubicBezTo>
                  <a:pt x="1300" y="772"/>
                  <a:pt x="1300" y="772"/>
                  <a:pt x="1293" y="769"/>
                </a:cubicBezTo>
                <a:cubicBezTo>
                  <a:pt x="1293" y="769"/>
                  <a:pt x="1293" y="769"/>
                  <a:pt x="1289" y="766"/>
                </a:cubicBezTo>
                <a:cubicBezTo>
                  <a:pt x="1289" y="766"/>
                  <a:pt x="1289" y="766"/>
                  <a:pt x="1287" y="766"/>
                </a:cubicBezTo>
                <a:cubicBezTo>
                  <a:pt x="1287" y="766"/>
                  <a:pt x="1287" y="766"/>
                  <a:pt x="1283" y="762"/>
                </a:cubicBezTo>
                <a:cubicBezTo>
                  <a:pt x="1283" y="762"/>
                  <a:pt x="1283" y="762"/>
                  <a:pt x="1281" y="760"/>
                </a:cubicBezTo>
                <a:cubicBezTo>
                  <a:pt x="1281" y="760"/>
                  <a:pt x="1281" y="760"/>
                  <a:pt x="1280" y="760"/>
                </a:cubicBezTo>
                <a:cubicBezTo>
                  <a:pt x="1280" y="760"/>
                  <a:pt x="1280" y="760"/>
                  <a:pt x="1278" y="758"/>
                </a:cubicBezTo>
                <a:cubicBezTo>
                  <a:pt x="1278" y="758"/>
                  <a:pt x="1278" y="758"/>
                  <a:pt x="1277" y="757"/>
                </a:cubicBezTo>
                <a:cubicBezTo>
                  <a:pt x="1277" y="757"/>
                  <a:pt x="1277" y="757"/>
                  <a:pt x="1278" y="756"/>
                </a:cubicBezTo>
                <a:cubicBezTo>
                  <a:pt x="1278" y="756"/>
                  <a:pt x="1278" y="756"/>
                  <a:pt x="1277" y="756"/>
                </a:cubicBezTo>
                <a:cubicBezTo>
                  <a:pt x="1277" y="756"/>
                  <a:pt x="1277" y="756"/>
                  <a:pt x="1275" y="756"/>
                </a:cubicBezTo>
                <a:cubicBezTo>
                  <a:pt x="1275" y="756"/>
                  <a:pt x="1275" y="756"/>
                  <a:pt x="1274" y="756"/>
                </a:cubicBezTo>
                <a:cubicBezTo>
                  <a:pt x="1274" y="756"/>
                  <a:pt x="1274" y="756"/>
                  <a:pt x="1271" y="754"/>
                </a:cubicBezTo>
                <a:cubicBezTo>
                  <a:pt x="1271" y="754"/>
                  <a:pt x="1271" y="754"/>
                  <a:pt x="1270" y="754"/>
                </a:cubicBezTo>
                <a:cubicBezTo>
                  <a:pt x="1270" y="754"/>
                  <a:pt x="1270" y="754"/>
                  <a:pt x="1270" y="753"/>
                </a:cubicBezTo>
                <a:cubicBezTo>
                  <a:pt x="1270" y="753"/>
                  <a:pt x="1270" y="753"/>
                  <a:pt x="1269" y="752"/>
                </a:cubicBezTo>
                <a:cubicBezTo>
                  <a:pt x="1269" y="752"/>
                  <a:pt x="1269" y="752"/>
                  <a:pt x="1268" y="751"/>
                </a:cubicBezTo>
                <a:cubicBezTo>
                  <a:pt x="1268" y="751"/>
                  <a:pt x="1268" y="751"/>
                  <a:pt x="1269" y="750"/>
                </a:cubicBezTo>
                <a:cubicBezTo>
                  <a:pt x="1269" y="750"/>
                  <a:pt x="1269" y="750"/>
                  <a:pt x="1267" y="750"/>
                </a:cubicBezTo>
                <a:cubicBezTo>
                  <a:pt x="1267" y="750"/>
                  <a:pt x="1267" y="750"/>
                  <a:pt x="1266" y="749"/>
                </a:cubicBezTo>
                <a:cubicBezTo>
                  <a:pt x="1266" y="749"/>
                  <a:pt x="1266" y="749"/>
                  <a:pt x="1266" y="747"/>
                </a:cubicBezTo>
                <a:cubicBezTo>
                  <a:pt x="1266" y="747"/>
                  <a:pt x="1266" y="747"/>
                  <a:pt x="1265" y="745"/>
                </a:cubicBezTo>
                <a:cubicBezTo>
                  <a:pt x="1265" y="745"/>
                  <a:pt x="1265" y="745"/>
                  <a:pt x="1264" y="745"/>
                </a:cubicBezTo>
                <a:cubicBezTo>
                  <a:pt x="1264" y="745"/>
                  <a:pt x="1264" y="745"/>
                  <a:pt x="1264" y="744"/>
                </a:cubicBezTo>
                <a:cubicBezTo>
                  <a:pt x="1264" y="744"/>
                  <a:pt x="1264" y="744"/>
                  <a:pt x="1265" y="743"/>
                </a:cubicBezTo>
                <a:cubicBezTo>
                  <a:pt x="1265" y="743"/>
                  <a:pt x="1265" y="743"/>
                  <a:pt x="1264" y="742"/>
                </a:cubicBezTo>
                <a:cubicBezTo>
                  <a:pt x="1264" y="742"/>
                  <a:pt x="1264" y="742"/>
                  <a:pt x="1264" y="741"/>
                </a:cubicBezTo>
                <a:cubicBezTo>
                  <a:pt x="1264" y="741"/>
                  <a:pt x="1264" y="741"/>
                  <a:pt x="1264" y="740"/>
                </a:cubicBezTo>
                <a:cubicBezTo>
                  <a:pt x="1264" y="740"/>
                  <a:pt x="1264" y="740"/>
                  <a:pt x="1263" y="739"/>
                </a:cubicBezTo>
                <a:cubicBezTo>
                  <a:pt x="1263" y="739"/>
                  <a:pt x="1263" y="739"/>
                  <a:pt x="1262" y="738"/>
                </a:cubicBezTo>
                <a:cubicBezTo>
                  <a:pt x="1262" y="738"/>
                  <a:pt x="1262" y="738"/>
                  <a:pt x="1261" y="736"/>
                </a:cubicBezTo>
                <a:cubicBezTo>
                  <a:pt x="1261" y="736"/>
                  <a:pt x="1261" y="736"/>
                  <a:pt x="1260" y="736"/>
                </a:cubicBezTo>
                <a:cubicBezTo>
                  <a:pt x="1260" y="736"/>
                  <a:pt x="1260" y="736"/>
                  <a:pt x="1259" y="736"/>
                </a:cubicBezTo>
                <a:cubicBezTo>
                  <a:pt x="1259" y="736"/>
                  <a:pt x="1259" y="736"/>
                  <a:pt x="1259" y="735"/>
                </a:cubicBezTo>
                <a:cubicBezTo>
                  <a:pt x="1259" y="735"/>
                  <a:pt x="1259" y="735"/>
                  <a:pt x="1260" y="734"/>
                </a:cubicBezTo>
                <a:cubicBezTo>
                  <a:pt x="1260" y="734"/>
                  <a:pt x="1260" y="734"/>
                  <a:pt x="1259" y="734"/>
                </a:cubicBezTo>
                <a:cubicBezTo>
                  <a:pt x="1259" y="734"/>
                  <a:pt x="1259" y="734"/>
                  <a:pt x="1258" y="735"/>
                </a:cubicBezTo>
                <a:cubicBezTo>
                  <a:pt x="1258" y="735"/>
                  <a:pt x="1258" y="735"/>
                  <a:pt x="1257" y="734"/>
                </a:cubicBezTo>
                <a:cubicBezTo>
                  <a:pt x="1257" y="734"/>
                  <a:pt x="1257" y="734"/>
                  <a:pt x="1256" y="734"/>
                </a:cubicBezTo>
                <a:cubicBezTo>
                  <a:pt x="1256" y="734"/>
                  <a:pt x="1256" y="734"/>
                  <a:pt x="1254" y="732"/>
                </a:cubicBezTo>
                <a:cubicBezTo>
                  <a:pt x="1254" y="732"/>
                  <a:pt x="1254" y="732"/>
                  <a:pt x="1255" y="730"/>
                </a:cubicBezTo>
                <a:cubicBezTo>
                  <a:pt x="1255" y="730"/>
                  <a:pt x="1255" y="730"/>
                  <a:pt x="1254" y="729"/>
                </a:cubicBezTo>
                <a:cubicBezTo>
                  <a:pt x="1254" y="729"/>
                  <a:pt x="1254" y="729"/>
                  <a:pt x="1252" y="729"/>
                </a:cubicBezTo>
                <a:cubicBezTo>
                  <a:pt x="1252" y="729"/>
                  <a:pt x="1252" y="729"/>
                  <a:pt x="1252" y="728"/>
                </a:cubicBezTo>
                <a:cubicBezTo>
                  <a:pt x="1252" y="728"/>
                  <a:pt x="1252" y="728"/>
                  <a:pt x="1250" y="728"/>
                </a:cubicBezTo>
                <a:cubicBezTo>
                  <a:pt x="1250" y="728"/>
                  <a:pt x="1250" y="728"/>
                  <a:pt x="1251" y="726"/>
                </a:cubicBezTo>
                <a:cubicBezTo>
                  <a:pt x="1251" y="726"/>
                  <a:pt x="1251" y="726"/>
                  <a:pt x="1250" y="725"/>
                </a:cubicBezTo>
                <a:cubicBezTo>
                  <a:pt x="1250" y="725"/>
                  <a:pt x="1250" y="725"/>
                  <a:pt x="1249" y="725"/>
                </a:cubicBezTo>
                <a:cubicBezTo>
                  <a:pt x="1249" y="725"/>
                  <a:pt x="1249" y="725"/>
                  <a:pt x="1252" y="724"/>
                </a:cubicBezTo>
                <a:cubicBezTo>
                  <a:pt x="1252" y="724"/>
                  <a:pt x="1252" y="724"/>
                  <a:pt x="1251" y="723"/>
                </a:cubicBezTo>
                <a:cubicBezTo>
                  <a:pt x="1251" y="723"/>
                  <a:pt x="1251" y="723"/>
                  <a:pt x="1249" y="723"/>
                </a:cubicBezTo>
                <a:cubicBezTo>
                  <a:pt x="1249" y="723"/>
                  <a:pt x="1249" y="723"/>
                  <a:pt x="1248" y="724"/>
                </a:cubicBezTo>
                <a:cubicBezTo>
                  <a:pt x="1248" y="724"/>
                  <a:pt x="1248" y="724"/>
                  <a:pt x="1247" y="724"/>
                </a:cubicBezTo>
                <a:cubicBezTo>
                  <a:pt x="1247" y="724"/>
                  <a:pt x="1247" y="724"/>
                  <a:pt x="1246" y="723"/>
                </a:cubicBezTo>
                <a:cubicBezTo>
                  <a:pt x="1246" y="723"/>
                  <a:pt x="1246" y="723"/>
                  <a:pt x="1245" y="723"/>
                </a:cubicBezTo>
                <a:cubicBezTo>
                  <a:pt x="1245" y="723"/>
                  <a:pt x="1245" y="723"/>
                  <a:pt x="1244" y="722"/>
                </a:cubicBezTo>
                <a:cubicBezTo>
                  <a:pt x="1244" y="722"/>
                  <a:pt x="1244" y="722"/>
                  <a:pt x="1245" y="721"/>
                </a:cubicBezTo>
                <a:cubicBezTo>
                  <a:pt x="1245" y="721"/>
                  <a:pt x="1245" y="721"/>
                  <a:pt x="1244" y="721"/>
                </a:cubicBezTo>
                <a:cubicBezTo>
                  <a:pt x="1244" y="721"/>
                  <a:pt x="1244" y="721"/>
                  <a:pt x="1242" y="721"/>
                </a:cubicBezTo>
                <a:cubicBezTo>
                  <a:pt x="1242" y="721"/>
                  <a:pt x="1242" y="721"/>
                  <a:pt x="1242" y="720"/>
                </a:cubicBezTo>
                <a:cubicBezTo>
                  <a:pt x="1242" y="720"/>
                  <a:pt x="1242" y="720"/>
                  <a:pt x="1242" y="719"/>
                </a:cubicBezTo>
                <a:cubicBezTo>
                  <a:pt x="1242" y="719"/>
                  <a:pt x="1242" y="719"/>
                  <a:pt x="1243" y="719"/>
                </a:cubicBezTo>
                <a:cubicBezTo>
                  <a:pt x="1243" y="719"/>
                  <a:pt x="1243" y="719"/>
                  <a:pt x="1244" y="718"/>
                </a:cubicBezTo>
                <a:cubicBezTo>
                  <a:pt x="1244" y="718"/>
                  <a:pt x="1244" y="718"/>
                  <a:pt x="1242" y="717"/>
                </a:cubicBezTo>
                <a:cubicBezTo>
                  <a:pt x="1242" y="717"/>
                  <a:pt x="1242" y="717"/>
                  <a:pt x="1241" y="718"/>
                </a:cubicBezTo>
                <a:cubicBezTo>
                  <a:pt x="1241" y="718"/>
                  <a:pt x="1241" y="718"/>
                  <a:pt x="1240" y="718"/>
                </a:cubicBezTo>
                <a:cubicBezTo>
                  <a:pt x="1240" y="718"/>
                  <a:pt x="1240" y="718"/>
                  <a:pt x="1241" y="717"/>
                </a:cubicBezTo>
                <a:cubicBezTo>
                  <a:pt x="1241" y="717"/>
                  <a:pt x="1241" y="717"/>
                  <a:pt x="1241" y="715"/>
                </a:cubicBezTo>
                <a:cubicBezTo>
                  <a:pt x="1241" y="715"/>
                  <a:pt x="1241" y="715"/>
                  <a:pt x="1240" y="714"/>
                </a:cubicBezTo>
                <a:cubicBezTo>
                  <a:pt x="1240" y="714"/>
                  <a:pt x="1240" y="714"/>
                  <a:pt x="1241" y="713"/>
                </a:cubicBezTo>
                <a:cubicBezTo>
                  <a:pt x="1241" y="713"/>
                  <a:pt x="1241" y="713"/>
                  <a:pt x="1243" y="715"/>
                </a:cubicBezTo>
                <a:cubicBezTo>
                  <a:pt x="1243" y="715"/>
                  <a:pt x="1243" y="715"/>
                  <a:pt x="1244" y="715"/>
                </a:cubicBezTo>
                <a:cubicBezTo>
                  <a:pt x="1244" y="715"/>
                  <a:pt x="1244" y="715"/>
                  <a:pt x="1245" y="714"/>
                </a:cubicBezTo>
                <a:cubicBezTo>
                  <a:pt x="1245" y="714"/>
                  <a:pt x="1245" y="714"/>
                  <a:pt x="1244" y="714"/>
                </a:cubicBezTo>
                <a:cubicBezTo>
                  <a:pt x="1244" y="714"/>
                  <a:pt x="1244" y="714"/>
                  <a:pt x="1242" y="713"/>
                </a:cubicBezTo>
                <a:cubicBezTo>
                  <a:pt x="1242" y="713"/>
                  <a:pt x="1242" y="713"/>
                  <a:pt x="1242" y="712"/>
                </a:cubicBezTo>
                <a:cubicBezTo>
                  <a:pt x="1242" y="712"/>
                  <a:pt x="1242" y="712"/>
                  <a:pt x="1243" y="711"/>
                </a:cubicBezTo>
                <a:cubicBezTo>
                  <a:pt x="1243" y="711"/>
                  <a:pt x="1243" y="711"/>
                  <a:pt x="1241" y="710"/>
                </a:cubicBezTo>
                <a:cubicBezTo>
                  <a:pt x="1241" y="710"/>
                  <a:pt x="1241" y="710"/>
                  <a:pt x="1242" y="710"/>
                </a:cubicBezTo>
                <a:cubicBezTo>
                  <a:pt x="1242" y="710"/>
                  <a:pt x="1242" y="710"/>
                  <a:pt x="1242" y="709"/>
                </a:cubicBezTo>
                <a:cubicBezTo>
                  <a:pt x="1242" y="709"/>
                  <a:pt x="1242" y="709"/>
                  <a:pt x="1241" y="709"/>
                </a:cubicBezTo>
                <a:cubicBezTo>
                  <a:pt x="1241" y="709"/>
                  <a:pt x="1241" y="709"/>
                  <a:pt x="1239" y="706"/>
                </a:cubicBezTo>
                <a:cubicBezTo>
                  <a:pt x="1239" y="706"/>
                  <a:pt x="1239" y="706"/>
                  <a:pt x="1237" y="704"/>
                </a:cubicBezTo>
                <a:cubicBezTo>
                  <a:pt x="1237" y="704"/>
                  <a:pt x="1237" y="704"/>
                  <a:pt x="1241" y="701"/>
                </a:cubicBezTo>
                <a:cubicBezTo>
                  <a:pt x="1241" y="701"/>
                  <a:pt x="1241" y="701"/>
                  <a:pt x="1243" y="698"/>
                </a:cubicBezTo>
                <a:cubicBezTo>
                  <a:pt x="1243" y="698"/>
                  <a:pt x="1243" y="698"/>
                  <a:pt x="1243" y="696"/>
                </a:cubicBezTo>
                <a:cubicBezTo>
                  <a:pt x="1243" y="696"/>
                  <a:pt x="1243" y="696"/>
                  <a:pt x="1243" y="693"/>
                </a:cubicBezTo>
                <a:cubicBezTo>
                  <a:pt x="1243" y="693"/>
                  <a:pt x="1243" y="693"/>
                  <a:pt x="1244" y="689"/>
                </a:cubicBezTo>
                <a:cubicBezTo>
                  <a:pt x="1244" y="689"/>
                  <a:pt x="1244" y="689"/>
                  <a:pt x="1246" y="687"/>
                </a:cubicBezTo>
                <a:cubicBezTo>
                  <a:pt x="1246" y="687"/>
                  <a:pt x="1246" y="687"/>
                  <a:pt x="1246" y="683"/>
                </a:cubicBezTo>
                <a:cubicBezTo>
                  <a:pt x="1246" y="683"/>
                  <a:pt x="1246" y="683"/>
                  <a:pt x="1245" y="676"/>
                </a:cubicBezTo>
                <a:cubicBezTo>
                  <a:pt x="1245" y="676"/>
                  <a:pt x="1245" y="676"/>
                  <a:pt x="1243" y="673"/>
                </a:cubicBezTo>
                <a:cubicBezTo>
                  <a:pt x="1243" y="673"/>
                  <a:pt x="1243" y="673"/>
                  <a:pt x="1244" y="673"/>
                </a:cubicBezTo>
                <a:cubicBezTo>
                  <a:pt x="1244" y="673"/>
                  <a:pt x="1244" y="673"/>
                  <a:pt x="1245" y="673"/>
                </a:cubicBezTo>
                <a:cubicBezTo>
                  <a:pt x="1245" y="673"/>
                  <a:pt x="1245" y="673"/>
                  <a:pt x="1245" y="671"/>
                </a:cubicBezTo>
                <a:cubicBezTo>
                  <a:pt x="1245" y="671"/>
                  <a:pt x="1245" y="671"/>
                  <a:pt x="1245" y="669"/>
                </a:cubicBezTo>
                <a:cubicBezTo>
                  <a:pt x="1245" y="669"/>
                  <a:pt x="1245" y="669"/>
                  <a:pt x="1244" y="666"/>
                </a:cubicBezTo>
                <a:cubicBezTo>
                  <a:pt x="1244" y="666"/>
                  <a:pt x="1244" y="666"/>
                  <a:pt x="1243" y="667"/>
                </a:cubicBezTo>
                <a:cubicBezTo>
                  <a:pt x="1243" y="667"/>
                  <a:pt x="1243" y="667"/>
                  <a:pt x="1242" y="666"/>
                </a:cubicBezTo>
                <a:cubicBezTo>
                  <a:pt x="1242" y="666"/>
                  <a:pt x="1242" y="666"/>
                  <a:pt x="1242" y="665"/>
                </a:cubicBezTo>
                <a:cubicBezTo>
                  <a:pt x="1242" y="665"/>
                  <a:pt x="1242" y="665"/>
                  <a:pt x="1240" y="666"/>
                </a:cubicBezTo>
                <a:cubicBezTo>
                  <a:pt x="1240" y="666"/>
                  <a:pt x="1240" y="666"/>
                  <a:pt x="1240" y="664"/>
                </a:cubicBezTo>
                <a:cubicBezTo>
                  <a:pt x="1240" y="664"/>
                  <a:pt x="1240" y="664"/>
                  <a:pt x="1241" y="663"/>
                </a:cubicBezTo>
                <a:cubicBezTo>
                  <a:pt x="1241" y="663"/>
                  <a:pt x="1241" y="663"/>
                  <a:pt x="1241" y="662"/>
                </a:cubicBezTo>
                <a:cubicBezTo>
                  <a:pt x="1241" y="662"/>
                  <a:pt x="1241" y="662"/>
                  <a:pt x="1241" y="660"/>
                </a:cubicBezTo>
                <a:cubicBezTo>
                  <a:pt x="1241" y="660"/>
                  <a:pt x="1241" y="660"/>
                  <a:pt x="1241" y="659"/>
                </a:cubicBezTo>
                <a:cubicBezTo>
                  <a:pt x="1241" y="659"/>
                  <a:pt x="1241" y="659"/>
                  <a:pt x="1241" y="657"/>
                </a:cubicBezTo>
                <a:cubicBezTo>
                  <a:pt x="1241" y="657"/>
                  <a:pt x="1241" y="657"/>
                  <a:pt x="1242" y="656"/>
                </a:cubicBezTo>
                <a:cubicBezTo>
                  <a:pt x="1242" y="656"/>
                  <a:pt x="1242" y="656"/>
                  <a:pt x="1243" y="656"/>
                </a:cubicBezTo>
                <a:cubicBezTo>
                  <a:pt x="1243" y="656"/>
                  <a:pt x="1243" y="656"/>
                  <a:pt x="1245" y="653"/>
                </a:cubicBezTo>
                <a:cubicBezTo>
                  <a:pt x="1245" y="653"/>
                  <a:pt x="1245" y="653"/>
                  <a:pt x="1246" y="652"/>
                </a:cubicBezTo>
                <a:cubicBezTo>
                  <a:pt x="1246" y="652"/>
                  <a:pt x="1246" y="652"/>
                  <a:pt x="1245" y="652"/>
                </a:cubicBezTo>
                <a:cubicBezTo>
                  <a:pt x="1245" y="652"/>
                  <a:pt x="1245" y="652"/>
                  <a:pt x="1245" y="651"/>
                </a:cubicBezTo>
                <a:cubicBezTo>
                  <a:pt x="1245" y="651"/>
                  <a:pt x="1245" y="651"/>
                  <a:pt x="1248" y="648"/>
                </a:cubicBezTo>
                <a:cubicBezTo>
                  <a:pt x="1248" y="648"/>
                  <a:pt x="1248" y="648"/>
                  <a:pt x="1248" y="647"/>
                </a:cubicBezTo>
                <a:cubicBezTo>
                  <a:pt x="1248" y="647"/>
                  <a:pt x="1248" y="647"/>
                  <a:pt x="1249" y="643"/>
                </a:cubicBezTo>
                <a:cubicBezTo>
                  <a:pt x="1249" y="643"/>
                  <a:pt x="1249" y="643"/>
                  <a:pt x="1250" y="643"/>
                </a:cubicBezTo>
                <a:cubicBezTo>
                  <a:pt x="1250" y="643"/>
                  <a:pt x="1250" y="643"/>
                  <a:pt x="1253" y="640"/>
                </a:cubicBezTo>
                <a:cubicBezTo>
                  <a:pt x="1253" y="640"/>
                  <a:pt x="1253" y="640"/>
                  <a:pt x="1253" y="638"/>
                </a:cubicBezTo>
                <a:cubicBezTo>
                  <a:pt x="1253" y="638"/>
                  <a:pt x="1253" y="638"/>
                  <a:pt x="1257" y="633"/>
                </a:cubicBezTo>
                <a:cubicBezTo>
                  <a:pt x="1257" y="633"/>
                  <a:pt x="1257" y="633"/>
                  <a:pt x="1257" y="631"/>
                </a:cubicBezTo>
                <a:cubicBezTo>
                  <a:pt x="1257" y="631"/>
                  <a:pt x="1257" y="631"/>
                  <a:pt x="1259" y="630"/>
                </a:cubicBezTo>
                <a:cubicBezTo>
                  <a:pt x="1259" y="630"/>
                  <a:pt x="1259" y="630"/>
                  <a:pt x="1259" y="629"/>
                </a:cubicBezTo>
                <a:cubicBezTo>
                  <a:pt x="1259" y="629"/>
                  <a:pt x="1259" y="629"/>
                  <a:pt x="1263" y="626"/>
                </a:cubicBezTo>
                <a:cubicBezTo>
                  <a:pt x="1263" y="626"/>
                  <a:pt x="1263" y="626"/>
                  <a:pt x="1264" y="626"/>
                </a:cubicBezTo>
                <a:cubicBezTo>
                  <a:pt x="1264" y="626"/>
                  <a:pt x="1264" y="626"/>
                  <a:pt x="1264" y="624"/>
                </a:cubicBezTo>
                <a:cubicBezTo>
                  <a:pt x="1264" y="624"/>
                  <a:pt x="1264" y="624"/>
                  <a:pt x="1267" y="621"/>
                </a:cubicBezTo>
                <a:cubicBezTo>
                  <a:pt x="1267" y="621"/>
                  <a:pt x="1267" y="621"/>
                  <a:pt x="1268" y="618"/>
                </a:cubicBezTo>
                <a:cubicBezTo>
                  <a:pt x="1268" y="618"/>
                  <a:pt x="1268" y="618"/>
                  <a:pt x="1275" y="617"/>
                </a:cubicBezTo>
                <a:cubicBezTo>
                  <a:pt x="1275" y="617"/>
                  <a:pt x="1275" y="617"/>
                  <a:pt x="1279" y="613"/>
                </a:cubicBezTo>
                <a:cubicBezTo>
                  <a:pt x="1279" y="613"/>
                  <a:pt x="1279" y="613"/>
                  <a:pt x="1281" y="613"/>
                </a:cubicBezTo>
                <a:cubicBezTo>
                  <a:pt x="1281" y="613"/>
                  <a:pt x="1281" y="613"/>
                  <a:pt x="1283" y="611"/>
                </a:cubicBezTo>
                <a:cubicBezTo>
                  <a:pt x="1283" y="611"/>
                  <a:pt x="1283" y="611"/>
                  <a:pt x="1283" y="609"/>
                </a:cubicBezTo>
                <a:cubicBezTo>
                  <a:pt x="1283" y="609"/>
                  <a:pt x="1283" y="609"/>
                  <a:pt x="1287" y="605"/>
                </a:cubicBezTo>
                <a:cubicBezTo>
                  <a:pt x="1287" y="605"/>
                  <a:pt x="1287" y="605"/>
                  <a:pt x="1287" y="603"/>
                </a:cubicBezTo>
                <a:cubicBezTo>
                  <a:pt x="1287" y="603"/>
                  <a:pt x="1287" y="603"/>
                  <a:pt x="1287" y="602"/>
                </a:cubicBezTo>
                <a:cubicBezTo>
                  <a:pt x="1287" y="602"/>
                  <a:pt x="1287" y="602"/>
                  <a:pt x="1286" y="602"/>
                </a:cubicBezTo>
                <a:cubicBezTo>
                  <a:pt x="1286" y="602"/>
                  <a:pt x="1286" y="602"/>
                  <a:pt x="1287" y="599"/>
                </a:cubicBezTo>
                <a:cubicBezTo>
                  <a:pt x="1287" y="599"/>
                  <a:pt x="1287" y="599"/>
                  <a:pt x="1286" y="597"/>
                </a:cubicBezTo>
                <a:cubicBezTo>
                  <a:pt x="1286" y="597"/>
                  <a:pt x="1286" y="597"/>
                  <a:pt x="1286" y="596"/>
                </a:cubicBezTo>
                <a:cubicBezTo>
                  <a:pt x="1286" y="596"/>
                  <a:pt x="1286" y="596"/>
                  <a:pt x="1288" y="593"/>
                </a:cubicBezTo>
                <a:cubicBezTo>
                  <a:pt x="1288" y="593"/>
                  <a:pt x="1288" y="593"/>
                  <a:pt x="1290" y="590"/>
                </a:cubicBezTo>
                <a:cubicBezTo>
                  <a:pt x="1290" y="590"/>
                  <a:pt x="1290" y="590"/>
                  <a:pt x="1290" y="589"/>
                </a:cubicBezTo>
                <a:cubicBezTo>
                  <a:pt x="1290" y="589"/>
                  <a:pt x="1290" y="589"/>
                  <a:pt x="1289" y="587"/>
                </a:cubicBezTo>
                <a:cubicBezTo>
                  <a:pt x="1289" y="587"/>
                  <a:pt x="1289" y="587"/>
                  <a:pt x="1292" y="585"/>
                </a:cubicBezTo>
                <a:cubicBezTo>
                  <a:pt x="1292" y="585"/>
                  <a:pt x="1292" y="585"/>
                  <a:pt x="1293" y="583"/>
                </a:cubicBezTo>
                <a:cubicBezTo>
                  <a:pt x="1293" y="583"/>
                  <a:pt x="1293" y="583"/>
                  <a:pt x="1295" y="583"/>
                </a:cubicBezTo>
                <a:cubicBezTo>
                  <a:pt x="1295" y="583"/>
                  <a:pt x="1295" y="583"/>
                  <a:pt x="1297" y="581"/>
                </a:cubicBezTo>
                <a:cubicBezTo>
                  <a:pt x="1297" y="581"/>
                  <a:pt x="1297" y="581"/>
                  <a:pt x="1298" y="581"/>
                </a:cubicBezTo>
                <a:cubicBezTo>
                  <a:pt x="1298" y="581"/>
                  <a:pt x="1298" y="581"/>
                  <a:pt x="1300" y="579"/>
                </a:cubicBezTo>
                <a:cubicBezTo>
                  <a:pt x="1300" y="579"/>
                  <a:pt x="1300" y="579"/>
                  <a:pt x="1302" y="578"/>
                </a:cubicBezTo>
                <a:cubicBezTo>
                  <a:pt x="1302" y="578"/>
                  <a:pt x="1302" y="578"/>
                  <a:pt x="1303" y="577"/>
                </a:cubicBezTo>
                <a:cubicBezTo>
                  <a:pt x="1303" y="577"/>
                  <a:pt x="1303" y="577"/>
                  <a:pt x="1304" y="577"/>
                </a:cubicBezTo>
                <a:cubicBezTo>
                  <a:pt x="1304" y="577"/>
                  <a:pt x="1304" y="577"/>
                  <a:pt x="1307" y="575"/>
                </a:cubicBezTo>
                <a:cubicBezTo>
                  <a:pt x="1307" y="575"/>
                  <a:pt x="1307" y="575"/>
                  <a:pt x="1308" y="573"/>
                </a:cubicBezTo>
                <a:cubicBezTo>
                  <a:pt x="1308" y="573"/>
                  <a:pt x="1308" y="573"/>
                  <a:pt x="1308" y="571"/>
                </a:cubicBezTo>
                <a:cubicBezTo>
                  <a:pt x="1308" y="571"/>
                  <a:pt x="1308" y="571"/>
                  <a:pt x="1309" y="569"/>
                </a:cubicBezTo>
                <a:cubicBezTo>
                  <a:pt x="1309" y="569"/>
                  <a:pt x="1309" y="569"/>
                  <a:pt x="1310" y="565"/>
                </a:cubicBezTo>
                <a:cubicBezTo>
                  <a:pt x="1310" y="565"/>
                  <a:pt x="1310" y="565"/>
                  <a:pt x="1311" y="564"/>
                </a:cubicBezTo>
                <a:cubicBezTo>
                  <a:pt x="1311" y="564"/>
                  <a:pt x="1311" y="564"/>
                  <a:pt x="1312" y="564"/>
                </a:cubicBezTo>
                <a:cubicBezTo>
                  <a:pt x="1312" y="564"/>
                  <a:pt x="1312" y="564"/>
                  <a:pt x="1313" y="563"/>
                </a:cubicBezTo>
                <a:cubicBezTo>
                  <a:pt x="1313" y="563"/>
                  <a:pt x="1313" y="563"/>
                  <a:pt x="1314" y="564"/>
                </a:cubicBezTo>
                <a:cubicBezTo>
                  <a:pt x="1314" y="564"/>
                  <a:pt x="1314" y="564"/>
                  <a:pt x="1314" y="565"/>
                </a:cubicBezTo>
                <a:cubicBezTo>
                  <a:pt x="1314" y="565"/>
                  <a:pt x="1314" y="565"/>
                  <a:pt x="1314" y="566"/>
                </a:cubicBezTo>
                <a:cubicBezTo>
                  <a:pt x="1314" y="566"/>
                  <a:pt x="1314" y="566"/>
                  <a:pt x="1315" y="566"/>
                </a:cubicBezTo>
                <a:cubicBezTo>
                  <a:pt x="1315" y="566"/>
                  <a:pt x="1315" y="566"/>
                  <a:pt x="1316" y="568"/>
                </a:cubicBezTo>
                <a:cubicBezTo>
                  <a:pt x="1316" y="568"/>
                  <a:pt x="1316" y="568"/>
                  <a:pt x="1318" y="568"/>
                </a:cubicBezTo>
                <a:cubicBezTo>
                  <a:pt x="1318" y="568"/>
                  <a:pt x="1318" y="568"/>
                  <a:pt x="1320" y="568"/>
                </a:cubicBezTo>
                <a:cubicBezTo>
                  <a:pt x="1320" y="568"/>
                  <a:pt x="1320" y="568"/>
                  <a:pt x="1321" y="567"/>
                </a:cubicBezTo>
                <a:cubicBezTo>
                  <a:pt x="1321" y="567"/>
                  <a:pt x="1321" y="567"/>
                  <a:pt x="1322" y="568"/>
                </a:cubicBezTo>
                <a:cubicBezTo>
                  <a:pt x="1322" y="568"/>
                  <a:pt x="1322" y="568"/>
                  <a:pt x="1324" y="568"/>
                </a:cubicBezTo>
                <a:cubicBezTo>
                  <a:pt x="1324" y="568"/>
                  <a:pt x="1324" y="568"/>
                  <a:pt x="1326" y="568"/>
                </a:cubicBezTo>
                <a:cubicBezTo>
                  <a:pt x="1326" y="568"/>
                  <a:pt x="1326" y="568"/>
                  <a:pt x="1327" y="566"/>
                </a:cubicBezTo>
                <a:cubicBezTo>
                  <a:pt x="1327" y="566"/>
                  <a:pt x="1327" y="566"/>
                  <a:pt x="1328" y="567"/>
                </a:cubicBezTo>
                <a:cubicBezTo>
                  <a:pt x="1328" y="567"/>
                  <a:pt x="1328" y="567"/>
                  <a:pt x="1328" y="568"/>
                </a:cubicBezTo>
                <a:cubicBezTo>
                  <a:pt x="1328" y="568"/>
                  <a:pt x="1328" y="568"/>
                  <a:pt x="1329" y="569"/>
                </a:cubicBezTo>
                <a:cubicBezTo>
                  <a:pt x="1329" y="569"/>
                  <a:pt x="1329" y="569"/>
                  <a:pt x="1332" y="569"/>
                </a:cubicBezTo>
                <a:cubicBezTo>
                  <a:pt x="1332" y="569"/>
                  <a:pt x="1332" y="569"/>
                  <a:pt x="1333" y="569"/>
                </a:cubicBezTo>
                <a:cubicBezTo>
                  <a:pt x="1333" y="569"/>
                  <a:pt x="1333" y="569"/>
                  <a:pt x="1335" y="569"/>
                </a:cubicBezTo>
                <a:cubicBezTo>
                  <a:pt x="1335" y="569"/>
                  <a:pt x="1335" y="569"/>
                  <a:pt x="1337" y="568"/>
                </a:cubicBezTo>
                <a:cubicBezTo>
                  <a:pt x="1337" y="568"/>
                  <a:pt x="1337" y="568"/>
                  <a:pt x="1338" y="567"/>
                </a:cubicBezTo>
                <a:cubicBezTo>
                  <a:pt x="1338" y="567"/>
                  <a:pt x="1338" y="567"/>
                  <a:pt x="1338" y="566"/>
                </a:cubicBezTo>
                <a:cubicBezTo>
                  <a:pt x="1338" y="566"/>
                  <a:pt x="1338" y="566"/>
                  <a:pt x="1339" y="565"/>
                </a:cubicBezTo>
                <a:cubicBezTo>
                  <a:pt x="1339" y="565"/>
                  <a:pt x="1339" y="565"/>
                  <a:pt x="1340" y="565"/>
                </a:cubicBezTo>
                <a:cubicBezTo>
                  <a:pt x="1340" y="565"/>
                  <a:pt x="1340" y="565"/>
                  <a:pt x="1342" y="565"/>
                </a:cubicBezTo>
                <a:cubicBezTo>
                  <a:pt x="1342" y="565"/>
                  <a:pt x="1342" y="565"/>
                  <a:pt x="1343" y="564"/>
                </a:cubicBezTo>
                <a:cubicBezTo>
                  <a:pt x="1343" y="564"/>
                  <a:pt x="1343" y="564"/>
                  <a:pt x="1344" y="564"/>
                </a:cubicBezTo>
                <a:cubicBezTo>
                  <a:pt x="1344" y="564"/>
                  <a:pt x="1344" y="564"/>
                  <a:pt x="1345" y="564"/>
                </a:cubicBezTo>
                <a:cubicBezTo>
                  <a:pt x="1345" y="564"/>
                  <a:pt x="1345" y="564"/>
                  <a:pt x="1346" y="563"/>
                </a:cubicBezTo>
                <a:cubicBezTo>
                  <a:pt x="1346" y="563"/>
                  <a:pt x="1346" y="563"/>
                  <a:pt x="1346" y="562"/>
                </a:cubicBezTo>
                <a:cubicBezTo>
                  <a:pt x="1346" y="562"/>
                  <a:pt x="1346" y="562"/>
                  <a:pt x="1348" y="561"/>
                </a:cubicBezTo>
                <a:cubicBezTo>
                  <a:pt x="1348" y="561"/>
                  <a:pt x="1348" y="561"/>
                  <a:pt x="1350" y="561"/>
                </a:cubicBezTo>
                <a:cubicBezTo>
                  <a:pt x="1350" y="561"/>
                  <a:pt x="1350" y="561"/>
                  <a:pt x="1353" y="558"/>
                </a:cubicBezTo>
                <a:cubicBezTo>
                  <a:pt x="1353" y="558"/>
                  <a:pt x="1353" y="558"/>
                  <a:pt x="1355" y="559"/>
                </a:cubicBezTo>
                <a:cubicBezTo>
                  <a:pt x="1355" y="559"/>
                  <a:pt x="1355" y="559"/>
                  <a:pt x="1357" y="558"/>
                </a:cubicBezTo>
                <a:cubicBezTo>
                  <a:pt x="1357" y="558"/>
                  <a:pt x="1357" y="558"/>
                  <a:pt x="1358" y="558"/>
                </a:cubicBezTo>
                <a:cubicBezTo>
                  <a:pt x="1358" y="558"/>
                  <a:pt x="1358" y="558"/>
                  <a:pt x="1360" y="559"/>
                </a:cubicBezTo>
                <a:cubicBezTo>
                  <a:pt x="1360" y="559"/>
                  <a:pt x="1360" y="559"/>
                  <a:pt x="1361" y="559"/>
                </a:cubicBezTo>
                <a:cubicBezTo>
                  <a:pt x="1361" y="559"/>
                  <a:pt x="1361" y="559"/>
                  <a:pt x="1362" y="557"/>
                </a:cubicBezTo>
                <a:cubicBezTo>
                  <a:pt x="1362" y="557"/>
                  <a:pt x="1362" y="557"/>
                  <a:pt x="1364" y="558"/>
                </a:cubicBezTo>
                <a:cubicBezTo>
                  <a:pt x="1364" y="558"/>
                  <a:pt x="1364" y="558"/>
                  <a:pt x="1365" y="558"/>
                </a:cubicBezTo>
                <a:cubicBezTo>
                  <a:pt x="1365" y="558"/>
                  <a:pt x="1365" y="558"/>
                  <a:pt x="1366" y="556"/>
                </a:cubicBezTo>
                <a:cubicBezTo>
                  <a:pt x="1366" y="556"/>
                  <a:pt x="1366" y="556"/>
                  <a:pt x="1367" y="557"/>
                </a:cubicBezTo>
                <a:cubicBezTo>
                  <a:pt x="1367" y="557"/>
                  <a:pt x="1367" y="557"/>
                  <a:pt x="1368" y="557"/>
                </a:cubicBezTo>
                <a:cubicBezTo>
                  <a:pt x="1368" y="557"/>
                  <a:pt x="1368" y="557"/>
                  <a:pt x="1369" y="557"/>
                </a:cubicBezTo>
                <a:cubicBezTo>
                  <a:pt x="1369" y="557"/>
                  <a:pt x="1369" y="557"/>
                  <a:pt x="1371" y="556"/>
                </a:cubicBezTo>
                <a:cubicBezTo>
                  <a:pt x="1371" y="556"/>
                  <a:pt x="1371" y="556"/>
                  <a:pt x="1372" y="557"/>
                </a:cubicBezTo>
                <a:cubicBezTo>
                  <a:pt x="1372" y="557"/>
                  <a:pt x="1372" y="557"/>
                  <a:pt x="1374" y="557"/>
                </a:cubicBezTo>
                <a:cubicBezTo>
                  <a:pt x="1374" y="557"/>
                  <a:pt x="1374" y="557"/>
                  <a:pt x="1374" y="558"/>
                </a:cubicBezTo>
                <a:cubicBezTo>
                  <a:pt x="1374" y="558"/>
                  <a:pt x="1374" y="558"/>
                  <a:pt x="1376" y="558"/>
                </a:cubicBezTo>
                <a:cubicBezTo>
                  <a:pt x="1376" y="558"/>
                  <a:pt x="1376" y="558"/>
                  <a:pt x="1377" y="557"/>
                </a:cubicBezTo>
                <a:cubicBezTo>
                  <a:pt x="1377" y="557"/>
                  <a:pt x="1377" y="557"/>
                  <a:pt x="1378" y="557"/>
                </a:cubicBezTo>
                <a:cubicBezTo>
                  <a:pt x="1378" y="557"/>
                  <a:pt x="1378" y="557"/>
                  <a:pt x="1379" y="557"/>
                </a:cubicBezTo>
                <a:cubicBezTo>
                  <a:pt x="1379" y="557"/>
                  <a:pt x="1379" y="557"/>
                  <a:pt x="1379" y="556"/>
                </a:cubicBezTo>
                <a:cubicBezTo>
                  <a:pt x="1379" y="556"/>
                  <a:pt x="1379" y="556"/>
                  <a:pt x="1381" y="556"/>
                </a:cubicBezTo>
                <a:cubicBezTo>
                  <a:pt x="1381" y="556"/>
                  <a:pt x="1381" y="556"/>
                  <a:pt x="1381" y="555"/>
                </a:cubicBezTo>
                <a:cubicBezTo>
                  <a:pt x="1381" y="555"/>
                  <a:pt x="1381" y="555"/>
                  <a:pt x="1382" y="555"/>
                </a:cubicBezTo>
                <a:cubicBezTo>
                  <a:pt x="1382" y="555"/>
                  <a:pt x="1382" y="555"/>
                  <a:pt x="1383" y="556"/>
                </a:cubicBezTo>
                <a:cubicBezTo>
                  <a:pt x="1383" y="556"/>
                  <a:pt x="1383" y="556"/>
                  <a:pt x="1383" y="557"/>
                </a:cubicBezTo>
                <a:cubicBezTo>
                  <a:pt x="1383" y="557"/>
                  <a:pt x="1383" y="557"/>
                  <a:pt x="1385" y="557"/>
                </a:cubicBezTo>
                <a:cubicBezTo>
                  <a:pt x="1385" y="557"/>
                  <a:pt x="1385" y="557"/>
                  <a:pt x="1387" y="556"/>
                </a:cubicBezTo>
                <a:cubicBezTo>
                  <a:pt x="1387" y="556"/>
                  <a:pt x="1387" y="556"/>
                  <a:pt x="1387" y="555"/>
                </a:cubicBezTo>
                <a:cubicBezTo>
                  <a:pt x="1387" y="555"/>
                  <a:pt x="1387" y="555"/>
                  <a:pt x="1388" y="556"/>
                </a:cubicBezTo>
                <a:cubicBezTo>
                  <a:pt x="1388" y="556"/>
                  <a:pt x="1388" y="556"/>
                  <a:pt x="1390" y="557"/>
                </a:cubicBezTo>
                <a:cubicBezTo>
                  <a:pt x="1390" y="557"/>
                  <a:pt x="1390" y="557"/>
                  <a:pt x="1392" y="556"/>
                </a:cubicBezTo>
                <a:cubicBezTo>
                  <a:pt x="1392" y="556"/>
                  <a:pt x="1392" y="556"/>
                  <a:pt x="1393" y="556"/>
                </a:cubicBezTo>
                <a:cubicBezTo>
                  <a:pt x="1393" y="556"/>
                  <a:pt x="1393" y="556"/>
                  <a:pt x="1395" y="556"/>
                </a:cubicBezTo>
                <a:cubicBezTo>
                  <a:pt x="1395" y="556"/>
                  <a:pt x="1395" y="556"/>
                  <a:pt x="1397" y="555"/>
                </a:cubicBezTo>
                <a:cubicBezTo>
                  <a:pt x="1397" y="555"/>
                  <a:pt x="1397" y="555"/>
                  <a:pt x="1399" y="554"/>
                </a:cubicBezTo>
                <a:cubicBezTo>
                  <a:pt x="1399" y="554"/>
                  <a:pt x="1399" y="554"/>
                  <a:pt x="1401" y="554"/>
                </a:cubicBezTo>
                <a:cubicBezTo>
                  <a:pt x="1401" y="554"/>
                  <a:pt x="1401" y="554"/>
                  <a:pt x="1402" y="554"/>
                </a:cubicBezTo>
                <a:cubicBezTo>
                  <a:pt x="1402" y="554"/>
                  <a:pt x="1402" y="554"/>
                  <a:pt x="1403" y="553"/>
                </a:cubicBezTo>
                <a:cubicBezTo>
                  <a:pt x="1403" y="553"/>
                  <a:pt x="1403" y="553"/>
                  <a:pt x="1404" y="554"/>
                </a:cubicBezTo>
                <a:cubicBezTo>
                  <a:pt x="1404" y="554"/>
                  <a:pt x="1404" y="554"/>
                  <a:pt x="1404" y="555"/>
                </a:cubicBezTo>
                <a:cubicBezTo>
                  <a:pt x="1404" y="555"/>
                  <a:pt x="1404" y="555"/>
                  <a:pt x="1405" y="558"/>
                </a:cubicBezTo>
                <a:cubicBezTo>
                  <a:pt x="1405" y="558"/>
                  <a:pt x="1405" y="558"/>
                  <a:pt x="1406" y="558"/>
                </a:cubicBezTo>
                <a:cubicBezTo>
                  <a:pt x="1406" y="558"/>
                  <a:pt x="1406" y="558"/>
                  <a:pt x="1407" y="557"/>
                </a:cubicBezTo>
                <a:cubicBezTo>
                  <a:pt x="1407" y="557"/>
                  <a:pt x="1407" y="557"/>
                  <a:pt x="1409" y="555"/>
                </a:cubicBezTo>
                <a:cubicBezTo>
                  <a:pt x="1409" y="555"/>
                  <a:pt x="1409" y="555"/>
                  <a:pt x="1409" y="556"/>
                </a:cubicBezTo>
                <a:cubicBezTo>
                  <a:pt x="1409" y="556"/>
                  <a:pt x="1409" y="556"/>
                  <a:pt x="1409" y="557"/>
                </a:cubicBezTo>
                <a:cubicBezTo>
                  <a:pt x="1409" y="557"/>
                  <a:pt x="1409" y="557"/>
                  <a:pt x="1408" y="559"/>
                </a:cubicBezTo>
                <a:cubicBezTo>
                  <a:pt x="1408" y="559"/>
                  <a:pt x="1408" y="559"/>
                  <a:pt x="1408" y="560"/>
                </a:cubicBezTo>
                <a:cubicBezTo>
                  <a:pt x="1408" y="560"/>
                  <a:pt x="1408" y="560"/>
                  <a:pt x="1407" y="561"/>
                </a:cubicBezTo>
                <a:cubicBezTo>
                  <a:pt x="1407" y="561"/>
                  <a:pt x="1407" y="561"/>
                  <a:pt x="1406" y="562"/>
                </a:cubicBezTo>
                <a:cubicBezTo>
                  <a:pt x="1406" y="562"/>
                  <a:pt x="1406" y="562"/>
                  <a:pt x="1408" y="565"/>
                </a:cubicBezTo>
                <a:cubicBezTo>
                  <a:pt x="1408" y="565"/>
                  <a:pt x="1408" y="565"/>
                  <a:pt x="1410" y="565"/>
                </a:cubicBezTo>
                <a:cubicBezTo>
                  <a:pt x="1410" y="565"/>
                  <a:pt x="1410" y="565"/>
                  <a:pt x="1410" y="567"/>
                </a:cubicBezTo>
                <a:cubicBezTo>
                  <a:pt x="1410" y="567"/>
                  <a:pt x="1410" y="567"/>
                  <a:pt x="1410" y="568"/>
                </a:cubicBezTo>
                <a:cubicBezTo>
                  <a:pt x="1410" y="568"/>
                  <a:pt x="1410" y="568"/>
                  <a:pt x="1410" y="569"/>
                </a:cubicBezTo>
                <a:cubicBezTo>
                  <a:pt x="1410" y="569"/>
                  <a:pt x="1410" y="569"/>
                  <a:pt x="1410" y="570"/>
                </a:cubicBezTo>
                <a:cubicBezTo>
                  <a:pt x="1410" y="570"/>
                  <a:pt x="1410" y="570"/>
                  <a:pt x="1408" y="572"/>
                </a:cubicBezTo>
                <a:cubicBezTo>
                  <a:pt x="1408" y="572"/>
                  <a:pt x="1408" y="572"/>
                  <a:pt x="1405" y="574"/>
                </a:cubicBezTo>
                <a:cubicBezTo>
                  <a:pt x="1405" y="574"/>
                  <a:pt x="1405" y="574"/>
                  <a:pt x="1404" y="576"/>
                </a:cubicBezTo>
                <a:cubicBezTo>
                  <a:pt x="1404" y="576"/>
                  <a:pt x="1404" y="576"/>
                  <a:pt x="1405" y="578"/>
                </a:cubicBezTo>
                <a:cubicBezTo>
                  <a:pt x="1405" y="578"/>
                  <a:pt x="1405" y="578"/>
                  <a:pt x="1407" y="580"/>
                </a:cubicBezTo>
                <a:cubicBezTo>
                  <a:pt x="1407" y="580"/>
                  <a:pt x="1407" y="580"/>
                  <a:pt x="1408" y="579"/>
                </a:cubicBezTo>
                <a:cubicBezTo>
                  <a:pt x="1408" y="579"/>
                  <a:pt x="1408" y="579"/>
                  <a:pt x="1408" y="580"/>
                </a:cubicBezTo>
                <a:cubicBezTo>
                  <a:pt x="1408" y="580"/>
                  <a:pt x="1408" y="580"/>
                  <a:pt x="1409" y="581"/>
                </a:cubicBezTo>
                <a:cubicBezTo>
                  <a:pt x="1409" y="581"/>
                  <a:pt x="1409" y="581"/>
                  <a:pt x="1410" y="580"/>
                </a:cubicBezTo>
                <a:cubicBezTo>
                  <a:pt x="1410" y="580"/>
                  <a:pt x="1410" y="580"/>
                  <a:pt x="1411" y="580"/>
                </a:cubicBezTo>
                <a:cubicBezTo>
                  <a:pt x="1411" y="580"/>
                  <a:pt x="1411" y="580"/>
                  <a:pt x="1411" y="581"/>
                </a:cubicBezTo>
                <a:cubicBezTo>
                  <a:pt x="1411" y="581"/>
                  <a:pt x="1411" y="581"/>
                  <a:pt x="1411" y="582"/>
                </a:cubicBezTo>
                <a:cubicBezTo>
                  <a:pt x="1411" y="582"/>
                  <a:pt x="1411" y="582"/>
                  <a:pt x="1413" y="583"/>
                </a:cubicBezTo>
                <a:cubicBezTo>
                  <a:pt x="1413" y="583"/>
                  <a:pt x="1413" y="583"/>
                  <a:pt x="1414" y="583"/>
                </a:cubicBezTo>
                <a:cubicBezTo>
                  <a:pt x="1414" y="583"/>
                  <a:pt x="1414" y="583"/>
                  <a:pt x="1415" y="583"/>
                </a:cubicBezTo>
                <a:cubicBezTo>
                  <a:pt x="1415" y="583"/>
                  <a:pt x="1415" y="583"/>
                  <a:pt x="1416" y="584"/>
                </a:cubicBezTo>
                <a:cubicBezTo>
                  <a:pt x="1416" y="584"/>
                  <a:pt x="1416" y="584"/>
                  <a:pt x="1419" y="585"/>
                </a:cubicBezTo>
                <a:cubicBezTo>
                  <a:pt x="1419" y="585"/>
                  <a:pt x="1419" y="585"/>
                  <a:pt x="1424" y="584"/>
                </a:cubicBezTo>
                <a:cubicBezTo>
                  <a:pt x="1424" y="584"/>
                  <a:pt x="1424" y="584"/>
                  <a:pt x="1426" y="585"/>
                </a:cubicBezTo>
                <a:cubicBezTo>
                  <a:pt x="1426" y="585"/>
                  <a:pt x="1426" y="585"/>
                  <a:pt x="1429" y="585"/>
                </a:cubicBezTo>
                <a:cubicBezTo>
                  <a:pt x="1429" y="585"/>
                  <a:pt x="1429" y="585"/>
                  <a:pt x="1431" y="586"/>
                </a:cubicBezTo>
                <a:cubicBezTo>
                  <a:pt x="1431" y="586"/>
                  <a:pt x="1431" y="586"/>
                  <a:pt x="1435" y="587"/>
                </a:cubicBezTo>
                <a:cubicBezTo>
                  <a:pt x="1435" y="587"/>
                  <a:pt x="1435" y="587"/>
                  <a:pt x="1437" y="589"/>
                </a:cubicBezTo>
                <a:cubicBezTo>
                  <a:pt x="1437" y="589"/>
                  <a:pt x="1437" y="589"/>
                  <a:pt x="1437" y="591"/>
                </a:cubicBezTo>
                <a:cubicBezTo>
                  <a:pt x="1437" y="591"/>
                  <a:pt x="1437" y="591"/>
                  <a:pt x="1439" y="595"/>
                </a:cubicBezTo>
                <a:cubicBezTo>
                  <a:pt x="1439" y="595"/>
                  <a:pt x="1439" y="595"/>
                  <a:pt x="1441" y="596"/>
                </a:cubicBezTo>
                <a:cubicBezTo>
                  <a:pt x="1441" y="596"/>
                  <a:pt x="1441" y="596"/>
                  <a:pt x="1443" y="596"/>
                </a:cubicBezTo>
                <a:cubicBezTo>
                  <a:pt x="1443" y="596"/>
                  <a:pt x="1443" y="596"/>
                  <a:pt x="1444" y="595"/>
                </a:cubicBezTo>
                <a:cubicBezTo>
                  <a:pt x="1444" y="595"/>
                  <a:pt x="1444" y="595"/>
                  <a:pt x="1446" y="596"/>
                </a:cubicBezTo>
                <a:cubicBezTo>
                  <a:pt x="1446" y="596"/>
                  <a:pt x="1446" y="596"/>
                  <a:pt x="1451" y="598"/>
                </a:cubicBezTo>
                <a:cubicBezTo>
                  <a:pt x="1451" y="598"/>
                  <a:pt x="1451" y="598"/>
                  <a:pt x="1454" y="599"/>
                </a:cubicBezTo>
                <a:cubicBezTo>
                  <a:pt x="1454" y="599"/>
                  <a:pt x="1454" y="599"/>
                  <a:pt x="1456" y="601"/>
                </a:cubicBezTo>
                <a:cubicBezTo>
                  <a:pt x="1456" y="601"/>
                  <a:pt x="1456" y="601"/>
                  <a:pt x="1458" y="603"/>
                </a:cubicBezTo>
                <a:cubicBezTo>
                  <a:pt x="1458" y="603"/>
                  <a:pt x="1458" y="603"/>
                  <a:pt x="1461" y="604"/>
                </a:cubicBezTo>
                <a:cubicBezTo>
                  <a:pt x="1461" y="604"/>
                  <a:pt x="1461" y="604"/>
                  <a:pt x="1462" y="603"/>
                </a:cubicBezTo>
                <a:cubicBezTo>
                  <a:pt x="1462" y="603"/>
                  <a:pt x="1462" y="603"/>
                  <a:pt x="1464" y="601"/>
                </a:cubicBezTo>
                <a:cubicBezTo>
                  <a:pt x="1464" y="601"/>
                  <a:pt x="1464" y="601"/>
                  <a:pt x="1466" y="599"/>
                </a:cubicBezTo>
                <a:cubicBezTo>
                  <a:pt x="1466" y="599"/>
                  <a:pt x="1466" y="599"/>
                  <a:pt x="1467" y="598"/>
                </a:cubicBezTo>
                <a:cubicBezTo>
                  <a:pt x="1467" y="598"/>
                  <a:pt x="1467" y="598"/>
                  <a:pt x="1466" y="595"/>
                </a:cubicBezTo>
                <a:cubicBezTo>
                  <a:pt x="1466" y="595"/>
                  <a:pt x="1466" y="595"/>
                  <a:pt x="1465" y="593"/>
                </a:cubicBezTo>
                <a:cubicBezTo>
                  <a:pt x="1465" y="593"/>
                  <a:pt x="1465" y="593"/>
                  <a:pt x="1465" y="590"/>
                </a:cubicBezTo>
                <a:cubicBezTo>
                  <a:pt x="1465" y="590"/>
                  <a:pt x="1465" y="590"/>
                  <a:pt x="1466" y="590"/>
                </a:cubicBezTo>
                <a:cubicBezTo>
                  <a:pt x="1466" y="590"/>
                  <a:pt x="1466" y="590"/>
                  <a:pt x="1466" y="588"/>
                </a:cubicBezTo>
                <a:cubicBezTo>
                  <a:pt x="1466" y="588"/>
                  <a:pt x="1466" y="588"/>
                  <a:pt x="1468" y="586"/>
                </a:cubicBezTo>
                <a:cubicBezTo>
                  <a:pt x="1468" y="586"/>
                  <a:pt x="1468" y="586"/>
                  <a:pt x="1470" y="585"/>
                </a:cubicBezTo>
                <a:cubicBezTo>
                  <a:pt x="1470" y="585"/>
                  <a:pt x="1470" y="585"/>
                  <a:pt x="1473" y="585"/>
                </a:cubicBezTo>
                <a:cubicBezTo>
                  <a:pt x="1473" y="585"/>
                  <a:pt x="1473" y="585"/>
                  <a:pt x="1475" y="584"/>
                </a:cubicBezTo>
                <a:cubicBezTo>
                  <a:pt x="1475" y="584"/>
                  <a:pt x="1475" y="584"/>
                  <a:pt x="1476" y="584"/>
                </a:cubicBezTo>
                <a:cubicBezTo>
                  <a:pt x="1476" y="584"/>
                  <a:pt x="1476" y="584"/>
                  <a:pt x="1477" y="585"/>
                </a:cubicBezTo>
                <a:cubicBezTo>
                  <a:pt x="1477" y="585"/>
                  <a:pt x="1477" y="585"/>
                  <a:pt x="1478" y="584"/>
                </a:cubicBezTo>
                <a:cubicBezTo>
                  <a:pt x="1478" y="584"/>
                  <a:pt x="1478" y="584"/>
                  <a:pt x="1480" y="585"/>
                </a:cubicBezTo>
                <a:cubicBezTo>
                  <a:pt x="1480" y="585"/>
                  <a:pt x="1480" y="585"/>
                  <a:pt x="1482" y="585"/>
                </a:cubicBezTo>
                <a:cubicBezTo>
                  <a:pt x="1482" y="585"/>
                  <a:pt x="1482" y="585"/>
                  <a:pt x="1484" y="586"/>
                </a:cubicBezTo>
                <a:cubicBezTo>
                  <a:pt x="1484" y="586"/>
                  <a:pt x="1484" y="586"/>
                  <a:pt x="1485" y="587"/>
                </a:cubicBezTo>
                <a:cubicBezTo>
                  <a:pt x="1485" y="587"/>
                  <a:pt x="1485" y="587"/>
                  <a:pt x="1484" y="587"/>
                </a:cubicBezTo>
                <a:cubicBezTo>
                  <a:pt x="1484" y="587"/>
                  <a:pt x="1484" y="587"/>
                  <a:pt x="1485" y="588"/>
                </a:cubicBezTo>
                <a:cubicBezTo>
                  <a:pt x="1485" y="588"/>
                  <a:pt x="1485" y="588"/>
                  <a:pt x="1487" y="589"/>
                </a:cubicBezTo>
                <a:cubicBezTo>
                  <a:pt x="1487" y="589"/>
                  <a:pt x="1487" y="589"/>
                  <a:pt x="1488" y="589"/>
                </a:cubicBezTo>
                <a:cubicBezTo>
                  <a:pt x="1488" y="589"/>
                  <a:pt x="1488" y="589"/>
                  <a:pt x="1489" y="589"/>
                </a:cubicBezTo>
                <a:cubicBezTo>
                  <a:pt x="1489" y="589"/>
                  <a:pt x="1489" y="589"/>
                  <a:pt x="1493" y="590"/>
                </a:cubicBezTo>
                <a:cubicBezTo>
                  <a:pt x="1493" y="590"/>
                  <a:pt x="1493" y="590"/>
                  <a:pt x="1495" y="590"/>
                </a:cubicBezTo>
                <a:cubicBezTo>
                  <a:pt x="1495" y="590"/>
                  <a:pt x="1495" y="590"/>
                  <a:pt x="1496" y="590"/>
                </a:cubicBezTo>
                <a:cubicBezTo>
                  <a:pt x="1496" y="590"/>
                  <a:pt x="1496" y="590"/>
                  <a:pt x="1497" y="591"/>
                </a:cubicBezTo>
                <a:cubicBezTo>
                  <a:pt x="1497" y="591"/>
                  <a:pt x="1497" y="591"/>
                  <a:pt x="1497" y="593"/>
                </a:cubicBezTo>
                <a:cubicBezTo>
                  <a:pt x="1497" y="593"/>
                  <a:pt x="1497" y="593"/>
                  <a:pt x="1498" y="593"/>
                </a:cubicBezTo>
                <a:cubicBezTo>
                  <a:pt x="1498" y="593"/>
                  <a:pt x="1498" y="593"/>
                  <a:pt x="1501" y="592"/>
                </a:cubicBezTo>
                <a:cubicBezTo>
                  <a:pt x="1501" y="592"/>
                  <a:pt x="1501" y="592"/>
                  <a:pt x="1503" y="593"/>
                </a:cubicBezTo>
                <a:cubicBezTo>
                  <a:pt x="1503" y="593"/>
                  <a:pt x="1503" y="593"/>
                  <a:pt x="1508" y="594"/>
                </a:cubicBezTo>
                <a:cubicBezTo>
                  <a:pt x="1508" y="594"/>
                  <a:pt x="1508" y="594"/>
                  <a:pt x="1510" y="594"/>
                </a:cubicBezTo>
                <a:cubicBezTo>
                  <a:pt x="1510" y="594"/>
                  <a:pt x="1510" y="594"/>
                  <a:pt x="1512" y="595"/>
                </a:cubicBezTo>
                <a:cubicBezTo>
                  <a:pt x="1512" y="595"/>
                  <a:pt x="1512" y="595"/>
                  <a:pt x="1513" y="595"/>
                </a:cubicBezTo>
                <a:cubicBezTo>
                  <a:pt x="1513" y="595"/>
                  <a:pt x="1513" y="595"/>
                  <a:pt x="1514" y="595"/>
                </a:cubicBezTo>
                <a:cubicBezTo>
                  <a:pt x="1514" y="595"/>
                  <a:pt x="1514" y="595"/>
                  <a:pt x="1515" y="596"/>
                </a:cubicBezTo>
                <a:cubicBezTo>
                  <a:pt x="1515" y="596"/>
                  <a:pt x="1515" y="596"/>
                  <a:pt x="1518" y="596"/>
                </a:cubicBezTo>
                <a:cubicBezTo>
                  <a:pt x="1518" y="596"/>
                  <a:pt x="1518" y="596"/>
                  <a:pt x="1519" y="596"/>
                </a:cubicBezTo>
                <a:cubicBezTo>
                  <a:pt x="1519" y="596"/>
                  <a:pt x="1519" y="596"/>
                  <a:pt x="1521" y="597"/>
                </a:cubicBezTo>
                <a:cubicBezTo>
                  <a:pt x="1521" y="597"/>
                  <a:pt x="1521" y="597"/>
                  <a:pt x="1523" y="597"/>
                </a:cubicBezTo>
                <a:cubicBezTo>
                  <a:pt x="1523" y="597"/>
                  <a:pt x="1523" y="597"/>
                  <a:pt x="1524" y="597"/>
                </a:cubicBezTo>
                <a:cubicBezTo>
                  <a:pt x="1524" y="597"/>
                  <a:pt x="1524" y="597"/>
                  <a:pt x="1525" y="596"/>
                </a:cubicBezTo>
                <a:cubicBezTo>
                  <a:pt x="1525" y="596"/>
                  <a:pt x="1525" y="596"/>
                  <a:pt x="1527" y="595"/>
                </a:cubicBezTo>
                <a:cubicBezTo>
                  <a:pt x="1527" y="595"/>
                  <a:pt x="1527" y="595"/>
                  <a:pt x="1529" y="594"/>
                </a:cubicBezTo>
                <a:cubicBezTo>
                  <a:pt x="1529" y="594"/>
                  <a:pt x="1529" y="594"/>
                  <a:pt x="1530" y="593"/>
                </a:cubicBezTo>
                <a:cubicBezTo>
                  <a:pt x="1530" y="593"/>
                  <a:pt x="1530" y="593"/>
                  <a:pt x="1531" y="593"/>
                </a:cubicBezTo>
                <a:cubicBezTo>
                  <a:pt x="1531" y="593"/>
                  <a:pt x="1531" y="593"/>
                  <a:pt x="1531" y="594"/>
                </a:cubicBezTo>
                <a:cubicBezTo>
                  <a:pt x="1531" y="594"/>
                  <a:pt x="1531" y="594"/>
                  <a:pt x="1532" y="594"/>
                </a:cubicBezTo>
                <a:cubicBezTo>
                  <a:pt x="1532" y="594"/>
                  <a:pt x="1532" y="594"/>
                  <a:pt x="1534" y="594"/>
                </a:cubicBezTo>
                <a:cubicBezTo>
                  <a:pt x="1534" y="594"/>
                  <a:pt x="1534" y="594"/>
                  <a:pt x="1535" y="594"/>
                </a:cubicBezTo>
                <a:cubicBezTo>
                  <a:pt x="1535" y="594"/>
                  <a:pt x="1535" y="594"/>
                  <a:pt x="1535" y="593"/>
                </a:cubicBezTo>
                <a:cubicBezTo>
                  <a:pt x="1535" y="593"/>
                  <a:pt x="1535" y="593"/>
                  <a:pt x="1536" y="593"/>
                </a:cubicBezTo>
                <a:cubicBezTo>
                  <a:pt x="1536" y="593"/>
                  <a:pt x="1536" y="593"/>
                  <a:pt x="1537" y="594"/>
                </a:cubicBezTo>
                <a:cubicBezTo>
                  <a:pt x="1537" y="594"/>
                  <a:pt x="1537" y="594"/>
                  <a:pt x="1538" y="593"/>
                </a:cubicBezTo>
                <a:cubicBezTo>
                  <a:pt x="1538" y="593"/>
                  <a:pt x="1538" y="593"/>
                  <a:pt x="1539" y="594"/>
                </a:cubicBezTo>
                <a:cubicBezTo>
                  <a:pt x="1539" y="594"/>
                  <a:pt x="1539" y="594"/>
                  <a:pt x="1538" y="594"/>
                </a:cubicBezTo>
                <a:cubicBezTo>
                  <a:pt x="1538" y="594"/>
                  <a:pt x="1538" y="594"/>
                  <a:pt x="1539" y="595"/>
                </a:cubicBezTo>
                <a:cubicBezTo>
                  <a:pt x="1539" y="595"/>
                  <a:pt x="1539" y="595"/>
                  <a:pt x="1540" y="596"/>
                </a:cubicBezTo>
                <a:cubicBezTo>
                  <a:pt x="1540" y="596"/>
                  <a:pt x="1540" y="596"/>
                  <a:pt x="1541" y="597"/>
                </a:cubicBezTo>
                <a:cubicBezTo>
                  <a:pt x="1541" y="597"/>
                  <a:pt x="1541" y="597"/>
                  <a:pt x="1540" y="595"/>
                </a:cubicBezTo>
                <a:cubicBezTo>
                  <a:pt x="1540" y="595"/>
                  <a:pt x="1540" y="595"/>
                  <a:pt x="1540" y="594"/>
                </a:cubicBezTo>
                <a:cubicBezTo>
                  <a:pt x="1540" y="594"/>
                  <a:pt x="1540" y="594"/>
                  <a:pt x="1543" y="596"/>
                </a:cubicBezTo>
                <a:cubicBezTo>
                  <a:pt x="1543" y="596"/>
                  <a:pt x="1543" y="596"/>
                  <a:pt x="1546" y="595"/>
                </a:cubicBezTo>
                <a:cubicBezTo>
                  <a:pt x="1546" y="595"/>
                  <a:pt x="1546" y="595"/>
                  <a:pt x="1550" y="596"/>
                </a:cubicBezTo>
                <a:cubicBezTo>
                  <a:pt x="1550" y="596"/>
                  <a:pt x="1550" y="596"/>
                  <a:pt x="1551" y="595"/>
                </a:cubicBezTo>
                <a:cubicBezTo>
                  <a:pt x="1551" y="595"/>
                  <a:pt x="1551" y="595"/>
                  <a:pt x="1552" y="594"/>
                </a:cubicBezTo>
                <a:cubicBezTo>
                  <a:pt x="1552" y="594"/>
                  <a:pt x="1552" y="594"/>
                  <a:pt x="1554" y="591"/>
                </a:cubicBezTo>
                <a:cubicBezTo>
                  <a:pt x="1554" y="591"/>
                  <a:pt x="1554" y="591"/>
                  <a:pt x="1556" y="588"/>
                </a:cubicBezTo>
                <a:cubicBezTo>
                  <a:pt x="1556" y="588"/>
                  <a:pt x="1556" y="588"/>
                  <a:pt x="1556" y="583"/>
                </a:cubicBezTo>
                <a:cubicBezTo>
                  <a:pt x="1556" y="583"/>
                  <a:pt x="1556" y="583"/>
                  <a:pt x="1558" y="582"/>
                </a:cubicBezTo>
                <a:cubicBezTo>
                  <a:pt x="1558" y="582"/>
                  <a:pt x="1558" y="582"/>
                  <a:pt x="1558" y="581"/>
                </a:cubicBezTo>
                <a:cubicBezTo>
                  <a:pt x="1558" y="581"/>
                  <a:pt x="1558" y="581"/>
                  <a:pt x="1558" y="580"/>
                </a:cubicBezTo>
                <a:cubicBezTo>
                  <a:pt x="1558" y="580"/>
                  <a:pt x="1558" y="580"/>
                  <a:pt x="1559" y="578"/>
                </a:cubicBezTo>
                <a:cubicBezTo>
                  <a:pt x="1559" y="578"/>
                  <a:pt x="1559" y="578"/>
                  <a:pt x="1560" y="576"/>
                </a:cubicBezTo>
                <a:cubicBezTo>
                  <a:pt x="1560" y="576"/>
                  <a:pt x="1560" y="576"/>
                  <a:pt x="1560" y="572"/>
                </a:cubicBezTo>
                <a:cubicBezTo>
                  <a:pt x="1560" y="572"/>
                  <a:pt x="1560" y="572"/>
                  <a:pt x="1561" y="572"/>
                </a:cubicBezTo>
                <a:cubicBezTo>
                  <a:pt x="1561" y="572"/>
                  <a:pt x="1561" y="572"/>
                  <a:pt x="1561" y="571"/>
                </a:cubicBezTo>
                <a:cubicBezTo>
                  <a:pt x="1561" y="571"/>
                  <a:pt x="1561" y="571"/>
                  <a:pt x="1561" y="569"/>
                </a:cubicBezTo>
                <a:cubicBezTo>
                  <a:pt x="1561" y="569"/>
                  <a:pt x="1561" y="569"/>
                  <a:pt x="1562" y="568"/>
                </a:cubicBezTo>
                <a:cubicBezTo>
                  <a:pt x="1562" y="568"/>
                  <a:pt x="1562" y="568"/>
                  <a:pt x="1561" y="566"/>
                </a:cubicBezTo>
                <a:cubicBezTo>
                  <a:pt x="1561" y="566"/>
                  <a:pt x="1561" y="566"/>
                  <a:pt x="1560" y="564"/>
                </a:cubicBezTo>
                <a:cubicBezTo>
                  <a:pt x="1560" y="564"/>
                  <a:pt x="1560" y="564"/>
                  <a:pt x="1560" y="562"/>
                </a:cubicBezTo>
                <a:cubicBezTo>
                  <a:pt x="1560" y="562"/>
                  <a:pt x="1560" y="562"/>
                  <a:pt x="1561" y="562"/>
                </a:cubicBezTo>
                <a:cubicBezTo>
                  <a:pt x="1561" y="562"/>
                  <a:pt x="1561" y="562"/>
                  <a:pt x="1561" y="561"/>
                </a:cubicBezTo>
                <a:cubicBezTo>
                  <a:pt x="1561" y="561"/>
                  <a:pt x="1561" y="561"/>
                  <a:pt x="1560" y="559"/>
                </a:cubicBezTo>
                <a:cubicBezTo>
                  <a:pt x="1560" y="559"/>
                  <a:pt x="1560" y="559"/>
                  <a:pt x="1561" y="558"/>
                </a:cubicBezTo>
                <a:cubicBezTo>
                  <a:pt x="1561" y="558"/>
                  <a:pt x="1561" y="558"/>
                  <a:pt x="1562" y="556"/>
                </a:cubicBezTo>
                <a:cubicBezTo>
                  <a:pt x="1562" y="556"/>
                  <a:pt x="1562" y="556"/>
                  <a:pt x="1562" y="555"/>
                </a:cubicBezTo>
                <a:cubicBezTo>
                  <a:pt x="1562" y="555"/>
                  <a:pt x="1562" y="555"/>
                  <a:pt x="1561" y="555"/>
                </a:cubicBezTo>
                <a:cubicBezTo>
                  <a:pt x="1561" y="555"/>
                  <a:pt x="1561" y="555"/>
                  <a:pt x="1560" y="556"/>
                </a:cubicBezTo>
                <a:cubicBezTo>
                  <a:pt x="1560" y="556"/>
                  <a:pt x="1560" y="556"/>
                  <a:pt x="1559" y="557"/>
                </a:cubicBezTo>
                <a:cubicBezTo>
                  <a:pt x="1559" y="557"/>
                  <a:pt x="1559" y="557"/>
                  <a:pt x="1558" y="557"/>
                </a:cubicBezTo>
                <a:cubicBezTo>
                  <a:pt x="1558" y="557"/>
                  <a:pt x="1558" y="557"/>
                  <a:pt x="1556" y="556"/>
                </a:cubicBezTo>
                <a:cubicBezTo>
                  <a:pt x="1556" y="556"/>
                  <a:pt x="1556" y="556"/>
                  <a:pt x="1553" y="555"/>
                </a:cubicBezTo>
                <a:cubicBezTo>
                  <a:pt x="1553" y="555"/>
                  <a:pt x="1553" y="555"/>
                  <a:pt x="1550" y="559"/>
                </a:cubicBezTo>
                <a:cubicBezTo>
                  <a:pt x="1550" y="559"/>
                  <a:pt x="1550" y="559"/>
                  <a:pt x="1550" y="560"/>
                </a:cubicBezTo>
                <a:cubicBezTo>
                  <a:pt x="1550" y="560"/>
                  <a:pt x="1550" y="560"/>
                  <a:pt x="1549" y="560"/>
                </a:cubicBezTo>
                <a:cubicBezTo>
                  <a:pt x="1549" y="560"/>
                  <a:pt x="1549" y="560"/>
                  <a:pt x="1548" y="560"/>
                </a:cubicBezTo>
                <a:cubicBezTo>
                  <a:pt x="1548" y="560"/>
                  <a:pt x="1548" y="560"/>
                  <a:pt x="1546" y="561"/>
                </a:cubicBezTo>
                <a:cubicBezTo>
                  <a:pt x="1546" y="561"/>
                  <a:pt x="1546" y="561"/>
                  <a:pt x="1541" y="561"/>
                </a:cubicBezTo>
                <a:cubicBezTo>
                  <a:pt x="1541" y="561"/>
                  <a:pt x="1541" y="561"/>
                  <a:pt x="1539" y="560"/>
                </a:cubicBezTo>
                <a:cubicBezTo>
                  <a:pt x="1539" y="560"/>
                  <a:pt x="1539" y="560"/>
                  <a:pt x="1537" y="558"/>
                </a:cubicBezTo>
                <a:cubicBezTo>
                  <a:pt x="1537" y="558"/>
                  <a:pt x="1537" y="558"/>
                  <a:pt x="1536" y="558"/>
                </a:cubicBezTo>
                <a:cubicBezTo>
                  <a:pt x="1536" y="558"/>
                  <a:pt x="1536" y="558"/>
                  <a:pt x="1533" y="556"/>
                </a:cubicBezTo>
                <a:cubicBezTo>
                  <a:pt x="1533" y="556"/>
                  <a:pt x="1533" y="556"/>
                  <a:pt x="1531" y="556"/>
                </a:cubicBezTo>
                <a:cubicBezTo>
                  <a:pt x="1531" y="556"/>
                  <a:pt x="1531" y="556"/>
                  <a:pt x="1528" y="556"/>
                </a:cubicBezTo>
                <a:cubicBezTo>
                  <a:pt x="1528" y="556"/>
                  <a:pt x="1528" y="556"/>
                  <a:pt x="1528" y="557"/>
                </a:cubicBezTo>
                <a:cubicBezTo>
                  <a:pt x="1528" y="557"/>
                  <a:pt x="1528" y="557"/>
                  <a:pt x="1528" y="558"/>
                </a:cubicBezTo>
                <a:cubicBezTo>
                  <a:pt x="1528" y="558"/>
                  <a:pt x="1528" y="558"/>
                  <a:pt x="1528" y="560"/>
                </a:cubicBezTo>
                <a:cubicBezTo>
                  <a:pt x="1528" y="560"/>
                  <a:pt x="1528" y="560"/>
                  <a:pt x="1527" y="560"/>
                </a:cubicBezTo>
                <a:cubicBezTo>
                  <a:pt x="1527" y="560"/>
                  <a:pt x="1527" y="560"/>
                  <a:pt x="1526" y="560"/>
                </a:cubicBezTo>
                <a:cubicBezTo>
                  <a:pt x="1526" y="560"/>
                  <a:pt x="1526" y="560"/>
                  <a:pt x="1525" y="560"/>
                </a:cubicBezTo>
                <a:cubicBezTo>
                  <a:pt x="1525" y="560"/>
                  <a:pt x="1525" y="560"/>
                  <a:pt x="1524" y="560"/>
                </a:cubicBezTo>
                <a:cubicBezTo>
                  <a:pt x="1524" y="560"/>
                  <a:pt x="1524" y="560"/>
                  <a:pt x="1524" y="561"/>
                </a:cubicBezTo>
                <a:cubicBezTo>
                  <a:pt x="1524" y="561"/>
                  <a:pt x="1524" y="561"/>
                  <a:pt x="1522" y="561"/>
                </a:cubicBezTo>
                <a:cubicBezTo>
                  <a:pt x="1522" y="561"/>
                  <a:pt x="1522" y="561"/>
                  <a:pt x="1521" y="560"/>
                </a:cubicBezTo>
                <a:cubicBezTo>
                  <a:pt x="1521" y="560"/>
                  <a:pt x="1521" y="560"/>
                  <a:pt x="1520" y="561"/>
                </a:cubicBezTo>
                <a:cubicBezTo>
                  <a:pt x="1520" y="561"/>
                  <a:pt x="1520" y="561"/>
                  <a:pt x="1519" y="560"/>
                </a:cubicBezTo>
                <a:cubicBezTo>
                  <a:pt x="1519" y="560"/>
                  <a:pt x="1519" y="560"/>
                  <a:pt x="1519" y="559"/>
                </a:cubicBezTo>
                <a:cubicBezTo>
                  <a:pt x="1519" y="559"/>
                  <a:pt x="1519" y="559"/>
                  <a:pt x="1518" y="558"/>
                </a:cubicBezTo>
                <a:cubicBezTo>
                  <a:pt x="1518" y="558"/>
                  <a:pt x="1518" y="558"/>
                  <a:pt x="1519" y="558"/>
                </a:cubicBezTo>
                <a:cubicBezTo>
                  <a:pt x="1519" y="558"/>
                  <a:pt x="1519" y="558"/>
                  <a:pt x="1519" y="557"/>
                </a:cubicBezTo>
                <a:cubicBezTo>
                  <a:pt x="1519" y="557"/>
                  <a:pt x="1519" y="557"/>
                  <a:pt x="1518" y="557"/>
                </a:cubicBezTo>
                <a:cubicBezTo>
                  <a:pt x="1518" y="557"/>
                  <a:pt x="1518" y="557"/>
                  <a:pt x="1517" y="558"/>
                </a:cubicBezTo>
                <a:cubicBezTo>
                  <a:pt x="1517" y="558"/>
                  <a:pt x="1517" y="558"/>
                  <a:pt x="1516" y="557"/>
                </a:cubicBezTo>
                <a:cubicBezTo>
                  <a:pt x="1516" y="557"/>
                  <a:pt x="1516" y="557"/>
                  <a:pt x="1515" y="557"/>
                </a:cubicBezTo>
                <a:cubicBezTo>
                  <a:pt x="1515" y="557"/>
                  <a:pt x="1515" y="557"/>
                  <a:pt x="1515" y="556"/>
                </a:cubicBezTo>
                <a:cubicBezTo>
                  <a:pt x="1515" y="556"/>
                  <a:pt x="1515" y="556"/>
                  <a:pt x="1514" y="556"/>
                </a:cubicBezTo>
                <a:cubicBezTo>
                  <a:pt x="1514" y="556"/>
                  <a:pt x="1514" y="556"/>
                  <a:pt x="1513" y="557"/>
                </a:cubicBezTo>
                <a:cubicBezTo>
                  <a:pt x="1513" y="557"/>
                  <a:pt x="1513" y="557"/>
                  <a:pt x="1512" y="558"/>
                </a:cubicBezTo>
                <a:cubicBezTo>
                  <a:pt x="1512" y="558"/>
                  <a:pt x="1512" y="558"/>
                  <a:pt x="1512" y="557"/>
                </a:cubicBezTo>
                <a:cubicBezTo>
                  <a:pt x="1512" y="557"/>
                  <a:pt x="1512" y="557"/>
                  <a:pt x="1511" y="557"/>
                </a:cubicBezTo>
                <a:cubicBezTo>
                  <a:pt x="1511" y="557"/>
                  <a:pt x="1511" y="557"/>
                  <a:pt x="1510" y="557"/>
                </a:cubicBezTo>
                <a:cubicBezTo>
                  <a:pt x="1510" y="557"/>
                  <a:pt x="1510" y="557"/>
                  <a:pt x="1512" y="556"/>
                </a:cubicBezTo>
                <a:cubicBezTo>
                  <a:pt x="1512" y="556"/>
                  <a:pt x="1512" y="556"/>
                  <a:pt x="1512" y="555"/>
                </a:cubicBezTo>
                <a:cubicBezTo>
                  <a:pt x="1512" y="555"/>
                  <a:pt x="1512" y="555"/>
                  <a:pt x="1510" y="555"/>
                </a:cubicBezTo>
                <a:cubicBezTo>
                  <a:pt x="1510" y="555"/>
                  <a:pt x="1510" y="555"/>
                  <a:pt x="1508" y="555"/>
                </a:cubicBezTo>
                <a:cubicBezTo>
                  <a:pt x="1508" y="555"/>
                  <a:pt x="1508" y="555"/>
                  <a:pt x="1509" y="554"/>
                </a:cubicBezTo>
                <a:cubicBezTo>
                  <a:pt x="1509" y="554"/>
                  <a:pt x="1509" y="554"/>
                  <a:pt x="1507" y="552"/>
                </a:cubicBezTo>
                <a:cubicBezTo>
                  <a:pt x="1507" y="552"/>
                  <a:pt x="1507" y="552"/>
                  <a:pt x="1507" y="551"/>
                </a:cubicBezTo>
                <a:cubicBezTo>
                  <a:pt x="1507" y="551"/>
                  <a:pt x="1507" y="551"/>
                  <a:pt x="1506" y="551"/>
                </a:cubicBezTo>
                <a:cubicBezTo>
                  <a:pt x="1506" y="551"/>
                  <a:pt x="1506" y="551"/>
                  <a:pt x="1507" y="550"/>
                </a:cubicBezTo>
                <a:cubicBezTo>
                  <a:pt x="1507" y="550"/>
                  <a:pt x="1507" y="550"/>
                  <a:pt x="1506" y="548"/>
                </a:cubicBezTo>
                <a:cubicBezTo>
                  <a:pt x="1506" y="548"/>
                  <a:pt x="1506" y="548"/>
                  <a:pt x="1505" y="547"/>
                </a:cubicBezTo>
                <a:cubicBezTo>
                  <a:pt x="1505" y="547"/>
                  <a:pt x="1505" y="547"/>
                  <a:pt x="1504" y="547"/>
                </a:cubicBezTo>
                <a:cubicBezTo>
                  <a:pt x="1504" y="547"/>
                  <a:pt x="1504" y="547"/>
                  <a:pt x="1503" y="546"/>
                </a:cubicBezTo>
                <a:cubicBezTo>
                  <a:pt x="1503" y="546"/>
                  <a:pt x="1503" y="546"/>
                  <a:pt x="1502" y="547"/>
                </a:cubicBezTo>
                <a:cubicBezTo>
                  <a:pt x="1502" y="547"/>
                  <a:pt x="1502" y="547"/>
                  <a:pt x="1501" y="546"/>
                </a:cubicBezTo>
                <a:cubicBezTo>
                  <a:pt x="1501" y="546"/>
                  <a:pt x="1501" y="546"/>
                  <a:pt x="1501" y="545"/>
                </a:cubicBezTo>
                <a:cubicBezTo>
                  <a:pt x="1501" y="545"/>
                  <a:pt x="1501" y="545"/>
                  <a:pt x="1502" y="545"/>
                </a:cubicBezTo>
                <a:cubicBezTo>
                  <a:pt x="1502" y="545"/>
                  <a:pt x="1502" y="545"/>
                  <a:pt x="1501" y="544"/>
                </a:cubicBezTo>
                <a:cubicBezTo>
                  <a:pt x="1501" y="544"/>
                  <a:pt x="1501" y="544"/>
                  <a:pt x="1502" y="543"/>
                </a:cubicBezTo>
                <a:cubicBezTo>
                  <a:pt x="1502" y="543"/>
                  <a:pt x="1502" y="543"/>
                  <a:pt x="1503" y="544"/>
                </a:cubicBezTo>
                <a:cubicBezTo>
                  <a:pt x="1503" y="544"/>
                  <a:pt x="1503" y="544"/>
                  <a:pt x="1504" y="543"/>
                </a:cubicBezTo>
                <a:cubicBezTo>
                  <a:pt x="1504" y="543"/>
                  <a:pt x="1504" y="543"/>
                  <a:pt x="1503" y="542"/>
                </a:cubicBezTo>
                <a:cubicBezTo>
                  <a:pt x="1503" y="542"/>
                  <a:pt x="1503" y="542"/>
                  <a:pt x="1505" y="541"/>
                </a:cubicBezTo>
                <a:cubicBezTo>
                  <a:pt x="1505" y="541"/>
                  <a:pt x="1505" y="541"/>
                  <a:pt x="1506" y="541"/>
                </a:cubicBezTo>
                <a:cubicBezTo>
                  <a:pt x="1506" y="541"/>
                  <a:pt x="1506" y="541"/>
                  <a:pt x="1506" y="540"/>
                </a:cubicBezTo>
                <a:cubicBezTo>
                  <a:pt x="1506" y="540"/>
                  <a:pt x="1506" y="540"/>
                  <a:pt x="1504" y="541"/>
                </a:cubicBezTo>
                <a:cubicBezTo>
                  <a:pt x="1504" y="541"/>
                  <a:pt x="1504" y="541"/>
                  <a:pt x="1504" y="540"/>
                </a:cubicBezTo>
                <a:cubicBezTo>
                  <a:pt x="1504" y="540"/>
                  <a:pt x="1504" y="540"/>
                  <a:pt x="1504" y="539"/>
                </a:cubicBezTo>
                <a:cubicBezTo>
                  <a:pt x="1504" y="539"/>
                  <a:pt x="1504" y="539"/>
                  <a:pt x="1504" y="538"/>
                </a:cubicBezTo>
                <a:cubicBezTo>
                  <a:pt x="1504" y="538"/>
                  <a:pt x="1504" y="538"/>
                  <a:pt x="1503" y="537"/>
                </a:cubicBezTo>
                <a:cubicBezTo>
                  <a:pt x="1503" y="537"/>
                  <a:pt x="1503" y="537"/>
                  <a:pt x="1505" y="536"/>
                </a:cubicBezTo>
                <a:cubicBezTo>
                  <a:pt x="1505" y="536"/>
                  <a:pt x="1505" y="536"/>
                  <a:pt x="1503" y="536"/>
                </a:cubicBezTo>
                <a:cubicBezTo>
                  <a:pt x="1503" y="536"/>
                  <a:pt x="1503" y="536"/>
                  <a:pt x="1502" y="536"/>
                </a:cubicBezTo>
                <a:cubicBezTo>
                  <a:pt x="1502" y="536"/>
                  <a:pt x="1502" y="536"/>
                  <a:pt x="1500" y="536"/>
                </a:cubicBezTo>
                <a:cubicBezTo>
                  <a:pt x="1500" y="536"/>
                  <a:pt x="1500" y="536"/>
                  <a:pt x="1500" y="535"/>
                </a:cubicBezTo>
                <a:cubicBezTo>
                  <a:pt x="1500" y="535"/>
                  <a:pt x="1500" y="535"/>
                  <a:pt x="1500" y="534"/>
                </a:cubicBezTo>
                <a:cubicBezTo>
                  <a:pt x="1500" y="534"/>
                  <a:pt x="1500" y="534"/>
                  <a:pt x="1500" y="533"/>
                </a:cubicBezTo>
                <a:cubicBezTo>
                  <a:pt x="1500" y="533"/>
                  <a:pt x="1500" y="533"/>
                  <a:pt x="1500" y="532"/>
                </a:cubicBezTo>
                <a:cubicBezTo>
                  <a:pt x="1500" y="532"/>
                  <a:pt x="1500" y="532"/>
                  <a:pt x="1500" y="531"/>
                </a:cubicBezTo>
                <a:cubicBezTo>
                  <a:pt x="1500" y="531"/>
                  <a:pt x="1500" y="531"/>
                  <a:pt x="1503" y="529"/>
                </a:cubicBezTo>
                <a:cubicBezTo>
                  <a:pt x="1503" y="529"/>
                  <a:pt x="1503" y="529"/>
                  <a:pt x="1505" y="529"/>
                </a:cubicBezTo>
                <a:cubicBezTo>
                  <a:pt x="1505" y="529"/>
                  <a:pt x="1505" y="529"/>
                  <a:pt x="1506" y="530"/>
                </a:cubicBezTo>
                <a:cubicBezTo>
                  <a:pt x="1506" y="530"/>
                  <a:pt x="1506" y="530"/>
                  <a:pt x="1507" y="530"/>
                </a:cubicBezTo>
                <a:cubicBezTo>
                  <a:pt x="1507" y="530"/>
                  <a:pt x="1507" y="530"/>
                  <a:pt x="1508" y="529"/>
                </a:cubicBezTo>
                <a:cubicBezTo>
                  <a:pt x="1508" y="529"/>
                  <a:pt x="1508" y="529"/>
                  <a:pt x="1509" y="529"/>
                </a:cubicBezTo>
                <a:cubicBezTo>
                  <a:pt x="1509" y="529"/>
                  <a:pt x="1509" y="529"/>
                  <a:pt x="1510" y="530"/>
                </a:cubicBezTo>
                <a:cubicBezTo>
                  <a:pt x="1510" y="530"/>
                  <a:pt x="1510" y="530"/>
                  <a:pt x="1511" y="529"/>
                </a:cubicBezTo>
                <a:cubicBezTo>
                  <a:pt x="1511" y="529"/>
                  <a:pt x="1511" y="529"/>
                  <a:pt x="1513" y="530"/>
                </a:cubicBezTo>
                <a:cubicBezTo>
                  <a:pt x="1513" y="530"/>
                  <a:pt x="1513" y="530"/>
                  <a:pt x="1516" y="530"/>
                </a:cubicBezTo>
                <a:cubicBezTo>
                  <a:pt x="1516" y="530"/>
                  <a:pt x="1516" y="530"/>
                  <a:pt x="1517" y="529"/>
                </a:cubicBezTo>
                <a:cubicBezTo>
                  <a:pt x="1517" y="529"/>
                  <a:pt x="1517" y="529"/>
                  <a:pt x="1516" y="528"/>
                </a:cubicBezTo>
                <a:cubicBezTo>
                  <a:pt x="1516" y="528"/>
                  <a:pt x="1516" y="528"/>
                  <a:pt x="1515" y="529"/>
                </a:cubicBezTo>
                <a:cubicBezTo>
                  <a:pt x="1515" y="529"/>
                  <a:pt x="1515" y="529"/>
                  <a:pt x="1514" y="528"/>
                </a:cubicBezTo>
                <a:cubicBezTo>
                  <a:pt x="1514" y="528"/>
                  <a:pt x="1514" y="528"/>
                  <a:pt x="1515" y="527"/>
                </a:cubicBezTo>
                <a:cubicBezTo>
                  <a:pt x="1515" y="527"/>
                  <a:pt x="1515" y="527"/>
                  <a:pt x="1517" y="527"/>
                </a:cubicBezTo>
                <a:cubicBezTo>
                  <a:pt x="1517" y="527"/>
                  <a:pt x="1517" y="527"/>
                  <a:pt x="1520" y="526"/>
                </a:cubicBezTo>
                <a:cubicBezTo>
                  <a:pt x="1520" y="526"/>
                  <a:pt x="1520" y="526"/>
                  <a:pt x="1519" y="526"/>
                </a:cubicBezTo>
                <a:cubicBezTo>
                  <a:pt x="1519" y="526"/>
                  <a:pt x="1519" y="526"/>
                  <a:pt x="1517" y="526"/>
                </a:cubicBezTo>
                <a:cubicBezTo>
                  <a:pt x="1517" y="526"/>
                  <a:pt x="1517" y="526"/>
                  <a:pt x="1516" y="524"/>
                </a:cubicBezTo>
                <a:cubicBezTo>
                  <a:pt x="1516" y="524"/>
                  <a:pt x="1516" y="524"/>
                  <a:pt x="1516" y="523"/>
                </a:cubicBezTo>
                <a:cubicBezTo>
                  <a:pt x="1516" y="523"/>
                  <a:pt x="1516" y="523"/>
                  <a:pt x="1518" y="522"/>
                </a:cubicBezTo>
                <a:cubicBezTo>
                  <a:pt x="1518" y="522"/>
                  <a:pt x="1518" y="522"/>
                  <a:pt x="1519" y="523"/>
                </a:cubicBezTo>
                <a:cubicBezTo>
                  <a:pt x="1519" y="523"/>
                  <a:pt x="1519" y="523"/>
                  <a:pt x="1521" y="522"/>
                </a:cubicBezTo>
                <a:cubicBezTo>
                  <a:pt x="1521" y="522"/>
                  <a:pt x="1521" y="522"/>
                  <a:pt x="1522" y="522"/>
                </a:cubicBezTo>
                <a:cubicBezTo>
                  <a:pt x="1522" y="522"/>
                  <a:pt x="1522" y="522"/>
                  <a:pt x="1523" y="522"/>
                </a:cubicBezTo>
                <a:cubicBezTo>
                  <a:pt x="1523" y="522"/>
                  <a:pt x="1523" y="522"/>
                  <a:pt x="1524" y="522"/>
                </a:cubicBezTo>
                <a:cubicBezTo>
                  <a:pt x="1524" y="522"/>
                  <a:pt x="1524" y="522"/>
                  <a:pt x="1527" y="523"/>
                </a:cubicBezTo>
                <a:cubicBezTo>
                  <a:pt x="1527" y="523"/>
                  <a:pt x="1527" y="523"/>
                  <a:pt x="1529" y="523"/>
                </a:cubicBezTo>
                <a:cubicBezTo>
                  <a:pt x="1529" y="523"/>
                  <a:pt x="1529" y="523"/>
                  <a:pt x="1529" y="522"/>
                </a:cubicBezTo>
                <a:cubicBezTo>
                  <a:pt x="1529" y="522"/>
                  <a:pt x="1529" y="522"/>
                  <a:pt x="1530" y="522"/>
                </a:cubicBezTo>
                <a:cubicBezTo>
                  <a:pt x="1530" y="522"/>
                  <a:pt x="1530" y="522"/>
                  <a:pt x="1530" y="520"/>
                </a:cubicBezTo>
                <a:cubicBezTo>
                  <a:pt x="1530" y="520"/>
                  <a:pt x="1530" y="520"/>
                  <a:pt x="1531" y="520"/>
                </a:cubicBezTo>
                <a:cubicBezTo>
                  <a:pt x="1531" y="520"/>
                  <a:pt x="1531" y="520"/>
                  <a:pt x="1532" y="519"/>
                </a:cubicBezTo>
                <a:cubicBezTo>
                  <a:pt x="1532" y="519"/>
                  <a:pt x="1532" y="519"/>
                  <a:pt x="1533" y="519"/>
                </a:cubicBezTo>
                <a:cubicBezTo>
                  <a:pt x="1533" y="519"/>
                  <a:pt x="1533" y="519"/>
                  <a:pt x="1534" y="518"/>
                </a:cubicBezTo>
                <a:cubicBezTo>
                  <a:pt x="1534" y="518"/>
                  <a:pt x="1534" y="518"/>
                  <a:pt x="1536" y="517"/>
                </a:cubicBezTo>
                <a:cubicBezTo>
                  <a:pt x="1536" y="517"/>
                  <a:pt x="1536" y="517"/>
                  <a:pt x="1537" y="517"/>
                </a:cubicBezTo>
                <a:cubicBezTo>
                  <a:pt x="1537" y="517"/>
                  <a:pt x="1537" y="517"/>
                  <a:pt x="1540" y="516"/>
                </a:cubicBezTo>
                <a:cubicBezTo>
                  <a:pt x="1540" y="516"/>
                  <a:pt x="1540" y="516"/>
                  <a:pt x="1542" y="516"/>
                </a:cubicBezTo>
                <a:cubicBezTo>
                  <a:pt x="1542" y="516"/>
                  <a:pt x="1542" y="516"/>
                  <a:pt x="1545" y="516"/>
                </a:cubicBezTo>
                <a:cubicBezTo>
                  <a:pt x="1545" y="516"/>
                  <a:pt x="1545" y="516"/>
                  <a:pt x="1546" y="515"/>
                </a:cubicBezTo>
                <a:cubicBezTo>
                  <a:pt x="1546" y="515"/>
                  <a:pt x="1546" y="515"/>
                  <a:pt x="1547" y="516"/>
                </a:cubicBezTo>
                <a:cubicBezTo>
                  <a:pt x="1547" y="516"/>
                  <a:pt x="1547" y="516"/>
                  <a:pt x="1549" y="516"/>
                </a:cubicBezTo>
                <a:cubicBezTo>
                  <a:pt x="1549" y="516"/>
                  <a:pt x="1549" y="516"/>
                  <a:pt x="1551" y="515"/>
                </a:cubicBezTo>
                <a:cubicBezTo>
                  <a:pt x="1551" y="515"/>
                  <a:pt x="1551" y="515"/>
                  <a:pt x="1551" y="516"/>
                </a:cubicBezTo>
                <a:cubicBezTo>
                  <a:pt x="1551" y="516"/>
                  <a:pt x="1551" y="516"/>
                  <a:pt x="1554" y="518"/>
                </a:cubicBezTo>
                <a:cubicBezTo>
                  <a:pt x="1554" y="518"/>
                  <a:pt x="1554" y="518"/>
                  <a:pt x="1555" y="518"/>
                </a:cubicBezTo>
                <a:cubicBezTo>
                  <a:pt x="1555" y="518"/>
                  <a:pt x="1555" y="518"/>
                  <a:pt x="1556" y="517"/>
                </a:cubicBezTo>
                <a:cubicBezTo>
                  <a:pt x="1556" y="517"/>
                  <a:pt x="1556" y="517"/>
                  <a:pt x="1557" y="517"/>
                </a:cubicBezTo>
                <a:cubicBezTo>
                  <a:pt x="1557" y="517"/>
                  <a:pt x="1557" y="517"/>
                  <a:pt x="1558" y="518"/>
                </a:cubicBezTo>
                <a:cubicBezTo>
                  <a:pt x="1558" y="518"/>
                  <a:pt x="1558" y="518"/>
                  <a:pt x="1558" y="519"/>
                </a:cubicBezTo>
                <a:cubicBezTo>
                  <a:pt x="1558" y="519"/>
                  <a:pt x="1558" y="519"/>
                  <a:pt x="1559" y="521"/>
                </a:cubicBezTo>
                <a:cubicBezTo>
                  <a:pt x="1559" y="521"/>
                  <a:pt x="1559" y="521"/>
                  <a:pt x="1560" y="521"/>
                </a:cubicBezTo>
                <a:cubicBezTo>
                  <a:pt x="1560" y="521"/>
                  <a:pt x="1560" y="521"/>
                  <a:pt x="1561" y="520"/>
                </a:cubicBezTo>
                <a:cubicBezTo>
                  <a:pt x="1561" y="520"/>
                  <a:pt x="1561" y="520"/>
                  <a:pt x="1564" y="521"/>
                </a:cubicBezTo>
                <a:cubicBezTo>
                  <a:pt x="1564" y="521"/>
                  <a:pt x="1564" y="521"/>
                  <a:pt x="1565" y="522"/>
                </a:cubicBezTo>
                <a:cubicBezTo>
                  <a:pt x="1565" y="522"/>
                  <a:pt x="1565" y="522"/>
                  <a:pt x="1567" y="523"/>
                </a:cubicBezTo>
                <a:cubicBezTo>
                  <a:pt x="1567" y="523"/>
                  <a:pt x="1567" y="523"/>
                  <a:pt x="1568" y="522"/>
                </a:cubicBezTo>
                <a:cubicBezTo>
                  <a:pt x="1568" y="522"/>
                  <a:pt x="1568" y="522"/>
                  <a:pt x="1570" y="523"/>
                </a:cubicBezTo>
                <a:cubicBezTo>
                  <a:pt x="1570" y="523"/>
                  <a:pt x="1570" y="523"/>
                  <a:pt x="1572" y="524"/>
                </a:cubicBezTo>
                <a:cubicBezTo>
                  <a:pt x="1572" y="524"/>
                  <a:pt x="1572" y="524"/>
                  <a:pt x="1574" y="523"/>
                </a:cubicBezTo>
                <a:cubicBezTo>
                  <a:pt x="1574" y="523"/>
                  <a:pt x="1574" y="523"/>
                  <a:pt x="1577" y="522"/>
                </a:cubicBezTo>
                <a:cubicBezTo>
                  <a:pt x="1577" y="522"/>
                  <a:pt x="1577" y="522"/>
                  <a:pt x="1578" y="522"/>
                </a:cubicBezTo>
                <a:cubicBezTo>
                  <a:pt x="1578" y="522"/>
                  <a:pt x="1578" y="522"/>
                  <a:pt x="1579" y="522"/>
                </a:cubicBezTo>
                <a:cubicBezTo>
                  <a:pt x="1579" y="522"/>
                  <a:pt x="1579" y="522"/>
                  <a:pt x="1580" y="523"/>
                </a:cubicBezTo>
                <a:cubicBezTo>
                  <a:pt x="1580" y="523"/>
                  <a:pt x="1580" y="523"/>
                  <a:pt x="1582" y="523"/>
                </a:cubicBezTo>
                <a:cubicBezTo>
                  <a:pt x="1582" y="523"/>
                  <a:pt x="1582" y="523"/>
                  <a:pt x="1583" y="523"/>
                </a:cubicBezTo>
                <a:cubicBezTo>
                  <a:pt x="1583" y="523"/>
                  <a:pt x="1583" y="523"/>
                  <a:pt x="1585" y="523"/>
                </a:cubicBezTo>
                <a:cubicBezTo>
                  <a:pt x="1585" y="523"/>
                  <a:pt x="1585" y="523"/>
                  <a:pt x="1586" y="522"/>
                </a:cubicBezTo>
                <a:cubicBezTo>
                  <a:pt x="1586" y="522"/>
                  <a:pt x="1586" y="522"/>
                  <a:pt x="1588" y="521"/>
                </a:cubicBezTo>
                <a:cubicBezTo>
                  <a:pt x="1588" y="521"/>
                  <a:pt x="1588" y="521"/>
                  <a:pt x="1589" y="520"/>
                </a:cubicBezTo>
                <a:cubicBezTo>
                  <a:pt x="1589" y="520"/>
                  <a:pt x="1589" y="520"/>
                  <a:pt x="1590" y="518"/>
                </a:cubicBezTo>
                <a:cubicBezTo>
                  <a:pt x="1590" y="517"/>
                  <a:pt x="1590" y="517"/>
                  <a:pt x="1590" y="517"/>
                </a:cubicBezTo>
                <a:cubicBezTo>
                  <a:pt x="1590" y="516"/>
                  <a:pt x="1590" y="516"/>
                  <a:pt x="1590" y="516"/>
                </a:cubicBezTo>
                <a:cubicBezTo>
                  <a:pt x="1591" y="516"/>
                  <a:pt x="1591" y="516"/>
                  <a:pt x="1591" y="516"/>
                </a:cubicBezTo>
                <a:cubicBezTo>
                  <a:pt x="1589" y="514"/>
                  <a:pt x="1589" y="514"/>
                  <a:pt x="1589" y="514"/>
                </a:cubicBezTo>
                <a:cubicBezTo>
                  <a:pt x="1589" y="511"/>
                  <a:pt x="1589" y="511"/>
                  <a:pt x="1589" y="511"/>
                </a:cubicBezTo>
                <a:cubicBezTo>
                  <a:pt x="1588" y="510"/>
                  <a:pt x="1588" y="510"/>
                  <a:pt x="1588" y="510"/>
                </a:cubicBezTo>
                <a:cubicBezTo>
                  <a:pt x="1587" y="508"/>
                  <a:pt x="1587" y="508"/>
                  <a:pt x="1587" y="508"/>
                </a:cubicBezTo>
                <a:cubicBezTo>
                  <a:pt x="1586" y="508"/>
                  <a:pt x="1586" y="508"/>
                  <a:pt x="1586" y="508"/>
                </a:cubicBezTo>
                <a:cubicBezTo>
                  <a:pt x="1585" y="507"/>
                  <a:pt x="1585" y="507"/>
                  <a:pt x="1585" y="507"/>
                </a:cubicBezTo>
                <a:cubicBezTo>
                  <a:pt x="1584" y="506"/>
                  <a:pt x="1584" y="506"/>
                  <a:pt x="1584" y="506"/>
                </a:cubicBezTo>
                <a:cubicBezTo>
                  <a:pt x="1583" y="506"/>
                  <a:pt x="1583" y="506"/>
                  <a:pt x="1583" y="506"/>
                </a:cubicBezTo>
                <a:cubicBezTo>
                  <a:pt x="1581" y="505"/>
                  <a:pt x="1581" y="505"/>
                  <a:pt x="1581" y="505"/>
                </a:cubicBezTo>
                <a:cubicBezTo>
                  <a:pt x="1580" y="504"/>
                  <a:pt x="1580" y="504"/>
                  <a:pt x="1580" y="504"/>
                </a:cubicBezTo>
                <a:cubicBezTo>
                  <a:pt x="1578" y="504"/>
                  <a:pt x="1578" y="504"/>
                  <a:pt x="1578" y="504"/>
                </a:cubicBezTo>
                <a:cubicBezTo>
                  <a:pt x="1578" y="503"/>
                  <a:pt x="1578" y="503"/>
                  <a:pt x="1578" y="503"/>
                </a:cubicBezTo>
                <a:cubicBezTo>
                  <a:pt x="1577" y="503"/>
                  <a:pt x="1577" y="503"/>
                  <a:pt x="1577" y="503"/>
                </a:cubicBezTo>
                <a:cubicBezTo>
                  <a:pt x="1576" y="502"/>
                  <a:pt x="1576" y="502"/>
                  <a:pt x="1576" y="502"/>
                </a:cubicBezTo>
                <a:cubicBezTo>
                  <a:pt x="1576" y="501"/>
                  <a:pt x="1576" y="501"/>
                  <a:pt x="1576" y="501"/>
                </a:cubicBezTo>
                <a:cubicBezTo>
                  <a:pt x="1575" y="501"/>
                  <a:pt x="1575" y="501"/>
                  <a:pt x="1575" y="501"/>
                </a:cubicBezTo>
                <a:cubicBezTo>
                  <a:pt x="1574" y="499"/>
                  <a:pt x="1574" y="499"/>
                  <a:pt x="1574" y="499"/>
                </a:cubicBezTo>
                <a:cubicBezTo>
                  <a:pt x="1570" y="496"/>
                  <a:pt x="1570" y="496"/>
                  <a:pt x="1570" y="496"/>
                </a:cubicBezTo>
                <a:cubicBezTo>
                  <a:pt x="1568" y="496"/>
                  <a:pt x="1568" y="496"/>
                  <a:pt x="1568" y="496"/>
                </a:cubicBezTo>
                <a:cubicBezTo>
                  <a:pt x="1566" y="494"/>
                  <a:pt x="1566" y="494"/>
                  <a:pt x="1566" y="494"/>
                </a:cubicBezTo>
                <a:cubicBezTo>
                  <a:pt x="1563" y="494"/>
                  <a:pt x="1563" y="494"/>
                  <a:pt x="1563" y="494"/>
                </a:cubicBezTo>
                <a:cubicBezTo>
                  <a:pt x="1562" y="493"/>
                  <a:pt x="1562" y="493"/>
                  <a:pt x="1562" y="493"/>
                </a:cubicBezTo>
                <a:cubicBezTo>
                  <a:pt x="1562" y="492"/>
                  <a:pt x="1562" y="492"/>
                  <a:pt x="1562" y="492"/>
                </a:cubicBezTo>
                <a:cubicBezTo>
                  <a:pt x="1560" y="491"/>
                  <a:pt x="1560" y="491"/>
                  <a:pt x="1560" y="491"/>
                </a:cubicBezTo>
                <a:cubicBezTo>
                  <a:pt x="1559" y="491"/>
                  <a:pt x="1559" y="491"/>
                  <a:pt x="1559" y="491"/>
                </a:cubicBezTo>
                <a:cubicBezTo>
                  <a:pt x="1558" y="491"/>
                  <a:pt x="1558" y="491"/>
                  <a:pt x="1558" y="491"/>
                </a:cubicBezTo>
                <a:cubicBezTo>
                  <a:pt x="1559" y="490"/>
                  <a:pt x="1559" y="490"/>
                  <a:pt x="1559" y="490"/>
                </a:cubicBezTo>
                <a:cubicBezTo>
                  <a:pt x="1560" y="489"/>
                  <a:pt x="1560" y="489"/>
                  <a:pt x="1560" y="489"/>
                </a:cubicBezTo>
                <a:cubicBezTo>
                  <a:pt x="1559" y="488"/>
                  <a:pt x="1559" y="488"/>
                  <a:pt x="1559" y="488"/>
                </a:cubicBezTo>
                <a:cubicBezTo>
                  <a:pt x="1561" y="488"/>
                  <a:pt x="1561" y="488"/>
                  <a:pt x="1561" y="488"/>
                </a:cubicBezTo>
                <a:cubicBezTo>
                  <a:pt x="1562" y="489"/>
                  <a:pt x="1562" y="489"/>
                  <a:pt x="1562" y="489"/>
                </a:cubicBezTo>
                <a:cubicBezTo>
                  <a:pt x="1563" y="489"/>
                  <a:pt x="1563" y="489"/>
                  <a:pt x="1563" y="489"/>
                </a:cubicBezTo>
                <a:cubicBezTo>
                  <a:pt x="1563" y="487"/>
                  <a:pt x="1563" y="487"/>
                  <a:pt x="1563" y="487"/>
                </a:cubicBezTo>
                <a:cubicBezTo>
                  <a:pt x="1563" y="485"/>
                  <a:pt x="1563" y="485"/>
                  <a:pt x="1563" y="485"/>
                </a:cubicBezTo>
                <a:cubicBezTo>
                  <a:pt x="1564" y="484"/>
                  <a:pt x="1564" y="484"/>
                  <a:pt x="1564" y="484"/>
                </a:cubicBezTo>
                <a:cubicBezTo>
                  <a:pt x="1565" y="483"/>
                  <a:pt x="1565" y="483"/>
                  <a:pt x="1565" y="483"/>
                </a:cubicBezTo>
                <a:cubicBezTo>
                  <a:pt x="1566" y="483"/>
                  <a:pt x="1566" y="483"/>
                  <a:pt x="1566" y="483"/>
                </a:cubicBezTo>
                <a:cubicBezTo>
                  <a:pt x="1567" y="482"/>
                  <a:pt x="1567" y="482"/>
                  <a:pt x="1567" y="482"/>
                </a:cubicBezTo>
                <a:cubicBezTo>
                  <a:pt x="1566" y="481"/>
                  <a:pt x="1566" y="481"/>
                  <a:pt x="1566" y="481"/>
                </a:cubicBezTo>
                <a:cubicBezTo>
                  <a:pt x="1565" y="481"/>
                  <a:pt x="1565" y="481"/>
                  <a:pt x="1565" y="481"/>
                </a:cubicBezTo>
                <a:cubicBezTo>
                  <a:pt x="1564" y="480"/>
                  <a:pt x="1564" y="480"/>
                  <a:pt x="1564" y="480"/>
                </a:cubicBezTo>
                <a:cubicBezTo>
                  <a:pt x="1563" y="479"/>
                  <a:pt x="1563" y="479"/>
                  <a:pt x="1563" y="479"/>
                </a:cubicBezTo>
                <a:cubicBezTo>
                  <a:pt x="1565" y="478"/>
                  <a:pt x="1565" y="478"/>
                  <a:pt x="1565" y="478"/>
                </a:cubicBezTo>
                <a:cubicBezTo>
                  <a:pt x="1567" y="479"/>
                  <a:pt x="1567" y="479"/>
                  <a:pt x="1567" y="479"/>
                </a:cubicBezTo>
                <a:cubicBezTo>
                  <a:pt x="1567" y="478"/>
                  <a:pt x="1567" y="478"/>
                  <a:pt x="1567" y="478"/>
                </a:cubicBezTo>
                <a:cubicBezTo>
                  <a:pt x="1566" y="477"/>
                  <a:pt x="1566" y="477"/>
                  <a:pt x="1566" y="477"/>
                </a:cubicBezTo>
                <a:cubicBezTo>
                  <a:pt x="1567" y="476"/>
                  <a:pt x="1567" y="476"/>
                  <a:pt x="1567" y="476"/>
                </a:cubicBezTo>
                <a:cubicBezTo>
                  <a:pt x="1571" y="474"/>
                  <a:pt x="1571" y="474"/>
                  <a:pt x="1571" y="474"/>
                </a:cubicBezTo>
                <a:cubicBezTo>
                  <a:pt x="1571" y="473"/>
                  <a:pt x="1571" y="473"/>
                  <a:pt x="1571" y="473"/>
                </a:cubicBezTo>
                <a:cubicBezTo>
                  <a:pt x="1569" y="473"/>
                  <a:pt x="1569" y="473"/>
                  <a:pt x="1569" y="473"/>
                </a:cubicBezTo>
                <a:cubicBezTo>
                  <a:pt x="1567" y="474"/>
                  <a:pt x="1567" y="474"/>
                  <a:pt x="1567" y="474"/>
                </a:cubicBezTo>
                <a:cubicBezTo>
                  <a:pt x="1566" y="474"/>
                  <a:pt x="1566" y="474"/>
                  <a:pt x="1566" y="474"/>
                </a:cubicBezTo>
                <a:cubicBezTo>
                  <a:pt x="1566" y="474"/>
                  <a:pt x="1566" y="474"/>
                  <a:pt x="1565" y="474"/>
                </a:cubicBezTo>
                <a:cubicBezTo>
                  <a:pt x="1565" y="474"/>
                  <a:pt x="1565" y="474"/>
                  <a:pt x="1564" y="474"/>
                </a:cubicBezTo>
                <a:cubicBezTo>
                  <a:pt x="1564" y="474"/>
                  <a:pt x="1564" y="474"/>
                  <a:pt x="1562" y="474"/>
                </a:cubicBezTo>
                <a:cubicBezTo>
                  <a:pt x="1562" y="474"/>
                  <a:pt x="1562" y="474"/>
                  <a:pt x="1561" y="474"/>
                </a:cubicBezTo>
                <a:cubicBezTo>
                  <a:pt x="1561" y="474"/>
                  <a:pt x="1561" y="474"/>
                  <a:pt x="1560" y="475"/>
                </a:cubicBezTo>
                <a:cubicBezTo>
                  <a:pt x="1560" y="475"/>
                  <a:pt x="1560" y="475"/>
                  <a:pt x="1559" y="476"/>
                </a:cubicBezTo>
                <a:cubicBezTo>
                  <a:pt x="1559" y="476"/>
                  <a:pt x="1559" y="476"/>
                  <a:pt x="1558" y="476"/>
                </a:cubicBezTo>
                <a:cubicBezTo>
                  <a:pt x="1558" y="476"/>
                  <a:pt x="1558" y="476"/>
                  <a:pt x="1557" y="477"/>
                </a:cubicBezTo>
                <a:cubicBezTo>
                  <a:pt x="1557" y="477"/>
                  <a:pt x="1557" y="477"/>
                  <a:pt x="1556" y="478"/>
                </a:cubicBezTo>
                <a:cubicBezTo>
                  <a:pt x="1556" y="478"/>
                  <a:pt x="1556" y="478"/>
                  <a:pt x="1554" y="478"/>
                </a:cubicBezTo>
                <a:cubicBezTo>
                  <a:pt x="1554" y="478"/>
                  <a:pt x="1554" y="478"/>
                  <a:pt x="1553" y="479"/>
                </a:cubicBezTo>
                <a:cubicBezTo>
                  <a:pt x="1553" y="479"/>
                  <a:pt x="1553" y="479"/>
                  <a:pt x="1552" y="479"/>
                </a:cubicBezTo>
                <a:cubicBezTo>
                  <a:pt x="1552" y="479"/>
                  <a:pt x="1552" y="479"/>
                  <a:pt x="1550" y="479"/>
                </a:cubicBezTo>
                <a:cubicBezTo>
                  <a:pt x="1550" y="479"/>
                  <a:pt x="1550" y="479"/>
                  <a:pt x="1549" y="478"/>
                </a:cubicBezTo>
                <a:cubicBezTo>
                  <a:pt x="1549" y="478"/>
                  <a:pt x="1549" y="478"/>
                  <a:pt x="1548" y="478"/>
                </a:cubicBezTo>
                <a:cubicBezTo>
                  <a:pt x="1548" y="478"/>
                  <a:pt x="1548" y="478"/>
                  <a:pt x="1549" y="479"/>
                </a:cubicBezTo>
                <a:cubicBezTo>
                  <a:pt x="1549" y="479"/>
                  <a:pt x="1549" y="479"/>
                  <a:pt x="1549" y="480"/>
                </a:cubicBezTo>
                <a:cubicBezTo>
                  <a:pt x="1549" y="480"/>
                  <a:pt x="1549" y="480"/>
                  <a:pt x="1548" y="482"/>
                </a:cubicBezTo>
                <a:cubicBezTo>
                  <a:pt x="1548" y="482"/>
                  <a:pt x="1548" y="482"/>
                  <a:pt x="1547" y="483"/>
                </a:cubicBezTo>
                <a:cubicBezTo>
                  <a:pt x="1547" y="483"/>
                  <a:pt x="1547" y="483"/>
                  <a:pt x="1547" y="482"/>
                </a:cubicBezTo>
                <a:cubicBezTo>
                  <a:pt x="1547" y="482"/>
                  <a:pt x="1547" y="482"/>
                  <a:pt x="1548" y="480"/>
                </a:cubicBezTo>
                <a:cubicBezTo>
                  <a:pt x="1548" y="480"/>
                  <a:pt x="1548" y="480"/>
                  <a:pt x="1547" y="480"/>
                </a:cubicBezTo>
                <a:cubicBezTo>
                  <a:pt x="1547" y="480"/>
                  <a:pt x="1547" y="480"/>
                  <a:pt x="1545" y="482"/>
                </a:cubicBezTo>
                <a:cubicBezTo>
                  <a:pt x="1545" y="482"/>
                  <a:pt x="1545" y="482"/>
                  <a:pt x="1544" y="482"/>
                </a:cubicBezTo>
                <a:cubicBezTo>
                  <a:pt x="1544" y="482"/>
                  <a:pt x="1544" y="482"/>
                  <a:pt x="1544" y="483"/>
                </a:cubicBezTo>
                <a:cubicBezTo>
                  <a:pt x="1544" y="483"/>
                  <a:pt x="1544" y="483"/>
                  <a:pt x="1543" y="483"/>
                </a:cubicBezTo>
                <a:cubicBezTo>
                  <a:pt x="1543" y="483"/>
                  <a:pt x="1543" y="483"/>
                  <a:pt x="1542" y="483"/>
                </a:cubicBezTo>
                <a:cubicBezTo>
                  <a:pt x="1542" y="483"/>
                  <a:pt x="1542" y="483"/>
                  <a:pt x="1541" y="483"/>
                </a:cubicBezTo>
                <a:cubicBezTo>
                  <a:pt x="1541" y="483"/>
                  <a:pt x="1541" y="483"/>
                  <a:pt x="1540" y="483"/>
                </a:cubicBezTo>
                <a:cubicBezTo>
                  <a:pt x="1540" y="483"/>
                  <a:pt x="1540" y="483"/>
                  <a:pt x="1539" y="483"/>
                </a:cubicBezTo>
                <a:cubicBezTo>
                  <a:pt x="1539" y="483"/>
                  <a:pt x="1539" y="483"/>
                  <a:pt x="1538" y="483"/>
                </a:cubicBezTo>
                <a:cubicBezTo>
                  <a:pt x="1538" y="483"/>
                  <a:pt x="1538" y="483"/>
                  <a:pt x="1538" y="484"/>
                </a:cubicBezTo>
                <a:cubicBezTo>
                  <a:pt x="1538" y="484"/>
                  <a:pt x="1538" y="484"/>
                  <a:pt x="1537" y="484"/>
                </a:cubicBezTo>
                <a:cubicBezTo>
                  <a:pt x="1537" y="484"/>
                  <a:pt x="1537" y="484"/>
                  <a:pt x="1535" y="483"/>
                </a:cubicBezTo>
                <a:cubicBezTo>
                  <a:pt x="1535" y="483"/>
                  <a:pt x="1535" y="483"/>
                  <a:pt x="1534" y="483"/>
                </a:cubicBezTo>
                <a:cubicBezTo>
                  <a:pt x="1534" y="483"/>
                  <a:pt x="1534" y="483"/>
                  <a:pt x="1532" y="484"/>
                </a:cubicBezTo>
                <a:cubicBezTo>
                  <a:pt x="1532" y="484"/>
                  <a:pt x="1532" y="484"/>
                  <a:pt x="1531" y="483"/>
                </a:cubicBezTo>
                <a:cubicBezTo>
                  <a:pt x="1531" y="483"/>
                  <a:pt x="1531" y="483"/>
                  <a:pt x="1530" y="483"/>
                </a:cubicBezTo>
                <a:cubicBezTo>
                  <a:pt x="1530" y="483"/>
                  <a:pt x="1530" y="483"/>
                  <a:pt x="1529" y="482"/>
                </a:cubicBezTo>
                <a:cubicBezTo>
                  <a:pt x="1529" y="482"/>
                  <a:pt x="1529" y="482"/>
                  <a:pt x="1530" y="482"/>
                </a:cubicBezTo>
                <a:cubicBezTo>
                  <a:pt x="1530" y="482"/>
                  <a:pt x="1530" y="482"/>
                  <a:pt x="1530" y="481"/>
                </a:cubicBezTo>
                <a:cubicBezTo>
                  <a:pt x="1530" y="481"/>
                  <a:pt x="1530" y="481"/>
                  <a:pt x="1528" y="481"/>
                </a:cubicBezTo>
                <a:cubicBezTo>
                  <a:pt x="1528" y="481"/>
                  <a:pt x="1528" y="481"/>
                  <a:pt x="1526" y="481"/>
                </a:cubicBezTo>
                <a:cubicBezTo>
                  <a:pt x="1526" y="481"/>
                  <a:pt x="1526" y="481"/>
                  <a:pt x="1526" y="480"/>
                </a:cubicBezTo>
                <a:cubicBezTo>
                  <a:pt x="1526" y="480"/>
                  <a:pt x="1526" y="480"/>
                  <a:pt x="1527" y="480"/>
                </a:cubicBezTo>
                <a:cubicBezTo>
                  <a:pt x="1527" y="480"/>
                  <a:pt x="1527" y="480"/>
                  <a:pt x="1529" y="480"/>
                </a:cubicBezTo>
                <a:cubicBezTo>
                  <a:pt x="1529" y="480"/>
                  <a:pt x="1529" y="480"/>
                  <a:pt x="1530" y="480"/>
                </a:cubicBezTo>
                <a:cubicBezTo>
                  <a:pt x="1530" y="480"/>
                  <a:pt x="1530" y="480"/>
                  <a:pt x="1531" y="480"/>
                </a:cubicBezTo>
                <a:cubicBezTo>
                  <a:pt x="1531" y="480"/>
                  <a:pt x="1531" y="480"/>
                  <a:pt x="1532" y="479"/>
                </a:cubicBezTo>
                <a:cubicBezTo>
                  <a:pt x="1532" y="479"/>
                  <a:pt x="1532" y="479"/>
                  <a:pt x="1531" y="479"/>
                </a:cubicBezTo>
                <a:cubicBezTo>
                  <a:pt x="1531" y="479"/>
                  <a:pt x="1531" y="479"/>
                  <a:pt x="1530" y="479"/>
                </a:cubicBezTo>
                <a:cubicBezTo>
                  <a:pt x="1530" y="479"/>
                  <a:pt x="1530" y="479"/>
                  <a:pt x="1529" y="478"/>
                </a:cubicBezTo>
                <a:cubicBezTo>
                  <a:pt x="1529" y="478"/>
                  <a:pt x="1529" y="478"/>
                  <a:pt x="1528" y="478"/>
                </a:cubicBezTo>
                <a:cubicBezTo>
                  <a:pt x="1528" y="478"/>
                  <a:pt x="1528" y="478"/>
                  <a:pt x="1528" y="479"/>
                </a:cubicBezTo>
                <a:cubicBezTo>
                  <a:pt x="1528" y="479"/>
                  <a:pt x="1528" y="479"/>
                  <a:pt x="1527" y="479"/>
                </a:cubicBezTo>
                <a:cubicBezTo>
                  <a:pt x="1527" y="479"/>
                  <a:pt x="1527" y="479"/>
                  <a:pt x="1526" y="479"/>
                </a:cubicBezTo>
                <a:cubicBezTo>
                  <a:pt x="1526" y="479"/>
                  <a:pt x="1526" y="479"/>
                  <a:pt x="1526" y="478"/>
                </a:cubicBezTo>
                <a:cubicBezTo>
                  <a:pt x="1526" y="478"/>
                  <a:pt x="1526" y="478"/>
                  <a:pt x="1524" y="480"/>
                </a:cubicBezTo>
                <a:cubicBezTo>
                  <a:pt x="1524" y="480"/>
                  <a:pt x="1524" y="480"/>
                  <a:pt x="1523" y="480"/>
                </a:cubicBezTo>
                <a:cubicBezTo>
                  <a:pt x="1523" y="480"/>
                  <a:pt x="1523" y="480"/>
                  <a:pt x="1522" y="481"/>
                </a:cubicBezTo>
                <a:cubicBezTo>
                  <a:pt x="1522" y="481"/>
                  <a:pt x="1522" y="481"/>
                  <a:pt x="1522" y="482"/>
                </a:cubicBezTo>
                <a:cubicBezTo>
                  <a:pt x="1522" y="482"/>
                  <a:pt x="1522" y="482"/>
                  <a:pt x="1521" y="484"/>
                </a:cubicBezTo>
                <a:cubicBezTo>
                  <a:pt x="1521" y="484"/>
                  <a:pt x="1521" y="484"/>
                  <a:pt x="1520" y="484"/>
                </a:cubicBezTo>
                <a:cubicBezTo>
                  <a:pt x="1520" y="484"/>
                  <a:pt x="1520" y="484"/>
                  <a:pt x="1520" y="485"/>
                </a:cubicBezTo>
                <a:cubicBezTo>
                  <a:pt x="1520" y="485"/>
                  <a:pt x="1520" y="485"/>
                  <a:pt x="1518" y="488"/>
                </a:cubicBezTo>
                <a:cubicBezTo>
                  <a:pt x="1518" y="488"/>
                  <a:pt x="1518" y="488"/>
                  <a:pt x="1517" y="488"/>
                </a:cubicBezTo>
                <a:cubicBezTo>
                  <a:pt x="1517" y="488"/>
                  <a:pt x="1517" y="488"/>
                  <a:pt x="1516" y="488"/>
                </a:cubicBezTo>
                <a:cubicBezTo>
                  <a:pt x="1516" y="488"/>
                  <a:pt x="1516" y="488"/>
                  <a:pt x="1517" y="489"/>
                </a:cubicBezTo>
                <a:cubicBezTo>
                  <a:pt x="1517" y="489"/>
                  <a:pt x="1517" y="489"/>
                  <a:pt x="1517" y="490"/>
                </a:cubicBezTo>
                <a:cubicBezTo>
                  <a:pt x="1517" y="490"/>
                  <a:pt x="1517" y="490"/>
                  <a:pt x="1516" y="491"/>
                </a:cubicBezTo>
                <a:cubicBezTo>
                  <a:pt x="1516" y="491"/>
                  <a:pt x="1516" y="491"/>
                  <a:pt x="1517" y="491"/>
                </a:cubicBezTo>
                <a:cubicBezTo>
                  <a:pt x="1517" y="491"/>
                  <a:pt x="1517" y="491"/>
                  <a:pt x="1517" y="492"/>
                </a:cubicBezTo>
                <a:cubicBezTo>
                  <a:pt x="1517" y="492"/>
                  <a:pt x="1517" y="492"/>
                  <a:pt x="1516" y="494"/>
                </a:cubicBezTo>
                <a:cubicBezTo>
                  <a:pt x="1516" y="494"/>
                  <a:pt x="1516" y="494"/>
                  <a:pt x="1515" y="494"/>
                </a:cubicBezTo>
                <a:cubicBezTo>
                  <a:pt x="1515" y="494"/>
                  <a:pt x="1515" y="494"/>
                  <a:pt x="1512" y="494"/>
                </a:cubicBezTo>
                <a:cubicBezTo>
                  <a:pt x="1512" y="494"/>
                  <a:pt x="1512" y="494"/>
                  <a:pt x="1512" y="496"/>
                </a:cubicBezTo>
                <a:cubicBezTo>
                  <a:pt x="1512" y="496"/>
                  <a:pt x="1512" y="496"/>
                  <a:pt x="1511" y="497"/>
                </a:cubicBezTo>
                <a:cubicBezTo>
                  <a:pt x="1511" y="497"/>
                  <a:pt x="1511" y="497"/>
                  <a:pt x="1512" y="498"/>
                </a:cubicBezTo>
                <a:cubicBezTo>
                  <a:pt x="1512" y="498"/>
                  <a:pt x="1512" y="498"/>
                  <a:pt x="1512" y="499"/>
                </a:cubicBezTo>
                <a:cubicBezTo>
                  <a:pt x="1512" y="499"/>
                  <a:pt x="1512" y="499"/>
                  <a:pt x="1511" y="500"/>
                </a:cubicBezTo>
                <a:cubicBezTo>
                  <a:pt x="1511" y="500"/>
                  <a:pt x="1511" y="500"/>
                  <a:pt x="1512" y="502"/>
                </a:cubicBezTo>
                <a:cubicBezTo>
                  <a:pt x="1512" y="502"/>
                  <a:pt x="1512" y="502"/>
                  <a:pt x="1511" y="505"/>
                </a:cubicBezTo>
                <a:cubicBezTo>
                  <a:pt x="1511" y="505"/>
                  <a:pt x="1511" y="505"/>
                  <a:pt x="1509" y="505"/>
                </a:cubicBezTo>
                <a:cubicBezTo>
                  <a:pt x="1509" y="505"/>
                  <a:pt x="1509" y="505"/>
                  <a:pt x="1508" y="507"/>
                </a:cubicBezTo>
                <a:cubicBezTo>
                  <a:pt x="1508" y="507"/>
                  <a:pt x="1508" y="507"/>
                  <a:pt x="1508" y="510"/>
                </a:cubicBezTo>
                <a:cubicBezTo>
                  <a:pt x="1508" y="510"/>
                  <a:pt x="1508" y="510"/>
                  <a:pt x="1508" y="511"/>
                </a:cubicBezTo>
                <a:cubicBezTo>
                  <a:pt x="1508" y="511"/>
                  <a:pt x="1508" y="511"/>
                  <a:pt x="1506" y="512"/>
                </a:cubicBezTo>
                <a:cubicBezTo>
                  <a:pt x="1506" y="512"/>
                  <a:pt x="1506" y="512"/>
                  <a:pt x="1506" y="513"/>
                </a:cubicBezTo>
                <a:cubicBezTo>
                  <a:pt x="1506" y="513"/>
                  <a:pt x="1506" y="513"/>
                  <a:pt x="1507" y="513"/>
                </a:cubicBezTo>
                <a:cubicBezTo>
                  <a:pt x="1507" y="513"/>
                  <a:pt x="1507" y="513"/>
                  <a:pt x="1508" y="515"/>
                </a:cubicBezTo>
                <a:cubicBezTo>
                  <a:pt x="1508" y="515"/>
                  <a:pt x="1508" y="515"/>
                  <a:pt x="1509" y="516"/>
                </a:cubicBezTo>
                <a:cubicBezTo>
                  <a:pt x="1509" y="516"/>
                  <a:pt x="1509" y="516"/>
                  <a:pt x="1509" y="519"/>
                </a:cubicBezTo>
                <a:cubicBezTo>
                  <a:pt x="1509" y="519"/>
                  <a:pt x="1509" y="519"/>
                  <a:pt x="1511" y="520"/>
                </a:cubicBezTo>
                <a:cubicBezTo>
                  <a:pt x="1511" y="520"/>
                  <a:pt x="1511" y="520"/>
                  <a:pt x="1513" y="520"/>
                </a:cubicBezTo>
                <a:cubicBezTo>
                  <a:pt x="1513" y="520"/>
                  <a:pt x="1513" y="520"/>
                  <a:pt x="1514" y="522"/>
                </a:cubicBezTo>
                <a:cubicBezTo>
                  <a:pt x="1514" y="522"/>
                  <a:pt x="1514" y="522"/>
                  <a:pt x="1515" y="523"/>
                </a:cubicBezTo>
                <a:cubicBezTo>
                  <a:pt x="1515" y="523"/>
                  <a:pt x="1515" y="523"/>
                  <a:pt x="1514" y="525"/>
                </a:cubicBezTo>
                <a:cubicBezTo>
                  <a:pt x="1514" y="525"/>
                  <a:pt x="1514" y="525"/>
                  <a:pt x="1513" y="524"/>
                </a:cubicBezTo>
                <a:cubicBezTo>
                  <a:pt x="1513" y="524"/>
                  <a:pt x="1513" y="524"/>
                  <a:pt x="1512" y="524"/>
                </a:cubicBezTo>
                <a:cubicBezTo>
                  <a:pt x="1512" y="524"/>
                  <a:pt x="1512" y="524"/>
                  <a:pt x="1510" y="524"/>
                </a:cubicBezTo>
                <a:cubicBezTo>
                  <a:pt x="1510" y="524"/>
                  <a:pt x="1510" y="524"/>
                  <a:pt x="1508" y="524"/>
                </a:cubicBezTo>
                <a:cubicBezTo>
                  <a:pt x="1508" y="524"/>
                  <a:pt x="1508" y="524"/>
                  <a:pt x="1507" y="525"/>
                </a:cubicBezTo>
                <a:cubicBezTo>
                  <a:pt x="1507" y="525"/>
                  <a:pt x="1507" y="525"/>
                  <a:pt x="1506" y="527"/>
                </a:cubicBezTo>
                <a:cubicBezTo>
                  <a:pt x="1506" y="527"/>
                  <a:pt x="1506" y="527"/>
                  <a:pt x="1503" y="528"/>
                </a:cubicBezTo>
                <a:cubicBezTo>
                  <a:pt x="1503" y="528"/>
                  <a:pt x="1503" y="528"/>
                  <a:pt x="1500" y="531"/>
                </a:cubicBezTo>
                <a:cubicBezTo>
                  <a:pt x="1500" y="531"/>
                  <a:pt x="1500" y="531"/>
                  <a:pt x="1500" y="530"/>
                </a:cubicBezTo>
                <a:cubicBezTo>
                  <a:pt x="1500" y="530"/>
                  <a:pt x="1500" y="530"/>
                  <a:pt x="1500" y="528"/>
                </a:cubicBezTo>
                <a:cubicBezTo>
                  <a:pt x="1500" y="528"/>
                  <a:pt x="1500" y="528"/>
                  <a:pt x="1501" y="528"/>
                </a:cubicBezTo>
                <a:cubicBezTo>
                  <a:pt x="1501" y="528"/>
                  <a:pt x="1501" y="528"/>
                  <a:pt x="1502" y="527"/>
                </a:cubicBezTo>
                <a:cubicBezTo>
                  <a:pt x="1502" y="527"/>
                  <a:pt x="1502" y="527"/>
                  <a:pt x="1501" y="527"/>
                </a:cubicBezTo>
                <a:cubicBezTo>
                  <a:pt x="1501" y="527"/>
                  <a:pt x="1501" y="527"/>
                  <a:pt x="1500" y="527"/>
                </a:cubicBezTo>
                <a:cubicBezTo>
                  <a:pt x="1500" y="527"/>
                  <a:pt x="1500" y="527"/>
                  <a:pt x="1499" y="526"/>
                </a:cubicBezTo>
                <a:cubicBezTo>
                  <a:pt x="1499" y="526"/>
                  <a:pt x="1499" y="526"/>
                  <a:pt x="1498" y="525"/>
                </a:cubicBezTo>
                <a:cubicBezTo>
                  <a:pt x="1498" y="525"/>
                  <a:pt x="1498" y="525"/>
                  <a:pt x="1496" y="525"/>
                </a:cubicBezTo>
                <a:cubicBezTo>
                  <a:pt x="1496" y="525"/>
                  <a:pt x="1496" y="525"/>
                  <a:pt x="1494" y="525"/>
                </a:cubicBezTo>
                <a:cubicBezTo>
                  <a:pt x="1494" y="525"/>
                  <a:pt x="1494" y="525"/>
                  <a:pt x="1493" y="524"/>
                </a:cubicBezTo>
                <a:cubicBezTo>
                  <a:pt x="1493" y="524"/>
                  <a:pt x="1493" y="524"/>
                  <a:pt x="1492" y="524"/>
                </a:cubicBezTo>
                <a:cubicBezTo>
                  <a:pt x="1492" y="524"/>
                  <a:pt x="1492" y="524"/>
                  <a:pt x="1491" y="526"/>
                </a:cubicBezTo>
                <a:cubicBezTo>
                  <a:pt x="1491" y="527"/>
                  <a:pt x="1491" y="527"/>
                  <a:pt x="1491" y="527"/>
                </a:cubicBezTo>
                <a:cubicBezTo>
                  <a:pt x="1490" y="528"/>
                  <a:pt x="1490" y="528"/>
                  <a:pt x="1490" y="528"/>
                </a:cubicBezTo>
                <a:cubicBezTo>
                  <a:pt x="1490" y="527"/>
                  <a:pt x="1490" y="527"/>
                  <a:pt x="1490" y="527"/>
                </a:cubicBezTo>
                <a:cubicBezTo>
                  <a:pt x="1489" y="527"/>
                  <a:pt x="1489" y="527"/>
                  <a:pt x="1489" y="527"/>
                </a:cubicBezTo>
                <a:cubicBezTo>
                  <a:pt x="1490" y="526"/>
                  <a:pt x="1490" y="526"/>
                  <a:pt x="1490" y="526"/>
                </a:cubicBezTo>
                <a:cubicBezTo>
                  <a:pt x="1490" y="526"/>
                  <a:pt x="1490" y="526"/>
                  <a:pt x="1489" y="524"/>
                </a:cubicBezTo>
                <a:cubicBezTo>
                  <a:pt x="1489" y="524"/>
                  <a:pt x="1489" y="524"/>
                  <a:pt x="1488" y="525"/>
                </a:cubicBezTo>
                <a:cubicBezTo>
                  <a:pt x="1488" y="525"/>
                  <a:pt x="1488" y="525"/>
                  <a:pt x="1487" y="526"/>
                </a:cubicBezTo>
                <a:cubicBezTo>
                  <a:pt x="1487" y="526"/>
                  <a:pt x="1487" y="526"/>
                  <a:pt x="1486" y="527"/>
                </a:cubicBezTo>
                <a:cubicBezTo>
                  <a:pt x="1486" y="527"/>
                  <a:pt x="1486" y="527"/>
                  <a:pt x="1485" y="527"/>
                </a:cubicBezTo>
                <a:cubicBezTo>
                  <a:pt x="1485" y="527"/>
                  <a:pt x="1485" y="527"/>
                  <a:pt x="1484" y="527"/>
                </a:cubicBezTo>
                <a:cubicBezTo>
                  <a:pt x="1484" y="527"/>
                  <a:pt x="1484" y="527"/>
                  <a:pt x="1486" y="529"/>
                </a:cubicBezTo>
                <a:cubicBezTo>
                  <a:pt x="1486" y="529"/>
                  <a:pt x="1486" y="529"/>
                  <a:pt x="1487" y="529"/>
                </a:cubicBezTo>
                <a:cubicBezTo>
                  <a:pt x="1487" y="529"/>
                  <a:pt x="1487" y="529"/>
                  <a:pt x="1488" y="530"/>
                </a:cubicBezTo>
                <a:cubicBezTo>
                  <a:pt x="1488" y="530"/>
                  <a:pt x="1488" y="530"/>
                  <a:pt x="1488" y="531"/>
                </a:cubicBezTo>
                <a:cubicBezTo>
                  <a:pt x="1488" y="531"/>
                  <a:pt x="1488" y="531"/>
                  <a:pt x="1487" y="530"/>
                </a:cubicBezTo>
                <a:cubicBezTo>
                  <a:pt x="1487" y="530"/>
                  <a:pt x="1487" y="530"/>
                  <a:pt x="1485" y="530"/>
                </a:cubicBezTo>
                <a:cubicBezTo>
                  <a:pt x="1485" y="530"/>
                  <a:pt x="1485" y="530"/>
                  <a:pt x="1486" y="531"/>
                </a:cubicBezTo>
                <a:cubicBezTo>
                  <a:pt x="1486" y="531"/>
                  <a:pt x="1486" y="531"/>
                  <a:pt x="1486" y="532"/>
                </a:cubicBezTo>
                <a:cubicBezTo>
                  <a:pt x="1486" y="532"/>
                  <a:pt x="1486" y="532"/>
                  <a:pt x="1485" y="532"/>
                </a:cubicBezTo>
                <a:cubicBezTo>
                  <a:pt x="1485" y="532"/>
                  <a:pt x="1485" y="532"/>
                  <a:pt x="1484" y="531"/>
                </a:cubicBezTo>
                <a:cubicBezTo>
                  <a:pt x="1484" y="531"/>
                  <a:pt x="1484" y="531"/>
                  <a:pt x="1483" y="530"/>
                </a:cubicBezTo>
                <a:cubicBezTo>
                  <a:pt x="1483" y="530"/>
                  <a:pt x="1483" y="530"/>
                  <a:pt x="1483" y="531"/>
                </a:cubicBezTo>
                <a:cubicBezTo>
                  <a:pt x="1483" y="531"/>
                  <a:pt x="1483" y="531"/>
                  <a:pt x="1483" y="532"/>
                </a:cubicBezTo>
                <a:cubicBezTo>
                  <a:pt x="1483" y="532"/>
                  <a:pt x="1483" y="532"/>
                  <a:pt x="1484" y="533"/>
                </a:cubicBezTo>
                <a:cubicBezTo>
                  <a:pt x="1484" y="533"/>
                  <a:pt x="1484" y="533"/>
                  <a:pt x="1483" y="533"/>
                </a:cubicBezTo>
                <a:cubicBezTo>
                  <a:pt x="1483" y="533"/>
                  <a:pt x="1483" y="533"/>
                  <a:pt x="1482" y="532"/>
                </a:cubicBezTo>
                <a:cubicBezTo>
                  <a:pt x="1482" y="532"/>
                  <a:pt x="1482" y="532"/>
                  <a:pt x="1481" y="530"/>
                </a:cubicBezTo>
                <a:cubicBezTo>
                  <a:pt x="1481" y="530"/>
                  <a:pt x="1481" y="530"/>
                  <a:pt x="1479" y="529"/>
                </a:cubicBezTo>
                <a:cubicBezTo>
                  <a:pt x="1479" y="529"/>
                  <a:pt x="1479" y="529"/>
                  <a:pt x="1480" y="529"/>
                </a:cubicBezTo>
                <a:cubicBezTo>
                  <a:pt x="1480" y="529"/>
                  <a:pt x="1480" y="529"/>
                  <a:pt x="1480" y="527"/>
                </a:cubicBezTo>
                <a:cubicBezTo>
                  <a:pt x="1480" y="527"/>
                  <a:pt x="1480" y="527"/>
                  <a:pt x="1478" y="528"/>
                </a:cubicBezTo>
                <a:cubicBezTo>
                  <a:pt x="1478" y="528"/>
                  <a:pt x="1478" y="528"/>
                  <a:pt x="1477" y="529"/>
                </a:cubicBezTo>
                <a:cubicBezTo>
                  <a:pt x="1477" y="529"/>
                  <a:pt x="1477" y="529"/>
                  <a:pt x="1478" y="531"/>
                </a:cubicBezTo>
                <a:cubicBezTo>
                  <a:pt x="1478" y="531"/>
                  <a:pt x="1478" y="531"/>
                  <a:pt x="1477" y="532"/>
                </a:cubicBezTo>
                <a:cubicBezTo>
                  <a:pt x="1477" y="532"/>
                  <a:pt x="1477" y="532"/>
                  <a:pt x="1479" y="533"/>
                </a:cubicBezTo>
                <a:cubicBezTo>
                  <a:pt x="1479" y="533"/>
                  <a:pt x="1479" y="533"/>
                  <a:pt x="1479" y="534"/>
                </a:cubicBezTo>
                <a:cubicBezTo>
                  <a:pt x="1479" y="534"/>
                  <a:pt x="1479" y="534"/>
                  <a:pt x="1480" y="535"/>
                </a:cubicBezTo>
                <a:cubicBezTo>
                  <a:pt x="1480" y="535"/>
                  <a:pt x="1480" y="535"/>
                  <a:pt x="1482" y="537"/>
                </a:cubicBezTo>
                <a:cubicBezTo>
                  <a:pt x="1482" y="537"/>
                  <a:pt x="1482" y="537"/>
                  <a:pt x="1482" y="538"/>
                </a:cubicBezTo>
                <a:cubicBezTo>
                  <a:pt x="1482" y="538"/>
                  <a:pt x="1482" y="538"/>
                  <a:pt x="1481" y="538"/>
                </a:cubicBezTo>
                <a:cubicBezTo>
                  <a:pt x="1481" y="538"/>
                  <a:pt x="1481" y="538"/>
                  <a:pt x="1480" y="537"/>
                </a:cubicBezTo>
                <a:cubicBezTo>
                  <a:pt x="1480" y="537"/>
                  <a:pt x="1480" y="537"/>
                  <a:pt x="1480" y="538"/>
                </a:cubicBezTo>
                <a:cubicBezTo>
                  <a:pt x="1480" y="538"/>
                  <a:pt x="1480" y="538"/>
                  <a:pt x="1479" y="539"/>
                </a:cubicBezTo>
                <a:cubicBezTo>
                  <a:pt x="1479" y="539"/>
                  <a:pt x="1479" y="539"/>
                  <a:pt x="1480" y="539"/>
                </a:cubicBezTo>
                <a:cubicBezTo>
                  <a:pt x="1480" y="539"/>
                  <a:pt x="1480" y="539"/>
                  <a:pt x="1480" y="540"/>
                </a:cubicBezTo>
                <a:cubicBezTo>
                  <a:pt x="1480" y="540"/>
                  <a:pt x="1480" y="540"/>
                  <a:pt x="1480" y="541"/>
                </a:cubicBezTo>
                <a:cubicBezTo>
                  <a:pt x="1480" y="541"/>
                  <a:pt x="1480" y="541"/>
                  <a:pt x="1478" y="541"/>
                </a:cubicBezTo>
                <a:cubicBezTo>
                  <a:pt x="1478" y="541"/>
                  <a:pt x="1478" y="541"/>
                  <a:pt x="1480" y="542"/>
                </a:cubicBezTo>
                <a:cubicBezTo>
                  <a:pt x="1480" y="542"/>
                  <a:pt x="1480" y="542"/>
                  <a:pt x="1481" y="542"/>
                </a:cubicBezTo>
                <a:cubicBezTo>
                  <a:pt x="1481" y="542"/>
                  <a:pt x="1481" y="542"/>
                  <a:pt x="1481" y="543"/>
                </a:cubicBezTo>
                <a:cubicBezTo>
                  <a:pt x="1481" y="543"/>
                  <a:pt x="1481" y="543"/>
                  <a:pt x="1482" y="543"/>
                </a:cubicBezTo>
                <a:cubicBezTo>
                  <a:pt x="1482" y="543"/>
                  <a:pt x="1482" y="543"/>
                  <a:pt x="1483" y="544"/>
                </a:cubicBezTo>
                <a:cubicBezTo>
                  <a:pt x="1483" y="544"/>
                  <a:pt x="1483" y="544"/>
                  <a:pt x="1486" y="546"/>
                </a:cubicBezTo>
                <a:cubicBezTo>
                  <a:pt x="1486" y="546"/>
                  <a:pt x="1486" y="546"/>
                  <a:pt x="1487" y="546"/>
                </a:cubicBezTo>
                <a:cubicBezTo>
                  <a:pt x="1487" y="546"/>
                  <a:pt x="1487" y="546"/>
                  <a:pt x="1487" y="548"/>
                </a:cubicBezTo>
                <a:cubicBezTo>
                  <a:pt x="1487" y="548"/>
                  <a:pt x="1487" y="548"/>
                  <a:pt x="1488" y="549"/>
                </a:cubicBezTo>
                <a:cubicBezTo>
                  <a:pt x="1488" y="549"/>
                  <a:pt x="1488" y="549"/>
                  <a:pt x="1487" y="550"/>
                </a:cubicBezTo>
                <a:cubicBezTo>
                  <a:pt x="1487" y="550"/>
                  <a:pt x="1487" y="550"/>
                  <a:pt x="1486" y="550"/>
                </a:cubicBezTo>
                <a:cubicBezTo>
                  <a:pt x="1486" y="550"/>
                  <a:pt x="1486" y="550"/>
                  <a:pt x="1486" y="549"/>
                </a:cubicBezTo>
                <a:cubicBezTo>
                  <a:pt x="1486" y="549"/>
                  <a:pt x="1486" y="549"/>
                  <a:pt x="1484" y="548"/>
                </a:cubicBezTo>
                <a:cubicBezTo>
                  <a:pt x="1484" y="548"/>
                  <a:pt x="1484" y="548"/>
                  <a:pt x="1483" y="549"/>
                </a:cubicBezTo>
                <a:cubicBezTo>
                  <a:pt x="1483" y="549"/>
                  <a:pt x="1483" y="549"/>
                  <a:pt x="1482" y="549"/>
                </a:cubicBezTo>
                <a:cubicBezTo>
                  <a:pt x="1482" y="549"/>
                  <a:pt x="1482" y="549"/>
                  <a:pt x="1481" y="549"/>
                </a:cubicBezTo>
                <a:cubicBezTo>
                  <a:pt x="1481" y="549"/>
                  <a:pt x="1481" y="549"/>
                  <a:pt x="1482" y="550"/>
                </a:cubicBezTo>
                <a:cubicBezTo>
                  <a:pt x="1482" y="550"/>
                  <a:pt x="1482" y="550"/>
                  <a:pt x="1482" y="551"/>
                </a:cubicBezTo>
                <a:cubicBezTo>
                  <a:pt x="1482" y="551"/>
                  <a:pt x="1482" y="551"/>
                  <a:pt x="1483" y="552"/>
                </a:cubicBezTo>
                <a:cubicBezTo>
                  <a:pt x="1483" y="552"/>
                  <a:pt x="1483" y="552"/>
                  <a:pt x="1484" y="552"/>
                </a:cubicBezTo>
                <a:cubicBezTo>
                  <a:pt x="1484" y="552"/>
                  <a:pt x="1484" y="552"/>
                  <a:pt x="1485" y="553"/>
                </a:cubicBezTo>
                <a:cubicBezTo>
                  <a:pt x="1485" y="553"/>
                  <a:pt x="1485" y="553"/>
                  <a:pt x="1483" y="553"/>
                </a:cubicBezTo>
                <a:cubicBezTo>
                  <a:pt x="1483" y="553"/>
                  <a:pt x="1483" y="553"/>
                  <a:pt x="1482" y="553"/>
                </a:cubicBezTo>
                <a:cubicBezTo>
                  <a:pt x="1482" y="553"/>
                  <a:pt x="1482" y="553"/>
                  <a:pt x="1482" y="552"/>
                </a:cubicBezTo>
                <a:cubicBezTo>
                  <a:pt x="1482" y="552"/>
                  <a:pt x="1482" y="552"/>
                  <a:pt x="1481" y="552"/>
                </a:cubicBezTo>
                <a:cubicBezTo>
                  <a:pt x="1481" y="552"/>
                  <a:pt x="1481" y="552"/>
                  <a:pt x="1480" y="552"/>
                </a:cubicBezTo>
                <a:cubicBezTo>
                  <a:pt x="1480" y="552"/>
                  <a:pt x="1480" y="552"/>
                  <a:pt x="1481" y="553"/>
                </a:cubicBezTo>
                <a:cubicBezTo>
                  <a:pt x="1481" y="553"/>
                  <a:pt x="1481" y="553"/>
                  <a:pt x="1482" y="555"/>
                </a:cubicBezTo>
                <a:cubicBezTo>
                  <a:pt x="1482" y="555"/>
                  <a:pt x="1482" y="555"/>
                  <a:pt x="1482" y="557"/>
                </a:cubicBezTo>
                <a:cubicBezTo>
                  <a:pt x="1482" y="557"/>
                  <a:pt x="1482" y="557"/>
                  <a:pt x="1482" y="558"/>
                </a:cubicBezTo>
                <a:cubicBezTo>
                  <a:pt x="1482" y="558"/>
                  <a:pt x="1482" y="558"/>
                  <a:pt x="1483" y="559"/>
                </a:cubicBezTo>
                <a:cubicBezTo>
                  <a:pt x="1483" y="559"/>
                  <a:pt x="1483" y="559"/>
                  <a:pt x="1481" y="558"/>
                </a:cubicBezTo>
                <a:cubicBezTo>
                  <a:pt x="1481" y="558"/>
                  <a:pt x="1481" y="558"/>
                  <a:pt x="1481" y="556"/>
                </a:cubicBezTo>
                <a:cubicBezTo>
                  <a:pt x="1481" y="556"/>
                  <a:pt x="1481" y="556"/>
                  <a:pt x="1480" y="556"/>
                </a:cubicBezTo>
                <a:cubicBezTo>
                  <a:pt x="1480" y="556"/>
                  <a:pt x="1480" y="556"/>
                  <a:pt x="1479" y="558"/>
                </a:cubicBezTo>
                <a:cubicBezTo>
                  <a:pt x="1479" y="558"/>
                  <a:pt x="1479" y="558"/>
                  <a:pt x="1478" y="557"/>
                </a:cubicBezTo>
                <a:cubicBezTo>
                  <a:pt x="1478" y="557"/>
                  <a:pt x="1478" y="557"/>
                  <a:pt x="1477" y="556"/>
                </a:cubicBezTo>
                <a:cubicBezTo>
                  <a:pt x="1477" y="556"/>
                  <a:pt x="1477" y="556"/>
                  <a:pt x="1476" y="555"/>
                </a:cubicBezTo>
                <a:cubicBezTo>
                  <a:pt x="1476" y="555"/>
                  <a:pt x="1476" y="555"/>
                  <a:pt x="1476" y="556"/>
                </a:cubicBezTo>
                <a:cubicBezTo>
                  <a:pt x="1476" y="556"/>
                  <a:pt x="1476" y="556"/>
                  <a:pt x="1476" y="557"/>
                </a:cubicBezTo>
                <a:cubicBezTo>
                  <a:pt x="1476" y="557"/>
                  <a:pt x="1476" y="557"/>
                  <a:pt x="1475" y="556"/>
                </a:cubicBezTo>
                <a:cubicBezTo>
                  <a:pt x="1475" y="556"/>
                  <a:pt x="1475" y="556"/>
                  <a:pt x="1474" y="555"/>
                </a:cubicBezTo>
                <a:cubicBezTo>
                  <a:pt x="1474" y="555"/>
                  <a:pt x="1474" y="555"/>
                  <a:pt x="1474" y="554"/>
                </a:cubicBezTo>
                <a:cubicBezTo>
                  <a:pt x="1474" y="554"/>
                  <a:pt x="1474" y="554"/>
                  <a:pt x="1474" y="553"/>
                </a:cubicBezTo>
                <a:cubicBezTo>
                  <a:pt x="1474" y="553"/>
                  <a:pt x="1474" y="553"/>
                  <a:pt x="1474" y="552"/>
                </a:cubicBezTo>
                <a:cubicBezTo>
                  <a:pt x="1474" y="552"/>
                  <a:pt x="1474" y="552"/>
                  <a:pt x="1473" y="551"/>
                </a:cubicBezTo>
                <a:cubicBezTo>
                  <a:pt x="1473" y="551"/>
                  <a:pt x="1473" y="551"/>
                  <a:pt x="1471" y="550"/>
                </a:cubicBezTo>
                <a:cubicBezTo>
                  <a:pt x="1471" y="550"/>
                  <a:pt x="1471" y="550"/>
                  <a:pt x="1470" y="549"/>
                </a:cubicBezTo>
                <a:cubicBezTo>
                  <a:pt x="1470" y="549"/>
                  <a:pt x="1470" y="549"/>
                  <a:pt x="1470" y="548"/>
                </a:cubicBezTo>
                <a:cubicBezTo>
                  <a:pt x="1470" y="548"/>
                  <a:pt x="1470" y="548"/>
                  <a:pt x="1471" y="548"/>
                </a:cubicBezTo>
                <a:cubicBezTo>
                  <a:pt x="1471" y="548"/>
                  <a:pt x="1471" y="548"/>
                  <a:pt x="1472" y="546"/>
                </a:cubicBezTo>
                <a:cubicBezTo>
                  <a:pt x="1472" y="546"/>
                  <a:pt x="1472" y="546"/>
                  <a:pt x="1473" y="547"/>
                </a:cubicBezTo>
                <a:cubicBezTo>
                  <a:pt x="1473" y="547"/>
                  <a:pt x="1473" y="547"/>
                  <a:pt x="1474" y="546"/>
                </a:cubicBezTo>
                <a:cubicBezTo>
                  <a:pt x="1474" y="546"/>
                  <a:pt x="1474" y="546"/>
                  <a:pt x="1475" y="546"/>
                </a:cubicBezTo>
                <a:cubicBezTo>
                  <a:pt x="1475" y="546"/>
                  <a:pt x="1475" y="546"/>
                  <a:pt x="1478" y="548"/>
                </a:cubicBezTo>
                <a:cubicBezTo>
                  <a:pt x="1478" y="548"/>
                  <a:pt x="1478" y="548"/>
                  <a:pt x="1479" y="548"/>
                </a:cubicBezTo>
                <a:cubicBezTo>
                  <a:pt x="1479" y="548"/>
                  <a:pt x="1479" y="548"/>
                  <a:pt x="1480" y="549"/>
                </a:cubicBezTo>
                <a:cubicBezTo>
                  <a:pt x="1480" y="549"/>
                  <a:pt x="1480" y="549"/>
                  <a:pt x="1480" y="548"/>
                </a:cubicBezTo>
                <a:cubicBezTo>
                  <a:pt x="1480" y="548"/>
                  <a:pt x="1480" y="548"/>
                  <a:pt x="1481" y="547"/>
                </a:cubicBezTo>
                <a:cubicBezTo>
                  <a:pt x="1481" y="547"/>
                  <a:pt x="1481" y="547"/>
                  <a:pt x="1480" y="547"/>
                </a:cubicBezTo>
                <a:cubicBezTo>
                  <a:pt x="1480" y="547"/>
                  <a:pt x="1480" y="547"/>
                  <a:pt x="1479" y="546"/>
                </a:cubicBezTo>
                <a:cubicBezTo>
                  <a:pt x="1479" y="546"/>
                  <a:pt x="1479" y="546"/>
                  <a:pt x="1478" y="546"/>
                </a:cubicBezTo>
                <a:cubicBezTo>
                  <a:pt x="1478" y="546"/>
                  <a:pt x="1478" y="546"/>
                  <a:pt x="1477" y="546"/>
                </a:cubicBezTo>
                <a:cubicBezTo>
                  <a:pt x="1477" y="546"/>
                  <a:pt x="1477" y="546"/>
                  <a:pt x="1476" y="545"/>
                </a:cubicBezTo>
                <a:cubicBezTo>
                  <a:pt x="1476" y="545"/>
                  <a:pt x="1476" y="545"/>
                  <a:pt x="1475" y="545"/>
                </a:cubicBezTo>
                <a:cubicBezTo>
                  <a:pt x="1475" y="545"/>
                  <a:pt x="1475" y="545"/>
                  <a:pt x="1474" y="546"/>
                </a:cubicBezTo>
                <a:cubicBezTo>
                  <a:pt x="1474" y="546"/>
                  <a:pt x="1474" y="546"/>
                  <a:pt x="1473" y="546"/>
                </a:cubicBezTo>
                <a:cubicBezTo>
                  <a:pt x="1473" y="546"/>
                  <a:pt x="1473" y="546"/>
                  <a:pt x="1472" y="544"/>
                </a:cubicBezTo>
                <a:cubicBezTo>
                  <a:pt x="1472" y="544"/>
                  <a:pt x="1472" y="544"/>
                  <a:pt x="1471" y="546"/>
                </a:cubicBezTo>
                <a:cubicBezTo>
                  <a:pt x="1471" y="546"/>
                  <a:pt x="1471" y="546"/>
                  <a:pt x="1470" y="545"/>
                </a:cubicBezTo>
                <a:cubicBezTo>
                  <a:pt x="1470" y="545"/>
                  <a:pt x="1470" y="545"/>
                  <a:pt x="1469" y="544"/>
                </a:cubicBezTo>
                <a:cubicBezTo>
                  <a:pt x="1469" y="544"/>
                  <a:pt x="1469" y="544"/>
                  <a:pt x="1468" y="541"/>
                </a:cubicBezTo>
                <a:cubicBezTo>
                  <a:pt x="1468" y="541"/>
                  <a:pt x="1468" y="541"/>
                  <a:pt x="1467" y="541"/>
                </a:cubicBezTo>
                <a:cubicBezTo>
                  <a:pt x="1467" y="541"/>
                  <a:pt x="1467" y="541"/>
                  <a:pt x="1466" y="539"/>
                </a:cubicBezTo>
                <a:cubicBezTo>
                  <a:pt x="1466" y="539"/>
                  <a:pt x="1466" y="539"/>
                  <a:pt x="1464" y="537"/>
                </a:cubicBezTo>
                <a:cubicBezTo>
                  <a:pt x="1464" y="537"/>
                  <a:pt x="1464" y="537"/>
                  <a:pt x="1464" y="535"/>
                </a:cubicBezTo>
                <a:cubicBezTo>
                  <a:pt x="1464" y="535"/>
                  <a:pt x="1464" y="535"/>
                  <a:pt x="1463" y="535"/>
                </a:cubicBezTo>
                <a:cubicBezTo>
                  <a:pt x="1463" y="535"/>
                  <a:pt x="1463" y="535"/>
                  <a:pt x="1462" y="534"/>
                </a:cubicBezTo>
                <a:cubicBezTo>
                  <a:pt x="1462" y="534"/>
                  <a:pt x="1462" y="534"/>
                  <a:pt x="1461" y="531"/>
                </a:cubicBezTo>
                <a:cubicBezTo>
                  <a:pt x="1461" y="531"/>
                  <a:pt x="1461" y="531"/>
                  <a:pt x="1459" y="531"/>
                </a:cubicBezTo>
                <a:cubicBezTo>
                  <a:pt x="1459" y="531"/>
                  <a:pt x="1459" y="531"/>
                  <a:pt x="1458" y="530"/>
                </a:cubicBezTo>
                <a:cubicBezTo>
                  <a:pt x="1458" y="530"/>
                  <a:pt x="1458" y="530"/>
                  <a:pt x="1459" y="529"/>
                </a:cubicBezTo>
                <a:cubicBezTo>
                  <a:pt x="1459" y="529"/>
                  <a:pt x="1459" y="529"/>
                  <a:pt x="1458" y="528"/>
                </a:cubicBezTo>
                <a:cubicBezTo>
                  <a:pt x="1458" y="528"/>
                  <a:pt x="1458" y="528"/>
                  <a:pt x="1458" y="526"/>
                </a:cubicBezTo>
                <a:cubicBezTo>
                  <a:pt x="1458" y="526"/>
                  <a:pt x="1458" y="526"/>
                  <a:pt x="1459" y="525"/>
                </a:cubicBezTo>
                <a:cubicBezTo>
                  <a:pt x="1459" y="525"/>
                  <a:pt x="1459" y="525"/>
                  <a:pt x="1458" y="523"/>
                </a:cubicBezTo>
                <a:cubicBezTo>
                  <a:pt x="1458" y="523"/>
                  <a:pt x="1458" y="523"/>
                  <a:pt x="1458" y="520"/>
                </a:cubicBezTo>
                <a:cubicBezTo>
                  <a:pt x="1458" y="520"/>
                  <a:pt x="1458" y="520"/>
                  <a:pt x="1459" y="520"/>
                </a:cubicBezTo>
                <a:cubicBezTo>
                  <a:pt x="1459" y="520"/>
                  <a:pt x="1459" y="520"/>
                  <a:pt x="1459" y="519"/>
                </a:cubicBezTo>
                <a:cubicBezTo>
                  <a:pt x="1459" y="519"/>
                  <a:pt x="1459" y="519"/>
                  <a:pt x="1457" y="518"/>
                </a:cubicBezTo>
                <a:cubicBezTo>
                  <a:pt x="1457" y="518"/>
                  <a:pt x="1457" y="518"/>
                  <a:pt x="1456" y="517"/>
                </a:cubicBezTo>
                <a:cubicBezTo>
                  <a:pt x="1456" y="517"/>
                  <a:pt x="1456" y="517"/>
                  <a:pt x="1453" y="514"/>
                </a:cubicBezTo>
                <a:cubicBezTo>
                  <a:pt x="1453" y="514"/>
                  <a:pt x="1453" y="514"/>
                  <a:pt x="1452" y="513"/>
                </a:cubicBezTo>
                <a:cubicBezTo>
                  <a:pt x="1452" y="513"/>
                  <a:pt x="1452" y="513"/>
                  <a:pt x="1452" y="512"/>
                </a:cubicBezTo>
                <a:cubicBezTo>
                  <a:pt x="1452" y="512"/>
                  <a:pt x="1452" y="512"/>
                  <a:pt x="1450" y="511"/>
                </a:cubicBezTo>
                <a:cubicBezTo>
                  <a:pt x="1450" y="511"/>
                  <a:pt x="1450" y="511"/>
                  <a:pt x="1447" y="511"/>
                </a:cubicBezTo>
                <a:cubicBezTo>
                  <a:pt x="1447" y="511"/>
                  <a:pt x="1447" y="511"/>
                  <a:pt x="1447" y="510"/>
                </a:cubicBezTo>
                <a:cubicBezTo>
                  <a:pt x="1447" y="510"/>
                  <a:pt x="1447" y="510"/>
                  <a:pt x="1444" y="507"/>
                </a:cubicBezTo>
                <a:cubicBezTo>
                  <a:pt x="1444" y="507"/>
                  <a:pt x="1444" y="507"/>
                  <a:pt x="1442" y="506"/>
                </a:cubicBezTo>
                <a:cubicBezTo>
                  <a:pt x="1442" y="506"/>
                  <a:pt x="1442" y="506"/>
                  <a:pt x="1439" y="506"/>
                </a:cubicBezTo>
                <a:cubicBezTo>
                  <a:pt x="1439" y="506"/>
                  <a:pt x="1439" y="506"/>
                  <a:pt x="1438" y="506"/>
                </a:cubicBezTo>
                <a:cubicBezTo>
                  <a:pt x="1438" y="506"/>
                  <a:pt x="1438" y="506"/>
                  <a:pt x="1437" y="505"/>
                </a:cubicBezTo>
                <a:cubicBezTo>
                  <a:pt x="1437" y="505"/>
                  <a:pt x="1437" y="505"/>
                  <a:pt x="1437" y="504"/>
                </a:cubicBezTo>
                <a:cubicBezTo>
                  <a:pt x="1437" y="504"/>
                  <a:pt x="1437" y="504"/>
                  <a:pt x="1436" y="504"/>
                </a:cubicBezTo>
                <a:cubicBezTo>
                  <a:pt x="1436" y="504"/>
                  <a:pt x="1436" y="504"/>
                  <a:pt x="1434" y="502"/>
                </a:cubicBezTo>
                <a:cubicBezTo>
                  <a:pt x="1434" y="502"/>
                  <a:pt x="1434" y="502"/>
                  <a:pt x="1433" y="502"/>
                </a:cubicBezTo>
                <a:cubicBezTo>
                  <a:pt x="1433" y="502"/>
                  <a:pt x="1433" y="502"/>
                  <a:pt x="1432" y="501"/>
                </a:cubicBezTo>
                <a:cubicBezTo>
                  <a:pt x="1432" y="501"/>
                  <a:pt x="1432" y="501"/>
                  <a:pt x="1433" y="500"/>
                </a:cubicBezTo>
                <a:cubicBezTo>
                  <a:pt x="1433" y="500"/>
                  <a:pt x="1433" y="500"/>
                  <a:pt x="1434" y="500"/>
                </a:cubicBezTo>
                <a:cubicBezTo>
                  <a:pt x="1434" y="500"/>
                  <a:pt x="1434" y="500"/>
                  <a:pt x="1435" y="500"/>
                </a:cubicBezTo>
                <a:cubicBezTo>
                  <a:pt x="1435" y="500"/>
                  <a:pt x="1435" y="500"/>
                  <a:pt x="1434" y="499"/>
                </a:cubicBezTo>
                <a:cubicBezTo>
                  <a:pt x="1434" y="499"/>
                  <a:pt x="1434" y="499"/>
                  <a:pt x="1433" y="499"/>
                </a:cubicBezTo>
                <a:cubicBezTo>
                  <a:pt x="1433" y="499"/>
                  <a:pt x="1433" y="499"/>
                  <a:pt x="1431" y="497"/>
                </a:cubicBezTo>
                <a:cubicBezTo>
                  <a:pt x="1431" y="497"/>
                  <a:pt x="1431" y="497"/>
                  <a:pt x="1430" y="496"/>
                </a:cubicBezTo>
                <a:cubicBezTo>
                  <a:pt x="1430" y="496"/>
                  <a:pt x="1430" y="496"/>
                  <a:pt x="1430" y="494"/>
                </a:cubicBezTo>
                <a:cubicBezTo>
                  <a:pt x="1430" y="494"/>
                  <a:pt x="1430" y="494"/>
                  <a:pt x="1429" y="493"/>
                </a:cubicBezTo>
                <a:cubicBezTo>
                  <a:pt x="1429" y="493"/>
                  <a:pt x="1429" y="493"/>
                  <a:pt x="1428" y="492"/>
                </a:cubicBezTo>
                <a:cubicBezTo>
                  <a:pt x="1428" y="492"/>
                  <a:pt x="1428" y="492"/>
                  <a:pt x="1427" y="492"/>
                </a:cubicBezTo>
                <a:cubicBezTo>
                  <a:pt x="1427" y="492"/>
                  <a:pt x="1427" y="492"/>
                  <a:pt x="1426" y="493"/>
                </a:cubicBezTo>
                <a:cubicBezTo>
                  <a:pt x="1426" y="493"/>
                  <a:pt x="1426" y="493"/>
                  <a:pt x="1426" y="494"/>
                </a:cubicBezTo>
                <a:cubicBezTo>
                  <a:pt x="1426" y="494"/>
                  <a:pt x="1426" y="494"/>
                  <a:pt x="1424" y="496"/>
                </a:cubicBezTo>
                <a:cubicBezTo>
                  <a:pt x="1424" y="496"/>
                  <a:pt x="1424" y="496"/>
                  <a:pt x="1422" y="494"/>
                </a:cubicBezTo>
                <a:cubicBezTo>
                  <a:pt x="1422" y="494"/>
                  <a:pt x="1422" y="494"/>
                  <a:pt x="1422" y="492"/>
                </a:cubicBezTo>
                <a:cubicBezTo>
                  <a:pt x="1422" y="492"/>
                  <a:pt x="1422" y="492"/>
                  <a:pt x="1422" y="490"/>
                </a:cubicBezTo>
                <a:cubicBezTo>
                  <a:pt x="1422" y="490"/>
                  <a:pt x="1422" y="490"/>
                  <a:pt x="1423" y="490"/>
                </a:cubicBezTo>
                <a:cubicBezTo>
                  <a:pt x="1423" y="490"/>
                  <a:pt x="1423" y="490"/>
                  <a:pt x="1423" y="489"/>
                </a:cubicBezTo>
                <a:cubicBezTo>
                  <a:pt x="1423" y="489"/>
                  <a:pt x="1423" y="489"/>
                  <a:pt x="1422" y="489"/>
                </a:cubicBezTo>
                <a:cubicBezTo>
                  <a:pt x="1422" y="489"/>
                  <a:pt x="1422" y="489"/>
                  <a:pt x="1420" y="488"/>
                </a:cubicBezTo>
                <a:cubicBezTo>
                  <a:pt x="1420" y="488"/>
                  <a:pt x="1420" y="488"/>
                  <a:pt x="1419" y="489"/>
                </a:cubicBezTo>
                <a:cubicBezTo>
                  <a:pt x="1419" y="489"/>
                  <a:pt x="1419" y="489"/>
                  <a:pt x="1419" y="490"/>
                </a:cubicBezTo>
                <a:cubicBezTo>
                  <a:pt x="1419" y="490"/>
                  <a:pt x="1419" y="490"/>
                  <a:pt x="1417" y="490"/>
                </a:cubicBezTo>
                <a:cubicBezTo>
                  <a:pt x="1417" y="490"/>
                  <a:pt x="1417" y="490"/>
                  <a:pt x="1416" y="491"/>
                </a:cubicBezTo>
                <a:cubicBezTo>
                  <a:pt x="1416" y="491"/>
                  <a:pt x="1416" y="491"/>
                  <a:pt x="1415" y="491"/>
                </a:cubicBezTo>
                <a:cubicBezTo>
                  <a:pt x="1415" y="491"/>
                  <a:pt x="1415" y="491"/>
                  <a:pt x="1414" y="492"/>
                </a:cubicBezTo>
                <a:cubicBezTo>
                  <a:pt x="1414" y="492"/>
                  <a:pt x="1414" y="492"/>
                  <a:pt x="1415" y="493"/>
                </a:cubicBezTo>
                <a:cubicBezTo>
                  <a:pt x="1415" y="493"/>
                  <a:pt x="1415" y="493"/>
                  <a:pt x="1416" y="494"/>
                </a:cubicBezTo>
                <a:cubicBezTo>
                  <a:pt x="1416" y="494"/>
                  <a:pt x="1416" y="494"/>
                  <a:pt x="1415" y="496"/>
                </a:cubicBezTo>
                <a:cubicBezTo>
                  <a:pt x="1415" y="496"/>
                  <a:pt x="1415" y="496"/>
                  <a:pt x="1414" y="496"/>
                </a:cubicBezTo>
                <a:cubicBezTo>
                  <a:pt x="1414" y="496"/>
                  <a:pt x="1414" y="496"/>
                  <a:pt x="1415" y="498"/>
                </a:cubicBezTo>
                <a:cubicBezTo>
                  <a:pt x="1415" y="498"/>
                  <a:pt x="1415" y="498"/>
                  <a:pt x="1415" y="500"/>
                </a:cubicBezTo>
                <a:cubicBezTo>
                  <a:pt x="1415" y="500"/>
                  <a:pt x="1415" y="500"/>
                  <a:pt x="1416" y="501"/>
                </a:cubicBezTo>
                <a:cubicBezTo>
                  <a:pt x="1416" y="501"/>
                  <a:pt x="1416" y="501"/>
                  <a:pt x="1418" y="502"/>
                </a:cubicBezTo>
                <a:cubicBezTo>
                  <a:pt x="1418" y="502"/>
                  <a:pt x="1418" y="502"/>
                  <a:pt x="1420" y="503"/>
                </a:cubicBezTo>
                <a:cubicBezTo>
                  <a:pt x="1420" y="503"/>
                  <a:pt x="1420" y="503"/>
                  <a:pt x="1421" y="504"/>
                </a:cubicBezTo>
                <a:cubicBezTo>
                  <a:pt x="1421" y="504"/>
                  <a:pt x="1421" y="504"/>
                  <a:pt x="1425" y="508"/>
                </a:cubicBezTo>
                <a:cubicBezTo>
                  <a:pt x="1425" y="508"/>
                  <a:pt x="1425" y="508"/>
                  <a:pt x="1425" y="509"/>
                </a:cubicBezTo>
                <a:cubicBezTo>
                  <a:pt x="1425" y="509"/>
                  <a:pt x="1425" y="509"/>
                  <a:pt x="1425" y="511"/>
                </a:cubicBezTo>
                <a:cubicBezTo>
                  <a:pt x="1425" y="511"/>
                  <a:pt x="1425" y="511"/>
                  <a:pt x="1426" y="512"/>
                </a:cubicBezTo>
                <a:cubicBezTo>
                  <a:pt x="1426" y="512"/>
                  <a:pt x="1426" y="512"/>
                  <a:pt x="1427" y="513"/>
                </a:cubicBezTo>
                <a:cubicBezTo>
                  <a:pt x="1427" y="513"/>
                  <a:pt x="1427" y="513"/>
                  <a:pt x="1428" y="515"/>
                </a:cubicBezTo>
                <a:cubicBezTo>
                  <a:pt x="1428" y="515"/>
                  <a:pt x="1428" y="515"/>
                  <a:pt x="1430" y="516"/>
                </a:cubicBezTo>
                <a:cubicBezTo>
                  <a:pt x="1430" y="516"/>
                  <a:pt x="1430" y="516"/>
                  <a:pt x="1431" y="517"/>
                </a:cubicBezTo>
                <a:cubicBezTo>
                  <a:pt x="1431" y="517"/>
                  <a:pt x="1431" y="517"/>
                  <a:pt x="1432" y="517"/>
                </a:cubicBezTo>
                <a:cubicBezTo>
                  <a:pt x="1432" y="517"/>
                  <a:pt x="1432" y="517"/>
                  <a:pt x="1433" y="518"/>
                </a:cubicBezTo>
                <a:cubicBezTo>
                  <a:pt x="1433" y="518"/>
                  <a:pt x="1433" y="518"/>
                  <a:pt x="1435" y="518"/>
                </a:cubicBezTo>
                <a:cubicBezTo>
                  <a:pt x="1435" y="518"/>
                  <a:pt x="1435" y="518"/>
                  <a:pt x="1436" y="518"/>
                </a:cubicBezTo>
                <a:cubicBezTo>
                  <a:pt x="1436" y="518"/>
                  <a:pt x="1436" y="518"/>
                  <a:pt x="1438" y="518"/>
                </a:cubicBezTo>
                <a:cubicBezTo>
                  <a:pt x="1438" y="518"/>
                  <a:pt x="1438" y="518"/>
                  <a:pt x="1439" y="518"/>
                </a:cubicBezTo>
                <a:cubicBezTo>
                  <a:pt x="1439" y="518"/>
                  <a:pt x="1439" y="518"/>
                  <a:pt x="1439" y="519"/>
                </a:cubicBezTo>
                <a:cubicBezTo>
                  <a:pt x="1439" y="519"/>
                  <a:pt x="1439" y="519"/>
                  <a:pt x="1437" y="520"/>
                </a:cubicBezTo>
                <a:cubicBezTo>
                  <a:pt x="1437" y="520"/>
                  <a:pt x="1437" y="520"/>
                  <a:pt x="1437" y="521"/>
                </a:cubicBezTo>
                <a:cubicBezTo>
                  <a:pt x="1437" y="521"/>
                  <a:pt x="1437" y="521"/>
                  <a:pt x="1438" y="522"/>
                </a:cubicBezTo>
                <a:cubicBezTo>
                  <a:pt x="1438" y="522"/>
                  <a:pt x="1438" y="522"/>
                  <a:pt x="1439" y="522"/>
                </a:cubicBezTo>
                <a:cubicBezTo>
                  <a:pt x="1439" y="522"/>
                  <a:pt x="1439" y="522"/>
                  <a:pt x="1441" y="522"/>
                </a:cubicBezTo>
                <a:cubicBezTo>
                  <a:pt x="1441" y="522"/>
                  <a:pt x="1441" y="522"/>
                  <a:pt x="1446" y="525"/>
                </a:cubicBezTo>
                <a:cubicBezTo>
                  <a:pt x="1446" y="525"/>
                  <a:pt x="1446" y="525"/>
                  <a:pt x="1448" y="526"/>
                </a:cubicBezTo>
                <a:cubicBezTo>
                  <a:pt x="1448" y="526"/>
                  <a:pt x="1448" y="526"/>
                  <a:pt x="1450" y="528"/>
                </a:cubicBezTo>
                <a:cubicBezTo>
                  <a:pt x="1450" y="528"/>
                  <a:pt x="1450" y="528"/>
                  <a:pt x="1452" y="528"/>
                </a:cubicBezTo>
                <a:cubicBezTo>
                  <a:pt x="1452" y="528"/>
                  <a:pt x="1452" y="528"/>
                  <a:pt x="1453" y="529"/>
                </a:cubicBezTo>
                <a:cubicBezTo>
                  <a:pt x="1453" y="529"/>
                  <a:pt x="1453" y="529"/>
                  <a:pt x="1453" y="530"/>
                </a:cubicBezTo>
                <a:cubicBezTo>
                  <a:pt x="1453" y="530"/>
                  <a:pt x="1453" y="530"/>
                  <a:pt x="1453" y="531"/>
                </a:cubicBezTo>
                <a:cubicBezTo>
                  <a:pt x="1453" y="531"/>
                  <a:pt x="1453" y="531"/>
                  <a:pt x="1452" y="532"/>
                </a:cubicBezTo>
                <a:cubicBezTo>
                  <a:pt x="1452" y="532"/>
                  <a:pt x="1452" y="532"/>
                  <a:pt x="1453" y="533"/>
                </a:cubicBezTo>
                <a:cubicBezTo>
                  <a:pt x="1453" y="533"/>
                  <a:pt x="1453" y="533"/>
                  <a:pt x="1452" y="533"/>
                </a:cubicBezTo>
                <a:cubicBezTo>
                  <a:pt x="1452" y="533"/>
                  <a:pt x="1452" y="533"/>
                  <a:pt x="1452" y="534"/>
                </a:cubicBezTo>
                <a:cubicBezTo>
                  <a:pt x="1452" y="534"/>
                  <a:pt x="1452" y="534"/>
                  <a:pt x="1451" y="533"/>
                </a:cubicBezTo>
                <a:cubicBezTo>
                  <a:pt x="1451" y="533"/>
                  <a:pt x="1451" y="533"/>
                  <a:pt x="1450" y="532"/>
                </a:cubicBezTo>
                <a:cubicBezTo>
                  <a:pt x="1450" y="532"/>
                  <a:pt x="1450" y="532"/>
                  <a:pt x="1450" y="531"/>
                </a:cubicBezTo>
                <a:cubicBezTo>
                  <a:pt x="1450" y="531"/>
                  <a:pt x="1450" y="531"/>
                  <a:pt x="1450" y="530"/>
                </a:cubicBezTo>
                <a:cubicBezTo>
                  <a:pt x="1450" y="530"/>
                  <a:pt x="1450" y="530"/>
                  <a:pt x="1449" y="530"/>
                </a:cubicBezTo>
                <a:cubicBezTo>
                  <a:pt x="1449" y="530"/>
                  <a:pt x="1449" y="530"/>
                  <a:pt x="1447" y="530"/>
                </a:cubicBezTo>
                <a:cubicBezTo>
                  <a:pt x="1447" y="530"/>
                  <a:pt x="1447" y="530"/>
                  <a:pt x="1447" y="529"/>
                </a:cubicBezTo>
                <a:cubicBezTo>
                  <a:pt x="1447" y="529"/>
                  <a:pt x="1447" y="529"/>
                  <a:pt x="1445" y="529"/>
                </a:cubicBezTo>
                <a:cubicBezTo>
                  <a:pt x="1445" y="529"/>
                  <a:pt x="1445" y="529"/>
                  <a:pt x="1444" y="529"/>
                </a:cubicBezTo>
                <a:cubicBezTo>
                  <a:pt x="1444" y="529"/>
                  <a:pt x="1444" y="529"/>
                  <a:pt x="1444" y="531"/>
                </a:cubicBezTo>
                <a:cubicBezTo>
                  <a:pt x="1444" y="531"/>
                  <a:pt x="1444" y="531"/>
                  <a:pt x="1443" y="531"/>
                </a:cubicBezTo>
                <a:cubicBezTo>
                  <a:pt x="1443" y="531"/>
                  <a:pt x="1443" y="531"/>
                  <a:pt x="1443" y="532"/>
                </a:cubicBezTo>
                <a:cubicBezTo>
                  <a:pt x="1443" y="532"/>
                  <a:pt x="1443" y="532"/>
                  <a:pt x="1443" y="533"/>
                </a:cubicBezTo>
                <a:cubicBezTo>
                  <a:pt x="1443" y="533"/>
                  <a:pt x="1443" y="533"/>
                  <a:pt x="1442" y="534"/>
                </a:cubicBezTo>
                <a:cubicBezTo>
                  <a:pt x="1442" y="534"/>
                  <a:pt x="1442" y="534"/>
                  <a:pt x="1442" y="535"/>
                </a:cubicBezTo>
                <a:cubicBezTo>
                  <a:pt x="1442" y="535"/>
                  <a:pt x="1442" y="535"/>
                  <a:pt x="1443" y="535"/>
                </a:cubicBezTo>
                <a:cubicBezTo>
                  <a:pt x="1443" y="535"/>
                  <a:pt x="1443" y="535"/>
                  <a:pt x="1445" y="537"/>
                </a:cubicBezTo>
                <a:cubicBezTo>
                  <a:pt x="1445" y="537"/>
                  <a:pt x="1445" y="537"/>
                  <a:pt x="1445" y="538"/>
                </a:cubicBezTo>
                <a:cubicBezTo>
                  <a:pt x="1445" y="538"/>
                  <a:pt x="1445" y="538"/>
                  <a:pt x="1445" y="539"/>
                </a:cubicBezTo>
                <a:cubicBezTo>
                  <a:pt x="1445" y="539"/>
                  <a:pt x="1445" y="539"/>
                  <a:pt x="1446" y="540"/>
                </a:cubicBezTo>
                <a:cubicBezTo>
                  <a:pt x="1446" y="540"/>
                  <a:pt x="1446" y="540"/>
                  <a:pt x="1445" y="541"/>
                </a:cubicBezTo>
                <a:cubicBezTo>
                  <a:pt x="1445" y="541"/>
                  <a:pt x="1445" y="541"/>
                  <a:pt x="1444" y="541"/>
                </a:cubicBezTo>
                <a:cubicBezTo>
                  <a:pt x="1444" y="541"/>
                  <a:pt x="1444" y="541"/>
                  <a:pt x="1443" y="542"/>
                </a:cubicBezTo>
                <a:cubicBezTo>
                  <a:pt x="1443" y="542"/>
                  <a:pt x="1443" y="542"/>
                  <a:pt x="1443" y="545"/>
                </a:cubicBezTo>
                <a:cubicBezTo>
                  <a:pt x="1443" y="545"/>
                  <a:pt x="1443" y="545"/>
                  <a:pt x="1441" y="546"/>
                </a:cubicBezTo>
                <a:cubicBezTo>
                  <a:pt x="1441" y="546"/>
                  <a:pt x="1441" y="546"/>
                  <a:pt x="1441" y="548"/>
                </a:cubicBezTo>
                <a:cubicBezTo>
                  <a:pt x="1441" y="548"/>
                  <a:pt x="1441" y="548"/>
                  <a:pt x="1440" y="549"/>
                </a:cubicBezTo>
                <a:cubicBezTo>
                  <a:pt x="1440" y="549"/>
                  <a:pt x="1440" y="549"/>
                  <a:pt x="1438" y="549"/>
                </a:cubicBezTo>
                <a:cubicBezTo>
                  <a:pt x="1438" y="549"/>
                  <a:pt x="1438" y="549"/>
                  <a:pt x="1437" y="548"/>
                </a:cubicBezTo>
                <a:cubicBezTo>
                  <a:pt x="1437" y="548"/>
                  <a:pt x="1437" y="548"/>
                  <a:pt x="1437" y="547"/>
                </a:cubicBezTo>
                <a:cubicBezTo>
                  <a:pt x="1437" y="547"/>
                  <a:pt x="1437" y="547"/>
                  <a:pt x="1437" y="546"/>
                </a:cubicBezTo>
                <a:cubicBezTo>
                  <a:pt x="1437" y="546"/>
                  <a:pt x="1437" y="546"/>
                  <a:pt x="1438" y="546"/>
                </a:cubicBezTo>
                <a:cubicBezTo>
                  <a:pt x="1438" y="546"/>
                  <a:pt x="1438" y="546"/>
                  <a:pt x="1439" y="545"/>
                </a:cubicBezTo>
                <a:cubicBezTo>
                  <a:pt x="1439" y="545"/>
                  <a:pt x="1439" y="545"/>
                  <a:pt x="1439" y="544"/>
                </a:cubicBezTo>
                <a:cubicBezTo>
                  <a:pt x="1439" y="544"/>
                  <a:pt x="1439" y="544"/>
                  <a:pt x="1439" y="543"/>
                </a:cubicBezTo>
                <a:cubicBezTo>
                  <a:pt x="1439" y="543"/>
                  <a:pt x="1439" y="543"/>
                  <a:pt x="1439" y="542"/>
                </a:cubicBezTo>
                <a:cubicBezTo>
                  <a:pt x="1439" y="542"/>
                  <a:pt x="1439" y="542"/>
                  <a:pt x="1440" y="542"/>
                </a:cubicBezTo>
                <a:cubicBezTo>
                  <a:pt x="1440" y="542"/>
                  <a:pt x="1440" y="542"/>
                  <a:pt x="1440" y="540"/>
                </a:cubicBezTo>
                <a:cubicBezTo>
                  <a:pt x="1440" y="540"/>
                  <a:pt x="1440" y="540"/>
                  <a:pt x="1439" y="539"/>
                </a:cubicBezTo>
                <a:cubicBezTo>
                  <a:pt x="1439" y="539"/>
                  <a:pt x="1439" y="539"/>
                  <a:pt x="1439" y="537"/>
                </a:cubicBezTo>
                <a:cubicBezTo>
                  <a:pt x="1439" y="537"/>
                  <a:pt x="1439" y="537"/>
                  <a:pt x="1438" y="536"/>
                </a:cubicBezTo>
                <a:cubicBezTo>
                  <a:pt x="1438" y="536"/>
                  <a:pt x="1438" y="536"/>
                  <a:pt x="1438" y="534"/>
                </a:cubicBezTo>
                <a:cubicBezTo>
                  <a:pt x="1438" y="534"/>
                  <a:pt x="1438" y="534"/>
                  <a:pt x="1437" y="532"/>
                </a:cubicBezTo>
                <a:cubicBezTo>
                  <a:pt x="1437" y="532"/>
                  <a:pt x="1437" y="532"/>
                  <a:pt x="1436" y="532"/>
                </a:cubicBezTo>
                <a:cubicBezTo>
                  <a:pt x="1436" y="532"/>
                  <a:pt x="1436" y="532"/>
                  <a:pt x="1434" y="532"/>
                </a:cubicBezTo>
                <a:cubicBezTo>
                  <a:pt x="1434" y="532"/>
                  <a:pt x="1434" y="532"/>
                  <a:pt x="1434" y="531"/>
                </a:cubicBezTo>
                <a:cubicBezTo>
                  <a:pt x="1434" y="531"/>
                  <a:pt x="1434" y="531"/>
                  <a:pt x="1432" y="531"/>
                </a:cubicBezTo>
                <a:cubicBezTo>
                  <a:pt x="1432" y="531"/>
                  <a:pt x="1432" y="531"/>
                  <a:pt x="1432" y="530"/>
                </a:cubicBezTo>
                <a:cubicBezTo>
                  <a:pt x="1432" y="530"/>
                  <a:pt x="1432" y="530"/>
                  <a:pt x="1432" y="528"/>
                </a:cubicBezTo>
                <a:cubicBezTo>
                  <a:pt x="1432" y="528"/>
                  <a:pt x="1432" y="528"/>
                  <a:pt x="1431" y="527"/>
                </a:cubicBezTo>
                <a:cubicBezTo>
                  <a:pt x="1431" y="527"/>
                  <a:pt x="1431" y="527"/>
                  <a:pt x="1430" y="527"/>
                </a:cubicBezTo>
                <a:cubicBezTo>
                  <a:pt x="1430" y="527"/>
                  <a:pt x="1430" y="527"/>
                  <a:pt x="1429" y="527"/>
                </a:cubicBezTo>
                <a:cubicBezTo>
                  <a:pt x="1429" y="527"/>
                  <a:pt x="1429" y="527"/>
                  <a:pt x="1429" y="526"/>
                </a:cubicBezTo>
                <a:cubicBezTo>
                  <a:pt x="1429" y="526"/>
                  <a:pt x="1429" y="526"/>
                  <a:pt x="1428" y="526"/>
                </a:cubicBezTo>
                <a:cubicBezTo>
                  <a:pt x="1428" y="526"/>
                  <a:pt x="1428" y="526"/>
                  <a:pt x="1427" y="526"/>
                </a:cubicBezTo>
                <a:cubicBezTo>
                  <a:pt x="1427" y="526"/>
                  <a:pt x="1427" y="526"/>
                  <a:pt x="1425" y="523"/>
                </a:cubicBezTo>
                <a:cubicBezTo>
                  <a:pt x="1425" y="523"/>
                  <a:pt x="1425" y="523"/>
                  <a:pt x="1424" y="523"/>
                </a:cubicBezTo>
                <a:cubicBezTo>
                  <a:pt x="1424" y="523"/>
                  <a:pt x="1424" y="523"/>
                  <a:pt x="1423" y="523"/>
                </a:cubicBezTo>
                <a:cubicBezTo>
                  <a:pt x="1423" y="523"/>
                  <a:pt x="1423" y="523"/>
                  <a:pt x="1422" y="524"/>
                </a:cubicBezTo>
                <a:cubicBezTo>
                  <a:pt x="1422" y="524"/>
                  <a:pt x="1422" y="524"/>
                  <a:pt x="1421" y="524"/>
                </a:cubicBezTo>
                <a:cubicBezTo>
                  <a:pt x="1421" y="524"/>
                  <a:pt x="1421" y="524"/>
                  <a:pt x="1421" y="522"/>
                </a:cubicBezTo>
                <a:cubicBezTo>
                  <a:pt x="1421" y="522"/>
                  <a:pt x="1421" y="522"/>
                  <a:pt x="1420" y="522"/>
                </a:cubicBezTo>
                <a:cubicBezTo>
                  <a:pt x="1420" y="522"/>
                  <a:pt x="1420" y="522"/>
                  <a:pt x="1418" y="522"/>
                </a:cubicBezTo>
                <a:cubicBezTo>
                  <a:pt x="1418" y="522"/>
                  <a:pt x="1418" y="522"/>
                  <a:pt x="1416" y="520"/>
                </a:cubicBezTo>
                <a:cubicBezTo>
                  <a:pt x="1416" y="520"/>
                  <a:pt x="1416" y="520"/>
                  <a:pt x="1413" y="516"/>
                </a:cubicBezTo>
                <a:cubicBezTo>
                  <a:pt x="1413" y="516"/>
                  <a:pt x="1413" y="516"/>
                  <a:pt x="1412" y="515"/>
                </a:cubicBezTo>
                <a:cubicBezTo>
                  <a:pt x="1412" y="515"/>
                  <a:pt x="1412" y="515"/>
                  <a:pt x="1411" y="514"/>
                </a:cubicBezTo>
                <a:cubicBezTo>
                  <a:pt x="1411" y="514"/>
                  <a:pt x="1411" y="514"/>
                  <a:pt x="1409" y="514"/>
                </a:cubicBezTo>
                <a:cubicBezTo>
                  <a:pt x="1409" y="514"/>
                  <a:pt x="1409" y="514"/>
                  <a:pt x="1409" y="512"/>
                </a:cubicBezTo>
                <a:cubicBezTo>
                  <a:pt x="1409" y="512"/>
                  <a:pt x="1409" y="512"/>
                  <a:pt x="1407" y="511"/>
                </a:cubicBezTo>
                <a:cubicBezTo>
                  <a:pt x="1407" y="511"/>
                  <a:pt x="1407" y="511"/>
                  <a:pt x="1406" y="510"/>
                </a:cubicBezTo>
                <a:cubicBezTo>
                  <a:pt x="1406" y="510"/>
                  <a:pt x="1406" y="510"/>
                  <a:pt x="1405" y="509"/>
                </a:cubicBezTo>
                <a:cubicBezTo>
                  <a:pt x="1405" y="509"/>
                  <a:pt x="1405" y="509"/>
                  <a:pt x="1405" y="507"/>
                </a:cubicBezTo>
                <a:cubicBezTo>
                  <a:pt x="1405" y="507"/>
                  <a:pt x="1405" y="507"/>
                  <a:pt x="1404" y="507"/>
                </a:cubicBezTo>
                <a:cubicBezTo>
                  <a:pt x="1404" y="507"/>
                  <a:pt x="1404" y="507"/>
                  <a:pt x="1404" y="505"/>
                </a:cubicBezTo>
                <a:cubicBezTo>
                  <a:pt x="1404" y="505"/>
                  <a:pt x="1404" y="505"/>
                  <a:pt x="1403" y="504"/>
                </a:cubicBezTo>
                <a:cubicBezTo>
                  <a:pt x="1403" y="504"/>
                  <a:pt x="1403" y="504"/>
                  <a:pt x="1402" y="503"/>
                </a:cubicBezTo>
                <a:cubicBezTo>
                  <a:pt x="1402" y="503"/>
                  <a:pt x="1402" y="503"/>
                  <a:pt x="1402" y="502"/>
                </a:cubicBezTo>
                <a:cubicBezTo>
                  <a:pt x="1402" y="502"/>
                  <a:pt x="1402" y="502"/>
                  <a:pt x="1402" y="501"/>
                </a:cubicBezTo>
                <a:cubicBezTo>
                  <a:pt x="1402" y="501"/>
                  <a:pt x="1402" y="501"/>
                  <a:pt x="1400" y="500"/>
                </a:cubicBezTo>
                <a:cubicBezTo>
                  <a:pt x="1400" y="500"/>
                  <a:pt x="1400" y="500"/>
                  <a:pt x="1398" y="500"/>
                </a:cubicBezTo>
                <a:cubicBezTo>
                  <a:pt x="1398" y="500"/>
                  <a:pt x="1398" y="500"/>
                  <a:pt x="1394" y="499"/>
                </a:cubicBezTo>
                <a:cubicBezTo>
                  <a:pt x="1394" y="499"/>
                  <a:pt x="1394" y="499"/>
                  <a:pt x="1391" y="500"/>
                </a:cubicBezTo>
                <a:cubicBezTo>
                  <a:pt x="1391" y="500"/>
                  <a:pt x="1391" y="500"/>
                  <a:pt x="1391" y="501"/>
                </a:cubicBezTo>
                <a:cubicBezTo>
                  <a:pt x="1391" y="501"/>
                  <a:pt x="1391" y="501"/>
                  <a:pt x="1390" y="503"/>
                </a:cubicBezTo>
                <a:cubicBezTo>
                  <a:pt x="1390" y="503"/>
                  <a:pt x="1390" y="503"/>
                  <a:pt x="1387" y="503"/>
                </a:cubicBezTo>
                <a:cubicBezTo>
                  <a:pt x="1387" y="503"/>
                  <a:pt x="1387" y="503"/>
                  <a:pt x="1383" y="506"/>
                </a:cubicBezTo>
                <a:cubicBezTo>
                  <a:pt x="1383" y="506"/>
                  <a:pt x="1383" y="506"/>
                  <a:pt x="1382" y="508"/>
                </a:cubicBezTo>
                <a:cubicBezTo>
                  <a:pt x="1382" y="508"/>
                  <a:pt x="1382" y="508"/>
                  <a:pt x="1381" y="509"/>
                </a:cubicBezTo>
                <a:cubicBezTo>
                  <a:pt x="1381" y="509"/>
                  <a:pt x="1381" y="509"/>
                  <a:pt x="1378" y="509"/>
                </a:cubicBezTo>
                <a:cubicBezTo>
                  <a:pt x="1378" y="509"/>
                  <a:pt x="1378" y="509"/>
                  <a:pt x="1377" y="508"/>
                </a:cubicBezTo>
                <a:cubicBezTo>
                  <a:pt x="1377" y="508"/>
                  <a:pt x="1377" y="508"/>
                  <a:pt x="1373" y="506"/>
                </a:cubicBezTo>
                <a:cubicBezTo>
                  <a:pt x="1373" y="506"/>
                  <a:pt x="1373" y="506"/>
                  <a:pt x="1372" y="506"/>
                </a:cubicBezTo>
                <a:cubicBezTo>
                  <a:pt x="1372" y="506"/>
                  <a:pt x="1372" y="506"/>
                  <a:pt x="1371" y="507"/>
                </a:cubicBezTo>
                <a:cubicBezTo>
                  <a:pt x="1371" y="507"/>
                  <a:pt x="1371" y="507"/>
                  <a:pt x="1370" y="507"/>
                </a:cubicBezTo>
                <a:cubicBezTo>
                  <a:pt x="1370" y="507"/>
                  <a:pt x="1370" y="507"/>
                  <a:pt x="1369" y="506"/>
                </a:cubicBezTo>
                <a:cubicBezTo>
                  <a:pt x="1369" y="506"/>
                  <a:pt x="1369" y="506"/>
                  <a:pt x="1367" y="506"/>
                </a:cubicBezTo>
                <a:cubicBezTo>
                  <a:pt x="1367" y="506"/>
                  <a:pt x="1367" y="506"/>
                  <a:pt x="1366" y="505"/>
                </a:cubicBezTo>
                <a:cubicBezTo>
                  <a:pt x="1366" y="505"/>
                  <a:pt x="1366" y="505"/>
                  <a:pt x="1364" y="507"/>
                </a:cubicBezTo>
                <a:cubicBezTo>
                  <a:pt x="1364" y="507"/>
                  <a:pt x="1364" y="507"/>
                  <a:pt x="1362" y="509"/>
                </a:cubicBezTo>
                <a:cubicBezTo>
                  <a:pt x="1362" y="509"/>
                  <a:pt x="1362" y="509"/>
                  <a:pt x="1362" y="510"/>
                </a:cubicBezTo>
                <a:cubicBezTo>
                  <a:pt x="1362" y="510"/>
                  <a:pt x="1362" y="510"/>
                  <a:pt x="1362" y="512"/>
                </a:cubicBezTo>
                <a:cubicBezTo>
                  <a:pt x="1362" y="512"/>
                  <a:pt x="1362" y="512"/>
                  <a:pt x="1362" y="514"/>
                </a:cubicBezTo>
                <a:cubicBezTo>
                  <a:pt x="1362" y="515"/>
                  <a:pt x="1362" y="515"/>
                  <a:pt x="1362" y="515"/>
                </a:cubicBezTo>
                <a:cubicBezTo>
                  <a:pt x="1361" y="516"/>
                  <a:pt x="1361" y="516"/>
                  <a:pt x="1361" y="516"/>
                </a:cubicBezTo>
                <a:cubicBezTo>
                  <a:pt x="1361" y="518"/>
                  <a:pt x="1361" y="518"/>
                  <a:pt x="1361" y="518"/>
                </a:cubicBezTo>
                <a:cubicBezTo>
                  <a:pt x="1361" y="519"/>
                  <a:pt x="1361" y="519"/>
                  <a:pt x="1361" y="519"/>
                </a:cubicBezTo>
                <a:cubicBezTo>
                  <a:pt x="1361" y="520"/>
                  <a:pt x="1361" y="520"/>
                  <a:pt x="1361" y="520"/>
                </a:cubicBezTo>
                <a:cubicBezTo>
                  <a:pt x="1358" y="522"/>
                  <a:pt x="1358" y="522"/>
                  <a:pt x="1358" y="522"/>
                </a:cubicBezTo>
                <a:cubicBezTo>
                  <a:pt x="1358" y="522"/>
                  <a:pt x="1358" y="522"/>
                  <a:pt x="1357" y="523"/>
                </a:cubicBezTo>
                <a:cubicBezTo>
                  <a:pt x="1357" y="523"/>
                  <a:pt x="1357" y="523"/>
                  <a:pt x="1355" y="524"/>
                </a:cubicBezTo>
                <a:cubicBezTo>
                  <a:pt x="1353" y="524"/>
                  <a:pt x="1353" y="524"/>
                  <a:pt x="1353" y="524"/>
                </a:cubicBezTo>
                <a:cubicBezTo>
                  <a:pt x="1351" y="525"/>
                  <a:pt x="1351" y="525"/>
                  <a:pt x="1351" y="525"/>
                </a:cubicBezTo>
                <a:cubicBezTo>
                  <a:pt x="1350" y="526"/>
                  <a:pt x="1350" y="526"/>
                  <a:pt x="1350" y="526"/>
                </a:cubicBezTo>
                <a:cubicBezTo>
                  <a:pt x="1351" y="526"/>
                  <a:pt x="1351" y="526"/>
                  <a:pt x="1351" y="526"/>
                </a:cubicBezTo>
                <a:cubicBezTo>
                  <a:pt x="1350" y="528"/>
                  <a:pt x="1350" y="528"/>
                  <a:pt x="1350" y="528"/>
                </a:cubicBezTo>
                <a:cubicBezTo>
                  <a:pt x="1349" y="528"/>
                  <a:pt x="1349" y="528"/>
                  <a:pt x="1349" y="528"/>
                </a:cubicBezTo>
                <a:cubicBezTo>
                  <a:pt x="1347" y="531"/>
                  <a:pt x="1347" y="531"/>
                  <a:pt x="1347" y="531"/>
                </a:cubicBezTo>
                <a:cubicBezTo>
                  <a:pt x="1346" y="531"/>
                  <a:pt x="1346" y="531"/>
                  <a:pt x="1346" y="531"/>
                </a:cubicBezTo>
                <a:cubicBezTo>
                  <a:pt x="1343" y="535"/>
                  <a:pt x="1343" y="535"/>
                  <a:pt x="1343" y="535"/>
                </a:cubicBezTo>
                <a:cubicBezTo>
                  <a:pt x="1343" y="536"/>
                  <a:pt x="1343" y="536"/>
                  <a:pt x="1343" y="536"/>
                </a:cubicBezTo>
                <a:cubicBezTo>
                  <a:pt x="1344" y="538"/>
                  <a:pt x="1344" y="538"/>
                  <a:pt x="1344" y="538"/>
                </a:cubicBezTo>
                <a:cubicBezTo>
                  <a:pt x="1344" y="539"/>
                  <a:pt x="1344" y="539"/>
                  <a:pt x="1344" y="539"/>
                </a:cubicBezTo>
                <a:cubicBezTo>
                  <a:pt x="1345" y="540"/>
                  <a:pt x="1345" y="540"/>
                  <a:pt x="1345" y="540"/>
                </a:cubicBezTo>
                <a:cubicBezTo>
                  <a:pt x="1346" y="542"/>
                  <a:pt x="1346" y="542"/>
                  <a:pt x="1346" y="542"/>
                </a:cubicBezTo>
                <a:cubicBezTo>
                  <a:pt x="1345" y="543"/>
                  <a:pt x="1345" y="543"/>
                  <a:pt x="1345" y="543"/>
                </a:cubicBezTo>
                <a:cubicBezTo>
                  <a:pt x="1343" y="544"/>
                  <a:pt x="1343" y="544"/>
                  <a:pt x="1343" y="544"/>
                </a:cubicBezTo>
                <a:cubicBezTo>
                  <a:pt x="1343" y="545"/>
                  <a:pt x="1343" y="545"/>
                  <a:pt x="1343" y="545"/>
                </a:cubicBezTo>
                <a:cubicBezTo>
                  <a:pt x="1341" y="548"/>
                  <a:pt x="1341" y="548"/>
                  <a:pt x="1341" y="548"/>
                </a:cubicBezTo>
                <a:cubicBezTo>
                  <a:pt x="1341" y="550"/>
                  <a:pt x="1341" y="550"/>
                  <a:pt x="1341" y="550"/>
                </a:cubicBezTo>
                <a:cubicBezTo>
                  <a:pt x="1341" y="551"/>
                  <a:pt x="1341" y="551"/>
                  <a:pt x="1341" y="551"/>
                </a:cubicBezTo>
                <a:cubicBezTo>
                  <a:pt x="1339" y="552"/>
                  <a:pt x="1339" y="552"/>
                  <a:pt x="1339" y="552"/>
                </a:cubicBezTo>
                <a:cubicBezTo>
                  <a:pt x="1335" y="553"/>
                  <a:pt x="1335" y="553"/>
                  <a:pt x="1335" y="553"/>
                </a:cubicBezTo>
                <a:cubicBezTo>
                  <a:pt x="1335" y="555"/>
                  <a:pt x="1335" y="555"/>
                  <a:pt x="1335" y="555"/>
                </a:cubicBezTo>
                <a:cubicBezTo>
                  <a:pt x="1333" y="557"/>
                  <a:pt x="1333" y="557"/>
                  <a:pt x="1333" y="557"/>
                </a:cubicBezTo>
                <a:cubicBezTo>
                  <a:pt x="1332" y="556"/>
                  <a:pt x="1332" y="556"/>
                  <a:pt x="1332" y="556"/>
                </a:cubicBezTo>
                <a:cubicBezTo>
                  <a:pt x="1331" y="555"/>
                  <a:pt x="1331" y="555"/>
                  <a:pt x="1331" y="555"/>
                </a:cubicBezTo>
                <a:cubicBezTo>
                  <a:pt x="1330" y="556"/>
                  <a:pt x="1330" y="556"/>
                  <a:pt x="1330" y="556"/>
                </a:cubicBezTo>
                <a:cubicBezTo>
                  <a:pt x="1329" y="557"/>
                  <a:pt x="1329" y="557"/>
                  <a:pt x="1329" y="557"/>
                </a:cubicBezTo>
                <a:cubicBezTo>
                  <a:pt x="1328" y="556"/>
                  <a:pt x="1328" y="556"/>
                  <a:pt x="1328" y="556"/>
                </a:cubicBezTo>
                <a:cubicBezTo>
                  <a:pt x="1327" y="556"/>
                  <a:pt x="1327" y="556"/>
                  <a:pt x="1327" y="556"/>
                </a:cubicBezTo>
                <a:cubicBezTo>
                  <a:pt x="1327" y="557"/>
                  <a:pt x="1327" y="557"/>
                  <a:pt x="1327" y="557"/>
                </a:cubicBezTo>
                <a:cubicBezTo>
                  <a:pt x="1325" y="557"/>
                  <a:pt x="1325" y="557"/>
                  <a:pt x="1325" y="557"/>
                </a:cubicBezTo>
                <a:cubicBezTo>
                  <a:pt x="1322" y="556"/>
                  <a:pt x="1322" y="556"/>
                  <a:pt x="1322" y="556"/>
                </a:cubicBezTo>
                <a:cubicBezTo>
                  <a:pt x="1321" y="557"/>
                  <a:pt x="1321" y="557"/>
                  <a:pt x="1321" y="557"/>
                </a:cubicBezTo>
                <a:cubicBezTo>
                  <a:pt x="1319" y="557"/>
                  <a:pt x="1319" y="557"/>
                  <a:pt x="1319" y="557"/>
                </a:cubicBezTo>
                <a:cubicBezTo>
                  <a:pt x="1317" y="559"/>
                  <a:pt x="1317" y="559"/>
                  <a:pt x="1317" y="559"/>
                </a:cubicBezTo>
                <a:cubicBezTo>
                  <a:pt x="1315" y="559"/>
                  <a:pt x="1315" y="559"/>
                  <a:pt x="1315" y="559"/>
                </a:cubicBezTo>
                <a:cubicBezTo>
                  <a:pt x="1314" y="560"/>
                  <a:pt x="1314" y="560"/>
                  <a:pt x="1314" y="560"/>
                </a:cubicBezTo>
                <a:cubicBezTo>
                  <a:pt x="1314" y="561"/>
                  <a:pt x="1314" y="561"/>
                  <a:pt x="1314" y="561"/>
                </a:cubicBezTo>
                <a:cubicBezTo>
                  <a:pt x="1312" y="562"/>
                  <a:pt x="1312" y="562"/>
                  <a:pt x="1312" y="562"/>
                </a:cubicBezTo>
                <a:cubicBezTo>
                  <a:pt x="1310" y="562"/>
                  <a:pt x="1310" y="562"/>
                  <a:pt x="1310" y="562"/>
                </a:cubicBezTo>
                <a:cubicBezTo>
                  <a:pt x="1308" y="560"/>
                  <a:pt x="1308" y="560"/>
                  <a:pt x="1308" y="560"/>
                </a:cubicBezTo>
                <a:cubicBezTo>
                  <a:pt x="1307" y="557"/>
                  <a:pt x="1307" y="557"/>
                  <a:pt x="1307" y="557"/>
                </a:cubicBezTo>
                <a:cubicBezTo>
                  <a:pt x="1307" y="556"/>
                  <a:pt x="1307" y="556"/>
                  <a:pt x="1307" y="556"/>
                </a:cubicBezTo>
                <a:cubicBezTo>
                  <a:pt x="1304" y="554"/>
                  <a:pt x="1304" y="554"/>
                  <a:pt x="1304" y="554"/>
                </a:cubicBezTo>
                <a:cubicBezTo>
                  <a:pt x="1303" y="554"/>
                  <a:pt x="1303" y="554"/>
                  <a:pt x="1303" y="554"/>
                </a:cubicBezTo>
                <a:cubicBezTo>
                  <a:pt x="1302" y="553"/>
                  <a:pt x="1302" y="553"/>
                  <a:pt x="1302" y="553"/>
                </a:cubicBezTo>
                <a:cubicBezTo>
                  <a:pt x="1302" y="553"/>
                  <a:pt x="1302" y="553"/>
                  <a:pt x="1301" y="553"/>
                </a:cubicBezTo>
                <a:cubicBezTo>
                  <a:pt x="1301" y="553"/>
                  <a:pt x="1301" y="553"/>
                  <a:pt x="1301" y="554"/>
                </a:cubicBezTo>
                <a:cubicBezTo>
                  <a:pt x="1301" y="554"/>
                  <a:pt x="1301" y="554"/>
                  <a:pt x="1300" y="554"/>
                </a:cubicBezTo>
                <a:cubicBezTo>
                  <a:pt x="1300" y="554"/>
                  <a:pt x="1300" y="554"/>
                  <a:pt x="1298" y="555"/>
                </a:cubicBezTo>
                <a:cubicBezTo>
                  <a:pt x="1298" y="555"/>
                  <a:pt x="1298" y="555"/>
                  <a:pt x="1296" y="554"/>
                </a:cubicBezTo>
                <a:cubicBezTo>
                  <a:pt x="1296" y="554"/>
                  <a:pt x="1296" y="554"/>
                  <a:pt x="1294" y="553"/>
                </a:cubicBezTo>
                <a:cubicBezTo>
                  <a:pt x="1294" y="553"/>
                  <a:pt x="1294" y="553"/>
                  <a:pt x="1292" y="554"/>
                </a:cubicBezTo>
                <a:cubicBezTo>
                  <a:pt x="1292" y="554"/>
                  <a:pt x="1292" y="554"/>
                  <a:pt x="1292" y="553"/>
                </a:cubicBezTo>
                <a:cubicBezTo>
                  <a:pt x="1292" y="553"/>
                  <a:pt x="1292" y="553"/>
                  <a:pt x="1293" y="551"/>
                </a:cubicBezTo>
                <a:cubicBezTo>
                  <a:pt x="1293" y="551"/>
                  <a:pt x="1293" y="551"/>
                  <a:pt x="1293" y="548"/>
                </a:cubicBezTo>
                <a:cubicBezTo>
                  <a:pt x="1293" y="548"/>
                  <a:pt x="1293" y="548"/>
                  <a:pt x="1293" y="546"/>
                </a:cubicBezTo>
                <a:cubicBezTo>
                  <a:pt x="1293" y="546"/>
                  <a:pt x="1293" y="546"/>
                  <a:pt x="1293" y="545"/>
                </a:cubicBezTo>
                <a:cubicBezTo>
                  <a:pt x="1293" y="545"/>
                  <a:pt x="1293" y="545"/>
                  <a:pt x="1293" y="544"/>
                </a:cubicBezTo>
                <a:cubicBezTo>
                  <a:pt x="1293" y="544"/>
                  <a:pt x="1293" y="544"/>
                  <a:pt x="1292" y="544"/>
                </a:cubicBezTo>
                <a:cubicBezTo>
                  <a:pt x="1292" y="544"/>
                  <a:pt x="1292" y="544"/>
                  <a:pt x="1291" y="545"/>
                </a:cubicBezTo>
                <a:cubicBezTo>
                  <a:pt x="1291" y="545"/>
                  <a:pt x="1291" y="545"/>
                  <a:pt x="1290" y="544"/>
                </a:cubicBezTo>
                <a:cubicBezTo>
                  <a:pt x="1290" y="544"/>
                  <a:pt x="1290" y="544"/>
                  <a:pt x="1290" y="543"/>
                </a:cubicBezTo>
                <a:cubicBezTo>
                  <a:pt x="1290" y="543"/>
                  <a:pt x="1290" y="543"/>
                  <a:pt x="1292" y="542"/>
                </a:cubicBezTo>
                <a:cubicBezTo>
                  <a:pt x="1292" y="542"/>
                  <a:pt x="1292" y="542"/>
                  <a:pt x="1292" y="541"/>
                </a:cubicBezTo>
                <a:cubicBezTo>
                  <a:pt x="1292" y="541"/>
                  <a:pt x="1292" y="541"/>
                  <a:pt x="1292" y="540"/>
                </a:cubicBezTo>
                <a:cubicBezTo>
                  <a:pt x="1292" y="540"/>
                  <a:pt x="1292" y="540"/>
                  <a:pt x="1291" y="541"/>
                </a:cubicBezTo>
                <a:cubicBezTo>
                  <a:pt x="1291" y="541"/>
                  <a:pt x="1291" y="541"/>
                  <a:pt x="1290" y="542"/>
                </a:cubicBezTo>
                <a:cubicBezTo>
                  <a:pt x="1290" y="542"/>
                  <a:pt x="1290" y="542"/>
                  <a:pt x="1289" y="542"/>
                </a:cubicBezTo>
                <a:cubicBezTo>
                  <a:pt x="1289" y="542"/>
                  <a:pt x="1289" y="542"/>
                  <a:pt x="1289" y="541"/>
                </a:cubicBezTo>
                <a:cubicBezTo>
                  <a:pt x="1289" y="541"/>
                  <a:pt x="1289" y="541"/>
                  <a:pt x="1290" y="537"/>
                </a:cubicBezTo>
                <a:cubicBezTo>
                  <a:pt x="1290" y="537"/>
                  <a:pt x="1290" y="537"/>
                  <a:pt x="1291" y="535"/>
                </a:cubicBezTo>
                <a:cubicBezTo>
                  <a:pt x="1291" y="535"/>
                  <a:pt x="1291" y="535"/>
                  <a:pt x="1291" y="534"/>
                </a:cubicBezTo>
                <a:cubicBezTo>
                  <a:pt x="1291" y="534"/>
                  <a:pt x="1291" y="534"/>
                  <a:pt x="1293" y="532"/>
                </a:cubicBezTo>
                <a:cubicBezTo>
                  <a:pt x="1293" y="532"/>
                  <a:pt x="1293" y="532"/>
                  <a:pt x="1293" y="530"/>
                </a:cubicBezTo>
                <a:cubicBezTo>
                  <a:pt x="1293" y="530"/>
                  <a:pt x="1293" y="530"/>
                  <a:pt x="1294" y="528"/>
                </a:cubicBezTo>
                <a:cubicBezTo>
                  <a:pt x="1294" y="528"/>
                  <a:pt x="1294" y="528"/>
                  <a:pt x="1294" y="527"/>
                </a:cubicBezTo>
                <a:cubicBezTo>
                  <a:pt x="1294" y="527"/>
                  <a:pt x="1294" y="527"/>
                  <a:pt x="1293" y="526"/>
                </a:cubicBezTo>
                <a:cubicBezTo>
                  <a:pt x="1293" y="526"/>
                  <a:pt x="1293" y="526"/>
                  <a:pt x="1294" y="524"/>
                </a:cubicBezTo>
                <a:cubicBezTo>
                  <a:pt x="1294" y="524"/>
                  <a:pt x="1294" y="524"/>
                  <a:pt x="1294" y="520"/>
                </a:cubicBezTo>
                <a:cubicBezTo>
                  <a:pt x="1294" y="520"/>
                  <a:pt x="1294" y="520"/>
                  <a:pt x="1293" y="518"/>
                </a:cubicBezTo>
                <a:cubicBezTo>
                  <a:pt x="1293" y="518"/>
                  <a:pt x="1293" y="518"/>
                  <a:pt x="1293" y="516"/>
                </a:cubicBezTo>
                <a:cubicBezTo>
                  <a:pt x="1294" y="515"/>
                  <a:pt x="1294" y="515"/>
                  <a:pt x="1294" y="515"/>
                </a:cubicBezTo>
                <a:cubicBezTo>
                  <a:pt x="1293" y="515"/>
                  <a:pt x="1293" y="515"/>
                  <a:pt x="1293" y="515"/>
                </a:cubicBezTo>
                <a:cubicBezTo>
                  <a:pt x="1294" y="514"/>
                  <a:pt x="1294" y="514"/>
                  <a:pt x="1294" y="514"/>
                </a:cubicBezTo>
                <a:cubicBezTo>
                  <a:pt x="1294" y="513"/>
                  <a:pt x="1294" y="513"/>
                  <a:pt x="1294" y="513"/>
                </a:cubicBezTo>
                <a:cubicBezTo>
                  <a:pt x="1294" y="512"/>
                  <a:pt x="1294" y="512"/>
                  <a:pt x="1294" y="512"/>
                </a:cubicBezTo>
                <a:cubicBezTo>
                  <a:pt x="1293" y="513"/>
                  <a:pt x="1293" y="513"/>
                  <a:pt x="1293" y="513"/>
                </a:cubicBezTo>
                <a:cubicBezTo>
                  <a:pt x="1292" y="513"/>
                  <a:pt x="1292" y="513"/>
                  <a:pt x="1292" y="513"/>
                </a:cubicBezTo>
                <a:cubicBezTo>
                  <a:pt x="1293" y="511"/>
                  <a:pt x="1293" y="511"/>
                  <a:pt x="1293" y="511"/>
                </a:cubicBezTo>
                <a:cubicBezTo>
                  <a:pt x="1292" y="511"/>
                  <a:pt x="1292" y="511"/>
                  <a:pt x="1292" y="511"/>
                </a:cubicBezTo>
                <a:cubicBezTo>
                  <a:pt x="1292" y="510"/>
                  <a:pt x="1292" y="510"/>
                  <a:pt x="1292" y="510"/>
                </a:cubicBezTo>
                <a:cubicBezTo>
                  <a:pt x="1291" y="510"/>
                  <a:pt x="1291" y="510"/>
                  <a:pt x="1291" y="510"/>
                </a:cubicBezTo>
                <a:cubicBezTo>
                  <a:pt x="1291" y="509"/>
                  <a:pt x="1291" y="509"/>
                  <a:pt x="1291" y="509"/>
                </a:cubicBezTo>
                <a:cubicBezTo>
                  <a:pt x="1292" y="508"/>
                  <a:pt x="1292" y="508"/>
                  <a:pt x="1292" y="508"/>
                </a:cubicBezTo>
                <a:cubicBezTo>
                  <a:pt x="1294" y="507"/>
                  <a:pt x="1294" y="507"/>
                  <a:pt x="1294" y="507"/>
                </a:cubicBezTo>
                <a:cubicBezTo>
                  <a:pt x="1295" y="507"/>
                  <a:pt x="1295" y="507"/>
                  <a:pt x="1295" y="507"/>
                </a:cubicBezTo>
                <a:cubicBezTo>
                  <a:pt x="1297" y="507"/>
                  <a:pt x="1297" y="507"/>
                  <a:pt x="1297" y="507"/>
                </a:cubicBezTo>
                <a:cubicBezTo>
                  <a:pt x="1298" y="506"/>
                  <a:pt x="1298" y="506"/>
                  <a:pt x="1298" y="506"/>
                </a:cubicBezTo>
                <a:cubicBezTo>
                  <a:pt x="1297" y="506"/>
                  <a:pt x="1297" y="506"/>
                  <a:pt x="1297" y="506"/>
                </a:cubicBezTo>
                <a:cubicBezTo>
                  <a:pt x="1297" y="505"/>
                  <a:pt x="1297" y="505"/>
                  <a:pt x="1297" y="505"/>
                </a:cubicBezTo>
                <a:cubicBezTo>
                  <a:pt x="1299" y="504"/>
                  <a:pt x="1299" y="504"/>
                  <a:pt x="1299" y="504"/>
                </a:cubicBezTo>
                <a:cubicBezTo>
                  <a:pt x="1300" y="503"/>
                  <a:pt x="1300" y="503"/>
                  <a:pt x="1300" y="503"/>
                </a:cubicBezTo>
                <a:cubicBezTo>
                  <a:pt x="1302" y="504"/>
                  <a:pt x="1302" y="504"/>
                  <a:pt x="1302" y="504"/>
                </a:cubicBezTo>
                <a:cubicBezTo>
                  <a:pt x="1303" y="505"/>
                  <a:pt x="1303" y="505"/>
                  <a:pt x="1303" y="505"/>
                </a:cubicBezTo>
                <a:cubicBezTo>
                  <a:pt x="1304" y="504"/>
                  <a:pt x="1304" y="504"/>
                  <a:pt x="1304" y="504"/>
                </a:cubicBezTo>
                <a:cubicBezTo>
                  <a:pt x="1306" y="504"/>
                  <a:pt x="1306" y="504"/>
                  <a:pt x="1306" y="504"/>
                </a:cubicBezTo>
                <a:cubicBezTo>
                  <a:pt x="1307" y="505"/>
                  <a:pt x="1307" y="505"/>
                  <a:pt x="1307" y="505"/>
                </a:cubicBezTo>
                <a:cubicBezTo>
                  <a:pt x="1309" y="504"/>
                  <a:pt x="1309" y="504"/>
                  <a:pt x="1309" y="504"/>
                </a:cubicBezTo>
                <a:cubicBezTo>
                  <a:pt x="1311" y="504"/>
                  <a:pt x="1311" y="504"/>
                  <a:pt x="1311" y="504"/>
                </a:cubicBezTo>
                <a:cubicBezTo>
                  <a:pt x="1313" y="505"/>
                  <a:pt x="1313" y="505"/>
                  <a:pt x="1313" y="505"/>
                </a:cubicBezTo>
                <a:cubicBezTo>
                  <a:pt x="1317" y="506"/>
                  <a:pt x="1317" y="506"/>
                  <a:pt x="1317" y="506"/>
                </a:cubicBezTo>
                <a:cubicBezTo>
                  <a:pt x="1319" y="506"/>
                  <a:pt x="1319" y="506"/>
                  <a:pt x="1319" y="506"/>
                </a:cubicBezTo>
                <a:cubicBezTo>
                  <a:pt x="1322" y="505"/>
                  <a:pt x="1322" y="505"/>
                  <a:pt x="1322" y="505"/>
                </a:cubicBezTo>
                <a:cubicBezTo>
                  <a:pt x="1325" y="505"/>
                  <a:pt x="1325" y="505"/>
                  <a:pt x="1325" y="505"/>
                </a:cubicBezTo>
                <a:cubicBezTo>
                  <a:pt x="1325" y="506"/>
                  <a:pt x="1325" y="506"/>
                  <a:pt x="1325" y="506"/>
                </a:cubicBezTo>
                <a:cubicBezTo>
                  <a:pt x="1327" y="507"/>
                  <a:pt x="1327" y="507"/>
                  <a:pt x="1327" y="507"/>
                </a:cubicBezTo>
                <a:cubicBezTo>
                  <a:pt x="1328" y="506"/>
                  <a:pt x="1328" y="506"/>
                  <a:pt x="1328" y="506"/>
                </a:cubicBezTo>
                <a:cubicBezTo>
                  <a:pt x="1330" y="506"/>
                  <a:pt x="1330" y="506"/>
                  <a:pt x="1330" y="506"/>
                </a:cubicBezTo>
                <a:cubicBezTo>
                  <a:pt x="1333" y="508"/>
                  <a:pt x="1333" y="508"/>
                  <a:pt x="1333" y="508"/>
                </a:cubicBezTo>
                <a:cubicBezTo>
                  <a:pt x="1333" y="507"/>
                  <a:pt x="1333" y="507"/>
                  <a:pt x="1333" y="507"/>
                </a:cubicBezTo>
                <a:cubicBezTo>
                  <a:pt x="1334" y="507"/>
                  <a:pt x="1334" y="507"/>
                  <a:pt x="1334" y="507"/>
                </a:cubicBezTo>
                <a:cubicBezTo>
                  <a:pt x="1335" y="506"/>
                  <a:pt x="1335" y="506"/>
                  <a:pt x="1335" y="506"/>
                </a:cubicBezTo>
                <a:cubicBezTo>
                  <a:pt x="1335" y="506"/>
                  <a:pt x="1335" y="506"/>
                  <a:pt x="1336" y="505"/>
                </a:cubicBezTo>
                <a:cubicBezTo>
                  <a:pt x="1336" y="505"/>
                  <a:pt x="1336" y="505"/>
                  <a:pt x="1337" y="502"/>
                </a:cubicBezTo>
                <a:cubicBezTo>
                  <a:pt x="1337" y="502"/>
                  <a:pt x="1337" y="502"/>
                  <a:pt x="1338" y="497"/>
                </a:cubicBezTo>
                <a:cubicBezTo>
                  <a:pt x="1338" y="497"/>
                  <a:pt x="1338" y="497"/>
                  <a:pt x="1339" y="497"/>
                </a:cubicBezTo>
                <a:cubicBezTo>
                  <a:pt x="1339" y="497"/>
                  <a:pt x="1339" y="497"/>
                  <a:pt x="1338" y="496"/>
                </a:cubicBezTo>
                <a:cubicBezTo>
                  <a:pt x="1338" y="496"/>
                  <a:pt x="1338" y="496"/>
                  <a:pt x="1338" y="494"/>
                </a:cubicBezTo>
                <a:cubicBezTo>
                  <a:pt x="1338" y="494"/>
                  <a:pt x="1338" y="494"/>
                  <a:pt x="1338" y="491"/>
                </a:cubicBezTo>
                <a:cubicBezTo>
                  <a:pt x="1338" y="491"/>
                  <a:pt x="1338" y="491"/>
                  <a:pt x="1339" y="490"/>
                </a:cubicBezTo>
                <a:cubicBezTo>
                  <a:pt x="1339" y="490"/>
                  <a:pt x="1339" y="490"/>
                  <a:pt x="1340" y="491"/>
                </a:cubicBezTo>
                <a:cubicBezTo>
                  <a:pt x="1340" y="491"/>
                  <a:pt x="1340" y="491"/>
                  <a:pt x="1341" y="492"/>
                </a:cubicBezTo>
                <a:cubicBezTo>
                  <a:pt x="1341" y="492"/>
                  <a:pt x="1341" y="492"/>
                  <a:pt x="1342" y="494"/>
                </a:cubicBezTo>
                <a:cubicBezTo>
                  <a:pt x="1342" y="494"/>
                  <a:pt x="1342" y="494"/>
                  <a:pt x="1341" y="490"/>
                </a:cubicBezTo>
                <a:cubicBezTo>
                  <a:pt x="1341" y="490"/>
                  <a:pt x="1341" y="490"/>
                  <a:pt x="1339" y="489"/>
                </a:cubicBezTo>
                <a:cubicBezTo>
                  <a:pt x="1339" y="489"/>
                  <a:pt x="1339" y="489"/>
                  <a:pt x="1338" y="489"/>
                </a:cubicBezTo>
                <a:cubicBezTo>
                  <a:pt x="1338" y="489"/>
                  <a:pt x="1338" y="489"/>
                  <a:pt x="1338" y="488"/>
                </a:cubicBezTo>
                <a:cubicBezTo>
                  <a:pt x="1338" y="488"/>
                  <a:pt x="1338" y="488"/>
                  <a:pt x="1339" y="486"/>
                </a:cubicBezTo>
                <a:cubicBezTo>
                  <a:pt x="1339" y="486"/>
                  <a:pt x="1339" y="486"/>
                  <a:pt x="1338" y="485"/>
                </a:cubicBezTo>
                <a:cubicBezTo>
                  <a:pt x="1338" y="485"/>
                  <a:pt x="1338" y="485"/>
                  <a:pt x="1338" y="484"/>
                </a:cubicBezTo>
                <a:cubicBezTo>
                  <a:pt x="1338" y="484"/>
                  <a:pt x="1338" y="484"/>
                  <a:pt x="1337" y="483"/>
                </a:cubicBezTo>
                <a:cubicBezTo>
                  <a:pt x="1337" y="483"/>
                  <a:pt x="1337" y="483"/>
                  <a:pt x="1335" y="483"/>
                </a:cubicBezTo>
                <a:cubicBezTo>
                  <a:pt x="1335" y="483"/>
                  <a:pt x="1335" y="483"/>
                  <a:pt x="1334" y="481"/>
                </a:cubicBezTo>
                <a:cubicBezTo>
                  <a:pt x="1334" y="481"/>
                  <a:pt x="1334" y="481"/>
                  <a:pt x="1333" y="481"/>
                </a:cubicBezTo>
                <a:cubicBezTo>
                  <a:pt x="1333" y="481"/>
                  <a:pt x="1333" y="481"/>
                  <a:pt x="1332" y="480"/>
                </a:cubicBezTo>
                <a:cubicBezTo>
                  <a:pt x="1332" y="480"/>
                  <a:pt x="1332" y="480"/>
                  <a:pt x="1333" y="479"/>
                </a:cubicBezTo>
                <a:cubicBezTo>
                  <a:pt x="1333" y="479"/>
                  <a:pt x="1333" y="479"/>
                  <a:pt x="1333" y="478"/>
                </a:cubicBezTo>
                <a:cubicBezTo>
                  <a:pt x="1333" y="478"/>
                  <a:pt x="1333" y="478"/>
                  <a:pt x="1332" y="478"/>
                </a:cubicBezTo>
                <a:cubicBezTo>
                  <a:pt x="1332" y="478"/>
                  <a:pt x="1332" y="478"/>
                  <a:pt x="1333" y="477"/>
                </a:cubicBezTo>
                <a:cubicBezTo>
                  <a:pt x="1333" y="477"/>
                  <a:pt x="1333" y="477"/>
                  <a:pt x="1334" y="477"/>
                </a:cubicBezTo>
                <a:cubicBezTo>
                  <a:pt x="1334" y="477"/>
                  <a:pt x="1334" y="477"/>
                  <a:pt x="1335" y="477"/>
                </a:cubicBezTo>
                <a:cubicBezTo>
                  <a:pt x="1335" y="477"/>
                  <a:pt x="1335" y="477"/>
                  <a:pt x="1334" y="476"/>
                </a:cubicBezTo>
                <a:cubicBezTo>
                  <a:pt x="1334" y="476"/>
                  <a:pt x="1334" y="476"/>
                  <a:pt x="1333" y="476"/>
                </a:cubicBezTo>
                <a:cubicBezTo>
                  <a:pt x="1333" y="476"/>
                  <a:pt x="1333" y="476"/>
                  <a:pt x="1332" y="477"/>
                </a:cubicBezTo>
                <a:cubicBezTo>
                  <a:pt x="1332" y="477"/>
                  <a:pt x="1332" y="477"/>
                  <a:pt x="1331" y="477"/>
                </a:cubicBezTo>
                <a:cubicBezTo>
                  <a:pt x="1331" y="477"/>
                  <a:pt x="1331" y="477"/>
                  <a:pt x="1330" y="476"/>
                </a:cubicBezTo>
                <a:cubicBezTo>
                  <a:pt x="1330" y="476"/>
                  <a:pt x="1330" y="476"/>
                  <a:pt x="1331" y="475"/>
                </a:cubicBezTo>
                <a:cubicBezTo>
                  <a:pt x="1331" y="475"/>
                  <a:pt x="1331" y="475"/>
                  <a:pt x="1330" y="474"/>
                </a:cubicBezTo>
                <a:cubicBezTo>
                  <a:pt x="1330" y="474"/>
                  <a:pt x="1330" y="474"/>
                  <a:pt x="1329" y="475"/>
                </a:cubicBezTo>
                <a:cubicBezTo>
                  <a:pt x="1329" y="475"/>
                  <a:pt x="1329" y="475"/>
                  <a:pt x="1329" y="474"/>
                </a:cubicBezTo>
                <a:cubicBezTo>
                  <a:pt x="1329" y="474"/>
                  <a:pt x="1329" y="474"/>
                  <a:pt x="1329" y="473"/>
                </a:cubicBezTo>
                <a:cubicBezTo>
                  <a:pt x="1329" y="473"/>
                  <a:pt x="1329" y="473"/>
                  <a:pt x="1328" y="473"/>
                </a:cubicBezTo>
                <a:cubicBezTo>
                  <a:pt x="1328" y="473"/>
                  <a:pt x="1328" y="473"/>
                  <a:pt x="1327" y="474"/>
                </a:cubicBezTo>
                <a:cubicBezTo>
                  <a:pt x="1327" y="474"/>
                  <a:pt x="1327" y="474"/>
                  <a:pt x="1326" y="473"/>
                </a:cubicBezTo>
                <a:cubicBezTo>
                  <a:pt x="1326" y="473"/>
                  <a:pt x="1326" y="473"/>
                  <a:pt x="1325" y="473"/>
                </a:cubicBezTo>
                <a:cubicBezTo>
                  <a:pt x="1325" y="473"/>
                  <a:pt x="1325" y="473"/>
                  <a:pt x="1323" y="472"/>
                </a:cubicBezTo>
                <a:cubicBezTo>
                  <a:pt x="1323" y="472"/>
                  <a:pt x="1323" y="472"/>
                  <a:pt x="1322" y="472"/>
                </a:cubicBezTo>
                <a:cubicBezTo>
                  <a:pt x="1322" y="472"/>
                  <a:pt x="1322" y="472"/>
                  <a:pt x="1321" y="472"/>
                </a:cubicBezTo>
                <a:cubicBezTo>
                  <a:pt x="1321" y="472"/>
                  <a:pt x="1321" y="472"/>
                  <a:pt x="1320" y="473"/>
                </a:cubicBezTo>
                <a:cubicBezTo>
                  <a:pt x="1320" y="473"/>
                  <a:pt x="1320" y="473"/>
                  <a:pt x="1320" y="472"/>
                </a:cubicBezTo>
                <a:cubicBezTo>
                  <a:pt x="1320" y="472"/>
                  <a:pt x="1320" y="472"/>
                  <a:pt x="1320" y="470"/>
                </a:cubicBezTo>
                <a:cubicBezTo>
                  <a:pt x="1320" y="470"/>
                  <a:pt x="1320" y="470"/>
                  <a:pt x="1320" y="469"/>
                </a:cubicBezTo>
                <a:cubicBezTo>
                  <a:pt x="1320" y="469"/>
                  <a:pt x="1320" y="469"/>
                  <a:pt x="1319" y="468"/>
                </a:cubicBezTo>
                <a:cubicBezTo>
                  <a:pt x="1319" y="468"/>
                  <a:pt x="1319" y="468"/>
                  <a:pt x="1320" y="468"/>
                </a:cubicBezTo>
                <a:cubicBezTo>
                  <a:pt x="1320" y="468"/>
                  <a:pt x="1320" y="468"/>
                  <a:pt x="1319" y="467"/>
                </a:cubicBezTo>
                <a:cubicBezTo>
                  <a:pt x="1319" y="467"/>
                  <a:pt x="1319" y="467"/>
                  <a:pt x="1318" y="468"/>
                </a:cubicBezTo>
                <a:cubicBezTo>
                  <a:pt x="1318" y="468"/>
                  <a:pt x="1318" y="468"/>
                  <a:pt x="1317" y="467"/>
                </a:cubicBezTo>
                <a:cubicBezTo>
                  <a:pt x="1317" y="467"/>
                  <a:pt x="1317" y="467"/>
                  <a:pt x="1318" y="466"/>
                </a:cubicBezTo>
                <a:cubicBezTo>
                  <a:pt x="1318" y="466"/>
                  <a:pt x="1318" y="466"/>
                  <a:pt x="1320" y="466"/>
                </a:cubicBezTo>
                <a:cubicBezTo>
                  <a:pt x="1320" y="466"/>
                  <a:pt x="1320" y="466"/>
                  <a:pt x="1321" y="465"/>
                </a:cubicBezTo>
                <a:cubicBezTo>
                  <a:pt x="1321" y="465"/>
                  <a:pt x="1321" y="465"/>
                  <a:pt x="1322" y="465"/>
                </a:cubicBezTo>
                <a:cubicBezTo>
                  <a:pt x="1322" y="465"/>
                  <a:pt x="1322" y="465"/>
                  <a:pt x="1323" y="465"/>
                </a:cubicBezTo>
                <a:cubicBezTo>
                  <a:pt x="1323" y="465"/>
                  <a:pt x="1323" y="465"/>
                  <a:pt x="1324" y="465"/>
                </a:cubicBezTo>
                <a:cubicBezTo>
                  <a:pt x="1324" y="465"/>
                  <a:pt x="1324" y="465"/>
                  <a:pt x="1325" y="464"/>
                </a:cubicBezTo>
                <a:cubicBezTo>
                  <a:pt x="1325" y="464"/>
                  <a:pt x="1325" y="464"/>
                  <a:pt x="1327" y="464"/>
                </a:cubicBezTo>
                <a:cubicBezTo>
                  <a:pt x="1327" y="464"/>
                  <a:pt x="1327" y="464"/>
                  <a:pt x="1328" y="464"/>
                </a:cubicBezTo>
                <a:cubicBezTo>
                  <a:pt x="1328" y="464"/>
                  <a:pt x="1328" y="464"/>
                  <a:pt x="1330" y="466"/>
                </a:cubicBezTo>
                <a:cubicBezTo>
                  <a:pt x="1330" y="466"/>
                  <a:pt x="1330" y="466"/>
                  <a:pt x="1331" y="465"/>
                </a:cubicBezTo>
                <a:cubicBezTo>
                  <a:pt x="1331" y="465"/>
                  <a:pt x="1331" y="465"/>
                  <a:pt x="1331" y="466"/>
                </a:cubicBezTo>
                <a:cubicBezTo>
                  <a:pt x="1331" y="466"/>
                  <a:pt x="1331" y="466"/>
                  <a:pt x="1333" y="465"/>
                </a:cubicBezTo>
                <a:cubicBezTo>
                  <a:pt x="1333" y="465"/>
                  <a:pt x="1333" y="465"/>
                  <a:pt x="1333" y="466"/>
                </a:cubicBezTo>
                <a:cubicBezTo>
                  <a:pt x="1333" y="466"/>
                  <a:pt x="1333" y="466"/>
                  <a:pt x="1334" y="465"/>
                </a:cubicBezTo>
                <a:cubicBezTo>
                  <a:pt x="1334" y="465"/>
                  <a:pt x="1334" y="465"/>
                  <a:pt x="1337" y="465"/>
                </a:cubicBezTo>
                <a:cubicBezTo>
                  <a:pt x="1337" y="465"/>
                  <a:pt x="1337" y="465"/>
                  <a:pt x="1336" y="464"/>
                </a:cubicBezTo>
                <a:cubicBezTo>
                  <a:pt x="1336" y="464"/>
                  <a:pt x="1336" y="464"/>
                  <a:pt x="1336" y="463"/>
                </a:cubicBezTo>
                <a:cubicBezTo>
                  <a:pt x="1336" y="463"/>
                  <a:pt x="1336" y="463"/>
                  <a:pt x="1336" y="462"/>
                </a:cubicBezTo>
                <a:cubicBezTo>
                  <a:pt x="1336" y="462"/>
                  <a:pt x="1336" y="462"/>
                  <a:pt x="1336" y="461"/>
                </a:cubicBezTo>
                <a:cubicBezTo>
                  <a:pt x="1336" y="461"/>
                  <a:pt x="1336" y="461"/>
                  <a:pt x="1334" y="459"/>
                </a:cubicBezTo>
                <a:cubicBezTo>
                  <a:pt x="1334" y="459"/>
                  <a:pt x="1334" y="459"/>
                  <a:pt x="1334" y="458"/>
                </a:cubicBezTo>
                <a:cubicBezTo>
                  <a:pt x="1334" y="458"/>
                  <a:pt x="1334" y="458"/>
                  <a:pt x="1334" y="457"/>
                </a:cubicBezTo>
                <a:cubicBezTo>
                  <a:pt x="1334" y="457"/>
                  <a:pt x="1334" y="457"/>
                  <a:pt x="1335" y="457"/>
                </a:cubicBezTo>
                <a:cubicBezTo>
                  <a:pt x="1335" y="457"/>
                  <a:pt x="1335" y="457"/>
                  <a:pt x="1336" y="457"/>
                </a:cubicBezTo>
                <a:cubicBezTo>
                  <a:pt x="1336" y="457"/>
                  <a:pt x="1336" y="457"/>
                  <a:pt x="1337" y="457"/>
                </a:cubicBezTo>
                <a:cubicBezTo>
                  <a:pt x="1337" y="457"/>
                  <a:pt x="1337" y="457"/>
                  <a:pt x="1338" y="457"/>
                </a:cubicBezTo>
                <a:cubicBezTo>
                  <a:pt x="1338" y="457"/>
                  <a:pt x="1338" y="457"/>
                  <a:pt x="1338" y="458"/>
                </a:cubicBezTo>
                <a:cubicBezTo>
                  <a:pt x="1338" y="458"/>
                  <a:pt x="1338" y="458"/>
                  <a:pt x="1338" y="459"/>
                </a:cubicBezTo>
                <a:cubicBezTo>
                  <a:pt x="1338" y="459"/>
                  <a:pt x="1338" y="459"/>
                  <a:pt x="1339" y="460"/>
                </a:cubicBezTo>
                <a:cubicBezTo>
                  <a:pt x="1339" y="460"/>
                  <a:pt x="1339" y="460"/>
                  <a:pt x="1340" y="459"/>
                </a:cubicBezTo>
                <a:cubicBezTo>
                  <a:pt x="1340" y="459"/>
                  <a:pt x="1340" y="459"/>
                  <a:pt x="1341" y="460"/>
                </a:cubicBezTo>
                <a:cubicBezTo>
                  <a:pt x="1341" y="460"/>
                  <a:pt x="1341" y="460"/>
                  <a:pt x="1343" y="460"/>
                </a:cubicBezTo>
                <a:cubicBezTo>
                  <a:pt x="1343" y="460"/>
                  <a:pt x="1343" y="460"/>
                  <a:pt x="1345" y="460"/>
                </a:cubicBezTo>
                <a:cubicBezTo>
                  <a:pt x="1345" y="460"/>
                  <a:pt x="1345" y="460"/>
                  <a:pt x="1347" y="459"/>
                </a:cubicBezTo>
                <a:cubicBezTo>
                  <a:pt x="1347" y="459"/>
                  <a:pt x="1347" y="459"/>
                  <a:pt x="1345" y="458"/>
                </a:cubicBezTo>
                <a:cubicBezTo>
                  <a:pt x="1345" y="458"/>
                  <a:pt x="1345" y="458"/>
                  <a:pt x="1346" y="457"/>
                </a:cubicBezTo>
                <a:cubicBezTo>
                  <a:pt x="1346" y="457"/>
                  <a:pt x="1346" y="457"/>
                  <a:pt x="1348" y="455"/>
                </a:cubicBezTo>
                <a:cubicBezTo>
                  <a:pt x="1348" y="455"/>
                  <a:pt x="1348" y="455"/>
                  <a:pt x="1349" y="456"/>
                </a:cubicBezTo>
                <a:cubicBezTo>
                  <a:pt x="1349" y="456"/>
                  <a:pt x="1349" y="456"/>
                  <a:pt x="1350" y="456"/>
                </a:cubicBezTo>
                <a:cubicBezTo>
                  <a:pt x="1350" y="456"/>
                  <a:pt x="1350" y="456"/>
                  <a:pt x="1352" y="455"/>
                </a:cubicBezTo>
                <a:cubicBezTo>
                  <a:pt x="1352" y="455"/>
                  <a:pt x="1352" y="455"/>
                  <a:pt x="1352" y="454"/>
                </a:cubicBezTo>
                <a:cubicBezTo>
                  <a:pt x="1352" y="454"/>
                  <a:pt x="1352" y="454"/>
                  <a:pt x="1354" y="453"/>
                </a:cubicBezTo>
                <a:cubicBezTo>
                  <a:pt x="1354" y="453"/>
                  <a:pt x="1354" y="453"/>
                  <a:pt x="1354" y="450"/>
                </a:cubicBezTo>
                <a:cubicBezTo>
                  <a:pt x="1354" y="450"/>
                  <a:pt x="1354" y="450"/>
                  <a:pt x="1354" y="449"/>
                </a:cubicBezTo>
                <a:cubicBezTo>
                  <a:pt x="1354" y="449"/>
                  <a:pt x="1354" y="449"/>
                  <a:pt x="1355" y="448"/>
                </a:cubicBezTo>
                <a:cubicBezTo>
                  <a:pt x="1355" y="448"/>
                  <a:pt x="1355" y="448"/>
                  <a:pt x="1356" y="447"/>
                </a:cubicBezTo>
                <a:cubicBezTo>
                  <a:pt x="1356" y="447"/>
                  <a:pt x="1356" y="447"/>
                  <a:pt x="1357" y="447"/>
                </a:cubicBezTo>
                <a:cubicBezTo>
                  <a:pt x="1357" y="447"/>
                  <a:pt x="1357" y="447"/>
                  <a:pt x="1359" y="446"/>
                </a:cubicBezTo>
                <a:cubicBezTo>
                  <a:pt x="1359" y="446"/>
                  <a:pt x="1359" y="446"/>
                  <a:pt x="1360" y="444"/>
                </a:cubicBezTo>
                <a:cubicBezTo>
                  <a:pt x="1360" y="444"/>
                  <a:pt x="1360" y="444"/>
                  <a:pt x="1361" y="443"/>
                </a:cubicBezTo>
                <a:cubicBezTo>
                  <a:pt x="1361" y="443"/>
                  <a:pt x="1361" y="443"/>
                  <a:pt x="1363" y="443"/>
                </a:cubicBezTo>
                <a:cubicBezTo>
                  <a:pt x="1363" y="443"/>
                  <a:pt x="1363" y="443"/>
                  <a:pt x="1364" y="444"/>
                </a:cubicBezTo>
                <a:cubicBezTo>
                  <a:pt x="1364" y="444"/>
                  <a:pt x="1364" y="444"/>
                  <a:pt x="1365" y="444"/>
                </a:cubicBezTo>
                <a:cubicBezTo>
                  <a:pt x="1365" y="444"/>
                  <a:pt x="1365" y="444"/>
                  <a:pt x="1366" y="444"/>
                </a:cubicBezTo>
                <a:cubicBezTo>
                  <a:pt x="1366" y="444"/>
                  <a:pt x="1366" y="444"/>
                  <a:pt x="1365" y="443"/>
                </a:cubicBezTo>
                <a:cubicBezTo>
                  <a:pt x="1365" y="443"/>
                  <a:pt x="1365" y="443"/>
                  <a:pt x="1367" y="443"/>
                </a:cubicBezTo>
                <a:cubicBezTo>
                  <a:pt x="1367" y="443"/>
                  <a:pt x="1367" y="443"/>
                  <a:pt x="1366" y="442"/>
                </a:cubicBezTo>
                <a:cubicBezTo>
                  <a:pt x="1366" y="442"/>
                  <a:pt x="1366" y="442"/>
                  <a:pt x="1365" y="442"/>
                </a:cubicBezTo>
                <a:cubicBezTo>
                  <a:pt x="1365" y="442"/>
                  <a:pt x="1365" y="442"/>
                  <a:pt x="1366" y="441"/>
                </a:cubicBezTo>
                <a:cubicBezTo>
                  <a:pt x="1366" y="441"/>
                  <a:pt x="1366" y="441"/>
                  <a:pt x="1368" y="441"/>
                </a:cubicBezTo>
                <a:cubicBezTo>
                  <a:pt x="1368" y="441"/>
                  <a:pt x="1368" y="441"/>
                  <a:pt x="1367" y="440"/>
                </a:cubicBezTo>
                <a:cubicBezTo>
                  <a:pt x="1367" y="440"/>
                  <a:pt x="1367" y="440"/>
                  <a:pt x="1365" y="439"/>
                </a:cubicBezTo>
                <a:cubicBezTo>
                  <a:pt x="1365" y="439"/>
                  <a:pt x="1365" y="439"/>
                  <a:pt x="1365" y="438"/>
                </a:cubicBezTo>
                <a:cubicBezTo>
                  <a:pt x="1365" y="438"/>
                  <a:pt x="1365" y="438"/>
                  <a:pt x="1366" y="437"/>
                </a:cubicBezTo>
                <a:cubicBezTo>
                  <a:pt x="1366" y="437"/>
                  <a:pt x="1366" y="437"/>
                  <a:pt x="1367" y="436"/>
                </a:cubicBezTo>
                <a:cubicBezTo>
                  <a:pt x="1367" y="436"/>
                  <a:pt x="1367" y="436"/>
                  <a:pt x="1367" y="434"/>
                </a:cubicBezTo>
                <a:cubicBezTo>
                  <a:pt x="1367" y="434"/>
                  <a:pt x="1367" y="434"/>
                  <a:pt x="1367" y="433"/>
                </a:cubicBezTo>
                <a:cubicBezTo>
                  <a:pt x="1367" y="433"/>
                  <a:pt x="1367" y="433"/>
                  <a:pt x="1368" y="432"/>
                </a:cubicBezTo>
                <a:cubicBezTo>
                  <a:pt x="1368" y="432"/>
                  <a:pt x="1368" y="432"/>
                  <a:pt x="1368" y="430"/>
                </a:cubicBezTo>
                <a:cubicBezTo>
                  <a:pt x="1368" y="430"/>
                  <a:pt x="1368" y="430"/>
                  <a:pt x="1369" y="430"/>
                </a:cubicBezTo>
                <a:cubicBezTo>
                  <a:pt x="1369" y="430"/>
                  <a:pt x="1369" y="430"/>
                  <a:pt x="1370" y="430"/>
                </a:cubicBezTo>
                <a:cubicBezTo>
                  <a:pt x="1370" y="430"/>
                  <a:pt x="1370" y="430"/>
                  <a:pt x="1372" y="429"/>
                </a:cubicBezTo>
                <a:cubicBezTo>
                  <a:pt x="1372" y="429"/>
                  <a:pt x="1372" y="429"/>
                  <a:pt x="1374" y="427"/>
                </a:cubicBezTo>
                <a:cubicBezTo>
                  <a:pt x="1374" y="427"/>
                  <a:pt x="1374" y="427"/>
                  <a:pt x="1375" y="427"/>
                </a:cubicBezTo>
                <a:cubicBezTo>
                  <a:pt x="1375" y="427"/>
                  <a:pt x="1375" y="427"/>
                  <a:pt x="1376" y="427"/>
                </a:cubicBezTo>
                <a:cubicBezTo>
                  <a:pt x="1376" y="427"/>
                  <a:pt x="1376" y="427"/>
                  <a:pt x="1377" y="427"/>
                </a:cubicBezTo>
                <a:cubicBezTo>
                  <a:pt x="1377" y="427"/>
                  <a:pt x="1377" y="427"/>
                  <a:pt x="1378" y="426"/>
                </a:cubicBezTo>
                <a:cubicBezTo>
                  <a:pt x="1378" y="426"/>
                  <a:pt x="1378" y="426"/>
                  <a:pt x="1380" y="426"/>
                </a:cubicBezTo>
                <a:cubicBezTo>
                  <a:pt x="1380" y="426"/>
                  <a:pt x="1380" y="426"/>
                  <a:pt x="1382" y="427"/>
                </a:cubicBezTo>
                <a:cubicBezTo>
                  <a:pt x="1382" y="427"/>
                  <a:pt x="1382" y="427"/>
                  <a:pt x="1383" y="428"/>
                </a:cubicBezTo>
                <a:cubicBezTo>
                  <a:pt x="1383" y="428"/>
                  <a:pt x="1383" y="428"/>
                  <a:pt x="1384" y="428"/>
                </a:cubicBezTo>
                <a:cubicBezTo>
                  <a:pt x="1384" y="428"/>
                  <a:pt x="1384" y="428"/>
                  <a:pt x="1384" y="427"/>
                </a:cubicBezTo>
                <a:cubicBezTo>
                  <a:pt x="1384" y="427"/>
                  <a:pt x="1384" y="427"/>
                  <a:pt x="1382" y="427"/>
                </a:cubicBezTo>
                <a:cubicBezTo>
                  <a:pt x="1382" y="427"/>
                  <a:pt x="1382" y="427"/>
                  <a:pt x="1382" y="426"/>
                </a:cubicBezTo>
                <a:cubicBezTo>
                  <a:pt x="1382" y="426"/>
                  <a:pt x="1382" y="426"/>
                  <a:pt x="1382" y="424"/>
                </a:cubicBezTo>
                <a:cubicBezTo>
                  <a:pt x="1382" y="424"/>
                  <a:pt x="1382" y="424"/>
                  <a:pt x="1385" y="424"/>
                </a:cubicBezTo>
                <a:cubicBezTo>
                  <a:pt x="1385" y="424"/>
                  <a:pt x="1385" y="424"/>
                  <a:pt x="1385" y="423"/>
                </a:cubicBezTo>
                <a:cubicBezTo>
                  <a:pt x="1385" y="423"/>
                  <a:pt x="1385" y="423"/>
                  <a:pt x="1387" y="424"/>
                </a:cubicBezTo>
                <a:cubicBezTo>
                  <a:pt x="1387" y="424"/>
                  <a:pt x="1387" y="424"/>
                  <a:pt x="1387" y="426"/>
                </a:cubicBezTo>
                <a:cubicBezTo>
                  <a:pt x="1387" y="426"/>
                  <a:pt x="1387" y="426"/>
                  <a:pt x="1388" y="427"/>
                </a:cubicBezTo>
                <a:cubicBezTo>
                  <a:pt x="1388" y="427"/>
                  <a:pt x="1388" y="427"/>
                  <a:pt x="1389" y="426"/>
                </a:cubicBezTo>
                <a:cubicBezTo>
                  <a:pt x="1389" y="426"/>
                  <a:pt x="1389" y="426"/>
                  <a:pt x="1390" y="427"/>
                </a:cubicBezTo>
                <a:cubicBezTo>
                  <a:pt x="1390" y="427"/>
                  <a:pt x="1390" y="427"/>
                  <a:pt x="1390" y="425"/>
                </a:cubicBezTo>
                <a:cubicBezTo>
                  <a:pt x="1390" y="425"/>
                  <a:pt x="1390" y="425"/>
                  <a:pt x="1390" y="424"/>
                </a:cubicBezTo>
                <a:cubicBezTo>
                  <a:pt x="1390" y="424"/>
                  <a:pt x="1390" y="424"/>
                  <a:pt x="1391" y="423"/>
                </a:cubicBezTo>
                <a:cubicBezTo>
                  <a:pt x="1391" y="423"/>
                  <a:pt x="1391" y="423"/>
                  <a:pt x="1392" y="422"/>
                </a:cubicBezTo>
                <a:cubicBezTo>
                  <a:pt x="1392" y="422"/>
                  <a:pt x="1392" y="422"/>
                  <a:pt x="1393" y="423"/>
                </a:cubicBezTo>
                <a:cubicBezTo>
                  <a:pt x="1393" y="423"/>
                  <a:pt x="1393" y="423"/>
                  <a:pt x="1394" y="422"/>
                </a:cubicBezTo>
                <a:cubicBezTo>
                  <a:pt x="1394" y="422"/>
                  <a:pt x="1394" y="422"/>
                  <a:pt x="1396" y="425"/>
                </a:cubicBezTo>
                <a:cubicBezTo>
                  <a:pt x="1396" y="425"/>
                  <a:pt x="1396" y="425"/>
                  <a:pt x="1399" y="425"/>
                </a:cubicBezTo>
                <a:cubicBezTo>
                  <a:pt x="1399" y="425"/>
                  <a:pt x="1399" y="425"/>
                  <a:pt x="1396" y="424"/>
                </a:cubicBezTo>
                <a:cubicBezTo>
                  <a:pt x="1396" y="424"/>
                  <a:pt x="1396" y="424"/>
                  <a:pt x="1394" y="422"/>
                </a:cubicBezTo>
                <a:cubicBezTo>
                  <a:pt x="1394" y="422"/>
                  <a:pt x="1394" y="422"/>
                  <a:pt x="1393" y="422"/>
                </a:cubicBezTo>
                <a:cubicBezTo>
                  <a:pt x="1393" y="422"/>
                  <a:pt x="1393" y="422"/>
                  <a:pt x="1392" y="421"/>
                </a:cubicBezTo>
                <a:cubicBezTo>
                  <a:pt x="1392" y="421"/>
                  <a:pt x="1392" y="421"/>
                  <a:pt x="1392" y="420"/>
                </a:cubicBezTo>
                <a:cubicBezTo>
                  <a:pt x="1392" y="420"/>
                  <a:pt x="1392" y="420"/>
                  <a:pt x="1393" y="420"/>
                </a:cubicBezTo>
                <a:cubicBezTo>
                  <a:pt x="1393" y="420"/>
                  <a:pt x="1393" y="420"/>
                  <a:pt x="1392" y="419"/>
                </a:cubicBezTo>
                <a:cubicBezTo>
                  <a:pt x="1392" y="419"/>
                  <a:pt x="1392" y="419"/>
                  <a:pt x="1392" y="418"/>
                </a:cubicBezTo>
                <a:cubicBezTo>
                  <a:pt x="1392" y="418"/>
                  <a:pt x="1392" y="418"/>
                  <a:pt x="1390" y="418"/>
                </a:cubicBezTo>
                <a:cubicBezTo>
                  <a:pt x="1390" y="418"/>
                  <a:pt x="1390" y="418"/>
                  <a:pt x="1390" y="417"/>
                </a:cubicBezTo>
                <a:cubicBezTo>
                  <a:pt x="1390" y="417"/>
                  <a:pt x="1390" y="417"/>
                  <a:pt x="1391" y="417"/>
                </a:cubicBezTo>
                <a:cubicBezTo>
                  <a:pt x="1391" y="417"/>
                  <a:pt x="1391" y="417"/>
                  <a:pt x="1393" y="416"/>
                </a:cubicBezTo>
                <a:cubicBezTo>
                  <a:pt x="1393" y="416"/>
                  <a:pt x="1393" y="416"/>
                  <a:pt x="1391" y="415"/>
                </a:cubicBezTo>
                <a:cubicBezTo>
                  <a:pt x="1391" y="415"/>
                  <a:pt x="1391" y="415"/>
                  <a:pt x="1391" y="414"/>
                </a:cubicBezTo>
                <a:cubicBezTo>
                  <a:pt x="1391" y="414"/>
                  <a:pt x="1391" y="414"/>
                  <a:pt x="1390" y="414"/>
                </a:cubicBezTo>
                <a:cubicBezTo>
                  <a:pt x="1390" y="414"/>
                  <a:pt x="1390" y="414"/>
                  <a:pt x="1390" y="413"/>
                </a:cubicBezTo>
                <a:cubicBezTo>
                  <a:pt x="1390" y="413"/>
                  <a:pt x="1390" y="413"/>
                  <a:pt x="1390" y="412"/>
                </a:cubicBezTo>
                <a:cubicBezTo>
                  <a:pt x="1390" y="412"/>
                  <a:pt x="1390" y="412"/>
                  <a:pt x="1390" y="411"/>
                </a:cubicBezTo>
                <a:cubicBezTo>
                  <a:pt x="1390" y="411"/>
                  <a:pt x="1390" y="411"/>
                  <a:pt x="1390" y="409"/>
                </a:cubicBezTo>
                <a:cubicBezTo>
                  <a:pt x="1390" y="409"/>
                  <a:pt x="1390" y="409"/>
                  <a:pt x="1388" y="408"/>
                </a:cubicBezTo>
                <a:cubicBezTo>
                  <a:pt x="1388" y="408"/>
                  <a:pt x="1388" y="408"/>
                  <a:pt x="1387" y="408"/>
                </a:cubicBezTo>
                <a:cubicBezTo>
                  <a:pt x="1387" y="408"/>
                  <a:pt x="1387" y="408"/>
                  <a:pt x="1387" y="406"/>
                </a:cubicBezTo>
                <a:cubicBezTo>
                  <a:pt x="1387" y="406"/>
                  <a:pt x="1387" y="406"/>
                  <a:pt x="1389" y="405"/>
                </a:cubicBezTo>
                <a:cubicBezTo>
                  <a:pt x="1389" y="405"/>
                  <a:pt x="1389" y="405"/>
                  <a:pt x="1388" y="405"/>
                </a:cubicBezTo>
                <a:cubicBezTo>
                  <a:pt x="1388" y="405"/>
                  <a:pt x="1388" y="405"/>
                  <a:pt x="1388" y="403"/>
                </a:cubicBezTo>
                <a:cubicBezTo>
                  <a:pt x="1388" y="403"/>
                  <a:pt x="1388" y="403"/>
                  <a:pt x="1387" y="403"/>
                </a:cubicBezTo>
                <a:cubicBezTo>
                  <a:pt x="1387" y="403"/>
                  <a:pt x="1387" y="403"/>
                  <a:pt x="1387" y="401"/>
                </a:cubicBezTo>
                <a:cubicBezTo>
                  <a:pt x="1387" y="401"/>
                  <a:pt x="1387" y="401"/>
                  <a:pt x="1388" y="401"/>
                </a:cubicBezTo>
                <a:cubicBezTo>
                  <a:pt x="1388" y="401"/>
                  <a:pt x="1388" y="401"/>
                  <a:pt x="1389" y="402"/>
                </a:cubicBezTo>
                <a:cubicBezTo>
                  <a:pt x="1389" y="402"/>
                  <a:pt x="1389" y="402"/>
                  <a:pt x="1389" y="400"/>
                </a:cubicBezTo>
                <a:cubicBezTo>
                  <a:pt x="1389" y="400"/>
                  <a:pt x="1389" y="400"/>
                  <a:pt x="1387" y="399"/>
                </a:cubicBezTo>
                <a:cubicBezTo>
                  <a:pt x="1387" y="399"/>
                  <a:pt x="1387" y="399"/>
                  <a:pt x="1388" y="398"/>
                </a:cubicBezTo>
                <a:cubicBezTo>
                  <a:pt x="1388" y="398"/>
                  <a:pt x="1388" y="398"/>
                  <a:pt x="1389" y="399"/>
                </a:cubicBezTo>
                <a:cubicBezTo>
                  <a:pt x="1389" y="399"/>
                  <a:pt x="1389" y="399"/>
                  <a:pt x="1390" y="399"/>
                </a:cubicBezTo>
                <a:cubicBezTo>
                  <a:pt x="1390" y="399"/>
                  <a:pt x="1390" y="399"/>
                  <a:pt x="1391" y="400"/>
                </a:cubicBezTo>
                <a:cubicBezTo>
                  <a:pt x="1391" y="400"/>
                  <a:pt x="1391" y="400"/>
                  <a:pt x="1392" y="399"/>
                </a:cubicBezTo>
                <a:cubicBezTo>
                  <a:pt x="1392" y="399"/>
                  <a:pt x="1392" y="399"/>
                  <a:pt x="1393" y="399"/>
                </a:cubicBezTo>
                <a:cubicBezTo>
                  <a:pt x="1393" y="399"/>
                  <a:pt x="1393" y="399"/>
                  <a:pt x="1394" y="399"/>
                </a:cubicBezTo>
                <a:cubicBezTo>
                  <a:pt x="1394" y="399"/>
                  <a:pt x="1394" y="399"/>
                  <a:pt x="1395" y="399"/>
                </a:cubicBezTo>
                <a:cubicBezTo>
                  <a:pt x="1395" y="399"/>
                  <a:pt x="1395" y="399"/>
                  <a:pt x="1394" y="398"/>
                </a:cubicBezTo>
                <a:cubicBezTo>
                  <a:pt x="1394" y="398"/>
                  <a:pt x="1394" y="398"/>
                  <a:pt x="1394" y="397"/>
                </a:cubicBezTo>
                <a:cubicBezTo>
                  <a:pt x="1394" y="397"/>
                  <a:pt x="1394" y="397"/>
                  <a:pt x="1393" y="396"/>
                </a:cubicBezTo>
                <a:cubicBezTo>
                  <a:pt x="1393" y="396"/>
                  <a:pt x="1393" y="396"/>
                  <a:pt x="1393" y="395"/>
                </a:cubicBezTo>
                <a:cubicBezTo>
                  <a:pt x="1393" y="395"/>
                  <a:pt x="1393" y="395"/>
                  <a:pt x="1394" y="395"/>
                </a:cubicBezTo>
                <a:cubicBezTo>
                  <a:pt x="1394" y="395"/>
                  <a:pt x="1394" y="395"/>
                  <a:pt x="1395" y="395"/>
                </a:cubicBezTo>
                <a:cubicBezTo>
                  <a:pt x="1395" y="395"/>
                  <a:pt x="1395" y="395"/>
                  <a:pt x="1397" y="395"/>
                </a:cubicBezTo>
                <a:cubicBezTo>
                  <a:pt x="1397" y="395"/>
                  <a:pt x="1397" y="395"/>
                  <a:pt x="1398" y="396"/>
                </a:cubicBezTo>
                <a:cubicBezTo>
                  <a:pt x="1398" y="396"/>
                  <a:pt x="1398" y="396"/>
                  <a:pt x="1398" y="397"/>
                </a:cubicBezTo>
                <a:cubicBezTo>
                  <a:pt x="1398" y="397"/>
                  <a:pt x="1398" y="397"/>
                  <a:pt x="1398" y="398"/>
                </a:cubicBezTo>
                <a:cubicBezTo>
                  <a:pt x="1398" y="398"/>
                  <a:pt x="1398" y="398"/>
                  <a:pt x="1399" y="398"/>
                </a:cubicBezTo>
                <a:cubicBezTo>
                  <a:pt x="1399" y="398"/>
                  <a:pt x="1399" y="398"/>
                  <a:pt x="1399" y="399"/>
                </a:cubicBezTo>
                <a:cubicBezTo>
                  <a:pt x="1399" y="399"/>
                  <a:pt x="1399" y="399"/>
                  <a:pt x="1400" y="400"/>
                </a:cubicBezTo>
                <a:cubicBezTo>
                  <a:pt x="1400" y="400"/>
                  <a:pt x="1400" y="400"/>
                  <a:pt x="1401" y="400"/>
                </a:cubicBezTo>
                <a:cubicBezTo>
                  <a:pt x="1401" y="400"/>
                  <a:pt x="1401" y="400"/>
                  <a:pt x="1402" y="399"/>
                </a:cubicBezTo>
                <a:cubicBezTo>
                  <a:pt x="1402" y="399"/>
                  <a:pt x="1402" y="399"/>
                  <a:pt x="1403" y="400"/>
                </a:cubicBezTo>
                <a:cubicBezTo>
                  <a:pt x="1403" y="400"/>
                  <a:pt x="1403" y="400"/>
                  <a:pt x="1403" y="401"/>
                </a:cubicBezTo>
                <a:cubicBezTo>
                  <a:pt x="1403" y="401"/>
                  <a:pt x="1403" y="401"/>
                  <a:pt x="1402" y="402"/>
                </a:cubicBezTo>
                <a:cubicBezTo>
                  <a:pt x="1402" y="402"/>
                  <a:pt x="1402" y="402"/>
                  <a:pt x="1401" y="402"/>
                </a:cubicBezTo>
                <a:cubicBezTo>
                  <a:pt x="1401" y="402"/>
                  <a:pt x="1401" y="402"/>
                  <a:pt x="1401" y="401"/>
                </a:cubicBezTo>
                <a:cubicBezTo>
                  <a:pt x="1401" y="401"/>
                  <a:pt x="1401" y="401"/>
                  <a:pt x="1400" y="401"/>
                </a:cubicBezTo>
                <a:cubicBezTo>
                  <a:pt x="1400" y="401"/>
                  <a:pt x="1400" y="401"/>
                  <a:pt x="1399" y="402"/>
                </a:cubicBezTo>
                <a:cubicBezTo>
                  <a:pt x="1399" y="402"/>
                  <a:pt x="1399" y="402"/>
                  <a:pt x="1399" y="403"/>
                </a:cubicBezTo>
                <a:cubicBezTo>
                  <a:pt x="1399" y="403"/>
                  <a:pt x="1399" y="403"/>
                  <a:pt x="1399" y="405"/>
                </a:cubicBezTo>
                <a:cubicBezTo>
                  <a:pt x="1399" y="405"/>
                  <a:pt x="1399" y="405"/>
                  <a:pt x="1398" y="405"/>
                </a:cubicBezTo>
                <a:cubicBezTo>
                  <a:pt x="1398" y="405"/>
                  <a:pt x="1398" y="405"/>
                  <a:pt x="1397" y="406"/>
                </a:cubicBezTo>
                <a:cubicBezTo>
                  <a:pt x="1397" y="406"/>
                  <a:pt x="1397" y="406"/>
                  <a:pt x="1397" y="407"/>
                </a:cubicBezTo>
                <a:cubicBezTo>
                  <a:pt x="1397" y="407"/>
                  <a:pt x="1397" y="407"/>
                  <a:pt x="1395" y="408"/>
                </a:cubicBezTo>
                <a:cubicBezTo>
                  <a:pt x="1395" y="408"/>
                  <a:pt x="1395" y="408"/>
                  <a:pt x="1395" y="409"/>
                </a:cubicBezTo>
                <a:cubicBezTo>
                  <a:pt x="1395" y="409"/>
                  <a:pt x="1395" y="409"/>
                  <a:pt x="1395" y="410"/>
                </a:cubicBezTo>
                <a:cubicBezTo>
                  <a:pt x="1395" y="410"/>
                  <a:pt x="1395" y="410"/>
                  <a:pt x="1395" y="411"/>
                </a:cubicBezTo>
                <a:cubicBezTo>
                  <a:pt x="1395" y="411"/>
                  <a:pt x="1395" y="411"/>
                  <a:pt x="1396" y="412"/>
                </a:cubicBezTo>
                <a:cubicBezTo>
                  <a:pt x="1396" y="412"/>
                  <a:pt x="1396" y="412"/>
                  <a:pt x="1395" y="413"/>
                </a:cubicBezTo>
                <a:cubicBezTo>
                  <a:pt x="1395" y="413"/>
                  <a:pt x="1395" y="413"/>
                  <a:pt x="1396" y="413"/>
                </a:cubicBezTo>
                <a:cubicBezTo>
                  <a:pt x="1396" y="413"/>
                  <a:pt x="1396" y="413"/>
                  <a:pt x="1397" y="414"/>
                </a:cubicBezTo>
                <a:cubicBezTo>
                  <a:pt x="1397" y="414"/>
                  <a:pt x="1397" y="414"/>
                  <a:pt x="1398" y="414"/>
                </a:cubicBezTo>
                <a:cubicBezTo>
                  <a:pt x="1398" y="414"/>
                  <a:pt x="1398" y="414"/>
                  <a:pt x="1397" y="416"/>
                </a:cubicBezTo>
                <a:cubicBezTo>
                  <a:pt x="1397" y="416"/>
                  <a:pt x="1397" y="416"/>
                  <a:pt x="1397" y="417"/>
                </a:cubicBezTo>
                <a:cubicBezTo>
                  <a:pt x="1397" y="417"/>
                  <a:pt x="1397" y="417"/>
                  <a:pt x="1398" y="418"/>
                </a:cubicBezTo>
                <a:cubicBezTo>
                  <a:pt x="1398" y="418"/>
                  <a:pt x="1398" y="418"/>
                  <a:pt x="1398" y="419"/>
                </a:cubicBezTo>
                <a:cubicBezTo>
                  <a:pt x="1398" y="419"/>
                  <a:pt x="1398" y="419"/>
                  <a:pt x="1399" y="418"/>
                </a:cubicBezTo>
                <a:cubicBezTo>
                  <a:pt x="1399" y="418"/>
                  <a:pt x="1399" y="418"/>
                  <a:pt x="1400" y="417"/>
                </a:cubicBezTo>
                <a:cubicBezTo>
                  <a:pt x="1400" y="417"/>
                  <a:pt x="1400" y="417"/>
                  <a:pt x="1401" y="418"/>
                </a:cubicBezTo>
                <a:cubicBezTo>
                  <a:pt x="1401" y="418"/>
                  <a:pt x="1401" y="418"/>
                  <a:pt x="1402" y="419"/>
                </a:cubicBezTo>
                <a:cubicBezTo>
                  <a:pt x="1402" y="419"/>
                  <a:pt x="1402" y="419"/>
                  <a:pt x="1403" y="418"/>
                </a:cubicBezTo>
                <a:cubicBezTo>
                  <a:pt x="1403" y="418"/>
                  <a:pt x="1403" y="418"/>
                  <a:pt x="1404" y="417"/>
                </a:cubicBezTo>
                <a:cubicBezTo>
                  <a:pt x="1404" y="417"/>
                  <a:pt x="1404" y="417"/>
                  <a:pt x="1404" y="418"/>
                </a:cubicBezTo>
                <a:cubicBezTo>
                  <a:pt x="1404" y="418"/>
                  <a:pt x="1404" y="418"/>
                  <a:pt x="1404" y="419"/>
                </a:cubicBezTo>
                <a:cubicBezTo>
                  <a:pt x="1404" y="419"/>
                  <a:pt x="1404" y="419"/>
                  <a:pt x="1403" y="420"/>
                </a:cubicBezTo>
                <a:cubicBezTo>
                  <a:pt x="1403" y="420"/>
                  <a:pt x="1403" y="420"/>
                  <a:pt x="1402" y="420"/>
                </a:cubicBezTo>
                <a:cubicBezTo>
                  <a:pt x="1402" y="420"/>
                  <a:pt x="1402" y="420"/>
                  <a:pt x="1403" y="421"/>
                </a:cubicBezTo>
                <a:cubicBezTo>
                  <a:pt x="1403" y="421"/>
                  <a:pt x="1403" y="421"/>
                  <a:pt x="1404" y="421"/>
                </a:cubicBezTo>
                <a:cubicBezTo>
                  <a:pt x="1404" y="421"/>
                  <a:pt x="1404" y="421"/>
                  <a:pt x="1405" y="421"/>
                </a:cubicBezTo>
                <a:cubicBezTo>
                  <a:pt x="1405" y="421"/>
                  <a:pt x="1405" y="421"/>
                  <a:pt x="1407" y="421"/>
                </a:cubicBezTo>
                <a:cubicBezTo>
                  <a:pt x="1407" y="421"/>
                  <a:pt x="1407" y="421"/>
                  <a:pt x="1407" y="420"/>
                </a:cubicBezTo>
                <a:cubicBezTo>
                  <a:pt x="1407" y="420"/>
                  <a:pt x="1407" y="420"/>
                  <a:pt x="1408" y="419"/>
                </a:cubicBezTo>
                <a:cubicBezTo>
                  <a:pt x="1408" y="419"/>
                  <a:pt x="1408" y="419"/>
                  <a:pt x="1410" y="419"/>
                </a:cubicBezTo>
                <a:cubicBezTo>
                  <a:pt x="1410" y="419"/>
                  <a:pt x="1410" y="419"/>
                  <a:pt x="1410" y="418"/>
                </a:cubicBezTo>
                <a:cubicBezTo>
                  <a:pt x="1410" y="418"/>
                  <a:pt x="1410" y="418"/>
                  <a:pt x="1411" y="418"/>
                </a:cubicBezTo>
                <a:cubicBezTo>
                  <a:pt x="1411" y="418"/>
                  <a:pt x="1411" y="418"/>
                  <a:pt x="1411" y="419"/>
                </a:cubicBezTo>
                <a:cubicBezTo>
                  <a:pt x="1411" y="419"/>
                  <a:pt x="1411" y="419"/>
                  <a:pt x="1413" y="418"/>
                </a:cubicBezTo>
                <a:cubicBezTo>
                  <a:pt x="1413" y="418"/>
                  <a:pt x="1413" y="418"/>
                  <a:pt x="1414" y="418"/>
                </a:cubicBezTo>
                <a:cubicBezTo>
                  <a:pt x="1414" y="418"/>
                  <a:pt x="1414" y="418"/>
                  <a:pt x="1415" y="418"/>
                </a:cubicBezTo>
                <a:cubicBezTo>
                  <a:pt x="1415" y="418"/>
                  <a:pt x="1415" y="418"/>
                  <a:pt x="1415" y="417"/>
                </a:cubicBezTo>
                <a:cubicBezTo>
                  <a:pt x="1415" y="417"/>
                  <a:pt x="1415" y="417"/>
                  <a:pt x="1415" y="416"/>
                </a:cubicBezTo>
                <a:cubicBezTo>
                  <a:pt x="1415" y="416"/>
                  <a:pt x="1415" y="416"/>
                  <a:pt x="1415" y="415"/>
                </a:cubicBezTo>
                <a:cubicBezTo>
                  <a:pt x="1415" y="415"/>
                  <a:pt x="1415" y="415"/>
                  <a:pt x="1416" y="415"/>
                </a:cubicBezTo>
                <a:cubicBezTo>
                  <a:pt x="1416" y="415"/>
                  <a:pt x="1416" y="415"/>
                  <a:pt x="1417" y="415"/>
                </a:cubicBezTo>
                <a:cubicBezTo>
                  <a:pt x="1417" y="415"/>
                  <a:pt x="1417" y="415"/>
                  <a:pt x="1418" y="415"/>
                </a:cubicBezTo>
                <a:cubicBezTo>
                  <a:pt x="1418" y="415"/>
                  <a:pt x="1418" y="415"/>
                  <a:pt x="1418" y="416"/>
                </a:cubicBezTo>
                <a:cubicBezTo>
                  <a:pt x="1418" y="416"/>
                  <a:pt x="1418" y="416"/>
                  <a:pt x="1418" y="417"/>
                </a:cubicBezTo>
                <a:cubicBezTo>
                  <a:pt x="1418" y="417"/>
                  <a:pt x="1418" y="417"/>
                  <a:pt x="1417" y="417"/>
                </a:cubicBezTo>
                <a:cubicBezTo>
                  <a:pt x="1417" y="417"/>
                  <a:pt x="1417" y="417"/>
                  <a:pt x="1417" y="418"/>
                </a:cubicBezTo>
                <a:cubicBezTo>
                  <a:pt x="1417" y="418"/>
                  <a:pt x="1417" y="418"/>
                  <a:pt x="1416" y="418"/>
                </a:cubicBezTo>
                <a:cubicBezTo>
                  <a:pt x="1416" y="418"/>
                  <a:pt x="1416" y="418"/>
                  <a:pt x="1418" y="420"/>
                </a:cubicBezTo>
                <a:cubicBezTo>
                  <a:pt x="1418" y="420"/>
                  <a:pt x="1418" y="420"/>
                  <a:pt x="1419" y="420"/>
                </a:cubicBezTo>
                <a:cubicBezTo>
                  <a:pt x="1419" y="420"/>
                  <a:pt x="1419" y="420"/>
                  <a:pt x="1420" y="421"/>
                </a:cubicBezTo>
                <a:cubicBezTo>
                  <a:pt x="1420" y="421"/>
                  <a:pt x="1420" y="421"/>
                  <a:pt x="1419" y="422"/>
                </a:cubicBezTo>
                <a:cubicBezTo>
                  <a:pt x="1419" y="422"/>
                  <a:pt x="1419" y="422"/>
                  <a:pt x="1421" y="423"/>
                </a:cubicBezTo>
                <a:cubicBezTo>
                  <a:pt x="1421" y="423"/>
                  <a:pt x="1421" y="423"/>
                  <a:pt x="1422" y="423"/>
                </a:cubicBezTo>
                <a:cubicBezTo>
                  <a:pt x="1422" y="423"/>
                  <a:pt x="1422" y="423"/>
                  <a:pt x="1424" y="423"/>
                </a:cubicBezTo>
                <a:cubicBezTo>
                  <a:pt x="1424" y="423"/>
                  <a:pt x="1424" y="423"/>
                  <a:pt x="1424" y="422"/>
                </a:cubicBezTo>
                <a:cubicBezTo>
                  <a:pt x="1424" y="422"/>
                  <a:pt x="1424" y="422"/>
                  <a:pt x="1425" y="421"/>
                </a:cubicBezTo>
                <a:cubicBezTo>
                  <a:pt x="1425" y="421"/>
                  <a:pt x="1425" y="421"/>
                  <a:pt x="1426" y="419"/>
                </a:cubicBezTo>
                <a:cubicBezTo>
                  <a:pt x="1426" y="419"/>
                  <a:pt x="1426" y="419"/>
                  <a:pt x="1428" y="419"/>
                </a:cubicBezTo>
                <a:cubicBezTo>
                  <a:pt x="1428" y="419"/>
                  <a:pt x="1428" y="419"/>
                  <a:pt x="1431" y="418"/>
                </a:cubicBezTo>
                <a:cubicBezTo>
                  <a:pt x="1431" y="418"/>
                  <a:pt x="1431" y="418"/>
                  <a:pt x="1433" y="418"/>
                </a:cubicBezTo>
                <a:cubicBezTo>
                  <a:pt x="1433" y="418"/>
                  <a:pt x="1433" y="418"/>
                  <a:pt x="1433" y="417"/>
                </a:cubicBezTo>
                <a:cubicBezTo>
                  <a:pt x="1433" y="417"/>
                  <a:pt x="1433" y="417"/>
                  <a:pt x="1434" y="415"/>
                </a:cubicBezTo>
                <a:cubicBezTo>
                  <a:pt x="1434" y="415"/>
                  <a:pt x="1434" y="415"/>
                  <a:pt x="1436" y="415"/>
                </a:cubicBezTo>
                <a:cubicBezTo>
                  <a:pt x="1436" y="415"/>
                  <a:pt x="1436" y="415"/>
                  <a:pt x="1437" y="414"/>
                </a:cubicBezTo>
                <a:cubicBezTo>
                  <a:pt x="1437" y="414"/>
                  <a:pt x="1437" y="414"/>
                  <a:pt x="1439" y="413"/>
                </a:cubicBezTo>
                <a:cubicBezTo>
                  <a:pt x="1439" y="413"/>
                  <a:pt x="1439" y="413"/>
                  <a:pt x="1440" y="413"/>
                </a:cubicBezTo>
                <a:cubicBezTo>
                  <a:pt x="1440" y="413"/>
                  <a:pt x="1440" y="413"/>
                  <a:pt x="1443" y="412"/>
                </a:cubicBezTo>
                <a:cubicBezTo>
                  <a:pt x="1443" y="412"/>
                  <a:pt x="1443" y="412"/>
                  <a:pt x="1446" y="413"/>
                </a:cubicBezTo>
                <a:cubicBezTo>
                  <a:pt x="1446" y="413"/>
                  <a:pt x="1446" y="413"/>
                  <a:pt x="1445" y="414"/>
                </a:cubicBezTo>
                <a:cubicBezTo>
                  <a:pt x="1445" y="414"/>
                  <a:pt x="1445" y="414"/>
                  <a:pt x="1446" y="416"/>
                </a:cubicBezTo>
                <a:cubicBezTo>
                  <a:pt x="1446" y="416"/>
                  <a:pt x="1446" y="416"/>
                  <a:pt x="1448" y="417"/>
                </a:cubicBezTo>
                <a:cubicBezTo>
                  <a:pt x="1448" y="417"/>
                  <a:pt x="1448" y="417"/>
                  <a:pt x="1451" y="416"/>
                </a:cubicBezTo>
                <a:cubicBezTo>
                  <a:pt x="1451" y="416"/>
                  <a:pt x="1451" y="416"/>
                  <a:pt x="1449" y="417"/>
                </a:cubicBezTo>
                <a:cubicBezTo>
                  <a:pt x="1449" y="417"/>
                  <a:pt x="1449" y="417"/>
                  <a:pt x="1450" y="417"/>
                </a:cubicBezTo>
                <a:cubicBezTo>
                  <a:pt x="1450" y="417"/>
                  <a:pt x="1450" y="417"/>
                  <a:pt x="1451" y="417"/>
                </a:cubicBezTo>
                <a:cubicBezTo>
                  <a:pt x="1451" y="417"/>
                  <a:pt x="1451" y="417"/>
                  <a:pt x="1454" y="415"/>
                </a:cubicBezTo>
                <a:cubicBezTo>
                  <a:pt x="1454" y="415"/>
                  <a:pt x="1454" y="415"/>
                  <a:pt x="1462" y="415"/>
                </a:cubicBezTo>
                <a:cubicBezTo>
                  <a:pt x="1462" y="415"/>
                  <a:pt x="1462" y="415"/>
                  <a:pt x="1471" y="414"/>
                </a:cubicBezTo>
                <a:cubicBezTo>
                  <a:pt x="1471" y="414"/>
                  <a:pt x="1471" y="414"/>
                  <a:pt x="1469" y="414"/>
                </a:cubicBezTo>
                <a:cubicBezTo>
                  <a:pt x="1469" y="414"/>
                  <a:pt x="1469" y="414"/>
                  <a:pt x="1469" y="412"/>
                </a:cubicBezTo>
                <a:cubicBezTo>
                  <a:pt x="1469" y="412"/>
                  <a:pt x="1469" y="412"/>
                  <a:pt x="1470" y="411"/>
                </a:cubicBezTo>
                <a:cubicBezTo>
                  <a:pt x="1470" y="411"/>
                  <a:pt x="1470" y="411"/>
                  <a:pt x="1469" y="411"/>
                </a:cubicBezTo>
                <a:cubicBezTo>
                  <a:pt x="1469" y="411"/>
                  <a:pt x="1469" y="411"/>
                  <a:pt x="1468" y="410"/>
                </a:cubicBezTo>
                <a:cubicBezTo>
                  <a:pt x="1468" y="410"/>
                  <a:pt x="1468" y="410"/>
                  <a:pt x="1468" y="409"/>
                </a:cubicBezTo>
                <a:cubicBezTo>
                  <a:pt x="1468" y="409"/>
                  <a:pt x="1468" y="409"/>
                  <a:pt x="1467" y="409"/>
                </a:cubicBezTo>
                <a:cubicBezTo>
                  <a:pt x="1467" y="409"/>
                  <a:pt x="1467" y="409"/>
                  <a:pt x="1465" y="409"/>
                </a:cubicBezTo>
                <a:cubicBezTo>
                  <a:pt x="1465" y="409"/>
                  <a:pt x="1465" y="409"/>
                  <a:pt x="1463" y="408"/>
                </a:cubicBezTo>
                <a:cubicBezTo>
                  <a:pt x="1463" y="408"/>
                  <a:pt x="1463" y="408"/>
                  <a:pt x="1462" y="406"/>
                </a:cubicBezTo>
                <a:cubicBezTo>
                  <a:pt x="1462" y="406"/>
                  <a:pt x="1462" y="406"/>
                  <a:pt x="1460" y="407"/>
                </a:cubicBezTo>
                <a:cubicBezTo>
                  <a:pt x="1460" y="407"/>
                  <a:pt x="1460" y="407"/>
                  <a:pt x="1459" y="406"/>
                </a:cubicBezTo>
                <a:cubicBezTo>
                  <a:pt x="1459" y="406"/>
                  <a:pt x="1459" y="406"/>
                  <a:pt x="1460" y="405"/>
                </a:cubicBezTo>
                <a:cubicBezTo>
                  <a:pt x="1460" y="405"/>
                  <a:pt x="1460" y="405"/>
                  <a:pt x="1459" y="404"/>
                </a:cubicBezTo>
                <a:cubicBezTo>
                  <a:pt x="1459" y="404"/>
                  <a:pt x="1459" y="404"/>
                  <a:pt x="1459" y="402"/>
                </a:cubicBezTo>
                <a:cubicBezTo>
                  <a:pt x="1459" y="402"/>
                  <a:pt x="1459" y="402"/>
                  <a:pt x="1458" y="401"/>
                </a:cubicBezTo>
                <a:cubicBezTo>
                  <a:pt x="1458" y="401"/>
                  <a:pt x="1458" y="401"/>
                  <a:pt x="1458" y="398"/>
                </a:cubicBezTo>
                <a:cubicBezTo>
                  <a:pt x="1458" y="398"/>
                  <a:pt x="1458" y="398"/>
                  <a:pt x="1459" y="397"/>
                </a:cubicBezTo>
                <a:cubicBezTo>
                  <a:pt x="1459" y="397"/>
                  <a:pt x="1459" y="397"/>
                  <a:pt x="1459" y="396"/>
                </a:cubicBezTo>
                <a:cubicBezTo>
                  <a:pt x="1459" y="396"/>
                  <a:pt x="1459" y="396"/>
                  <a:pt x="1459" y="395"/>
                </a:cubicBezTo>
                <a:cubicBezTo>
                  <a:pt x="1459" y="395"/>
                  <a:pt x="1459" y="395"/>
                  <a:pt x="1460" y="393"/>
                </a:cubicBezTo>
                <a:cubicBezTo>
                  <a:pt x="1460" y="393"/>
                  <a:pt x="1460" y="393"/>
                  <a:pt x="1460" y="391"/>
                </a:cubicBezTo>
                <a:cubicBezTo>
                  <a:pt x="1460" y="391"/>
                  <a:pt x="1460" y="391"/>
                  <a:pt x="1461" y="391"/>
                </a:cubicBezTo>
                <a:cubicBezTo>
                  <a:pt x="1461" y="391"/>
                  <a:pt x="1461" y="391"/>
                  <a:pt x="1461" y="390"/>
                </a:cubicBezTo>
                <a:cubicBezTo>
                  <a:pt x="1461" y="390"/>
                  <a:pt x="1461" y="390"/>
                  <a:pt x="1462" y="388"/>
                </a:cubicBezTo>
                <a:cubicBezTo>
                  <a:pt x="1462" y="388"/>
                  <a:pt x="1462" y="388"/>
                  <a:pt x="1463" y="388"/>
                </a:cubicBezTo>
                <a:cubicBezTo>
                  <a:pt x="1463" y="388"/>
                  <a:pt x="1463" y="388"/>
                  <a:pt x="1464" y="388"/>
                </a:cubicBezTo>
                <a:cubicBezTo>
                  <a:pt x="1464" y="388"/>
                  <a:pt x="1464" y="388"/>
                  <a:pt x="1465" y="387"/>
                </a:cubicBezTo>
                <a:cubicBezTo>
                  <a:pt x="1465" y="387"/>
                  <a:pt x="1465" y="387"/>
                  <a:pt x="1466" y="386"/>
                </a:cubicBezTo>
                <a:cubicBezTo>
                  <a:pt x="1466" y="386"/>
                  <a:pt x="1466" y="386"/>
                  <a:pt x="1467" y="386"/>
                </a:cubicBezTo>
                <a:cubicBezTo>
                  <a:pt x="1467" y="386"/>
                  <a:pt x="1467" y="386"/>
                  <a:pt x="1467" y="388"/>
                </a:cubicBezTo>
                <a:cubicBezTo>
                  <a:pt x="1467" y="388"/>
                  <a:pt x="1467" y="388"/>
                  <a:pt x="1470" y="391"/>
                </a:cubicBezTo>
                <a:cubicBezTo>
                  <a:pt x="1470" y="391"/>
                  <a:pt x="1470" y="391"/>
                  <a:pt x="1470" y="392"/>
                </a:cubicBezTo>
                <a:cubicBezTo>
                  <a:pt x="1470" y="392"/>
                  <a:pt x="1470" y="392"/>
                  <a:pt x="1472" y="393"/>
                </a:cubicBezTo>
                <a:cubicBezTo>
                  <a:pt x="1472" y="393"/>
                  <a:pt x="1472" y="393"/>
                  <a:pt x="1473" y="393"/>
                </a:cubicBezTo>
                <a:cubicBezTo>
                  <a:pt x="1473" y="393"/>
                  <a:pt x="1473" y="393"/>
                  <a:pt x="1475" y="391"/>
                </a:cubicBezTo>
                <a:cubicBezTo>
                  <a:pt x="1475" y="391"/>
                  <a:pt x="1475" y="391"/>
                  <a:pt x="1476" y="389"/>
                </a:cubicBezTo>
                <a:cubicBezTo>
                  <a:pt x="1476" y="389"/>
                  <a:pt x="1476" y="389"/>
                  <a:pt x="1475" y="386"/>
                </a:cubicBezTo>
                <a:cubicBezTo>
                  <a:pt x="1475" y="386"/>
                  <a:pt x="1475" y="386"/>
                  <a:pt x="1475" y="385"/>
                </a:cubicBezTo>
                <a:cubicBezTo>
                  <a:pt x="1475" y="385"/>
                  <a:pt x="1475" y="385"/>
                  <a:pt x="1475" y="384"/>
                </a:cubicBezTo>
                <a:cubicBezTo>
                  <a:pt x="1475" y="384"/>
                  <a:pt x="1475" y="384"/>
                  <a:pt x="1476" y="381"/>
                </a:cubicBezTo>
                <a:cubicBezTo>
                  <a:pt x="1476" y="381"/>
                  <a:pt x="1476" y="381"/>
                  <a:pt x="1475" y="380"/>
                </a:cubicBezTo>
                <a:cubicBezTo>
                  <a:pt x="1475" y="380"/>
                  <a:pt x="1475" y="380"/>
                  <a:pt x="1474" y="381"/>
                </a:cubicBezTo>
                <a:cubicBezTo>
                  <a:pt x="1474" y="381"/>
                  <a:pt x="1474" y="381"/>
                  <a:pt x="1474" y="382"/>
                </a:cubicBezTo>
                <a:cubicBezTo>
                  <a:pt x="1474" y="382"/>
                  <a:pt x="1474" y="382"/>
                  <a:pt x="1472" y="380"/>
                </a:cubicBezTo>
                <a:cubicBezTo>
                  <a:pt x="1472" y="380"/>
                  <a:pt x="1472" y="380"/>
                  <a:pt x="1471" y="379"/>
                </a:cubicBezTo>
                <a:cubicBezTo>
                  <a:pt x="1471" y="379"/>
                  <a:pt x="1471" y="379"/>
                  <a:pt x="1471" y="377"/>
                </a:cubicBezTo>
                <a:cubicBezTo>
                  <a:pt x="1471" y="377"/>
                  <a:pt x="1471" y="377"/>
                  <a:pt x="1472" y="377"/>
                </a:cubicBezTo>
                <a:cubicBezTo>
                  <a:pt x="1472" y="377"/>
                  <a:pt x="1472" y="377"/>
                  <a:pt x="1472" y="376"/>
                </a:cubicBezTo>
                <a:cubicBezTo>
                  <a:pt x="1472" y="376"/>
                  <a:pt x="1472" y="376"/>
                  <a:pt x="1471" y="376"/>
                </a:cubicBezTo>
                <a:cubicBezTo>
                  <a:pt x="1471" y="376"/>
                  <a:pt x="1471" y="376"/>
                  <a:pt x="1471" y="377"/>
                </a:cubicBezTo>
                <a:cubicBezTo>
                  <a:pt x="1471" y="377"/>
                  <a:pt x="1471" y="377"/>
                  <a:pt x="1470" y="376"/>
                </a:cubicBezTo>
                <a:cubicBezTo>
                  <a:pt x="1470" y="376"/>
                  <a:pt x="1470" y="376"/>
                  <a:pt x="1470" y="372"/>
                </a:cubicBezTo>
                <a:cubicBezTo>
                  <a:pt x="1470" y="372"/>
                  <a:pt x="1470" y="372"/>
                  <a:pt x="1470" y="371"/>
                </a:cubicBezTo>
                <a:cubicBezTo>
                  <a:pt x="1470" y="371"/>
                  <a:pt x="1470" y="371"/>
                  <a:pt x="1472" y="370"/>
                </a:cubicBezTo>
                <a:cubicBezTo>
                  <a:pt x="1472" y="370"/>
                  <a:pt x="1472" y="370"/>
                  <a:pt x="1473" y="371"/>
                </a:cubicBezTo>
                <a:cubicBezTo>
                  <a:pt x="1473" y="371"/>
                  <a:pt x="1473" y="371"/>
                  <a:pt x="1473" y="369"/>
                </a:cubicBezTo>
                <a:cubicBezTo>
                  <a:pt x="1473" y="369"/>
                  <a:pt x="1473" y="369"/>
                  <a:pt x="1475" y="369"/>
                </a:cubicBezTo>
                <a:cubicBezTo>
                  <a:pt x="1475" y="369"/>
                  <a:pt x="1475" y="369"/>
                  <a:pt x="1476" y="369"/>
                </a:cubicBezTo>
                <a:cubicBezTo>
                  <a:pt x="1476" y="369"/>
                  <a:pt x="1476" y="369"/>
                  <a:pt x="1479" y="369"/>
                </a:cubicBezTo>
                <a:cubicBezTo>
                  <a:pt x="1479" y="369"/>
                  <a:pt x="1479" y="369"/>
                  <a:pt x="1480" y="368"/>
                </a:cubicBezTo>
                <a:cubicBezTo>
                  <a:pt x="1480" y="368"/>
                  <a:pt x="1480" y="368"/>
                  <a:pt x="1480" y="367"/>
                </a:cubicBezTo>
                <a:cubicBezTo>
                  <a:pt x="1480" y="367"/>
                  <a:pt x="1480" y="367"/>
                  <a:pt x="1481" y="367"/>
                </a:cubicBezTo>
                <a:cubicBezTo>
                  <a:pt x="1481" y="367"/>
                  <a:pt x="1481" y="367"/>
                  <a:pt x="1481" y="366"/>
                </a:cubicBezTo>
                <a:cubicBezTo>
                  <a:pt x="1481" y="366"/>
                  <a:pt x="1481" y="366"/>
                  <a:pt x="1482" y="368"/>
                </a:cubicBezTo>
                <a:cubicBezTo>
                  <a:pt x="1482" y="368"/>
                  <a:pt x="1482" y="368"/>
                  <a:pt x="1483" y="367"/>
                </a:cubicBezTo>
                <a:cubicBezTo>
                  <a:pt x="1483" y="367"/>
                  <a:pt x="1483" y="367"/>
                  <a:pt x="1484" y="368"/>
                </a:cubicBezTo>
                <a:cubicBezTo>
                  <a:pt x="1484" y="368"/>
                  <a:pt x="1484" y="368"/>
                  <a:pt x="1487" y="368"/>
                </a:cubicBezTo>
                <a:cubicBezTo>
                  <a:pt x="1487" y="368"/>
                  <a:pt x="1487" y="368"/>
                  <a:pt x="1489" y="369"/>
                </a:cubicBezTo>
                <a:cubicBezTo>
                  <a:pt x="1489" y="369"/>
                  <a:pt x="1489" y="369"/>
                  <a:pt x="1494" y="369"/>
                </a:cubicBezTo>
                <a:cubicBezTo>
                  <a:pt x="1494" y="367"/>
                  <a:pt x="1494" y="367"/>
                  <a:pt x="1494" y="367"/>
                </a:cubicBezTo>
                <a:cubicBezTo>
                  <a:pt x="1494" y="366"/>
                  <a:pt x="1494" y="366"/>
                  <a:pt x="1494" y="366"/>
                </a:cubicBezTo>
                <a:cubicBezTo>
                  <a:pt x="1495" y="367"/>
                  <a:pt x="1495" y="367"/>
                  <a:pt x="1495" y="367"/>
                </a:cubicBezTo>
                <a:cubicBezTo>
                  <a:pt x="1496" y="366"/>
                  <a:pt x="1496" y="366"/>
                  <a:pt x="1496" y="366"/>
                </a:cubicBezTo>
                <a:cubicBezTo>
                  <a:pt x="1496" y="365"/>
                  <a:pt x="1496" y="365"/>
                  <a:pt x="1496" y="365"/>
                </a:cubicBezTo>
                <a:cubicBezTo>
                  <a:pt x="1497" y="364"/>
                  <a:pt x="1497" y="364"/>
                  <a:pt x="1497" y="364"/>
                </a:cubicBezTo>
                <a:cubicBezTo>
                  <a:pt x="1498" y="365"/>
                  <a:pt x="1498" y="365"/>
                  <a:pt x="1498" y="365"/>
                </a:cubicBezTo>
                <a:cubicBezTo>
                  <a:pt x="1499" y="364"/>
                  <a:pt x="1499" y="364"/>
                  <a:pt x="1499" y="364"/>
                </a:cubicBezTo>
                <a:cubicBezTo>
                  <a:pt x="1500" y="363"/>
                  <a:pt x="1500" y="363"/>
                  <a:pt x="1500" y="363"/>
                </a:cubicBezTo>
                <a:cubicBezTo>
                  <a:pt x="1502" y="363"/>
                  <a:pt x="1502" y="363"/>
                  <a:pt x="1502" y="363"/>
                </a:cubicBezTo>
                <a:cubicBezTo>
                  <a:pt x="1503" y="362"/>
                  <a:pt x="1503" y="362"/>
                  <a:pt x="1503" y="362"/>
                </a:cubicBezTo>
                <a:cubicBezTo>
                  <a:pt x="1502" y="361"/>
                  <a:pt x="1502" y="361"/>
                  <a:pt x="1502" y="361"/>
                </a:cubicBezTo>
                <a:cubicBezTo>
                  <a:pt x="1501" y="361"/>
                  <a:pt x="1501" y="361"/>
                  <a:pt x="1501" y="361"/>
                </a:cubicBezTo>
                <a:cubicBezTo>
                  <a:pt x="1500" y="361"/>
                  <a:pt x="1500" y="361"/>
                  <a:pt x="1500" y="361"/>
                </a:cubicBezTo>
                <a:cubicBezTo>
                  <a:pt x="1499" y="361"/>
                  <a:pt x="1499" y="361"/>
                  <a:pt x="1499" y="361"/>
                </a:cubicBezTo>
                <a:cubicBezTo>
                  <a:pt x="1498" y="360"/>
                  <a:pt x="1498" y="360"/>
                  <a:pt x="1498" y="360"/>
                </a:cubicBezTo>
                <a:cubicBezTo>
                  <a:pt x="1497" y="360"/>
                  <a:pt x="1497" y="360"/>
                  <a:pt x="1497" y="360"/>
                </a:cubicBezTo>
                <a:cubicBezTo>
                  <a:pt x="1495" y="358"/>
                  <a:pt x="1495" y="358"/>
                  <a:pt x="1495" y="358"/>
                </a:cubicBezTo>
                <a:cubicBezTo>
                  <a:pt x="1495" y="357"/>
                  <a:pt x="1495" y="357"/>
                  <a:pt x="1495" y="357"/>
                </a:cubicBezTo>
                <a:cubicBezTo>
                  <a:pt x="1497" y="358"/>
                  <a:pt x="1497" y="358"/>
                  <a:pt x="1497" y="358"/>
                </a:cubicBezTo>
                <a:cubicBezTo>
                  <a:pt x="1497" y="357"/>
                  <a:pt x="1497" y="357"/>
                  <a:pt x="1497" y="357"/>
                </a:cubicBezTo>
                <a:cubicBezTo>
                  <a:pt x="1496" y="357"/>
                  <a:pt x="1496" y="357"/>
                  <a:pt x="1496" y="357"/>
                </a:cubicBezTo>
                <a:cubicBezTo>
                  <a:pt x="1497" y="356"/>
                  <a:pt x="1497" y="356"/>
                  <a:pt x="1497" y="356"/>
                </a:cubicBezTo>
                <a:cubicBezTo>
                  <a:pt x="1496" y="356"/>
                  <a:pt x="1496" y="356"/>
                  <a:pt x="1496" y="356"/>
                </a:cubicBezTo>
                <a:cubicBezTo>
                  <a:pt x="1496" y="356"/>
                  <a:pt x="1496" y="356"/>
                  <a:pt x="1494" y="357"/>
                </a:cubicBezTo>
                <a:cubicBezTo>
                  <a:pt x="1494" y="358"/>
                  <a:pt x="1493" y="358"/>
                  <a:pt x="1493" y="358"/>
                </a:cubicBezTo>
                <a:cubicBezTo>
                  <a:pt x="1493" y="358"/>
                  <a:pt x="1493" y="358"/>
                  <a:pt x="1492" y="358"/>
                </a:cubicBezTo>
                <a:cubicBezTo>
                  <a:pt x="1492" y="358"/>
                  <a:pt x="1492" y="358"/>
                  <a:pt x="1492" y="357"/>
                </a:cubicBezTo>
                <a:cubicBezTo>
                  <a:pt x="1492" y="357"/>
                  <a:pt x="1492" y="357"/>
                  <a:pt x="1491" y="357"/>
                </a:cubicBezTo>
                <a:cubicBezTo>
                  <a:pt x="1491" y="357"/>
                  <a:pt x="1491" y="357"/>
                  <a:pt x="1491" y="358"/>
                </a:cubicBezTo>
                <a:cubicBezTo>
                  <a:pt x="1491" y="358"/>
                  <a:pt x="1491" y="358"/>
                  <a:pt x="1491" y="359"/>
                </a:cubicBezTo>
                <a:cubicBezTo>
                  <a:pt x="1491" y="359"/>
                  <a:pt x="1491" y="359"/>
                  <a:pt x="1489" y="359"/>
                </a:cubicBezTo>
                <a:cubicBezTo>
                  <a:pt x="1489" y="359"/>
                  <a:pt x="1489" y="359"/>
                  <a:pt x="1488" y="358"/>
                </a:cubicBezTo>
                <a:cubicBezTo>
                  <a:pt x="1488" y="358"/>
                  <a:pt x="1488" y="358"/>
                  <a:pt x="1486" y="358"/>
                </a:cubicBezTo>
                <a:cubicBezTo>
                  <a:pt x="1486" y="358"/>
                  <a:pt x="1486" y="358"/>
                  <a:pt x="1486" y="359"/>
                </a:cubicBezTo>
                <a:cubicBezTo>
                  <a:pt x="1486" y="359"/>
                  <a:pt x="1486" y="359"/>
                  <a:pt x="1485" y="358"/>
                </a:cubicBezTo>
                <a:cubicBezTo>
                  <a:pt x="1485" y="358"/>
                  <a:pt x="1485" y="358"/>
                  <a:pt x="1485" y="359"/>
                </a:cubicBezTo>
                <a:cubicBezTo>
                  <a:pt x="1485" y="359"/>
                  <a:pt x="1485" y="359"/>
                  <a:pt x="1484" y="359"/>
                </a:cubicBezTo>
                <a:cubicBezTo>
                  <a:pt x="1484" y="359"/>
                  <a:pt x="1484" y="359"/>
                  <a:pt x="1483" y="358"/>
                </a:cubicBezTo>
                <a:cubicBezTo>
                  <a:pt x="1483" y="358"/>
                  <a:pt x="1483" y="358"/>
                  <a:pt x="1483" y="359"/>
                </a:cubicBezTo>
                <a:cubicBezTo>
                  <a:pt x="1483" y="359"/>
                  <a:pt x="1483" y="359"/>
                  <a:pt x="1482" y="359"/>
                </a:cubicBezTo>
                <a:cubicBezTo>
                  <a:pt x="1482" y="359"/>
                  <a:pt x="1482" y="359"/>
                  <a:pt x="1482" y="358"/>
                </a:cubicBezTo>
                <a:cubicBezTo>
                  <a:pt x="1482" y="358"/>
                  <a:pt x="1482" y="358"/>
                  <a:pt x="1481" y="358"/>
                </a:cubicBezTo>
                <a:cubicBezTo>
                  <a:pt x="1481" y="358"/>
                  <a:pt x="1481" y="358"/>
                  <a:pt x="1482" y="359"/>
                </a:cubicBezTo>
                <a:cubicBezTo>
                  <a:pt x="1482" y="359"/>
                  <a:pt x="1482" y="359"/>
                  <a:pt x="1481" y="359"/>
                </a:cubicBezTo>
                <a:cubicBezTo>
                  <a:pt x="1481" y="359"/>
                  <a:pt x="1481" y="359"/>
                  <a:pt x="1480" y="361"/>
                </a:cubicBezTo>
                <a:cubicBezTo>
                  <a:pt x="1480" y="361"/>
                  <a:pt x="1480" y="361"/>
                  <a:pt x="1480" y="360"/>
                </a:cubicBezTo>
                <a:cubicBezTo>
                  <a:pt x="1480" y="360"/>
                  <a:pt x="1480" y="360"/>
                  <a:pt x="1480" y="359"/>
                </a:cubicBezTo>
                <a:cubicBezTo>
                  <a:pt x="1480" y="359"/>
                  <a:pt x="1480" y="359"/>
                  <a:pt x="1479" y="360"/>
                </a:cubicBezTo>
                <a:cubicBezTo>
                  <a:pt x="1479" y="360"/>
                  <a:pt x="1479" y="360"/>
                  <a:pt x="1478" y="361"/>
                </a:cubicBezTo>
                <a:cubicBezTo>
                  <a:pt x="1478" y="361"/>
                  <a:pt x="1478" y="361"/>
                  <a:pt x="1476" y="360"/>
                </a:cubicBezTo>
                <a:cubicBezTo>
                  <a:pt x="1476" y="360"/>
                  <a:pt x="1476" y="360"/>
                  <a:pt x="1476" y="361"/>
                </a:cubicBezTo>
                <a:cubicBezTo>
                  <a:pt x="1476" y="361"/>
                  <a:pt x="1476" y="361"/>
                  <a:pt x="1474" y="362"/>
                </a:cubicBezTo>
                <a:cubicBezTo>
                  <a:pt x="1474" y="362"/>
                  <a:pt x="1474" y="362"/>
                  <a:pt x="1472" y="362"/>
                </a:cubicBezTo>
                <a:cubicBezTo>
                  <a:pt x="1472" y="362"/>
                  <a:pt x="1472" y="362"/>
                  <a:pt x="1470" y="364"/>
                </a:cubicBezTo>
                <a:cubicBezTo>
                  <a:pt x="1470" y="364"/>
                  <a:pt x="1470" y="364"/>
                  <a:pt x="1468" y="364"/>
                </a:cubicBezTo>
                <a:cubicBezTo>
                  <a:pt x="1468" y="364"/>
                  <a:pt x="1468" y="364"/>
                  <a:pt x="1467" y="366"/>
                </a:cubicBezTo>
                <a:cubicBezTo>
                  <a:pt x="1467" y="366"/>
                  <a:pt x="1467" y="366"/>
                  <a:pt x="1466" y="366"/>
                </a:cubicBezTo>
                <a:cubicBezTo>
                  <a:pt x="1466" y="366"/>
                  <a:pt x="1466" y="366"/>
                  <a:pt x="1467" y="364"/>
                </a:cubicBezTo>
                <a:cubicBezTo>
                  <a:pt x="1467" y="364"/>
                  <a:pt x="1467" y="364"/>
                  <a:pt x="1465" y="361"/>
                </a:cubicBezTo>
                <a:cubicBezTo>
                  <a:pt x="1465" y="361"/>
                  <a:pt x="1465" y="361"/>
                  <a:pt x="1466" y="360"/>
                </a:cubicBezTo>
                <a:cubicBezTo>
                  <a:pt x="1466" y="360"/>
                  <a:pt x="1466" y="360"/>
                  <a:pt x="1466" y="359"/>
                </a:cubicBezTo>
                <a:cubicBezTo>
                  <a:pt x="1466" y="359"/>
                  <a:pt x="1466" y="359"/>
                  <a:pt x="1464" y="360"/>
                </a:cubicBezTo>
                <a:cubicBezTo>
                  <a:pt x="1464" y="360"/>
                  <a:pt x="1464" y="360"/>
                  <a:pt x="1463" y="359"/>
                </a:cubicBezTo>
                <a:cubicBezTo>
                  <a:pt x="1463" y="359"/>
                  <a:pt x="1463" y="359"/>
                  <a:pt x="1462" y="360"/>
                </a:cubicBezTo>
                <a:cubicBezTo>
                  <a:pt x="1462" y="360"/>
                  <a:pt x="1462" y="360"/>
                  <a:pt x="1461" y="359"/>
                </a:cubicBezTo>
                <a:cubicBezTo>
                  <a:pt x="1461" y="359"/>
                  <a:pt x="1461" y="359"/>
                  <a:pt x="1460" y="359"/>
                </a:cubicBezTo>
                <a:cubicBezTo>
                  <a:pt x="1460" y="359"/>
                  <a:pt x="1460" y="359"/>
                  <a:pt x="1459" y="357"/>
                </a:cubicBezTo>
                <a:cubicBezTo>
                  <a:pt x="1459" y="357"/>
                  <a:pt x="1459" y="357"/>
                  <a:pt x="1458" y="358"/>
                </a:cubicBezTo>
                <a:cubicBezTo>
                  <a:pt x="1458" y="358"/>
                  <a:pt x="1458" y="358"/>
                  <a:pt x="1456" y="358"/>
                </a:cubicBezTo>
                <a:cubicBezTo>
                  <a:pt x="1456" y="358"/>
                  <a:pt x="1456" y="358"/>
                  <a:pt x="1456" y="357"/>
                </a:cubicBezTo>
                <a:cubicBezTo>
                  <a:pt x="1456" y="357"/>
                  <a:pt x="1456" y="357"/>
                  <a:pt x="1456" y="355"/>
                </a:cubicBezTo>
                <a:cubicBezTo>
                  <a:pt x="1456" y="355"/>
                  <a:pt x="1456" y="355"/>
                  <a:pt x="1455" y="355"/>
                </a:cubicBezTo>
                <a:cubicBezTo>
                  <a:pt x="1455" y="355"/>
                  <a:pt x="1455" y="355"/>
                  <a:pt x="1456" y="352"/>
                </a:cubicBezTo>
                <a:cubicBezTo>
                  <a:pt x="1456" y="352"/>
                  <a:pt x="1456" y="352"/>
                  <a:pt x="1456" y="351"/>
                </a:cubicBezTo>
                <a:cubicBezTo>
                  <a:pt x="1456" y="351"/>
                  <a:pt x="1456" y="351"/>
                  <a:pt x="1456" y="349"/>
                </a:cubicBezTo>
                <a:cubicBezTo>
                  <a:pt x="1456" y="349"/>
                  <a:pt x="1456" y="349"/>
                  <a:pt x="1457" y="349"/>
                </a:cubicBezTo>
                <a:cubicBezTo>
                  <a:pt x="1457" y="349"/>
                  <a:pt x="1457" y="349"/>
                  <a:pt x="1456" y="347"/>
                </a:cubicBezTo>
                <a:cubicBezTo>
                  <a:pt x="1456" y="347"/>
                  <a:pt x="1456" y="347"/>
                  <a:pt x="1456" y="346"/>
                </a:cubicBezTo>
                <a:cubicBezTo>
                  <a:pt x="1456" y="346"/>
                  <a:pt x="1456" y="346"/>
                  <a:pt x="1454" y="344"/>
                </a:cubicBezTo>
                <a:cubicBezTo>
                  <a:pt x="1454" y="344"/>
                  <a:pt x="1454" y="344"/>
                  <a:pt x="1455" y="344"/>
                </a:cubicBezTo>
                <a:cubicBezTo>
                  <a:pt x="1455" y="344"/>
                  <a:pt x="1455" y="344"/>
                  <a:pt x="1454" y="342"/>
                </a:cubicBezTo>
                <a:cubicBezTo>
                  <a:pt x="1454" y="342"/>
                  <a:pt x="1454" y="342"/>
                  <a:pt x="1455" y="340"/>
                </a:cubicBezTo>
                <a:cubicBezTo>
                  <a:pt x="1455" y="340"/>
                  <a:pt x="1455" y="340"/>
                  <a:pt x="1454" y="340"/>
                </a:cubicBezTo>
                <a:cubicBezTo>
                  <a:pt x="1454" y="340"/>
                  <a:pt x="1454" y="340"/>
                  <a:pt x="1453" y="340"/>
                </a:cubicBezTo>
                <a:cubicBezTo>
                  <a:pt x="1453" y="340"/>
                  <a:pt x="1453" y="340"/>
                  <a:pt x="1453" y="339"/>
                </a:cubicBezTo>
                <a:cubicBezTo>
                  <a:pt x="1453" y="339"/>
                  <a:pt x="1453" y="339"/>
                  <a:pt x="1453" y="338"/>
                </a:cubicBezTo>
                <a:cubicBezTo>
                  <a:pt x="1453" y="338"/>
                  <a:pt x="1453" y="338"/>
                  <a:pt x="1453" y="336"/>
                </a:cubicBezTo>
                <a:cubicBezTo>
                  <a:pt x="1453" y="336"/>
                  <a:pt x="1453" y="336"/>
                  <a:pt x="1453" y="335"/>
                </a:cubicBezTo>
                <a:cubicBezTo>
                  <a:pt x="1453" y="335"/>
                  <a:pt x="1453" y="335"/>
                  <a:pt x="1454" y="335"/>
                </a:cubicBezTo>
                <a:cubicBezTo>
                  <a:pt x="1454" y="335"/>
                  <a:pt x="1454" y="335"/>
                  <a:pt x="1454" y="334"/>
                </a:cubicBezTo>
                <a:cubicBezTo>
                  <a:pt x="1454" y="334"/>
                  <a:pt x="1454" y="334"/>
                  <a:pt x="1454" y="333"/>
                </a:cubicBezTo>
                <a:cubicBezTo>
                  <a:pt x="1454" y="333"/>
                  <a:pt x="1454" y="333"/>
                  <a:pt x="1454" y="332"/>
                </a:cubicBezTo>
                <a:cubicBezTo>
                  <a:pt x="1453" y="332"/>
                  <a:pt x="1453" y="332"/>
                  <a:pt x="1453" y="332"/>
                </a:cubicBezTo>
                <a:cubicBezTo>
                  <a:pt x="1452" y="331"/>
                  <a:pt x="1452" y="331"/>
                  <a:pt x="1452" y="331"/>
                </a:cubicBezTo>
                <a:cubicBezTo>
                  <a:pt x="1452" y="330"/>
                  <a:pt x="1452" y="330"/>
                  <a:pt x="1452" y="330"/>
                </a:cubicBezTo>
                <a:cubicBezTo>
                  <a:pt x="1453" y="331"/>
                  <a:pt x="1453" y="331"/>
                  <a:pt x="1453" y="331"/>
                </a:cubicBezTo>
                <a:cubicBezTo>
                  <a:pt x="1454" y="331"/>
                  <a:pt x="1454" y="331"/>
                  <a:pt x="1454" y="331"/>
                </a:cubicBezTo>
                <a:cubicBezTo>
                  <a:pt x="1454" y="331"/>
                  <a:pt x="1454" y="331"/>
                  <a:pt x="1455" y="331"/>
                </a:cubicBezTo>
                <a:cubicBezTo>
                  <a:pt x="1455" y="331"/>
                  <a:pt x="1455" y="331"/>
                  <a:pt x="1456" y="331"/>
                </a:cubicBezTo>
                <a:cubicBezTo>
                  <a:pt x="1456" y="331"/>
                  <a:pt x="1456" y="331"/>
                  <a:pt x="1456" y="332"/>
                </a:cubicBezTo>
                <a:cubicBezTo>
                  <a:pt x="1456" y="332"/>
                  <a:pt x="1456" y="332"/>
                  <a:pt x="1457" y="332"/>
                </a:cubicBezTo>
                <a:cubicBezTo>
                  <a:pt x="1457" y="332"/>
                  <a:pt x="1457" y="332"/>
                  <a:pt x="1458" y="331"/>
                </a:cubicBezTo>
                <a:cubicBezTo>
                  <a:pt x="1458" y="331"/>
                  <a:pt x="1458" y="331"/>
                  <a:pt x="1459" y="330"/>
                </a:cubicBezTo>
                <a:cubicBezTo>
                  <a:pt x="1459" y="330"/>
                  <a:pt x="1459" y="330"/>
                  <a:pt x="1459" y="329"/>
                </a:cubicBezTo>
                <a:cubicBezTo>
                  <a:pt x="1459" y="329"/>
                  <a:pt x="1459" y="329"/>
                  <a:pt x="1458" y="328"/>
                </a:cubicBezTo>
                <a:cubicBezTo>
                  <a:pt x="1458" y="328"/>
                  <a:pt x="1458" y="328"/>
                  <a:pt x="1459" y="328"/>
                </a:cubicBezTo>
                <a:cubicBezTo>
                  <a:pt x="1459" y="328"/>
                  <a:pt x="1459" y="328"/>
                  <a:pt x="1459" y="326"/>
                </a:cubicBezTo>
                <a:cubicBezTo>
                  <a:pt x="1459" y="326"/>
                  <a:pt x="1459" y="326"/>
                  <a:pt x="1460" y="326"/>
                </a:cubicBezTo>
                <a:cubicBezTo>
                  <a:pt x="1460" y="326"/>
                  <a:pt x="1460" y="326"/>
                  <a:pt x="1461" y="327"/>
                </a:cubicBezTo>
                <a:cubicBezTo>
                  <a:pt x="1461" y="327"/>
                  <a:pt x="1461" y="327"/>
                  <a:pt x="1462" y="327"/>
                </a:cubicBezTo>
                <a:cubicBezTo>
                  <a:pt x="1462" y="327"/>
                  <a:pt x="1462" y="327"/>
                  <a:pt x="1461" y="326"/>
                </a:cubicBezTo>
                <a:cubicBezTo>
                  <a:pt x="1461" y="326"/>
                  <a:pt x="1461" y="326"/>
                  <a:pt x="1461" y="325"/>
                </a:cubicBezTo>
                <a:cubicBezTo>
                  <a:pt x="1461" y="325"/>
                  <a:pt x="1461" y="325"/>
                  <a:pt x="1462" y="324"/>
                </a:cubicBezTo>
                <a:cubicBezTo>
                  <a:pt x="1462" y="324"/>
                  <a:pt x="1462" y="324"/>
                  <a:pt x="1463" y="324"/>
                </a:cubicBezTo>
                <a:cubicBezTo>
                  <a:pt x="1463" y="324"/>
                  <a:pt x="1463" y="324"/>
                  <a:pt x="1463" y="323"/>
                </a:cubicBezTo>
                <a:cubicBezTo>
                  <a:pt x="1463" y="323"/>
                  <a:pt x="1463" y="323"/>
                  <a:pt x="1463" y="321"/>
                </a:cubicBezTo>
                <a:cubicBezTo>
                  <a:pt x="1463" y="321"/>
                  <a:pt x="1463" y="321"/>
                  <a:pt x="1464" y="322"/>
                </a:cubicBezTo>
                <a:cubicBezTo>
                  <a:pt x="1464" y="322"/>
                  <a:pt x="1464" y="322"/>
                  <a:pt x="1465" y="320"/>
                </a:cubicBezTo>
                <a:cubicBezTo>
                  <a:pt x="1465" y="320"/>
                  <a:pt x="1465" y="320"/>
                  <a:pt x="1466" y="318"/>
                </a:cubicBezTo>
                <a:cubicBezTo>
                  <a:pt x="1466" y="318"/>
                  <a:pt x="1466" y="318"/>
                  <a:pt x="1467" y="317"/>
                </a:cubicBezTo>
                <a:cubicBezTo>
                  <a:pt x="1467" y="317"/>
                  <a:pt x="1467" y="317"/>
                  <a:pt x="1467" y="316"/>
                </a:cubicBezTo>
                <a:cubicBezTo>
                  <a:pt x="1467" y="316"/>
                  <a:pt x="1467" y="316"/>
                  <a:pt x="1468" y="315"/>
                </a:cubicBezTo>
                <a:cubicBezTo>
                  <a:pt x="1468" y="315"/>
                  <a:pt x="1468" y="315"/>
                  <a:pt x="1468" y="314"/>
                </a:cubicBezTo>
                <a:cubicBezTo>
                  <a:pt x="1468" y="314"/>
                  <a:pt x="1468" y="314"/>
                  <a:pt x="1470" y="313"/>
                </a:cubicBezTo>
                <a:cubicBezTo>
                  <a:pt x="1470" y="313"/>
                  <a:pt x="1470" y="313"/>
                  <a:pt x="1471" y="313"/>
                </a:cubicBezTo>
                <a:cubicBezTo>
                  <a:pt x="1471" y="313"/>
                  <a:pt x="1471" y="313"/>
                  <a:pt x="1473" y="314"/>
                </a:cubicBezTo>
                <a:cubicBezTo>
                  <a:pt x="1473" y="314"/>
                  <a:pt x="1473" y="314"/>
                  <a:pt x="1473" y="313"/>
                </a:cubicBezTo>
                <a:cubicBezTo>
                  <a:pt x="1473" y="313"/>
                  <a:pt x="1473" y="313"/>
                  <a:pt x="1472" y="312"/>
                </a:cubicBezTo>
                <a:cubicBezTo>
                  <a:pt x="1472" y="312"/>
                  <a:pt x="1472" y="312"/>
                  <a:pt x="1473" y="312"/>
                </a:cubicBezTo>
                <a:cubicBezTo>
                  <a:pt x="1473" y="312"/>
                  <a:pt x="1473" y="312"/>
                  <a:pt x="1472" y="310"/>
                </a:cubicBezTo>
                <a:cubicBezTo>
                  <a:pt x="1472" y="310"/>
                  <a:pt x="1472" y="310"/>
                  <a:pt x="1472" y="308"/>
                </a:cubicBezTo>
                <a:cubicBezTo>
                  <a:pt x="1472" y="308"/>
                  <a:pt x="1472" y="308"/>
                  <a:pt x="1471" y="307"/>
                </a:cubicBezTo>
                <a:cubicBezTo>
                  <a:pt x="1471" y="307"/>
                  <a:pt x="1471" y="307"/>
                  <a:pt x="1472" y="307"/>
                </a:cubicBezTo>
                <a:cubicBezTo>
                  <a:pt x="1472" y="307"/>
                  <a:pt x="1472" y="307"/>
                  <a:pt x="1471" y="305"/>
                </a:cubicBezTo>
                <a:cubicBezTo>
                  <a:pt x="1471" y="305"/>
                  <a:pt x="1471" y="305"/>
                  <a:pt x="1468" y="305"/>
                </a:cubicBezTo>
                <a:cubicBezTo>
                  <a:pt x="1468" y="305"/>
                  <a:pt x="1468" y="305"/>
                  <a:pt x="1467" y="304"/>
                </a:cubicBezTo>
                <a:cubicBezTo>
                  <a:pt x="1467" y="304"/>
                  <a:pt x="1467" y="304"/>
                  <a:pt x="1466" y="304"/>
                </a:cubicBezTo>
                <a:cubicBezTo>
                  <a:pt x="1466" y="304"/>
                  <a:pt x="1466" y="304"/>
                  <a:pt x="1465" y="304"/>
                </a:cubicBezTo>
                <a:cubicBezTo>
                  <a:pt x="1465" y="304"/>
                  <a:pt x="1465" y="304"/>
                  <a:pt x="1463" y="304"/>
                </a:cubicBezTo>
                <a:cubicBezTo>
                  <a:pt x="1463" y="304"/>
                  <a:pt x="1463" y="304"/>
                  <a:pt x="1463" y="303"/>
                </a:cubicBezTo>
                <a:cubicBezTo>
                  <a:pt x="1463" y="303"/>
                  <a:pt x="1463" y="303"/>
                  <a:pt x="1461" y="304"/>
                </a:cubicBezTo>
                <a:cubicBezTo>
                  <a:pt x="1461" y="304"/>
                  <a:pt x="1461" y="304"/>
                  <a:pt x="1460" y="304"/>
                </a:cubicBezTo>
                <a:cubicBezTo>
                  <a:pt x="1460" y="304"/>
                  <a:pt x="1460" y="304"/>
                  <a:pt x="1460" y="305"/>
                </a:cubicBezTo>
                <a:cubicBezTo>
                  <a:pt x="1460" y="305"/>
                  <a:pt x="1460" y="305"/>
                  <a:pt x="1459" y="304"/>
                </a:cubicBezTo>
                <a:cubicBezTo>
                  <a:pt x="1459" y="304"/>
                  <a:pt x="1459" y="304"/>
                  <a:pt x="1458" y="303"/>
                </a:cubicBezTo>
                <a:cubicBezTo>
                  <a:pt x="1458" y="303"/>
                  <a:pt x="1458" y="303"/>
                  <a:pt x="1457" y="304"/>
                </a:cubicBezTo>
                <a:cubicBezTo>
                  <a:pt x="1457" y="304"/>
                  <a:pt x="1457" y="304"/>
                  <a:pt x="1456" y="303"/>
                </a:cubicBezTo>
                <a:cubicBezTo>
                  <a:pt x="1456" y="303"/>
                  <a:pt x="1456" y="303"/>
                  <a:pt x="1456" y="304"/>
                </a:cubicBezTo>
                <a:cubicBezTo>
                  <a:pt x="1456" y="304"/>
                  <a:pt x="1456" y="304"/>
                  <a:pt x="1456" y="305"/>
                </a:cubicBezTo>
                <a:cubicBezTo>
                  <a:pt x="1456" y="305"/>
                  <a:pt x="1456" y="305"/>
                  <a:pt x="1455" y="306"/>
                </a:cubicBezTo>
                <a:cubicBezTo>
                  <a:pt x="1455" y="306"/>
                  <a:pt x="1455" y="306"/>
                  <a:pt x="1454" y="306"/>
                </a:cubicBezTo>
                <a:cubicBezTo>
                  <a:pt x="1454" y="306"/>
                  <a:pt x="1454" y="306"/>
                  <a:pt x="1454" y="305"/>
                </a:cubicBezTo>
                <a:cubicBezTo>
                  <a:pt x="1454" y="305"/>
                  <a:pt x="1454" y="305"/>
                  <a:pt x="1453" y="305"/>
                </a:cubicBezTo>
                <a:cubicBezTo>
                  <a:pt x="1453" y="305"/>
                  <a:pt x="1453" y="305"/>
                  <a:pt x="1454" y="306"/>
                </a:cubicBezTo>
                <a:cubicBezTo>
                  <a:pt x="1454" y="306"/>
                  <a:pt x="1454" y="306"/>
                  <a:pt x="1454" y="307"/>
                </a:cubicBezTo>
                <a:cubicBezTo>
                  <a:pt x="1454" y="307"/>
                  <a:pt x="1454" y="307"/>
                  <a:pt x="1453" y="308"/>
                </a:cubicBezTo>
                <a:cubicBezTo>
                  <a:pt x="1453" y="308"/>
                  <a:pt x="1453" y="308"/>
                  <a:pt x="1452" y="308"/>
                </a:cubicBezTo>
                <a:cubicBezTo>
                  <a:pt x="1452" y="308"/>
                  <a:pt x="1452" y="308"/>
                  <a:pt x="1451" y="308"/>
                </a:cubicBezTo>
                <a:cubicBezTo>
                  <a:pt x="1451" y="308"/>
                  <a:pt x="1451" y="308"/>
                  <a:pt x="1453" y="309"/>
                </a:cubicBezTo>
                <a:cubicBezTo>
                  <a:pt x="1453" y="309"/>
                  <a:pt x="1453" y="309"/>
                  <a:pt x="1453" y="310"/>
                </a:cubicBezTo>
                <a:cubicBezTo>
                  <a:pt x="1453" y="310"/>
                  <a:pt x="1453" y="310"/>
                  <a:pt x="1452" y="310"/>
                </a:cubicBezTo>
                <a:cubicBezTo>
                  <a:pt x="1452" y="310"/>
                  <a:pt x="1452" y="310"/>
                  <a:pt x="1452" y="309"/>
                </a:cubicBezTo>
                <a:cubicBezTo>
                  <a:pt x="1452" y="309"/>
                  <a:pt x="1452" y="309"/>
                  <a:pt x="1451" y="309"/>
                </a:cubicBezTo>
                <a:cubicBezTo>
                  <a:pt x="1451" y="309"/>
                  <a:pt x="1451" y="309"/>
                  <a:pt x="1451" y="310"/>
                </a:cubicBezTo>
                <a:cubicBezTo>
                  <a:pt x="1451" y="310"/>
                  <a:pt x="1451" y="310"/>
                  <a:pt x="1452" y="310"/>
                </a:cubicBezTo>
                <a:cubicBezTo>
                  <a:pt x="1452" y="310"/>
                  <a:pt x="1452" y="310"/>
                  <a:pt x="1453" y="311"/>
                </a:cubicBezTo>
                <a:cubicBezTo>
                  <a:pt x="1453" y="311"/>
                  <a:pt x="1453" y="311"/>
                  <a:pt x="1452" y="312"/>
                </a:cubicBezTo>
                <a:cubicBezTo>
                  <a:pt x="1452" y="312"/>
                  <a:pt x="1452" y="312"/>
                  <a:pt x="1451" y="314"/>
                </a:cubicBezTo>
                <a:cubicBezTo>
                  <a:pt x="1451" y="314"/>
                  <a:pt x="1451" y="314"/>
                  <a:pt x="1452" y="315"/>
                </a:cubicBezTo>
                <a:cubicBezTo>
                  <a:pt x="1452" y="315"/>
                  <a:pt x="1452" y="315"/>
                  <a:pt x="1450" y="315"/>
                </a:cubicBezTo>
                <a:cubicBezTo>
                  <a:pt x="1450" y="315"/>
                  <a:pt x="1450" y="315"/>
                  <a:pt x="1451" y="316"/>
                </a:cubicBezTo>
                <a:cubicBezTo>
                  <a:pt x="1451" y="316"/>
                  <a:pt x="1451" y="316"/>
                  <a:pt x="1452" y="316"/>
                </a:cubicBezTo>
                <a:cubicBezTo>
                  <a:pt x="1452" y="316"/>
                  <a:pt x="1452" y="316"/>
                  <a:pt x="1453" y="317"/>
                </a:cubicBezTo>
                <a:cubicBezTo>
                  <a:pt x="1453" y="317"/>
                  <a:pt x="1453" y="317"/>
                  <a:pt x="1452" y="317"/>
                </a:cubicBezTo>
                <a:cubicBezTo>
                  <a:pt x="1452" y="317"/>
                  <a:pt x="1452" y="317"/>
                  <a:pt x="1453" y="318"/>
                </a:cubicBezTo>
                <a:cubicBezTo>
                  <a:pt x="1453" y="318"/>
                  <a:pt x="1453" y="318"/>
                  <a:pt x="1454" y="318"/>
                </a:cubicBezTo>
                <a:cubicBezTo>
                  <a:pt x="1454" y="318"/>
                  <a:pt x="1454" y="318"/>
                  <a:pt x="1452" y="320"/>
                </a:cubicBezTo>
                <a:cubicBezTo>
                  <a:pt x="1452" y="320"/>
                  <a:pt x="1452" y="320"/>
                  <a:pt x="1451" y="321"/>
                </a:cubicBezTo>
                <a:cubicBezTo>
                  <a:pt x="1451" y="321"/>
                  <a:pt x="1451" y="321"/>
                  <a:pt x="1451" y="323"/>
                </a:cubicBezTo>
                <a:cubicBezTo>
                  <a:pt x="1451" y="323"/>
                  <a:pt x="1451" y="323"/>
                  <a:pt x="1450" y="325"/>
                </a:cubicBezTo>
                <a:cubicBezTo>
                  <a:pt x="1450" y="325"/>
                  <a:pt x="1450" y="325"/>
                  <a:pt x="1449" y="325"/>
                </a:cubicBezTo>
                <a:cubicBezTo>
                  <a:pt x="1449" y="325"/>
                  <a:pt x="1449" y="325"/>
                  <a:pt x="1448" y="327"/>
                </a:cubicBezTo>
                <a:cubicBezTo>
                  <a:pt x="1448" y="327"/>
                  <a:pt x="1448" y="327"/>
                  <a:pt x="1447" y="326"/>
                </a:cubicBezTo>
                <a:cubicBezTo>
                  <a:pt x="1447" y="326"/>
                  <a:pt x="1447" y="326"/>
                  <a:pt x="1447" y="327"/>
                </a:cubicBezTo>
                <a:cubicBezTo>
                  <a:pt x="1447" y="327"/>
                  <a:pt x="1447" y="327"/>
                  <a:pt x="1447" y="328"/>
                </a:cubicBezTo>
                <a:cubicBezTo>
                  <a:pt x="1447" y="328"/>
                  <a:pt x="1447" y="328"/>
                  <a:pt x="1446" y="329"/>
                </a:cubicBezTo>
                <a:cubicBezTo>
                  <a:pt x="1446" y="329"/>
                  <a:pt x="1446" y="329"/>
                  <a:pt x="1445" y="330"/>
                </a:cubicBezTo>
                <a:cubicBezTo>
                  <a:pt x="1445" y="330"/>
                  <a:pt x="1445" y="330"/>
                  <a:pt x="1444" y="330"/>
                </a:cubicBezTo>
                <a:cubicBezTo>
                  <a:pt x="1444" y="330"/>
                  <a:pt x="1444" y="330"/>
                  <a:pt x="1444" y="329"/>
                </a:cubicBezTo>
                <a:cubicBezTo>
                  <a:pt x="1444" y="329"/>
                  <a:pt x="1444" y="329"/>
                  <a:pt x="1443" y="329"/>
                </a:cubicBezTo>
                <a:cubicBezTo>
                  <a:pt x="1443" y="329"/>
                  <a:pt x="1443" y="329"/>
                  <a:pt x="1443" y="330"/>
                </a:cubicBezTo>
                <a:cubicBezTo>
                  <a:pt x="1443" y="330"/>
                  <a:pt x="1443" y="330"/>
                  <a:pt x="1443" y="332"/>
                </a:cubicBezTo>
                <a:cubicBezTo>
                  <a:pt x="1443" y="332"/>
                  <a:pt x="1443" y="332"/>
                  <a:pt x="1442" y="333"/>
                </a:cubicBezTo>
                <a:cubicBezTo>
                  <a:pt x="1442" y="333"/>
                  <a:pt x="1442" y="333"/>
                  <a:pt x="1441" y="332"/>
                </a:cubicBezTo>
                <a:cubicBezTo>
                  <a:pt x="1441" y="332"/>
                  <a:pt x="1441" y="332"/>
                  <a:pt x="1440" y="333"/>
                </a:cubicBezTo>
                <a:cubicBezTo>
                  <a:pt x="1440" y="333"/>
                  <a:pt x="1440" y="333"/>
                  <a:pt x="1439" y="333"/>
                </a:cubicBezTo>
                <a:cubicBezTo>
                  <a:pt x="1439" y="333"/>
                  <a:pt x="1439" y="333"/>
                  <a:pt x="1438" y="333"/>
                </a:cubicBezTo>
                <a:cubicBezTo>
                  <a:pt x="1438" y="333"/>
                  <a:pt x="1438" y="333"/>
                  <a:pt x="1438" y="334"/>
                </a:cubicBezTo>
                <a:cubicBezTo>
                  <a:pt x="1438" y="334"/>
                  <a:pt x="1438" y="334"/>
                  <a:pt x="1439" y="335"/>
                </a:cubicBezTo>
                <a:cubicBezTo>
                  <a:pt x="1439" y="335"/>
                  <a:pt x="1439" y="335"/>
                  <a:pt x="1437" y="337"/>
                </a:cubicBezTo>
                <a:cubicBezTo>
                  <a:pt x="1437" y="337"/>
                  <a:pt x="1437" y="337"/>
                  <a:pt x="1436" y="337"/>
                </a:cubicBezTo>
                <a:cubicBezTo>
                  <a:pt x="1436" y="337"/>
                  <a:pt x="1436" y="337"/>
                  <a:pt x="1436" y="338"/>
                </a:cubicBezTo>
                <a:cubicBezTo>
                  <a:pt x="1436" y="338"/>
                  <a:pt x="1436" y="338"/>
                  <a:pt x="1435" y="340"/>
                </a:cubicBezTo>
                <a:cubicBezTo>
                  <a:pt x="1435" y="340"/>
                  <a:pt x="1435" y="340"/>
                  <a:pt x="1433" y="340"/>
                </a:cubicBezTo>
                <a:cubicBezTo>
                  <a:pt x="1433" y="340"/>
                  <a:pt x="1433" y="340"/>
                  <a:pt x="1432" y="340"/>
                </a:cubicBezTo>
                <a:cubicBezTo>
                  <a:pt x="1432" y="340"/>
                  <a:pt x="1432" y="340"/>
                  <a:pt x="1434" y="342"/>
                </a:cubicBezTo>
                <a:cubicBezTo>
                  <a:pt x="1434" y="342"/>
                  <a:pt x="1434" y="342"/>
                  <a:pt x="1434" y="343"/>
                </a:cubicBezTo>
                <a:cubicBezTo>
                  <a:pt x="1434" y="343"/>
                  <a:pt x="1434" y="343"/>
                  <a:pt x="1434" y="344"/>
                </a:cubicBezTo>
                <a:cubicBezTo>
                  <a:pt x="1434" y="344"/>
                  <a:pt x="1434" y="344"/>
                  <a:pt x="1434" y="345"/>
                </a:cubicBezTo>
                <a:cubicBezTo>
                  <a:pt x="1434" y="345"/>
                  <a:pt x="1434" y="345"/>
                  <a:pt x="1434" y="347"/>
                </a:cubicBezTo>
                <a:cubicBezTo>
                  <a:pt x="1434" y="347"/>
                  <a:pt x="1434" y="347"/>
                  <a:pt x="1434" y="348"/>
                </a:cubicBezTo>
                <a:cubicBezTo>
                  <a:pt x="1434" y="348"/>
                  <a:pt x="1434" y="348"/>
                  <a:pt x="1433" y="349"/>
                </a:cubicBezTo>
                <a:cubicBezTo>
                  <a:pt x="1433" y="349"/>
                  <a:pt x="1433" y="349"/>
                  <a:pt x="1434" y="351"/>
                </a:cubicBezTo>
                <a:cubicBezTo>
                  <a:pt x="1434" y="351"/>
                  <a:pt x="1434" y="351"/>
                  <a:pt x="1433" y="352"/>
                </a:cubicBezTo>
                <a:cubicBezTo>
                  <a:pt x="1433" y="352"/>
                  <a:pt x="1433" y="352"/>
                  <a:pt x="1434" y="352"/>
                </a:cubicBezTo>
                <a:cubicBezTo>
                  <a:pt x="1434" y="352"/>
                  <a:pt x="1434" y="352"/>
                  <a:pt x="1434" y="353"/>
                </a:cubicBezTo>
                <a:cubicBezTo>
                  <a:pt x="1434" y="353"/>
                  <a:pt x="1434" y="353"/>
                  <a:pt x="1433" y="353"/>
                </a:cubicBezTo>
                <a:cubicBezTo>
                  <a:pt x="1433" y="353"/>
                  <a:pt x="1433" y="353"/>
                  <a:pt x="1434" y="355"/>
                </a:cubicBezTo>
                <a:cubicBezTo>
                  <a:pt x="1434" y="355"/>
                  <a:pt x="1434" y="355"/>
                  <a:pt x="1433" y="356"/>
                </a:cubicBezTo>
                <a:cubicBezTo>
                  <a:pt x="1433" y="356"/>
                  <a:pt x="1433" y="356"/>
                  <a:pt x="1434" y="357"/>
                </a:cubicBezTo>
                <a:cubicBezTo>
                  <a:pt x="1434" y="357"/>
                  <a:pt x="1434" y="357"/>
                  <a:pt x="1435" y="358"/>
                </a:cubicBezTo>
                <a:cubicBezTo>
                  <a:pt x="1435" y="358"/>
                  <a:pt x="1435" y="358"/>
                  <a:pt x="1435" y="359"/>
                </a:cubicBezTo>
                <a:cubicBezTo>
                  <a:pt x="1435" y="359"/>
                  <a:pt x="1435" y="359"/>
                  <a:pt x="1436" y="358"/>
                </a:cubicBezTo>
                <a:cubicBezTo>
                  <a:pt x="1436" y="358"/>
                  <a:pt x="1436" y="358"/>
                  <a:pt x="1436" y="360"/>
                </a:cubicBezTo>
                <a:cubicBezTo>
                  <a:pt x="1436" y="360"/>
                  <a:pt x="1436" y="360"/>
                  <a:pt x="1437" y="358"/>
                </a:cubicBezTo>
                <a:cubicBezTo>
                  <a:pt x="1437" y="358"/>
                  <a:pt x="1437" y="358"/>
                  <a:pt x="1438" y="359"/>
                </a:cubicBezTo>
                <a:cubicBezTo>
                  <a:pt x="1438" y="359"/>
                  <a:pt x="1438" y="359"/>
                  <a:pt x="1439" y="360"/>
                </a:cubicBezTo>
                <a:cubicBezTo>
                  <a:pt x="1439" y="360"/>
                  <a:pt x="1439" y="360"/>
                  <a:pt x="1441" y="362"/>
                </a:cubicBezTo>
                <a:cubicBezTo>
                  <a:pt x="1441" y="362"/>
                  <a:pt x="1441" y="362"/>
                  <a:pt x="1440" y="363"/>
                </a:cubicBezTo>
                <a:cubicBezTo>
                  <a:pt x="1440" y="363"/>
                  <a:pt x="1440" y="363"/>
                  <a:pt x="1442" y="364"/>
                </a:cubicBezTo>
                <a:cubicBezTo>
                  <a:pt x="1442" y="364"/>
                  <a:pt x="1442" y="364"/>
                  <a:pt x="1442" y="365"/>
                </a:cubicBezTo>
                <a:cubicBezTo>
                  <a:pt x="1442" y="365"/>
                  <a:pt x="1442" y="365"/>
                  <a:pt x="1444" y="366"/>
                </a:cubicBezTo>
                <a:cubicBezTo>
                  <a:pt x="1444" y="366"/>
                  <a:pt x="1444" y="366"/>
                  <a:pt x="1443" y="368"/>
                </a:cubicBezTo>
                <a:cubicBezTo>
                  <a:pt x="1443" y="368"/>
                  <a:pt x="1443" y="368"/>
                  <a:pt x="1441" y="369"/>
                </a:cubicBezTo>
                <a:cubicBezTo>
                  <a:pt x="1441" y="369"/>
                  <a:pt x="1441" y="369"/>
                  <a:pt x="1441" y="371"/>
                </a:cubicBezTo>
                <a:cubicBezTo>
                  <a:pt x="1441" y="371"/>
                  <a:pt x="1441" y="371"/>
                  <a:pt x="1439" y="371"/>
                </a:cubicBezTo>
                <a:cubicBezTo>
                  <a:pt x="1439" y="371"/>
                  <a:pt x="1439" y="371"/>
                  <a:pt x="1438" y="370"/>
                </a:cubicBezTo>
                <a:cubicBezTo>
                  <a:pt x="1438" y="370"/>
                  <a:pt x="1438" y="370"/>
                  <a:pt x="1437" y="369"/>
                </a:cubicBezTo>
                <a:cubicBezTo>
                  <a:pt x="1437" y="369"/>
                  <a:pt x="1437" y="369"/>
                  <a:pt x="1436" y="369"/>
                </a:cubicBezTo>
                <a:cubicBezTo>
                  <a:pt x="1436" y="369"/>
                  <a:pt x="1436" y="369"/>
                  <a:pt x="1435" y="369"/>
                </a:cubicBezTo>
                <a:cubicBezTo>
                  <a:pt x="1435" y="369"/>
                  <a:pt x="1435" y="369"/>
                  <a:pt x="1434" y="369"/>
                </a:cubicBezTo>
                <a:cubicBezTo>
                  <a:pt x="1434" y="369"/>
                  <a:pt x="1434" y="369"/>
                  <a:pt x="1433" y="369"/>
                </a:cubicBezTo>
                <a:cubicBezTo>
                  <a:pt x="1433" y="369"/>
                  <a:pt x="1433" y="369"/>
                  <a:pt x="1432" y="370"/>
                </a:cubicBezTo>
                <a:cubicBezTo>
                  <a:pt x="1432" y="370"/>
                  <a:pt x="1432" y="370"/>
                  <a:pt x="1432" y="369"/>
                </a:cubicBezTo>
                <a:cubicBezTo>
                  <a:pt x="1432" y="369"/>
                  <a:pt x="1432" y="369"/>
                  <a:pt x="1431" y="370"/>
                </a:cubicBezTo>
                <a:cubicBezTo>
                  <a:pt x="1431" y="370"/>
                  <a:pt x="1431" y="370"/>
                  <a:pt x="1430" y="370"/>
                </a:cubicBezTo>
                <a:cubicBezTo>
                  <a:pt x="1430" y="370"/>
                  <a:pt x="1430" y="370"/>
                  <a:pt x="1429" y="370"/>
                </a:cubicBezTo>
                <a:cubicBezTo>
                  <a:pt x="1429" y="370"/>
                  <a:pt x="1429" y="370"/>
                  <a:pt x="1429" y="371"/>
                </a:cubicBezTo>
                <a:cubicBezTo>
                  <a:pt x="1429" y="371"/>
                  <a:pt x="1429" y="371"/>
                  <a:pt x="1431" y="371"/>
                </a:cubicBezTo>
                <a:cubicBezTo>
                  <a:pt x="1431" y="371"/>
                  <a:pt x="1431" y="371"/>
                  <a:pt x="1433" y="371"/>
                </a:cubicBezTo>
                <a:cubicBezTo>
                  <a:pt x="1433" y="371"/>
                  <a:pt x="1433" y="371"/>
                  <a:pt x="1434" y="371"/>
                </a:cubicBezTo>
                <a:cubicBezTo>
                  <a:pt x="1434" y="371"/>
                  <a:pt x="1434" y="371"/>
                  <a:pt x="1435" y="371"/>
                </a:cubicBezTo>
                <a:cubicBezTo>
                  <a:pt x="1435" y="371"/>
                  <a:pt x="1435" y="371"/>
                  <a:pt x="1436" y="372"/>
                </a:cubicBezTo>
                <a:cubicBezTo>
                  <a:pt x="1436" y="372"/>
                  <a:pt x="1436" y="372"/>
                  <a:pt x="1437" y="372"/>
                </a:cubicBezTo>
                <a:cubicBezTo>
                  <a:pt x="1437" y="372"/>
                  <a:pt x="1437" y="372"/>
                  <a:pt x="1438" y="372"/>
                </a:cubicBezTo>
                <a:cubicBezTo>
                  <a:pt x="1438" y="372"/>
                  <a:pt x="1438" y="372"/>
                  <a:pt x="1439" y="371"/>
                </a:cubicBezTo>
                <a:cubicBezTo>
                  <a:pt x="1439" y="371"/>
                  <a:pt x="1439" y="371"/>
                  <a:pt x="1440" y="372"/>
                </a:cubicBezTo>
                <a:cubicBezTo>
                  <a:pt x="1440" y="372"/>
                  <a:pt x="1440" y="372"/>
                  <a:pt x="1441" y="373"/>
                </a:cubicBezTo>
                <a:cubicBezTo>
                  <a:pt x="1441" y="373"/>
                  <a:pt x="1441" y="373"/>
                  <a:pt x="1441" y="374"/>
                </a:cubicBezTo>
                <a:cubicBezTo>
                  <a:pt x="1441" y="374"/>
                  <a:pt x="1441" y="374"/>
                  <a:pt x="1440" y="374"/>
                </a:cubicBezTo>
                <a:cubicBezTo>
                  <a:pt x="1440" y="374"/>
                  <a:pt x="1440" y="374"/>
                  <a:pt x="1438" y="376"/>
                </a:cubicBezTo>
                <a:cubicBezTo>
                  <a:pt x="1438" y="376"/>
                  <a:pt x="1438" y="376"/>
                  <a:pt x="1438" y="375"/>
                </a:cubicBezTo>
                <a:cubicBezTo>
                  <a:pt x="1438" y="375"/>
                  <a:pt x="1438" y="375"/>
                  <a:pt x="1438" y="374"/>
                </a:cubicBezTo>
                <a:cubicBezTo>
                  <a:pt x="1438" y="374"/>
                  <a:pt x="1438" y="374"/>
                  <a:pt x="1437" y="375"/>
                </a:cubicBezTo>
                <a:cubicBezTo>
                  <a:pt x="1437" y="375"/>
                  <a:pt x="1437" y="375"/>
                  <a:pt x="1437" y="376"/>
                </a:cubicBezTo>
                <a:cubicBezTo>
                  <a:pt x="1437" y="376"/>
                  <a:pt x="1437" y="376"/>
                  <a:pt x="1436" y="376"/>
                </a:cubicBezTo>
                <a:cubicBezTo>
                  <a:pt x="1436" y="376"/>
                  <a:pt x="1436" y="376"/>
                  <a:pt x="1436" y="377"/>
                </a:cubicBezTo>
                <a:cubicBezTo>
                  <a:pt x="1436" y="377"/>
                  <a:pt x="1436" y="377"/>
                  <a:pt x="1435" y="378"/>
                </a:cubicBezTo>
                <a:cubicBezTo>
                  <a:pt x="1435" y="378"/>
                  <a:pt x="1435" y="378"/>
                  <a:pt x="1434" y="377"/>
                </a:cubicBezTo>
                <a:cubicBezTo>
                  <a:pt x="1434" y="377"/>
                  <a:pt x="1434" y="377"/>
                  <a:pt x="1434" y="378"/>
                </a:cubicBezTo>
                <a:cubicBezTo>
                  <a:pt x="1434" y="378"/>
                  <a:pt x="1434" y="378"/>
                  <a:pt x="1434" y="379"/>
                </a:cubicBezTo>
                <a:cubicBezTo>
                  <a:pt x="1434" y="379"/>
                  <a:pt x="1434" y="379"/>
                  <a:pt x="1433" y="379"/>
                </a:cubicBezTo>
                <a:cubicBezTo>
                  <a:pt x="1433" y="379"/>
                  <a:pt x="1433" y="379"/>
                  <a:pt x="1432" y="379"/>
                </a:cubicBezTo>
                <a:cubicBezTo>
                  <a:pt x="1432" y="379"/>
                  <a:pt x="1432" y="379"/>
                  <a:pt x="1433" y="380"/>
                </a:cubicBezTo>
                <a:cubicBezTo>
                  <a:pt x="1433" y="380"/>
                  <a:pt x="1433" y="380"/>
                  <a:pt x="1434" y="381"/>
                </a:cubicBezTo>
                <a:cubicBezTo>
                  <a:pt x="1434" y="381"/>
                  <a:pt x="1434" y="381"/>
                  <a:pt x="1432" y="381"/>
                </a:cubicBezTo>
                <a:cubicBezTo>
                  <a:pt x="1432" y="381"/>
                  <a:pt x="1432" y="381"/>
                  <a:pt x="1434" y="382"/>
                </a:cubicBezTo>
                <a:cubicBezTo>
                  <a:pt x="1434" y="382"/>
                  <a:pt x="1434" y="382"/>
                  <a:pt x="1433" y="384"/>
                </a:cubicBezTo>
                <a:cubicBezTo>
                  <a:pt x="1433" y="384"/>
                  <a:pt x="1433" y="384"/>
                  <a:pt x="1435" y="385"/>
                </a:cubicBezTo>
                <a:cubicBezTo>
                  <a:pt x="1435" y="385"/>
                  <a:pt x="1435" y="385"/>
                  <a:pt x="1433" y="385"/>
                </a:cubicBezTo>
                <a:cubicBezTo>
                  <a:pt x="1433" y="385"/>
                  <a:pt x="1433" y="385"/>
                  <a:pt x="1432" y="385"/>
                </a:cubicBezTo>
                <a:cubicBezTo>
                  <a:pt x="1432" y="385"/>
                  <a:pt x="1432" y="385"/>
                  <a:pt x="1433" y="386"/>
                </a:cubicBezTo>
                <a:cubicBezTo>
                  <a:pt x="1433" y="386"/>
                  <a:pt x="1433" y="386"/>
                  <a:pt x="1432" y="387"/>
                </a:cubicBezTo>
                <a:cubicBezTo>
                  <a:pt x="1432" y="387"/>
                  <a:pt x="1432" y="387"/>
                  <a:pt x="1433" y="388"/>
                </a:cubicBezTo>
                <a:cubicBezTo>
                  <a:pt x="1433" y="388"/>
                  <a:pt x="1433" y="388"/>
                  <a:pt x="1432" y="389"/>
                </a:cubicBezTo>
                <a:cubicBezTo>
                  <a:pt x="1432" y="389"/>
                  <a:pt x="1432" y="389"/>
                  <a:pt x="1433" y="390"/>
                </a:cubicBezTo>
                <a:cubicBezTo>
                  <a:pt x="1433" y="390"/>
                  <a:pt x="1433" y="390"/>
                  <a:pt x="1432" y="391"/>
                </a:cubicBezTo>
                <a:cubicBezTo>
                  <a:pt x="1432" y="391"/>
                  <a:pt x="1432" y="391"/>
                  <a:pt x="1432" y="393"/>
                </a:cubicBezTo>
                <a:cubicBezTo>
                  <a:pt x="1432" y="393"/>
                  <a:pt x="1432" y="393"/>
                  <a:pt x="1433" y="394"/>
                </a:cubicBezTo>
                <a:cubicBezTo>
                  <a:pt x="1433" y="394"/>
                  <a:pt x="1433" y="394"/>
                  <a:pt x="1433" y="395"/>
                </a:cubicBezTo>
                <a:cubicBezTo>
                  <a:pt x="1433" y="395"/>
                  <a:pt x="1433" y="395"/>
                  <a:pt x="1432" y="398"/>
                </a:cubicBezTo>
                <a:cubicBezTo>
                  <a:pt x="1432" y="398"/>
                  <a:pt x="1432" y="398"/>
                  <a:pt x="1431" y="399"/>
                </a:cubicBezTo>
                <a:cubicBezTo>
                  <a:pt x="1431" y="399"/>
                  <a:pt x="1431" y="399"/>
                  <a:pt x="1431" y="401"/>
                </a:cubicBezTo>
                <a:cubicBezTo>
                  <a:pt x="1431" y="401"/>
                  <a:pt x="1431" y="401"/>
                  <a:pt x="1430" y="403"/>
                </a:cubicBezTo>
                <a:cubicBezTo>
                  <a:pt x="1430" y="403"/>
                  <a:pt x="1430" y="403"/>
                  <a:pt x="1429" y="402"/>
                </a:cubicBezTo>
                <a:cubicBezTo>
                  <a:pt x="1429" y="402"/>
                  <a:pt x="1429" y="402"/>
                  <a:pt x="1428" y="401"/>
                </a:cubicBezTo>
                <a:cubicBezTo>
                  <a:pt x="1428" y="401"/>
                  <a:pt x="1428" y="401"/>
                  <a:pt x="1426" y="402"/>
                </a:cubicBezTo>
                <a:cubicBezTo>
                  <a:pt x="1426" y="402"/>
                  <a:pt x="1426" y="402"/>
                  <a:pt x="1424" y="402"/>
                </a:cubicBezTo>
                <a:cubicBezTo>
                  <a:pt x="1424" y="402"/>
                  <a:pt x="1424" y="402"/>
                  <a:pt x="1424" y="401"/>
                </a:cubicBezTo>
                <a:cubicBezTo>
                  <a:pt x="1424" y="401"/>
                  <a:pt x="1424" y="401"/>
                  <a:pt x="1423" y="403"/>
                </a:cubicBezTo>
                <a:cubicBezTo>
                  <a:pt x="1423" y="403"/>
                  <a:pt x="1423" y="403"/>
                  <a:pt x="1421" y="403"/>
                </a:cubicBezTo>
                <a:cubicBezTo>
                  <a:pt x="1421" y="403"/>
                  <a:pt x="1421" y="403"/>
                  <a:pt x="1421" y="405"/>
                </a:cubicBezTo>
                <a:cubicBezTo>
                  <a:pt x="1421" y="405"/>
                  <a:pt x="1421" y="405"/>
                  <a:pt x="1421" y="406"/>
                </a:cubicBezTo>
                <a:cubicBezTo>
                  <a:pt x="1421" y="406"/>
                  <a:pt x="1421" y="406"/>
                  <a:pt x="1421" y="407"/>
                </a:cubicBezTo>
                <a:cubicBezTo>
                  <a:pt x="1421" y="407"/>
                  <a:pt x="1421" y="407"/>
                  <a:pt x="1420" y="408"/>
                </a:cubicBezTo>
                <a:cubicBezTo>
                  <a:pt x="1420" y="408"/>
                  <a:pt x="1420" y="408"/>
                  <a:pt x="1419" y="407"/>
                </a:cubicBezTo>
                <a:cubicBezTo>
                  <a:pt x="1419" y="407"/>
                  <a:pt x="1419" y="407"/>
                  <a:pt x="1415" y="408"/>
                </a:cubicBezTo>
                <a:cubicBezTo>
                  <a:pt x="1415" y="408"/>
                  <a:pt x="1415" y="408"/>
                  <a:pt x="1414" y="408"/>
                </a:cubicBezTo>
                <a:cubicBezTo>
                  <a:pt x="1414" y="408"/>
                  <a:pt x="1414" y="408"/>
                  <a:pt x="1413" y="408"/>
                </a:cubicBezTo>
                <a:cubicBezTo>
                  <a:pt x="1413" y="408"/>
                  <a:pt x="1413" y="408"/>
                  <a:pt x="1414" y="407"/>
                </a:cubicBezTo>
                <a:cubicBezTo>
                  <a:pt x="1414" y="407"/>
                  <a:pt x="1414" y="407"/>
                  <a:pt x="1414" y="404"/>
                </a:cubicBezTo>
                <a:cubicBezTo>
                  <a:pt x="1414" y="404"/>
                  <a:pt x="1414" y="404"/>
                  <a:pt x="1412" y="403"/>
                </a:cubicBezTo>
                <a:cubicBezTo>
                  <a:pt x="1412" y="403"/>
                  <a:pt x="1412" y="403"/>
                  <a:pt x="1412" y="402"/>
                </a:cubicBezTo>
                <a:cubicBezTo>
                  <a:pt x="1412" y="402"/>
                  <a:pt x="1412" y="402"/>
                  <a:pt x="1411" y="402"/>
                </a:cubicBezTo>
                <a:cubicBezTo>
                  <a:pt x="1411" y="402"/>
                  <a:pt x="1411" y="402"/>
                  <a:pt x="1411" y="401"/>
                </a:cubicBezTo>
                <a:cubicBezTo>
                  <a:pt x="1411" y="401"/>
                  <a:pt x="1411" y="401"/>
                  <a:pt x="1413" y="401"/>
                </a:cubicBezTo>
                <a:cubicBezTo>
                  <a:pt x="1413" y="401"/>
                  <a:pt x="1413" y="401"/>
                  <a:pt x="1414" y="399"/>
                </a:cubicBezTo>
                <a:cubicBezTo>
                  <a:pt x="1414" y="399"/>
                  <a:pt x="1414" y="399"/>
                  <a:pt x="1414" y="397"/>
                </a:cubicBezTo>
                <a:cubicBezTo>
                  <a:pt x="1414" y="397"/>
                  <a:pt x="1414" y="397"/>
                  <a:pt x="1412" y="398"/>
                </a:cubicBezTo>
                <a:cubicBezTo>
                  <a:pt x="1412" y="398"/>
                  <a:pt x="1412" y="398"/>
                  <a:pt x="1411" y="397"/>
                </a:cubicBezTo>
                <a:cubicBezTo>
                  <a:pt x="1411" y="397"/>
                  <a:pt x="1411" y="397"/>
                  <a:pt x="1411" y="396"/>
                </a:cubicBezTo>
                <a:cubicBezTo>
                  <a:pt x="1411" y="396"/>
                  <a:pt x="1411" y="396"/>
                  <a:pt x="1409" y="395"/>
                </a:cubicBezTo>
                <a:cubicBezTo>
                  <a:pt x="1409" y="395"/>
                  <a:pt x="1409" y="395"/>
                  <a:pt x="1409" y="394"/>
                </a:cubicBezTo>
                <a:cubicBezTo>
                  <a:pt x="1409" y="394"/>
                  <a:pt x="1409" y="394"/>
                  <a:pt x="1408" y="391"/>
                </a:cubicBezTo>
                <a:cubicBezTo>
                  <a:pt x="1408" y="391"/>
                  <a:pt x="1408" y="391"/>
                  <a:pt x="1407" y="389"/>
                </a:cubicBezTo>
                <a:cubicBezTo>
                  <a:pt x="1407" y="389"/>
                  <a:pt x="1407" y="389"/>
                  <a:pt x="1406" y="389"/>
                </a:cubicBezTo>
                <a:cubicBezTo>
                  <a:pt x="1406" y="389"/>
                  <a:pt x="1406" y="389"/>
                  <a:pt x="1405" y="388"/>
                </a:cubicBezTo>
                <a:cubicBezTo>
                  <a:pt x="1405" y="388"/>
                  <a:pt x="1405" y="388"/>
                  <a:pt x="1406" y="387"/>
                </a:cubicBezTo>
                <a:cubicBezTo>
                  <a:pt x="1406" y="387"/>
                  <a:pt x="1406" y="387"/>
                  <a:pt x="1406" y="386"/>
                </a:cubicBezTo>
                <a:cubicBezTo>
                  <a:pt x="1406" y="386"/>
                  <a:pt x="1406" y="386"/>
                  <a:pt x="1406" y="385"/>
                </a:cubicBezTo>
                <a:cubicBezTo>
                  <a:pt x="1406" y="385"/>
                  <a:pt x="1406" y="385"/>
                  <a:pt x="1406" y="384"/>
                </a:cubicBezTo>
                <a:cubicBezTo>
                  <a:pt x="1406" y="384"/>
                  <a:pt x="1406" y="384"/>
                  <a:pt x="1407" y="383"/>
                </a:cubicBezTo>
                <a:cubicBezTo>
                  <a:pt x="1407" y="383"/>
                  <a:pt x="1407" y="383"/>
                  <a:pt x="1407" y="382"/>
                </a:cubicBezTo>
                <a:cubicBezTo>
                  <a:pt x="1407" y="382"/>
                  <a:pt x="1407" y="382"/>
                  <a:pt x="1406" y="382"/>
                </a:cubicBezTo>
                <a:cubicBezTo>
                  <a:pt x="1406" y="382"/>
                  <a:pt x="1406" y="382"/>
                  <a:pt x="1406" y="381"/>
                </a:cubicBezTo>
                <a:cubicBezTo>
                  <a:pt x="1406" y="381"/>
                  <a:pt x="1406" y="381"/>
                  <a:pt x="1405" y="381"/>
                </a:cubicBezTo>
                <a:cubicBezTo>
                  <a:pt x="1405" y="381"/>
                  <a:pt x="1405" y="381"/>
                  <a:pt x="1405" y="382"/>
                </a:cubicBezTo>
                <a:cubicBezTo>
                  <a:pt x="1405" y="382"/>
                  <a:pt x="1405" y="382"/>
                  <a:pt x="1404" y="381"/>
                </a:cubicBezTo>
                <a:cubicBezTo>
                  <a:pt x="1404" y="381"/>
                  <a:pt x="1404" y="381"/>
                  <a:pt x="1404" y="379"/>
                </a:cubicBezTo>
                <a:cubicBezTo>
                  <a:pt x="1404" y="379"/>
                  <a:pt x="1404" y="379"/>
                  <a:pt x="1403" y="378"/>
                </a:cubicBezTo>
                <a:cubicBezTo>
                  <a:pt x="1403" y="378"/>
                  <a:pt x="1403" y="378"/>
                  <a:pt x="1403" y="376"/>
                </a:cubicBezTo>
                <a:cubicBezTo>
                  <a:pt x="1403" y="376"/>
                  <a:pt x="1403" y="376"/>
                  <a:pt x="1404" y="375"/>
                </a:cubicBezTo>
                <a:cubicBezTo>
                  <a:pt x="1404" y="375"/>
                  <a:pt x="1404" y="375"/>
                  <a:pt x="1404" y="374"/>
                </a:cubicBezTo>
                <a:cubicBezTo>
                  <a:pt x="1404" y="374"/>
                  <a:pt x="1404" y="374"/>
                  <a:pt x="1402" y="374"/>
                </a:cubicBezTo>
                <a:cubicBezTo>
                  <a:pt x="1402" y="374"/>
                  <a:pt x="1402" y="374"/>
                  <a:pt x="1401" y="373"/>
                </a:cubicBezTo>
                <a:cubicBezTo>
                  <a:pt x="1401" y="373"/>
                  <a:pt x="1401" y="373"/>
                  <a:pt x="1401" y="372"/>
                </a:cubicBezTo>
                <a:cubicBezTo>
                  <a:pt x="1401" y="372"/>
                  <a:pt x="1401" y="372"/>
                  <a:pt x="1400" y="371"/>
                </a:cubicBezTo>
                <a:cubicBezTo>
                  <a:pt x="1400" y="371"/>
                  <a:pt x="1400" y="371"/>
                  <a:pt x="1400" y="370"/>
                </a:cubicBezTo>
                <a:cubicBezTo>
                  <a:pt x="1400" y="370"/>
                  <a:pt x="1400" y="370"/>
                  <a:pt x="1400" y="368"/>
                </a:cubicBezTo>
                <a:cubicBezTo>
                  <a:pt x="1400" y="368"/>
                  <a:pt x="1400" y="368"/>
                  <a:pt x="1401" y="367"/>
                </a:cubicBezTo>
                <a:cubicBezTo>
                  <a:pt x="1401" y="367"/>
                  <a:pt x="1401" y="367"/>
                  <a:pt x="1400" y="366"/>
                </a:cubicBezTo>
                <a:cubicBezTo>
                  <a:pt x="1400" y="366"/>
                  <a:pt x="1400" y="366"/>
                  <a:pt x="1399" y="367"/>
                </a:cubicBezTo>
                <a:cubicBezTo>
                  <a:pt x="1399" y="367"/>
                  <a:pt x="1399" y="367"/>
                  <a:pt x="1399" y="368"/>
                </a:cubicBezTo>
                <a:cubicBezTo>
                  <a:pt x="1399" y="368"/>
                  <a:pt x="1399" y="368"/>
                  <a:pt x="1399" y="369"/>
                </a:cubicBezTo>
                <a:cubicBezTo>
                  <a:pt x="1399" y="369"/>
                  <a:pt x="1399" y="369"/>
                  <a:pt x="1398" y="370"/>
                </a:cubicBezTo>
                <a:cubicBezTo>
                  <a:pt x="1398" y="370"/>
                  <a:pt x="1398" y="370"/>
                  <a:pt x="1398" y="371"/>
                </a:cubicBezTo>
                <a:cubicBezTo>
                  <a:pt x="1398" y="371"/>
                  <a:pt x="1398" y="371"/>
                  <a:pt x="1399" y="371"/>
                </a:cubicBezTo>
                <a:cubicBezTo>
                  <a:pt x="1399" y="371"/>
                  <a:pt x="1399" y="371"/>
                  <a:pt x="1399" y="373"/>
                </a:cubicBezTo>
                <a:cubicBezTo>
                  <a:pt x="1399" y="373"/>
                  <a:pt x="1399" y="373"/>
                  <a:pt x="1399" y="374"/>
                </a:cubicBezTo>
                <a:cubicBezTo>
                  <a:pt x="1399" y="374"/>
                  <a:pt x="1399" y="374"/>
                  <a:pt x="1397" y="376"/>
                </a:cubicBezTo>
                <a:cubicBezTo>
                  <a:pt x="1397" y="376"/>
                  <a:pt x="1397" y="376"/>
                  <a:pt x="1397" y="375"/>
                </a:cubicBezTo>
                <a:cubicBezTo>
                  <a:pt x="1397" y="375"/>
                  <a:pt x="1397" y="375"/>
                  <a:pt x="1396" y="374"/>
                </a:cubicBezTo>
                <a:cubicBezTo>
                  <a:pt x="1396" y="374"/>
                  <a:pt x="1396" y="374"/>
                  <a:pt x="1396" y="375"/>
                </a:cubicBezTo>
                <a:cubicBezTo>
                  <a:pt x="1396" y="375"/>
                  <a:pt x="1396" y="375"/>
                  <a:pt x="1397" y="376"/>
                </a:cubicBezTo>
                <a:cubicBezTo>
                  <a:pt x="1397" y="376"/>
                  <a:pt x="1397" y="376"/>
                  <a:pt x="1395" y="377"/>
                </a:cubicBezTo>
                <a:cubicBezTo>
                  <a:pt x="1395" y="377"/>
                  <a:pt x="1395" y="377"/>
                  <a:pt x="1395" y="376"/>
                </a:cubicBezTo>
                <a:cubicBezTo>
                  <a:pt x="1395" y="376"/>
                  <a:pt x="1395" y="376"/>
                  <a:pt x="1395" y="375"/>
                </a:cubicBezTo>
                <a:cubicBezTo>
                  <a:pt x="1395" y="375"/>
                  <a:pt x="1395" y="375"/>
                  <a:pt x="1394" y="375"/>
                </a:cubicBezTo>
                <a:cubicBezTo>
                  <a:pt x="1394" y="375"/>
                  <a:pt x="1394" y="375"/>
                  <a:pt x="1394" y="374"/>
                </a:cubicBezTo>
                <a:cubicBezTo>
                  <a:pt x="1394" y="374"/>
                  <a:pt x="1394" y="374"/>
                  <a:pt x="1394" y="374"/>
                </a:cubicBezTo>
                <a:cubicBezTo>
                  <a:pt x="1393" y="373"/>
                  <a:pt x="1393" y="373"/>
                  <a:pt x="1393" y="373"/>
                </a:cubicBezTo>
                <a:cubicBezTo>
                  <a:pt x="1393" y="374"/>
                  <a:pt x="1394" y="374"/>
                  <a:pt x="1394" y="374"/>
                </a:cubicBezTo>
                <a:cubicBezTo>
                  <a:pt x="1393" y="375"/>
                  <a:pt x="1393" y="375"/>
                  <a:pt x="1393" y="375"/>
                </a:cubicBezTo>
                <a:cubicBezTo>
                  <a:pt x="1393" y="375"/>
                  <a:pt x="1393" y="375"/>
                  <a:pt x="1394" y="376"/>
                </a:cubicBezTo>
                <a:cubicBezTo>
                  <a:pt x="1394" y="376"/>
                  <a:pt x="1394" y="376"/>
                  <a:pt x="1394" y="377"/>
                </a:cubicBezTo>
                <a:cubicBezTo>
                  <a:pt x="1394" y="377"/>
                  <a:pt x="1394" y="377"/>
                  <a:pt x="1393" y="377"/>
                </a:cubicBezTo>
                <a:cubicBezTo>
                  <a:pt x="1393" y="377"/>
                  <a:pt x="1393" y="377"/>
                  <a:pt x="1392" y="378"/>
                </a:cubicBezTo>
                <a:cubicBezTo>
                  <a:pt x="1392" y="378"/>
                  <a:pt x="1392" y="378"/>
                  <a:pt x="1392" y="379"/>
                </a:cubicBezTo>
                <a:cubicBezTo>
                  <a:pt x="1392" y="379"/>
                  <a:pt x="1392" y="379"/>
                  <a:pt x="1391" y="379"/>
                </a:cubicBezTo>
                <a:cubicBezTo>
                  <a:pt x="1391" y="379"/>
                  <a:pt x="1391" y="379"/>
                  <a:pt x="1392" y="380"/>
                </a:cubicBezTo>
                <a:cubicBezTo>
                  <a:pt x="1392" y="380"/>
                  <a:pt x="1392" y="380"/>
                  <a:pt x="1390" y="381"/>
                </a:cubicBezTo>
                <a:cubicBezTo>
                  <a:pt x="1390" y="381"/>
                  <a:pt x="1390" y="381"/>
                  <a:pt x="1390" y="382"/>
                </a:cubicBezTo>
                <a:cubicBezTo>
                  <a:pt x="1390" y="382"/>
                  <a:pt x="1390" y="382"/>
                  <a:pt x="1388" y="384"/>
                </a:cubicBezTo>
                <a:cubicBezTo>
                  <a:pt x="1388" y="384"/>
                  <a:pt x="1388" y="384"/>
                  <a:pt x="1387" y="384"/>
                </a:cubicBezTo>
                <a:cubicBezTo>
                  <a:pt x="1387" y="384"/>
                  <a:pt x="1387" y="384"/>
                  <a:pt x="1386" y="383"/>
                </a:cubicBezTo>
                <a:cubicBezTo>
                  <a:pt x="1386" y="383"/>
                  <a:pt x="1386" y="383"/>
                  <a:pt x="1386" y="384"/>
                </a:cubicBezTo>
                <a:cubicBezTo>
                  <a:pt x="1386" y="384"/>
                  <a:pt x="1386" y="384"/>
                  <a:pt x="1385" y="384"/>
                </a:cubicBezTo>
                <a:cubicBezTo>
                  <a:pt x="1385" y="384"/>
                  <a:pt x="1385" y="384"/>
                  <a:pt x="1384" y="385"/>
                </a:cubicBezTo>
                <a:cubicBezTo>
                  <a:pt x="1384" y="385"/>
                  <a:pt x="1384" y="385"/>
                  <a:pt x="1383" y="385"/>
                </a:cubicBezTo>
                <a:cubicBezTo>
                  <a:pt x="1383" y="385"/>
                  <a:pt x="1383" y="385"/>
                  <a:pt x="1382" y="385"/>
                </a:cubicBezTo>
                <a:cubicBezTo>
                  <a:pt x="1382" y="385"/>
                  <a:pt x="1382" y="385"/>
                  <a:pt x="1382" y="386"/>
                </a:cubicBezTo>
                <a:cubicBezTo>
                  <a:pt x="1382" y="386"/>
                  <a:pt x="1382" y="386"/>
                  <a:pt x="1380" y="384"/>
                </a:cubicBezTo>
                <a:cubicBezTo>
                  <a:pt x="1380" y="384"/>
                  <a:pt x="1380" y="384"/>
                  <a:pt x="1381" y="384"/>
                </a:cubicBezTo>
                <a:cubicBezTo>
                  <a:pt x="1381" y="384"/>
                  <a:pt x="1381" y="384"/>
                  <a:pt x="1380" y="383"/>
                </a:cubicBezTo>
                <a:cubicBezTo>
                  <a:pt x="1380" y="383"/>
                  <a:pt x="1380" y="383"/>
                  <a:pt x="1379" y="383"/>
                </a:cubicBezTo>
                <a:cubicBezTo>
                  <a:pt x="1379" y="383"/>
                  <a:pt x="1379" y="383"/>
                  <a:pt x="1379" y="385"/>
                </a:cubicBezTo>
                <a:cubicBezTo>
                  <a:pt x="1379" y="385"/>
                  <a:pt x="1379" y="385"/>
                  <a:pt x="1378" y="384"/>
                </a:cubicBezTo>
                <a:cubicBezTo>
                  <a:pt x="1378" y="384"/>
                  <a:pt x="1378" y="384"/>
                  <a:pt x="1378" y="383"/>
                </a:cubicBezTo>
                <a:cubicBezTo>
                  <a:pt x="1378" y="383"/>
                  <a:pt x="1378" y="383"/>
                  <a:pt x="1376" y="382"/>
                </a:cubicBezTo>
                <a:cubicBezTo>
                  <a:pt x="1376" y="382"/>
                  <a:pt x="1376" y="382"/>
                  <a:pt x="1374" y="381"/>
                </a:cubicBezTo>
                <a:cubicBezTo>
                  <a:pt x="1374" y="381"/>
                  <a:pt x="1374" y="381"/>
                  <a:pt x="1373" y="380"/>
                </a:cubicBezTo>
                <a:cubicBezTo>
                  <a:pt x="1373" y="380"/>
                  <a:pt x="1373" y="380"/>
                  <a:pt x="1371" y="378"/>
                </a:cubicBezTo>
                <a:cubicBezTo>
                  <a:pt x="1371" y="378"/>
                  <a:pt x="1371" y="378"/>
                  <a:pt x="1372" y="377"/>
                </a:cubicBezTo>
                <a:cubicBezTo>
                  <a:pt x="1372" y="377"/>
                  <a:pt x="1372" y="377"/>
                  <a:pt x="1372" y="376"/>
                </a:cubicBezTo>
                <a:cubicBezTo>
                  <a:pt x="1372" y="376"/>
                  <a:pt x="1372" y="376"/>
                  <a:pt x="1373" y="376"/>
                </a:cubicBezTo>
                <a:cubicBezTo>
                  <a:pt x="1373" y="376"/>
                  <a:pt x="1373" y="376"/>
                  <a:pt x="1373" y="377"/>
                </a:cubicBezTo>
                <a:cubicBezTo>
                  <a:pt x="1373" y="377"/>
                  <a:pt x="1373" y="377"/>
                  <a:pt x="1374" y="376"/>
                </a:cubicBezTo>
                <a:cubicBezTo>
                  <a:pt x="1374" y="376"/>
                  <a:pt x="1374" y="376"/>
                  <a:pt x="1376" y="378"/>
                </a:cubicBezTo>
                <a:cubicBezTo>
                  <a:pt x="1376" y="378"/>
                  <a:pt x="1376" y="378"/>
                  <a:pt x="1376" y="377"/>
                </a:cubicBezTo>
                <a:cubicBezTo>
                  <a:pt x="1376" y="377"/>
                  <a:pt x="1376" y="377"/>
                  <a:pt x="1376" y="376"/>
                </a:cubicBezTo>
                <a:cubicBezTo>
                  <a:pt x="1376" y="376"/>
                  <a:pt x="1376" y="376"/>
                  <a:pt x="1378" y="376"/>
                </a:cubicBezTo>
                <a:cubicBezTo>
                  <a:pt x="1378" y="376"/>
                  <a:pt x="1378" y="376"/>
                  <a:pt x="1377" y="375"/>
                </a:cubicBezTo>
                <a:cubicBezTo>
                  <a:pt x="1377" y="375"/>
                  <a:pt x="1377" y="375"/>
                  <a:pt x="1376" y="376"/>
                </a:cubicBezTo>
                <a:cubicBezTo>
                  <a:pt x="1376" y="376"/>
                  <a:pt x="1376" y="376"/>
                  <a:pt x="1375" y="376"/>
                </a:cubicBezTo>
                <a:cubicBezTo>
                  <a:pt x="1375" y="376"/>
                  <a:pt x="1375" y="376"/>
                  <a:pt x="1374" y="374"/>
                </a:cubicBezTo>
                <a:cubicBezTo>
                  <a:pt x="1374" y="374"/>
                  <a:pt x="1374" y="374"/>
                  <a:pt x="1375" y="374"/>
                </a:cubicBezTo>
                <a:cubicBezTo>
                  <a:pt x="1375" y="374"/>
                  <a:pt x="1375" y="374"/>
                  <a:pt x="1375" y="373"/>
                </a:cubicBezTo>
                <a:cubicBezTo>
                  <a:pt x="1375" y="373"/>
                  <a:pt x="1375" y="373"/>
                  <a:pt x="1375" y="372"/>
                </a:cubicBezTo>
                <a:cubicBezTo>
                  <a:pt x="1375" y="372"/>
                  <a:pt x="1375" y="372"/>
                  <a:pt x="1374" y="371"/>
                </a:cubicBezTo>
                <a:cubicBezTo>
                  <a:pt x="1374" y="371"/>
                  <a:pt x="1374" y="371"/>
                  <a:pt x="1373" y="372"/>
                </a:cubicBezTo>
                <a:cubicBezTo>
                  <a:pt x="1373" y="372"/>
                  <a:pt x="1373" y="372"/>
                  <a:pt x="1374" y="372"/>
                </a:cubicBezTo>
                <a:cubicBezTo>
                  <a:pt x="1374" y="372"/>
                  <a:pt x="1374" y="372"/>
                  <a:pt x="1373" y="373"/>
                </a:cubicBezTo>
                <a:cubicBezTo>
                  <a:pt x="1373" y="373"/>
                  <a:pt x="1373" y="373"/>
                  <a:pt x="1372" y="372"/>
                </a:cubicBezTo>
                <a:cubicBezTo>
                  <a:pt x="1372" y="372"/>
                  <a:pt x="1372" y="372"/>
                  <a:pt x="1372" y="373"/>
                </a:cubicBezTo>
                <a:cubicBezTo>
                  <a:pt x="1372" y="373"/>
                  <a:pt x="1372" y="373"/>
                  <a:pt x="1370" y="372"/>
                </a:cubicBezTo>
                <a:cubicBezTo>
                  <a:pt x="1370" y="372"/>
                  <a:pt x="1370" y="372"/>
                  <a:pt x="1370" y="371"/>
                </a:cubicBezTo>
                <a:cubicBezTo>
                  <a:pt x="1370" y="371"/>
                  <a:pt x="1370" y="371"/>
                  <a:pt x="1371" y="369"/>
                </a:cubicBezTo>
                <a:cubicBezTo>
                  <a:pt x="1371" y="369"/>
                  <a:pt x="1371" y="369"/>
                  <a:pt x="1372" y="369"/>
                </a:cubicBezTo>
                <a:cubicBezTo>
                  <a:pt x="1372" y="369"/>
                  <a:pt x="1372" y="369"/>
                  <a:pt x="1373" y="368"/>
                </a:cubicBezTo>
                <a:cubicBezTo>
                  <a:pt x="1373" y="368"/>
                  <a:pt x="1373" y="368"/>
                  <a:pt x="1374" y="369"/>
                </a:cubicBezTo>
                <a:cubicBezTo>
                  <a:pt x="1374" y="369"/>
                  <a:pt x="1374" y="369"/>
                  <a:pt x="1374" y="368"/>
                </a:cubicBezTo>
                <a:cubicBezTo>
                  <a:pt x="1374" y="368"/>
                  <a:pt x="1374" y="368"/>
                  <a:pt x="1375" y="368"/>
                </a:cubicBezTo>
                <a:cubicBezTo>
                  <a:pt x="1375" y="368"/>
                  <a:pt x="1375" y="368"/>
                  <a:pt x="1376" y="368"/>
                </a:cubicBezTo>
                <a:cubicBezTo>
                  <a:pt x="1376" y="368"/>
                  <a:pt x="1376" y="368"/>
                  <a:pt x="1376" y="367"/>
                </a:cubicBezTo>
                <a:cubicBezTo>
                  <a:pt x="1376" y="367"/>
                  <a:pt x="1376" y="367"/>
                  <a:pt x="1374" y="367"/>
                </a:cubicBezTo>
                <a:cubicBezTo>
                  <a:pt x="1374" y="367"/>
                  <a:pt x="1374" y="367"/>
                  <a:pt x="1373" y="367"/>
                </a:cubicBezTo>
                <a:cubicBezTo>
                  <a:pt x="1373" y="367"/>
                  <a:pt x="1373" y="367"/>
                  <a:pt x="1374" y="366"/>
                </a:cubicBezTo>
                <a:cubicBezTo>
                  <a:pt x="1374" y="366"/>
                  <a:pt x="1374" y="366"/>
                  <a:pt x="1375" y="364"/>
                </a:cubicBezTo>
                <a:cubicBezTo>
                  <a:pt x="1375" y="364"/>
                  <a:pt x="1375" y="364"/>
                  <a:pt x="1376" y="362"/>
                </a:cubicBezTo>
                <a:cubicBezTo>
                  <a:pt x="1376" y="362"/>
                  <a:pt x="1376" y="362"/>
                  <a:pt x="1377" y="364"/>
                </a:cubicBezTo>
                <a:cubicBezTo>
                  <a:pt x="1377" y="364"/>
                  <a:pt x="1377" y="364"/>
                  <a:pt x="1377" y="362"/>
                </a:cubicBezTo>
                <a:cubicBezTo>
                  <a:pt x="1377" y="362"/>
                  <a:pt x="1377" y="362"/>
                  <a:pt x="1378" y="361"/>
                </a:cubicBezTo>
                <a:cubicBezTo>
                  <a:pt x="1378" y="361"/>
                  <a:pt x="1378" y="361"/>
                  <a:pt x="1377" y="361"/>
                </a:cubicBezTo>
                <a:cubicBezTo>
                  <a:pt x="1377" y="361"/>
                  <a:pt x="1377" y="361"/>
                  <a:pt x="1375" y="362"/>
                </a:cubicBezTo>
                <a:cubicBezTo>
                  <a:pt x="1375" y="362"/>
                  <a:pt x="1375" y="362"/>
                  <a:pt x="1374" y="363"/>
                </a:cubicBezTo>
                <a:cubicBezTo>
                  <a:pt x="1374" y="363"/>
                  <a:pt x="1374" y="363"/>
                  <a:pt x="1374" y="364"/>
                </a:cubicBezTo>
                <a:cubicBezTo>
                  <a:pt x="1374" y="364"/>
                  <a:pt x="1374" y="364"/>
                  <a:pt x="1373" y="365"/>
                </a:cubicBezTo>
                <a:cubicBezTo>
                  <a:pt x="1373" y="365"/>
                  <a:pt x="1373" y="365"/>
                  <a:pt x="1372" y="365"/>
                </a:cubicBezTo>
                <a:cubicBezTo>
                  <a:pt x="1372" y="365"/>
                  <a:pt x="1372" y="365"/>
                  <a:pt x="1373" y="364"/>
                </a:cubicBezTo>
                <a:cubicBezTo>
                  <a:pt x="1373" y="364"/>
                  <a:pt x="1373" y="364"/>
                  <a:pt x="1372" y="363"/>
                </a:cubicBezTo>
                <a:cubicBezTo>
                  <a:pt x="1372" y="363"/>
                  <a:pt x="1372" y="363"/>
                  <a:pt x="1372" y="362"/>
                </a:cubicBezTo>
                <a:cubicBezTo>
                  <a:pt x="1372" y="362"/>
                  <a:pt x="1372" y="362"/>
                  <a:pt x="1371" y="362"/>
                </a:cubicBezTo>
                <a:cubicBezTo>
                  <a:pt x="1371" y="362"/>
                  <a:pt x="1371" y="362"/>
                  <a:pt x="1373" y="361"/>
                </a:cubicBezTo>
                <a:cubicBezTo>
                  <a:pt x="1373" y="361"/>
                  <a:pt x="1373" y="361"/>
                  <a:pt x="1373" y="360"/>
                </a:cubicBezTo>
                <a:cubicBezTo>
                  <a:pt x="1373" y="360"/>
                  <a:pt x="1373" y="360"/>
                  <a:pt x="1373" y="359"/>
                </a:cubicBezTo>
                <a:cubicBezTo>
                  <a:pt x="1373" y="359"/>
                  <a:pt x="1373" y="359"/>
                  <a:pt x="1372" y="359"/>
                </a:cubicBezTo>
                <a:cubicBezTo>
                  <a:pt x="1372" y="359"/>
                  <a:pt x="1372" y="359"/>
                  <a:pt x="1370" y="361"/>
                </a:cubicBezTo>
                <a:cubicBezTo>
                  <a:pt x="1370" y="361"/>
                  <a:pt x="1370" y="361"/>
                  <a:pt x="1369" y="360"/>
                </a:cubicBezTo>
                <a:cubicBezTo>
                  <a:pt x="1369" y="360"/>
                  <a:pt x="1369" y="360"/>
                  <a:pt x="1369" y="359"/>
                </a:cubicBezTo>
                <a:cubicBezTo>
                  <a:pt x="1369" y="359"/>
                  <a:pt x="1369" y="359"/>
                  <a:pt x="1370" y="359"/>
                </a:cubicBezTo>
                <a:cubicBezTo>
                  <a:pt x="1370" y="359"/>
                  <a:pt x="1370" y="359"/>
                  <a:pt x="1370" y="358"/>
                </a:cubicBezTo>
                <a:cubicBezTo>
                  <a:pt x="1370" y="358"/>
                  <a:pt x="1370" y="358"/>
                  <a:pt x="1371" y="357"/>
                </a:cubicBezTo>
                <a:cubicBezTo>
                  <a:pt x="1371" y="357"/>
                  <a:pt x="1371" y="357"/>
                  <a:pt x="1370" y="357"/>
                </a:cubicBezTo>
                <a:cubicBezTo>
                  <a:pt x="1370" y="357"/>
                  <a:pt x="1370" y="357"/>
                  <a:pt x="1369" y="358"/>
                </a:cubicBezTo>
                <a:cubicBezTo>
                  <a:pt x="1369" y="358"/>
                  <a:pt x="1369" y="358"/>
                  <a:pt x="1368" y="357"/>
                </a:cubicBezTo>
                <a:cubicBezTo>
                  <a:pt x="1368" y="357"/>
                  <a:pt x="1368" y="357"/>
                  <a:pt x="1369" y="357"/>
                </a:cubicBezTo>
                <a:cubicBezTo>
                  <a:pt x="1369" y="357"/>
                  <a:pt x="1369" y="357"/>
                  <a:pt x="1368" y="355"/>
                </a:cubicBezTo>
                <a:cubicBezTo>
                  <a:pt x="1368" y="355"/>
                  <a:pt x="1368" y="355"/>
                  <a:pt x="1369" y="355"/>
                </a:cubicBezTo>
                <a:cubicBezTo>
                  <a:pt x="1369" y="355"/>
                  <a:pt x="1369" y="355"/>
                  <a:pt x="1370" y="356"/>
                </a:cubicBezTo>
                <a:cubicBezTo>
                  <a:pt x="1370" y="356"/>
                  <a:pt x="1370" y="356"/>
                  <a:pt x="1372" y="355"/>
                </a:cubicBezTo>
                <a:cubicBezTo>
                  <a:pt x="1372" y="355"/>
                  <a:pt x="1372" y="355"/>
                  <a:pt x="1373" y="355"/>
                </a:cubicBezTo>
                <a:cubicBezTo>
                  <a:pt x="1373" y="355"/>
                  <a:pt x="1373" y="355"/>
                  <a:pt x="1374" y="355"/>
                </a:cubicBezTo>
                <a:cubicBezTo>
                  <a:pt x="1374" y="355"/>
                  <a:pt x="1374" y="355"/>
                  <a:pt x="1375" y="355"/>
                </a:cubicBezTo>
                <a:cubicBezTo>
                  <a:pt x="1375" y="355"/>
                  <a:pt x="1375" y="355"/>
                  <a:pt x="1376" y="356"/>
                </a:cubicBezTo>
                <a:cubicBezTo>
                  <a:pt x="1376" y="356"/>
                  <a:pt x="1376" y="356"/>
                  <a:pt x="1377" y="355"/>
                </a:cubicBezTo>
                <a:cubicBezTo>
                  <a:pt x="1377" y="355"/>
                  <a:pt x="1377" y="355"/>
                  <a:pt x="1379" y="355"/>
                </a:cubicBezTo>
                <a:cubicBezTo>
                  <a:pt x="1379" y="355"/>
                  <a:pt x="1379" y="355"/>
                  <a:pt x="1379" y="356"/>
                </a:cubicBezTo>
                <a:cubicBezTo>
                  <a:pt x="1379" y="356"/>
                  <a:pt x="1379" y="356"/>
                  <a:pt x="1378" y="356"/>
                </a:cubicBezTo>
                <a:cubicBezTo>
                  <a:pt x="1378" y="356"/>
                  <a:pt x="1378" y="356"/>
                  <a:pt x="1378" y="357"/>
                </a:cubicBezTo>
                <a:cubicBezTo>
                  <a:pt x="1378" y="357"/>
                  <a:pt x="1378" y="357"/>
                  <a:pt x="1379" y="357"/>
                </a:cubicBezTo>
                <a:cubicBezTo>
                  <a:pt x="1379" y="357"/>
                  <a:pt x="1379" y="357"/>
                  <a:pt x="1380" y="356"/>
                </a:cubicBezTo>
                <a:cubicBezTo>
                  <a:pt x="1380" y="356"/>
                  <a:pt x="1380" y="356"/>
                  <a:pt x="1380" y="355"/>
                </a:cubicBezTo>
                <a:cubicBezTo>
                  <a:pt x="1380" y="355"/>
                  <a:pt x="1380" y="355"/>
                  <a:pt x="1382" y="355"/>
                </a:cubicBezTo>
                <a:cubicBezTo>
                  <a:pt x="1382" y="355"/>
                  <a:pt x="1382" y="355"/>
                  <a:pt x="1383" y="354"/>
                </a:cubicBezTo>
                <a:cubicBezTo>
                  <a:pt x="1383" y="354"/>
                  <a:pt x="1383" y="354"/>
                  <a:pt x="1382" y="352"/>
                </a:cubicBezTo>
                <a:cubicBezTo>
                  <a:pt x="1382" y="352"/>
                  <a:pt x="1382" y="352"/>
                  <a:pt x="1382" y="351"/>
                </a:cubicBezTo>
                <a:cubicBezTo>
                  <a:pt x="1382" y="351"/>
                  <a:pt x="1382" y="351"/>
                  <a:pt x="1381" y="353"/>
                </a:cubicBezTo>
                <a:cubicBezTo>
                  <a:pt x="1381" y="353"/>
                  <a:pt x="1381" y="353"/>
                  <a:pt x="1381" y="354"/>
                </a:cubicBezTo>
                <a:cubicBezTo>
                  <a:pt x="1381" y="354"/>
                  <a:pt x="1381" y="354"/>
                  <a:pt x="1380" y="354"/>
                </a:cubicBezTo>
                <a:cubicBezTo>
                  <a:pt x="1380" y="354"/>
                  <a:pt x="1380" y="354"/>
                  <a:pt x="1380" y="353"/>
                </a:cubicBezTo>
                <a:cubicBezTo>
                  <a:pt x="1380" y="353"/>
                  <a:pt x="1380" y="353"/>
                  <a:pt x="1379" y="354"/>
                </a:cubicBezTo>
                <a:cubicBezTo>
                  <a:pt x="1379" y="354"/>
                  <a:pt x="1379" y="354"/>
                  <a:pt x="1378" y="354"/>
                </a:cubicBezTo>
                <a:cubicBezTo>
                  <a:pt x="1378" y="354"/>
                  <a:pt x="1378" y="354"/>
                  <a:pt x="1377" y="353"/>
                </a:cubicBezTo>
                <a:cubicBezTo>
                  <a:pt x="1377" y="353"/>
                  <a:pt x="1377" y="353"/>
                  <a:pt x="1376" y="353"/>
                </a:cubicBezTo>
                <a:cubicBezTo>
                  <a:pt x="1376" y="353"/>
                  <a:pt x="1376" y="353"/>
                  <a:pt x="1376" y="354"/>
                </a:cubicBezTo>
                <a:cubicBezTo>
                  <a:pt x="1376" y="354"/>
                  <a:pt x="1376" y="354"/>
                  <a:pt x="1375" y="354"/>
                </a:cubicBezTo>
                <a:cubicBezTo>
                  <a:pt x="1375" y="354"/>
                  <a:pt x="1375" y="354"/>
                  <a:pt x="1374" y="354"/>
                </a:cubicBezTo>
                <a:cubicBezTo>
                  <a:pt x="1374" y="354"/>
                  <a:pt x="1374" y="354"/>
                  <a:pt x="1372" y="354"/>
                </a:cubicBezTo>
                <a:cubicBezTo>
                  <a:pt x="1372" y="354"/>
                  <a:pt x="1372" y="354"/>
                  <a:pt x="1371" y="355"/>
                </a:cubicBezTo>
                <a:cubicBezTo>
                  <a:pt x="1371" y="355"/>
                  <a:pt x="1371" y="355"/>
                  <a:pt x="1370" y="355"/>
                </a:cubicBezTo>
                <a:cubicBezTo>
                  <a:pt x="1370" y="355"/>
                  <a:pt x="1370" y="355"/>
                  <a:pt x="1369" y="354"/>
                </a:cubicBezTo>
                <a:cubicBezTo>
                  <a:pt x="1369" y="354"/>
                  <a:pt x="1369" y="354"/>
                  <a:pt x="1369" y="353"/>
                </a:cubicBezTo>
                <a:cubicBezTo>
                  <a:pt x="1369" y="353"/>
                  <a:pt x="1369" y="353"/>
                  <a:pt x="1370" y="352"/>
                </a:cubicBezTo>
                <a:cubicBezTo>
                  <a:pt x="1370" y="352"/>
                  <a:pt x="1370" y="352"/>
                  <a:pt x="1369" y="352"/>
                </a:cubicBezTo>
                <a:cubicBezTo>
                  <a:pt x="1369" y="352"/>
                  <a:pt x="1369" y="352"/>
                  <a:pt x="1370" y="351"/>
                </a:cubicBezTo>
                <a:cubicBezTo>
                  <a:pt x="1370" y="351"/>
                  <a:pt x="1370" y="351"/>
                  <a:pt x="1369" y="351"/>
                </a:cubicBezTo>
                <a:cubicBezTo>
                  <a:pt x="1369" y="351"/>
                  <a:pt x="1369" y="351"/>
                  <a:pt x="1370" y="350"/>
                </a:cubicBezTo>
                <a:cubicBezTo>
                  <a:pt x="1370" y="350"/>
                  <a:pt x="1370" y="350"/>
                  <a:pt x="1368" y="349"/>
                </a:cubicBezTo>
                <a:cubicBezTo>
                  <a:pt x="1368" y="349"/>
                  <a:pt x="1368" y="349"/>
                  <a:pt x="1368" y="348"/>
                </a:cubicBezTo>
                <a:cubicBezTo>
                  <a:pt x="1367" y="347"/>
                  <a:pt x="1367" y="347"/>
                  <a:pt x="1367" y="347"/>
                </a:cubicBezTo>
                <a:cubicBezTo>
                  <a:pt x="1369" y="348"/>
                  <a:pt x="1369" y="348"/>
                  <a:pt x="1369" y="348"/>
                </a:cubicBezTo>
                <a:cubicBezTo>
                  <a:pt x="1369" y="348"/>
                  <a:pt x="1369" y="348"/>
                  <a:pt x="1370" y="347"/>
                </a:cubicBezTo>
                <a:cubicBezTo>
                  <a:pt x="1370" y="347"/>
                  <a:pt x="1370" y="347"/>
                  <a:pt x="1371" y="348"/>
                </a:cubicBezTo>
                <a:cubicBezTo>
                  <a:pt x="1371" y="348"/>
                  <a:pt x="1371" y="348"/>
                  <a:pt x="1372" y="347"/>
                </a:cubicBezTo>
                <a:cubicBezTo>
                  <a:pt x="1372" y="347"/>
                  <a:pt x="1372" y="347"/>
                  <a:pt x="1374" y="348"/>
                </a:cubicBezTo>
                <a:cubicBezTo>
                  <a:pt x="1374" y="348"/>
                  <a:pt x="1374" y="348"/>
                  <a:pt x="1373" y="347"/>
                </a:cubicBezTo>
                <a:cubicBezTo>
                  <a:pt x="1373" y="347"/>
                  <a:pt x="1373" y="347"/>
                  <a:pt x="1371" y="346"/>
                </a:cubicBezTo>
                <a:cubicBezTo>
                  <a:pt x="1371" y="346"/>
                  <a:pt x="1371" y="346"/>
                  <a:pt x="1371" y="345"/>
                </a:cubicBezTo>
                <a:cubicBezTo>
                  <a:pt x="1371" y="345"/>
                  <a:pt x="1371" y="345"/>
                  <a:pt x="1371" y="344"/>
                </a:cubicBezTo>
                <a:cubicBezTo>
                  <a:pt x="1371" y="344"/>
                  <a:pt x="1371" y="344"/>
                  <a:pt x="1372" y="344"/>
                </a:cubicBezTo>
                <a:cubicBezTo>
                  <a:pt x="1372" y="344"/>
                  <a:pt x="1372" y="344"/>
                  <a:pt x="1373" y="345"/>
                </a:cubicBezTo>
                <a:cubicBezTo>
                  <a:pt x="1373" y="345"/>
                  <a:pt x="1373" y="345"/>
                  <a:pt x="1374" y="345"/>
                </a:cubicBezTo>
                <a:cubicBezTo>
                  <a:pt x="1374" y="345"/>
                  <a:pt x="1374" y="345"/>
                  <a:pt x="1373" y="344"/>
                </a:cubicBezTo>
                <a:cubicBezTo>
                  <a:pt x="1373" y="344"/>
                  <a:pt x="1373" y="344"/>
                  <a:pt x="1374" y="343"/>
                </a:cubicBezTo>
                <a:cubicBezTo>
                  <a:pt x="1374" y="343"/>
                  <a:pt x="1374" y="343"/>
                  <a:pt x="1376" y="344"/>
                </a:cubicBezTo>
                <a:cubicBezTo>
                  <a:pt x="1376" y="344"/>
                  <a:pt x="1376" y="344"/>
                  <a:pt x="1376" y="343"/>
                </a:cubicBezTo>
                <a:cubicBezTo>
                  <a:pt x="1376" y="343"/>
                  <a:pt x="1376" y="343"/>
                  <a:pt x="1376" y="342"/>
                </a:cubicBezTo>
                <a:cubicBezTo>
                  <a:pt x="1376" y="342"/>
                  <a:pt x="1376" y="342"/>
                  <a:pt x="1377" y="342"/>
                </a:cubicBezTo>
                <a:cubicBezTo>
                  <a:pt x="1377" y="342"/>
                  <a:pt x="1377" y="342"/>
                  <a:pt x="1378" y="342"/>
                </a:cubicBezTo>
                <a:cubicBezTo>
                  <a:pt x="1378" y="342"/>
                  <a:pt x="1378" y="342"/>
                  <a:pt x="1378" y="344"/>
                </a:cubicBezTo>
                <a:cubicBezTo>
                  <a:pt x="1378" y="344"/>
                  <a:pt x="1378" y="344"/>
                  <a:pt x="1378" y="345"/>
                </a:cubicBezTo>
                <a:cubicBezTo>
                  <a:pt x="1378" y="345"/>
                  <a:pt x="1378" y="345"/>
                  <a:pt x="1379" y="344"/>
                </a:cubicBezTo>
                <a:cubicBezTo>
                  <a:pt x="1379" y="344"/>
                  <a:pt x="1379" y="344"/>
                  <a:pt x="1379" y="343"/>
                </a:cubicBezTo>
                <a:cubicBezTo>
                  <a:pt x="1379" y="343"/>
                  <a:pt x="1379" y="343"/>
                  <a:pt x="1379" y="342"/>
                </a:cubicBezTo>
                <a:cubicBezTo>
                  <a:pt x="1379" y="342"/>
                  <a:pt x="1379" y="342"/>
                  <a:pt x="1377" y="341"/>
                </a:cubicBezTo>
                <a:cubicBezTo>
                  <a:pt x="1377" y="341"/>
                  <a:pt x="1377" y="341"/>
                  <a:pt x="1376" y="341"/>
                </a:cubicBezTo>
                <a:cubicBezTo>
                  <a:pt x="1376" y="341"/>
                  <a:pt x="1376" y="341"/>
                  <a:pt x="1374" y="340"/>
                </a:cubicBezTo>
                <a:cubicBezTo>
                  <a:pt x="1374" y="340"/>
                  <a:pt x="1374" y="340"/>
                  <a:pt x="1375" y="339"/>
                </a:cubicBezTo>
                <a:cubicBezTo>
                  <a:pt x="1375" y="339"/>
                  <a:pt x="1375" y="339"/>
                  <a:pt x="1375" y="340"/>
                </a:cubicBezTo>
                <a:cubicBezTo>
                  <a:pt x="1375" y="340"/>
                  <a:pt x="1375" y="340"/>
                  <a:pt x="1376" y="339"/>
                </a:cubicBezTo>
                <a:cubicBezTo>
                  <a:pt x="1376" y="339"/>
                  <a:pt x="1376" y="339"/>
                  <a:pt x="1377" y="340"/>
                </a:cubicBezTo>
                <a:cubicBezTo>
                  <a:pt x="1377" y="340"/>
                  <a:pt x="1377" y="340"/>
                  <a:pt x="1378" y="339"/>
                </a:cubicBezTo>
                <a:cubicBezTo>
                  <a:pt x="1378" y="339"/>
                  <a:pt x="1378" y="339"/>
                  <a:pt x="1379" y="341"/>
                </a:cubicBezTo>
                <a:cubicBezTo>
                  <a:pt x="1379" y="341"/>
                  <a:pt x="1379" y="341"/>
                  <a:pt x="1381" y="341"/>
                </a:cubicBezTo>
                <a:cubicBezTo>
                  <a:pt x="1381" y="341"/>
                  <a:pt x="1381" y="341"/>
                  <a:pt x="1381" y="340"/>
                </a:cubicBezTo>
                <a:cubicBezTo>
                  <a:pt x="1381" y="340"/>
                  <a:pt x="1381" y="340"/>
                  <a:pt x="1383" y="339"/>
                </a:cubicBezTo>
                <a:cubicBezTo>
                  <a:pt x="1383" y="339"/>
                  <a:pt x="1383" y="339"/>
                  <a:pt x="1382" y="339"/>
                </a:cubicBezTo>
                <a:cubicBezTo>
                  <a:pt x="1382" y="339"/>
                  <a:pt x="1382" y="339"/>
                  <a:pt x="1381" y="338"/>
                </a:cubicBezTo>
                <a:cubicBezTo>
                  <a:pt x="1381" y="338"/>
                  <a:pt x="1381" y="338"/>
                  <a:pt x="1379" y="339"/>
                </a:cubicBezTo>
                <a:cubicBezTo>
                  <a:pt x="1379" y="339"/>
                  <a:pt x="1379" y="339"/>
                  <a:pt x="1378" y="338"/>
                </a:cubicBezTo>
                <a:cubicBezTo>
                  <a:pt x="1378" y="338"/>
                  <a:pt x="1378" y="338"/>
                  <a:pt x="1379" y="337"/>
                </a:cubicBezTo>
                <a:cubicBezTo>
                  <a:pt x="1379" y="337"/>
                  <a:pt x="1379" y="337"/>
                  <a:pt x="1379" y="336"/>
                </a:cubicBezTo>
                <a:cubicBezTo>
                  <a:pt x="1379" y="336"/>
                  <a:pt x="1379" y="336"/>
                  <a:pt x="1380" y="336"/>
                </a:cubicBezTo>
                <a:cubicBezTo>
                  <a:pt x="1380" y="336"/>
                  <a:pt x="1380" y="336"/>
                  <a:pt x="1381" y="336"/>
                </a:cubicBezTo>
                <a:cubicBezTo>
                  <a:pt x="1381" y="336"/>
                  <a:pt x="1381" y="336"/>
                  <a:pt x="1382" y="337"/>
                </a:cubicBezTo>
                <a:cubicBezTo>
                  <a:pt x="1382" y="337"/>
                  <a:pt x="1382" y="337"/>
                  <a:pt x="1383" y="336"/>
                </a:cubicBezTo>
                <a:cubicBezTo>
                  <a:pt x="1383" y="336"/>
                  <a:pt x="1383" y="336"/>
                  <a:pt x="1384" y="338"/>
                </a:cubicBezTo>
                <a:cubicBezTo>
                  <a:pt x="1384" y="338"/>
                  <a:pt x="1384" y="338"/>
                  <a:pt x="1386" y="339"/>
                </a:cubicBezTo>
                <a:cubicBezTo>
                  <a:pt x="1386" y="339"/>
                  <a:pt x="1386" y="339"/>
                  <a:pt x="1387" y="339"/>
                </a:cubicBezTo>
                <a:cubicBezTo>
                  <a:pt x="1387" y="339"/>
                  <a:pt x="1387" y="339"/>
                  <a:pt x="1387" y="338"/>
                </a:cubicBezTo>
                <a:cubicBezTo>
                  <a:pt x="1387" y="338"/>
                  <a:pt x="1387" y="338"/>
                  <a:pt x="1386" y="338"/>
                </a:cubicBezTo>
                <a:cubicBezTo>
                  <a:pt x="1386" y="338"/>
                  <a:pt x="1386" y="338"/>
                  <a:pt x="1385" y="337"/>
                </a:cubicBezTo>
                <a:cubicBezTo>
                  <a:pt x="1385" y="337"/>
                  <a:pt x="1385" y="337"/>
                  <a:pt x="1387" y="337"/>
                </a:cubicBezTo>
                <a:cubicBezTo>
                  <a:pt x="1387" y="337"/>
                  <a:pt x="1387" y="337"/>
                  <a:pt x="1388" y="338"/>
                </a:cubicBezTo>
                <a:cubicBezTo>
                  <a:pt x="1388" y="338"/>
                  <a:pt x="1388" y="338"/>
                  <a:pt x="1388" y="337"/>
                </a:cubicBezTo>
                <a:cubicBezTo>
                  <a:pt x="1388" y="337"/>
                  <a:pt x="1388" y="337"/>
                  <a:pt x="1388" y="336"/>
                </a:cubicBezTo>
                <a:cubicBezTo>
                  <a:pt x="1388" y="336"/>
                  <a:pt x="1388" y="336"/>
                  <a:pt x="1386" y="336"/>
                </a:cubicBezTo>
                <a:cubicBezTo>
                  <a:pt x="1386" y="336"/>
                  <a:pt x="1386" y="336"/>
                  <a:pt x="1385" y="335"/>
                </a:cubicBezTo>
                <a:cubicBezTo>
                  <a:pt x="1385" y="335"/>
                  <a:pt x="1385" y="335"/>
                  <a:pt x="1386" y="335"/>
                </a:cubicBezTo>
                <a:cubicBezTo>
                  <a:pt x="1386" y="335"/>
                  <a:pt x="1386" y="335"/>
                  <a:pt x="1387" y="334"/>
                </a:cubicBezTo>
                <a:cubicBezTo>
                  <a:pt x="1387" y="334"/>
                  <a:pt x="1387" y="334"/>
                  <a:pt x="1388" y="334"/>
                </a:cubicBezTo>
                <a:cubicBezTo>
                  <a:pt x="1388" y="334"/>
                  <a:pt x="1388" y="334"/>
                  <a:pt x="1388" y="333"/>
                </a:cubicBezTo>
                <a:cubicBezTo>
                  <a:pt x="1388" y="333"/>
                  <a:pt x="1388" y="333"/>
                  <a:pt x="1387" y="334"/>
                </a:cubicBezTo>
                <a:cubicBezTo>
                  <a:pt x="1387" y="334"/>
                  <a:pt x="1387" y="334"/>
                  <a:pt x="1387" y="333"/>
                </a:cubicBezTo>
                <a:cubicBezTo>
                  <a:pt x="1387" y="333"/>
                  <a:pt x="1387" y="333"/>
                  <a:pt x="1388" y="332"/>
                </a:cubicBezTo>
                <a:cubicBezTo>
                  <a:pt x="1388" y="332"/>
                  <a:pt x="1388" y="332"/>
                  <a:pt x="1389" y="332"/>
                </a:cubicBezTo>
                <a:cubicBezTo>
                  <a:pt x="1389" y="332"/>
                  <a:pt x="1389" y="332"/>
                  <a:pt x="1390" y="333"/>
                </a:cubicBezTo>
                <a:cubicBezTo>
                  <a:pt x="1390" y="333"/>
                  <a:pt x="1390" y="333"/>
                  <a:pt x="1391" y="331"/>
                </a:cubicBezTo>
                <a:cubicBezTo>
                  <a:pt x="1391" y="331"/>
                  <a:pt x="1391" y="331"/>
                  <a:pt x="1390" y="331"/>
                </a:cubicBezTo>
                <a:cubicBezTo>
                  <a:pt x="1390" y="331"/>
                  <a:pt x="1390" y="331"/>
                  <a:pt x="1391" y="330"/>
                </a:cubicBezTo>
                <a:cubicBezTo>
                  <a:pt x="1391" y="330"/>
                  <a:pt x="1391" y="330"/>
                  <a:pt x="1392" y="330"/>
                </a:cubicBezTo>
                <a:cubicBezTo>
                  <a:pt x="1392" y="330"/>
                  <a:pt x="1392" y="330"/>
                  <a:pt x="1393" y="331"/>
                </a:cubicBezTo>
                <a:cubicBezTo>
                  <a:pt x="1393" y="331"/>
                  <a:pt x="1393" y="331"/>
                  <a:pt x="1393" y="332"/>
                </a:cubicBezTo>
                <a:cubicBezTo>
                  <a:pt x="1393" y="332"/>
                  <a:pt x="1393" y="332"/>
                  <a:pt x="1394" y="333"/>
                </a:cubicBezTo>
                <a:cubicBezTo>
                  <a:pt x="1394" y="333"/>
                  <a:pt x="1394" y="333"/>
                  <a:pt x="1393" y="333"/>
                </a:cubicBezTo>
                <a:cubicBezTo>
                  <a:pt x="1393" y="333"/>
                  <a:pt x="1393" y="333"/>
                  <a:pt x="1393" y="334"/>
                </a:cubicBezTo>
                <a:cubicBezTo>
                  <a:pt x="1393" y="334"/>
                  <a:pt x="1393" y="334"/>
                  <a:pt x="1394" y="334"/>
                </a:cubicBezTo>
                <a:cubicBezTo>
                  <a:pt x="1394" y="334"/>
                  <a:pt x="1394" y="334"/>
                  <a:pt x="1395" y="333"/>
                </a:cubicBezTo>
                <a:cubicBezTo>
                  <a:pt x="1395" y="333"/>
                  <a:pt x="1395" y="333"/>
                  <a:pt x="1395" y="332"/>
                </a:cubicBezTo>
                <a:cubicBezTo>
                  <a:pt x="1395" y="332"/>
                  <a:pt x="1395" y="332"/>
                  <a:pt x="1395" y="331"/>
                </a:cubicBezTo>
                <a:cubicBezTo>
                  <a:pt x="1395" y="331"/>
                  <a:pt x="1395" y="331"/>
                  <a:pt x="1397" y="331"/>
                </a:cubicBezTo>
                <a:cubicBezTo>
                  <a:pt x="1397" y="331"/>
                  <a:pt x="1397" y="331"/>
                  <a:pt x="1398" y="332"/>
                </a:cubicBezTo>
                <a:cubicBezTo>
                  <a:pt x="1398" y="332"/>
                  <a:pt x="1398" y="332"/>
                  <a:pt x="1399" y="332"/>
                </a:cubicBezTo>
                <a:cubicBezTo>
                  <a:pt x="1399" y="332"/>
                  <a:pt x="1399" y="332"/>
                  <a:pt x="1399" y="331"/>
                </a:cubicBezTo>
                <a:cubicBezTo>
                  <a:pt x="1399" y="331"/>
                  <a:pt x="1399" y="331"/>
                  <a:pt x="1399" y="330"/>
                </a:cubicBezTo>
                <a:cubicBezTo>
                  <a:pt x="1399" y="330"/>
                  <a:pt x="1399" y="330"/>
                  <a:pt x="1398" y="330"/>
                </a:cubicBezTo>
                <a:cubicBezTo>
                  <a:pt x="1398" y="330"/>
                  <a:pt x="1398" y="330"/>
                  <a:pt x="1400" y="328"/>
                </a:cubicBezTo>
                <a:cubicBezTo>
                  <a:pt x="1400" y="328"/>
                  <a:pt x="1400" y="328"/>
                  <a:pt x="1401" y="328"/>
                </a:cubicBezTo>
                <a:cubicBezTo>
                  <a:pt x="1401" y="328"/>
                  <a:pt x="1401" y="328"/>
                  <a:pt x="1401" y="327"/>
                </a:cubicBezTo>
                <a:cubicBezTo>
                  <a:pt x="1401" y="327"/>
                  <a:pt x="1401" y="327"/>
                  <a:pt x="1400" y="327"/>
                </a:cubicBezTo>
                <a:cubicBezTo>
                  <a:pt x="1400" y="327"/>
                  <a:pt x="1400" y="327"/>
                  <a:pt x="1400" y="326"/>
                </a:cubicBezTo>
                <a:cubicBezTo>
                  <a:pt x="1400" y="326"/>
                  <a:pt x="1400" y="326"/>
                  <a:pt x="1402" y="325"/>
                </a:cubicBezTo>
                <a:cubicBezTo>
                  <a:pt x="1402" y="325"/>
                  <a:pt x="1402" y="325"/>
                  <a:pt x="1401" y="325"/>
                </a:cubicBezTo>
                <a:cubicBezTo>
                  <a:pt x="1401" y="325"/>
                  <a:pt x="1401" y="325"/>
                  <a:pt x="1400" y="325"/>
                </a:cubicBezTo>
                <a:cubicBezTo>
                  <a:pt x="1400" y="325"/>
                  <a:pt x="1400" y="325"/>
                  <a:pt x="1399" y="325"/>
                </a:cubicBezTo>
                <a:cubicBezTo>
                  <a:pt x="1399" y="325"/>
                  <a:pt x="1399" y="325"/>
                  <a:pt x="1399" y="327"/>
                </a:cubicBezTo>
                <a:cubicBezTo>
                  <a:pt x="1399" y="327"/>
                  <a:pt x="1399" y="327"/>
                  <a:pt x="1399" y="328"/>
                </a:cubicBezTo>
                <a:cubicBezTo>
                  <a:pt x="1399" y="328"/>
                  <a:pt x="1399" y="328"/>
                  <a:pt x="1397" y="330"/>
                </a:cubicBezTo>
                <a:cubicBezTo>
                  <a:pt x="1397" y="330"/>
                  <a:pt x="1397" y="330"/>
                  <a:pt x="1395" y="330"/>
                </a:cubicBezTo>
                <a:cubicBezTo>
                  <a:pt x="1395" y="330"/>
                  <a:pt x="1395" y="330"/>
                  <a:pt x="1394" y="331"/>
                </a:cubicBezTo>
                <a:cubicBezTo>
                  <a:pt x="1394" y="331"/>
                  <a:pt x="1394" y="331"/>
                  <a:pt x="1393" y="330"/>
                </a:cubicBezTo>
                <a:cubicBezTo>
                  <a:pt x="1393" y="330"/>
                  <a:pt x="1393" y="330"/>
                  <a:pt x="1393" y="329"/>
                </a:cubicBezTo>
                <a:cubicBezTo>
                  <a:pt x="1393" y="329"/>
                  <a:pt x="1393" y="329"/>
                  <a:pt x="1394" y="328"/>
                </a:cubicBezTo>
                <a:cubicBezTo>
                  <a:pt x="1394" y="328"/>
                  <a:pt x="1394" y="328"/>
                  <a:pt x="1392" y="329"/>
                </a:cubicBezTo>
                <a:cubicBezTo>
                  <a:pt x="1392" y="329"/>
                  <a:pt x="1392" y="329"/>
                  <a:pt x="1392" y="328"/>
                </a:cubicBezTo>
                <a:cubicBezTo>
                  <a:pt x="1392" y="328"/>
                  <a:pt x="1392" y="328"/>
                  <a:pt x="1393" y="327"/>
                </a:cubicBezTo>
                <a:cubicBezTo>
                  <a:pt x="1393" y="327"/>
                  <a:pt x="1393" y="327"/>
                  <a:pt x="1394" y="326"/>
                </a:cubicBezTo>
                <a:cubicBezTo>
                  <a:pt x="1394" y="326"/>
                  <a:pt x="1394" y="326"/>
                  <a:pt x="1394" y="325"/>
                </a:cubicBezTo>
                <a:cubicBezTo>
                  <a:pt x="1394" y="325"/>
                  <a:pt x="1394" y="325"/>
                  <a:pt x="1395" y="324"/>
                </a:cubicBezTo>
                <a:cubicBezTo>
                  <a:pt x="1395" y="324"/>
                  <a:pt x="1395" y="324"/>
                  <a:pt x="1395" y="323"/>
                </a:cubicBezTo>
                <a:cubicBezTo>
                  <a:pt x="1395" y="323"/>
                  <a:pt x="1395" y="323"/>
                  <a:pt x="1396" y="322"/>
                </a:cubicBezTo>
                <a:cubicBezTo>
                  <a:pt x="1396" y="322"/>
                  <a:pt x="1396" y="322"/>
                  <a:pt x="1397" y="322"/>
                </a:cubicBezTo>
                <a:cubicBezTo>
                  <a:pt x="1397" y="322"/>
                  <a:pt x="1397" y="322"/>
                  <a:pt x="1397" y="321"/>
                </a:cubicBezTo>
                <a:cubicBezTo>
                  <a:pt x="1397" y="321"/>
                  <a:pt x="1397" y="321"/>
                  <a:pt x="1397" y="320"/>
                </a:cubicBezTo>
                <a:cubicBezTo>
                  <a:pt x="1397" y="320"/>
                  <a:pt x="1397" y="320"/>
                  <a:pt x="1398" y="320"/>
                </a:cubicBezTo>
                <a:cubicBezTo>
                  <a:pt x="1398" y="320"/>
                  <a:pt x="1398" y="320"/>
                  <a:pt x="1398" y="319"/>
                </a:cubicBezTo>
                <a:cubicBezTo>
                  <a:pt x="1398" y="319"/>
                  <a:pt x="1398" y="319"/>
                  <a:pt x="1399" y="320"/>
                </a:cubicBezTo>
                <a:cubicBezTo>
                  <a:pt x="1399" y="320"/>
                  <a:pt x="1399" y="320"/>
                  <a:pt x="1399" y="321"/>
                </a:cubicBezTo>
                <a:cubicBezTo>
                  <a:pt x="1399" y="321"/>
                  <a:pt x="1399" y="321"/>
                  <a:pt x="1400" y="320"/>
                </a:cubicBezTo>
                <a:cubicBezTo>
                  <a:pt x="1400" y="320"/>
                  <a:pt x="1400" y="320"/>
                  <a:pt x="1401" y="319"/>
                </a:cubicBezTo>
                <a:cubicBezTo>
                  <a:pt x="1400" y="319"/>
                  <a:pt x="1400" y="319"/>
                  <a:pt x="1400" y="319"/>
                </a:cubicBezTo>
                <a:cubicBezTo>
                  <a:pt x="1400" y="319"/>
                  <a:pt x="1400" y="319"/>
                  <a:pt x="1400" y="318"/>
                </a:cubicBezTo>
                <a:cubicBezTo>
                  <a:pt x="1400" y="318"/>
                  <a:pt x="1400" y="318"/>
                  <a:pt x="1401" y="317"/>
                </a:cubicBezTo>
                <a:cubicBezTo>
                  <a:pt x="1401" y="317"/>
                  <a:pt x="1401" y="317"/>
                  <a:pt x="1403" y="317"/>
                </a:cubicBezTo>
                <a:cubicBezTo>
                  <a:pt x="1403" y="317"/>
                  <a:pt x="1403" y="317"/>
                  <a:pt x="1403" y="316"/>
                </a:cubicBezTo>
                <a:cubicBezTo>
                  <a:pt x="1403" y="316"/>
                  <a:pt x="1403" y="316"/>
                  <a:pt x="1402" y="316"/>
                </a:cubicBezTo>
                <a:cubicBezTo>
                  <a:pt x="1402" y="316"/>
                  <a:pt x="1402" y="316"/>
                  <a:pt x="1403" y="315"/>
                </a:cubicBezTo>
                <a:cubicBezTo>
                  <a:pt x="1403" y="315"/>
                  <a:pt x="1403" y="315"/>
                  <a:pt x="1404" y="315"/>
                </a:cubicBezTo>
                <a:cubicBezTo>
                  <a:pt x="1404" y="315"/>
                  <a:pt x="1404" y="315"/>
                  <a:pt x="1404" y="314"/>
                </a:cubicBezTo>
                <a:cubicBezTo>
                  <a:pt x="1404" y="314"/>
                  <a:pt x="1404" y="314"/>
                  <a:pt x="1405" y="314"/>
                </a:cubicBezTo>
                <a:cubicBezTo>
                  <a:pt x="1405" y="314"/>
                  <a:pt x="1405" y="314"/>
                  <a:pt x="1406" y="313"/>
                </a:cubicBezTo>
                <a:cubicBezTo>
                  <a:pt x="1406" y="313"/>
                  <a:pt x="1406" y="313"/>
                  <a:pt x="1407" y="313"/>
                </a:cubicBezTo>
                <a:cubicBezTo>
                  <a:pt x="1407" y="313"/>
                  <a:pt x="1407" y="313"/>
                  <a:pt x="1408" y="311"/>
                </a:cubicBezTo>
                <a:cubicBezTo>
                  <a:pt x="1408" y="311"/>
                  <a:pt x="1408" y="311"/>
                  <a:pt x="1407" y="311"/>
                </a:cubicBezTo>
                <a:cubicBezTo>
                  <a:pt x="1407" y="311"/>
                  <a:pt x="1407" y="311"/>
                  <a:pt x="1407" y="312"/>
                </a:cubicBezTo>
                <a:cubicBezTo>
                  <a:pt x="1407" y="312"/>
                  <a:pt x="1407" y="312"/>
                  <a:pt x="1406" y="312"/>
                </a:cubicBezTo>
                <a:cubicBezTo>
                  <a:pt x="1406" y="312"/>
                  <a:pt x="1406" y="312"/>
                  <a:pt x="1406" y="311"/>
                </a:cubicBezTo>
                <a:cubicBezTo>
                  <a:pt x="1406" y="311"/>
                  <a:pt x="1406" y="311"/>
                  <a:pt x="1406" y="310"/>
                </a:cubicBezTo>
                <a:cubicBezTo>
                  <a:pt x="1406" y="310"/>
                  <a:pt x="1406" y="310"/>
                  <a:pt x="1405" y="310"/>
                </a:cubicBezTo>
                <a:cubicBezTo>
                  <a:pt x="1405" y="310"/>
                  <a:pt x="1405" y="310"/>
                  <a:pt x="1405" y="309"/>
                </a:cubicBezTo>
                <a:cubicBezTo>
                  <a:pt x="1405" y="309"/>
                  <a:pt x="1405" y="309"/>
                  <a:pt x="1406" y="309"/>
                </a:cubicBezTo>
                <a:cubicBezTo>
                  <a:pt x="1406" y="309"/>
                  <a:pt x="1406" y="309"/>
                  <a:pt x="1407" y="310"/>
                </a:cubicBezTo>
                <a:cubicBezTo>
                  <a:pt x="1407" y="310"/>
                  <a:pt x="1407" y="310"/>
                  <a:pt x="1407" y="309"/>
                </a:cubicBezTo>
                <a:cubicBezTo>
                  <a:pt x="1407" y="309"/>
                  <a:pt x="1407" y="309"/>
                  <a:pt x="1407" y="308"/>
                </a:cubicBezTo>
                <a:cubicBezTo>
                  <a:pt x="1407" y="308"/>
                  <a:pt x="1407" y="308"/>
                  <a:pt x="1406" y="308"/>
                </a:cubicBezTo>
                <a:cubicBezTo>
                  <a:pt x="1406" y="308"/>
                  <a:pt x="1406" y="308"/>
                  <a:pt x="1406" y="307"/>
                </a:cubicBezTo>
                <a:cubicBezTo>
                  <a:pt x="1406" y="307"/>
                  <a:pt x="1406" y="307"/>
                  <a:pt x="1407" y="307"/>
                </a:cubicBezTo>
                <a:cubicBezTo>
                  <a:pt x="1407" y="307"/>
                  <a:pt x="1407" y="307"/>
                  <a:pt x="1407" y="306"/>
                </a:cubicBezTo>
                <a:cubicBezTo>
                  <a:pt x="1407" y="306"/>
                  <a:pt x="1407" y="306"/>
                  <a:pt x="1407" y="305"/>
                </a:cubicBezTo>
                <a:cubicBezTo>
                  <a:pt x="1407" y="305"/>
                  <a:pt x="1407" y="305"/>
                  <a:pt x="1408" y="304"/>
                </a:cubicBezTo>
                <a:cubicBezTo>
                  <a:pt x="1408" y="304"/>
                  <a:pt x="1408" y="304"/>
                  <a:pt x="1409" y="305"/>
                </a:cubicBezTo>
                <a:cubicBezTo>
                  <a:pt x="1409" y="305"/>
                  <a:pt x="1409" y="305"/>
                  <a:pt x="1409" y="304"/>
                </a:cubicBezTo>
                <a:cubicBezTo>
                  <a:pt x="1409" y="304"/>
                  <a:pt x="1409" y="304"/>
                  <a:pt x="1408" y="303"/>
                </a:cubicBezTo>
                <a:cubicBezTo>
                  <a:pt x="1408" y="303"/>
                  <a:pt x="1408" y="303"/>
                  <a:pt x="1407" y="303"/>
                </a:cubicBezTo>
                <a:cubicBezTo>
                  <a:pt x="1407" y="303"/>
                  <a:pt x="1407" y="303"/>
                  <a:pt x="1407" y="302"/>
                </a:cubicBezTo>
                <a:cubicBezTo>
                  <a:pt x="1407" y="302"/>
                  <a:pt x="1407" y="302"/>
                  <a:pt x="1408" y="301"/>
                </a:cubicBezTo>
                <a:cubicBezTo>
                  <a:pt x="1408" y="301"/>
                  <a:pt x="1408" y="301"/>
                  <a:pt x="1410" y="301"/>
                </a:cubicBezTo>
                <a:cubicBezTo>
                  <a:pt x="1410" y="301"/>
                  <a:pt x="1410" y="301"/>
                  <a:pt x="1410" y="302"/>
                </a:cubicBezTo>
                <a:cubicBezTo>
                  <a:pt x="1410" y="302"/>
                  <a:pt x="1410" y="302"/>
                  <a:pt x="1411" y="302"/>
                </a:cubicBezTo>
                <a:cubicBezTo>
                  <a:pt x="1411" y="302"/>
                  <a:pt x="1411" y="302"/>
                  <a:pt x="1411" y="301"/>
                </a:cubicBezTo>
                <a:cubicBezTo>
                  <a:pt x="1411" y="301"/>
                  <a:pt x="1411" y="301"/>
                  <a:pt x="1410" y="301"/>
                </a:cubicBezTo>
                <a:cubicBezTo>
                  <a:pt x="1410" y="301"/>
                  <a:pt x="1410" y="301"/>
                  <a:pt x="1410" y="300"/>
                </a:cubicBezTo>
                <a:cubicBezTo>
                  <a:pt x="1410" y="300"/>
                  <a:pt x="1410" y="300"/>
                  <a:pt x="1408" y="299"/>
                </a:cubicBezTo>
                <a:cubicBezTo>
                  <a:pt x="1408" y="299"/>
                  <a:pt x="1408" y="299"/>
                  <a:pt x="1408" y="298"/>
                </a:cubicBezTo>
                <a:cubicBezTo>
                  <a:pt x="1408" y="298"/>
                  <a:pt x="1408" y="298"/>
                  <a:pt x="1409" y="298"/>
                </a:cubicBezTo>
                <a:cubicBezTo>
                  <a:pt x="1409" y="298"/>
                  <a:pt x="1409" y="298"/>
                  <a:pt x="1410" y="297"/>
                </a:cubicBezTo>
                <a:cubicBezTo>
                  <a:pt x="1410" y="297"/>
                  <a:pt x="1410" y="297"/>
                  <a:pt x="1409" y="297"/>
                </a:cubicBezTo>
                <a:cubicBezTo>
                  <a:pt x="1409" y="297"/>
                  <a:pt x="1409" y="297"/>
                  <a:pt x="1410" y="296"/>
                </a:cubicBezTo>
                <a:cubicBezTo>
                  <a:pt x="1411" y="296"/>
                  <a:pt x="1411" y="296"/>
                  <a:pt x="1411" y="296"/>
                </a:cubicBezTo>
                <a:cubicBezTo>
                  <a:pt x="1411" y="296"/>
                  <a:pt x="1411" y="296"/>
                  <a:pt x="1411" y="295"/>
                </a:cubicBezTo>
                <a:cubicBezTo>
                  <a:pt x="1411" y="295"/>
                  <a:pt x="1411" y="295"/>
                  <a:pt x="1410" y="295"/>
                </a:cubicBezTo>
                <a:cubicBezTo>
                  <a:pt x="1410" y="295"/>
                  <a:pt x="1410" y="295"/>
                  <a:pt x="1410" y="294"/>
                </a:cubicBezTo>
                <a:cubicBezTo>
                  <a:pt x="1410" y="294"/>
                  <a:pt x="1410" y="294"/>
                  <a:pt x="1411" y="294"/>
                </a:cubicBezTo>
                <a:cubicBezTo>
                  <a:pt x="1411" y="294"/>
                  <a:pt x="1411" y="294"/>
                  <a:pt x="1412" y="294"/>
                </a:cubicBezTo>
                <a:cubicBezTo>
                  <a:pt x="1412" y="294"/>
                  <a:pt x="1412" y="294"/>
                  <a:pt x="1411" y="293"/>
                </a:cubicBezTo>
                <a:cubicBezTo>
                  <a:pt x="1411" y="293"/>
                  <a:pt x="1411" y="293"/>
                  <a:pt x="1410" y="293"/>
                </a:cubicBezTo>
                <a:cubicBezTo>
                  <a:pt x="1410" y="293"/>
                  <a:pt x="1410" y="293"/>
                  <a:pt x="1410" y="292"/>
                </a:cubicBezTo>
                <a:cubicBezTo>
                  <a:pt x="1410" y="292"/>
                  <a:pt x="1410" y="292"/>
                  <a:pt x="1411" y="292"/>
                </a:cubicBezTo>
                <a:cubicBezTo>
                  <a:pt x="1411" y="292"/>
                  <a:pt x="1411" y="292"/>
                  <a:pt x="1413" y="291"/>
                </a:cubicBezTo>
                <a:cubicBezTo>
                  <a:pt x="1413" y="291"/>
                  <a:pt x="1413" y="291"/>
                  <a:pt x="1413" y="292"/>
                </a:cubicBezTo>
                <a:cubicBezTo>
                  <a:pt x="1413" y="292"/>
                  <a:pt x="1413" y="292"/>
                  <a:pt x="1414" y="291"/>
                </a:cubicBezTo>
                <a:cubicBezTo>
                  <a:pt x="1414" y="291"/>
                  <a:pt x="1414" y="291"/>
                  <a:pt x="1414" y="290"/>
                </a:cubicBezTo>
                <a:cubicBezTo>
                  <a:pt x="1414" y="290"/>
                  <a:pt x="1414" y="290"/>
                  <a:pt x="1416" y="290"/>
                </a:cubicBezTo>
                <a:cubicBezTo>
                  <a:pt x="1416" y="290"/>
                  <a:pt x="1416" y="290"/>
                  <a:pt x="1418" y="290"/>
                </a:cubicBezTo>
                <a:cubicBezTo>
                  <a:pt x="1418" y="290"/>
                  <a:pt x="1418" y="290"/>
                  <a:pt x="1419" y="291"/>
                </a:cubicBezTo>
                <a:cubicBezTo>
                  <a:pt x="1419" y="291"/>
                  <a:pt x="1419" y="291"/>
                  <a:pt x="1419" y="290"/>
                </a:cubicBezTo>
                <a:cubicBezTo>
                  <a:pt x="1419" y="290"/>
                  <a:pt x="1419" y="290"/>
                  <a:pt x="1418" y="289"/>
                </a:cubicBezTo>
                <a:cubicBezTo>
                  <a:pt x="1418" y="289"/>
                  <a:pt x="1418" y="289"/>
                  <a:pt x="1417" y="289"/>
                </a:cubicBezTo>
                <a:cubicBezTo>
                  <a:pt x="1417" y="289"/>
                  <a:pt x="1417" y="289"/>
                  <a:pt x="1416" y="288"/>
                </a:cubicBezTo>
                <a:cubicBezTo>
                  <a:pt x="1416" y="288"/>
                  <a:pt x="1416" y="288"/>
                  <a:pt x="1415" y="289"/>
                </a:cubicBezTo>
                <a:cubicBezTo>
                  <a:pt x="1415" y="289"/>
                  <a:pt x="1415" y="289"/>
                  <a:pt x="1414" y="288"/>
                </a:cubicBezTo>
                <a:cubicBezTo>
                  <a:pt x="1414" y="288"/>
                  <a:pt x="1414" y="288"/>
                  <a:pt x="1415" y="287"/>
                </a:cubicBezTo>
                <a:cubicBezTo>
                  <a:pt x="1415" y="287"/>
                  <a:pt x="1415" y="287"/>
                  <a:pt x="1417" y="287"/>
                </a:cubicBezTo>
                <a:cubicBezTo>
                  <a:pt x="1417" y="287"/>
                  <a:pt x="1417" y="287"/>
                  <a:pt x="1416" y="286"/>
                </a:cubicBezTo>
                <a:cubicBezTo>
                  <a:pt x="1416" y="286"/>
                  <a:pt x="1416" y="286"/>
                  <a:pt x="1416" y="285"/>
                </a:cubicBezTo>
                <a:cubicBezTo>
                  <a:pt x="1416" y="285"/>
                  <a:pt x="1416" y="285"/>
                  <a:pt x="1417" y="285"/>
                </a:cubicBezTo>
                <a:cubicBezTo>
                  <a:pt x="1417" y="285"/>
                  <a:pt x="1417" y="285"/>
                  <a:pt x="1418" y="286"/>
                </a:cubicBezTo>
                <a:cubicBezTo>
                  <a:pt x="1418" y="286"/>
                  <a:pt x="1418" y="286"/>
                  <a:pt x="1419" y="286"/>
                </a:cubicBezTo>
                <a:cubicBezTo>
                  <a:pt x="1419" y="286"/>
                  <a:pt x="1419" y="286"/>
                  <a:pt x="1420" y="287"/>
                </a:cubicBezTo>
                <a:cubicBezTo>
                  <a:pt x="1420" y="287"/>
                  <a:pt x="1420" y="287"/>
                  <a:pt x="1420" y="286"/>
                </a:cubicBezTo>
                <a:cubicBezTo>
                  <a:pt x="1420" y="286"/>
                  <a:pt x="1420" y="286"/>
                  <a:pt x="1418" y="285"/>
                </a:cubicBezTo>
                <a:cubicBezTo>
                  <a:pt x="1418" y="285"/>
                  <a:pt x="1418" y="285"/>
                  <a:pt x="1418" y="284"/>
                </a:cubicBezTo>
                <a:cubicBezTo>
                  <a:pt x="1418" y="284"/>
                  <a:pt x="1418" y="284"/>
                  <a:pt x="1418" y="283"/>
                </a:cubicBezTo>
                <a:cubicBezTo>
                  <a:pt x="1418" y="283"/>
                  <a:pt x="1418" y="283"/>
                  <a:pt x="1420" y="283"/>
                </a:cubicBezTo>
                <a:cubicBezTo>
                  <a:pt x="1420" y="283"/>
                  <a:pt x="1420" y="283"/>
                  <a:pt x="1419" y="282"/>
                </a:cubicBezTo>
                <a:cubicBezTo>
                  <a:pt x="1419" y="282"/>
                  <a:pt x="1419" y="282"/>
                  <a:pt x="1418" y="282"/>
                </a:cubicBezTo>
                <a:cubicBezTo>
                  <a:pt x="1418" y="282"/>
                  <a:pt x="1418" y="282"/>
                  <a:pt x="1417" y="283"/>
                </a:cubicBezTo>
                <a:cubicBezTo>
                  <a:pt x="1417" y="283"/>
                  <a:pt x="1417" y="283"/>
                  <a:pt x="1416" y="282"/>
                </a:cubicBezTo>
                <a:cubicBezTo>
                  <a:pt x="1416" y="282"/>
                  <a:pt x="1416" y="282"/>
                  <a:pt x="1416" y="281"/>
                </a:cubicBezTo>
                <a:cubicBezTo>
                  <a:pt x="1416" y="281"/>
                  <a:pt x="1416" y="281"/>
                  <a:pt x="1417" y="281"/>
                </a:cubicBezTo>
                <a:cubicBezTo>
                  <a:pt x="1417" y="281"/>
                  <a:pt x="1417" y="281"/>
                  <a:pt x="1418" y="281"/>
                </a:cubicBezTo>
                <a:cubicBezTo>
                  <a:pt x="1418" y="281"/>
                  <a:pt x="1418" y="281"/>
                  <a:pt x="1420" y="281"/>
                </a:cubicBezTo>
                <a:cubicBezTo>
                  <a:pt x="1420" y="281"/>
                  <a:pt x="1420" y="281"/>
                  <a:pt x="1421" y="280"/>
                </a:cubicBezTo>
                <a:cubicBezTo>
                  <a:pt x="1421" y="280"/>
                  <a:pt x="1421" y="280"/>
                  <a:pt x="1420" y="279"/>
                </a:cubicBezTo>
                <a:cubicBezTo>
                  <a:pt x="1420" y="279"/>
                  <a:pt x="1420" y="279"/>
                  <a:pt x="1419" y="279"/>
                </a:cubicBezTo>
                <a:cubicBezTo>
                  <a:pt x="1419" y="279"/>
                  <a:pt x="1419" y="279"/>
                  <a:pt x="1420" y="278"/>
                </a:cubicBezTo>
                <a:cubicBezTo>
                  <a:pt x="1420" y="278"/>
                  <a:pt x="1420" y="278"/>
                  <a:pt x="1421" y="277"/>
                </a:cubicBezTo>
                <a:cubicBezTo>
                  <a:pt x="1421" y="277"/>
                  <a:pt x="1421" y="277"/>
                  <a:pt x="1422" y="279"/>
                </a:cubicBezTo>
                <a:cubicBezTo>
                  <a:pt x="1422" y="279"/>
                  <a:pt x="1422" y="279"/>
                  <a:pt x="1422" y="280"/>
                </a:cubicBezTo>
                <a:cubicBezTo>
                  <a:pt x="1422" y="280"/>
                  <a:pt x="1422" y="280"/>
                  <a:pt x="1423" y="280"/>
                </a:cubicBezTo>
                <a:cubicBezTo>
                  <a:pt x="1423" y="280"/>
                  <a:pt x="1423" y="280"/>
                  <a:pt x="1422" y="279"/>
                </a:cubicBezTo>
                <a:cubicBezTo>
                  <a:pt x="1422" y="279"/>
                  <a:pt x="1422" y="279"/>
                  <a:pt x="1423" y="278"/>
                </a:cubicBezTo>
                <a:cubicBezTo>
                  <a:pt x="1423" y="278"/>
                  <a:pt x="1423" y="278"/>
                  <a:pt x="1423" y="277"/>
                </a:cubicBezTo>
                <a:cubicBezTo>
                  <a:pt x="1423" y="277"/>
                  <a:pt x="1423" y="277"/>
                  <a:pt x="1422" y="277"/>
                </a:cubicBezTo>
                <a:cubicBezTo>
                  <a:pt x="1422" y="277"/>
                  <a:pt x="1422" y="277"/>
                  <a:pt x="1423" y="276"/>
                </a:cubicBezTo>
                <a:cubicBezTo>
                  <a:pt x="1423" y="276"/>
                  <a:pt x="1423" y="276"/>
                  <a:pt x="1424" y="277"/>
                </a:cubicBezTo>
                <a:cubicBezTo>
                  <a:pt x="1424" y="277"/>
                  <a:pt x="1424" y="277"/>
                  <a:pt x="1424" y="276"/>
                </a:cubicBezTo>
                <a:cubicBezTo>
                  <a:pt x="1424" y="276"/>
                  <a:pt x="1424" y="276"/>
                  <a:pt x="1425" y="276"/>
                </a:cubicBezTo>
                <a:cubicBezTo>
                  <a:pt x="1425" y="276"/>
                  <a:pt x="1425" y="276"/>
                  <a:pt x="1426" y="276"/>
                </a:cubicBezTo>
                <a:cubicBezTo>
                  <a:pt x="1426" y="276"/>
                  <a:pt x="1426" y="276"/>
                  <a:pt x="1427" y="277"/>
                </a:cubicBezTo>
                <a:cubicBezTo>
                  <a:pt x="1427" y="277"/>
                  <a:pt x="1427" y="277"/>
                  <a:pt x="1428" y="276"/>
                </a:cubicBezTo>
                <a:cubicBezTo>
                  <a:pt x="1428" y="276"/>
                  <a:pt x="1428" y="276"/>
                  <a:pt x="1428" y="275"/>
                </a:cubicBezTo>
                <a:cubicBezTo>
                  <a:pt x="1428" y="275"/>
                  <a:pt x="1428" y="275"/>
                  <a:pt x="1428" y="274"/>
                </a:cubicBezTo>
                <a:cubicBezTo>
                  <a:pt x="1428" y="274"/>
                  <a:pt x="1428" y="274"/>
                  <a:pt x="1426" y="274"/>
                </a:cubicBezTo>
                <a:cubicBezTo>
                  <a:pt x="1426" y="274"/>
                  <a:pt x="1426" y="274"/>
                  <a:pt x="1423" y="275"/>
                </a:cubicBezTo>
                <a:cubicBezTo>
                  <a:pt x="1423" y="275"/>
                  <a:pt x="1423" y="275"/>
                  <a:pt x="1422" y="275"/>
                </a:cubicBezTo>
                <a:cubicBezTo>
                  <a:pt x="1422" y="275"/>
                  <a:pt x="1422" y="275"/>
                  <a:pt x="1423" y="273"/>
                </a:cubicBezTo>
                <a:cubicBezTo>
                  <a:pt x="1423" y="273"/>
                  <a:pt x="1423" y="273"/>
                  <a:pt x="1424" y="273"/>
                </a:cubicBezTo>
                <a:cubicBezTo>
                  <a:pt x="1424" y="273"/>
                  <a:pt x="1424" y="273"/>
                  <a:pt x="1424" y="272"/>
                </a:cubicBezTo>
                <a:cubicBezTo>
                  <a:pt x="1424" y="272"/>
                  <a:pt x="1424" y="272"/>
                  <a:pt x="1425" y="271"/>
                </a:cubicBezTo>
                <a:cubicBezTo>
                  <a:pt x="1425" y="271"/>
                  <a:pt x="1425" y="271"/>
                  <a:pt x="1426" y="271"/>
                </a:cubicBezTo>
                <a:cubicBezTo>
                  <a:pt x="1426" y="271"/>
                  <a:pt x="1426" y="271"/>
                  <a:pt x="1426" y="272"/>
                </a:cubicBezTo>
                <a:cubicBezTo>
                  <a:pt x="1426" y="272"/>
                  <a:pt x="1426" y="272"/>
                  <a:pt x="1427" y="271"/>
                </a:cubicBezTo>
                <a:cubicBezTo>
                  <a:pt x="1427" y="271"/>
                  <a:pt x="1427" y="271"/>
                  <a:pt x="1428" y="271"/>
                </a:cubicBezTo>
                <a:cubicBezTo>
                  <a:pt x="1428" y="271"/>
                  <a:pt x="1428" y="271"/>
                  <a:pt x="1428" y="270"/>
                </a:cubicBezTo>
                <a:cubicBezTo>
                  <a:pt x="1428" y="270"/>
                  <a:pt x="1428" y="270"/>
                  <a:pt x="1427" y="269"/>
                </a:cubicBezTo>
                <a:cubicBezTo>
                  <a:pt x="1427" y="269"/>
                  <a:pt x="1427" y="269"/>
                  <a:pt x="1428" y="269"/>
                </a:cubicBezTo>
                <a:cubicBezTo>
                  <a:pt x="1428" y="269"/>
                  <a:pt x="1428" y="269"/>
                  <a:pt x="1429" y="269"/>
                </a:cubicBezTo>
                <a:cubicBezTo>
                  <a:pt x="1429" y="269"/>
                  <a:pt x="1429" y="269"/>
                  <a:pt x="1428" y="268"/>
                </a:cubicBezTo>
                <a:cubicBezTo>
                  <a:pt x="1428" y="268"/>
                  <a:pt x="1428" y="268"/>
                  <a:pt x="1427" y="268"/>
                </a:cubicBezTo>
                <a:cubicBezTo>
                  <a:pt x="1427" y="268"/>
                  <a:pt x="1427" y="268"/>
                  <a:pt x="1428" y="266"/>
                </a:cubicBezTo>
                <a:cubicBezTo>
                  <a:pt x="1428" y="266"/>
                  <a:pt x="1428" y="266"/>
                  <a:pt x="1429" y="266"/>
                </a:cubicBezTo>
                <a:cubicBezTo>
                  <a:pt x="1429" y="266"/>
                  <a:pt x="1429" y="266"/>
                  <a:pt x="1430" y="267"/>
                </a:cubicBezTo>
                <a:cubicBezTo>
                  <a:pt x="1430" y="267"/>
                  <a:pt x="1430" y="267"/>
                  <a:pt x="1430" y="265"/>
                </a:cubicBezTo>
                <a:cubicBezTo>
                  <a:pt x="1430" y="265"/>
                  <a:pt x="1430" y="265"/>
                  <a:pt x="1430" y="263"/>
                </a:cubicBezTo>
                <a:cubicBezTo>
                  <a:pt x="1430" y="263"/>
                  <a:pt x="1430" y="263"/>
                  <a:pt x="1431" y="263"/>
                </a:cubicBezTo>
                <a:cubicBezTo>
                  <a:pt x="1431" y="263"/>
                  <a:pt x="1431" y="263"/>
                  <a:pt x="1432" y="264"/>
                </a:cubicBezTo>
                <a:cubicBezTo>
                  <a:pt x="1432" y="264"/>
                  <a:pt x="1432" y="264"/>
                  <a:pt x="1432" y="265"/>
                </a:cubicBezTo>
                <a:cubicBezTo>
                  <a:pt x="1432" y="265"/>
                  <a:pt x="1432" y="265"/>
                  <a:pt x="1433" y="265"/>
                </a:cubicBezTo>
                <a:cubicBezTo>
                  <a:pt x="1433" y="265"/>
                  <a:pt x="1433" y="265"/>
                  <a:pt x="1434" y="265"/>
                </a:cubicBezTo>
                <a:cubicBezTo>
                  <a:pt x="1434" y="265"/>
                  <a:pt x="1434" y="265"/>
                  <a:pt x="1434" y="264"/>
                </a:cubicBezTo>
                <a:cubicBezTo>
                  <a:pt x="1434" y="264"/>
                  <a:pt x="1434" y="264"/>
                  <a:pt x="1433" y="264"/>
                </a:cubicBezTo>
                <a:cubicBezTo>
                  <a:pt x="1433" y="264"/>
                  <a:pt x="1433" y="264"/>
                  <a:pt x="1432" y="263"/>
                </a:cubicBezTo>
                <a:cubicBezTo>
                  <a:pt x="1432" y="263"/>
                  <a:pt x="1432" y="263"/>
                  <a:pt x="1432" y="262"/>
                </a:cubicBezTo>
                <a:cubicBezTo>
                  <a:pt x="1432" y="262"/>
                  <a:pt x="1432" y="262"/>
                  <a:pt x="1433" y="262"/>
                </a:cubicBezTo>
                <a:cubicBezTo>
                  <a:pt x="1433" y="262"/>
                  <a:pt x="1433" y="262"/>
                  <a:pt x="1434" y="262"/>
                </a:cubicBezTo>
                <a:cubicBezTo>
                  <a:pt x="1434" y="262"/>
                  <a:pt x="1434" y="262"/>
                  <a:pt x="1435" y="264"/>
                </a:cubicBezTo>
                <a:cubicBezTo>
                  <a:pt x="1435" y="264"/>
                  <a:pt x="1435" y="264"/>
                  <a:pt x="1436" y="265"/>
                </a:cubicBezTo>
                <a:cubicBezTo>
                  <a:pt x="1436" y="265"/>
                  <a:pt x="1436" y="265"/>
                  <a:pt x="1436" y="266"/>
                </a:cubicBezTo>
                <a:cubicBezTo>
                  <a:pt x="1436" y="266"/>
                  <a:pt x="1436" y="266"/>
                  <a:pt x="1437" y="265"/>
                </a:cubicBezTo>
                <a:cubicBezTo>
                  <a:pt x="1437" y="265"/>
                  <a:pt x="1437" y="265"/>
                  <a:pt x="1437" y="264"/>
                </a:cubicBezTo>
                <a:cubicBezTo>
                  <a:pt x="1437" y="264"/>
                  <a:pt x="1437" y="264"/>
                  <a:pt x="1435" y="263"/>
                </a:cubicBezTo>
                <a:cubicBezTo>
                  <a:pt x="1435" y="263"/>
                  <a:pt x="1435" y="263"/>
                  <a:pt x="1435" y="262"/>
                </a:cubicBezTo>
                <a:cubicBezTo>
                  <a:pt x="1435" y="262"/>
                  <a:pt x="1435" y="262"/>
                  <a:pt x="1434" y="261"/>
                </a:cubicBezTo>
                <a:cubicBezTo>
                  <a:pt x="1434" y="261"/>
                  <a:pt x="1434" y="261"/>
                  <a:pt x="1435" y="259"/>
                </a:cubicBezTo>
                <a:cubicBezTo>
                  <a:pt x="1435" y="259"/>
                  <a:pt x="1435" y="259"/>
                  <a:pt x="1437" y="258"/>
                </a:cubicBezTo>
                <a:cubicBezTo>
                  <a:pt x="1437" y="258"/>
                  <a:pt x="1437" y="258"/>
                  <a:pt x="1438" y="260"/>
                </a:cubicBezTo>
                <a:cubicBezTo>
                  <a:pt x="1438" y="260"/>
                  <a:pt x="1438" y="260"/>
                  <a:pt x="1437" y="261"/>
                </a:cubicBezTo>
                <a:cubicBezTo>
                  <a:pt x="1437" y="261"/>
                  <a:pt x="1437" y="261"/>
                  <a:pt x="1437" y="263"/>
                </a:cubicBezTo>
                <a:cubicBezTo>
                  <a:pt x="1437" y="263"/>
                  <a:pt x="1437" y="263"/>
                  <a:pt x="1438" y="261"/>
                </a:cubicBezTo>
                <a:cubicBezTo>
                  <a:pt x="1438" y="261"/>
                  <a:pt x="1438" y="261"/>
                  <a:pt x="1438" y="260"/>
                </a:cubicBezTo>
                <a:cubicBezTo>
                  <a:pt x="1438" y="259"/>
                  <a:pt x="1438" y="259"/>
                  <a:pt x="1438" y="259"/>
                </a:cubicBezTo>
                <a:cubicBezTo>
                  <a:pt x="1438" y="259"/>
                  <a:pt x="1438" y="259"/>
                  <a:pt x="1439" y="257"/>
                </a:cubicBezTo>
                <a:cubicBezTo>
                  <a:pt x="1439" y="257"/>
                  <a:pt x="1439" y="257"/>
                  <a:pt x="1440" y="256"/>
                </a:cubicBezTo>
                <a:cubicBezTo>
                  <a:pt x="1440" y="256"/>
                  <a:pt x="1440" y="256"/>
                  <a:pt x="1441" y="260"/>
                </a:cubicBezTo>
                <a:cubicBezTo>
                  <a:pt x="1441" y="260"/>
                  <a:pt x="1441" y="260"/>
                  <a:pt x="1440" y="262"/>
                </a:cubicBezTo>
                <a:cubicBezTo>
                  <a:pt x="1440" y="262"/>
                  <a:pt x="1440" y="262"/>
                  <a:pt x="1439" y="263"/>
                </a:cubicBezTo>
                <a:cubicBezTo>
                  <a:pt x="1439" y="263"/>
                  <a:pt x="1439" y="263"/>
                  <a:pt x="1439" y="264"/>
                </a:cubicBezTo>
                <a:cubicBezTo>
                  <a:pt x="1439" y="264"/>
                  <a:pt x="1439" y="264"/>
                  <a:pt x="1441" y="263"/>
                </a:cubicBezTo>
                <a:cubicBezTo>
                  <a:pt x="1441" y="263"/>
                  <a:pt x="1441" y="263"/>
                  <a:pt x="1441" y="262"/>
                </a:cubicBezTo>
                <a:cubicBezTo>
                  <a:pt x="1441" y="262"/>
                  <a:pt x="1441" y="262"/>
                  <a:pt x="1442" y="260"/>
                </a:cubicBezTo>
                <a:cubicBezTo>
                  <a:pt x="1442" y="260"/>
                  <a:pt x="1442" y="260"/>
                  <a:pt x="1443" y="261"/>
                </a:cubicBezTo>
                <a:cubicBezTo>
                  <a:pt x="1443" y="261"/>
                  <a:pt x="1443" y="261"/>
                  <a:pt x="1444" y="261"/>
                </a:cubicBezTo>
                <a:cubicBezTo>
                  <a:pt x="1444" y="261"/>
                  <a:pt x="1444" y="261"/>
                  <a:pt x="1443" y="260"/>
                </a:cubicBezTo>
                <a:cubicBezTo>
                  <a:pt x="1443" y="260"/>
                  <a:pt x="1443" y="260"/>
                  <a:pt x="1442" y="259"/>
                </a:cubicBezTo>
                <a:cubicBezTo>
                  <a:pt x="1442" y="259"/>
                  <a:pt x="1442" y="259"/>
                  <a:pt x="1442" y="258"/>
                </a:cubicBezTo>
                <a:cubicBezTo>
                  <a:pt x="1442" y="258"/>
                  <a:pt x="1442" y="258"/>
                  <a:pt x="1443" y="257"/>
                </a:cubicBezTo>
                <a:cubicBezTo>
                  <a:pt x="1443" y="257"/>
                  <a:pt x="1443" y="257"/>
                  <a:pt x="1444" y="256"/>
                </a:cubicBezTo>
                <a:cubicBezTo>
                  <a:pt x="1444" y="256"/>
                  <a:pt x="1444" y="256"/>
                  <a:pt x="1444" y="258"/>
                </a:cubicBezTo>
                <a:cubicBezTo>
                  <a:pt x="1444" y="258"/>
                  <a:pt x="1444" y="258"/>
                  <a:pt x="1445" y="257"/>
                </a:cubicBezTo>
                <a:cubicBezTo>
                  <a:pt x="1445" y="257"/>
                  <a:pt x="1445" y="257"/>
                  <a:pt x="1445" y="256"/>
                </a:cubicBezTo>
                <a:cubicBezTo>
                  <a:pt x="1445" y="256"/>
                  <a:pt x="1445" y="256"/>
                  <a:pt x="1446" y="256"/>
                </a:cubicBezTo>
                <a:cubicBezTo>
                  <a:pt x="1446" y="256"/>
                  <a:pt x="1446" y="256"/>
                  <a:pt x="1447" y="257"/>
                </a:cubicBezTo>
                <a:cubicBezTo>
                  <a:pt x="1447" y="257"/>
                  <a:pt x="1447" y="257"/>
                  <a:pt x="1448" y="258"/>
                </a:cubicBezTo>
                <a:cubicBezTo>
                  <a:pt x="1448" y="258"/>
                  <a:pt x="1448" y="258"/>
                  <a:pt x="1448" y="259"/>
                </a:cubicBezTo>
                <a:cubicBezTo>
                  <a:pt x="1448" y="259"/>
                  <a:pt x="1448" y="259"/>
                  <a:pt x="1449" y="258"/>
                </a:cubicBezTo>
                <a:cubicBezTo>
                  <a:pt x="1449" y="258"/>
                  <a:pt x="1449" y="258"/>
                  <a:pt x="1448" y="257"/>
                </a:cubicBezTo>
                <a:cubicBezTo>
                  <a:pt x="1448" y="257"/>
                  <a:pt x="1448" y="257"/>
                  <a:pt x="1448" y="256"/>
                </a:cubicBezTo>
                <a:cubicBezTo>
                  <a:pt x="1448" y="256"/>
                  <a:pt x="1448" y="256"/>
                  <a:pt x="1448" y="255"/>
                </a:cubicBezTo>
                <a:cubicBezTo>
                  <a:pt x="1448" y="255"/>
                  <a:pt x="1448" y="255"/>
                  <a:pt x="1447" y="254"/>
                </a:cubicBezTo>
                <a:cubicBezTo>
                  <a:pt x="1447" y="254"/>
                  <a:pt x="1447" y="254"/>
                  <a:pt x="1446" y="254"/>
                </a:cubicBezTo>
                <a:cubicBezTo>
                  <a:pt x="1446" y="254"/>
                  <a:pt x="1446" y="254"/>
                  <a:pt x="1445" y="254"/>
                </a:cubicBezTo>
                <a:cubicBezTo>
                  <a:pt x="1445" y="254"/>
                  <a:pt x="1445" y="254"/>
                  <a:pt x="1444" y="252"/>
                </a:cubicBezTo>
                <a:cubicBezTo>
                  <a:pt x="1444" y="252"/>
                  <a:pt x="1444" y="252"/>
                  <a:pt x="1445" y="251"/>
                </a:cubicBezTo>
                <a:cubicBezTo>
                  <a:pt x="1445" y="251"/>
                  <a:pt x="1445" y="251"/>
                  <a:pt x="1446" y="251"/>
                </a:cubicBezTo>
                <a:cubicBezTo>
                  <a:pt x="1446" y="251"/>
                  <a:pt x="1446" y="251"/>
                  <a:pt x="1447" y="251"/>
                </a:cubicBezTo>
                <a:cubicBezTo>
                  <a:pt x="1447" y="251"/>
                  <a:pt x="1447" y="251"/>
                  <a:pt x="1448" y="251"/>
                </a:cubicBezTo>
                <a:cubicBezTo>
                  <a:pt x="1448" y="251"/>
                  <a:pt x="1448" y="251"/>
                  <a:pt x="1450" y="252"/>
                </a:cubicBezTo>
                <a:cubicBezTo>
                  <a:pt x="1450" y="252"/>
                  <a:pt x="1450" y="252"/>
                  <a:pt x="1451" y="252"/>
                </a:cubicBezTo>
                <a:cubicBezTo>
                  <a:pt x="1451" y="252"/>
                  <a:pt x="1451" y="252"/>
                  <a:pt x="1452" y="252"/>
                </a:cubicBezTo>
                <a:cubicBezTo>
                  <a:pt x="1452" y="252"/>
                  <a:pt x="1452" y="252"/>
                  <a:pt x="1453" y="253"/>
                </a:cubicBezTo>
                <a:cubicBezTo>
                  <a:pt x="1453" y="253"/>
                  <a:pt x="1453" y="253"/>
                  <a:pt x="1452" y="253"/>
                </a:cubicBezTo>
                <a:cubicBezTo>
                  <a:pt x="1452" y="253"/>
                  <a:pt x="1452" y="253"/>
                  <a:pt x="1453" y="254"/>
                </a:cubicBezTo>
                <a:cubicBezTo>
                  <a:pt x="1453" y="254"/>
                  <a:pt x="1453" y="254"/>
                  <a:pt x="1453" y="255"/>
                </a:cubicBezTo>
                <a:cubicBezTo>
                  <a:pt x="1453" y="255"/>
                  <a:pt x="1453" y="255"/>
                  <a:pt x="1455" y="255"/>
                </a:cubicBezTo>
                <a:cubicBezTo>
                  <a:pt x="1455" y="255"/>
                  <a:pt x="1455" y="255"/>
                  <a:pt x="1456" y="255"/>
                </a:cubicBezTo>
                <a:cubicBezTo>
                  <a:pt x="1456" y="255"/>
                  <a:pt x="1456" y="255"/>
                  <a:pt x="1455" y="254"/>
                </a:cubicBezTo>
                <a:cubicBezTo>
                  <a:pt x="1455" y="254"/>
                  <a:pt x="1455" y="254"/>
                  <a:pt x="1454" y="254"/>
                </a:cubicBezTo>
                <a:cubicBezTo>
                  <a:pt x="1454" y="254"/>
                  <a:pt x="1454" y="254"/>
                  <a:pt x="1455" y="253"/>
                </a:cubicBezTo>
                <a:cubicBezTo>
                  <a:pt x="1455" y="253"/>
                  <a:pt x="1455" y="253"/>
                  <a:pt x="1454" y="252"/>
                </a:cubicBezTo>
                <a:cubicBezTo>
                  <a:pt x="1454" y="252"/>
                  <a:pt x="1454" y="252"/>
                  <a:pt x="1454" y="251"/>
                </a:cubicBezTo>
                <a:cubicBezTo>
                  <a:pt x="1454" y="251"/>
                  <a:pt x="1454" y="251"/>
                  <a:pt x="1455" y="251"/>
                </a:cubicBezTo>
                <a:cubicBezTo>
                  <a:pt x="1455" y="251"/>
                  <a:pt x="1455" y="251"/>
                  <a:pt x="1455" y="250"/>
                </a:cubicBezTo>
                <a:cubicBezTo>
                  <a:pt x="1455" y="250"/>
                  <a:pt x="1455" y="250"/>
                  <a:pt x="1456" y="249"/>
                </a:cubicBezTo>
                <a:cubicBezTo>
                  <a:pt x="1456" y="249"/>
                  <a:pt x="1456" y="249"/>
                  <a:pt x="1456" y="248"/>
                </a:cubicBezTo>
                <a:cubicBezTo>
                  <a:pt x="1456" y="248"/>
                  <a:pt x="1456" y="248"/>
                  <a:pt x="1457" y="248"/>
                </a:cubicBezTo>
                <a:cubicBezTo>
                  <a:pt x="1457" y="248"/>
                  <a:pt x="1457" y="248"/>
                  <a:pt x="1458" y="249"/>
                </a:cubicBezTo>
                <a:cubicBezTo>
                  <a:pt x="1458" y="249"/>
                  <a:pt x="1458" y="249"/>
                  <a:pt x="1458" y="248"/>
                </a:cubicBezTo>
                <a:cubicBezTo>
                  <a:pt x="1458" y="248"/>
                  <a:pt x="1458" y="248"/>
                  <a:pt x="1458" y="247"/>
                </a:cubicBezTo>
                <a:cubicBezTo>
                  <a:pt x="1458" y="247"/>
                  <a:pt x="1458" y="247"/>
                  <a:pt x="1459" y="247"/>
                </a:cubicBezTo>
                <a:cubicBezTo>
                  <a:pt x="1459" y="247"/>
                  <a:pt x="1459" y="247"/>
                  <a:pt x="1460" y="247"/>
                </a:cubicBezTo>
                <a:cubicBezTo>
                  <a:pt x="1460" y="247"/>
                  <a:pt x="1460" y="247"/>
                  <a:pt x="1460" y="246"/>
                </a:cubicBezTo>
                <a:cubicBezTo>
                  <a:pt x="1460" y="246"/>
                  <a:pt x="1460" y="246"/>
                  <a:pt x="1458" y="245"/>
                </a:cubicBezTo>
                <a:cubicBezTo>
                  <a:pt x="1458" y="245"/>
                  <a:pt x="1458" y="245"/>
                  <a:pt x="1458" y="244"/>
                </a:cubicBezTo>
                <a:cubicBezTo>
                  <a:pt x="1458" y="244"/>
                  <a:pt x="1458" y="244"/>
                  <a:pt x="1459" y="244"/>
                </a:cubicBezTo>
                <a:cubicBezTo>
                  <a:pt x="1459" y="244"/>
                  <a:pt x="1459" y="244"/>
                  <a:pt x="1460" y="245"/>
                </a:cubicBezTo>
                <a:cubicBezTo>
                  <a:pt x="1460" y="245"/>
                  <a:pt x="1460" y="245"/>
                  <a:pt x="1460" y="244"/>
                </a:cubicBezTo>
                <a:cubicBezTo>
                  <a:pt x="1460" y="244"/>
                  <a:pt x="1460" y="244"/>
                  <a:pt x="1460" y="243"/>
                </a:cubicBezTo>
                <a:cubicBezTo>
                  <a:pt x="1460" y="243"/>
                  <a:pt x="1460" y="243"/>
                  <a:pt x="1461" y="242"/>
                </a:cubicBezTo>
                <a:cubicBezTo>
                  <a:pt x="1461" y="242"/>
                  <a:pt x="1461" y="242"/>
                  <a:pt x="1462" y="242"/>
                </a:cubicBezTo>
                <a:cubicBezTo>
                  <a:pt x="1462" y="242"/>
                  <a:pt x="1462" y="242"/>
                  <a:pt x="1462" y="243"/>
                </a:cubicBezTo>
                <a:cubicBezTo>
                  <a:pt x="1462" y="243"/>
                  <a:pt x="1462" y="243"/>
                  <a:pt x="1463" y="244"/>
                </a:cubicBezTo>
                <a:cubicBezTo>
                  <a:pt x="1463" y="244"/>
                  <a:pt x="1463" y="244"/>
                  <a:pt x="1463" y="243"/>
                </a:cubicBezTo>
                <a:cubicBezTo>
                  <a:pt x="1463" y="243"/>
                  <a:pt x="1463" y="243"/>
                  <a:pt x="1463" y="242"/>
                </a:cubicBezTo>
                <a:cubicBezTo>
                  <a:pt x="1463" y="242"/>
                  <a:pt x="1463" y="242"/>
                  <a:pt x="1464" y="242"/>
                </a:cubicBezTo>
                <a:cubicBezTo>
                  <a:pt x="1464" y="242"/>
                  <a:pt x="1464" y="242"/>
                  <a:pt x="1465" y="243"/>
                </a:cubicBezTo>
                <a:cubicBezTo>
                  <a:pt x="1465" y="243"/>
                  <a:pt x="1465" y="243"/>
                  <a:pt x="1466" y="243"/>
                </a:cubicBezTo>
                <a:cubicBezTo>
                  <a:pt x="1466" y="243"/>
                  <a:pt x="1466" y="243"/>
                  <a:pt x="1466" y="244"/>
                </a:cubicBezTo>
                <a:cubicBezTo>
                  <a:pt x="1466" y="244"/>
                  <a:pt x="1466" y="244"/>
                  <a:pt x="1465" y="244"/>
                </a:cubicBezTo>
                <a:cubicBezTo>
                  <a:pt x="1465" y="244"/>
                  <a:pt x="1465" y="244"/>
                  <a:pt x="1465" y="245"/>
                </a:cubicBezTo>
                <a:cubicBezTo>
                  <a:pt x="1465" y="245"/>
                  <a:pt x="1465" y="245"/>
                  <a:pt x="1463" y="247"/>
                </a:cubicBezTo>
                <a:cubicBezTo>
                  <a:pt x="1463" y="247"/>
                  <a:pt x="1463" y="247"/>
                  <a:pt x="1464" y="249"/>
                </a:cubicBezTo>
                <a:cubicBezTo>
                  <a:pt x="1464" y="249"/>
                  <a:pt x="1464" y="249"/>
                  <a:pt x="1463" y="249"/>
                </a:cubicBezTo>
                <a:cubicBezTo>
                  <a:pt x="1463" y="249"/>
                  <a:pt x="1463" y="249"/>
                  <a:pt x="1464" y="250"/>
                </a:cubicBezTo>
                <a:cubicBezTo>
                  <a:pt x="1464" y="250"/>
                  <a:pt x="1464" y="250"/>
                  <a:pt x="1462" y="252"/>
                </a:cubicBezTo>
                <a:cubicBezTo>
                  <a:pt x="1462" y="252"/>
                  <a:pt x="1462" y="252"/>
                  <a:pt x="1463" y="253"/>
                </a:cubicBezTo>
                <a:cubicBezTo>
                  <a:pt x="1463" y="253"/>
                  <a:pt x="1463" y="253"/>
                  <a:pt x="1463" y="254"/>
                </a:cubicBezTo>
                <a:cubicBezTo>
                  <a:pt x="1463" y="254"/>
                  <a:pt x="1463" y="254"/>
                  <a:pt x="1464" y="254"/>
                </a:cubicBezTo>
                <a:cubicBezTo>
                  <a:pt x="1464" y="254"/>
                  <a:pt x="1464" y="254"/>
                  <a:pt x="1465" y="252"/>
                </a:cubicBezTo>
                <a:cubicBezTo>
                  <a:pt x="1465" y="252"/>
                  <a:pt x="1465" y="252"/>
                  <a:pt x="1465" y="251"/>
                </a:cubicBezTo>
                <a:cubicBezTo>
                  <a:pt x="1465" y="251"/>
                  <a:pt x="1465" y="251"/>
                  <a:pt x="1465" y="250"/>
                </a:cubicBezTo>
                <a:cubicBezTo>
                  <a:pt x="1465" y="250"/>
                  <a:pt x="1465" y="250"/>
                  <a:pt x="1466" y="248"/>
                </a:cubicBezTo>
                <a:cubicBezTo>
                  <a:pt x="1466" y="248"/>
                  <a:pt x="1466" y="248"/>
                  <a:pt x="1467" y="246"/>
                </a:cubicBezTo>
                <a:cubicBezTo>
                  <a:pt x="1467" y="246"/>
                  <a:pt x="1467" y="246"/>
                  <a:pt x="1467" y="245"/>
                </a:cubicBezTo>
                <a:cubicBezTo>
                  <a:pt x="1467" y="245"/>
                  <a:pt x="1467" y="245"/>
                  <a:pt x="1469" y="242"/>
                </a:cubicBezTo>
                <a:cubicBezTo>
                  <a:pt x="1469" y="242"/>
                  <a:pt x="1469" y="242"/>
                  <a:pt x="1470" y="243"/>
                </a:cubicBezTo>
                <a:cubicBezTo>
                  <a:pt x="1470" y="243"/>
                  <a:pt x="1470" y="243"/>
                  <a:pt x="1470" y="245"/>
                </a:cubicBezTo>
                <a:cubicBezTo>
                  <a:pt x="1470" y="245"/>
                  <a:pt x="1470" y="245"/>
                  <a:pt x="1469" y="245"/>
                </a:cubicBezTo>
                <a:cubicBezTo>
                  <a:pt x="1469" y="245"/>
                  <a:pt x="1469" y="245"/>
                  <a:pt x="1469" y="246"/>
                </a:cubicBezTo>
                <a:cubicBezTo>
                  <a:pt x="1469" y="246"/>
                  <a:pt x="1469" y="246"/>
                  <a:pt x="1470" y="246"/>
                </a:cubicBezTo>
                <a:cubicBezTo>
                  <a:pt x="1470" y="246"/>
                  <a:pt x="1470" y="246"/>
                  <a:pt x="1469" y="248"/>
                </a:cubicBezTo>
                <a:cubicBezTo>
                  <a:pt x="1469" y="248"/>
                  <a:pt x="1469" y="248"/>
                  <a:pt x="1469" y="250"/>
                </a:cubicBezTo>
                <a:cubicBezTo>
                  <a:pt x="1469" y="250"/>
                  <a:pt x="1469" y="250"/>
                  <a:pt x="1470" y="249"/>
                </a:cubicBezTo>
                <a:cubicBezTo>
                  <a:pt x="1470" y="249"/>
                  <a:pt x="1470" y="249"/>
                  <a:pt x="1471" y="248"/>
                </a:cubicBezTo>
                <a:cubicBezTo>
                  <a:pt x="1471" y="248"/>
                  <a:pt x="1471" y="248"/>
                  <a:pt x="1471" y="249"/>
                </a:cubicBezTo>
                <a:cubicBezTo>
                  <a:pt x="1471" y="249"/>
                  <a:pt x="1471" y="249"/>
                  <a:pt x="1472" y="248"/>
                </a:cubicBezTo>
                <a:cubicBezTo>
                  <a:pt x="1472" y="248"/>
                  <a:pt x="1472" y="248"/>
                  <a:pt x="1471" y="247"/>
                </a:cubicBezTo>
                <a:cubicBezTo>
                  <a:pt x="1471" y="247"/>
                  <a:pt x="1471" y="247"/>
                  <a:pt x="1472" y="247"/>
                </a:cubicBezTo>
                <a:cubicBezTo>
                  <a:pt x="1472" y="247"/>
                  <a:pt x="1472" y="247"/>
                  <a:pt x="1472" y="246"/>
                </a:cubicBezTo>
                <a:cubicBezTo>
                  <a:pt x="1472" y="246"/>
                  <a:pt x="1472" y="246"/>
                  <a:pt x="1472" y="245"/>
                </a:cubicBezTo>
                <a:cubicBezTo>
                  <a:pt x="1472" y="245"/>
                  <a:pt x="1472" y="245"/>
                  <a:pt x="1473" y="245"/>
                </a:cubicBezTo>
                <a:cubicBezTo>
                  <a:pt x="1473" y="245"/>
                  <a:pt x="1473" y="245"/>
                  <a:pt x="1473" y="244"/>
                </a:cubicBezTo>
                <a:cubicBezTo>
                  <a:pt x="1473" y="244"/>
                  <a:pt x="1473" y="244"/>
                  <a:pt x="1473" y="243"/>
                </a:cubicBezTo>
                <a:cubicBezTo>
                  <a:pt x="1473" y="243"/>
                  <a:pt x="1473" y="243"/>
                  <a:pt x="1472" y="243"/>
                </a:cubicBezTo>
                <a:cubicBezTo>
                  <a:pt x="1472" y="243"/>
                  <a:pt x="1472" y="243"/>
                  <a:pt x="1472" y="242"/>
                </a:cubicBezTo>
                <a:cubicBezTo>
                  <a:pt x="1472" y="242"/>
                  <a:pt x="1472" y="242"/>
                  <a:pt x="1472" y="241"/>
                </a:cubicBezTo>
                <a:cubicBezTo>
                  <a:pt x="1472" y="241"/>
                  <a:pt x="1472" y="241"/>
                  <a:pt x="1473" y="241"/>
                </a:cubicBezTo>
                <a:cubicBezTo>
                  <a:pt x="1473" y="241"/>
                  <a:pt x="1473" y="241"/>
                  <a:pt x="1474" y="242"/>
                </a:cubicBezTo>
                <a:cubicBezTo>
                  <a:pt x="1474" y="242"/>
                  <a:pt x="1474" y="242"/>
                  <a:pt x="1475" y="241"/>
                </a:cubicBezTo>
                <a:cubicBezTo>
                  <a:pt x="1475" y="241"/>
                  <a:pt x="1475" y="241"/>
                  <a:pt x="1474" y="240"/>
                </a:cubicBezTo>
                <a:cubicBezTo>
                  <a:pt x="1474" y="240"/>
                  <a:pt x="1474" y="240"/>
                  <a:pt x="1475" y="239"/>
                </a:cubicBezTo>
                <a:cubicBezTo>
                  <a:pt x="1475" y="239"/>
                  <a:pt x="1475" y="239"/>
                  <a:pt x="1476" y="240"/>
                </a:cubicBezTo>
                <a:cubicBezTo>
                  <a:pt x="1476" y="240"/>
                  <a:pt x="1476" y="240"/>
                  <a:pt x="1477" y="239"/>
                </a:cubicBezTo>
                <a:cubicBezTo>
                  <a:pt x="1477" y="239"/>
                  <a:pt x="1477" y="239"/>
                  <a:pt x="1477" y="240"/>
                </a:cubicBezTo>
                <a:cubicBezTo>
                  <a:pt x="1477" y="240"/>
                  <a:pt x="1477" y="240"/>
                  <a:pt x="1477" y="241"/>
                </a:cubicBezTo>
                <a:cubicBezTo>
                  <a:pt x="1477" y="241"/>
                  <a:pt x="1477" y="241"/>
                  <a:pt x="1478" y="241"/>
                </a:cubicBezTo>
                <a:cubicBezTo>
                  <a:pt x="1478" y="241"/>
                  <a:pt x="1478" y="241"/>
                  <a:pt x="1479" y="241"/>
                </a:cubicBezTo>
                <a:cubicBezTo>
                  <a:pt x="1479" y="241"/>
                  <a:pt x="1479" y="241"/>
                  <a:pt x="1478" y="243"/>
                </a:cubicBezTo>
                <a:cubicBezTo>
                  <a:pt x="1478" y="243"/>
                  <a:pt x="1478" y="243"/>
                  <a:pt x="1477" y="243"/>
                </a:cubicBezTo>
                <a:cubicBezTo>
                  <a:pt x="1477" y="243"/>
                  <a:pt x="1477" y="243"/>
                  <a:pt x="1476" y="243"/>
                </a:cubicBezTo>
                <a:cubicBezTo>
                  <a:pt x="1476" y="243"/>
                  <a:pt x="1476" y="243"/>
                  <a:pt x="1476" y="244"/>
                </a:cubicBezTo>
                <a:cubicBezTo>
                  <a:pt x="1476" y="244"/>
                  <a:pt x="1476" y="244"/>
                  <a:pt x="1477" y="244"/>
                </a:cubicBezTo>
                <a:cubicBezTo>
                  <a:pt x="1477" y="244"/>
                  <a:pt x="1477" y="244"/>
                  <a:pt x="1477" y="245"/>
                </a:cubicBezTo>
                <a:cubicBezTo>
                  <a:pt x="1477" y="245"/>
                  <a:pt x="1477" y="245"/>
                  <a:pt x="1476" y="245"/>
                </a:cubicBezTo>
                <a:cubicBezTo>
                  <a:pt x="1476" y="245"/>
                  <a:pt x="1476" y="245"/>
                  <a:pt x="1476" y="246"/>
                </a:cubicBezTo>
                <a:cubicBezTo>
                  <a:pt x="1476" y="246"/>
                  <a:pt x="1476" y="246"/>
                  <a:pt x="1477" y="246"/>
                </a:cubicBezTo>
                <a:cubicBezTo>
                  <a:pt x="1477" y="246"/>
                  <a:pt x="1477" y="246"/>
                  <a:pt x="1478" y="245"/>
                </a:cubicBezTo>
                <a:cubicBezTo>
                  <a:pt x="1478" y="245"/>
                  <a:pt x="1478" y="245"/>
                  <a:pt x="1478" y="246"/>
                </a:cubicBezTo>
                <a:cubicBezTo>
                  <a:pt x="1478" y="246"/>
                  <a:pt x="1478" y="246"/>
                  <a:pt x="1478" y="247"/>
                </a:cubicBezTo>
                <a:cubicBezTo>
                  <a:pt x="1478" y="247"/>
                  <a:pt x="1478" y="247"/>
                  <a:pt x="1477" y="247"/>
                </a:cubicBezTo>
                <a:cubicBezTo>
                  <a:pt x="1477" y="247"/>
                  <a:pt x="1477" y="247"/>
                  <a:pt x="1476" y="249"/>
                </a:cubicBezTo>
                <a:cubicBezTo>
                  <a:pt x="1476" y="249"/>
                  <a:pt x="1476" y="249"/>
                  <a:pt x="1477" y="248"/>
                </a:cubicBezTo>
                <a:cubicBezTo>
                  <a:pt x="1477" y="248"/>
                  <a:pt x="1477" y="248"/>
                  <a:pt x="1478" y="248"/>
                </a:cubicBezTo>
                <a:cubicBezTo>
                  <a:pt x="1478" y="248"/>
                  <a:pt x="1478" y="248"/>
                  <a:pt x="1479" y="248"/>
                </a:cubicBezTo>
                <a:cubicBezTo>
                  <a:pt x="1479" y="248"/>
                  <a:pt x="1479" y="248"/>
                  <a:pt x="1480" y="249"/>
                </a:cubicBezTo>
                <a:cubicBezTo>
                  <a:pt x="1480" y="249"/>
                  <a:pt x="1480" y="249"/>
                  <a:pt x="1480" y="248"/>
                </a:cubicBezTo>
                <a:cubicBezTo>
                  <a:pt x="1480" y="248"/>
                  <a:pt x="1480" y="248"/>
                  <a:pt x="1481" y="248"/>
                </a:cubicBezTo>
                <a:cubicBezTo>
                  <a:pt x="1481" y="248"/>
                  <a:pt x="1481" y="248"/>
                  <a:pt x="1480" y="246"/>
                </a:cubicBezTo>
                <a:cubicBezTo>
                  <a:pt x="1480" y="246"/>
                  <a:pt x="1480" y="246"/>
                  <a:pt x="1480" y="245"/>
                </a:cubicBezTo>
                <a:cubicBezTo>
                  <a:pt x="1480" y="245"/>
                  <a:pt x="1480" y="245"/>
                  <a:pt x="1481" y="245"/>
                </a:cubicBezTo>
                <a:cubicBezTo>
                  <a:pt x="1481" y="245"/>
                  <a:pt x="1481" y="245"/>
                  <a:pt x="1481" y="243"/>
                </a:cubicBezTo>
                <a:cubicBezTo>
                  <a:pt x="1481" y="243"/>
                  <a:pt x="1481" y="243"/>
                  <a:pt x="1482" y="243"/>
                </a:cubicBezTo>
                <a:cubicBezTo>
                  <a:pt x="1482" y="243"/>
                  <a:pt x="1482" y="243"/>
                  <a:pt x="1483" y="243"/>
                </a:cubicBezTo>
                <a:cubicBezTo>
                  <a:pt x="1483" y="243"/>
                  <a:pt x="1483" y="243"/>
                  <a:pt x="1484" y="243"/>
                </a:cubicBezTo>
                <a:cubicBezTo>
                  <a:pt x="1484" y="243"/>
                  <a:pt x="1484" y="243"/>
                  <a:pt x="1484" y="244"/>
                </a:cubicBezTo>
                <a:cubicBezTo>
                  <a:pt x="1484" y="244"/>
                  <a:pt x="1484" y="244"/>
                  <a:pt x="1483" y="245"/>
                </a:cubicBezTo>
                <a:cubicBezTo>
                  <a:pt x="1483" y="245"/>
                  <a:pt x="1483" y="245"/>
                  <a:pt x="1484" y="245"/>
                </a:cubicBezTo>
                <a:cubicBezTo>
                  <a:pt x="1484" y="245"/>
                  <a:pt x="1484" y="245"/>
                  <a:pt x="1485" y="245"/>
                </a:cubicBezTo>
                <a:cubicBezTo>
                  <a:pt x="1485" y="245"/>
                  <a:pt x="1485" y="245"/>
                  <a:pt x="1485" y="246"/>
                </a:cubicBezTo>
                <a:cubicBezTo>
                  <a:pt x="1485" y="246"/>
                  <a:pt x="1485" y="246"/>
                  <a:pt x="1486" y="244"/>
                </a:cubicBezTo>
                <a:cubicBezTo>
                  <a:pt x="1486" y="244"/>
                  <a:pt x="1486" y="244"/>
                  <a:pt x="1487" y="244"/>
                </a:cubicBezTo>
                <a:cubicBezTo>
                  <a:pt x="1487" y="244"/>
                  <a:pt x="1487" y="244"/>
                  <a:pt x="1488" y="245"/>
                </a:cubicBezTo>
                <a:cubicBezTo>
                  <a:pt x="1488" y="245"/>
                  <a:pt x="1488" y="245"/>
                  <a:pt x="1488" y="246"/>
                </a:cubicBezTo>
                <a:cubicBezTo>
                  <a:pt x="1488" y="246"/>
                  <a:pt x="1488" y="246"/>
                  <a:pt x="1487" y="246"/>
                </a:cubicBezTo>
                <a:cubicBezTo>
                  <a:pt x="1487" y="246"/>
                  <a:pt x="1487" y="246"/>
                  <a:pt x="1488" y="247"/>
                </a:cubicBezTo>
                <a:cubicBezTo>
                  <a:pt x="1488" y="247"/>
                  <a:pt x="1488" y="247"/>
                  <a:pt x="1489" y="246"/>
                </a:cubicBezTo>
                <a:cubicBezTo>
                  <a:pt x="1489" y="246"/>
                  <a:pt x="1489" y="246"/>
                  <a:pt x="1490" y="246"/>
                </a:cubicBezTo>
                <a:cubicBezTo>
                  <a:pt x="1490" y="246"/>
                  <a:pt x="1490" y="246"/>
                  <a:pt x="1492" y="247"/>
                </a:cubicBezTo>
                <a:cubicBezTo>
                  <a:pt x="1492" y="247"/>
                  <a:pt x="1492" y="247"/>
                  <a:pt x="1493" y="247"/>
                </a:cubicBezTo>
                <a:cubicBezTo>
                  <a:pt x="1493" y="247"/>
                  <a:pt x="1493" y="247"/>
                  <a:pt x="1494" y="248"/>
                </a:cubicBezTo>
                <a:cubicBezTo>
                  <a:pt x="1494" y="248"/>
                  <a:pt x="1494" y="248"/>
                  <a:pt x="1493" y="249"/>
                </a:cubicBezTo>
                <a:cubicBezTo>
                  <a:pt x="1493" y="249"/>
                  <a:pt x="1493" y="249"/>
                  <a:pt x="1491" y="250"/>
                </a:cubicBezTo>
                <a:cubicBezTo>
                  <a:pt x="1491" y="250"/>
                  <a:pt x="1491" y="250"/>
                  <a:pt x="1490" y="252"/>
                </a:cubicBezTo>
                <a:cubicBezTo>
                  <a:pt x="1490" y="252"/>
                  <a:pt x="1490" y="252"/>
                  <a:pt x="1488" y="253"/>
                </a:cubicBezTo>
                <a:cubicBezTo>
                  <a:pt x="1488" y="253"/>
                  <a:pt x="1488" y="253"/>
                  <a:pt x="1486" y="252"/>
                </a:cubicBezTo>
                <a:cubicBezTo>
                  <a:pt x="1486" y="252"/>
                  <a:pt x="1486" y="252"/>
                  <a:pt x="1485" y="252"/>
                </a:cubicBezTo>
                <a:cubicBezTo>
                  <a:pt x="1485" y="252"/>
                  <a:pt x="1485" y="252"/>
                  <a:pt x="1483" y="252"/>
                </a:cubicBezTo>
                <a:cubicBezTo>
                  <a:pt x="1483" y="252"/>
                  <a:pt x="1483" y="252"/>
                  <a:pt x="1481" y="252"/>
                </a:cubicBezTo>
                <a:cubicBezTo>
                  <a:pt x="1481" y="252"/>
                  <a:pt x="1481" y="252"/>
                  <a:pt x="1482" y="253"/>
                </a:cubicBezTo>
                <a:cubicBezTo>
                  <a:pt x="1482" y="253"/>
                  <a:pt x="1482" y="253"/>
                  <a:pt x="1483" y="253"/>
                </a:cubicBezTo>
                <a:cubicBezTo>
                  <a:pt x="1483" y="253"/>
                  <a:pt x="1483" y="253"/>
                  <a:pt x="1484" y="253"/>
                </a:cubicBezTo>
                <a:cubicBezTo>
                  <a:pt x="1484" y="253"/>
                  <a:pt x="1484" y="253"/>
                  <a:pt x="1485" y="253"/>
                </a:cubicBezTo>
                <a:cubicBezTo>
                  <a:pt x="1485" y="253"/>
                  <a:pt x="1485" y="253"/>
                  <a:pt x="1486" y="254"/>
                </a:cubicBezTo>
                <a:cubicBezTo>
                  <a:pt x="1486" y="254"/>
                  <a:pt x="1486" y="254"/>
                  <a:pt x="1486" y="255"/>
                </a:cubicBezTo>
                <a:cubicBezTo>
                  <a:pt x="1486" y="255"/>
                  <a:pt x="1486" y="255"/>
                  <a:pt x="1487" y="255"/>
                </a:cubicBezTo>
                <a:cubicBezTo>
                  <a:pt x="1487" y="255"/>
                  <a:pt x="1487" y="255"/>
                  <a:pt x="1487" y="256"/>
                </a:cubicBezTo>
                <a:cubicBezTo>
                  <a:pt x="1487" y="256"/>
                  <a:pt x="1487" y="256"/>
                  <a:pt x="1487" y="257"/>
                </a:cubicBezTo>
                <a:cubicBezTo>
                  <a:pt x="1487" y="257"/>
                  <a:pt x="1487" y="257"/>
                  <a:pt x="1488" y="256"/>
                </a:cubicBezTo>
                <a:cubicBezTo>
                  <a:pt x="1488" y="256"/>
                  <a:pt x="1488" y="256"/>
                  <a:pt x="1489" y="257"/>
                </a:cubicBezTo>
                <a:cubicBezTo>
                  <a:pt x="1489" y="257"/>
                  <a:pt x="1489" y="257"/>
                  <a:pt x="1490" y="256"/>
                </a:cubicBezTo>
                <a:cubicBezTo>
                  <a:pt x="1490" y="256"/>
                  <a:pt x="1490" y="256"/>
                  <a:pt x="1491" y="256"/>
                </a:cubicBezTo>
                <a:cubicBezTo>
                  <a:pt x="1491" y="256"/>
                  <a:pt x="1491" y="256"/>
                  <a:pt x="1491" y="255"/>
                </a:cubicBezTo>
                <a:cubicBezTo>
                  <a:pt x="1491" y="255"/>
                  <a:pt x="1491" y="255"/>
                  <a:pt x="1492" y="255"/>
                </a:cubicBezTo>
                <a:cubicBezTo>
                  <a:pt x="1492" y="255"/>
                  <a:pt x="1492" y="255"/>
                  <a:pt x="1493" y="256"/>
                </a:cubicBezTo>
                <a:cubicBezTo>
                  <a:pt x="1494" y="256"/>
                  <a:pt x="1494" y="256"/>
                  <a:pt x="1494" y="256"/>
                </a:cubicBezTo>
                <a:cubicBezTo>
                  <a:pt x="1495" y="257"/>
                  <a:pt x="1495" y="257"/>
                  <a:pt x="1495" y="257"/>
                </a:cubicBezTo>
                <a:cubicBezTo>
                  <a:pt x="1495" y="258"/>
                  <a:pt x="1495" y="258"/>
                  <a:pt x="1495" y="258"/>
                </a:cubicBezTo>
                <a:cubicBezTo>
                  <a:pt x="1496" y="259"/>
                  <a:pt x="1496" y="259"/>
                  <a:pt x="1496" y="259"/>
                </a:cubicBezTo>
                <a:cubicBezTo>
                  <a:pt x="1496" y="257"/>
                  <a:pt x="1496" y="257"/>
                  <a:pt x="1496" y="257"/>
                </a:cubicBezTo>
                <a:cubicBezTo>
                  <a:pt x="1496" y="256"/>
                  <a:pt x="1496" y="256"/>
                  <a:pt x="1496" y="256"/>
                </a:cubicBezTo>
                <a:cubicBezTo>
                  <a:pt x="1497" y="256"/>
                  <a:pt x="1497" y="256"/>
                  <a:pt x="1497" y="256"/>
                </a:cubicBezTo>
                <a:cubicBezTo>
                  <a:pt x="1498" y="256"/>
                  <a:pt x="1498" y="256"/>
                  <a:pt x="1498" y="256"/>
                </a:cubicBezTo>
                <a:cubicBezTo>
                  <a:pt x="1496" y="255"/>
                  <a:pt x="1496" y="255"/>
                  <a:pt x="1496" y="255"/>
                </a:cubicBezTo>
                <a:cubicBezTo>
                  <a:pt x="1497" y="255"/>
                  <a:pt x="1497" y="255"/>
                  <a:pt x="1497" y="255"/>
                </a:cubicBezTo>
                <a:cubicBezTo>
                  <a:pt x="1498" y="255"/>
                  <a:pt x="1498" y="255"/>
                  <a:pt x="1498" y="255"/>
                </a:cubicBezTo>
                <a:cubicBezTo>
                  <a:pt x="1498" y="254"/>
                  <a:pt x="1498" y="254"/>
                  <a:pt x="1498" y="254"/>
                </a:cubicBezTo>
                <a:cubicBezTo>
                  <a:pt x="1497" y="254"/>
                  <a:pt x="1497" y="254"/>
                  <a:pt x="1497" y="254"/>
                </a:cubicBezTo>
                <a:cubicBezTo>
                  <a:pt x="1497" y="253"/>
                  <a:pt x="1497" y="253"/>
                  <a:pt x="1497" y="253"/>
                </a:cubicBezTo>
                <a:cubicBezTo>
                  <a:pt x="1499" y="253"/>
                  <a:pt x="1499" y="253"/>
                  <a:pt x="1499" y="253"/>
                </a:cubicBezTo>
                <a:cubicBezTo>
                  <a:pt x="1500" y="254"/>
                  <a:pt x="1500" y="254"/>
                  <a:pt x="1500" y="254"/>
                </a:cubicBezTo>
                <a:cubicBezTo>
                  <a:pt x="1501" y="255"/>
                  <a:pt x="1501" y="255"/>
                  <a:pt x="1501" y="255"/>
                </a:cubicBezTo>
                <a:cubicBezTo>
                  <a:pt x="1502" y="255"/>
                  <a:pt x="1502" y="255"/>
                  <a:pt x="1502" y="255"/>
                </a:cubicBezTo>
                <a:cubicBezTo>
                  <a:pt x="1503" y="255"/>
                  <a:pt x="1503" y="255"/>
                  <a:pt x="1503" y="255"/>
                </a:cubicBezTo>
                <a:cubicBezTo>
                  <a:pt x="1503" y="256"/>
                  <a:pt x="1503" y="256"/>
                  <a:pt x="1503" y="256"/>
                </a:cubicBezTo>
                <a:cubicBezTo>
                  <a:pt x="1504" y="256"/>
                  <a:pt x="1504" y="256"/>
                  <a:pt x="1504" y="256"/>
                </a:cubicBezTo>
                <a:cubicBezTo>
                  <a:pt x="1504" y="257"/>
                  <a:pt x="1504" y="257"/>
                  <a:pt x="1504" y="257"/>
                </a:cubicBezTo>
                <a:cubicBezTo>
                  <a:pt x="1503" y="258"/>
                  <a:pt x="1503" y="258"/>
                  <a:pt x="1503" y="258"/>
                </a:cubicBezTo>
                <a:cubicBezTo>
                  <a:pt x="1502" y="257"/>
                  <a:pt x="1502" y="257"/>
                  <a:pt x="1502" y="257"/>
                </a:cubicBezTo>
                <a:cubicBezTo>
                  <a:pt x="1500" y="258"/>
                  <a:pt x="1500" y="258"/>
                  <a:pt x="1500" y="258"/>
                </a:cubicBezTo>
                <a:cubicBezTo>
                  <a:pt x="1499" y="257"/>
                  <a:pt x="1499" y="257"/>
                  <a:pt x="1499" y="257"/>
                </a:cubicBezTo>
                <a:cubicBezTo>
                  <a:pt x="1499" y="258"/>
                  <a:pt x="1499" y="258"/>
                  <a:pt x="1499" y="258"/>
                </a:cubicBezTo>
                <a:cubicBezTo>
                  <a:pt x="1499" y="259"/>
                  <a:pt x="1499" y="259"/>
                  <a:pt x="1499" y="259"/>
                </a:cubicBezTo>
                <a:cubicBezTo>
                  <a:pt x="1500" y="258"/>
                  <a:pt x="1500" y="258"/>
                  <a:pt x="1500" y="258"/>
                </a:cubicBezTo>
                <a:cubicBezTo>
                  <a:pt x="1500" y="259"/>
                  <a:pt x="1500" y="259"/>
                  <a:pt x="1500" y="259"/>
                </a:cubicBezTo>
                <a:cubicBezTo>
                  <a:pt x="1501" y="260"/>
                  <a:pt x="1501" y="260"/>
                  <a:pt x="1501" y="260"/>
                </a:cubicBezTo>
                <a:cubicBezTo>
                  <a:pt x="1502" y="259"/>
                  <a:pt x="1502" y="259"/>
                  <a:pt x="1502" y="259"/>
                </a:cubicBezTo>
                <a:cubicBezTo>
                  <a:pt x="1503" y="259"/>
                  <a:pt x="1503" y="259"/>
                  <a:pt x="1503" y="259"/>
                </a:cubicBezTo>
                <a:cubicBezTo>
                  <a:pt x="1503" y="260"/>
                  <a:pt x="1503" y="260"/>
                  <a:pt x="1503" y="260"/>
                </a:cubicBezTo>
                <a:cubicBezTo>
                  <a:pt x="1504" y="259"/>
                  <a:pt x="1504" y="259"/>
                  <a:pt x="1504" y="259"/>
                </a:cubicBezTo>
                <a:cubicBezTo>
                  <a:pt x="1504" y="260"/>
                  <a:pt x="1504" y="260"/>
                  <a:pt x="1504" y="260"/>
                </a:cubicBezTo>
                <a:cubicBezTo>
                  <a:pt x="1504" y="261"/>
                  <a:pt x="1504" y="261"/>
                  <a:pt x="1504" y="261"/>
                </a:cubicBezTo>
                <a:cubicBezTo>
                  <a:pt x="1505" y="260"/>
                  <a:pt x="1505" y="260"/>
                  <a:pt x="1505" y="260"/>
                </a:cubicBezTo>
                <a:cubicBezTo>
                  <a:pt x="1505" y="259"/>
                  <a:pt x="1505" y="259"/>
                  <a:pt x="1505" y="259"/>
                </a:cubicBezTo>
                <a:cubicBezTo>
                  <a:pt x="1506" y="259"/>
                  <a:pt x="1506" y="259"/>
                  <a:pt x="1506" y="259"/>
                </a:cubicBezTo>
                <a:cubicBezTo>
                  <a:pt x="1506" y="260"/>
                  <a:pt x="1506" y="260"/>
                  <a:pt x="1506" y="260"/>
                </a:cubicBezTo>
                <a:cubicBezTo>
                  <a:pt x="1505" y="261"/>
                  <a:pt x="1505" y="261"/>
                  <a:pt x="1505" y="261"/>
                </a:cubicBezTo>
                <a:cubicBezTo>
                  <a:pt x="1506" y="261"/>
                  <a:pt x="1506" y="261"/>
                  <a:pt x="1506" y="261"/>
                </a:cubicBezTo>
                <a:cubicBezTo>
                  <a:pt x="1507" y="261"/>
                  <a:pt x="1507" y="261"/>
                  <a:pt x="1507" y="261"/>
                </a:cubicBezTo>
                <a:cubicBezTo>
                  <a:pt x="1506" y="262"/>
                  <a:pt x="1506" y="262"/>
                  <a:pt x="1506" y="262"/>
                </a:cubicBezTo>
                <a:cubicBezTo>
                  <a:pt x="1505" y="263"/>
                  <a:pt x="1505" y="263"/>
                  <a:pt x="1505" y="263"/>
                </a:cubicBezTo>
                <a:cubicBezTo>
                  <a:pt x="1507" y="263"/>
                  <a:pt x="1507" y="263"/>
                  <a:pt x="1507" y="263"/>
                </a:cubicBezTo>
                <a:cubicBezTo>
                  <a:pt x="1507" y="261"/>
                  <a:pt x="1507" y="261"/>
                  <a:pt x="1507" y="261"/>
                </a:cubicBezTo>
                <a:cubicBezTo>
                  <a:pt x="1507" y="260"/>
                  <a:pt x="1507" y="260"/>
                  <a:pt x="1507" y="260"/>
                </a:cubicBezTo>
                <a:cubicBezTo>
                  <a:pt x="1508" y="260"/>
                  <a:pt x="1508" y="260"/>
                  <a:pt x="1508" y="260"/>
                </a:cubicBezTo>
                <a:cubicBezTo>
                  <a:pt x="1509" y="260"/>
                  <a:pt x="1509" y="260"/>
                  <a:pt x="1509" y="260"/>
                </a:cubicBezTo>
                <a:cubicBezTo>
                  <a:pt x="1510" y="260"/>
                  <a:pt x="1510" y="260"/>
                  <a:pt x="1510" y="260"/>
                </a:cubicBezTo>
                <a:cubicBezTo>
                  <a:pt x="1509" y="259"/>
                  <a:pt x="1509" y="259"/>
                  <a:pt x="1509" y="259"/>
                </a:cubicBezTo>
                <a:cubicBezTo>
                  <a:pt x="1511" y="259"/>
                  <a:pt x="1511" y="259"/>
                  <a:pt x="1511" y="259"/>
                </a:cubicBezTo>
                <a:cubicBezTo>
                  <a:pt x="1511" y="260"/>
                  <a:pt x="1511" y="260"/>
                  <a:pt x="1511" y="260"/>
                </a:cubicBezTo>
                <a:cubicBezTo>
                  <a:pt x="1513" y="260"/>
                  <a:pt x="1513" y="260"/>
                  <a:pt x="1513" y="260"/>
                </a:cubicBezTo>
                <a:cubicBezTo>
                  <a:pt x="1514" y="261"/>
                  <a:pt x="1514" y="261"/>
                  <a:pt x="1514" y="261"/>
                </a:cubicBezTo>
                <a:cubicBezTo>
                  <a:pt x="1515" y="260"/>
                  <a:pt x="1515" y="260"/>
                  <a:pt x="1515" y="260"/>
                </a:cubicBezTo>
                <a:cubicBezTo>
                  <a:pt x="1517" y="260"/>
                  <a:pt x="1517" y="260"/>
                  <a:pt x="1517" y="260"/>
                </a:cubicBezTo>
                <a:cubicBezTo>
                  <a:pt x="1518" y="261"/>
                  <a:pt x="1518" y="261"/>
                  <a:pt x="1518" y="261"/>
                </a:cubicBezTo>
                <a:cubicBezTo>
                  <a:pt x="1518" y="260"/>
                  <a:pt x="1518" y="260"/>
                  <a:pt x="1518" y="260"/>
                </a:cubicBezTo>
                <a:cubicBezTo>
                  <a:pt x="1520" y="261"/>
                  <a:pt x="1520" y="261"/>
                  <a:pt x="1520" y="261"/>
                </a:cubicBezTo>
                <a:cubicBezTo>
                  <a:pt x="1526" y="264"/>
                  <a:pt x="1526" y="264"/>
                  <a:pt x="1526" y="264"/>
                </a:cubicBezTo>
                <a:cubicBezTo>
                  <a:pt x="1530" y="267"/>
                  <a:pt x="1530" y="267"/>
                  <a:pt x="1530" y="267"/>
                </a:cubicBezTo>
                <a:cubicBezTo>
                  <a:pt x="1531" y="268"/>
                  <a:pt x="1531" y="268"/>
                  <a:pt x="1531" y="268"/>
                </a:cubicBezTo>
                <a:cubicBezTo>
                  <a:pt x="1533" y="269"/>
                  <a:pt x="1533" y="269"/>
                  <a:pt x="1533" y="269"/>
                </a:cubicBezTo>
                <a:cubicBezTo>
                  <a:pt x="1534" y="271"/>
                  <a:pt x="1534" y="271"/>
                  <a:pt x="1534" y="271"/>
                </a:cubicBezTo>
                <a:cubicBezTo>
                  <a:pt x="1535" y="271"/>
                  <a:pt x="1535" y="271"/>
                  <a:pt x="1535" y="271"/>
                </a:cubicBezTo>
                <a:cubicBezTo>
                  <a:pt x="1535" y="270"/>
                  <a:pt x="1535" y="270"/>
                  <a:pt x="1535" y="270"/>
                </a:cubicBezTo>
                <a:cubicBezTo>
                  <a:pt x="1537" y="271"/>
                  <a:pt x="1537" y="271"/>
                  <a:pt x="1537" y="271"/>
                </a:cubicBezTo>
                <a:cubicBezTo>
                  <a:pt x="1538" y="271"/>
                  <a:pt x="1538" y="271"/>
                  <a:pt x="1538" y="271"/>
                </a:cubicBezTo>
                <a:cubicBezTo>
                  <a:pt x="1540" y="273"/>
                  <a:pt x="1540" y="273"/>
                  <a:pt x="1540" y="273"/>
                </a:cubicBezTo>
                <a:cubicBezTo>
                  <a:pt x="1541" y="273"/>
                  <a:pt x="1541" y="273"/>
                  <a:pt x="1541" y="273"/>
                </a:cubicBezTo>
                <a:cubicBezTo>
                  <a:pt x="1544" y="275"/>
                  <a:pt x="1544" y="275"/>
                  <a:pt x="1544" y="275"/>
                </a:cubicBezTo>
                <a:cubicBezTo>
                  <a:pt x="1544" y="276"/>
                  <a:pt x="1544" y="276"/>
                  <a:pt x="1544" y="276"/>
                </a:cubicBezTo>
                <a:cubicBezTo>
                  <a:pt x="1545" y="276"/>
                  <a:pt x="1545" y="276"/>
                  <a:pt x="1545" y="276"/>
                </a:cubicBezTo>
                <a:cubicBezTo>
                  <a:pt x="1546" y="276"/>
                  <a:pt x="1546" y="276"/>
                  <a:pt x="1546" y="276"/>
                </a:cubicBezTo>
                <a:cubicBezTo>
                  <a:pt x="1548" y="277"/>
                  <a:pt x="1548" y="277"/>
                  <a:pt x="1548" y="277"/>
                </a:cubicBezTo>
                <a:cubicBezTo>
                  <a:pt x="1548" y="279"/>
                  <a:pt x="1548" y="279"/>
                  <a:pt x="1548" y="279"/>
                </a:cubicBezTo>
                <a:cubicBezTo>
                  <a:pt x="1549" y="279"/>
                  <a:pt x="1549" y="279"/>
                  <a:pt x="1549" y="279"/>
                </a:cubicBezTo>
                <a:cubicBezTo>
                  <a:pt x="1550" y="281"/>
                  <a:pt x="1550" y="281"/>
                  <a:pt x="1550" y="281"/>
                </a:cubicBezTo>
                <a:cubicBezTo>
                  <a:pt x="1551" y="281"/>
                  <a:pt x="1551" y="281"/>
                  <a:pt x="1551" y="281"/>
                </a:cubicBezTo>
                <a:cubicBezTo>
                  <a:pt x="1551" y="283"/>
                  <a:pt x="1551" y="283"/>
                  <a:pt x="1551" y="283"/>
                </a:cubicBezTo>
                <a:cubicBezTo>
                  <a:pt x="1551" y="284"/>
                  <a:pt x="1551" y="284"/>
                  <a:pt x="1551" y="284"/>
                </a:cubicBezTo>
                <a:cubicBezTo>
                  <a:pt x="1551" y="286"/>
                  <a:pt x="1551" y="286"/>
                  <a:pt x="1551" y="286"/>
                </a:cubicBezTo>
                <a:cubicBezTo>
                  <a:pt x="1550" y="287"/>
                  <a:pt x="1550" y="287"/>
                  <a:pt x="1550" y="287"/>
                </a:cubicBezTo>
                <a:cubicBezTo>
                  <a:pt x="1550" y="288"/>
                  <a:pt x="1550" y="288"/>
                  <a:pt x="1550" y="288"/>
                </a:cubicBezTo>
                <a:cubicBezTo>
                  <a:pt x="1549" y="290"/>
                  <a:pt x="1549" y="290"/>
                  <a:pt x="1549" y="290"/>
                </a:cubicBezTo>
                <a:cubicBezTo>
                  <a:pt x="1546" y="294"/>
                  <a:pt x="1546" y="294"/>
                  <a:pt x="1546" y="294"/>
                </a:cubicBezTo>
                <a:cubicBezTo>
                  <a:pt x="1545" y="295"/>
                  <a:pt x="1545" y="295"/>
                  <a:pt x="1545" y="295"/>
                </a:cubicBezTo>
                <a:cubicBezTo>
                  <a:pt x="1542" y="295"/>
                  <a:pt x="1542" y="295"/>
                  <a:pt x="1542" y="295"/>
                </a:cubicBezTo>
                <a:cubicBezTo>
                  <a:pt x="1542" y="296"/>
                  <a:pt x="1542" y="296"/>
                  <a:pt x="1542" y="296"/>
                </a:cubicBezTo>
                <a:cubicBezTo>
                  <a:pt x="1540" y="296"/>
                  <a:pt x="1540" y="296"/>
                  <a:pt x="1540" y="296"/>
                </a:cubicBezTo>
                <a:cubicBezTo>
                  <a:pt x="1539" y="296"/>
                  <a:pt x="1539" y="296"/>
                  <a:pt x="1539" y="296"/>
                </a:cubicBezTo>
                <a:cubicBezTo>
                  <a:pt x="1537" y="297"/>
                  <a:pt x="1537" y="297"/>
                  <a:pt x="1537" y="297"/>
                </a:cubicBezTo>
                <a:cubicBezTo>
                  <a:pt x="1533" y="296"/>
                  <a:pt x="1533" y="296"/>
                  <a:pt x="1533" y="296"/>
                </a:cubicBezTo>
                <a:cubicBezTo>
                  <a:pt x="1531" y="296"/>
                  <a:pt x="1531" y="296"/>
                  <a:pt x="1531" y="296"/>
                </a:cubicBezTo>
                <a:cubicBezTo>
                  <a:pt x="1529" y="295"/>
                  <a:pt x="1529" y="295"/>
                  <a:pt x="1529" y="295"/>
                </a:cubicBezTo>
                <a:cubicBezTo>
                  <a:pt x="1528" y="295"/>
                  <a:pt x="1528" y="295"/>
                  <a:pt x="1528" y="295"/>
                </a:cubicBezTo>
                <a:cubicBezTo>
                  <a:pt x="1527" y="295"/>
                  <a:pt x="1527" y="295"/>
                  <a:pt x="1527" y="295"/>
                </a:cubicBezTo>
                <a:cubicBezTo>
                  <a:pt x="1526" y="295"/>
                  <a:pt x="1526" y="295"/>
                  <a:pt x="1526" y="295"/>
                </a:cubicBezTo>
                <a:cubicBezTo>
                  <a:pt x="1525" y="294"/>
                  <a:pt x="1525" y="294"/>
                  <a:pt x="1525" y="294"/>
                </a:cubicBezTo>
                <a:cubicBezTo>
                  <a:pt x="1524" y="294"/>
                  <a:pt x="1524" y="294"/>
                  <a:pt x="1524" y="294"/>
                </a:cubicBezTo>
                <a:cubicBezTo>
                  <a:pt x="1523" y="295"/>
                  <a:pt x="1523" y="295"/>
                  <a:pt x="1523" y="295"/>
                </a:cubicBezTo>
                <a:cubicBezTo>
                  <a:pt x="1522" y="293"/>
                  <a:pt x="1522" y="293"/>
                  <a:pt x="1522" y="293"/>
                </a:cubicBezTo>
                <a:cubicBezTo>
                  <a:pt x="1522" y="292"/>
                  <a:pt x="1522" y="292"/>
                  <a:pt x="1522" y="292"/>
                </a:cubicBezTo>
                <a:cubicBezTo>
                  <a:pt x="1521" y="293"/>
                  <a:pt x="1521" y="293"/>
                  <a:pt x="1521" y="293"/>
                </a:cubicBezTo>
                <a:cubicBezTo>
                  <a:pt x="1520" y="293"/>
                  <a:pt x="1520" y="293"/>
                  <a:pt x="1520" y="293"/>
                </a:cubicBezTo>
                <a:cubicBezTo>
                  <a:pt x="1520" y="292"/>
                  <a:pt x="1520" y="292"/>
                  <a:pt x="1520" y="292"/>
                </a:cubicBezTo>
                <a:cubicBezTo>
                  <a:pt x="1518" y="292"/>
                  <a:pt x="1518" y="292"/>
                  <a:pt x="1518" y="292"/>
                </a:cubicBezTo>
                <a:cubicBezTo>
                  <a:pt x="1518" y="293"/>
                  <a:pt x="1518" y="293"/>
                  <a:pt x="1518" y="293"/>
                </a:cubicBezTo>
                <a:cubicBezTo>
                  <a:pt x="1516" y="293"/>
                  <a:pt x="1516" y="293"/>
                  <a:pt x="1516" y="293"/>
                </a:cubicBezTo>
                <a:cubicBezTo>
                  <a:pt x="1516" y="292"/>
                  <a:pt x="1516" y="292"/>
                  <a:pt x="1516" y="292"/>
                </a:cubicBezTo>
                <a:cubicBezTo>
                  <a:pt x="1517" y="291"/>
                  <a:pt x="1517" y="291"/>
                  <a:pt x="1517" y="291"/>
                </a:cubicBezTo>
                <a:cubicBezTo>
                  <a:pt x="1516" y="290"/>
                  <a:pt x="1516" y="290"/>
                  <a:pt x="1516" y="290"/>
                </a:cubicBezTo>
                <a:cubicBezTo>
                  <a:pt x="1516" y="291"/>
                  <a:pt x="1516" y="291"/>
                  <a:pt x="1516" y="291"/>
                </a:cubicBezTo>
                <a:cubicBezTo>
                  <a:pt x="1513" y="291"/>
                  <a:pt x="1513" y="291"/>
                  <a:pt x="1513" y="291"/>
                </a:cubicBezTo>
                <a:cubicBezTo>
                  <a:pt x="1512" y="290"/>
                  <a:pt x="1512" y="290"/>
                  <a:pt x="1512" y="290"/>
                </a:cubicBezTo>
                <a:cubicBezTo>
                  <a:pt x="1511" y="290"/>
                  <a:pt x="1511" y="290"/>
                  <a:pt x="1511" y="290"/>
                </a:cubicBezTo>
                <a:cubicBezTo>
                  <a:pt x="1508" y="288"/>
                  <a:pt x="1508" y="288"/>
                  <a:pt x="1508" y="288"/>
                </a:cubicBezTo>
                <a:cubicBezTo>
                  <a:pt x="1508" y="287"/>
                  <a:pt x="1508" y="287"/>
                  <a:pt x="1508" y="287"/>
                </a:cubicBezTo>
                <a:cubicBezTo>
                  <a:pt x="1507" y="287"/>
                  <a:pt x="1507" y="287"/>
                  <a:pt x="1507" y="287"/>
                </a:cubicBezTo>
                <a:cubicBezTo>
                  <a:pt x="1506" y="286"/>
                  <a:pt x="1506" y="286"/>
                  <a:pt x="1506" y="286"/>
                </a:cubicBezTo>
                <a:cubicBezTo>
                  <a:pt x="1505" y="286"/>
                  <a:pt x="1505" y="286"/>
                  <a:pt x="1505" y="286"/>
                </a:cubicBezTo>
                <a:cubicBezTo>
                  <a:pt x="1505" y="287"/>
                  <a:pt x="1505" y="287"/>
                  <a:pt x="1505" y="287"/>
                </a:cubicBezTo>
                <a:cubicBezTo>
                  <a:pt x="1506" y="288"/>
                  <a:pt x="1506" y="288"/>
                  <a:pt x="1506" y="288"/>
                </a:cubicBezTo>
                <a:cubicBezTo>
                  <a:pt x="1506" y="289"/>
                  <a:pt x="1506" y="289"/>
                  <a:pt x="1506" y="289"/>
                </a:cubicBezTo>
                <a:cubicBezTo>
                  <a:pt x="1508" y="290"/>
                  <a:pt x="1508" y="290"/>
                  <a:pt x="1508" y="290"/>
                </a:cubicBezTo>
                <a:cubicBezTo>
                  <a:pt x="1508" y="291"/>
                  <a:pt x="1508" y="291"/>
                  <a:pt x="1508" y="291"/>
                </a:cubicBezTo>
                <a:cubicBezTo>
                  <a:pt x="1510" y="292"/>
                  <a:pt x="1510" y="292"/>
                  <a:pt x="1510" y="292"/>
                </a:cubicBezTo>
                <a:cubicBezTo>
                  <a:pt x="1509" y="293"/>
                  <a:pt x="1509" y="293"/>
                  <a:pt x="1509" y="293"/>
                </a:cubicBezTo>
                <a:cubicBezTo>
                  <a:pt x="1509" y="294"/>
                  <a:pt x="1509" y="294"/>
                  <a:pt x="1509" y="294"/>
                </a:cubicBezTo>
                <a:cubicBezTo>
                  <a:pt x="1511" y="293"/>
                  <a:pt x="1511" y="293"/>
                  <a:pt x="1511" y="293"/>
                </a:cubicBezTo>
                <a:cubicBezTo>
                  <a:pt x="1512" y="293"/>
                  <a:pt x="1512" y="293"/>
                  <a:pt x="1512" y="293"/>
                </a:cubicBezTo>
                <a:cubicBezTo>
                  <a:pt x="1513" y="293"/>
                  <a:pt x="1513" y="293"/>
                  <a:pt x="1513" y="293"/>
                </a:cubicBezTo>
                <a:cubicBezTo>
                  <a:pt x="1512" y="294"/>
                  <a:pt x="1512" y="294"/>
                  <a:pt x="1512" y="294"/>
                </a:cubicBezTo>
                <a:cubicBezTo>
                  <a:pt x="1513" y="294"/>
                  <a:pt x="1513" y="294"/>
                  <a:pt x="1513" y="294"/>
                </a:cubicBezTo>
                <a:cubicBezTo>
                  <a:pt x="1513" y="295"/>
                  <a:pt x="1513" y="295"/>
                  <a:pt x="1513" y="295"/>
                </a:cubicBezTo>
                <a:cubicBezTo>
                  <a:pt x="1512" y="295"/>
                  <a:pt x="1512" y="295"/>
                  <a:pt x="1512" y="295"/>
                </a:cubicBezTo>
                <a:cubicBezTo>
                  <a:pt x="1511" y="296"/>
                  <a:pt x="1511" y="296"/>
                  <a:pt x="1511" y="296"/>
                </a:cubicBezTo>
                <a:cubicBezTo>
                  <a:pt x="1513" y="296"/>
                  <a:pt x="1513" y="296"/>
                  <a:pt x="1513" y="296"/>
                </a:cubicBezTo>
                <a:cubicBezTo>
                  <a:pt x="1514" y="296"/>
                  <a:pt x="1514" y="296"/>
                  <a:pt x="1514" y="296"/>
                </a:cubicBezTo>
                <a:cubicBezTo>
                  <a:pt x="1515" y="297"/>
                  <a:pt x="1515" y="297"/>
                  <a:pt x="1515" y="297"/>
                </a:cubicBezTo>
                <a:cubicBezTo>
                  <a:pt x="1515" y="296"/>
                  <a:pt x="1515" y="296"/>
                  <a:pt x="1515" y="296"/>
                </a:cubicBezTo>
                <a:cubicBezTo>
                  <a:pt x="1518" y="297"/>
                  <a:pt x="1518" y="297"/>
                  <a:pt x="1518" y="297"/>
                </a:cubicBezTo>
                <a:cubicBezTo>
                  <a:pt x="1520" y="299"/>
                  <a:pt x="1520" y="299"/>
                  <a:pt x="1520" y="299"/>
                </a:cubicBezTo>
                <a:cubicBezTo>
                  <a:pt x="1520" y="300"/>
                  <a:pt x="1520" y="300"/>
                  <a:pt x="1520" y="300"/>
                </a:cubicBezTo>
                <a:cubicBezTo>
                  <a:pt x="1520" y="301"/>
                  <a:pt x="1520" y="301"/>
                  <a:pt x="1520" y="301"/>
                </a:cubicBezTo>
                <a:cubicBezTo>
                  <a:pt x="1520" y="302"/>
                  <a:pt x="1520" y="302"/>
                  <a:pt x="1520" y="302"/>
                </a:cubicBezTo>
                <a:cubicBezTo>
                  <a:pt x="1520" y="304"/>
                  <a:pt x="1520" y="304"/>
                  <a:pt x="1520" y="304"/>
                </a:cubicBezTo>
                <a:cubicBezTo>
                  <a:pt x="1519" y="305"/>
                  <a:pt x="1519" y="305"/>
                  <a:pt x="1519" y="305"/>
                </a:cubicBezTo>
                <a:cubicBezTo>
                  <a:pt x="1519" y="306"/>
                  <a:pt x="1519" y="306"/>
                  <a:pt x="1519" y="306"/>
                </a:cubicBezTo>
                <a:cubicBezTo>
                  <a:pt x="1520" y="306"/>
                  <a:pt x="1520" y="306"/>
                  <a:pt x="1520" y="306"/>
                </a:cubicBezTo>
                <a:cubicBezTo>
                  <a:pt x="1520" y="307"/>
                  <a:pt x="1520" y="307"/>
                  <a:pt x="1520" y="307"/>
                </a:cubicBezTo>
                <a:cubicBezTo>
                  <a:pt x="1522" y="309"/>
                  <a:pt x="1522" y="309"/>
                  <a:pt x="1522" y="309"/>
                </a:cubicBezTo>
                <a:cubicBezTo>
                  <a:pt x="1522" y="310"/>
                  <a:pt x="1522" y="310"/>
                  <a:pt x="1522" y="310"/>
                </a:cubicBezTo>
                <a:cubicBezTo>
                  <a:pt x="1523" y="311"/>
                  <a:pt x="1523" y="311"/>
                  <a:pt x="1523" y="311"/>
                </a:cubicBezTo>
                <a:cubicBezTo>
                  <a:pt x="1523" y="312"/>
                  <a:pt x="1523" y="312"/>
                  <a:pt x="1523" y="312"/>
                </a:cubicBezTo>
                <a:cubicBezTo>
                  <a:pt x="1523" y="314"/>
                  <a:pt x="1523" y="314"/>
                  <a:pt x="1523" y="314"/>
                </a:cubicBezTo>
                <a:cubicBezTo>
                  <a:pt x="1523" y="315"/>
                  <a:pt x="1523" y="315"/>
                  <a:pt x="1523" y="315"/>
                </a:cubicBezTo>
                <a:cubicBezTo>
                  <a:pt x="1524" y="316"/>
                  <a:pt x="1524" y="316"/>
                  <a:pt x="1524" y="316"/>
                </a:cubicBezTo>
                <a:cubicBezTo>
                  <a:pt x="1526" y="317"/>
                  <a:pt x="1526" y="317"/>
                  <a:pt x="1526" y="317"/>
                </a:cubicBezTo>
                <a:cubicBezTo>
                  <a:pt x="1527" y="316"/>
                  <a:pt x="1527" y="316"/>
                  <a:pt x="1527" y="316"/>
                </a:cubicBezTo>
                <a:cubicBezTo>
                  <a:pt x="1528" y="316"/>
                  <a:pt x="1528" y="316"/>
                  <a:pt x="1528" y="316"/>
                </a:cubicBezTo>
                <a:cubicBezTo>
                  <a:pt x="1529" y="318"/>
                  <a:pt x="1529" y="318"/>
                  <a:pt x="1529" y="318"/>
                </a:cubicBezTo>
                <a:cubicBezTo>
                  <a:pt x="1530" y="318"/>
                  <a:pt x="1530" y="318"/>
                  <a:pt x="1530" y="318"/>
                </a:cubicBezTo>
                <a:cubicBezTo>
                  <a:pt x="1530" y="320"/>
                  <a:pt x="1530" y="320"/>
                  <a:pt x="1530" y="320"/>
                </a:cubicBezTo>
                <a:cubicBezTo>
                  <a:pt x="1531" y="320"/>
                  <a:pt x="1531" y="320"/>
                  <a:pt x="1531" y="320"/>
                </a:cubicBezTo>
                <a:cubicBezTo>
                  <a:pt x="1533" y="320"/>
                  <a:pt x="1533" y="320"/>
                  <a:pt x="1533" y="320"/>
                </a:cubicBezTo>
                <a:cubicBezTo>
                  <a:pt x="1533" y="321"/>
                  <a:pt x="1533" y="321"/>
                  <a:pt x="1533" y="321"/>
                </a:cubicBezTo>
                <a:cubicBezTo>
                  <a:pt x="1535" y="321"/>
                  <a:pt x="1535" y="321"/>
                  <a:pt x="1535" y="321"/>
                </a:cubicBezTo>
                <a:cubicBezTo>
                  <a:pt x="1536" y="322"/>
                  <a:pt x="1536" y="322"/>
                  <a:pt x="1536" y="322"/>
                </a:cubicBezTo>
                <a:cubicBezTo>
                  <a:pt x="1537" y="322"/>
                  <a:pt x="1537" y="322"/>
                  <a:pt x="1537" y="322"/>
                </a:cubicBezTo>
                <a:cubicBezTo>
                  <a:pt x="1538" y="321"/>
                  <a:pt x="1538" y="321"/>
                  <a:pt x="1538" y="321"/>
                </a:cubicBezTo>
                <a:cubicBezTo>
                  <a:pt x="1539" y="320"/>
                  <a:pt x="1539" y="320"/>
                  <a:pt x="1539" y="320"/>
                </a:cubicBezTo>
                <a:cubicBezTo>
                  <a:pt x="1540" y="320"/>
                  <a:pt x="1540" y="320"/>
                  <a:pt x="1540" y="320"/>
                </a:cubicBezTo>
                <a:cubicBezTo>
                  <a:pt x="1540" y="318"/>
                  <a:pt x="1540" y="318"/>
                  <a:pt x="1540" y="318"/>
                </a:cubicBezTo>
                <a:cubicBezTo>
                  <a:pt x="1539" y="317"/>
                  <a:pt x="1539" y="317"/>
                  <a:pt x="1539" y="317"/>
                </a:cubicBezTo>
                <a:cubicBezTo>
                  <a:pt x="1540" y="317"/>
                  <a:pt x="1540" y="317"/>
                  <a:pt x="1540" y="317"/>
                </a:cubicBezTo>
                <a:cubicBezTo>
                  <a:pt x="1540" y="316"/>
                  <a:pt x="1540" y="316"/>
                  <a:pt x="1540" y="316"/>
                </a:cubicBezTo>
                <a:cubicBezTo>
                  <a:pt x="1538" y="316"/>
                  <a:pt x="1538" y="316"/>
                  <a:pt x="1538" y="316"/>
                </a:cubicBezTo>
                <a:cubicBezTo>
                  <a:pt x="1538" y="315"/>
                  <a:pt x="1538" y="315"/>
                  <a:pt x="1538" y="315"/>
                </a:cubicBezTo>
                <a:cubicBezTo>
                  <a:pt x="1537" y="315"/>
                  <a:pt x="1537" y="315"/>
                  <a:pt x="1537" y="315"/>
                </a:cubicBezTo>
                <a:cubicBezTo>
                  <a:pt x="1536" y="315"/>
                  <a:pt x="1536" y="315"/>
                  <a:pt x="1536" y="315"/>
                </a:cubicBezTo>
                <a:cubicBezTo>
                  <a:pt x="1535" y="316"/>
                  <a:pt x="1535" y="316"/>
                  <a:pt x="1535" y="316"/>
                </a:cubicBezTo>
                <a:cubicBezTo>
                  <a:pt x="1534" y="315"/>
                  <a:pt x="1534" y="315"/>
                  <a:pt x="1534" y="315"/>
                </a:cubicBezTo>
                <a:cubicBezTo>
                  <a:pt x="1533" y="314"/>
                  <a:pt x="1533" y="314"/>
                  <a:pt x="1533" y="314"/>
                </a:cubicBezTo>
                <a:cubicBezTo>
                  <a:pt x="1531" y="313"/>
                  <a:pt x="1531" y="313"/>
                  <a:pt x="1531" y="313"/>
                </a:cubicBezTo>
                <a:cubicBezTo>
                  <a:pt x="1531" y="312"/>
                  <a:pt x="1531" y="312"/>
                  <a:pt x="1531" y="312"/>
                </a:cubicBezTo>
                <a:cubicBezTo>
                  <a:pt x="1530" y="310"/>
                  <a:pt x="1530" y="310"/>
                  <a:pt x="1530" y="310"/>
                </a:cubicBezTo>
                <a:cubicBezTo>
                  <a:pt x="1531" y="310"/>
                  <a:pt x="1531" y="310"/>
                  <a:pt x="1531" y="310"/>
                </a:cubicBezTo>
                <a:cubicBezTo>
                  <a:pt x="1532" y="309"/>
                  <a:pt x="1532" y="309"/>
                  <a:pt x="1532" y="309"/>
                </a:cubicBezTo>
                <a:cubicBezTo>
                  <a:pt x="1531" y="308"/>
                  <a:pt x="1531" y="308"/>
                  <a:pt x="1531" y="308"/>
                </a:cubicBezTo>
                <a:cubicBezTo>
                  <a:pt x="1532" y="308"/>
                  <a:pt x="1532" y="308"/>
                  <a:pt x="1532" y="308"/>
                </a:cubicBezTo>
                <a:cubicBezTo>
                  <a:pt x="1531" y="307"/>
                  <a:pt x="1531" y="307"/>
                  <a:pt x="1531" y="307"/>
                </a:cubicBezTo>
                <a:cubicBezTo>
                  <a:pt x="1531" y="306"/>
                  <a:pt x="1531" y="306"/>
                  <a:pt x="1531" y="306"/>
                </a:cubicBezTo>
                <a:cubicBezTo>
                  <a:pt x="1533" y="306"/>
                  <a:pt x="1533" y="306"/>
                  <a:pt x="1533" y="306"/>
                </a:cubicBezTo>
                <a:cubicBezTo>
                  <a:pt x="1534" y="307"/>
                  <a:pt x="1534" y="307"/>
                  <a:pt x="1534" y="307"/>
                </a:cubicBezTo>
                <a:cubicBezTo>
                  <a:pt x="1536" y="307"/>
                  <a:pt x="1536" y="307"/>
                  <a:pt x="1536" y="307"/>
                </a:cubicBezTo>
                <a:cubicBezTo>
                  <a:pt x="1537" y="309"/>
                  <a:pt x="1537" y="309"/>
                  <a:pt x="1537" y="309"/>
                </a:cubicBezTo>
                <a:cubicBezTo>
                  <a:pt x="1538" y="310"/>
                  <a:pt x="1538" y="310"/>
                  <a:pt x="1538" y="310"/>
                </a:cubicBezTo>
                <a:cubicBezTo>
                  <a:pt x="1540" y="310"/>
                  <a:pt x="1540" y="310"/>
                  <a:pt x="1540" y="310"/>
                </a:cubicBezTo>
                <a:cubicBezTo>
                  <a:pt x="1541" y="311"/>
                  <a:pt x="1541" y="311"/>
                  <a:pt x="1541" y="311"/>
                </a:cubicBezTo>
                <a:cubicBezTo>
                  <a:pt x="1542" y="311"/>
                  <a:pt x="1542" y="311"/>
                  <a:pt x="1542" y="311"/>
                </a:cubicBezTo>
                <a:cubicBezTo>
                  <a:pt x="1546" y="313"/>
                  <a:pt x="1546" y="313"/>
                  <a:pt x="1546" y="313"/>
                </a:cubicBezTo>
                <a:cubicBezTo>
                  <a:pt x="1548" y="314"/>
                  <a:pt x="1548" y="314"/>
                  <a:pt x="1548" y="314"/>
                </a:cubicBezTo>
                <a:cubicBezTo>
                  <a:pt x="1548" y="313"/>
                  <a:pt x="1548" y="313"/>
                  <a:pt x="1548" y="313"/>
                </a:cubicBezTo>
                <a:cubicBezTo>
                  <a:pt x="1549" y="312"/>
                  <a:pt x="1549" y="312"/>
                  <a:pt x="1549" y="312"/>
                </a:cubicBezTo>
                <a:cubicBezTo>
                  <a:pt x="1549" y="311"/>
                  <a:pt x="1549" y="311"/>
                  <a:pt x="1549" y="311"/>
                </a:cubicBezTo>
                <a:cubicBezTo>
                  <a:pt x="1550" y="311"/>
                  <a:pt x="1550" y="311"/>
                  <a:pt x="1550" y="311"/>
                </a:cubicBezTo>
                <a:cubicBezTo>
                  <a:pt x="1551" y="310"/>
                  <a:pt x="1551" y="310"/>
                  <a:pt x="1551" y="310"/>
                </a:cubicBezTo>
                <a:cubicBezTo>
                  <a:pt x="1550" y="307"/>
                  <a:pt x="1550" y="307"/>
                  <a:pt x="1550" y="307"/>
                </a:cubicBezTo>
                <a:cubicBezTo>
                  <a:pt x="1547" y="304"/>
                  <a:pt x="1547" y="304"/>
                  <a:pt x="1547" y="304"/>
                </a:cubicBezTo>
                <a:cubicBezTo>
                  <a:pt x="1546" y="303"/>
                  <a:pt x="1546" y="303"/>
                  <a:pt x="1546" y="303"/>
                </a:cubicBezTo>
                <a:cubicBezTo>
                  <a:pt x="1546" y="301"/>
                  <a:pt x="1546" y="301"/>
                  <a:pt x="1546" y="301"/>
                </a:cubicBezTo>
                <a:cubicBezTo>
                  <a:pt x="1548" y="300"/>
                  <a:pt x="1548" y="300"/>
                  <a:pt x="1548" y="300"/>
                </a:cubicBezTo>
                <a:cubicBezTo>
                  <a:pt x="1549" y="298"/>
                  <a:pt x="1549" y="298"/>
                  <a:pt x="1549" y="298"/>
                </a:cubicBezTo>
                <a:cubicBezTo>
                  <a:pt x="1550" y="297"/>
                  <a:pt x="1550" y="297"/>
                  <a:pt x="1550" y="297"/>
                </a:cubicBezTo>
                <a:cubicBezTo>
                  <a:pt x="1551" y="296"/>
                  <a:pt x="1551" y="296"/>
                  <a:pt x="1551" y="296"/>
                </a:cubicBezTo>
                <a:cubicBezTo>
                  <a:pt x="1552" y="295"/>
                  <a:pt x="1552" y="295"/>
                  <a:pt x="1552" y="295"/>
                </a:cubicBezTo>
                <a:cubicBezTo>
                  <a:pt x="1554" y="294"/>
                  <a:pt x="1554" y="294"/>
                  <a:pt x="1554" y="294"/>
                </a:cubicBezTo>
                <a:cubicBezTo>
                  <a:pt x="1556" y="291"/>
                  <a:pt x="1556" y="291"/>
                  <a:pt x="1556" y="291"/>
                </a:cubicBezTo>
                <a:cubicBezTo>
                  <a:pt x="1557" y="290"/>
                  <a:pt x="1557" y="290"/>
                  <a:pt x="1557" y="290"/>
                </a:cubicBezTo>
                <a:cubicBezTo>
                  <a:pt x="1558" y="290"/>
                  <a:pt x="1558" y="290"/>
                  <a:pt x="1558" y="290"/>
                </a:cubicBezTo>
                <a:cubicBezTo>
                  <a:pt x="1559" y="291"/>
                  <a:pt x="1559" y="291"/>
                  <a:pt x="1559" y="291"/>
                </a:cubicBezTo>
                <a:cubicBezTo>
                  <a:pt x="1561" y="291"/>
                  <a:pt x="1561" y="291"/>
                  <a:pt x="1561" y="291"/>
                </a:cubicBezTo>
                <a:cubicBezTo>
                  <a:pt x="1563" y="291"/>
                  <a:pt x="1563" y="291"/>
                  <a:pt x="1563" y="291"/>
                </a:cubicBezTo>
                <a:cubicBezTo>
                  <a:pt x="1564" y="292"/>
                  <a:pt x="1564" y="292"/>
                  <a:pt x="1564" y="292"/>
                </a:cubicBezTo>
                <a:cubicBezTo>
                  <a:pt x="1564" y="293"/>
                  <a:pt x="1564" y="293"/>
                  <a:pt x="1564" y="293"/>
                </a:cubicBezTo>
                <a:cubicBezTo>
                  <a:pt x="1565" y="292"/>
                  <a:pt x="1565" y="292"/>
                  <a:pt x="1565" y="292"/>
                </a:cubicBezTo>
                <a:cubicBezTo>
                  <a:pt x="1567" y="293"/>
                  <a:pt x="1567" y="293"/>
                  <a:pt x="1567" y="293"/>
                </a:cubicBezTo>
                <a:cubicBezTo>
                  <a:pt x="1567" y="295"/>
                  <a:pt x="1567" y="295"/>
                  <a:pt x="1567" y="295"/>
                </a:cubicBezTo>
                <a:cubicBezTo>
                  <a:pt x="1568" y="295"/>
                  <a:pt x="1568" y="295"/>
                  <a:pt x="1568" y="295"/>
                </a:cubicBezTo>
                <a:cubicBezTo>
                  <a:pt x="1568" y="293"/>
                  <a:pt x="1568" y="293"/>
                  <a:pt x="1568" y="293"/>
                </a:cubicBezTo>
                <a:cubicBezTo>
                  <a:pt x="1567" y="292"/>
                  <a:pt x="1567" y="292"/>
                  <a:pt x="1567" y="292"/>
                </a:cubicBezTo>
                <a:cubicBezTo>
                  <a:pt x="1568" y="291"/>
                  <a:pt x="1568" y="291"/>
                  <a:pt x="1568" y="291"/>
                </a:cubicBezTo>
                <a:cubicBezTo>
                  <a:pt x="1568" y="288"/>
                  <a:pt x="1568" y="288"/>
                  <a:pt x="1568" y="288"/>
                </a:cubicBezTo>
                <a:cubicBezTo>
                  <a:pt x="1568" y="287"/>
                  <a:pt x="1568" y="287"/>
                  <a:pt x="1568" y="287"/>
                </a:cubicBezTo>
                <a:cubicBezTo>
                  <a:pt x="1567" y="287"/>
                  <a:pt x="1567" y="287"/>
                  <a:pt x="1567" y="287"/>
                </a:cubicBezTo>
                <a:cubicBezTo>
                  <a:pt x="1567" y="286"/>
                  <a:pt x="1567" y="286"/>
                  <a:pt x="1567" y="286"/>
                </a:cubicBezTo>
                <a:cubicBezTo>
                  <a:pt x="1568" y="285"/>
                  <a:pt x="1568" y="285"/>
                  <a:pt x="1568" y="285"/>
                </a:cubicBezTo>
                <a:cubicBezTo>
                  <a:pt x="1567" y="284"/>
                  <a:pt x="1567" y="284"/>
                  <a:pt x="1567" y="284"/>
                </a:cubicBezTo>
                <a:cubicBezTo>
                  <a:pt x="1568" y="284"/>
                  <a:pt x="1568" y="284"/>
                  <a:pt x="1568" y="284"/>
                </a:cubicBezTo>
                <a:cubicBezTo>
                  <a:pt x="1567" y="283"/>
                  <a:pt x="1567" y="283"/>
                  <a:pt x="1567" y="283"/>
                </a:cubicBezTo>
                <a:cubicBezTo>
                  <a:pt x="1565" y="282"/>
                  <a:pt x="1565" y="282"/>
                  <a:pt x="1565" y="282"/>
                </a:cubicBezTo>
                <a:cubicBezTo>
                  <a:pt x="1563" y="282"/>
                  <a:pt x="1563" y="282"/>
                  <a:pt x="1563" y="282"/>
                </a:cubicBezTo>
                <a:cubicBezTo>
                  <a:pt x="1563" y="280"/>
                  <a:pt x="1563" y="280"/>
                  <a:pt x="1563" y="280"/>
                </a:cubicBezTo>
                <a:cubicBezTo>
                  <a:pt x="1563" y="279"/>
                  <a:pt x="1563" y="279"/>
                  <a:pt x="1563" y="279"/>
                </a:cubicBezTo>
                <a:cubicBezTo>
                  <a:pt x="1563" y="276"/>
                  <a:pt x="1563" y="276"/>
                  <a:pt x="1563" y="276"/>
                </a:cubicBezTo>
                <a:cubicBezTo>
                  <a:pt x="1564" y="276"/>
                  <a:pt x="1564" y="276"/>
                  <a:pt x="1564" y="276"/>
                </a:cubicBezTo>
                <a:cubicBezTo>
                  <a:pt x="1564" y="275"/>
                  <a:pt x="1564" y="275"/>
                  <a:pt x="1564" y="275"/>
                </a:cubicBezTo>
                <a:cubicBezTo>
                  <a:pt x="1564" y="274"/>
                  <a:pt x="1564" y="274"/>
                  <a:pt x="1564" y="274"/>
                </a:cubicBezTo>
                <a:cubicBezTo>
                  <a:pt x="1564" y="273"/>
                  <a:pt x="1564" y="273"/>
                  <a:pt x="1564" y="273"/>
                </a:cubicBezTo>
                <a:cubicBezTo>
                  <a:pt x="1563" y="272"/>
                  <a:pt x="1563" y="272"/>
                  <a:pt x="1563" y="272"/>
                </a:cubicBezTo>
                <a:cubicBezTo>
                  <a:pt x="1563" y="271"/>
                  <a:pt x="1563" y="271"/>
                  <a:pt x="1563" y="271"/>
                </a:cubicBezTo>
                <a:cubicBezTo>
                  <a:pt x="1563" y="268"/>
                  <a:pt x="1563" y="268"/>
                  <a:pt x="1563" y="268"/>
                </a:cubicBezTo>
                <a:cubicBezTo>
                  <a:pt x="1561" y="267"/>
                  <a:pt x="1561" y="267"/>
                  <a:pt x="1561" y="267"/>
                </a:cubicBezTo>
                <a:cubicBezTo>
                  <a:pt x="1558" y="264"/>
                  <a:pt x="1558" y="264"/>
                  <a:pt x="1558" y="264"/>
                </a:cubicBezTo>
                <a:cubicBezTo>
                  <a:pt x="1559" y="264"/>
                  <a:pt x="1559" y="264"/>
                  <a:pt x="1559" y="264"/>
                </a:cubicBezTo>
                <a:cubicBezTo>
                  <a:pt x="1562" y="265"/>
                  <a:pt x="1562" y="265"/>
                  <a:pt x="1562" y="265"/>
                </a:cubicBezTo>
                <a:cubicBezTo>
                  <a:pt x="1563" y="265"/>
                  <a:pt x="1563" y="265"/>
                  <a:pt x="1563" y="265"/>
                </a:cubicBezTo>
                <a:cubicBezTo>
                  <a:pt x="1564" y="265"/>
                  <a:pt x="1564" y="265"/>
                  <a:pt x="1564" y="265"/>
                </a:cubicBezTo>
                <a:cubicBezTo>
                  <a:pt x="1566" y="265"/>
                  <a:pt x="1566" y="265"/>
                  <a:pt x="1566" y="265"/>
                </a:cubicBezTo>
                <a:cubicBezTo>
                  <a:pt x="1570" y="265"/>
                  <a:pt x="1570" y="265"/>
                  <a:pt x="1570" y="265"/>
                </a:cubicBezTo>
                <a:cubicBezTo>
                  <a:pt x="1571" y="266"/>
                  <a:pt x="1571" y="266"/>
                  <a:pt x="1571" y="266"/>
                </a:cubicBezTo>
                <a:cubicBezTo>
                  <a:pt x="1571" y="267"/>
                  <a:pt x="1571" y="267"/>
                  <a:pt x="1571" y="267"/>
                </a:cubicBezTo>
                <a:cubicBezTo>
                  <a:pt x="1573" y="269"/>
                  <a:pt x="1573" y="269"/>
                  <a:pt x="1573" y="269"/>
                </a:cubicBezTo>
                <a:cubicBezTo>
                  <a:pt x="1574" y="269"/>
                  <a:pt x="1574" y="269"/>
                  <a:pt x="1574" y="269"/>
                </a:cubicBezTo>
                <a:cubicBezTo>
                  <a:pt x="1574" y="270"/>
                  <a:pt x="1574" y="270"/>
                  <a:pt x="1574" y="270"/>
                </a:cubicBezTo>
                <a:cubicBezTo>
                  <a:pt x="1576" y="272"/>
                  <a:pt x="1576" y="272"/>
                  <a:pt x="1576" y="272"/>
                </a:cubicBezTo>
                <a:cubicBezTo>
                  <a:pt x="1576" y="273"/>
                  <a:pt x="1576" y="273"/>
                  <a:pt x="1576" y="273"/>
                </a:cubicBezTo>
                <a:cubicBezTo>
                  <a:pt x="1574" y="273"/>
                  <a:pt x="1574" y="273"/>
                  <a:pt x="1574" y="273"/>
                </a:cubicBezTo>
                <a:cubicBezTo>
                  <a:pt x="1573" y="274"/>
                  <a:pt x="1573" y="274"/>
                  <a:pt x="1573" y="274"/>
                </a:cubicBezTo>
                <a:cubicBezTo>
                  <a:pt x="1571" y="274"/>
                  <a:pt x="1571" y="274"/>
                  <a:pt x="1571" y="274"/>
                </a:cubicBezTo>
                <a:cubicBezTo>
                  <a:pt x="1570" y="275"/>
                  <a:pt x="1570" y="275"/>
                  <a:pt x="1570" y="275"/>
                </a:cubicBezTo>
                <a:cubicBezTo>
                  <a:pt x="1571" y="275"/>
                  <a:pt x="1571" y="275"/>
                  <a:pt x="1571" y="275"/>
                </a:cubicBezTo>
                <a:cubicBezTo>
                  <a:pt x="1570" y="276"/>
                  <a:pt x="1570" y="276"/>
                  <a:pt x="1570" y="276"/>
                </a:cubicBezTo>
                <a:cubicBezTo>
                  <a:pt x="1569" y="276"/>
                  <a:pt x="1569" y="276"/>
                  <a:pt x="1569" y="276"/>
                </a:cubicBezTo>
                <a:cubicBezTo>
                  <a:pt x="1569" y="277"/>
                  <a:pt x="1569" y="277"/>
                  <a:pt x="1569" y="277"/>
                </a:cubicBezTo>
                <a:cubicBezTo>
                  <a:pt x="1569" y="278"/>
                  <a:pt x="1569" y="278"/>
                  <a:pt x="1569" y="278"/>
                </a:cubicBezTo>
                <a:cubicBezTo>
                  <a:pt x="1570" y="279"/>
                  <a:pt x="1570" y="279"/>
                  <a:pt x="1570" y="279"/>
                </a:cubicBezTo>
                <a:cubicBezTo>
                  <a:pt x="1573" y="281"/>
                  <a:pt x="1573" y="281"/>
                  <a:pt x="1573" y="281"/>
                </a:cubicBezTo>
                <a:cubicBezTo>
                  <a:pt x="1575" y="284"/>
                  <a:pt x="1575" y="284"/>
                  <a:pt x="1575" y="284"/>
                </a:cubicBezTo>
                <a:cubicBezTo>
                  <a:pt x="1576" y="284"/>
                  <a:pt x="1576" y="284"/>
                  <a:pt x="1576" y="284"/>
                </a:cubicBezTo>
                <a:cubicBezTo>
                  <a:pt x="1578" y="283"/>
                  <a:pt x="1578" y="283"/>
                  <a:pt x="1578" y="283"/>
                </a:cubicBezTo>
                <a:cubicBezTo>
                  <a:pt x="1579" y="285"/>
                  <a:pt x="1579" y="285"/>
                  <a:pt x="1579" y="285"/>
                </a:cubicBezTo>
                <a:cubicBezTo>
                  <a:pt x="1579" y="284"/>
                  <a:pt x="1579" y="284"/>
                  <a:pt x="1579" y="284"/>
                </a:cubicBezTo>
                <a:cubicBezTo>
                  <a:pt x="1581" y="284"/>
                  <a:pt x="1581" y="284"/>
                  <a:pt x="1581" y="284"/>
                </a:cubicBezTo>
                <a:cubicBezTo>
                  <a:pt x="1581" y="283"/>
                  <a:pt x="1581" y="283"/>
                  <a:pt x="1581" y="283"/>
                </a:cubicBezTo>
                <a:cubicBezTo>
                  <a:pt x="1583" y="282"/>
                  <a:pt x="1583" y="282"/>
                  <a:pt x="1583" y="282"/>
                </a:cubicBezTo>
                <a:cubicBezTo>
                  <a:pt x="1584" y="281"/>
                  <a:pt x="1584" y="281"/>
                  <a:pt x="1584" y="281"/>
                </a:cubicBezTo>
                <a:cubicBezTo>
                  <a:pt x="1583" y="279"/>
                  <a:pt x="1583" y="279"/>
                  <a:pt x="1583" y="279"/>
                </a:cubicBezTo>
                <a:cubicBezTo>
                  <a:pt x="1584" y="277"/>
                  <a:pt x="1584" y="277"/>
                  <a:pt x="1584" y="277"/>
                </a:cubicBezTo>
                <a:cubicBezTo>
                  <a:pt x="1584" y="276"/>
                  <a:pt x="1584" y="276"/>
                  <a:pt x="1584" y="276"/>
                </a:cubicBezTo>
                <a:cubicBezTo>
                  <a:pt x="1583" y="275"/>
                  <a:pt x="1583" y="275"/>
                  <a:pt x="1583" y="275"/>
                </a:cubicBezTo>
                <a:cubicBezTo>
                  <a:pt x="1587" y="274"/>
                  <a:pt x="1587" y="274"/>
                  <a:pt x="1587" y="274"/>
                </a:cubicBezTo>
                <a:cubicBezTo>
                  <a:pt x="1589" y="274"/>
                  <a:pt x="1589" y="274"/>
                  <a:pt x="1589" y="274"/>
                </a:cubicBezTo>
                <a:cubicBezTo>
                  <a:pt x="1589" y="273"/>
                  <a:pt x="1589" y="273"/>
                  <a:pt x="1589" y="273"/>
                </a:cubicBezTo>
                <a:cubicBezTo>
                  <a:pt x="1587" y="272"/>
                  <a:pt x="1587" y="272"/>
                  <a:pt x="1587" y="272"/>
                </a:cubicBezTo>
                <a:cubicBezTo>
                  <a:pt x="1587" y="271"/>
                  <a:pt x="1587" y="271"/>
                  <a:pt x="1587" y="271"/>
                </a:cubicBezTo>
                <a:cubicBezTo>
                  <a:pt x="1588" y="271"/>
                  <a:pt x="1588" y="271"/>
                  <a:pt x="1588" y="271"/>
                </a:cubicBezTo>
                <a:cubicBezTo>
                  <a:pt x="1588" y="272"/>
                  <a:pt x="1588" y="272"/>
                  <a:pt x="1588" y="272"/>
                </a:cubicBezTo>
                <a:cubicBezTo>
                  <a:pt x="1590" y="271"/>
                  <a:pt x="1590" y="271"/>
                  <a:pt x="1590" y="271"/>
                </a:cubicBezTo>
                <a:cubicBezTo>
                  <a:pt x="1592" y="268"/>
                  <a:pt x="1592" y="268"/>
                  <a:pt x="1592" y="268"/>
                </a:cubicBezTo>
                <a:cubicBezTo>
                  <a:pt x="1593" y="268"/>
                  <a:pt x="1593" y="268"/>
                  <a:pt x="1593" y="268"/>
                </a:cubicBezTo>
                <a:cubicBezTo>
                  <a:pt x="1595" y="265"/>
                  <a:pt x="1595" y="265"/>
                  <a:pt x="1595" y="265"/>
                </a:cubicBezTo>
                <a:cubicBezTo>
                  <a:pt x="1595" y="264"/>
                  <a:pt x="1595" y="264"/>
                  <a:pt x="1595" y="264"/>
                </a:cubicBezTo>
                <a:cubicBezTo>
                  <a:pt x="1596" y="264"/>
                  <a:pt x="1596" y="264"/>
                  <a:pt x="1596" y="264"/>
                </a:cubicBezTo>
                <a:cubicBezTo>
                  <a:pt x="1597" y="264"/>
                  <a:pt x="1597" y="264"/>
                  <a:pt x="1597" y="264"/>
                </a:cubicBezTo>
                <a:cubicBezTo>
                  <a:pt x="1599" y="263"/>
                  <a:pt x="1599" y="263"/>
                  <a:pt x="1599" y="263"/>
                </a:cubicBezTo>
                <a:cubicBezTo>
                  <a:pt x="1602" y="262"/>
                  <a:pt x="1602" y="262"/>
                  <a:pt x="1602" y="262"/>
                </a:cubicBezTo>
                <a:cubicBezTo>
                  <a:pt x="1602" y="263"/>
                  <a:pt x="1602" y="263"/>
                  <a:pt x="1602" y="263"/>
                </a:cubicBezTo>
                <a:cubicBezTo>
                  <a:pt x="1603" y="264"/>
                  <a:pt x="1603" y="264"/>
                  <a:pt x="1603" y="264"/>
                </a:cubicBezTo>
                <a:cubicBezTo>
                  <a:pt x="1602" y="264"/>
                  <a:pt x="1602" y="264"/>
                  <a:pt x="1602" y="264"/>
                </a:cubicBezTo>
                <a:cubicBezTo>
                  <a:pt x="1603" y="265"/>
                  <a:pt x="1603" y="265"/>
                  <a:pt x="1603" y="265"/>
                </a:cubicBezTo>
                <a:cubicBezTo>
                  <a:pt x="1604" y="264"/>
                  <a:pt x="1604" y="264"/>
                  <a:pt x="1604" y="264"/>
                </a:cubicBezTo>
                <a:cubicBezTo>
                  <a:pt x="1604" y="263"/>
                  <a:pt x="1604" y="263"/>
                  <a:pt x="1604" y="263"/>
                </a:cubicBezTo>
                <a:cubicBezTo>
                  <a:pt x="1604" y="262"/>
                  <a:pt x="1604" y="262"/>
                  <a:pt x="1604" y="262"/>
                </a:cubicBezTo>
                <a:cubicBezTo>
                  <a:pt x="1603" y="261"/>
                  <a:pt x="1603" y="261"/>
                  <a:pt x="1603" y="261"/>
                </a:cubicBezTo>
                <a:cubicBezTo>
                  <a:pt x="1605" y="259"/>
                  <a:pt x="1605" y="259"/>
                  <a:pt x="1605" y="259"/>
                </a:cubicBezTo>
                <a:cubicBezTo>
                  <a:pt x="1605" y="258"/>
                  <a:pt x="1605" y="258"/>
                  <a:pt x="1605" y="258"/>
                </a:cubicBezTo>
                <a:cubicBezTo>
                  <a:pt x="1606" y="259"/>
                  <a:pt x="1606" y="259"/>
                  <a:pt x="1606" y="259"/>
                </a:cubicBezTo>
                <a:cubicBezTo>
                  <a:pt x="1605" y="260"/>
                  <a:pt x="1605" y="260"/>
                  <a:pt x="1605" y="260"/>
                </a:cubicBezTo>
                <a:cubicBezTo>
                  <a:pt x="1606" y="261"/>
                  <a:pt x="1606" y="261"/>
                  <a:pt x="1606" y="261"/>
                </a:cubicBezTo>
                <a:cubicBezTo>
                  <a:pt x="1607" y="261"/>
                  <a:pt x="1607" y="261"/>
                  <a:pt x="1607" y="261"/>
                </a:cubicBezTo>
                <a:cubicBezTo>
                  <a:pt x="1607" y="260"/>
                  <a:pt x="1607" y="260"/>
                  <a:pt x="1607" y="260"/>
                </a:cubicBezTo>
                <a:cubicBezTo>
                  <a:pt x="1606" y="258"/>
                  <a:pt x="1606" y="258"/>
                  <a:pt x="1606" y="258"/>
                </a:cubicBezTo>
                <a:cubicBezTo>
                  <a:pt x="1607" y="257"/>
                  <a:pt x="1607" y="257"/>
                  <a:pt x="1607" y="257"/>
                </a:cubicBezTo>
                <a:cubicBezTo>
                  <a:pt x="1610" y="256"/>
                  <a:pt x="1610" y="256"/>
                  <a:pt x="1610" y="256"/>
                </a:cubicBezTo>
                <a:cubicBezTo>
                  <a:pt x="1613" y="255"/>
                  <a:pt x="1613" y="255"/>
                  <a:pt x="1613" y="255"/>
                </a:cubicBezTo>
                <a:cubicBezTo>
                  <a:pt x="1613" y="256"/>
                  <a:pt x="1613" y="256"/>
                  <a:pt x="1613" y="256"/>
                </a:cubicBezTo>
                <a:cubicBezTo>
                  <a:pt x="1612" y="256"/>
                  <a:pt x="1612" y="256"/>
                  <a:pt x="1612" y="256"/>
                </a:cubicBezTo>
                <a:cubicBezTo>
                  <a:pt x="1611" y="256"/>
                  <a:pt x="1611" y="256"/>
                  <a:pt x="1611" y="256"/>
                </a:cubicBezTo>
                <a:cubicBezTo>
                  <a:pt x="1608" y="258"/>
                  <a:pt x="1608" y="258"/>
                  <a:pt x="1608" y="258"/>
                </a:cubicBezTo>
                <a:cubicBezTo>
                  <a:pt x="1609" y="258"/>
                  <a:pt x="1609" y="258"/>
                  <a:pt x="1609" y="258"/>
                </a:cubicBezTo>
                <a:cubicBezTo>
                  <a:pt x="1610" y="258"/>
                  <a:pt x="1610" y="258"/>
                  <a:pt x="1610" y="258"/>
                </a:cubicBezTo>
                <a:cubicBezTo>
                  <a:pt x="1612" y="259"/>
                  <a:pt x="1612" y="259"/>
                  <a:pt x="1612" y="259"/>
                </a:cubicBezTo>
                <a:cubicBezTo>
                  <a:pt x="1611" y="260"/>
                  <a:pt x="1611" y="260"/>
                  <a:pt x="1611" y="260"/>
                </a:cubicBezTo>
                <a:cubicBezTo>
                  <a:pt x="1611" y="262"/>
                  <a:pt x="1611" y="262"/>
                  <a:pt x="1611" y="262"/>
                </a:cubicBezTo>
                <a:cubicBezTo>
                  <a:pt x="1610" y="262"/>
                  <a:pt x="1610" y="262"/>
                  <a:pt x="1610" y="262"/>
                </a:cubicBezTo>
                <a:cubicBezTo>
                  <a:pt x="1608" y="264"/>
                  <a:pt x="1608" y="264"/>
                  <a:pt x="1608" y="264"/>
                </a:cubicBezTo>
                <a:cubicBezTo>
                  <a:pt x="1609" y="265"/>
                  <a:pt x="1609" y="265"/>
                  <a:pt x="1609" y="265"/>
                </a:cubicBezTo>
                <a:cubicBezTo>
                  <a:pt x="1610" y="265"/>
                  <a:pt x="1610" y="265"/>
                  <a:pt x="1610" y="265"/>
                </a:cubicBezTo>
                <a:cubicBezTo>
                  <a:pt x="1611" y="265"/>
                  <a:pt x="1611" y="265"/>
                  <a:pt x="1611" y="265"/>
                </a:cubicBezTo>
                <a:cubicBezTo>
                  <a:pt x="1612" y="264"/>
                  <a:pt x="1612" y="264"/>
                  <a:pt x="1612" y="264"/>
                </a:cubicBezTo>
                <a:cubicBezTo>
                  <a:pt x="1614" y="265"/>
                  <a:pt x="1614" y="265"/>
                  <a:pt x="1614" y="265"/>
                </a:cubicBezTo>
                <a:cubicBezTo>
                  <a:pt x="1615" y="263"/>
                  <a:pt x="1615" y="263"/>
                  <a:pt x="1615" y="263"/>
                </a:cubicBezTo>
                <a:cubicBezTo>
                  <a:pt x="1616" y="263"/>
                  <a:pt x="1616" y="263"/>
                  <a:pt x="1616" y="263"/>
                </a:cubicBezTo>
                <a:cubicBezTo>
                  <a:pt x="1617" y="264"/>
                  <a:pt x="1617" y="264"/>
                  <a:pt x="1617" y="264"/>
                </a:cubicBezTo>
                <a:cubicBezTo>
                  <a:pt x="1618" y="265"/>
                  <a:pt x="1618" y="265"/>
                  <a:pt x="1618" y="265"/>
                </a:cubicBezTo>
                <a:cubicBezTo>
                  <a:pt x="1618" y="264"/>
                  <a:pt x="1618" y="264"/>
                  <a:pt x="1618" y="264"/>
                </a:cubicBezTo>
                <a:cubicBezTo>
                  <a:pt x="1618" y="263"/>
                  <a:pt x="1618" y="263"/>
                  <a:pt x="1618" y="263"/>
                </a:cubicBezTo>
                <a:cubicBezTo>
                  <a:pt x="1617" y="262"/>
                  <a:pt x="1617" y="262"/>
                  <a:pt x="1617" y="262"/>
                </a:cubicBezTo>
                <a:cubicBezTo>
                  <a:pt x="1617" y="261"/>
                  <a:pt x="1617" y="261"/>
                  <a:pt x="1617" y="261"/>
                </a:cubicBezTo>
                <a:cubicBezTo>
                  <a:pt x="1618" y="260"/>
                  <a:pt x="1618" y="260"/>
                  <a:pt x="1618" y="260"/>
                </a:cubicBezTo>
                <a:cubicBezTo>
                  <a:pt x="1619" y="260"/>
                  <a:pt x="1619" y="260"/>
                  <a:pt x="1619" y="260"/>
                </a:cubicBezTo>
                <a:cubicBezTo>
                  <a:pt x="1620" y="259"/>
                  <a:pt x="1620" y="259"/>
                  <a:pt x="1620" y="259"/>
                </a:cubicBezTo>
                <a:cubicBezTo>
                  <a:pt x="1621" y="258"/>
                  <a:pt x="1621" y="258"/>
                  <a:pt x="1621" y="258"/>
                </a:cubicBezTo>
                <a:cubicBezTo>
                  <a:pt x="1622" y="259"/>
                  <a:pt x="1622" y="259"/>
                  <a:pt x="1622" y="259"/>
                </a:cubicBezTo>
                <a:cubicBezTo>
                  <a:pt x="1623" y="259"/>
                  <a:pt x="1623" y="259"/>
                  <a:pt x="1623" y="259"/>
                </a:cubicBezTo>
                <a:cubicBezTo>
                  <a:pt x="1624" y="259"/>
                  <a:pt x="1624" y="259"/>
                  <a:pt x="1624" y="259"/>
                </a:cubicBezTo>
                <a:cubicBezTo>
                  <a:pt x="1625" y="259"/>
                  <a:pt x="1625" y="259"/>
                  <a:pt x="1625" y="259"/>
                </a:cubicBezTo>
                <a:cubicBezTo>
                  <a:pt x="1627" y="259"/>
                  <a:pt x="1627" y="259"/>
                  <a:pt x="1627" y="259"/>
                </a:cubicBezTo>
                <a:cubicBezTo>
                  <a:pt x="1628" y="258"/>
                  <a:pt x="1628" y="258"/>
                  <a:pt x="1628" y="258"/>
                </a:cubicBezTo>
                <a:cubicBezTo>
                  <a:pt x="1628" y="257"/>
                  <a:pt x="1628" y="257"/>
                  <a:pt x="1628" y="257"/>
                </a:cubicBezTo>
                <a:cubicBezTo>
                  <a:pt x="1629" y="257"/>
                  <a:pt x="1629" y="257"/>
                  <a:pt x="1629" y="257"/>
                </a:cubicBezTo>
                <a:cubicBezTo>
                  <a:pt x="1630" y="257"/>
                  <a:pt x="1630" y="257"/>
                  <a:pt x="1630" y="257"/>
                </a:cubicBezTo>
                <a:cubicBezTo>
                  <a:pt x="1631" y="256"/>
                  <a:pt x="1631" y="256"/>
                  <a:pt x="1631" y="256"/>
                </a:cubicBezTo>
                <a:cubicBezTo>
                  <a:pt x="1632" y="255"/>
                  <a:pt x="1632" y="255"/>
                  <a:pt x="1632" y="255"/>
                </a:cubicBezTo>
                <a:cubicBezTo>
                  <a:pt x="1633" y="255"/>
                  <a:pt x="1633" y="255"/>
                  <a:pt x="1633" y="255"/>
                </a:cubicBezTo>
                <a:cubicBezTo>
                  <a:pt x="1634" y="253"/>
                  <a:pt x="1634" y="253"/>
                  <a:pt x="1634" y="253"/>
                </a:cubicBezTo>
                <a:cubicBezTo>
                  <a:pt x="1635" y="253"/>
                  <a:pt x="1635" y="253"/>
                  <a:pt x="1635" y="253"/>
                </a:cubicBezTo>
                <a:cubicBezTo>
                  <a:pt x="1636" y="252"/>
                  <a:pt x="1636" y="252"/>
                  <a:pt x="1636" y="252"/>
                </a:cubicBezTo>
                <a:cubicBezTo>
                  <a:pt x="1636" y="253"/>
                  <a:pt x="1636" y="253"/>
                  <a:pt x="1636" y="253"/>
                </a:cubicBezTo>
                <a:cubicBezTo>
                  <a:pt x="1635" y="254"/>
                  <a:pt x="1635" y="254"/>
                  <a:pt x="1635" y="254"/>
                </a:cubicBezTo>
                <a:cubicBezTo>
                  <a:pt x="1636" y="254"/>
                  <a:pt x="1636" y="254"/>
                  <a:pt x="1636" y="254"/>
                </a:cubicBezTo>
                <a:cubicBezTo>
                  <a:pt x="1637" y="256"/>
                  <a:pt x="1637" y="256"/>
                  <a:pt x="1637" y="256"/>
                </a:cubicBezTo>
                <a:cubicBezTo>
                  <a:pt x="1638" y="256"/>
                  <a:pt x="1638" y="256"/>
                  <a:pt x="1638" y="256"/>
                </a:cubicBezTo>
                <a:cubicBezTo>
                  <a:pt x="1637" y="257"/>
                  <a:pt x="1637" y="257"/>
                  <a:pt x="1637" y="257"/>
                </a:cubicBezTo>
                <a:cubicBezTo>
                  <a:pt x="1637" y="258"/>
                  <a:pt x="1637" y="258"/>
                  <a:pt x="1637" y="258"/>
                </a:cubicBezTo>
                <a:cubicBezTo>
                  <a:pt x="1637" y="259"/>
                  <a:pt x="1637" y="259"/>
                  <a:pt x="1637" y="259"/>
                </a:cubicBezTo>
                <a:cubicBezTo>
                  <a:pt x="1638" y="260"/>
                  <a:pt x="1638" y="260"/>
                  <a:pt x="1638" y="260"/>
                </a:cubicBezTo>
                <a:cubicBezTo>
                  <a:pt x="1641" y="260"/>
                  <a:pt x="1641" y="260"/>
                  <a:pt x="1641" y="260"/>
                </a:cubicBezTo>
                <a:cubicBezTo>
                  <a:pt x="1641" y="259"/>
                  <a:pt x="1641" y="259"/>
                  <a:pt x="1641" y="259"/>
                </a:cubicBezTo>
                <a:cubicBezTo>
                  <a:pt x="1640" y="257"/>
                  <a:pt x="1640" y="257"/>
                  <a:pt x="1640" y="257"/>
                </a:cubicBezTo>
                <a:cubicBezTo>
                  <a:pt x="1640" y="256"/>
                  <a:pt x="1640" y="256"/>
                  <a:pt x="1640" y="256"/>
                </a:cubicBezTo>
                <a:cubicBezTo>
                  <a:pt x="1641" y="256"/>
                  <a:pt x="1641" y="256"/>
                  <a:pt x="1641" y="256"/>
                </a:cubicBezTo>
                <a:cubicBezTo>
                  <a:pt x="1642" y="256"/>
                  <a:pt x="1642" y="256"/>
                  <a:pt x="1642" y="256"/>
                </a:cubicBezTo>
                <a:cubicBezTo>
                  <a:pt x="1644" y="256"/>
                  <a:pt x="1644" y="256"/>
                  <a:pt x="1644" y="256"/>
                </a:cubicBezTo>
                <a:cubicBezTo>
                  <a:pt x="1644" y="253"/>
                  <a:pt x="1644" y="253"/>
                  <a:pt x="1644" y="253"/>
                </a:cubicBezTo>
                <a:cubicBezTo>
                  <a:pt x="1645" y="253"/>
                  <a:pt x="1645" y="253"/>
                  <a:pt x="1645" y="253"/>
                </a:cubicBezTo>
                <a:cubicBezTo>
                  <a:pt x="1646" y="254"/>
                  <a:pt x="1646" y="254"/>
                  <a:pt x="1646" y="254"/>
                </a:cubicBezTo>
                <a:cubicBezTo>
                  <a:pt x="1647" y="254"/>
                  <a:pt x="1647" y="254"/>
                  <a:pt x="1647" y="254"/>
                </a:cubicBezTo>
                <a:cubicBezTo>
                  <a:pt x="1646" y="252"/>
                  <a:pt x="1646" y="252"/>
                  <a:pt x="1646" y="252"/>
                </a:cubicBezTo>
                <a:cubicBezTo>
                  <a:pt x="1644" y="252"/>
                  <a:pt x="1644" y="252"/>
                  <a:pt x="1644" y="252"/>
                </a:cubicBezTo>
                <a:cubicBezTo>
                  <a:pt x="1644" y="251"/>
                  <a:pt x="1644" y="251"/>
                  <a:pt x="1644" y="251"/>
                </a:cubicBezTo>
                <a:cubicBezTo>
                  <a:pt x="1643" y="249"/>
                  <a:pt x="1643" y="249"/>
                  <a:pt x="1643" y="249"/>
                </a:cubicBezTo>
                <a:cubicBezTo>
                  <a:pt x="1642" y="249"/>
                  <a:pt x="1642" y="249"/>
                  <a:pt x="1642" y="249"/>
                </a:cubicBezTo>
                <a:cubicBezTo>
                  <a:pt x="1642" y="250"/>
                  <a:pt x="1642" y="250"/>
                  <a:pt x="1642" y="250"/>
                </a:cubicBezTo>
                <a:cubicBezTo>
                  <a:pt x="1641" y="249"/>
                  <a:pt x="1641" y="249"/>
                  <a:pt x="1641" y="249"/>
                </a:cubicBezTo>
                <a:cubicBezTo>
                  <a:pt x="1641" y="246"/>
                  <a:pt x="1641" y="246"/>
                  <a:pt x="1641" y="246"/>
                </a:cubicBezTo>
                <a:cubicBezTo>
                  <a:pt x="1640" y="246"/>
                  <a:pt x="1640" y="246"/>
                  <a:pt x="1640" y="246"/>
                </a:cubicBezTo>
                <a:cubicBezTo>
                  <a:pt x="1639" y="244"/>
                  <a:pt x="1639" y="244"/>
                  <a:pt x="1639" y="244"/>
                </a:cubicBezTo>
                <a:cubicBezTo>
                  <a:pt x="1640" y="244"/>
                  <a:pt x="1640" y="244"/>
                  <a:pt x="1640" y="244"/>
                </a:cubicBezTo>
                <a:cubicBezTo>
                  <a:pt x="1640" y="242"/>
                  <a:pt x="1640" y="242"/>
                  <a:pt x="1640" y="242"/>
                </a:cubicBezTo>
                <a:cubicBezTo>
                  <a:pt x="1640" y="241"/>
                  <a:pt x="1640" y="241"/>
                  <a:pt x="1640" y="241"/>
                </a:cubicBezTo>
                <a:cubicBezTo>
                  <a:pt x="1640" y="240"/>
                  <a:pt x="1640" y="240"/>
                  <a:pt x="1640" y="240"/>
                </a:cubicBezTo>
                <a:cubicBezTo>
                  <a:pt x="1641" y="241"/>
                  <a:pt x="1641" y="241"/>
                  <a:pt x="1641" y="241"/>
                </a:cubicBezTo>
                <a:cubicBezTo>
                  <a:pt x="1642" y="240"/>
                  <a:pt x="1642" y="240"/>
                  <a:pt x="1642" y="240"/>
                </a:cubicBezTo>
                <a:cubicBezTo>
                  <a:pt x="1643" y="241"/>
                  <a:pt x="1643" y="241"/>
                  <a:pt x="1643" y="241"/>
                </a:cubicBezTo>
                <a:cubicBezTo>
                  <a:pt x="1644" y="241"/>
                  <a:pt x="1644" y="241"/>
                  <a:pt x="1644" y="241"/>
                </a:cubicBezTo>
                <a:cubicBezTo>
                  <a:pt x="1645" y="241"/>
                  <a:pt x="1645" y="241"/>
                  <a:pt x="1645" y="241"/>
                </a:cubicBezTo>
                <a:cubicBezTo>
                  <a:pt x="1650" y="241"/>
                  <a:pt x="1650" y="241"/>
                  <a:pt x="1650" y="241"/>
                </a:cubicBezTo>
                <a:cubicBezTo>
                  <a:pt x="1656" y="241"/>
                  <a:pt x="1656" y="241"/>
                  <a:pt x="1656" y="241"/>
                </a:cubicBezTo>
                <a:cubicBezTo>
                  <a:pt x="1658" y="242"/>
                  <a:pt x="1658" y="242"/>
                  <a:pt x="1658" y="242"/>
                </a:cubicBezTo>
                <a:cubicBezTo>
                  <a:pt x="1662" y="244"/>
                  <a:pt x="1662" y="244"/>
                  <a:pt x="1662" y="244"/>
                </a:cubicBezTo>
                <a:cubicBezTo>
                  <a:pt x="1662" y="245"/>
                  <a:pt x="1662" y="245"/>
                  <a:pt x="1662" y="245"/>
                </a:cubicBezTo>
                <a:cubicBezTo>
                  <a:pt x="1662" y="247"/>
                  <a:pt x="1662" y="247"/>
                  <a:pt x="1662" y="247"/>
                </a:cubicBezTo>
                <a:cubicBezTo>
                  <a:pt x="1664" y="245"/>
                  <a:pt x="1664" y="245"/>
                  <a:pt x="1664" y="245"/>
                </a:cubicBezTo>
                <a:cubicBezTo>
                  <a:pt x="1665" y="245"/>
                  <a:pt x="1665" y="245"/>
                  <a:pt x="1665" y="245"/>
                </a:cubicBezTo>
                <a:cubicBezTo>
                  <a:pt x="1666" y="246"/>
                  <a:pt x="1666" y="246"/>
                  <a:pt x="1666" y="246"/>
                </a:cubicBezTo>
                <a:cubicBezTo>
                  <a:pt x="1667" y="246"/>
                  <a:pt x="1667" y="246"/>
                  <a:pt x="1667" y="246"/>
                </a:cubicBezTo>
                <a:cubicBezTo>
                  <a:pt x="1668" y="247"/>
                  <a:pt x="1668" y="247"/>
                  <a:pt x="1668" y="247"/>
                </a:cubicBezTo>
                <a:cubicBezTo>
                  <a:pt x="1670" y="247"/>
                  <a:pt x="1670" y="247"/>
                  <a:pt x="1670" y="247"/>
                </a:cubicBezTo>
                <a:cubicBezTo>
                  <a:pt x="1673" y="249"/>
                  <a:pt x="1673" y="249"/>
                  <a:pt x="1673" y="249"/>
                </a:cubicBezTo>
                <a:cubicBezTo>
                  <a:pt x="1677" y="250"/>
                  <a:pt x="1677" y="250"/>
                  <a:pt x="1677" y="250"/>
                </a:cubicBezTo>
                <a:cubicBezTo>
                  <a:pt x="1678" y="251"/>
                  <a:pt x="1678" y="251"/>
                  <a:pt x="1678" y="251"/>
                </a:cubicBezTo>
                <a:cubicBezTo>
                  <a:pt x="1679" y="252"/>
                  <a:pt x="1679" y="252"/>
                  <a:pt x="1679" y="252"/>
                </a:cubicBezTo>
                <a:cubicBezTo>
                  <a:pt x="1681" y="253"/>
                  <a:pt x="1681" y="253"/>
                  <a:pt x="1681" y="253"/>
                </a:cubicBezTo>
                <a:cubicBezTo>
                  <a:pt x="1682" y="254"/>
                  <a:pt x="1682" y="254"/>
                  <a:pt x="1682" y="254"/>
                </a:cubicBezTo>
                <a:cubicBezTo>
                  <a:pt x="1684" y="257"/>
                  <a:pt x="1684" y="257"/>
                  <a:pt x="1684" y="257"/>
                </a:cubicBezTo>
                <a:cubicBezTo>
                  <a:pt x="1685" y="257"/>
                  <a:pt x="1685" y="257"/>
                  <a:pt x="1685" y="257"/>
                </a:cubicBezTo>
                <a:cubicBezTo>
                  <a:pt x="1685" y="256"/>
                  <a:pt x="1685" y="256"/>
                  <a:pt x="1685" y="256"/>
                </a:cubicBezTo>
                <a:cubicBezTo>
                  <a:pt x="1685" y="255"/>
                  <a:pt x="1685" y="255"/>
                  <a:pt x="1685" y="255"/>
                </a:cubicBezTo>
                <a:cubicBezTo>
                  <a:pt x="1686" y="255"/>
                  <a:pt x="1686" y="255"/>
                  <a:pt x="1686" y="255"/>
                </a:cubicBezTo>
                <a:cubicBezTo>
                  <a:pt x="1686" y="254"/>
                  <a:pt x="1686" y="254"/>
                  <a:pt x="1686" y="254"/>
                </a:cubicBezTo>
                <a:cubicBezTo>
                  <a:pt x="1685" y="253"/>
                  <a:pt x="1685" y="253"/>
                  <a:pt x="1685" y="253"/>
                </a:cubicBezTo>
                <a:cubicBezTo>
                  <a:pt x="1685" y="252"/>
                  <a:pt x="1685" y="252"/>
                  <a:pt x="1685" y="252"/>
                </a:cubicBezTo>
                <a:cubicBezTo>
                  <a:pt x="1685" y="248"/>
                  <a:pt x="1685" y="248"/>
                  <a:pt x="1685" y="248"/>
                </a:cubicBezTo>
                <a:cubicBezTo>
                  <a:pt x="1685" y="247"/>
                  <a:pt x="1685" y="247"/>
                  <a:pt x="1685" y="247"/>
                </a:cubicBezTo>
                <a:cubicBezTo>
                  <a:pt x="1684" y="247"/>
                  <a:pt x="1684" y="247"/>
                  <a:pt x="1684" y="247"/>
                </a:cubicBezTo>
                <a:cubicBezTo>
                  <a:pt x="1683" y="248"/>
                  <a:pt x="1683" y="248"/>
                  <a:pt x="1683" y="248"/>
                </a:cubicBezTo>
                <a:cubicBezTo>
                  <a:pt x="1682" y="247"/>
                  <a:pt x="1682" y="247"/>
                  <a:pt x="1682" y="247"/>
                </a:cubicBezTo>
                <a:cubicBezTo>
                  <a:pt x="1679" y="244"/>
                  <a:pt x="1679" y="244"/>
                  <a:pt x="1679" y="244"/>
                </a:cubicBezTo>
                <a:cubicBezTo>
                  <a:pt x="1678" y="243"/>
                  <a:pt x="1678" y="243"/>
                  <a:pt x="1678" y="243"/>
                </a:cubicBezTo>
                <a:cubicBezTo>
                  <a:pt x="1678" y="241"/>
                  <a:pt x="1678" y="241"/>
                  <a:pt x="1678" y="241"/>
                </a:cubicBezTo>
                <a:cubicBezTo>
                  <a:pt x="1677" y="240"/>
                  <a:pt x="1677" y="240"/>
                  <a:pt x="1677" y="240"/>
                </a:cubicBezTo>
                <a:cubicBezTo>
                  <a:pt x="1676" y="242"/>
                  <a:pt x="1676" y="242"/>
                  <a:pt x="1676" y="242"/>
                </a:cubicBezTo>
                <a:cubicBezTo>
                  <a:pt x="1674" y="241"/>
                  <a:pt x="1674" y="241"/>
                  <a:pt x="1674" y="241"/>
                </a:cubicBezTo>
                <a:cubicBezTo>
                  <a:pt x="1673" y="241"/>
                  <a:pt x="1673" y="241"/>
                  <a:pt x="1673" y="241"/>
                </a:cubicBezTo>
                <a:cubicBezTo>
                  <a:pt x="1672" y="240"/>
                  <a:pt x="1672" y="240"/>
                  <a:pt x="1672" y="240"/>
                </a:cubicBezTo>
                <a:cubicBezTo>
                  <a:pt x="1671" y="241"/>
                  <a:pt x="1671" y="241"/>
                  <a:pt x="1671" y="241"/>
                </a:cubicBezTo>
                <a:cubicBezTo>
                  <a:pt x="1671" y="239"/>
                  <a:pt x="1671" y="239"/>
                  <a:pt x="1671" y="239"/>
                </a:cubicBezTo>
                <a:cubicBezTo>
                  <a:pt x="1670" y="238"/>
                  <a:pt x="1670" y="238"/>
                  <a:pt x="1670" y="238"/>
                </a:cubicBezTo>
                <a:cubicBezTo>
                  <a:pt x="1669" y="235"/>
                  <a:pt x="1669" y="235"/>
                  <a:pt x="1669" y="235"/>
                </a:cubicBezTo>
                <a:cubicBezTo>
                  <a:pt x="1669" y="234"/>
                  <a:pt x="1669" y="234"/>
                  <a:pt x="1669" y="234"/>
                </a:cubicBezTo>
                <a:cubicBezTo>
                  <a:pt x="1670" y="235"/>
                  <a:pt x="1670" y="235"/>
                  <a:pt x="1670" y="235"/>
                </a:cubicBezTo>
                <a:cubicBezTo>
                  <a:pt x="1671" y="234"/>
                  <a:pt x="1671" y="234"/>
                  <a:pt x="1671" y="234"/>
                </a:cubicBezTo>
                <a:cubicBezTo>
                  <a:pt x="1671" y="233"/>
                  <a:pt x="1671" y="233"/>
                  <a:pt x="1671" y="233"/>
                </a:cubicBezTo>
                <a:cubicBezTo>
                  <a:pt x="1669" y="231"/>
                  <a:pt x="1669" y="231"/>
                  <a:pt x="1669" y="231"/>
                </a:cubicBezTo>
                <a:cubicBezTo>
                  <a:pt x="1669" y="230"/>
                  <a:pt x="1669" y="230"/>
                  <a:pt x="1669" y="230"/>
                </a:cubicBezTo>
                <a:cubicBezTo>
                  <a:pt x="1669" y="229"/>
                  <a:pt x="1669" y="229"/>
                  <a:pt x="1669" y="229"/>
                </a:cubicBezTo>
                <a:cubicBezTo>
                  <a:pt x="1670" y="229"/>
                  <a:pt x="1670" y="229"/>
                  <a:pt x="1670" y="229"/>
                </a:cubicBezTo>
                <a:cubicBezTo>
                  <a:pt x="1669" y="228"/>
                  <a:pt x="1669" y="228"/>
                  <a:pt x="1669" y="228"/>
                </a:cubicBezTo>
                <a:cubicBezTo>
                  <a:pt x="1668" y="228"/>
                  <a:pt x="1668" y="228"/>
                  <a:pt x="1668" y="228"/>
                </a:cubicBezTo>
                <a:cubicBezTo>
                  <a:pt x="1667" y="225"/>
                  <a:pt x="1667" y="225"/>
                  <a:pt x="1667" y="225"/>
                </a:cubicBezTo>
                <a:cubicBezTo>
                  <a:pt x="1666" y="225"/>
                  <a:pt x="1666" y="225"/>
                  <a:pt x="1666" y="225"/>
                </a:cubicBezTo>
                <a:cubicBezTo>
                  <a:pt x="1665" y="225"/>
                  <a:pt x="1665" y="225"/>
                  <a:pt x="1665" y="225"/>
                </a:cubicBezTo>
                <a:cubicBezTo>
                  <a:pt x="1664" y="224"/>
                  <a:pt x="1664" y="224"/>
                  <a:pt x="1664" y="224"/>
                </a:cubicBezTo>
                <a:cubicBezTo>
                  <a:pt x="1664" y="222"/>
                  <a:pt x="1664" y="222"/>
                  <a:pt x="1664" y="222"/>
                </a:cubicBezTo>
                <a:cubicBezTo>
                  <a:pt x="1665" y="221"/>
                  <a:pt x="1665" y="221"/>
                  <a:pt x="1665" y="221"/>
                </a:cubicBezTo>
                <a:cubicBezTo>
                  <a:pt x="1664" y="219"/>
                  <a:pt x="1664" y="219"/>
                  <a:pt x="1664" y="219"/>
                </a:cubicBezTo>
                <a:cubicBezTo>
                  <a:pt x="1664" y="218"/>
                  <a:pt x="1664" y="218"/>
                  <a:pt x="1664" y="218"/>
                </a:cubicBezTo>
                <a:cubicBezTo>
                  <a:pt x="1667" y="214"/>
                  <a:pt x="1667" y="214"/>
                  <a:pt x="1667" y="214"/>
                </a:cubicBezTo>
                <a:cubicBezTo>
                  <a:pt x="1668" y="213"/>
                  <a:pt x="1668" y="213"/>
                  <a:pt x="1668" y="213"/>
                </a:cubicBezTo>
                <a:cubicBezTo>
                  <a:pt x="1668" y="211"/>
                  <a:pt x="1668" y="211"/>
                  <a:pt x="1668" y="211"/>
                </a:cubicBezTo>
                <a:cubicBezTo>
                  <a:pt x="1668" y="210"/>
                  <a:pt x="1668" y="210"/>
                  <a:pt x="1668" y="210"/>
                </a:cubicBezTo>
                <a:cubicBezTo>
                  <a:pt x="1669" y="208"/>
                  <a:pt x="1669" y="208"/>
                  <a:pt x="1669" y="208"/>
                </a:cubicBezTo>
                <a:cubicBezTo>
                  <a:pt x="1668" y="207"/>
                  <a:pt x="1668" y="207"/>
                  <a:pt x="1668" y="207"/>
                </a:cubicBezTo>
                <a:cubicBezTo>
                  <a:pt x="1667" y="205"/>
                  <a:pt x="1667" y="205"/>
                  <a:pt x="1667" y="205"/>
                </a:cubicBezTo>
                <a:cubicBezTo>
                  <a:pt x="1668" y="204"/>
                  <a:pt x="1668" y="204"/>
                  <a:pt x="1668" y="204"/>
                </a:cubicBezTo>
                <a:cubicBezTo>
                  <a:pt x="1667" y="203"/>
                  <a:pt x="1667" y="203"/>
                  <a:pt x="1667" y="203"/>
                </a:cubicBezTo>
                <a:cubicBezTo>
                  <a:pt x="1668" y="201"/>
                  <a:pt x="1668" y="201"/>
                  <a:pt x="1668" y="201"/>
                </a:cubicBezTo>
                <a:cubicBezTo>
                  <a:pt x="1667" y="201"/>
                  <a:pt x="1667" y="201"/>
                  <a:pt x="1667" y="201"/>
                </a:cubicBezTo>
                <a:cubicBezTo>
                  <a:pt x="1667" y="198"/>
                  <a:pt x="1667" y="198"/>
                  <a:pt x="1667" y="198"/>
                </a:cubicBezTo>
                <a:cubicBezTo>
                  <a:pt x="1668" y="198"/>
                  <a:pt x="1668" y="198"/>
                  <a:pt x="1668" y="198"/>
                </a:cubicBezTo>
                <a:cubicBezTo>
                  <a:pt x="1667" y="196"/>
                  <a:pt x="1667" y="196"/>
                  <a:pt x="1667" y="196"/>
                </a:cubicBezTo>
                <a:cubicBezTo>
                  <a:pt x="1667" y="194"/>
                  <a:pt x="1667" y="194"/>
                  <a:pt x="1667" y="194"/>
                </a:cubicBezTo>
                <a:cubicBezTo>
                  <a:pt x="1667" y="192"/>
                  <a:pt x="1667" y="192"/>
                  <a:pt x="1667" y="192"/>
                </a:cubicBezTo>
                <a:cubicBezTo>
                  <a:pt x="1668" y="191"/>
                  <a:pt x="1668" y="191"/>
                  <a:pt x="1668" y="191"/>
                </a:cubicBezTo>
                <a:cubicBezTo>
                  <a:pt x="1669" y="192"/>
                  <a:pt x="1669" y="192"/>
                  <a:pt x="1669" y="192"/>
                </a:cubicBezTo>
                <a:cubicBezTo>
                  <a:pt x="1669" y="193"/>
                  <a:pt x="1669" y="193"/>
                  <a:pt x="1669" y="193"/>
                </a:cubicBezTo>
                <a:cubicBezTo>
                  <a:pt x="1670" y="192"/>
                  <a:pt x="1670" y="192"/>
                  <a:pt x="1670" y="192"/>
                </a:cubicBezTo>
                <a:cubicBezTo>
                  <a:pt x="1672" y="192"/>
                  <a:pt x="1672" y="192"/>
                  <a:pt x="1672" y="192"/>
                </a:cubicBezTo>
                <a:cubicBezTo>
                  <a:pt x="1674" y="192"/>
                  <a:pt x="1674" y="192"/>
                  <a:pt x="1674" y="192"/>
                </a:cubicBezTo>
                <a:cubicBezTo>
                  <a:pt x="1675" y="192"/>
                  <a:pt x="1675" y="192"/>
                  <a:pt x="1675" y="192"/>
                </a:cubicBezTo>
                <a:cubicBezTo>
                  <a:pt x="1676" y="192"/>
                  <a:pt x="1676" y="192"/>
                  <a:pt x="1676" y="192"/>
                </a:cubicBezTo>
                <a:cubicBezTo>
                  <a:pt x="1677" y="191"/>
                  <a:pt x="1677" y="191"/>
                  <a:pt x="1677" y="191"/>
                </a:cubicBezTo>
                <a:cubicBezTo>
                  <a:pt x="1678" y="192"/>
                  <a:pt x="1678" y="192"/>
                  <a:pt x="1678" y="192"/>
                </a:cubicBezTo>
                <a:cubicBezTo>
                  <a:pt x="1682" y="193"/>
                  <a:pt x="1682" y="193"/>
                  <a:pt x="1682" y="193"/>
                </a:cubicBezTo>
                <a:cubicBezTo>
                  <a:pt x="1684" y="193"/>
                  <a:pt x="1684" y="193"/>
                  <a:pt x="1684" y="193"/>
                </a:cubicBezTo>
                <a:cubicBezTo>
                  <a:pt x="1685" y="193"/>
                  <a:pt x="1685" y="193"/>
                  <a:pt x="1685" y="193"/>
                </a:cubicBezTo>
                <a:cubicBezTo>
                  <a:pt x="1685" y="195"/>
                  <a:pt x="1685" y="195"/>
                  <a:pt x="1685" y="195"/>
                </a:cubicBezTo>
                <a:cubicBezTo>
                  <a:pt x="1684" y="195"/>
                  <a:pt x="1684" y="195"/>
                  <a:pt x="1684" y="195"/>
                </a:cubicBezTo>
                <a:cubicBezTo>
                  <a:pt x="1685" y="196"/>
                  <a:pt x="1685" y="196"/>
                  <a:pt x="1685" y="196"/>
                </a:cubicBezTo>
                <a:cubicBezTo>
                  <a:pt x="1685" y="198"/>
                  <a:pt x="1685" y="198"/>
                  <a:pt x="1685" y="198"/>
                </a:cubicBezTo>
                <a:cubicBezTo>
                  <a:pt x="1686" y="199"/>
                  <a:pt x="1686" y="199"/>
                  <a:pt x="1686" y="199"/>
                </a:cubicBezTo>
                <a:cubicBezTo>
                  <a:pt x="1686" y="201"/>
                  <a:pt x="1686" y="201"/>
                  <a:pt x="1686" y="201"/>
                </a:cubicBezTo>
                <a:cubicBezTo>
                  <a:pt x="1687" y="203"/>
                  <a:pt x="1687" y="203"/>
                  <a:pt x="1687" y="203"/>
                </a:cubicBezTo>
                <a:cubicBezTo>
                  <a:pt x="1686" y="206"/>
                  <a:pt x="1686" y="206"/>
                  <a:pt x="1686" y="206"/>
                </a:cubicBezTo>
                <a:cubicBezTo>
                  <a:pt x="1687" y="207"/>
                  <a:pt x="1687" y="207"/>
                  <a:pt x="1687" y="207"/>
                </a:cubicBezTo>
                <a:cubicBezTo>
                  <a:pt x="1686" y="208"/>
                  <a:pt x="1686" y="208"/>
                  <a:pt x="1686" y="208"/>
                </a:cubicBezTo>
                <a:cubicBezTo>
                  <a:pt x="1687" y="209"/>
                  <a:pt x="1687" y="209"/>
                  <a:pt x="1687" y="209"/>
                </a:cubicBezTo>
                <a:cubicBezTo>
                  <a:pt x="1687" y="210"/>
                  <a:pt x="1687" y="210"/>
                  <a:pt x="1687" y="210"/>
                </a:cubicBezTo>
                <a:cubicBezTo>
                  <a:pt x="1686" y="211"/>
                  <a:pt x="1686" y="211"/>
                  <a:pt x="1686" y="211"/>
                </a:cubicBezTo>
                <a:cubicBezTo>
                  <a:pt x="1686" y="212"/>
                  <a:pt x="1686" y="212"/>
                  <a:pt x="1686" y="212"/>
                </a:cubicBezTo>
                <a:cubicBezTo>
                  <a:pt x="1688" y="213"/>
                  <a:pt x="1688" y="213"/>
                  <a:pt x="1688" y="213"/>
                </a:cubicBezTo>
                <a:cubicBezTo>
                  <a:pt x="1689" y="215"/>
                  <a:pt x="1689" y="215"/>
                  <a:pt x="1689" y="215"/>
                </a:cubicBezTo>
                <a:cubicBezTo>
                  <a:pt x="1690" y="215"/>
                  <a:pt x="1690" y="215"/>
                  <a:pt x="1690" y="215"/>
                </a:cubicBezTo>
                <a:cubicBezTo>
                  <a:pt x="1690" y="216"/>
                  <a:pt x="1690" y="216"/>
                  <a:pt x="1690" y="216"/>
                </a:cubicBezTo>
                <a:cubicBezTo>
                  <a:pt x="1691" y="215"/>
                  <a:pt x="1691" y="215"/>
                  <a:pt x="1691" y="215"/>
                </a:cubicBezTo>
                <a:cubicBezTo>
                  <a:pt x="1692" y="216"/>
                  <a:pt x="1692" y="216"/>
                  <a:pt x="1692" y="216"/>
                </a:cubicBezTo>
                <a:cubicBezTo>
                  <a:pt x="1692" y="218"/>
                  <a:pt x="1692" y="218"/>
                  <a:pt x="1692" y="218"/>
                </a:cubicBezTo>
                <a:cubicBezTo>
                  <a:pt x="1694" y="219"/>
                  <a:pt x="1694" y="219"/>
                  <a:pt x="1694" y="219"/>
                </a:cubicBezTo>
                <a:cubicBezTo>
                  <a:pt x="1695" y="221"/>
                  <a:pt x="1695" y="221"/>
                  <a:pt x="1695" y="221"/>
                </a:cubicBezTo>
                <a:cubicBezTo>
                  <a:pt x="1695" y="225"/>
                  <a:pt x="1695" y="225"/>
                  <a:pt x="1695" y="225"/>
                </a:cubicBezTo>
                <a:cubicBezTo>
                  <a:pt x="1696" y="226"/>
                  <a:pt x="1696" y="226"/>
                  <a:pt x="1696" y="226"/>
                </a:cubicBezTo>
                <a:cubicBezTo>
                  <a:pt x="1696" y="227"/>
                  <a:pt x="1696" y="227"/>
                  <a:pt x="1696" y="227"/>
                </a:cubicBezTo>
                <a:cubicBezTo>
                  <a:pt x="1697" y="229"/>
                  <a:pt x="1697" y="229"/>
                  <a:pt x="1697" y="229"/>
                </a:cubicBezTo>
                <a:cubicBezTo>
                  <a:pt x="1697" y="231"/>
                  <a:pt x="1697" y="231"/>
                  <a:pt x="1697" y="231"/>
                </a:cubicBezTo>
                <a:cubicBezTo>
                  <a:pt x="1699" y="234"/>
                  <a:pt x="1699" y="234"/>
                  <a:pt x="1699" y="234"/>
                </a:cubicBezTo>
                <a:cubicBezTo>
                  <a:pt x="1698" y="235"/>
                  <a:pt x="1698" y="235"/>
                  <a:pt x="1698" y="235"/>
                </a:cubicBezTo>
                <a:cubicBezTo>
                  <a:pt x="1699" y="237"/>
                  <a:pt x="1699" y="237"/>
                  <a:pt x="1699" y="237"/>
                </a:cubicBezTo>
                <a:cubicBezTo>
                  <a:pt x="1701" y="237"/>
                  <a:pt x="1701" y="237"/>
                  <a:pt x="1701" y="237"/>
                </a:cubicBezTo>
                <a:cubicBezTo>
                  <a:pt x="1700" y="239"/>
                  <a:pt x="1700" y="239"/>
                  <a:pt x="1700" y="239"/>
                </a:cubicBezTo>
                <a:cubicBezTo>
                  <a:pt x="1701" y="239"/>
                  <a:pt x="1701" y="239"/>
                  <a:pt x="1701" y="239"/>
                </a:cubicBezTo>
                <a:cubicBezTo>
                  <a:pt x="1701" y="242"/>
                  <a:pt x="1701" y="242"/>
                  <a:pt x="1701" y="242"/>
                </a:cubicBezTo>
                <a:cubicBezTo>
                  <a:pt x="1704" y="245"/>
                  <a:pt x="1704" y="245"/>
                  <a:pt x="1704" y="245"/>
                </a:cubicBezTo>
                <a:cubicBezTo>
                  <a:pt x="1706" y="246"/>
                  <a:pt x="1706" y="246"/>
                  <a:pt x="1706" y="246"/>
                </a:cubicBezTo>
                <a:cubicBezTo>
                  <a:pt x="1706" y="247"/>
                  <a:pt x="1706" y="247"/>
                  <a:pt x="1706" y="247"/>
                </a:cubicBezTo>
                <a:cubicBezTo>
                  <a:pt x="1707" y="247"/>
                  <a:pt x="1707" y="247"/>
                  <a:pt x="1707" y="247"/>
                </a:cubicBezTo>
                <a:cubicBezTo>
                  <a:pt x="1709" y="249"/>
                  <a:pt x="1709" y="249"/>
                  <a:pt x="1709" y="249"/>
                </a:cubicBezTo>
                <a:cubicBezTo>
                  <a:pt x="1709" y="250"/>
                  <a:pt x="1709" y="250"/>
                  <a:pt x="1709" y="250"/>
                </a:cubicBezTo>
                <a:cubicBezTo>
                  <a:pt x="1709" y="251"/>
                  <a:pt x="1709" y="251"/>
                  <a:pt x="1709" y="251"/>
                </a:cubicBezTo>
                <a:cubicBezTo>
                  <a:pt x="1708" y="253"/>
                  <a:pt x="1708" y="253"/>
                  <a:pt x="1708" y="253"/>
                </a:cubicBezTo>
                <a:cubicBezTo>
                  <a:pt x="1709" y="255"/>
                  <a:pt x="1709" y="255"/>
                  <a:pt x="1709" y="255"/>
                </a:cubicBezTo>
                <a:cubicBezTo>
                  <a:pt x="1711" y="256"/>
                  <a:pt x="1711" y="256"/>
                  <a:pt x="1711" y="256"/>
                </a:cubicBezTo>
                <a:cubicBezTo>
                  <a:pt x="1711" y="258"/>
                  <a:pt x="1711" y="258"/>
                  <a:pt x="1711" y="258"/>
                </a:cubicBezTo>
                <a:cubicBezTo>
                  <a:pt x="1710" y="259"/>
                  <a:pt x="1710" y="259"/>
                  <a:pt x="1710" y="259"/>
                </a:cubicBezTo>
                <a:cubicBezTo>
                  <a:pt x="1710" y="260"/>
                  <a:pt x="1710" y="260"/>
                  <a:pt x="1710" y="260"/>
                </a:cubicBezTo>
                <a:cubicBezTo>
                  <a:pt x="1709" y="261"/>
                  <a:pt x="1709" y="261"/>
                  <a:pt x="1709" y="261"/>
                </a:cubicBezTo>
                <a:cubicBezTo>
                  <a:pt x="1709" y="262"/>
                  <a:pt x="1709" y="262"/>
                  <a:pt x="1709" y="262"/>
                </a:cubicBezTo>
                <a:cubicBezTo>
                  <a:pt x="1709" y="264"/>
                  <a:pt x="1709" y="264"/>
                  <a:pt x="1709" y="264"/>
                </a:cubicBezTo>
                <a:cubicBezTo>
                  <a:pt x="1708" y="265"/>
                  <a:pt x="1708" y="265"/>
                  <a:pt x="1708" y="265"/>
                </a:cubicBezTo>
                <a:cubicBezTo>
                  <a:pt x="1708" y="266"/>
                  <a:pt x="1708" y="266"/>
                  <a:pt x="1708" y="266"/>
                </a:cubicBezTo>
                <a:cubicBezTo>
                  <a:pt x="1709" y="265"/>
                  <a:pt x="1709" y="265"/>
                  <a:pt x="1709" y="265"/>
                </a:cubicBezTo>
                <a:cubicBezTo>
                  <a:pt x="1709" y="266"/>
                  <a:pt x="1709" y="266"/>
                  <a:pt x="1709" y="266"/>
                </a:cubicBezTo>
                <a:cubicBezTo>
                  <a:pt x="1708" y="267"/>
                  <a:pt x="1708" y="267"/>
                  <a:pt x="1708" y="267"/>
                </a:cubicBezTo>
                <a:cubicBezTo>
                  <a:pt x="1708" y="270"/>
                  <a:pt x="1708" y="270"/>
                  <a:pt x="1708" y="270"/>
                </a:cubicBezTo>
                <a:cubicBezTo>
                  <a:pt x="1707" y="270"/>
                  <a:pt x="1707" y="270"/>
                  <a:pt x="1707" y="270"/>
                </a:cubicBezTo>
                <a:cubicBezTo>
                  <a:pt x="1706" y="270"/>
                  <a:pt x="1706" y="270"/>
                  <a:pt x="1706" y="270"/>
                </a:cubicBezTo>
                <a:cubicBezTo>
                  <a:pt x="1706" y="271"/>
                  <a:pt x="1706" y="271"/>
                  <a:pt x="1706" y="271"/>
                </a:cubicBezTo>
                <a:cubicBezTo>
                  <a:pt x="1707" y="272"/>
                  <a:pt x="1707" y="272"/>
                  <a:pt x="1707" y="272"/>
                </a:cubicBezTo>
                <a:cubicBezTo>
                  <a:pt x="1707" y="273"/>
                  <a:pt x="1707" y="273"/>
                  <a:pt x="1707" y="273"/>
                </a:cubicBezTo>
                <a:cubicBezTo>
                  <a:pt x="1706" y="274"/>
                  <a:pt x="1706" y="274"/>
                  <a:pt x="1706" y="274"/>
                </a:cubicBezTo>
                <a:cubicBezTo>
                  <a:pt x="1705" y="275"/>
                  <a:pt x="1705" y="275"/>
                  <a:pt x="1705" y="275"/>
                </a:cubicBezTo>
                <a:cubicBezTo>
                  <a:pt x="1702" y="275"/>
                  <a:pt x="1702" y="275"/>
                  <a:pt x="1702" y="275"/>
                </a:cubicBezTo>
                <a:cubicBezTo>
                  <a:pt x="1701" y="274"/>
                  <a:pt x="1701" y="274"/>
                  <a:pt x="1701" y="274"/>
                </a:cubicBezTo>
                <a:cubicBezTo>
                  <a:pt x="1703" y="273"/>
                  <a:pt x="1703" y="273"/>
                  <a:pt x="1703" y="273"/>
                </a:cubicBezTo>
                <a:cubicBezTo>
                  <a:pt x="1703" y="272"/>
                  <a:pt x="1703" y="272"/>
                  <a:pt x="1703" y="272"/>
                </a:cubicBezTo>
                <a:cubicBezTo>
                  <a:pt x="1702" y="272"/>
                  <a:pt x="1702" y="272"/>
                  <a:pt x="1702" y="272"/>
                </a:cubicBezTo>
                <a:cubicBezTo>
                  <a:pt x="1702" y="273"/>
                  <a:pt x="1702" y="273"/>
                  <a:pt x="1702" y="273"/>
                </a:cubicBezTo>
                <a:cubicBezTo>
                  <a:pt x="1701" y="273"/>
                  <a:pt x="1701" y="273"/>
                  <a:pt x="1701" y="273"/>
                </a:cubicBezTo>
                <a:cubicBezTo>
                  <a:pt x="1698" y="271"/>
                  <a:pt x="1698" y="271"/>
                  <a:pt x="1698" y="271"/>
                </a:cubicBezTo>
                <a:cubicBezTo>
                  <a:pt x="1697" y="272"/>
                  <a:pt x="1697" y="272"/>
                  <a:pt x="1697" y="272"/>
                </a:cubicBezTo>
                <a:cubicBezTo>
                  <a:pt x="1694" y="273"/>
                  <a:pt x="1694" y="273"/>
                  <a:pt x="1694" y="273"/>
                </a:cubicBezTo>
                <a:cubicBezTo>
                  <a:pt x="1692" y="273"/>
                  <a:pt x="1692" y="273"/>
                  <a:pt x="1692" y="273"/>
                </a:cubicBezTo>
                <a:cubicBezTo>
                  <a:pt x="1691" y="274"/>
                  <a:pt x="1691" y="274"/>
                  <a:pt x="1691" y="274"/>
                </a:cubicBezTo>
                <a:cubicBezTo>
                  <a:pt x="1692" y="274"/>
                  <a:pt x="1692" y="274"/>
                  <a:pt x="1692" y="274"/>
                </a:cubicBezTo>
                <a:cubicBezTo>
                  <a:pt x="1692" y="275"/>
                  <a:pt x="1692" y="275"/>
                  <a:pt x="1692" y="275"/>
                </a:cubicBezTo>
                <a:cubicBezTo>
                  <a:pt x="1693" y="274"/>
                  <a:pt x="1693" y="274"/>
                  <a:pt x="1693" y="274"/>
                </a:cubicBezTo>
                <a:cubicBezTo>
                  <a:pt x="1695" y="273"/>
                  <a:pt x="1695" y="273"/>
                  <a:pt x="1695" y="273"/>
                </a:cubicBezTo>
                <a:cubicBezTo>
                  <a:pt x="1695" y="275"/>
                  <a:pt x="1695" y="275"/>
                  <a:pt x="1695" y="275"/>
                </a:cubicBezTo>
                <a:cubicBezTo>
                  <a:pt x="1697" y="276"/>
                  <a:pt x="1697" y="276"/>
                  <a:pt x="1697" y="276"/>
                </a:cubicBezTo>
                <a:cubicBezTo>
                  <a:pt x="1702" y="277"/>
                  <a:pt x="1702" y="277"/>
                  <a:pt x="1702" y="277"/>
                </a:cubicBezTo>
                <a:cubicBezTo>
                  <a:pt x="1704" y="278"/>
                  <a:pt x="1704" y="278"/>
                  <a:pt x="1704" y="278"/>
                </a:cubicBezTo>
                <a:cubicBezTo>
                  <a:pt x="1706" y="277"/>
                  <a:pt x="1706" y="277"/>
                  <a:pt x="1706" y="277"/>
                </a:cubicBezTo>
                <a:cubicBezTo>
                  <a:pt x="1708" y="277"/>
                  <a:pt x="1708" y="277"/>
                  <a:pt x="1708" y="277"/>
                </a:cubicBezTo>
                <a:cubicBezTo>
                  <a:pt x="1709" y="278"/>
                  <a:pt x="1709" y="278"/>
                  <a:pt x="1709" y="278"/>
                </a:cubicBezTo>
                <a:cubicBezTo>
                  <a:pt x="1711" y="278"/>
                  <a:pt x="1711" y="278"/>
                  <a:pt x="1711" y="278"/>
                </a:cubicBezTo>
                <a:cubicBezTo>
                  <a:pt x="1713" y="277"/>
                  <a:pt x="1713" y="277"/>
                  <a:pt x="1713" y="277"/>
                </a:cubicBezTo>
                <a:cubicBezTo>
                  <a:pt x="1713" y="276"/>
                  <a:pt x="1713" y="276"/>
                  <a:pt x="1713" y="276"/>
                </a:cubicBezTo>
                <a:cubicBezTo>
                  <a:pt x="1712" y="275"/>
                  <a:pt x="1712" y="275"/>
                  <a:pt x="1712" y="275"/>
                </a:cubicBezTo>
                <a:cubicBezTo>
                  <a:pt x="1712" y="273"/>
                  <a:pt x="1712" y="273"/>
                  <a:pt x="1712" y="273"/>
                </a:cubicBezTo>
                <a:cubicBezTo>
                  <a:pt x="1713" y="272"/>
                  <a:pt x="1713" y="272"/>
                  <a:pt x="1713" y="272"/>
                </a:cubicBezTo>
                <a:cubicBezTo>
                  <a:pt x="1714" y="272"/>
                  <a:pt x="1714" y="272"/>
                  <a:pt x="1714" y="272"/>
                </a:cubicBezTo>
                <a:cubicBezTo>
                  <a:pt x="1714" y="271"/>
                  <a:pt x="1714" y="271"/>
                  <a:pt x="1714" y="271"/>
                </a:cubicBezTo>
                <a:cubicBezTo>
                  <a:pt x="1716" y="269"/>
                  <a:pt x="1716" y="269"/>
                  <a:pt x="1716" y="269"/>
                </a:cubicBezTo>
                <a:cubicBezTo>
                  <a:pt x="1716" y="268"/>
                  <a:pt x="1716" y="268"/>
                  <a:pt x="1716" y="268"/>
                </a:cubicBezTo>
                <a:cubicBezTo>
                  <a:pt x="1717" y="265"/>
                  <a:pt x="1717" y="265"/>
                  <a:pt x="1717" y="265"/>
                </a:cubicBezTo>
                <a:cubicBezTo>
                  <a:pt x="1716" y="263"/>
                  <a:pt x="1716" y="263"/>
                  <a:pt x="1716" y="263"/>
                </a:cubicBezTo>
                <a:cubicBezTo>
                  <a:pt x="1716" y="261"/>
                  <a:pt x="1716" y="261"/>
                  <a:pt x="1716" y="261"/>
                </a:cubicBezTo>
                <a:cubicBezTo>
                  <a:pt x="1718" y="258"/>
                  <a:pt x="1718" y="258"/>
                  <a:pt x="1718" y="258"/>
                </a:cubicBezTo>
                <a:cubicBezTo>
                  <a:pt x="1719" y="257"/>
                  <a:pt x="1719" y="257"/>
                  <a:pt x="1719" y="257"/>
                </a:cubicBezTo>
                <a:cubicBezTo>
                  <a:pt x="1717" y="252"/>
                  <a:pt x="1717" y="252"/>
                  <a:pt x="1717" y="252"/>
                </a:cubicBezTo>
                <a:cubicBezTo>
                  <a:pt x="1714" y="250"/>
                  <a:pt x="1714" y="250"/>
                  <a:pt x="1714" y="250"/>
                </a:cubicBezTo>
                <a:cubicBezTo>
                  <a:pt x="1713" y="249"/>
                  <a:pt x="1713" y="249"/>
                  <a:pt x="1713" y="249"/>
                </a:cubicBezTo>
                <a:cubicBezTo>
                  <a:pt x="1713" y="246"/>
                  <a:pt x="1713" y="246"/>
                  <a:pt x="1713" y="246"/>
                </a:cubicBezTo>
                <a:cubicBezTo>
                  <a:pt x="1715" y="244"/>
                  <a:pt x="1715" y="244"/>
                  <a:pt x="1715" y="244"/>
                </a:cubicBezTo>
                <a:cubicBezTo>
                  <a:pt x="1716" y="243"/>
                  <a:pt x="1716" y="243"/>
                  <a:pt x="1716" y="243"/>
                </a:cubicBezTo>
                <a:cubicBezTo>
                  <a:pt x="1718" y="243"/>
                  <a:pt x="1718" y="243"/>
                  <a:pt x="1718" y="243"/>
                </a:cubicBezTo>
                <a:cubicBezTo>
                  <a:pt x="1720" y="240"/>
                  <a:pt x="1720" y="240"/>
                  <a:pt x="1720" y="240"/>
                </a:cubicBezTo>
                <a:cubicBezTo>
                  <a:pt x="1722" y="240"/>
                  <a:pt x="1722" y="240"/>
                  <a:pt x="1722" y="240"/>
                </a:cubicBezTo>
                <a:cubicBezTo>
                  <a:pt x="1724" y="242"/>
                  <a:pt x="1724" y="242"/>
                  <a:pt x="1724" y="242"/>
                </a:cubicBezTo>
                <a:cubicBezTo>
                  <a:pt x="1724" y="244"/>
                  <a:pt x="1724" y="244"/>
                  <a:pt x="1724" y="244"/>
                </a:cubicBezTo>
                <a:cubicBezTo>
                  <a:pt x="1726" y="245"/>
                  <a:pt x="1726" y="245"/>
                  <a:pt x="1726" y="245"/>
                </a:cubicBezTo>
                <a:cubicBezTo>
                  <a:pt x="1727" y="246"/>
                  <a:pt x="1727" y="246"/>
                  <a:pt x="1727" y="246"/>
                </a:cubicBezTo>
                <a:cubicBezTo>
                  <a:pt x="1729" y="247"/>
                  <a:pt x="1729" y="247"/>
                  <a:pt x="1729" y="247"/>
                </a:cubicBezTo>
                <a:cubicBezTo>
                  <a:pt x="1728" y="249"/>
                  <a:pt x="1728" y="249"/>
                  <a:pt x="1728" y="249"/>
                </a:cubicBezTo>
                <a:cubicBezTo>
                  <a:pt x="1730" y="250"/>
                  <a:pt x="1730" y="250"/>
                  <a:pt x="1730" y="250"/>
                </a:cubicBezTo>
                <a:cubicBezTo>
                  <a:pt x="1730" y="251"/>
                  <a:pt x="1730" y="251"/>
                  <a:pt x="1730" y="251"/>
                </a:cubicBezTo>
                <a:cubicBezTo>
                  <a:pt x="1731" y="253"/>
                  <a:pt x="1731" y="253"/>
                  <a:pt x="1731" y="253"/>
                </a:cubicBezTo>
                <a:cubicBezTo>
                  <a:pt x="1731" y="254"/>
                  <a:pt x="1731" y="254"/>
                  <a:pt x="1731" y="254"/>
                </a:cubicBezTo>
                <a:cubicBezTo>
                  <a:pt x="1731" y="255"/>
                  <a:pt x="1731" y="255"/>
                  <a:pt x="1731" y="255"/>
                </a:cubicBezTo>
                <a:cubicBezTo>
                  <a:pt x="1732" y="256"/>
                  <a:pt x="1732" y="256"/>
                  <a:pt x="1732" y="256"/>
                </a:cubicBezTo>
                <a:cubicBezTo>
                  <a:pt x="1733" y="256"/>
                  <a:pt x="1733" y="256"/>
                  <a:pt x="1733" y="256"/>
                </a:cubicBezTo>
                <a:cubicBezTo>
                  <a:pt x="1735" y="257"/>
                  <a:pt x="1735" y="257"/>
                  <a:pt x="1735" y="257"/>
                </a:cubicBezTo>
                <a:cubicBezTo>
                  <a:pt x="1737" y="257"/>
                  <a:pt x="1737" y="257"/>
                  <a:pt x="1737" y="257"/>
                </a:cubicBezTo>
                <a:cubicBezTo>
                  <a:pt x="1738" y="257"/>
                  <a:pt x="1738" y="257"/>
                  <a:pt x="1738" y="257"/>
                </a:cubicBezTo>
                <a:cubicBezTo>
                  <a:pt x="1739" y="257"/>
                  <a:pt x="1739" y="257"/>
                  <a:pt x="1739" y="257"/>
                </a:cubicBezTo>
                <a:cubicBezTo>
                  <a:pt x="1740" y="256"/>
                  <a:pt x="1740" y="256"/>
                  <a:pt x="1740" y="256"/>
                </a:cubicBezTo>
                <a:cubicBezTo>
                  <a:pt x="1741" y="255"/>
                  <a:pt x="1741" y="255"/>
                  <a:pt x="1741" y="255"/>
                </a:cubicBezTo>
                <a:cubicBezTo>
                  <a:pt x="1740" y="255"/>
                  <a:pt x="1740" y="255"/>
                  <a:pt x="1740" y="255"/>
                </a:cubicBezTo>
                <a:cubicBezTo>
                  <a:pt x="1739" y="255"/>
                  <a:pt x="1739" y="255"/>
                  <a:pt x="1739" y="255"/>
                </a:cubicBezTo>
                <a:cubicBezTo>
                  <a:pt x="1738" y="254"/>
                  <a:pt x="1738" y="254"/>
                  <a:pt x="1738" y="254"/>
                </a:cubicBezTo>
                <a:cubicBezTo>
                  <a:pt x="1737" y="256"/>
                  <a:pt x="1737" y="256"/>
                  <a:pt x="1737" y="256"/>
                </a:cubicBezTo>
                <a:cubicBezTo>
                  <a:pt x="1735" y="256"/>
                  <a:pt x="1735" y="256"/>
                  <a:pt x="1735" y="256"/>
                </a:cubicBezTo>
                <a:cubicBezTo>
                  <a:pt x="1735" y="255"/>
                  <a:pt x="1735" y="255"/>
                  <a:pt x="1735" y="255"/>
                </a:cubicBezTo>
                <a:cubicBezTo>
                  <a:pt x="1733" y="255"/>
                  <a:pt x="1733" y="255"/>
                  <a:pt x="1733" y="255"/>
                </a:cubicBezTo>
                <a:cubicBezTo>
                  <a:pt x="1732" y="254"/>
                  <a:pt x="1732" y="254"/>
                  <a:pt x="1732" y="254"/>
                </a:cubicBezTo>
                <a:cubicBezTo>
                  <a:pt x="1733" y="253"/>
                  <a:pt x="1733" y="253"/>
                  <a:pt x="1733" y="253"/>
                </a:cubicBezTo>
                <a:cubicBezTo>
                  <a:pt x="1732" y="252"/>
                  <a:pt x="1732" y="252"/>
                  <a:pt x="1732" y="252"/>
                </a:cubicBezTo>
                <a:cubicBezTo>
                  <a:pt x="1731" y="251"/>
                  <a:pt x="1731" y="251"/>
                  <a:pt x="1731" y="251"/>
                </a:cubicBezTo>
                <a:cubicBezTo>
                  <a:pt x="1731" y="248"/>
                  <a:pt x="1731" y="248"/>
                  <a:pt x="1731" y="248"/>
                </a:cubicBezTo>
                <a:cubicBezTo>
                  <a:pt x="1733" y="248"/>
                  <a:pt x="1733" y="248"/>
                  <a:pt x="1733" y="248"/>
                </a:cubicBezTo>
                <a:cubicBezTo>
                  <a:pt x="1734" y="247"/>
                  <a:pt x="1734" y="247"/>
                  <a:pt x="1734" y="247"/>
                </a:cubicBezTo>
                <a:cubicBezTo>
                  <a:pt x="1733" y="247"/>
                  <a:pt x="1733" y="247"/>
                  <a:pt x="1733" y="247"/>
                </a:cubicBezTo>
                <a:cubicBezTo>
                  <a:pt x="1732" y="246"/>
                  <a:pt x="1732" y="246"/>
                  <a:pt x="1732" y="246"/>
                </a:cubicBezTo>
                <a:cubicBezTo>
                  <a:pt x="1732" y="245"/>
                  <a:pt x="1732" y="245"/>
                  <a:pt x="1732" y="245"/>
                </a:cubicBezTo>
                <a:cubicBezTo>
                  <a:pt x="1732" y="244"/>
                  <a:pt x="1732" y="244"/>
                  <a:pt x="1732" y="244"/>
                </a:cubicBezTo>
                <a:cubicBezTo>
                  <a:pt x="1730" y="243"/>
                  <a:pt x="1730" y="243"/>
                  <a:pt x="1730" y="243"/>
                </a:cubicBezTo>
                <a:cubicBezTo>
                  <a:pt x="1730" y="242"/>
                  <a:pt x="1730" y="242"/>
                  <a:pt x="1730" y="242"/>
                </a:cubicBezTo>
                <a:cubicBezTo>
                  <a:pt x="1728" y="240"/>
                  <a:pt x="1728" y="240"/>
                  <a:pt x="1728" y="240"/>
                </a:cubicBezTo>
                <a:cubicBezTo>
                  <a:pt x="1726" y="240"/>
                  <a:pt x="1726" y="240"/>
                  <a:pt x="1726" y="240"/>
                </a:cubicBezTo>
                <a:cubicBezTo>
                  <a:pt x="1723" y="239"/>
                  <a:pt x="1723" y="239"/>
                  <a:pt x="1723" y="239"/>
                </a:cubicBezTo>
                <a:cubicBezTo>
                  <a:pt x="1722" y="238"/>
                  <a:pt x="1722" y="238"/>
                  <a:pt x="1722" y="238"/>
                </a:cubicBezTo>
                <a:cubicBezTo>
                  <a:pt x="1721" y="238"/>
                  <a:pt x="1721" y="238"/>
                  <a:pt x="1721" y="238"/>
                </a:cubicBezTo>
                <a:cubicBezTo>
                  <a:pt x="1719" y="237"/>
                  <a:pt x="1719" y="237"/>
                  <a:pt x="1719" y="237"/>
                </a:cubicBezTo>
                <a:cubicBezTo>
                  <a:pt x="1717" y="237"/>
                  <a:pt x="1717" y="237"/>
                  <a:pt x="1717" y="237"/>
                </a:cubicBezTo>
                <a:cubicBezTo>
                  <a:pt x="1716" y="237"/>
                  <a:pt x="1716" y="237"/>
                  <a:pt x="1716" y="237"/>
                </a:cubicBezTo>
                <a:cubicBezTo>
                  <a:pt x="1714" y="238"/>
                  <a:pt x="1714" y="238"/>
                  <a:pt x="1714" y="238"/>
                </a:cubicBezTo>
                <a:cubicBezTo>
                  <a:pt x="1714" y="240"/>
                  <a:pt x="1714" y="240"/>
                  <a:pt x="1714" y="240"/>
                </a:cubicBezTo>
                <a:cubicBezTo>
                  <a:pt x="1713" y="241"/>
                  <a:pt x="1713" y="241"/>
                  <a:pt x="1713" y="241"/>
                </a:cubicBezTo>
                <a:cubicBezTo>
                  <a:pt x="1711" y="240"/>
                  <a:pt x="1711" y="240"/>
                  <a:pt x="1711" y="240"/>
                </a:cubicBezTo>
                <a:cubicBezTo>
                  <a:pt x="1709" y="241"/>
                  <a:pt x="1709" y="241"/>
                  <a:pt x="1709" y="241"/>
                </a:cubicBezTo>
                <a:cubicBezTo>
                  <a:pt x="1707" y="241"/>
                  <a:pt x="1707" y="241"/>
                  <a:pt x="1707" y="241"/>
                </a:cubicBezTo>
                <a:cubicBezTo>
                  <a:pt x="1707" y="240"/>
                  <a:pt x="1707" y="240"/>
                  <a:pt x="1707" y="240"/>
                </a:cubicBezTo>
                <a:cubicBezTo>
                  <a:pt x="1707" y="238"/>
                  <a:pt x="1707" y="238"/>
                  <a:pt x="1707" y="238"/>
                </a:cubicBezTo>
                <a:cubicBezTo>
                  <a:pt x="1707" y="237"/>
                  <a:pt x="1707" y="237"/>
                  <a:pt x="1707" y="237"/>
                </a:cubicBezTo>
                <a:cubicBezTo>
                  <a:pt x="1704" y="234"/>
                  <a:pt x="1704" y="234"/>
                  <a:pt x="1704" y="234"/>
                </a:cubicBezTo>
                <a:cubicBezTo>
                  <a:pt x="1703" y="233"/>
                  <a:pt x="1703" y="233"/>
                  <a:pt x="1703" y="233"/>
                </a:cubicBezTo>
                <a:cubicBezTo>
                  <a:pt x="1704" y="230"/>
                  <a:pt x="1704" y="230"/>
                  <a:pt x="1704" y="230"/>
                </a:cubicBezTo>
                <a:cubicBezTo>
                  <a:pt x="1702" y="228"/>
                  <a:pt x="1702" y="228"/>
                  <a:pt x="1702" y="228"/>
                </a:cubicBezTo>
                <a:cubicBezTo>
                  <a:pt x="1703" y="226"/>
                  <a:pt x="1703" y="226"/>
                  <a:pt x="1703" y="226"/>
                </a:cubicBezTo>
                <a:cubicBezTo>
                  <a:pt x="1703" y="222"/>
                  <a:pt x="1703" y="222"/>
                  <a:pt x="1703" y="222"/>
                </a:cubicBezTo>
                <a:cubicBezTo>
                  <a:pt x="1702" y="220"/>
                  <a:pt x="1702" y="220"/>
                  <a:pt x="1702" y="220"/>
                </a:cubicBezTo>
                <a:cubicBezTo>
                  <a:pt x="1700" y="218"/>
                  <a:pt x="1700" y="218"/>
                  <a:pt x="1700" y="218"/>
                </a:cubicBezTo>
                <a:cubicBezTo>
                  <a:pt x="1699" y="218"/>
                  <a:pt x="1699" y="218"/>
                  <a:pt x="1699" y="218"/>
                </a:cubicBezTo>
                <a:cubicBezTo>
                  <a:pt x="1698" y="216"/>
                  <a:pt x="1698" y="216"/>
                  <a:pt x="1698" y="216"/>
                </a:cubicBezTo>
                <a:cubicBezTo>
                  <a:pt x="1695" y="214"/>
                  <a:pt x="1695" y="214"/>
                  <a:pt x="1695" y="214"/>
                </a:cubicBezTo>
                <a:cubicBezTo>
                  <a:pt x="1693" y="213"/>
                  <a:pt x="1693" y="213"/>
                  <a:pt x="1693" y="213"/>
                </a:cubicBezTo>
                <a:cubicBezTo>
                  <a:pt x="1693" y="211"/>
                  <a:pt x="1693" y="211"/>
                  <a:pt x="1693" y="211"/>
                </a:cubicBezTo>
                <a:cubicBezTo>
                  <a:pt x="1694" y="209"/>
                  <a:pt x="1694" y="209"/>
                  <a:pt x="1694" y="209"/>
                </a:cubicBezTo>
                <a:cubicBezTo>
                  <a:pt x="1693" y="207"/>
                  <a:pt x="1693" y="207"/>
                  <a:pt x="1693" y="207"/>
                </a:cubicBezTo>
                <a:cubicBezTo>
                  <a:pt x="1692" y="206"/>
                  <a:pt x="1692" y="206"/>
                  <a:pt x="1692" y="206"/>
                </a:cubicBezTo>
                <a:cubicBezTo>
                  <a:pt x="1692" y="205"/>
                  <a:pt x="1692" y="205"/>
                  <a:pt x="1692" y="205"/>
                </a:cubicBezTo>
                <a:cubicBezTo>
                  <a:pt x="1694" y="204"/>
                  <a:pt x="1694" y="204"/>
                  <a:pt x="1694" y="204"/>
                </a:cubicBezTo>
                <a:cubicBezTo>
                  <a:pt x="1696" y="201"/>
                  <a:pt x="1696" y="201"/>
                  <a:pt x="1696" y="201"/>
                </a:cubicBezTo>
                <a:cubicBezTo>
                  <a:pt x="1697" y="199"/>
                  <a:pt x="1697" y="199"/>
                  <a:pt x="1697" y="199"/>
                </a:cubicBezTo>
                <a:cubicBezTo>
                  <a:pt x="1696" y="195"/>
                  <a:pt x="1696" y="195"/>
                  <a:pt x="1696" y="195"/>
                </a:cubicBezTo>
                <a:cubicBezTo>
                  <a:pt x="1693" y="190"/>
                  <a:pt x="1693" y="190"/>
                  <a:pt x="1693" y="190"/>
                </a:cubicBezTo>
                <a:cubicBezTo>
                  <a:pt x="1694" y="190"/>
                  <a:pt x="1694" y="190"/>
                  <a:pt x="1694" y="190"/>
                </a:cubicBezTo>
                <a:cubicBezTo>
                  <a:pt x="1696" y="191"/>
                  <a:pt x="1696" y="191"/>
                  <a:pt x="1696" y="191"/>
                </a:cubicBezTo>
                <a:cubicBezTo>
                  <a:pt x="1696" y="193"/>
                  <a:pt x="1696" y="193"/>
                  <a:pt x="1696" y="193"/>
                </a:cubicBezTo>
                <a:cubicBezTo>
                  <a:pt x="1697" y="193"/>
                  <a:pt x="1697" y="193"/>
                  <a:pt x="1697" y="193"/>
                </a:cubicBezTo>
                <a:cubicBezTo>
                  <a:pt x="1698" y="195"/>
                  <a:pt x="1698" y="195"/>
                  <a:pt x="1698" y="195"/>
                </a:cubicBezTo>
                <a:cubicBezTo>
                  <a:pt x="1699" y="197"/>
                  <a:pt x="1699" y="197"/>
                  <a:pt x="1699" y="197"/>
                </a:cubicBezTo>
                <a:cubicBezTo>
                  <a:pt x="1699" y="200"/>
                  <a:pt x="1699" y="200"/>
                  <a:pt x="1699" y="200"/>
                </a:cubicBezTo>
                <a:cubicBezTo>
                  <a:pt x="1700" y="201"/>
                  <a:pt x="1700" y="201"/>
                  <a:pt x="1700" y="201"/>
                </a:cubicBezTo>
                <a:cubicBezTo>
                  <a:pt x="1699" y="203"/>
                  <a:pt x="1699" y="203"/>
                  <a:pt x="1699" y="203"/>
                </a:cubicBezTo>
                <a:cubicBezTo>
                  <a:pt x="1700" y="204"/>
                  <a:pt x="1700" y="204"/>
                  <a:pt x="1700" y="204"/>
                </a:cubicBezTo>
                <a:cubicBezTo>
                  <a:pt x="1702" y="206"/>
                  <a:pt x="1702" y="206"/>
                  <a:pt x="1702" y="206"/>
                </a:cubicBezTo>
                <a:cubicBezTo>
                  <a:pt x="1702" y="207"/>
                  <a:pt x="1702" y="207"/>
                  <a:pt x="1702" y="207"/>
                </a:cubicBezTo>
                <a:cubicBezTo>
                  <a:pt x="1703" y="208"/>
                  <a:pt x="1703" y="208"/>
                  <a:pt x="1703" y="208"/>
                </a:cubicBezTo>
                <a:cubicBezTo>
                  <a:pt x="1703" y="209"/>
                  <a:pt x="1703" y="209"/>
                  <a:pt x="1703" y="209"/>
                </a:cubicBezTo>
                <a:cubicBezTo>
                  <a:pt x="1702" y="209"/>
                  <a:pt x="1702" y="209"/>
                  <a:pt x="1702" y="209"/>
                </a:cubicBezTo>
                <a:cubicBezTo>
                  <a:pt x="1702" y="210"/>
                  <a:pt x="1702" y="210"/>
                  <a:pt x="1702" y="210"/>
                </a:cubicBezTo>
                <a:cubicBezTo>
                  <a:pt x="1704" y="210"/>
                  <a:pt x="1704" y="210"/>
                  <a:pt x="1704" y="210"/>
                </a:cubicBezTo>
                <a:cubicBezTo>
                  <a:pt x="1706" y="211"/>
                  <a:pt x="1706" y="211"/>
                  <a:pt x="1706" y="211"/>
                </a:cubicBezTo>
                <a:cubicBezTo>
                  <a:pt x="1708" y="211"/>
                  <a:pt x="1708" y="211"/>
                  <a:pt x="1708" y="211"/>
                </a:cubicBezTo>
                <a:cubicBezTo>
                  <a:pt x="1709" y="211"/>
                  <a:pt x="1709" y="211"/>
                  <a:pt x="1709" y="211"/>
                </a:cubicBezTo>
                <a:cubicBezTo>
                  <a:pt x="1710" y="212"/>
                  <a:pt x="1710" y="212"/>
                  <a:pt x="1710" y="212"/>
                </a:cubicBezTo>
                <a:cubicBezTo>
                  <a:pt x="1711" y="213"/>
                  <a:pt x="1711" y="213"/>
                  <a:pt x="1711" y="213"/>
                </a:cubicBezTo>
                <a:cubicBezTo>
                  <a:pt x="1712" y="211"/>
                  <a:pt x="1712" y="211"/>
                  <a:pt x="1712" y="211"/>
                </a:cubicBezTo>
                <a:cubicBezTo>
                  <a:pt x="1713" y="211"/>
                  <a:pt x="1713" y="211"/>
                  <a:pt x="1713" y="211"/>
                </a:cubicBezTo>
                <a:cubicBezTo>
                  <a:pt x="1714" y="210"/>
                  <a:pt x="1714" y="210"/>
                  <a:pt x="1714" y="210"/>
                </a:cubicBezTo>
                <a:cubicBezTo>
                  <a:pt x="1716" y="211"/>
                  <a:pt x="1716" y="211"/>
                  <a:pt x="1716" y="211"/>
                </a:cubicBezTo>
                <a:cubicBezTo>
                  <a:pt x="1717" y="213"/>
                  <a:pt x="1717" y="213"/>
                  <a:pt x="1717" y="213"/>
                </a:cubicBezTo>
                <a:cubicBezTo>
                  <a:pt x="1718" y="213"/>
                  <a:pt x="1718" y="213"/>
                  <a:pt x="1718" y="213"/>
                </a:cubicBezTo>
                <a:cubicBezTo>
                  <a:pt x="1720" y="214"/>
                  <a:pt x="1720" y="214"/>
                  <a:pt x="1720" y="214"/>
                </a:cubicBezTo>
                <a:cubicBezTo>
                  <a:pt x="1723" y="213"/>
                  <a:pt x="1723" y="213"/>
                  <a:pt x="1723" y="213"/>
                </a:cubicBezTo>
                <a:cubicBezTo>
                  <a:pt x="1724" y="212"/>
                  <a:pt x="1724" y="212"/>
                  <a:pt x="1724" y="212"/>
                </a:cubicBezTo>
                <a:cubicBezTo>
                  <a:pt x="1722" y="213"/>
                  <a:pt x="1722" y="213"/>
                  <a:pt x="1722" y="213"/>
                </a:cubicBezTo>
                <a:cubicBezTo>
                  <a:pt x="1720" y="213"/>
                  <a:pt x="1720" y="213"/>
                  <a:pt x="1720" y="213"/>
                </a:cubicBezTo>
                <a:cubicBezTo>
                  <a:pt x="1720" y="211"/>
                  <a:pt x="1720" y="211"/>
                  <a:pt x="1720" y="211"/>
                </a:cubicBezTo>
                <a:cubicBezTo>
                  <a:pt x="1719" y="211"/>
                  <a:pt x="1719" y="211"/>
                  <a:pt x="1719" y="211"/>
                </a:cubicBezTo>
                <a:cubicBezTo>
                  <a:pt x="1718" y="209"/>
                  <a:pt x="1718" y="209"/>
                  <a:pt x="1718" y="209"/>
                </a:cubicBezTo>
                <a:cubicBezTo>
                  <a:pt x="1716" y="209"/>
                  <a:pt x="1716" y="209"/>
                  <a:pt x="1716" y="209"/>
                </a:cubicBezTo>
                <a:cubicBezTo>
                  <a:pt x="1716" y="208"/>
                  <a:pt x="1716" y="208"/>
                  <a:pt x="1716" y="208"/>
                </a:cubicBezTo>
                <a:cubicBezTo>
                  <a:pt x="1715" y="208"/>
                  <a:pt x="1715" y="208"/>
                  <a:pt x="1715" y="208"/>
                </a:cubicBezTo>
                <a:cubicBezTo>
                  <a:pt x="1714" y="209"/>
                  <a:pt x="1714" y="209"/>
                  <a:pt x="1714" y="209"/>
                </a:cubicBezTo>
                <a:cubicBezTo>
                  <a:pt x="1711" y="209"/>
                  <a:pt x="1711" y="209"/>
                  <a:pt x="1711" y="209"/>
                </a:cubicBezTo>
                <a:cubicBezTo>
                  <a:pt x="1710" y="208"/>
                  <a:pt x="1710" y="208"/>
                  <a:pt x="1710" y="208"/>
                </a:cubicBezTo>
                <a:cubicBezTo>
                  <a:pt x="1708" y="208"/>
                  <a:pt x="1708" y="208"/>
                  <a:pt x="1708" y="208"/>
                </a:cubicBezTo>
                <a:cubicBezTo>
                  <a:pt x="1706" y="206"/>
                  <a:pt x="1706" y="206"/>
                  <a:pt x="1706" y="206"/>
                </a:cubicBezTo>
                <a:cubicBezTo>
                  <a:pt x="1705" y="204"/>
                  <a:pt x="1705" y="204"/>
                  <a:pt x="1705" y="204"/>
                </a:cubicBezTo>
                <a:cubicBezTo>
                  <a:pt x="1703" y="201"/>
                  <a:pt x="1703" y="201"/>
                  <a:pt x="1703" y="201"/>
                </a:cubicBezTo>
                <a:cubicBezTo>
                  <a:pt x="1704" y="201"/>
                  <a:pt x="1704" y="201"/>
                  <a:pt x="1704" y="201"/>
                </a:cubicBezTo>
                <a:cubicBezTo>
                  <a:pt x="1704" y="200"/>
                  <a:pt x="1704" y="200"/>
                  <a:pt x="1704" y="200"/>
                </a:cubicBezTo>
                <a:cubicBezTo>
                  <a:pt x="1706" y="199"/>
                  <a:pt x="1706" y="199"/>
                  <a:pt x="1706" y="199"/>
                </a:cubicBezTo>
                <a:cubicBezTo>
                  <a:pt x="1707" y="199"/>
                  <a:pt x="1707" y="199"/>
                  <a:pt x="1707" y="199"/>
                </a:cubicBezTo>
                <a:cubicBezTo>
                  <a:pt x="1709" y="201"/>
                  <a:pt x="1709" y="201"/>
                  <a:pt x="1709" y="201"/>
                </a:cubicBezTo>
                <a:cubicBezTo>
                  <a:pt x="1711" y="202"/>
                  <a:pt x="1711" y="202"/>
                  <a:pt x="1711" y="202"/>
                </a:cubicBezTo>
                <a:cubicBezTo>
                  <a:pt x="1713" y="202"/>
                  <a:pt x="1713" y="202"/>
                  <a:pt x="1713" y="202"/>
                </a:cubicBezTo>
                <a:cubicBezTo>
                  <a:pt x="1715" y="199"/>
                  <a:pt x="1715" y="199"/>
                  <a:pt x="1715" y="199"/>
                </a:cubicBezTo>
                <a:cubicBezTo>
                  <a:pt x="1713" y="197"/>
                  <a:pt x="1713" y="197"/>
                  <a:pt x="1713" y="197"/>
                </a:cubicBezTo>
                <a:cubicBezTo>
                  <a:pt x="1711" y="196"/>
                  <a:pt x="1711" y="196"/>
                  <a:pt x="1711" y="196"/>
                </a:cubicBezTo>
                <a:cubicBezTo>
                  <a:pt x="1709" y="198"/>
                  <a:pt x="1709" y="198"/>
                  <a:pt x="1709" y="198"/>
                </a:cubicBezTo>
                <a:cubicBezTo>
                  <a:pt x="1708" y="197"/>
                  <a:pt x="1708" y="197"/>
                  <a:pt x="1708" y="197"/>
                </a:cubicBezTo>
                <a:cubicBezTo>
                  <a:pt x="1709" y="196"/>
                  <a:pt x="1709" y="196"/>
                  <a:pt x="1709" y="196"/>
                </a:cubicBezTo>
                <a:cubicBezTo>
                  <a:pt x="1710" y="196"/>
                  <a:pt x="1710" y="196"/>
                  <a:pt x="1710" y="196"/>
                </a:cubicBezTo>
                <a:cubicBezTo>
                  <a:pt x="1710" y="195"/>
                  <a:pt x="1710" y="195"/>
                  <a:pt x="1710" y="195"/>
                </a:cubicBezTo>
                <a:cubicBezTo>
                  <a:pt x="1712" y="192"/>
                  <a:pt x="1712" y="192"/>
                  <a:pt x="1712" y="192"/>
                </a:cubicBezTo>
                <a:cubicBezTo>
                  <a:pt x="1713" y="191"/>
                  <a:pt x="1713" y="191"/>
                  <a:pt x="1713" y="191"/>
                </a:cubicBezTo>
                <a:cubicBezTo>
                  <a:pt x="1714" y="192"/>
                  <a:pt x="1714" y="192"/>
                  <a:pt x="1714" y="192"/>
                </a:cubicBezTo>
                <a:cubicBezTo>
                  <a:pt x="1719" y="192"/>
                  <a:pt x="1719" y="192"/>
                  <a:pt x="1719" y="192"/>
                </a:cubicBezTo>
                <a:cubicBezTo>
                  <a:pt x="1720" y="193"/>
                  <a:pt x="1720" y="193"/>
                  <a:pt x="1720" y="193"/>
                </a:cubicBezTo>
                <a:cubicBezTo>
                  <a:pt x="1722" y="194"/>
                  <a:pt x="1722" y="194"/>
                  <a:pt x="1722" y="194"/>
                </a:cubicBezTo>
                <a:cubicBezTo>
                  <a:pt x="1725" y="195"/>
                  <a:pt x="1725" y="195"/>
                  <a:pt x="1725" y="195"/>
                </a:cubicBezTo>
                <a:cubicBezTo>
                  <a:pt x="1726" y="196"/>
                  <a:pt x="1726" y="196"/>
                  <a:pt x="1726" y="196"/>
                </a:cubicBezTo>
                <a:cubicBezTo>
                  <a:pt x="1727" y="197"/>
                  <a:pt x="1727" y="197"/>
                  <a:pt x="1727" y="197"/>
                </a:cubicBezTo>
                <a:cubicBezTo>
                  <a:pt x="1730" y="200"/>
                  <a:pt x="1730" y="200"/>
                  <a:pt x="1730" y="200"/>
                </a:cubicBezTo>
                <a:cubicBezTo>
                  <a:pt x="1731" y="200"/>
                  <a:pt x="1731" y="200"/>
                  <a:pt x="1731" y="200"/>
                </a:cubicBezTo>
                <a:cubicBezTo>
                  <a:pt x="1735" y="199"/>
                  <a:pt x="1735" y="199"/>
                  <a:pt x="1735" y="199"/>
                </a:cubicBezTo>
                <a:cubicBezTo>
                  <a:pt x="1737" y="198"/>
                  <a:pt x="1737" y="198"/>
                  <a:pt x="1737" y="198"/>
                </a:cubicBezTo>
                <a:cubicBezTo>
                  <a:pt x="1738" y="199"/>
                  <a:pt x="1738" y="199"/>
                  <a:pt x="1738" y="199"/>
                </a:cubicBezTo>
                <a:cubicBezTo>
                  <a:pt x="1739" y="198"/>
                  <a:pt x="1739" y="198"/>
                  <a:pt x="1739" y="198"/>
                </a:cubicBezTo>
                <a:cubicBezTo>
                  <a:pt x="1740" y="199"/>
                  <a:pt x="1740" y="199"/>
                  <a:pt x="1740" y="199"/>
                </a:cubicBezTo>
                <a:cubicBezTo>
                  <a:pt x="1740" y="201"/>
                  <a:pt x="1740" y="201"/>
                  <a:pt x="1740" y="201"/>
                </a:cubicBezTo>
                <a:cubicBezTo>
                  <a:pt x="1740" y="202"/>
                  <a:pt x="1740" y="202"/>
                  <a:pt x="1740" y="202"/>
                </a:cubicBezTo>
                <a:cubicBezTo>
                  <a:pt x="1740" y="203"/>
                  <a:pt x="1740" y="203"/>
                  <a:pt x="1740" y="203"/>
                </a:cubicBezTo>
                <a:cubicBezTo>
                  <a:pt x="1738" y="204"/>
                  <a:pt x="1738" y="204"/>
                  <a:pt x="1738" y="204"/>
                </a:cubicBezTo>
                <a:cubicBezTo>
                  <a:pt x="1738" y="206"/>
                  <a:pt x="1738" y="206"/>
                  <a:pt x="1738" y="206"/>
                </a:cubicBezTo>
                <a:cubicBezTo>
                  <a:pt x="1739" y="207"/>
                  <a:pt x="1739" y="207"/>
                  <a:pt x="1739" y="207"/>
                </a:cubicBezTo>
                <a:cubicBezTo>
                  <a:pt x="1739" y="209"/>
                  <a:pt x="1739" y="209"/>
                  <a:pt x="1739" y="209"/>
                </a:cubicBezTo>
                <a:cubicBezTo>
                  <a:pt x="1741" y="211"/>
                  <a:pt x="1741" y="211"/>
                  <a:pt x="1741" y="211"/>
                </a:cubicBezTo>
                <a:cubicBezTo>
                  <a:pt x="1741" y="212"/>
                  <a:pt x="1741" y="212"/>
                  <a:pt x="1741" y="212"/>
                </a:cubicBezTo>
                <a:cubicBezTo>
                  <a:pt x="1740" y="213"/>
                  <a:pt x="1740" y="213"/>
                  <a:pt x="1740" y="213"/>
                </a:cubicBezTo>
                <a:cubicBezTo>
                  <a:pt x="1741" y="217"/>
                  <a:pt x="1741" y="217"/>
                  <a:pt x="1741" y="217"/>
                </a:cubicBezTo>
                <a:cubicBezTo>
                  <a:pt x="1742" y="217"/>
                  <a:pt x="1742" y="217"/>
                  <a:pt x="1742" y="217"/>
                </a:cubicBezTo>
                <a:cubicBezTo>
                  <a:pt x="1742" y="216"/>
                  <a:pt x="1742" y="216"/>
                  <a:pt x="1742" y="216"/>
                </a:cubicBezTo>
                <a:cubicBezTo>
                  <a:pt x="1742" y="215"/>
                  <a:pt x="1742" y="215"/>
                  <a:pt x="1742" y="215"/>
                </a:cubicBezTo>
                <a:cubicBezTo>
                  <a:pt x="1743" y="214"/>
                  <a:pt x="1743" y="214"/>
                  <a:pt x="1743" y="214"/>
                </a:cubicBezTo>
                <a:cubicBezTo>
                  <a:pt x="1742" y="213"/>
                  <a:pt x="1742" y="213"/>
                  <a:pt x="1742" y="213"/>
                </a:cubicBezTo>
                <a:cubicBezTo>
                  <a:pt x="1743" y="212"/>
                  <a:pt x="1743" y="212"/>
                  <a:pt x="1743" y="212"/>
                </a:cubicBezTo>
                <a:cubicBezTo>
                  <a:pt x="1744" y="210"/>
                  <a:pt x="1744" y="210"/>
                  <a:pt x="1744" y="210"/>
                </a:cubicBezTo>
                <a:cubicBezTo>
                  <a:pt x="1745" y="211"/>
                  <a:pt x="1745" y="211"/>
                  <a:pt x="1745" y="211"/>
                </a:cubicBezTo>
                <a:cubicBezTo>
                  <a:pt x="1746" y="213"/>
                  <a:pt x="1746" y="213"/>
                  <a:pt x="1746" y="213"/>
                </a:cubicBezTo>
                <a:cubicBezTo>
                  <a:pt x="1746" y="216"/>
                  <a:pt x="1746" y="216"/>
                  <a:pt x="1746" y="216"/>
                </a:cubicBezTo>
                <a:cubicBezTo>
                  <a:pt x="1746" y="217"/>
                  <a:pt x="1746" y="217"/>
                  <a:pt x="1746" y="217"/>
                </a:cubicBezTo>
                <a:cubicBezTo>
                  <a:pt x="1746" y="218"/>
                  <a:pt x="1746" y="218"/>
                  <a:pt x="1746" y="218"/>
                </a:cubicBezTo>
                <a:cubicBezTo>
                  <a:pt x="1746" y="219"/>
                  <a:pt x="1746" y="219"/>
                  <a:pt x="1746" y="219"/>
                </a:cubicBezTo>
                <a:cubicBezTo>
                  <a:pt x="1745" y="220"/>
                  <a:pt x="1745" y="220"/>
                  <a:pt x="1745" y="220"/>
                </a:cubicBezTo>
                <a:cubicBezTo>
                  <a:pt x="1747" y="221"/>
                  <a:pt x="1747" y="221"/>
                  <a:pt x="1747" y="221"/>
                </a:cubicBezTo>
                <a:cubicBezTo>
                  <a:pt x="1749" y="221"/>
                  <a:pt x="1749" y="221"/>
                  <a:pt x="1749" y="221"/>
                </a:cubicBezTo>
                <a:cubicBezTo>
                  <a:pt x="1751" y="221"/>
                  <a:pt x="1751" y="221"/>
                  <a:pt x="1751" y="221"/>
                </a:cubicBezTo>
                <a:cubicBezTo>
                  <a:pt x="1752" y="223"/>
                  <a:pt x="1752" y="223"/>
                  <a:pt x="1752" y="223"/>
                </a:cubicBezTo>
                <a:cubicBezTo>
                  <a:pt x="1752" y="224"/>
                  <a:pt x="1752" y="224"/>
                  <a:pt x="1752" y="224"/>
                </a:cubicBezTo>
                <a:cubicBezTo>
                  <a:pt x="1754" y="225"/>
                  <a:pt x="1754" y="225"/>
                  <a:pt x="1754" y="225"/>
                </a:cubicBezTo>
                <a:cubicBezTo>
                  <a:pt x="1756" y="225"/>
                  <a:pt x="1756" y="225"/>
                  <a:pt x="1756" y="225"/>
                </a:cubicBezTo>
                <a:cubicBezTo>
                  <a:pt x="1757" y="226"/>
                  <a:pt x="1758" y="227"/>
                  <a:pt x="1758" y="227"/>
                </a:cubicBezTo>
                <a:cubicBezTo>
                  <a:pt x="1759" y="225"/>
                  <a:pt x="1759" y="225"/>
                  <a:pt x="1759" y="225"/>
                </a:cubicBezTo>
                <a:cubicBezTo>
                  <a:pt x="1760" y="223"/>
                  <a:pt x="1760" y="223"/>
                  <a:pt x="1760" y="223"/>
                </a:cubicBezTo>
                <a:cubicBezTo>
                  <a:pt x="1758" y="225"/>
                  <a:pt x="1758" y="225"/>
                  <a:pt x="1758" y="225"/>
                </a:cubicBezTo>
                <a:cubicBezTo>
                  <a:pt x="1757" y="224"/>
                  <a:pt x="1757" y="224"/>
                  <a:pt x="1757" y="224"/>
                </a:cubicBezTo>
                <a:cubicBezTo>
                  <a:pt x="1756" y="225"/>
                  <a:pt x="1756" y="225"/>
                  <a:pt x="1756" y="225"/>
                </a:cubicBezTo>
                <a:cubicBezTo>
                  <a:pt x="1754" y="224"/>
                  <a:pt x="1754" y="224"/>
                  <a:pt x="1754" y="224"/>
                </a:cubicBezTo>
                <a:cubicBezTo>
                  <a:pt x="1752" y="221"/>
                  <a:pt x="1752" y="221"/>
                  <a:pt x="1752" y="221"/>
                </a:cubicBezTo>
                <a:cubicBezTo>
                  <a:pt x="1751" y="220"/>
                  <a:pt x="1751" y="220"/>
                  <a:pt x="1751" y="220"/>
                </a:cubicBezTo>
                <a:cubicBezTo>
                  <a:pt x="1749" y="220"/>
                  <a:pt x="1749" y="220"/>
                  <a:pt x="1749" y="220"/>
                </a:cubicBezTo>
                <a:cubicBezTo>
                  <a:pt x="1748" y="219"/>
                  <a:pt x="1748" y="219"/>
                  <a:pt x="1748" y="219"/>
                </a:cubicBezTo>
                <a:cubicBezTo>
                  <a:pt x="1749" y="218"/>
                  <a:pt x="1749" y="218"/>
                  <a:pt x="1749" y="218"/>
                </a:cubicBezTo>
                <a:cubicBezTo>
                  <a:pt x="1751" y="216"/>
                  <a:pt x="1751" y="216"/>
                  <a:pt x="1751" y="216"/>
                </a:cubicBezTo>
                <a:cubicBezTo>
                  <a:pt x="1750" y="214"/>
                  <a:pt x="1750" y="214"/>
                  <a:pt x="1750" y="214"/>
                </a:cubicBezTo>
                <a:cubicBezTo>
                  <a:pt x="1748" y="213"/>
                  <a:pt x="1748" y="213"/>
                  <a:pt x="1748" y="213"/>
                </a:cubicBezTo>
                <a:cubicBezTo>
                  <a:pt x="1748" y="214"/>
                  <a:pt x="1748" y="215"/>
                  <a:pt x="1748" y="216"/>
                </a:cubicBezTo>
                <a:cubicBezTo>
                  <a:pt x="1748" y="216"/>
                  <a:pt x="1748" y="216"/>
                  <a:pt x="1747" y="217"/>
                </a:cubicBezTo>
                <a:cubicBezTo>
                  <a:pt x="1747" y="217"/>
                  <a:pt x="1747" y="217"/>
                  <a:pt x="1747" y="215"/>
                </a:cubicBezTo>
                <a:cubicBezTo>
                  <a:pt x="1747" y="215"/>
                  <a:pt x="1747" y="215"/>
                  <a:pt x="1746" y="213"/>
                </a:cubicBezTo>
                <a:cubicBezTo>
                  <a:pt x="1746" y="213"/>
                  <a:pt x="1746" y="213"/>
                  <a:pt x="1746" y="211"/>
                </a:cubicBezTo>
                <a:cubicBezTo>
                  <a:pt x="1746" y="211"/>
                  <a:pt x="1746" y="211"/>
                  <a:pt x="1747" y="211"/>
                </a:cubicBezTo>
                <a:cubicBezTo>
                  <a:pt x="1747" y="211"/>
                  <a:pt x="1747" y="211"/>
                  <a:pt x="1748" y="212"/>
                </a:cubicBezTo>
                <a:cubicBezTo>
                  <a:pt x="1748" y="210"/>
                  <a:pt x="1748" y="210"/>
                  <a:pt x="1748" y="210"/>
                </a:cubicBezTo>
                <a:cubicBezTo>
                  <a:pt x="1746" y="207"/>
                  <a:pt x="1746" y="207"/>
                  <a:pt x="1746" y="207"/>
                </a:cubicBezTo>
                <a:cubicBezTo>
                  <a:pt x="1744" y="206"/>
                  <a:pt x="1744" y="206"/>
                  <a:pt x="1744" y="206"/>
                </a:cubicBezTo>
                <a:cubicBezTo>
                  <a:pt x="1743" y="205"/>
                  <a:pt x="1743" y="205"/>
                  <a:pt x="1743" y="205"/>
                </a:cubicBezTo>
                <a:cubicBezTo>
                  <a:pt x="1743" y="203"/>
                  <a:pt x="1743" y="203"/>
                  <a:pt x="1743" y="203"/>
                </a:cubicBezTo>
                <a:cubicBezTo>
                  <a:pt x="1743" y="202"/>
                  <a:pt x="1743" y="202"/>
                  <a:pt x="1743" y="202"/>
                </a:cubicBezTo>
                <a:cubicBezTo>
                  <a:pt x="1743" y="199"/>
                  <a:pt x="1743" y="199"/>
                  <a:pt x="1743" y="199"/>
                </a:cubicBezTo>
                <a:cubicBezTo>
                  <a:pt x="1741" y="197"/>
                  <a:pt x="1741" y="197"/>
                  <a:pt x="1741" y="197"/>
                </a:cubicBezTo>
                <a:cubicBezTo>
                  <a:pt x="1740" y="197"/>
                  <a:pt x="1740" y="197"/>
                  <a:pt x="1740" y="197"/>
                </a:cubicBezTo>
                <a:cubicBezTo>
                  <a:pt x="1738" y="196"/>
                  <a:pt x="1738" y="196"/>
                  <a:pt x="1738" y="196"/>
                </a:cubicBezTo>
                <a:cubicBezTo>
                  <a:pt x="1735" y="196"/>
                  <a:pt x="1735" y="196"/>
                  <a:pt x="1735" y="196"/>
                </a:cubicBezTo>
                <a:cubicBezTo>
                  <a:pt x="1734" y="194"/>
                  <a:pt x="1734" y="194"/>
                  <a:pt x="1734" y="194"/>
                </a:cubicBezTo>
                <a:cubicBezTo>
                  <a:pt x="1732" y="193"/>
                  <a:pt x="1732" y="193"/>
                  <a:pt x="1732" y="193"/>
                </a:cubicBezTo>
                <a:cubicBezTo>
                  <a:pt x="1732" y="191"/>
                  <a:pt x="1732" y="191"/>
                  <a:pt x="1732" y="191"/>
                </a:cubicBezTo>
                <a:cubicBezTo>
                  <a:pt x="1732" y="190"/>
                  <a:pt x="1732" y="190"/>
                  <a:pt x="1732" y="190"/>
                </a:cubicBezTo>
                <a:cubicBezTo>
                  <a:pt x="1732" y="189"/>
                  <a:pt x="1732" y="189"/>
                  <a:pt x="1732" y="189"/>
                </a:cubicBezTo>
                <a:cubicBezTo>
                  <a:pt x="1730" y="190"/>
                  <a:pt x="1730" y="190"/>
                  <a:pt x="1730" y="190"/>
                </a:cubicBezTo>
                <a:cubicBezTo>
                  <a:pt x="1726" y="190"/>
                  <a:pt x="1726" y="190"/>
                  <a:pt x="1726" y="190"/>
                </a:cubicBezTo>
                <a:cubicBezTo>
                  <a:pt x="1724" y="190"/>
                  <a:pt x="1724" y="190"/>
                  <a:pt x="1724" y="190"/>
                </a:cubicBezTo>
                <a:cubicBezTo>
                  <a:pt x="1722" y="189"/>
                  <a:pt x="1722" y="189"/>
                  <a:pt x="1722" y="189"/>
                </a:cubicBezTo>
                <a:cubicBezTo>
                  <a:pt x="1722" y="187"/>
                  <a:pt x="1722" y="187"/>
                  <a:pt x="1722" y="187"/>
                </a:cubicBezTo>
                <a:cubicBezTo>
                  <a:pt x="1721" y="186"/>
                  <a:pt x="1721" y="186"/>
                  <a:pt x="1721" y="186"/>
                </a:cubicBezTo>
                <a:cubicBezTo>
                  <a:pt x="1721" y="184"/>
                  <a:pt x="1721" y="184"/>
                  <a:pt x="1721" y="184"/>
                </a:cubicBezTo>
                <a:cubicBezTo>
                  <a:pt x="1720" y="181"/>
                  <a:pt x="1720" y="181"/>
                  <a:pt x="1720" y="181"/>
                </a:cubicBezTo>
                <a:cubicBezTo>
                  <a:pt x="1717" y="180"/>
                  <a:pt x="1717" y="180"/>
                  <a:pt x="1717" y="180"/>
                </a:cubicBezTo>
                <a:cubicBezTo>
                  <a:pt x="1718" y="179"/>
                  <a:pt x="1718" y="179"/>
                  <a:pt x="1718" y="179"/>
                </a:cubicBezTo>
                <a:cubicBezTo>
                  <a:pt x="1718" y="178"/>
                  <a:pt x="1718" y="178"/>
                  <a:pt x="1718" y="178"/>
                </a:cubicBezTo>
                <a:cubicBezTo>
                  <a:pt x="1717" y="178"/>
                  <a:pt x="1717" y="178"/>
                  <a:pt x="1717" y="178"/>
                </a:cubicBezTo>
                <a:cubicBezTo>
                  <a:pt x="1716" y="177"/>
                  <a:pt x="1716" y="177"/>
                  <a:pt x="1716" y="177"/>
                </a:cubicBezTo>
                <a:cubicBezTo>
                  <a:pt x="1716" y="176"/>
                  <a:pt x="1716" y="176"/>
                  <a:pt x="1716" y="176"/>
                </a:cubicBezTo>
                <a:cubicBezTo>
                  <a:pt x="1716" y="174"/>
                  <a:pt x="1716" y="174"/>
                  <a:pt x="1716" y="174"/>
                </a:cubicBezTo>
                <a:cubicBezTo>
                  <a:pt x="1715" y="173"/>
                  <a:pt x="1715" y="173"/>
                  <a:pt x="1715" y="173"/>
                </a:cubicBezTo>
                <a:cubicBezTo>
                  <a:pt x="1716" y="173"/>
                  <a:pt x="1716" y="173"/>
                  <a:pt x="1716" y="173"/>
                </a:cubicBezTo>
                <a:cubicBezTo>
                  <a:pt x="1718" y="173"/>
                  <a:pt x="1718" y="173"/>
                  <a:pt x="1718" y="173"/>
                </a:cubicBezTo>
                <a:cubicBezTo>
                  <a:pt x="1719" y="171"/>
                  <a:pt x="1719" y="171"/>
                  <a:pt x="1719" y="171"/>
                </a:cubicBezTo>
                <a:cubicBezTo>
                  <a:pt x="1721" y="171"/>
                  <a:pt x="1721" y="171"/>
                  <a:pt x="1721" y="171"/>
                </a:cubicBezTo>
                <a:cubicBezTo>
                  <a:pt x="1724" y="170"/>
                  <a:pt x="1724" y="170"/>
                  <a:pt x="1724" y="170"/>
                </a:cubicBezTo>
                <a:cubicBezTo>
                  <a:pt x="1729" y="168"/>
                  <a:pt x="1729" y="168"/>
                  <a:pt x="1729" y="168"/>
                </a:cubicBezTo>
                <a:cubicBezTo>
                  <a:pt x="1731" y="167"/>
                  <a:pt x="1731" y="167"/>
                  <a:pt x="1731" y="167"/>
                </a:cubicBezTo>
                <a:cubicBezTo>
                  <a:pt x="1732" y="167"/>
                  <a:pt x="1732" y="167"/>
                  <a:pt x="1732" y="167"/>
                </a:cubicBezTo>
                <a:cubicBezTo>
                  <a:pt x="1733" y="167"/>
                  <a:pt x="1733" y="167"/>
                  <a:pt x="1733" y="167"/>
                </a:cubicBezTo>
                <a:cubicBezTo>
                  <a:pt x="1735" y="166"/>
                  <a:pt x="1735" y="166"/>
                  <a:pt x="1735" y="166"/>
                </a:cubicBezTo>
                <a:cubicBezTo>
                  <a:pt x="1736" y="165"/>
                  <a:pt x="1736" y="165"/>
                  <a:pt x="1736" y="165"/>
                </a:cubicBezTo>
                <a:cubicBezTo>
                  <a:pt x="1738" y="164"/>
                  <a:pt x="1738" y="164"/>
                  <a:pt x="1738" y="164"/>
                </a:cubicBezTo>
                <a:cubicBezTo>
                  <a:pt x="1742" y="162"/>
                  <a:pt x="1742" y="162"/>
                  <a:pt x="1742" y="162"/>
                </a:cubicBezTo>
                <a:cubicBezTo>
                  <a:pt x="1743" y="163"/>
                  <a:pt x="1743" y="163"/>
                  <a:pt x="1743" y="163"/>
                </a:cubicBezTo>
                <a:cubicBezTo>
                  <a:pt x="1742" y="164"/>
                  <a:pt x="1742" y="164"/>
                  <a:pt x="1742" y="164"/>
                </a:cubicBezTo>
                <a:cubicBezTo>
                  <a:pt x="1742" y="165"/>
                  <a:pt x="1742" y="165"/>
                  <a:pt x="1742" y="165"/>
                </a:cubicBezTo>
                <a:cubicBezTo>
                  <a:pt x="1741" y="166"/>
                  <a:pt x="1741" y="166"/>
                  <a:pt x="1741" y="166"/>
                </a:cubicBezTo>
                <a:cubicBezTo>
                  <a:pt x="1740" y="168"/>
                  <a:pt x="1740" y="168"/>
                  <a:pt x="1740" y="168"/>
                </a:cubicBezTo>
                <a:cubicBezTo>
                  <a:pt x="1740" y="170"/>
                  <a:pt x="1740" y="170"/>
                  <a:pt x="1740" y="170"/>
                </a:cubicBezTo>
                <a:cubicBezTo>
                  <a:pt x="1743" y="172"/>
                  <a:pt x="1743" y="172"/>
                  <a:pt x="1743" y="172"/>
                </a:cubicBezTo>
                <a:cubicBezTo>
                  <a:pt x="1745" y="172"/>
                  <a:pt x="1745" y="172"/>
                  <a:pt x="1745" y="172"/>
                </a:cubicBezTo>
                <a:cubicBezTo>
                  <a:pt x="1744" y="171"/>
                  <a:pt x="1744" y="171"/>
                  <a:pt x="1744" y="171"/>
                </a:cubicBezTo>
                <a:cubicBezTo>
                  <a:pt x="1741" y="169"/>
                  <a:pt x="1741" y="169"/>
                  <a:pt x="1741" y="169"/>
                </a:cubicBezTo>
                <a:cubicBezTo>
                  <a:pt x="1741" y="168"/>
                  <a:pt x="1741" y="168"/>
                  <a:pt x="1741" y="168"/>
                </a:cubicBezTo>
                <a:cubicBezTo>
                  <a:pt x="1742" y="167"/>
                  <a:pt x="1742" y="167"/>
                  <a:pt x="1742" y="167"/>
                </a:cubicBezTo>
                <a:cubicBezTo>
                  <a:pt x="1745" y="165"/>
                  <a:pt x="1745" y="165"/>
                  <a:pt x="1745" y="165"/>
                </a:cubicBezTo>
                <a:cubicBezTo>
                  <a:pt x="1746" y="163"/>
                  <a:pt x="1746" y="163"/>
                  <a:pt x="1746" y="163"/>
                </a:cubicBezTo>
                <a:cubicBezTo>
                  <a:pt x="1745" y="161"/>
                  <a:pt x="1745" y="161"/>
                  <a:pt x="1745" y="161"/>
                </a:cubicBezTo>
                <a:cubicBezTo>
                  <a:pt x="1743" y="161"/>
                  <a:pt x="1743" y="161"/>
                  <a:pt x="1743" y="161"/>
                </a:cubicBezTo>
                <a:cubicBezTo>
                  <a:pt x="1742" y="160"/>
                  <a:pt x="1742" y="160"/>
                  <a:pt x="1742" y="160"/>
                </a:cubicBezTo>
                <a:cubicBezTo>
                  <a:pt x="1742" y="159"/>
                  <a:pt x="1742" y="159"/>
                  <a:pt x="1742" y="159"/>
                </a:cubicBezTo>
                <a:cubicBezTo>
                  <a:pt x="1740" y="159"/>
                  <a:pt x="1740" y="159"/>
                  <a:pt x="1740" y="159"/>
                </a:cubicBezTo>
                <a:cubicBezTo>
                  <a:pt x="1739" y="159"/>
                  <a:pt x="1739" y="159"/>
                  <a:pt x="1739" y="159"/>
                </a:cubicBezTo>
                <a:cubicBezTo>
                  <a:pt x="1738" y="157"/>
                  <a:pt x="1738" y="157"/>
                  <a:pt x="1738" y="157"/>
                </a:cubicBezTo>
                <a:cubicBezTo>
                  <a:pt x="1736" y="157"/>
                  <a:pt x="1736" y="157"/>
                  <a:pt x="1736" y="157"/>
                </a:cubicBezTo>
                <a:cubicBezTo>
                  <a:pt x="1735" y="158"/>
                  <a:pt x="1735" y="158"/>
                  <a:pt x="1735" y="158"/>
                </a:cubicBezTo>
                <a:cubicBezTo>
                  <a:pt x="1733" y="156"/>
                  <a:pt x="1733" y="156"/>
                  <a:pt x="1733" y="156"/>
                </a:cubicBezTo>
                <a:cubicBezTo>
                  <a:pt x="1734" y="155"/>
                  <a:pt x="1734" y="155"/>
                  <a:pt x="1734" y="155"/>
                </a:cubicBezTo>
                <a:cubicBezTo>
                  <a:pt x="1734" y="154"/>
                  <a:pt x="1734" y="154"/>
                  <a:pt x="1734" y="154"/>
                </a:cubicBezTo>
                <a:cubicBezTo>
                  <a:pt x="1735" y="154"/>
                  <a:pt x="1735" y="154"/>
                  <a:pt x="1735" y="154"/>
                </a:cubicBezTo>
                <a:cubicBezTo>
                  <a:pt x="1736" y="155"/>
                  <a:pt x="1736" y="155"/>
                  <a:pt x="1736" y="155"/>
                </a:cubicBezTo>
                <a:cubicBezTo>
                  <a:pt x="1738" y="155"/>
                  <a:pt x="1738" y="155"/>
                  <a:pt x="1738" y="155"/>
                </a:cubicBezTo>
                <a:cubicBezTo>
                  <a:pt x="1739" y="154"/>
                  <a:pt x="1739" y="154"/>
                  <a:pt x="1739" y="154"/>
                </a:cubicBezTo>
                <a:cubicBezTo>
                  <a:pt x="1738" y="154"/>
                  <a:pt x="1738" y="154"/>
                  <a:pt x="1738" y="154"/>
                </a:cubicBezTo>
                <a:cubicBezTo>
                  <a:pt x="1737" y="154"/>
                  <a:pt x="1737" y="154"/>
                  <a:pt x="1737" y="154"/>
                </a:cubicBezTo>
                <a:cubicBezTo>
                  <a:pt x="1735" y="153"/>
                  <a:pt x="1735" y="153"/>
                  <a:pt x="1735" y="153"/>
                </a:cubicBezTo>
                <a:cubicBezTo>
                  <a:pt x="1735" y="152"/>
                  <a:pt x="1735" y="152"/>
                  <a:pt x="1735" y="152"/>
                </a:cubicBezTo>
                <a:cubicBezTo>
                  <a:pt x="1734" y="152"/>
                  <a:pt x="1734" y="152"/>
                  <a:pt x="1734" y="152"/>
                </a:cubicBezTo>
                <a:cubicBezTo>
                  <a:pt x="1732" y="151"/>
                  <a:pt x="1732" y="151"/>
                  <a:pt x="1732" y="151"/>
                </a:cubicBezTo>
                <a:cubicBezTo>
                  <a:pt x="1730" y="152"/>
                  <a:pt x="1730" y="152"/>
                  <a:pt x="1730" y="152"/>
                </a:cubicBezTo>
                <a:cubicBezTo>
                  <a:pt x="1730" y="151"/>
                  <a:pt x="1730" y="151"/>
                  <a:pt x="1730" y="151"/>
                </a:cubicBezTo>
                <a:cubicBezTo>
                  <a:pt x="1730" y="150"/>
                  <a:pt x="1730" y="150"/>
                  <a:pt x="1730" y="150"/>
                </a:cubicBezTo>
                <a:cubicBezTo>
                  <a:pt x="1730" y="149"/>
                  <a:pt x="1730" y="149"/>
                  <a:pt x="1730" y="149"/>
                </a:cubicBezTo>
                <a:cubicBezTo>
                  <a:pt x="1729" y="148"/>
                  <a:pt x="1729" y="148"/>
                  <a:pt x="1729" y="148"/>
                </a:cubicBezTo>
                <a:cubicBezTo>
                  <a:pt x="1730" y="147"/>
                  <a:pt x="1730" y="147"/>
                  <a:pt x="1730" y="147"/>
                </a:cubicBezTo>
                <a:cubicBezTo>
                  <a:pt x="1731" y="148"/>
                  <a:pt x="1731" y="148"/>
                  <a:pt x="1731" y="148"/>
                </a:cubicBezTo>
                <a:cubicBezTo>
                  <a:pt x="1732" y="149"/>
                  <a:pt x="1732" y="149"/>
                  <a:pt x="1732" y="149"/>
                </a:cubicBezTo>
                <a:cubicBezTo>
                  <a:pt x="1733" y="149"/>
                  <a:pt x="1733" y="149"/>
                  <a:pt x="1733" y="149"/>
                </a:cubicBezTo>
                <a:cubicBezTo>
                  <a:pt x="1735" y="151"/>
                  <a:pt x="1735" y="151"/>
                  <a:pt x="1735" y="151"/>
                </a:cubicBezTo>
                <a:cubicBezTo>
                  <a:pt x="1735" y="150"/>
                  <a:pt x="1735" y="150"/>
                  <a:pt x="1735" y="150"/>
                </a:cubicBezTo>
                <a:cubicBezTo>
                  <a:pt x="1734" y="149"/>
                  <a:pt x="1734" y="149"/>
                  <a:pt x="1734" y="149"/>
                </a:cubicBezTo>
                <a:cubicBezTo>
                  <a:pt x="1736" y="148"/>
                  <a:pt x="1736" y="148"/>
                  <a:pt x="1736" y="148"/>
                </a:cubicBezTo>
                <a:cubicBezTo>
                  <a:pt x="1736" y="146"/>
                  <a:pt x="1736" y="146"/>
                  <a:pt x="1736" y="146"/>
                </a:cubicBezTo>
                <a:cubicBezTo>
                  <a:pt x="1735" y="145"/>
                  <a:pt x="1735" y="145"/>
                  <a:pt x="1735" y="145"/>
                </a:cubicBezTo>
                <a:cubicBezTo>
                  <a:pt x="1735" y="144"/>
                  <a:pt x="1735" y="144"/>
                  <a:pt x="1735" y="144"/>
                </a:cubicBezTo>
                <a:cubicBezTo>
                  <a:pt x="1736" y="145"/>
                  <a:pt x="1736" y="145"/>
                  <a:pt x="1736" y="145"/>
                </a:cubicBezTo>
                <a:cubicBezTo>
                  <a:pt x="1737" y="144"/>
                  <a:pt x="1737" y="144"/>
                  <a:pt x="1737" y="144"/>
                </a:cubicBezTo>
                <a:cubicBezTo>
                  <a:pt x="1734" y="143"/>
                  <a:pt x="1734" y="143"/>
                  <a:pt x="1734" y="143"/>
                </a:cubicBezTo>
                <a:cubicBezTo>
                  <a:pt x="1734" y="144"/>
                  <a:pt x="1734" y="144"/>
                  <a:pt x="1734" y="144"/>
                </a:cubicBezTo>
                <a:cubicBezTo>
                  <a:pt x="1733" y="144"/>
                  <a:pt x="1733" y="144"/>
                  <a:pt x="1733" y="144"/>
                </a:cubicBezTo>
                <a:cubicBezTo>
                  <a:pt x="1733" y="143"/>
                  <a:pt x="1733" y="143"/>
                  <a:pt x="1733" y="143"/>
                </a:cubicBezTo>
                <a:cubicBezTo>
                  <a:pt x="1734" y="142"/>
                  <a:pt x="1734" y="142"/>
                  <a:pt x="1734" y="142"/>
                </a:cubicBezTo>
                <a:cubicBezTo>
                  <a:pt x="1736" y="141"/>
                  <a:pt x="1736" y="141"/>
                  <a:pt x="1736" y="141"/>
                </a:cubicBezTo>
                <a:cubicBezTo>
                  <a:pt x="1738" y="141"/>
                  <a:pt x="1738" y="141"/>
                  <a:pt x="1738" y="141"/>
                </a:cubicBezTo>
                <a:cubicBezTo>
                  <a:pt x="1737" y="140"/>
                  <a:pt x="1737" y="140"/>
                  <a:pt x="1737" y="140"/>
                </a:cubicBezTo>
                <a:cubicBezTo>
                  <a:pt x="1739" y="138"/>
                  <a:pt x="1739" y="138"/>
                  <a:pt x="1739" y="138"/>
                </a:cubicBezTo>
                <a:cubicBezTo>
                  <a:pt x="1739" y="137"/>
                  <a:pt x="1739" y="137"/>
                  <a:pt x="1739" y="137"/>
                </a:cubicBezTo>
                <a:cubicBezTo>
                  <a:pt x="1739" y="136"/>
                  <a:pt x="1739" y="136"/>
                  <a:pt x="1739" y="136"/>
                </a:cubicBezTo>
                <a:cubicBezTo>
                  <a:pt x="1740" y="134"/>
                  <a:pt x="1740" y="134"/>
                  <a:pt x="1740" y="134"/>
                </a:cubicBezTo>
                <a:cubicBezTo>
                  <a:pt x="1741" y="135"/>
                  <a:pt x="1741" y="135"/>
                  <a:pt x="1741" y="135"/>
                </a:cubicBezTo>
                <a:cubicBezTo>
                  <a:pt x="1742" y="135"/>
                  <a:pt x="1742" y="135"/>
                  <a:pt x="1742" y="135"/>
                </a:cubicBezTo>
                <a:cubicBezTo>
                  <a:pt x="1742" y="134"/>
                  <a:pt x="1742" y="134"/>
                  <a:pt x="1742" y="134"/>
                </a:cubicBezTo>
                <a:cubicBezTo>
                  <a:pt x="1743" y="134"/>
                  <a:pt x="1743" y="134"/>
                  <a:pt x="1743" y="134"/>
                </a:cubicBezTo>
                <a:cubicBezTo>
                  <a:pt x="1742" y="133"/>
                  <a:pt x="1742" y="133"/>
                  <a:pt x="1742" y="133"/>
                </a:cubicBezTo>
                <a:cubicBezTo>
                  <a:pt x="1742" y="132"/>
                  <a:pt x="1742" y="132"/>
                  <a:pt x="1742" y="132"/>
                </a:cubicBezTo>
                <a:cubicBezTo>
                  <a:pt x="1744" y="131"/>
                  <a:pt x="1744" y="131"/>
                  <a:pt x="1744" y="131"/>
                </a:cubicBezTo>
                <a:cubicBezTo>
                  <a:pt x="1745" y="131"/>
                  <a:pt x="1745" y="131"/>
                  <a:pt x="1745" y="131"/>
                </a:cubicBezTo>
                <a:cubicBezTo>
                  <a:pt x="1745" y="130"/>
                  <a:pt x="1745" y="130"/>
                  <a:pt x="1745" y="130"/>
                </a:cubicBezTo>
                <a:cubicBezTo>
                  <a:pt x="1746" y="130"/>
                  <a:pt x="1746" y="130"/>
                  <a:pt x="1746" y="130"/>
                </a:cubicBezTo>
                <a:cubicBezTo>
                  <a:pt x="1747" y="130"/>
                  <a:pt x="1747" y="130"/>
                  <a:pt x="1747" y="130"/>
                </a:cubicBezTo>
                <a:cubicBezTo>
                  <a:pt x="1749" y="130"/>
                  <a:pt x="1749" y="130"/>
                  <a:pt x="1749" y="130"/>
                </a:cubicBezTo>
                <a:cubicBezTo>
                  <a:pt x="1748" y="129"/>
                  <a:pt x="1748" y="129"/>
                  <a:pt x="1748" y="129"/>
                </a:cubicBezTo>
                <a:cubicBezTo>
                  <a:pt x="1749" y="128"/>
                  <a:pt x="1749" y="128"/>
                  <a:pt x="1749" y="128"/>
                </a:cubicBezTo>
                <a:cubicBezTo>
                  <a:pt x="1751" y="128"/>
                  <a:pt x="1751" y="128"/>
                  <a:pt x="1751" y="128"/>
                </a:cubicBezTo>
                <a:cubicBezTo>
                  <a:pt x="1753" y="127"/>
                  <a:pt x="1753" y="127"/>
                  <a:pt x="1753" y="127"/>
                </a:cubicBezTo>
                <a:cubicBezTo>
                  <a:pt x="1754" y="125"/>
                  <a:pt x="1754" y="125"/>
                  <a:pt x="1754" y="125"/>
                </a:cubicBezTo>
                <a:cubicBezTo>
                  <a:pt x="1757" y="124"/>
                  <a:pt x="1757" y="124"/>
                  <a:pt x="1757" y="124"/>
                </a:cubicBezTo>
                <a:cubicBezTo>
                  <a:pt x="1757" y="123"/>
                  <a:pt x="1757" y="123"/>
                  <a:pt x="1757" y="123"/>
                </a:cubicBezTo>
                <a:cubicBezTo>
                  <a:pt x="1754" y="124"/>
                  <a:pt x="1754" y="124"/>
                  <a:pt x="1754" y="124"/>
                </a:cubicBezTo>
                <a:cubicBezTo>
                  <a:pt x="1754" y="123"/>
                  <a:pt x="1754" y="123"/>
                  <a:pt x="1754" y="123"/>
                </a:cubicBezTo>
                <a:cubicBezTo>
                  <a:pt x="1752" y="125"/>
                  <a:pt x="1752" y="125"/>
                  <a:pt x="1752" y="125"/>
                </a:cubicBezTo>
                <a:cubicBezTo>
                  <a:pt x="1752" y="124"/>
                  <a:pt x="1752" y="124"/>
                  <a:pt x="1752" y="124"/>
                </a:cubicBezTo>
                <a:cubicBezTo>
                  <a:pt x="1752" y="121"/>
                  <a:pt x="1752" y="121"/>
                  <a:pt x="1752" y="121"/>
                </a:cubicBezTo>
                <a:cubicBezTo>
                  <a:pt x="1753" y="119"/>
                  <a:pt x="1753" y="119"/>
                  <a:pt x="1753" y="119"/>
                </a:cubicBezTo>
                <a:cubicBezTo>
                  <a:pt x="1753" y="120"/>
                  <a:pt x="1753" y="120"/>
                  <a:pt x="1753" y="120"/>
                </a:cubicBezTo>
                <a:cubicBezTo>
                  <a:pt x="1754" y="120"/>
                  <a:pt x="1754" y="120"/>
                  <a:pt x="1754" y="120"/>
                </a:cubicBezTo>
                <a:cubicBezTo>
                  <a:pt x="1755" y="120"/>
                  <a:pt x="1755" y="120"/>
                  <a:pt x="1755" y="120"/>
                </a:cubicBezTo>
                <a:cubicBezTo>
                  <a:pt x="1753" y="118"/>
                  <a:pt x="1753" y="118"/>
                  <a:pt x="1753" y="118"/>
                </a:cubicBezTo>
                <a:cubicBezTo>
                  <a:pt x="1755" y="118"/>
                  <a:pt x="1755" y="118"/>
                  <a:pt x="1755" y="118"/>
                </a:cubicBezTo>
                <a:cubicBezTo>
                  <a:pt x="1756" y="119"/>
                  <a:pt x="1756" y="119"/>
                  <a:pt x="1756" y="119"/>
                </a:cubicBezTo>
                <a:cubicBezTo>
                  <a:pt x="1757" y="119"/>
                  <a:pt x="1757" y="119"/>
                  <a:pt x="1757" y="119"/>
                </a:cubicBezTo>
                <a:cubicBezTo>
                  <a:pt x="1759" y="118"/>
                  <a:pt x="1759" y="118"/>
                  <a:pt x="1759" y="118"/>
                </a:cubicBezTo>
                <a:cubicBezTo>
                  <a:pt x="1760" y="118"/>
                  <a:pt x="1760" y="118"/>
                  <a:pt x="1760" y="118"/>
                </a:cubicBezTo>
                <a:cubicBezTo>
                  <a:pt x="1764" y="117"/>
                  <a:pt x="1764" y="117"/>
                  <a:pt x="1764" y="117"/>
                </a:cubicBezTo>
                <a:cubicBezTo>
                  <a:pt x="1765" y="117"/>
                  <a:pt x="1765" y="117"/>
                  <a:pt x="1765" y="117"/>
                </a:cubicBezTo>
                <a:cubicBezTo>
                  <a:pt x="1766" y="118"/>
                  <a:pt x="1766" y="118"/>
                  <a:pt x="1766" y="118"/>
                </a:cubicBezTo>
                <a:cubicBezTo>
                  <a:pt x="1764" y="121"/>
                  <a:pt x="1764" y="121"/>
                  <a:pt x="1764" y="121"/>
                </a:cubicBezTo>
                <a:cubicBezTo>
                  <a:pt x="1764" y="122"/>
                  <a:pt x="1764" y="122"/>
                  <a:pt x="1764" y="122"/>
                </a:cubicBezTo>
                <a:cubicBezTo>
                  <a:pt x="1766" y="123"/>
                  <a:pt x="1766" y="123"/>
                  <a:pt x="1766" y="123"/>
                </a:cubicBezTo>
                <a:cubicBezTo>
                  <a:pt x="1766" y="121"/>
                  <a:pt x="1766" y="121"/>
                  <a:pt x="1766" y="121"/>
                </a:cubicBezTo>
                <a:cubicBezTo>
                  <a:pt x="1767" y="119"/>
                  <a:pt x="1767" y="119"/>
                  <a:pt x="1767" y="119"/>
                </a:cubicBezTo>
                <a:cubicBezTo>
                  <a:pt x="1767" y="118"/>
                  <a:pt x="1767" y="118"/>
                  <a:pt x="1767" y="118"/>
                </a:cubicBezTo>
                <a:cubicBezTo>
                  <a:pt x="1767" y="117"/>
                  <a:pt x="1767" y="117"/>
                  <a:pt x="1767" y="117"/>
                </a:cubicBezTo>
                <a:cubicBezTo>
                  <a:pt x="1768" y="119"/>
                  <a:pt x="1768" y="119"/>
                  <a:pt x="1768" y="119"/>
                </a:cubicBezTo>
                <a:cubicBezTo>
                  <a:pt x="1768" y="120"/>
                  <a:pt x="1768" y="120"/>
                  <a:pt x="1768" y="120"/>
                </a:cubicBezTo>
                <a:cubicBezTo>
                  <a:pt x="1769" y="120"/>
                  <a:pt x="1769" y="120"/>
                  <a:pt x="1769" y="120"/>
                </a:cubicBezTo>
                <a:cubicBezTo>
                  <a:pt x="1770" y="119"/>
                  <a:pt x="1770" y="119"/>
                  <a:pt x="1770" y="119"/>
                </a:cubicBezTo>
                <a:cubicBezTo>
                  <a:pt x="1769" y="118"/>
                  <a:pt x="1769" y="118"/>
                  <a:pt x="1769" y="118"/>
                </a:cubicBezTo>
                <a:cubicBezTo>
                  <a:pt x="1770" y="117"/>
                  <a:pt x="1770" y="117"/>
                  <a:pt x="1770" y="117"/>
                </a:cubicBezTo>
                <a:cubicBezTo>
                  <a:pt x="1771" y="117"/>
                  <a:pt x="1771" y="117"/>
                  <a:pt x="1771" y="117"/>
                </a:cubicBezTo>
                <a:cubicBezTo>
                  <a:pt x="1771" y="119"/>
                  <a:pt x="1771" y="119"/>
                  <a:pt x="1771" y="119"/>
                </a:cubicBezTo>
                <a:cubicBezTo>
                  <a:pt x="1773" y="117"/>
                  <a:pt x="1773" y="117"/>
                  <a:pt x="1773" y="117"/>
                </a:cubicBezTo>
                <a:cubicBezTo>
                  <a:pt x="1773" y="116"/>
                  <a:pt x="1773" y="116"/>
                  <a:pt x="1773" y="116"/>
                </a:cubicBezTo>
                <a:cubicBezTo>
                  <a:pt x="1772" y="115"/>
                  <a:pt x="1772" y="115"/>
                  <a:pt x="1772" y="115"/>
                </a:cubicBezTo>
                <a:cubicBezTo>
                  <a:pt x="1774" y="115"/>
                  <a:pt x="1774" y="115"/>
                  <a:pt x="1774" y="115"/>
                </a:cubicBezTo>
                <a:cubicBezTo>
                  <a:pt x="1773" y="114"/>
                  <a:pt x="1773" y="114"/>
                  <a:pt x="1773" y="114"/>
                </a:cubicBezTo>
                <a:cubicBezTo>
                  <a:pt x="1775" y="113"/>
                  <a:pt x="1775" y="113"/>
                  <a:pt x="1775" y="113"/>
                </a:cubicBezTo>
                <a:cubicBezTo>
                  <a:pt x="1776" y="113"/>
                  <a:pt x="1776" y="113"/>
                  <a:pt x="1776" y="113"/>
                </a:cubicBezTo>
                <a:cubicBezTo>
                  <a:pt x="1777" y="112"/>
                  <a:pt x="1777" y="112"/>
                  <a:pt x="1777" y="112"/>
                </a:cubicBezTo>
                <a:cubicBezTo>
                  <a:pt x="1778" y="112"/>
                  <a:pt x="1778" y="112"/>
                  <a:pt x="1778" y="112"/>
                </a:cubicBezTo>
                <a:cubicBezTo>
                  <a:pt x="1778" y="113"/>
                  <a:pt x="1778" y="113"/>
                  <a:pt x="1778" y="113"/>
                </a:cubicBezTo>
                <a:cubicBezTo>
                  <a:pt x="1779" y="113"/>
                  <a:pt x="1779" y="113"/>
                  <a:pt x="1779" y="113"/>
                </a:cubicBezTo>
                <a:cubicBezTo>
                  <a:pt x="1781" y="114"/>
                  <a:pt x="1781" y="114"/>
                  <a:pt x="1781" y="114"/>
                </a:cubicBezTo>
                <a:cubicBezTo>
                  <a:pt x="1781" y="115"/>
                  <a:pt x="1781" y="115"/>
                  <a:pt x="1781" y="115"/>
                </a:cubicBezTo>
                <a:cubicBezTo>
                  <a:pt x="1781" y="116"/>
                  <a:pt x="1781" y="116"/>
                  <a:pt x="1781" y="116"/>
                </a:cubicBezTo>
                <a:cubicBezTo>
                  <a:pt x="1780" y="119"/>
                  <a:pt x="1780" y="119"/>
                  <a:pt x="1780" y="119"/>
                </a:cubicBezTo>
                <a:cubicBezTo>
                  <a:pt x="1782" y="118"/>
                  <a:pt x="1782" y="118"/>
                  <a:pt x="1782" y="118"/>
                </a:cubicBezTo>
                <a:cubicBezTo>
                  <a:pt x="1783" y="116"/>
                  <a:pt x="1783" y="116"/>
                  <a:pt x="1783" y="116"/>
                </a:cubicBezTo>
                <a:cubicBezTo>
                  <a:pt x="1782" y="113"/>
                  <a:pt x="1782" y="113"/>
                  <a:pt x="1782" y="113"/>
                </a:cubicBezTo>
                <a:cubicBezTo>
                  <a:pt x="1780" y="112"/>
                  <a:pt x="1780" y="112"/>
                  <a:pt x="1780" y="112"/>
                </a:cubicBezTo>
                <a:cubicBezTo>
                  <a:pt x="1779" y="110"/>
                  <a:pt x="1779" y="110"/>
                  <a:pt x="1779" y="110"/>
                </a:cubicBezTo>
                <a:cubicBezTo>
                  <a:pt x="1778" y="111"/>
                  <a:pt x="1778" y="111"/>
                  <a:pt x="1778" y="111"/>
                </a:cubicBezTo>
                <a:cubicBezTo>
                  <a:pt x="1777" y="111"/>
                  <a:pt x="1777" y="111"/>
                  <a:pt x="1777" y="111"/>
                </a:cubicBezTo>
                <a:cubicBezTo>
                  <a:pt x="1775" y="111"/>
                  <a:pt x="1775" y="111"/>
                  <a:pt x="1775" y="111"/>
                </a:cubicBezTo>
                <a:cubicBezTo>
                  <a:pt x="1775" y="110"/>
                  <a:pt x="1775" y="110"/>
                  <a:pt x="1775" y="110"/>
                </a:cubicBezTo>
                <a:cubicBezTo>
                  <a:pt x="1774" y="109"/>
                  <a:pt x="1774" y="109"/>
                  <a:pt x="1774" y="109"/>
                </a:cubicBezTo>
                <a:cubicBezTo>
                  <a:pt x="1774" y="108"/>
                  <a:pt x="1774" y="108"/>
                  <a:pt x="1774" y="108"/>
                </a:cubicBezTo>
                <a:cubicBezTo>
                  <a:pt x="1777" y="108"/>
                  <a:pt x="1777" y="108"/>
                  <a:pt x="1777" y="108"/>
                </a:cubicBezTo>
                <a:cubicBezTo>
                  <a:pt x="1778" y="107"/>
                  <a:pt x="1778" y="107"/>
                  <a:pt x="1778" y="107"/>
                </a:cubicBezTo>
                <a:cubicBezTo>
                  <a:pt x="1779" y="107"/>
                  <a:pt x="1779" y="107"/>
                  <a:pt x="1779" y="107"/>
                </a:cubicBezTo>
                <a:cubicBezTo>
                  <a:pt x="1780" y="107"/>
                  <a:pt x="1780" y="107"/>
                  <a:pt x="1780" y="107"/>
                </a:cubicBezTo>
                <a:cubicBezTo>
                  <a:pt x="1782" y="107"/>
                  <a:pt x="1782" y="107"/>
                  <a:pt x="1782" y="107"/>
                </a:cubicBezTo>
                <a:cubicBezTo>
                  <a:pt x="1785" y="106"/>
                  <a:pt x="1785" y="106"/>
                  <a:pt x="1785" y="106"/>
                </a:cubicBezTo>
                <a:cubicBezTo>
                  <a:pt x="1787" y="107"/>
                  <a:pt x="1787" y="107"/>
                  <a:pt x="1787" y="107"/>
                </a:cubicBezTo>
                <a:cubicBezTo>
                  <a:pt x="1788" y="107"/>
                  <a:pt x="1788" y="107"/>
                  <a:pt x="1788" y="107"/>
                </a:cubicBezTo>
                <a:cubicBezTo>
                  <a:pt x="1789" y="107"/>
                  <a:pt x="1789" y="107"/>
                  <a:pt x="1789" y="107"/>
                </a:cubicBezTo>
                <a:cubicBezTo>
                  <a:pt x="1790" y="106"/>
                  <a:pt x="1790" y="106"/>
                  <a:pt x="1790" y="106"/>
                </a:cubicBezTo>
                <a:cubicBezTo>
                  <a:pt x="1789" y="105"/>
                  <a:pt x="1789" y="105"/>
                  <a:pt x="1789" y="105"/>
                </a:cubicBezTo>
                <a:cubicBezTo>
                  <a:pt x="1787" y="105"/>
                  <a:pt x="1787" y="105"/>
                  <a:pt x="1787" y="105"/>
                </a:cubicBezTo>
                <a:cubicBezTo>
                  <a:pt x="1785" y="105"/>
                  <a:pt x="1785" y="105"/>
                  <a:pt x="1785" y="105"/>
                </a:cubicBezTo>
                <a:cubicBezTo>
                  <a:pt x="1784" y="105"/>
                  <a:pt x="1784" y="105"/>
                  <a:pt x="1784" y="105"/>
                </a:cubicBezTo>
                <a:cubicBezTo>
                  <a:pt x="1782" y="105"/>
                  <a:pt x="1782" y="105"/>
                  <a:pt x="1782" y="105"/>
                </a:cubicBezTo>
                <a:cubicBezTo>
                  <a:pt x="1782" y="104"/>
                  <a:pt x="1782" y="104"/>
                  <a:pt x="1782" y="104"/>
                </a:cubicBezTo>
                <a:cubicBezTo>
                  <a:pt x="1781" y="103"/>
                  <a:pt x="1781" y="103"/>
                  <a:pt x="1781" y="103"/>
                </a:cubicBezTo>
                <a:cubicBezTo>
                  <a:pt x="1783" y="101"/>
                  <a:pt x="1783" y="101"/>
                  <a:pt x="1783" y="101"/>
                </a:cubicBezTo>
                <a:cubicBezTo>
                  <a:pt x="1781" y="101"/>
                  <a:pt x="1781" y="101"/>
                  <a:pt x="1781" y="101"/>
                </a:cubicBezTo>
                <a:cubicBezTo>
                  <a:pt x="1780" y="99"/>
                  <a:pt x="1780" y="99"/>
                  <a:pt x="1780" y="99"/>
                </a:cubicBezTo>
                <a:cubicBezTo>
                  <a:pt x="1778" y="99"/>
                  <a:pt x="1778" y="99"/>
                  <a:pt x="1778" y="99"/>
                </a:cubicBezTo>
                <a:cubicBezTo>
                  <a:pt x="1777" y="98"/>
                  <a:pt x="1777" y="98"/>
                  <a:pt x="1777" y="98"/>
                </a:cubicBezTo>
                <a:cubicBezTo>
                  <a:pt x="1777" y="96"/>
                  <a:pt x="1777" y="96"/>
                  <a:pt x="1777" y="96"/>
                </a:cubicBezTo>
                <a:cubicBezTo>
                  <a:pt x="1778" y="96"/>
                  <a:pt x="1778" y="96"/>
                  <a:pt x="1778" y="96"/>
                </a:cubicBezTo>
                <a:cubicBezTo>
                  <a:pt x="1778" y="95"/>
                  <a:pt x="1778" y="95"/>
                  <a:pt x="1778" y="95"/>
                </a:cubicBezTo>
                <a:cubicBezTo>
                  <a:pt x="1777" y="93"/>
                  <a:pt x="1777" y="93"/>
                  <a:pt x="1777" y="93"/>
                </a:cubicBezTo>
                <a:cubicBezTo>
                  <a:pt x="1777" y="87"/>
                  <a:pt x="1777" y="87"/>
                  <a:pt x="1777" y="87"/>
                </a:cubicBezTo>
                <a:cubicBezTo>
                  <a:pt x="1778" y="86"/>
                  <a:pt x="1778" y="86"/>
                  <a:pt x="1778" y="86"/>
                </a:cubicBezTo>
                <a:cubicBezTo>
                  <a:pt x="1778" y="84"/>
                  <a:pt x="1778" y="84"/>
                  <a:pt x="1778" y="84"/>
                </a:cubicBezTo>
                <a:cubicBezTo>
                  <a:pt x="1778" y="82"/>
                  <a:pt x="1778" y="82"/>
                  <a:pt x="1778" y="82"/>
                </a:cubicBezTo>
                <a:cubicBezTo>
                  <a:pt x="1779" y="81"/>
                  <a:pt x="1779" y="81"/>
                  <a:pt x="1779" y="81"/>
                </a:cubicBezTo>
                <a:cubicBezTo>
                  <a:pt x="1778" y="80"/>
                  <a:pt x="1778" y="80"/>
                  <a:pt x="1778" y="80"/>
                </a:cubicBezTo>
                <a:cubicBezTo>
                  <a:pt x="1780" y="80"/>
                  <a:pt x="1780" y="80"/>
                  <a:pt x="1780" y="80"/>
                </a:cubicBezTo>
                <a:cubicBezTo>
                  <a:pt x="1780" y="78"/>
                  <a:pt x="1780" y="78"/>
                  <a:pt x="1780" y="78"/>
                </a:cubicBezTo>
                <a:cubicBezTo>
                  <a:pt x="1782" y="77"/>
                  <a:pt x="1782" y="77"/>
                  <a:pt x="1782" y="77"/>
                </a:cubicBezTo>
                <a:cubicBezTo>
                  <a:pt x="1784" y="79"/>
                  <a:pt x="1784" y="79"/>
                  <a:pt x="1784" y="79"/>
                </a:cubicBezTo>
                <a:cubicBezTo>
                  <a:pt x="1785" y="78"/>
                  <a:pt x="1785" y="78"/>
                  <a:pt x="1785" y="78"/>
                </a:cubicBezTo>
                <a:cubicBezTo>
                  <a:pt x="1786" y="78"/>
                  <a:pt x="1786" y="78"/>
                  <a:pt x="1786" y="78"/>
                </a:cubicBezTo>
                <a:cubicBezTo>
                  <a:pt x="1787" y="79"/>
                  <a:pt x="1787" y="79"/>
                  <a:pt x="1787" y="79"/>
                </a:cubicBezTo>
                <a:cubicBezTo>
                  <a:pt x="1789" y="80"/>
                  <a:pt x="1789" y="80"/>
                  <a:pt x="1789" y="80"/>
                </a:cubicBezTo>
                <a:cubicBezTo>
                  <a:pt x="1790" y="78"/>
                  <a:pt x="1790" y="78"/>
                  <a:pt x="1790" y="78"/>
                </a:cubicBezTo>
                <a:cubicBezTo>
                  <a:pt x="1791" y="78"/>
                  <a:pt x="1791" y="78"/>
                  <a:pt x="1791" y="78"/>
                </a:cubicBezTo>
                <a:cubicBezTo>
                  <a:pt x="1791" y="80"/>
                  <a:pt x="1791" y="80"/>
                  <a:pt x="1791" y="80"/>
                </a:cubicBezTo>
                <a:cubicBezTo>
                  <a:pt x="1791" y="81"/>
                  <a:pt x="1791" y="81"/>
                  <a:pt x="1791" y="81"/>
                </a:cubicBezTo>
                <a:cubicBezTo>
                  <a:pt x="1793" y="81"/>
                  <a:pt x="1793" y="81"/>
                  <a:pt x="1793" y="81"/>
                </a:cubicBezTo>
                <a:cubicBezTo>
                  <a:pt x="1793" y="82"/>
                  <a:pt x="1793" y="82"/>
                  <a:pt x="1793" y="82"/>
                </a:cubicBezTo>
                <a:cubicBezTo>
                  <a:pt x="1792" y="83"/>
                  <a:pt x="1792" y="83"/>
                  <a:pt x="1792" y="83"/>
                </a:cubicBezTo>
                <a:cubicBezTo>
                  <a:pt x="1792" y="84"/>
                  <a:pt x="1792" y="84"/>
                  <a:pt x="1792" y="84"/>
                </a:cubicBezTo>
                <a:cubicBezTo>
                  <a:pt x="1792" y="85"/>
                  <a:pt x="1792" y="85"/>
                  <a:pt x="1792" y="85"/>
                </a:cubicBezTo>
                <a:cubicBezTo>
                  <a:pt x="1791" y="88"/>
                  <a:pt x="1791" y="88"/>
                  <a:pt x="1791" y="88"/>
                </a:cubicBezTo>
                <a:cubicBezTo>
                  <a:pt x="1789" y="88"/>
                  <a:pt x="1789" y="88"/>
                  <a:pt x="1789" y="88"/>
                </a:cubicBezTo>
                <a:cubicBezTo>
                  <a:pt x="1788" y="89"/>
                  <a:pt x="1788" y="89"/>
                  <a:pt x="1788" y="89"/>
                </a:cubicBezTo>
                <a:cubicBezTo>
                  <a:pt x="1789" y="90"/>
                  <a:pt x="1789" y="90"/>
                  <a:pt x="1789" y="90"/>
                </a:cubicBezTo>
                <a:cubicBezTo>
                  <a:pt x="1792" y="89"/>
                  <a:pt x="1792" y="89"/>
                  <a:pt x="1792" y="89"/>
                </a:cubicBezTo>
                <a:cubicBezTo>
                  <a:pt x="1794" y="86"/>
                  <a:pt x="1794" y="86"/>
                  <a:pt x="1794" y="86"/>
                </a:cubicBezTo>
                <a:cubicBezTo>
                  <a:pt x="1795" y="86"/>
                  <a:pt x="1795" y="86"/>
                  <a:pt x="1795" y="86"/>
                </a:cubicBezTo>
                <a:cubicBezTo>
                  <a:pt x="1795" y="87"/>
                  <a:pt x="1795" y="87"/>
                  <a:pt x="1795" y="87"/>
                </a:cubicBezTo>
                <a:cubicBezTo>
                  <a:pt x="1794" y="88"/>
                  <a:pt x="1794" y="88"/>
                  <a:pt x="1794" y="88"/>
                </a:cubicBezTo>
                <a:cubicBezTo>
                  <a:pt x="1794" y="89"/>
                  <a:pt x="1794" y="89"/>
                  <a:pt x="1794" y="89"/>
                </a:cubicBezTo>
                <a:cubicBezTo>
                  <a:pt x="1796" y="89"/>
                  <a:pt x="1796" y="89"/>
                  <a:pt x="1796" y="89"/>
                </a:cubicBezTo>
                <a:cubicBezTo>
                  <a:pt x="1797" y="87"/>
                  <a:pt x="1797" y="87"/>
                  <a:pt x="1797" y="87"/>
                </a:cubicBezTo>
                <a:cubicBezTo>
                  <a:pt x="1798" y="87"/>
                  <a:pt x="1798" y="87"/>
                  <a:pt x="1798" y="87"/>
                </a:cubicBezTo>
                <a:cubicBezTo>
                  <a:pt x="1800" y="87"/>
                  <a:pt x="1800" y="87"/>
                  <a:pt x="1800" y="87"/>
                </a:cubicBezTo>
                <a:cubicBezTo>
                  <a:pt x="1800" y="86"/>
                  <a:pt x="1800" y="86"/>
                  <a:pt x="1800" y="86"/>
                </a:cubicBezTo>
                <a:cubicBezTo>
                  <a:pt x="1801" y="85"/>
                  <a:pt x="1801" y="85"/>
                  <a:pt x="1801" y="85"/>
                </a:cubicBezTo>
                <a:cubicBezTo>
                  <a:pt x="1802" y="86"/>
                  <a:pt x="1802" y="86"/>
                  <a:pt x="1802" y="86"/>
                </a:cubicBezTo>
                <a:cubicBezTo>
                  <a:pt x="1803" y="85"/>
                  <a:pt x="1803" y="85"/>
                  <a:pt x="1803" y="85"/>
                </a:cubicBezTo>
                <a:cubicBezTo>
                  <a:pt x="1805" y="87"/>
                  <a:pt x="1805" y="87"/>
                  <a:pt x="1805" y="87"/>
                </a:cubicBezTo>
                <a:cubicBezTo>
                  <a:pt x="1805" y="88"/>
                  <a:pt x="1805" y="88"/>
                  <a:pt x="1805" y="88"/>
                </a:cubicBezTo>
                <a:cubicBezTo>
                  <a:pt x="1805" y="90"/>
                  <a:pt x="1805" y="90"/>
                  <a:pt x="1805" y="90"/>
                </a:cubicBezTo>
                <a:cubicBezTo>
                  <a:pt x="1805" y="91"/>
                  <a:pt x="1805" y="91"/>
                  <a:pt x="1805" y="91"/>
                </a:cubicBezTo>
                <a:cubicBezTo>
                  <a:pt x="1805" y="92"/>
                  <a:pt x="1805" y="92"/>
                  <a:pt x="1805" y="92"/>
                </a:cubicBezTo>
                <a:cubicBezTo>
                  <a:pt x="1804" y="94"/>
                  <a:pt x="1804" y="94"/>
                  <a:pt x="1804" y="94"/>
                </a:cubicBezTo>
                <a:cubicBezTo>
                  <a:pt x="1805" y="97"/>
                  <a:pt x="1805" y="97"/>
                  <a:pt x="1805" y="97"/>
                </a:cubicBezTo>
                <a:cubicBezTo>
                  <a:pt x="1805" y="98"/>
                  <a:pt x="1805" y="98"/>
                  <a:pt x="1805" y="98"/>
                </a:cubicBezTo>
                <a:cubicBezTo>
                  <a:pt x="1804" y="98"/>
                  <a:pt x="1804" y="98"/>
                  <a:pt x="1804" y="98"/>
                </a:cubicBezTo>
                <a:cubicBezTo>
                  <a:pt x="1803" y="99"/>
                  <a:pt x="1803" y="99"/>
                  <a:pt x="1803" y="99"/>
                </a:cubicBezTo>
                <a:cubicBezTo>
                  <a:pt x="1804" y="99"/>
                  <a:pt x="1804" y="99"/>
                  <a:pt x="1804" y="99"/>
                </a:cubicBezTo>
                <a:cubicBezTo>
                  <a:pt x="1807" y="99"/>
                  <a:pt x="1807" y="99"/>
                  <a:pt x="1807" y="99"/>
                </a:cubicBezTo>
                <a:cubicBezTo>
                  <a:pt x="1808" y="97"/>
                  <a:pt x="1808" y="97"/>
                  <a:pt x="1808" y="97"/>
                </a:cubicBezTo>
                <a:cubicBezTo>
                  <a:pt x="1810" y="97"/>
                  <a:pt x="1810" y="97"/>
                  <a:pt x="1810" y="97"/>
                </a:cubicBezTo>
                <a:cubicBezTo>
                  <a:pt x="1811" y="95"/>
                  <a:pt x="1811" y="95"/>
                  <a:pt x="1811" y="95"/>
                </a:cubicBezTo>
                <a:cubicBezTo>
                  <a:pt x="1811" y="93"/>
                  <a:pt x="1811" y="93"/>
                  <a:pt x="1811" y="93"/>
                </a:cubicBezTo>
                <a:cubicBezTo>
                  <a:pt x="1810" y="92"/>
                  <a:pt x="1810" y="92"/>
                  <a:pt x="1810" y="92"/>
                </a:cubicBezTo>
                <a:cubicBezTo>
                  <a:pt x="1809" y="92"/>
                  <a:pt x="1809" y="92"/>
                  <a:pt x="1809" y="92"/>
                </a:cubicBezTo>
                <a:cubicBezTo>
                  <a:pt x="1808" y="91"/>
                  <a:pt x="1808" y="91"/>
                  <a:pt x="1808" y="91"/>
                </a:cubicBezTo>
                <a:cubicBezTo>
                  <a:pt x="1808" y="90"/>
                  <a:pt x="1808" y="90"/>
                  <a:pt x="1808" y="90"/>
                </a:cubicBezTo>
                <a:cubicBezTo>
                  <a:pt x="1809" y="90"/>
                  <a:pt x="1809" y="90"/>
                  <a:pt x="1809" y="90"/>
                </a:cubicBezTo>
                <a:cubicBezTo>
                  <a:pt x="1810" y="90"/>
                  <a:pt x="1810" y="90"/>
                  <a:pt x="1810" y="90"/>
                </a:cubicBezTo>
                <a:cubicBezTo>
                  <a:pt x="1811" y="90"/>
                  <a:pt x="1811" y="90"/>
                  <a:pt x="1811" y="90"/>
                </a:cubicBezTo>
                <a:cubicBezTo>
                  <a:pt x="1813" y="89"/>
                  <a:pt x="1813" y="89"/>
                  <a:pt x="1813" y="89"/>
                </a:cubicBezTo>
                <a:cubicBezTo>
                  <a:pt x="1815" y="87"/>
                  <a:pt x="1815" y="87"/>
                  <a:pt x="1815" y="87"/>
                </a:cubicBezTo>
                <a:cubicBezTo>
                  <a:pt x="1816" y="88"/>
                  <a:pt x="1816" y="88"/>
                  <a:pt x="1816" y="88"/>
                </a:cubicBezTo>
                <a:cubicBezTo>
                  <a:pt x="1817" y="88"/>
                  <a:pt x="1817" y="88"/>
                  <a:pt x="1817" y="88"/>
                </a:cubicBezTo>
                <a:cubicBezTo>
                  <a:pt x="1818" y="86"/>
                  <a:pt x="1818" y="86"/>
                  <a:pt x="1818" y="86"/>
                </a:cubicBezTo>
                <a:cubicBezTo>
                  <a:pt x="1819" y="85"/>
                  <a:pt x="1819" y="85"/>
                  <a:pt x="1819" y="85"/>
                </a:cubicBezTo>
                <a:cubicBezTo>
                  <a:pt x="1819" y="86"/>
                  <a:pt x="1819" y="86"/>
                  <a:pt x="1819" y="86"/>
                </a:cubicBezTo>
                <a:cubicBezTo>
                  <a:pt x="1820" y="85"/>
                  <a:pt x="1820" y="85"/>
                  <a:pt x="1820" y="85"/>
                </a:cubicBezTo>
                <a:cubicBezTo>
                  <a:pt x="1822" y="84"/>
                  <a:pt x="1822" y="84"/>
                  <a:pt x="1822" y="84"/>
                </a:cubicBezTo>
                <a:cubicBezTo>
                  <a:pt x="1822" y="85"/>
                  <a:pt x="1822" y="85"/>
                  <a:pt x="1822" y="85"/>
                </a:cubicBezTo>
                <a:cubicBezTo>
                  <a:pt x="1824" y="85"/>
                  <a:pt x="1824" y="85"/>
                  <a:pt x="1824" y="85"/>
                </a:cubicBezTo>
                <a:cubicBezTo>
                  <a:pt x="1823" y="86"/>
                  <a:pt x="1823" y="86"/>
                  <a:pt x="1823" y="86"/>
                </a:cubicBezTo>
                <a:cubicBezTo>
                  <a:pt x="1824" y="87"/>
                  <a:pt x="1824" y="87"/>
                  <a:pt x="1824" y="87"/>
                </a:cubicBezTo>
                <a:cubicBezTo>
                  <a:pt x="1826" y="87"/>
                  <a:pt x="1826" y="87"/>
                  <a:pt x="1826" y="87"/>
                </a:cubicBezTo>
                <a:cubicBezTo>
                  <a:pt x="1827" y="87"/>
                  <a:pt x="1827" y="87"/>
                  <a:pt x="1827" y="87"/>
                </a:cubicBezTo>
                <a:cubicBezTo>
                  <a:pt x="1828" y="88"/>
                  <a:pt x="1828" y="88"/>
                  <a:pt x="1828" y="88"/>
                </a:cubicBezTo>
                <a:cubicBezTo>
                  <a:pt x="1833" y="90"/>
                  <a:pt x="1833" y="90"/>
                  <a:pt x="1833" y="90"/>
                </a:cubicBezTo>
                <a:cubicBezTo>
                  <a:pt x="1834" y="91"/>
                  <a:pt x="1834" y="91"/>
                  <a:pt x="1834" y="91"/>
                </a:cubicBezTo>
                <a:cubicBezTo>
                  <a:pt x="1834" y="92"/>
                  <a:pt x="1834" y="92"/>
                  <a:pt x="1834" y="92"/>
                </a:cubicBezTo>
                <a:cubicBezTo>
                  <a:pt x="1834" y="93"/>
                  <a:pt x="1834" y="93"/>
                  <a:pt x="1834" y="93"/>
                </a:cubicBezTo>
                <a:cubicBezTo>
                  <a:pt x="1837" y="95"/>
                  <a:pt x="1837" y="95"/>
                  <a:pt x="1837" y="95"/>
                </a:cubicBezTo>
                <a:cubicBezTo>
                  <a:pt x="1837" y="94"/>
                  <a:pt x="1837" y="94"/>
                  <a:pt x="1837" y="94"/>
                </a:cubicBezTo>
                <a:cubicBezTo>
                  <a:pt x="1838" y="94"/>
                  <a:pt x="1838" y="94"/>
                  <a:pt x="1838" y="94"/>
                </a:cubicBezTo>
                <a:cubicBezTo>
                  <a:pt x="1838" y="93"/>
                  <a:pt x="1838" y="93"/>
                  <a:pt x="1838" y="93"/>
                </a:cubicBezTo>
                <a:cubicBezTo>
                  <a:pt x="1837" y="93"/>
                  <a:pt x="1837" y="93"/>
                  <a:pt x="1837" y="93"/>
                </a:cubicBezTo>
                <a:cubicBezTo>
                  <a:pt x="1836" y="92"/>
                  <a:pt x="1836" y="92"/>
                  <a:pt x="1836" y="92"/>
                </a:cubicBezTo>
                <a:cubicBezTo>
                  <a:pt x="1836" y="91"/>
                  <a:pt x="1836" y="91"/>
                  <a:pt x="1836" y="91"/>
                </a:cubicBezTo>
                <a:cubicBezTo>
                  <a:pt x="1837" y="91"/>
                  <a:pt x="1837" y="91"/>
                  <a:pt x="1837" y="91"/>
                </a:cubicBezTo>
                <a:cubicBezTo>
                  <a:pt x="1838" y="91"/>
                  <a:pt x="1838" y="91"/>
                  <a:pt x="1838" y="91"/>
                </a:cubicBezTo>
                <a:cubicBezTo>
                  <a:pt x="1839" y="92"/>
                  <a:pt x="1839" y="92"/>
                  <a:pt x="1839" y="92"/>
                </a:cubicBezTo>
                <a:cubicBezTo>
                  <a:pt x="1840" y="92"/>
                  <a:pt x="1840" y="92"/>
                  <a:pt x="1840" y="92"/>
                </a:cubicBezTo>
                <a:cubicBezTo>
                  <a:pt x="1840" y="93"/>
                  <a:pt x="1840" y="93"/>
                  <a:pt x="1840" y="93"/>
                </a:cubicBezTo>
                <a:cubicBezTo>
                  <a:pt x="1841" y="95"/>
                  <a:pt x="1841" y="95"/>
                  <a:pt x="1841" y="95"/>
                </a:cubicBezTo>
                <a:cubicBezTo>
                  <a:pt x="1842" y="97"/>
                  <a:pt x="1842" y="97"/>
                  <a:pt x="1842" y="97"/>
                </a:cubicBezTo>
                <a:cubicBezTo>
                  <a:pt x="1843" y="96"/>
                  <a:pt x="1843" y="96"/>
                  <a:pt x="1843" y="96"/>
                </a:cubicBezTo>
                <a:cubicBezTo>
                  <a:pt x="1844" y="96"/>
                  <a:pt x="1844" y="96"/>
                  <a:pt x="1844" y="96"/>
                </a:cubicBezTo>
                <a:cubicBezTo>
                  <a:pt x="1844" y="97"/>
                  <a:pt x="1844" y="97"/>
                  <a:pt x="1844" y="97"/>
                </a:cubicBezTo>
                <a:cubicBezTo>
                  <a:pt x="1845" y="98"/>
                  <a:pt x="1845" y="98"/>
                  <a:pt x="1845" y="98"/>
                </a:cubicBezTo>
                <a:cubicBezTo>
                  <a:pt x="1845" y="99"/>
                  <a:pt x="1845" y="99"/>
                  <a:pt x="1845" y="99"/>
                </a:cubicBezTo>
                <a:cubicBezTo>
                  <a:pt x="1846" y="101"/>
                  <a:pt x="1846" y="101"/>
                  <a:pt x="1846" y="101"/>
                </a:cubicBezTo>
                <a:cubicBezTo>
                  <a:pt x="1845" y="100"/>
                  <a:pt x="1845" y="100"/>
                  <a:pt x="1845" y="100"/>
                </a:cubicBezTo>
                <a:cubicBezTo>
                  <a:pt x="1844" y="101"/>
                  <a:pt x="1844" y="101"/>
                  <a:pt x="1844" y="101"/>
                </a:cubicBezTo>
                <a:cubicBezTo>
                  <a:pt x="1843" y="100"/>
                  <a:pt x="1843" y="100"/>
                  <a:pt x="1843" y="100"/>
                </a:cubicBezTo>
                <a:cubicBezTo>
                  <a:pt x="1841" y="99"/>
                  <a:pt x="1841" y="99"/>
                  <a:pt x="1841" y="99"/>
                </a:cubicBezTo>
                <a:cubicBezTo>
                  <a:pt x="1839" y="99"/>
                  <a:pt x="1839" y="99"/>
                  <a:pt x="1839" y="99"/>
                </a:cubicBezTo>
                <a:cubicBezTo>
                  <a:pt x="1840" y="101"/>
                  <a:pt x="1840" y="101"/>
                  <a:pt x="1840" y="101"/>
                </a:cubicBezTo>
                <a:cubicBezTo>
                  <a:pt x="1841" y="101"/>
                  <a:pt x="1841" y="101"/>
                  <a:pt x="1841" y="101"/>
                </a:cubicBezTo>
                <a:cubicBezTo>
                  <a:pt x="1842" y="101"/>
                  <a:pt x="1842" y="101"/>
                  <a:pt x="1842" y="101"/>
                </a:cubicBezTo>
                <a:cubicBezTo>
                  <a:pt x="1842" y="102"/>
                  <a:pt x="1842" y="102"/>
                  <a:pt x="1842" y="102"/>
                </a:cubicBezTo>
                <a:cubicBezTo>
                  <a:pt x="1843" y="103"/>
                  <a:pt x="1843" y="103"/>
                  <a:pt x="1843" y="103"/>
                </a:cubicBezTo>
                <a:cubicBezTo>
                  <a:pt x="1843" y="104"/>
                  <a:pt x="1843" y="104"/>
                  <a:pt x="1843" y="104"/>
                </a:cubicBezTo>
                <a:cubicBezTo>
                  <a:pt x="1844" y="103"/>
                  <a:pt x="1844" y="103"/>
                  <a:pt x="1844" y="103"/>
                </a:cubicBezTo>
                <a:cubicBezTo>
                  <a:pt x="1844" y="102"/>
                  <a:pt x="1844" y="102"/>
                  <a:pt x="1844" y="102"/>
                </a:cubicBezTo>
                <a:cubicBezTo>
                  <a:pt x="1845" y="102"/>
                  <a:pt x="1845" y="102"/>
                  <a:pt x="1845" y="102"/>
                </a:cubicBezTo>
                <a:cubicBezTo>
                  <a:pt x="1845" y="103"/>
                  <a:pt x="1845" y="103"/>
                  <a:pt x="1845" y="103"/>
                </a:cubicBezTo>
                <a:cubicBezTo>
                  <a:pt x="1846" y="103"/>
                  <a:pt x="1846" y="103"/>
                  <a:pt x="1846" y="103"/>
                </a:cubicBezTo>
                <a:cubicBezTo>
                  <a:pt x="1847" y="103"/>
                  <a:pt x="1847" y="103"/>
                  <a:pt x="1847" y="103"/>
                </a:cubicBezTo>
                <a:cubicBezTo>
                  <a:pt x="1848" y="103"/>
                  <a:pt x="1848" y="103"/>
                  <a:pt x="1848" y="103"/>
                </a:cubicBezTo>
                <a:cubicBezTo>
                  <a:pt x="1848" y="104"/>
                  <a:pt x="1848" y="104"/>
                  <a:pt x="1848" y="104"/>
                </a:cubicBezTo>
                <a:cubicBezTo>
                  <a:pt x="1848" y="105"/>
                  <a:pt x="1848" y="105"/>
                  <a:pt x="1848" y="105"/>
                </a:cubicBezTo>
                <a:cubicBezTo>
                  <a:pt x="1849" y="107"/>
                  <a:pt x="1849" y="107"/>
                  <a:pt x="1849" y="107"/>
                </a:cubicBezTo>
                <a:cubicBezTo>
                  <a:pt x="1849" y="109"/>
                  <a:pt x="1849" y="109"/>
                  <a:pt x="1849" y="109"/>
                </a:cubicBezTo>
                <a:cubicBezTo>
                  <a:pt x="1849" y="111"/>
                  <a:pt x="1849" y="111"/>
                  <a:pt x="1849" y="111"/>
                </a:cubicBezTo>
                <a:cubicBezTo>
                  <a:pt x="1848" y="113"/>
                  <a:pt x="1848" y="113"/>
                  <a:pt x="1848" y="113"/>
                </a:cubicBezTo>
                <a:cubicBezTo>
                  <a:pt x="1847" y="114"/>
                  <a:pt x="1847" y="114"/>
                  <a:pt x="1847" y="114"/>
                </a:cubicBezTo>
                <a:cubicBezTo>
                  <a:pt x="1847" y="115"/>
                  <a:pt x="1847" y="115"/>
                  <a:pt x="1847" y="115"/>
                </a:cubicBezTo>
                <a:cubicBezTo>
                  <a:pt x="1847" y="117"/>
                  <a:pt x="1847" y="117"/>
                  <a:pt x="1847" y="117"/>
                </a:cubicBezTo>
                <a:cubicBezTo>
                  <a:pt x="1847" y="118"/>
                  <a:pt x="1847" y="118"/>
                  <a:pt x="1847" y="118"/>
                </a:cubicBezTo>
                <a:cubicBezTo>
                  <a:pt x="1847" y="120"/>
                  <a:pt x="1847" y="120"/>
                  <a:pt x="1847" y="120"/>
                </a:cubicBezTo>
                <a:cubicBezTo>
                  <a:pt x="1846" y="120"/>
                  <a:pt x="1846" y="120"/>
                  <a:pt x="1846" y="120"/>
                </a:cubicBezTo>
                <a:cubicBezTo>
                  <a:pt x="1845" y="122"/>
                  <a:pt x="1845" y="122"/>
                  <a:pt x="1845" y="122"/>
                </a:cubicBezTo>
                <a:cubicBezTo>
                  <a:pt x="1846" y="122"/>
                  <a:pt x="1846" y="122"/>
                  <a:pt x="1846" y="122"/>
                </a:cubicBezTo>
                <a:cubicBezTo>
                  <a:pt x="1845" y="124"/>
                  <a:pt x="1845" y="124"/>
                  <a:pt x="1845" y="124"/>
                </a:cubicBezTo>
                <a:cubicBezTo>
                  <a:pt x="1844" y="125"/>
                  <a:pt x="1844" y="125"/>
                  <a:pt x="1844" y="125"/>
                </a:cubicBezTo>
                <a:cubicBezTo>
                  <a:pt x="1844" y="126"/>
                  <a:pt x="1844" y="126"/>
                  <a:pt x="1844" y="126"/>
                </a:cubicBezTo>
                <a:cubicBezTo>
                  <a:pt x="1844" y="127"/>
                  <a:pt x="1844" y="127"/>
                  <a:pt x="1844" y="127"/>
                </a:cubicBezTo>
                <a:cubicBezTo>
                  <a:pt x="1843" y="127"/>
                  <a:pt x="1843" y="127"/>
                  <a:pt x="1843" y="127"/>
                </a:cubicBezTo>
                <a:cubicBezTo>
                  <a:pt x="1841" y="129"/>
                  <a:pt x="1841" y="129"/>
                  <a:pt x="1841" y="129"/>
                </a:cubicBezTo>
                <a:cubicBezTo>
                  <a:pt x="1842" y="129"/>
                  <a:pt x="1842" y="129"/>
                  <a:pt x="1842" y="129"/>
                </a:cubicBezTo>
                <a:cubicBezTo>
                  <a:pt x="1843" y="128"/>
                  <a:pt x="1843" y="128"/>
                  <a:pt x="1843" y="128"/>
                </a:cubicBezTo>
                <a:cubicBezTo>
                  <a:pt x="1844" y="130"/>
                  <a:pt x="1844" y="130"/>
                  <a:pt x="1844" y="130"/>
                </a:cubicBezTo>
                <a:cubicBezTo>
                  <a:pt x="1843" y="132"/>
                  <a:pt x="1843" y="132"/>
                  <a:pt x="1843" y="132"/>
                </a:cubicBezTo>
                <a:cubicBezTo>
                  <a:pt x="1842" y="134"/>
                  <a:pt x="1842" y="134"/>
                  <a:pt x="1842" y="134"/>
                </a:cubicBezTo>
                <a:cubicBezTo>
                  <a:pt x="1841" y="137"/>
                  <a:pt x="1841" y="137"/>
                  <a:pt x="1841" y="137"/>
                </a:cubicBezTo>
                <a:cubicBezTo>
                  <a:pt x="1842" y="138"/>
                  <a:pt x="1842" y="138"/>
                  <a:pt x="1842" y="138"/>
                </a:cubicBezTo>
                <a:cubicBezTo>
                  <a:pt x="1842" y="139"/>
                  <a:pt x="1842" y="139"/>
                  <a:pt x="1842" y="139"/>
                </a:cubicBezTo>
                <a:cubicBezTo>
                  <a:pt x="1841" y="142"/>
                  <a:pt x="1841" y="142"/>
                  <a:pt x="1841" y="142"/>
                </a:cubicBezTo>
                <a:cubicBezTo>
                  <a:pt x="1839" y="142"/>
                  <a:pt x="1839" y="142"/>
                  <a:pt x="1839" y="142"/>
                </a:cubicBezTo>
                <a:cubicBezTo>
                  <a:pt x="1838" y="142"/>
                  <a:pt x="1838" y="142"/>
                  <a:pt x="1838" y="142"/>
                </a:cubicBezTo>
                <a:cubicBezTo>
                  <a:pt x="1838" y="143"/>
                  <a:pt x="1838" y="143"/>
                  <a:pt x="1838" y="143"/>
                </a:cubicBezTo>
                <a:cubicBezTo>
                  <a:pt x="1838" y="144"/>
                  <a:pt x="1838" y="144"/>
                  <a:pt x="1838" y="144"/>
                </a:cubicBezTo>
                <a:cubicBezTo>
                  <a:pt x="1839" y="146"/>
                  <a:pt x="1839" y="146"/>
                  <a:pt x="1839" y="146"/>
                </a:cubicBezTo>
                <a:cubicBezTo>
                  <a:pt x="1838" y="147"/>
                  <a:pt x="1838" y="147"/>
                  <a:pt x="1838" y="147"/>
                </a:cubicBezTo>
                <a:cubicBezTo>
                  <a:pt x="1837" y="148"/>
                  <a:pt x="1837" y="148"/>
                  <a:pt x="1837" y="148"/>
                </a:cubicBezTo>
                <a:cubicBezTo>
                  <a:pt x="1836" y="150"/>
                  <a:pt x="1836" y="150"/>
                  <a:pt x="1836" y="150"/>
                </a:cubicBezTo>
                <a:cubicBezTo>
                  <a:pt x="1837" y="152"/>
                  <a:pt x="1837" y="152"/>
                  <a:pt x="1837" y="152"/>
                </a:cubicBezTo>
                <a:cubicBezTo>
                  <a:pt x="1837" y="153"/>
                  <a:pt x="1837" y="153"/>
                  <a:pt x="1837" y="153"/>
                </a:cubicBezTo>
                <a:cubicBezTo>
                  <a:pt x="1837" y="154"/>
                  <a:pt x="1837" y="154"/>
                  <a:pt x="1837" y="154"/>
                </a:cubicBezTo>
                <a:cubicBezTo>
                  <a:pt x="1837" y="155"/>
                  <a:pt x="1837" y="155"/>
                  <a:pt x="1837" y="155"/>
                </a:cubicBezTo>
                <a:cubicBezTo>
                  <a:pt x="1838" y="155"/>
                  <a:pt x="1838" y="155"/>
                  <a:pt x="1838" y="155"/>
                </a:cubicBezTo>
                <a:cubicBezTo>
                  <a:pt x="1837" y="159"/>
                  <a:pt x="1837" y="159"/>
                  <a:pt x="1837" y="159"/>
                </a:cubicBezTo>
                <a:cubicBezTo>
                  <a:pt x="1836" y="159"/>
                  <a:pt x="1836" y="159"/>
                  <a:pt x="1836" y="159"/>
                </a:cubicBezTo>
                <a:cubicBezTo>
                  <a:pt x="1835" y="161"/>
                  <a:pt x="1835" y="161"/>
                  <a:pt x="1835" y="161"/>
                </a:cubicBezTo>
                <a:cubicBezTo>
                  <a:pt x="1836" y="160"/>
                  <a:pt x="1836" y="160"/>
                  <a:pt x="1836" y="160"/>
                </a:cubicBezTo>
                <a:cubicBezTo>
                  <a:pt x="1837" y="160"/>
                  <a:pt x="1837" y="160"/>
                  <a:pt x="1837" y="160"/>
                </a:cubicBezTo>
                <a:cubicBezTo>
                  <a:pt x="1838" y="159"/>
                  <a:pt x="1838" y="159"/>
                  <a:pt x="1838" y="159"/>
                </a:cubicBezTo>
                <a:cubicBezTo>
                  <a:pt x="1839" y="157"/>
                  <a:pt x="1839" y="157"/>
                  <a:pt x="1839" y="157"/>
                </a:cubicBezTo>
                <a:cubicBezTo>
                  <a:pt x="1838" y="157"/>
                  <a:pt x="1838" y="157"/>
                  <a:pt x="1838" y="157"/>
                </a:cubicBezTo>
                <a:cubicBezTo>
                  <a:pt x="1839" y="156"/>
                  <a:pt x="1839" y="156"/>
                  <a:pt x="1839" y="156"/>
                </a:cubicBezTo>
                <a:cubicBezTo>
                  <a:pt x="1841" y="156"/>
                  <a:pt x="1841" y="156"/>
                  <a:pt x="1841" y="156"/>
                </a:cubicBezTo>
                <a:cubicBezTo>
                  <a:pt x="1841" y="155"/>
                  <a:pt x="1841" y="155"/>
                  <a:pt x="1841" y="155"/>
                </a:cubicBezTo>
                <a:cubicBezTo>
                  <a:pt x="1838" y="153"/>
                  <a:pt x="1838" y="153"/>
                  <a:pt x="1838" y="153"/>
                </a:cubicBezTo>
                <a:cubicBezTo>
                  <a:pt x="1838" y="152"/>
                  <a:pt x="1838" y="152"/>
                  <a:pt x="1838" y="152"/>
                </a:cubicBezTo>
                <a:cubicBezTo>
                  <a:pt x="1839" y="150"/>
                  <a:pt x="1839" y="150"/>
                  <a:pt x="1839" y="150"/>
                </a:cubicBezTo>
                <a:cubicBezTo>
                  <a:pt x="1841" y="150"/>
                  <a:pt x="1841" y="150"/>
                  <a:pt x="1841" y="150"/>
                </a:cubicBezTo>
                <a:cubicBezTo>
                  <a:pt x="1843" y="150"/>
                  <a:pt x="1843" y="150"/>
                  <a:pt x="1843" y="150"/>
                </a:cubicBezTo>
                <a:cubicBezTo>
                  <a:pt x="1845" y="148"/>
                  <a:pt x="1845" y="148"/>
                  <a:pt x="1845" y="148"/>
                </a:cubicBezTo>
                <a:cubicBezTo>
                  <a:pt x="1846" y="148"/>
                  <a:pt x="1846" y="148"/>
                  <a:pt x="1846" y="148"/>
                </a:cubicBezTo>
                <a:cubicBezTo>
                  <a:pt x="1846" y="147"/>
                  <a:pt x="1846" y="147"/>
                  <a:pt x="1846" y="147"/>
                </a:cubicBezTo>
                <a:cubicBezTo>
                  <a:pt x="1846" y="146"/>
                  <a:pt x="1846" y="146"/>
                  <a:pt x="1846" y="146"/>
                </a:cubicBezTo>
                <a:cubicBezTo>
                  <a:pt x="1848" y="145"/>
                  <a:pt x="1848" y="145"/>
                  <a:pt x="1848" y="145"/>
                </a:cubicBezTo>
                <a:cubicBezTo>
                  <a:pt x="1848" y="143"/>
                  <a:pt x="1848" y="143"/>
                  <a:pt x="1848" y="143"/>
                </a:cubicBezTo>
                <a:cubicBezTo>
                  <a:pt x="1848" y="142"/>
                  <a:pt x="1848" y="142"/>
                  <a:pt x="1848" y="142"/>
                </a:cubicBezTo>
                <a:cubicBezTo>
                  <a:pt x="1849" y="142"/>
                  <a:pt x="1849" y="142"/>
                  <a:pt x="1849" y="142"/>
                </a:cubicBezTo>
                <a:cubicBezTo>
                  <a:pt x="1851" y="142"/>
                  <a:pt x="1851" y="142"/>
                  <a:pt x="1851" y="142"/>
                </a:cubicBezTo>
                <a:cubicBezTo>
                  <a:pt x="1851" y="140"/>
                  <a:pt x="1851" y="140"/>
                  <a:pt x="1851" y="140"/>
                </a:cubicBezTo>
                <a:cubicBezTo>
                  <a:pt x="1853" y="138"/>
                  <a:pt x="1853" y="138"/>
                  <a:pt x="1853" y="138"/>
                </a:cubicBezTo>
                <a:cubicBezTo>
                  <a:pt x="1853" y="136"/>
                  <a:pt x="1853" y="136"/>
                  <a:pt x="1853" y="136"/>
                </a:cubicBezTo>
                <a:cubicBezTo>
                  <a:pt x="1853" y="135"/>
                  <a:pt x="1853" y="135"/>
                  <a:pt x="1853" y="135"/>
                </a:cubicBezTo>
                <a:cubicBezTo>
                  <a:pt x="1850" y="137"/>
                  <a:pt x="1850" y="137"/>
                  <a:pt x="1850" y="137"/>
                </a:cubicBezTo>
                <a:cubicBezTo>
                  <a:pt x="1850" y="138"/>
                  <a:pt x="1850" y="138"/>
                  <a:pt x="1850" y="138"/>
                </a:cubicBezTo>
                <a:cubicBezTo>
                  <a:pt x="1848" y="139"/>
                  <a:pt x="1848" y="139"/>
                  <a:pt x="1848" y="139"/>
                </a:cubicBezTo>
                <a:cubicBezTo>
                  <a:pt x="1847" y="138"/>
                  <a:pt x="1847" y="138"/>
                  <a:pt x="1847" y="138"/>
                </a:cubicBezTo>
                <a:cubicBezTo>
                  <a:pt x="1846" y="137"/>
                  <a:pt x="1846" y="137"/>
                  <a:pt x="1846" y="137"/>
                </a:cubicBezTo>
                <a:cubicBezTo>
                  <a:pt x="1847" y="135"/>
                  <a:pt x="1847" y="135"/>
                  <a:pt x="1847" y="135"/>
                </a:cubicBezTo>
                <a:cubicBezTo>
                  <a:pt x="1847" y="133"/>
                  <a:pt x="1847" y="133"/>
                  <a:pt x="1847" y="133"/>
                </a:cubicBezTo>
                <a:cubicBezTo>
                  <a:pt x="1848" y="132"/>
                  <a:pt x="1848" y="132"/>
                  <a:pt x="1848" y="132"/>
                </a:cubicBezTo>
                <a:cubicBezTo>
                  <a:pt x="1850" y="132"/>
                  <a:pt x="1850" y="132"/>
                  <a:pt x="1850" y="132"/>
                </a:cubicBezTo>
                <a:cubicBezTo>
                  <a:pt x="1852" y="134"/>
                  <a:pt x="1852" y="134"/>
                  <a:pt x="1852" y="134"/>
                </a:cubicBezTo>
                <a:cubicBezTo>
                  <a:pt x="1853" y="133"/>
                  <a:pt x="1853" y="133"/>
                  <a:pt x="1853" y="133"/>
                </a:cubicBezTo>
                <a:cubicBezTo>
                  <a:pt x="1853" y="131"/>
                  <a:pt x="1853" y="131"/>
                  <a:pt x="1853" y="131"/>
                </a:cubicBezTo>
                <a:cubicBezTo>
                  <a:pt x="1854" y="130"/>
                  <a:pt x="1854" y="130"/>
                  <a:pt x="1854" y="130"/>
                </a:cubicBezTo>
                <a:cubicBezTo>
                  <a:pt x="1855" y="131"/>
                  <a:pt x="1855" y="131"/>
                  <a:pt x="1855" y="131"/>
                </a:cubicBezTo>
                <a:cubicBezTo>
                  <a:pt x="1854" y="132"/>
                  <a:pt x="1854" y="132"/>
                  <a:pt x="1854" y="132"/>
                </a:cubicBezTo>
                <a:cubicBezTo>
                  <a:pt x="1854" y="133"/>
                  <a:pt x="1854" y="133"/>
                  <a:pt x="1854" y="133"/>
                </a:cubicBezTo>
                <a:cubicBezTo>
                  <a:pt x="1857" y="136"/>
                  <a:pt x="1857" y="136"/>
                  <a:pt x="1857" y="136"/>
                </a:cubicBezTo>
                <a:cubicBezTo>
                  <a:pt x="1859" y="136"/>
                  <a:pt x="1859" y="136"/>
                  <a:pt x="1859" y="136"/>
                </a:cubicBezTo>
                <a:cubicBezTo>
                  <a:pt x="1860" y="136"/>
                  <a:pt x="1860" y="136"/>
                  <a:pt x="1860" y="136"/>
                </a:cubicBezTo>
                <a:cubicBezTo>
                  <a:pt x="1862" y="135"/>
                  <a:pt x="1862" y="135"/>
                  <a:pt x="1862" y="135"/>
                </a:cubicBezTo>
                <a:cubicBezTo>
                  <a:pt x="1863" y="134"/>
                  <a:pt x="1863" y="134"/>
                  <a:pt x="1863" y="134"/>
                </a:cubicBezTo>
                <a:cubicBezTo>
                  <a:pt x="1863" y="133"/>
                  <a:pt x="1863" y="133"/>
                  <a:pt x="1863" y="133"/>
                </a:cubicBezTo>
                <a:cubicBezTo>
                  <a:pt x="1861" y="131"/>
                  <a:pt x="1861" y="131"/>
                  <a:pt x="1861" y="131"/>
                </a:cubicBezTo>
                <a:cubicBezTo>
                  <a:pt x="1861" y="130"/>
                  <a:pt x="1861" y="130"/>
                  <a:pt x="1861" y="130"/>
                </a:cubicBezTo>
                <a:cubicBezTo>
                  <a:pt x="1862" y="130"/>
                  <a:pt x="1862" y="130"/>
                  <a:pt x="1862" y="130"/>
                </a:cubicBezTo>
                <a:cubicBezTo>
                  <a:pt x="1864" y="132"/>
                  <a:pt x="1864" y="132"/>
                  <a:pt x="1864" y="132"/>
                </a:cubicBezTo>
                <a:cubicBezTo>
                  <a:pt x="1865" y="133"/>
                  <a:pt x="1865" y="133"/>
                  <a:pt x="1865" y="133"/>
                </a:cubicBezTo>
                <a:cubicBezTo>
                  <a:pt x="1866" y="134"/>
                  <a:pt x="1866" y="134"/>
                  <a:pt x="1866" y="134"/>
                </a:cubicBezTo>
                <a:cubicBezTo>
                  <a:pt x="1866" y="135"/>
                  <a:pt x="1866" y="135"/>
                  <a:pt x="1866" y="135"/>
                </a:cubicBezTo>
                <a:cubicBezTo>
                  <a:pt x="1866" y="136"/>
                  <a:pt x="1866" y="136"/>
                  <a:pt x="1866" y="136"/>
                </a:cubicBezTo>
                <a:cubicBezTo>
                  <a:pt x="1868" y="137"/>
                  <a:pt x="1868" y="137"/>
                  <a:pt x="1868" y="137"/>
                </a:cubicBezTo>
                <a:cubicBezTo>
                  <a:pt x="1868" y="139"/>
                  <a:pt x="1868" y="139"/>
                  <a:pt x="1868" y="139"/>
                </a:cubicBezTo>
                <a:cubicBezTo>
                  <a:pt x="1869" y="140"/>
                  <a:pt x="1869" y="140"/>
                  <a:pt x="1869" y="140"/>
                </a:cubicBezTo>
                <a:cubicBezTo>
                  <a:pt x="1869" y="139"/>
                  <a:pt x="1869" y="139"/>
                  <a:pt x="1869" y="139"/>
                </a:cubicBezTo>
                <a:cubicBezTo>
                  <a:pt x="1870" y="138"/>
                  <a:pt x="1870" y="138"/>
                  <a:pt x="1870" y="138"/>
                </a:cubicBezTo>
                <a:cubicBezTo>
                  <a:pt x="1871" y="138"/>
                  <a:pt x="1871" y="138"/>
                  <a:pt x="1871" y="138"/>
                </a:cubicBezTo>
                <a:cubicBezTo>
                  <a:pt x="1871" y="137"/>
                  <a:pt x="1871" y="137"/>
                  <a:pt x="1871" y="137"/>
                </a:cubicBezTo>
                <a:cubicBezTo>
                  <a:pt x="1871" y="136"/>
                  <a:pt x="1871" y="136"/>
                  <a:pt x="1871" y="136"/>
                </a:cubicBezTo>
                <a:cubicBezTo>
                  <a:pt x="1870" y="137"/>
                  <a:pt x="1870" y="137"/>
                  <a:pt x="1870" y="137"/>
                </a:cubicBezTo>
                <a:cubicBezTo>
                  <a:pt x="1869" y="137"/>
                  <a:pt x="1869" y="137"/>
                  <a:pt x="1869" y="137"/>
                </a:cubicBezTo>
                <a:cubicBezTo>
                  <a:pt x="1868" y="135"/>
                  <a:pt x="1868" y="135"/>
                  <a:pt x="1868" y="135"/>
                </a:cubicBezTo>
                <a:cubicBezTo>
                  <a:pt x="1870" y="133"/>
                  <a:pt x="1870" y="133"/>
                  <a:pt x="1870" y="133"/>
                </a:cubicBezTo>
                <a:cubicBezTo>
                  <a:pt x="1871" y="133"/>
                  <a:pt x="1871" y="133"/>
                  <a:pt x="1871" y="133"/>
                </a:cubicBezTo>
                <a:cubicBezTo>
                  <a:pt x="1871" y="132"/>
                  <a:pt x="1871" y="132"/>
                  <a:pt x="1871" y="132"/>
                </a:cubicBezTo>
                <a:cubicBezTo>
                  <a:pt x="1872" y="132"/>
                  <a:pt x="1872" y="132"/>
                  <a:pt x="1872" y="132"/>
                </a:cubicBezTo>
                <a:cubicBezTo>
                  <a:pt x="1873" y="131"/>
                  <a:pt x="1873" y="131"/>
                  <a:pt x="1873" y="131"/>
                </a:cubicBezTo>
                <a:cubicBezTo>
                  <a:pt x="1875" y="130"/>
                  <a:pt x="1875" y="130"/>
                  <a:pt x="1875" y="130"/>
                </a:cubicBezTo>
                <a:cubicBezTo>
                  <a:pt x="1880" y="129"/>
                  <a:pt x="1880" y="129"/>
                  <a:pt x="1880" y="129"/>
                </a:cubicBezTo>
                <a:cubicBezTo>
                  <a:pt x="1885" y="129"/>
                  <a:pt x="1885" y="129"/>
                  <a:pt x="1885" y="129"/>
                </a:cubicBezTo>
                <a:cubicBezTo>
                  <a:pt x="1888" y="127"/>
                  <a:pt x="1888" y="127"/>
                  <a:pt x="1888" y="127"/>
                </a:cubicBezTo>
                <a:cubicBezTo>
                  <a:pt x="1890" y="127"/>
                  <a:pt x="1890" y="127"/>
                  <a:pt x="1890" y="127"/>
                </a:cubicBezTo>
                <a:cubicBezTo>
                  <a:pt x="1892" y="128"/>
                  <a:pt x="1892" y="128"/>
                  <a:pt x="1892" y="128"/>
                </a:cubicBezTo>
                <a:cubicBezTo>
                  <a:pt x="1892" y="129"/>
                  <a:pt x="1892" y="129"/>
                  <a:pt x="1892" y="129"/>
                </a:cubicBezTo>
                <a:cubicBezTo>
                  <a:pt x="1891" y="129"/>
                  <a:pt x="1891" y="129"/>
                  <a:pt x="1891" y="129"/>
                </a:cubicBezTo>
                <a:cubicBezTo>
                  <a:pt x="1891" y="131"/>
                  <a:pt x="1891" y="131"/>
                  <a:pt x="1891" y="131"/>
                </a:cubicBezTo>
                <a:cubicBezTo>
                  <a:pt x="1891" y="133"/>
                  <a:pt x="1891" y="133"/>
                  <a:pt x="1891" y="133"/>
                </a:cubicBezTo>
                <a:cubicBezTo>
                  <a:pt x="1893" y="135"/>
                  <a:pt x="1893" y="135"/>
                  <a:pt x="1893" y="135"/>
                </a:cubicBezTo>
                <a:cubicBezTo>
                  <a:pt x="1899" y="135"/>
                  <a:pt x="1899" y="135"/>
                  <a:pt x="1899" y="135"/>
                </a:cubicBezTo>
                <a:cubicBezTo>
                  <a:pt x="1900" y="135"/>
                  <a:pt x="1900" y="135"/>
                  <a:pt x="1900" y="135"/>
                </a:cubicBezTo>
                <a:cubicBezTo>
                  <a:pt x="1902" y="135"/>
                  <a:pt x="1902" y="135"/>
                  <a:pt x="1902" y="135"/>
                </a:cubicBezTo>
                <a:cubicBezTo>
                  <a:pt x="1904" y="135"/>
                  <a:pt x="1904" y="135"/>
                  <a:pt x="1904" y="135"/>
                </a:cubicBezTo>
                <a:cubicBezTo>
                  <a:pt x="1908" y="135"/>
                  <a:pt x="1908" y="135"/>
                  <a:pt x="1908" y="135"/>
                </a:cubicBezTo>
                <a:cubicBezTo>
                  <a:pt x="1910" y="133"/>
                  <a:pt x="1910" y="133"/>
                  <a:pt x="1910" y="133"/>
                </a:cubicBezTo>
                <a:cubicBezTo>
                  <a:pt x="1911" y="134"/>
                  <a:pt x="1911" y="134"/>
                  <a:pt x="1911" y="134"/>
                </a:cubicBezTo>
                <a:cubicBezTo>
                  <a:pt x="1913" y="133"/>
                  <a:pt x="1913" y="133"/>
                  <a:pt x="1913" y="133"/>
                </a:cubicBezTo>
                <a:cubicBezTo>
                  <a:pt x="1913" y="132"/>
                  <a:pt x="1913" y="132"/>
                  <a:pt x="1913" y="132"/>
                </a:cubicBezTo>
                <a:cubicBezTo>
                  <a:pt x="1913" y="131"/>
                  <a:pt x="1913" y="131"/>
                  <a:pt x="1913" y="131"/>
                </a:cubicBezTo>
                <a:cubicBezTo>
                  <a:pt x="1914" y="131"/>
                  <a:pt x="1914" y="131"/>
                  <a:pt x="1914" y="131"/>
                </a:cubicBezTo>
                <a:cubicBezTo>
                  <a:pt x="1915" y="131"/>
                  <a:pt x="1915" y="131"/>
                  <a:pt x="1915" y="131"/>
                </a:cubicBezTo>
                <a:cubicBezTo>
                  <a:pt x="1917" y="131"/>
                  <a:pt x="1917" y="131"/>
                  <a:pt x="1917" y="131"/>
                </a:cubicBezTo>
                <a:cubicBezTo>
                  <a:pt x="1917" y="132"/>
                  <a:pt x="1917" y="132"/>
                  <a:pt x="1917" y="132"/>
                </a:cubicBezTo>
                <a:cubicBezTo>
                  <a:pt x="1918" y="132"/>
                  <a:pt x="1918" y="132"/>
                  <a:pt x="1918" y="132"/>
                </a:cubicBezTo>
                <a:cubicBezTo>
                  <a:pt x="1919" y="131"/>
                  <a:pt x="1919" y="131"/>
                  <a:pt x="1919" y="131"/>
                </a:cubicBezTo>
                <a:cubicBezTo>
                  <a:pt x="1918" y="130"/>
                  <a:pt x="1918" y="130"/>
                  <a:pt x="1918" y="130"/>
                </a:cubicBezTo>
                <a:cubicBezTo>
                  <a:pt x="1917" y="129"/>
                  <a:pt x="1917" y="129"/>
                  <a:pt x="1917" y="129"/>
                </a:cubicBezTo>
                <a:cubicBezTo>
                  <a:pt x="1917" y="128"/>
                  <a:pt x="1917" y="128"/>
                  <a:pt x="1917" y="128"/>
                </a:cubicBezTo>
                <a:cubicBezTo>
                  <a:pt x="1917" y="127"/>
                  <a:pt x="1917" y="127"/>
                  <a:pt x="1917" y="127"/>
                </a:cubicBezTo>
                <a:cubicBezTo>
                  <a:pt x="1915" y="126"/>
                  <a:pt x="1915" y="126"/>
                  <a:pt x="1915" y="126"/>
                </a:cubicBezTo>
                <a:cubicBezTo>
                  <a:pt x="1915" y="125"/>
                  <a:pt x="1915" y="125"/>
                  <a:pt x="1915" y="125"/>
                </a:cubicBezTo>
                <a:cubicBezTo>
                  <a:pt x="1914" y="125"/>
                  <a:pt x="1914" y="125"/>
                  <a:pt x="1914" y="125"/>
                </a:cubicBezTo>
                <a:cubicBezTo>
                  <a:pt x="1914" y="123"/>
                  <a:pt x="1914" y="123"/>
                  <a:pt x="1914" y="123"/>
                </a:cubicBezTo>
                <a:cubicBezTo>
                  <a:pt x="1913" y="122"/>
                  <a:pt x="1913" y="122"/>
                  <a:pt x="1913" y="122"/>
                </a:cubicBezTo>
                <a:cubicBezTo>
                  <a:pt x="1913" y="121"/>
                  <a:pt x="1913" y="121"/>
                  <a:pt x="1913" y="121"/>
                </a:cubicBezTo>
                <a:cubicBezTo>
                  <a:pt x="1914" y="120"/>
                  <a:pt x="1914" y="120"/>
                  <a:pt x="1914" y="120"/>
                </a:cubicBezTo>
                <a:cubicBezTo>
                  <a:pt x="1915" y="121"/>
                  <a:pt x="1915" y="121"/>
                  <a:pt x="1915" y="121"/>
                </a:cubicBezTo>
                <a:cubicBezTo>
                  <a:pt x="1916" y="120"/>
                  <a:pt x="1916" y="120"/>
                  <a:pt x="1916" y="120"/>
                </a:cubicBezTo>
                <a:cubicBezTo>
                  <a:pt x="1916" y="119"/>
                  <a:pt x="1916" y="119"/>
                  <a:pt x="1916" y="119"/>
                </a:cubicBezTo>
                <a:cubicBezTo>
                  <a:pt x="1915" y="118"/>
                  <a:pt x="1915" y="118"/>
                  <a:pt x="1915" y="118"/>
                </a:cubicBezTo>
                <a:cubicBezTo>
                  <a:pt x="1916" y="118"/>
                  <a:pt x="1916" y="118"/>
                  <a:pt x="1916" y="118"/>
                </a:cubicBezTo>
                <a:cubicBezTo>
                  <a:pt x="1918" y="119"/>
                  <a:pt x="1918" y="119"/>
                  <a:pt x="1918" y="119"/>
                </a:cubicBezTo>
                <a:cubicBezTo>
                  <a:pt x="1919" y="118"/>
                  <a:pt x="1919" y="118"/>
                  <a:pt x="1919" y="118"/>
                </a:cubicBezTo>
                <a:cubicBezTo>
                  <a:pt x="1921" y="118"/>
                  <a:pt x="1921" y="118"/>
                  <a:pt x="1921" y="118"/>
                </a:cubicBezTo>
                <a:cubicBezTo>
                  <a:pt x="1922" y="118"/>
                  <a:pt x="1922" y="118"/>
                  <a:pt x="1922" y="118"/>
                </a:cubicBezTo>
                <a:cubicBezTo>
                  <a:pt x="1922" y="117"/>
                  <a:pt x="1922" y="117"/>
                  <a:pt x="1922" y="117"/>
                </a:cubicBezTo>
                <a:cubicBezTo>
                  <a:pt x="1923" y="118"/>
                  <a:pt x="1923" y="118"/>
                  <a:pt x="1923" y="118"/>
                </a:cubicBezTo>
                <a:cubicBezTo>
                  <a:pt x="1924" y="119"/>
                  <a:pt x="1924" y="119"/>
                  <a:pt x="1924" y="119"/>
                </a:cubicBezTo>
                <a:cubicBezTo>
                  <a:pt x="1925" y="120"/>
                  <a:pt x="1925" y="120"/>
                  <a:pt x="1925" y="120"/>
                </a:cubicBezTo>
                <a:cubicBezTo>
                  <a:pt x="1926" y="119"/>
                  <a:pt x="1926" y="119"/>
                  <a:pt x="1926" y="119"/>
                </a:cubicBezTo>
                <a:cubicBezTo>
                  <a:pt x="1926" y="118"/>
                  <a:pt x="1926" y="118"/>
                  <a:pt x="1926" y="118"/>
                </a:cubicBezTo>
                <a:cubicBezTo>
                  <a:pt x="1927" y="118"/>
                  <a:pt x="1927" y="118"/>
                  <a:pt x="1927" y="118"/>
                </a:cubicBezTo>
                <a:cubicBezTo>
                  <a:pt x="1928" y="119"/>
                  <a:pt x="1928" y="119"/>
                  <a:pt x="1928" y="119"/>
                </a:cubicBezTo>
                <a:cubicBezTo>
                  <a:pt x="1927" y="120"/>
                  <a:pt x="1927" y="120"/>
                  <a:pt x="1927" y="120"/>
                </a:cubicBezTo>
                <a:cubicBezTo>
                  <a:pt x="1926" y="121"/>
                  <a:pt x="1926" y="121"/>
                  <a:pt x="1926" y="121"/>
                </a:cubicBezTo>
                <a:cubicBezTo>
                  <a:pt x="1927" y="121"/>
                  <a:pt x="1927" y="121"/>
                  <a:pt x="1927" y="121"/>
                </a:cubicBezTo>
                <a:cubicBezTo>
                  <a:pt x="1928" y="121"/>
                  <a:pt x="1928" y="121"/>
                  <a:pt x="1928" y="121"/>
                </a:cubicBezTo>
                <a:cubicBezTo>
                  <a:pt x="1929" y="121"/>
                  <a:pt x="1929" y="121"/>
                  <a:pt x="1929" y="121"/>
                </a:cubicBezTo>
                <a:cubicBezTo>
                  <a:pt x="1929" y="120"/>
                  <a:pt x="1929" y="120"/>
                  <a:pt x="1929" y="120"/>
                </a:cubicBezTo>
                <a:cubicBezTo>
                  <a:pt x="1930" y="120"/>
                  <a:pt x="1930" y="120"/>
                  <a:pt x="1930" y="120"/>
                </a:cubicBezTo>
                <a:cubicBezTo>
                  <a:pt x="1930" y="119"/>
                  <a:pt x="1930" y="119"/>
                  <a:pt x="1930" y="119"/>
                </a:cubicBezTo>
                <a:cubicBezTo>
                  <a:pt x="1929" y="118"/>
                  <a:pt x="1929" y="118"/>
                  <a:pt x="1929" y="118"/>
                </a:cubicBezTo>
                <a:cubicBezTo>
                  <a:pt x="1930" y="118"/>
                  <a:pt x="1930" y="118"/>
                  <a:pt x="1930" y="118"/>
                </a:cubicBezTo>
                <a:cubicBezTo>
                  <a:pt x="1932" y="117"/>
                  <a:pt x="1932" y="117"/>
                  <a:pt x="1932" y="117"/>
                </a:cubicBezTo>
                <a:cubicBezTo>
                  <a:pt x="1933" y="118"/>
                  <a:pt x="1933" y="118"/>
                  <a:pt x="1933" y="118"/>
                </a:cubicBezTo>
                <a:cubicBezTo>
                  <a:pt x="1934" y="118"/>
                  <a:pt x="1934" y="118"/>
                  <a:pt x="1934" y="118"/>
                </a:cubicBezTo>
                <a:cubicBezTo>
                  <a:pt x="1935" y="118"/>
                  <a:pt x="1935" y="118"/>
                  <a:pt x="1935" y="118"/>
                </a:cubicBezTo>
                <a:cubicBezTo>
                  <a:pt x="1936" y="120"/>
                  <a:pt x="1936" y="120"/>
                  <a:pt x="1936" y="120"/>
                </a:cubicBezTo>
                <a:cubicBezTo>
                  <a:pt x="1936" y="119"/>
                  <a:pt x="1936" y="119"/>
                  <a:pt x="1936" y="119"/>
                </a:cubicBezTo>
                <a:cubicBezTo>
                  <a:pt x="1937" y="119"/>
                  <a:pt x="1937" y="119"/>
                  <a:pt x="1937" y="119"/>
                </a:cubicBezTo>
                <a:cubicBezTo>
                  <a:pt x="1938" y="118"/>
                  <a:pt x="1938" y="118"/>
                  <a:pt x="1938" y="118"/>
                </a:cubicBezTo>
                <a:cubicBezTo>
                  <a:pt x="1938" y="120"/>
                  <a:pt x="1938" y="120"/>
                  <a:pt x="1938" y="120"/>
                </a:cubicBezTo>
                <a:cubicBezTo>
                  <a:pt x="1939" y="120"/>
                  <a:pt x="1939" y="120"/>
                  <a:pt x="1939" y="120"/>
                </a:cubicBezTo>
                <a:cubicBezTo>
                  <a:pt x="1940" y="119"/>
                  <a:pt x="1940" y="119"/>
                  <a:pt x="1940" y="119"/>
                </a:cubicBezTo>
                <a:cubicBezTo>
                  <a:pt x="1941" y="120"/>
                  <a:pt x="1941" y="120"/>
                  <a:pt x="1941" y="120"/>
                </a:cubicBezTo>
                <a:cubicBezTo>
                  <a:pt x="1942" y="122"/>
                  <a:pt x="1942" y="122"/>
                  <a:pt x="1942" y="122"/>
                </a:cubicBezTo>
                <a:cubicBezTo>
                  <a:pt x="1942" y="121"/>
                  <a:pt x="1942" y="121"/>
                  <a:pt x="1942" y="121"/>
                </a:cubicBezTo>
                <a:cubicBezTo>
                  <a:pt x="1943" y="120"/>
                  <a:pt x="1943" y="120"/>
                  <a:pt x="1943" y="120"/>
                </a:cubicBezTo>
                <a:cubicBezTo>
                  <a:pt x="1944" y="121"/>
                  <a:pt x="1944" y="121"/>
                  <a:pt x="1944" y="121"/>
                </a:cubicBezTo>
                <a:cubicBezTo>
                  <a:pt x="1943" y="123"/>
                  <a:pt x="1943" y="123"/>
                  <a:pt x="1943" y="123"/>
                </a:cubicBezTo>
                <a:cubicBezTo>
                  <a:pt x="1944" y="123"/>
                  <a:pt x="1944" y="123"/>
                  <a:pt x="1944" y="123"/>
                </a:cubicBezTo>
                <a:cubicBezTo>
                  <a:pt x="1944" y="124"/>
                  <a:pt x="1944" y="124"/>
                  <a:pt x="1944" y="124"/>
                </a:cubicBezTo>
                <a:cubicBezTo>
                  <a:pt x="1946" y="124"/>
                  <a:pt x="1946" y="124"/>
                  <a:pt x="1946" y="124"/>
                </a:cubicBezTo>
                <a:cubicBezTo>
                  <a:pt x="1946" y="125"/>
                  <a:pt x="1946" y="125"/>
                  <a:pt x="1946" y="125"/>
                </a:cubicBezTo>
                <a:cubicBezTo>
                  <a:pt x="1947" y="125"/>
                  <a:pt x="1947" y="125"/>
                  <a:pt x="1947" y="125"/>
                </a:cubicBezTo>
                <a:cubicBezTo>
                  <a:pt x="1947" y="126"/>
                  <a:pt x="1947" y="126"/>
                  <a:pt x="1947" y="126"/>
                </a:cubicBezTo>
                <a:cubicBezTo>
                  <a:pt x="1946" y="127"/>
                  <a:pt x="1946" y="127"/>
                  <a:pt x="1946" y="127"/>
                </a:cubicBezTo>
                <a:cubicBezTo>
                  <a:pt x="1947" y="128"/>
                  <a:pt x="1947" y="128"/>
                  <a:pt x="1947" y="128"/>
                </a:cubicBezTo>
                <a:cubicBezTo>
                  <a:pt x="1948" y="127"/>
                  <a:pt x="1948" y="127"/>
                  <a:pt x="1948" y="127"/>
                </a:cubicBezTo>
                <a:cubicBezTo>
                  <a:pt x="1949" y="127"/>
                  <a:pt x="1949" y="127"/>
                  <a:pt x="1949" y="127"/>
                </a:cubicBezTo>
                <a:cubicBezTo>
                  <a:pt x="1950" y="128"/>
                  <a:pt x="1950" y="128"/>
                  <a:pt x="1950" y="128"/>
                </a:cubicBezTo>
                <a:cubicBezTo>
                  <a:pt x="1947" y="130"/>
                  <a:pt x="1947" y="130"/>
                  <a:pt x="1947" y="130"/>
                </a:cubicBezTo>
                <a:cubicBezTo>
                  <a:pt x="1947" y="131"/>
                  <a:pt x="1947" y="131"/>
                  <a:pt x="1947" y="131"/>
                </a:cubicBezTo>
                <a:cubicBezTo>
                  <a:pt x="1949" y="132"/>
                  <a:pt x="1949" y="132"/>
                  <a:pt x="1949" y="132"/>
                </a:cubicBezTo>
                <a:cubicBezTo>
                  <a:pt x="1950" y="131"/>
                  <a:pt x="1950" y="131"/>
                  <a:pt x="1950" y="131"/>
                </a:cubicBezTo>
                <a:cubicBezTo>
                  <a:pt x="1951" y="130"/>
                  <a:pt x="1951" y="130"/>
                  <a:pt x="1951" y="130"/>
                </a:cubicBezTo>
                <a:cubicBezTo>
                  <a:pt x="1952" y="131"/>
                  <a:pt x="1952" y="131"/>
                  <a:pt x="1952" y="131"/>
                </a:cubicBezTo>
                <a:cubicBezTo>
                  <a:pt x="1952" y="132"/>
                  <a:pt x="1952" y="132"/>
                  <a:pt x="1952" y="132"/>
                </a:cubicBezTo>
                <a:cubicBezTo>
                  <a:pt x="1953" y="131"/>
                  <a:pt x="1953" y="131"/>
                  <a:pt x="1953" y="131"/>
                </a:cubicBezTo>
                <a:cubicBezTo>
                  <a:pt x="1954" y="133"/>
                  <a:pt x="1954" y="133"/>
                  <a:pt x="1954" y="133"/>
                </a:cubicBezTo>
                <a:cubicBezTo>
                  <a:pt x="1954" y="135"/>
                  <a:pt x="1954" y="135"/>
                  <a:pt x="1954" y="135"/>
                </a:cubicBezTo>
                <a:cubicBezTo>
                  <a:pt x="1955" y="135"/>
                  <a:pt x="1955" y="135"/>
                  <a:pt x="1955" y="135"/>
                </a:cubicBezTo>
                <a:cubicBezTo>
                  <a:pt x="1955" y="136"/>
                  <a:pt x="1955" y="136"/>
                  <a:pt x="1955" y="136"/>
                </a:cubicBezTo>
                <a:cubicBezTo>
                  <a:pt x="1956" y="135"/>
                  <a:pt x="1956" y="135"/>
                  <a:pt x="1956" y="135"/>
                </a:cubicBezTo>
                <a:cubicBezTo>
                  <a:pt x="1956" y="136"/>
                  <a:pt x="1956" y="136"/>
                  <a:pt x="1956" y="136"/>
                </a:cubicBezTo>
                <a:cubicBezTo>
                  <a:pt x="1955" y="138"/>
                  <a:pt x="1955" y="138"/>
                  <a:pt x="1955" y="138"/>
                </a:cubicBezTo>
                <a:cubicBezTo>
                  <a:pt x="1954" y="139"/>
                  <a:pt x="1954" y="139"/>
                  <a:pt x="1954" y="139"/>
                </a:cubicBezTo>
                <a:cubicBezTo>
                  <a:pt x="1953" y="138"/>
                  <a:pt x="1953" y="138"/>
                  <a:pt x="1953" y="138"/>
                </a:cubicBezTo>
                <a:cubicBezTo>
                  <a:pt x="1950" y="137"/>
                  <a:pt x="1950" y="137"/>
                  <a:pt x="1950" y="137"/>
                </a:cubicBezTo>
                <a:cubicBezTo>
                  <a:pt x="1947" y="137"/>
                  <a:pt x="1947" y="137"/>
                  <a:pt x="1947" y="137"/>
                </a:cubicBezTo>
                <a:cubicBezTo>
                  <a:pt x="1949" y="138"/>
                  <a:pt x="1949" y="138"/>
                  <a:pt x="1949" y="138"/>
                </a:cubicBezTo>
                <a:cubicBezTo>
                  <a:pt x="1949" y="139"/>
                  <a:pt x="1949" y="139"/>
                  <a:pt x="1949" y="139"/>
                </a:cubicBezTo>
                <a:cubicBezTo>
                  <a:pt x="1951" y="139"/>
                  <a:pt x="1951" y="139"/>
                  <a:pt x="1951" y="139"/>
                </a:cubicBezTo>
                <a:cubicBezTo>
                  <a:pt x="1952" y="140"/>
                  <a:pt x="1952" y="140"/>
                  <a:pt x="1952" y="140"/>
                </a:cubicBezTo>
                <a:cubicBezTo>
                  <a:pt x="1954" y="142"/>
                  <a:pt x="1954" y="142"/>
                  <a:pt x="1954" y="142"/>
                </a:cubicBezTo>
                <a:cubicBezTo>
                  <a:pt x="1957" y="143"/>
                  <a:pt x="1957" y="143"/>
                  <a:pt x="1957" y="143"/>
                </a:cubicBezTo>
                <a:cubicBezTo>
                  <a:pt x="1958" y="144"/>
                  <a:pt x="1958" y="144"/>
                  <a:pt x="1958" y="144"/>
                </a:cubicBezTo>
                <a:cubicBezTo>
                  <a:pt x="1959" y="144"/>
                  <a:pt x="1959" y="144"/>
                  <a:pt x="1959" y="144"/>
                </a:cubicBezTo>
                <a:cubicBezTo>
                  <a:pt x="1960" y="144"/>
                  <a:pt x="1960" y="144"/>
                  <a:pt x="1960" y="144"/>
                </a:cubicBezTo>
                <a:cubicBezTo>
                  <a:pt x="1965" y="148"/>
                  <a:pt x="1965" y="148"/>
                  <a:pt x="1965" y="148"/>
                </a:cubicBezTo>
                <a:cubicBezTo>
                  <a:pt x="1966" y="148"/>
                  <a:pt x="1966" y="148"/>
                  <a:pt x="1966" y="148"/>
                </a:cubicBezTo>
                <a:cubicBezTo>
                  <a:pt x="1967" y="150"/>
                  <a:pt x="1967" y="150"/>
                  <a:pt x="1967" y="150"/>
                </a:cubicBezTo>
                <a:cubicBezTo>
                  <a:pt x="1970" y="150"/>
                  <a:pt x="1970" y="150"/>
                  <a:pt x="1970" y="150"/>
                </a:cubicBezTo>
                <a:cubicBezTo>
                  <a:pt x="1972" y="152"/>
                  <a:pt x="1972" y="152"/>
                  <a:pt x="1972" y="152"/>
                </a:cubicBezTo>
                <a:cubicBezTo>
                  <a:pt x="1973" y="152"/>
                  <a:pt x="1973" y="152"/>
                  <a:pt x="1973" y="152"/>
                </a:cubicBezTo>
                <a:cubicBezTo>
                  <a:pt x="1974" y="152"/>
                  <a:pt x="1974" y="152"/>
                  <a:pt x="1974" y="152"/>
                </a:cubicBezTo>
                <a:cubicBezTo>
                  <a:pt x="1973" y="151"/>
                  <a:pt x="1973" y="151"/>
                  <a:pt x="1973" y="151"/>
                </a:cubicBezTo>
                <a:cubicBezTo>
                  <a:pt x="1974" y="150"/>
                  <a:pt x="1974" y="150"/>
                  <a:pt x="1974" y="150"/>
                </a:cubicBezTo>
                <a:cubicBezTo>
                  <a:pt x="1975" y="151"/>
                  <a:pt x="1975" y="151"/>
                  <a:pt x="1975" y="151"/>
                </a:cubicBezTo>
                <a:cubicBezTo>
                  <a:pt x="1975" y="152"/>
                  <a:pt x="1975" y="152"/>
                  <a:pt x="1975" y="152"/>
                </a:cubicBezTo>
                <a:cubicBezTo>
                  <a:pt x="1976" y="154"/>
                  <a:pt x="1976" y="154"/>
                  <a:pt x="1976" y="154"/>
                </a:cubicBezTo>
                <a:cubicBezTo>
                  <a:pt x="1977" y="154"/>
                  <a:pt x="1977" y="154"/>
                  <a:pt x="1977" y="154"/>
                </a:cubicBezTo>
                <a:cubicBezTo>
                  <a:pt x="1977" y="152"/>
                  <a:pt x="1977" y="152"/>
                  <a:pt x="1977" y="152"/>
                </a:cubicBezTo>
                <a:cubicBezTo>
                  <a:pt x="1976" y="145"/>
                  <a:pt x="1976" y="145"/>
                  <a:pt x="1976" y="145"/>
                </a:cubicBezTo>
                <a:cubicBezTo>
                  <a:pt x="1975" y="142"/>
                  <a:pt x="1975" y="142"/>
                  <a:pt x="1975" y="142"/>
                </a:cubicBezTo>
                <a:cubicBezTo>
                  <a:pt x="1973" y="139"/>
                  <a:pt x="1973" y="139"/>
                  <a:pt x="1973" y="139"/>
                </a:cubicBezTo>
                <a:cubicBezTo>
                  <a:pt x="1973" y="135"/>
                  <a:pt x="1973" y="135"/>
                  <a:pt x="1973" y="135"/>
                </a:cubicBezTo>
                <a:cubicBezTo>
                  <a:pt x="1972" y="133"/>
                  <a:pt x="1972" y="133"/>
                  <a:pt x="1972" y="133"/>
                </a:cubicBezTo>
                <a:cubicBezTo>
                  <a:pt x="1971" y="132"/>
                  <a:pt x="1971" y="132"/>
                  <a:pt x="1971" y="132"/>
                </a:cubicBezTo>
                <a:cubicBezTo>
                  <a:pt x="1973" y="133"/>
                  <a:pt x="1973" y="133"/>
                  <a:pt x="1973" y="133"/>
                </a:cubicBezTo>
                <a:cubicBezTo>
                  <a:pt x="1973" y="134"/>
                  <a:pt x="1973" y="134"/>
                  <a:pt x="1973" y="134"/>
                </a:cubicBezTo>
                <a:cubicBezTo>
                  <a:pt x="1975" y="136"/>
                  <a:pt x="1975" y="136"/>
                  <a:pt x="1975" y="136"/>
                </a:cubicBezTo>
                <a:cubicBezTo>
                  <a:pt x="1976" y="136"/>
                  <a:pt x="1976" y="136"/>
                  <a:pt x="1976" y="136"/>
                </a:cubicBezTo>
                <a:cubicBezTo>
                  <a:pt x="1978" y="138"/>
                  <a:pt x="1978" y="138"/>
                  <a:pt x="1978" y="138"/>
                </a:cubicBezTo>
                <a:cubicBezTo>
                  <a:pt x="1980" y="138"/>
                  <a:pt x="1980" y="138"/>
                  <a:pt x="1980" y="138"/>
                </a:cubicBezTo>
                <a:cubicBezTo>
                  <a:pt x="1985" y="138"/>
                  <a:pt x="1985" y="138"/>
                  <a:pt x="1985" y="138"/>
                </a:cubicBezTo>
                <a:cubicBezTo>
                  <a:pt x="1986" y="138"/>
                  <a:pt x="1986" y="138"/>
                  <a:pt x="1986" y="138"/>
                </a:cubicBezTo>
                <a:cubicBezTo>
                  <a:pt x="1987" y="137"/>
                  <a:pt x="1987" y="137"/>
                  <a:pt x="1987" y="137"/>
                </a:cubicBezTo>
                <a:cubicBezTo>
                  <a:pt x="1988" y="136"/>
                  <a:pt x="1988" y="136"/>
                  <a:pt x="1988" y="136"/>
                </a:cubicBezTo>
                <a:cubicBezTo>
                  <a:pt x="1987" y="135"/>
                  <a:pt x="1987" y="135"/>
                  <a:pt x="1987" y="135"/>
                </a:cubicBezTo>
                <a:cubicBezTo>
                  <a:pt x="1987" y="134"/>
                  <a:pt x="1987" y="134"/>
                  <a:pt x="1987" y="134"/>
                </a:cubicBezTo>
                <a:cubicBezTo>
                  <a:pt x="1987" y="133"/>
                  <a:pt x="1987" y="133"/>
                  <a:pt x="1987" y="133"/>
                </a:cubicBezTo>
                <a:cubicBezTo>
                  <a:pt x="1992" y="131"/>
                  <a:pt x="1992" y="131"/>
                  <a:pt x="1992" y="131"/>
                </a:cubicBezTo>
                <a:cubicBezTo>
                  <a:pt x="1992" y="132"/>
                  <a:pt x="1992" y="132"/>
                  <a:pt x="1992" y="132"/>
                </a:cubicBezTo>
                <a:cubicBezTo>
                  <a:pt x="1993" y="132"/>
                  <a:pt x="1993" y="132"/>
                  <a:pt x="1993" y="132"/>
                </a:cubicBezTo>
                <a:cubicBezTo>
                  <a:pt x="1995" y="132"/>
                  <a:pt x="1995" y="132"/>
                  <a:pt x="1995" y="132"/>
                </a:cubicBezTo>
                <a:cubicBezTo>
                  <a:pt x="1997" y="132"/>
                  <a:pt x="1997" y="132"/>
                  <a:pt x="1997" y="132"/>
                </a:cubicBezTo>
                <a:cubicBezTo>
                  <a:pt x="1998" y="134"/>
                  <a:pt x="1998" y="134"/>
                  <a:pt x="1998" y="134"/>
                </a:cubicBezTo>
                <a:cubicBezTo>
                  <a:pt x="2000" y="134"/>
                  <a:pt x="2000" y="134"/>
                  <a:pt x="2000" y="134"/>
                </a:cubicBezTo>
                <a:cubicBezTo>
                  <a:pt x="2000" y="136"/>
                  <a:pt x="2000" y="136"/>
                  <a:pt x="2000" y="136"/>
                </a:cubicBezTo>
                <a:cubicBezTo>
                  <a:pt x="2003" y="136"/>
                  <a:pt x="2003" y="136"/>
                  <a:pt x="2003" y="136"/>
                </a:cubicBezTo>
                <a:cubicBezTo>
                  <a:pt x="2003" y="137"/>
                  <a:pt x="2003" y="137"/>
                  <a:pt x="2003" y="137"/>
                </a:cubicBezTo>
                <a:cubicBezTo>
                  <a:pt x="2006" y="137"/>
                  <a:pt x="2006" y="137"/>
                  <a:pt x="2006" y="137"/>
                </a:cubicBezTo>
                <a:cubicBezTo>
                  <a:pt x="2004" y="136"/>
                  <a:pt x="2004" y="136"/>
                  <a:pt x="2004" y="136"/>
                </a:cubicBezTo>
                <a:cubicBezTo>
                  <a:pt x="2004" y="135"/>
                  <a:pt x="2004" y="135"/>
                  <a:pt x="2004" y="135"/>
                </a:cubicBezTo>
                <a:cubicBezTo>
                  <a:pt x="2006" y="136"/>
                  <a:pt x="2006" y="136"/>
                  <a:pt x="2006" y="136"/>
                </a:cubicBezTo>
                <a:cubicBezTo>
                  <a:pt x="2007" y="135"/>
                  <a:pt x="2007" y="135"/>
                  <a:pt x="2007" y="135"/>
                </a:cubicBezTo>
                <a:cubicBezTo>
                  <a:pt x="2006" y="134"/>
                  <a:pt x="2006" y="134"/>
                  <a:pt x="2006" y="134"/>
                </a:cubicBezTo>
                <a:cubicBezTo>
                  <a:pt x="2007" y="133"/>
                  <a:pt x="2007" y="133"/>
                  <a:pt x="2007" y="133"/>
                </a:cubicBezTo>
                <a:cubicBezTo>
                  <a:pt x="2006" y="132"/>
                  <a:pt x="2006" y="132"/>
                  <a:pt x="2006" y="132"/>
                </a:cubicBezTo>
                <a:cubicBezTo>
                  <a:pt x="2004" y="133"/>
                  <a:pt x="2004" y="133"/>
                  <a:pt x="2004" y="133"/>
                </a:cubicBezTo>
                <a:cubicBezTo>
                  <a:pt x="2002" y="133"/>
                  <a:pt x="2002" y="133"/>
                  <a:pt x="2002" y="133"/>
                </a:cubicBezTo>
                <a:cubicBezTo>
                  <a:pt x="2002" y="132"/>
                  <a:pt x="2002" y="132"/>
                  <a:pt x="2002" y="132"/>
                </a:cubicBezTo>
                <a:cubicBezTo>
                  <a:pt x="2002" y="131"/>
                  <a:pt x="2002" y="131"/>
                  <a:pt x="2002" y="131"/>
                </a:cubicBezTo>
                <a:cubicBezTo>
                  <a:pt x="2002" y="129"/>
                  <a:pt x="2002" y="129"/>
                  <a:pt x="2002" y="129"/>
                </a:cubicBezTo>
                <a:cubicBezTo>
                  <a:pt x="2003" y="129"/>
                  <a:pt x="2003" y="129"/>
                  <a:pt x="2003" y="129"/>
                </a:cubicBezTo>
                <a:cubicBezTo>
                  <a:pt x="2004" y="129"/>
                  <a:pt x="2004" y="129"/>
                  <a:pt x="2004" y="129"/>
                </a:cubicBezTo>
                <a:cubicBezTo>
                  <a:pt x="2004" y="128"/>
                  <a:pt x="2004" y="128"/>
                  <a:pt x="2004" y="128"/>
                </a:cubicBezTo>
                <a:cubicBezTo>
                  <a:pt x="2005" y="127"/>
                  <a:pt x="2005" y="127"/>
                  <a:pt x="2005" y="127"/>
                </a:cubicBezTo>
                <a:cubicBezTo>
                  <a:pt x="2007" y="129"/>
                  <a:pt x="2007" y="129"/>
                  <a:pt x="2007" y="129"/>
                </a:cubicBezTo>
                <a:cubicBezTo>
                  <a:pt x="2007" y="130"/>
                  <a:pt x="2007" y="130"/>
                  <a:pt x="2007" y="130"/>
                </a:cubicBezTo>
                <a:cubicBezTo>
                  <a:pt x="2008" y="130"/>
                  <a:pt x="2008" y="130"/>
                  <a:pt x="2008" y="130"/>
                </a:cubicBezTo>
                <a:cubicBezTo>
                  <a:pt x="2009" y="130"/>
                  <a:pt x="2009" y="130"/>
                  <a:pt x="2009" y="130"/>
                </a:cubicBezTo>
                <a:cubicBezTo>
                  <a:pt x="2009" y="128"/>
                  <a:pt x="2009" y="128"/>
                  <a:pt x="2009" y="128"/>
                </a:cubicBezTo>
                <a:cubicBezTo>
                  <a:pt x="2010" y="128"/>
                  <a:pt x="2010" y="128"/>
                  <a:pt x="2010" y="128"/>
                </a:cubicBezTo>
                <a:cubicBezTo>
                  <a:pt x="2011" y="129"/>
                  <a:pt x="2011" y="129"/>
                  <a:pt x="2011" y="129"/>
                </a:cubicBezTo>
                <a:cubicBezTo>
                  <a:pt x="2012" y="127"/>
                  <a:pt x="2012" y="127"/>
                  <a:pt x="2012" y="127"/>
                </a:cubicBezTo>
                <a:cubicBezTo>
                  <a:pt x="2010" y="125"/>
                  <a:pt x="2010" y="125"/>
                  <a:pt x="2010" y="125"/>
                </a:cubicBezTo>
                <a:cubicBezTo>
                  <a:pt x="2008" y="125"/>
                  <a:pt x="2008" y="125"/>
                  <a:pt x="2008" y="125"/>
                </a:cubicBezTo>
                <a:cubicBezTo>
                  <a:pt x="2007" y="123"/>
                  <a:pt x="2007" y="123"/>
                  <a:pt x="2007" y="123"/>
                </a:cubicBezTo>
                <a:cubicBezTo>
                  <a:pt x="2007" y="122"/>
                  <a:pt x="2007" y="122"/>
                  <a:pt x="2007" y="122"/>
                </a:cubicBezTo>
                <a:cubicBezTo>
                  <a:pt x="2006" y="121"/>
                  <a:pt x="2006" y="121"/>
                  <a:pt x="2006" y="121"/>
                </a:cubicBezTo>
                <a:cubicBezTo>
                  <a:pt x="2005" y="122"/>
                  <a:pt x="2005" y="122"/>
                  <a:pt x="2005" y="122"/>
                </a:cubicBezTo>
                <a:cubicBezTo>
                  <a:pt x="2004" y="121"/>
                  <a:pt x="2004" y="121"/>
                  <a:pt x="2004" y="121"/>
                </a:cubicBezTo>
                <a:cubicBezTo>
                  <a:pt x="2005" y="120"/>
                  <a:pt x="2005" y="120"/>
                  <a:pt x="2005" y="120"/>
                </a:cubicBezTo>
                <a:cubicBezTo>
                  <a:pt x="2005" y="119"/>
                  <a:pt x="2005" y="119"/>
                  <a:pt x="2005" y="119"/>
                </a:cubicBezTo>
                <a:cubicBezTo>
                  <a:pt x="2004" y="117"/>
                  <a:pt x="2004" y="117"/>
                  <a:pt x="2004" y="117"/>
                </a:cubicBezTo>
                <a:cubicBezTo>
                  <a:pt x="2006" y="117"/>
                  <a:pt x="2006" y="117"/>
                  <a:pt x="2006" y="117"/>
                </a:cubicBezTo>
                <a:cubicBezTo>
                  <a:pt x="2006" y="115"/>
                  <a:pt x="2006" y="115"/>
                  <a:pt x="2006" y="115"/>
                </a:cubicBezTo>
                <a:cubicBezTo>
                  <a:pt x="2004" y="116"/>
                  <a:pt x="2004" y="116"/>
                  <a:pt x="2004" y="116"/>
                </a:cubicBezTo>
                <a:cubicBezTo>
                  <a:pt x="2003" y="117"/>
                  <a:pt x="2003" y="117"/>
                  <a:pt x="2003" y="117"/>
                </a:cubicBezTo>
                <a:cubicBezTo>
                  <a:pt x="2003" y="119"/>
                  <a:pt x="2003" y="119"/>
                  <a:pt x="2003" y="119"/>
                </a:cubicBezTo>
                <a:cubicBezTo>
                  <a:pt x="2000" y="118"/>
                  <a:pt x="2000" y="118"/>
                  <a:pt x="2000" y="118"/>
                </a:cubicBezTo>
                <a:cubicBezTo>
                  <a:pt x="1999" y="116"/>
                  <a:pt x="1999" y="116"/>
                  <a:pt x="1999" y="116"/>
                </a:cubicBezTo>
                <a:cubicBezTo>
                  <a:pt x="2000" y="114"/>
                  <a:pt x="2000" y="114"/>
                  <a:pt x="2000" y="114"/>
                </a:cubicBezTo>
                <a:cubicBezTo>
                  <a:pt x="2000" y="113"/>
                  <a:pt x="2000" y="113"/>
                  <a:pt x="2000" y="113"/>
                </a:cubicBezTo>
                <a:cubicBezTo>
                  <a:pt x="2002" y="112"/>
                  <a:pt x="2002" y="112"/>
                  <a:pt x="2002" y="112"/>
                </a:cubicBezTo>
                <a:cubicBezTo>
                  <a:pt x="2003" y="112"/>
                  <a:pt x="2003" y="112"/>
                  <a:pt x="2003" y="112"/>
                </a:cubicBezTo>
                <a:cubicBezTo>
                  <a:pt x="2006" y="110"/>
                  <a:pt x="2006" y="110"/>
                  <a:pt x="2006" y="110"/>
                </a:cubicBezTo>
                <a:cubicBezTo>
                  <a:pt x="2006" y="109"/>
                  <a:pt x="2006" y="109"/>
                  <a:pt x="2006" y="109"/>
                </a:cubicBezTo>
                <a:cubicBezTo>
                  <a:pt x="2004" y="107"/>
                  <a:pt x="2004" y="107"/>
                  <a:pt x="2004" y="107"/>
                </a:cubicBezTo>
                <a:cubicBezTo>
                  <a:pt x="2003" y="108"/>
                  <a:pt x="2003" y="108"/>
                  <a:pt x="2003" y="108"/>
                </a:cubicBezTo>
                <a:cubicBezTo>
                  <a:pt x="2002" y="107"/>
                  <a:pt x="2002" y="107"/>
                  <a:pt x="2002" y="107"/>
                </a:cubicBezTo>
                <a:cubicBezTo>
                  <a:pt x="2000" y="107"/>
                  <a:pt x="2000" y="107"/>
                  <a:pt x="2000" y="107"/>
                </a:cubicBezTo>
                <a:cubicBezTo>
                  <a:pt x="1999" y="106"/>
                  <a:pt x="1999" y="106"/>
                  <a:pt x="1999" y="106"/>
                </a:cubicBezTo>
                <a:cubicBezTo>
                  <a:pt x="2000" y="105"/>
                  <a:pt x="2000" y="105"/>
                  <a:pt x="2000" y="105"/>
                </a:cubicBezTo>
                <a:cubicBezTo>
                  <a:pt x="2003" y="104"/>
                  <a:pt x="2003" y="104"/>
                  <a:pt x="2003" y="104"/>
                </a:cubicBezTo>
                <a:cubicBezTo>
                  <a:pt x="2006" y="106"/>
                  <a:pt x="2006" y="106"/>
                  <a:pt x="2006" y="106"/>
                </a:cubicBezTo>
                <a:cubicBezTo>
                  <a:pt x="2008" y="105"/>
                  <a:pt x="2008" y="105"/>
                  <a:pt x="2008" y="105"/>
                </a:cubicBezTo>
                <a:cubicBezTo>
                  <a:pt x="2012" y="105"/>
                  <a:pt x="2012" y="105"/>
                  <a:pt x="2012" y="105"/>
                </a:cubicBezTo>
                <a:cubicBezTo>
                  <a:pt x="2020" y="105"/>
                  <a:pt x="2020" y="105"/>
                  <a:pt x="2020" y="105"/>
                </a:cubicBezTo>
                <a:cubicBezTo>
                  <a:pt x="2021" y="104"/>
                  <a:pt x="2021" y="104"/>
                  <a:pt x="2021" y="104"/>
                </a:cubicBezTo>
                <a:cubicBezTo>
                  <a:pt x="2026" y="104"/>
                  <a:pt x="2026" y="104"/>
                  <a:pt x="2026" y="104"/>
                </a:cubicBezTo>
                <a:cubicBezTo>
                  <a:pt x="2029" y="104"/>
                  <a:pt x="2029" y="104"/>
                  <a:pt x="2029" y="104"/>
                </a:cubicBezTo>
                <a:cubicBezTo>
                  <a:pt x="2031" y="104"/>
                  <a:pt x="2031" y="104"/>
                  <a:pt x="2031" y="104"/>
                </a:cubicBezTo>
                <a:cubicBezTo>
                  <a:pt x="2032" y="104"/>
                  <a:pt x="2032" y="104"/>
                  <a:pt x="2032" y="104"/>
                </a:cubicBezTo>
                <a:cubicBezTo>
                  <a:pt x="2028" y="106"/>
                  <a:pt x="2028" y="106"/>
                  <a:pt x="2028" y="106"/>
                </a:cubicBezTo>
                <a:cubicBezTo>
                  <a:pt x="2026" y="105"/>
                  <a:pt x="2026" y="105"/>
                  <a:pt x="2026" y="105"/>
                </a:cubicBezTo>
                <a:cubicBezTo>
                  <a:pt x="2026" y="106"/>
                  <a:pt x="2026" y="106"/>
                  <a:pt x="2026" y="106"/>
                </a:cubicBezTo>
                <a:cubicBezTo>
                  <a:pt x="2024" y="105"/>
                  <a:pt x="2024" y="105"/>
                  <a:pt x="2024" y="105"/>
                </a:cubicBezTo>
                <a:cubicBezTo>
                  <a:pt x="2024" y="108"/>
                  <a:pt x="2024" y="108"/>
                  <a:pt x="2024" y="108"/>
                </a:cubicBezTo>
                <a:cubicBezTo>
                  <a:pt x="2025" y="109"/>
                  <a:pt x="2025" y="109"/>
                  <a:pt x="2025" y="109"/>
                </a:cubicBezTo>
                <a:cubicBezTo>
                  <a:pt x="2024" y="110"/>
                  <a:pt x="2024" y="110"/>
                  <a:pt x="2024" y="110"/>
                </a:cubicBezTo>
                <a:cubicBezTo>
                  <a:pt x="2024" y="111"/>
                  <a:pt x="2024" y="111"/>
                  <a:pt x="2024" y="111"/>
                </a:cubicBezTo>
                <a:cubicBezTo>
                  <a:pt x="2025" y="111"/>
                  <a:pt x="2025" y="111"/>
                  <a:pt x="2025" y="111"/>
                </a:cubicBezTo>
                <a:cubicBezTo>
                  <a:pt x="2027" y="110"/>
                  <a:pt x="2027" y="110"/>
                  <a:pt x="2027" y="110"/>
                </a:cubicBezTo>
                <a:cubicBezTo>
                  <a:pt x="2027" y="109"/>
                  <a:pt x="2027" y="109"/>
                  <a:pt x="2027" y="109"/>
                </a:cubicBezTo>
                <a:cubicBezTo>
                  <a:pt x="2030" y="106"/>
                  <a:pt x="2030" y="106"/>
                  <a:pt x="2030" y="106"/>
                </a:cubicBezTo>
                <a:cubicBezTo>
                  <a:pt x="2034" y="105"/>
                  <a:pt x="2034" y="105"/>
                  <a:pt x="2034" y="105"/>
                </a:cubicBezTo>
                <a:cubicBezTo>
                  <a:pt x="2035" y="107"/>
                  <a:pt x="2035" y="107"/>
                  <a:pt x="2035" y="107"/>
                </a:cubicBezTo>
                <a:cubicBezTo>
                  <a:pt x="2035" y="110"/>
                  <a:pt x="2035" y="110"/>
                  <a:pt x="2035" y="110"/>
                </a:cubicBezTo>
                <a:cubicBezTo>
                  <a:pt x="2035" y="111"/>
                  <a:pt x="2035" y="111"/>
                  <a:pt x="2035" y="111"/>
                </a:cubicBezTo>
                <a:cubicBezTo>
                  <a:pt x="2034" y="109"/>
                  <a:pt x="2034" y="109"/>
                  <a:pt x="2034" y="109"/>
                </a:cubicBezTo>
                <a:cubicBezTo>
                  <a:pt x="2033" y="108"/>
                  <a:pt x="2033" y="108"/>
                  <a:pt x="2033" y="108"/>
                </a:cubicBezTo>
                <a:cubicBezTo>
                  <a:pt x="2033" y="106"/>
                  <a:pt x="2033" y="106"/>
                  <a:pt x="2033" y="106"/>
                </a:cubicBezTo>
                <a:cubicBezTo>
                  <a:pt x="2031" y="108"/>
                  <a:pt x="2031" y="108"/>
                  <a:pt x="2031" y="108"/>
                </a:cubicBezTo>
                <a:cubicBezTo>
                  <a:pt x="2030" y="107"/>
                  <a:pt x="2030" y="107"/>
                  <a:pt x="2030" y="107"/>
                </a:cubicBezTo>
                <a:cubicBezTo>
                  <a:pt x="2031" y="110"/>
                  <a:pt x="2031" y="110"/>
                  <a:pt x="2031" y="110"/>
                </a:cubicBezTo>
                <a:cubicBezTo>
                  <a:pt x="2033" y="110"/>
                  <a:pt x="2033" y="110"/>
                  <a:pt x="2033" y="110"/>
                </a:cubicBezTo>
                <a:cubicBezTo>
                  <a:pt x="2033" y="113"/>
                  <a:pt x="2033" y="113"/>
                  <a:pt x="2033" y="113"/>
                </a:cubicBezTo>
                <a:cubicBezTo>
                  <a:pt x="2032" y="115"/>
                  <a:pt x="2032" y="115"/>
                  <a:pt x="2032" y="115"/>
                </a:cubicBezTo>
                <a:cubicBezTo>
                  <a:pt x="2031" y="114"/>
                  <a:pt x="2031" y="114"/>
                  <a:pt x="2031" y="114"/>
                </a:cubicBezTo>
                <a:cubicBezTo>
                  <a:pt x="2030" y="115"/>
                  <a:pt x="2030" y="115"/>
                  <a:pt x="2030" y="115"/>
                </a:cubicBezTo>
                <a:cubicBezTo>
                  <a:pt x="2032" y="116"/>
                  <a:pt x="2032" y="116"/>
                  <a:pt x="2032" y="116"/>
                </a:cubicBezTo>
                <a:cubicBezTo>
                  <a:pt x="2032" y="117"/>
                  <a:pt x="2032" y="117"/>
                  <a:pt x="2032" y="117"/>
                </a:cubicBezTo>
                <a:cubicBezTo>
                  <a:pt x="2033" y="117"/>
                  <a:pt x="2033" y="117"/>
                  <a:pt x="2033" y="117"/>
                </a:cubicBezTo>
                <a:cubicBezTo>
                  <a:pt x="2035" y="116"/>
                  <a:pt x="2035" y="116"/>
                  <a:pt x="2035" y="116"/>
                </a:cubicBezTo>
                <a:cubicBezTo>
                  <a:pt x="2035" y="114"/>
                  <a:pt x="2035" y="114"/>
                  <a:pt x="2035" y="114"/>
                </a:cubicBezTo>
                <a:cubicBezTo>
                  <a:pt x="2036" y="113"/>
                  <a:pt x="2036" y="113"/>
                  <a:pt x="2036" y="113"/>
                </a:cubicBezTo>
                <a:cubicBezTo>
                  <a:pt x="2036" y="111"/>
                  <a:pt x="2036" y="111"/>
                  <a:pt x="2036" y="111"/>
                </a:cubicBezTo>
                <a:cubicBezTo>
                  <a:pt x="2036" y="110"/>
                  <a:pt x="2036" y="110"/>
                  <a:pt x="2036" y="110"/>
                </a:cubicBezTo>
                <a:cubicBezTo>
                  <a:pt x="2035" y="103"/>
                  <a:pt x="2035" y="103"/>
                  <a:pt x="2035" y="103"/>
                </a:cubicBezTo>
                <a:cubicBezTo>
                  <a:pt x="2038" y="102"/>
                  <a:pt x="2038" y="102"/>
                  <a:pt x="2038" y="102"/>
                </a:cubicBezTo>
                <a:cubicBezTo>
                  <a:pt x="2041" y="101"/>
                  <a:pt x="2041" y="101"/>
                  <a:pt x="2041" y="101"/>
                </a:cubicBezTo>
                <a:cubicBezTo>
                  <a:pt x="2045" y="100"/>
                  <a:pt x="2045" y="100"/>
                  <a:pt x="2045" y="100"/>
                </a:cubicBezTo>
                <a:cubicBezTo>
                  <a:pt x="2048" y="100"/>
                  <a:pt x="2048" y="100"/>
                  <a:pt x="2048" y="100"/>
                </a:cubicBezTo>
                <a:cubicBezTo>
                  <a:pt x="2052" y="102"/>
                  <a:pt x="2052" y="102"/>
                  <a:pt x="2052" y="102"/>
                </a:cubicBezTo>
                <a:cubicBezTo>
                  <a:pt x="2054" y="105"/>
                  <a:pt x="2054" y="105"/>
                  <a:pt x="2054" y="105"/>
                </a:cubicBezTo>
                <a:cubicBezTo>
                  <a:pt x="2054" y="106"/>
                  <a:pt x="2054" y="106"/>
                  <a:pt x="2054" y="106"/>
                </a:cubicBezTo>
                <a:cubicBezTo>
                  <a:pt x="2053" y="107"/>
                  <a:pt x="2053" y="107"/>
                  <a:pt x="2053" y="107"/>
                </a:cubicBezTo>
                <a:cubicBezTo>
                  <a:pt x="2051" y="105"/>
                  <a:pt x="2051" y="105"/>
                  <a:pt x="2051" y="105"/>
                </a:cubicBezTo>
                <a:cubicBezTo>
                  <a:pt x="2050" y="105"/>
                  <a:pt x="2050" y="105"/>
                  <a:pt x="2050" y="105"/>
                </a:cubicBezTo>
                <a:cubicBezTo>
                  <a:pt x="2051" y="107"/>
                  <a:pt x="2051" y="107"/>
                  <a:pt x="2051" y="107"/>
                </a:cubicBezTo>
                <a:cubicBezTo>
                  <a:pt x="2051" y="108"/>
                  <a:pt x="2051" y="108"/>
                  <a:pt x="2051" y="108"/>
                </a:cubicBezTo>
                <a:cubicBezTo>
                  <a:pt x="2051" y="109"/>
                  <a:pt x="2051" y="109"/>
                  <a:pt x="2051" y="109"/>
                </a:cubicBezTo>
                <a:cubicBezTo>
                  <a:pt x="2050" y="110"/>
                  <a:pt x="2050" y="110"/>
                  <a:pt x="2050" y="110"/>
                </a:cubicBezTo>
                <a:cubicBezTo>
                  <a:pt x="2051" y="110"/>
                  <a:pt x="2051" y="110"/>
                  <a:pt x="2051" y="110"/>
                </a:cubicBezTo>
                <a:cubicBezTo>
                  <a:pt x="2052" y="110"/>
                  <a:pt x="2052" y="110"/>
                  <a:pt x="2052" y="110"/>
                </a:cubicBezTo>
                <a:cubicBezTo>
                  <a:pt x="2054" y="109"/>
                  <a:pt x="2054" y="109"/>
                  <a:pt x="2054" y="109"/>
                </a:cubicBezTo>
                <a:cubicBezTo>
                  <a:pt x="2056" y="108"/>
                  <a:pt x="2056" y="108"/>
                  <a:pt x="2056" y="108"/>
                </a:cubicBezTo>
                <a:cubicBezTo>
                  <a:pt x="2056" y="110"/>
                  <a:pt x="2056" y="110"/>
                  <a:pt x="2056" y="110"/>
                </a:cubicBezTo>
                <a:cubicBezTo>
                  <a:pt x="2057" y="111"/>
                  <a:pt x="2057" y="111"/>
                  <a:pt x="2057" y="111"/>
                </a:cubicBezTo>
                <a:cubicBezTo>
                  <a:pt x="2057" y="113"/>
                  <a:pt x="2057" y="113"/>
                  <a:pt x="2057" y="113"/>
                </a:cubicBezTo>
                <a:cubicBezTo>
                  <a:pt x="2058" y="114"/>
                  <a:pt x="2058" y="114"/>
                  <a:pt x="2058" y="114"/>
                </a:cubicBezTo>
                <a:cubicBezTo>
                  <a:pt x="2059" y="112"/>
                  <a:pt x="2059" y="112"/>
                  <a:pt x="2059" y="112"/>
                </a:cubicBezTo>
                <a:cubicBezTo>
                  <a:pt x="2058" y="111"/>
                  <a:pt x="2058" y="111"/>
                  <a:pt x="2058" y="111"/>
                </a:cubicBezTo>
                <a:cubicBezTo>
                  <a:pt x="2060" y="110"/>
                  <a:pt x="2060" y="110"/>
                  <a:pt x="2060" y="110"/>
                </a:cubicBezTo>
                <a:cubicBezTo>
                  <a:pt x="2062" y="111"/>
                  <a:pt x="2062" y="111"/>
                  <a:pt x="2062" y="111"/>
                </a:cubicBezTo>
                <a:cubicBezTo>
                  <a:pt x="2062" y="112"/>
                  <a:pt x="2062" y="112"/>
                  <a:pt x="2062" y="112"/>
                </a:cubicBezTo>
                <a:cubicBezTo>
                  <a:pt x="2062" y="113"/>
                  <a:pt x="2062" y="113"/>
                  <a:pt x="2062" y="113"/>
                </a:cubicBezTo>
                <a:cubicBezTo>
                  <a:pt x="2061" y="115"/>
                  <a:pt x="2061" y="115"/>
                  <a:pt x="2061" y="115"/>
                </a:cubicBezTo>
                <a:cubicBezTo>
                  <a:pt x="2061" y="116"/>
                  <a:pt x="2061" y="116"/>
                  <a:pt x="2061" y="116"/>
                </a:cubicBezTo>
                <a:cubicBezTo>
                  <a:pt x="2062" y="115"/>
                  <a:pt x="2062" y="115"/>
                  <a:pt x="2062" y="115"/>
                </a:cubicBezTo>
                <a:cubicBezTo>
                  <a:pt x="2063" y="114"/>
                  <a:pt x="2063" y="114"/>
                  <a:pt x="2063" y="114"/>
                </a:cubicBezTo>
                <a:cubicBezTo>
                  <a:pt x="2064" y="113"/>
                  <a:pt x="2064" y="113"/>
                  <a:pt x="2064" y="113"/>
                </a:cubicBezTo>
                <a:cubicBezTo>
                  <a:pt x="2065" y="110"/>
                  <a:pt x="2065" y="110"/>
                  <a:pt x="2065" y="110"/>
                </a:cubicBezTo>
                <a:cubicBezTo>
                  <a:pt x="2066" y="110"/>
                  <a:pt x="2066" y="110"/>
                  <a:pt x="2066" y="110"/>
                </a:cubicBezTo>
                <a:cubicBezTo>
                  <a:pt x="2067" y="110"/>
                  <a:pt x="2067" y="110"/>
                  <a:pt x="2067" y="110"/>
                </a:cubicBezTo>
                <a:cubicBezTo>
                  <a:pt x="2070" y="112"/>
                  <a:pt x="2070" y="112"/>
                  <a:pt x="2070" y="112"/>
                </a:cubicBezTo>
                <a:cubicBezTo>
                  <a:pt x="2073" y="113"/>
                  <a:pt x="2073" y="113"/>
                  <a:pt x="2073" y="113"/>
                </a:cubicBezTo>
                <a:cubicBezTo>
                  <a:pt x="2075" y="115"/>
                  <a:pt x="2075" y="115"/>
                  <a:pt x="2075" y="115"/>
                </a:cubicBezTo>
                <a:cubicBezTo>
                  <a:pt x="2074" y="116"/>
                  <a:pt x="2074" y="116"/>
                  <a:pt x="2074" y="116"/>
                </a:cubicBezTo>
                <a:cubicBezTo>
                  <a:pt x="2072" y="117"/>
                  <a:pt x="2072" y="117"/>
                  <a:pt x="2072" y="117"/>
                </a:cubicBezTo>
                <a:cubicBezTo>
                  <a:pt x="2071" y="119"/>
                  <a:pt x="2071" y="119"/>
                  <a:pt x="2071" y="119"/>
                </a:cubicBezTo>
                <a:cubicBezTo>
                  <a:pt x="2073" y="118"/>
                  <a:pt x="2073" y="118"/>
                  <a:pt x="2073" y="118"/>
                </a:cubicBezTo>
                <a:cubicBezTo>
                  <a:pt x="2075" y="117"/>
                  <a:pt x="2075" y="117"/>
                  <a:pt x="2075" y="117"/>
                </a:cubicBezTo>
                <a:cubicBezTo>
                  <a:pt x="2077" y="118"/>
                  <a:pt x="2077" y="118"/>
                  <a:pt x="2077" y="118"/>
                </a:cubicBezTo>
                <a:cubicBezTo>
                  <a:pt x="2079" y="117"/>
                  <a:pt x="2079" y="117"/>
                  <a:pt x="2079" y="117"/>
                </a:cubicBezTo>
                <a:cubicBezTo>
                  <a:pt x="2081" y="116"/>
                  <a:pt x="2081" y="116"/>
                  <a:pt x="2081" y="116"/>
                </a:cubicBezTo>
                <a:cubicBezTo>
                  <a:pt x="2082" y="115"/>
                  <a:pt x="2082" y="115"/>
                  <a:pt x="2082" y="115"/>
                </a:cubicBezTo>
                <a:cubicBezTo>
                  <a:pt x="2085" y="113"/>
                  <a:pt x="2085" y="113"/>
                  <a:pt x="2085" y="113"/>
                </a:cubicBezTo>
                <a:cubicBezTo>
                  <a:pt x="2086" y="113"/>
                  <a:pt x="2086" y="113"/>
                  <a:pt x="2086" y="113"/>
                </a:cubicBezTo>
                <a:cubicBezTo>
                  <a:pt x="2088" y="111"/>
                  <a:pt x="2088" y="111"/>
                  <a:pt x="2088" y="111"/>
                </a:cubicBezTo>
                <a:cubicBezTo>
                  <a:pt x="2090" y="110"/>
                  <a:pt x="2090" y="110"/>
                  <a:pt x="2090" y="110"/>
                </a:cubicBezTo>
                <a:cubicBezTo>
                  <a:pt x="2095" y="108"/>
                  <a:pt x="2095" y="108"/>
                  <a:pt x="2095" y="108"/>
                </a:cubicBezTo>
                <a:cubicBezTo>
                  <a:pt x="2097" y="107"/>
                  <a:pt x="2097" y="107"/>
                  <a:pt x="2097" y="107"/>
                </a:cubicBezTo>
                <a:cubicBezTo>
                  <a:pt x="2098" y="107"/>
                  <a:pt x="2098" y="107"/>
                  <a:pt x="2098" y="107"/>
                </a:cubicBezTo>
                <a:cubicBezTo>
                  <a:pt x="2101" y="105"/>
                  <a:pt x="2101" y="105"/>
                  <a:pt x="2101" y="105"/>
                </a:cubicBezTo>
                <a:cubicBezTo>
                  <a:pt x="2103" y="105"/>
                  <a:pt x="2103" y="105"/>
                  <a:pt x="2103" y="105"/>
                </a:cubicBezTo>
                <a:cubicBezTo>
                  <a:pt x="2106" y="105"/>
                  <a:pt x="2106" y="105"/>
                  <a:pt x="2106" y="105"/>
                </a:cubicBezTo>
                <a:cubicBezTo>
                  <a:pt x="2112" y="107"/>
                  <a:pt x="2112" y="107"/>
                  <a:pt x="2112" y="107"/>
                </a:cubicBezTo>
                <a:cubicBezTo>
                  <a:pt x="2114" y="110"/>
                  <a:pt x="2114" y="110"/>
                  <a:pt x="2114" y="110"/>
                </a:cubicBezTo>
                <a:cubicBezTo>
                  <a:pt x="2117" y="111"/>
                  <a:pt x="2117" y="111"/>
                  <a:pt x="2117" y="111"/>
                </a:cubicBezTo>
                <a:cubicBezTo>
                  <a:pt x="2119" y="114"/>
                  <a:pt x="2119" y="114"/>
                  <a:pt x="2119" y="114"/>
                </a:cubicBezTo>
                <a:cubicBezTo>
                  <a:pt x="2121" y="116"/>
                  <a:pt x="2121" y="116"/>
                  <a:pt x="2121" y="116"/>
                </a:cubicBezTo>
                <a:cubicBezTo>
                  <a:pt x="2121" y="117"/>
                  <a:pt x="2121" y="117"/>
                  <a:pt x="2121" y="117"/>
                </a:cubicBezTo>
                <a:cubicBezTo>
                  <a:pt x="2121" y="118"/>
                  <a:pt x="2121" y="118"/>
                  <a:pt x="2121" y="118"/>
                </a:cubicBezTo>
                <a:cubicBezTo>
                  <a:pt x="2121" y="120"/>
                  <a:pt x="2121" y="120"/>
                  <a:pt x="2121" y="120"/>
                </a:cubicBezTo>
                <a:cubicBezTo>
                  <a:pt x="2122" y="122"/>
                  <a:pt x="2122" y="122"/>
                  <a:pt x="2122" y="122"/>
                </a:cubicBezTo>
                <a:cubicBezTo>
                  <a:pt x="2123" y="123"/>
                  <a:pt x="2123" y="123"/>
                  <a:pt x="2123" y="123"/>
                </a:cubicBezTo>
                <a:cubicBezTo>
                  <a:pt x="2122" y="125"/>
                  <a:pt x="2122" y="125"/>
                  <a:pt x="2122" y="125"/>
                </a:cubicBezTo>
                <a:cubicBezTo>
                  <a:pt x="2123" y="124"/>
                  <a:pt x="2123" y="124"/>
                  <a:pt x="2123" y="124"/>
                </a:cubicBezTo>
                <a:cubicBezTo>
                  <a:pt x="2125" y="123"/>
                  <a:pt x="2125" y="123"/>
                  <a:pt x="2125" y="123"/>
                </a:cubicBezTo>
                <a:cubicBezTo>
                  <a:pt x="2126" y="123"/>
                  <a:pt x="2126" y="123"/>
                  <a:pt x="2126" y="123"/>
                </a:cubicBezTo>
                <a:cubicBezTo>
                  <a:pt x="2127" y="123"/>
                  <a:pt x="2127" y="123"/>
                  <a:pt x="2127" y="123"/>
                </a:cubicBezTo>
                <a:cubicBezTo>
                  <a:pt x="2127" y="122"/>
                  <a:pt x="2127" y="122"/>
                  <a:pt x="2127" y="122"/>
                </a:cubicBezTo>
                <a:cubicBezTo>
                  <a:pt x="2129" y="122"/>
                  <a:pt x="2129" y="122"/>
                  <a:pt x="2129" y="122"/>
                </a:cubicBezTo>
                <a:cubicBezTo>
                  <a:pt x="2130" y="123"/>
                  <a:pt x="2130" y="123"/>
                  <a:pt x="2130" y="123"/>
                </a:cubicBezTo>
                <a:cubicBezTo>
                  <a:pt x="2131" y="125"/>
                  <a:pt x="2131" y="125"/>
                  <a:pt x="2131" y="125"/>
                </a:cubicBezTo>
                <a:cubicBezTo>
                  <a:pt x="2131" y="123"/>
                  <a:pt x="2131" y="123"/>
                  <a:pt x="2131" y="123"/>
                </a:cubicBezTo>
                <a:cubicBezTo>
                  <a:pt x="2131" y="121"/>
                  <a:pt x="2131" y="121"/>
                  <a:pt x="2131" y="121"/>
                </a:cubicBezTo>
                <a:cubicBezTo>
                  <a:pt x="2132" y="121"/>
                  <a:pt x="2132" y="121"/>
                  <a:pt x="2132" y="121"/>
                </a:cubicBezTo>
                <a:cubicBezTo>
                  <a:pt x="2133" y="123"/>
                  <a:pt x="2133" y="123"/>
                  <a:pt x="2133" y="123"/>
                </a:cubicBezTo>
                <a:cubicBezTo>
                  <a:pt x="2135" y="125"/>
                  <a:pt x="2135" y="125"/>
                  <a:pt x="2135" y="125"/>
                </a:cubicBezTo>
                <a:cubicBezTo>
                  <a:pt x="2135" y="127"/>
                  <a:pt x="2135" y="127"/>
                  <a:pt x="2135" y="127"/>
                </a:cubicBezTo>
                <a:cubicBezTo>
                  <a:pt x="2136" y="127"/>
                  <a:pt x="2136" y="127"/>
                  <a:pt x="2136" y="127"/>
                </a:cubicBezTo>
                <a:cubicBezTo>
                  <a:pt x="2138" y="130"/>
                  <a:pt x="2138" y="130"/>
                  <a:pt x="2138" y="130"/>
                </a:cubicBezTo>
                <a:cubicBezTo>
                  <a:pt x="2138" y="129"/>
                  <a:pt x="2138" y="129"/>
                  <a:pt x="2138" y="129"/>
                </a:cubicBezTo>
                <a:cubicBezTo>
                  <a:pt x="2137" y="127"/>
                  <a:pt x="2137" y="127"/>
                  <a:pt x="2137" y="127"/>
                </a:cubicBezTo>
                <a:cubicBezTo>
                  <a:pt x="2136" y="126"/>
                  <a:pt x="2136" y="126"/>
                  <a:pt x="2136" y="126"/>
                </a:cubicBezTo>
                <a:cubicBezTo>
                  <a:pt x="2136" y="125"/>
                  <a:pt x="2136" y="125"/>
                  <a:pt x="2136" y="125"/>
                </a:cubicBezTo>
                <a:cubicBezTo>
                  <a:pt x="2137" y="126"/>
                  <a:pt x="2137" y="126"/>
                  <a:pt x="2137" y="126"/>
                </a:cubicBezTo>
                <a:cubicBezTo>
                  <a:pt x="2138" y="126"/>
                  <a:pt x="2138" y="126"/>
                  <a:pt x="2138" y="126"/>
                </a:cubicBezTo>
                <a:cubicBezTo>
                  <a:pt x="2140" y="127"/>
                  <a:pt x="2140" y="127"/>
                  <a:pt x="2140" y="127"/>
                </a:cubicBezTo>
                <a:cubicBezTo>
                  <a:pt x="2141" y="129"/>
                  <a:pt x="2141" y="129"/>
                  <a:pt x="2141" y="129"/>
                </a:cubicBezTo>
                <a:cubicBezTo>
                  <a:pt x="2141" y="127"/>
                  <a:pt x="2141" y="127"/>
                  <a:pt x="2141" y="127"/>
                </a:cubicBezTo>
                <a:cubicBezTo>
                  <a:pt x="2139" y="124"/>
                  <a:pt x="2139" y="124"/>
                  <a:pt x="2139" y="124"/>
                </a:cubicBezTo>
                <a:cubicBezTo>
                  <a:pt x="2139" y="121"/>
                  <a:pt x="2139" y="121"/>
                  <a:pt x="2139" y="121"/>
                </a:cubicBezTo>
                <a:cubicBezTo>
                  <a:pt x="2139" y="119"/>
                  <a:pt x="2139" y="119"/>
                  <a:pt x="2139" y="119"/>
                </a:cubicBezTo>
                <a:cubicBezTo>
                  <a:pt x="2140" y="117"/>
                  <a:pt x="2140" y="117"/>
                  <a:pt x="2140" y="117"/>
                </a:cubicBezTo>
                <a:cubicBezTo>
                  <a:pt x="2143" y="117"/>
                  <a:pt x="2143" y="117"/>
                  <a:pt x="2143" y="117"/>
                </a:cubicBezTo>
                <a:cubicBezTo>
                  <a:pt x="2144" y="116"/>
                  <a:pt x="2144" y="116"/>
                  <a:pt x="2144" y="116"/>
                </a:cubicBezTo>
                <a:cubicBezTo>
                  <a:pt x="2146" y="115"/>
                  <a:pt x="2146" y="115"/>
                  <a:pt x="2146" y="115"/>
                </a:cubicBezTo>
                <a:cubicBezTo>
                  <a:pt x="2146" y="114"/>
                  <a:pt x="2146" y="114"/>
                  <a:pt x="2146" y="114"/>
                </a:cubicBezTo>
                <a:cubicBezTo>
                  <a:pt x="2147" y="114"/>
                  <a:pt x="2147" y="114"/>
                  <a:pt x="2147" y="114"/>
                </a:cubicBezTo>
                <a:cubicBezTo>
                  <a:pt x="2148" y="115"/>
                  <a:pt x="2148" y="115"/>
                  <a:pt x="2148" y="115"/>
                </a:cubicBezTo>
                <a:cubicBezTo>
                  <a:pt x="2150" y="115"/>
                  <a:pt x="2150" y="115"/>
                  <a:pt x="2150" y="115"/>
                </a:cubicBezTo>
                <a:cubicBezTo>
                  <a:pt x="2151" y="115"/>
                  <a:pt x="2151" y="115"/>
                  <a:pt x="2151" y="115"/>
                </a:cubicBezTo>
                <a:cubicBezTo>
                  <a:pt x="2153" y="113"/>
                  <a:pt x="2153" y="113"/>
                  <a:pt x="2153" y="113"/>
                </a:cubicBezTo>
                <a:cubicBezTo>
                  <a:pt x="2154" y="114"/>
                  <a:pt x="2154" y="114"/>
                  <a:pt x="2154" y="114"/>
                </a:cubicBezTo>
                <a:cubicBezTo>
                  <a:pt x="2156" y="113"/>
                  <a:pt x="2156" y="113"/>
                  <a:pt x="2156" y="113"/>
                </a:cubicBezTo>
                <a:cubicBezTo>
                  <a:pt x="2159" y="113"/>
                  <a:pt x="2159" y="113"/>
                  <a:pt x="2159" y="113"/>
                </a:cubicBezTo>
                <a:cubicBezTo>
                  <a:pt x="2160" y="112"/>
                  <a:pt x="2160" y="112"/>
                  <a:pt x="2160" y="112"/>
                </a:cubicBezTo>
                <a:cubicBezTo>
                  <a:pt x="2161" y="112"/>
                  <a:pt x="2161" y="112"/>
                  <a:pt x="2161" y="112"/>
                </a:cubicBezTo>
                <a:cubicBezTo>
                  <a:pt x="2161" y="113"/>
                  <a:pt x="2161" y="113"/>
                  <a:pt x="2161" y="113"/>
                </a:cubicBezTo>
                <a:cubicBezTo>
                  <a:pt x="2162" y="114"/>
                  <a:pt x="2162" y="114"/>
                  <a:pt x="2162" y="114"/>
                </a:cubicBezTo>
                <a:cubicBezTo>
                  <a:pt x="2162" y="113"/>
                  <a:pt x="2162" y="113"/>
                  <a:pt x="2162" y="113"/>
                </a:cubicBezTo>
                <a:cubicBezTo>
                  <a:pt x="2164" y="111"/>
                  <a:pt x="2164" y="111"/>
                  <a:pt x="2164" y="111"/>
                </a:cubicBezTo>
                <a:cubicBezTo>
                  <a:pt x="2163" y="110"/>
                  <a:pt x="2163" y="110"/>
                  <a:pt x="2163" y="110"/>
                </a:cubicBezTo>
                <a:cubicBezTo>
                  <a:pt x="2163" y="108"/>
                  <a:pt x="2163" y="108"/>
                  <a:pt x="2163" y="108"/>
                </a:cubicBezTo>
                <a:cubicBezTo>
                  <a:pt x="2164" y="107"/>
                  <a:pt x="2164" y="107"/>
                  <a:pt x="2164" y="107"/>
                </a:cubicBezTo>
                <a:cubicBezTo>
                  <a:pt x="2164" y="106"/>
                  <a:pt x="2164" y="106"/>
                  <a:pt x="2164" y="106"/>
                </a:cubicBezTo>
                <a:cubicBezTo>
                  <a:pt x="2164" y="106"/>
                  <a:pt x="2164" y="106"/>
                  <a:pt x="2163" y="106"/>
                </a:cubicBezTo>
                <a:cubicBezTo>
                  <a:pt x="2163" y="106"/>
                  <a:pt x="2163" y="106"/>
                  <a:pt x="2163" y="105"/>
                </a:cubicBezTo>
                <a:cubicBezTo>
                  <a:pt x="2163" y="105"/>
                  <a:pt x="2163" y="105"/>
                  <a:pt x="2163" y="103"/>
                </a:cubicBezTo>
                <a:cubicBezTo>
                  <a:pt x="2163" y="103"/>
                  <a:pt x="2163" y="103"/>
                  <a:pt x="2163" y="102"/>
                </a:cubicBezTo>
                <a:cubicBezTo>
                  <a:pt x="2163" y="102"/>
                  <a:pt x="2163" y="102"/>
                  <a:pt x="2164" y="102"/>
                </a:cubicBezTo>
                <a:cubicBezTo>
                  <a:pt x="2164" y="102"/>
                  <a:pt x="2164" y="102"/>
                  <a:pt x="2164" y="101"/>
                </a:cubicBezTo>
                <a:cubicBezTo>
                  <a:pt x="2164" y="101"/>
                  <a:pt x="2164" y="101"/>
                  <a:pt x="2165" y="101"/>
                </a:cubicBezTo>
                <a:cubicBezTo>
                  <a:pt x="2165" y="101"/>
                  <a:pt x="2165" y="101"/>
                  <a:pt x="2166" y="101"/>
                </a:cubicBezTo>
                <a:cubicBezTo>
                  <a:pt x="2166" y="101"/>
                  <a:pt x="2166" y="101"/>
                  <a:pt x="2167" y="102"/>
                </a:cubicBezTo>
                <a:cubicBezTo>
                  <a:pt x="2167" y="102"/>
                  <a:pt x="2167" y="102"/>
                  <a:pt x="2168" y="102"/>
                </a:cubicBezTo>
                <a:cubicBezTo>
                  <a:pt x="2168" y="102"/>
                  <a:pt x="2168" y="102"/>
                  <a:pt x="2168" y="101"/>
                </a:cubicBezTo>
                <a:cubicBezTo>
                  <a:pt x="2168" y="101"/>
                  <a:pt x="2168" y="101"/>
                  <a:pt x="2170" y="102"/>
                </a:cubicBezTo>
                <a:cubicBezTo>
                  <a:pt x="2170" y="102"/>
                  <a:pt x="2170" y="102"/>
                  <a:pt x="2170" y="103"/>
                </a:cubicBezTo>
                <a:cubicBezTo>
                  <a:pt x="2170" y="103"/>
                  <a:pt x="2170" y="103"/>
                  <a:pt x="2170" y="104"/>
                </a:cubicBezTo>
                <a:cubicBezTo>
                  <a:pt x="2170" y="104"/>
                  <a:pt x="2170" y="104"/>
                  <a:pt x="2171" y="105"/>
                </a:cubicBezTo>
                <a:cubicBezTo>
                  <a:pt x="2171" y="105"/>
                  <a:pt x="2171" y="105"/>
                  <a:pt x="2171" y="106"/>
                </a:cubicBezTo>
                <a:cubicBezTo>
                  <a:pt x="2171" y="106"/>
                  <a:pt x="2171" y="106"/>
                  <a:pt x="2170" y="107"/>
                </a:cubicBezTo>
                <a:cubicBezTo>
                  <a:pt x="2170" y="107"/>
                  <a:pt x="2170" y="107"/>
                  <a:pt x="2169" y="108"/>
                </a:cubicBezTo>
                <a:cubicBezTo>
                  <a:pt x="2169" y="108"/>
                  <a:pt x="2169" y="108"/>
                  <a:pt x="2167" y="107"/>
                </a:cubicBezTo>
                <a:cubicBezTo>
                  <a:pt x="2167" y="107"/>
                  <a:pt x="2167" y="107"/>
                  <a:pt x="2166" y="106"/>
                </a:cubicBezTo>
                <a:cubicBezTo>
                  <a:pt x="2167" y="108"/>
                  <a:pt x="2167" y="108"/>
                  <a:pt x="2167" y="108"/>
                </a:cubicBezTo>
                <a:cubicBezTo>
                  <a:pt x="2167" y="109"/>
                  <a:pt x="2167" y="109"/>
                  <a:pt x="2167" y="109"/>
                </a:cubicBezTo>
                <a:cubicBezTo>
                  <a:pt x="2169" y="109"/>
                  <a:pt x="2169" y="109"/>
                  <a:pt x="2169" y="109"/>
                </a:cubicBezTo>
                <a:cubicBezTo>
                  <a:pt x="2170" y="110"/>
                  <a:pt x="2170" y="110"/>
                  <a:pt x="2170" y="110"/>
                </a:cubicBezTo>
                <a:cubicBezTo>
                  <a:pt x="2170" y="111"/>
                  <a:pt x="2170" y="111"/>
                  <a:pt x="2170" y="111"/>
                </a:cubicBezTo>
                <a:cubicBezTo>
                  <a:pt x="2172" y="113"/>
                  <a:pt x="2172" y="113"/>
                  <a:pt x="2172" y="113"/>
                </a:cubicBezTo>
                <a:cubicBezTo>
                  <a:pt x="2173" y="114"/>
                  <a:pt x="2173" y="114"/>
                  <a:pt x="2173" y="114"/>
                </a:cubicBezTo>
                <a:cubicBezTo>
                  <a:pt x="2174" y="114"/>
                  <a:pt x="2174" y="114"/>
                  <a:pt x="2174" y="114"/>
                </a:cubicBezTo>
                <a:cubicBezTo>
                  <a:pt x="2177" y="114"/>
                  <a:pt x="2177" y="114"/>
                  <a:pt x="2177" y="114"/>
                </a:cubicBezTo>
                <a:cubicBezTo>
                  <a:pt x="2178" y="114"/>
                  <a:pt x="2178" y="114"/>
                  <a:pt x="2178" y="114"/>
                </a:cubicBezTo>
                <a:cubicBezTo>
                  <a:pt x="2179" y="114"/>
                  <a:pt x="2179" y="114"/>
                  <a:pt x="2179" y="114"/>
                </a:cubicBezTo>
                <a:cubicBezTo>
                  <a:pt x="2181" y="117"/>
                  <a:pt x="2181" y="117"/>
                  <a:pt x="2181" y="117"/>
                </a:cubicBezTo>
                <a:cubicBezTo>
                  <a:pt x="2181" y="118"/>
                  <a:pt x="2181" y="118"/>
                  <a:pt x="2181" y="118"/>
                </a:cubicBezTo>
                <a:cubicBezTo>
                  <a:pt x="2182" y="119"/>
                  <a:pt x="2182" y="119"/>
                  <a:pt x="2182" y="119"/>
                </a:cubicBezTo>
                <a:cubicBezTo>
                  <a:pt x="2184" y="119"/>
                  <a:pt x="2184" y="119"/>
                  <a:pt x="2184" y="119"/>
                </a:cubicBezTo>
                <a:cubicBezTo>
                  <a:pt x="2185" y="119"/>
                  <a:pt x="2185" y="119"/>
                  <a:pt x="2185" y="119"/>
                </a:cubicBezTo>
                <a:cubicBezTo>
                  <a:pt x="2186" y="118"/>
                  <a:pt x="2186" y="118"/>
                  <a:pt x="2186" y="118"/>
                </a:cubicBezTo>
                <a:cubicBezTo>
                  <a:pt x="2186" y="117"/>
                  <a:pt x="2186" y="117"/>
                  <a:pt x="2186" y="117"/>
                </a:cubicBezTo>
                <a:cubicBezTo>
                  <a:pt x="2188" y="116"/>
                  <a:pt x="2188" y="116"/>
                  <a:pt x="2188" y="116"/>
                </a:cubicBezTo>
                <a:cubicBezTo>
                  <a:pt x="2188" y="117"/>
                  <a:pt x="2188" y="117"/>
                  <a:pt x="2188" y="117"/>
                </a:cubicBezTo>
                <a:cubicBezTo>
                  <a:pt x="2189" y="116"/>
                  <a:pt x="2189" y="116"/>
                  <a:pt x="2189" y="116"/>
                </a:cubicBezTo>
                <a:cubicBezTo>
                  <a:pt x="2188" y="115"/>
                  <a:pt x="2188" y="115"/>
                  <a:pt x="2188" y="115"/>
                </a:cubicBezTo>
                <a:cubicBezTo>
                  <a:pt x="2189" y="115"/>
                  <a:pt x="2189" y="115"/>
                  <a:pt x="2189" y="115"/>
                </a:cubicBezTo>
                <a:cubicBezTo>
                  <a:pt x="2188" y="114"/>
                  <a:pt x="2188" y="114"/>
                  <a:pt x="2188" y="114"/>
                </a:cubicBezTo>
                <a:cubicBezTo>
                  <a:pt x="2188" y="113"/>
                  <a:pt x="2188" y="113"/>
                  <a:pt x="2188" y="113"/>
                </a:cubicBezTo>
                <a:cubicBezTo>
                  <a:pt x="2187" y="111"/>
                  <a:pt x="2187" y="111"/>
                  <a:pt x="2187" y="111"/>
                </a:cubicBezTo>
                <a:cubicBezTo>
                  <a:pt x="2185" y="111"/>
                  <a:pt x="2185" y="111"/>
                  <a:pt x="2185" y="111"/>
                </a:cubicBezTo>
                <a:cubicBezTo>
                  <a:pt x="2185" y="109"/>
                  <a:pt x="2185" y="109"/>
                  <a:pt x="2185" y="109"/>
                </a:cubicBezTo>
                <a:cubicBezTo>
                  <a:pt x="2183" y="106"/>
                  <a:pt x="2183" y="106"/>
                  <a:pt x="2183" y="106"/>
                </a:cubicBezTo>
                <a:cubicBezTo>
                  <a:pt x="2182" y="106"/>
                  <a:pt x="2182" y="106"/>
                  <a:pt x="2182" y="106"/>
                </a:cubicBezTo>
                <a:cubicBezTo>
                  <a:pt x="2181" y="105"/>
                  <a:pt x="2181" y="105"/>
                  <a:pt x="2181" y="105"/>
                </a:cubicBezTo>
                <a:cubicBezTo>
                  <a:pt x="2179" y="104"/>
                  <a:pt x="2179" y="104"/>
                  <a:pt x="2179" y="104"/>
                </a:cubicBezTo>
                <a:cubicBezTo>
                  <a:pt x="2178" y="105"/>
                  <a:pt x="2178" y="105"/>
                  <a:pt x="2178" y="105"/>
                </a:cubicBezTo>
                <a:cubicBezTo>
                  <a:pt x="2177" y="105"/>
                  <a:pt x="2177" y="105"/>
                  <a:pt x="2177" y="105"/>
                </a:cubicBezTo>
                <a:cubicBezTo>
                  <a:pt x="2177" y="104"/>
                  <a:pt x="2177" y="104"/>
                  <a:pt x="2177" y="104"/>
                </a:cubicBezTo>
                <a:cubicBezTo>
                  <a:pt x="2178" y="103"/>
                  <a:pt x="2178" y="103"/>
                  <a:pt x="2178" y="103"/>
                </a:cubicBezTo>
                <a:cubicBezTo>
                  <a:pt x="2177" y="101"/>
                  <a:pt x="2177" y="101"/>
                  <a:pt x="2177" y="101"/>
                </a:cubicBezTo>
                <a:cubicBezTo>
                  <a:pt x="2176" y="100"/>
                  <a:pt x="2176" y="100"/>
                  <a:pt x="2176" y="100"/>
                </a:cubicBezTo>
                <a:cubicBezTo>
                  <a:pt x="2176" y="99"/>
                  <a:pt x="2176" y="99"/>
                  <a:pt x="2176" y="99"/>
                </a:cubicBezTo>
                <a:cubicBezTo>
                  <a:pt x="2175" y="97"/>
                  <a:pt x="2175" y="97"/>
                  <a:pt x="2175" y="97"/>
                </a:cubicBezTo>
                <a:cubicBezTo>
                  <a:pt x="2173" y="96"/>
                  <a:pt x="2173" y="96"/>
                  <a:pt x="2173" y="96"/>
                </a:cubicBezTo>
                <a:cubicBezTo>
                  <a:pt x="2173" y="95"/>
                  <a:pt x="2173" y="95"/>
                  <a:pt x="2173" y="95"/>
                </a:cubicBezTo>
                <a:cubicBezTo>
                  <a:pt x="2176" y="95"/>
                  <a:pt x="2176" y="95"/>
                  <a:pt x="2176" y="95"/>
                </a:cubicBezTo>
                <a:cubicBezTo>
                  <a:pt x="2177" y="95"/>
                  <a:pt x="2177" y="95"/>
                  <a:pt x="2177" y="95"/>
                </a:cubicBezTo>
                <a:cubicBezTo>
                  <a:pt x="2180" y="95"/>
                  <a:pt x="2180" y="95"/>
                  <a:pt x="2180" y="95"/>
                </a:cubicBezTo>
                <a:cubicBezTo>
                  <a:pt x="2183" y="95"/>
                  <a:pt x="2183" y="95"/>
                  <a:pt x="2183" y="95"/>
                </a:cubicBezTo>
                <a:cubicBezTo>
                  <a:pt x="2183" y="94"/>
                  <a:pt x="2183" y="94"/>
                  <a:pt x="2183" y="94"/>
                </a:cubicBezTo>
                <a:cubicBezTo>
                  <a:pt x="2185" y="94"/>
                  <a:pt x="2185" y="94"/>
                  <a:pt x="2185" y="94"/>
                </a:cubicBezTo>
                <a:cubicBezTo>
                  <a:pt x="2186" y="95"/>
                  <a:pt x="2186" y="95"/>
                  <a:pt x="2186" y="95"/>
                </a:cubicBezTo>
                <a:cubicBezTo>
                  <a:pt x="2187" y="94"/>
                  <a:pt x="2187" y="94"/>
                  <a:pt x="2187" y="94"/>
                </a:cubicBezTo>
                <a:cubicBezTo>
                  <a:pt x="2188" y="94"/>
                  <a:pt x="2188" y="94"/>
                  <a:pt x="2188" y="94"/>
                </a:cubicBezTo>
                <a:cubicBezTo>
                  <a:pt x="2188" y="93"/>
                  <a:pt x="2188" y="93"/>
                  <a:pt x="2188" y="93"/>
                </a:cubicBezTo>
                <a:cubicBezTo>
                  <a:pt x="2190" y="93"/>
                  <a:pt x="2190" y="93"/>
                  <a:pt x="2190" y="93"/>
                </a:cubicBezTo>
                <a:cubicBezTo>
                  <a:pt x="2191" y="94"/>
                  <a:pt x="2191" y="94"/>
                  <a:pt x="2191" y="94"/>
                </a:cubicBezTo>
                <a:cubicBezTo>
                  <a:pt x="2192" y="92"/>
                  <a:pt x="2192" y="92"/>
                  <a:pt x="2192" y="92"/>
                </a:cubicBezTo>
                <a:cubicBezTo>
                  <a:pt x="2193" y="93"/>
                  <a:pt x="2193" y="93"/>
                  <a:pt x="2193" y="93"/>
                </a:cubicBezTo>
                <a:cubicBezTo>
                  <a:pt x="2193" y="92"/>
                  <a:pt x="2193" y="92"/>
                  <a:pt x="2193" y="92"/>
                </a:cubicBezTo>
                <a:cubicBezTo>
                  <a:pt x="2198" y="90"/>
                  <a:pt x="2198" y="90"/>
                  <a:pt x="2198" y="90"/>
                </a:cubicBezTo>
                <a:cubicBezTo>
                  <a:pt x="2199" y="92"/>
                  <a:pt x="2199" y="92"/>
                  <a:pt x="2199" y="92"/>
                </a:cubicBezTo>
                <a:cubicBezTo>
                  <a:pt x="2199" y="91"/>
                  <a:pt x="2199" y="91"/>
                  <a:pt x="2199" y="91"/>
                </a:cubicBezTo>
                <a:cubicBezTo>
                  <a:pt x="2200" y="89"/>
                  <a:pt x="2200" y="89"/>
                  <a:pt x="2200" y="89"/>
                </a:cubicBezTo>
                <a:cubicBezTo>
                  <a:pt x="2200" y="90"/>
                  <a:pt x="2200" y="90"/>
                  <a:pt x="2200" y="90"/>
                </a:cubicBezTo>
                <a:cubicBezTo>
                  <a:pt x="2202" y="90"/>
                  <a:pt x="2202" y="90"/>
                  <a:pt x="2202" y="90"/>
                </a:cubicBezTo>
                <a:cubicBezTo>
                  <a:pt x="2203" y="89"/>
                  <a:pt x="2203" y="89"/>
                  <a:pt x="2203" y="89"/>
                </a:cubicBezTo>
                <a:cubicBezTo>
                  <a:pt x="2204" y="90"/>
                  <a:pt x="2204" y="90"/>
                  <a:pt x="2204" y="90"/>
                </a:cubicBezTo>
                <a:cubicBezTo>
                  <a:pt x="2206" y="90"/>
                  <a:pt x="2206" y="90"/>
                  <a:pt x="2206" y="90"/>
                </a:cubicBezTo>
                <a:cubicBezTo>
                  <a:pt x="2207" y="90"/>
                  <a:pt x="2207" y="90"/>
                  <a:pt x="2207" y="90"/>
                </a:cubicBezTo>
                <a:cubicBezTo>
                  <a:pt x="2208" y="91"/>
                  <a:pt x="2208" y="91"/>
                  <a:pt x="2208" y="91"/>
                </a:cubicBezTo>
                <a:cubicBezTo>
                  <a:pt x="2209" y="91"/>
                  <a:pt x="2209" y="91"/>
                  <a:pt x="2209" y="91"/>
                </a:cubicBezTo>
                <a:cubicBezTo>
                  <a:pt x="2210" y="90"/>
                  <a:pt x="2210" y="90"/>
                  <a:pt x="2210" y="90"/>
                </a:cubicBezTo>
                <a:cubicBezTo>
                  <a:pt x="2212" y="90"/>
                  <a:pt x="2212" y="90"/>
                  <a:pt x="2212" y="90"/>
                </a:cubicBezTo>
                <a:cubicBezTo>
                  <a:pt x="2216" y="91"/>
                  <a:pt x="2216" y="91"/>
                  <a:pt x="2216" y="91"/>
                </a:cubicBezTo>
                <a:cubicBezTo>
                  <a:pt x="2217" y="92"/>
                  <a:pt x="2217" y="92"/>
                  <a:pt x="2217" y="92"/>
                </a:cubicBezTo>
                <a:cubicBezTo>
                  <a:pt x="2218" y="92"/>
                  <a:pt x="2218" y="92"/>
                  <a:pt x="2218" y="92"/>
                </a:cubicBezTo>
                <a:cubicBezTo>
                  <a:pt x="2217" y="91"/>
                  <a:pt x="2217" y="91"/>
                  <a:pt x="2217" y="91"/>
                </a:cubicBezTo>
                <a:cubicBezTo>
                  <a:pt x="2219" y="91"/>
                  <a:pt x="2219" y="91"/>
                  <a:pt x="2219" y="91"/>
                </a:cubicBezTo>
                <a:cubicBezTo>
                  <a:pt x="2220" y="92"/>
                  <a:pt x="2220" y="92"/>
                  <a:pt x="2220" y="92"/>
                </a:cubicBezTo>
                <a:cubicBezTo>
                  <a:pt x="2219" y="92"/>
                  <a:pt x="2219" y="92"/>
                  <a:pt x="2219" y="92"/>
                </a:cubicBezTo>
                <a:cubicBezTo>
                  <a:pt x="2220" y="93"/>
                  <a:pt x="2220" y="93"/>
                  <a:pt x="2220" y="93"/>
                </a:cubicBezTo>
                <a:cubicBezTo>
                  <a:pt x="2222" y="92"/>
                  <a:pt x="2222" y="92"/>
                  <a:pt x="2222" y="92"/>
                </a:cubicBezTo>
                <a:cubicBezTo>
                  <a:pt x="2226" y="93"/>
                  <a:pt x="2226" y="93"/>
                  <a:pt x="2226" y="93"/>
                </a:cubicBezTo>
                <a:cubicBezTo>
                  <a:pt x="2229" y="95"/>
                  <a:pt x="2229" y="95"/>
                  <a:pt x="2229" y="95"/>
                </a:cubicBezTo>
                <a:cubicBezTo>
                  <a:pt x="2229" y="96"/>
                  <a:pt x="2229" y="96"/>
                  <a:pt x="2229" y="96"/>
                </a:cubicBezTo>
                <a:cubicBezTo>
                  <a:pt x="2229" y="96"/>
                  <a:pt x="2229" y="96"/>
                  <a:pt x="2229" y="96"/>
                </a:cubicBezTo>
                <a:cubicBezTo>
                  <a:pt x="2228" y="95"/>
                  <a:pt x="2228" y="95"/>
                  <a:pt x="2228" y="95"/>
                </a:cubicBezTo>
                <a:cubicBezTo>
                  <a:pt x="2226" y="94"/>
                  <a:pt x="2226" y="94"/>
                  <a:pt x="2226" y="94"/>
                </a:cubicBezTo>
                <a:cubicBezTo>
                  <a:pt x="2226" y="95"/>
                  <a:pt x="2226" y="95"/>
                  <a:pt x="2226" y="95"/>
                </a:cubicBezTo>
                <a:cubicBezTo>
                  <a:pt x="2227" y="95"/>
                  <a:pt x="2228" y="96"/>
                  <a:pt x="2229" y="96"/>
                </a:cubicBezTo>
                <a:cubicBezTo>
                  <a:pt x="2229" y="96"/>
                  <a:pt x="2229" y="96"/>
                  <a:pt x="2229" y="96"/>
                </a:cubicBezTo>
                <a:cubicBezTo>
                  <a:pt x="2229" y="96"/>
                  <a:pt x="2229" y="96"/>
                  <a:pt x="2229" y="96"/>
                </a:cubicBezTo>
                <a:cubicBezTo>
                  <a:pt x="2230" y="96"/>
                  <a:pt x="2230" y="96"/>
                  <a:pt x="2230" y="96"/>
                </a:cubicBezTo>
                <a:cubicBezTo>
                  <a:pt x="2231" y="96"/>
                  <a:pt x="2231" y="96"/>
                  <a:pt x="2231" y="96"/>
                </a:cubicBezTo>
                <a:cubicBezTo>
                  <a:pt x="2232" y="95"/>
                  <a:pt x="2232" y="95"/>
                  <a:pt x="2232" y="95"/>
                </a:cubicBezTo>
                <a:cubicBezTo>
                  <a:pt x="2234" y="95"/>
                  <a:pt x="2234" y="95"/>
                  <a:pt x="2234" y="95"/>
                </a:cubicBezTo>
                <a:cubicBezTo>
                  <a:pt x="2235" y="95"/>
                  <a:pt x="2235" y="95"/>
                  <a:pt x="2235" y="95"/>
                </a:cubicBezTo>
                <a:cubicBezTo>
                  <a:pt x="2235" y="94"/>
                  <a:pt x="2235" y="94"/>
                  <a:pt x="2235" y="94"/>
                </a:cubicBezTo>
                <a:cubicBezTo>
                  <a:pt x="2236" y="94"/>
                  <a:pt x="2236" y="94"/>
                  <a:pt x="2236" y="94"/>
                </a:cubicBezTo>
                <a:cubicBezTo>
                  <a:pt x="2237" y="95"/>
                  <a:pt x="2237" y="95"/>
                  <a:pt x="2237" y="95"/>
                </a:cubicBezTo>
                <a:cubicBezTo>
                  <a:pt x="2238" y="95"/>
                  <a:pt x="2238" y="95"/>
                  <a:pt x="2238" y="95"/>
                </a:cubicBezTo>
                <a:cubicBezTo>
                  <a:pt x="2239" y="95"/>
                  <a:pt x="2239" y="95"/>
                  <a:pt x="2239" y="95"/>
                </a:cubicBezTo>
                <a:cubicBezTo>
                  <a:pt x="2239" y="94"/>
                  <a:pt x="2239" y="94"/>
                  <a:pt x="2239" y="94"/>
                </a:cubicBezTo>
                <a:cubicBezTo>
                  <a:pt x="2241" y="95"/>
                  <a:pt x="2241" y="95"/>
                  <a:pt x="2241" y="95"/>
                </a:cubicBezTo>
                <a:cubicBezTo>
                  <a:pt x="2241" y="96"/>
                  <a:pt x="2241" y="96"/>
                  <a:pt x="2241" y="96"/>
                </a:cubicBezTo>
                <a:cubicBezTo>
                  <a:pt x="2243" y="96"/>
                  <a:pt x="2243" y="96"/>
                  <a:pt x="2243" y="96"/>
                </a:cubicBezTo>
                <a:cubicBezTo>
                  <a:pt x="2244" y="96"/>
                  <a:pt x="2244" y="96"/>
                  <a:pt x="2244" y="96"/>
                </a:cubicBezTo>
                <a:cubicBezTo>
                  <a:pt x="2250" y="97"/>
                  <a:pt x="2250" y="97"/>
                  <a:pt x="2250" y="97"/>
                </a:cubicBezTo>
                <a:cubicBezTo>
                  <a:pt x="2249" y="96"/>
                  <a:pt x="2249" y="96"/>
                  <a:pt x="2249" y="96"/>
                </a:cubicBezTo>
                <a:cubicBezTo>
                  <a:pt x="2251" y="96"/>
                  <a:pt x="2251" y="96"/>
                  <a:pt x="2251" y="96"/>
                </a:cubicBezTo>
                <a:cubicBezTo>
                  <a:pt x="2252" y="97"/>
                  <a:pt x="2252" y="97"/>
                  <a:pt x="2252" y="97"/>
                </a:cubicBezTo>
                <a:cubicBezTo>
                  <a:pt x="2253" y="97"/>
                  <a:pt x="2253" y="97"/>
                  <a:pt x="2253" y="97"/>
                </a:cubicBezTo>
                <a:cubicBezTo>
                  <a:pt x="2252" y="96"/>
                  <a:pt x="2252" y="96"/>
                  <a:pt x="2252" y="96"/>
                </a:cubicBezTo>
                <a:cubicBezTo>
                  <a:pt x="2253" y="96"/>
                  <a:pt x="2253" y="96"/>
                  <a:pt x="2253" y="96"/>
                </a:cubicBezTo>
                <a:cubicBezTo>
                  <a:pt x="2255" y="96"/>
                  <a:pt x="2255" y="96"/>
                  <a:pt x="2255" y="96"/>
                </a:cubicBezTo>
                <a:cubicBezTo>
                  <a:pt x="2254" y="97"/>
                  <a:pt x="2254" y="97"/>
                  <a:pt x="2254" y="97"/>
                </a:cubicBezTo>
                <a:cubicBezTo>
                  <a:pt x="2255" y="98"/>
                  <a:pt x="2255" y="98"/>
                  <a:pt x="2255" y="98"/>
                </a:cubicBezTo>
                <a:cubicBezTo>
                  <a:pt x="2257" y="98"/>
                  <a:pt x="2257" y="98"/>
                  <a:pt x="2257" y="98"/>
                </a:cubicBezTo>
                <a:cubicBezTo>
                  <a:pt x="2257" y="97"/>
                  <a:pt x="2257" y="97"/>
                  <a:pt x="2257" y="97"/>
                </a:cubicBezTo>
                <a:cubicBezTo>
                  <a:pt x="2259" y="97"/>
                  <a:pt x="2259" y="97"/>
                  <a:pt x="2259" y="97"/>
                </a:cubicBezTo>
                <a:cubicBezTo>
                  <a:pt x="2259" y="98"/>
                  <a:pt x="2259" y="98"/>
                  <a:pt x="2259" y="98"/>
                </a:cubicBezTo>
                <a:cubicBezTo>
                  <a:pt x="2260" y="99"/>
                  <a:pt x="2260" y="99"/>
                  <a:pt x="2260" y="99"/>
                </a:cubicBezTo>
                <a:cubicBezTo>
                  <a:pt x="2262" y="100"/>
                  <a:pt x="2262" y="100"/>
                  <a:pt x="2262" y="100"/>
                </a:cubicBezTo>
                <a:cubicBezTo>
                  <a:pt x="2264" y="99"/>
                  <a:pt x="2264" y="99"/>
                  <a:pt x="2264" y="99"/>
                </a:cubicBezTo>
                <a:cubicBezTo>
                  <a:pt x="2262" y="99"/>
                  <a:pt x="2262" y="99"/>
                  <a:pt x="2262" y="99"/>
                </a:cubicBezTo>
                <a:cubicBezTo>
                  <a:pt x="2260" y="98"/>
                  <a:pt x="2260" y="98"/>
                  <a:pt x="2260" y="98"/>
                </a:cubicBezTo>
                <a:cubicBezTo>
                  <a:pt x="2260" y="97"/>
                  <a:pt x="2260" y="97"/>
                  <a:pt x="2260" y="97"/>
                </a:cubicBezTo>
                <a:cubicBezTo>
                  <a:pt x="2261" y="97"/>
                  <a:pt x="2261" y="97"/>
                  <a:pt x="2261" y="97"/>
                </a:cubicBezTo>
                <a:cubicBezTo>
                  <a:pt x="2263" y="97"/>
                  <a:pt x="2263" y="97"/>
                  <a:pt x="2263" y="97"/>
                </a:cubicBezTo>
                <a:cubicBezTo>
                  <a:pt x="2265" y="98"/>
                  <a:pt x="2265" y="98"/>
                  <a:pt x="2265" y="98"/>
                </a:cubicBezTo>
                <a:cubicBezTo>
                  <a:pt x="2266" y="100"/>
                  <a:pt x="2266" y="100"/>
                  <a:pt x="2266" y="100"/>
                </a:cubicBezTo>
                <a:cubicBezTo>
                  <a:pt x="2267" y="100"/>
                  <a:pt x="2267" y="100"/>
                  <a:pt x="2267" y="100"/>
                </a:cubicBezTo>
                <a:cubicBezTo>
                  <a:pt x="2267" y="99"/>
                  <a:pt x="2267" y="99"/>
                  <a:pt x="2267" y="99"/>
                </a:cubicBezTo>
                <a:cubicBezTo>
                  <a:pt x="2268" y="99"/>
                  <a:pt x="2268" y="99"/>
                  <a:pt x="2268" y="99"/>
                </a:cubicBezTo>
                <a:cubicBezTo>
                  <a:pt x="2268" y="100"/>
                  <a:pt x="2268" y="100"/>
                  <a:pt x="2268" y="100"/>
                </a:cubicBezTo>
                <a:cubicBezTo>
                  <a:pt x="2269" y="102"/>
                  <a:pt x="2269" y="102"/>
                  <a:pt x="2269" y="102"/>
                </a:cubicBezTo>
                <a:cubicBezTo>
                  <a:pt x="2271" y="105"/>
                  <a:pt x="2271" y="105"/>
                  <a:pt x="2271" y="105"/>
                </a:cubicBezTo>
                <a:cubicBezTo>
                  <a:pt x="2274" y="106"/>
                  <a:pt x="2274" y="106"/>
                  <a:pt x="2274" y="106"/>
                </a:cubicBezTo>
                <a:cubicBezTo>
                  <a:pt x="2274" y="107"/>
                  <a:pt x="2274" y="107"/>
                  <a:pt x="2274" y="107"/>
                </a:cubicBezTo>
                <a:cubicBezTo>
                  <a:pt x="2275" y="108"/>
                  <a:pt x="2275" y="108"/>
                  <a:pt x="2275" y="108"/>
                </a:cubicBezTo>
                <a:cubicBezTo>
                  <a:pt x="2276" y="110"/>
                  <a:pt x="2276" y="110"/>
                  <a:pt x="2276" y="110"/>
                </a:cubicBezTo>
                <a:cubicBezTo>
                  <a:pt x="2275" y="110"/>
                  <a:pt x="2275" y="110"/>
                  <a:pt x="2275" y="110"/>
                </a:cubicBezTo>
                <a:cubicBezTo>
                  <a:pt x="2276" y="112"/>
                  <a:pt x="2276" y="112"/>
                  <a:pt x="2276" y="112"/>
                </a:cubicBezTo>
                <a:cubicBezTo>
                  <a:pt x="2277" y="112"/>
                  <a:pt x="2277" y="112"/>
                  <a:pt x="2277" y="112"/>
                </a:cubicBezTo>
                <a:cubicBezTo>
                  <a:pt x="2278" y="111"/>
                  <a:pt x="2278" y="111"/>
                  <a:pt x="2278" y="111"/>
                </a:cubicBezTo>
                <a:cubicBezTo>
                  <a:pt x="2280" y="111"/>
                  <a:pt x="2280" y="111"/>
                  <a:pt x="2280" y="111"/>
                </a:cubicBezTo>
                <a:cubicBezTo>
                  <a:pt x="2281" y="113"/>
                  <a:pt x="2281" y="113"/>
                  <a:pt x="2281" y="113"/>
                </a:cubicBezTo>
                <a:cubicBezTo>
                  <a:pt x="2282" y="113"/>
                  <a:pt x="2282" y="113"/>
                  <a:pt x="2282" y="113"/>
                </a:cubicBezTo>
                <a:cubicBezTo>
                  <a:pt x="2281" y="112"/>
                  <a:pt x="2281" y="112"/>
                  <a:pt x="2281" y="112"/>
                </a:cubicBezTo>
                <a:cubicBezTo>
                  <a:pt x="2281" y="111"/>
                  <a:pt x="2281" y="111"/>
                  <a:pt x="2281" y="111"/>
                </a:cubicBezTo>
                <a:cubicBezTo>
                  <a:pt x="2282" y="110"/>
                  <a:pt x="2282" y="110"/>
                  <a:pt x="2282" y="110"/>
                </a:cubicBezTo>
                <a:cubicBezTo>
                  <a:pt x="2283" y="112"/>
                  <a:pt x="2283" y="112"/>
                  <a:pt x="2283" y="112"/>
                </a:cubicBezTo>
                <a:cubicBezTo>
                  <a:pt x="2284" y="113"/>
                  <a:pt x="2284" y="113"/>
                  <a:pt x="2284" y="113"/>
                </a:cubicBezTo>
                <a:cubicBezTo>
                  <a:pt x="2283" y="111"/>
                  <a:pt x="2283" y="111"/>
                  <a:pt x="2283" y="111"/>
                </a:cubicBezTo>
                <a:cubicBezTo>
                  <a:pt x="2283" y="109"/>
                  <a:pt x="2283" y="109"/>
                  <a:pt x="2283" y="109"/>
                </a:cubicBezTo>
                <a:cubicBezTo>
                  <a:pt x="2282" y="108"/>
                  <a:pt x="2282" y="108"/>
                  <a:pt x="2282" y="108"/>
                </a:cubicBezTo>
                <a:cubicBezTo>
                  <a:pt x="2281" y="109"/>
                  <a:pt x="2281" y="109"/>
                  <a:pt x="2281" y="109"/>
                </a:cubicBezTo>
                <a:cubicBezTo>
                  <a:pt x="2279" y="110"/>
                  <a:pt x="2279" y="110"/>
                  <a:pt x="2279" y="110"/>
                </a:cubicBezTo>
                <a:cubicBezTo>
                  <a:pt x="2279" y="109"/>
                  <a:pt x="2279" y="109"/>
                  <a:pt x="2279" y="109"/>
                </a:cubicBezTo>
                <a:cubicBezTo>
                  <a:pt x="2280" y="108"/>
                  <a:pt x="2280" y="108"/>
                  <a:pt x="2280" y="108"/>
                </a:cubicBezTo>
                <a:cubicBezTo>
                  <a:pt x="2279" y="106"/>
                  <a:pt x="2279" y="106"/>
                  <a:pt x="2279" y="106"/>
                </a:cubicBezTo>
                <a:cubicBezTo>
                  <a:pt x="2277" y="105"/>
                  <a:pt x="2277" y="105"/>
                  <a:pt x="2277" y="105"/>
                </a:cubicBezTo>
                <a:cubicBezTo>
                  <a:pt x="2276" y="103"/>
                  <a:pt x="2276" y="103"/>
                  <a:pt x="2276" y="103"/>
                </a:cubicBezTo>
                <a:cubicBezTo>
                  <a:pt x="2275" y="102"/>
                  <a:pt x="2275" y="102"/>
                  <a:pt x="2275" y="102"/>
                </a:cubicBezTo>
                <a:cubicBezTo>
                  <a:pt x="2273" y="103"/>
                  <a:pt x="2273" y="103"/>
                  <a:pt x="2273" y="103"/>
                </a:cubicBezTo>
                <a:cubicBezTo>
                  <a:pt x="2274" y="102"/>
                  <a:pt x="2274" y="102"/>
                  <a:pt x="2274" y="102"/>
                </a:cubicBezTo>
                <a:cubicBezTo>
                  <a:pt x="2275" y="100"/>
                  <a:pt x="2275" y="100"/>
                  <a:pt x="2275" y="100"/>
                </a:cubicBezTo>
                <a:cubicBezTo>
                  <a:pt x="2277" y="98"/>
                  <a:pt x="2277" y="98"/>
                  <a:pt x="2277" y="98"/>
                </a:cubicBezTo>
                <a:cubicBezTo>
                  <a:pt x="2278" y="100"/>
                  <a:pt x="2278" y="100"/>
                  <a:pt x="2278" y="100"/>
                </a:cubicBezTo>
                <a:cubicBezTo>
                  <a:pt x="2279" y="101"/>
                  <a:pt x="2279" y="101"/>
                  <a:pt x="2279" y="101"/>
                </a:cubicBezTo>
                <a:cubicBezTo>
                  <a:pt x="2280" y="100"/>
                  <a:pt x="2280" y="100"/>
                  <a:pt x="2280" y="100"/>
                </a:cubicBezTo>
                <a:cubicBezTo>
                  <a:pt x="2279" y="99"/>
                  <a:pt x="2279" y="99"/>
                  <a:pt x="2279" y="99"/>
                </a:cubicBezTo>
                <a:cubicBezTo>
                  <a:pt x="2278" y="98"/>
                  <a:pt x="2278" y="98"/>
                  <a:pt x="2278" y="98"/>
                </a:cubicBezTo>
                <a:cubicBezTo>
                  <a:pt x="2279" y="98"/>
                  <a:pt x="2279" y="98"/>
                  <a:pt x="2279" y="98"/>
                </a:cubicBezTo>
                <a:cubicBezTo>
                  <a:pt x="2280" y="97"/>
                  <a:pt x="2280" y="97"/>
                  <a:pt x="2280" y="97"/>
                </a:cubicBezTo>
                <a:cubicBezTo>
                  <a:pt x="2281" y="96"/>
                  <a:pt x="2281" y="96"/>
                  <a:pt x="2281" y="96"/>
                </a:cubicBezTo>
                <a:cubicBezTo>
                  <a:pt x="2280" y="96"/>
                  <a:pt x="2280" y="96"/>
                  <a:pt x="2280" y="96"/>
                </a:cubicBezTo>
                <a:cubicBezTo>
                  <a:pt x="2280" y="95"/>
                  <a:pt x="2280" y="95"/>
                  <a:pt x="2280" y="95"/>
                </a:cubicBezTo>
                <a:cubicBezTo>
                  <a:pt x="2282" y="95"/>
                  <a:pt x="2282" y="95"/>
                  <a:pt x="2282" y="95"/>
                </a:cubicBezTo>
                <a:cubicBezTo>
                  <a:pt x="2283" y="93"/>
                  <a:pt x="2283" y="93"/>
                  <a:pt x="2283" y="93"/>
                </a:cubicBezTo>
                <a:cubicBezTo>
                  <a:pt x="2284" y="93"/>
                  <a:pt x="2284" y="93"/>
                  <a:pt x="2284" y="93"/>
                </a:cubicBezTo>
                <a:cubicBezTo>
                  <a:pt x="2284" y="94"/>
                  <a:pt x="2284" y="94"/>
                  <a:pt x="2284" y="94"/>
                </a:cubicBezTo>
                <a:cubicBezTo>
                  <a:pt x="2285" y="94"/>
                  <a:pt x="2285" y="94"/>
                  <a:pt x="2285" y="94"/>
                </a:cubicBezTo>
                <a:cubicBezTo>
                  <a:pt x="2286" y="94"/>
                  <a:pt x="2286" y="94"/>
                  <a:pt x="2286" y="94"/>
                </a:cubicBezTo>
                <a:cubicBezTo>
                  <a:pt x="2286" y="95"/>
                  <a:pt x="2286" y="95"/>
                  <a:pt x="2286" y="95"/>
                </a:cubicBezTo>
                <a:cubicBezTo>
                  <a:pt x="2287" y="96"/>
                  <a:pt x="2287" y="96"/>
                  <a:pt x="2287" y="96"/>
                </a:cubicBezTo>
                <a:cubicBezTo>
                  <a:pt x="2289" y="96"/>
                  <a:pt x="2289" y="96"/>
                  <a:pt x="2289" y="96"/>
                </a:cubicBezTo>
                <a:cubicBezTo>
                  <a:pt x="2290" y="96"/>
                  <a:pt x="2290" y="96"/>
                  <a:pt x="2290" y="96"/>
                </a:cubicBezTo>
                <a:cubicBezTo>
                  <a:pt x="2294" y="96"/>
                  <a:pt x="2294" y="96"/>
                  <a:pt x="2294" y="96"/>
                </a:cubicBezTo>
                <a:cubicBezTo>
                  <a:pt x="2294" y="98"/>
                  <a:pt x="2294" y="98"/>
                  <a:pt x="2294" y="98"/>
                </a:cubicBezTo>
                <a:cubicBezTo>
                  <a:pt x="2295" y="98"/>
                  <a:pt x="2295" y="98"/>
                  <a:pt x="2295" y="98"/>
                </a:cubicBezTo>
                <a:cubicBezTo>
                  <a:pt x="2295" y="97"/>
                  <a:pt x="2295" y="97"/>
                  <a:pt x="2295" y="97"/>
                </a:cubicBezTo>
                <a:cubicBezTo>
                  <a:pt x="2296" y="97"/>
                  <a:pt x="2296" y="97"/>
                  <a:pt x="2296" y="97"/>
                </a:cubicBezTo>
                <a:cubicBezTo>
                  <a:pt x="2296" y="99"/>
                  <a:pt x="2296" y="99"/>
                  <a:pt x="2296" y="99"/>
                </a:cubicBezTo>
                <a:cubicBezTo>
                  <a:pt x="2297" y="98"/>
                  <a:pt x="2297" y="98"/>
                  <a:pt x="2297" y="98"/>
                </a:cubicBezTo>
                <a:cubicBezTo>
                  <a:pt x="2298" y="97"/>
                  <a:pt x="2298" y="97"/>
                  <a:pt x="2298" y="97"/>
                </a:cubicBezTo>
                <a:cubicBezTo>
                  <a:pt x="2299" y="97"/>
                  <a:pt x="2299" y="97"/>
                  <a:pt x="2299" y="97"/>
                </a:cubicBezTo>
                <a:cubicBezTo>
                  <a:pt x="2299" y="98"/>
                  <a:pt x="2299" y="98"/>
                  <a:pt x="2299" y="98"/>
                </a:cubicBezTo>
                <a:cubicBezTo>
                  <a:pt x="2299" y="99"/>
                  <a:pt x="2299" y="99"/>
                  <a:pt x="2299" y="99"/>
                </a:cubicBezTo>
                <a:cubicBezTo>
                  <a:pt x="2298" y="100"/>
                  <a:pt x="2298" y="100"/>
                  <a:pt x="2298" y="100"/>
                </a:cubicBezTo>
                <a:cubicBezTo>
                  <a:pt x="2299" y="103"/>
                  <a:pt x="2299" y="103"/>
                  <a:pt x="2299" y="103"/>
                </a:cubicBezTo>
                <a:cubicBezTo>
                  <a:pt x="2299" y="105"/>
                  <a:pt x="2299" y="105"/>
                  <a:pt x="2299" y="105"/>
                </a:cubicBezTo>
                <a:cubicBezTo>
                  <a:pt x="2299" y="106"/>
                  <a:pt x="2299" y="106"/>
                  <a:pt x="2299" y="106"/>
                </a:cubicBezTo>
                <a:cubicBezTo>
                  <a:pt x="2300" y="105"/>
                  <a:pt x="2300" y="105"/>
                  <a:pt x="2300" y="105"/>
                </a:cubicBezTo>
                <a:cubicBezTo>
                  <a:pt x="2301" y="107"/>
                  <a:pt x="2301" y="107"/>
                  <a:pt x="2301" y="107"/>
                </a:cubicBezTo>
                <a:cubicBezTo>
                  <a:pt x="2303" y="107"/>
                  <a:pt x="2303" y="107"/>
                  <a:pt x="2303" y="107"/>
                </a:cubicBezTo>
                <a:cubicBezTo>
                  <a:pt x="2303" y="108"/>
                  <a:pt x="2303" y="108"/>
                  <a:pt x="2303" y="108"/>
                </a:cubicBezTo>
                <a:cubicBezTo>
                  <a:pt x="2302" y="109"/>
                  <a:pt x="2302" y="109"/>
                  <a:pt x="2302" y="109"/>
                </a:cubicBezTo>
                <a:cubicBezTo>
                  <a:pt x="2300" y="109"/>
                  <a:pt x="2300" y="109"/>
                  <a:pt x="2300" y="109"/>
                </a:cubicBezTo>
                <a:cubicBezTo>
                  <a:pt x="2298" y="110"/>
                  <a:pt x="2298" y="110"/>
                  <a:pt x="2298" y="110"/>
                </a:cubicBezTo>
                <a:cubicBezTo>
                  <a:pt x="2301" y="110"/>
                  <a:pt x="2301" y="110"/>
                  <a:pt x="2301" y="110"/>
                </a:cubicBezTo>
                <a:cubicBezTo>
                  <a:pt x="2302" y="111"/>
                  <a:pt x="2302" y="111"/>
                  <a:pt x="2302" y="111"/>
                </a:cubicBezTo>
                <a:cubicBezTo>
                  <a:pt x="2302" y="112"/>
                  <a:pt x="2302" y="112"/>
                  <a:pt x="2302" y="112"/>
                </a:cubicBezTo>
                <a:cubicBezTo>
                  <a:pt x="2300" y="113"/>
                  <a:pt x="2300" y="113"/>
                  <a:pt x="2300" y="113"/>
                </a:cubicBezTo>
                <a:cubicBezTo>
                  <a:pt x="2299" y="115"/>
                  <a:pt x="2299" y="115"/>
                  <a:pt x="2299" y="115"/>
                </a:cubicBezTo>
                <a:cubicBezTo>
                  <a:pt x="2298" y="114"/>
                  <a:pt x="2298" y="114"/>
                  <a:pt x="2298" y="114"/>
                </a:cubicBezTo>
                <a:cubicBezTo>
                  <a:pt x="2297" y="115"/>
                  <a:pt x="2297" y="115"/>
                  <a:pt x="2297" y="115"/>
                </a:cubicBezTo>
                <a:cubicBezTo>
                  <a:pt x="2295" y="115"/>
                  <a:pt x="2295" y="115"/>
                  <a:pt x="2295" y="115"/>
                </a:cubicBezTo>
                <a:cubicBezTo>
                  <a:pt x="2294" y="117"/>
                  <a:pt x="2294" y="117"/>
                  <a:pt x="2294" y="117"/>
                </a:cubicBezTo>
                <a:cubicBezTo>
                  <a:pt x="2296" y="116"/>
                  <a:pt x="2296" y="116"/>
                  <a:pt x="2296" y="116"/>
                </a:cubicBezTo>
                <a:cubicBezTo>
                  <a:pt x="2297" y="117"/>
                  <a:pt x="2297" y="117"/>
                  <a:pt x="2297" y="117"/>
                </a:cubicBezTo>
                <a:cubicBezTo>
                  <a:pt x="2297" y="118"/>
                  <a:pt x="2297" y="118"/>
                  <a:pt x="2297" y="118"/>
                </a:cubicBezTo>
                <a:cubicBezTo>
                  <a:pt x="2298" y="117"/>
                  <a:pt x="2298" y="117"/>
                  <a:pt x="2298" y="117"/>
                </a:cubicBezTo>
                <a:cubicBezTo>
                  <a:pt x="2299" y="117"/>
                  <a:pt x="2299" y="117"/>
                  <a:pt x="2299" y="117"/>
                </a:cubicBezTo>
                <a:cubicBezTo>
                  <a:pt x="2299" y="118"/>
                  <a:pt x="2299" y="118"/>
                  <a:pt x="2299" y="118"/>
                </a:cubicBezTo>
                <a:cubicBezTo>
                  <a:pt x="2300" y="119"/>
                  <a:pt x="2300" y="119"/>
                  <a:pt x="2300" y="119"/>
                </a:cubicBezTo>
                <a:cubicBezTo>
                  <a:pt x="2299" y="120"/>
                  <a:pt x="2299" y="120"/>
                  <a:pt x="2299" y="120"/>
                </a:cubicBezTo>
                <a:cubicBezTo>
                  <a:pt x="2299" y="122"/>
                  <a:pt x="2299" y="122"/>
                  <a:pt x="2299" y="122"/>
                </a:cubicBezTo>
                <a:cubicBezTo>
                  <a:pt x="2300" y="120"/>
                  <a:pt x="2300" y="120"/>
                  <a:pt x="2300" y="120"/>
                </a:cubicBezTo>
                <a:cubicBezTo>
                  <a:pt x="2302" y="120"/>
                  <a:pt x="2302" y="120"/>
                  <a:pt x="2302" y="120"/>
                </a:cubicBezTo>
                <a:cubicBezTo>
                  <a:pt x="2304" y="122"/>
                  <a:pt x="2304" y="122"/>
                  <a:pt x="2304" y="122"/>
                </a:cubicBezTo>
                <a:cubicBezTo>
                  <a:pt x="2303" y="123"/>
                  <a:pt x="2303" y="123"/>
                  <a:pt x="2303" y="123"/>
                </a:cubicBezTo>
                <a:cubicBezTo>
                  <a:pt x="2304" y="124"/>
                  <a:pt x="2304" y="124"/>
                  <a:pt x="2304" y="124"/>
                </a:cubicBezTo>
                <a:cubicBezTo>
                  <a:pt x="2303" y="125"/>
                  <a:pt x="2303" y="125"/>
                  <a:pt x="2303" y="125"/>
                </a:cubicBezTo>
                <a:cubicBezTo>
                  <a:pt x="2304" y="126"/>
                  <a:pt x="2304" y="126"/>
                  <a:pt x="2304" y="126"/>
                </a:cubicBezTo>
                <a:cubicBezTo>
                  <a:pt x="2304" y="128"/>
                  <a:pt x="2304" y="128"/>
                  <a:pt x="2304" y="128"/>
                </a:cubicBezTo>
                <a:cubicBezTo>
                  <a:pt x="2303" y="128"/>
                  <a:pt x="2303" y="128"/>
                  <a:pt x="2303" y="128"/>
                </a:cubicBezTo>
                <a:cubicBezTo>
                  <a:pt x="2302" y="129"/>
                  <a:pt x="2302" y="129"/>
                  <a:pt x="2302" y="129"/>
                </a:cubicBezTo>
                <a:cubicBezTo>
                  <a:pt x="2303" y="130"/>
                  <a:pt x="2303" y="130"/>
                  <a:pt x="2303" y="130"/>
                </a:cubicBezTo>
                <a:cubicBezTo>
                  <a:pt x="2303" y="129"/>
                  <a:pt x="2303" y="129"/>
                  <a:pt x="2303" y="129"/>
                </a:cubicBezTo>
                <a:cubicBezTo>
                  <a:pt x="2304" y="129"/>
                  <a:pt x="2304" y="129"/>
                  <a:pt x="2304" y="129"/>
                </a:cubicBezTo>
                <a:cubicBezTo>
                  <a:pt x="2305" y="129"/>
                  <a:pt x="2305" y="129"/>
                  <a:pt x="2305" y="129"/>
                </a:cubicBezTo>
                <a:cubicBezTo>
                  <a:pt x="2305" y="131"/>
                  <a:pt x="2305" y="131"/>
                  <a:pt x="2305" y="131"/>
                </a:cubicBezTo>
                <a:cubicBezTo>
                  <a:pt x="2306" y="131"/>
                  <a:pt x="2306" y="131"/>
                  <a:pt x="2306" y="131"/>
                </a:cubicBezTo>
                <a:cubicBezTo>
                  <a:pt x="2307" y="132"/>
                  <a:pt x="2307" y="132"/>
                  <a:pt x="2307" y="132"/>
                </a:cubicBezTo>
                <a:cubicBezTo>
                  <a:pt x="2307" y="131"/>
                  <a:pt x="2307" y="131"/>
                  <a:pt x="2307" y="131"/>
                </a:cubicBezTo>
                <a:cubicBezTo>
                  <a:pt x="2307" y="130"/>
                  <a:pt x="2307" y="130"/>
                  <a:pt x="2307" y="130"/>
                </a:cubicBezTo>
                <a:cubicBezTo>
                  <a:pt x="2308" y="130"/>
                  <a:pt x="2308" y="130"/>
                  <a:pt x="2308" y="130"/>
                </a:cubicBezTo>
                <a:cubicBezTo>
                  <a:pt x="2310" y="131"/>
                  <a:pt x="2310" y="131"/>
                  <a:pt x="2310" y="131"/>
                </a:cubicBezTo>
                <a:cubicBezTo>
                  <a:pt x="2310" y="132"/>
                  <a:pt x="2310" y="132"/>
                  <a:pt x="2310" y="132"/>
                </a:cubicBezTo>
                <a:cubicBezTo>
                  <a:pt x="2309" y="133"/>
                  <a:pt x="2309" y="133"/>
                  <a:pt x="2309" y="133"/>
                </a:cubicBezTo>
                <a:cubicBezTo>
                  <a:pt x="2308" y="132"/>
                  <a:pt x="2308" y="132"/>
                  <a:pt x="2308" y="132"/>
                </a:cubicBezTo>
                <a:cubicBezTo>
                  <a:pt x="2307" y="133"/>
                  <a:pt x="2307" y="133"/>
                  <a:pt x="2307" y="133"/>
                </a:cubicBezTo>
                <a:cubicBezTo>
                  <a:pt x="2308" y="134"/>
                  <a:pt x="2308" y="134"/>
                  <a:pt x="2308" y="134"/>
                </a:cubicBezTo>
                <a:cubicBezTo>
                  <a:pt x="2309" y="134"/>
                  <a:pt x="2309" y="134"/>
                  <a:pt x="2309" y="134"/>
                </a:cubicBezTo>
                <a:cubicBezTo>
                  <a:pt x="2310" y="135"/>
                  <a:pt x="2310" y="135"/>
                  <a:pt x="2310" y="135"/>
                </a:cubicBezTo>
                <a:cubicBezTo>
                  <a:pt x="2310" y="136"/>
                  <a:pt x="2310" y="136"/>
                  <a:pt x="2310" y="136"/>
                </a:cubicBezTo>
                <a:cubicBezTo>
                  <a:pt x="2308" y="137"/>
                  <a:pt x="2308" y="137"/>
                  <a:pt x="2308" y="137"/>
                </a:cubicBezTo>
                <a:cubicBezTo>
                  <a:pt x="2307" y="135"/>
                  <a:pt x="2307" y="135"/>
                  <a:pt x="2307" y="135"/>
                </a:cubicBezTo>
                <a:cubicBezTo>
                  <a:pt x="2306" y="135"/>
                  <a:pt x="2306" y="135"/>
                  <a:pt x="2306" y="135"/>
                </a:cubicBezTo>
                <a:cubicBezTo>
                  <a:pt x="2307" y="137"/>
                  <a:pt x="2307" y="137"/>
                  <a:pt x="2307" y="137"/>
                </a:cubicBezTo>
                <a:cubicBezTo>
                  <a:pt x="2306" y="138"/>
                  <a:pt x="2306" y="138"/>
                  <a:pt x="2306" y="138"/>
                </a:cubicBezTo>
                <a:cubicBezTo>
                  <a:pt x="2305" y="137"/>
                  <a:pt x="2305" y="137"/>
                  <a:pt x="2305" y="137"/>
                </a:cubicBezTo>
                <a:cubicBezTo>
                  <a:pt x="2304" y="137"/>
                  <a:pt x="2304" y="137"/>
                  <a:pt x="2304" y="137"/>
                </a:cubicBezTo>
                <a:cubicBezTo>
                  <a:pt x="2303" y="137"/>
                  <a:pt x="2303" y="137"/>
                  <a:pt x="2303" y="137"/>
                </a:cubicBezTo>
                <a:cubicBezTo>
                  <a:pt x="2301" y="137"/>
                  <a:pt x="2301" y="137"/>
                  <a:pt x="2301" y="137"/>
                </a:cubicBezTo>
                <a:cubicBezTo>
                  <a:pt x="2299" y="137"/>
                  <a:pt x="2299" y="137"/>
                  <a:pt x="2299" y="137"/>
                </a:cubicBezTo>
                <a:cubicBezTo>
                  <a:pt x="2298" y="137"/>
                  <a:pt x="2298" y="137"/>
                  <a:pt x="2298" y="137"/>
                </a:cubicBezTo>
                <a:cubicBezTo>
                  <a:pt x="2299" y="136"/>
                  <a:pt x="2299" y="136"/>
                  <a:pt x="2299" y="136"/>
                </a:cubicBezTo>
                <a:cubicBezTo>
                  <a:pt x="2298" y="136"/>
                  <a:pt x="2298" y="136"/>
                  <a:pt x="2298" y="136"/>
                </a:cubicBezTo>
                <a:cubicBezTo>
                  <a:pt x="2297" y="135"/>
                  <a:pt x="2297" y="135"/>
                  <a:pt x="2297" y="135"/>
                </a:cubicBezTo>
                <a:cubicBezTo>
                  <a:pt x="2297" y="137"/>
                  <a:pt x="2297" y="137"/>
                  <a:pt x="2297" y="137"/>
                </a:cubicBezTo>
                <a:cubicBezTo>
                  <a:pt x="2296" y="137"/>
                  <a:pt x="2296" y="137"/>
                  <a:pt x="2296" y="137"/>
                </a:cubicBezTo>
                <a:cubicBezTo>
                  <a:pt x="2297" y="138"/>
                  <a:pt x="2297" y="138"/>
                  <a:pt x="2297" y="138"/>
                </a:cubicBezTo>
                <a:cubicBezTo>
                  <a:pt x="2296" y="140"/>
                  <a:pt x="2296" y="140"/>
                  <a:pt x="2296" y="140"/>
                </a:cubicBezTo>
                <a:cubicBezTo>
                  <a:pt x="2296" y="139"/>
                  <a:pt x="2296" y="139"/>
                  <a:pt x="2296" y="139"/>
                </a:cubicBezTo>
                <a:cubicBezTo>
                  <a:pt x="2295" y="139"/>
                  <a:pt x="2295" y="139"/>
                  <a:pt x="2295" y="139"/>
                </a:cubicBezTo>
                <a:cubicBezTo>
                  <a:pt x="2293" y="139"/>
                  <a:pt x="2293" y="139"/>
                  <a:pt x="2293" y="139"/>
                </a:cubicBezTo>
                <a:cubicBezTo>
                  <a:pt x="2292" y="139"/>
                  <a:pt x="2292" y="139"/>
                  <a:pt x="2292" y="139"/>
                </a:cubicBezTo>
                <a:cubicBezTo>
                  <a:pt x="2292" y="138"/>
                  <a:pt x="2292" y="138"/>
                  <a:pt x="2292" y="138"/>
                </a:cubicBezTo>
                <a:cubicBezTo>
                  <a:pt x="2291" y="137"/>
                  <a:pt x="2291" y="137"/>
                  <a:pt x="2291" y="137"/>
                </a:cubicBezTo>
                <a:cubicBezTo>
                  <a:pt x="2291" y="136"/>
                  <a:pt x="2291" y="136"/>
                  <a:pt x="2291" y="136"/>
                </a:cubicBezTo>
                <a:cubicBezTo>
                  <a:pt x="2288" y="134"/>
                  <a:pt x="2288" y="134"/>
                  <a:pt x="2288" y="134"/>
                </a:cubicBezTo>
                <a:cubicBezTo>
                  <a:pt x="2288" y="133"/>
                  <a:pt x="2288" y="133"/>
                  <a:pt x="2288" y="133"/>
                </a:cubicBezTo>
                <a:cubicBezTo>
                  <a:pt x="2286" y="132"/>
                  <a:pt x="2286" y="132"/>
                  <a:pt x="2286" y="132"/>
                </a:cubicBezTo>
                <a:cubicBezTo>
                  <a:pt x="2285" y="134"/>
                  <a:pt x="2285" y="134"/>
                  <a:pt x="2285" y="134"/>
                </a:cubicBezTo>
                <a:cubicBezTo>
                  <a:pt x="2283" y="134"/>
                  <a:pt x="2283" y="134"/>
                  <a:pt x="2283" y="134"/>
                </a:cubicBezTo>
                <a:cubicBezTo>
                  <a:pt x="2282" y="135"/>
                  <a:pt x="2282" y="135"/>
                  <a:pt x="2282" y="135"/>
                </a:cubicBezTo>
                <a:cubicBezTo>
                  <a:pt x="2282" y="136"/>
                  <a:pt x="2282" y="136"/>
                  <a:pt x="2282" y="136"/>
                </a:cubicBezTo>
                <a:cubicBezTo>
                  <a:pt x="2281" y="134"/>
                  <a:pt x="2281" y="134"/>
                  <a:pt x="2281" y="134"/>
                </a:cubicBezTo>
                <a:cubicBezTo>
                  <a:pt x="2281" y="136"/>
                  <a:pt x="2281" y="136"/>
                  <a:pt x="2281" y="136"/>
                </a:cubicBezTo>
                <a:cubicBezTo>
                  <a:pt x="2281" y="138"/>
                  <a:pt x="2281" y="138"/>
                  <a:pt x="2281" y="138"/>
                </a:cubicBezTo>
                <a:cubicBezTo>
                  <a:pt x="2281" y="139"/>
                  <a:pt x="2281" y="139"/>
                  <a:pt x="2281" y="139"/>
                </a:cubicBezTo>
                <a:cubicBezTo>
                  <a:pt x="2279" y="143"/>
                  <a:pt x="2279" y="143"/>
                  <a:pt x="2279" y="143"/>
                </a:cubicBezTo>
                <a:cubicBezTo>
                  <a:pt x="2277" y="142"/>
                  <a:pt x="2277" y="142"/>
                  <a:pt x="2277" y="142"/>
                </a:cubicBezTo>
                <a:cubicBezTo>
                  <a:pt x="2277" y="140"/>
                  <a:pt x="2277" y="140"/>
                  <a:pt x="2277" y="140"/>
                </a:cubicBezTo>
                <a:cubicBezTo>
                  <a:pt x="2276" y="140"/>
                  <a:pt x="2276" y="140"/>
                  <a:pt x="2276" y="140"/>
                </a:cubicBezTo>
                <a:cubicBezTo>
                  <a:pt x="2275" y="140"/>
                  <a:pt x="2275" y="140"/>
                  <a:pt x="2275" y="140"/>
                </a:cubicBezTo>
                <a:cubicBezTo>
                  <a:pt x="2272" y="138"/>
                  <a:pt x="2272" y="138"/>
                  <a:pt x="2272" y="138"/>
                </a:cubicBezTo>
                <a:cubicBezTo>
                  <a:pt x="2272" y="137"/>
                  <a:pt x="2272" y="137"/>
                  <a:pt x="2272" y="137"/>
                </a:cubicBezTo>
                <a:cubicBezTo>
                  <a:pt x="2272" y="134"/>
                  <a:pt x="2272" y="134"/>
                  <a:pt x="2272" y="134"/>
                </a:cubicBezTo>
                <a:cubicBezTo>
                  <a:pt x="2270" y="134"/>
                  <a:pt x="2270" y="134"/>
                  <a:pt x="2270" y="134"/>
                </a:cubicBezTo>
                <a:cubicBezTo>
                  <a:pt x="2270" y="133"/>
                  <a:pt x="2270" y="133"/>
                  <a:pt x="2270" y="133"/>
                </a:cubicBezTo>
                <a:cubicBezTo>
                  <a:pt x="2269" y="132"/>
                  <a:pt x="2269" y="132"/>
                  <a:pt x="2269" y="132"/>
                </a:cubicBezTo>
                <a:cubicBezTo>
                  <a:pt x="2269" y="133"/>
                  <a:pt x="2269" y="133"/>
                  <a:pt x="2269" y="133"/>
                </a:cubicBezTo>
                <a:cubicBezTo>
                  <a:pt x="2269" y="134"/>
                  <a:pt x="2269" y="134"/>
                  <a:pt x="2269" y="134"/>
                </a:cubicBezTo>
                <a:cubicBezTo>
                  <a:pt x="2269" y="135"/>
                  <a:pt x="2269" y="135"/>
                  <a:pt x="2269" y="135"/>
                </a:cubicBezTo>
                <a:cubicBezTo>
                  <a:pt x="2270" y="135"/>
                  <a:pt x="2270" y="135"/>
                  <a:pt x="2270" y="135"/>
                </a:cubicBezTo>
                <a:cubicBezTo>
                  <a:pt x="2269" y="136"/>
                  <a:pt x="2269" y="136"/>
                  <a:pt x="2269" y="136"/>
                </a:cubicBezTo>
                <a:cubicBezTo>
                  <a:pt x="2267" y="135"/>
                  <a:pt x="2267" y="135"/>
                  <a:pt x="2267" y="135"/>
                </a:cubicBezTo>
                <a:cubicBezTo>
                  <a:pt x="2266" y="134"/>
                  <a:pt x="2266" y="134"/>
                  <a:pt x="2266" y="134"/>
                </a:cubicBezTo>
                <a:cubicBezTo>
                  <a:pt x="2266" y="135"/>
                  <a:pt x="2266" y="135"/>
                  <a:pt x="2266" y="135"/>
                </a:cubicBezTo>
                <a:cubicBezTo>
                  <a:pt x="2266" y="136"/>
                  <a:pt x="2266" y="136"/>
                  <a:pt x="2266" y="136"/>
                </a:cubicBezTo>
                <a:cubicBezTo>
                  <a:pt x="2268" y="136"/>
                  <a:pt x="2268" y="136"/>
                  <a:pt x="2268" y="136"/>
                </a:cubicBezTo>
                <a:cubicBezTo>
                  <a:pt x="2269" y="137"/>
                  <a:pt x="2269" y="137"/>
                  <a:pt x="2269" y="137"/>
                </a:cubicBezTo>
                <a:cubicBezTo>
                  <a:pt x="2268" y="139"/>
                  <a:pt x="2268" y="139"/>
                  <a:pt x="2268" y="139"/>
                </a:cubicBezTo>
                <a:cubicBezTo>
                  <a:pt x="2266" y="139"/>
                  <a:pt x="2266" y="139"/>
                  <a:pt x="2266" y="139"/>
                </a:cubicBezTo>
                <a:cubicBezTo>
                  <a:pt x="2266" y="140"/>
                  <a:pt x="2266" y="140"/>
                  <a:pt x="2266" y="140"/>
                </a:cubicBezTo>
                <a:cubicBezTo>
                  <a:pt x="2267" y="140"/>
                  <a:pt x="2267" y="140"/>
                  <a:pt x="2267" y="140"/>
                </a:cubicBezTo>
                <a:cubicBezTo>
                  <a:pt x="2270" y="144"/>
                  <a:pt x="2270" y="144"/>
                  <a:pt x="2270" y="144"/>
                </a:cubicBezTo>
                <a:cubicBezTo>
                  <a:pt x="2273" y="145"/>
                  <a:pt x="2273" y="145"/>
                  <a:pt x="2273" y="145"/>
                </a:cubicBezTo>
                <a:cubicBezTo>
                  <a:pt x="2274" y="144"/>
                  <a:pt x="2274" y="144"/>
                  <a:pt x="2274" y="144"/>
                </a:cubicBezTo>
                <a:cubicBezTo>
                  <a:pt x="2276" y="145"/>
                  <a:pt x="2276" y="145"/>
                  <a:pt x="2276" y="145"/>
                </a:cubicBezTo>
                <a:cubicBezTo>
                  <a:pt x="2276" y="147"/>
                  <a:pt x="2276" y="147"/>
                  <a:pt x="2276" y="147"/>
                </a:cubicBezTo>
                <a:cubicBezTo>
                  <a:pt x="2275" y="145"/>
                  <a:pt x="2275" y="145"/>
                  <a:pt x="2275" y="145"/>
                </a:cubicBezTo>
                <a:cubicBezTo>
                  <a:pt x="2274" y="145"/>
                  <a:pt x="2274" y="145"/>
                  <a:pt x="2274" y="145"/>
                </a:cubicBezTo>
                <a:cubicBezTo>
                  <a:pt x="2275" y="147"/>
                  <a:pt x="2275" y="147"/>
                  <a:pt x="2275" y="147"/>
                </a:cubicBezTo>
                <a:cubicBezTo>
                  <a:pt x="2277" y="149"/>
                  <a:pt x="2277" y="149"/>
                  <a:pt x="2277" y="149"/>
                </a:cubicBezTo>
                <a:cubicBezTo>
                  <a:pt x="2277" y="150"/>
                  <a:pt x="2277" y="150"/>
                  <a:pt x="2277" y="150"/>
                </a:cubicBezTo>
                <a:cubicBezTo>
                  <a:pt x="2279" y="152"/>
                  <a:pt x="2279" y="152"/>
                  <a:pt x="2279" y="152"/>
                </a:cubicBezTo>
                <a:cubicBezTo>
                  <a:pt x="2279" y="154"/>
                  <a:pt x="2279" y="154"/>
                  <a:pt x="2279" y="154"/>
                </a:cubicBezTo>
                <a:cubicBezTo>
                  <a:pt x="2278" y="158"/>
                  <a:pt x="2278" y="158"/>
                  <a:pt x="2278" y="158"/>
                </a:cubicBezTo>
                <a:cubicBezTo>
                  <a:pt x="2278" y="161"/>
                  <a:pt x="2278" y="161"/>
                  <a:pt x="2278" y="161"/>
                </a:cubicBezTo>
                <a:cubicBezTo>
                  <a:pt x="2278" y="163"/>
                  <a:pt x="2278" y="163"/>
                  <a:pt x="2278" y="163"/>
                </a:cubicBezTo>
                <a:cubicBezTo>
                  <a:pt x="2279" y="163"/>
                  <a:pt x="2279" y="163"/>
                  <a:pt x="2279" y="163"/>
                </a:cubicBezTo>
                <a:cubicBezTo>
                  <a:pt x="2277" y="166"/>
                  <a:pt x="2277" y="166"/>
                  <a:pt x="2277" y="166"/>
                </a:cubicBezTo>
                <a:cubicBezTo>
                  <a:pt x="2277" y="167"/>
                  <a:pt x="2277" y="167"/>
                  <a:pt x="2277" y="167"/>
                </a:cubicBezTo>
                <a:cubicBezTo>
                  <a:pt x="2276" y="168"/>
                  <a:pt x="2276" y="168"/>
                  <a:pt x="2276" y="168"/>
                </a:cubicBezTo>
                <a:cubicBezTo>
                  <a:pt x="2276" y="167"/>
                  <a:pt x="2276" y="167"/>
                  <a:pt x="2276" y="167"/>
                </a:cubicBezTo>
                <a:cubicBezTo>
                  <a:pt x="2276" y="166"/>
                  <a:pt x="2276" y="166"/>
                  <a:pt x="2276" y="166"/>
                </a:cubicBezTo>
                <a:cubicBezTo>
                  <a:pt x="2273" y="169"/>
                  <a:pt x="2273" y="169"/>
                  <a:pt x="2273" y="169"/>
                </a:cubicBezTo>
                <a:cubicBezTo>
                  <a:pt x="2272" y="168"/>
                  <a:pt x="2272" y="168"/>
                  <a:pt x="2272" y="168"/>
                </a:cubicBezTo>
                <a:cubicBezTo>
                  <a:pt x="2271" y="169"/>
                  <a:pt x="2271" y="169"/>
                  <a:pt x="2271" y="169"/>
                </a:cubicBezTo>
                <a:cubicBezTo>
                  <a:pt x="2270" y="168"/>
                  <a:pt x="2270" y="168"/>
                  <a:pt x="2270" y="168"/>
                </a:cubicBezTo>
                <a:cubicBezTo>
                  <a:pt x="2269" y="167"/>
                  <a:pt x="2269" y="167"/>
                  <a:pt x="2269" y="167"/>
                </a:cubicBezTo>
                <a:cubicBezTo>
                  <a:pt x="2268" y="167"/>
                  <a:pt x="2268" y="167"/>
                  <a:pt x="2268" y="167"/>
                </a:cubicBezTo>
                <a:cubicBezTo>
                  <a:pt x="2266" y="165"/>
                  <a:pt x="2266" y="165"/>
                  <a:pt x="2266" y="165"/>
                </a:cubicBezTo>
                <a:cubicBezTo>
                  <a:pt x="2265" y="164"/>
                  <a:pt x="2265" y="164"/>
                  <a:pt x="2265" y="164"/>
                </a:cubicBezTo>
                <a:cubicBezTo>
                  <a:pt x="2263" y="164"/>
                  <a:pt x="2263" y="164"/>
                  <a:pt x="2263" y="164"/>
                </a:cubicBezTo>
                <a:cubicBezTo>
                  <a:pt x="2262" y="163"/>
                  <a:pt x="2262" y="163"/>
                  <a:pt x="2262" y="163"/>
                </a:cubicBezTo>
                <a:cubicBezTo>
                  <a:pt x="2261" y="164"/>
                  <a:pt x="2261" y="164"/>
                  <a:pt x="2261" y="164"/>
                </a:cubicBezTo>
                <a:cubicBezTo>
                  <a:pt x="2260" y="165"/>
                  <a:pt x="2260" y="165"/>
                  <a:pt x="2260" y="165"/>
                </a:cubicBezTo>
                <a:cubicBezTo>
                  <a:pt x="2259" y="165"/>
                  <a:pt x="2259" y="165"/>
                  <a:pt x="2259" y="165"/>
                </a:cubicBezTo>
                <a:cubicBezTo>
                  <a:pt x="2260" y="166"/>
                  <a:pt x="2260" y="166"/>
                  <a:pt x="2260" y="166"/>
                </a:cubicBezTo>
                <a:cubicBezTo>
                  <a:pt x="2262" y="166"/>
                  <a:pt x="2262" y="166"/>
                  <a:pt x="2262" y="166"/>
                </a:cubicBezTo>
                <a:cubicBezTo>
                  <a:pt x="2262" y="164"/>
                  <a:pt x="2262" y="164"/>
                  <a:pt x="2262" y="164"/>
                </a:cubicBezTo>
                <a:cubicBezTo>
                  <a:pt x="2266" y="166"/>
                  <a:pt x="2266" y="166"/>
                  <a:pt x="2266" y="166"/>
                </a:cubicBezTo>
                <a:cubicBezTo>
                  <a:pt x="2266" y="167"/>
                  <a:pt x="2266" y="167"/>
                  <a:pt x="2266" y="167"/>
                </a:cubicBezTo>
                <a:cubicBezTo>
                  <a:pt x="2265" y="168"/>
                  <a:pt x="2265" y="168"/>
                  <a:pt x="2265" y="168"/>
                </a:cubicBezTo>
                <a:cubicBezTo>
                  <a:pt x="2264" y="167"/>
                  <a:pt x="2264" y="167"/>
                  <a:pt x="2264" y="167"/>
                </a:cubicBezTo>
                <a:cubicBezTo>
                  <a:pt x="2262" y="167"/>
                  <a:pt x="2262" y="167"/>
                  <a:pt x="2262" y="167"/>
                </a:cubicBezTo>
                <a:cubicBezTo>
                  <a:pt x="2262" y="169"/>
                  <a:pt x="2262" y="169"/>
                  <a:pt x="2262" y="169"/>
                </a:cubicBezTo>
                <a:cubicBezTo>
                  <a:pt x="2261" y="167"/>
                  <a:pt x="2261" y="167"/>
                  <a:pt x="2261" y="167"/>
                </a:cubicBezTo>
                <a:cubicBezTo>
                  <a:pt x="2260" y="168"/>
                  <a:pt x="2260" y="168"/>
                  <a:pt x="2260" y="168"/>
                </a:cubicBezTo>
                <a:cubicBezTo>
                  <a:pt x="2261" y="169"/>
                  <a:pt x="2261" y="169"/>
                  <a:pt x="2261" y="169"/>
                </a:cubicBezTo>
                <a:cubicBezTo>
                  <a:pt x="2263" y="170"/>
                  <a:pt x="2263" y="170"/>
                  <a:pt x="2263" y="170"/>
                </a:cubicBezTo>
                <a:cubicBezTo>
                  <a:pt x="2262" y="172"/>
                  <a:pt x="2262" y="172"/>
                  <a:pt x="2262" y="172"/>
                </a:cubicBezTo>
                <a:cubicBezTo>
                  <a:pt x="2263" y="174"/>
                  <a:pt x="2263" y="174"/>
                  <a:pt x="2263" y="174"/>
                </a:cubicBezTo>
                <a:cubicBezTo>
                  <a:pt x="2264" y="175"/>
                  <a:pt x="2264" y="175"/>
                  <a:pt x="2264" y="175"/>
                </a:cubicBezTo>
                <a:cubicBezTo>
                  <a:pt x="2264" y="174"/>
                  <a:pt x="2264" y="174"/>
                  <a:pt x="2264" y="174"/>
                </a:cubicBezTo>
                <a:cubicBezTo>
                  <a:pt x="2264" y="172"/>
                  <a:pt x="2264" y="172"/>
                  <a:pt x="2264" y="172"/>
                </a:cubicBezTo>
                <a:cubicBezTo>
                  <a:pt x="2265" y="171"/>
                  <a:pt x="2265" y="171"/>
                  <a:pt x="2265" y="171"/>
                </a:cubicBezTo>
                <a:cubicBezTo>
                  <a:pt x="2266" y="171"/>
                  <a:pt x="2266" y="171"/>
                  <a:pt x="2266" y="171"/>
                </a:cubicBezTo>
                <a:cubicBezTo>
                  <a:pt x="2268" y="169"/>
                  <a:pt x="2268" y="169"/>
                  <a:pt x="2268" y="169"/>
                </a:cubicBezTo>
                <a:cubicBezTo>
                  <a:pt x="2269" y="169"/>
                  <a:pt x="2269" y="169"/>
                  <a:pt x="2269" y="169"/>
                </a:cubicBezTo>
                <a:cubicBezTo>
                  <a:pt x="2270" y="169"/>
                  <a:pt x="2270" y="169"/>
                  <a:pt x="2270" y="169"/>
                </a:cubicBezTo>
                <a:cubicBezTo>
                  <a:pt x="2270" y="170"/>
                  <a:pt x="2270" y="170"/>
                  <a:pt x="2270" y="170"/>
                </a:cubicBezTo>
                <a:cubicBezTo>
                  <a:pt x="2271" y="172"/>
                  <a:pt x="2271" y="172"/>
                  <a:pt x="2271" y="172"/>
                </a:cubicBezTo>
                <a:cubicBezTo>
                  <a:pt x="2273" y="173"/>
                  <a:pt x="2273" y="173"/>
                  <a:pt x="2273" y="173"/>
                </a:cubicBezTo>
                <a:cubicBezTo>
                  <a:pt x="2274" y="174"/>
                  <a:pt x="2274" y="174"/>
                  <a:pt x="2274" y="174"/>
                </a:cubicBezTo>
                <a:cubicBezTo>
                  <a:pt x="2276" y="174"/>
                  <a:pt x="2276" y="174"/>
                  <a:pt x="2276" y="174"/>
                </a:cubicBezTo>
                <a:cubicBezTo>
                  <a:pt x="2277" y="173"/>
                  <a:pt x="2277" y="173"/>
                  <a:pt x="2277" y="173"/>
                </a:cubicBezTo>
                <a:cubicBezTo>
                  <a:pt x="2276" y="172"/>
                  <a:pt x="2276" y="172"/>
                  <a:pt x="2276" y="172"/>
                </a:cubicBezTo>
                <a:cubicBezTo>
                  <a:pt x="2277" y="172"/>
                  <a:pt x="2277" y="172"/>
                  <a:pt x="2277" y="172"/>
                </a:cubicBezTo>
                <a:cubicBezTo>
                  <a:pt x="2280" y="175"/>
                  <a:pt x="2280" y="175"/>
                  <a:pt x="2280" y="175"/>
                </a:cubicBezTo>
                <a:cubicBezTo>
                  <a:pt x="2281" y="176"/>
                  <a:pt x="2281" y="176"/>
                  <a:pt x="2281" y="176"/>
                </a:cubicBezTo>
                <a:cubicBezTo>
                  <a:pt x="2279" y="176"/>
                  <a:pt x="2279" y="176"/>
                  <a:pt x="2279" y="176"/>
                </a:cubicBezTo>
                <a:cubicBezTo>
                  <a:pt x="2279" y="177"/>
                  <a:pt x="2279" y="177"/>
                  <a:pt x="2279" y="177"/>
                </a:cubicBezTo>
                <a:cubicBezTo>
                  <a:pt x="2282" y="179"/>
                  <a:pt x="2282" y="179"/>
                  <a:pt x="2282" y="179"/>
                </a:cubicBezTo>
                <a:cubicBezTo>
                  <a:pt x="2282" y="177"/>
                  <a:pt x="2282" y="177"/>
                  <a:pt x="2282" y="177"/>
                </a:cubicBezTo>
                <a:cubicBezTo>
                  <a:pt x="2284" y="178"/>
                  <a:pt x="2284" y="178"/>
                  <a:pt x="2284" y="178"/>
                </a:cubicBezTo>
                <a:cubicBezTo>
                  <a:pt x="2287" y="182"/>
                  <a:pt x="2287" y="182"/>
                  <a:pt x="2287" y="182"/>
                </a:cubicBezTo>
                <a:cubicBezTo>
                  <a:pt x="2286" y="181"/>
                  <a:pt x="2286" y="181"/>
                  <a:pt x="2286" y="181"/>
                </a:cubicBezTo>
                <a:cubicBezTo>
                  <a:pt x="2285" y="181"/>
                  <a:pt x="2285" y="181"/>
                  <a:pt x="2285" y="181"/>
                </a:cubicBezTo>
                <a:cubicBezTo>
                  <a:pt x="2285" y="182"/>
                  <a:pt x="2285" y="182"/>
                  <a:pt x="2285" y="182"/>
                </a:cubicBezTo>
                <a:cubicBezTo>
                  <a:pt x="2286" y="183"/>
                  <a:pt x="2286" y="183"/>
                  <a:pt x="2286" y="183"/>
                </a:cubicBezTo>
                <a:cubicBezTo>
                  <a:pt x="2284" y="184"/>
                  <a:pt x="2284" y="184"/>
                  <a:pt x="2284" y="184"/>
                </a:cubicBezTo>
                <a:cubicBezTo>
                  <a:pt x="2284" y="185"/>
                  <a:pt x="2284" y="185"/>
                  <a:pt x="2284" y="185"/>
                </a:cubicBezTo>
                <a:cubicBezTo>
                  <a:pt x="2285" y="186"/>
                  <a:pt x="2285" y="186"/>
                  <a:pt x="2285" y="186"/>
                </a:cubicBezTo>
                <a:cubicBezTo>
                  <a:pt x="2286" y="186"/>
                  <a:pt x="2286" y="186"/>
                  <a:pt x="2286" y="186"/>
                </a:cubicBezTo>
                <a:cubicBezTo>
                  <a:pt x="2286" y="184"/>
                  <a:pt x="2286" y="184"/>
                  <a:pt x="2286" y="184"/>
                </a:cubicBezTo>
                <a:cubicBezTo>
                  <a:pt x="2287" y="184"/>
                  <a:pt x="2287" y="184"/>
                  <a:pt x="2287" y="184"/>
                </a:cubicBezTo>
                <a:cubicBezTo>
                  <a:pt x="2288" y="184"/>
                  <a:pt x="2288" y="184"/>
                  <a:pt x="2288" y="184"/>
                </a:cubicBezTo>
                <a:cubicBezTo>
                  <a:pt x="2288" y="183"/>
                  <a:pt x="2288" y="183"/>
                  <a:pt x="2288" y="183"/>
                </a:cubicBezTo>
                <a:cubicBezTo>
                  <a:pt x="2289" y="185"/>
                  <a:pt x="2289" y="185"/>
                  <a:pt x="2289" y="185"/>
                </a:cubicBezTo>
                <a:cubicBezTo>
                  <a:pt x="2292" y="187"/>
                  <a:pt x="2292" y="187"/>
                  <a:pt x="2292" y="187"/>
                </a:cubicBezTo>
                <a:cubicBezTo>
                  <a:pt x="2295" y="187"/>
                  <a:pt x="2295" y="187"/>
                  <a:pt x="2295" y="187"/>
                </a:cubicBezTo>
                <a:cubicBezTo>
                  <a:pt x="2296" y="189"/>
                  <a:pt x="2296" y="189"/>
                  <a:pt x="2296" y="189"/>
                </a:cubicBezTo>
                <a:cubicBezTo>
                  <a:pt x="2295" y="190"/>
                  <a:pt x="2295" y="190"/>
                  <a:pt x="2295" y="190"/>
                </a:cubicBezTo>
                <a:cubicBezTo>
                  <a:pt x="2297" y="192"/>
                  <a:pt x="2297" y="192"/>
                  <a:pt x="2297" y="192"/>
                </a:cubicBezTo>
                <a:cubicBezTo>
                  <a:pt x="2298" y="192"/>
                  <a:pt x="2298" y="192"/>
                  <a:pt x="2298" y="192"/>
                </a:cubicBezTo>
                <a:cubicBezTo>
                  <a:pt x="2300" y="195"/>
                  <a:pt x="2300" y="195"/>
                  <a:pt x="2300" y="195"/>
                </a:cubicBezTo>
                <a:cubicBezTo>
                  <a:pt x="2300" y="199"/>
                  <a:pt x="2300" y="199"/>
                  <a:pt x="2300" y="199"/>
                </a:cubicBezTo>
                <a:cubicBezTo>
                  <a:pt x="2299" y="199"/>
                  <a:pt x="2299" y="199"/>
                  <a:pt x="2299" y="199"/>
                </a:cubicBezTo>
                <a:cubicBezTo>
                  <a:pt x="2299" y="200"/>
                  <a:pt x="2299" y="200"/>
                  <a:pt x="2299" y="200"/>
                </a:cubicBezTo>
                <a:cubicBezTo>
                  <a:pt x="2301" y="200"/>
                  <a:pt x="2301" y="200"/>
                  <a:pt x="2301" y="200"/>
                </a:cubicBezTo>
                <a:cubicBezTo>
                  <a:pt x="2301" y="202"/>
                  <a:pt x="2301" y="202"/>
                  <a:pt x="2301" y="202"/>
                </a:cubicBezTo>
                <a:cubicBezTo>
                  <a:pt x="2300" y="202"/>
                  <a:pt x="2300" y="202"/>
                  <a:pt x="2300" y="202"/>
                </a:cubicBezTo>
                <a:cubicBezTo>
                  <a:pt x="2295" y="202"/>
                  <a:pt x="2295" y="202"/>
                  <a:pt x="2295" y="202"/>
                </a:cubicBezTo>
                <a:cubicBezTo>
                  <a:pt x="2294" y="201"/>
                  <a:pt x="2294" y="201"/>
                  <a:pt x="2294" y="201"/>
                </a:cubicBezTo>
                <a:cubicBezTo>
                  <a:pt x="2293" y="201"/>
                  <a:pt x="2293" y="201"/>
                  <a:pt x="2293" y="201"/>
                </a:cubicBezTo>
                <a:cubicBezTo>
                  <a:pt x="2292" y="201"/>
                  <a:pt x="2292" y="201"/>
                  <a:pt x="2292" y="201"/>
                </a:cubicBezTo>
                <a:cubicBezTo>
                  <a:pt x="2292" y="200"/>
                  <a:pt x="2292" y="200"/>
                  <a:pt x="2292" y="200"/>
                </a:cubicBezTo>
                <a:cubicBezTo>
                  <a:pt x="2291" y="199"/>
                  <a:pt x="2291" y="199"/>
                  <a:pt x="2291" y="199"/>
                </a:cubicBezTo>
                <a:cubicBezTo>
                  <a:pt x="2291" y="200"/>
                  <a:pt x="2291" y="200"/>
                  <a:pt x="2291" y="200"/>
                </a:cubicBezTo>
                <a:cubicBezTo>
                  <a:pt x="2291" y="201"/>
                  <a:pt x="2291" y="201"/>
                  <a:pt x="2291" y="201"/>
                </a:cubicBezTo>
                <a:cubicBezTo>
                  <a:pt x="2289" y="202"/>
                  <a:pt x="2289" y="202"/>
                  <a:pt x="2289" y="202"/>
                </a:cubicBezTo>
                <a:cubicBezTo>
                  <a:pt x="2288" y="202"/>
                  <a:pt x="2288" y="202"/>
                  <a:pt x="2288" y="202"/>
                </a:cubicBezTo>
                <a:cubicBezTo>
                  <a:pt x="2287" y="203"/>
                  <a:pt x="2287" y="203"/>
                  <a:pt x="2287" y="203"/>
                </a:cubicBezTo>
                <a:cubicBezTo>
                  <a:pt x="2288" y="203"/>
                  <a:pt x="2288" y="203"/>
                  <a:pt x="2288" y="203"/>
                </a:cubicBezTo>
                <a:cubicBezTo>
                  <a:pt x="2286" y="205"/>
                  <a:pt x="2286" y="205"/>
                  <a:pt x="2286" y="205"/>
                </a:cubicBezTo>
                <a:cubicBezTo>
                  <a:pt x="2285" y="205"/>
                  <a:pt x="2285" y="205"/>
                  <a:pt x="2285" y="205"/>
                </a:cubicBezTo>
                <a:cubicBezTo>
                  <a:pt x="2285" y="206"/>
                  <a:pt x="2285" y="206"/>
                  <a:pt x="2285" y="206"/>
                </a:cubicBezTo>
                <a:cubicBezTo>
                  <a:pt x="2285" y="207"/>
                  <a:pt x="2285" y="207"/>
                  <a:pt x="2285" y="207"/>
                </a:cubicBezTo>
                <a:cubicBezTo>
                  <a:pt x="2284" y="209"/>
                  <a:pt x="2284" y="209"/>
                  <a:pt x="2284" y="209"/>
                </a:cubicBezTo>
                <a:cubicBezTo>
                  <a:pt x="2283" y="210"/>
                  <a:pt x="2283" y="210"/>
                  <a:pt x="2283" y="210"/>
                </a:cubicBezTo>
                <a:cubicBezTo>
                  <a:pt x="2283" y="209"/>
                  <a:pt x="2283" y="209"/>
                  <a:pt x="2283" y="209"/>
                </a:cubicBezTo>
                <a:cubicBezTo>
                  <a:pt x="2282" y="209"/>
                  <a:pt x="2282" y="209"/>
                  <a:pt x="2282" y="209"/>
                </a:cubicBezTo>
                <a:cubicBezTo>
                  <a:pt x="2282" y="211"/>
                  <a:pt x="2282" y="211"/>
                  <a:pt x="2282" y="211"/>
                </a:cubicBezTo>
                <a:cubicBezTo>
                  <a:pt x="2282" y="213"/>
                  <a:pt x="2282" y="213"/>
                  <a:pt x="2282" y="213"/>
                </a:cubicBezTo>
                <a:cubicBezTo>
                  <a:pt x="2281" y="214"/>
                  <a:pt x="2281" y="214"/>
                  <a:pt x="2281" y="214"/>
                </a:cubicBezTo>
                <a:cubicBezTo>
                  <a:pt x="2280" y="213"/>
                  <a:pt x="2280" y="213"/>
                  <a:pt x="2280" y="213"/>
                </a:cubicBezTo>
                <a:cubicBezTo>
                  <a:pt x="2280" y="215"/>
                  <a:pt x="2280" y="215"/>
                  <a:pt x="2280" y="215"/>
                </a:cubicBezTo>
                <a:cubicBezTo>
                  <a:pt x="2281" y="216"/>
                  <a:pt x="2281" y="216"/>
                  <a:pt x="2281" y="216"/>
                </a:cubicBezTo>
                <a:cubicBezTo>
                  <a:pt x="2279" y="217"/>
                  <a:pt x="2279" y="217"/>
                  <a:pt x="2279" y="217"/>
                </a:cubicBezTo>
                <a:cubicBezTo>
                  <a:pt x="2278" y="217"/>
                  <a:pt x="2278" y="217"/>
                  <a:pt x="2278" y="217"/>
                </a:cubicBezTo>
                <a:cubicBezTo>
                  <a:pt x="2279" y="218"/>
                  <a:pt x="2279" y="218"/>
                  <a:pt x="2279" y="218"/>
                </a:cubicBezTo>
                <a:cubicBezTo>
                  <a:pt x="2279" y="219"/>
                  <a:pt x="2279" y="219"/>
                  <a:pt x="2279" y="219"/>
                </a:cubicBezTo>
                <a:cubicBezTo>
                  <a:pt x="2278" y="220"/>
                  <a:pt x="2278" y="220"/>
                  <a:pt x="2278" y="220"/>
                </a:cubicBezTo>
                <a:cubicBezTo>
                  <a:pt x="2277" y="219"/>
                  <a:pt x="2277" y="219"/>
                  <a:pt x="2277" y="219"/>
                </a:cubicBezTo>
                <a:cubicBezTo>
                  <a:pt x="2276" y="220"/>
                  <a:pt x="2276" y="220"/>
                  <a:pt x="2276" y="220"/>
                </a:cubicBezTo>
                <a:cubicBezTo>
                  <a:pt x="2277" y="221"/>
                  <a:pt x="2277" y="221"/>
                  <a:pt x="2277" y="221"/>
                </a:cubicBezTo>
                <a:cubicBezTo>
                  <a:pt x="2277" y="222"/>
                  <a:pt x="2277" y="222"/>
                  <a:pt x="2277" y="222"/>
                </a:cubicBezTo>
                <a:cubicBezTo>
                  <a:pt x="2276" y="223"/>
                  <a:pt x="2276" y="223"/>
                  <a:pt x="2276" y="223"/>
                </a:cubicBezTo>
                <a:cubicBezTo>
                  <a:pt x="2277" y="224"/>
                  <a:pt x="2277" y="224"/>
                  <a:pt x="2277" y="224"/>
                </a:cubicBezTo>
                <a:cubicBezTo>
                  <a:pt x="2276" y="225"/>
                  <a:pt x="2276" y="225"/>
                  <a:pt x="2276" y="225"/>
                </a:cubicBezTo>
                <a:cubicBezTo>
                  <a:pt x="2275" y="225"/>
                  <a:pt x="2275" y="225"/>
                  <a:pt x="2275" y="225"/>
                </a:cubicBezTo>
                <a:cubicBezTo>
                  <a:pt x="2275" y="224"/>
                  <a:pt x="2275" y="224"/>
                  <a:pt x="2275" y="224"/>
                </a:cubicBezTo>
                <a:cubicBezTo>
                  <a:pt x="2274" y="224"/>
                  <a:pt x="2274" y="224"/>
                  <a:pt x="2274" y="224"/>
                </a:cubicBezTo>
                <a:cubicBezTo>
                  <a:pt x="2275" y="225"/>
                  <a:pt x="2275" y="225"/>
                  <a:pt x="2275" y="225"/>
                </a:cubicBezTo>
                <a:cubicBezTo>
                  <a:pt x="2277" y="226"/>
                  <a:pt x="2277" y="226"/>
                  <a:pt x="2277" y="226"/>
                </a:cubicBezTo>
                <a:cubicBezTo>
                  <a:pt x="2276" y="228"/>
                  <a:pt x="2276" y="228"/>
                  <a:pt x="2276" y="228"/>
                </a:cubicBezTo>
                <a:cubicBezTo>
                  <a:pt x="2274" y="228"/>
                  <a:pt x="2274" y="228"/>
                  <a:pt x="2274" y="228"/>
                </a:cubicBezTo>
                <a:cubicBezTo>
                  <a:pt x="2275" y="229"/>
                  <a:pt x="2275" y="229"/>
                  <a:pt x="2275" y="229"/>
                </a:cubicBezTo>
                <a:cubicBezTo>
                  <a:pt x="2276" y="231"/>
                  <a:pt x="2276" y="231"/>
                  <a:pt x="2276" y="231"/>
                </a:cubicBezTo>
                <a:cubicBezTo>
                  <a:pt x="2275" y="232"/>
                  <a:pt x="2275" y="232"/>
                  <a:pt x="2275" y="232"/>
                </a:cubicBezTo>
                <a:cubicBezTo>
                  <a:pt x="2276" y="232"/>
                  <a:pt x="2276" y="232"/>
                  <a:pt x="2276" y="232"/>
                </a:cubicBezTo>
                <a:cubicBezTo>
                  <a:pt x="2274" y="234"/>
                  <a:pt x="2274" y="234"/>
                  <a:pt x="2274" y="234"/>
                </a:cubicBezTo>
                <a:cubicBezTo>
                  <a:pt x="2275" y="235"/>
                  <a:pt x="2275" y="235"/>
                  <a:pt x="2275" y="235"/>
                </a:cubicBezTo>
                <a:cubicBezTo>
                  <a:pt x="2274" y="238"/>
                  <a:pt x="2274" y="238"/>
                  <a:pt x="2274" y="238"/>
                </a:cubicBezTo>
                <a:cubicBezTo>
                  <a:pt x="2273" y="240"/>
                  <a:pt x="2273" y="240"/>
                  <a:pt x="2273" y="240"/>
                </a:cubicBezTo>
                <a:cubicBezTo>
                  <a:pt x="2273" y="242"/>
                  <a:pt x="2273" y="242"/>
                  <a:pt x="2273" y="242"/>
                </a:cubicBezTo>
                <a:cubicBezTo>
                  <a:pt x="2272" y="243"/>
                  <a:pt x="2272" y="243"/>
                  <a:pt x="2272" y="243"/>
                </a:cubicBezTo>
                <a:cubicBezTo>
                  <a:pt x="2273" y="243"/>
                  <a:pt x="2273" y="243"/>
                  <a:pt x="2273" y="243"/>
                </a:cubicBezTo>
                <a:cubicBezTo>
                  <a:pt x="2274" y="244"/>
                  <a:pt x="2274" y="244"/>
                  <a:pt x="2274" y="244"/>
                </a:cubicBezTo>
                <a:cubicBezTo>
                  <a:pt x="2273" y="244"/>
                  <a:pt x="2273" y="244"/>
                  <a:pt x="2273" y="244"/>
                </a:cubicBezTo>
                <a:cubicBezTo>
                  <a:pt x="2275" y="247"/>
                  <a:pt x="2275" y="247"/>
                  <a:pt x="2275" y="247"/>
                </a:cubicBezTo>
                <a:cubicBezTo>
                  <a:pt x="2275" y="248"/>
                  <a:pt x="2275" y="248"/>
                  <a:pt x="2275" y="248"/>
                </a:cubicBezTo>
                <a:cubicBezTo>
                  <a:pt x="2274" y="248"/>
                  <a:pt x="2274" y="248"/>
                  <a:pt x="2274" y="248"/>
                </a:cubicBezTo>
                <a:cubicBezTo>
                  <a:pt x="2273" y="248"/>
                  <a:pt x="2273" y="248"/>
                  <a:pt x="2273" y="248"/>
                </a:cubicBezTo>
                <a:cubicBezTo>
                  <a:pt x="2271" y="247"/>
                  <a:pt x="2271" y="247"/>
                  <a:pt x="2271" y="247"/>
                </a:cubicBezTo>
                <a:cubicBezTo>
                  <a:pt x="2269" y="245"/>
                  <a:pt x="2269" y="245"/>
                  <a:pt x="2269" y="245"/>
                </a:cubicBezTo>
                <a:cubicBezTo>
                  <a:pt x="2268" y="245"/>
                  <a:pt x="2268" y="245"/>
                  <a:pt x="2268" y="245"/>
                </a:cubicBezTo>
                <a:cubicBezTo>
                  <a:pt x="2267" y="245"/>
                  <a:pt x="2267" y="245"/>
                  <a:pt x="2267" y="245"/>
                </a:cubicBezTo>
                <a:cubicBezTo>
                  <a:pt x="2267" y="244"/>
                  <a:pt x="2267" y="244"/>
                  <a:pt x="2267" y="244"/>
                </a:cubicBezTo>
                <a:cubicBezTo>
                  <a:pt x="2263" y="242"/>
                  <a:pt x="2263" y="242"/>
                  <a:pt x="2263" y="242"/>
                </a:cubicBezTo>
                <a:cubicBezTo>
                  <a:pt x="2262" y="241"/>
                  <a:pt x="2262" y="241"/>
                  <a:pt x="2262" y="241"/>
                </a:cubicBezTo>
                <a:cubicBezTo>
                  <a:pt x="2260" y="243"/>
                  <a:pt x="2260" y="243"/>
                  <a:pt x="2260" y="243"/>
                </a:cubicBezTo>
                <a:cubicBezTo>
                  <a:pt x="2259" y="242"/>
                  <a:pt x="2259" y="242"/>
                  <a:pt x="2259" y="242"/>
                </a:cubicBezTo>
                <a:cubicBezTo>
                  <a:pt x="2258" y="242"/>
                  <a:pt x="2258" y="242"/>
                  <a:pt x="2258" y="242"/>
                </a:cubicBezTo>
                <a:cubicBezTo>
                  <a:pt x="2256" y="244"/>
                  <a:pt x="2256" y="244"/>
                  <a:pt x="2256" y="244"/>
                </a:cubicBezTo>
                <a:cubicBezTo>
                  <a:pt x="2255" y="244"/>
                  <a:pt x="2255" y="244"/>
                  <a:pt x="2255" y="244"/>
                </a:cubicBezTo>
                <a:cubicBezTo>
                  <a:pt x="2254" y="247"/>
                  <a:pt x="2254" y="247"/>
                  <a:pt x="2254" y="247"/>
                </a:cubicBezTo>
                <a:cubicBezTo>
                  <a:pt x="2253" y="247"/>
                  <a:pt x="2253" y="247"/>
                  <a:pt x="2253" y="247"/>
                </a:cubicBezTo>
                <a:cubicBezTo>
                  <a:pt x="2252" y="247"/>
                  <a:pt x="2252" y="247"/>
                  <a:pt x="2252" y="247"/>
                </a:cubicBezTo>
                <a:cubicBezTo>
                  <a:pt x="2253" y="248"/>
                  <a:pt x="2253" y="248"/>
                  <a:pt x="2253" y="248"/>
                </a:cubicBezTo>
                <a:cubicBezTo>
                  <a:pt x="2252" y="249"/>
                  <a:pt x="2252" y="249"/>
                  <a:pt x="2252" y="249"/>
                </a:cubicBezTo>
                <a:cubicBezTo>
                  <a:pt x="2253" y="251"/>
                  <a:pt x="2253" y="251"/>
                  <a:pt x="2253" y="251"/>
                </a:cubicBezTo>
                <a:cubicBezTo>
                  <a:pt x="2252" y="252"/>
                  <a:pt x="2252" y="252"/>
                  <a:pt x="2252" y="252"/>
                </a:cubicBezTo>
                <a:cubicBezTo>
                  <a:pt x="2252" y="255"/>
                  <a:pt x="2252" y="255"/>
                  <a:pt x="2252" y="255"/>
                </a:cubicBezTo>
                <a:cubicBezTo>
                  <a:pt x="2251" y="256"/>
                  <a:pt x="2251" y="256"/>
                  <a:pt x="2251" y="256"/>
                </a:cubicBezTo>
                <a:cubicBezTo>
                  <a:pt x="2250" y="255"/>
                  <a:pt x="2250" y="255"/>
                  <a:pt x="2250" y="255"/>
                </a:cubicBezTo>
                <a:cubicBezTo>
                  <a:pt x="2249" y="251"/>
                  <a:pt x="2249" y="251"/>
                  <a:pt x="2249" y="251"/>
                </a:cubicBezTo>
                <a:cubicBezTo>
                  <a:pt x="2249" y="249"/>
                  <a:pt x="2249" y="249"/>
                  <a:pt x="2249" y="249"/>
                </a:cubicBezTo>
                <a:cubicBezTo>
                  <a:pt x="2248" y="249"/>
                  <a:pt x="2248" y="249"/>
                  <a:pt x="2248" y="249"/>
                </a:cubicBezTo>
                <a:cubicBezTo>
                  <a:pt x="2247" y="248"/>
                  <a:pt x="2247" y="248"/>
                  <a:pt x="2247" y="248"/>
                </a:cubicBezTo>
                <a:cubicBezTo>
                  <a:pt x="2247" y="249"/>
                  <a:pt x="2247" y="249"/>
                  <a:pt x="2247" y="249"/>
                </a:cubicBezTo>
                <a:cubicBezTo>
                  <a:pt x="2245" y="252"/>
                  <a:pt x="2245" y="252"/>
                  <a:pt x="2245" y="252"/>
                </a:cubicBezTo>
                <a:cubicBezTo>
                  <a:pt x="2244" y="252"/>
                  <a:pt x="2244" y="252"/>
                  <a:pt x="2244" y="252"/>
                </a:cubicBezTo>
                <a:cubicBezTo>
                  <a:pt x="2244" y="254"/>
                  <a:pt x="2244" y="254"/>
                  <a:pt x="2244" y="254"/>
                </a:cubicBezTo>
                <a:cubicBezTo>
                  <a:pt x="2245" y="254"/>
                  <a:pt x="2245" y="254"/>
                  <a:pt x="2245" y="254"/>
                </a:cubicBezTo>
                <a:cubicBezTo>
                  <a:pt x="2244" y="257"/>
                  <a:pt x="2244" y="257"/>
                  <a:pt x="2244" y="257"/>
                </a:cubicBezTo>
                <a:cubicBezTo>
                  <a:pt x="2243" y="255"/>
                  <a:pt x="2243" y="255"/>
                  <a:pt x="2243" y="255"/>
                </a:cubicBezTo>
                <a:cubicBezTo>
                  <a:pt x="2242" y="255"/>
                  <a:pt x="2242" y="255"/>
                  <a:pt x="2242" y="255"/>
                </a:cubicBezTo>
                <a:cubicBezTo>
                  <a:pt x="2241" y="255"/>
                  <a:pt x="2241" y="255"/>
                  <a:pt x="2241" y="255"/>
                </a:cubicBezTo>
                <a:cubicBezTo>
                  <a:pt x="2240" y="256"/>
                  <a:pt x="2240" y="256"/>
                  <a:pt x="2240" y="256"/>
                </a:cubicBezTo>
                <a:cubicBezTo>
                  <a:pt x="2240" y="257"/>
                  <a:pt x="2240" y="257"/>
                  <a:pt x="2240" y="257"/>
                </a:cubicBezTo>
                <a:cubicBezTo>
                  <a:pt x="2238" y="256"/>
                  <a:pt x="2238" y="256"/>
                  <a:pt x="2238" y="256"/>
                </a:cubicBezTo>
                <a:cubicBezTo>
                  <a:pt x="2237" y="256"/>
                  <a:pt x="2237" y="256"/>
                  <a:pt x="2237" y="256"/>
                </a:cubicBezTo>
                <a:cubicBezTo>
                  <a:pt x="2237" y="257"/>
                  <a:pt x="2237" y="257"/>
                  <a:pt x="2237" y="257"/>
                </a:cubicBezTo>
                <a:cubicBezTo>
                  <a:pt x="2238" y="258"/>
                  <a:pt x="2238" y="258"/>
                  <a:pt x="2238" y="258"/>
                </a:cubicBezTo>
                <a:cubicBezTo>
                  <a:pt x="2237" y="258"/>
                  <a:pt x="2237" y="258"/>
                  <a:pt x="2237" y="258"/>
                </a:cubicBezTo>
                <a:cubicBezTo>
                  <a:pt x="2237" y="260"/>
                  <a:pt x="2237" y="260"/>
                  <a:pt x="2237" y="260"/>
                </a:cubicBezTo>
                <a:cubicBezTo>
                  <a:pt x="2237" y="261"/>
                  <a:pt x="2237" y="261"/>
                  <a:pt x="2237" y="261"/>
                </a:cubicBezTo>
                <a:cubicBezTo>
                  <a:pt x="2238" y="262"/>
                  <a:pt x="2238" y="262"/>
                  <a:pt x="2238" y="262"/>
                </a:cubicBezTo>
                <a:cubicBezTo>
                  <a:pt x="2238" y="263"/>
                  <a:pt x="2238" y="263"/>
                  <a:pt x="2238" y="263"/>
                </a:cubicBezTo>
                <a:cubicBezTo>
                  <a:pt x="2238" y="264"/>
                  <a:pt x="2238" y="264"/>
                  <a:pt x="2238" y="264"/>
                </a:cubicBezTo>
                <a:cubicBezTo>
                  <a:pt x="2238" y="265"/>
                  <a:pt x="2238" y="265"/>
                  <a:pt x="2238" y="265"/>
                </a:cubicBezTo>
                <a:cubicBezTo>
                  <a:pt x="2239" y="265"/>
                  <a:pt x="2239" y="265"/>
                  <a:pt x="2239" y="265"/>
                </a:cubicBezTo>
                <a:cubicBezTo>
                  <a:pt x="2240" y="266"/>
                  <a:pt x="2240" y="266"/>
                  <a:pt x="2240" y="266"/>
                </a:cubicBezTo>
                <a:cubicBezTo>
                  <a:pt x="2240" y="267"/>
                  <a:pt x="2240" y="267"/>
                  <a:pt x="2240" y="267"/>
                </a:cubicBezTo>
                <a:cubicBezTo>
                  <a:pt x="2240" y="268"/>
                  <a:pt x="2240" y="268"/>
                  <a:pt x="2240" y="268"/>
                </a:cubicBezTo>
                <a:cubicBezTo>
                  <a:pt x="2241" y="268"/>
                  <a:pt x="2241" y="268"/>
                  <a:pt x="2241" y="268"/>
                </a:cubicBezTo>
                <a:cubicBezTo>
                  <a:pt x="2241" y="269"/>
                  <a:pt x="2241" y="269"/>
                  <a:pt x="2241" y="269"/>
                </a:cubicBezTo>
                <a:cubicBezTo>
                  <a:pt x="2241" y="270"/>
                  <a:pt x="2241" y="270"/>
                  <a:pt x="2241" y="270"/>
                </a:cubicBezTo>
                <a:cubicBezTo>
                  <a:pt x="2240" y="269"/>
                  <a:pt x="2240" y="269"/>
                  <a:pt x="2240" y="269"/>
                </a:cubicBezTo>
                <a:cubicBezTo>
                  <a:pt x="2239" y="269"/>
                  <a:pt x="2239" y="269"/>
                  <a:pt x="2239" y="269"/>
                </a:cubicBezTo>
                <a:cubicBezTo>
                  <a:pt x="2239" y="270"/>
                  <a:pt x="2239" y="270"/>
                  <a:pt x="2239" y="270"/>
                </a:cubicBezTo>
                <a:cubicBezTo>
                  <a:pt x="2240" y="271"/>
                  <a:pt x="2240" y="271"/>
                  <a:pt x="2240" y="271"/>
                </a:cubicBezTo>
                <a:cubicBezTo>
                  <a:pt x="2241" y="271"/>
                  <a:pt x="2241" y="271"/>
                  <a:pt x="2241" y="271"/>
                </a:cubicBezTo>
                <a:cubicBezTo>
                  <a:pt x="2241" y="272"/>
                  <a:pt x="2241" y="272"/>
                  <a:pt x="2241" y="272"/>
                </a:cubicBezTo>
                <a:cubicBezTo>
                  <a:pt x="2241" y="273"/>
                  <a:pt x="2241" y="273"/>
                  <a:pt x="2241" y="273"/>
                </a:cubicBezTo>
                <a:cubicBezTo>
                  <a:pt x="2241" y="275"/>
                  <a:pt x="2241" y="275"/>
                  <a:pt x="2241" y="275"/>
                </a:cubicBezTo>
                <a:cubicBezTo>
                  <a:pt x="2240" y="276"/>
                  <a:pt x="2240" y="276"/>
                  <a:pt x="2240" y="276"/>
                </a:cubicBezTo>
                <a:cubicBezTo>
                  <a:pt x="2241" y="278"/>
                  <a:pt x="2241" y="278"/>
                  <a:pt x="2241" y="278"/>
                </a:cubicBezTo>
                <a:cubicBezTo>
                  <a:pt x="2240" y="278"/>
                  <a:pt x="2240" y="278"/>
                  <a:pt x="2240" y="278"/>
                </a:cubicBezTo>
                <a:cubicBezTo>
                  <a:pt x="2241" y="280"/>
                  <a:pt x="2241" y="280"/>
                  <a:pt x="2241" y="280"/>
                </a:cubicBezTo>
                <a:cubicBezTo>
                  <a:pt x="2241" y="282"/>
                  <a:pt x="2241" y="282"/>
                  <a:pt x="2241" y="282"/>
                </a:cubicBezTo>
                <a:cubicBezTo>
                  <a:pt x="2242" y="284"/>
                  <a:pt x="2242" y="284"/>
                  <a:pt x="2242" y="284"/>
                </a:cubicBezTo>
                <a:cubicBezTo>
                  <a:pt x="2241" y="285"/>
                  <a:pt x="2241" y="285"/>
                  <a:pt x="2241" y="285"/>
                </a:cubicBezTo>
                <a:cubicBezTo>
                  <a:pt x="2242" y="285"/>
                  <a:pt x="2242" y="285"/>
                  <a:pt x="2242" y="285"/>
                </a:cubicBezTo>
                <a:cubicBezTo>
                  <a:pt x="2244" y="286"/>
                  <a:pt x="2244" y="286"/>
                  <a:pt x="2244" y="286"/>
                </a:cubicBezTo>
                <a:cubicBezTo>
                  <a:pt x="2245" y="289"/>
                  <a:pt x="2245" y="289"/>
                  <a:pt x="2245" y="289"/>
                </a:cubicBezTo>
                <a:cubicBezTo>
                  <a:pt x="2247" y="289"/>
                  <a:pt x="2247" y="289"/>
                  <a:pt x="2247" y="289"/>
                </a:cubicBezTo>
                <a:cubicBezTo>
                  <a:pt x="2247" y="288"/>
                  <a:pt x="2247" y="288"/>
                  <a:pt x="2247" y="288"/>
                </a:cubicBezTo>
                <a:cubicBezTo>
                  <a:pt x="2246" y="286"/>
                  <a:pt x="2246" y="286"/>
                  <a:pt x="2246" y="286"/>
                </a:cubicBezTo>
                <a:cubicBezTo>
                  <a:pt x="2246" y="285"/>
                  <a:pt x="2246" y="285"/>
                  <a:pt x="2246" y="285"/>
                </a:cubicBezTo>
                <a:cubicBezTo>
                  <a:pt x="2247" y="284"/>
                  <a:pt x="2247" y="284"/>
                  <a:pt x="2247" y="284"/>
                </a:cubicBezTo>
                <a:cubicBezTo>
                  <a:pt x="2248" y="285"/>
                  <a:pt x="2248" y="285"/>
                  <a:pt x="2248" y="285"/>
                </a:cubicBezTo>
                <a:cubicBezTo>
                  <a:pt x="2250" y="286"/>
                  <a:pt x="2250" y="286"/>
                  <a:pt x="2250" y="286"/>
                </a:cubicBezTo>
                <a:cubicBezTo>
                  <a:pt x="2251" y="286"/>
                  <a:pt x="2251" y="286"/>
                  <a:pt x="2251" y="286"/>
                </a:cubicBezTo>
                <a:cubicBezTo>
                  <a:pt x="2252" y="286"/>
                  <a:pt x="2252" y="286"/>
                  <a:pt x="2252" y="286"/>
                </a:cubicBezTo>
                <a:cubicBezTo>
                  <a:pt x="2252" y="287"/>
                  <a:pt x="2252" y="287"/>
                  <a:pt x="2252" y="287"/>
                </a:cubicBezTo>
                <a:cubicBezTo>
                  <a:pt x="2252" y="288"/>
                  <a:pt x="2252" y="288"/>
                  <a:pt x="2252" y="288"/>
                </a:cubicBezTo>
                <a:cubicBezTo>
                  <a:pt x="2253" y="289"/>
                  <a:pt x="2253" y="289"/>
                  <a:pt x="2253" y="289"/>
                </a:cubicBezTo>
                <a:cubicBezTo>
                  <a:pt x="2252" y="290"/>
                  <a:pt x="2252" y="290"/>
                  <a:pt x="2252" y="290"/>
                </a:cubicBezTo>
                <a:cubicBezTo>
                  <a:pt x="2252" y="291"/>
                  <a:pt x="2252" y="291"/>
                  <a:pt x="2252" y="291"/>
                </a:cubicBezTo>
                <a:cubicBezTo>
                  <a:pt x="2252" y="292"/>
                  <a:pt x="2252" y="292"/>
                  <a:pt x="2252" y="292"/>
                </a:cubicBezTo>
                <a:cubicBezTo>
                  <a:pt x="2251" y="293"/>
                  <a:pt x="2251" y="293"/>
                  <a:pt x="2251" y="293"/>
                </a:cubicBezTo>
                <a:cubicBezTo>
                  <a:pt x="2252" y="295"/>
                  <a:pt x="2252" y="295"/>
                  <a:pt x="2252" y="295"/>
                </a:cubicBezTo>
                <a:cubicBezTo>
                  <a:pt x="2253" y="297"/>
                  <a:pt x="2253" y="297"/>
                  <a:pt x="2253" y="297"/>
                </a:cubicBezTo>
                <a:cubicBezTo>
                  <a:pt x="2253" y="299"/>
                  <a:pt x="2253" y="299"/>
                  <a:pt x="2253" y="299"/>
                </a:cubicBezTo>
                <a:cubicBezTo>
                  <a:pt x="2254" y="300"/>
                  <a:pt x="2254" y="300"/>
                  <a:pt x="2254" y="300"/>
                </a:cubicBezTo>
                <a:cubicBezTo>
                  <a:pt x="2255" y="299"/>
                  <a:pt x="2255" y="299"/>
                  <a:pt x="2255" y="299"/>
                </a:cubicBezTo>
                <a:cubicBezTo>
                  <a:pt x="2256" y="298"/>
                  <a:pt x="2256" y="298"/>
                  <a:pt x="2256" y="298"/>
                </a:cubicBezTo>
                <a:cubicBezTo>
                  <a:pt x="2258" y="298"/>
                  <a:pt x="2258" y="298"/>
                  <a:pt x="2258" y="298"/>
                </a:cubicBezTo>
                <a:cubicBezTo>
                  <a:pt x="2258" y="301"/>
                  <a:pt x="2258" y="301"/>
                  <a:pt x="2258" y="301"/>
                </a:cubicBezTo>
                <a:cubicBezTo>
                  <a:pt x="2261" y="304"/>
                  <a:pt x="2261" y="304"/>
                  <a:pt x="2261" y="304"/>
                </a:cubicBezTo>
                <a:cubicBezTo>
                  <a:pt x="2262" y="306"/>
                  <a:pt x="2262" y="306"/>
                  <a:pt x="2262" y="306"/>
                </a:cubicBezTo>
                <a:cubicBezTo>
                  <a:pt x="2261" y="306"/>
                  <a:pt x="2261" y="306"/>
                  <a:pt x="2261" y="306"/>
                </a:cubicBezTo>
                <a:cubicBezTo>
                  <a:pt x="2261" y="308"/>
                  <a:pt x="2261" y="308"/>
                  <a:pt x="2261" y="308"/>
                </a:cubicBezTo>
                <a:cubicBezTo>
                  <a:pt x="2260" y="309"/>
                  <a:pt x="2260" y="309"/>
                  <a:pt x="2260" y="309"/>
                </a:cubicBezTo>
                <a:cubicBezTo>
                  <a:pt x="2258" y="307"/>
                  <a:pt x="2258" y="307"/>
                  <a:pt x="2258" y="307"/>
                </a:cubicBezTo>
                <a:cubicBezTo>
                  <a:pt x="2257" y="307"/>
                  <a:pt x="2257" y="307"/>
                  <a:pt x="2257" y="307"/>
                </a:cubicBezTo>
                <a:cubicBezTo>
                  <a:pt x="2256" y="305"/>
                  <a:pt x="2256" y="305"/>
                  <a:pt x="2256" y="305"/>
                </a:cubicBezTo>
                <a:cubicBezTo>
                  <a:pt x="2257" y="304"/>
                  <a:pt x="2257" y="304"/>
                  <a:pt x="2257" y="304"/>
                </a:cubicBezTo>
                <a:cubicBezTo>
                  <a:pt x="2257" y="302"/>
                  <a:pt x="2257" y="302"/>
                  <a:pt x="2257" y="302"/>
                </a:cubicBezTo>
                <a:cubicBezTo>
                  <a:pt x="2257" y="301"/>
                  <a:pt x="2257" y="301"/>
                  <a:pt x="2257" y="301"/>
                </a:cubicBezTo>
                <a:cubicBezTo>
                  <a:pt x="2256" y="302"/>
                  <a:pt x="2256" y="302"/>
                  <a:pt x="2256" y="302"/>
                </a:cubicBezTo>
                <a:cubicBezTo>
                  <a:pt x="2256" y="303"/>
                  <a:pt x="2256" y="303"/>
                  <a:pt x="2256" y="303"/>
                </a:cubicBezTo>
                <a:cubicBezTo>
                  <a:pt x="2255" y="303"/>
                  <a:pt x="2255" y="303"/>
                  <a:pt x="2255" y="303"/>
                </a:cubicBezTo>
                <a:cubicBezTo>
                  <a:pt x="2254" y="305"/>
                  <a:pt x="2254" y="305"/>
                  <a:pt x="2254" y="305"/>
                </a:cubicBezTo>
                <a:cubicBezTo>
                  <a:pt x="2254" y="306"/>
                  <a:pt x="2254" y="306"/>
                  <a:pt x="2254" y="306"/>
                </a:cubicBezTo>
                <a:cubicBezTo>
                  <a:pt x="2256" y="305"/>
                  <a:pt x="2256" y="305"/>
                  <a:pt x="2256" y="305"/>
                </a:cubicBezTo>
                <a:cubicBezTo>
                  <a:pt x="2256" y="307"/>
                  <a:pt x="2256" y="307"/>
                  <a:pt x="2256" y="307"/>
                </a:cubicBezTo>
                <a:cubicBezTo>
                  <a:pt x="2255" y="308"/>
                  <a:pt x="2255" y="308"/>
                  <a:pt x="2255" y="308"/>
                </a:cubicBezTo>
                <a:cubicBezTo>
                  <a:pt x="2255" y="310"/>
                  <a:pt x="2255" y="310"/>
                  <a:pt x="2255" y="310"/>
                </a:cubicBezTo>
                <a:cubicBezTo>
                  <a:pt x="2255" y="311"/>
                  <a:pt x="2255" y="311"/>
                  <a:pt x="2255" y="311"/>
                </a:cubicBezTo>
                <a:cubicBezTo>
                  <a:pt x="2255" y="315"/>
                  <a:pt x="2255" y="315"/>
                  <a:pt x="2255" y="315"/>
                </a:cubicBezTo>
                <a:cubicBezTo>
                  <a:pt x="2256" y="316"/>
                  <a:pt x="2256" y="316"/>
                  <a:pt x="2256" y="316"/>
                </a:cubicBezTo>
                <a:cubicBezTo>
                  <a:pt x="2256" y="317"/>
                  <a:pt x="2256" y="317"/>
                  <a:pt x="2256" y="317"/>
                </a:cubicBezTo>
                <a:cubicBezTo>
                  <a:pt x="2259" y="322"/>
                  <a:pt x="2259" y="322"/>
                  <a:pt x="2259" y="322"/>
                </a:cubicBezTo>
                <a:cubicBezTo>
                  <a:pt x="2260" y="322"/>
                  <a:pt x="2260" y="322"/>
                  <a:pt x="2260" y="322"/>
                </a:cubicBezTo>
                <a:cubicBezTo>
                  <a:pt x="2262" y="325"/>
                  <a:pt x="2262" y="325"/>
                  <a:pt x="2262" y="325"/>
                </a:cubicBezTo>
                <a:cubicBezTo>
                  <a:pt x="2264" y="326"/>
                  <a:pt x="2264" y="326"/>
                  <a:pt x="2264" y="326"/>
                </a:cubicBezTo>
                <a:cubicBezTo>
                  <a:pt x="2263" y="327"/>
                  <a:pt x="2263" y="327"/>
                  <a:pt x="2263" y="327"/>
                </a:cubicBezTo>
                <a:cubicBezTo>
                  <a:pt x="2263" y="328"/>
                  <a:pt x="2263" y="328"/>
                  <a:pt x="2263" y="328"/>
                </a:cubicBezTo>
                <a:cubicBezTo>
                  <a:pt x="2259" y="330"/>
                  <a:pt x="2259" y="330"/>
                  <a:pt x="2259" y="330"/>
                </a:cubicBezTo>
                <a:cubicBezTo>
                  <a:pt x="2259" y="329"/>
                  <a:pt x="2259" y="329"/>
                  <a:pt x="2259" y="329"/>
                </a:cubicBezTo>
                <a:cubicBezTo>
                  <a:pt x="2257" y="330"/>
                  <a:pt x="2257" y="330"/>
                  <a:pt x="2257" y="330"/>
                </a:cubicBezTo>
                <a:cubicBezTo>
                  <a:pt x="2256" y="330"/>
                  <a:pt x="2256" y="330"/>
                  <a:pt x="2256" y="330"/>
                </a:cubicBezTo>
                <a:cubicBezTo>
                  <a:pt x="2257" y="331"/>
                  <a:pt x="2257" y="331"/>
                  <a:pt x="2257" y="331"/>
                </a:cubicBezTo>
                <a:cubicBezTo>
                  <a:pt x="2255" y="333"/>
                  <a:pt x="2255" y="333"/>
                  <a:pt x="2255" y="333"/>
                </a:cubicBezTo>
                <a:cubicBezTo>
                  <a:pt x="2255" y="335"/>
                  <a:pt x="2255" y="335"/>
                  <a:pt x="2255" y="335"/>
                </a:cubicBezTo>
                <a:cubicBezTo>
                  <a:pt x="2254" y="335"/>
                  <a:pt x="2254" y="335"/>
                  <a:pt x="2254" y="335"/>
                </a:cubicBezTo>
                <a:cubicBezTo>
                  <a:pt x="2255" y="337"/>
                  <a:pt x="2255" y="337"/>
                  <a:pt x="2255" y="337"/>
                </a:cubicBezTo>
                <a:cubicBezTo>
                  <a:pt x="2255" y="340"/>
                  <a:pt x="2255" y="340"/>
                  <a:pt x="2255" y="340"/>
                </a:cubicBezTo>
                <a:cubicBezTo>
                  <a:pt x="2256" y="343"/>
                  <a:pt x="2256" y="343"/>
                  <a:pt x="2256" y="343"/>
                </a:cubicBezTo>
                <a:cubicBezTo>
                  <a:pt x="2258" y="344"/>
                  <a:pt x="2258" y="344"/>
                  <a:pt x="2258" y="344"/>
                </a:cubicBezTo>
                <a:cubicBezTo>
                  <a:pt x="2258" y="346"/>
                  <a:pt x="2258" y="346"/>
                  <a:pt x="2258" y="346"/>
                </a:cubicBezTo>
                <a:cubicBezTo>
                  <a:pt x="2259" y="347"/>
                  <a:pt x="2259" y="347"/>
                  <a:pt x="2259" y="347"/>
                </a:cubicBezTo>
                <a:cubicBezTo>
                  <a:pt x="2260" y="348"/>
                  <a:pt x="2260" y="348"/>
                  <a:pt x="2260" y="348"/>
                </a:cubicBezTo>
                <a:cubicBezTo>
                  <a:pt x="2259" y="348"/>
                  <a:pt x="2259" y="348"/>
                  <a:pt x="2259" y="348"/>
                </a:cubicBezTo>
                <a:cubicBezTo>
                  <a:pt x="2258" y="347"/>
                  <a:pt x="2258" y="347"/>
                  <a:pt x="2258" y="347"/>
                </a:cubicBezTo>
                <a:cubicBezTo>
                  <a:pt x="2257" y="348"/>
                  <a:pt x="2257" y="348"/>
                  <a:pt x="2257" y="348"/>
                </a:cubicBezTo>
                <a:cubicBezTo>
                  <a:pt x="2256" y="349"/>
                  <a:pt x="2256" y="349"/>
                  <a:pt x="2256" y="349"/>
                </a:cubicBezTo>
                <a:cubicBezTo>
                  <a:pt x="2255" y="349"/>
                  <a:pt x="2255" y="349"/>
                  <a:pt x="2255" y="349"/>
                </a:cubicBezTo>
                <a:cubicBezTo>
                  <a:pt x="2253" y="351"/>
                  <a:pt x="2253" y="351"/>
                  <a:pt x="2253" y="351"/>
                </a:cubicBezTo>
                <a:cubicBezTo>
                  <a:pt x="2252" y="350"/>
                  <a:pt x="2252" y="350"/>
                  <a:pt x="2252" y="350"/>
                </a:cubicBezTo>
                <a:cubicBezTo>
                  <a:pt x="2251" y="351"/>
                  <a:pt x="2251" y="351"/>
                  <a:pt x="2251" y="351"/>
                </a:cubicBezTo>
                <a:cubicBezTo>
                  <a:pt x="2252" y="352"/>
                  <a:pt x="2252" y="352"/>
                  <a:pt x="2252" y="352"/>
                </a:cubicBezTo>
                <a:cubicBezTo>
                  <a:pt x="2254" y="352"/>
                  <a:pt x="2254" y="352"/>
                  <a:pt x="2254" y="352"/>
                </a:cubicBezTo>
                <a:cubicBezTo>
                  <a:pt x="2253" y="353"/>
                  <a:pt x="2253" y="353"/>
                  <a:pt x="2253" y="353"/>
                </a:cubicBezTo>
                <a:cubicBezTo>
                  <a:pt x="2253" y="354"/>
                  <a:pt x="2253" y="354"/>
                  <a:pt x="2253" y="354"/>
                </a:cubicBezTo>
                <a:cubicBezTo>
                  <a:pt x="2254" y="355"/>
                  <a:pt x="2254" y="355"/>
                  <a:pt x="2254" y="355"/>
                </a:cubicBezTo>
                <a:cubicBezTo>
                  <a:pt x="2254" y="356"/>
                  <a:pt x="2254" y="356"/>
                  <a:pt x="2254" y="356"/>
                </a:cubicBezTo>
                <a:cubicBezTo>
                  <a:pt x="2253" y="355"/>
                  <a:pt x="2253" y="355"/>
                  <a:pt x="2253" y="355"/>
                </a:cubicBezTo>
                <a:cubicBezTo>
                  <a:pt x="2254" y="357"/>
                  <a:pt x="2254" y="357"/>
                  <a:pt x="2254" y="357"/>
                </a:cubicBezTo>
                <a:cubicBezTo>
                  <a:pt x="2253" y="358"/>
                  <a:pt x="2253" y="358"/>
                  <a:pt x="2253" y="358"/>
                </a:cubicBezTo>
                <a:cubicBezTo>
                  <a:pt x="2254" y="358"/>
                  <a:pt x="2254" y="358"/>
                  <a:pt x="2254" y="358"/>
                </a:cubicBezTo>
                <a:cubicBezTo>
                  <a:pt x="2255" y="358"/>
                  <a:pt x="2255" y="358"/>
                  <a:pt x="2255" y="358"/>
                </a:cubicBezTo>
                <a:cubicBezTo>
                  <a:pt x="2256" y="359"/>
                  <a:pt x="2256" y="359"/>
                  <a:pt x="2256" y="359"/>
                </a:cubicBezTo>
                <a:cubicBezTo>
                  <a:pt x="2255" y="360"/>
                  <a:pt x="2255" y="360"/>
                  <a:pt x="2255" y="360"/>
                </a:cubicBezTo>
                <a:cubicBezTo>
                  <a:pt x="2255" y="362"/>
                  <a:pt x="2255" y="362"/>
                  <a:pt x="2255" y="362"/>
                </a:cubicBezTo>
                <a:cubicBezTo>
                  <a:pt x="2256" y="363"/>
                  <a:pt x="2256" y="363"/>
                  <a:pt x="2256" y="363"/>
                </a:cubicBezTo>
                <a:cubicBezTo>
                  <a:pt x="2255" y="366"/>
                  <a:pt x="2255" y="366"/>
                  <a:pt x="2255" y="366"/>
                </a:cubicBezTo>
                <a:cubicBezTo>
                  <a:pt x="2255" y="367"/>
                  <a:pt x="2255" y="367"/>
                  <a:pt x="2255" y="367"/>
                </a:cubicBezTo>
                <a:cubicBezTo>
                  <a:pt x="2255" y="368"/>
                  <a:pt x="2255" y="368"/>
                  <a:pt x="2255" y="368"/>
                </a:cubicBezTo>
                <a:cubicBezTo>
                  <a:pt x="2253" y="370"/>
                  <a:pt x="2253" y="370"/>
                  <a:pt x="2253" y="370"/>
                </a:cubicBezTo>
                <a:cubicBezTo>
                  <a:pt x="2253" y="371"/>
                  <a:pt x="2253" y="371"/>
                  <a:pt x="2253" y="371"/>
                </a:cubicBezTo>
                <a:cubicBezTo>
                  <a:pt x="2252" y="374"/>
                  <a:pt x="2252" y="374"/>
                  <a:pt x="2252" y="374"/>
                </a:cubicBezTo>
                <a:cubicBezTo>
                  <a:pt x="2251" y="377"/>
                  <a:pt x="2251" y="377"/>
                  <a:pt x="2251" y="377"/>
                </a:cubicBezTo>
                <a:cubicBezTo>
                  <a:pt x="2251" y="376"/>
                  <a:pt x="2251" y="376"/>
                  <a:pt x="2251" y="376"/>
                </a:cubicBezTo>
                <a:cubicBezTo>
                  <a:pt x="2250" y="375"/>
                  <a:pt x="2250" y="375"/>
                  <a:pt x="2250" y="375"/>
                </a:cubicBezTo>
                <a:cubicBezTo>
                  <a:pt x="2251" y="373"/>
                  <a:pt x="2251" y="373"/>
                  <a:pt x="2251" y="373"/>
                </a:cubicBezTo>
                <a:cubicBezTo>
                  <a:pt x="2250" y="373"/>
                  <a:pt x="2250" y="373"/>
                  <a:pt x="2250" y="373"/>
                </a:cubicBezTo>
                <a:cubicBezTo>
                  <a:pt x="2248" y="372"/>
                  <a:pt x="2248" y="372"/>
                  <a:pt x="2248" y="372"/>
                </a:cubicBezTo>
                <a:cubicBezTo>
                  <a:pt x="2246" y="370"/>
                  <a:pt x="2246" y="370"/>
                  <a:pt x="2246" y="370"/>
                </a:cubicBezTo>
                <a:cubicBezTo>
                  <a:pt x="2246" y="368"/>
                  <a:pt x="2246" y="368"/>
                  <a:pt x="2246" y="368"/>
                </a:cubicBezTo>
                <a:cubicBezTo>
                  <a:pt x="2244" y="363"/>
                  <a:pt x="2244" y="363"/>
                  <a:pt x="2244" y="363"/>
                </a:cubicBezTo>
                <a:cubicBezTo>
                  <a:pt x="2242" y="360"/>
                  <a:pt x="2242" y="360"/>
                  <a:pt x="2242" y="360"/>
                </a:cubicBezTo>
                <a:cubicBezTo>
                  <a:pt x="2243" y="360"/>
                  <a:pt x="2243" y="360"/>
                  <a:pt x="2243" y="360"/>
                </a:cubicBezTo>
                <a:cubicBezTo>
                  <a:pt x="2244" y="360"/>
                  <a:pt x="2244" y="360"/>
                  <a:pt x="2244" y="360"/>
                </a:cubicBezTo>
                <a:cubicBezTo>
                  <a:pt x="2244" y="359"/>
                  <a:pt x="2244" y="359"/>
                  <a:pt x="2244" y="359"/>
                </a:cubicBezTo>
                <a:cubicBezTo>
                  <a:pt x="2243" y="359"/>
                  <a:pt x="2243" y="359"/>
                  <a:pt x="2243" y="359"/>
                </a:cubicBezTo>
                <a:cubicBezTo>
                  <a:pt x="2242" y="359"/>
                  <a:pt x="2242" y="359"/>
                  <a:pt x="2242" y="359"/>
                </a:cubicBezTo>
                <a:cubicBezTo>
                  <a:pt x="2240" y="358"/>
                  <a:pt x="2240" y="358"/>
                  <a:pt x="2240" y="358"/>
                </a:cubicBezTo>
                <a:cubicBezTo>
                  <a:pt x="2235" y="349"/>
                  <a:pt x="2235" y="349"/>
                  <a:pt x="2235" y="349"/>
                </a:cubicBezTo>
                <a:cubicBezTo>
                  <a:pt x="2230" y="344"/>
                  <a:pt x="2230" y="344"/>
                  <a:pt x="2230" y="344"/>
                </a:cubicBezTo>
                <a:cubicBezTo>
                  <a:pt x="2230" y="342"/>
                  <a:pt x="2230" y="342"/>
                  <a:pt x="2230" y="342"/>
                </a:cubicBezTo>
                <a:cubicBezTo>
                  <a:pt x="2229" y="340"/>
                  <a:pt x="2229" y="340"/>
                  <a:pt x="2229" y="340"/>
                </a:cubicBezTo>
                <a:cubicBezTo>
                  <a:pt x="2225" y="335"/>
                  <a:pt x="2225" y="335"/>
                  <a:pt x="2225" y="335"/>
                </a:cubicBezTo>
                <a:cubicBezTo>
                  <a:pt x="2222" y="328"/>
                  <a:pt x="2222" y="328"/>
                  <a:pt x="2222" y="328"/>
                </a:cubicBezTo>
                <a:cubicBezTo>
                  <a:pt x="2219" y="322"/>
                  <a:pt x="2219" y="322"/>
                  <a:pt x="2219" y="322"/>
                </a:cubicBezTo>
                <a:cubicBezTo>
                  <a:pt x="2219" y="320"/>
                  <a:pt x="2219" y="320"/>
                  <a:pt x="2219" y="320"/>
                </a:cubicBezTo>
                <a:cubicBezTo>
                  <a:pt x="2217" y="317"/>
                  <a:pt x="2217" y="317"/>
                  <a:pt x="2217" y="317"/>
                </a:cubicBezTo>
                <a:cubicBezTo>
                  <a:pt x="2217" y="313"/>
                  <a:pt x="2217" y="313"/>
                  <a:pt x="2217" y="313"/>
                </a:cubicBezTo>
                <a:cubicBezTo>
                  <a:pt x="2216" y="310"/>
                  <a:pt x="2216" y="310"/>
                  <a:pt x="2216" y="310"/>
                </a:cubicBezTo>
                <a:cubicBezTo>
                  <a:pt x="2216" y="308"/>
                  <a:pt x="2216" y="308"/>
                  <a:pt x="2216" y="308"/>
                </a:cubicBezTo>
                <a:cubicBezTo>
                  <a:pt x="2217" y="306"/>
                  <a:pt x="2217" y="306"/>
                  <a:pt x="2217" y="306"/>
                </a:cubicBezTo>
                <a:cubicBezTo>
                  <a:pt x="2218" y="304"/>
                  <a:pt x="2218" y="304"/>
                  <a:pt x="2218" y="304"/>
                </a:cubicBezTo>
                <a:cubicBezTo>
                  <a:pt x="2219" y="304"/>
                  <a:pt x="2219" y="304"/>
                  <a:pt x="2219" y="304"/>
                </a:cubicBezTo>
                <a:cubicBezTo>
                  <a:pt x="2218" y="303"/>
                  <a:pt x="2218" y="303"/>
                  <a:pt x="2218" y="303"/>
                </a:cubicBezTo>
                <a:cubicBezTo>
                  <a:pt x="2219" y="302"/>
                  <a:pt x="2219" y="302"/>
                  <a:pt x="2219" y="302"/>
                </a:cubicBezTo>
                <a:cubicBezTo>
                  <a:pt x="2219" y="299"/>
                  <a:pt x="2219" y="299"/>
                  <a:pt x="2219" y="299"/>
                </a:cubicBezTo>
                <a:cubicBezTo>
                  <a:pt x="2216" y="296"/>
                  <a:pt x="2216" y="296"/>
                  <a:pt x="2216" y="296"/>
                </a:cubicBezTo>
                <a:cubicBezTo>
                  <a:pt x="2215" y="296"/>
                  <a:pt x="2215" y="296"/>
                  <a:pt x="2215" y="296"/>
                </a:cubicBezTo>
                <a:cubicBezTo>
                  <a:pt x="2215" y="295"/>
                  <a:pt x="2215" y="295"/>
                  <a:pt x="2215" y="295"/>
                </a:cubicBezTo>
                <a:cubicBezTo>
                  <a:pt x="2216" y="294"/>
                  <a:pt x="2216" y="294"/>
                  <a:pt x="2216" y="294"/>
                </a:cubicBezTo>
                <a:cubicBezTo>
                  <a:pt x="2218" y="295"/>
                  <a:pt x="2218" y="295"/>
                  <a:pt x="2218" y="295"/>
                </a:cubicBezTo>
                <a:cubicBezTo>
                  <a:pt x="2220" y="293"/>
                  <a:pt x="2220" y="293"/>
                  <a:pt x="2220" y="293"/>
                </a:cubicBezTo>
                <a:cubicBezTo>
                  <a:pt x="2219" y="292"/>
                  <a:pt x="2219" y="292"/>
                  <a:pt x="2219" y="292"/>
                </a:cubicBezTo>
                <a:cubicBezTo>
                  <a:pt x="2219" y="290"/>
                  <a:pt x="2219" y="290"/>
                  <a:pt x="2219" y="290"/>
                </a:cubicBezTo>
                <a:cubicBezTo>
                  <a:pt x="2221" y="290"/>
                  <a:pt x="2221" y="290"/>
                  <a:pt x="2221" y="290"/>
                </a:cubicBezTo>
                <a:cubicBezTo>
                  <a:pt x="2223" y="290"/>
                  <a:pt x="2223" y="290"/>
                  <a:pt x="2223" y="290"/>
                </a:cubicBezTo>
                <a:cubicBezTo>
                  <a:pt x="2222" y="288"/>
                  <a:pt x="2222" y="288"/>
                  <a:pt x="2222" y="288"/>
                </a:cubicBezTo>
                <a:cubicBezTo>
                  <a:pt x="2224" y="285"/>
                  <a:pt x="2224" y="285"/>
                  <a:pt x="2224" y="285"/>
                </a:cubicBezTo>
                <a:cubicBezTo>
                  <a:pt x="2223" y="282"/>
                  <a:pt x="2223" y="282"/>
                  <a:pt x="2223" y="282"/>
                </a:cubicBezTo>
                <a:cubicBezTo>
                  <a:pt x="2223" y="280"/>
                  <a:pt x="2223" y="280"/>
                  <a:pt x="2223" y="280"/>
                </a:cubicBezTo>
                <a:cubicBezTo>
                  <a:pt x="2222" y="278"/>
                  <a:pt x="2222" y="278"/>
                  <a:pt x="2222" y="278"/>
                </a:cubicBezTo>
                <a:cubicBezTo>
                  <a:pt x="2223" y="277"/>
                  <a:pt x="2223" y="277"/>
                  <a:pt x="2223" y="277"/>
                </a:cubicBezTo>
                <a:cubicBezTo>
                  <a:pt x="2223" y="276"/>
                  <a:pt x="2223" y="276"/>
                  <a:pt x="2223" y="276"/>
                </a:cubicBezTo>
                <a:cubicBezTo>
                  <a:pt x="2223" y="275"/>
                  <a:pt x="2223" y="275"/>
                  <a:pt x="2223" y="275"/>
                </a:cubicBezTo>
                <a:cubicBezTo>
                  <a:pt x="2223" y="273"/>
                  <a:pt x="2223" y="273"/>
                  <a:pt x="2223" y="273"/>
                </a:cubicBezTo>
                <a:cubicBezTo>
                  <a:pt x="2224" y="273"/>
                  <a:pt x="2224" y="273"/>
                  <a:pt x="2224" y="273"/>
                </a:cubicBezTo>
                <a:cubicBezTo>
                  <a:pt x="2223" y="272"/>
                  <a:pt x="2223" y="272"/>
                  <a:pt x="2223" y="272"/>
                </a:cubicBezTo>
                <a:cubicBezTo>
                  <a:pt x="2223" y="271"/>
                  <a:pt x="2223" y="271"/>
                  <a:pt x="2223" y="271"/>
                </a:cubicBezTo>
                <a:cubicBezTo>
                  <a:pt x="2223" y="270"/>
                  <a:pt x="2223" y="270"/>
                  <a:pt x="2223" y="270"/>
                </a:cubicBezTo>
                <a:cubicBezTo>
                  <a:pt x="2223" y="268"/>
                  <a:pt x="2223" y="268"/>
                  <a:pt x="2223" y="268"/>
                </a:cubicBezTo>
                <a:cubicBezTo>
                  <a:pt x="2223" y="267"/>
                  <a:pt x="2223" y="267"/>
                  <a:pt x="2223" y="267"/>
                </a:cubicBezTo>
                <a:cubicBezTo>
                  <a:pt x="2223" y="266"/>
                  <a:pt x="2223" y="266"/>
                  <a:pt x="2223" y="266"/>
                </a:cubicBezTo>
                <a:cubicBezTo>
                  <a:pt x="2224" y="266"/>
                  <a:pt x="2224" y="266"/>
                  <a:pt x="2224" y="266"/>
                </a:cubicBezTo>
                <a:cubicBezTo>
                  <a:pt x="2225" y="265"/>
                  <a:pt x="2225" y="265"/>
                  <a:pt x="2225" y="265"/>
                </a:cubicBezTo>
                <a:cubicBezTo>
                  <a:pt x="2225" y="263"/>
                  <a:pt x="2225" y="263"/>
                  <a:pt x="2225" y="263"/>
                </a:cubicBezTo>
                <a:cubicBezTo>
                  <a:pt x="2225" y="260"/>
                  <a:pt x="2225" y="260"/>
                  <a:pt x="2225" y="260"/>
                </a:cubicBezTo>
                <a:cubicBezTo>
                  <a:pt x="2224" y="260"/>
                  <a:pt x="2224" y="260"/>
                  <a:pt x="2224" y="260"/>
                </a:cubicBezTo>
                <a:cubicBezTo>
                  <a:pt x="2224" y="259"/>
                  <a:pt x="2224" y="259"/>
                  <a:pt x="2224" y="259"/>
                </a:cubicBezTo>
                <a:cubicBezTo>
                  <a:pt x="2225" y="257"/>
                  <a:pt x="2225" y="257"/>
                  <a:pt x="2225" y="257"/>
                </a:cubicBezTo>
                <a:cubicBezTo>
                  <a:pt x="2225" y="255"/>
                  <a:pt x="2225" y="255"/>
                  <a:pt x="2225" y="255"/>
                </a:cubicBezTo>
                <a:cubicBezTo>
                  <a:pt x="2224" y="255"/>
                  <a:pt x="2224" y="255"/>
                  <a:pt x="2224" y="255"/>
                </a:cubicBezTo>
                <a:cubicBezTo>
                  <a:pt x="2224" y="254"/>
                  <a:pt x="2224" y="254"/>
                  <a:pt x="2224" y="254"/>
                </a:cubicBezTo>
                <a:cubicBezTo>
                  <a:pt x="2225" y="253"/>
                  <a:pt x="2225" y="253"/>
                  <a:pt x="2225" y="253"/>
                </a:cubicBezTo>
                <a:cubicBezTo>
                  <a:pt x="2225" y="252"/>
                  <a:pt x="2225" y="252"/>
                  <a:pt x="2225" y="252"/>
                </a:cubicBezTo>
                <a:cubicBezTo>
                  <a:pt x="2226" y="251"/>
                  <a:pt x="2226" y="251"/>
                  <a:pt x="2226" y="251"/>
                </a:cubicBezTo>
                <a:cubicBezTo>
                  <a:pt x="2227" y="250"/>
                  <a:pt x="2227" y="250"/>
                  <a:pt x="2227" y="250"/>
                </a:cubicBezTo>
                <a:cubicBezTo>
                  <a:pt x="2228" y="249"/>
                  <a:pt x="2228" y="249"/>
                  <a:pt x="2228" y="249"/>
                </a:cubicBezTo>
                <a:cubicBezTo>
                  <a:pt x="2229" y="247"/>
                  <a:pt x="2229" y="247"/>
                  <a:pt x="2229" y="247"/>
                </a:cubicBezTo>
                <a:cubicBezTo>
                  <a:pt x="2231" y="246"/>
                  <a:pt x="2231" y="246"/>
                  <a:pt x="2231" y="246"/>
                </a:cubicBezTo>
                <a:cubicBezTo>
                  <a:pt x="2232" y="245"/>
                  <a:pt x="2232" y="245"/>
                  <a:pt x="2232" y="245"/>
                </a:cubicBezTo>
                <a:cubicBezTo>
                  <a:pt x="2231" y="245"/>
                  <a:pt x="2231" y="245"/>
                  <a:pt x="2231" y="245"/>
                </a:cubicBezTo>
                <a:cubicBezTo>
                  <a:pt x="2230" y="245"/>
                  <a:pt x="2230" y="245"/>
                  <a:pt x="2230" y="245"/>
                </a:cubicBezTo>
                <a:cubicBezTo>
                  <a:pt x="2229" y="245"/>
                  <a:pt x="2229" y="245"/>
                  <a:pt x="2229" y="245"/>
                </a:cubicBezTo>
                <a:cubicBezTo>
                  <a:pt x="2228" y="245"/>
                  <a:pt x="2228" y="245"/>
                  <a:pt x="2228" y="245"/>
                </a:cubicBezTo>
                <a:cubicBezTo>
                  <a:pt x="2228" y="242"/>
                  <a:pt x="2228" y="242"/>
                  <a:pt x="2228" y="242"/>
                </a:cubicBezTo>
                <a:cubicBezTo>
                  <a:pt x="2229" y="240"/>
                  <a:pt x="2229" y="240"/>
                  <a:pt x="2229" y="240"/>
                </a:cubicBezTo>
                <a:cubicBezTo>
                  <a:pt x="2229" y="239"/>
                  <a:pt x="2229" y="239"/>
                  <a:pt x="2229" y="239"/>
                </a:cubicBezTo>
                <a:cubicBezTo>
                  <a:pt x="2228" y="238"/>
                  <a:pt x="2228" y="238"/>
                  <a:pt x="2228" y="238"/>
                </a:cubicBezTo>
                <a:cubicBezTo>
                  <a:pt x="2227" y="239"/>
                  <a:pt x="2227" y="239"/>
                  <a:pt x="2227" y="239"/>
                </a:cubicBezTo>
                <a:cubicBezTo>
                  <a:pt x="2226" y="236"/>
                  <a:pt x="2226" y="236"/>
                  <a:pt x="2226" y="236"/>
                </a:cubicBezTo>
                <a:cubicBezTo>
                  <a:pt x="2227" y="235"/>
                  <a:pt x="2227" y="235"/>
                  <a:pt x="2227" y="235"/>
                </a:cubicBezTo>
                <a:cubicBezTo>
                  <a:pt x="2227" y="234"/>
                  <a:pt x="2227" y="234"/>
                  <a:pt x="2227" y="234"/>
                </a:cubicBezTo>
                <a:cubicBezTo>
                  <a:pt x="2227" y="233"/>
                  <a:pt x="2227" y="233"/>
                  <a:pt x="2227" y="233"/>
                </a:cubicBezTo>
                <a:cubicBezTo>
                  <a:pt x="2225" y="232"/>
                  <a:pt x="2225" y="232"/>
                  <a:pt x="2225" y="232"/>
                </a:cubicBezTo>
                <a:cubicBezTo>
                  <a:pt x="2225" y="231"/>
                  <a:pt x="2225" y="231"/>
                  <a:pt x="2225" y="231"/>
                </a:cubicBezTo>
                <a:cubicBezTo>
                  <a:pt x="2224" y="229"/>
                  <a:pt x="2224" y="229"/>
                  <a:pt x="2224" y="229"/>
                </a:cubicBezTo>
                <a:cubicBezTo>
                  <a:pt x="2223" y="228"/>
                  <a:pt x="2223" y="228"/>
                  <a:pt x="2223" y="228"/>
                </a:cubicBezTo>
                <a:cubicBezTo>
                  <a:pt x="2223" y="227"/>
                  <a:pt x="2223" y="227"/>
                  <a:pt x="2223" y="227"/>
                </a:cubicBezTo>
                <a:cubicBezTo>
                  <a:pt x="2222" y="225"/>
                  <a:pt x="2222" y="225"/>
                  <a:pt x="2222" y="225"/>
                </a:cubicBezTo>
                <a:cubicBezTo>
                  <a:pt x="2222" y="224"/>
                  <a:pt x="2222" y="224"/>
                  <a:pt x="2222" y="224"/>
                </a:cubicBezTo>
                <a:cubicBezTo>
                  <a:pt x="2224" y="222"/>
                  <a:pt x="2224" y="222"/>
                  <a:pt x="2224" y="222"/>
                </a:cubicBezTo>
                <a:cubicBezTo>
                  <a:pt x="2225" y="223"/>
                  <a:pt x="2225" y="223"/>
                  <a:pt x="2225" y="223"/>
                </a:cubicBezTo>
                <a:cubicBezTo>
                  <a:pt x="2227" y="222"/>
                  <a:pt x="2227" y="222"/>
                  <a:pt x="2227" y="222"/>
                </a:cubicBezTo>
                <a:cubicBezTo>
                  <a:pt x="2226" y="222"/>
                  <a:pt x="2226" y="222"/>
                  <a:pt x="2226" y="222"/>
                </a:cubicBezTo>
                <a:cubicBezTo>
                  <a:pt x="2228" y="221"/>
                  <a:pt x="2228" y="221"/>
                  <a:pt x="2228" y="221"/>
                </a:cubicBezTo>
                <a:cubicBezTo>
                  <a:pt x="2227" y="221"/>
                  <a:pt x="2227" y="221"/>
                  <a:pt x="2227" y="221"/>
                </a:cubicBezTo>
                <a:cubicBezTo>
                  <a:pt x="2226" y="221"/>
                  <a:pt x="2226" y="221"/>
                  <a:pt x="2226" y="221"/>
                </a:cubicBezTo>
                <a:cubicBezTo>
                  <a:pt x="2225" y="220"/>
                  <a:pt x="2225" y="220"/>
                  <a:pt x="2225" y="220"/>
                </a:cubicBezTo>
                <a:cubicBezTo>
                  <a:pt x="2223" y="220"/>
                  <a:pt x="2223" y="220"/>
                  <a:pt x="2223" y="220"/>
                </a:cubicBezTo>
                <a:cubicBezTo>
                  <a:pt x="2221" y="219"/>
                  <a:pt x="2221" y="219"/>
                  <a:pt x="2221" y="219"/>
                </a:cubicBezTo>
                <a:cubicBezTo>
                  <a:pt x="2219" y="219"/>
                  <a:pt x="2219" y="219"/>
                  <a:pt x="2219" y="219"/>
                </a:cubicBezTo>
                <a:cubicBezTo>
                  <a:pt x="2218" y="221"/>
                  <a:pt x="2218" y="221"/>
                  <a:pt x="2218" y="221"/>
                </a:cubicBezTo>
                <a:cubicBezTo>
                  <a:pt x="2217" y="221"/>
                  <a:pt x="2217" y="221"/>
                  <a:pt x="2217" y="221"/>
                </a:cubicBezTo>
                <a:cubicBezTo>
                  <a:pt x="2215" y="222"/>
                  <a:pt x="2215" y="222"/>
                  <a:pt x="2215" y="222"/>
                </a:cubicBezTo>
                <a:cubicBezTo>
                  <a:pt x="2216" y="223"/>
                  <a:pt x="2216" y="223"/>
                  <a:pt x="2216" y="223"/>
                </a:cubicBezTo>
                <a:cubicBezTo>
                  <a:pt x="2215" y="224"/>
                  <a:pt x="2215" y="224"/>
                  <a:pt x="2215" y="224"/>
                </a:cubicBezTo>
                <a:cubicBezTo>
                  <a:pt x="2217" y="225"/>
                  <a:pt x="2217" y="225"/>
                  <a:pt x="2217" y="225"/>
                </a:cubicBezTo>
                <a:cubicBezTo>
                  <a:pt x="2217" y="226"/>
                  <a:pt x="2217" y="226"/>
                  <a:pt x="2217" y="226"/>
                </a:cubicBezTo>
                <a:cubicBezTo>
                  <a:pt x="2217" y="227"/>
                  <a:pt x="2217" y="227"/>
                  <a:pt x="2217" y="227"/>
                </a:cubicBezTo>
                <a:cubicBezTo>
                  <a:pt x="2217" y="229"/>
                  <a:pt x="2217" y="229"/>
                  <a:pt x="2217" y="229"/>
                </a:cubicBezTo>
                <a:cubicBezTo>
                  <a:pt x="2218" y="230"/>
                  <a:pt x="2218" y="230"/>
                  <a:pt x="2218" y="230"/>
                </a:cubicBezTo>
                <a:cubicBezTo>
                  <a:pt x="2219" y="231"/>
                  <a:pt x="2219" y="231"/>
                  <a:pt x="2219" y="231"/>
                </a:cubicBezTo>
                <a:cubicBezTo>
                  <a:pt x="2220" y="233"/>
                  <a:pt x="2220" y="233"/>
                  <a:pt x="2220" y="233"/>
                </a:cubicBezTo>
                <a:cubicBezTo>
                  <a:pt x="2222" y="234"/>
                  <a:pt x="2222" y="234"/>
                  <a:pt x="2222" y="234"/>
                </a:cubicBezTo>
                <a:cubicBezTo>
                  <a:pt x="2221" y="236"/>
                  <a:pt x="2221" y="236"/>
                  <a:pt x="2221" y="236"/>
                </a:cubicBezTo>
                <a:cubicBezTo>
                  <a:pt x="2220" y="235"/>
                  <a:pt x="2220" y="235"/>
                  <a:pt x="2220" y="235"/>
                </a:cubicBezTo>
                <a:cubicBezTo>
                  <a:pt x="2219" y="236"/>
                  <a:pt x="2219" y="236"/>
                  <a:pt x="2219" y="236"/>
                </a:cubicBezTo>
                <a:cubicBezTo>
                  <a:pt x="2218" y="237"/>
                  <a:pt x="2218" y="237"/>
                  <a:pt x="2218" y="237"/>
                </a:cubicBezTo>
                <a:cubicBezTo>
                  <a:pt x="2217" y="238"/>
                  <a:pt x="2217" y="238"/>
                  <a:pt x="2217" y="238"/>
                </a:cubicBezTo>
                <a:cubicBezTo>
                  <a:pt x="2218" y="239"/>
                  <a:pt x="2218" y="239"/>
                  <a:pt x="2218" y="239"/>
                </a:cubicBezTo>
                <a:cubicBezTo>
                  <a:pt x="2217" y="241"/>
                  <a:pt x="2217" y="241"/>
                  <a:pt x="2217" y="241"/>
                </a:cubicBezTo>
                <a:cubicBezTo>
                  <a:pt x="2217" y="242"/>
                  <a:pt x="2217" y="242"/>
                  <a:pt x="2217" y="242"/>
                </a:cubicBezTo>
                <a:cubicBezTo>
                  <a:pt x="2217" y="243"/>
                  <a:pt x="2217" y="243"/>
                  <a:pt x="2217" y="243"/>
                </a:cubicBezTo>
                <a:cubicBezTo>
                  <a:pt x="2216" y="244"/>
                  <a:pt x="2216" y="244"/>
                  <a:pt x="2216" y="244"/>
                </a:cubicBezTo>
                <a:cubicBezTo>
                  <a:pt x="2217" y="245"/>
                  <a:pt x="2217" y="245"/>
                  <a:pt x="2217" y="245"/>
                </a:cubicBezTo>
                <a:cubicBezTo>
                  <a:pt x="2216" y="246"/>
                  <a:pt x="2216" y="246"/>
                  <a:pt x="2216" y="246"/>
                </a:cubicBezTo>
                <a:cubicBezTo>
                  <a:pt x="2216" y="249"/>
                  <a:pt x="2216" y="249"/>
                  <a:pt x="2216" y="249"/>
                </a:cubicBezTo>
                <a:cubicBezTo>
                  <a:pt x="2216" y="250"/>
                  <a:pt x="2216" y="250"/>
                  <a:pt x="2216" y="250"/>
                </a:cubicBezTo>
                <a:cubicBezTo>
                  <a:pt x="2216" y="251"/>
                  <a:pt x="2216" y="251"/>
                  <a:pt x="2216" y="251"/>
                </a:cubicBezTo>
                <a:cubicBezTo>
                  <a:pt x="2215" y="251"/>
                  <a:pt x="2215" y="251"/>
                  <a:pt x="2215" y="251"/>
                </a:cubicBezTo>
                <a:cubicBezTo>
                  <a:pt x="2214" y="253"/>
                  <a:pt x="2214" y="253"/>
                  <a:pt x="2214" y="253"/>
                </a:cubicBezTo>
                <a:cubicBezTo>
                  <a:pt x="2214" y="252"/>
                  <a:pt x="2214" y="252"/>
                  <a:pt x="2214" y="252"/>
                </a:cubicBezTo>
                <a:cubicBezTo>
                  <a:pt x="2213" y="251"/>
                  <a:pt x="2213" y="251"/>
                  <a:pt x="2213" y="251"/>
                </a:cubicBezTo>
                <a:cubicBezTo>
                  <a:pt x="2214" y="249"/>
                  <a:pt x="2214" y="249"/>
                  <a:pt x="2214" y="249"/>
                </a:cubicBezTo>
                <a:cubicBezTo>
                  <a:pt x="2213" y="248"/>
                  <a:pt x="2213" y="248"/>
                  <a:pt x="2213" y="248"/>
                </a:cubicBezTo>
                <a:cubicBezTo>
                  <a:pt x="2212" y="248"/>
                  <a:pt x="2212" y="248"/>
                  <a:pt x="2212" y="248"/>
                </a:cubicBezTo>
                <a:cubicBezTo>
                  <a:pt x="2211" y="249"/>
                  <a:pt x="2211" y="249"/>
                  <a:pt x="2211" y="249"/>
                </a:cubicBezTo>
                <a:cubicBezTo>
                  <a:pt x="2211" y="250"/>
                  <a:pt x="2211" y="250"/>
                  <a:pt x="2211" y="250"/>
                </a:cubicBezTo>
                <a:cubicBezTo>
                  <a:pt x="2210" y="250"/>
                  <a:pt x="2210" y="250"/>
                  <a:pt x="2210" y="250"/>
                </a:cubicBezTo>
                <a:cubicBezTo>
                  <a:pt x="2210" y="248"/>
                  <a:pt x="2210" y="248"/>
                  <a:pt x="2210" y="248"/>
                </a:cubicBezTo>
                <a:cubicBezTo>
                  <a:pt x="2209" y="248"/>
                  <a:pt x="2209" y="248"/>
                  <a:pt x="2209" y="248"/>
                </a:cubicBezTo>
                <a:cubicBezTo>
                  <a:pt x="2209" y="247"/>
                  <a:pt x="2209" y="247"/>
                  <a:pt x="2209" y="247"/>
                </a:cubicBezTo>
                <a:cubicBezTo>
                  <a:pt x="2207" y="248"/>
                  <a:pt x="2207" y="248"/>
                  <a:pt x="2207" y="248"/>
                </a:cubicBezTo>
                <a:cubicBezTo>
                  <a:pt x="2207" y="247"/>
                  <a:pt x="2207" y="247"/>
                  <a:pt x="2207" y="247"/>
                </a:cubicBezTo>
                <a:cubicBezTo>
                  <a:pt x="2208" y="246"/>
                  <a:pt x="2208" y="246"/>
                  <a:pt x="2208" y="246"/>
                </a:cubicBezTo>
                <a:cubicBezTo>
                  <a:pt x="2208" y="245"/>
                  <a:pt x="2208" y="245"/>
                  <a:pt x="2208" y="245"/>
                </a:cubicBezTo>
                <a:cubicBezTo>
                  <a:pt x="2208" y="243"/>
                  <a:pt x="2208" y="243"/>
                  <a:pt x="2208" y="243"/>
                </a:cubicBezTo>
                <a:cubicBezTo>
                  <a:pt x="2207" y="243"/>
                  <a:pt x="2207" y="243"/>
                  <a:pt x="2207" y="243"/>
                </a:cubicBezTo>
                <a:cubicBezTo>
                  <a:pt x="2208" y="242"/>
                  <a:pt x="2208" y="242"/>
                  <a:pt x="2208" y="242"/>
                </a:cubicBezTo>
                <a:cubicBezTo>
                  <a:pt x="2207" y="241"/>
                  <a:pt x="2207" y="241"/>
                  <a:pt x="2207" y="241"/>
                </a:cubicBezTo>
                <a:cubicBezTo>
                  <a:pt x="2207" y="240"/>
                  <a:pt x="2207" y="240"/>
                  <a:pt x="2207" y="240"/>
                </a:cubicBezTo>
                <a:cubicBezTo>
                  <a:pt x="2207" y="238"/>
                  <a:pt x="2207" y="238"/>
                  <a:pt x="2207" y="238"/>
                </a:cubicBezTo>
                <a:cubicBezTo>
                  <a:pt x="2206" y="237"/>
                  <a:pt x="2206" y="237"/>
                  <a:pt x="2206" y="237"/>
                </a:cubicBezTo>
                <a:cubicBezTo>
                  <a:pt x="2205" y="236"/>
                  <a:pt x="2205" y="236"/>
                  <a:pt x="2205" y="236"/>
                </a:cubicBezTo>
                <a:cubicBezTo>
                  <a:pt x="2205" y="238"/>
                  <a:pt x="2205" y="238"/>
                  <a:pt x="2205" y="238"/>
                </a:cubicBezTo>
                <a:cubicBezTo>
                  <a:pt x="2204" y="238"/>
                  <a:pt x="2204" y="238"/>
                  <a:pt x="2204" y="238"/>
                </a:cubicBezTo>
                <a:cubicBezTo>
                  <a:pt x="2204" y="240"/>
                  <a:pt x="2204" y="240"/>
                  <a:pt x="2204" y="240"/>
                </a:cubicBezTo>
                <a:cubicBezTo>
                  <a:pt x="2203" y="241"/>
                  <a:pt x="2203" y="241"/>
                  <a:pt x="2203" y="241"/>
                </a:cubicBezTo>
                <a:cubicBezTo>
                  <a:pt x="2202" y="241"/>
                  <a:pt x="2202" y="241"/>
                  <a:pt x="2202" y="241"/>
                </a:cubicBezTo>
                <a:cubicBezTo>
                  <a:pt x="2202" y="239"/>
                  <a:pt x="2202" y="239"/>
                  <a:pt x="2202" y="239"/>
                </a:cubicBezTo>
                <a:cubicBezTo>
                  <a:pt x="2201" y="239"/>
                  <a:pt x="2201" y="239"/>
                  <a:pt x="2201" y="239"/>
                </a:cubicBezTo>
                <a:cubicBezTo>
                  <a:pt x="2201" y="240"/>
                  <a:pt x="2201" y="240"/>
                  <a:pt x="2201" y="240"/>
                </a:cubicBezTo>
                <a:cubicBezTo>
                  <a:pt x="2200" y="238"/>
                  <a:pt x="2200" y="238"/>
                  <a:pt x="2200" y="238"/>
                </a:cubicBezTo>
                <a:cubicBezTo>
                  <a:pt x="2199" y="238"/>
                  <a:pt x="2199" y="238"/>
                  <a:pt x="2199" y="238"/>
                </a:cubicBezTo>
                <a:cubicBezTo>
                  <a:pt x="2199" y="239"/>
                  <a:pt x="2199" y="239"/>
                  <a:pt x="2199" y="239"/>
                </a:cubicBezTo>
                <a:cubicBezTo>
                  <a:pt x="2198" y="239"/>
                  <a:pt x="2198" y="239"/>
                  <a:pt x="2198" y="239"/>
                </a:cubicBezTo>
                <a:cubicBezTo>
                  <a:pt x="2198" y="240"/>
                  <a:pt x="2198" y="240"/>
                  <a:pt x="2198" y="240"/>
                </a:cubicBezTo>
                <a:cubicBezTo>
                  <a:pt x="2197" y="240"/>
                  <a:pt x="2197" y="240"/>
                  <a:pt x="2197" y="240"/>
                </a:cubicBezTo>
                <a:cubicBezTo>
                  <a:pt x="2197" y="241"/>
                  <a:pt x="2197" y="241"/>
                  <a:pt x="2197" y="241"/>
                </a:cubicBezTo>
                <a:cubicBezTo>
                  <a:pt x="2194" y="241"/>
                  <a:pt x="2194" y="241"/>
                  <a:pt x="2194" y="241"/>
                </a:cubicBezTo>
                <a:cubicBezTo>
                  <a:pt x="2194" y="242"/>
                  <a:pt x="2194" y="242"/>
                  <a:pt x="2194" y="242"/>
                </a:cubicBezTo>
                <a:cubicBezTo>
                  <a:pt x="2193" y="242"/>
                  <a:pt x="2193" y="242"/>
                  <a:pt x="2193" y="242"/>
                </a:cubicBezTo>
                <a:cubicBezTo>
                  <a:pt x="2192" y="242"/>
                  <a:pt x="2192" y="242"/>
                  <a:pt x="2192" y="242"/>
                </a:cubicBezTo>
                <a:cubicBezTo>
                  <a:pt x="2191" y="242"/>
                  <a:pt x="2191" y="242"/>
                  <a:pt x="2191" y="242"/>
                </a:cubicBezTo>
                <a:cubicBezTo>
                  <a:pt x="2189" y="244"/>
                  <a:pt x="2189" y="244"/>
                  <a:pt x="2189" y="244"/>
                </a:cubicBezTo>
                <a:cubicBezTo>
                  <a:pt x="2188" y="245"/>
                  <a:pt x="2188" y="245"/>
                  <a:pt x="2188" y="245"/>
                </a:cubicBezTo>
                <a:cubicBezTo>
                  <a:pt x="2189" y="246"/>
                  <a:pt x="2189" y="246"/>
                  <a:pt x="2189" y="246"/>
                </a:cubicBezTo>
                <a:cubicBezTo>
                  <a:pt x="2187" y="247"/>
                  <a:pt x="2187" y="247"/>
                  <a:pt x="2187" y="247"/>
                </a:cubicBezTo>
                <a:cubicBezTo>
                  <a:pt x="2187" y="248"/>
                  <a:pt x="2187" y="248"/>
                  <a:pt x="2187" y="248"/>
                </a:cubicBezTo>
                <a:cubicBezTo>
                  <a:pt x="2188" y="248"/>
                  <a:pt x="2188" y="248"/>
                  <a:pt x="2188" y="248"/>
                </a:cubicBezTo>
                <a:cubicBezTo>
                  <a:pt x="2188" y="250"/>
                  <a:pt x="2188" y="250"/>
                  <a:pt x="2188" y="250"/>
                </a:cubicBezTo>
                <a:cubicBezTo>
                  <a:pt x="2190" y="252"/>
                  <a:pt x="2190" y="252"/>
                  <a:pt x="2190" y="252"/>
                </a:cubicBezTo>
                <a:cubicBezTo>
                  <a:pt x="2189" y="253"/>
                  <a:pt x="2189" y="253"/>
                  <a:pt x="2189" y="253"/>
                </a:cubicBezTo>
                <a:cubicBezTo>
                  <a:pt x="2188" y="257"/>
                  <a:pt x="2188" y="257"/>
                  <a:pt x="2188" y="257"/>
                </a:cubicBezTo>
                <a:cubicBezTo>
                  <a:pt x="2190" y="259"/>
                  <a:pt x="2190" y="259"/>
                  <a:pt x="2190" y="259"/>
                </a:cubicBezTo>
                <a:cubicBezTo>
                  <a:pt x="2188" y="259"/>
                  <a:pt x="2188" y="259"/>
                  <a:pt x="2188" y="259"/>
                </a:cubicBezTo>
                <a:cubicBezTo>
                  <a:pt x="2189" y="260"/>
                  <a:pt x="2189" y="260"/>
                  <a:pt x="2189" y="260"/>
                </a:cubicBezTo>
                <a:cubicBezTo>
                  <a:pt x="2189" y="261"/>
                  <a:pt x="2189" y="261"/>
                  <a:pt x="2189" y="261"/>
                </a:cubicBezTo>
                <a:cubicBezTo>
                  <a:pt x="2188" y="262"/>
                  <a:pt x="2188" y="262"/>
                  <a:pt x="2188" y="262"/>
                </a:cubicBezTo>
                <a:cubicBezTo>
                  <a:pt x="2187" y="264"/>
                  <a:pt x="2187" y="264"/>
                  <a:pt x="2187" y="264"/>
                </a:cubicBezTo>
                <a:cubicBezTo>
                  <a:pt x="2186" y="265"/>
                  <a:pt x="2186" y="265"/>
                  <a:pt x="2186" y="265"/>
                </a:cubicBezTo>
                <a:cubicBezTo>
                  <a:pt x="2186" y="267"/>
                  <a:pt x="2186" y="267"/>
                  <a:pt x="2186" y="267"/>
                </a:cubicBezTo>
                <a:cubicBezTo>
                  <a:pt x="2186" y="269"/>
                  <a:pt x="2186" y="269"/>
                  <a:pt x="2186" y="269"/>
                </a:cubicBezTo>
                <a:cubicBezTo>
                  <a:pt x="2187" y="271"/>
                  <a:pt x="2187" y="271"/>
                  <a:pt x="2187" y="271"/>
                </a:cubicBezTo>
                <a:cubicBezTo>
                  <a:pt x="2186" y="271"/>
                  <a:pt x="2186" y="271"/>
                  <a:pt x="2186" y="271"/>
                </a:cubicBezTo>
                <a:cubicBezTo>
                  <a:pt x="2188" y="274"/>
                  <a:pt x="2188" y="274"/>
                  <a:pt x="2188" y="274"/>
                </a:cubicBezTo>
                <a:cubicBezTo>
                  <a:pt x="2187" y="274"/>
                  <a:pt x="2187" y="274"/>
                  <a:pt x="2187" y="274"/>
                </a:cubicBezTo>
                <a:cubicBezTo>
                  <a:pt x="2187" y="275"/>
                  <a:pt x="2187" y="275"/>
                  <a:pt x="2187" y="275"/>
                </a:cubicBezTo>
                <a:cubicBezTo>
                  <a:pt x="2188" y="276"/>
                  <a:pt x="2188" y="276"/>
                  <a:pt x="2188" y="276"/>
                </a:cubicBezTo>
                <a:cubicBezTo>
                  <a:pt x="2188" y="275"/>
                  <a:pt x="2188" y="275"/>
                  <a:pt x="2188" y="275"/>
                </a:cubicBezTo>
                <a:cubicBezTo>
                  <a:pt x="2189" y="275"/>
                  <a:pt x="2189" y="275"/>
                  <a:pt x="2189" y="275"/>
                </a:cubicBezTo>
                <a:cubicBezTo>
                  <a:pt x="2190" y="274"/>
                  <a:pt x="2190" y="274"/>
                  <a:pt x="2190" y="274"/>
                </a:cubicBezTo>
                <a:cubicBezTo>
                  <a:pt x="2191" y="275"/>
                  <a:pt x="2191" y="275"/>
                  <a:pt x="2191" y="275"/>
                </a:cubicBezTo>
                <a:cubicBezTo>
                  <a:pt x="2191" y="274"/>
                  <a:pt x="2191" y="274"/>
                  <a:pt x="2191" y="274"/>
                </a:cubicBezTo>
                <a:cubicBezTo>
                  <a:pt x="2192" y="274"/>
                  <a:pt x="2192" y="274"/>
                  <a:pt x="2192" y="274"/>
                </a:cubicBezTo>
                <a:cubicBezTo>
                  <a:pt x="2192" y="275"/>
                  <a:pt x="2192" y="275"/>
                  <a:pt x="2192" y="275"/>
                </a:cubicBezTo>
                <a:cubicBezTo>
                  <a:pt x="2193" y="275"/>
                  <a:pt x="2193" y="275"/>
                  <a:pt x="2193" y="275"/>
                </a:cubicBezTo>
                <a:cubicBezTo>
                  <a:pt x="2194" y="276"/>
                  <a:pt x="2194" y="276"/>
                  <a:pt x="2194" y="276"/>
                </a:cubicBezTo>
                <a:cubicBezTo>
                  <a:pt x="2193" y="276"/>
                  <a:pt x="2193" y="276"/>
                  <a:pt x="2193" y="276"/>
                </a:cubicBezTo>
                <a:cubicBezTo>
                  <a:pt x="2194" y="277"/>
                  <a:pt x="2194" y="277"/>
                  <a:pt x="2194" y="277"/>
                </a:cubicBezTo>
                <a:cubicBezTo>
                  <a:pt x="2194" y="278"/>
                  <a:pt x="2194" y="278"/>
                  <a:pt x="2194" y="278"/>
                </a:cubicBezTo>
                <a:cubicBezTo>
                  <a:pt x="2193" y="278"/>
                  <a:pt x="2193" y="278"/>
                  <a:pt x="2193" y="278"/>
                </a:cubicBezTo>
                <a:cubicBezTo>
                  <a:pt x="2192" y="278"/>
                  <a:pt x="2192" y="278"/>
                  <a:pt x="2192" y="278"/>
                </a:cubicBezTo>
                <a:cubicBezTo>
                  <a:pt x="2191" y="279"/>
                  <a:pt x="2191" y="279"/>
                  <a:pt x="2191" y="279"/>
                </a:cubicBezTo>
                <a:cubicBezTo>
                  <a:pt x="2191" y="280"/>
                  <a:pt x="2191" y="280"/>
                  <a:pt x="2191" y="280"/>
                </a:cubicBezTo>
                <a:cubicBezTo>
                  <a:pt x="2190" y="281"/>
                  <a:pt x="2190" y="281"/>
                  <a:pt x="2190" y="281"/>
                </a:cubicBezTo>
                <a:cubicBezTo>
                  <a:pt x="2189" y="281"/>
                  <a:pt x="2189" y="281"/>
                  <a:pt x="2189" y="281"/>
                </a:cubicBezTo>
                <a:cubicBezTo>
                  <a:pt x="2189" y="280"/>
                  <a:pt x="2189" y="280"/>
                  <a:pt x="2189" y="280"/>
                </a:cubicBezTo>
                <a:cubicBezTo>
                  <a:pt x="2188" y="279"/>
                  <a:pt x="2188" y="279"/>
                  <a:pt x="2188" y="279"/>
                </a:cubicBezTo>
                <a:cubicBezTo>
                  <a:pt x="2187" y="280"/>
                  <a:pt x="2187" y="280"/>
                  <a:pt x="2187" y="280"/>
                </a:cubicBezTo>
                <a:cubicBezTo>
                  <a:pt x="2186" y="279"/>
                  <a:pt x="2186" y="279"/>
                  <a:pt x="2186" y="279"/>
                </a:cubicBezTo>
                <a:cubicBezTo>
                  <a:pt x="2186" y="280"/>
                  <a:pt x="2186" y="280"/>
                  <a:pt x="2186" y="280"/>
                </a:cubicBezTo>
                <a:cubicBezTo>
                  <a:pt x="2186" y="281"/>
                  <a:pt x="2186" y="281"/>
                  <a:pt x="2186" y="281"/>
                </a:cubicBezTo>
                <a:cubicBezTo>
                  <a:pt x="2186" y="282"/>
                  <a:pt x="2186" y="282"/>
                  <a:pt x="2186" y="282"/>
                </a:cubicBezTo>
                <a:cubicBezTo>
                  <a:pt x="2185" y="282"/>
                  <a:pt x="2185" y="282"/>
                  <a:pt x="2185" y="282"/>
                </a:cubicBezTo>
                <a:cubicBezTo>
                  <a:pt x="2184" y="283"/>
                  <a:pt x="2184" y="283"/>
                  <a:pt x="2184" y="283"/>
                </a:cubicBezTo>
                <a:cubicBezTo>
                  <a:pt x="2184" y="284"/>
                  <a:pt x="2184" y="284"/>
                  <a:pt x="2184" y="284"/>
                </a:cubicBezTo>
                <a:cubicBezTo>
                  <a:pt x="2183" y="284"/>
                  <a:pt x="2183" y="284"/>
                  <a:pt x="2183" y="284"/>
                </a:cubicBezTo>
                <a:cubicBezTo>
                  <a:pt x="2181" y="283"/>
                  <a:pt x="2181" y="283"/>
                  <a:pt x="2181" y="283"/>
                </a:cubicBezTo>
                <a:cubicBezTo>
                  <a:pt x="2182" y="284"/>
                  <a:pt x="2182" y="284"/>
                  <a:pt x="2182" y="284"/>
                </a:cubicBezTo>
                <a:cubicBezTo>
                  <a:pt x="2180" y="285"/>
                  <a:pt x="2180" y="285"/>
                  <a:pt x="2180" y="285"/>
                </a:cubicBezTo>
                <a:cubicBezTo>
                  <a:pt x="2181" y="285"/>
                  <a:pt x="2181" y="285"/>
                  <a:pt x="2181" y="285"/>
                </a:cubicBezTo>
                <a:cubicBezTo>
                  <a:pt x="2180" y="286"/>
                  <a:pt x="2180" y="286"/>
                  <a:pt x="2180" y="286"/>
                </a:cubicBezTo>
                <a:cubicBezTo>
                  <a:pt x="2178" y="287"/>
                  <a:pt x="2178" y="287"/>
                  <a:pt x="2178" y="287"/>
                </a:cubicBezTo>
                <a:cubicBezTo>
                  <a:pt x="2177" y="287"/>
                  <a:pt x="2177" y="287"/>
                  <a:pt x="2177" y="287"/>
                </a:cubicBezTo>
                <a:cubicBezTo>
                  <a:pt x="2176" y="285"/>
                  <a:pt x="2176" y="285"/>
                  <a:pt x="2176" y="285"/>
                </a:cubicBezTo>
                <a:cubicBezTo>
                  <a:pt x="2175" y="285"/>
                  <a:pt x="2175" y="285"/>
                  <a:pt x="2175" y="285"/>
                </a:cubicBezTo>
                <a:cubicBezTo>
                  <a:pt x="2174" y="285"/>
                  <a:pt x="2174" y="285"/>
                  <a:pt x="2174" y="285"/>
                </a:cubicBezTo>
                <a:cubicBezTo>
                  <a:pt x="2175" y="284"/>
                  <a:pt x="2175" y="284"/>
                  <a:pt x="2175" y="284"/>
                </a:cubicBezTo>
                <a:cubicBezTo>
                  <a:pt x="2176" y="284"/>
                  <a:pt x="2176" y="284"/>
                  <a:pt x="2176" y="284"/>
                </a:cubicBezTo>
                <a:cubicBezTo>
                  <a:pt x="2175" y="283"/>
                  <a:pt x="2175" y="283"/>
                  <a:pt x="2175" y="283"/>
                </a:cubicBezTo>
                <a:cubicBezTo>
                  <a:pt x="2176" y="282"/>
                  <a:pt x="2176" y="282"/>
                  <a:pt x="2176" y="282"/>
                </a:cubicBezTo>
                <a:cubicBezTo>
                  <a:pt x="2178" y="282"/>
                  <a:pt x="2178" y="282"/>
                  <a:pt x="2178" y="282"/>
                </a:cubicBezTo>
                <a:cubicBezTo>
                  <a:pt x="2180" y="281"/>
                  <a:pt x="2180" y="281"/>
                  <a:pt x="2180" y="281"/>
                </a:cubicBezTo>
                <a:cubicBezTo>
                  <a:pt x="2180" y="280"/>
                  <a:pt x="2180" y="280"/>
                  <a:pt x="2180" y="280"/>
                </a:cubicBezTo>
                <a:cubicBezTo>
                  <a:pt x="2179" y="280"/>
                  <a:pt x="2179" y="280"/>
                  <a:pt x="2179" y="280"/>
                </a:cubicBezTo>
                <a:cubicBezTo>
                  <a:pt x="2178" y="281"/>
                  <a:pt x="2178" y="281"/>
                  <a:pt x="2178" y="281"/>
                </a:cubicBezTo>
                <a:cubicBezTo>
                  <a:pt x="2176" y="280"/>
                  <a:pt x="2176" y="280"/>
                  <a:pt x="2176" y="280"/>
                </a:cubicBezTo>
                <a:cubicBezTo>
                  <a:pt x="2175" y="279"/>
                  <a:pt x="2175" y="279"/>
                  <a:pt x="2175" y="279"/>
                </a:cubicBezTo>
                <a:cubicBezTo>
                  <a:pt x="2174" y="279"/>
                  <a:pt x="2174" y="279"/>
                  <a:pt x="2174" y="279"/>
                </a:cubicBezTo>
                <a:cubicBezTo>
                  <a:pt x="2172" y="278"/>
                  <a:pt x="2172" y="278"/>
                  <a:pt x="2172" y="278"/>
                </a:cubicBezTo>
                <a:cubicBezTo>
                  <a:pt x="2170" y="278"/>
                  <a:pt x="2170" y="278"/>
                  <a:pt x="2170" y="278"/>
                </a:cubicBezTo>
                <a:cubicBezTo>
                  <a:pt x="2171" y="279"/>
                  <a:pt x="2171" y="279"/>
                  <a:pt x="2171" y="279"/>
                </a:cubicBezTo>
                <a:cubicBezTo>
                  <a:pt x="2170" y="280"/>
                  <a:pt x="2170" y="280"/>
                  <a:pt x="2170" y="280"/>
                </a:cubicBezTo>
                <a:cubicBezTo>
                  <a:pt x="2169" y="279"/>
                  <a:pt x="2169" y="279"/>
                  <a:pt x="2169" y="279"/>
                </a:cubicBezTo>
                <a:cubicBezTo>
                  <a:pt x="2169" y="278"/>
                  <a:pt x="2169" y="278"/>
                  <a:pt x="2169" y="278"/>
                </a:cubicBezTo>
                <a:cubicBezTo>
                  <a:pt x="2167" y="279"/>
                  <a:pt x="2167" y="279"/>
                  <a:pt x="2167" y="279"/>
                </a:cubicBezTo>
                <a:cubicBezTo>
                  <a:pt x="2165" y="278"/>
                  <a:pt x="2165" y="278"/>
                  <a:pt x="2165" y="278"/>
                </a:cubicBezTo>
                <a:cubicBezTo>
                  <a:pt x="2164" y="279"/>
                  <a:pt x="2164" y="279"/>
                  <a:pt x="2164" y="279"/>
                </a:cubicBezTo>
                <a:cubicBezTo>
                  <a:pt x="2163" y="278"/>
                  <a:pt x="2163" y="278"/>
                  <a:pt x="2163" y="278"/>
                </a:cubicBezTo>
                <a:cubicBezTo>
                  <a:pt x="2161" y="278"/>
                  <a:pt x="2161" y="278"/>
                  <a:pt x="2161" y="278"/>
                </a:cubicBezTo>
                <a:cubicBezTo>
                  <a:pt x="2160" y="280"/>
                  <a:pt x="2160" y="280"/>
                  <a:pt x="2160" y="280"/>
                </a:cubicBezTo>
                <a:cubicBezTo>
                  <a:pt x="2159" y="280"/>
                  <a:pt x="2159" y="280"/>
                  <a:pt x="2159" y="280"/>
                </a:cubicBezTo>
                <a:cubicBezTo>
                  <a:pt x="2159" y="281"/>
                  <a:pt x="2159" y="281"/>
                  <a:pt x="2159" y="281"/>
                </a:cubicBezTo>
                <a:cubicBezTo>
                  <a:pt x="2161" y="282"/>
                  <a:pt x="2161" y="282"/>
                  <a:pt x="2161" y="282"/>
                </a:cubicBezTo>
                <a:cubicBezTo>
                  <a:pt x="2159" y="282"/>
                  <a:pt x="2159" y="282"/>
                  <a:pt x="2159" y="282"/>
                </a:cubicBezTo>
                <a:cubicBezTo>
                  <a:pt x="2158" y="281"/>
                  <a:pt x="2158" y="281"/>
                  <a:pt x="2158" y="281"/>
                </a:cubicBezTo>
                <a:cubicBezTo>
                  <a:pt x="2157" y="283"/>
                  <a:pt x="2157" y="283"/>
                  <a:pt x="2157" y="283"/>
                </a:cubicBezTo>
                <a:cubicBezTo>
                  <a:pt x="2159" y="284"/>
                  <a:pt x="2159" y="284"/>
                  <a:pt x="2159" y="284"/>
                </a:cubicBezTo>
                <a:cubicBezTo>
                  <a:pt x="2160" y="283"/>
                  <a:pt x="2160" y="283"/>
                  <a:pt x="2160" y="283"/>
                </a:cubicBezTo>
                <a:cubicBezTo>
                  <a:pt x="2160" y="284"/>
                  <a:pt x="2160" y="284"/>
                  <a:pt x="2160" y="284"/>
                </a:cubicBezTo>
                <a:cubicBezTo>
                  <a:pt x="2160" y="285"/>
                  <a:pt x="2160" y="285"/>
                  <a:pt x="2160" y="285"/>
                </a:cubicBezTo>
                <a:cubicBezTo>
                  <a:pt x="2158" y="286"/>
                  <a:pt x="2158" y="286"/>
                  <a:pt x="2158" y="286"/>
                </a:cubicBezTo>
                <a:cubicBezTo>
                  <a:pt x="2157" y="285"/>
                  <a:pt x="2157" y="285"/>
                  <a:pt x="2157" y="285"/>
                </a:cubicBezTo>
                <a:cubicBezTo>
                  <a:pt x="2155" y="284"/>
                  <a:pt x="2155" y="284"/>
                  <a:pt x="2155" y="284"/>
                </a:cubicBezTo>
                <a:cubicBezTo>
                  <a:pt x="2154" y="285"/>
                  <a:pt x="2154" y="285"/>
                  <a:pt x="2154" y="285"/>
                </a:cubicBezTo>
                <a:cubicBezTo>
                  <a:pt x="2155" y="286"/>
                  <a:pt x="2155" y="286"/>
                  <a:pt x="2155" y="286"/>
                </a:cubicBezTo>
                <a:cubicBezTo>
                  <a:pt x="2154" y="286"/>
                  <a:pt x="2154" y="286"/>
                  <a:pt x="2154" y="286"/>
                </a:cubicBezTo>
                <a:cubicBezTo>
                  <a:pt x="2153" y="287"/>
                  <a:pt x="2153" y="287"/>
                  <a:pt x="2153" y="287"/>
                </a:cubicBezTo>
                <a:cubicBezTo>
                  <a:pt x="2152" y="287"/>
                  <a:pt x="2152" y="287"/>
                  <a:pt x="2152" y="287"/>
                </a:cubicBezTo>
                <a:cubicBezTo>
                  <a:pt x="2152" y="286"/>
                  <a:pt x="2152" y="286"/>
                  <a:pt x="2152" y="286"/>
                </a:cubicBezTo>
                <a:cubicBezTo>
                  <a:pt x="2149" y="286"/>
                  <a:pt x="2149" y="286"/>
                  <a:pt x="2149" y="286"/>
                </a:cubicBezTo>
                <a:cubicBezTo>
                  <a:pt x="2148" y="286"/>
                  <a:pt x="2148" y="286"/>
                  <a:pt x="2148" y="286"/>
                </a:cubicBezTo>
                <a:cubicBezTo>
                  <a:pt x="2146" y="286"/>
                  <a:pt x="2146" y="286"/>
                  <a:pt x="2146" y="286"/>
                </a:cubicBezTo>
                <a:cubicBezTo>
                  <a:pt x="2144" y="287"/>
                  <a:pt x="2144" y="287"/>
                  <a:pt x="2144" y="287"/>
                </a:cubicBezTo>
                <a:cubicBezTo>
                  <a:pt x="2146" y="289"/>
                  <a:pt x="2146" y="289"/>
                  <a:pt x="2146" y="289"/>
                </a:cubicBezTo>
                <a:cubicBezTo>
                  <a:pt x="2145" y="290"/>
                  <a:pt x="2145" y="290"/>
                  <a:pt x="2145" y="290"/>
                </a:cubicBezTo>
                <a:cubicBezTo>
                  <a:pt x="2145" y="291"/>
                  <a:pt x="2145" y="291"/>
                  <a:pt x="2145" y="291"/>
                </a:cubicBezTo>
                <a:cubicBezTo>
                  <a:pt x="2143" y="290"/>
                  <a:pt x="2143" y="290"/>
                  <a:pt x="2143" y="290"/>
                </a:cubicBezTo>
                <a:cubicBezTo>
                  <a:pt x="2143" y="289"/>
                  <a:pt x="2143" y="289"/>
                  <a:pt x="2143" y="289"/>
                </a:cubicBezTo>
                <a:cubicBezTo>
                  <a:pt x="2143" y="288"/>
                  <a:pt x="2143" y="288"/>
                  <a:pt x="2143" y="288"/>
                </a:cubicBezTo>
                <a:cubicBezTo>
                  <a:pt x="2142" y="287"/>
                  <a:pt x="2142" y="287"/>
                  <a:pt x="2142" y="287"/>
                </a:cubicBezTo>
                <a:cubicBezTo>
                  <a:pt x="2141" y="288"/>
                  <a:pt x="2141" y="288"/>
                  <a:pt x="2141" y="288"/>
                </a:cubicBezTo>
                <a:cubicBezTo>
                  <a:pt x="2140" y="288"/>
                  <a:pt x="2140" y="288"/>
                  <a:pt x="2140" y="288"/>
                </a:cubicBezTo>
                <a:cubicBezTo>
                  <a:pt x="2139" y="288"/>
                  <a:pt x="2139" y="288"/>
                  <a:pt x="2139" y="288"/>
                </a:cubicBezTo>
                <a:cubicBezTo>
                  <a:pt x="2138" y="289"/>
                  <a:pt x="2138" y="289"/>
                  <a:pt x="2138" y="289"/>
                </a:cubicBezTo>
                <a:cubicBezTo>
                  <a:pt x="2137" y="289"/>
                  <a:pt x="2137" y="289"/>
                  <a:pt x="2137" y="289"/>
                </a:cubicBezTo>
                <a:cubicBezTo>
                  <a:pt x="2135" y="290"/>
                  <a:pt x="2135" y="290"/>
                  <a:pt x="2135" y="290"/>
                </a:cubicBezTo>
                <a:cubicBezTo>
                  <a:pt x="2133" y="290"/>
                  <a:pt x="2133" y="290"/>
                  <a:pt x="2133" y="290"/>
                </a:cubicBezTo>
                <a:cubicBezTo>
                  <a:pt x="2131" y="292"/>
                  <a:pt x="2131" y="292"/>
                  <a:pt x="2131" y="292"/>
                </a:cubicBezTo>
                <a:cubicBezTo>
                  <a:pt x="2129" y="292"/>
                  <a:pt x="2129" y="292"/>
                  <a:pt x="2129" y="292"/>
                </a:cubicBezTo>
                <a:cubicBezTo>
                  <a:pt x="2129" y="291"/>
                  <a:pt x="2129" y="291"/>
                  <a:pt x="2129" y="291"/>
                </a:cubicBezTo>
                <a:cubicBezTo>
                  <a:pt x="2128" y="292"/>
                  <a:pt x="2128" y="292"/>
                  <a:pt x="2128" y="292"/>
                </a:cubicBezTo>
                <a:cubicBezTo>
                  <a:pt x="2127" y="293"/>
                  <a:pt x="2127" y="293"/>
                  <a:pt x="2127" y="293"/>
                </a:cubicBezTo>
                <a:cubicBezTo>
                  <a:pt x="2125" y="294"/>
                  <a:pt x="2125" y="294"/>
                  <a:pt x="2125" y="294"/>
                </a:cubicBezTo>
                <a:cubicBezTo>
                  <a:pt x="2125" y="296"/>
                  <a:pt x="2125" y="296"/>
                  <a:pt x="2125" y="296"/>
                </a:cubicBezTo>
                <a:cubicBezTo>
                  <a:pt x="2124" y="297"/>
                  <a:pt x="2124" y="297"/>
                  <a:pt x="2124" y="297"/>
                </a:cubicBezTo>
                <a:cubicBezTo>
                  <a:pt x="2123" y="298"/>
                  <a:pt x="2123" y="298"/>
                  <a:pt x="2123" y="298"/>
                </a:cubicBezTo>
                <a:cubicBezTo>
                  <a:pt x="2125" y="301"/>
                  <a:pt x="2125" y="301"/>
                  <a:pt x="2125" y="301"/>
                </a:cubicBezTo>
                <a:cubicBezTo>
                  <a:pt x="2125" y="303"/>
                  <a:pt x="2125" y="303"/>
                  <a:pt x="2125" y="303"/>
                </a:cubicBezTo>
                <a:cubicBezTo>
                  <a:pt x="2123" y="305"/>
                  <a:pt x="2123" y="305"/>
                  <a:pt x="2123" y="305"/>
                </a:cubicBezTo>
                <a:cubicBezTo>
                  <a:pt x="2122" y="307"/>
                  <a:pt x="2122" y="307"/>
                  <a:pt x="2122" y="307"/>
                </a:cubicBezTo>
                <a:cubicBezTo>
                  <a:pt x="2122" y="309"/>
                  <a:pt x="2122" y="309"/>
                  <a:pt x="2122" y="309"/>
                </a:cubicBezTo>
                <a:cubicBezTo>
                  <a:pt x="2122" y="311"/>
                  <a:pt x="2122" y="311"/>
                  <a:pt x="2122" y="311"/>
                </a:cubicBezTo>
                <a:cubicBezTo>
                  <a:pt x="2123" y="312"/>
                  <a:pt x="2123" y="312"/>
                  <a:pt x="2123" y="312"/>
                </a:cubicBezTo>
                <a:cubicBezTo>
                  <a:pt x="2123" y="314"/>
                  <a:pt x="2123" y="314"/>
                  <a:pt x="2123" y="314"/>
                </a:cubicBezTo>
                <a:cubicBezTo>
                  <a:pt x="2122" y="314"/>
                  <a:pt x="2122" y="314"/>
                  <a:pt x="2122" y="314"/>
                </a:cubicBezTo>
                <a:cubicBezTo>
                  <a:pt x="2121" y="314"/>
                  <a:pt x="2121" y="314"/>
                  <a:pt x="2121" y="314"/>
                </a:cubicBezTo>
                <a:cubicBezTo>
                  <a:pt x="2121" y="316"/>
                  <a:pt x="2121" y="316"/>
                  <a:pt x="2121" y="316"/>
                </a:cubicBezTo>
                <a:cubicBezTo>
                  <a:pt x="2121" y="318"/>
                  <a:pt x="2121" y="318"/>
                  <a:pt x="2121" y="318"/>
                </a:cubicBezTo>
                <a:cubicBezTo>
                  <a:pt x="2120" y="319"/>
                  <a:pt x="2120" y="319"/>
                  <a:pt x="2120" y="319"/>
                </a:cubicBezTo>
                <a:cubicBezTo>
                  <a:pt x="2120" y="321"/>
                  <a:pt x="2120" y="321"/>
                  <a:pt x="2120" y="321"/>
                </a:cubicBezTo>
                <a:cubicBezTo>
                  <a:pt x="2118" y="323"/>
                  <a:pt x="2118" y="323"/>
                  <a:pt x="2118" y="323"/>
                </a:cubicBezTo>
                <a:cubicBezTo>
                  <a:pt x="2119" y="324"/>
                  <a:pt x="2119" y="324"/>
                  <a:pt x="2119" y="324"/>
                </a:cubicBezTo>
                <a:cubicBezTo>
                  <a:pt x="2118" y="325"/>
                  <a:pt x="2118" y="325"/>
                  <a:pt x="2118" y="325"/>
                </a:cubicBezTo>
                <a:cubicBezTo>
                  <a:pt x="2117" y="327"/>
                  <a:pt x="2117" y="327"/>
                  <a:pt x="2117" y="327"/>
                </a:cubicBezTo>
                <a:cubicBezTo>
                  <a:pt x="2116" y="330"/>
                  <a:pt x="2116" y="330"/>
                  <a:pt x="2116" y="330"/>
                </a:cubicBezTo>
                <a:cubicBezTo>
                  <a:pt x="2116" y="332"/>
                  <a:pt x="2116" y="332"/>
                  <a:pt x="2116" y="332"/>
                </a:cubicBezTo>
                <a:cubicBezTo>
                  <a:pt x="2116" y="333"/>
                  <a:pt x="2116" y="333"/>
                  <a:pt x="2116" y="333"/>
                </a:cubicBezTo>
                <a:cubicBezTo>
                  <a:pt x="2116" y="335"/>
                  <a:pt x="2116" y="335"/>
                  <a:pt x="2116" y="335"/>
                </a:cubicBezTo>
                <a:cubicBezTo>
                  <a:pt x="2115" y="336"/>
                  <a:pt x="2115" y="336"/>
                  <a:pt x="2115" y="336"/>
                </a:cubicBezTo>
                <a:cubicBezTo>
                  <a:pt x="2115" y="337"/>
                  <a:pt x="2115" y="337"/>
                  <a:pt x="2115" y="337"/>
                </a:cubicBezTo>
                <a:cubicBezTo>
                  <a:pt x="2114" y="339"/>
                  <a:pt x="2114" y="339"/>
                  <a:pt x="2114" y="339"/>
                </a:cubicBezTo>
                <a:cubicBezTo>
                  <a:pt x="2114" y="340"/>
                  <a:pt x="2114" y="340"/>
                  <a:pt x="2114" y="340"/>
                </a:cubicBezTo>
                <a:cubicBezTo>
                  <a:pt x="2113" y="340"/>
                  <a:pt x="2113" y="340"/>
                  <a:pt x="2113" y="340"/>
                </a:cubicBezTo>
                <a:cubicBezTo>
                  <a:pt x="2113" y="342"/>
                  <a:pt x="2113" y="342"/>
                  <a:pt x="2113" y="342"/>
                </a:cubicBezTo>
                <a:cubicBezTo>
                  <a:pt x="2111" y="343"/>
                  <a:pt x="2111" y="343"/>
                  <a:pt x="2111" y="343"/>
                </a:cubicBezTo>
                <a:cubicBezTo>
                  <a:pt x="2111" y="345"/>
                  <a:pt x="2111" y="345"/>
                  <a:pt x="2111" y="345"/>
                </a:cubicBezTo>
                <a:cubicBezTo>
                  <a:pt x="2110" y="347"/>
                  <a:pt x="2110" y="347"/>
                  <a:pt x="2110" y="347"/>
                </a:cubicBezTo>
                <a:cubicBezTo>
                  <a:pt x="2110" y="348"/>
                  <a:pt x="2110" y="348"/>
                  <a:pt x="2110" y="348"/>
                </a:cubicBezTo>
                <a:cubicBezTo>
                  <a:pt x="2108" y="350"/>
                  <a:pt x="2108" y="350"/>
                  <a:pt x="2108" y="350"/>
                </a:cubicBezTo>
                <a:cubicBezTo>
                  <a:pt x="2108" y="351"/>
                  <a:pt x="2108" y="351"/>
                  <a:pt x="2108" y="351"/>
                </a:cubicBezTo>
                <a:cubicBezTo>
                  <a:pt x="2107" y="352"/>
                  <a:pt x="2107" y="352"/>
                  <a:pt x="2107" y="352"/>
                </a:cubicBezTo>
                <a:cubicBezTo>
                  <a:pt x="2108" y="353"/>
                  <a:pt x="2108" y="353"/>
                  <a:pt x="2108" y="353"/>
                </a:cubicBezTo>
                <a:cubicBezTo>
                  <a:pt x="2109" y="354"/>
                  <a:pt x="2109" y="354"/>
                  <a:pt x="2109" y="354"/>
                </a:cubicBezTo>
                <a:cubicBezTo>
                  <a:pt x="2110" y="354"/>
                  <a:pt x="2110" y="354"/>
                  <a:pt x="2110" y="354"/>
                </a:cubicBezTo>
                <a:cubicBezTo>
                  <a:pt x="2111" y="355"/>
                  <a:pt x="2111" y="355"/>
                  <a:pt x="2111" y="355"/>
                </a:cubicBezTo>
                <a:cubicBezTo>
                  <a:pt x="2113" y="355"/>
                  <a:pt x="2113" y="355"/>
                  <a:pt x="2113" y="355"/>
                </a:cubicBezTo>
                <a:cubicBezTo>
                  <a:pt x="2114" y="354"/>
                  <a:pt x="2114" y="354"/>
                  <a:pt x="2114" y="354"/>
                </a:cubicBezTo>
                <a:cubicBezTo>
                  <a:pt x="2115" y="353"/>
                  <a:pt x="2115" y="353"/>
                  <a:pt x="2115" y="353"/>
                </a:cubicBezTo>
                <a:cubicBezTo>
                  <a:pt x="2116" y="353"/>
                  <a:pt x="2116" y="353"/>
                  <a:pt x="2116" y="353"/>
                </a:cubicBezTo>
                <a:cubicBezTo>
                  <a:pt x="2117" y="353"/>
                  <a:pt x="2117" y="353"/>
                  <a:pt x="2117" y="353"/>
                </a:cubicBezTo>
                <a:cubicBezTo>
                  <a:pt x="2118" y="352"/>
                  <a:pt x="2118" y="352"/>
                  <a:pt x="2118" y="352"/>
                </a:cubicBezTo>
                <a:cubicBezTo>
                  <a:pt x="2118" y="356"/>
                  <a:pt x="2118" y="356"/>
                  <a:pt x="2118" y="356"/>
                </a:cubicBezTo>
                <a:cubicBezTo>
                  <a:pt x="2120" y="358"/>
                  <a:pt x="2120" y="358"/>
                  <a:pt x="2120" y="358"/>
                </a:cubicBezTo>
                <a:cubicBezTo>
                  <a:pt x="2120" y="360"/>
                  <a:pt x="2120" y="360"/>
                  <a:pt x="2120" y="360"/>
                </a:cubicBezTo>
                <a:cubicBezTo>
                  <a:pt x="2120" y="361"/>
                  <a:pt x="2120" y="361"/>
                  <a:pt x="2120" y="361"/>
                </a:cubicBezTo>
                <a:cubicBezTo>
                  <a:pt x="2122" y="362"/>
                  <a:pt x="2122" y="362"/>
                  <a:pt x="2122" y="362"/>
                </a:cubicBezTo>
                <a:cubicBezTo>
                  <a:pt x="2122" y="361"/>
                  <a:pt x="2122" y="361"/>
                  <a:pt x="2122" y="361"/>
                </a:cubicBezTo>
                <a:cubicBezTo>
                  <a:pt x="2123" y="362"/>
                  <a:pt x="2123" y="362"/>
                  <a:pt x="2123" y="362"/>
                </a:cubicBezTo>
                <a:cubicBezTo>
                  <a:pt x="2123" y="361"/>
                  <a:pt x="2123" y="361"/>
                  <a:pt x="2123" y="361"/>
                </a:cubicBezTo>
                <a:cubicBezTo>
                  <a:pt x="2124" y="360"/>
                  <a:pt x="2124" y="360"/>
                  <a:pt x="2124" y="360"/>
                </a:cubicBezTo>
                <a:cubicBezTo>
                  <a:pt x="2125" y="359"/>
                  <a:pt x="2125" y="359"/>
                  <a:pt x="2125" y="359"/>
                </a:cubicBezTo>
                <a:cubicBezTo>
                  <a:pt x="2125" y="360"/>
                  <a:pt x="2125" y="360"/>
                  <a:pt x="2125" y="360"/>
                </a:cubicBezTo>
                <a:cubicBezTo>
                  <a:pt x="2126" y="360"/>
                  <a:pt x="2126" y="360"/>
                  <a:pt x="2126" y="360"/>
                </a:cubicBezTo>
                <a:cubicBezTo>
                  <a:pt x="2127" y="360"/>
                  <a:pt x="2127" y="360"/>
                  <a:pt x="2127" y="360"/>
                </a:cubicBezTo>
                <a:cubicBezTo>
                  <a:pt x="2126" y="361"/>
                  <a:pt x="2126" y="361"/>
                  <a:pt x="2126" y="361"/>
                </a:cubicBezTo>
                <a:cubicBezTo>
                  <a:pt x="2127" y="363"/>
                  <a:pt x="2127" y="363"/>
                  <a:pt x="2127" y="363"/>
                </a:cubicBezTo>
                <a:cubicBezTo>
                  <a:pt x="2126" y="363"/>
                  <a:pt x="2126" y="363"/>
                  <a:pt x="2126" y="363"/>
                </a:cubicBezTo>
                <a:cubicBezTo>
                  <a:pt x="2125" y="364"/>
                  <a:pt x="2125" y="364"/>
                  <a:pt x="2125" y="364"/>
                </a:cubicBezTo>
                <a:cubicBezTo>
                  <a:pt x="2128" y="364"/>
                  <a:pt x="2128" y="364"/>
                  <a:pt x="2128" y="364"/>
                </a:cubicBezTo>
                <a:cubicBezTo>
                  <a:pt x="2129" y="363"/>
                  <a:pt x="2129" y="363"/>
                  <a:pt x="2129" y="363"/>
                </a:cubicBezTo>
                <a:cubicBezTo>
                  <a:pt x="2130" y="361"/>
                  <a:pt x="2130" y="361"/>
                  <a:pt x="2130" y="361"/>
                </a:cubicBezTo>
                <a:cubicBezTo>
                  <a:pt x="2130" y="360"/>
                  <a:pt x="2130" y="360"/>
                  <a:pt x="2130" y="360"/>
                </a:cubicBezTo>
                <a:cubicBezTo>
                  <a:pt x="2130" y="359"/>
                  <a:pt x="2130" y="359"/>
                  <a:pt x="2130" y="359"/>
                </a:cubicBezTo>
                <a:cubicBezTo>
                  <a:pt x="2131" y="361"/>
                  <a:pt x="2131" y="361"/>
                  <a:pt x="2131" y="361"/>
                </a:cubicBezTo>
                <a:cubicBezTo>
                  <a:pt x="2131" y="362"/>
                  <a:pt x="2131" y="362"/>
                  <a:pt x="2131" y="362"/>
                </a:cubicBezTo>
                <a:cubicBezTo>
                  <a:pt x="2131" y="364"/>
                  <a:pt x="2131" y="364"/>
                  <a:pt x="2131" y="364"/>
                </a:cubicBezTo>
                <a:cubicBezTo>
                  <a:pt x="2132" y="363"/>
                  <a:pt x="2132" y="363"/>
                  <a:pt x="2132" y="363"/>
                </a:cubicBezTo>
                <a:cubicBezTo>
                  <a:pt x="2132" y="362"/>
                  <a:pt x="2132" y="362"/>
                  <a:pt x="2132" y="362"/>
                </a:cubicBezTo>
                <a:cubicBezTo>
                  <a:pt x="2131" y="360"/>
                  <a:pt x="2131" y="360"/>
                  <a:pt x="2131" y="360"/>
                </a:cubicBezTo>
                <a:cubicBezTo>
                  <a:pt x="2132" y="358"/>
                  <a:pt x="2132" y="358"/>
                  <a:pt x="2132" y="358"/>
                </a:cubicBezTo>
                <a:cubicBezTo>
                  <a:pt x="2131" y="357"/>
                  <a:pt x="2131" y="357"/>
                  <a:pt x="2131" y="357"/>
                </a:cubicBezTo>
                <a:cubicBezTo>
                  <a:pt x="2130" y="355"/>
                  <a:pt x="2130" y="355"/>
                  <a:pt x="2130" y="355"/>
                </a:cubicBezTo>
                <a:cubicBezTo>
                  <a:pt x="2132" y="355"/>
                  <a:pt x="2132" y="355"/>
                  <a:pt x="2132" y="355"/>
                </a:cubicBezTo>
                <a:cubicBezTo>
                  <a:pt x="2133" y="356"/>
                  <a:pt x="2133" y="356"/>
                  <a:pt x="2133" y="356"/>
                </a:cubicBezTo>
                <a:cubicBezTo>
                  <a:pt x="2133" y="357"/>
                  <a:pt x="2133" y="357"/>
                  <a:pt x="2133" y="357"/>
                </a:cubicBezTo>
                <a:cubicBezTo>
                  <a:pt x="2134" y="357"/>
                  <a:pt x="2134" y="357"/>
                  <a:pt x="2134" y="357"/>
                </a:cubicBezTo>
                <a:cubicBezTo>
                  <a:pt x="2134" y="356"/>
                  <a:pt x="2134" y="356"/>
                  <a:pt x="2134" y="356"/>
                </a:cubicBezTo>
                <a:cubicBezTo>
                  <a:pt x="2136" y="356"/>
                  <a:pt x="2136" y="356"/>
                  <a:pt x="2136" y="356"/>
                </a:cubicBezTo>
                <a:cubicBezTo>
                  <a:pt x="2137" y="355"/>
                  <a:pt x="2137" y="355"/>
                  <a:pt x="2137" y="355"/>
                </a:cubicBezTo>
                <a:cubicBezTo>
                  <a:pt x="2138" y="356"/>
                  <a:pt x="2138" y="356"/>
                  <a:pt x="2138" y="356"/>
                </a:cubicBezTo>
                <a:cubicBezTo>
                  <a:pt x="2140" y="356"/>
                  <a:pt x="2140" y="356"/>
                  <a:pt x="2140" y="356"/>
                </a:cubicBezTo>
                <a:cubicBezTo>
                  <a:pt x="2141" y="357"/>
                  <a:pt x="2141" y="357"/>
                  <a:pt x="2141" y="357"/>
                </a:cubicBezTo>
                <a:cubicBezTo>
                  <a:pt x="2141" y="359"/>
                  <a:pt x="2141" y="359"/>
                  <a:pt x="2141" y="359"/>
                </a:cubicBezTo>
                <a:cubicBezTo>
                  <a:pt x="2142" y="359"/>
                  <a:pt x="2142" y="359"/>
                  <a:pt x="2142" y="359"/>
                </a:cubicBezTo>
                <a:cubicBezTo>
                  <a:pt x="2144" y="359"/>
                  <a:pt x="2144" y="359"/>
                  <a:pt x="2144" y="359"/>
                </a:cubicBezTo>
                <a:cubicBezTo>
                  <a:pt x="2145" y="360"/>
                  <a:pt x="2145" y="360"/>
                  <a:pt x="2145" y="360"/>
                </a:cubicBezTo>
                <a:cubicBezTo>
                  <a:pt x="2147" y="361"/>
                  <a:pt x="2147" y="361"/>
                  <a:pt x="2147" y="361"/>
                </a:cubicBezTo>
                <a:cubicBezTo>
                  <a:pt x="2148" y="362"/>
                  <a:pt x="2148" y="362"/>
                  <a:pt x="2148" y="362"/>
                </a:cubicBezTo>
                <a:cubicBezTo>
                  <a:pt x="2149" y="362"/>
                  <a:pt x="2149" y="362"/>
                  <a:pt x="2149" y="362"/>
                </a:cubicBezTo>
                <a:cubicBezTo>
                  <a:pt x="2149" y="363"/>
                  <a:pt x="2149" y="363"/>
                  <a:pt x="2149" y="363"/>
                </a:cubicBezTo>
                <a:cubicBezTo>
                  <a:pt x="2150" y="363"/>
                  <a:pt x="2150" y="363"/>
                  <a:pt x="2150" y="363"/>
                </a:cubicBezTo>
                <a:cubicBezTo>
                  <a:pt x="2151" y="365"/>
                  <a:pt x="2151" y="365"/>
                  <a:pt x="2151" y="365"/>
                </a:cubicBezTo>
                <a:cubicBezTo>
                  <a:pt x="2151" y="366"/>
                  <a:pt x="2151" y="366"/>
                  <a:pt x="2151" y="366"/>
                </a:cubicBezTo>
                <a:cubicBezTo>
                  <a:pt x="2151" y="367"/>
                  <a:pt x="2151" y="367"/>
                  <a:pt x="2151" y="367"/>
                </a:cubicBezTo>
                <a:cubicBezTo>
                  <a:pt x="2150" y="368"/>
                  <a:pt x="2150" y="368"/>
                  <a:pt x="2150" y="368"/>
                </a:cubicBezTo>
                <a:cubicBezTo>
                  <a:pt x="2151" y="369"/>
                  <a:pt x="2151" y="369"/>
                  <a:pt x="2151" y="369"/>
                </a:cubicBezTo>
                <a:cubicBezTo>
                  <a:pt x="2152" y="369"/>
                  <a:pt x="2152" y="369"/>
                  <a:pt x="2152" y="369"/>
                </a:cubicBezTo>
                <a:cubicBezTo>
                  <a:pt x="2153" y="371"/>
                  <a:pt x="2153" y="371"/>
                  <a:pt x="2153" y="371"/>
                </a:cubicBezTo>
                <a:cubicBezTo>
                  <a:pt x="2154" y="372"/>
                  <a:pt x="2154" y="372"/>
                  <a:pt x="2154" y="372"/>
                </a:cubicBezTo>
                <a:cubicBezTo>
                  <a:pt x="2153" y="373"/>
                  <a:pt x="2153" y="373"/>
                  <a:pt x="2153" y="373"/>
                </a:cubicBezTo>
                <a:cubicBezTo>
                  <a:pt x="2153" y="375"/>
                  <a:pt x="2153" y="375"/>
                  <a:pt x="2153" y="375"/>
                </a:cubicBezTo>
                <a:cubicBezTo>
                  <a:pt x="2154" y="376"/>
                  <a:pt x="2154" y="376"/>
                  <a:pt x="2154" y="376"/>
                </a:cubicBezTo>
                <a:cubicBezTo>
                  <a:pt x="2155" y="376"/>
                  <a:pt x="2155" y="376"/>
                  <a:pt x="2155" y="376"/>
                </a:cubicBezTo>
                <a:cubicBezTo>
                  <a:pt x="2156" y="375"/>
                  <a:pt x="2156" y="375"/>
                  <a:pt x="2156" y="375"/>
                </a:cubicBezTo>
                <a:cubicBezTo>
                  <a:pt x="2156" y="376"/>
                  <a:pt x="2156" y="376"/>
                  <a:pt x="2156" y="376"/>
                </a:cubicBezTo>
                <a:cubicBezTo>
                  <a:pt x="2156" y="377"/>
                  <a:pt x="2156" y="377"/>
                  <a:pt x="2156" y="377"/>
                </a:cubicBezTo>
                <a:cubicBezTo>
                  <a:pt x="2156" y="379"/>
                  <a:pt x="2156" y="379"/>
                  <a:pt x="2156" y="379"/>
                </a:cubicBezTo>
                <a:cubicBezTo>
                  <a:pt x="2157" y="379"/>
                  <a:pt x="2157" y="379"/>
                  <a:pt x="2157" y="379"/>
                </a:cubicBezTo>
                <a:cubicBezTo>
                  <a:pt x="2156" y="380"/>
                  <a:pt x="2156" y="380"/>
                  <a:pt x="2156" y="380"/>
                </a:cubicBezTo>
                <a:cubicBezTo>
                  <a:pt x="2156" y="381"/>
                  <a:pt x="2156" y="381"/>
                  <a:pt x="2156" y="381"/>
                </a:cubicBezTo>
                <a:cubicBezTo>
                  <a:pt x="2156" y="382"/>
                  <a:pt x="2156" y="382"/>
                  <a:pt x="2156" y="382"/>
                </a:cubicBezTo>
                <a:cubicBezTo>
                  <a:pt x="2156" y="383"/>
                  <a:pt x="2156" y="383"/>
                  <a:pt x="2156" y="383"/>
                </a:cubicBezTo>
                <a:cubicBezTo>
                  <a:pt x="2156" y="384"/>
                  <a:pt x="2156" y="384"/>
                  <a:pt x="2156" y="384"/>
                </a:cubicBezTo>
                <a:cubicBezTo>
                  <a:pt x="2156" y="385"/>
                  <a:pt x="2156" y="385"/>
                  <a:pt x="2156" y="385"/>
                </a:cubicBezTo>
                <a:cubicBezTo>
                  <a:pt x="2157" y="386"/>
                  <a:pt x="2157" y="386"/>
                  <a:pt x="2157" y="386"/>
                </a:cubicBezTo>
                <a:cubicBezTo>
                  <a:pt x="2156" y="387"/>
                  <a:pt x="2156" y="387"/>
                  <a:pt x="2156" y="387"/>
                </a:cubicBezTo>
                <a:cubicBezTo>
                  <a:pt x="2157" y="390"/>
                  <a:pt x="2157" y="390"/>
                  <a:pt x="2157" y="390"/>
                </a:cubicBezTo>
                <a:cubicBezTo>
                  <a:pt x="2156" y="390"/>
                  <a:pt x="2156" y="390"/>
                  <a:pt x="2156" y="390"/>
                </a:cubicBezTo>
                <a:cubicBezTo>
                  <a:pt x="2157" y="393"/>
                  <a:pt x="2157" y="393"/>
                  <a:pt x="2157" y="393"/>
                </a:cubicBezTo>
                <a:cubicBezTo>
                  <a:pt x="2157" y="394"/>
                  <a:pt x="2157" y="394"/>
                  <a:pt x="2157" y="394"/>
                </a:cubicBezTo>
                <a:cubicBezTo>
                  <a:pt x="2157" y="395"/>
                  <a:pt x="2157" y="395"/>
                  <a:pt x="2157" y="395"/>
                </a:cubicBezTo>
                <a:cubicBezTo>
                  <a:pt x="2158" y="399"/>
                  <a:pt x="2158" y="399"/>
                  <a:pt x="2158" y="399"/>
                </a:cubicBezTo>
                <a:cubicBezTo>
                  <a:pt x="2159" y="399"/>
                  <a:pt x="2159" y="399"/>
                  <a:pt x="2159" y="399"/>
                </a:cubicBezTo>
                <a:cubicBezTo>
                  <a:pt x="2160" y="398"/>
                  <a:pt x="2160" y="398"/>
                  <a:pt x="2160" y="398"/>
                </a:cubicBezTo>
                <a:cubicBezTo>
                  <a:pt x="2160" y="399"/>
                  <a:pt x="2160" y="399"/>
                  <a:pt x="2160" y="399"/>
                </a:cubicBezTo>
                <a:cubicBezTo>
                  <a:pt x="2159" y="400"/>
                  <a:pt x="2159" y="400"/>
                  <a:pt x="2159" y="400"/>
                </a:cubicBezTo>
                <a:cubicBezTo>
                  <a:pt x="2159" y="401"/>
                  <a:pt x="2159" y="401"/>
                  <a:pt x="2159" y="401"/>
                </a:cubicBezTo>
                <a:cubicBezTo>
                  <a:pt x="2159" y="402"/>
                  <a:pt x="2159" y="402"/>
                  <a:pt x="2159" y="402"/>
                </a:cubicBezTo>
                <a:cubicBezTo>
                  <a:pt x="2160" y="402"/>
                  <a:pt x="2160" y="402"/>
                  <a:pt x="2160" y="402"/>
                </a:cubicBezTo>
                <a:cubicBezTo>
                  <a:pt x="2162" y="404"/>
                  <a:pt x="2162" y="404"/>
                  <a:pt x="2162" y="404"/>
                </a:cubicBezTo>
                <a:cubicBezTo>
                  <a:pt x="2162" y="406"/>
                  <a:pt x="2162" y="406"/>
                  <a:pt x="2162" y="406"/>
                </a:cubicBezTo>
                <a:cubicBezTo>
                  <a:pt x="2162" y="407"/>
                  <a:pt x="2162" y="407"/>
                  <a:pt x="2162" y="407"/>
                </a:cubicBezTo>
                <a:cubicBezTo>
                  <a:pt x="2162" y="408"/>
                  <a:pt x="2162" y="408"/>
                  <a:pt x="2162" y="408"/>
                </a:cubicBezTo>
                <a:cubicBezTo>
                  <a:pt x="2162" y="411"/>
                  <a:pt x="2162" y="411"/>
                  <a:pt x="2162" y="411"/>
                </a:cubicBezTo>
                <a:cubicBezTo>
                  <a:pt x="2163" y="411"/>
                  <a:pt x="2163" y="411"/>
                  <a:pt x="2163" y="411"/>
                </a:cubicBezTo>
                <a:cubicBezTo>
                  <a:pt x="2163" y="413"/>
                  <a:pt x="2163" y="413"/>
                  <a:pt x="2163" y="413"/>
                </a:cubicBezTo>
                <a:cubicBezTo>
                  <a:pt x="2163" y="415"/>
                  <a:pt x="2163" y="415"/>
                  <a:pt x="2163" y="415"/>
                </a:cubicBezTo>
                <a:cubicBezTo>
                  <a:pt x="2164" y="416"/>
                  <a:pt x="2164" y="416"/>
                  <a:pt x="2164" y="416"/>
                </a:cubicBezTo>
                <a:cubicBezTo>
                  <a:pt x="2164" y="418"/>
                  <a:pt x="2164" y="418"/>
                  <a:pt x="2164" y="418"/>
                </a:cubicBezTo>
                <a:cubicBezTo>
                  <a:pt x="2162" y="420"/>
                  <a:pt x="2162" y="420"/>
                  <a:pt x="2162" y="420"/>
                </a:cubicBezTo>
                <a:cubicBezTo>
                  <a:pt x="2162" y="421"/>
                  <a:pt x="2162" y="421"/>
                  <a:pt x="2162" y="421"/>
                </a:cubicBezTo>
                <a:cubicBezTo>
                  <a:pt x="2161" y="423"/>
                  <a:pt x="2161" y="423"/>
                  <a:pt x="2161" y="423"/>
                </a:cubicBezTo>
                <a:cubicBezTo>
                  <a:pt x="2161" y="426"/>
                  <a:pt x="2161" y="426"/>
                  <a:pt x="2161" y="426"/>
                </a:cubicBezTo>
                <a:cubicBezTo>
                  <a:pt x="2161" y="428"/>
                  <a:pt x="2161" y="428"/>
                  <a:pt x="2161" y="428"/>
                </a:cubicBezTo>
                <a:cubicBezTo>
                  <a:pt x="2160" y="429"/>
                  <a:pt x="2160" y="429"/>
                  <a:pt x="2160" y="429"/>
                </a:cubicBezTo>
                <a:cubicBezTo>
                  <a:pt x="2160" y="430"/>
                  <a:pt x="2160" y="430"/>
                  <a:pt x="2160" y="430"/>
                </a:cubicBezTo>
                <a:cubicBezTo>
                  <a:pt x="2159" y="432"/>
                  <a:pt x="2159" y="432"/>
                  <a:pt x="2159" y="432"/>
                </a:cubicBezTo>
                <a:cubicBezTo>
                  <a:pt x="2160" y="432"/>
                  <a:pt x="2160" y="432"/>
                  <a:pt x="2160" y="432"/>
                </a:cubicBezTo>
                <a:cubicBezTo>
                  <a:pt x="2160" y="433"/>
                  <a:pt x="2160" y="433"/>
                  <a:pt x="2160" y="433"/>
                </a:cubicBezTo>
                <a:cubicBezTo>
                  <a:pt x="2159" y="435"/>
                  <a:pt x="2159" y="435"/>
                  <a:pt x="2159" y="435"/>
                </a:cubicBezTo>
                <a:cubicBezTo>
                  <a:pt x="2159" y="438"/>
                  <a:pt x="2159" y="438"/>
                  <a:pt x="2159" y="438"/>
                </a:cubicBezTo>
                <a:cubicBezTo>
                  <a:pt x="2158" y="439"/>
                  <a:pt x="2158" y="439"/>
                  <a:pt x="2158" y="439"/>
                </a:cubicBezTo>
                <a:cubicBezTo>
                  <a:pt x="2159" y="441"/>
                  <a:pt x="2159" y="441"/>
                  <a:pt x="2159" y="441"/>
                </a:cubicBezTo>
                <a:cubicBezTo>
                  <a:pt x="2159" y="442"/>
                  <a:pt x="2159" y="442"/>
                  <a:pt x="2159" y="442"/>
                </a:cubicBezTo>
                <a:cubicBezTo>
                  <a:pt x="2158" y="444"/>
                  <a:pt x="2158" y="444"/>
                  <a:pt x="2158" y="444"/>
                </a:cubicBezTo>
                <a:cubicBezTo>
                  <a:pt x="2157" y="445"/>
                  <a:pt x="2157" y="445"/>
                  <a:pt x="2157" y="445"/>
                </a:cubicBezTo>
                <a:cubicBezTo>
                  <a:pt x="2156" y="446"/>
                  <a:pt x="2156" y="446"/>
                  <a:pt x="2156" y="446"/>
                </a:cubicBezTo>
                <a:cubicBezTo>
                  <a:pt x="2156" y="448"/>
                  <a:pt x="2156" y="448"/>
                  <a:pt x="2156" y="448"/>
                </a:cubicBezTo>
                <a:cubicBezTo>
                  <a:pt x="2155" y="449"/>
                  <a:pt x="2155" y="449"/>
                  <a:pt x="2155" y="449"/>
                </a:cubicBezTo>
                <a:cubicBezTo>
                  <a:pt x="2153" y="455"/>
                  <a:pt x="2153" y="455"/>
                  <a:pt x="2153" y="455"/>
                </a:cubicBezTo>
                <a:cubicBezTo>
                  <a:pt x="2153" y="457"/>
                  <a:pt x="2153" y="457"/>
                  <a:pt x="2153" y="457"/>
                </a:cubicBezTo>
                <a:cubicBezTo>
                  <a:pt x="2153" y="458"/>
                  <a:pt x="2153" y="458"/>
                  <a:pt x="2153" y="458"/>
                </a:cubicBezTo>
                <a:cubicBezTo>
                  <a:pt x="2151" y="459"/>
                  <a:pt x="2151" y="459"/>
                  <a:pt x="2151" y="459"/>
                </a:cubicBezTo>
                <a:cubicBezTo>
                  <a:pt x="2151" y="460"/>
                  <a:pt x="2151" y="460"/>
                  <a:pt x="2151" y="460"/>
                </a:cubicBezTo>
                <a:cubicBezTo>
                  <a:pt x="2150" y="461"/>
                  <a:pt x="2150" y="461"/>
                  <a:pt x="2150" y="461"/>
                </a:cubicBezTo>
                <a:cubicBezTo>
                  <a:pt x="2150" y="463"/>
                  <a:pt x="2150" y="463"/>
                  <a:pt x="2150" y="463"/>
                </a:cubicBezTo>
                <a:cubicBezTo>
                  <a:pt x="2149" y="463"/>
                  <a:pt x="2149" y="463"/>
                  <a:pt x="2149" y="463"/>
                </a:cubicBezTo>
                <a:cubicBezTo>
                  <a:pt x="2150" y="464"/>
                  <a:pt x="2150" y="464"/>
                  <a:pt x="2150" y="464"/>
                </a:cubicBezTo>
                <a:cubicBezTo>
                  <a:pt x="2149" y="466"/>
                  <a:pt x="2149" y="466"/>
                  <a:pt x="2149" y="466"/>
                </a:cubicBezTo>
                <a:cubicBezTo>
                  <a:pt x="2148" y="466"/>
                  <a:pt x="2148" y="466"/>
                  <a:pt x="2148" y="466"/>
                </a:cubicBezTo>
                <a:cubicBezTo>
                  <a:pt x="2147" y="465"/>
                  <a:pt x="2147" y="465"/>
                  <a:pt x="2147" y="465"/>
                </a:cubicBezTo>
                <a:cubicBezTo>
                  <a:pt x="2148" y="467"/>
                  <a:pt x="2148" y="467"/>
                  <a:pt x="2148" y="467"/>
                </a:cubicBezTo>
                <a:cubicBezTo>
                  <a:pt x="2148" y="468"/>
                  <a:pt x="2148" y="468"/>
                  <a:pt x="2148" y="468"/>
                </a:cubicBezTo>
                <a:cubicBezTo>
                  <a:pt x="2146" y="469"/>
                  <a:pt x="2146" y="469"/>
                  <a:pt x="2146" y="469"/>
                </a:cubicBezTo>
                <a:cubicBezTo>
                  <a:pt x="2147" y="470"/>
                  <a:pt x="2147" y="470"/>
                  <a:pt x="2147" y="470"/>
                </a:cubicBezTo>
                <a:cubicBezTo>
                  <a:pt x="2145" y="472"/>
                  <a:pt x="2145" y="472"/>
                  <a:pt x="2145" y="472"/>
                </a:cubicBezTo>
                <a:cubicBezTo>
                  <a:pt x="2144" y="474"/>
                  <a:pt x="2144" y="474"/>
                  <a:pt x="2144" y="474"/>
                </a:cubicBezTo>
                <a:cubicBezTo>
                  <a:pt x="2143" y="474"/>
                  <a:pt x="2143" y="474"/>
                  <a:pt x="2143" y="474"/>
                </a:cubicBezTo>
                <a:cubicBezTo>
                  <a:pt x="2143" y="475"/>
                  <a:pt x="2143" y="475"/>
                  <a:pt x="2143" y="475"/>
                </a:cubicBezTo>
                <a:cubicBezTo>
                  <a:pt x="2141" y="475"/>
                  <a:pt x="2141" y="475"/>
                  <a:pt x="2141" y="475"/>
                </a:cubicBezTo>
                <a:cubicBezTo>
                  <a:pt x="2139" y="476"/>
                  <a:pt x="2139" y="476"/>
                  <a:pt x="2139" y="476"/>
                </a:cubicBezTo>
                <a:cubicBezTo>
                  <a:pt x="2138" y="476"/>
                  <a:pt x="2138" y="476"/>
                  <a:pt x="2138" y="476"/>
                </a:cubicBezTo>
                <a:cubicBezTo>
                  <a:pt x="2136" y="475"/>
                  <a:pt x="2136" y="475"/>
                  <a:pt x="2136" y="475"/>
                </a:cubicBezTo>
                <a:cubicBezTo>
                  <a:pt x="2134" y="475"/>
                  <a:pt x="2134" y="475"/>
                  <a:pt x="2134" y="475"/>
                </a:cubicBezTo>
                <a:cubicBezTo>
                  <a:pt x="2134" y="472"/>
                  <a:pt x="2134" y="472"/>
                  <a:pt x="2134" y="472"/>
                </a:cubicBezTo>
                <a:cubicBezTo>
                  <a:pt x="2133" y="472"/>
                  <a:pt x="2133" y="472"/>
                  <a:pt x="2133" y="472"/>
                </a:cubicBezTo>
                <a:cubicBezTo>
                  <a:pt x="2132" y="472"/>
                  <a:pt x="2132" y="472"/>
                  <a:pt x="2132" y="472"/>
                </a:cubicBezTo>
                <a:cubicBezTo>
                  <a:pt x="2130" y="472"/>
                  <a:pt x="2130" y="472"/>
                  <a:pt x="2130" y="472"/>
                </a:cubicBezTo>
                <a:cubicBezTo>
                  <a:pt x="2130" y="473"/>
                  <a:pt x="2130" y="473"/>
                  <a:pt x="2130" y="473"/>
                </a:cubicBezTo>
                <a:cubicBezTo>
                  <a:pt x="2129" y="474"/>
                  <a:pt x="2129" y="474"/>
                  <a:pt x="2129" y="474"/>
                </a:cubicBezTo>
                <a:cubicBezTo>
                  <a:pt x="2129" y="477"/>
                  <a:pt x="2129" y="477"/>
                  <a:pt x="2129" y="477"/>
                </a:cubicBezTo>
                <a:cubicBezTo>
                  <a:pt x="2128" y="477"/>
                  <a:pt x="2128" y="477"/>
                  <a:pt x="2128" y="477"/>
                </a:cubicBezTo>
                <a:cubicBezTo>
                  <a:pt x="2127" y="479"/>
                  <a:pt x="2127" y="479"/>
                  <a:pt x="2127" y="479"/>
                </a:cubicBezTo>
                <a:cubicBezTo>
                  <a:pt x="2125" y="479"/>
                  <a:pt x="2125" y="479"/>
                  <a:pt x="2125" y="479"/>
                </a:cubicBezTo>
                <a:cubicBezTo>
                  <a:pt x="2125" y="481"/>
                  <a:pt x="2125" y="481"/>
                  <a:pt x="2125" y="481"/>
                </a:cubicBezTo>
                <a:cubicBezTo>
                  <a:pt x="2124" y="481"/>
                  <a:pt x="2124" y="481"/>
                  <a:pt x="2124" y="481"/>
                </a:cubicBezTo>
                <a:cubicBezTo>
                  <a:pt x="2124" y="481"/>
                  <a:pt x="2124" y="481"/>
                  <a:pt x="2122" y="483"/>
                </a:cubicBezTo>
                <a:cubicBezTo>
                  <a:pt x="2122" y="483"/>
                  <a:pt x="2122" y="483"/>
                  <a:pt x="2121" y="484"/>
                </a:cubicBezTo>
                <a:cubicBezTo>
                  <a:pt x="2121" y="484"/>
                  <a:pt x="2121" y="484"/>
                  <a:pt x="2121" y="488"/>
                </a:cubicBezTo>
                <a:cubicBezTo>
                  <a:pt x="2121" y="488"/>
                  <a:pt x="2121" y="488"/>
                  <a:pt x="2121" y="489"/>
                </a:cubicBezTo>
                <a:cubicBezTo>
                  <a:pt x="2121" y="489"/>
                  <a:pt x="2121" y="489"/>
                  <a:pt x="2122" y="490"/>
                </a:cubicBezTo>
                <a:cubicBezTo>
                  <a:pt x="2122" y="490"/>
                  <a:pt x="2122" y="490"/>
                  <a:pt x="2122" y="494"/>
                </a:cubicBezTo>
                <a:cubicBezTo>
                  <a:pt x="2122" y="494"/>
                  <a:pt x="2122" y="494"/>
                  <a:pt x="2123" y="494"/>
                </a:cubicBezTo>
                <a:cubicBezTo>
                  <a:pt x="2123" y="494"/>
                  <a:pt x="2123" y="494"/>
                  <a:pt x="2123" y="496"/>
                </a:cubicBezTo>
                <a:cubicBezTo>
                  <a:pt x="2123" y="496"/>
                  <a:pt x="2123" y="496"/>
                  <a:pt x="2121" y="497"/>
                </a:cubicBezTo>
                <a:cubicBezTo>
                  <a:pt x="2121" y="497"/>
                  <a:pt x="2121" y="497"/>
                  <a:pt x="2121" y="498"/>
                </a:cubicBezTo>
                <a:cubicBezTo>
                  <a:pt x="2121" y="498"/>
                  <a:pt x="2121" y="498"/>
                  <a:pt x="2118" y="501"/>
                </a:cubicBezTo>
                <a:cubicBezTo>
                  <a:pt x="2118" y="501"/>
                  <a:pt x="2118" y="501"/>
                  <a:pt x="2118" y="502"/>
                </a:cubicBezTo>
                <a:cubicBezTo>
                  <a:pt x="2118" y="502"/>
                  <a:pt x="2118" y="502"/>
                  <a:pt x="2118" y="503"/>
                </a:cubicBezTo>
                <a:cubicBezTo>
                  <a:pt x="2118" y="503"/>
                  <a:pt x="2118" y="503"/>
                  <a:pt x="2117" y="503"/>
                </a:cubicBezTo>
                <a:cubicBezTo>
                  <a:pt x="2117" y="503"/>
                  <a:pt x="2117" y="503"/>
                  <a:pt x="2116" y="503"/>
                </a:cubicBezTo>
                <a:cubicBezTo>
                  <a:pt x="2116" y="503"/>
                  <a:pt x="2116" y="503"/>
                  <a:pt x="2115" y="504"/>
                </a:cubicBezTo>
                <a:cubicBezTo>
                  <a:pt x="2115" y="504"/>
                  <a:pt x="2115" y="504"/>
                  <a:pt x="2114" y="506"/>
                </a:cubicBezTo>
                <a:cubicBezTo>
                  <a:pt x="2114" y="506"/>
                  <a:pt x="2114" y="506"/>
                  <a:pt x="2113" y="507"/>
                </a:cubicBezTo>
                <a:cubicBezTo>
                  <a:pt x="2113" y="507"/>
                  <a:pt x="2113" y="507"/>
                  <a:pt x="2113" y="508"/>
                </a:cubicBezTo>
                <a:cubicBezTo>
                  <a:pt x="2113" y="508"/>
                  <a:pt x="2113" y="508"/>
                  <a:pt x="2113" y="510"/>
                </a:cubicBezTo>
                <a:cubicBezTo>
                  <a:pt x="2113" y="510"/>
                  <a:pt x="2113" y="510"/>
                  <a:pt x="2112" y="510"/>
                </a:cubicBezTo>
                <a:cubicBezTo>
                  <a:pt x="2112" y="510"/>
                  <a:pt x="2112" y="510"/>
                  <a:pt x="2113" y="512"/>
                </a:cubicBezTo>
                <a:cubicBezTo>
                  <a:pt x="2113" y="512"/>
                  <a:pt x="2113" y="512"/>
                  <a:pt x="2115" y="512"/>
                </a:cubicBezTo>
                <a:cubicBezTo>
                  <a:pt x="2115" y="512"/>
                  <a:pt x="2115" y="512"/>
                  <a:pt x="2116" y="513"/>
                </a:cubicBezTo>
                <a:cubicBezTo>
                  <a:pt x="2116" y="513"/>
                  <a:pt x="2116" y="513"/>
                  <a:pt x="2120" y="516"/>
                </a:cubicBezTo>
                <a:cubicBezTo>
                  <a:pt x="2120" y="516"/>
                  <a:pt x="2120" y="516"/>
                  <a:pt x="2121" y="517"/>
                </a:cubicBezTo>
                <a:cubicBezTo>
                  <a:pt x="2121" y="517"/>
                  <a:pt x="2121" y="517"/>
                  <a:pt x="2123" y="522"/>
                </a:cubicBezTo>
                <a:cubicBezTo>
                  <a:pt x="2123" y="522"/>
                  <a:pt x="2123" y="522"/>
                  <a:pt x="2127" y="525"/>
                </a:cubicBezTo>
                <a:cubicBezTo>
                  <a:pt x="2127" y="525"/>
                  <a:pt x="2127" y="525"/>
                  <a:pt x="2130" y="530"/>
                </a:cubicBezTo>
                <a:cubicBezTo>
                  <a:pt x="2130" y="530"/>
                  <a:pt x="2130" y="530"/>
                  <a:pt x="2131" y="533"/>
                </a:cubicBezTo>
                <a:cubicBezTo>
                  <a:pt x="2131" y="533"/>
                  <a:pt x="2131" y="533"/>
                  <a:pt x="2132" y="534"/>
                </a:cubicBezTo>
                <a:cubicBezTo>
                  <a:pt x="2132" y="534"/>
                  <a:pt x="2132" y="534"/>
                  <a:pt x="2132" y="538"/>
                </a:cubicBezTo>
                <a:cubicBezTo>
                  <a:pt x="2132" y="538"/>
                  <a:pt x="2132" y="538"/>
                  <a:pt x="2132" y="539"/>
                </a:cubicBezTo>
                <a:cubicBezTo>
                  <a:pt x="2132" y="539"/>
                  <a:pt x="2132" y="539"/>
                  <a:pt x="2133" y="539"/>
                </a:cubicBezTo>
                <a:cubicBezTo>
                  <a:pt x="2133" y="539"/>
                  <a:pt x="2133" y="539"/>
                  <a:pt x="2134" y="544"/>
                </a:cubicBezTo>
                <a:cubicBezTo>
                  <a:pt x="2134" y="544"/>
                  <a:pt x="2134" y="544"/>
                  <a:pt x="2133" y="544"/>
                </a:cubicBezTo>
                <a:cubicBezTo>
                  <a:pt x="2133" y="544"/>
                  <a:pt x="2133" y="544"/>
                  <a:pt x="2133" y="545"/>
                </a:cubicBezTo>
                <a:cubicBezTo>
                  <a:pt x="2133" y="545"/>
                  <a:pt x="2133" y="545"/>
                  <a:pt x="2131" y="547"/>
                </a:cubicBezTo>
                <a:cubicBezTo>
                  <a:pt x="2131" y="547"/>
                  <a:pt x="2131" y="547"/>
                  <a:pt x="2130" y="547"/>
                </a:cubicBezTo>
                <a:cubicBezTo>
                  <a:pt x="2130" y="547"/>
                  <a:pt x="2130" y="547"/>
                  <a:pt x="2128" y="548"/>
                </a:cubicBezTo>
                <a:cubicBezTo>
                  <a:pt x="2128" y="548"/>
                  <a:pt x="2128" y="548"/>
                  <a:pt x="2129" y="549"/>
                </a:cubicBezTo>
                <a:cubicBezTo>
                  <a:pt x="2129" y="549"/>
                  <a:pt x="2129" y="549"/>
                  <a:pt x="2128" y="550"/>
                </a:cubicBezTo>
                <a:cubicBezTo>
                  <a:pt x="2128" y="550"/>
                  <a:pt x="2128" y="550"/>
                  <a:pt x="2128" y="549"/>
                </a:cubicBezTo>
                <a:cubicBezTo>
                  <a:pt x="2128" y="549"/>
                  <a:pt x="2128" y="549"/>
                  <a:pt x="2127" y="549"/>
                </a:cubicBezTo>
                <a:cubicBezTo>
                  <a:pt x="2127" y="549"/>
                  <a:pt x="2127" y="549"/>
                  <a:pt x="2126" y="548"/>
                </a:cubicBezTo>
                <a:cubicBezTo>
                  <a:pt x="2126" y="548"/>
                  <a:pt x="2126" y="548"/>
                  <a:pt x="2125" y="548"/>
                </a:cubicBezTo>
                <a:cubicBezTo>
                  <a:pt x="2125" y="548"/>
                  <a:pt x="2125" y="548"/>
                  <a:pt x="2125" y="549"/>
                </a:cubicBezTo>
                <a:cubicBezTo>
                  <a:pt x="2125" y="549"/>
                  <a:pt x="2125" y="549"/>
                  <a:pt x="2124" y="549"/>
                </a:cubicBezTo>
                <a:cubicBezTo>
                  <a:pt x="2124" y="549"/>
                  <a:pt x="2124" y="549"/>
                  <a:pt x="2123" y="549"/>
                </a:cubicBezTo>
                <a:cubicBezTo>
                  <a:pt x="2123" y="549"/>
                  <a:pt x="2123" y="549"/>
                  <a:pt x="2120" y="551"/>
                </a:cubicBezTo>
                <a:cubicBezTo>
                  <a:pt x="2120" y="551"/>
                  <a:pt x="2120" y="551"/>
                  <a:pt x="2120" y="552"/>
                </a:cubicBezTo>
                <a:cubicBezTo>
                  <a:pt x="2120" y="552"/>
                  <a:pt x="2120" y="552"/>
                  <a:pt x="2119" y="552"/>
                </a:cubicBezTo>
                <a:cubicBezTo>
                  <a:pt x="2119" y="552"/>
                  <a:pt x="2119" y="552"/>
                  <a:pt x="2119" y="553"/>
                </a:cubicBezTo>
                <a:cubicBezTo>
                  <a:pt x="2119" y="553"/>
                  <a:pt x="2119" y="553"/>
                  <a:pt x="2118" y="554"/>
                </a:cubicBezTo>
                <a:cubicBezTo>
                  <a:pt x="2118" y="554"/>
                  <a:pt x="2118" y="554"/>
                  <a:pt x="2118" y="553"/>
                </a:cubicBezTo>
                <a:cubicBezTo>
                  <a:pt x="2118" y="553"/>
                  <a:pt x="2118" y="553"/>
                  <a:pt x="2117" y="551"/>
                </a:cubicBezTo>
                <a:cubicBezTo>
                  <a:pt x="2117" y="551"/>
                  <a:pt x="2117" y="551"/>
                  <a:pt x="2116" y="551"/>
                </a:cubicBezTo>
                <a:cubicBezTo>
                  <a:pt x="2116" y="551"/>
                  <a:pt x="2116" y="551"/>
                  <a:pt x="2115" y="548"/>
                </a:cubicBezTo>
                <a:cubicBezTo>
                  <a:pt x="2115" y="548"/>
                  <a:pt x="2115" y="548"/>
                  <a:pt x="2116" y="548"/>
                </a:cubicBezTo>
                <a:cubicBezTo>
                  <a:pt x="2116" y="548"/>
                  <a:pt x="2116" y="548"/>
                  <a:pt x="2115" y="547"/>
                </a:cubicBezTo>
                <a:cubicBezTo>
                  <a:pt x="2115" y="547"/>
                  <a:pt x="2115" y="547"/>
                  <a:pt x="2115" y="546"/>
                </a:cubicBezTo>
                <a:cubicBezTo>
                  <a:pt x="2115" y="546"/>
                  <a:pt x="2115" y="546"/>
                  <a:pt x="2116" y="545"/>
                </a:cubicBezTo>
                <a:cubicBezTo>
                  <a:pt x="2116" y="545"/>
                  <a:pt x="2116" y="545"/>
                  <a:pt x="2116" y="544"/>
                </a:cubicBezTo>
                <a:cubicBezTo>
                  <a:pt x="2116" y="544"/>
                  <a:pt x="2116" y="544"/>
                  <a:pt x="2115" y="543"/>
                </a:cubicBezTo>
                <a:cubicBezTo>
                  <a:pt x="2115" y="543"/>
                  <a:pt x="2115" y="543"/>
                  <a:pt x="2117" y="541"/>
                </a:cubicBezTo>
                <a:cubicBezTo>
                  <a:pt x="2117" y="541"/>
                  <a:pt x="2117" y="541"/>
                  <a:pt x="2116" y="539"/>
                </a:cubicBezTo>
                <a:cubicBezTo>
                  <a:pt x="2116" y="539"/>
                  <a:pt x="2116" y="539"/>
                  <a:pt x="2115" y="540"/>
                </a:cubicBezTo>
                <a:cubicBezTo>
                  <a:pt x="2115" y="540"/>
                  <a:pt x="2115" y="540"/>
                  <a:pt x="2115" y="539"/>
                </a:cubicBezTo>
                <a:cubicBezTo>
                  <a:pt x="2115" y="539"/>
                  <a:pt x="2115" y="539"/>
                  <a:pt x="2115" y="537"/>
                </a:cubicBezTo>
                <a:cubicBezTo>
                  <a:pt x="2115" y="537"/>
                  <a:pt x="2115" y="537"/>
                  <a:pt x="2114" y="535"/>
                </a:cubicBezTo>
                <a:cubicBezTo>
                  <a:pt x="2114" y="535"/>
                  <a:pt x="2114" y="535"/>
                  <a:pt x="2113" y="535"/>
                </a:cubicBezTo>
                <a:cubicBezTo>
                  <a:pt x="2113" y="535"/>
                  <a:pt x="2113" y="535"/>
                  <a:pt x="2111" y="534"/>
                </a:cubicBezTo>
                <a:cubicBezTo>
                  <a:pt x="2111" y="534"/>
                  <a:pt x="2111" y="534"/>
                  <a:pt x="2112" y="532"/>
                </a:cubicBezTo>
                <a:cubicBezTo>
                  <a:pt x="2112" y="532"/>
                  <a:pt x="2112" y="532"/>
                  <a:pt x="2113" y="533"/>
                </a:cubicBezTo>
                <a:cubicBezTo>
                  <a:pt x="2113" y="533"/>
                  <a:pt x="2113" y="533"/>
                  <a:pt x="2113" y="531"/>
                </a:cubicBezTo>
                <a:cubicBezTo>
                  <a:pt x="2113" y="531"/>
                  <a:pt x="2113" y="531"/>
                  <a:pt x="2114" y="532"/>
                </a:cubicBezTo>
                <a:cubicBezTo>
                  <a:pt x="2114" y="532"/>
                  <a:pt x="2114" y="532"/>
                  <a:pt x="2116" y="533"/>
                </a:cubicBezTo>
                <a:cubicBezTo>
                  <a:pt x="2116" y="533"/>
                  <a:pt x="2116" y="533"/>
                  <a:pt x="2115" y="532"/>
                </a:cubicBezTo>
                <a:cubicBezTo>
                  <a:pt x="2115" y="532"/>
                  <a:pt x="2115" y="532"/>
                  <a:pt x="2114" y="530"/>
                </a:cubicBezTo>
                <a:cubicBezTo>
                  <a:pt x="2114" y="530"/>
                  <a:pt x="2114" y="530"/>
                  <a:pt x="2112" y="527"/>
                </a:cubicBezTo>
                <a:cubicBezTo>
                  <a:pt x="2112" y="527"/>
                  <a:pt x="2112" y="527"/>
                  <a:pt x="2110" y="525"/>
                </a:cubicBezTo>
                <a:cubicBezTo>
                  <a:pt x="2110" y="525"/>
                  <a:pt x="2110" y="525"/>
                  <a:pt x="2109" y="525"/>
                </a:cubicBezTo>
                <a:cubicBezTo>
                  <a:pt x="2109" y="525"/>
                  <a:pt x="2109" y="525"/>
                  <a:pt x="2108" y="525"/>
                </a:cubicBezTo>
                <a:cubicBezTo>
                  <a:pt x="2108" y="525"/>
                  <a:pt x="2108" y="525"/>
                  <a:pt x="2107" y="525"/>
                </a:cubicBezTo>
                <a:cubicBezTo>
                  <a:pt x="2107" y="525"/>
                  <a:pt x="2107" y="525"/>
                  <a:pt x="2106" y="524"/>
                </a:cubicBezTo>
                <a:cubicBezTo>
                  <a:pt x="2106" y="524"/>
                  <a:pt x="2106" y="524"/>
                  <a:pt x="2105" y="524"/>
                </a:cubicBezTo>
                <a:cubicBezTo>
                  <a:pt x="2105" y="524"/>
                  <a:pt x="2105" y="524"/>
                  <a:pt x="2106" y="525"/>
                </a:cubicBezTo>
                <a:cubicBezTo>
                  <a:pt x="2106" y="525"/>
                  <a:pt x="2106" y="525"/>
                  <a:pt x="2105" y="526"/>
                </a:cubicBezTo>
                <a:cubicBezTo>
                  <a:pt x="2105" y="526"/>
                  <a:pt x="2105" y="526"/>
                  <a:pt x="2104" y="526"/>
                </a:cubicBezTo>
                <a:cubicBezTo>
                  <a:pt x="2104" y="526"/>
                  <a:pt x="2104" y="526"/>
                  <a:pt x="2103" y="527"/>
                </a:cubicBezTo>
                <a:cubicBezTo>
                  <a:pt x="2103" y="527"/>
                  <a:pt x="2103" y="527"/>
                  <a:pt x="2102" y="526"/>
                </a:cubicBezTo>
                <a:cubicBezTo>
                  <a:pt x="2102" y="526"/>
                  <a:pt x="2102" y="526"/>
                  <a:pt x="2103" y="524"/>
                </a:cubicBezTo>
                <a:cubicBezTo>
                  <a:pt x="2103" y="524"/>
                  <a:pt x="2103" y="524"/>
                  <a:pt x="2102" y="524"/>
                </a:cubicBezTo>
                <a:cubicBezTo>
                  <a:pt x="2102" y="524"/>
                  <a:pt x="2102" y="524"/>
                  <a:pt x="2101" y="524"/>
                </a:cubicBezTo>
                <a:cubicBezTo>
                  <a:pt x="2101" y="524"/>
                  <a:pt x="2101" y="524"/>
                  <a:pt x="2100" y="524"/>
                </a:cubicBezTo>
                <a:cubicBezTo>
                  <a:pt x="2100" y="524"/>
                  <a:pt x="2100" y="524"/>
                  <a:pt x="2100" y="523"/>
                </a:cubicBezTo>
                <a:cubicBezTo>
                  <a:pt x="2100" y="523"/>
                  <a:pt x="2100" y="523"/>
                  <a:pt x="2101" y="520"/>
                </a:cubicBezTo>
                <a:cubicBezTo>
                  <a:pt x="2101" y="520"/>
                  <a:pt x="2101" y="520"/>
                  <a:pt x="2101" y="519"/>
                </a:cubicBezTo>
                <a:cubicBezTo>
                  <a:pt x="2101" y="519"/>
                  <a:pt x="2101" y="519"/>
                  <a:pt x="2103" y="519"/>
                </a:cubicBezTo>
                <a:cubicBezTo>
                  <a:pt x="2103" y="519"/>
                  <a:pt x="2103" y="519"/>
                  <a:pt x="2104" y="517"/>
                </a:cubicBezTo>
                <a:cubicBezTo>
                  <a:pt x="2104" y="517"/>
                  <a:pt x="2104" y="517"/>
                  <a:pt x="2103" y="518"/>
                </a:cubicBezTo>
                <a:cubicBezTo>
                  <a:pt x="2103" y="518"/>
                  <a:pt x="2103" y="518"/>
                  <a:pt x="2101" y="518"/>
                </a:cubicBezTo>
                <a:cubicBezTo>
                  <a:pt x="2101" y="518"/>
                  <a:pt x="2101" y="518"/>
                  <a:pt x="2100" y="517"/>
                </a:cubicBezTo>
                <a:cubicBezTo>
                  <a:pt x="2100" y="517"/>
                  <a:pt x="2100" y="517"/>
                  <a:pt x="2100" y="514"/>
                </a:cubicBezTo>
                <a:cubicBezTo>
                  <a:pt x="2100" y="514"/>
                  <a:pt x="2100" y="514"/>
                  <a:pt x="2102" y="512"/>
                </a:cubicBezTo>
                <a:cubicBezTo>
                  <a:pt x="2102" y="512"/>
                  <a:pt x="2102" y="512"/>
                  <a:pt x="2101" y="511"/>
                </a:cubicBezTo>
                <a:cubicBezTo>
                  <a:pt x="2101" y="511"/>
                  <a:pt x="2101" y="511"/>
                  <a:pt x="2102" y="510"/>
                </a:cubicBezTo>
                <a:cubicBezTo>
                  <a:pt x="2102" y="510"/>
                  <a:pt x="2102" y="510"/>
                  <a:pt x="2102" y="509"/>
                </a:cubicBezTo>
                <a:cubicBezTo>
                  <a:pt x="2102" y="509"/>
                  <a:pt x="2102" y="509"/>
                  <a:pt x="2101" y="509"/>
                </a:cubicBezTo>
                <a:cubicBezTo>
                  <a:pt x="2101" y="509"/>
                  <a:pt x="2101" y="509"/>
                  <a:pt x="2101" y="510"/>
                </a:cubicBezTo>
                <a:cubicBezTo>
                  <a:pt x="2101" y="510"/>
                  <a:pt x="2101" y="510"/>
                  <a:pt x="2099" y="510"/>
                </a:cubicBezTo>
                <a:cubicBezTo>
                  <a:pt x="2099" y="510"/>
                  <a:pt x="2099" y="510"/>
                  <a:pt x="2098" y="509"/>
                </a:cubicBezTo>
                <a:cubicBezTo>
                  <a:pt x="2098" y="509"/>
                  <a:pt x="2098" y="509"/>
                  <a:pt x="2097" y="509"/>
                </a:cubicBezTo>
                <a:cubicBezTo>
                  <a:pt x="2097" y="509"/>
                  <a:pt x="2097" y="509"/>
                  <a:pt x="2097" y="510"/>
                </a:cubicBezTo>
                <a:cubicBezTo>
                  <a:pt x="2097" y="510"/>
                  <a:pt x="2097" y="510"/>
                  <a:pt x="2096" y="510"/>
                </a:cubicBezTo>
                <a:cubicBezTo>
                  <a:pt x="2096" y="510"/>
                  <a:pt x="2096" y="510"/>
                  <a:pt x="2095" y="508"/>
                </a:cubicBezTo>
                <a:cubicBezTo>
                  <a:pt x="2094" y="507"/>
                  <a:pt x="2094" y="507"/>
                  <a:pt x="2094" y="507"/>
                </a:cubicBezTo>
                <a:cubicBezTo>
                  <a:pt x="2092" y="509"/>
                  <a:pt x="2092" y="509"/>
                  <a:pt x="2092" y="509"/>
                </a:cubicBezTo>
                <a:cubicBezTo>
                  <a:pt x="2091" y="509"/>
                  <a:pt x="2091" y="509"/>
                  <a:pt x="2091" y="509"/>
                </a:cubicBezTo>
                <a:cubicBezTo>
                  <a:pt x="2090" y="509"/>
                  <a:pt x="2090" y="509"/>
                  <a:pt x="2090" y="509"/>
                </a:cubicBezTo>
                <a:cubicBezTo>
                  <a:pt x="2090" y="508"/>
                  <a:pt x="2090" y="508"/>
                  <a:pt x="2090" y="508"/>
                </a:cubicBezTo>
                <a:cubicBezTo>
                  <a:pt x="2088" y="510"/>
                  <a:pt x="2088" y="510"/>
                  <a:pt x="2088" y="510"/>
                </a:cubicBezTo>
                <a:cubicBezTo>
                  <a:pt x="2087" y="510"/>
                  <a:pt x="2087" y="510"/>
                  <a:pt x="2087" y="510"/>
                </a:cubicBezTo>
                <a:cubicBezTo>
                  <a:pt x="2086" y="511"/>
                  <a:pt x="2086" y="511"/>
                  <a:pt x="2086" y="511"/>
                </a:cubicBezTo>
                <a:cubicBezTo>
                  <a:pt x="2083" y="513"/>
                  <a:pt x="2083" y="513"/>
                  <a:pt x="2083" y="513"/>
                </a:cubicBezTo>
                <a:cubicBezTo>
                  <a:pt x="2081" y="514"/>
                  <a:pt x="2081" y="514"/>
                  <a:pt x="2081" y="514"/>
                </a:cubicBezTo>
                <a:cubicBezTo>
                  <a:pt x="2082" y="515"/>
                  <a:pt x="2082" y="515"/>
                  <a:pt x="2082" y="515"/>
                </a:cubicBezTo>
                <a:cubicBezTo>
                  <a:pt x="2082" y="516"/>
                  <a:pt x="2082" y="516"/>
                  <a:pt x="2082" y="516"/>
                </a:cubicBezTo>
                <a:cubicBezTo>
                  <a:pt x="2080" y="517"/>
                  <a:pt x="2080" y="517"/>
                  <a:pt x="2080" y="517"/>
                </a:cubicBezTo>
                <a:cubicBezTo>
                  <a:pt x="2079" y="518"/>
                  <a:pt x="2079" y="518"/>
                  <a:pt x="2079" y="518"/>
                </a:cubicBezTo>
                <a:cubicBezTo>
                  <a:pt x="2078" y="518"/>
                  <a:pt x="2078" y="518"/>
                  <a:pt x="2078" y="518"/>
                </a:cubicBezTo>
                <a:cubicBezTo>
                  <a:pt x="2077" y="519"/>
                  <a:pt x="2077" y="519"/>
                  <a:pt x="2077" y="519"/>
                </a:cubicBezTo>
                <a:cubicBezTo>
                  <a:pt x="2076" y="518"/>
                  <a:pt x="2076" y="518"/>
                  <a:pt x="2076" y="518"/>
                </a:cubicBezTo>
                <a:cubicBezTo>
                  <a:pt x="2075" y="518"/>
                  <a:pt x="2075" y="518"/>
                  <a:pt x="2075" y="518"/>
                </a:cubicBezTo>
                <a:cubicBezTo>
                  <a:pt x="2076" y="517"/>
                  <a:pt x="2076" y="517"/>
                  <a:pt x="2076" y="517"/>
                </a:cubicBezTo>
                <a:cubicBezTo>
                  <a:pt x="2077" y="517"/>
                  <a:pt x="2077" y="517"/>
                  <a:pt x="2077" y="517"/>
                </a:cubicBezTo>
                <a:cubicBezTo>
                  <a:pt x="2078" y="516"/>
                  <a:pt x="2078" y="516"/>
                  <a:pt x="2078" y="516"/>
                </a:cubicBezTo>
                <a:cubicBezTo>
                  <a:pt x="2079" y="516"/>
                  <a:pt x="2079" y="516"/>
                  <a:pt x="2079" y="516"/>
                </a:cubicBezTo>
                <a:cubicBezTo>
                  <a:pt x="2080" y="515"/>
                  <a:pt x="2080" y="515"/>
                  <a:pt x="2080" y="515"/>
                </a:cubicBezTo>
                <a:cubicBezTo>
                  <a:pt x="2079" y="515"/>
                  <a:pt x="2079" y="515"/>
                  <a:pt x="2079" y="515"/>
                </a:cubicBezTo>
                <a:cubicBezTo>
                  <a:pt x="2079" y="514"/>
                  <a:pt x="2079" y="514"/>
                  <a:pt x="2079" y="514"/>
                </a:cubicBezTo>
                <a:cubicBezTo>
                  <a:pt x="2080" y="513"/>
                  <a:pt x="2080" y="513"/>
                  <a:pt x="2080" y="513"/>
                </a:cubicBezTo>
                <a:cubicBezTo>
                  <a:pt x="2081" y="512"/>
                  <a:pt x="2081" y="512"/>
                  <a:pt x="2081" y="512"/>
                </a:cubicBezTo>
                <a:cubicBezTo>
                  <a:pt x="2079" y="513"/>
                  <a:pt x="2079" y="513"/>
                  <a:pt x="2079" y="513"/>
                </a:cubicBezTo>
                <a:cubicBezTo>
                  <a:pt x="2078" y="514"/>
                  <a:pt x="2078" y="514"/>
                  <a:pt x="2078" y="514"/>
                </a:cubicBezTo>
                <a:cubicBezTo>
                  <a:pt x="2077" y="513"/>
                  <a:pt x="2077" y="513"/>
                  <a:pt x="2077" y="513"/>
                </a:cubicBezTo>
                <a:cubicBezTo>
                  <a:pt x="2077" y="512"/>
                  <a:pt x="2077" y="512"/>
                  <a:pt x="2077" y="512"/>
                </a:cubicBezTo>
                <a:cubicBezTo>
                  <a:pt x="2078" y="512"/>
                  <a:pt x="2078" y="512"/>
                  <a:pt x="2078" y="512"/>
                </a:cubicBezTo>
                <a:cubicBezTo>
                  <a:pt x="2078" y="511"/>
                  <a:pt x="2078" y="511"/>
                  <a:pt x="2078" y="511"/>
                </a:cubicBezTo>
                <a:cubicBezTo>
                  <a:pt x="2076" y="510"/>
                  <a:pt x="2076" y="510"/>
                  <a:pt x="2076" y="510"/>
                </a:cubicBezTo>
                <a:cubicBezTo>
                  <a:pt x="2077" y="508"/>
                  <a:pt x="2077" y="508"/>
                  <a:pt x="2077" y="508"/>
                </a:cubicBezTo>
                <a:cubicBezTo>
                  <a:pt x="2078" y="508"/>
                  <a:pt x="2078" y="508"/>
                  <a:pt x="2078" y="508"/>
                </a:cubicBezTo>
                <a:cubicBezTo>
                  <a:pt x="2078" y="506"/>
                  <a:pt x="2078" y="506"/>
                  <a:pt x="2078" y="506"/>
                </a:cubicBezTo>
                <a:cubicBezTo>
                  <a:pt x="2079" y="504"/>
                  <a:pt x="2079" y="504"/>
                  <a:pt x="2079" y="504"/>
                </a:cubicBezTo>
                <a:cubicBezTo>
                  <a:pt x="2079" y="503"/>
                  <a:pt x="2079" y="503"/>
                  <a:pt x="2079" y="503"/>
                </a:cubicBezTo>
                <a:cubicBezTo>
                  <a:pt x="2080" y="503"/>
                  <a:pt x="2080" y="503"/>
                  <a:pt x="2080" y="503"/>
                </a:cubicBezTo>
                <a:cubicBezTo>
                  <a:pt x="2080" y="502"/>
                  <a:pt x="2080" y="502"/>
                  <a:pt x="2080" y="502"/>
                </a:cubicBezTo>
                <a:cubicBezTo>
                  <a:pt x="2077" y="500"/>
                  <a:pt x="2077" y="500"/>
                  <a:pt x="2077" y="500"/>
                </a:cubicBezTo>
                <a:cubicBezTo>
                  <a:pt x="2075" y="498"/>
                  <a:pt x="2075" y="498"/>
                  <a:pt x="2075" y="498"/>
                </a:cubicBezTo>
                <a:cubicBezTo>
                  <a:pt x="2075" y="499"/>
                  <a:pt x="2075" y="499"/>
                  <a:pt x="2075" y="499"/>
                </a:cubicBezTo>
                <a:cubicBezTo>
                  <a:pt x="2074" y="499"/>
                  <a:pt x="2074" y="499"/>
                  <a:pt x="2074" y="499"/>
                </a:cubicBezTo>
                <a:cubicBezTo>
                  <a:pt x="2073" y="499"/>
                  <a:pt x="2073" y="499"/>
                  <a:pt x="2073" y="499"/>
                </a:cubicBezTo>
                <a:cubicBezTo>
                  <a:pt x="2072" y="499"/>
                  <a:pt x="2072" y="499"/>
                  <a:pt x="2072" y="499"/>
                </a:cubicBezTo>
                <a:cubicBezTo>
                  <a:pt x="2071" y="500"/>
                  <a:pt x="2071" y="500"/>
                  <a:pt x="2071" y="500"/>
                </a:cubicBezTo>
                <a:cubicBezTo>
                  <a:pt x="2070" y="501"/>
                  <a:pt x="2070" y="501"/>
                  <a:pt x="2070" y="501"/>
                </a:cubicBezTo>
                <a:cubicBezTo>
                  <a:pt x="2070" y="502"/>
                  <a:pt x="2070" y="502"/>
                  <a:pt x="2070" y="502"/>
                </a:cubicBezTo>
                <a:cubicBezTo>
                  <a:pt x="2069" y="503"/>
                  <a:pt x="2069" y="503"/>
                  <a:pt x="2069" y="503"/>
                </a:cubicBezTo>
                <a:cubicBezTo>
                  <a:pt x="2069" y="506"/>
                  <a:pt x="2069" y="506"/>
                  <a:pt x="2069" y="506"/>
                </a:cubicBezTo>
                <a:cubicBezTo>
                  <a:pt x="2068" y="506"/>
                  <a:pt x="2068" y="506"/>
                  <a:pt x="2068" y="506"/>
                </a:cubicBezTo>
                <a:cubicBezTo>
                  <a:pt x="2067" y="508"/>
                  <a:pt x="2067" y="508"/>
                  <a:pt x="2067" y="508"/>
                </a:cubicBezTo>
                <a:cubicBezTo>
                  <a:pt x="2066" y="508"/>
                  <a:pt x="2066" y="508"/>
                  <a:pt x="2066" y="508"/>
                </a:cubicBezTo>
                <a:cubicBezTo>
                  <a:pt x="2064" y="509"/>
                  <a:pt x="2064" y="509"/>
                  <a:pt x="2064" y="509"/>
                </a:cubicBezTo>
                <a:cubicBezTo>
                  <a:pt x="2063" y="512"/>
                  <a:pt x="2063" y="512"/>
                  <a:pt x="2063" y="512"/>
                </a:cubicBezTo>
                <a:cubicBezTo>
                  <a:pt x="2062" y="513"/>
                  <a:pt x="2062" y="513"/>
                  <a:pt x="2062" y="513"/>
                </a:cubicBezTo>
                <a:cubicBezTo>
                  <a:pt x="2063" y="513"/>
                  <a:pt x="2063" y="513"/>
                  <a:pt x="2063" y="513"/>
                </a:cubicBezTo>
                <a:cubicBezTo>
                  <a:pt x="2063" y="515"/>
                  <a:pt x="2063" y="515"/>
                  <a:pt x="2063" y="515"/>
                </a:cubicBezTo>
                <a:cubicBezTo>
                  <a:pt x="2062" y="517"/>
                  <a:pt x="2062" y="517"/>
                  <a:pt x="2062" y="517"/>
                </a:cubicBezTo>
                <a:cubicBezTo>
                  <a:pt x="2060" y="517"/>
                  <a:pt x="2060" y="517"/>
                  <a:pt x="2060" y="517"/>
                </a:cubicBezTo>
                <a:cubicBezTo>
                  <a:pt x="2058" y="517"/>
                  <a:pt x="2058" y="517"/>
                  <a:pt x="2058" y="517"/>
                </a:cubicBezTo>
                <a:cubicBezTo>
                  <a:pt x="2056" y="516"/>
                  <a:pt x="2056" y="516"/>
                  <a:pt x="2056" y="516"/>
                </a:cubicBezTo>
                <a:cubicBezTo>
                  <a:pt x="2056" y="517"/>
                  <a:pt x="2056" y="517"/>
                  <a:pt x="2056" y="517"/>
                </a:cubicBezTo>
                <a:cubicBezTo>
                  <a:pt x="2055" y="517"/>
                  <a:pt x="2055" y="517"/>
                  <a:pt x="2055" y="517"/>
                </a:cubicBezTo>
                <a:cubicBezTo>
                  <a:pt x="2055" y="519"/>
                  <a:pt x="2055" y="519"/>
                  <a:pt x="2055" y="519"/>
                </a:cubicBezTo>
                <a:cubicBezTo>
                  <a:pt x="2055" y="520"/>
                  <a:pt x="2055" y="520"/>
                  <a:pt x="2055" y="520"/>
                </a:cubicBezTo>
                <a:cubicBezTo>
                  <a:pt x="2054" y="520"/>
                  <a:pt x="2054" y="520"/>
                  <a:pt x="2054" y="520"/>
                </a:cubicBezTo>
                <a:cubicBezTo>
                  <a:pt x="2055" y="522"/>
                  <a:pt x="2055" y="522"/>
                  <a:pt x="2055" y="522"/>
                </a:cubicBezTo>
                <a:cubicBezTo>
                  <a:pt x="2055" y="523"/>
                  <a:pt x="2055" y="523"/>
                  <a:pt x="2055" y="523"/>
                </a:cubicBezTo>
                <a:cubicBezTo>
                  <a:pt x="2056" y="524"/>
                  <a:pt x="2056" y="524"/>
                  <a:pt x="2056" y="524"/>
                </a:cubicBezTo>
                <a:cubicBezTo>
                  <a:pt x="2058" y="525"/>
                  <a:pt x="2058" y="525"/>
                  <a:pt x="2058" y="525"/>
                </a:cubicBezTo>
                <a:cubicBezTo>
                  <a:pt x="2059" y="526"/>
                  <a:pt x="2059" y="526"/>
                  <a:pt x="2059" y="526"/>
                </a:cubicBezTo>
                <a:cubicBezTo>
                  <a:pt x="2060" y="528"/>
                  <a:pt x="2060" y="528"/>
                  <a:pt x="2060" y="528"/>
                </a:cubicBezTo>
                <a:cubicBezTo>
                  <a:pt x="2061" y="527"/>
                  <a:pt x="2061" y="527"/>
                  <a:pt x="2061" y="527"/>
                </a:cubicBezTo>
                <a:cubicBezTo>
                  <a:pt x="2061" y="528"/>
                  <a:pt x="2061" y="528"/>
                  <a:pt x="2061" y="528"/>
                </a:cubicBezTo>
                <a:cubicBezTo>
                  <a:pt x="2062" y="527"/>
                  <a:pt x="2062" y="527"/>
                  <a:pt x="2062" y="527"/>
                </a:cubicBezTo>
                <a:cubicBezTo>
                  <a:pt x="2064" y="527"/>
                  <a:pt x="2064" y="527"/>
                  <a:pt x="2064" y="527"/>
                </a:cubicBezTo>
                <a:cubicBezTo>
                  <a:pt x="2064" y="528"/>
                  <a:pt x="2064" y="528"/>
                  <a:pt x="2064" y="528"/>
                </a:cubicBezTo>
                <a:cubicBezTo>
                  <a:pt x="2064" y="530"/>
                  <a:pt x="2064" y="530"/>
                  <a:pt x="2064" y="530"/>
                </a:cubicBezTo>
                <a:cubicBezTo>
                  <a:pt x="2066" y="534"/>
                  <a:pt x="2066" y="534"/>
                  <a:pt x="2066" y="534"/>
                </a:cubicBezTo>
                <a:cubicBezTo>
                  <a:pt x="2067" y="534"/>
                  <a:pt x="2067" y="534"/>
                  <a:pt x="2067" y="534"/>
                </a:cubicBezTo>
                <a:cubicBezTo>
                  <a:pt x="2069" y="533"/>
                  <a:pt x="2069" y="533"/>
                  <a:pt x="2069" y="533"/>
                </a:cubicBezTo>
                <a:cubicBezTo>
                  <a:pt x="2070" y="533"/>
                  <a:pt x="2070" y="533"/>
                  <a:pt x="2070" y="533"/>
                </a:cubicBezTo>
                <a:cubicBezTo>
                  <a:pt x="2071" y="532"/>
                  <a:pt x="2071" y="532"/>
                  <a:pt x="2071" y="532"/>
                </a:cubicBezTo>
                <a:cubicBezTo>
                  <a:pt x="2070" y="531"/>
                  <a:pt x="2070" y="531"/>
                  <a:pt x="2070" y="531"/>
                </a:cubicBezTo>
                <a:cubicBezTo>
                  <a:pt x="2072" y="530"/>
                  <a:pt x="2072" y="530"/>
                  <a:pt x="2072" y="530"/>
                </a:cubicBezTo>
                <a:cubicBezTo>
                  <a:pt x="2073" y="529"/>
                  <a:pt x="2073" y="529"/>
                  <a:pt x="2073" y="529"/>
                </a:cubicBezTo>
                <a:cubicBezTo>
                  <a:pt x="2073" y="528"/>
                  <a:pt x="2073" y="528"/>
                  <a:pt x="2073" y="528"/>
                </a:cubicBezTo>
                <a:cubicBezTo>
                  <a:pt x="2074" y="528"/>
                  <a:pt x="2074" y="528"/>
                  <a:pt x="2074" y="528"/>
                </a:cubicBezTo>
                <a:cubicBezTo>
                  <a:pt x="2077" y="526"/>
                  <a:pt x="2077" y="526"/>
                  <a:pt x="2077" y="526"/>
                </a:cubicBezTo>
                <a:cubicBezTo>
                  <a:pt x="2077" y="527"/>
                  <a:pt x="2077" y="527"/>
                  <a:pt x="2077" y="527"/>
                </a:cubicBezTo>
                <a:cubicBezTo>
                  <a:pt x="2078" y="527"/>
                  <a:pt x="2078" y="527"/>
                  <a:pt x="2078" y="527"/>
                </a:cubicBezTo>
                <a:cubicBezTo>
                  <a:pt x="2078" y="528"/>
                  <a:pt x="2078" y="528"/>
                  <a:pt x="2078" y="528"/>
                </a:cubicBezTo>
                <a:cubicBezTo>
                  <a:pt x="2079" y="529"/>
                  <a:pt x="2079" y="529"/>
                  <a:pt x="2079" y="529"/>
                </a:cubicBezTo>
                <a:cubicBezTo>
                  <a:pt x="2080" y="529"/>
                  <a:pt x="2080" y="529"/>
                  <a:pt x="2080" y="529"/>
                </a:cubicBezTo>
                <a:cubicBezTo>
                  <a:pt x="2084" y="529"/>
                  <a:pt x="2084" y="529"/>
                  <a:pt x="2084" y="529"/>
                </a:cubicBezTo>
                <a:cubicBezTo>
                  <a:pt x="2086" y="529"/>
                  <a:pt x="2086" y="529"/>
                  <a:pt x="2086" y="529"/>
                </a:cubicBezTo>
                <a:cubicBezTo>
                  <a:pt x="2087" y="529"/>
                  <a:pt x="2087" y="529"/>
                  <a:pt x="2087" y="529"/>
                </a:cubicBezTo>
                <a:cubicBezTo>
                  <a:pt x="2089" y="529"/>
                  <a:pt x="2089" y="529"/>
                  <a:pt x="2089" y="529"/>
                </a:cubicBezTo>
                <a:cubicBezTo>
                  <a:pt x="2090" y="529"/>
                  <a:pt x="2090" y="529"/>
                  <a:pt x="2090" y="529"/>
                </a:cubicBezTo>
                <a:cubicBezTo>
                  <a:pt x="2088" y="530"/>
                  <a:pt x="2088" y="530"/>
                  <a:pt x="2088" y="530"/>
                </a:cubicBezTo>
                <a:cubicBezTo>
                  <a:pt x="2089" y="532"/>
                  <a:pt x="2089" y="532"/>
                  <a:pt x="2089" y="532"/>
                </a:cubicBezTo>
                <a:cubicBezTo>
                  <a:pt x="2088" y="532"/>
                  <a:pt x="2088" y="532"/>
                  <a:pt x="2088" y="532"/>
                </a:cubicBezTo>
                <a:cubicBezTo>
                  <a:pt x="2088" y="533"/>
                  <a:pt x="2088" y="533"/>
                  <a:pt x="2088" y="533"/>
                </a:cubicBezTo>
                <a:cubicBezTo>
                  <a:pt x="2089" y="534"/>
                  <a:pt x="2089" y="534"/>
                  <a:pt x="2089" y="534"/>
                </a:cubicBezTo>
                <a:cubicBezTo>
                  <a:pt x="2087" y="536"/>
                  <a:pt x="2087" y="536"/>
                  <a:pt x="2087" y="536"/>
                </a:cubicBezTo>
                <a:cubicBezTo>
                  <a:pt x="2086" y="535"/>
                  <a:pt x="2086" y="535"/>
                  <a:pt x="2086" y="535"/>
                </a:cubicBezTo>
                <a:cubicBezTo>
                  <a:pt x="2086" y="534"/>
                  <a:pt x="2086" y="534"/>
                  <a:pt x="2086" y="534"/>
                </a:cubicBezTo>
                <a:cubicBezTo>
                  <a:pt x="2085" y="535"/>
                  <a:pt x="2085" y="535"/>
                  <a:pt x="2085" y="535"/>
                </a:cubicBezTo>
                <a:cubicBezTo>
                  <a:pt x="2085" y="534"/>
                  <a:pt x="2085" y="534"/>
                  <a:pt x="2085" y="534"/>
                </a:cubicBezTo>
                <a:cubicBezTo>
                  <a:pt x="2083" y="536"/>
                  <a:pt x="2083" y="536"/>
                  <a:pt x="2083" y="536"/>
                </a:cubicBezTo>
                <a:cubicBezTo>
                  <a:pt x="2081" y="537"/>
                  <a:pt x="2081" y="537"/>
                  <a:pt x="2081" y="537"/>
                </a:cubicBezTo>
                <a:cubicBezTo>
                  <a:pt x="2080" y="536"/>
                  <a:pt x="2080" y="536"/>
                  <a:pt x="2080" y="536"/>
                </a:cubicBezTo>
                <a:cubicBezTo>
                  <a:pt x="2080" y="537"/>
                  <a:pt x="2080" y="537"/>
                  <a:pt x="2080" y="537"/>
                </a:cubicBezTo>
                <a:cubicBezTo>
                  <a:pt x="2079" y="536"/>
                  <a:pt x="2079" y="536"/>
                  <a:pt x="2079" y="536"/>
                </a:cubicBezTo>
                <a:cubicBezTo>
                  <a:pt x="2078" y="537"/>
                  <a:pt x="2078" y="537"/>
                  <a:pt x="2078" y="537"/>
                </a:cubicBezTo>
                <a:cubicBezTo>
                  <a:pt x="2079" y="538"/>
                  <a:pt x="2079" y="538"/>
                  <a:pt x="2079" y="538"/>
                </a:cubicBezTo>
                <a:cubicBezTo>
                  <a:pt x="2078" y="539"/>
                  <a:pt x="2078" y="539"/>
                  <a:pt x="2078" y="539"/>
                </a:cubicBezTo>
                <a:cubicBezTo>
                  <a:pt x="2078" y="540"/>
                  <a:pt x="2078" y="540"/>
                  <a:pt x="2078" y="540"/>
                </a:cubicBezTo>
                <a:cubicBezTo>
                  <a:pt x="2076" y="540"/>
                  <a:pt x="2076" y="540"/>
                  <a:pt x="2076" y="540"/>
                </a:cubicBezTo>
                <a:cubicBezTo>
                  <a:pt x="2075" y="541"/>
                  <a:pt x="2075" y="541"/>
                  <a:pt x="2075" y="541"/>
                </a:cubicBezTo>
                <a:cubicBezTo>
                  <a:pt x="2075" y="542"/>
                  <a:pt x="2075" y="542"/>
                  <a:pt x="2075" y="542"/>
                </a:cubicBezTo>
                <a:cubicBezTo>
                  <a:pt x="2076" y="543"/>
                  <a:pt x="2076" y="543"/>
                  <a:pt x="2076" y="543"/>
                </a:cubicBezTo>
                <a:cubicBezTo>
                  <a:pt x="2075" y="544"/>
                  <a:pt x="2075" y="544"/>
                  <a:pt x="2075" y="544"/>
                </a:cubicBezTo>
                <a:cubicBezTo>
                  <a:pt x="2073" y="545"/>
                  <a:pt x="2073" y="545"/>
                  <a:pt x="2073" y="545"/>
                </a:cubicBezTo>
                <a:cubicBezTo>
                  <a:pt x="2073" y="546"/>
                  <a:pt x="2073" y="546"/>
                  <a:pt x="2073" y="546"/>
                </a:cubicBezTo>
                <a:cubicBezTo>
                  <a:pt x="2072" y="545"/>
                  <a:pt x="2072" y="545"/>
                  <a:pt x="2072" y="545"/>
                </a:cubicBezTo>
                <a:cubicBezTo>
                  <a:pt x="2072" y="547"/>
                  <a:pt x="2072" y="547"/>
                  <a:pt x="2072" y="547"/>
                </a:cubicBezTo>
                <a:cubicBezTo>
                  <a:pt x="2072" y="549"/>
                  <a:pt x="2072" y="549"/>
                  <a:pt x="2072" y="549"/>
                </a:cubicBezTo>
                <a:cubicBezTo>
                  <a:pt x="2072" y="551"/>
                  <a:pt x="2072" y="551"/>
                  <a:pt x="2072" y="551"/>
                </a:cubicBezTo>
                <a:cubicBezTo>
                  <a:pt x="2072" y="554"/>
                  <a:pt x="2072" y="554"/>
                  <a:pt x="2072" y="554"/>
                </a:cubicBezTo>
                <a:cubicBezTo>
                  <a:pt x="2076" y="555"/>
                  <a:pt x="2076" y="555"/>
                  <a:pt x="2076" y="555"/>
                </a:cubicBezTo>
                <a:cubicBezTo>
                  <a:pt x="2076" y="556"/>
                  <a:pt x="2076" y="556"/>
                  <a:pt x="2076" y="556"/>
                </a:cubicBezTo>
                <a:cubicBezTo>
                  <a:pt x="2080" y="557"/>
                  <a:pt x="2080" y="557"/>
                  <a:pt x="2080" y="557"/>
                </a:cubicBezTo>
                <a:cubicBezTo>
                  <a:pt x="2082" y="561"/>
                  <a:pt x="2082" y="561"/>
                  <a:pt x="2082" y="561"/>
                </a:cubicBezTo>
                <a:cubicBezTo>
                  <a:pt x="2082" y="562"/>
                  <a:pt x="2082" y="562"/>
                  <a:pt x="2082" y="562"/>
                </a:cubicBezTo>
                <a:cubicBezTo>
                  <a:pt x="2082" y="563"/>
                  <a:pt x="2082" y="563"/>
                  <a:pt x="2082" y="563"/>
                </a:cubicBezTo>
                <a:cubicBezTo>
                  <a:pt x="2083" y="563"/>
                  <a:pt x="2083" y="563"/>
                  <a:pt x="2083" y="563"/>
                </a:cubicBezTo>
                <a:cubicBezTo>
                  <a:pt x="2083" y="565"/>
                  <a:pt x="2083" y="565"/>
                  <a:pt x="2083" y="565"/>
                </a:cubicBezTo>
                <a:cubicBezTo>
                  <a:pt x="2085" y="567"/>
                  <a:pt x="2085" y="567"/>
                  <a:pt x="2085" y="567"/>
                </a:cubicBezTo>
                <a:cubicBezTo>
                  <a:pt x="2085" y="569"/>
                  <a:pt x="2085" y="569"/>
                  <a:pt x="2085" y="569"/>
                </a:cubicBezTo>
                <a:cubicBezTo>
                  <a:pt x="2087" y="571"/>
                  <a:pt x="2087" y="571"/>
                  <a:pt x="2087" y="571"/>
                </a:cubicBezTo>
                <a:cubicBezTo>
                  <a:pt x="2088" y="572"/>
                  <a:pt x="2088" y="572"/>
                  <a:pt x="2088" y="572"/>
                </a:cubicBezTo>
                <a:cubicBezTo>
                  <a:pt x="2090" y="572"/>
                  <a:pt x="2090" y="572"/>
                  <a:pt x="2090" y="572"/>
                </a:cubicBezTo>
                <a:cubicBezTo>
                  <a:pt x="2090" y="573"/>
                  <a:pt x="2090" y="573"/>
                  <a:pt x="2090" y="573"/>
                </a:cubicBezTo>
                <a:cubicBezTo>
                  <a:pt x="2092" y="574"/>
                  <a:pt x="2092" y="574"/>
                  <a:pt x="2092" y="574"/>
                </a:cubicBezTo>
                <a:cubicBezTo>
                  <a:pt x="2093" y="575"/>
                  <a:pt x="2093" y="575"/>
                  <a:pt x="2093" y="575"/>
                </a:cubicBezTo>
                <a:cubicBezTo>
                  <a:pt x="2093" y="577"/>
                  <a:pt x="2093" y="577"/>
                  <a:pt x="2093" y="577"/>
                </a:cubicBezTo>
                <a:cubicBezTo>
                  <a:pt x="2090" y="576"/>
                  <a:pt x="2090" y="576"/>
                  <a:pt x="2090" y="576"/>
                </a:cubicBezTo>
                <a:cubicBezTo>
                  <a:pt x="2088" y="577"/>
                  <a:pt x="2088" y="577"/>
                  <a:pt x="2088" y="577"/>
                </a:cubicBezTo>
                <a:cubicBezTo>
                  <a:pt x="2087" y="576"/>
                  <a:pt x="2087" y="576"/>
                  <a:pt x="2087" y="576"/>
                </a:cubicBezTo>
                <a:cubicBezTo>
                  <a:pt x="2086" y="576"/>
                  <a:pt x="2086" y="576"/>
                  <a:pt x="2086" y="576"/>
                </a:cubicBezTo>
                <a:cubicBezTo>
                  <a:pt x="2085" y="575"/>
                  <a:pt x="2085" y="575"/>
                  <a:pt x="2085" y="575"/>
                </a:cubicBezTo>
                <a:cubicBezTo>
                  <a:pt x="2087" y="578"/>
                  <a:pt x="2087" y="578"/>
                  <a:pt x="2087" y="578"/>
                </a:cubicBezTo>
                <a:cubicBezTo>
                  <a:pt x="2089" y="579"/>
                  <a:pt x="2089" y="579"/>
                  <a:pt x="2089" y="579"/>
                </a:cubicBezTo>
                <a:cubicBezTo>
                  <a:pt x="2093" y="581"/>
                  <a:pt x="2093" y="581"/>
                  <a:pt x="2093" y="581"/>
                </a:cubicBezTo>
                <a:cubicBezTo>
                  <a:pt x="2094" y="583"/>
                  <a:pt x="2094" y="583"/>
                  <a:pt x="2094" y="583"/>
                </a:cubicBezTo>
                <a:cubicBezTo>
                  <a:pt x="2094" y="584"/>
                  <a:pt x="2094" y="584"/>
                  <a:pt x="2094" y="584"/>
                </a:cubicBezTo>
                <a:cubicBezTo>
                  <a:pt x="2092" y="584"/>
                  <a:pt x="2092" y="584"/>
                  <a:pt x="2092" y="584"/>
                </a:cubicBezTo>
                <a:cubicBezTo>
                  <a:pt x="2091" y="586"/>
                  <a:pt x="2091" y="586"/>
                  <a:pt x="2091" y="586"/>
                </a:cubicBezTo>
                <a:cubicBezTo>
                  <a:pt x="2090" y="586"/>
                  <a:pt x="2090" y="586"/>
                  <a:pt x="2090" y="586"/>
                </a:cubicBezTo>
                <a:cubicBezTo>
                  <a:pt x="2090" y="587"/>
                  <a:pt x="2090" y="587"/>
                  <a:pt x="2090" y="587"/>
                </a:cubicBezTo>
                <a:cubicBezTo>
                  <a:pt x="2089" y="588"/>
                  <a:pt x="2089" y="588"/>
                  <a:pt x="2089" y="588"/>
                </a:cubicBezTo>
                <a:cubicBezTo>
                  <a:pt x="2088" y="588"/>
                  <a:pt x="2088" y="588"/>
                  <a:pt x="2088" y="588"/>
                </a:cubicBezTo>
                <a:cubicBezTo>
                  <a:pt x="2087" y="587"/>
                  <a:pt x="2087" y="587"/>
                  <a:pt x="2087" y="587"/>
                </a:cubicBezTo>
                <a:cubicBezTo>
                  <a:pt x="2086" y="588"/>
                  <a:pt x="2086" y="588"/>
                  <a:pt x="2086" y="588"/>
                </a:cubicBezTo>
                <a:cubicBezTo>
                  <a:pt x="2085" y="588"/>
                  <a:pt x="2085" y="588"/>
                  <a:pt x="2085" y="588"/>
                </a:cubicBezTo>
                <a:cubicBezTo>
                  <a:pt x="2084" y="589"/>
                  <a:pt x="2084" y="589"/>
                  <a:pt x="2084" y="589"/>
                </a:cubicBezTo>
                <a:cubicBezTo>
                  <a:pt x="2084" y="590"/>
                  <a:pt x="2084" y="590"/>
                  <a:pt x="2084" y="590"/>
                </a:cubicBezTo>
                <a:cubicBezTo>
                  <a:pt x="2085" y="589"/>
                  <a:pt x="2085" y="589"/>
                  <a:pt x="2085" y="589"/>
                </a:cubicBezTo>
                <a:cubicBezTo>
                  <a:pt x="2087" y="588"/>
                  <a:pt x="2087" y="588"/>
                  <a:pt x="2087" y="588"/>
                </a:cubicBezTo>
                <a:cubicBezTo>
                  <a:pt x="2088" y="590"/>
                  <a:pt x="2088" y="590"/>
                  <a:pt x="2088" y="590"/>
                </a:cubicBezTo>
                <a:cubicBezTo>
                  <a:pt x="2089" y="590"/>
                  <a:pt x="2089" y="590"/>
                  <a:pt x="2089" y="590"/>
                </a:cubicBezTo>
                <a:cubicBezTo>
                  <a:pt x="2091" y="589"/>
                  <a:pt x="2091" y="589"/>
                  <a:pt x="2091" y="589"/>
                </a:cubicBezTo>
                <a:cubicBezTo>
                  <a:pt x="2092" y="589"/>
                  <a:pt x="2092" y="589"/>
                  <a:pt x="2092" y="589"/>
                </a:cubicBezTo>
                <a:cubicBezTo>
                  <a:pt x="2094" y="592"/>
                  <a:pt x="2094" y="592"/>
                  <a:pt x="2094" y="592"/>
                </a:cubicBezTo>
                <a:cubicBezTo>
                  <a:pt x="2095" y="591"/>
                  <a:pt x="2095" y="591"/>
                  <a:pt x="2095" y="591"/>
                </a:cubicBezTo>
                <a:cubicBezTo>
                  <a:pt x="2095" y="592"/>
                  <a:pt x="2095" y="592"/>
                  <a:pt x="2095" y="592"/>
                </a:cubicBezTo>
                <a:cubicBezTo>
                  <a:pt x="2096" y="592"/>
                  <a:pt x="2096" y="592"/>
                  <a:pt x="2096" y="592"/>
                </a:cubicBezTo>
                <a:cubicBezTo>
                  <a:pt x="2097" y="592"/>
                  <a:pt x="2097" y="592"/>
                  <a:pt x="2097" y="592"/>
                </a:cubicBezTo>
                <a:cubicBezTo>
                  <a:pt x="2094" y="595"/>
                  <a:pt x="2094" y="595"/>
                  <a:pt x="2094" y="595"/>
                </a:cubicBezTo>
                <a:cubicBezTo>
                  <a:pt x="2092" y="595"/>
                  <a:pt x="2092" y="595"/>
                  <a:pt x="2092" y="595"/>
                </a:cubicBezTo>
                <a:cubicBezTo>
                  <a:pt x="2092" y="596"/>
                  <a:pt x="2092" y="596"/>
                  <a:pt x="2092" y="596"/>
                </a:cubicBezTo>
                <a:cubicBezTo>
                  <a:pt x="2093" y="596"/>
                  <a:pt x="2093" y="596"/>
                  <a:pt x="2093" y="596"/>
                </a:cubicBezTo>
                <a:cubicBezTo>
                  <a:pt x="2095" y="595"/>
                  <a:pt x="2095" y="595"/>
                  <a:pt x="2095" y="595"/>
                </a:cubicBezTo>
                <a:cubicBezTo>
                  <a:pt x="2096" y="595"/>
                  <a:pt x="2096" y="595"/>
                  <a:pt x="2096" y="595"/>
                </a:cubicBezTo>
                <a:cubicBezTo>
                  <a:pt x="2096" y="594"/>
                  <a:pt x="2096" y="594"/>
                  <a:pt x="2096" y="594"/>
                </a:cubicBezTo>
                <a:cubicBezTo>
                  <a:pt x="2097" y="594"/>
                  <a:pt x="2097" y="594"/>
                  <a:pt x="2097" y="594"/>
                </a:cubicBezTo>
                <a:cubicBezTo>
                  <a:pt x="2097" y="596"/>
                  <a:pt x="2097" y="596"/>
                  <a:pt x="2097" y="596"/>
                </a:cubicBezTo>
                <a:cubicBezTo>
                  <a:pt x="2098" y="597"/>
                  <a:pt x="2098" y="597"/>
                  <a:pt x="2098" y="597"/>
                </a:cubicBezTo>
                <a:cubicBezTo>
                  <a:pt x="2097" y="597"/>
                  <a:pt x="2097" y="597"/>
                  <a:pt x="2097" y="597"/>
                </a:cubicBezTo>
                <a:cubicBezTo>
                  <a:pt x="2096" y="596"/>
                  <a:pt x="2096" y="596"/>
                  <a:pt x="2096" y="596"/>
                </a:cubicBezTo>
                <a:cubicBezTo>
                  <a:pt x="2096" y="597"/>
                  <a:pt x="2096" y="597"/>
                  <a:pt x="2096" y="597"/>
                </a:cubicBezTo>
                <a:cubicBezTo>
                  <a:pt x="2095" y="597"/>
                  <a:pt x="2095" y="597"/>
                  <a:pt x="2095" y="597"/>
                </a:cubicBezTo>
                <a:cubicBezTo>
                  <a:pt x="2094" y="597"/>
                  <a:pt x="2094" y="597"/>
                  <a:pt x="2094" y="597"/>
                </a:cubicBezTo>
                <a:cubicBezTo>
                  <a:pt x="2093" y="598"/>
                  <a:pt x="2093" y="598"/>
                  <a:pt x="2093" y="598"/>
                </a:cubicBezTo>
                <a:cubicBezTo>
                  <a:pt x="2093" y="599"/>
                  <a:pt x="2093" y="599"/>
                  <a:pt x="2093" y="599"/>
                </a:cubicBezTo>
                <a:cubicBezTo>
                  <a:pt x="2095" y="599"/>
                  <a:pt x="2095" y="599"/>
                  <a:pt x="2095" y="599"/>
                </a:cubicBezTo>
                <a:cubicBezTo>
                  <a:pt x="2096" y="599"/>
                  <a:pt x="2096" y="599"/>
                  <a:pt x="2096" y="599"/>
                </a:cubicBezTo>
                <a:cubicBezTo>
                  <a:pt x="2095" y="600"/>
                  <a:pt x="2095" y="600"/>
                  <a:pt x="2095" y="600"/>
                </a:cubicBezTo>
                <a:cubicBezTo>
                  <a:pt x="2094" y="600"/>
                  <a:pt x="2094" y="600"/>
                  <a:pt x="2094" y="600"/>
                </a:cubicBezTo>
                <a:cubicBezTo>
                  <a:pt x="2095" y="601"/>
                  <a:pt x="2095" y="601"/>
                  <a:pt x="2095" y="601"/>
                </a:cubicBezTo>
                <a:cubicBezTo>
                  <a:pt x="2095" y="602"/>
                  <a:pt x="2095" y="602"/>
                  <a:pt x="2095" y="602"/>
                </a:cubicBezTo>
                <a:cubicBezTo>
                  <a:pt x="2094" y="602"/>
                  <a:pt x="2094" y="602"/>
                  <a:pt x="2094" y="602"/>
                </a:cubicBezTo>
                <a:cubicBezTo>
                  <a:pt x="2093" y="602"/>
                  <a:pt x="2093" y="602"/>
                  <a:pt x="2093" y="602"/>
                </a:cubicBezTo>
                <a:cubicBezTo>
                  <a:pt x="2094" y="603"/>
                  <a:pt x="2094" y="603"/>
                  <a:pt x="2094" y="603"/>
                </a:cubicBezTo>
                <a:cubicBezTo>
                  <a:pt x="2095" y="603"/>
                  <a:pt x="2095" y="603"/>
                  <a:pt x="2095" y="603"/>
                </a:cubicBezTo>
                <a:cubicBezTo>
                  <a:pt x="2096" y="604"/>
                  <a:pt x="2096" y="604"/>
                  <a:pt x="2096" y="604"/>
                </a:cubicBezTo>
                <a:cubicBezTo>
                  <a:pt x="2095" y="605"/>
                  <a:pt x="2095" y="605"/>
                  <a:pt x="2095" y="605"/>
                </a:cubicBezTo>
                <a:cubicBezTo>
                  <a:pt x="2095" y="606"/>
                  <a:pt x="2095" y="606"/>
                  <a:pt x="2095" y="606"/>
                </a:cubicBezTo>
                <a:cubicBezTo>
                  <a:pt x="2094" y="606"/>
                  <a:pt x="2094" y="606"/>
                  <a:pt x="2094" y="606"/>
                </a:cubicBezTo>
                <a:cubicBezTo>
                  <a:pt x="2094" y="605"/>
                  <a:pt x="2094" y="605"/>
                  <a:pt x="2094" y="605"/>
                </a:cubicBezTo>
                <a:cubicBezTo>
                  <a:pt x="2093" y="605"/>
                  <a:pt x="2093" y="605"/>
                  <a:pt x="2093" y="605"/>
                </a:cubicBezTo>
                <a:cubicBezTo>
                  <a:pt x="2092" y="607"/>
                  <a:pt x="2092" y="607"/>
                  <a:pt x="2092" y="607"/>
                </a:cubicBezTo>
                <a:cubicBezTo>
                  <a:pt x="2091" y="608"/>
                  <a:pt x="2091" y="608"/>
                  <a:pt x="2091" y="608"/>
                </a:cubicBezTo>
                <a:cubicBezTo>
                  <a:pt x="2091" y="609"/>
                  <a:pt x="2091" y="609"/>
                  <a:pt x="2091" y="609"/>
                </a:cubicBezTo>
                <a:cubicBezTo>
                  <a:pt x="2091" y="610"/>
                  <a:pt x="2091" y="610"/>
                  <a:pt x="2091" y="610"/>
                </a:cubicBezTo>
                <a:cubicBezTo>
                  <a:pt x="2091" y="611"/>
                  <a:pt x="2091" y="611"/>
                  <a:pt x="2091" y="611"/>
                </a:cubicBezTo>
                <a:cubicBezTo>
                  <a:pt x="2091" y="612"/>
                  <a:pt x="2091" y="612"/>
                  <a:pt x="2091" y="612"/>
                </a:cubicBezTo>
                <a:cubicBezTo>
                  <a:pt x="2091" y="613"/>
                  <a:pt x="2091" y="613"/>
                  <a:pt x="2091" y="613"/>
                </a:cubicBezTo>
                <a:cubicBezTo>
                  <a:pt x="2090" y="613"/>
                  <a:pt x="2090" y="613"/>
                  <a:pt x="2090" y="613"/>
                </a:cubicBezTo>
                <a:cubicBezTo>
                  <a:pt x="2089" y="612"/>
                  <a:pt x="2089" y="612"/>
                  <a:pt x="2089" y="612"/>
                </a:cubicBezTo>
                <a:cubicBezTo>
                  <a:pt x="2089" y="613"/>
                  <a:pt x="2089" y="613"/>
                  <a:pt x="2089" y="613"/>
                </a:cubicBezTo>
                <a:cubicBezTo>
                  <a:pt x="2090" y="613"/>
                  <a:pt x="2090" y="613"/>
                  <a:pt x="2090" y="613"/>
                </a:cubicBezTo>
                <a:cubicBezTo>
                  <a:pt x="2090" y="615"/>
                  <a:pt x="2090" y="615"/>
                  <a:pt x="2090" y="615"/>
                </a:cubicBezTo>
                <a:cubicBezTo>
                  <a:pt x="2089" y="614"/>
                  <a:pt x="2089" y="614"/>
                  <a:pt x="2089" y="614"/>
                </a:cubicBezTo>
                <a:cubicBezTo>
                  <a:pt x="2089" y="615"/>
                  <a:pt x="2089" y="615"/>
                  <a:pt x="2089" y="615"/>
                </a:cubicBezTo>
                <a:cubicBezTo>
                  <a:pt x="2087" y="617"/>
                  <a:pt x="2087" y="617"/>
                  <a:pt x="2087" y="617"/>
                </a:cubicBezTo>
                <a:cubicBezTo>
                  <a:pt x="2086" y="617"/>
                  <a:pt x="2086" y="617"/>
                  <a:pt x="2086" y="617"/>
                </a:cubicBezTo>
                <a:cubicBezTo>
                  <a:pt x="2087" y="616"/>
                  <a:pt x="2087" y="616"/>
                  <a:pt x="2087" y="616"/>
                </a:cubicBezTo>
                <a:cubicBezTo>
                  <a:pt x="2086" y="616"/>
                  <a:pt x="2086" y="616"/>
                  <a:pt x="2086" y="616"/>
                </a:cubicBezTo>
                <a:cubicBezTo>
                  <a:pt x="2085" y="617"/>
                  <a:pt x="2085" y="617"/>
                  <a:pt x="2085" y="617"/>
                </a:cubicBezTo>
                <a:cubicBezTo>
                  <a:pt x="2084" y="618"/>
                  <a:pt x="2084" y="618"/>
                  <a:pt x="2084" y="618"/>
                </a:cubicBezTo>
                <a:cubicBezTo>
                  <a:pt x="2085" y="618"/>
                  <a:pt x="2085" y="618"/>
                  <a:pt x="2085" y="618"/>
                </a:cubicBezTo>
                <a:cubicBezTo>
                  <a:pt x="2086" y="619"/>
                  <a:pt x="2086" y="619"/>
                  <a:pt x="2086" y="619"/>
                </a:cubicBezTo>
                <a:cubicBezTo>
                  <a:pt x="2085" y="619"/>
                  <a:pt x="2085" y="619"/>
                  <a:pt x="2085" y="619"/>
                </a:cubicBezTo>
                <a:cubicBezTo>
                  <a:pt x="2086" y="620"/>
                  <a:pt x="2086" y="620"/>
                  <a:pt x="2086" y="620"/>
                </a:cubicBezTo>
                <a:cubicBezTo>
                  <a:pt x="2087" y="620"/>
                  <a:pt x="2087" y="620"/>
                  <a:pt x="2087" y="620"/>
                </a:cubicBezTo>
                <a:cubicBezTo>
                  <a:pt x="2088" y="620"/>
                  <a:pt x="2088" y="620"/>
                  <a:pt x="2088" y="620"/>
                </a:cubicBezTo>
                <a:cubicBezTo>
                  <a:pt x="2086" y="621"/>
                  <a:pt x="2086" y="621"/>
                  <a:pt x="2086" y="621"/>
                </a:cubicBezTo>
                <a:cubicBezTo>
                  <a:pt x="2084" y="622"/>
                  <a:pt x="2084" y="622"/>
                  <a:pt x="2084" y="622"/>
                </a:cubicBezTo>
                <a:cubicBezTo>
                  <a:pt x="2084" y="623"/>
                  <a:pt x="2084" y="623"/>
                  <a:pt x="2084" y="623"/>
                </a:cubicBezTo>
                <a:cubicBezTo>
                  <a:pt x="2085" y="623"/>
                  <a:pt x="2085" y="623"/>
                  <a:pt x="2085" y="623"/>
                </a:cubicBezTo>
                <a:cubicBezTo>
                  <a:pt x="2086" y="623"/>
                  <a:pt x="2086" y="623"/>
                  <a:pt x="2086" y="623"/>
                </a:cubicBezTo>
                <a:cubicBezTo>
                  <a:pt x="2085" y="624"/>
                  <a:pt x="2085" y="624"/>
                  <a:pt x="2085" y="624"/>
                </a:cubicBezTo>
                <a:cubicBezTo>
                  <a:pt x="2086" y="625"/>
                  <a:pt x="2086" y="625"/>
                  <a:pt x="2086" y="625"/>
                </a:cubicBezTo>
                <a:cubicBezTo>
                  <a:pt x="2086" y="626"/>
                  <a:pt x="2086" y="626"/>
                  <a:pt x="2086" y="626"/>
                </a:cubicBezTo>
                <a:cubicBezTo>
                  <a:pt x="2085" y="626"/>
                  <a:pt x="2085" y="626"/>
                  <a:pt x="2085" y="626"/>
                </a:cubicBezTo>
                <a:cubicBezTo>
                  <a:pt x="2085" y="627"/>
                  <a:pt x="2085" y="627"/>
                  <a:pt x="2085" y="627"/>
                </a:cubicBezTo>
                <a:cubicBezTo>
                  <a:pt x="2084" y="626"/>
                  <a:pt x="2084" y="626"/>
                  <a:pt x="2084" y="626"/>
                </a:cubicBezTo>
                <a:cubicBezTo>
                  <a:pt x="2084" y="627"/>
                  <a:pt x="2084" y="627"/>
                  <a:pt x="2084" y="627"/>
                </a:cubicBezTo>
                <a:cubicBezTo>
                  <a:pt x="2083" y="627"/>
                  <a:pt x="2083" y="627"/>
                  <a:pt x="2083" y="627"/>
                </a:cubicBezTo>
                <a:cubicBezTo>
                  <a:pt x="2083" y="628"/>
                  <a:pt x="2083" y="628"/>
                  <a:pt x="2083" y="628"/>
                </a:cubicBezTo>
                <a:cubicBezTo>
                  <a:pt x="2084" y="629"/>
                  <a:pt x="2084" y="629"/>
                  <a:pt x="2084" y="629"/>
                </a:cubicBezTo>
                <a:cubicBezTo>
                  <a:pt x="2084" y="630"/>
                  <a:pt x="2084" y="630"/>
                  <a:pt x="2084" y="630"/>
                </a:cubicBezTo>
                <a:cubicBezTo>
                  <a:pt x="2083" y="629"/>
                  <a:pt x="2083" y="629"/>
                  <a:pt x="2083" y="629"/>
                </a:cubicBezTo>
                <a:cubicBezTo>
                  <a:pt x="2082" y="629"/>
                  <a:pt x="2082" y="629"/>
                  <a:pt x="2082" y="629"/>
                </a:cubicBezTo>
                <a:cubicBezTo>
                  <a:pt x="2082" y="630"/>
                  <a:pt x="2082" y="630"/>
                  <a:pt x="2082" y="630"/>
                </a:cubicBezTo>
                <a:cubicBezTo>
                  <a:pt x="2083" y="630"/>
                  <a:pt x="2083" y="630"/>
                  <a:pt x="2083" y="630"/>
                </a:cubicBezTo>
                <a:cubicBezTo>
                  <a:pt x="2083" y="631"/>
                  <a:pt x="2083" y="631"/>
                  <a:pt x="2083" y="631"/>
                </a:cubicBezTo>
                <a:cubicBezTo>
                  <a:pt x="2083" y="632"/>
                  <a:pt x="2083" y="632"/>
                  <a:pt x="2083" y="632"/>
                </a:cubicBezTo>
                <a:cubicBezTo>
                  <a:pt x="2081" y="631"/>
                  <a:pt x="2081" y="631"/>
                  <a:pt x="2081" y="631"/>
                </a:cubicBezTo>
                <a:cubicBezTo>
                  <a:pt x="2081" y="632"/>
                  <a:pt x="2081" y="632"/>
                  <a:pt x="2081" y="632"/>
                </a:cubicBezTo>
                <a:cubicBezTo>
                  <a:pt x="2083" y="633"/>
                  <a:pt x="2083" y="633"/>
                  <a:pt x="2083" y="633"/>
                </a:cubicBezTo>
                <a:cubicBezTo>
                  <a:pt x="2082" y="634"/>
                  <a:pt x="2082" y="634"/>
                  <a:pt x="2082" y="634"/>
                </a:cubicBezTo>
                <a:cubicBezTo>
                  <a:pt x="2080" y="633"/>
                  <a:pt x="2080" y="633"/>
                  <a:pt x="2080" y="633"/>
                </a:cubicBezTo>
                <a:cubicBezTo>
                  <a:pt x="2079" y="633"/>
                  <a:pt x="2079" y="633"/>
                  <a:pt x="2079" y="633"/>
                </a:cubicBezTo>
                <a:cubicBezTo>
                  <a:pt x="2078" y="634"/>
                  <a:pt x="2078" y="634"/>
                  <a:pt x="2078" y="634"/>
                </a:cubicBezTo>
                <a:cubicBezTo>
                  <a:pt x="2076" y="634"/>
                  <a:pt x="2076" y="634"/>
                  <a:pt x="2076" y="634"/>
                </a:cubicBezTo>
                <a:cubicBezTo>
                  <a:pt x="2078" y="636"/>
                  <a:pt x="2078" y="636"/>
                  <a:pt x="2078" y="636"/>
                </a:cubicBezTo>
                <a:cubicBezTo>
                  <a:pt x="2079" y="635"/>
                  <a:pt x="2079" y="635"/>
                  <a:pt x="2079" y="635"/>
                </a:cubicBezTo>
                <a:cubicBezTo>
                  <a:pt x="2080" y="635"/>
                  <a:pt x="2080" y="635"/>
                  <a:pt x="2080" y="635"/>
                </a:cubicBezTo>
                <a:cubicBezTo>
                  <a:pt x="2079" y="636"/>
                  <a:pt x="2079" y="636"/>
                  <a:pt x="2079" y="636"/>
                </a:cubicBezTo>
                <a:cubicBezTo>
                  <a:pt x="2079" y="637"/>
                  <a:pt x="2079" y="637"/>
                  <a:pt x="2079" y="637"/>
                </a:cubicBezTo>
                <a:cubicBezTo>
                  <a:pt x="2078" y="638"/>
                  <a:pt x="2078" y="638"/>
                  <a:pt x="2078" y="638"/>
                </a:cubicBezTo>
                <a:cubicBezTo>
                  <a:pt x="2078" y="637"/>
                  <a:pt x="2078" y="637"/>
                  <a:pt x="2078" y="637"/>
                </a:cubicBezTo>
                <a:cubicBezTo>
                  <a:pt x="2077" y="638"/>
                  <a:pt x="2077" y="638"/>
                  <a:pt x="2077" y="638"/>
                </a:cubicBezTo>
                <a:cubicBezTo>
                  <a:pt x="2076" y="638"/>
                  <a:pt x="2076" y="638"/>
                  <a:pt x="2076" y="638"/>
                </a:cubicBezTo>
                <a:cubicBezTo>
                  <a:pt x="2076" y="639"/>
                  <a:pt x="2076" y="639"/>
                  <a:pt x="2076" y="639"/>
                </a:cubicBezTo>
                <a:cubicBezTo>
                  <a:pt x="2075" y="639"/>
                  <a:pt x="2075" y="639"/>
                  <a:pt x="2075" y="639"/>
                </a:cubicBezTo>
                <a:cubicBezTo>
                  <a:pt x="2075" y="640"/>
                  <a:pt x="2075" y="640"/>
                  <a:pt x="2075" y="640"/>
                </a:cubicBezTo>
                <a:cubicBezTo>
                  <a:pt x="2074" y="640"/>
                  <a:pt x="2074" y="640"/>
                  <a:pt x="2074" y="640"/>
                </a:cubicBezTo>
                <a:cubicBezTo>
                  <a:pt x="2073" y="640"/>
                  <a:pt x="2073" y="640"/>
                  <a:pt x="2073" y="640"/>
                </a:cubicBezTo>
                <a:cubicBezTo>
                  <a:pt x="2072" y="640"/>
                  <a:pt x="2072" y="640"/>
                  <a:pt x="2072" y="640"/>
                </a:cubicBezTo>
                <a:cubicBezTo>
                  <a:pt x="2071" y="641"/>
                  <a:pt x="2071" y="641"/>
                  <a:pt x="2071" y="641"/>
                </a:cubicBezTo>
                <a:cubicBezTo>
                  <a:pt x="2071" y="642"/>
                  <a:pt x="2071" y="642"/>
                  <a:pt x="2071" y="642"/>
                </a:cubicBezTo>
                <a:cubicBezTo>
                  <a:pt x="2071" y="643"/>
                  <a:pt x="2071" y="643"/>
                  <a:pt x="2071" y="643"/>
                </a:cubicBezTo>
                <a:cubicBezTo>
                  <a:pt x="2070" y="644"/>
                  <a:pt x="2070" y="644"/>
                  <a:pt x="2070" y="644"/>
                </a:cubicBezTo>
                <a:cubicBezTo>
                  <a:pt x="2071" y="645"/>
                  <a:pt x="2071" y="645"/>
                  <a:pt x="2071" y="645"/>
                </a:cubicBezTo>
                <a:cubicBezTo>
                  <a:pt x="2070" y="645"/>
                  <a:pt x="2070" y="645"/>
                  <a:pt x="2070" y="645"/>
                </a:cubicBezTo>
                <a:cubicBezTo>
                  <a:pt x="2069" y="645"/>
                  <a:pt x="2069" y="645"/>
                  <a:pt x="2069" y="645"/>
                </a:cubicBezTo>
                <a:cubicBezTo>
                  <a:pt x="2068" y="645"/>
                  <a:pt x="2068" y="645"/>
                  <a:pt x="2068" y="645"/>
                </a:cubicBezTo>
                <a:cubicBezTo>
                  <a:pt x="2067" y="646"/>
                  <a:pt x="2067" y="646"/>
                  <a:pt x="2067" y="646"/>
                </a:cubicBezTo>
                <a:cubicBezTo>
                  <a:pt x="2066" y="646"/>
                  <a:pt x="2066" y="646"/>
                  <a:pt x="2066" y="646"/>
                </a:cubicBezTo>
                <a:cubicBezTo>
                  <a:pt x="2066" y="647"/>
                  <a:pt x="2066" y="647"/>
                  <a:pt x="2066" y="647"/>
                </a:cubicBezTo>
                <a:cubicBezTo>
                  <a:pt x="2065" y="647"/>
                  <a:pt x="2065" y="647"/>
                  <a:pt x="2065" y="647"/>
                </a:cubicBezTo>
                <a:cubicBezTo>
                  <a:pt x="2064" y="647"/>
                  <a:pt x="2064" y="647"/>
                  <a:pt x="2064" y="647"/>
                </a:cubicBezTo>
                <a:cubicBezTo>
                  <a:pt x="2064" y="648"/>
                  <a:pt x="2064" y="648"/>
                  <a:pt x="2064" y="648"/>
                </a:cubicBezTo>
                <a:cubicBezTo>
                  <a:pt x="2063" y="648"/>
                  <a:pt x="2063" y="648"/>
                  <a:pt x="2063" y="648"/>
                </a:cubicBezTo>
                <a:cubicBezTo>
                  <a:pt x="2062" y="647"/>
                  <a:pt x="2062" y="647"/>
                  <a:pt x="2062" y="647"/>
                </a:cubicBezTo>
                <a:cubicBezTo>
                  <a:pt x="2062" y="646"/>
                  <a:pt x="2062" y="646"/>
                  <a:pt x="2062" y="646"/>
                </a:cubicBezTo>
                <a:cubicBezTo>
                  <a:pt x="2061" y="647"/>
                  <a:pt x="2061" y="647"/>
                  <a:pt x="2061" y="647"/>
                </a:cubicBezTo>
                <a:cubicBezTo>
                  <a:pt x="2060" y="647"/>
                  <a:pt x="2060" y="647"/>
                  <a:pt x="2060" y="647"/>
                </a:cubicBezTo>
                <a:cubicBezTo>
                  <a:pt x="2060" y="648"/>
                  <a:pt x="2060" y="648"/>
                  <a:pt x="2060" y="648"/>
                </a:cubicBezTo>
                <a:cubicBezTo>
                  <a:pt x="2059" y="648"/>
                  <a:pt x="2059" y="648"/>
                  <a:pt x="2059" y="648"/>
                </a:cubicBezTo>
                <a:cubicBezTo>
                  <a:pt x="2058" y="648"/>
                  <a:pt x="2058" y="648"/>
                  <a:pt x="2058" y="648"/>
                </a:cubicBezTo>
                <a:cubicBezTo>
                  <a:pt x="2057" y="649"/>
                  <a:pt x="2057" y="649"/>
                  <a:pt x="2057" y="649"/>
                </a:cubicBezTo>
                <a:cubicBezTo>
                  <a:pt x="2056" y="650"/>
                  <a:pt x="2056" y="650"/>
                  <a:pt x="2056" y="650"/>
                </a:cubicBezTo>
                <a:cubicBezTo>
                  <a:pt x="2054" y="651"/>
                  <a:pt x="2054" y="651"/>
                  <a:pt x="2054" y="651"/>
                </a:cubicBezTo>
                <a:cubicBezTo>
                  <a:pt x="2054" y="650"/>
                  <a:pt x="2054" y="650"/>
                  <a:pt x="2054" y="650"/>
                </a:cubicBezTo>
                <a:cubicBezTo>
                  <a:pt x="2055" y="650"/>
                  <a:pt x="2055" y="650"/>
                  <a:pt x="2055" y="650"/>
                </a:cubicBezTo>
                <a:cubicBezTo>
                  <a:pt x="2055" y="649"/>
                  <a:pt x="2055" y="649"/>
                  <a:pt x="2055" y="649"/>
                </a:cubicBezTo>
                <a:cubicBezTo>
                  <a:pt x="2053" y="648"/>
                  <a:pt x="2053" y="648"/>
                  <a:pt x="2053" y="648"/>
                </a:cubicBezTo>
                <a:cubicBezTo>
                  <a:pt x="2053" y="647"/>
                  <a:pt x="2053" y="647"/>
                  <a:pt x="2053" y="647"/>
                </a:cubicBezTo>
                <a:cubicBezTo>
                  <a:pt x="2052" y="647"/>
                  <a:pt x="2052" y="647"/>
                  <a:pt x="2052" y="647"/>
                </a:cubicBezTo>
                <a:cubicBezTo>
                  <a:pt x="2051" y="646"/>
                  <a:pt x="2051" y="646"/>
                  <a:pt x="2051" y="646"/>
                </a:cubicBezTo>
                <a:cubicBezTo>
                  <a:pt x="2051" y="647"/>
                  <a:pt x="2051" y="647"/>
                  <a:pt x="2051" y="647"/>
                </a:cubicBezTo>
                <a:cubicBezTo>
                  <a:pt x="2051" y="648"/>
                  <a:pt x="2051" y="648"/>
                  <a:pt x="2051" y="648"/>
                </a:cubicBezTo>
                <a:cubicBezTo>
                  <a:pt x="2051" y="649"/>
                  <a:pt x="2051" y="649"/>
                  <a:pt x="2051" y="649"/>
                </a:cubicBezTo>
                <a:cubicBezTo>
                  <a:pt x="2052" y="650"/>
                  <a:pt x="2052" y="650"/>
                  <a:pt x="2052" y="650"/>
                </a:cubicBezTo>
                <a:cubicBezTo>
                  <a:pt x="2051" y="651"/>
                  <a:pt x="2051" y="651"/>
                  <a:pt x="2051" y="651"/>
                </a:cubicBezTo>
                <a:cubicBezTo>
                  <a:pt x="2050" y="652"/>
                  <a:pt x="2050" y="652"/>
                  <a:pt x="2050" y="652"/>
                </a:cubicBezTo>
                <a:cubicBezTo>
                  <a:pt x="2049" y="652"/>
                  <a:pt x="2049" y="652"/>
                  <a:pt x="2049" y="652"/>
                </a:cubicBezTo>
                <a:cubicBezTo>
                  <a:pt x="2048" y="653"/>
                  <a:pt x="2048" y="653"/>
                  <a:pt x="2048" y="653"/>
                </a:cubicBezTo>
                <a:cubicBezTo>
                  <a:pt x="2047" y="654"/>
                  <a:pt x="2047" y="654"/>
                  <a:pt x="2047" y="654"/>
                </a:cubicBezTo>
                <a:cubicBezTo>
                  <a:pt x="2045" y="655"/>
                  <a:pt x="2045" y="655"/>
                  <a:pt x="2045" y="655"/>
                </a:cubicBezTo>
                <a:cubicBezTo>
                  <a:pt x="2044" y="655"/>
                  <a:pt x="2044" y="655"/>
                  <a:pt x="2044" y="655"/>
                </a:cubicBezTo>
                <a:cubicBezTo>
                  <a:pt x="2043" y="655"/>
                  <a:pt x="2043" y="655"/>
                  <a:pt x="2043" y="655"/>
                </a:cubicBezTo>
                <a:cubicBezTo>
                  <a:pt x="2042" y="655"/>
                  <a:pt x="2042" y="655"/>
                  <a:pt x="2042" y="655"/>
                </a:cubicBezTo>
                <a:cubicBezTo>
                  <a:pt x="2041" y="655"/>
                  <a:pt x="2041" y="655"/>
                  <a:pt x="2041" y="655"/>
                </a:cubicBezTo>
                <a:cubicBezTo>
                  <a:pt x="2041" y="656"/>
                  <a:pt x="2041" y="656"/>
                  <a:pt x="2041" y="656"/>
                </a:cubicBezTo>
                <a:cubicBezTo>
                  <a:pt x="2040" y="657"/>
                  <a:pt x="2040" y="657"/>
                  <a:pt x="2040" y="657"/>
                </a:cubicBezTo>
                <a:cubicBezTo>
                  <a:pt x="2039" y="657"/>
                  <a:pt x="2039" y="657"/>
                  <a:pt x="2039" y="657"/>
                </a:cubicBezTo>
                <a:cubicBezTo>
                  <a:pt x="2038" y="657"/>
                  <a:pt x="2038" y="657"/>
                  <a:pt x="2038" y="657"/>
                </a:cubicBezTo>
                <a:cubicBezTo>
                  <a:pt x="2037" y="657"/>
                  <a:pt x="2037" y="657"/>
                  <a:pt x="2037" y="657"/>
                </a:cubicBezTo>
                <a:cubicBezTo>
                  <a:pt x="2036" y="658"/>
                  <a:pt x="2036" y="658"/>
                  <a:pt x="2036" y="658"/>
                </a:cubicBezTo>
                <a:cubicBezTo>
                  <a:pt x="2035" y="658"/>
                  <a:pt x="2035" y="658"/>
                  <a:pt x="2035" y="658"/>
                </a:cubicBezTo>
                <a:cubicBezTo>
                  <a:pt x="2035" y="657"/>
                  <a:pt x="2035" y="657"/>
                  <a:pt x="2035" y="657"/>
                </a:cubicBezTo>
                <a:cubicBezTo>
                  <a:pt x="2034" y="657"/>
                  <a:pt x="2034" y="657"/>
                  <a:pt x="2034" y="657"/>
                </a:cubicBezTo>
                <a:cubicBezTo>
                  <a:pt x="2034" y="658"/>
                  <a:pt x="2034" y="658"/>
                  <a:pt x="2034" y="658"/>
                </a:cubicBezTo>
                <a:cubicBezTo>
                  <a:pt x="2034" y="659"/>
                  <a:pt x="2034" y="659"/>
                  <a:pt x="2034" y="659"/>
                </a:cubicBezTo>
                <a:cubicBezTo>
                  <a:pt x="2033" y="659"/>
                  <a:pt x="2033" y="659"/>
                  <a:pt x="2033" y="659"/>
                </a:cubicBezTo>
                <a:cubicBezTo>
                  <a:pt x="2032" y="660"/>
                  <a:pt x="2032" y="660"/>
                  <a:pt x="2032" y="660"/>
                </a:cubicBezTo>
                <a:cubicBezTo>
                  <a:pt x="2033" y="661"/>
                  <a:pt x="2033" y="661"/>
                  <a:pt x="2033" y="661"/>
                </a:cubicBezTo>
                <a:cubicBezTo>
                  <a:pt x="2034" y="661"/>
                  <a:pt x="2034" y="661"/>
                  <a:pt x="2034" y="661"/>
                </a:cubicBezTo>
                <a:cubicBezTo>
                  <a:pt x="2034" y="662"/>
                  <a:pt x="2034" y="662"/>
                  <a:pt x="2034" y="662"/>
                </a:cubicBezTo>
                <a:cubicBezTo>
                  <a:pt x="2034" y="663"/>
                  <a:pt x="2034" y="663"/>
                  <a:pt x="2034" y="663"/>
                </a:cubicBezTo>
                <a:cubicBezTo>
                  <a:pt x="2035" y="663"/>
                  <a:pt x="2035" y="663"/>
                  <a:pt x="2035" y="663"/>
                </a:cubicBezTo>
                <a:cubicBezTo>
                  <a:pt x="2034" y="665"/>
                  <a:pt x="2034" y="665"/>
                  <a:pt x="2034" y="665"/>
                </a:cubicBezTo>
                <a:cubicBezTo>
                  <a:pt x="2033" y="665"/>
                  <a:pt x="2033" y="665"/>
                  <a:pt x="2033" y="665"/>
                </a:cubicBezTo>
                <a:cubicBezTo>
                  <a:pt x="2033" y="664"/>
                  <a:pt x="2033" y="664"/>
                  <a:pt x="2033" y="664"/>
                </a:cubicBezTo>
                <a:cubicBezTo>
                  <a:pt x="2032" y="664"/>
                  <a:pt x="2032" y="664"/>
                  <a:pt x="2032" y="664"/>
                </a:cubicBezTo>
                <a:cubicBezTo>
                  <a:pt x="2031" y="665"/>
                  <a:pt x="2031" y="665"/>
                  <a:pt x="2031" y="665"/>
                </a:cubicBezTo>
                <a:cubicBezTo>
                  <a:pt x="2031" y="664"/>
                  <a:pt x="2031" y="664"/>
                  <a:pt x="2031" y="664"/>
                </a:cubicBezTo>
                <a:cubicBezTo>
                  <a:pt x="2031" y="663"/>
                  <a:pt x="2031" y="663"/>
                  <a:pt x="2031" y="663"/>
                </a:cubicBezTo>
                <a:cubicBezTo>
                  <a:pt x="2030" y="663"/>
                  <a:pt x="2030" y="663"/>
                  <a:pt x="2030" y="663"/>
                </a:cubicBezTo>
                <a:cubicBezTo>
                  <a:pt x="2029" y="661"/>
                  <a:pt x="2029" y="661"/>
                  <a:pt x="2029" y="661"/>
                </a:cubicBezTo>
                <a:cubicBezTo>
                  <a:pt x="2029" y="660"/>
                  <a:pt x="2029" y="660"/>
                  <a:pt x="2029" y="660"/>
                </a:cubicBezTo>
                <a:cubicBezTo>
                  <a:pt x="2029" y="659"/>
                  <a:pt x="2029" y="659"/>
                  <a:pt x="2029" y="659"/>
                </a:cubicBezTo>
                <a:cubicBezTo>
                  <a:pt x="2030" y="658"/>
                  <a:pt x="2030" y="658"/>
                  <a:pt x="2030" y="658"/>
                </a:cubicBezTo>
                <a:cubicBezTo>
                  <a:pt x="2031" y="657"/>
                  <a:pt x="2031" y="657"/>
                  <a:pt x="2031" y="657"/>
                </a:cubicBezTo>
                <a:cubicBezTo>
                  <a:pt x="2030" y="657"/>
                  <a:pt x="2030" y="657"/>
                  <a:pt x="2030" y="657"/>
                </a:cubicBezTo>
                <a:cubicBezTo>
                  <a:pt x="2029" y="657"/>
                  <a:pt x="2029" y="657"/>
                  <a:pt x="2029" y="657"/>
                </a:cubicBezTo>
                <a:cubicBezTo>
                  <a:pt x="2028" y="656"/>
                  <a:pt x="2028" y="656"/>
                  <a:pt x="2028" y="656"/>
                </a:cubicBezTo>
                <a:cubicBezTo>
                  <a:pt x="2027" y="657"/>
                  <a:pt x="2027" y="657"/>
                  <a:pt x="2027" y="657"/>
                </a:cubicBezTo>
                <a:cubicBezTo>
                  <a:pt x="2026" y="657"/>
                  <a:pt x="2026" y="657"/>
                  <a:pt x="2026" y="657"/>
                </a:cubicBezTo>
                <a:cubicBezTo>
                  <a:pt x="2024" y="656"/>
                  <a:pt x="2024" y="656"/>
                  <a:pt x="2024" y="656"/>
                </a:cubicBezTo>
                <a:cubicBezTo>
                  <a:pt x="2023" y="655"/>
                  <a:pt x="2023" y="655"/>
                  <a:pt x="2023" y="655"/>
                </a:cubicBezTo>
                <a:cubicBezTo>
                  <a:pt x="2022" y="654"/>
                  <a:pt x="2022" y="654"/>
                  <a:pt x="2022" y="654"/>
                </a:cubicBezTo>
                <a:cubicBezTo>
                  <a:pt x="2022" y="655"/>
                  <a:pt x="2022" y="655"/>
                  <a:pt x="2022" y="655"/>
                </a:cubicBezTo>
                <a:cubicBezTo>
                  <a:pt x="2022" y="656"/>
                  <a:pt x="2022" y="656"/>
                  <a:pt x="2022" y="656"/>
                </a:cubicBezTo>
                <a:cubicBezTo>
                  <a:pt x="2021" y="656"/>
                  <a:pt x="2021" y="656"/>
                  <a:pt x="2021" y="656"/>
                </a:cubicBezTo>
                <a:cubicBezTo>
                  <a:pt x="2020" y="656"/>
                  <a:pt x="2020" y="656"/>
                  <a:pt x="2020" y="656"/>
                </a:cubicBezTo>
                <a:cubicBezTo>
                  <a:pt x="2019" y="656"/>
                  <a:pt x="2019" y="656"/>
                  <a:pt x="2019" y="656"/>
                </a:cubicBezTo>
                <a:cubicBezTo>
                  <a:pt x="2019" y="656"/>
                  <a:pt x="2019" y="656"/>
                  <a:pt x="2019" y="657"/>
                </a:cubicBezTo>
                <a:cubicBezTo>
                  <a:pt x="2019" y="657"/>
                  <a:pt x="2019" y="657"/>
                  <a:pt x="2018" y="658"/>
                </a:cubicBezTo>
                <a:cubicBezTo>
                  <a:pt x="2018" y="658"/>
                  <a:pt x="2018" y="658"/>
                  <a:pt x="2017" y="658"/>
                </a:cubicBezTo>
                <a:cubicBezTo>
                  <a:pt x="2017" y="658"/>
                  <a:pt x="2017" y="658"/>
                  <a:pt x="2016" y="658"/>
                </a:cubicBezTo>
                <a:cubicBezTo>
                  <a:pt x="2016" y="658"/>
                  <a:pt x="2016" y="658"/>
                  <a:pt x="2014" y="659"/>
                </a:cubicBezTo>
                <a:cubicBezTo>
                  <a:pt x="2014" y="659"/>
                  <a:pt x="2014" y="659"/>
                  <a:pt x="2014" y="660"/>
                </a:cubicBezTo>
                <a:cubicBezTo>
                  <a:pt x="2014" y="660"/>
                  <a:pt x="2014" y="660"/>
                  <a:pt x="2013" y="661"/>
                </a:cubicBezTo>
                <a:cubicBezTo>
                  <a:pt x="2013" y="661"/>
                  <a:pt x="2013" y="661"/>
                  <a:pt x="2013" y="660"/>
                </a:cubicBezTo>
                <a:cubicBezTo>
                  <a:pt x="2013" y="660"/>
                  <a:pt x="2013" y="660"/>
                  <a:pt x="2012" y="661"/>
                </a:cubicBezTo>
                <a:cubicBezTo>
                  <a:pt x="2012" y="661"/>
                  <a:pt x="2012" y="661"/>
                  <a:pt x="2011" y="661"/>
                </a:cubicBezTo>
                <a:cubicBezTo>
                  <a:pt x="2011" y="661"/>
                  <a:pt x="2011" y="661"/>
                  <a:pt x="2010" y="661"/>
                </a:cubicBezTo>
                <a:cubicBezTo>
                  <a:pt x="2010" y="661"/>
                  <a:pt x="2010" y="661"/>
                  <a:pt x="2010" y="662"/>
                </a:cubicBezTo>
                <a:cubicBezTo>
                  <a:pt x="2010" y="662"/>
                  <a:pt x="2010" y="662"/>
                  <a:pt x="2010" y="663"/>
                </a:cubicBezTo>
                <a:cubicBezTo>
                  <a:pt x="2010" y="663"/>
                  <a:pt x="2010" y="663"/>
                  <a:pt x="2010" y="664"/>
                </a:cubicBezTo>
                <a:cubicBezTo>
                  <a:pt x="2010" y="664"/>
                  <a:pt x="2010" y="664"/>
                  <a:pt x="2010" y="665"/>
                </a:cubicBezTo>
                <a:cubicBezTo>
                  <a:pt x="2010" y="665"/>
                  <a:pt x="2010" y="665"/>
                  <a:pt x="2010" y="666"/>
                </a:cubicBezTo>
                <a:cubicBezTo>
                  <a:pt x="2010" y="666"/>
                  <a:pt x="2010" y="666"/>
                  <a:pt x="2009" y="666"/>
                </a:cubicBezTo>
                <a:cubicBezTo>
                  <a:pt x="2009" y="666"/>
                  <a:pt x="2009" y="666"/>
                  <a:pt x="2008" y="668"/>
                </a:cubicBezTo>
                <a:cubicBezTo>
                  <a:pt x="2008" y="668"/>
                  <a:pt x="2008" y="668"/>
                  <a:pt x="2007" y="668"/>
                </a:cubicBezTo>
                <a:cubicBezTo>
                  <a:pt x="2007" y="668"/>
                  <a:pt x="2007" y="668"/>
                  <a:pt x="2006" y="668"/>
                </a:cubicBezTo>
                <a:cubicBezTo>
                  <a:pt x="2006" y="668"/>
                  <a:pt x="2006" y="668"/>
                  <a:pt x="2006" y="669"/>
                </a:cubicBezTo>
                <a:cubicBezTo>
                  <a:pt x="2006" y="669"/>
                  <a:pt x="2006" y="669"/>
                  <a:pt x="2006" y="670"/>
                </a:cubicBezTo>
                <a:cubicBezTo>
                  <a:pt x="2006" y="670"/>
                  <a:pt x="2006" y="670"/>
                  <a:pt x="2006" y="671"/>
                </a:cubicBezTo>
                <a:cubicBezTo>
                  <a:pt x="2006" y="671"/>
                  <a:pt x="2006" y="671"/>
                  <a:pt x="2007" y="672"/>
                </a:cubicBezTo>
                <a:cubicBezTo>
                  <a:pt x="2007" y="672"/>
                  <a:pt x="2007" y="672"/>
                  <a:pt x="2006" y="674"/>
                </a:cubicBezTo>
                <a:cubicBezTo>
                  <a:pt x="2006" y="674"/>
                  <a:pt x="2006" y="674"/>
                  <a:pt x="2005" y="675"/>
                </a:cubicBezTo>
                <a:cubicBezTo>
                  <a:pt x="2005" y="675"/>
                  <a:pt x="2005" y="675"/>
                  <a:pt x="2007" y="676"/>
                </a:cubicBezTo>
                <a:cubicBezTo>
                  <a:pt x="2007" y="676"/>
                  <a:pt x="2007" y="676"/>
                  <a:pt x="2006" y="677"/>
                </a:cubicBezTo>
                <a:cubicBezTo>
                  <a:pt x="2006" y="677"/>
                  <a:pt x="2006" y="677"/>
                  <a:pt x="2008" y="678"/>
                </a:cubicBezTo>
                <a:cubicBezTo>
                  <a:pt x="2008" y="678"/>
                  <a:pt x="2008" y="678"/>
                  <a:pt x="2010" y="680"/>
                </a:cubicBezTo>
                <a:cubicBezTo>
                  <a:pt x="2010" y="680"/>
                  <a:pt x="2010" y="680"/>
                  <a:pt x="2011" y="680"/>
                </a:cubicBezTo>
                <a:cubicBezTo>
                  <a:pt x="2011" y="680"/>
                  <a:pt x="2011" y="680"/>
                  <a:pt x="2011" y="681"/>
                </a:cubicBezTo>
                <a:cubicBezTo>
                  <a:pt x="2011" y="681"/>
                  <a:pt x="2011" y="681"/>
                  <a:pt x="2011" y="682"/>
                </a:cubicBezTo>
                <a:cubicBezTo>
                  <a:pt x="2011" y="682"/>
                  <a:pt x="2011" y="682"/>
                  <a:pt x="2012" y="684"/>
                </a:cubicBezTo>
                <a:cubicBezTo>
                  <a:pt x="2012" y="684"/>
                  <a:pt x="2012" y="684"/>
                  <a:pt x="2012" y="685"/>
                </a:cubicBezTo>
                <a:cubicBezTo>
                  <a:pt x="2012" y="685"/>
                  <a:pt x="2012" y="685"/>
                  <a:pt x="2014" y="687"/>
                </a:cubicBezTo>
                <a:cubicBezTo>
                  <a:pt x="2014" y="687"/>
                  <a:pt x="2014" y="687"/>
                  <a:pt x="2016" y="687"/>
                </a:cubicBezTo>
                <a:cubicBezTo>
                  <a:pt x="2016" y="687"/>
                  <a:pt x="2016" y="687"/>
                  <a:pt x="2016" y="688"/>
                </a:cubicBezTo>
                <a:cubicBezTo>
                  <a:pt x="2016" y="688"/>
                  <a:pt x="2016" y="688"/>
                  <a:pt x="2019" y="690"/>
                </a:cubicBezTo>
                <a:cubicBezTo>
                  <a:pt x="2019" y="690"/>
                  <a:pt x="2019" y="690"/>
                  <a:pt x="2022" y="692"/>
                </a:cubicBezTo>
                <a:cubicBezTo>
                  <a:pt x="2022" y="692"/>
                  <a:pt x="2022" y="692"/>
                  <a:pt x="2023" y="693"/>
                </a:cubicBezTo>
                <a:cubicBezTo>
                  <a:pt x="2023" y="693"/>
                  <a:pt x="2023" y="693"/>
                  <a:pt x="2026" y="695"/>
                </a:cubicBezTo>
                <a:cubicBezTo>
                  <a:pt x="2026" y="695"/>
                  <a:pt x="2026" y="695"/>
                  <a:pt x="2027" y="697"/>
                </a:cubicBezTo>
                <a:cubicBezTo>
                  <a:pt x="2027" y="697"/>
                  <a:pt x="2027" y="697"/>
                  <a:pt x="2027" y="698"/>
                </a:cubicBezTo>
                <a:cubicBezTo>
                  <a:pt x="2027" y="698"/>
                  <a:pt x="2027" y="698"/>
                  <a:pt x="2027" y="699"/>
                </a:cubicBezTo>
                <a:cubicBezTo>
                  <a:pt x="2027" y="699"/>
                  <a:pt x="2027" y="699"/>
                  <a:pt x="2029" y="700"/>
                </a:cubicBezTo>
                <a:cubicBezTo>
                  <a:pt x="2029" y="700"/>
                  <a:pt x="2029" y="700"/>
                  <a:pt x="2029" y="701"/>
                </a:cubicBezTo>
                <a:cubicBezTo>
                  <a:pt x="2029" y="701"/>
                  <a:pt x="2029" y="701"/>
                  <a:pt x="2029" y="702"/>
                </a:cubicBezTo>
                <a:cubicBezTo>
                  <a:pt x="2029" y="702"/>
                  <a:pt x="2029" y="702"/>
                  <a:pt x="2030" y="703"/>
                </a:cubicBezTo>
                <a:cubicBezTo>
                  <a:pt x="2030" y="703"/>
                  <a:pt x="2030" y="703"/>
                  <a:pt x="2030" y="705"/>
                </a:cubicBezTo>
                <a:cubicBezTo>
                  <a:pt x="2030" y="705"/>
                  <a:pt x="2030" y="705"/>
                  <a:pt x="2030" y="706"/>
                </a:cubicBezTo>
                <a:cubicBezTo>
                  <a:pt x="2030" y="706"/>
                  <a:pt x="2030" y="706"/>
                  <a:pt x="2031" y="708"/>
                </a:cubicBezTo>
                <a:cubicBezTo>
                  <a:pt x="2031" y="708"/>
                  <a:pt x="2031" y="708"/>
                  <a:pt x="2031" y="709"/>
                </a:cubicBezTo>
                <a:cubicBezTo>
                  <a:pt x="2031" y="709"/>
                  <a:pt x="2031" y="709"/>
                  <a:pt x="2031" y="710"/>
                </a:cubicBezTo>
                <a:cubicBezTo>
                  <a:pt x="2031" y="710"/>
                  <a:pt x="2031" y="710"/>
                  <a:pt x="2032" y="711"/>
                </a:cubicBezTo>
                <a:cubicBezTo>
                  <a:pt x="2032" y="711"/>
                  <a:pt x="2032" y="711"/>
                  <a:pt x="2031" y="712"/>
                </a:cubicBezTo>
                <a:cubicBezTo>
                  <a:pt x="2031" y="712"/>
                  <a:pt x="2031" y="712"/>
                  <a:pt x="2032" y="713"/>
                </a:cubicBezTo>
                <a:cubicBezTo>
                  <a:pt x="2032" y="713"/>
                  <a:pt x="2032" y="713"/>
                  <a:pt x="2032" y="714"/>
                </a:cubicBezTo>
                <a:cubicBezTo>
                  <a:pt x="2032" y="714"/>
                  <a:pt x="2032" y="714"/>
                  <a:pt x="2033" y="715"/>
                </a:cubicBezTo>
                <a:cubicBezTo>
                  <a:pt x="2033" y="715"/>
                  <a:pt x="2033" y="715"/>
                  <a:pt x="2033" y="716"/>
                </a:cubicBezTo>
                <a:cubicBezTo>
                  <a:pt x="2033" y="716"/>
                  <a:pt x="2033" y="716"/>
                  <a:pt x="2032" y="717"/>
                </a:cubicBezTo>
                <a:cubicBezTo>
                  <a:pt x="2032" y="717"/>
                  <a:pt x="2032" y="717"/>
                  <a:pt x="2032" y="718"/>
                </a:cubicBezTo>
                <a:cubicBezTo>
                  <a:pt x="2032" y="718"/>
                  <a:pt x="2032" y="718"/>
                  <a:pt x="2033" y="718"/>
                </a:cubicBezTo>
                <a:cubicBezTo>
                  <a:pt x="2033" y="718"/>
                  <a:pt x="2033" y="718"/>
                  <a:pt x="2033" y="719"/>
                </a:cubicBezTo>
                <a:cubicBezTo>
                  <a:pt x="2033" y="719"/>
                  <a:pt x="2033" y="719"/>
                  <a:pt x="2032" y="719"/>
                </a:cubicBezTo>
                <a:cubicBezTo>
                  <a:pt x="2032" y="719"/>
                  <a:pt x="2032" y="719"/>
                  <a:pt x="2032" y="720"/>
                </a:cubicBezTo>
                <a:cubicBezTo>
                  <a:pt x="2032" y="720"/>
                  <a:pt x="2032" y="720"/>
                  <a:pt x="2031" y="721"/>
                </a:cubicBezTo>
                <a:cubicBezTo>
                  <a:pt x="2031" y="721"/>
                  <a:pt x="2031" y="721"/>
                  <a:pt x="2032" y="722"/>
                </a:cubicBezTo>
                <a:cubicBezTo>
                  <a:pt x="2032" y="722"/>
                  <a:pt x="2032" y="722"/>
                  <a:pt x="2031" y="723"/>
                </a:cubicBezTo>
                <a:cubicBezTo>
                  <a:pt x="2031" y="723"/>
                  <a:pt x="2031" y="723"/>
                  <a:pt x="2032" y="724"/>
                </a:cubicBezTo>
                <a:cubicBezTo>
                  <a:pt x="2032" y="724"/>
                  <a:pt x="2032" y="724"/>
                  <a:pt x="2031" y="724"/>
                </a:cubicBezTo>
                <a:cubicBezTo>
                  <a:pt x="2031" y="724"/>
                  <a:pt x="2031" y="724"/>
                  <a:pt x="2030" y="725"/>
                </a:cubicBezTo>
                <a:cubicBezTo>
                  <a:pt x="2030" y="725"/>
                  <a:pt x="2030" y="725"/>
                  <a:pt x="2030" y="726"/>
                </a:cubicBezTo>
                <a:cubicBezTo>
                  <a:pt x="2030" y="726"/>
                  <a:pt x="2030" y="726"/>
                  <a:pt x="2029" y="727"/>
                </a:cubicBezTo>
                <a:cubicBezTo>
                  <a:pt x="2029" y="727"/>
                  <a:pt x="2029" y="727"/>
                  <a:pt x="2028" y="728"/>
                </a:cubicBezTo>
                <a:cubicBezTo>
                  <a:pt x="2028" y="728"/>
                  <a:pt x="2028" y="728"/>
                  <a:pt x="2027" y="728"/>
                </a:cubicBezTo>
                <a:cubicBezTo>
                  <a:pt x="2027" y="728"/>
                  <a:pt x="2027" y="728"/>
                  <a:pt x="2026" y="729"/>
                </a:cubicBezTo>
                <a:cubicBezTo>
                  <a:pt x="2026" y="729"/>
                  <a:pt x="2026" y="729"/>
                  <a:pt x="2026" y="730"/>
                </a:cubicBezTo>
                <a:cubicBezTo>
                  <a:pt x="2026" y="730"/>
                  <a:pt x="2026" y="730"/>
                  <a:pt x="2024" y="730"/>
                </a:cubicBezTo>
                <a:cubicBezTo>
                  <a:pt x="2024" y="730"/>
                  <a:pt x="2024" y="730"/>
                  <a:pt x="2024" y="731"/>
                </a:cubicBezTo>
                <a:cubicBezTo>
                  <a:pt x="2024" y="731"/>
                  <a:pt x="2024" y="731"/>
                  <a:pt x="2021" y="733"/>
                </a:cubicBezTo>
                <a:cubicBezTo>
                  <a:pt x="2021" y="733"/>
                  <a:pt x="2021" y="733"/>
                  <a:pt x="2019" y="733"/>
                </a:cubicBezTo>
                <a:cubicBezTo>
                  <a:pt x="2019" y="733"/>
                  <a:pt x="2019" y="733"/>
                  <a:pt x="2017" y="733"/>
                </a:cubicBezTo>
                <a:cubicBezTo>
                  <a:pt x="2017" y="733"/>
                  <a:pt x="2017" y="733"/>
                  <a:pt x="2017" y="732"/>
                </a:cubicBezTo>
                <a:cubicBezTo>
                  <a:pt x="2017" y="732"/>
                  <a:pt x="2017" y="732"/>
                  <a:pt x="2016" y="732"/>
                </a:cubicBezTo>
                <a:cubicBezTo>
                  <a:pt x="2016" y="732"/>
                  <a:pt x="2016" y="732"/>
                  <a:pt x="2017" y="733"/>
                </a:cubicBezTo>
                <a:cubicBezTo>
                  <a:pt x="2017" y="733"/>
                  <a:pt x="2017" y="733"/>
                  <a:pt x="2016" y="733"/>
                </a:cubicBezTo>
                <a:cubicBezTo>
                  <a:pt x="2016" y="733"/>
                  <a:pt x="2016" y="733"/>
                  <a:pt x="2015" y="733"/>
                </a:cubicBezTo>
                <a:cubicBezTo>
                  <a:pt x="2015" y="733"/>
                  <a:pt x="2015" y="733"/>
                  <a:pt x="2017" y="734"/>
                </a:cubicBezTo>
                <a:cubicBezTo>
                  <a:pt x="2017" y="734"/>
                  <a:pt x="2017" y="734"/>
                  <a:pt x="2016" y="734"/>
                </a:cubicBezTo>
                <a:cubicBezTo>
                  <a:pt x="2016" y="734"/>
                  <a:pt x="2016" y="734"/>
                  <a:pt x="2017" y="735"/>
                </a:cubicBezTo>
                <a:cubicBezTo>
                  <a:pt x="2017" y="735"/>
                  <a:pt x="2017" y="735"/>
                  <a:pt x="2016" y="736"/>
                </a:cubicBezTo>
                <a:cubicBezTo>
                  <a:pt x="2016" y="736"/>
                  <a:pt x="2016" y="736"/>
                  <a:pt x="2016" y="737"/>
                </a:cubicBezTo>
                <a:cubicBezTo>
                  <a:pt x="2016" y="737"/>
                  <a:pt x="2016" y="737"/>
                  <a:pt x="2015" y="737"/>
                </a:cubicBezTo>
                <a:cubicBezTo>
                  <a:pt x="2015" y="737"/>
                  <a:pt x="2015" y="737"/>
                  <a:pt x="2014" y="736"/>
                </a:cubicBezTo>
                <a:cubicBezTo>
                  <a:pt x="2014" y="736"/>
                  <a:pt x="2014" y="736"/>
                  <a:pt x="2013" y="737"/>
                </a:cubicBezTo>
                <a:cubicBezTo>
                  <a:pt x="2013" y="737"/>
                  <a:pt x="2013" y="737"/>
                  <a:pt x="2014" y="738"/>
                </a:cubicBezTo>
                <a:cubicBezTo>
                  <a:pt x="2014" y="738"/>
                  <a:pt x="2014" y="738"/>
                  <a:pt x="2013" y="739"/>
                </a:cubicBezTo>
                <a:cubicBezTo>
                  <a:pt x="2013" y="739"/>
                  <a:pt x="2013" y="739"/>
                  <a:pt x="2011" y="740"/>
                </a:cubicBezTo>
                <a:cubicBezTo>
                  <a:pt x="2011" y="740"/>
                  <a:pt x="2011" y="740"/>
                  <a:pt x="2010" y="740"/>
                </a:cubicBezTo>
                <a:cubicBezTo>
                  <a:pt x="2010" y="740"/>
                  <a:pt x="2010" y="740"/>
                  <a:pt x="2010" y="741"/>
                </a:cubicBezTo>
                <a:cubicBezTo>
                  <a:pt x="2010" y="741"/>
                  <a:pt x="2010" y="741"/>
                  <a:pt x="2010" y="742"/>
                </a:cubicBezTo>
                <a:cubicBezTo>
                  <a:pt x="2010" y="742"/>
                  <a:pt x="2010" y="742"/>
                  <a:pt x="2009" y="743"/>
                </a:cubicBezTo>
                <a:cubicBezTo>
                  <a:pt x="2009" y="743"/>
                  <a:pt x="2009" y="743"/>
                  <a:pt x="2008" y="743"/>
                </a:cubicBezTo>
                <a:cubicBezTo>
                  <a:pt x="2008" y="743"/>
                  <a:pt x="2008" y="743"/>
                  <a:pt x="2006" y="745"/>
                </a:cubicBezTo>
                <a:cubicBezTo>
                  <a:pt x="2006" y="745"/>
                  <a:pt x="2006" y="745"/>
                  <a:pt x="2004" y="744"/>
                </a:cubicBezTo>
                <a:cubicBezTo>
                  <a:pt x="2004" y="744"/>
                  <a:pt x="2004" y="744"/>
                  <a:pt x="2005" y="744"/>
                </a:cubicBezTo>
                <a:cubicBezTo>
                  <a:pt x="2005" y="744"/>
                  <a:pt x="2005" y="744"/>
                  <a:pt x="2006" y="743"/>
                </a:cubicBezTo>
                <a:cubicBezTo>
                  <a:pt x="2006" y="743"/>
                  <a:pt x="2006" y="743"/>
                  <a:pt x="2005" y="742"/>
                </a:cubicBezTo>
                <a:cubicBezTo>
                  <a:pt x="2005" y="742"/>
                  <a:pt x="2005" y="742"/>
                  <a:pt x="2006" y="740"/>
                </a:cubicBezTo>
                <a:cubicBezTo>
                  <a:pt x="2006" y="740"/>
                  <a:pt x="2006" y="740"/>
                  <a:pt x="2005" y="740"/>
                </a:cubicBezTo>
                <a:cubicBezTo>
                  <a:pt x="2005" y="740"/>
                  <a:pt x="2005" y="740"/>
                  <a:pt x="2006" y="739"/>
                </a:cubicBezTo>
                <a:cubicBezTo>
                  <a:pt x="2006" y="739"/>
                  <a:pt x="2006" y="739"/>
                  <a:pt x="2005" y="737"/>
                </a:cubicBezTo>
                <a:cubicBezTo>
                  <a:pt x="2005" y="737"/>
                  <a:pt x="2005" y="737"/>
                  <a:pt x="2006" y="736"/>
                </a:cubicBezTo>
                <a:cubicBezTo>
                  <a:pt x="2006" y="736"/>
                  <a:pt x="2006" y="736"/>
                  <a:pt x="2008" y="734"/>
                </a:cubicBezTo>
                <a:cubicBezTo>
                  <a:pt x="2008" y="734"/>
                  <a:pt x="2008" y="734"/>
                  <a:pt x="2006" y="734"/>
                </a:cubicBezTo>
                <a:cubicBezTo>
                  <a:pt x="2006" y="734"/>
                  <a:pt x="2006" y="734"/>
                  <a:pt x="2005" y="734"/>
                </a:cubicBezTo>
                <a:cubicBezTo>
                  <a:pt x="2005" y="734"/>
                  <a:pt x="2005" y="734"/>
                  <a:pt x="2004" y="734"/>
                </a:cubicBezTo>
                <a:cubicBezTo>
                  <a:pt x="2004" y="734"/>
                  <a:pt x="2004" y="734"/>
                  <a:pt x="2003" y="734"/>
                </a:cubicBezTo>
                <a:cubicBezTo>
                  <a:pt x="2003" y="734"/>
                  <a:pt x="2003" y="734"/>
                  <a:pt x="2003" y="733"/>
                </a:cubicBezTo>
                <a:cubicBezTo>
                  <a:pt x="2003" y="733"/>
                  <a:pt x="2003" y="733"/>
                  <a:pt x="2003" y="732"/>
                </a:cubicBezTo>
                <a:cubicBezTo>
                  <a:pt x="2003" y="732"/>
                  <a:pt x="2003" y="732"/>
                  <a:pt x="2002" y="731"/>
                </a:cubicBezTo>
                <a:cubicBezTo>
                  <a:pt x="2002" y="731"/>
                  <a:pt x="2002" y="731"/>
                  <a:pt x="2001" y="732"/>
                </a:cubicBezTo>
                <a:cubicBezTo>
                  <a:pt x="2001" y="732"/>
                  <a:pt x="2001" y="732"/>
                  <a:pt x="2000" y="731"/>
                </a:cubicBezTo>
                <a:cubicBezTo>
                  <a:pt x="2000" y="731"/>
                  <a:pt x="2000" y="731"/>
                  <a:pt x="1999" y="731"/>
                </a:cubicBezTo>
                <a:cubicBezTo>
                  <a:pt x="1999" y="731"/>
                  <a:pt x="1999" y="731"/>
                  <a:pt x="1998" y="732"/>
                </a:cubicBezTo>
                <a:cubicBezTo>
                  <a:pt x="1998" y="732"/>
                  <a:pt x="1998" y="732"/>
                  <a:pt x="1997" y="731"/>
                </a:cubicBezTo>
                <a:cubicBezTo>
                  <a:pt x="1997" y="731"/>
                  <a:pt x="1997" y="731"/>
                  <a:pt x="1998" y="730"/>
                </a:cubicBezTo>
                <a:cubicBezTo>
                  <a:pt x="1998" y="730"/>
                  <a:pt x="1998" y="730"/>
                  <a:pt x="1998" y="729"/>
                </a:cubicBezTo>
                <a:cubicBezTo>
                  <a:pt x="1998" y="729"/>
                  <a:pt x="1998" y="729"/>
                  <a:pt x="1998" y="728"/>
                </a:cubicBezTo>
                <a:cubicBezTo>
                  <a:pt x="1998" y="728"/>
                  <a:pt x="1998" y="728"/>
                  <a:pt x="1997" y="728"/>
                </a:cubicBezTo>
                <a:cubicBezTo>
                  <a:pt x="1997" y="728"/>
                  <a:pt x="1997" y="728"/>
                  <a:pt x="1996" y="729"/>
                </a:cubicBezTo>
                <a:cubicBezTo>
                  <a:pt x="1996" y="729"/>
                  <a:pt x="1996" y="729"/>
                  <a:pt x="1996" y="730"/>
                </a:cubicBezTo>
                <a:cubicBezTo>
                  <a:pt x="1996" y="730"/>
                  <a:pt x="1996" y="730"/>
                  <a:pt x="1995" y="730"/>
                </a:cubicBezTo>
                <a:cubicBezTo>
                  <a:pt x="1995" y="730"/>
                  <a:pt x="1995" y="730"/>
                  <a:pt x="1994" y="729"/>
                </a:cubicBezTo>
                <a:cubicBezTo>
                  <a:pt x="1994" y="729"/>
                  <a:pt x="1994" y="729"/>
                  <a:pt x="1994" y="728"/>
                </a:cubicBezTo>
                <a:cubicBezTo>
                  <a:pt x="1994" y="728"/>
                  <a:pt x="1994" y="728"/>
                  <a:pt x="1994" y="727"/>
                </a:cubicBezTo>
                <a:cubicBezTo>
                  <a:pt x="1994" y="727"/>
                  <a:pt x="1994" y="727"/>
                  <a:pt x="1994" y="726"/>
                </a:cubicBezTo>
                <a:cubicBezTo>
                  <a:pt x="1994" y="726"/>
                  <a:pt x="1994" y="726"/>
                  <a:pt x="1993" y="726"/>
                </a:cubicBezTo>
                <a:cubicBezTo>
                  <a:pt x="1993" y="726"/>
                  <a:pt x="1993" y="726"/>
                  <a:pt x="1992" y="725"/>
                </a:cubicBezTo>
                <a:cubicBezTo>
                  <a:pt x="1992" y="725"/>
                  <a:pt x="1992" y="725"/>
                  <a:pt x="1992" y="724"/>
                </a:cubicBezTo>
                <a:cubicBezTo>
                  <a:pt x="1992" y="724"/>
                  <a:pt x="1992" y="724"/>
                  <a:pt x="1991" y="723"/>
                </a:cubicBezTo>
                <a:cubicBezTo>
                  <a:pt x="1991" y="723"/>
                  <a:pt x="1991" y="723"/>
                  <a:pt x="1991" y="722"/>
                </a:cubicBezTo>
                <a:cubicBezTo>
                  <a:pt x="1991" y="722"/>
                  <a:pt x="1991" y="722"/>
                  <a:pt x="1990" y="721"/>
                </a:cubicBezTo>
                <a:cubicBezTo>
                  <a:pt x="1990" y="722"/>
                  <a:pt x="1990" y="722"/>
                  <a:pt x="1990" y="722"/>
                </a:cubicBezTo>
                <a:cubicBezTo>
                  <a:pt x="1989" y="721"/>
                  <a:pt x="1989" y="721"/>
                  <a:pt x="1989" y="721"/>
                </a:cubicBezTo>
                <a:cubicBezTo>
                  <a:pt x="1988" y="720"/>
                  <a:pt x="1988" y="720"/>
                  <a:pt x="1988" y="720"/>
                </a:cubicBezTo>
                <a:cubicBezTo>
                  <a:pt x="1987" y="719"/>
                  <a:pt x="1987" y="719"/>
                  <a:pt x="1987" y="719"/>
                </a:cubicBezTo>
                <a:cubicBezTo>
                  <a:pt x="1985" y="718"/>
                  <a:pt x="1985" y="718"/>
                  <a:pt x="1985" y="718"/>
                </a:cubicBezTo>
                <a:cubicBezTo>
                  <a:pt x="1984" y="717"/>
                  <a:pt x="1984" y="717"/>
                  <a:pt x="1984" y="717"/>
                </a:cubicBezTo>
                <a:cubicBezTo>
                  <a:pt x="1984" y="718"/>
                  <a:pt x="1984" y="718"/>
                  <a:pt x="1984" y="718"/>
                </a:cubicBezTo>
                <a:cubicBezTo>
                  <a:pt x="1984" y="719"/>
                  <a:pt x="1984" y="719"/>
                  <a:pt x="1984" y="719"/>
                </a:cubicBezTo>
                <a:cubicBezTo>
                  <a:pt x="1983" y="718"/>
                  <a:pt x="1983" y="718"/>
                  <a:pt x="1983" y="718"/>
                </a:cubicBezTo>
                <a:cubicBezTo>
                  <a:pt x="1982" y="718"/>
                  <a:pt x="1982" y="718"/>
                  <a:pt x="1982" y="718"/>
                </a:cubicBezTo>
                <a:cubicBezTo>
                  <a:pt x="1980" y="718"/>
                  <a:pt x="1980" y="718"/>
                  <a:pt x="1980" y="718"/>
                </a:cubicBezTo>
                <a:cubicBezTo>
                  <a:pt x="1979" y="718"/>
                  <a:pt x="1979" y="718"/>
                  <a:pt x="1979" y="718"/>
                </a:cubicBezTo>
                <a:cubicBezTo>
                  <a:pt x="1979" y="717"/>
                  <a:pt x="1979" y="717"/>
                  <a:pt x="1979" y="717"/>
                </a:cubicBezTo>
                <a:cubicBezTo>
                  <a:pt x="1979" y="716"/>
                  <a:pt x="1979" y="716"/>
                  <a:pt x="1979" y="716"/>
                </a:cubicBezTo>
                <a:cubicBezTo>
                  <a:pt x="1979" y="714"/>
                  <a:pt x="1979" y="714"/>
                  <a:pt x="1979" y="714"/>
                </a:cubicBezTo>
                <a:cubicBezTo>
                  <a:pt x="1979" y="713"/>
                  <a:pt x="1979" y="713"/>
                  <a:pt x="1979" y="713"/>
                </a:cubicBezTo>
                <a:cubicBezTo>
                  <a:pt x="1978" y="712"/>
                  <a:pt x="1978" y="712"/>
                  <a:pt x="1978" y="712"/>
                </a:cubicBezTo>
                <a:cubicBezTo>
                  <a:pt x="1977" y="712"/>
                  <a:pt x="1977" y="712"/>
                  <a:pt x="1977" y="712"/>
                </a:cubicBezTo>
                <a:cubicBezTo>
                  <a:pt x="1976" y="713"/>
                  <a:pt x="1976" y="713"/>
                  <a:pt x="1976" y="713"/>
                </a:cubicBezTo>
                <a:cubicBezTo>
                  <a:pt x="1975" y="713"/>
                  <a:pt x="1975" y="713"/>
                  <a:pt x="1975" y="713"/>
                </a:cubicBezTo>
                <a:cubicBezTo>
                  <a:pt x="1975" y="712"/>
                  <a:pt x="1975" y="712"/>
                  <a:pt x="1975" y="712"/>
                </a:cubicBezTo>
                <a:cubicBezTo>
                  <a:pt x="1974" y="713"/>
                  <a:pt x="1974" y="713"/>
                  <a:pt x="1974" y="713"/>
                </a:cubicBezTo>
                <a:cubicBezTo>
                  <a:pt x="1973" y="713"/>
                  <a:pt x="1973" y="713"/>
                  <a:pt x="1973" y="713"/>
                </a:cubicBezTo>
                <a:cubicBezTo>
                  <a:pt x="1973" y="714"/>
                  <a:pt x="1973" y="714"/>
                  <a:pt x="1973" y="714"/>
                </a:cubicBezTo>
                <a:cubicBezTo>
                  <a:pt x="1974" y="714"/>
                  <a:pt x="1974" y="714"/>
                  <a:pt x="1974" y="714"/>
                </a:cubicBezTo>
                <a:cubicBezTo>
                  <a:pt x="1974" y="715"/>
                  <a:pt x="1974" y="715"/>
                  <a:pt x="1974" y="715"/>
                </a:cubicBezTo>
                <a:cubicBezTo>
                  <a:pt x="1973" y="716"/>
                  <a:pt x="1973" y="716"/>
                  <a:pt x="1973" y="716"/>
                </a:cubicBezTo>
                <a:cubicBezTo>
                  <a:pt x="1973" y="718"/>
                  <a:pt x="1973" y="718"/>
                  <a:pt x="1973" y="718"/>
                </a:cubicBezTo>
                <a:cubicBezTo>
                  <a:pt x="1973" y="719"/>
                  <a:pt x="1973" y="719"/>
                  <a:pt x="1973" y="719"/>
                </a:cubicBezTo>
                <a:cubicBezTo>
                  <a:pt x="1974" y="719"/>
                  <a:pt x="1974" y="719"/>
                  <a:pt x="1974" y="719"/>
                </a:cubicBezTo>
                <a:cubicBezTo>
                  <a:pt x="1973" y="721"/>
                  <a:pt x="1973" y="721"/>
                  <a:pt x="1973" y="721"/>
                </a:cubicBezTo>
                <a:cubicBezTo>
                  <a:pt x="1973" y="722"/>
                  <a:pt x="1973" y="722"/>
                  <a:pt x="1973" y="722"/>
                </a:cubicBezTo>
                <a:cubicBezTo>
                  <a:pt x="1972" y="723"/>
                  <a:pt x="1972" y="723"/>
                  <a:pt x="1972" y="723"/>
                </a:cubicBezTo>
                <a:cubicBezTo>
                  <a:pt x="1971" y="724"/>
                  <a:pt x="1971" y="724"/>
                  <a:pt x="1971" y="724"/>
                </a:cubicBezTo>
                <a:cubicBezTo>
                  <a:pt x="1971" y="729"/>
                  <a:pt x="1971" y="729"/>
                  <a:pt x="1971" y="729"/>
                </a:cubicBezTo>
                <a:cubicBezTo>
                  <a:pt x="1970" y="731"/>
                  <a:pt x="1970" y="731"/>
                  <a:pt x="1970" y="731"/>
                </a:cubicBezTo>
                <a:cubicBezTo>
                  <a:pt x="1970" y="732"/>
                  <a:pt x="1970" y="732"/>
                  <a:pt x="1970" y="732"/>
                </a:cubicBezTo>
                <a:cubicBezTo>
                  <a:pt x="1969" y="734"/>
                  <a:pt x="1969" y="734"/>
                  <a:pt x="1969" y="734"/>
                </a:cubicBezTo>
                <a:cubicBezTo>
                  <a:pt x="1970" y="734"/>
                  <a:pt x="1970" y="734"/>
                  <a:pt x="1970" y="734"/>
                </a:cubicBezTo>
                <a:cubicBezTo>
                  <a:pt x="1969" y="735"/>
                  <a:pt x="1969" y="735"/>
                  <a:pt x="1969" y="735"/>
                </a:cubicBezTo>
                <a:cubicBezTo>
                  <a:pt x="1970" y="737"/>
                  <a:pt x="1970" y="737"/>
                  <a:pt x="1970" y="737"/>
                </a:cubicBezTo>
                <a:cubicBezTo>
                  <a:pt x="1970" y="738"/>
                  <a:pt x="1970" y="738"/>
                  <a:pt x="1970" y="738"/>
                </a:cubicBezTo>
                <a:cubicBezTo>
                  <a:pt x="1971" y="739"/>
                  <a:pt x="1971" y="739"/>
                  <a:pt x="1971" y="739"/>
                </a:cubicBezTo>
                <a:cubicBezTo>
                  <a:pt x="1970" y="741"/>
                  <a:pt x="1970" y="741"/>
                  <a:pt x="1970" y="741"/>
                </a:cubicBezTo>
                <a:cubicBezTo>
                  <a:pt x="1971" y="741"/>
                  <a:pt x="1971" y="741"/>
                  <a:pt x="1971" y="741"/>
                </a:cubicBezTo>
                <a:cubicBezTo>
                  <a:pt x="1971" y="740"/>
                  <a:pt x="1971" y="740"/>
                  <a:pt x="1971" y="740"/>
                </a:cubicBezTo>
                <a:cubicBezTo>
                  <a:pt x="1972" y="740"/>
                  <a:pt x="1972" y="740"/>
                  <a:pt x="1972" y="740"/>
                </a:cubicBezTo>
                <a:cubicBezTo>
                  <a:pt x="1973" y="740"/>
                  <a:pt x="1973" y="740"/>
                  <a:pt x="1973" y="740"/>
                </a:cubicBezTo>
                <a:cubicBezTo>
                  <a:pt x="1974" y="741"/>
                  <a:pt x="1974" y="741"/>
                  <a:pt x="1974" y="741"/>
                </a:cubicBezTo>
                <a:cubicBezTo>
                  <a:pt x="1974" y="742"/>
                  <a:pt x="1974" y="742"/>
                  <a:pt x="1974" y="742"/>
                </a:cubicBezTo>
                <a:cubicBezTo>
                  <a:pt x="1975" y="743"/>
                  <a:pt x="1975" y="743"/>
                  <a:pt x="1975" y="743"/>
                </a:cubicBezTo>
                <a:cubicBezTo>
                  <a:pt x="1974" y="744"/>
                  <a:pt x="1974" y="744"/>
                  <a:pt x="1974" y="744"/>
                </a:cubicBezTo>
                <a:cubicBezTo>
                  <a:pt x="1975" y="744"/>
                  <a:pt x="1975" y="744"/>
                  <a:pt x="1975" y="744"/>
                </a:cubicBezTo>
                <a:cubicBezTo>
                  <a:pt x="1976" y="746"/>
                  <a:pt x="1976" y="746"/>
                  <a:pt x="1976" y="746"/>
                </a:cubicBezTo>
                <a:cubicBezTo>
                  <a:pt x="1976" y="745"/>
                  <a:pt x="1976" y="745"/>
                  <a:pt x="1976" y="745"/>
                </a:cubicBezTo>
                <a:cubicBezTo>
                  <a:pt x="1977" y="744"/>
                  <a:pt x="1977" y="744"/>
                  <a:pt x="1977" y="744"/>
                </a:cubicBezTo>
                <a:cubicBezTo>
                  <a:pt x="1977" y="745"/>
                  <a:pt x="1977" y="745"/>
                  <a:pt x="1977" y="745"/>
                </a:cubicBezTo>
                <a:cubicBezTo>
                  <a:pt x="1978" y="746"/>
                  <a:pt x="1978" y="746"/>
                  <a:pt x="1978" y="746"/>
                </a:cubicBezTo>
                <a:cubicBezTo>
                  <a:pt x="1978" y="747"/>
                  <a:pt x="1978" y="747"/>
                  <a:pt x="1978" y="747"/>
                </a:cubicBezTo>
                <a:cubicBezTo>
                  <a:pt x="1978" y="748"/>
                  <a:pt x="1978" y="748"/>
                  <a:pt x="1978" y="748"/>
                </a:cubicBezTo>
                <a:cubicBezTo>
                  <a:pt x="1979" y="750"/>
                  <a:pt x="1979" y="750"/>
                  <a:pt x="1979" y="750"/>
                </a:cubicBezTo>
                <a:cubicBezTo>
                  <a:pt x="1978" y="751"/>
                  <a:pt x="1978" y="751"/>
                  <a:pt x="1978" y="751"/>
                </a:cubicBezTo>
                <a:cubicBezTo>
                  <a:pt x="1977" y="751"/>
                  <a:pt x="1977" y="751"/>
                  <a:pt x="1977" y="751"/>
                </a:cubicBezTo>
                <a:cubicBezTo>
                  <a:pt x="1977" y="752"/>
                  <a:pt x="1977" y="752"/>
                  <a:pt x="1977" y="752"/>
                </a:cubicBezTo>
                <a:cubicBezTo>
                  <a:pt x="1979" y="753"/>
                  <a:pt x="1979" y="753"/>
                  <a:pt x="1979" y="753"/>
                </a:cubicBezTo>
                <a:cubicBezTo>
                  <a:pt x="1980" y="754"/>
                  <a:pt x="1980" y="754"/>
                  <a:pt x="1980" y="754"/>
                </a:cubicBezTo>
                <a:cubicBezTo>
                  <a:pt x="1982" y="756"/>
                  <a:pt x="1982" y="756"/>
                  <a:pt x="1982" y="756"/>
                </a:cubicBezTo>
                <a:cubicBezTo>
                  <a:pt x="1983" y="756"/>
                  <a:pt x="1983" y="756"/>
                  <a:pt x="1983" y="756"/>
                </a:cubicBezTo>
                <a:cubicBezTo>
                  <a:pt x="1984" y="756"/>
                  <a:pt x="1984" y="756"/>
                  <a:pt x="1984" y="756"/>
                </a:cubicBezTo>
                <a:cubicBezTo>
                  <a:pt x="1986" y="757"/>
                  <a:pt x="1986" y="757"/>
                  <a:pt x="1986" y="757"/>
                </a:cubicBezTo>
                <a:cubicBezTo>
                  <a:pt x="1986" y="759"/>
                  <a:pt x="1986" y="759"/>
                  <a:pt x="1986" y="759"/>
                </a:cubicBezTo>
                <a:cubicBezTo>
                  <a:pt x="1987" y="759"/>
                  <a:pt x="1987" y="759"/>
                  <a:pt x="1987" y="759"/>
                </a:cubicBezTo>
                <a:cubicBezTo>
                  <a:pt x="1988" y="760"/>
                  <a:pt x="1988" y="760"/>
                  <a:pt x="1988" y="760"/>
                </a:cubicBezTo>
                <a:cubicBezTo>
                  <a:pt x="1988" y="761"/>
                  <a:pt x="1988" y="761"/>
                  <a:pt x="1988" y="761"/>
                </a:cubicBezTo>
                <a:cubicBezTo>
                  <a:pt x="1988" y="761"/>
                  <a:pt x="1988" y="761"/>
                  <a:pt x="1989" y="761"/>
                </a:cubicBezTo>
                <a:cubicBezTo>
                  <a:pt x="1989" y="761"/>
                  <a:pt x="1989" y="761"/>
                  <a:pt x="1990" y="760"/>
                </a:cubicBezTo>
                <a:cubicBezTo>
                  <a:pt x="1990" y="760"/>
                  <a:pt x="1990" y="760"/>
                  <a:pt x="1991" y="762"/>
                </a:cubicBezTo>
                <a:cubicBezTo>
                  <a:pt x="1991" y="762"/>
                  <a:pt x="1991" y="762"/>
                  <a:pt x="1996" y="766"/>
                </a:cubicBezTo>
                <a:cubicBezTo>
                  <a:pt x="1996" y="766"/>
                  <a:pt x="1996" y="766"/>
                  <a:pt x="1997" y="769"/>
                </a:cubicBezTo>
                <a:cubicBezTo>
                  <a:pt x="1997" y="769"/>
                  <a:pt x="1997" y="769"/>
                  <a:pt x="1998" y="771"/>
                </a:cubicBezTo>
                <a:cubicBezTo>
                  <a:pt x="1998" y="771"/>
                  <a:pt x="1998" y="771"/>
                  <a:pt x="1997" y="772"/>
                </a:cubicBezTo>
                <a:cubicBezTo>
                  <a:pt x="1997" y="772"/>
                  <a:pt x="1997" y="772"/>
                  <a:pt x="1998" y="775"/>
                </a:cubicBezTo>
                <a:cubicBezTo>
                  <a:pt x="1998" y="775"/>
                  <a:pt x="1998" y="775"/>
                  <a:pt x="1997" y="775"/>
                </a:cubicBezTo>
                <a:cubicBezTo>
                  <a:pt x="1997" y="775"/>
                  <a:pt x="1997" y="775"/>
                  <a:pt x="1997" y="776"/>
                </a:cubicBezTo>
                <a:cubicBezTo>
                  <a:pt x="1997" y="776"/>
                  <a:pt x="1997" y="776"/>
                  <a:pt x="1998" y="777"/>
                </a:cubicBezTo>
                <a:cubicBezTo>
                  <a:pt x="1998" y="777"/>
                  <a:pt x="1998" y="777"/>
                  <a:pt x="1998" y="780"/>
                </a:cubicBezTo>
                <a:cubicBezTo>
                  <a:pt x="1998" y="780"/>
                  <a:pt x="1998" y="780"/>
                  <a:pt x="1999" y="782"/>
                </a:cubicBezTo>
                <a:cubicBezTo>
                  <a:pt x="1999" y="782"/>
                  <a:pt x="1999" y="782"/>
                  <a:pt x="2000" y="783"/>
                </a:cubicBezTo>
                <a:cubicBezTo>
                  <a:pt x="2000" y="783"/>
                  <a:pt x="2000" y="783"/>
                  <a:pt x="2001" y="783"/>
                </a:cubicBezTo>
                <a:cubicBezTo>
                  <a:pt x="2001" y="783"/>
                  <a:pt x="2001" y="783"/>
                  <a:pt x="2001" y="784"/>
                </a:cubicBezTo>
                <a:cubicBezTo>
                  <a:pt x="2001" y="784"/>
                  <a:pt x="2001" y="784"/>
                  <a:pt x="2001" y="786"/>
                </a:cubicBezTo>
                <a:cubicBezTo>
                  <a:pt x="2001" y="786"/>
                  <a:pt x="2001" y="786"/>
                  <a:pt x="2002" y="787"/>
                </a:cubicBezTo>
                <a:cubicBezTo>
                  <a:pt x="2002" y="787"/>
                  <a:pt x="2002" y="787"/>
                  <a:pt x="2002" y="788"/>
                </a:cubicBezTo>
                <a:cubicBezTo>
                  <a:pt x="2002" y="788"/>
                  <a:pt x="2002" y="788"/>
                  <a:pt x="2004" y="790"/>
                </a:cubicBezTo>
                <a:cubicBezTo>
                  <a:pt x="2004" y="790"/>
                  <a:pt x="2004" y="790"/>
                  <a:pt x="2004" y="792"/>
                </a:cubicBezTo>
                <a:cubicBezTo>
                  <a:pt x="2004" y="792"/>
                  <a:pt x="2004" y="792"/>
                  <a:pt x="2003" y="792"/>
                </a:cubicBezTo>
                <a:cubicBezTo>
                  <a:pt x="2003" y="792"/>
                  <a:pt x="2003" y="792"/>
                  <a:pt x="2003" y="791"/>
                </a:cubicBezTo>
                <a:cubicBezTo>
                  <a:pt x="2003" y="791"/>
                  <a:pt x="2003" y="791"/>
                  <a:pt x="2002" y="790"/>
                </a:cubicBezTo>
                <a:cubicBezTo>
                  <a:pt x="2002" y="790"/>
                  <a:pt x="2002" y="790"/>
                  <a:pt x="2002" y="791"/>
                </a:cubicBezTo>
                <a:cubicBezTo>
                  <a:pt x="2002" y="791"/>
                  <a:pt x="2002" y="791"/>
                  <a:pt x="2002" y="792"/>
                </a:cubicBezTo>
                <a:cubicBezTo>
                  <a:pt x="2002" y="792"/>
                  <a:pt x="2002" y="792"/>
                  <a:pt x="2001" y="792"/>
                </a:cubicBezTo>
                <a:cubicBezTo>
                  <a:pt x="2001" y="792"/>
                  <a:pt x="2001" y="792"/>
                  <a:pt x="2000" y="792"/>
                </a:cubicBezTo>
                <a:cubicBezTo>
                  <a:pt x="2000" y="792"/>
                  <a:pt x="2000" y="792"/>
                  <a:pt x="1999" y="792"/>
                </a:cubicBezTo>
                <a:cubicBezTo>
                  <a:pt x="1999" y="792"/>
                  <a:pt x="1999" y="792"/>
                  <a:pt x="1998" y="791"/>
                </a:cubicBezTo>
                <a:cubicBezTo>
                  <a:pt x="1998" y="791"/>
                  <a:pt x="1998" y="791"/>
                  <a:pt x="1996" y="790"/>
                </a:cubicBezTo>
                <a:cubicBezTo>
                  <a:pt x="1996" y="790"/>
                  <a:pt x="1996" y="790"/>
                  <a:pt x="1994" y="789"/>
                </a:cubicBezTo>
                <a:cubicBezTo>
                  <a:pt x="1994" y="789"/>
                  <a:pt x="1994" y="789"/>
                  <a:pt x="1993" y="788"/>
                </a:cubicBezTo>
                <a:cubicBezTo>
                  <a:pt x="1993" y="788"/>
                  <a:pt x="1993" y="788"/>
                  <a:pt x="1992" y="788"/>
                </a:cubicBezTo>
                <a:cubicBezTo>
                  <a:pt x="1992" y="788"/>
                  <a:pt x="1992" y="788"/>
                  <a:pt x="1991" y="788"/>
                </a:cubicBezTo>
                <a:cubicBezTo>
                  <a:pt x="1991" y="788"/>
                  <a:pt x="1991" y="788"/>
                  <a:pt x="1989" y="786"/>
                </a:cubicBezTo>
                <a:cubicBezTo>
                  <a:pt x="1989" y="786"/>
                  <a:pt x="1989" y="786"/>
                  <a:pt x="1989" y="785"/>
                </a:cubicBezTo>
                <a:cubicBezTo>
                  <a:pt x="1989" y="785"/>
                  <a:pt x="1989" y="785"/>
                  <a:pt x="1988" y="784"/>
                </a:cubicBezTo>
                <a:cubicBezTo>
                  <a:pt x="1988" y="784"/>
                  <a:pt x="1988" y="784"/>
                  <a:pt x="1985" y="783"/>
                </a:cubicBezTo>
                <a:cubicBezTo>
                  <a:pt x="1985" y="783"/>
                  <a:pt x="1985" y="783"/>
                  <a:pt x="1985" y="782"/>
                </a:cubicBezTo>
                <a:cubicBezTo>
                  <a:pt x="1985" y="782"/>
                  <a:pt x="1985" y="782"/>
                  <a:pt x="1985" y="781"/>
                </a:cubicBezTo>
                <a:cubicBezTo>
                  <a:pt x="1985" y="781"/>
                  <a:pt x="1985" y="781"/>
                  <a:pt x="1986" y="780"/>
                </a:cubicBezTo>
                <a:cubicBezTo>
                  <a:pt x="1986" y="780"/>
                  <a:pt x="1986" y="780"/>
                  <a:pt x="1985" y="779"/>
                </a:cubicBezTo>
                <a:cubicBezTo>
                  <a:pt x="1985" y="779"/>
                  <a:pt x="1985" y="779"/>
                  <a:pt x="1984" y="778"/>
                </a:cubicBezTo>
                <a:cubicBezTo>
                  <a:pt x="1984" y="778"/>
                  <a:pt x="1984" y="778"/>
                  <a:pt x="1983" y="777"/>
                </a:cubicBezTo>
                <a:cubicBezTo>
                  <a:pt x="1983" y="777"/>
                  <a:pt x="1983" y="777"/>
                  <a:pt x="1981" y="776"/>
                </a:cubicBezTo>
                <a:cubicBezTo>
                  <a:pt x="1981" y="776"/>
                  <a:pt x="1981" y="776"/>
                  <a:pt x="1980" y="775"/>
                </a:cubicBezTo>
                <a:cubicBezTo>
                  <a:pt x="1980" y="775"/>
                  <a:pt x="1980" y="775"/>
                  <a:pt x="1980" y="774"/>
                </a:cubicBezTo>
                <a:cubicBezTo>
                  <a:pt x="1980" y="774"/>
                  <a:pt x="1980" y="774"/>
                  <a:pt x="1980" y="773"/>
                </a:cubicBezTo>
                <a:cubicBezTo>
                  <a:pt x="1980" y="773"/>
                  <a:pt x="1980" y="773"/>
                  <a:pt x="1979" y="772"/>
                </a:cubicBezTo>
                <a:cubicBezTo>
                  <a:pt x="1979" y="772"/>
                  <a:pt x="1979" y="772"/>
                  <a:pt x="1980" y="771"/>
                </a:cubicBezTo>
                <a:cubicBezTo>
                  <a:pt x="1980" y="771"/>
                  <a:pt x="1980" y="771"/>
                  <a:pt x="1980" y="769"/>
                </a:cubicBezTo>
                <a:cubicBezTo>
                  <a:pt x="1980" y="769"/>
                  <a:pt x="1980" y="769"/>
                  <a:pt x="1979" y="768"/>
                </a:cubicBezTo>
                <a:cubicBezTo>
                  <a:pt x="1979" y="768"/>
                  <a:pt x="1979" y="768"/>
                  <a:pt x="1979" y="766"/>
                </a:cubicBezTo>
                <a:cubicBezTo>
                  <a:pt x="1979" y="766"/>
                  <a:pt x="1979" y="766"/>
                  <a:pt x="1978" y="761"/>
                </a:cubicBezTo>
                <a:cubicBezTo>
                  <a:pt x="1978" y="761"/>
                  <a:pt x="1978" y="761"/>
                  <a:pt x="1977" y="759"/>
                </a:cubicBezTo>
                <a:cubicBezTo>
                  <a:pt x="1976" y="758"/>
                  <a:pt x="1976" y="758"/>
                  <a:pt x="1976" y="758"/>
                </a:cubicBezTo>
                <a:cubicBezTo>
                  <a:pt x="1973" y="756"/>
                  <a:pt x="1973" y="756"/>
                  <a:pt x="1973" y="756"/>
                </a:cubicBezTo>
                <a:cubicBezTo>
                  <a:pt x="1974" y="755"/>
                  <a:pt x="1974" y="755"/>
                  <a:pt x="1974" y="755"/>
                </a:cubicBezTo>
                <a:cubicBezTo>
                  <a:pt x="1974" y="754"/>
                  <a:pt x="1974" y="754"/>
                  <a:pt x="1974" y="754"/>
                </a:cubicBezTo>
                <a:cubicBezTo>
                  <a:pt x="1973" y="754"/>
                  <a:pt x="1973" y="754"/>
                  <a:pt x="1973" y="754"/>
                </a:cubicBezTo>
                <a:cubicBezTo>
                  <a:pt x="1973" y="753"/>
                  <a:pt x="1973" y="753"/>
                  <a:pt x="1973" y="753"/>
                </a:cubicBezTo>
                <a:cubicBezTo>
                  <a:pt x="1972" y="753"/>
                  <a:pt x="1972" y="753"/>
                  <a:pt x="1972" y="753"/>
                </a:cubicBezTo>
                <a:cubicBezTo>
                  <a:pt x="1972" y="752"/>
                  <a:pt x="1972" y="752"/>
                  <a:pt x="1972" y="752"/>
                </a:cubicBezTo>
                <a:cubicBezTo>
                  <a:pt x="1970" y="750"/>
                  <a:pt x="1970" y="750"/>
                  <a:pt x="1970" y="750"/>
                </a:cubicBezTo>
                <a:cubicBezTo>
                  <a:pt x="1969" y="750"/>
                  <a:pt x="1969" y="750"/>
                  <a:pt x="1969" y="750"/>
                </a:cubicBezTo>
                <a:cubicBezTo>
                  <a:pt x="1968" y="748"/>
                  <a:pt x="1968" y="748"/>
                  <a:pt x="1968" y="748"/>
                </a:cubicBezTo>
                <a:cubicBezTo>
                  <a:pt x="1967" y="748"/>
                  <a:pt x="1967" y="748"/>
                  <a:pt x="1967" y="748"/>
                </a:cubicBezTo>
                <a:cubicBezTo>
                  <a:pt x="1967" y="747"/>
                  <a:pt x="1967" y="747"/>
                  <a:pt x="1967" y="747"/>
                </a:cubicBezTo>
                <a:cubicBezTo>
                  <a:pt x="1967" y="746"/>
                  <a:pt x="1967" y="746"/>
                  <a:pt x="1967" y="746"/>
                </a:cubicBezTo>
                <a:cubicBezTo>
                  <a:pt x="1965" y="746"/>
                  <a:pt x="1965" y="746"/>
                  <a:pt x="1965" y="746"/>
                </a:cubicBezTo>
                <a:cubicBezTo>
                  <a:pt x="1966" y="747"/>
                  <a:pt x="1966" y="747"/>
                  <a:pt x="1966" y="747"/>
                </a:cubicBezTo>
                <a:cubicBezTo>
                  <a:pt x="1965" y="747"/>
                  <a:pt x="1965" y="747"/>
                  <a:pt x="1965" y="747"/>
                </a:cubicBezTo>
                <a:cubicBezTo>
                  <a:pt x="1964" y="746"/>
                  <a:pt x="1964" y="746"/>
                  <a:pt x="1964" y="746"/>
                </a:cubicBezTo>
                <a:cubicBezTo>
                  <a:pt x="1964" y="744"/>
                  <a:pt x="1964" y="744"/>
                  <a:pt x="1964" y="744"/>
                </a:cubicBezTo>
                <a:cubicBezTo>
                  <a:pt x="1964" y="742"/>
                  <a:pt x="1964" y="742"/>
                  <a:pt x="1964" y="742"/>
                </a:cubicBezTo>
                <a:cubicBezTo>
                  <a:pt x="1965" y="742"/>
                  <a:pt x="1965" y="742"/>
                  <a:pt x="1965" y="742"/>
                </a:cubicBezTo>
                <a:cubicBezTo>
                  <a:pt x="1965" y="739"/>
                  <a:pt x="1965" y="739"/>
                  <a:pt x="1965" y="739"/>
                </a:cubicBezTo>
                <a:cubicBezTo>
                  <a:pt x="1966" y="738"/>
                  <a:pt x="1966" y="738"/>
                  <a:pt x="1966" y="738"/>
                </a:cubicBezTo>
                <a:cubicBezTo>
                  <a:pt x="1965" y="738"/>
                  <a:pt x="1965" y="738"/>
                  <a:pt x="1965" y="738"/>
                </a:cubicBezTo>
                <a:cubicBezTo>
                  <a:pt x="1966" y="737"/>
                  <a:pt x="1966" y="737"/>
                  <a:pt x="1966" y="737"/>
                </a:cubicBezTo>
                <a:cubicBezTo>
                  <a:pt x="1966" y="736"/>
                  <a:pt x="1966" y="736"/>
                  <a:pt x="1966" y="736"/>
                </a:cubicBezTo>
                <a:cubicBezTo>
                  <a:pt x="1967" y="735"/>
                  <a:pt x="1967" y="735"/>
                  <a:pt x="1967" y="735"/>
                </a:cubicBezTo>
                <a:cubicBezTo>
                  <a:pt x="1966" y="735"/>
                  <a:pt x="1966" y="735"/>
                  <a:pt x="1966" y="735"/>
                </a:cubicBezTo>
                <a:cubicBezTo>
                  <a:pt x="1966" y="734"/>
                  <a:pt x="1966" y="734"/>
                  <a:pt x="1966" y="734"/>
                </a:cubicBezTo>
                <a:cubicBezTo>
                  <a:pt x="1966" y="734"/>
                  <a:pt x="1966" y="734"/>
                  <a:pt x="1965" y="736"/>
                </a:cubicBezTo>
                <a:cubicBezTo>
                  <a:pt x="1965" y="736"/>
                  <a:pt x="1965" y="736"/>
                  <a:pt x="1965" y="734"/>
                </a:cubicBezTo>
                <a:cubicBezTo>
                  <a:pt x="1965" y="734"/>
                  <a:pt x="1965" y="734"/>
                  <a:pt x="1965" y="732"/>
                </a:cubicBezTo>
                <a:cubicBezTo>
                  <a:pt x="1965" y="732"/>
                  <a:pt x="1965" y="732"/>
                  <a:pt x="1964" y="731"/>
                </a:cubicBezTo>
                <a:cubicBezTo>
                  <a:pt x="1964" y="731"/>
                  <a:pt x="1964" y="731"/>
                  <a:pt x="1965" y="731"/>
                </a:cubicBezTo>
                <a:cubicBezTo>
                  <a:pt x="1965" y="731"/>
                  <a:pt x="1965" y="731"/>
                  <a:pt x="1966" y="729"/>
                </a:cubicBezTo>
                <a:cubicBezTo>
                  <a:pt x="1966" y="729"/>
                  <a:pt x="1966" y="729"/>
                  <a:pt x="1966" y="728"/>
                </a:cubicBezTo>
                <a:cubicBezTo>
                  <a:pt x="1966" y="728"/>
                  <a:pt x="1966" y="728"/>
                  <a:pt x="1966" y="726"/>
                </a:cubicBezTo>
                <a:cubicBezTo>
                  <a:pt x="1966" y="726"/>
                  <a:pt x="1966" y="726"/>
                  <a:pt x="1966" y="725"/>
                </a:cubicBezTo>
                <a:cubicBezTo>
                  <a:pt x="1966" y="725"/>
                  <a:pt x="1966" y="725"/>
                  <a:pt x="1966" y="724"/>
                </a:cubicBezTo>
                <a:cubicBezTo>
                  <a:pt x="1966" y="724"/>
                  <a:pt x="1966" y="724"/>
                  <a:pt x="1967" y="723"/>
                </a:cubicBezTo>
                <a:cubicBezTo>
                  <a:pt x="1967" y="723"/>
                  <a:pt x="1967" y="723"/>
                  <a:pt x="1966" y="722"/>
                </a:cubicBezTo>
                <a:cubicBezTo>
                  <a:pt x="1966" y="722"/>
                  <a:pt x="1966" y="722"/>
                  <a:pt x="1965" y="721"/>
                </a:cubicBezTo>
                <a:cubicBezTo>
                  <a:pt x="1965" y="721"/>
                  <a:pt x="1965" y="721"/>
                  <a:pt x="1965" y="719"/>
                </a:cubicBezTo>
                <a:cubicBezTo>
                  <a:pt x="1965" y="719"/>
                  <a:pt x="1965" y="719"/>
                  <a:pt x="1966" y="719"/>
                </a:cubicBezTo>
                <a:cubicBezTo>
                  <a:pt x="1966" y="719"/>
                  <a:pt x="1966" y="719"/>
                  <a:pt x="1965" y="718"/>
                </a:cubicBezTo>
                <a:cubicBezTo>
                  <a:pt x="1965" y="718"/>
                  <a:pt x="1965" y="718"/>
                  <a:pt x="1965" y="717"/>
                </a:cubicBezTo>
                <a:cubicBezTo>
                  <a:pt x="1965" y="717"/>
                  <a:pt x="1965" y="717"/>
                  <a:pt x="1964" y="713"/>
                </a:cubicBezTo>
                <a:cubicBezTo>
                  <a:pt x="1964" y="713"/>
                  <a:pt x="1964" y="713"/>
                  <a:pt x="1963" y="713"/>
                </a:cubicBezTo>
                <a:cubicBezTo>
                  <a:pt x="1963" y="713"/>
                  <a:pt x="1963" y="713"/>
                  <a:pt x="1963" y="711"/>
                </a:cubicBezTo>
                <a:cubicBezTo>
                  <a:pt x="1963" y="711"/>
                  <a:pt x="1963" y="711"/>
                  <a:pt x="1962" y="710"/>
                </a:cubicBezTo>
                <a:cubicBezTo>
                  <a:pt x="1962" y="710"/>
                  <a:pt x="1962" y="710"/>
                  <a:pt x="1962" y="711"/>
                </a:cubicBezTo>
                <a:cubicBezTo>
                  <a:pt x="1962" y="711"/>
                  <a:pt x="1962" y="711"/>
                  <a:pt x="1961" y="710"/>
                </a:cubicBezTo>
                <a:cubicBezTo>
                  <a:pt x="1961" y="710"/>
                  <a:pt x="1961" y="710"/>
                  <a:pt x="1961" y="707"/>
                </a:cubicBezTo>
                <a:cubicBezTo>
                  <a:pt x="1961" y="707"/>
                  <a:pt x="1961" y="707"/>
                  <a:pt x="1960" y="706"/>
                </a:cubicBezTo>
                <a:cubicBezTo>
                  <a:pt x="1960" y="706"/>
                  <a:pt x="1960" y="706"/>
                  <a:pt x="1960" y="705"/>
                </a:cubicBezTo>
                <a:cubicBezTo>
                  <a:pt x="1960" y="705"/>
                  <a:pt x="1960" y="705"/>
                  <a:pt x="1961" y="704"/>
                </a:cubicBezTo>
                <a:cubicBezTo>
                  <a:pt x="1961" y="704"/>
                  <a:pt x="1961" y="704"/>
                  <a:pt x="1959" y="703"/>
                </a:cubicBezTo>
                <a:cubicBezTo>
                  <a:pt x="1959" y="703"/>
                  <a:pt x="1959" y="703"/>
                  <a:pt x="1959" y="701"/>
                </a:cubicBezTo>
                <a:cubicBezTo>
                  <a:pt x="1959" y="701"/>
                  <a:pt x="1959" y="701"/>
                  <a:pt x="1958" y="696"/>
                </a:cubicBezTo>
                <a:cubicBezTo>
                  <a:pt x="1958" y="696"/>
                  <a:pt x="1958" y="696"/>
                  <a:pt x="1957" y="696"/>
                </a:cubicBezTo>
                <a:cubicBezTo>
                  <a:pt x="1957" y="696"/>
                  <a:pt x="1957" y="696"/>
                  <a:pt x="1957" y="695"/>
                </a:cubicBezTo>
                <a:cubicBezTo>
                  <a:pt x="1957" y="695"/>
                  <a:pt x="1957" y="695"/>
                  <a:pt x="1957" y="694"/>
                </a:cubicBezTo>
                <a:cubicBezTo>
                  <a:pt x="1957" y="694"/>
                  <a:pt x="1957" y="694"/>
                  <a:pt x="1957" y="692"/>
                </a:cubicBezTo>
                <a:cubicBezTo>
                  <a:pt x="1957" y="692"/>
                  <a:pt x="1957" y="692"/>
                  <a:pt x="1956" y="692"/>
                </a:cubicBezTo>
                <a:cubicBezTo>
                  <a:pt x="1956" y="692"/>
                  <a:pt x="1956" y="692"/>
                  <a:pt x="1955" y="692"/>
                </a:cubicBezTo>
                <a:cubicBezTo>
                  <a:pt x="1955" y="692"/>
                  <a:pt x="1955" y="692"/>
                  <a:pt x="1954" y="691"/>
                </a:cubicBezTo>
                <a:cubicBezTo>
                  <a:pt x="1954" y="691"/>
                  <a:pt x="1954" y="691"/>
                  <a:pt x="1954" y="690"/>
                </a:cubicBezTo>
                <a:cubicBezTo>
                  <a:pt x="1954" y="690"/>
                  <a:pt x="1954" y="690"/>
                  <a:pt x="1953" y="687"/>
                </a:cubicBezTo>
                <a:cubicBezTo>
                  <a:pt x="1953" y="687"/>
                  <a:pt x="1953" y="687"/>
                  <a:pt x="1952" y="687"/>
                </a:cubicBezTo>
                <a:cubicBezTo>
                  <a:pt x="1952" y="687"/>
                  <a:pt x="1952" y="687"/>
                  <a:pt x="1952" y="686"/>
                </a:cubicBezTo>
                <a:cubicBezTo>
                  <a:pt x="1952" y="686"/>
                  <a:pt x="1952" y="686"/>
                  <a:pt x="1951" y="685"/>
                </a:cubicBezTo>
                <a:cubicBezTo>
                  <a:pt x="1951" y="685"/>
                  <a:pt x="1951" y="685"/>
                  <a:pt x="1951" y="686"/>
                </a:cubicBezTo>
                <a:cubicBezTo>
                  <a:pt x="1951" y="686"/>
                  <a:pt x="1951" y="686"/>
                  <a:pt x="1951" y="687"/>
                </a:cubicBezTo>
                <a:cubicBezTo>
                  <a:pt x="1951" y="687"/>
                  <a:pt x="1951" y="687"/>
                  <a:pt x="1952" y="688"/>
                </a:cubicBezTo>
                <a:cubicBezTo>
                  <a:pt x="1952" y="688"/>
                  <a:pt x="1952" y="688"/>
                  <a:pt x="1952" y="689"/>
                </a:cubicBezTo>
                <a:cubicBezTo>
                  <a:pt x="1952" y="689"/>
                  <a:pt x="1952" y="689"/>
                  <a:pt x="1951" y="690"/>
                </a:cubicBezTo>
                <a:cubicBezTo>
                  <a:pt x="1951" y="690"/>
                  <a:pt x="1951" y="690"/>
                  <a:pt x="1951" y="691"/>
                </a:cubicBezTo>
                <a:cubicBezTo>
                  <a:pt x="1951" y="691"/>
                  <a:pt x="1951" y="691"/>
                  <a:pt x="1950" y="692"/>
                </a:cubicBezTo>
                <a:cubicBezTo>
                  <a:pt x="1950" y="692"/>
                  <a:pt x="1950" y="692"/>
                  <a:pt x="1949" y="692"/>
                </a:cubicBezTo>
                <a:cubicBezTo>
                  <a:pt x="1949" y="692"/>
                  <a:pt x="1949" y="692"/>
                  <a:pt x="1948" y="691"/>
                </a:cubicBezTo>
                <a:cubicBezTo>
                  <a:pt x="1948" y="691"/>
                  <a:pt x="1948" y="691"/>
                  <a:pt x="1947" y="691"/>
                </a:cubicBezTo>
                <a:cubicBezTo>
                  <a:pt x="1947" y="691"/>
                  <a:pt x="1947" y="691"/>
                  <a:pt x="1948" y="692"/>
                </a:cubicBezTo>
                <a:cubicBezTo>
                  <a:pt x="1948" y="692"/>
                  <a:pt x="1948" y="692"/>
                  <a:pt x="1949" y="692"/>
                </a:cubicBezTo>
                <a:cubicBezTo>
                  <a:pt x="1949" y="692"/>
                  <a:pt x="1949" y="692"/>
                  <a:pt x="1947" y="693"/>
                </a:cubicBezTo>
                <a:cubicBezTo>
                  <a:pt x="1947" y="693"/>
                  <a:pt x="1947" y="693"/>
                  <a:pt x="1946" y="693"/>
                </a:cubicBezTo>
                <a:lnTo>
                  <a:pt x="1946" y="694"/>
                </a:lnTo>
                <a:close/>
                <a:moveTo>
                  <a:pt x="2077" y="573"/>
                </a:moveTo>
                <a:cubicBezTo>
                  <a:pt x="2076" y="574"/>
                  <a:pt x="2076" y="574"/>
                  <a:pt x="2076" y="574"/>
                </a:cubicBezTo>
                <a:cubicBezTo>
                  <a:pt x="2077" y="574"/>
                  <a:pt x="2077" y="574"/>
                  <a:pt x="2077" y="574"/>
                </a:cubicBezTo>
                <a:cubicBezTo>
                  <a:pt x="2078" y="574"/>
                  <a:pt x="2078" y="574"/>
                  <a:pt x="2078" y="574"/>
                </a:cubicBezTo>
                <a:cubicBezTo>
                  <a:pt x="2079" y="574"/>
                  <a:pt x="2079" y="574"/>
                  <a:pt x="2079" y="574"/>
                </a:cubicBezTo>
                <a:cubicBezTo>
                  <a:pt x="2079" y="575"/>
                  <a:pt x="2079" y="575"/>
                  <a:pt x="2079" y="575"/>
                </a:cubicBezTo>
                <a:cubicBezTo>
                  <a:pt x="2081" y="576"/>
                  <a:pt x="2081" y="576"/>
                  <a:pt x="2081" y="576"/>
                </a:cubicBezTo>
                <a:cubicBezTo>
                  <a:pt x="2082" y="577"/>
                  <a:pt x="2082" y="577"/>
                  <a:pt x="2082" y="577"/>
                </a:cubicBezTo>
                <a:cubicBezTo>
                  <a:pt x="2084" y="575"/>
                  <a:pt x="2084" y="575"/>
                  <a:pt x="2084" y="575"/>
                </a:cubicBezTo>
                <a:cubicBezTo>
                  <a:pt x="2083" y="575"/>
                  <a:pt x="2083" y="575"/>
                  <a:pt x="2083" y="575"/>
                </a:cubicBezTo>
                <a:cubicBezTo>
                  <a:pt x="2082" y="576"/>
                  <a:pt x="2082" y="576"/>
                  <a:pt x="2082" y="576"/>
                </a:cubicBezTo>
                <a:cubicBezTo>
                  <a:pt x="2081" y="576"/>
                  <a:pt x="2081" y="576"/>
                  <a:pt x="2081" y="576"/>
                </a:cubicBezTo>
                <a:cubicBezTo>
                  <a:pt x="2080" y="575"/>
                  <a:pt x="2080" y="575"/>
                  <a:pt x="2080" y="575"/>
                </a:cubicBezTo>
                <a:cubicBezTo>
                  <a:pt x="2079" y="573"/>
                  <a:pt x="2079" y="573"/>
                  <a:pt x="2079" y="573"/>
                </a:cubicBezTo>
                <a:cubicBezTo>
                  <a:pt x="2078" y="574"/>
                  <a:pt x="2078" y="574"/>
                  <a:pt x="2078" y="574"/>
                </a:cubicBezTo>
                <a:cubicBezTo>
                  <a:pt x="2077" y="573"/>
                  <a:pt x="2077" y="573"/>
                  <a:pt x="2077" y="573"/>
                </a:cubicBezTo>
                <a:close/>
                <a:moveTo>
                  <a:pt x="2074" y="574"/>
                </a:moveTo>
                <a:cubicBezTo>
                  <a:pt x="2072" y="577"/>
                  <a:pt x="2072" y="577"/>
                  <a:pt x="2072" y="577"/>
                </a:cubicBezTo>
                <a:cubicBezTo>
                  <a:pt x="2074" y="575"/>
                  <a:pt x="2074" y="575"/>
                  <a:pt x="2074" y="575"/>
                </a:cubicBezTo>
                <a:cubicBezTo>
                  <a:pt x="2075" y="574"/>
                  <a:pt x="2075" y="574"/>
                  <a:pt x="2075" y="574"/>
                </a:cubicBezTo>
                <a:cubicBezTo>
                  <a:pt x="2075" y="573"/>
                  <a:pt x="2075" y="573"/>
                  <a:pt x="2075" y="573"/>
                </a:cubicBezTo>
                <a:cubicBezTo>
                  <a:pt x="2074" y="574"/>
                  <a:pt x="2074" y="574"/>
                  <a:pt x="2074" y="574"/>
                </a:cubicBezTo>
                <a:close/>
                <a:moveTo>
                  <a:pt x="1376" y="348"/>
                </a:moveTo>
                <a:cubicBezTo>
                  <a:pt x="1376" y="348"/>
                  <a:pt x="1376" y="348"/>
                  <a:pt x="1378" y="347"/>
                </a:cubicBezTo>
                <a:cubicBezTo>
                  <a:pt x="1378" y="347"/>
                  <a:pt x="1378" y="347"/>
                  <a:pt x="1377" y="347"/>
                </a:cubicBezTo>
                <a:cubicBezTo>
                  <a:pt x="1377" y="347"/>
                  <a:pt x="1377" y="347"/>
                  <a:pt x="1376" y="348"/>
                </a:cubicBezTo>
                <a:close/>
                <a:moveTo>
                  <a:pt x="1474" y="470"/>
                </a:moveTo>
                <a:cubicBezTo>
                  <a:pt x="1474" y="470"/>
                  <a:pt x="1474" y="470"/>
                  <a:pt x="1474" y="469"/>
                </a:cubicBezTo>
                <a:cubicBezTo>
                  <a:pt x="1474" y="469"/>
                  <a:pt x="1474" y="469"/>
                  <a:pt x="1473" y="468"/>
                </a:cubicBezTo>
                <a:lnTo>
                  <a:pt x="1474" y="470"/>
                </a:lnTo>
                <a:close/>
                <a:moveTo>
                  <a:pt x="1495" y="469"/>
                </a:moveTo>
                <a:cubicBezTo>
                  <a:pt x="1495" y="469"/>
                  <a:pt x="1495" y="469"/>
                  <a:pt x="1499" y="468"/>
                </a:cubicBezTo>
                <a:cubicBezTo>
                  <a:pt x="1499" y="468"/>
                  <a:pt x="1499" y="468"/>
                  <a:pt x="1496" y="468"/>
                </a:cubicBezTo>
                <a:lnTo>
                  <a:pt x="1495" y="469"/>
                </a:lnTo>
                <a:close/>
                <a:moveTo>
                  <a:pt x="1397" y="474"/>
                </a:moveTo>
                <a:cubicBezTo>
                  <a:pt x="1397" y="474"/>
                  <a:pt x="1397" y="474"/>
                  <a:pt x="1398" y="475"/>
                </a:cubicBezTo>
                <a:cubicBezTo>
                  <a:pt x="1398" y="475"/>
                  <a:pt x="1398" y="475"/>
                  <a:pt x="1398" y="474"/>
                </a:cubicBezTo>
                <a:lnTo>
                  <a:pt x="1397" y="474"/>
                </a:lnTo>
                <a:close/>
                <a:moveTo>
                  <a:pt x="1385" y="488"/>
                </a:moveTo>
                <a:cubicBezTo>
                  <a:pt x="1385" y="488"/>
                  <a:pt x="1385" y="488"/>
                  <a:pt x="1384" y="487"/>
                </a:cubicBezTo>
                <a:cubicBezTo>
                  <a:pt x="1384" y="487"/>
                  <a:pt x="1384" y="487"/>
                  <a:pt x="1383" y="487"/>
                </a:cubicBezTo>
                <a:lnTo>
                  <a:pt x="1385" y="488"/>
                </a:lnTo>
                <a:close/>
                <a:moveTo>
                  <a:pt x="1527" y="815"/>
                </a:moveTo>
                <a:cubicBezTo>
                  <a:pt x="1527" y="815"/>
                  <a:pt x="1527" y="815"/>
                  <a:pt x="1526" y="816"/>
                </a:cubicBezTo>
                <a:cubicBezTo>
                  <a:pt x="1526" y="816"/>
                  <a:pt x="1526" y="816"/>
                  <a:pt x="1527" y="816"/>
                </a:cubicBezTo>
                <a:lnTo>
                  <a:pt x="1527" y="815"/>
                </a:lnTo>
                <a:close/>
                <a:moveTo>
                  <a:pt x="1428" y="712"/>
                </a:moveTo>
                <a:cubicBezTo>
                  <a:pt x="1428" y="712"/>
                  <a:pt x="1428" y="712"/>
                  <a:pt x="1430" y="713"/>
                </a:cubicBezTo>
                <a:cubicBezTo>
                  <a:pt x="1430" y="713"/>
                  <a:pt x="1430" y="713"/>
                  <a:pt x="1429" y="712"/>
                </a:cubicBezTo>
                <a:lnTo>
                  <a:pt x="1428" y="712"/>
                </a:lnTo>
                <a:close/>
                <a:moveTo>
                  <a:pt x="1479" y="915"/>
                </a:moveTo>
                <a:cubicBezTo>
                  <a:pt x="1479" y="915"/>
                  <a:pt x="1479" y="915"/>
                  <a:pt x="1495" y="911"/>
                </a:cubicBezTo>
                <a:cubicBezTo>
                  <a:pt x="1495" y="911"/>
                  <a:pt x="1495" y="911"/>
                  <a:pt x="1489" y="912"/>
                </a:cubicBezTo>
                <a:lnTo>
                  <a:pt x="1479" y="915"/>
                </a:lnTo>
                <a:close/>
                <a:moveTo>
                  <a:pt x="1420" y="716"/>
                </a:moveTo>
                <a:cubicBezTo>
                  <a:pt x="1420" y="716"/>
                  <a:pt x="1420" y="716"/>
                  <a:pt x="1421" y="717"/>
                </a:cubicBezTo>
                <a:cubicBezTo>
                  <a:pt x="1421" y="717"/>
                  <a:pt x="1421" y="717"/>
                  <a:pt x="1421" y="716"/>
                </a:cubicBezTo>
                <a:lnTo>
                  <a:pt x="1420" y="716"/>
                </a:lnTo>
                <a:close/>
                <a:moveTo>
                  <a:pt x="1555" y="805"/>
                </a:moveTo>
                <a:cubicBezTo>
                  <a:pt x="1557" y="805"/>
                  <a:pt x="1557" y="805"/>
                  <a:pt x="1557" y="805"/>
                </a:cubicBezTo>
                <a:cubicBezTo>
                  <a:pt x="1558" y="805"/>
                  <a:pt x="1558" y="805"/>
                  <a:pt x="1558" y="805"/>
                </a:cubicBezTo>
                <a:lnTo>
                  <a:pt x="1555" y="805"/>
                </a:lnTo>
                <a:close/>
                <a:moveTo>
                  <a:pt x="1430" y="653"/>
                </a:moveTo>
                <a:cubicBezTo>
                  <a:pt x="1430" y="653"/>
                  <a:pt x="1430" y="653"/>
                  <a:pt x="1436" y="651"/>
                </a:cubicBezTo>
                <a:cubicBezTo>
                  <a:pt x="1436" y="651"/>
                  <a:pt x="1436" y="651"/>
                  <a:pt x="1443" y="648"/>
                </a:cubicBezTo>
                <a:lnTo>
                  <a:pt x="1430" y="653"/>
                </a:lnTo>
                <a:close/>
                <a:moveTo>
                  <a:pt x="1542" y="971"/>
                </a:moveTo>
                <a:cubicBezTo>
                  <a:pt x="1542" y="971"/>
                  <a:pt x="1542" y="971"/>
                  <a:pt x="1541" y="971"/>
                </a:cubicBezTo>
                <a:cubicBezTo>
                  <a:pt x="1541" y="971"/>
                  <a:pt x="1541" y="971"/>
                  <a:pt x="1541" y="972"/>
                </a:cubicBezTo>
                <a:lnTo>
                  <a:pt x="1542" y="971"/>
                </a:lnTo>
                <a:close/>
                <a:moveTo>
                  <a:pt x="2022" y="419"/>
                </a:moveTo>
                <a:cubicBezTo>
                  <a:pt x="2022" y="419"/>
                  <a:pt x="2022" y="419"/>
                  <a:pt x="2021" y="419"/>
                </a:cubicBezTo>
                <a:cubicBezTo>
                  <a:pt x="2021" y="419"/>
                  <a:pt x="2021" y="419"/>
                  <a:pt x="2021" y="419"/>
                </a:cubicBezTo>
                <a:cubicBezTo>
                  <a:pt x="2021" y="419"/>
                  <a:pt x="2021" y="419"/>
                  <a:pt x="2022" y="419"/>
                </a:cubicBezTo>
                <a:close/>
                <a:moveTo>
                  <a:pt x="1764" y="224"/>
                </a:moveTo>
                <a:cubicBezTo>
                  <a:pt x="1762" y="223"/>
                  <a:pt x="1762" y="223"/>
                  <a:pt x="1762" y="223"/>
                </a:cubicBezTo>
                <a:cubicBezTo>
                  <a:pt x="1765" y="225"/>
                  <a:pt x="1765" y="225"/>
                  <a:pt x="1765" y="225"/>
                </a:cubicBezTo>
                <a:cubicBezTo>
                  <a:pt x="1766" y="225"/>
                  <a:pt x="1766" y="225"/>
                  <a:pt x="1766" y="225"/>
                </a:cubicBezTo>
                <a:cubicBezTo>
                  <a:pt x="1767" y="227"/>
                  <a:pt x="1767" y="227"/>
                  <a:pt x="1767" y="227"/>
                </a:cubicBezTo>
                <a:cubicBezTo>
                  <a:pt x="1768" y="229"/>
                  <a:pt x="1768" y="229"/>
                  <a:pt x="1768" y="229"/>
                </a:cubicBezTo>
                <a:cubicBezTo>
                  <a:pt x="1768" y="226"/>
                  <a:pt x="1768" y="226"/>
                  <a:pt x="1768" y="226"/>
                </a:cubicBezTo>
                <a:cubicBezTo>
                  <a:pt x="1767" y="225"/>
                  <a:pt x="1767" y="225"/>
                  <a:pt x="1767" y="225"/>
                </a:cubicBezTo>
                <a:cubicBezTo>
                  <a:pt x="1766" y="225"/>
                  <a:pt x="1766" y="225"/>
                  <a:pt x="1766" y="225"/>
                </a:cubicBezTo>
                <a:cubicBezTo>
                  <a:pt x="1764" y="224"/>
                  <a:pt x="1764" y="224"/>
                  <a:pt x="1764" y="224"/>
                </a:cubicBezTo>
                <a:close/>
                <a:moveTo>
                  <a:pt x="1646" y="682"/>
                </a:moveTo>
                <a:cubicBezTo>
                  <a:pt x="1646" y="682"/>
                  <a:pt x="1646" y="682"/>
                  <a:pt x="1670" y="675"/>
                </a:cubicBezTo>
                <a:cubicBezTo>
                  <a:pt x="1670" y="675"/>
                  <a:pt x="1670" y="675"/>
                  <a:pt x="1687" y="670"/>
                </a:cubicBezTo>
                <a:lnTo>
                  <a:pt x="1646" y="682"/>
                </a:lnTo>
                <a:close/>
                <a:moveTo>
                  <a:pt x="1671" y="552"/>
                </a:moveTo>
                <a:cubicBezTo>
                  <a:pt x="1671" y="552"/>
                  <a:pt x="1671" y="552"/>
                  <a:pt x="1670" y="551"/>
                </a:cubicBezTo>
                <a:cubicBezTo>
                  <a:pt x="1670" y="551"/>
                  <a:pt x="1670" y="551"/>
                  <a:pt x="1670" y="549"/>
                </a:cubicBezTo>
                <a:cubicBezTo>
                  <a:pt x="1670" y="549"/>
                  <a:pt x="1670" y="549"/>
                  <a:pt x="1668" y="546"/>
                </a:cubicBezTo>
                <a:cubicBezTo>
                  <a:pt x="1668" y="546"/>
                  <a:pt x="1668" y="546"/>
                  <a:pt x="1668" y="544"/>
                </a:cubicBezTo>
                <a:cubicBezTo>
                  <a:pt x="1668" y="544"/>
                  <a:pt x="1668" y="544"/>
                  <a:pt x="1668" y="541"/>
                </a:cubicBezTo>
                <a:cubicBezTo>
                  <a:pt x="1668" y="541"/>
                  <a:pt x="1668" y="541"/>
                  <a:pt x="1668" y="540"/>
                </a:cubicBezTo>
                <a:cubicBezTo>
                  <a:pt x="1668" y="540"/>
                  <a:pt x="1668" y="540"/>
                  <a:pt x="1668" y="538"/>
                </a:cubicBezTo>
                <a:cubicBezTo>
                  <a:pt x="1668" y="538"/>
                  <a:pt x="1668" y="538"/>
                  <a:pt x="1667" y="536"/>
                </a:cubicBezTo>
                <a:cubicBezTo>
                  <a:pt x="1667" y="536"/>
                  <a:pt x="1667" y="536"/>
                  <a:pt x="1666" y="536"/>
                </a:cubicBezTo>
                <a:cubicBezTo>
                  <a:pt x="1666" y="536"/>
                  <a:pt x="1666" y="536"/>
                  <a:pt x="1665" y="534"/>
                </a:cubicBezTo>
                <a:cubicBezTo>
                  <a:pt x="1665" y="534"/>
                  <a:pt x="1665" y="534"/>
                  <a:pt x="1664" y="534"/>
                </a:cubicBezTo>
                <a:cubicBezTo>
                  <a:pt x="1664" y="534"/>
                  <a:pt x="1664" y="534"/>
                  <a:pt x="1663" y="534"/>
                </a:cubicBezTo>
                <a:cubicBezTo>
                  <a:pt x="1663" y="534"/>
                  <a:pt x="1663" y="534"/>
                  <a:pt x="1663" y="536"/>
                </a:cubicBezTo>
                <a:cubicBezTo>
                  <a:pt x="1663" y="536"/>
                  <a:pt x="1663" y="536"/>
                  <a:pt x="1662" y="534"/>
                </a:cubicBezTo>
                <a:cubicBezTo>
                  <a:pt x="1662" y="534"/>
                  <a:pt x="1662" y="534"/>
                  <a:pt x="1662" y="533"/>
                </a:cubicBezTo>
                <a:cubicBezTo>
                  <a:pt x="1662" y="533"/>
                  <a:pt x="1662" y="533"/>
                  <a:pt x="1663" y="532"/>
                </a:cubicBezTo>
                <a:cubicBezTo>
                  <a:pt x="1663" y="532"/>
                  <a:pt x="1663" y="532"/>
                  <a:pt x="1664" y="533"/>
                </a:cubicBezTo>
                <a:cubicBezTo>
                  <a:pt x="1664" y="533"/>
                  <a:pt x="1664" y="533"/>
                  <a:pt x="1665" y="533"/>
                </a:cubicBezTo>
                <a:cubicBezTo>
                  <a:pt x="1665" y="533"/>
                  <a:pt x="1665" y="533"/>
                  <a:pt x="1666" y="533"/>
                </a:cubicBezTo>
                <a:cubicBezTo>
                  <a:pt x="1666" y="533"/>
                  <a:pt x="1666" y="533"/>
                  <a:pt x="1665" y="531"/>
                </a:cubicBezTo>
                <a:cubicBezTo>
                  <a:pt x="1665" y="531"/>
                  <a:pt x="1665" y="531"/>
                  <a:pt x="1664" y="532"/>
                </a:cubicBezTo>
                <a:cubicBezTo>
                  <a:pt x="1664" y="532"/>
                  <a:pt x="1664" y="532"/>
                  <a:pt x="1664" y="530"/>
                </a:cubicBezTo>
                <a:cubicBezTo>
                  <a:pt x="1664" y="530"/>
                  <a:pt x="1664" y="530"/>
                  <a:pt x="1664" y="529"/>
                </a:cubicBezTo>
                <a:cubicBezTo>
                  <a:pt x="1664" y="529"/>
                  <a:pt x="1664" y="529"/>
                  <a:pt x="1663" y="529"/>
                </a:cubicBezTo>
                <a:cubicBezTo>
                  <a:pt x="1663" y="529"/>
                  <a:pt x="1663" y="529"/>
                  <a:pt x="1661" y="529"/>
                </a:cubicBezTo>
                <a:cubicBezTo>
                  <a:pt x="1661" y="529"/>
                  <a:pt x="1661" y="529"/>
                  <a:pt x="1661" y="530"/>
                </a:cubicBezTo>
                <a:cubicBezTo>
                  <a:pt x="1661" y="530"/>
                  <a:pt x="1661" y="530"/>
                  <a:pt x="1662" y="531"/>
                </a:cubicBezTo>
                <a:cubicBezTo>
                  <a:pt x="1662" y="531"/>
                  <a:pt x="1662" y="531"/>
                  <a:pt x="1659" y="529"/>
                </a:cubicBezTo>
                <a:cubicBezTo>
                  <a:pt x="1659" y="529"/>
                  <a:pt x="1659" y="529"/>
                  <a:pt x="1659" y="528"/>
                </a:cubicBezTo>
                <a:cubicBezTo>
                  <a:pt x="1659" y="528"/>
                  <a:pt x="1659" y="528"/>
                  <a:pt x="1658" y="527"/>
                </a:cubicBezTo>
                <a:cubicBezTo>
                  <a:pt x="1658" y="527"/>
                  <a:pt x="1658" y="527"/>
                  <a:pt x="1658" y="524"/>
                </a:cubicBezTo>
                <a:cubicBezTo>
                  <a:pt x="1658" y="524"/>
                  <a:pt x="1658" y="524"/>
                  <a:pt x="1659" y="523"/>
                </a:cubicBezTo>
                <a:cubicBezTo>
                  <a:pt x="1659" y="523"/>
                  <a:pt x="1659" y="523"/>
                  <a:pt x="1659" y="521"/>
                </a:cubicBezTo>
                <a:cubicBezTo>
                  <a:pt x="1659" y="521"/>
                  <a:pt x="1659" y="521"/>
                  <a:pt x="1658" y="519"/>
                </a:cubicBezTo>
                <a:cubicBezTo>
                  <a:pt x="1658" y="519"/>
                  <a:pt x="1658" y="519"/>
                  <a:pt x="1657" y="518"/>
                </a:cubicBezTo>
                <a:cubicBezTo>
                  <a:pt x="1657" y="518"/>
                  <a:pt x="1657" y="518"/>
                  <a:pt x="1656" y="517"/>
                </a:cubicBezTo>
                <a:cubicBezTo>
                  <a:pt x="1656" y="517"/>
                  <a:pt x="1656" y="517"/>
                  <a:pt x="1656" y="516"/>
                </a:cubicBezTo>
                <a:cubicBezTo>
                  <a:pt x="1656" y="516"/>
                  <a:pt x="1656" y="516"/>
                  <a:pt x="1655" y="515"/>
                </a:cubicBezTo>
                <a:cubicBezTo>
                  <a:pt x="1655" y="515"/>
                  <a:pt x="1655" y="515"/>
                  <a:pt x="1655" y="514"/>
                </a:cubicBezTo>
                <a:cubicBezTo>
                  <a:pt x="1655" y="514"/>
                  <a:pt x="1655" y="514"/>
                  <a:pt x="1655" y="513"/>
                </a:cubicBezTo>
                <a:cubicBezTo>
                  <a:pt x="1655" y="513"/>
                  <a:pt x="1655" y="513"/>
                  <a:pt x="1654" y="511"/>
                </a:cubicBezTo>
                <a:cubicBezTo>
                  <a:pt x="1654" y="511"/>
                  <a:pt x="1654" y="511"/>
                  <a:pt x="1655" y="509"/>
                </a:cubicBezTo>
                <a:cubicBezTo>
                  <a:pt x="1655" y="509"/>
                  <a:pt x="1655" y="509"/>
                  <a:pt x="1655" y="508"/>
                </a:cubicBezTo>
                <a:cubicBezTo>
                  <a:pt x="1655" y="508"/>
                  <a:pt x="1655" y="508"/>
                  <a:pt x="1655" y="507"/>
                </a:cubicBezTo>
                <a:cubicBezTo>
                  <a:pt x="1655" y="507"/>
                  <a:pt x="1655" y="507"/>
                  <a:pt x="1656" y="507"/>
                </a:cubicBezTo>
                <a:cubicBezTo>
                  <a:pt x="1656" y="507"/>
                  <a:pt x="1656" y="507"/>
                  <a:pt x="1655" y="506"/>
                </a:cubicBezTo>
                <a:cubicBezTo>
                  <a:pt x="1655" y="506"/>
                  <a:pt x="1655" y="506"/>
                  <a:pt x="1654" y="506"/>
                </a:cubicBezTo>
                <a:cubicBezTo>
                  <a:pt x="1654" y="506"/>
                  <a:pt x="1654" y="506"/>
                  <a:pt x="1653" y="506"/>
                </a:cubicBezTo>
                <a:cubicBezTo>
                  <a:pt x="1653" y="506"/>
                  <a:pt x="1653" y="506"/>
                  <a:pt x="1652" y="506"/>
                </a:cubicBezTo>
                <a:cubicBezTo>
                  <a:pt x="1652" y="506"/>
                  <a:pt x="1652" y="506"/>
                  <a:pt x="1651" y="506"/>
                </a:cubicBezTo>
                <a:cubicBezTo>
                  <a:pt x="1651" y="506"/>
                  <a:pt x="1651" y="506"/>
                  <a:pt x="1650" y="506"/>
                </a:cubicBezTo>
                <a:cubicBezTo>
                  <a:pt x="1650" y="506"/>
                  <a:pt x="1650" y="506"/>
                  <a:pt x="1650" y="505"/>
                </a:cubicBezTo>
                <a:cubicBezTo>
                  <a:pt x="1650" y="505"/>
                  <a:pt x="1650" y="505"/>
                  <a:pt x="1649" y="504"/>
                </a:cubicBezTo>
                <a:cubicBezTo>
                  <a:pt x="1649" y="504"/>
                  <a:pt x="1649" y="504"/>
                  <a:pt x="1649" y="503"/>
                </a:cubicBezTo>
                <a:cubicBezTo>
                  <a:pt x="1649" y="503"/>
                  <a:pt x="1649" y="503"/>
                  <a:pt x="1648" y="503"/>
                </a:cubicBezTo>
                <a:cubicBezTo>
                  <a:pt x="1648" y="503"/>
                  <a:pt x="1648" y="503"/>
                  <a:pt x="1646" y="504"/>
                </a:cubicBezTo>
                <a:cubicBezTo>
                  <a:pt x="1646" y="504"/>
                  <a:pt x="1646" y="504"/>
                  <a:pt x="1646" y="502"/>
                </a:cubicBezTo>
                <a:cubicBezTo>
                  <a:pt x="1646" y="502"/>
                  <a:pt x="1646" y="502"/>
                  <a:pt x="1646" y="501"/>
                </a:cubicBezTo>
                <a:cubicBezTo>
                  <a:pt x="1646" y="501"/>
                  <a:pt x="1646" y="501"/>
                  <a:pt x="1644" y="499"/>
                </a:cubicBezTo>
                <a:cubicBezTo>
                  <a:pt x="1644" y="499"/>
                  <a:pt x="1644" y="499"/>
                  <a:pt x="1644" y="498"/>
                </a:cubicBezTo>
                <a:cubicBezTo>
                  <a:pt x="1644" y="498"/>
                  <a:pt x="1644" y="498"/>
                  <a:pt x="1643" y="498"/>
                </a:cubicBezTo>
                <a:cubicBezTo>
                  <a:pt x="1643" y="498"/>
                  <a:pt x="1643" y="498"/>
                  <a:pt x="1643" y="496"/>
                </a:cubicBezTo>
                <a:cubicBezTo>
                  <a:pt x="1643" y="496"/>
                  <a:pt x="1643" y="496"/>
                  <a:pt x="1642" y="496"/>
                </a:cubicBezTo>
                <a:cubicBezTo>
                  <a:pt x="1642" y="496"/>
                  <a:pt x="1642" y="496"/>
                  <a:pt x="1642" y="495"/>
                </a:cubicBezTo>
                <a:cubicBezTo>
                  <a:pt x="1642" y="495"/>
                  <a:pt x="1642" y="495"/>
                  <a:pt x="1641" y="495"/>
                </a:cubicBezTo>
                <a:cubicBezTo>
                  <a:pt x="1641" y="495"/>
                  <a:pt x="1641" y="495"/>
                  <a:pt x="1640" y="495"/>
                </a:cubicBezTo>
                <a:cubicBezTo>
                  <a:pt x="1640" y="495"/>
                  <a:pt x="1640" y="495"/>
                  <a:pt x="1639" y="494"/>
                </a:cubicBezTo>
                <a:cubicBezTo>
                  <a:pt x="1639" y="494"/>
                  <a:pt x="1639" y="494"/>
                  <a:pt x="1639" y="493"/>
                </a:cubicBezTo>
                <a:cubicBezTo>
                  <a:pt x="1639" y="493"/>
                  <a:pt x="1639" y="493"/>
                  <a:pt x="1639" y="492"/>
                </a:cubicBezTo>
                <a:cubicBezTo>
                  <a:pt x="1639" y="492"/>
                  <a:pt x="1639" y="492"/>
                  <a:pt x="1640" y="493"/>
                </a:cubicBezTo>
                <a:cubicBezTo>
                  <a:pt x="1640" y="493"/>
                  <a:pt x="1640" y="493"/>
                  <a:pt x="1642" y="492"/>
                </a:cubicBezTo>
                <a:cubicBezTo>
                  <a:pt x="1642" y="492"/>
                  <a:pt x="1642" y="492"/>
                  <a:pt x="1642" y="493"/>
                </a:cubicBezTo>
                <a:cubicBezTo>
                  <a:pt x="1642" y="493"/>
                  <a:pt x="1642" y="493"/>
                  <a:pt x="1643" y="493"/>
                </a:cubicBezTo>
                <a:cubicBezTo>
                  <a:pt x="1643" y="493"/>
                  <a:pt x="1643" y="493"/>
                  <a:pt x="1644" y="493"/>
                </a:cubicBezTo>
                <a:cubicBezTo>
                  <a:pt x="1644" y="493"/>
                  <a:pt x="1644" y="493"/>
                  <a:pt x="1644" y="492"/>
                </a:cubicBezTo>
                <a:cubicBezTo>
                  <a:pt x="1644" y="492"/>
                  <a:pt x="1644" y="492"/>
                  <a:pt x="1645" y="492"/>
                </a:cubicBezTo>
                <a:cubicBezTo>
                  <a:pt x="1645" y="492"/>
                  <a:pt x="1645" y="492"/>
                  <a:pt x="1646" y="493"/>
                </a:cubicBezTo>
                <a:cubicBezTo>
                  <a:pt x="1646" y="493"/>
                  <a:pt x="1646" y="493"/>
                  <a:pt x="1646" y="492"/>
                </a:cubicBezTo>
                <a:cubicBezTo>
                  <a:pt x="1646" y="492"/>
                  <a:pt x="1646" y="492"/>
                  <a:pt x="1645" y="492"/>
                </a:cubicBezTo>
                <a:cubicBezTo>
                  <a:pt x="1645" y="492"/>
                  <a:pt x="1645" y="492"/>
                  <a:pt x="1644" y="491"/>
                </a:cubicBezTo>
                <a:cubicBezTo>
                  <a:pt x="1644" y="491"/>
                  <a:pt x="1644" y="491"/>
                  <a:pt x="1643" y="489"/>
                </a:cubicBezTo>
                <a:cubicBezTo>
                  <a:pt x="1643" y="489"/>
                  <a:pt x="1643" y="489"/>
                  <a:pt x="1643" y="488"/>
                </a:cubicBezTo>
                <a:cubicBezTo>
                  <a:pt x="1643" y="488"/>
                  <a:pt x="1643" y="488"/>
                  <a:pt x="1644" y="488"/>
                </a:cubicBezTo>
                <a:cubicBezTo>
                  <a:pt x="1644" y="488"/>
                  <a:pt x="1644" y="488"/>
                  <a:pt x="1644" y="487"/>
                </a:cubicBezTo>
                <a:cubicBezTo>
                  <a:pt x="1644" y="487"/>
                  <a:pt x="1644" y="487"/>
                  <a:pt x="1644" y="486"/>
                </a:cubicBezTo>
                <a:cubicBezTo>
                  <a:pt x="1644" y="486"/>
                  <a:pt x="1644" y="486"/>
                  <a:pt x="1646" y="485"/>
                </a:cubicBezTo>
                <a:cubicBezTo>
                  <a:pt x="1646" y="485"/>
                  <a:pt x="1646" y="485"/>
                  <a:pt x="1647" y="485"/>
                </a:cubicBezTo>
                <a:cubicBezTo>
                  <a:pt x="1647" y="485"/>
                  <a:pt x="1647" y="485"/>
                  <a:pt x="1648" y="485"/>
                </a:cubicBezTo>
                <a:cubicBezTo>
                  <a:pt x="1648" y="485"/>
                  <a:pt x="1648" y="485"/>
                  <a:pt x="1649" y="485"/>
                </a:cubicBezTo>
                <a:cubicBezTo>
                  <a:pt x="1649" y="485"/>
                  <a:pt x="1649" y="485"/>
                  <a:pt x="1650" y="485"/>
                </a:cubicBezTo>
                <a:cubicBezTo>
                  <a:pt x="1650" y="485"/>
                  <a:pt x="1650" y="485"/>
                  <a:pt x="1651" y="485"/>
                </a:cubicBezTo>
                <a:cubicBezTo>
                  <a:pt x="1651" y="485"/>
                  <a:pt x="1651" y="485"/>
                  <a:pt x="1652" y="485"/>
                </a:cubicBezTo>
                <a:cubicBezTo>
                  <a:pt x="1652" y="485"/>
                  <a:pt x="1652" y="485"/>
                  <a:pt x="1653" y="486"/>
                </a:cubicBezTo>
                <a:cubicBezTo>
                  <a:pt x="1653" y="486"/>
                  <a:pt x="1653" y="486"/>
                  <a:pt x="1654" y="486"/>
                </a:cubicBezTo>
                <a:cubicBezTo>
                  <a:pt x="1654" y="486"/>
                  <a:pt x="1654" y="486"/>
                  <a:pt x="1655" y="486"/>
                </a:cubicBezTo>
                <a:cubicBezTo>
                  <a:pt x="1655" y="486"/>
                  <a:pt x="1655" y="486"/>
                  <a:pt x="1655" y="485"/>
                </a:cubicBezTo>
                <a:cubicBezTo>
                  <a:pt x="1655" y="485"/>
                  <a:pt x="1655" y="485"/>
                  <a:pt x="1653" y="484"/>
                </a:cubicBezTo>
                <a:cubicBezTo>
                  <a:pt x="1653" y="484"/>
                  <a:pt x="1653" y="484"/>
                  <a:pt x="1653" y="483"/>
                </a:cubicBezTo>
                <a:cubicBezTo>
                  <a:pt x="1653" y="483"/>
                  <a:pt x="1653" y="483"/>
                  <a:pt x="1653" y="481"/>
                </a:cubicBezTo>
                <a:cubicBezTo>
                  <a:pt x="1653" y="481"/>
                  <a:pt x="1653" y="481"/>
                  <a:pt x="1654" y="481"/>
                </a:cubicBezTo>
                <a:cubicBezTo>
                  <a:pt x="1654" y="481"/>
                  <a:pt x="1654" y="481"/>
                  <a:pt x="1654" y="480"/>
                </a:cubicBezTo>
                <a:cubicBezTo>
                  <a:pt x="1654" y="480"/>
                  <a:pt x="1654" y="480"/>
                  <a:pt x="1653" y="479"/>
                </a:cubicBezTo>
                <a:cubicBezTo>
                  <a:pt x="1653" y="479"/>
                  <a:pt x="1653" y="479"/>
                  <a:pt x="1654" y="478"/>
                </a:cubicBezTo>
                <a:cubicBezTo>
                  <a:pt x="1654" y="478"/>
                  <a:pt x="1654" y="478"/>
                  <a:pt x="1654" y="477"/>
                </a:cubicBezTo>
                <a:cubicBezTo>
                  <a:pt x="1654" y="477"/>
                  <a:pt x="1654" y="477"/>
                  <a:pt x="1653" y="476"/>
                </a:cubicBezTo>
                <a:cubicBezTo>
                  <a:pt x="1653" y="476"/>
                  <a:pt x="1653" y="476"/>
                  <a:pt x="1653" y="475"/>
                </a:cubicBezTo>
                <a:cubicBezTo>
                  <a:pt x="1653" y="475"/>
                  <a:pt x="1653" y="475"/>
                  <a:pt x="1653" y="474"/>
                </a:cubicBezTo>
                <a:cubicBezTo>
                  <a:pt x="1653" y="474"/>
                  <a:pt x="1653" y="474"/>
                  <a:pt x="1652" y="474"/>
                </a:cubicBezTo>
                <a:cubicBezTo>
                  <a:pt x="1652" y="474"/>
                  <a:pt x="1652" y="474"/>
                  <a:pt x="1652" y="473"/>
                </a:cubicBezTo>
                <a:cubicBezTo>
                  <a:pt x="1652" y="473"/>
                  <a:pt x="1652" y="473"/>
                  <a:pt x="1652" y="472"/>
                </a:cubicBezTo>
                <a:cubicBezTo>
                  <a:pt x="1652" y="472"/>
                  <a:pt x="1652" y="472"/>
                  <a:pt x="1649" y="472"/>
                </a:cubicBezTo>
                <a:cubicBezTo>
                  <a:pt x="1649" y="472"/>
                  <a:pt x="1649" y="472"/>
                  <a:pt x="1648" y="472"/>
                </a:cubicBezTo>
                <a:cubicBezTo>
                  <a:pt x="1648" y="472"/>
                  <a:pt x="1648" y="472"/>
                  <a:pt x="1648" y="473"/>
                </a:cubicBezTo>
                <a:cubicBezTo>
                  <a:pt x="1648" y="473"/>
                  <a:pt x="1648" y="473"/>
                  <a:pt x="1647" y="473"/>
                </a:cubicBezTo>
                <a:cubicBezTo>
                  <a:pt x="1647" y="473"/>
                  <a:pt x="1647" y="473"/>
                  <a:pt x="1647" y="474"/>
                </a:cubicBezTo>
                <a:cubicBezTo>
                  <a:pt x="1647" y="474"/>
                  <a:pt x="1647" y="474"/>
                  <a:pt x="1646" y="474"/>
                </a:cubicBezTo>
                <a:cubicBezTo>
                  <a:pt x="1646" y="474"/>
                  <a:pt x="1646" y="474"/>
                  <a:pt x="1645" y="474"/>
                </a:cubicBezTo>
                <a:cubicBezTo>
                  <a:pt x="1645" y="474"/>
                  <a:pt x="1645" y="474"/>
                  <a:pt x="1645" y="473"/>
                </a:cubicBezTo>
                <a:cubicBezTo>
                  <a:pt x="1645" y="473"/>
                  <a:pt x="1645" y="473"/>
                  <a:pt x="1644" y="474"/>
                </a:cubicBezTo>
                <a:cubicBezTo>
                  <a:pt x="1644" y="474"/>
                  <a:pt x="1644" y="474"/>
                  <a:pt x="1644" y="473"/>
                </a:cubicBezTo>
                <a:cubicBezTo>
                  <a:pt x="1644" y="473"/>
                  <a:pt x="1644" y="473"/>
                  <a:pt x="1644" y="472"/>
                </a:cubicBezTo>
                <a:cubicBezTo>
                  <a:pt x="1644" y="472"/>
                  <a:pt x="1644" y="472"/>
                  <a:pt x="1643" y="472"/>
                </a:cubicBezTo>
                <a:cubicBezTo>
                  <a:pt x="1643" y="472"/>
                  <a:pt x="1643" y="472"/>
                  <a:pt x="1642" y="472"/>
                </a:cubicBezTo>
                <a:cubicBezTo>
                  <a:pt x="1642" y="472"/>
                  <a:pt x="1642" y="472"/>
                  <a:pt x="1641" y="472"/>
                </a:cubicBezTo>
                <a:cubicBezTo>
                  <a:pt x="1641" y="472"/>
                  <a:pt x="1641" y="472"/>
                  <a:pt x="1640" y="472"/>
                </a:cubicBezTo>
                <a:cubicBezTo>
                  <a:pt x="1640" y="472"/>
                  <a:pt x="1640" y="472"/>
                  <a:pt x="1639" y="472"/>
                </a:cubicBezTo>
                <a:cubicBezTo>
                  <a:pt x="1639" y="472"/>
                  <a:pt x="1639" y="472"/>
                  <a:pt x="1639" y="473"/>
                </a:cubicBezTo>
                <a:cubicBezTo>
                  <a:pt x="1639" y="473"/>
                  <a:pt x="1639" y="473"/>
                  <a:pt x="1638" y="474"/>
                </a:cubicBezTo>
                <a:cubicBezTo>
                  <a:pt x="1638" y="474"/>
                  <a:pt x="1638" y="474"/>
                  <a:pt x="1638" y="473"/>
                </a:cubicBezTo>
                <a:cubicBezTo>
                  <a:pt x="1638" y="473"/>
                  <a:pt x="1638" y="473"/>
                  <a:pt x="1637" y="473"/>
                </a:cubicBezTo>
                <a:cubicBezTo>
                  <a:pt x="1637" y="473"/>
                  <a:pt x="1637" y="473"/>
                  <a:pt x="1637" y="474"/>
                </a:cubicBezTo>
                <a:cubicBezTo>
                  <a:pt x="1637" y="474"/>
                  <a:pt x="1637" y="474"/>
                  <a:pt x="1636" y="474"/>
                </a:cubicBezTo>
                <a:cubicBezTo>
                  <a:pt x="1636" y="474"/>
                  <a:pt x="1636" y="474"/>
                  <a:pt x="1635" y="475"/>
                </a:cubicBezTo>
                <a:cubicBezTo>
                  <a:pt x="1635" y="475"/>
                  <a:pt x="1635" y="475"/>
                  <a:pt x="1634" y="476"/>
                </a:cubicBezTo>
                <a:cubicBezTo>
                  <a:pt x="1634" y="476"/>
                  <a:pt x="1634" y="476"/>
                  <a:pt x="1633" y="477"/>
                </a:cubicBezTo>
                <a:cubicBezTo>
                  <a:pt x="1633" y="477"/>
                  <a:pt x="1633" y="477"/>
                  <a:pt x="1633" y="476"/>
                </a:cubicBezTo>
                <a:cubicBezTo>
                  <a:pt x="1633" y="476"/>
                  <a:pt x="1633" y="476"/>
                  <a:pt x="1632" y="476"/>
                </a:cubicBezTo>
                <a:cubicBezTo>
                  <a:pt x="1632" y="476"/>
                  <a:pt x="1632" y="476"/>
                  <a:pt x="1632" y="477"/>
                </a:cubicBezTo>
                <a:cubicBezTo>
                  <a:pt x="1632" y="477"/>
                  <a:pt x="1632" y="477"/>
                  <a:pt x="1631" y="477"/>
                </a:cubicBezTo>
                <a:cubicBezTo>
                  <a:pt x="1631" y="477"/>
                  <a:pt x="1631" y="477"/>
                  <a:pt x="1630" y="476"/>
                </a:cubicBezTo>
                <a:cubicBezTo>
                  <a:pt x="1630" y="477"/>
                  <a:pt x="1630" y="477"/>
                  <a:pt x="1630" y="477"/>
                </a:cubicBezTo>
                <a:cubicBezTo>
                  <a:pt x="1630" y="478"/>
                  <a:pt x="1630" y="478"/>
                  <a:pt x="1630" y="478"/>
                </a:cubicBezTo>
                <a:cubicBezTo>
                  <a:pt x="1629" y="478"/>
                  <a:pt x="1629" y="478"/>
                  <a:pt x="1629" y="478"/>
                </a:cubicBezTo>
                <a:cubicBezTo>
                  <a:pt x="1629" y="479"/>
                  <a:pt x="1629" y="479"/>
                  <a:pt x="1629" y="479"/>
                </a:cubicBezTo>
                <a:cubicBezTo>
                  <a:pt x="1629" y="480"/>
                  <a:pt x="1629" y="480"/>
                  <a:pt x="1629" y="480"/>
                </a:cubicBezTo>
                <a:cubicBezTo>
                  <a:pt x="1628" y="480"/>
                  <a:pt x="1628" y="480"/>
                  <a:pt x="1628" y="480"/>
                </a:cubicBezTo>
                <a:cubicBezTo>
                  <a:pt x="1627" y="480"/>
                  <a:pt x="1627" y="480"/>
                  <a:pt x="1627" y="480"/>
                </a:cubicBezTo>
                <a:cubicBezTo>
                  <a:pt x="1626" y="480"/>
                  <a:pt x="1626" y="480"/>
                  <a:pt x="1626" y="480"/>
                </a:cubicBezTo>
                <a:cubicBezTo>
                  <a:pt x="1628" y="481"/>
                  <a:pt x="1628" y="481"/>
                  <a:pt x="1628" y="481"/>
                </a:cubicBezTo>
                <a:cubicBezTo>
                  <a:pt x="1628" y="482"/>
                  <a:pt x="1628" y="482"/>
                  <a:pt x="1628" y="482"/>
                </a:cubicBezTo>
                <a:cubicBezTo>
                  <a:pt x="1627" y="481"/>
                  <a:pt x="1627" y="481"/>
                  <a:pt x="1627" y="481"/>
                </a:cubicBezTo>
                <a:cubicBezTo>
                  <a:pt x="1627" y="481"/>
                  <a:pt x="1627" y="481"/>
                  <a:pt x="1626" y="482"/>
                </a:cubicBezTo>
                <a:cubicBezTo>
                  <a:pt x="1625" y="483"/>
                  <a:pt x="1625" y="483"/>
                  <a:pt x="1625" y="483"/>
                </a:cubicBezTo>
                <a:cubicBezTo>
                  <a:pt x="1624" y="483"/>
                  <a:pt x="1624" y="483"/>
                  <a:pt x="1624" y="483"/>
                </a:cubicBezTo>
                <a:cubicBezTo>
                  <a:pt x="1623" y="483"/>
                  <a:pt x="1623" y="483"/>
                  <a:pt x="1623" y="483"/>
                </a:cubicBezTo>
                <a:cubicBezTo>
                  <a:pt x="1623" y="484"/>
                  <a:pt x="1623" y="484"/>
                  <a:pt x="1623" y="484"/>
                </a:cubicBezTo>
                <a:cubicBezTo>
                  <a:pt x="1622" y="484"/>
                  <a:pt x="1622" y="484"/>
                  <a:pt x="1622" y="484"/>
                </a:cubicBezTo>
                <a:cubicBezTo>
                  <a:pt x="1622" y="483"/>
                  <a:pt x="1622" y="483"/>
                  <a:pt x="1622" y="483"/>
                </a:cubicBezTo>
                <a:cubicBezTo>
                  <a:pt x="1621" y="483"/>
                  <a:pt x="1621" y="483"/>
                  <a:pt x="1621" y="483"/>
                </a:cubicBezTo>
                <a:cubicBezTo>
                  <a:pt x="1621" y="484"/>
                  <a:pt x="1621" y="484"/>
                  <a:pt x="1621" y="484"/>
                </a:cubicBezTo>
                <a:cubicBezTo>
                  <a:pt x="1620" y="485"/>
                  <a:pt x="1620" y="485"/>
                  <a:pt x="1620" y="485"/>
                </a:cubicBezTo>
                <a:cubicBezTo>
                  <a:pt x="1620" y="486"/>
                  <a:pt x="1620" y="486"/>
                  <a:pt x="1620" y="486"/>
                </a:cubicBezTo>
                <a:cubicBezTo>
                  <a:pt x="1620" y="487"/>
                  <a:pt x="1620" y="487"/>
                  <a:pt x="1620" y="487"/>
                </a:cubicBezTo>
                <a:cubicBezTo>
                  <a:pt x="1619" y="488"/>
                  <a:pt x="1619" y="488"/>
                  <a:pt x="1619" y="488"/>
                </a:cubicBezTo>
                <a:cubicBezTo>
                  <a:pt x="1619" y="489"/>
                  <a:pt x="1619" y="489"/>
                  <a:pt x="1619" y="489"/>
                </a:cubicBezTo>
                <a:cubicBezTo>
                  <a:pt x="1619" y="491"/>
                  <a:pt x="1619" y="491"/>
                  <a:pt x="1619" y="491"/>
                </a:cubicBezTo>
                <a:cubicBezTo>
                  <a:pt x="1618" y="492"/>
                  <a:pt x="1618" y="492"/>
                  <a:pt x="1618" y="492"/>
                </a:cubicBezTo>
                <a:cubicBezTo>
                  <a:pt x="1618" y="493"/>
                  <a:pt x="1618" y="493"/>
                  <a:pt x="1618" y="493"/>
                </a:cubicBezTo>
                <a:cubicBezTo>
                  <a:pt x="1618" y="495"/>
                  <a:pt x="1618" y="495"/>
                  <a:pt x="1618" y="495"/>
                </a:cubicBezTo>
                <a:cubicBezTo>
                  <a:pt x="1619" y="495"/>
                  <a:pt x="1619" y="495"/>
                  <a:pt x="1619" y="495"/>
                </a:cubicBezTo>
                <a:cubicBezTo>
                  <a:pt x="1620" y="495"/>
                  <a:pt x="1620" y="495"/>
                  <a:pt x="1620" y="495"/>
                </a:cubicBezTo>
                <a:cubicBezTo>
                  <a:pt x="1621" y="496"/>
                  <a:pt x="1621" y="496"/>
                  <a:pt x="1621" y="496"/>
                </a:cubicBezTo>
                <a:cubicBezTo>
                  <a:pt x="1622" y="497"/>
                  <a:pt x="1622" y="497"/>
                  <a:pt x="1622" y="497"/>
                </a:cubicBezTo>
                <a:cubicBezTo>
                  <a:pt x="1622" y="499"/>
                  <a:pt x="1622" y="499"/>
                  <a:pt x="1622" y="499"/>
                </a:cubicBezTo>
                <a:cubicBezTo>
                  <a:pt x="1623" y="499"/>
                  <a:pt x="1623" y="499"/>
                  <a:pt x="1623" y="499"/>
                </a:cubicBezTo>
                <a:cubicBezTo>
                  <a:pt x="1624" y="499"/>
                  <a:pt x="1624" y="499"/>
                  <a:pt x="1624" y="499"/>
                </a:cubicBezTo>
                <a:cubicBezTo>
                  <a:pt x="1625" y="499"/>
                  <a:pt x="1625" y="499"/>
                  <a:pt x="1625" y="499"/>
                </a:cubicBezTo>
                <a:cubicBezTo>
                  <a:pt x="1624" y="500"/>
                  <a:pt x="1624" y="500"/>
                  <a:pt x="1624" y="500"/>
                </a:cubicBezTo>
                <a:cubicBezTo>
                  <a:pt x="1624" y="501"/>
                  <a:pt x="1624" y="501"/>
                  <a:pt x="1624" y="501"/>
                </a:cubicBezTo>
                <a:cubicBezTo>
                  <a:pt x="1623" y="501"/>
                  <a:pt x="1623" y="501"/>
                  <a:pt x="1623" y="501"/>
                </a:cubicBezTo>
                <a:cubicBezTo>
                  <a:pt x="1623" y="502"/>
                  <a:pt x="1623" y="502"/>
                  <a:pt x="1623" y="502"/>
                </a:cubicBezTo>
                <a:cubicBezTo>
                  <a:pt x="1624" y="502"/>
                  <a:pt x="1624" y="502"/>
                  <a:pt x="1624" y="502"/>
                </a:cubicBezTo>
                <a:cubicBezTo>
                  <a:pt x="1624" y="503"/>
                  <a:pt x="1624" y="503"/>
                  <a:pt x="1624" y="503"/>
                </a:cubicBezTo>
                <a:cubicBezTo>
                  <a:pt x="1625" y="503"/>
                  <a:pt x="1625" y="503"/>
                  <a:pt x="1625" y="503"/>
                </a:cubicBezTo>
                <a:cubicBezTo>
                  <a:pt x="1625" y="505"/>
                  <a:pt x="1625" y="505"/>
                  <a:pt x="1625" y="505"/>
                </a:cubicBezTo>
                <a:cubicBezTo>
                  <a:pt x="1626" y="506"/>
                  <a:pt x="1626" y="506"/>
                  <a:pt x="1626" y="506"/>
                </a:cubicBezTo>
                <a:cubicBezTo>
                  <a:pt x="1626" y="508"/>
                  <a:pt x="1626" y="508"/>
                  <a:pt x="1626" y="508"/>
                </a:cubicBezTo>
                <a:cubicBezTo>
                  <a:pt x="1628" y="511"/>
                  <a:pt x="1628" y="511"/>
                  <a:pt x="1628" y="511"/>
                </a:cubicBezTo>
                <a:cubicBezTo>
                  <a:pt x="1632" y="514"/>
                  <a:pt x="1632" y="514"/>
                  <a:pt x="1632" y="514"/>
                </a:cubicBezTo>
                <a:cubicBezTo>
                  <a:pt x="1632" y="514"/>
                  <a:pt x="1632" y="514"/>
                  <a:pt x="1634" y="515"/>
                </a:cubicBezTo>
                <a:cubicBezTo>
                  <a:pt x="1634" y="515"/>
                  <a:pt x="1634" y="515"/>
                  <a:pt x="1636" y="518"/>
                </a:cubicBezTo>
                <a:cubicBezTo>
                  <a:pt x="1636" y="518"/>
                  <a:pt x="1636" y="518"/>
                  <a:pt x="1636" y="519"/>
                </a:cubicBezTo>
                <a:cubicBezTo>
                  <a:pt x="1636" y="519"/>
                  <a:pt x="1636" y="519"/>
                  <a:pt x="1636" y="521"/>
                </a:cubicBezTo>
                <a:cubicBezTo>
                  <a:pt x="1636" y="521"/>
                  <a:pt x="1636" y="521"/>
                  <a:pt x="1639" y="522"/>
                </a:cubicBezTo>
                <a:cubicBezTo>
                  <a:pt x="1639" y="522"/>
                  <a:pt x="1639" y="522"/>
                  <a:pt x="1639" y="523"/>
                </a:cubicBezTo>
                <a:cubicBezTo>
                  <a:pt x="1639" y="523"/>
                  <a:pt x="1639" y="523"/>
                  <a:pt x="1640" y="524"/>
                </a:cubicBezTo>
                <a:cubicBezTo>
                  <a:pt x="1640" y="524"/>
                  <a:pt x="1640" y="524"/>
                  <a:pt x="1642" y="524"/>
                </a:cubicBezTo>
                <a:cubicBezTo>
                  <a:pt x="1642" y="524"/>
                  <a:pt x="1642" y="524"/>
                  <a:pt x="1643" y="525"/>
                </a:cubicBezTo>
                <a:cubicBezTo>
                  <a:pt x="1643" y="525"/>
                  <a:pt x="1643" y="525"/>
                  <a:pt x="1644" y="526"/>
                </a:cubicBezTo>
                <a:cubicBezTo>
                  <a:pt x="1644" y="526"/>
                  <a:pt x="1644" y="526"/>
                  <a:pt x="1643" y="526"/>
                </a:cubicBezTo>
                <a:cubicBezTo>
                  <a:pt x="1643" y="526"/>
                  <a:pt x="1643" y="526"/>
                  <a:pt x="1643" y="527"/>
                </a:cubicBezTo>
                <a:cubicBezTo>
                  <a:pt x="1643" y="527"/>
                  <a:pt x="1643" y="527"/>
                  <a:pt x="1641" y="527"/>
                </a:cubicBezTo>
                <a:cubicBezTo>
                  <a:pt x="1641" y="527"/>
                  <a:pt x="1641" y="527"/>
                  <a:pt x="1639" y="528"/>
                </a:cubicBezTo>
                <a:cubicBezTo>
                  <a:pt x="1639" y="528"/>
                  <a:pt x="1639" y="528"/>
                  <a:pt x="1639" y="530"/>
                </a:cubicBezTo>
                <a:cubicBezTo>
                  <a:pt x="1639" y="530"/>
                  <a:pt x="1639" y="530"/>
                  <a:pt x="1639" y="531"/>
                </a:cubicBezTo>
                <a:cubicBezTo>
                  <a:pt x="1639" y="531"/>
                  <a:pt x="1639" y="531"/>
                  <a:pt x="1639" y="532"/>
                </a:cubicBezTo>
                <a:cubicBezTo>
                  <a:pt x="1639" y="532"/>
                  <a:pt x="1639" y="532"/>
                  <a:pt x="1639" y="533"/>
                </a:cubicBezTo>
                <a:cubicBezTo>
                  <a:pt x="1639" y="533"/>
                  <a:pt x="1639" y="533"/>
                  <a:pt x="1639" y="534"/>
                </a:cubicBezTo>
                <a:cubicBezTo>
                  <a:pt x="1639" y="534"/>
                  <a:pt x="1639" y="534"/>
                  <a:pt x="1639" y="535"/>
                </a:cubicBezTo>
                <a:cubicBezTo>
                  <a:pt x="1639" y="535"/>
                  <a:pt x="1639" y="535"/>
                  <a:pt x="1638" y="535"/>
                </a:cubicBezTo>
                <a:cubicBezTo>
                  <a:pt x="1638" y="535"/>
                  <a:pt x="1638" y="535"/>
                  <a:pt x="1638" y="536"/>
                </a:cubicBezTo>
                <a:cubicBezTo>
                  <a:pt x="1638" y="536"/>
                  <a:pt x="1638" y="536"/>
                  <a:pt x="1637" y="535"/>
                </a:cubicBezTo>
                <a:cubicBezTo>
                  <a:pt x="1637" y="535"/>
                  <a:pt x="1637" y="535"/>
                  <a:pt x="1637" y="536"/>
                </a:cubicBezTo>
                <a:cubicBezTo>
                  <a:pt x="1637" y="536"/>
                  <a:pt x="1637" y="536"/>
                  <a:pt x="1636" y="537"/>
                </a:cubicBezTo>
                <a:cubicBezTo>
                  <a:pt x="1636" y="537"/>
                  <a:pt x="1636" y="537"/>
                  <a:pt x="1637" y="538"/>
                </a:cubicBezTo>
                <a:cubicBezTo>
                  <a:pt x="1637" y="538"/>
                  <a:pt x="1637" y="538"/>
                  <a:pt x="1637" y="539"/>
                </a:cubicBezTo>
                <a:cubicBezTo>
                  <a:pt x="1637" y="539"/>
                  <a:pt x="1637" y="539"/>
                  <a:pt x="1637" y="540"/>
                </a:cubicBezTo>
                <a:cubicBezTo>
                  <a:pt x="1637" y="540"/>
                  <a:pt x="1637" y="540"/>
                  <a:pt x="1637" y="542"/>
                </a:cubicBezTo>
                <a:cubicBezTo>
                  <a:pt x="1637" y="542"/>
                  <a:pt x="1637" y="542"/>
                  <a:pt x="1637" y="543"/>
                </a:cubicBezTo>
                <a:cubicBezTo>
                  <a:pt x="1637" y="543"/>
                  <a:pt x="1637" y="543"/>
                  <a:pt x="1638" y="544"/>
                </a:cubicBezTo>
                <a:cubicBezTo>
                  <a:pt x="1638" y="544"/>
                  <a:pt x="1638" y="544"/>
                  <a:pt x="1638" y="545"/>
                </a:cubicBezTo>
                <a:cubicBezTo>
                  <a:pt x="1638" y="545"/>
                  <a:pt x="1638" y="545"/>
                  <a:pt x="1638" y="547"/>
                </a:cubicBezTo>
                <a:cubicBezTo>
                  <a:pt x="1638" y="547"/>
                  <a:pt x="1638" y="547"/>
                  <a:pt x="1639" y="548"/>
                </a:cubicBezTo>
                <a:cubicBezTo>
                  <a:pt x="1639" y="548"/>
                  <a:pt x="1639" y="548"/>
                  <a:pt x="1640" y="549"/>
                </a:cubicBezTo>
                <a:cubicBezTo>
                  <a:pt x="1640" y="549"/>
                  <a:pt x="1640" y="549"/>
                  <a:pt x="1642" y="549"/>
                </a:cubicBezTo>
                <a:cubicBezTo>
                  <a:pt x="1642" y="549"/>
                  <a:pt x="1642" y="549"/>
                  <a:pt x="1643" y="549"/>
                </a:cubicBezTo>
                <a:cubicBezTo>
                  <a:pt x="1643" y="549"/>
                  <a:pt x="1643" y="549"/>
                  <a:pt x="1644" y="549"/>
                </a:cubicBezTo>
                <a:cubicBezTo>
                  <a:pt x="1644" y="549"/>
                  <a:pt x="1644" y="549"/>
                  <a:pt x="1646" y="550"/>
                </a:cubicBezTo>
                <a:cubicBezTo>
                  <a:pt x="1646" y="550"/>
                  <a:pt x="1646" y="550"/>
                  <a:pt x="1647" y="550"/>
                </a:cubicBezTo>
                <a:cubicBezTo>
                  <a:pt x="1647" y="550"/>
                  <a:pt x="1647" y="550"/>
                  <a:pt x="1647" y="551"/>
                </a:cubicBezTo>
                <a:cubicBezTo>
                  <a:pt x="1647" y="551"/>
                  <a:pt x="1647" y="551"/>
                  <a:pt x="1648" y="552"/>
                </a:cubicBezTo>
                <a:cubicBezTo>
                  <a:pt x="1648" y="552"/>
                  <a:pt x="1648" y="552"/>
                  <a:pt x="1651" y="554"/>
                </a:cubicBezTo>
                <a:cubicBezTo>
                  <a:pt x="1651" y="554"/>
                  <a:pt x="1651" y="554"/>
                  <a:pt x="1653" y="554"/>
                </a:cubicBezTo>
                <a:cubicBezTo>
                  <a:pt x="1653" y="554"/>
                  <a:pt x="1653" y="554"/>
                  <a:pt x="1656" y="555"/>
                </a:cubicBezTo>
                <a:cubicBezTo>
                  <a:pt x="1656" y="555"/>
                  <a:pt x="1656" y="555"/>
                  <a:pt x="1658" y="555"/>
                </a:cubicBezTo>
                <a:cubicBezTo>
                  <a:pt x="1658" y="555"/>
                  <a:pt x="1658" y="555"/>
                  <a:pt x="1662" y="554"/>
                </a:cubicBezTo>
                <a:cubicBezTo>
                  <a:pt x="1662" y="554"/>
                  <a:pt x="1662" y="554"/>
                  <a:pt x="1666" y="553"/>
                </a:cubicBezTo>
                <a:cubicBezTo>
                  <a:pt x="1666" y="553"/>
                  <a:pt x="1666" y="553"/>
                  <a:pt x="1669" y="553"/>
                </a:cubicBezTo>
                <a:cubicBezTo>
                  <a:pt x="1669" y="553"/>
                  <a:pt x="1669" y="553"/>
                  <a:pt x="1671" y="554"/>
                </a:cubicBezTo>
                <a:lnTo>
                  <a:pt x="1671" y="552"/>
                </a:lnTo>
                <a:close/>
                <a:moveTo>
                  <a:pt x="1860" y="751"/>
                </a:moveTo>
                <a:cubicBezTo>
                  <a:pt x="1859" y="748"/>
                  <a:pt x="1859" y="748"/>
                  <a:pt x="1859" y="748"/>
                </a:cubicBezTo>
                <a:cubicBezTo>
                  <a:pt x="1858" y="746"/>
                  <a:pt x="1858" y="746"/>
                  <a:pt x="1858" y="746"/>
                </a:cubicBezTo>
                <a:cubicBezTo>
                  <a:pt x="1857" y="746"/>
                  <a:pt x="1857" y="746"/>
                  <a:pt x="1857" y="746"/>
                </a:cubicBezTo>
                <a:cubicBezTo>
                  <a:pt x="1856" y="746"/>
                  <a:pt x="1856" y="746"/>
                  <a:pt x="1856" y="746"/>
                </a:cubicBezTo>
                <a:cubicBezTo>
                  <a:pt x="1857" y="745"/>
                  <a:pt x="1857" y="745"/>
                  <a:pt x="1857" y="745"/>
                </a:cubicBezTo>
                <a:cubicBezTo>
                  <a:pt x="1857" y="744"/>
                  <a:pt x="1857" y="744"/>
                  <a:pt x="1857" y="744"/>
                </a:cubicBezTo>
                <a:cubicBezTo>
                  <a:pt x="1856" y="744"/>
                  <a:pt x="1856" y="744"/>
                  <a:pt x="1856" y="744"/>
                </a:cubicBezTo>
                <a:cubicBezTo>
                  <a:pt x="1855" y="743"/>
                  <a:pt x="1855" y="743"/>
                  <a:pt x="1855" y="743"/>
                </a:cubicBezTo>
                <a:cubicBezTo>
                  <a:pt x="1854" y="742"/>
                  <a:pt x="1854" y="742"/>
                  <a:pt x="1854" y="742"/>
                </a:cubicBezTo>
                <a:cubicBezTo>
                  <a:pt x="1854" y="741"/>
                  <a:pt x="1854" y="741"/>
                  <a:pt x="1854" y="741"/>
                </a:cubicBezTo>
                <a:cubicBezTo>
                  <a:pt x="1854" y="740"/>
                  <a:pt x="1854" y="740"/>
                  <a:pt x="1854" y="740"/>
                </a:cubicBezTo>
                <a:cubicBezTo>
                  <a:pt x="1852" y="740"/>
                  <a:pt x="1852" y="740"/>
                  <a:pt x="1852" y="740"/>
                </a:cubicBezTo>
                <a:cubicBezTo>
                  <a:pt x="1851" y="740"/>
                  <a:pt x="1851" y="740"/>
                  <a:pt x="1851" y="740"/>
                </a:cubicBezTo>
                <a:cubicBezTo>
                  <a:pt x="1851" y="739"/>
                  <a:pt x="1851" y="739"/>
                  <a:pt x="1851" y="739"/>
                </a:cubicBezTo>
                <a:cubicBezTo>
                  <a:pt x="1850" y="739"/>
                  <a:pt x="1850" y="739"/>
                  <a:pt x="1850" y="739"/>
                </a:cubicBezTo>
                <a:cubicBezTo>
                  <a:pt x="1850" y="740"/>
                  <a:pt x="1850" y="740"/>
                  <a:pt x="1850" y="740"/>
                </a:cubicBezTo>
                <a:cubicBezTo>
                  <a:pt x="1850" y="741"/>
                  <a:pt x="1850" y="741"/>
                  <a:pt x="1850" y="741"/>
                </a:cubicBezTo>
                <a:cubicBezTo>
                  <a:pt x="1849" y="743"/>
                  <a:pt x="1849" y="743"/>
                  <a:pt x="1849" y="743"/>
                </a:cubicBezTo>
                <a:cubicBezTo>
                  <a:pt x="1849" y="742"/>
                  <a:pt x="1849" y="742"/>
                  <a:pt x="1849" y="742"/>
                </a:cubicBezTo>
                <a:cubicBezTo>
                  <a:pt x="1848" y="742"/>
                  <a:pt x="1848" y="742"/>
                  <a:pt x="1848" y="742"/>
                </a:cubicBezTo>
                <a:cubicBezTo>
                  <a:pt x="1848" y="743"/>
                  <a:pt x="1848" y="743"/>
                  <a:pt x="1848" y="743"/>
                </a:cubicBezTo>
                <a:cubicBezTo>
                  <a:pt x="1848" y="744"/>
                  <a:pt x="1848" y="744"/>
                  <a:pt x="1848" y="744"/>
                </a:cubicBezTo>
                <a:cubicBezTo>
                  <a:pt x="1848" y="746"/>
                  <a:pt x="1848" y="746"/>
                  <a:pt x="1848" y="746"/>
                </a:cubicBezTo>
                <a:cubicBezTo>
                  <a:pt x="1847" y="747"/>
                  <a:pt x="1847" y="747"/>
                  <a:pt x="1847" y="747"/>
                </a:cubicBezTo>
                <a:cubicBezTo>
                  <a:pt x="1848" y="747"/>
                  <a:pt x="1848" y="747"/>
                  <a:pt x="1848" y="747"/>
                </a:cubicBezTo>
                <a:cubicBezTo>
                  <a:pt x="1848" y="748"/>
                  <a:pt x="1848" y="748"/>
                  <a:pt x="1848" y="748"/>
                </a:cubicBezTo>
                <a:cubicBezTo>
                  <a:pt x="1848" y="750"/>
                  <a:pt x="1848" y="750"/>
                  <a:pt x="1848" y="750"/>
                </a:cubicBezTo>
                <a:cubicBezTo>
                  <a:pt x="1847" y="751"/>
                  <a:pt x="1847" y="751"/>
                  <a:pt x="1847" y="751"/>
                </a:cubicBezTo>
                <a:cubicBezTo>
                  <a:pt x="1848" y="753"/>
                  <a:pt x="1848" y="753"/>
                  <a:pt x="1848" y="753"/>
                </a:cubicBezTo>
                <a:cubicBezTo>
                  <a:pt x="1848" y="754"/>
                  <a:pt x="1848" y="754"/>
                  <a:pt x="1848" y="754"/>
                </a:cubicBezTo>
                <a:cubicBezTo>
                  <a:pt x="1849" y="757"/>
                  <a:pt x="1849" y="757"/>
                  <a:pt x="1849" y="757"/>
                </a:cubicBezTo>
                <a:cubicBezTo>
                  <a:pt x="1850" y="760"/>
                  <a:pt x="1850" y="760"/>
                  <a:pt x="1850" y="760"/>
                </a:cubicBezTo>
                <a:cubicBezTo>
                  <a:pt x="1851" y="762"/>
                  <a:pt x="1851" y="762"/>
                  <a:pt x="1851" y="762"/>
                </a:cubicBezTo>
                <a:cubicBezTo>
                  <a:pt x="1852" y="762"/>
                  <a:pt x="1852" y="762"/>
                  <a:pt x="1852" y="762"/>
                </a:cubicBezTo>
                <a:cubicBezTo>
                  <a:pt x="1853" y="762"/>
                  <a:pt x="1853" y="762"/>
                  <a:pt x="1853" y="762"/>
                </a:cubicBezTo>
                <a:cubicBezTo>
                  <a:pt x="1855" y="762"/>
                  <a:pt x="1855" y="762"/>
                  <a:pt x="1855" y="762"/>
                </a:cubicBezTo>
                <a:cubicBezTo>
                  <a:pt x="1857" y="761"/>
                  <a:pt x="1857" y="761"/>
                  <a:pt x="1857" y="761"/>
                </a:cubicBezTo>
                <a:cubicBezTo>
                  <a:pt x="1859" y="759"/>
                  <a:pt x="1859" y="759"/>
                  <a:pt x="1859" y="759"/>
                </a:cubicBezTo>
                <a:cubicBezTo>
                  <a:pt x="1860" y="757"/>
                  <a:pt x="1860" y="757"/>
                  <a:pt x="1860" y="757"/>
                </a:cubicBezTo>
                <a:cubicBezTo>
                  <a:pt x="1861" y="756"/>
                  <a:pt x="1861" y="756"/>
                  <a:pt x="1861" y="756"/>
                </a:cubicBezTo>
                <a:cubicBezTo>
                  <a:pt x="1861" y="755"/>
                  <a:pt x="1861" y="755"/>
                  <a:pt x="1861" y="755"/>
                </a:cubicBezTo>
                <a:cubicBezTo>
                  <a:pt x="1861" y="753"/>
                  <a:pt x="1861" y="753"/>
                  <a:pt x="1861" y="753"/>
                </a:cubicBezTo>
                <a:cubicBezTo>
                  <a:pt x="1860" y="752"/>
                  <a:pt x="1860" y="752"/>
                  <a:pt x="1860" y="752"/>
                </a:cubicBezTo>
                <a:cubicBezTo>
                  <a:pt x="1861" y="751"/>
                  <a:pt x="1861" y="751"/>
                  <a:pt x="1861" y="751"/>
                </a:cubicBezTo>
                <a:cubicBezTo>
                  <a:pt x="1860" y="751"/>
                  <a:pt x="1860" y="751"/>
                  <a:pt x="1860" y="751"/>
                </a:cubicBezTo>
                <a:close/>
                <a:moveTo>
                  <a:pt x="1847" y="748"/>
                </a:moveTo>
                <a:cubicBezTo>
                  <a:pt x="1847" y="749"/>
                  <a:pt x="1847" y="749"/>
                  <a:pt x="1847" y="749"/>
                </a:cubicBezTo>
                <a:cubicBezTo>
                  <a:pt x="1848" y="748"/>
                  <a:pt x="1848" y="748"/>
                  <a:pt x="1848" y="748"/>
                </a:cubicBezTo>
                <a:cubicBezTo>
                  <a:pt x="1847" y="747"/>
                  <a:pt x="1847" y="747"/>
                  <a:pt x="1847" y="747"/>
                </a:cubicBezTo>
                <a:cubicBezTo>
                  <a:pt x="1847" y="748"/>
                  <a:pt x="1847" y="748"/>
                  <a:pt x="1847" y="748"/>
                </a:cubicBezTo>
                <a:close/>
                <a:moveTo>
                  <a:pt x="1848" y="737"/>
                </a:moveTo>
                <a:cubicBezTo>
                  <a:pt x="1848" y="738"/>
                  <a:pt x="1848" y="738"/>
                  <a:pt x="1848" y="738"/>
                </a:cubicBezTo>
                <a:cubicBezTo>
                  <a:pt x="1849" y="739"/>
                  <a:pt x="1849" y="739"/>
                  <a:pt x="1849" y="739"/>
                </a:cubicBezTo>
                <a:cubicBezTo>
                  <a:pt x="1849" y="738"/>
                  <a:pt x="1849" y="738"/>
                  <a:pt x="1849" y="738"/>
                </a:cubicBezTo>
                <a:cubicBezTo>
                  <a:pt x="1850" y="738"/>
                  <a:pt x="1850" y="738"/>
                  <a:pt x="1850" y="738"/>
                </a:cubicBezTo>
                <a:cubicBezTo>
                  <a:pt x="1850" y="737"/>
                  <a:pt x="1850" y="737"/>
                  <a:pt x="1850" y="737"/>
                </a:cubicBezTo>
                <a:cubicBezTo>
                  <a:pt x="1848" y="737"/>
                  <a:pt x="1848" y="737"/>
                  <a:pt x="1848" y="737"/>
                </a:cubicBezTo>
                <a:close/>
                <a:moveTo>
                  <a:pt x="1853" y="739"/>
                </a:moveTo>
                <a:cubicBezTo>
                  <a:pt x="1852" y="738"/>
                  <a:pt x="1852" y="738"/>
                  <a:pt x="1852" y="738"/>
                </a:cubicBezTo>
                <a:cubicBezTo>
                  <a:pt x="1852" y="737"/>
                  <a:pt x="1852" y="737"/>
                  <a:pt x="1852" y="737"/>
                </a:cubicBezTo>
                <a:cubicBezTo>
                  <a:pt x="1851" y="737"/>
                  <a:pt x="1851" y="737"/>
                  <a:pt x="1851" y="737"/>
                </a:cubicBezTo>
                <a:cubicBezTo>
                  <a:pt x="1851" y="738"/>
                  <a:pt x="1851" y="738"/>
                  <a:pt x="1851" y="738"/>
                </a:cubicBezTo>
                <a:cubicBezTo>
                  <a:pt x="1850" y="738"/>
                  <a:pt x="1850" y="738"/>
                  <a:pt x="1850" y="738"/>
                </a:cubicBezTo>
                <a:cubicBezTo>
                  <a:pt x="1852" y="739"/>
                  <a:pt x="1852" y="739"/>
                  <a:pt x="1852" y="739"/>
                </a:cubicBezTo>
                <a:cubicBezTo>
                  <a:pt x="1853" y="739"/>
                  <a:pt x="1853" y="739"/>
                  <a:pt x="1853" y="739"/>
                </a:cubicBezTo>
                <a:close/>
                <a:moveTo>
                  <a:pt x="1893" y="658"/>
                </a:moveTo>
                <a:cubicBezTo>
                  <a:pt x="1894" y="656"/>
                  <a:pt x="1894" y="656"/>
                  <a:pt x="1894" y="656"/>
                </a:cubicBezTo>
                <a:cubicBezTo>
                  <a:pt x="1893" y="657"/>
                  <a:pt x="1893" y="657"/>
                  <a:pt x="1893" y="657"/>
                </a:cubicBezTo>
                <a:cubicBezTo>
                  <a:pt x="1893" y="658"/>
                  <a:pt x="1893" y="658"/>
                  <a:pt x="1893" y="658"/>
                </a:cubicBezTo>
                <a:close/>
                <a:moveTo>
                  <a:pt x="1845" y="741"/>
                </a:moveTo>
                <a:cubicBezTo>
                  <a:pt x="1844" y="741"/>
                  <a:pt x="1844" y="741"/>
                  <a:pt x="1844" y="741"/>
                </a:cubicBezTo>
                <a:cubicBezTo>
                  <a:pt x="1845" y="742"/>
                  <a:pt x="1845" y="742"/>
                  <a:pt x="1845" y="742"/>
                </a:cubicBezTo>
                <a:cubicBezTo>
                  <a:pt x="1845" y="741"/>
                  <a:pt x="1845" y="741"/>
                  <a:pt x="1845" y="741"/>
                </a:cubicBezTo>
                <a:close/>
                <a:moveTo>
                  <a:pt x="1914" y="651"/>
                </a:moveTo>
                <a:cubicBezTo>
                  <a:pt x="1913" y="651"/>
                  <a:pt x="1913" y="651"/>
                  <a:pt x="1913" y="651"/>
                </a:cubicBezTo>
                <a:cubicBezTo>
                  <a:pt x="1913" y="652"/>
                  <a:pt x="1913" y="652"/>
                  <a:pt x="1913" y="652"/>
                </a:cubicBezTo>
                <a:cubicBezTo>
                  <a:pt x="1914" y="652"/>
                  <a:pt x="1914" y="652"/>
                  <a:pt x="1914" y="652"/>
                </a:cubicBezTo>
                <a:cubicBezTo>
                  <a:pt x="1914" y="651"/>
                  <a:pt x="1914" y="651"/>
                  <a:pt x="1914" y="651"/>
                </a:cubicBezTo>
                <a:close/>
                <a:moveTo>
                  <a:pt x="1909" y="652"/>
                </a:moveTo>
                <a:cubicBezTo>
                  <a:pt x="1909" y="653"/>
                  <a:pt x="1909" y="653"/>
                  <a:pt x="1909" y="653"/>
                </a:cubicBezTo>
                <a:cubicBezTo>
                  <a:pt x="1911" y="653"/>
                  <a:pt x="1911" y="653"/>
                  <a:pt x="1911" y="653"/>
                </a:cubicBezTo>
                <a:cubicBezTo>
                  <a:pt x="1910" y="651"/>
                  <a:pt x="1910" y="651"/>
                  <a:pt x="1910" y="651"/>
                </a:cubicBezTo>
                <a:cubicBezTo>
                  <a:pt x="1910" y="650"/>
                  <a:pt x="1910" y="650"/>
                  <a:pt x="1910" y="650"/>
                </a:cubicBezTo>
                <a:cubicBezTo>
                  <a:pt x="1908" y="650"/>
                  <a:pt x="1908" y="650"/>
                  <a:pt x="1908" y="650"/>
                </a:cubicBezTo>
                <a:cubicBezTo>
                  <a:pt x="1909" y="651"/>
                  <a:pt x="1909" y="651"/>
                  <a:pt x="1909" y="651"/>
                </a:cubicBezTo>
                <a:cubicBezTo>
                  <a:pt x="1909" y="652"/>
                  <a:pt x="1909" y="652"/>
                  <a:pt x="1909" y="652"/>
                </a:cubicBezTo>
                <a:close/>
                <a:moveTo>
                  <a:pt x="1913" y="652"/>
                </a:moveTo>
                <a:cubicBezTo>
                  <a:pt x="1912" y="651"/>
                  <a:pt x="1912" y="651"/>
                  <a:pt x="1912" y="651"/>
                </a:cubicBezTo>
                <a:cubicBezTo>
                  <a:pt x="1911" y="650"/>
                  <a:pt x="1911" y="650"/>
                  <a:pt x="1911" y="650"/>
                </a:cubicBezTo>
                <a:cubicBezTo>
                  <a:pt x="1911" y="651"/>
                  <a:pt x="1911" y="651"/>
                  <a:pt x="1911" y="651"/>
                </a:cubicBezTo>
                <a:cubicBezTo>
                  <a:pt x="1912" y="652"/>
                  <a:pt x="1912" y="652"/>
                  <a:pt x="1912" y="652"/>
                </a:cubicBezTo>
                <a:cubicBezTo>
                  <a:pt x="1911" y="653"/>
                  <a:pt x="1911" y="653"/>
                  <a:pt x="1911" y="653"/>
                </a:cubicBezTo>
                <a:cubicBezTo>
                  <a:pt x="1912" y="654"/>
                  <a:pt x="1912" y="654"/>
                  <a:pt x="1912" y="654"/>
                </a:cubicBezTo>
                <a:cubicBezTo>
                  <a:pt x="1913" y="652"/>
                  <a:pt x="1913" y="652"/>
                  <a:pt x="1913" y="652"/>
                </a:cubicBezTo>
                <a:close/>
                <a:moveTo>
                  <a:pt x="1410" y="412"/>
                </a:moveTo>
                <a:cubicBezTo>
                  <a:pt x="1409" y="412"/>
                  <a:pt x="1409" y="412"/>
                  <a:pt x="1409" y="412"/>
                </a:cubicBezTo>
                <a:cubicBezTo>
                  <a:pt x="1410" y="413"/>
                  <a:pt x="1410" y="413"/>
                  <a:pt x="1410" y="413"/>
                </a:cubicBezTo>
                <a:cubicBezTo>
                  <a:pt x="1410" y="412"/>
                  <a:pt x="1410" y="412"/>
                  <a:pt x="1410" y="412"/>
                </a:cubicBezTo>
                <a:close/>
                <a:moveTo>
                  <a:pt x="1409" y="415"/>
                </a:moveTo>
                <a:cubicBezTo>
                  <a:pt x="1409" y="415"/>
                  <a:pt x="1409" y="415"/>
                  <a:pt x="1409" y="414"/>
                </a:cubicBezTo>
                <a:cubicBezTo>
                  <a:pt x="1409" y="414"/>
                  <a:pt x="1409" y="414"/>
                  <a:pt x="1409" y="413"/>
                </a:cubicBezTo>
                <a:cubicBezTo>
                  <a:pt x="1409" y="413"/>
                  <a:pt x="1409" y="413"/>
                  <a:pt x="1408" y="413"/>
                </a:cubicBezTo>
                <a:cubicBezTo>
                  <a:pt x="1408" y="413"/>
                  <a:pt x="1408" y="413"/>
                  <a:pt x="1407" y="414"/>
                </a:cubicBezTo>
                <a:cubicBezTo>
                  <a:pt x="1407" y="414"/>
                  <a:pt x="1407" y="414"/>
                  <a:pt x="1406" y="414"/>
                </a:cubicBezTo>
                <a:cubicBezTo>
                  <a:pt x="1406" y="414"/>
                  <a:pt x="1406" y="414"/>
                  <a:pt x="1405" y="412"/>
                </a:cubicBezTo>
                <a:cubicBezTo>
                  <a:pt x="1405" y="412"/>
                  <a:pt x="1405" y="412"/>
                  <a:pt x="1404" y="412"/>
                </a:cubicBezTo>
                <a:cubicBezTo>
                  <a:pt x="1404" y="412"/>
                  <a:pt x="1404" y="412"/>
                  <a:pt x="1404" y="413"/>
                </a:cubicBezTo>
                <a:cubicBezTo>
                  <a:pt x="1404" y="413"/>
                  <a:pt x="1404" y="413"/>
                  <a:pt x="1404" y="414"/>
                </a:cubicBezTo>
                <a:cubicBezTo>
                  <a:pt x="1404" y="414"/>
                  <a:pt x="1404" y="414"/>
                  <a:pt x="1403" y="414"/>
                </a:cubicBezTo>
                <a:cubicBezTo>
                  <a:pt x="1403" y="414"/>
                  <a:pt x="1403" y="414"/>
                  <a:pt x="1404" y="415"/>
                </a:cubicBezTo>
                <a:cubicBezTo>
                  <a:pt x="1404" y="415"/>
                  <a:pt x="1404" y="415"/>
                  <a:pt x="1406" y="415"/>
                </a:cubicBezTo>
                <a:cubicBezTo>
                  <a:pt x="1406" y="415"/>
                  <a:pt x="1406" y="415"/>
                  <a:pt x="1407" y="415"/>
                </a:cubicBezTo>
                <a:cubicBezTo>
                  <a:pt x="1407" y="415"/>
                  <a:pt x="1407" y="415"/>
                  <a:pt x="1408" y="414"/>
                </a:cubicBezTo>
                <a:cubicBezTo>
                  <a:pt x="1408" y="414"/>
                  <a:pt x="1408" y="414"/>
                  <a:pt x="1408" y="415"/>
                </a:cubicBezTo>
                <a:cubicBezTo>
                  <a:pt x="1408" y="415"/>
                  <a:pt x="1408" y="415"/>
                  <a:pt x="1409" y="415"/>
                </a:cubicBezTo>
                <a:close/>
                <a:moveTo>
                  <a:pt x="1397" y="410"/>
                </a:moveTo>
                <a:cubicBezTo>
                  <a:pt x="1397" y="410"/>
                  <a:pt x="1397" y="410"/>
                  <a:pt x="1398" y="412"/>
                </a:cubicBezTo>
                <a:cubicBezTo>
                  <a:pt x="1398" y="412"/>
                  <a:pt x="1398" y="412"/>
                  <a:pt x="1399" y="412"/>
                </a:cubicBezTo>
                <a:cubicBezTo>
                  <a:pt x="1399" y="412"/>
                  <a:pt x="1399" y="412"/>
                  <a:pt x="1400" y="412"/>
                </a:cubicBezTo>
                <a:cubicBezTo>
                  <a:pt x="1400" y="412"/>
                  <a:pt x="1400" y="412"/>
                  <a:pt x="1401" y="412"/>
                </a:cubicBezTo>
                <a:cubicBezTo>
                  <a:pt x="1401" y="412"/>
                  <a:pt x="1401" y="412"/>
                  <a:pt x="1402" y="410"/>
                </a:cubicBezTo>
                <a:cubicBezTo>
                  <a:pt x="1402" y="410"/>
                  <a:pt x="1402" y="410"/>
                  <a:pt x="1402" y="409"/>
                </a:cubicBezTo>
                <a:cubicBezTo>
                  <a:pt x="1402" y="409"/>
                  <a:pt x="1402" y="409"/>
                  <a:pt x="1401" y="408"/>
                </a:cubicBezTo>
                <a:cubicBezTo>
                  <a:pt x="1401" y="408"/>
                  <a:pt x="1401" y="408"/>
                  <a:pt x="1400" y="408"/>
                </a:cubicBezTo>
                <a:cubicBezTo>
                  <a:pt x="1400" y="408"/>
                  <a:pt x="1400" y="408"/>
                  <a:pt x="1399" y="407"/>
                </a:cubicBezTo>
                <a:cubicBezTo>
                  <a:pt x="1399" y="407"/>
                  <a:pt x="1399" y="407"/>
                  <a:pt x="1397" y="407"/>
                </a:cubicBezTo>
                <a:cubicBezTo>
                  <a:pt x="1397" y="407"/>
                  <a:pt x="1397" y="407"/>
                  <a:pt x="1396" y="409"/>
                </a:cubicBezTo>
                <a:cubicBezTo>
                  <a:pt x="1396" y="409"/>
                  <a:pt x="1396" y="409"/>
                  <a:pt x="1397" y="410"/>
                </a:cubicBezTo>
                <a:close/>
                <a:moveTo>
                  <a:pt x="1402" y="411"/>
                </a:moveTo>
                <a:cubicBezTo>
                  <a:pt x="1402" y="412"/>
                  <a:pt x="1402" y="412"/>
                  <a:pt x="1402" y="412"/>
                </a:cubicBezTo>
                <a:cubicBezTo>
                  <a:pt x="1402" y="413"/>
                  <a:pt x="1402" y="413"/>
                  <a:pt x="1402" y="413"/>
                </a:cubicBezTo>
                <a:cubicBezTo>
                  <a:pt x="1402" y="414"/>
                  <a:pt x="1402" y="414"/>
                  <a:pt x="1402" y="414"/>
                </a:cubicBezTo>
                <a:cubicBezTo>
                  <a:pt x="1403" y="413"/>
                  <a:pt x="1403" y="413"/>
                  <a:pt x="1403" y="413"/>
                </a:cubicBezTo>
                <a:cubicBezTo>
                  <a:pt x="1403" y="412"/>
                  <a:pt x="1403" y="412"/>
                  <a:pt x="1403" y="412"/>
                </a:cubicBezTo>
                <a:lnTo>
                  <a:pt x="1402" y="411"/>
                </a:lnTo>
                <a:close/>
                <a:moveTo>
                  <a:pt x="1392" y="396"/>
                </a:moveTo>
                <a:cubicBezTo>
                  <a:pt x="1392" y="396"/>
                  <a:pt x="1392" y="396"/>
                  <a:pt x="1392" y="395"/>
                </a:cubicBezTo>
                <a:cubicBezTo>
                  <a:pt x="1392" y="395"/>
                  <a:pt x="1392" y="395"/>
                  <a:pt x="1391" y="395"/>
                </a:cubicBezTo>
                <a:cubicBezTo>
                  <a:pt x="1392" y="394"/>
                  <a:pt x="1392" y="394"/>
                  <a:pt x="1392" y="394"/>
                </a:cubicBezTo>
                <a:cubicBezTo>
                  <a:pt x="1392" y="395"/>
                  <a:pt x="1392" y="395"/>
                  <a:pt x="1392" y="395"/>
                </a:cubicBezTo>
                <a:cubicBezTo>
                  <a:pt x="1394" y="394"/>
                  <a:pt x="1394" y="394"/>
                  <a:pt x="1394" y="394"/>
                </a:cubicBezTo>
                <a:cubicBezTo>
                  <a:pt x="1395" y="395"/>
                  <a:pt x="1395" y="395"/>
                  <a:pt x="1395" y="395"/>
                </a:cubicBezTo>
                <a:cubicBezTo>
                  <a:pt x="1396" y="394"/>
                  <a:pt x="1396" y="394"/>
                  <a:pt x="1396" y="394"/>
                </a:cubicBezTo>
                <a:cubicBezTo>
                  <a:pt x="1397" y="394"/>
                  <a:pt x="1397" y="394"/>
                  <a:pt x="1397" y="394"/>
                </a:cubicBezTo>
                <a:cubicBezTo>
                  <a:pt x="1398" y="395"/>
                  <a:pt x="1398" y="395"/>
                  <a:pt x="1398" y="395"/>
                </a:cubicBezTo>
                <a:cubicBezTo>
                  <a:pt x="1399" y="395"/>
                  <a:pt x="1399" y="395"/>
                  <a:pt x="1399" y="395"/>
                </a:cubicBezTo>
                <a:cubicBezTo>
                  <a:pt x="1400" y="392"/>
                  <a:pt x="1400" y="392"/>
                  <a:pt x="1400" y="392"/>
                </a:cubicBezTo>
                <a:cubicBezTo>
                  <a:pt x="1400" y="391"/>
                  <a:pt x="1400" y="391"/>
                  <a:pt x="1400" y="391"/>
                </a:cubicBezTo>
                <a:cubicBezTo>
                  <a:pt x="1400" y="389"/>
                  <a:pt x="1400" y="389"/>
                  <a:pt x="1400" y="389"/>
                </a:cubicBezTo>
                <a:cubicBezTo>
                  <a:pt x="1401" y="388"/>
                  <a:pt x="1401" y="388"/>
                  <a:pt x="1401" y="388"/>
                </a:cubicBezTo>
                <a:cubicBezTo>
                  <a:pt x="1400" y="387"/>
                  <a:pt x="1400" y="387"/>
                  <a:pt x="1400" y="387"/>
                </a:cubicBezTo>
                <a:cubicBezTo>
                  <a:pt x="1399" y="389"/>
                  <a:pt x="1399" y="389"/>
                  <a:pt x="1399" y="389"/>
                </a:cubicBezTo>
                <a:cubicBezTo>
                  <a:pt x="1397" y="390"/>
                  <a:pt x="1397" y="390"/>
                  <a:pt x="1397" y="390"/>
                </a:cubicBezTo>
                <a:cubicBezTo>
                  <a:pt x="1396" y="390"/>
                  <a:pt x="1396" y="390"/>
                  <a:pt x="1396" y="390"/>
                </a:cubicBezTo>
                <a:cubicBezTo>
                  <a:pt x="1395" y="391"/>
                  <a:pt x="1395" y="391"/>
                  <a:pt x="1395" y="391"/>
                </a:cubicBezTo>
                <a:cubicBezTo>
                  <a:pt x="1395" y="392"/>
                  <a:pt x="1395" y="392"/>
                  <a:pt x="1395" y="392"/>
                </a:cubicBezTo>
                <a:cubicBezTo>
                  <a:pt x="1393" y="393"/>
                  <a:pt x="1393" y="393"/>
                  <a:pt x="1393" y="393"/>
                </a:cubicBezTo>
                <a:cubicBezTo>
                  <a:pt x="1392" y="393"/>
                  <a:pt x="1392" y="393"/>
                  <a:pt x="1392" y="393"/>
                </a:cubicBezTo>
                <a:cubicBezTo>
                  <a:pt x="1390" y="394"/>
                  <a:pt x="1390" y="394"/>
                  <a:pt x="1390" y="394"/>
                </a:cubicBezTo>
                <a:cubicBezTo>
                  <a:pt x="1389" y="394"/>
                  <a:pt x="1389" y="394"/>
                  <a:pt x="1389" y="394"/>
                </a:cubicBezTo>
                <a:cubicBezTo>
                  <a:pt x="1389" y="396"/>
                  <a:pt x="1389" y="396"/>
                  <a:pt x="1389" y="396"/>
                </a:cubicBezTo>
                <a:cubicBezTo>
                  <a:pt x="1388" y="397"/>
                  <a:pt x="1388" y="397"/>
                  <a:pt x="1388" y="397"/>
                </a:cubicBezTo>
                <a:cubicBezTo>
                  <a:pt x="1389" y="397"/>
                  <a:pt x="1389" y="397"/>
                  <a:pt x="1389" y="397"/>
                </a:cubicBezTo>
                <a:cubicBezTo>
                  <a:pt x="1390" y="398"/>
                  <a:pt x="1390" y="398"/>
                  <a:pt x="1390" y="398"/>
                </a:cubicBezTo>
                <a:cubicBezTo>
                  <a:pt x="1390" y="397"/>
                  <a:pt x="1390" y="397"/>
                  <a:pt x="1390" y="397"/>
                </a:cubicBezTo>
                <a:cubicBezTo>
                  <a:pt x="1390" y="396"/>
                  <a:pt x="1390" y="396"/>
                  <a:pt x="1390" y="396"/>
                </a:cubicBezTo>
                <a:cubicBezTo>
                  <a:pt x="1390" y="396"/>
                  <a:pt x="1390" y="396"/>
                  <a:pt x="1391" y="398"/>
                </a:cubicBezTo>
                <a:cubicBezTo>
                  <a:pt x="1391" y="398"/>
                  <a:pt x="1391" y="398"/>
                  <a:pt x="1391" y="397"/>
                </a:cubicBezTo>
                <a:cubicBezTo>
                  <a:pt x="1391" y="397"/>
                  <a:pt x="1391" y="397"/>
                  <a:pt x="1392" y="396"/>
                </a:cubicBezTo>
                <a:close/>
                <a:moveTo>
                  <a:pt x="1411" y="411"/>
                </a:moveTo>
                <a:cubicBezTo>
                  <a:pt x="1410" y="412"/>
                  <a:pt x="1410" y="412"/>
                  <a:pt x="1410" y="412"/>
                </a:cubicBezTo>
                <a:cubicBezTo>
                  <a:pt x="1411" y="412"/>
                  <a:pt x="1411" y="412"/>
                  <a:pt x="1411" y="412"/>
                </a:cubicBezTo>
                <a:cubicBezTo>
                  <a:pt x="1411" y="411"/>
                  <a:pt x="1411" y="411"/>
                  <a:pt x="1411" y="411"/>
                </a:cubicBezTo>
                <a:close/>
                <a:moveTo>
                  <a:pt x="1392" y="397"/>
                </a:moveTo>
                <a:cubicBezTo>
                  <a:pt x="1391" y="398"/>
                  <a:pt x="1391" y="398"/>
                  <a:pt x="1391" y="398"/>
                </a:cubicBezTo>
                <a:cubicBezTo>
                  <a:pt x="1392" y="399"/>
                  <a:pt x="1392" y="399"/>
                  <a:pt x="1392" y="399"/>
                </a:cubicBezTo>
                <a:cubicBezTo>
                  <a:pt x="1393" y="398"/>
                  <a:pt x="1393" y="398"/>
                  <a:pt x="1393" y="398"/>
                </a:cubicBezTo>
                <a:cubicBezTo>
                  <a:pt x="1392" y="397"/>
                  <a:pt x="1392" y="397"/>
                  <a:pt x="1392" y="397"/>
                </a:cubicBezTo>
                <a:close/>
                <a:moveTo>
                  <a:pt x="1412" y="406"/>
                </a:moveTo>
                <a:cubicBezTo>
                  <a:pt x="1411" y="407"/>
                  <a:pt x="1411" y="407"/>
                  <a:pt x="1411" y="407"/>
                </a:cubicBezTo>
                <a:cubicBezTo>
                  <a:pt x="1412" y="407"/>
                  <a:pt x="1412" y="407"/>
                  <a:pt x="1412" y="407"/>
                </a:cubicBezTo>
                <a:cubicBezTo>
                  <a:pt x="1412" y="406"/>
                  <a:pt x="1412" y="406"/>
                  <a:pt x="1412" y="406"/>
                </a:cubicBezTo>
                <a:close/>
                <a:moveTo>
                  <a:pt x="1404" y="407"/>
                </a:moveTo>
                <a:cubicBezTo>
                  <a:pt x="1404" y="407"/>
                  <a:pt x="1404" y="407"/>
                  <a:pt x="1405" y="408"/>
                </a:cubicBezTo>
                <a:cubicBezTo>
                  <a:pt x="1405" y="408"/>
                  <a:pt x="1405" y="408"/>
                  <a:pt x="1405" y="409"/>
                </a:cubicBezTo>
                <a:cubicBezTo>
                  <a:pt x="1405" y="409"/>
                  <a:pt x="1405" y="409"/>
                  <a:pt x="1405" y="410"/>
                </a:cubicBezTo>
                <a:cubicBezTo>
                  <a:pt x="1405" y="410"/>
                  <a:pt x="1405" y="410"/>
                  <a:pt x="1406" y="410"/>
                </a:cubicBezTo>
                <a:cubicBezTo>
                  <a:pt x="1406" y="410"/>
                  <a:pt x="1406" y="410"/>
                  <a:pt x="1408" y="410"/>
                </a:cubicBezTo>
                <a:cubicBezTo>
                  <a:pt x="1408" y="410"/>
                  <a:pt x="1408" y="410"/>
                  <a:pt x="1408" y="411"/>
                </a:cubicBezTo>
                <a:cubicBezTo>
                  <a:pt x="1408" y="411"/>
                  <a:pt x="1408" y="411"/>
                  <a:pt x="1407" y="411"/>
                </a:cubicBezTo>
                <a:cubicBezTo>
                  <a:pt x="1407" y="411"/>
                  <a:pt x="1407" y="411"/>
                  <a:pt x="1408" y="412"/>
                </a:cubicBezTo>
                <a:cubicBezTo>
                  <a:pt x="1408" y="412"/>
                  <a:pt x="1408" y="412"/>
                  <a:pt x="1409" y="412"/>
                </a:cubicBezTo>
                <a:cubicBezTo>
                  <a:pt x="1409" y="412"/>
                  <a:pt x="1409" y="412"/>
                  <a:pt x="1409" y="411"/>
                </a:cubicBezTo>
                <a:cubicBezTo>
                  <a:pt x="1409" y="411"/>
                  <a:pt x="1409" y="411"/>
                  <a:pt x="1409" y="410"/>
                </a:cubicBezTo>
                <a:cubicBezTo>
                  <a:pt x="1409" y="410"/>
                  <a:pt x="1409" y="410"/>
                  <a:pt x="1410" y="410"/>
                </a:cubicBezTo>
                <a:cubicBezTo>
                  <a:pt x="1410" y="410"/>
                  <a:pt x="1410" y="410"/>
                  <a:pt x="1411" y="409"/>
                </a:cubicBezTo>
                <a:cubicBezTo>
                  <a:pt x="1411" y="409"/>
                  <a:pt x="1411" y="409"/>
                  <a:pt x="1410" y="408"/>
                </a:cubicBezTo>
                <a:cubicBezTo>
                  <a:pt x="1410" y="408"/>
                  <a:pt x="1410" y="408"/>
                  <a:pt x="1410" y="407"/>
                </a:cubicBezTo>
                <a:cubicBezTo>
                  <a:pt x="1410" y="407"/>
                  <a:pt x="1410" y="407"/>
                  <a:pt x="1411" y="407"/>
                </a:cubicBezTo>
                <a:cubicBezTo>
                  <a:pt x="1411" y="407"/>
                  <a:pt x="1411" y="407"/>
                  <a:pt x="1411" y="405"/>
                </a:cubicBezTo>
                <a:cubicBezTo>
                  <a:pt x="1411" y="405"/>
                  <a:pt x="1411" y="405"/>
                  <a:pt x="1411" y="404"/>
                </a:cubicBezTo>
                <a:cubicBezTo>
                  <a:pt x="1411" y="404"/>
                  <a:pt x="1411" y="404"/>
                  <a:pt x="1411" y="403"/>
                </a:cubicBezTo>
                <a:cubicBezTo>
                  <a:pt x="1411" y="403"/>
                  <a:pt x="1411" y="403"/>
                  <a:pt x="1409" y="403"/>
                </a:cubicBezTo>
                <a:cubicBezTo>
                  <a:pt x="1409" y="403"/>
                  <a:pt x="1409" y="403"/>
                  <a:pt x="1408" y="403"/>
                </a:cubicBezTo>
                <a:cubicBezTo>
                  <a:pt x="1408" y="403"/>
                  <a:pt x="1408" y="403"/>
                  <a:pt x="1407" y="404"/>
                </a:cubicBezTo>
                <a:cubicBezTo>
                  <a:pt x="1407" y="404"/>
                  <a:pt x="1407" y="404"/>
                  <a:pt x="1408" y="405"/>
                </a:cubicBezTo>
                <a:cubicBezTo>
                  <a:pt x="1408" y="405"/>
                  <a:pt x="1408" y="405"/>
                  <a:pt x="1409" y="406"/>
                </a:cubicBezTo>
                <a:cubicBezTo>
                  <a:pt x="1409" y="406"/>
                  <a:pt x="1409" y="406"/>
                  <a:pt x="1408" y="406"/>
                </a:cubicBezTo>
                <a:cubicBezTo>
                  <a:pt x="1408" y="406"/>
                  <a:pt x="1408" y="406"/>
                  <a:pt x="1406" y="406"/>
                </a:cubicBezTo>
                <a:cubicBezTo>
                  <a:pt x="1406" y="406"/>
                  <a:pt x="1406" y="406"/>
                  <a:pt x="1406" y="405"/>
                </a:cubicBezTo>
                <a:cubicBezTo>
                  <a:pt x="1406" y="405"/>
                  <a:pt x="1406" y="405"/>
                  <a:pt x="1406" y="404"/>
                </a:cubicBezTo>
                <a:cubicBezTo>
                  <a:pt x="1406" y="404"/>
                  <a:pt x="1406" y="404"/>
                  <a:pt x="1405" y="405"/>
                </a:cubicBezTo>
                <a:cubicBezTo>
                  <a:pt x="1405" y="405"/>
                  <a:pt x="1405" y="405"/>
                  <a:pt x="1405" y="406"/>
                </a:cubicBezTo>
                <a:cubicBezTo>
                  <a:pt x="1405" y="406"/>
                  <a:pt x="1405" y="406"/>
                  <a:pt x="1404" y="406"/>
                </a:cubicBezTo>
                <a:cubicBezTo>
                  <a:pt x="1404" y="406"/>
                  <a:pt x="1404" y="406"/>
                  <a:pt x="1404" y="407"/>
                </a:cubicBezTo>
                <a:close/>
                <a:moveTo>
                  <a:pt x="1402" y="392"/>
                </a:moveTo>
                <a:cubicBezTo>
                  <a:pt x="1402" y="392"/>
                  <a:pt x="1402" y="392"/>
                  <a:pt x="1403" y="392"/>
                </a:cubicBezTo>
                <a:cubicBezTo>
                  <a:pt x="1403" y="392"/>
                  <a:pt x="1403" y="392"/>
                  <a:pt x="1404" y="391"/>
                </a:cubicBezTo>
                <a:cubicBezTo>
                  <a:pt x="1404" y="391"/>
                  <a:pt x="1404" y="391"/>
                  <a:pt x="1402" y="391"/>
                </a:cubicBezTo>
                <a:cubicBezTo>
                  <a:pt x="1402" y="391"/>
                  <a:pt x="1402" y="391"/>
                  <a:pt x="1402" y="392"/>
                </a:cubicBezTo>
                <a:close/>
                <a:moveTo>
                  <a:pt x="1426" y="411"/>
                </a:moveTo>
                <a:cubicBezTo>
                  <a:pt x="1425" y="409"/>
                  <a:pt x="1425" y="409"/>
                  <a:pt x="1425" y="409"/>
                </a:cubicBezTo>
                <a:cubicBezTo>
                  <a:pt x="1424" y="409"/>
                  <a:pt x="1424" y="409"/>
                  <a:pt x="1424" y="409"/>
                </a:cubicBezTo>
                <a:cubicBezTo>
                  <a:pt x="1424" y="410"/>
                  <a:pt x="1424" y="410"/>
                  <a:pt x="1424" y="410"/>
                </a:cubicBezTo>
                <a:cubicBezTo>
                  <a:pt x="1424" y="411"/>
                  <a:pt x="1424" y="411"/>
                  <a:pt x="1424" y="411"/>
                </a:cubicBezTo>
                <a:cubicBezTo>
                  <a:pt x="1426" y="412"/>
                  <a:pt x="1426" y="412"/>
                  <a:pt x="1426" y="412"/>
                </a:cubicBezTo>
                <a:cubicBezTo>
                  <a:pt x="1426" y="411"/>
                  <a:pt x="1426" y="411"/>
                  <a:pt x="1426" y="411"/>
                </a:cubicBezTo>
                <a:close/>
                <a:moveTo>
                  <a:pt x="1401" y="414"/>
                </a:moveTo>
                <a:cubicBezTo>
                  <a:pt x="1401" y="413"/>
                  <a:pt x="1401" y="413"/>
                  <a:pt x="1401" y="413"/>
                </a:cubicBezTo>
                <a:cubicBezTo>
                  <a:pt x="1400" y="413"/>
                  <a:pt x="1400" y="413"/>
                  <a:pt x="1400" y="413"/>
                </a:cubicBezTo>
                <a:cubicBezTo>
                  <a:pt x="1401" y="414"/>
                  <a:pt x="1401" y="414"/>
                  <a:pt x="1401" y="414"/>
                </a:cubicBezTo>
                <a:close/>
                <a:moveTo>
                  <a:pt x="1401" y="406"/>
                </a:moveTo>
                <a:cubicBezTo>
                  <a:pt x="1401" y="406"/>
                  <a:pt x="1401" y="406"/>
                  <a:pt x="1401" y="405"/>
                </a:cubicBezTo>
                <a:cubicBezTo>
                  <a:pt x="1401" y="405"/>
                  <a:pt x="1401" y="405"/>
                  <a:pt x="1400" y="406"/>
                </a:cubicBezTo>
                <a:cubicBezTo>
                  <a:pt x="1400" y="406"/>
                  <a:pt x="1400" y="406"/>
                  <a:pt x="1401" y="406"/>
                </a:cubicBezTo>
                <a:close/>
                <a:moveTo>
                  <a:pt x="1449" y="250"/>
                </a:moveTo>
                <a:cubicBezTo>
                  <a:pt x="1449" y="250"/>
                  <a:pt x="1449" y="250"/>
                  <a:pt x="1451" y="251"/>
                </a:cubicBezTo>
                <a:cubicBezTo>
                  <a:pt x="1451" y="251"/>
                  <a:pt x="1451" y="251"/>
                  <a:pt x="1452" y="251"/>
                </a:cubicBezTo>
                <a:cubicBezTo>
                  <a:pt x="1452" y="251"/>
                  <a:pt x="1452" y="251"/>
                  <a:pt x="1452" y="250"/>
                </a:cubicBezTo>
                <a:cubicBezTo>
                  <a:pt x="1452" y="250"/>
                  <a:pt x="1452" y="250"/>
                  <a:pt x="1450" y="250"/>
                </a:cubicBezTo>
                <a:cubicBezTo>
                  <a:pt x="1450" y="250"/>
                  <a:pt x="1450" y="250"/>
                  <a:pt x="1449" y="250"/>
                </a:cubicBezTo>
                <a:close/>
                <a:moveTo>
                  <a:pt x="1434" y="253"/>
                </a:moveTo>
                <a:cubicBezTo>
                  <a:pt x="1434" y="253"/>
                  <a:pt x="1434" y="253"/>
                  <a:pt x="1432" y="254"/>
                </a:cubicBezTo>
                <a:cubicBezTo>
                  <a:pt x="1432" y="254"/>
                  <a:pt x="1432" y="254"/>
                  <a:pt x="1432" y="255"/>
                </a:cubicBezTo>
                <a:cubicBezTo>
                  <a:pt x="1434" y="254"/>
                  <a:pt x="1434" y="254"/>
                  <a:pt x="1434" y="254"/>
                </a:cubicBezTo>
                <a:cubicBezTo>
                  <a:pt x="1434" y="254"/>
                  <a:pt x="1434" y="254"/>
                  <a:pt x="1434" y="253"/>
                </a:cubicBezTo>
                <a:close/>
                <a:moveTo>
                  <a:pt x="1489" y="255"/>
                </a:moveTo>
                <a:cubicBezTo>
                  <a:pt x="1490" y="256"/>
                  <a:pt x="1490" y="256"/>
                  <a:pt x="1490" y="256"/>
                </a:cubicBezTo>
                <a:cubicBezTo>
                  <a:pt x="1490" y="255"/>
                  <a:pt x="1490" y="255"/>
                  <a:pt x="1490" y="255"/>
                </a:cubicBezTo>
                <a:cubicBezTo>
                  <a:pt x="1489" y="255"/>
                  <a:pt x="1489" y="255"/>
                  <a:pt x="1489" y="255"/>
                </a:cubicBezTo>
                <a:close/>
                <a:moveTo>
                  <a:pt x="1458" y="246"/>
                </a:moveTo>
                <a:cubicBezTo>
                  <a:pt x="1458" y="246"/>
                  <a:pt x="1458" y="246"/>
                  <a:pt x="1456" y="245"/>
                </a:cubicBezTo>
                <a:cubicBezTo>
                  <a:pt x="1455" y="245"/>
                  <a:pt x="1455" y="245"/>
                  <a:pt x="1455" y="245"/>
                </a:cubicBezTo>
                <a:cubicBezTo>
                  <a:pt x="1455" y="245"/>
                  <a:pt x="1455" y="245"/>
                  <a:pt x="1456" y="246"/>
                </a:cubicBezTo>
                <a:cubicBezTo>
                  <a:pt x="1456" y="246"/>
                  <a:pt x="1456" y="246"/>
                  <a:pt x="1456" y="248"/>
                </a:cubicBezTo>
                <a:cubicBezTo>
                  <a:pt x="1456" y="248"/>
                  <a:pt x="1456" y="248"/>
                  <a:pt x="1457" y="247"/>
                </a:cubicBezTo>
                <a:cubicBezTo>
                  <a:pt x="1457" y="247"/>
                  <a:pt x="1457" y="247"/>
                  <a:pt x="1458" y="246"/>
                </a:cubicBezTo>
                <a:close/>
                <a:moveTo>
                  <a:pt x="1451" y="245"/>
                </a:moveTo>
                <a:cubicBezTo>
                  <a:pt x="1451" y="245"/>
                  <a:pt x="1451" y="245"/>
                  <a:pt x="1450" y="247"/>
                </a:cubicBezTo>
                <a:cubicBezTo>
                  <a:pt x="1450" y="247"/>
                  <a:pt x="1450" y="247"/>
                  <a:pt x="1450" y="246"/>
                </a:cubicBezTo>
                <a:cubicBezTo>
                  <a:pt x="1450" y="246"/>
                  <a:pt x="1450" y="246"/>
                  <a:pt x="1449" y="247"/>
                </a:cubicBezTo>
                <a:cubicBezTo>
                  <a:pt x="1449" y="247"/>
                  <a:pt x="1449" y="247"/>
                  <a:pt x="1447" y="246"/>
                </a:cubicBezTo>
                <a:cubicBezTo>
                  <a:pt x="1447" y="246"/>
                  <a:pt x="1447" y="246"/>
                  <a:pt x="1448" y="248"/>
                </a:cubicBezTo>
                <a:cubicBezTo>
                  <a:pt x="1448" y="248"/>
                  <a:pt x="1448" y="248"/>
                  <a:pt x="1450" y="248"/>
                </a:cubicBezTo>
                <a:cubicBezTo>
                  <a:pt x="1450" y="248"/>
                  <a:pt x="1450" y="248"/>
                  <a:pt x="1451" y="248"/>
                </a:cubicBezTo>
                <a:cubicBezTo>
                  <a:pt x="1451" y="248"/>
                  <a:pt x="1451" y="248"/>
                  <a:pt x="1454" y="245"/>
                </a:cubicBezTo>
                <a:cubicBezTo>
                  <a:pt x="1454" y="245"/>
                  <a:pt x="1454" y="245"/>
                  <a:pt x="1454" y="244"/>
                </a:cubicBezTo>
                <a:cubicBezTo>
                  <a:pt x="1454" y="244"/>
                  <a:pt x="1454" y="244"/>
                  <a:pt x="1452" y="246"/>
                </a:cubicBezTo>
                <a:cubicBezTo>
                  <a:pt x="1452" y="246"/>
                  <a:pt x="1452" y="246"/>
                  <a:pt x="1451" y="245"/>
                </a:cubicBezTo>
                <a:close/>
                <a:moveTo>
                  <a:pt x="1372" y="374"/>
                </a:moveTo>
                <a:cubicBezTo>
                  <a:pt x="1372" y="374"/>
                  <a:pt x="1372" y="374"/>
                  <a:pt x="1372" y="375"/>
                </a:cubicBezTo>
                <a:cubicBezTo>
                  <a:pt x="1372" y="375"/>
                  <a:pt x="1372" y="375"/>
                  <a:pt x="1373" y="375"/>
                </a:cubicBezTo>
                <a:cubicBezTo>
                  <a:pt x="1373" y="375"/>
                  <a:pt x="1373" y="375"/>
                  <a:pt x="1372" y="374"/>
                </a:cubicBezTo>
                <a:close/>
                <a:moveTo>
                  <a:pt x="1425" y="269"/>
                </a:moveTo>
                <a:cubicBezTo>
                  <a:pt x="1425" y="269"/>
                  <a:pt x="1425" y="269"/>
                  <a:pt x="1425" y="270"/>
                </a:cubicBezTo>
                <a:cubicBezTo>
                  <a:pt x="1425" y="270"/>
                  <a:pt x="1425" y="270"/>
                  <a:pt x="1426" y="270"/>
                </a:cubicBezTo>
                <a:cubicBezTo>
                  <a:pt x="1426" y="270"/>
                  <a:pt x="1426" y="270"/>
                  <a:pt x="1425" y="269"/>
                </a:cubicBezTo>
                <a:close/>
                <a:moveTo>
                  <a:pt x="1441" y="252"/>
                </a:moveTo>
                <a:cubicBezTo>
                  <a:pt x="1441" y="252"/>
                  <a:pt x="1441" y="252"/>
                  <a:pt x="1441" y="253"/>
                </a:cubicBezTo>
                <a:cubicBezTo>
                  <a:pt x="1441" y="253"/>
                  <a:pt x="1441" y="253"/>
                  <a:pt x="1441" y="255"/>
                </a:cubicBezTo>
                <a:cubicBezTo>
                  <a:pt x="1441" y="255"/>
                  <a:pt x="1441" y="255"/>
                  <a:pt x="1442" y="255"/>
                </a:cubicBezTo>
                <a:cubicBezTo>
                  <a:pt x="1442" y="255"/>
                  <a:pt x="1442" y="255"/>
                  <a:pt x="1442" y="256"/>
                </a:cubicBezTo>
                <a:cubicBezTo>
                  <a:pt x="1442" y="256"/>
                  <a:pt x="1442" y="256"/>
                  <a:pt x="1443" y="255"/>
                </a:cubicBezTo>
                <a:cubicBezTo>
                  <a:pt x="1443" y="255"/>
                  <a:pt x="1443" y="255"/>
                  <a:pt x="1442" y="254"/>
                </a:cubicBezTo>
                <a:cubicBezTo>
                  <a:pt x="1442" y="254"/>
                  <a:pt x="1442" y="254"/>
                  <a:pt x="1443" y="253"/>
                </a:cubicBezTo>
                <a:cubicBezTo>
                  <a:pt x="1443" y="253"/>
                  <a:pt x="1443" y="253"/>
                  <a:pt x="1441" y="252"/>
                </a:cubicBezTo>
                <a:close/>
                <a:moveTo>
                  <a:pt x="1434" y="252"/>
                </a:moveTo>
                <a:cubicBezTo>
                  <a:pt x="1434" y="252"/>
                  <a:pt x="1434" y="252"/>
                  <a:pt x="1434" y="253"/>
                </a:cubicBezTo>
                <a:cubicBezTo>
                  <a:pt x="1434" y="253"/>
                  <a:pt x="1434" y="253"/>
                  <a:pt x="1435" y="252"/>
                </a:cubicBezTo>
                <a:cubicBezTo>
                  <a:pt x="1435" y="252"/>
                  <a:pt x="1435" y="252"/>
                  <a:pt x="1434" y="252"/>
                </a:cubicBezTo>
                <a:close/>
                <a:moveTo>
                  <a:pt x="1437" y="257"/>
                </a:moveTo>
                <a:cubicBezTo>
                  <a:pt x="1437" y="257"/>
                  <a:pt x="1437" y="257"/>
                  <a:pt x="1437" y="256"/>
                </a:cubicBezTo>
                <a:cubicBezTo>
                  <a:pt x="1437" y="256"/>
                  <a:pt x="1437" y="256"/>
                  <a:pt x="1436" y="258"/>
                </a:cubicBezTo>
                <a:cubicBezTo>
                  <a:pt x="1436" y="258"/>
                  <a:pt x="1436" y="258"/>
                  <a:pt x="1437" y="257"/>
                </a:cubicBezTo>
                <a:close/>
                <a:moveTo>
                  <a:pt x="1432" y="261"/>
                </a:moveTo>
                <a:cubicBezTo>
                  <a:pt x="1432" y="261"/>
                  <a:pt x="1432" y="261"/>
                  <a:pt x="1433" y="261"/>
                </a:cubicBezTo>
                <a:cubicBezTo>
                  <a:pt x="1433" y="261"/>
                  <a:pt x="1433" y="261"/>
                  <a:pt x="1433" y="260"/>
                </a:cubicBezTo>
                <a:cubicBezTo>
                  <a:pt x="1433" y="260"/>
                  <a:pt x="1433" y="260"/>
                  <a:pt x="1434" y="259"/>
                </a:cubicBezTo>
                <a:cubicBezTo>
                  <a:pt x="1434" y="259"/>
                  <a:pt x="1434" y="259"/>
                  <a:pt x="1433" y="258"/>
                </a:cubicBezTo>
                <a:cubicBezTo>
                  <a:pt x="1433" y="258"/>
                  <a:pt x="1433" y="258"/>
                  <a:pt x="1433" y="259"/>
                </a:cubicBezTo>
                <a:cubicBezTo>
                  <a:pt x="1433" y="259"/>
                  <a:pt x="1433" y="259"/>
                  <a:pt x="1431" y="259"/>
                </a:cubicBezTo>
                <a:cubicBezTo>
                  <a:pt x="1431" y="259"/>
                  <a:pt x="1431" y="259"/>
                  <a:pt x="1431" y="260"/>
                </a:cubicBezTo>
                <a:cubicBezTo>
                  <a:pt x="1431" y="260"/>
                  <a:pt x="1431" y="260"/>
                  <a:pt x="1429" y="260"/>
                </a:cubicBezTo>
                <a:cubicBezTo>
                  <a:pt x="1429" y="260"/>
                  <a:pt x="1429" y="260"/>
                  <a:pt x="1431" y="262"/>
                </a:cubicBezTo>
                <a:cubicBezTo>
                  <a:pt x="1431" y="262"/>
                  <a:pt x="1431" y="262"/>
                  <a:pt x="1432" y="261"/>
                </a:cubicBezTo>
                <a:close/>
                <a:moveTo>
                  <a:pt x="1436" y="251"/>
                </a:moveTo>
                <a:cubicBezTo>
                  <a:pt x="1436" y="251"/>
                  <a:pt x="1436" y="251"/>
                  <a:pt x="1437" y="253"/>
                </a:cubicBezTo>
                <a:cubicBezTo>
                  <a:pt x="1437" y="253"/>
                  <a:pt x="1437" y="253"/>
                  <a:pt x="1437" y="251"/>
                </a:cubicBezTo>
                <a:cubicBezTo>
                  <a:pt x="1437" y="251"/>
                  <a:pt x="1437" y="251"/>
                  <a:pt x="1436" y="251"/>
                </a:cubicBezTo>
                <a:close/>
                <a:moveTo>
                  <a:pt x="1438" y="255"/>
                </a:moveTo>
                <a:cubicBezTo>
                  <a:pt x="1438" y="255"/>
                  <a:pt x="1438" y="255"/>
                  <a:pt x="1439" y="254"/>
                </a:cubicBezTo>
                <a:cubicBezTo>
                  <a:pt x="1439" y="254"/>
                  <a:pt x="1439" y="254"/>
                  <a:pt x="1437" y="253"/>
                </a:cubicBezTo>
                <a:cubicBezTo>
                  <a:pt x="1437" y="253"/>
                  <a:pt x="1437" y="253"/>
                  <a:pt x="1437" y="254"/>
                </a:cubicBezTo>
                <a:cubicBezTo>
                  <a:pt x="1437" y="254"/>
                  <a:pt x="1437" y="254"/>
                  <a:pt x="1438" y="255"/>
                </a:cubicBezTo>
                <a:close/>
                <a:moveTo>
                  <a:pt x="1436" y="255"/>
                </a:moveTo>
                <a:cubicBezTo>
                  <a:pt x="1436" y="255"/>
                  <a:pt x="1436" y="255"/>
                  <a:pt x="1435" y="255"/>
                </a:cubicBezTo>
                <a:cubicBezTo>
                  <a:pt x="1435" y="255"/>
                  <a:pt x="1435" y="255"/>
                  <a:pt x="1433" y="256"/>
                </a:cubicBezTo>
                <a:cubicBezTo>
                  <a:pt x="1433" y="256"/>
                  <a:pt x="1433" y="256"/>
                  <a:pt x="1434" y="258"/>
                </a:cubicBezTo>
                <a:cubicBezTo>
                  <a:pt x="1434" y="258"/>
                  <a:pt x="1434" y="258"/>
                  <a:pt x="1435" y="258"/>
                </a:cubicBezTo>
                <a:cubicBezTo>
                  <a:pt x="1435" y="258"/>
                  <a:pt x="1435" y="258"/>
                  <a:pt x="1436" y="257"/>
                </a:cubicBezTo>
                <a:cubicBezTo>
                  <a:pt x="1436" y="257"/>
                  <a:pt x="1436" y="257"/>
                  <a:pt x="1436" y="256"/>
                </a:cubicBezTo>
                <a:cubicBezTo>
                  <a:pt x="1436" y="256"/>
                  <a:pt x="1436" y="256"/>
                  <a:pt x="1437" y="255"/>
                </a:cubicBezTo>
                <a:cubicBezTo>
                  <a:pt x="1437" y="255"/>
                  <a:pt x="1437" y="255"/>
                  <a:pt x="1436" y="255"/>
                </a:cubicBezTo>
                <a:close/>
                <a:moveTo>
                  <a:pt x="1461" y="241"/>
                </a:moveTo>
                <a:cubicBezTo>
                  <a:pt x="1461" y="241"/>
                  <a:pt x="1461" y="241"/>
                  <a:pt x="1461" y="240"/>
                </a:cubicBezTo>
                <a:cubicBezTo>
                  <a:pt x="1461" y="240"/>
                  <a:pt x="1461" y="240"/>
                  <a:pt x="1460" y="240"/>
                </a:cubicBezTo>
                <a:cubicBezTo>
                  <a:pt x="1460" y="240"/>
                  <a:pt x="1460" y="240"/>
                  <a:pt x="1461" y="241"/>
                </a:cubicBezTo>
                <a:close/>
                <a:moveTo>
                  <a:pt x="1463" y="241"/>
                </a:moveTo>
                <a:cubicBezTo>
                  <a:pt x="1464" y="241"/>
                  <a:pt x="1464" y="241"/>
                  <a:pt x="1464" y="241"/>
                </a:cubicBezTo>
                <a:cubicBezTo>
                  <a:pt x="1464" y="241"/>
                  <a:pt x="1464" y="241"/>
                  <a:pt x="1465" y="242"/>
                </a:cubicBezTo>
                <a:cubicBezTo>
                  <a:pt x="1465" y="242"/>
                  <a:pt x="1465" y="242"/>
                  <a:pt x="1466" y="242"/>
                </a:cubicBezTo>
                <a:cubicBezTo>
                  <a:pt x="1466" y="242"/>
                  <a:pt x="1466" y="242"/>
                  <a:pt x="1467" y="241"/>
                </a:cubicBezTo>
                <a:cubicBezTo>
                  <a:pt x="1467" y="241"/>
                  <a:pt x="1467" y="241"/>
                  <a:pt x="1466" y="241"/>
                </a:cubicBezTo>
                <a:cubicBezTo>
                  <a:pt x="1466" y="241"/>
                  <a:pt x="1466" y="241"/>
                  <a:pt x="1466" y="240"/>
                </a:cubicBezTo>
                <a:cubicBezTo>
                  <a:pt x="1466" y="240"/>
                  <a:pt x="1466" y="240"/>
                  <a:pt x="1465" y="239"/>
                </a:cubicBezTo>
                <a:cubicBezTo>
                  <a:pt x="1465" y="239"/>
                  <a:pt x="1465" y="239"/>
                  <a:pt x="1464" y="240"/>
                </a:cubicBezTo>
                <a:cubicBezTo>
                  <a:pt x="1464" y="240"/>
                  <a:pt x="1464" y="240"/>
                  <a:pt x="1463" y="240"/>
                </a:cubicBezTo>
                <a:cubicBezTo>
                  <a:pt x="1463" y="240"/>
                  <a:pt x="1463" y="240"/>
                  <a:pt x="1463" y="241"/>
                </a:cubicBezTo>
                <a:close/>
                <a:moveTo>
                  <a:pt x="1372" y="342"/>
                </a:moveTo>
                <a:cubicBezTo>
                  <a:pt x="1372" y="342"/>
                  <a:pt x="1372" y="342"/>
                  <a:pt x="1372" y="343"/>
                </a:cubicBezTo>
                <a:cubicBezTo>
                  <a:pt x="1372" y="343"/>
                  <a:pt x="1372" y="343"/>
                  <a:pt x="1374" y="343"/>
                </a:cubicBezTo>
                <a:cubicBezTo>
                  <a:pt x="1374" y="343"/>
                  <a:pt x="1374" y="343"/>
                  <a:pt x="1373" y="342"/>
                </a:cubicBezTo>
                <a:cubicBezTo>
                  <a:pt x="1373" y="342"/>
                  <a:pt x="1373" y="342"/>
                  <a:pt x="1372" y="342"/>
                </a:cubicBezTo>
                <a:close/>
                <a:moveTo>
                  <a:pt x="1370" y="343"/>
                </a:moveTo>
                <a:cubicBezTo>
                  <a:pt x="1370" y="343"/>
                  <a:pt x="1370" y="343"/>
                  <a:pt x="1372" y="343"/>
                </a:cubicBezTo>
                <a:cubicBezTo>
                  <a:pt x="1372" y="343"/>
                  <a:pt x="1372" y="343"/>
                  <a:pt x="1371" y="342"/>
                </a:cubicBezTo>
                <a:cubicBezTo>
                  <a:pt x="1371" y="342"/>
                  <a:pt x="1371" y="342"/>
                  <a:pt x="1370" y="343"/>
                </a:cubicBezTo>
                <a:close/>
                <a:moveTo>
                  <a:pt x="1384" y="336"/>
                </a:moveTo>
                <a:cubicBezTo>
                  <a:pt x="1384" y="335"/>
                  <a:pt x="1384" y="335"/>
                  <a:pt x="1384" y="335"/>
                </a:cubicBezTo>
                <a:cubicBezTo>
                  <a:pt x="1383" y="336"/>
                  <a:pt x="1383" y="336"/>
                  <a:pt x="1383" y="336"/>
                </a:cubicBezTo>
                <a:cubicBezTo>
                  <a:pt x="1385" y="337"/>
                  <a:pt x="1385" y="337"/>
                  <a:pt x="1385" y="337"/>
                </a:cubicBezTo>
                <a:cubicBezTo>
                  <a:pt x="1384" y="336"/>
                  <a:pt x="1384" y="336"/>
                  <a:pt x="1384" y="336"/>
                </a:cubicBezTo>
                <a:close/>
                <a:moveTo>
                  <a:pt x="1429" y="264"/>
                </a:moveTo>
                <a:cubicBezTo>
                  <a:pt x="1429" y="264"/>
                  <a:pt x="1429" y="264"/>
                  <a:pt x="1429" y="262"/>
                </a:cubicBezTo>
                <a:cubicBezTo>
                  <a:pt x="1429" y="262"/>
                  <a:pt x="1429" y="262"/>
                  <a:pt x="1428" y="262"/>
                </a:cubicBezTo>
                <a:cubicBezTo>
                  <a:pt x="1428" y="262"/>
                  <a:pt x="1428" y="262"/>
                  <a:pt x="1428" y="261"/>
                </a:cubicBezTo>
                <a:cubicBezTo>
                  <a:pt x="1428" y="261"/>
                  <a:pt x="1428" y="261"/>
                  <a:pt x="1426" y="261"/>
                </a:cubicBezTo>
                <a:cubicBezTo>
                  <a:pt x="1426" y="261"/>
                  <a:pt x="1426" y="261"/>
                  <a:pt x="1426" y="262"/>
                </a:cubicBezTo>
                <a:cubicBezTo>
                  <a:pt x="1426" y="262"/>
                  <a:pt x="1426" y="262"/>
                  <a:pt x="1425" y="261"/>
                </a:cubicBezTo>
                <a:cubicBezTo>
                  <a:pt x="1425" y="261"/>
                  <a:pt x="1425" y="261"/>
                  <a:pt x="1425" y="263"/>
                </a:cubicBezTo>
                <a:cubicBezTo>
                  <a:pt x="1425" y="263"/>
                  <a:pt x="1425" y="263"/>
                  <a:pt x="1426" y="263"/>
                </a:cubicBezTo>
                <a:cubicBezTo>
                  <a:pt x="1426" y="263"/>
                  <a:pt x="1426" y="263"/>
                  <a:pt x="1424" y="264"/>
                </a:cubicBezTo>
                <a:cubicBezTo>
                  <a:pt x="1424" y="264"/>
                  <a:pt x="1424" y="264"/>
                  <a:pt x="1424" y="265"/>
                </a:cubicBezTo>
                <a:cubicBezTo>
                  <a:pt x="1424" y="265"/>
                  <a:pt x="1424" y="265"/>
                  <a:pt x="1425" y="265"/>
                </a:cubicBezTo>
                <a:cubicBezTo>
                  <a:pt x="1425" y="265"/>
                  <a:pt x="1425" y="265"/>
                  <a:pt x="1424" y="266"/>
                </a:cubicBezTo>
                <a:cubicBezTo>
                  <a:pt x="1424" y="266"/>
                  <a:pt x="1424" y="266"/>
                  <a:pt x="1425" y="267"/>
                </a:cubicBezTo>
                <a:cubicBezTo>
                  <a:pt x="1425" y="267"/>
                  <a:pt x="1425" y="267"/>
                  <a:pt x="1425" y="268"/>
                </a:cubicBezTo>
                <a:cubicBezTo>
                  <a:pt x="1425" y="268"/>
                  <a:pt x="1425" y="268"/>
                  <a:pt x="1426" y="268"/>
                </a:cubicBezTo>
                <a:cubicBezTo>
                  <a:pt x="1426" y="268"/>
                  <a:pt x="1426" y="268"/>
                  <a:pt x="1426" y="266"/>
                </a:cubicBezTo>
                <a:cubicBezTo>
                  <a:pt x="1426" y="266"/>
                  <a:pt x="1426" y="266"/>
                  <a:pt x="1428" y="266"/>
                </a:cubicBezTo>
                <a:cubicBezTo>
                  <a:pt x="1428" y="266"/>
                  <a:pt x="1428" y="266"/>
                  <a:pt x="1429" y="265"/>
                </a:cubicBezTo>
                <a:cubicBezTo>
                  <a:pt x="1429" y="265"/>
                  <a:pt x="1429" y="265"/>
                  <a:pt x="1429" y="264"/>
                </a:cubicBezTo>
                <a:close/>
                <a:moveTo>
                  <a:pt x="1368" y="346"/>
                </a:moveTo>
                <a:cubicBezTo>
                  <a:pt x="1368" y="346"/>
                  <a:pt x="1368" y="346"/>
                  <a:pt x="1369" y="346"/>
                </a:cubicBezTo>
                <a:cubicBezTo>
                  <a:pt x="1369" y="346"/>
                  <a:pt x="1369" y="346"/>
                  <a:pt x="1368" y="345"/>
                </a:cubicBezTo>
                <a:cubicBezTo>
                  <a:pt x="1368" y="345"/>
                  <a:pt x="1368" y="345"/>
                  <a:pt x="1368" y="346"/>
                </a:cubicBezTo>
                <a:close/>
                <a:moveTo>
                  <a:pt x="1370" y="345"/>
                </a:moveTo>
                <a:cubicBezTo>
                  <a:pt x="1369" y="344"/>
                  <a:pt x="1369" y="344"/>
                  <a:pt x="1369" y="344"/>
                </a:cubicBezTo>
                <a:cubicBezTo>
                  <a:pt x="1369" y="345"/>
                  <a:pt x="1369" y="345"/>
                  <a:pt x="1369" y="345"/>
                </a:cubicBezTo>
                <a:cubicBezTo>
                  <a:pt x="1370" y="346"/>
                  <a:pt x="1370" y="346"/>
                  <a:pt x="1370" y="346"/>
                </a:cubicBezTo>
                <a:cubicBezTo>
                  <a:pt x="1369" y="346"/>
                  <a:pt x="1369" y="346"/>
                  <a:pt x="1369" y="346"/>
                </a:cubicBezTo>
                <a:cubicBezTo>
                  <a:pt x="1370" y="347"/>
                  <a:pt x="1370" y="347"/>
                  <a:pt x="1370" y="347"/>
                </a:cubicBezTo>
                <a:cubicBezTo>
                  <a:pt x="1371" y="346"/>
                  <a:pt x="1371" y="346"/>
                  <a:pt x="1371" y="346"/>
                </a:cubicBezTo>
                <a:cubicBezTo>
                  <a:pt x="1370" y="345"/>
                  <a:pt x="1370" y="345"/>
                  <a:pt x="1370" y="345"/>
                </a:cubicBezTo>
                <a:close/>
                <a:moveTo>
                  <a:pt x="1372" y="366"/>
                </a:moveTo>
                <a:cubicBezTo>
                  <a:pt x="1372" y="366"/>
                  <a:pt x="1372" y="366"/>
                  <a:pt x="1372" y="365"/>
                </a:cubicBezTo>
                <a:cubicBezTo>
                  <a:pt x="1372" y="365"/>
                  <a:pt x="1372" y="365"/>
                  <a:pt x="1371" y="366"/>
                </a:cubicBezTo>
                <a:cubicBezTo>
                  <a:pt x="1371" y="366"/>
                  <a:pt x="1371" y="366"/>
                  <a:pt x="1372" y="366"/>
                </a:cubicBezTo>
                <a:close/>
                <a:moveTo>
                  <a:pt x="1452" y="249"/>
                </a:moveTo>
                <a:cubicBezTo>
                  <a:pt x="1452" y="249"/>
                  <a:pt x="1452" y="249"/>
                  <a:pt x="1453" y="250"/>
                </a:cubicBezTo>
                <a:cubicBezTo>
                  <a:pt x="1453" y="250"/>
                  <a:pt x="1453" y="250"/>
                  <a:pt x="1454" y="249"/>
                </a:cubicBezTo>
                <a:cubicBezTo>
                  <a:pt x="1454" y="249"/>
                  <a:pt x="1454" y="249"/>
                  <a:pt x="1455" y="248"/>
                </a:cubicBezTo>
                <a:cubicBezTo>
                  <a:pt x="1455" y="248"/>
                  <a:pt x="1455" y="248"/>
                  <a:pt x="1454" y="247"/>
                </a:cubicBezTo>
                <a:cubicBezTo>
                  <a:pt x="1454" y="247"/>
                  <a:pt x="1454" y="247"/>
                  <a:pt x="1452" y="249"/>
                </a:cubicBezTo>
                <a:close/>
                <a:moveTo>
                  <a:pt x="1419" y="277"/>
                </a:moveTo>
                <a:cubicBezTo>
                  <a:pt x="1418" y="277"/>
                  <a:pt x="1418" y="277"/>
                  <a:pt x="1418" y="277"/>
                </a:cubicBezTo>
                <a:cubicBezTo>
                  <a:pt x="1417" y="278"/>
                  <a:pt x="1417" y="278"/>
                  <a:pt x="1417" y="278"/>
                </a:cubicBezTo>
                <a:cubicBezTo>
                  <a:pt x="1418" y="279"/>
                  <a:pt x="1418" y="279"/>
                  <a:pt x="1418" y="279"/>
                </a:cubicBezTo>
                <a:cubicBezTo>
                  <a:pt x="1419" y="279"/>
                  <a:pt x="1419" y="279"/>
                  <a:pt x="1419" y="279"/>
                </a:cubicBezTo>
                <a:cubicBezTo>
                  <a:pt x="1419" y="278"/>
                  <a:pt x="1419" y="278"/>
                  <a:pt x="1419" y="278"/>
                </a:cubicBezTo>
                <a:cubicBezTo>
                  <a:pt x="1419" y="277"/>
                  <a:pt x="1419" y="277"/>
                  <a:pt x="1419" y="277"/>
                </a:cubicBezTo>
                <a:close/>
                <a:moveTo>
                  <a:pt x="1458" y="243"/>
                </a:moveTo>
                <a:cubicBezTo>
                  <a:pt x="1458" y="243"/>
                  <a:pt x="1458" y="243"/>
                  <a:pt x="1458" y="242"/>
                </a:cubicBezTo>
                <a:cubicBezTo>
                  <a:pt x="1458" y="242"/>
                  <a:pt x="1458" y="242"/>
                  <a:pt x="1457" y="242"/>
                </a:cubicBezTo>
                <a:cubicBezTo>
                  <a:pt x="1457" y="242"/>
                  <a:pt x="1457" y="242"/>
                  <a:pt x="1456" y="242"/>
                </a:cubicBezTo>
                <a:cubicBezTo>
                  <a:pt x="1456" y="242"/>
                  <a:pt x="1456" y="242"/>
                  <a:pt x="1457" y="243"/>
                </a:cubicBezTo>
                <a:cubicBezTo>
                  <a:pt x="1457" y="243"/>
                  <a:pt x="1457" y="243"/>
                  <a:pt x="1458" y="243"/>
                </a:cubicBezTo>
                <a:close/>
                <a:moveTo>
                  <a:pt x="1419" y="276"/>
                </a:moveTo>
                <a:cubicBezTo>
                  <a:pt x="1419" y="276"/>
                  <a:pt x="1419" y="276"/>
                  <a:pt x="1420" y="275"/>
                </a:cubicBezTo>
                <a:cubicBezTo>
                  <a:pt x="1420" y="275"/>
                  <a:pt x="1420" y="275"/>
                  <a:pt x="1421" y="274"/>
                </a:cubicBezTo>
                <a:cubicBezTo>
                  <a:pt x="1421" y="274"/>
                  <a:pt x="1421" y="274"/>
                  <a:pt x="1423" y="271"/>
                </a:cubicBezTo>
                <a:cubicBezTo>
                  <a:pt x="1423" y="271"/>
                  <a:pt x="1423" y="271"/>
                  <a:pt x="1422" y="270"/>
                </a:cubicBezTo>
                <a:cubicBezTo>
                  <a:pt x="1422" y="270"/>
                  <a:pt x="1422" y="270"/>
                  <a:pt x="1421" y="269"/>
                </a:cubicBezTo>
                <a:cubicBezTo>
                  <a:pt x="1421" y="269"/>
                  <a:pt x="1421" y="269"/>
                  <a:pt x="1421" y="270"/>
                </a:cubicBezTo>
                <a:cubicBezTo>
                  <a:pt x="1421" y="270"/>
                  <a:pt x="1421" y="270"/>
                  <a:pt x="1422" y="271"/>
                </a:cubicBezTo>
                <a:cubicBezTo>
                  <a:pt x="1422" y="271"/>
                  <a:pt x="1422" y="271"/>
                  <a:pt x="1420" y="271"/>
                </a:cubicBezTo>
                <a:cubicBezTo>
                  <a:pt x="1420" y="271"/>
                  <a:pt x="1420" y="271"/>
                  <a:pt x="1419" y="273"/>
                </a:cubicBezTo>
                <a:cubicBezTo>
                  <a:pt x="1419" y="273"/>
                  <a:pt x="1419" y="273"/>
                  <a:pt x="1419" y="272"/>
                </a:cubicBezTo>
                <a:cubicBezTo>
                  <a:pt x="1419" y="272"/>
                  <a:pt x="1419" y="272"/>
                  <a:pt x="1419" y="268"/>
                </a:cubicBezTo>
                <a:cubicBezTo>
                  <a:pt x="1419" y="268"/>
                  <a:pt x="1419" y="268"/>
                  <a:pt x="1418" y="271"/>
                </a:cubicBezTo>
                <a:cubicBezTo>
                  <a:pt x="1418" y="271"/>
                  <a:pt x="1418" y="271"/>
                  <a:pt x="1418" y="272"/>
                </a:cubicBezTo>
                <a:cubicBezTo>
                  <a:pt x="1418" y="272"/>
                  <a:pt x="1418" y="272"/>
                  <a:pt x="1417" y="273"/>
                </a:cubicBezTo>
                <a:cubicBezTo>
                  <a:pt x="1417" y="273"/>
                  <a:pt x="1417" y="273"/>
                  <a:pt x="1417" y="274"/>
                </a:cubicBezTo>
                <a:cubicBezTo>
                  <a:pt x="1417" y="274"/>
                  <a:pt x="1417" y="274"/>
                  <a:pt x="1416" y="276"/>
                </a:cubicBezTo>
                <a:cubicBezTo>
                  <a:pt x="1416" y="276"/>
                  <a:pt x="1416" y="276"/>
                  <a:pt x="1417" y="276"/>
                </a:cubicBezTo>
                <a:cubicBezTo>
                  <a:pt x="1417" y="276"/>
                  <a:pt x="1417" y="276"/>
                  <a:pt x="1418" y="274"/>
                </a:cubicBezTo>
                <a:cubicBezTo>
                  <a:pt x="1418" y="274"/>
                  <a:pt x="1418" y="274"/>
                  <a:pt x="1418" y="275"/>
                </a:cubicBezTo>
                <a:cubicBezTo>
                  <a:pt x="1418" y="275"/>
                  <a:pt x="1418" y="275"/>
                  <a:pt x="1419" y="276"/>
                </a:cubicBezTo>
                <a:close/>
                <a:moveTo>
                  <a:pt x="1413" y="290"/>
                </a:moveTo>
                <a:cubicBezTo>
                  <a:pt x="1413" y="290"/>
                  <a:pt x="1413" y="290"/>
                  <a:pt x="1413" y="291"/>
                </a:cubicBezTo>
                <a:cubicBezTo>
                  <a:pt x="1413" y="291"/>
                  <a:pt x="1413" y="291"/>
                  <a:pt x="1414" y="290"/>
                </a:cubicBezTo>
                <a:cubicBezTo>
                  <a:pt x="1414" y="290"/>
                  <a:pt x="1414" y="290"/>
                  <a:pt x="1413" y="290"/>
                </a:cubicBezTo>
                <a:close/>
                <a:moveTo>
                  <a:pt x="1406" y="304"/>
                </a:moveTo>
                <a:cubicBezTo>
                  <a:pt x="1406" y="304"/>
                  <a:pt x="1406" y="304"/>
                  <a:pt x="1407" y="303"/>
                </a:cubicBezTo>
                <a:cubicBezTo>
                  <a:pt x="1407" y="303"/>
                  <a:pt x="1407" y="303"/>
                  <a:pt x="1406" y="303"/>
                </a:cubicBezTo>
                <a:cubicBezTo>
                  <a:pt x="1406" y="303"/>
                  <a:pt x="1406" y="303"/>
                  <a:pt x="1406" y="304"/>
                </a:cubicBezTo>
                <a:close/>
                <a:moveTo>
                  <a:pt x="1404" y="306"/>
                </a:moveTo>
                <a:cubicBezTo>
                  <a:pt x="1404" y="306"/>
                  <a:pt x="1404" y="306"/>
                  <a:pt x="1403" y="306"/>
                </a:cubicBezTo>
                <a:cubicBezTo>
                  <a:pt x="1403" y="306"/>
                  <a:pt x="1403" y="306"/>
                  <a:pt x="1403" y="307"/>
                </a:cubicBezTo>
                <a:cubicBezTo>
                  <a:pt x="1403" y="307"/>
                  <a:pt x="1403" y="307"/>
                  <a:pt x="1403" y="308"/>
                </a:cubicBezTo>
                <a:cubicBezTo>
                  <a:pt x="1403" y="308"/>
                  <a:pt x="1403" y="308"/>
                  <a:pt x="1404" y="307"/>
                </a:cubicBezTo>
                <a:cubicBezTo>
                  <a:pt x="1404" y="307"/>
                  <a:pt x="1404" y="307"/>
                  <a:pt x="1404" y="306"/>
                </a:cubicBezTo>
                <a:close/>
                <a:moveTo>
                  <a:pt x="1402" y="313"/>
                </a:moveTo>
                <a:cubicBezTo>
                  <a:pt x="1402" y="313"/>
                  <a:pt x="1402" y="313"/>
                  <a:pt x="1402" y="314"/>
                </a:cubicBezTo>
                <a:cubicBezTo>
                  <a:pt x="1402" y="314"/>
                  <a:pt x="1402" y="314"/>
                  <a:pt x="1404" y="312"/>
                </a:cubicBezTo>
                <a:cubicBezTo>
                  <a:pt x="1404" y="312"/>
                  <a:pt x="1404" y="312"/>
                  <a:pt x="1402" y="313"/>
                </a:cubicBezTo>
                <a:close/>
                <a:moveTo>
                  <a:pt x="1405" y="303"/>
                </a:moveTo>
                <a:cubicBezTo>
                  <a:pt x="1405" y="303"/>
                  <a:pt x="1405" y="303"/>
                  <a:pt x="1406" y="301"/>
                </a:cubicBezTo>
                <a:cubicBezTo>
                  <a:pt x="1406" y="301"/>
                  <a:pt x="1406" y="301"/>
                  <a:pt x="1406" y="300"/>
                </a:cubicBezTo>
                <a:cubicBezTo>
                  <a:pt x="1406" y="300"/>
                  <a:pt x="1406" y="300"/>
                  <a:pt x="1405" y="301"/>
                </a:cubicBezTo>
                <a:cubicBezTo>
                  <a:pt x="1405" y="301"/>
                  <a:pt x="1405" y="301"/>
                  <a:pt x="1405" y="303"/>
                </a:cubicBezTo>
                <a:close/>
                <a:moveTo>
                  <a:pt x="1401" y="316"/>
                </a:moveTo>
                <a:cubicBezTo>
                  <a:pt x="1401" y="316"/>
                  <a:pt x="1401" y="316"/>
                  <a:pt x="1402" y="314"/>
                </a:cubicBezTo>
                <a:cubicBezTo>
                  <a:pt x="1402" y="314"/>
                  <a:pt x="1402" y="314"/>
                  <a:pt x="1401" y="315"/>
                </a:cubicBezTo>
                <a:cubicBezTo>
                  <a:pt x="1401" y="315"/>
                  <a:pt x="1401" y="315"/>
                  <a:pt x="1400" y="315"/>
                </a:cubicBezTo>
                <a:cubicBezTo>
                  <a:pt x="1400" y="315"/>
                  <a:pt x="1400" y="315"/>
                  <a:pt x="1399" y="316"/>
                </a:cubicBezTo>
                <a:cubicBezTo>
                  <a:pt x="1399" y="316"/>
                  <a:pt x="1399" y="316"/>
                  <a:pt x="1400" y="316"/>
                </a:cubicBezTo>
                <a:cubicBezTo>
                  <a:pt x="1400" y="316"/>
                  <a:pt x="1400" y="316"/>
                  <a:pt x="1400" y="317"/>
                </a:cubicBezTo>
                <a:cubicBezTo>
                  <a:pt x="1400" y="317"/>
                  <a:pt x="1400" y="317"/>
                  <a:pt x="1401" y="316"/>
                </a:cubicBezTo>
                <a:close/>
                <a:moveTo>
                  <a:pt x="1388" y="328"/>
                </a:moveTo>
                <a:cubicBezTo>
                  <a:pt x="1388" y="328"/>
                  <a:pt x="1388" y="328"/>
                  <a:pt x="1387" y="327"/>
                </a:cubicBezTo>
                <a:cubicBezTo>
                  <a:pt x="1387" y="327"/>
                  <a:pt x="1387" y="327"/>
                  <a:pt x="1385" y="329"/>
                </a:cubicBezTo>
                <a:cubicBezTo>
                  <a:pt x="1385" y="329"/>
                  <a:pt x="1385" y="329"/>
                  <a:pt x="1387" y="329"/>
                </a:cubicBezTo>
                <a:cubicBezTo>
                  <a:pt x="1387" y="329"/>
                  <a:pt x="1387" y="329"/>
                  <a:pt x="1388" y="328"/>
                </a:cubicBezTo>
                <a:close/>
                <a:moveTo>
                  <a:pt x="1423" y="268"/>
                </a:moveTo>
                <a:cubicBezTo>
                  <a:pt x="1423" y="268"/>
                  <a:pt x="1423" y="268"/>
                  <a:pt x="1422" y="268"/>
                </a:cubicBezTo>
                <a:cubicBezTo>
                  <a:pt x="1422" y="268"/>
                  <a:pt x="1422" y="268"/>
                  <a:pt x="1423" y="269"/>
                </a:cubicBezTo>
                <a:cubicBezTo>
                  <a:pt x="1423" y="269"/>
                  <a:pt x="1423" y="269"/>
                  <a:pt x="1423" y="268"/>
                </a:cubicBezTo>
                <a:close/>
                <a:moveTo>
                  <a:pt x="1405" y="284"/>
                </a:moveTo>
                <a:cubicBezTo>
                  <a:pt x="1405" y="284"/>
                  <a:pt x="1405" y="284"/>
                  <a:pt x="1405" y="285"/>
                </a:cubicBezTo>
                <a:cubicBezTo>
                  <a:pt x="1405" y="285"/>
                  <a:pt x="1405" y="285"/>
                  <a:pt x="1406" y="284"/>
                </a:cubicBezTo>
                <a:cubicBezTo>
                  <a:pt x="1406" y="284"/>
                  <a:pt x="1406" y="284"/>
                  <a:pt x="1405" y="284"/>
                </a:cubicBezTo>
                <a:close/>
                <a:moveTo>
                  <a:pt x="1387" y="331"/>
                </a:moveTo>
                <a:cubicBezTo>
                  <a:pt x="1387" y="331"/>
                  <a:pt x="1387" y="331"/>
                  <a:pt x="1388" y="331"/>
                </a:cubicBezTo>
                <a:cubicBezTo>
                  <a:pt x="1388" y="331"/>
                  <a:pt x="1388" y="331"/>
                  <a:pt x="1389" y="330"/>
                </a:cubicBezTo>
                <a:cubicBezTo>
                  <a:pt x="1389" y="330"/>
                  <a:pt x="1389" y="330"/>
                  <a:pt x="1389" y="329"/>
                </a:cubicBezTo>
                <a:cubicBezTo>
                  <a:pt x="1389" y="329"/>
                  <a:pt x="1389" y="329"/>
                  <a:pt x="1388" y="329"/>
                </a:cubicBezTo>
                <a:cubicBezTo>
                  <a:pt x="1388" y="329"/>
                  <a:pt x="1388" y="329"/>
                  <a:pt x="1387" y="330"/>
                </a:cubicBezTo>
                <a:cubicBezTo>
                  <a:pt x="1387" y="330"/>
                  <a:pt x="1387" y="330"/>
                  <a:pt x="1386" y="330"/>
                </a:cubicBezTo>
                <a:cubicBezTo>
                  <a:pt x="1386" y="330"/>
                  <a:pt x="1386" y="330"/>
                  <a:pt x="1385" y="331"/>
                </a:cubicBezTo>
                <a:cubicBezTo>
                  <a:pt x="1385" y="331"/>
                  <a:pt x="1385" y="331"/>
                  <a:pt x="1386" y="331"/>
                </a:cubicBezTo>
                <a:cubicBezTo>
                  <a:pt x="1386" y="331"/>
                  <a:pt x="1386" y="331"/>
                  <a:pt x="1387" y="331"/>
                </a:cubicBezTo>
                <a:close/>
                <a:moveTo>
                  <a:pt x="1419" y="267"/>
                </a:moveTo>
                <a:cubicBezTo>
                  <a:pt x="1419" y="267"/>
                  <a:pt x="1419" y="267"/>
                  <a:pt x="1419" y="266"/>
                </a:cubicBezTo>
                <a:cubicBezTo>
                  <a:pt x="1419" y="266"/>
                  <a:pt x="1419" y="266"/>
                  <a:pt x="1417" y="267"/>
                </a:cubicBezTo>
                <a:cubicBezTo>
                  <a:pt x="1417" y="267"/>
                  <a:pt x="1417" y="267"/>
                  <a:pt x="1417" y="269"/>
                </a:cubicBezTo>
                <a:cubicBezTo>
                  <a:pt x="1417" y="269"/>
                  <a:pt x="1417" y="269"/>
                  <a:pt x="1418" y="269"/>
                </a:cubicBezTo>
                <a:cubicBezTo>
                  <a:pt x="1418" y="269"/>
                  <a:pt x="1418" y="269"/>
                  <a:pt x="1419" y="267"/>
                </a:cubicBezTo>
                <a:close/>
                <a:moveTo>
                  <a:pt x="1406" y="282"/>
                </a:moveTo>
                <a:cubicBezTo>
                  <a:pt x="1406" y="282"/>
                  <a:pt x="1406" y="282"/>
                  <a:pt x="1407" y="281"/>
                </a:cubicBezTo>
                <a:cubicBezTo>
                  <a:pt x="1407" y="281"/>
                  <a:pt x="1407" y="281"/>
                  <a:pt x="1407" y="279"/>
                </a:cubicBezTo>
                <a:cubicBezTo>
                  <a:pt x="1407" y="279"/>
                  <a:pt x="1407" y="279"/>
                  <a:pt x="1406" y="281"/>
                </a:cubicBezTo>
                <a:cubicBezTo>
                  <a:pt x="1406" y="281"/>
                  <a:pt x="1406" y="281"/>
                  <a:pt x="1406" y="282"/>
                </a:cubicBezTo>
                <a:close/>
                <a:moveTo>
                  <a:pt x="1369" y="363"/>
                </a:moveTo>
                <a:cubicBezTo>
                  <a:pt x="1369" y="363"/>
                  <a:pt x="1369" y="363"/>
                  <a:pt x="1369" y="362"/>
                </a:cubicBezTo>
                <a:cubicBezTo>
                  <a:pt x="1369" y="362"/>
                  <a:pt x="1369" y="362"/>
                  <a:pt x="1368" y="362"/>
                </a:cubicBezTo>
                <a:cubicBezTo>
                  <a:pt x="1368" y="362"/>
                  <a:pt x="1368" y="362"/>
                  <a:pt x="1369" y="363"/>
                </a:cubicBezTo>
                <a:close/>
                <a:moveTo>
                  <a:pt x="1370" y="365"/>
                </a:moveTo>
                <a:cubicBezTo>
                  <a:pt x="1370" y="365"/>
                  <a:pt x="1370" y="365"/>
                  <a:pt x="1371" y="364"/>
                </a:cubicBezTo>
                <a:cubicBezTo>
                  <a:pt x="1371" y="364"/>
                  <a:pt x="1371" y="364"/>
                  <a:pt x="1369" y="365"/>
                </a:cubicBezTo>
                <a:cubicBezTo>
                  <a:pt x="1369" y="365"/>
                  <a:pt x="1369" y="365"/>
                  <a:pt x="1370" y="365"/>
                </a:cubicBezTo>
                <a:close/>
                <a:moveTo>
                  <a:pt x="1369" y="367"/>
                </a:moveTo>
                <a:cubicBezTo>
                  <a:pt x="1369" y="367"/>
                  <a:pt x="1369" y="367"/>
                  <a:pt x="1370" y="369"/>
                </a:cubicBezTo>
                <a:cubicBezTo>
                  <a:pt x="1370" y="369"/>
                  <a:pt x="1370" y="369"/>
                  <a:pt x="1371" y="368"/>
                </a:cubicBezTo>
                <a:cubicBezTo>
                  <a:pt x="1371" y="368"/>
                  <a:pt x="1371" y="368"/>
                  <a:pt x="1370" y="367"/>
                </a:cubicBezTo>
                <a:lnTo>
                  <a:pt x="1369" y="367"/>
                </a:lnTo>
                <a:close/>
                <a:moveTo>
                  <a:pt x="1368" y="361"/>
                </a:moveTo>
                <a:cubicBezTo>
                  <a:pt x="1368" y="361"/>
                  <a:pt x="1368" y="361"/>
                  <a:pt x="1369" y="360"/>
                </a:cubicBezTo>
                <a:cubicBezTo>
                  <a:pt x="1369" y="360"/>
                  <a:pt x="1369" y="360"/>
                  <a:pt x="1368" y="360"/>
                </a:cubicBezTo>
                <a:cubicBezTo>
                  <a:pt x="1368" y="360"/>
                  <a:pt x="1368" y="360"/>
                  <a:pt x="1368" y="361"/>
                </a:cubicBezTo>
                <a:close/>
                <a:moveTo>
                  <a:pt x="1384" y="332"/>
                </a:moveTo>
                <a:cubicBezTo>
                  <a:pt x="1384" y="332"/>
                  <a:pt x="1384" y="332"/>
                  <a:pt x="1383" y="331"/>
                </a:cubicBezTo>
                <a:cubicBezTo>
                  <a:pt x="1383" y="331"/>
                  <a:pt x="1383" y="331"/>
                  <a:pt x="1382" y="331"/>
                </a:cubicBezTo>
                <a:cubicBezTo>
                  <a:pt x="1382" y="331"/>
                  <a:pt x="1382" y="331"/>
                  <a:pt x="1383" y="332"/>
                </a:cubicBezTo>
                <a:lnTo>
                  <a:pt x="1384" y="332"/>
                </a:lnTo>
                <a:close/>
                <a:moveTo>
                  <a:pt x="1384" y="334"/>
                </a:moveTo>
                <a:cubicBezTo>
                  <a:pt x="1384" y="334"/>
                  <a:pt x="1384" y="334"/>
                  <a:pt x="1385" y="334"/>
                </a:cubicBezTo>
                <a:cubicBezTo>
                  <a:pt x="1385" y="334"/>
                  <a:pt x="1385" y="334"/>
                  <a:pt x="1385" y="333"/>
                </a:cubicBezTo>
                <a:cubicBezTo>
                  <a:pt x="1383" y="334"/>
                  <a:pt x="1383" y="334"/>
                  <a:pt x="1383" y="334"/>
                </a:cubicBezTo>
                <a:cubicBezTo>
                  <a:pt x="1383" y="334"/>
                  <a:pt x="1383" y="334"/>
                  <a:pt x="1384" y="334"/>
                </a:cubicBezTo>
                <a:close/>
                <a:moveTo>
                  <a:pt x="1370" y="362"/>
                </a:moveTo>
                <a:cubicBezTo>
                  <a:pt x="1370" y="362"/>
                  <a:pt x="1370" y="362"/>
                  <a:pt x="1371" y="364"/>
                </a:cubicBezTo>
                <a:cubicBezTo>
                  <a:pt x="1371" y="364"/>
                  <a:pt x="1371" y="364"/>
                  <a:pt x="1371" y="363"/>
                </a:cubicBezTo>
                <a:lnTo>
                  <a:pt x="1370" y="362"/>
                </a:lnTo>
                <a:close/>
                <a:moveTo>
                  <a:pt x="1368" y="358"/>
                </a:moveTo>
                <a:cubicBezTo>
                  <a:pt x="1368" y="358"/>
                  <a:pt x="1368" y="358"/>
                  <a:pt x="1367" y="359"/>
                </a:cubicBezTo>
                <a:cubicBezTo>
                  <a:pt x="1367" y="359"/>
                  <a:pt x="1367" y="359"/>
                  <a:pt x="1368" y="359"/>
                </a:cubicBezTo>
                <a:lnTo>
                  <a:pt x="1368" y="358"/>
                </a:lnTo>
                <a:close/>
                <a:moveTo>
                  <a:pt x="1420" y="264"/>
                </a:moveTo>
                <a:cubicBezTo>
                  <a:pt x="1420" y="264"/>
                  <a:pt x="1420" y="264"/>
                  <a:pt x="1419" y="264"/>
                </a:cubicBezTo>
                <a:cubicBezTo>
                  <a:pt x="1419" y="264"/>
                  <a:pt x="1419" y="264"/>
                  <a:pt x="1419" y="266"/>
                </a:cubicBezTo>
                <a:cubicBezTo>
                  <a:pt x="1419" y="266"/>
                  <a:pt x="1419" y="266"/>
                  <a:pt x="1421" y="265"/>
                </a:cubicBezTo>
                <a:cubicBezTo>
                  <a:pt x="1421" y="265"/>
                  <a:pt x="1421" y="265"/>
                  <a:pt x="1420" y="264"/>
                </a:cubicBezTo>
                <a:close/>
                <a:moveTo>
                  <a:pt x="1415" y="273"/>
                </a:moveTo>
                <a:cubicBezTo>
                  <a:pt x="1415" y="273"/>
                  <a:pt x="1415" y="273"/>
                  <a:pt x="1414" y="274"/>
                </a:cubicBezTo>
                <a:cubicBezTo>
                  <a:pt x="1414" y="274"/>
                  <a:pt x="1414" y="274"/>
                  <a:pt x="1416" y="274"/>
                </a:cubicBezTo>
                <a:cubicBezTo>
                  <a:pt x="1416" y="274"/>
                  <a:pt x="1416" y="274"/>
                  <a:pt x="1415" y="273"/>
                </a:cubicBezTo>
                <a:close/>
                <a:moveTo>
                  <a:pt x="1412" y="277"/>
                </a:moveTo>
                <a:cubicBezTo>
                  <a:pt x="1412" y="277"/>
                  <a:pt x="1412" y="277"/>
                  <a:pt x="1410" y="277"/>
                </a:cubicBezTo>
                <a:cubicBezTo>
                  <a:pt x="1410" y="277"/>
                  <a:pt x="1410" y="277"/>
                  <a:pt x="1409" y="280"/>
                </a:cubicBezTo>
                <a:cubicBezTo>
                  <a:pt x="1409" y="280"/>
                  <a:pt x="1409" y="280"/>
                  <a:pt x="1412" y="278"/>
                </a:cubicBezTo>
                <a:cubicBezTo>
                  <a:pt x="1412" y="278"/>
                  <a:pt x="1412" y="278"/>
                  <a:pt x="1412" y="277"/>
                </a:cubicBezTo>
                <a:close/>
                <a:moveTo>
                  <a:pt x="1417" y="270"/>
                </a:moveTo>
                <a:cubicBezTo>
                  <a:pt x="1417" y="270"/>
                  <a:pt x="1417" y="270"/>
                  <a:pt x="1416" y="268"/>
                </a:cubicBezTo>
                <a:cubicBezTo>
                  <a:pt x="1416" y="268"/>
                  <a:pt x="1416" y="268"/>
                  <a:pt x="1415" y="269"/>
                </a:cubicBezTo>
                <a:cubicBezTo>
                  <a:pt x="1415" y="269"/>
                  <a:pt x="1415" y="269"/>
                  <a:pt x="1416" y="269"/>
                </a:cubicBezTo>
                <a:cubicBezTo>
                  <a:pt x="1416" y="269"/>
                  <a:pt x="1416" y="269"/>
                  <a:pt x="1415" y="270"/>
                </a:cubicBezTo>
                <a:cubicBezTo>
                  <a:pt x="1415" y="270"/>
                  <a:pt x="1415" y="270"/>
                  <a:pt x="1413" y="270"/>
                </a:cubicBezTo>
                <a:cubicBezTo>
                  <a:pt x="1413" y="270"/>
                  <a:pt x="1413" y="270"/>
                  <a:pt x="1413" y="271"/>
                </a:cubicBezTo>
                <a:cubicBezTo>
                  <a:pt x="1413" y="271"/>
                  <a:pt x="1413" y="271"/>
                  <a:pt x="1413" y="272"/>
                </a:cubicBezTo>
                <a:cubicBezTo>
                  <a:pt x="1413" y="272"/>
                  <a:pt x="1413" y="272"/>
                  <a:pt x="1415" y="271"/>
                </a:cubicBezTo>
                <a:cubicBezTo>
                  <a:pt x="1415" y="271"/>
                  <a:pt x="1415" y="271"/>
                  <a:pt x="1416" y="271"/>
                </a:cubicBezTo>
                <a:cubicBezTo>
                  <a:pt x="1416" y="271"/>
                  <a:pt x="1416" y="271"/>
                  <a:pt x="1414" y="272"/>
                </a:cubicBezTo>
                <a:cubicBezTo>
                  <a:pt x="1414" y="272"/>
                  <a:pt x="1414" y="272"/>
                  <a:pt x="1415" y="273"/>
                </a:cubicBezTo>
                <a:cubicBezTo>
                  <a:pt x="1415" y="273"/>
                  <a:pt x="1415" y="273"/>
                  <a:pt x="1417" y="272"/>
                </a:cubicBezTo>
                <a:cubicBezTo>
                  <a:pt x="1417" y="272"/>
                  <a:pt x="1417" y="272"/>
                  <a:pt x="1417" y="270"/>
                </a:cubicBezTo>
                <a:close/>
                <a:moveTo>
                  <a:pt x="1415" y="277"/>
                </a:moveTo>
                <a:cubicBezTo>
                  <a:pt x="1415" y="277"/>
                  <a:pt x="1415" y="277"/>
                  <a:pt x="1415" y="275"/>
                </a:cubicBezTo>
                <a:cubicBezTo>
                  <a:pt x="1415" y="275"/>
                  <a:pt x="1415" y="275"/>
                  <a:pt x="1413" y="276"/>
                </a:cubicBezTo>
                <a:cubicBezTo>
                  <a:pt x="1413" y="276"/>
                  <a:pt x="1413" y="276"/>
                  <a:pt x="1412" y="277"/>
                </a:cubicBezTo>
                <a:cubicBezTo>
                  <a:pt x="1412" y="277"/>
                  <a:pt x="1412" y="277"/>
                  <a:pt x="1414" y="276"/>
                </a:cubicBezTo>
                <a:cubicBezTo>
                  <a:pt x="1414" y="276"/>
                  <a:pt x="1414" y="276"/>
                  <a:pt x="1415" y="277"/>
                </a:cubicBezTo>
                <a:close/>
                <a:moveTo>
                  <a:pt x="1408" y="279"/>
                </a:moveTo>
                <a:cubicBezTo>
                  <a:pt x="1408" y="279"/>
                  <a:pt x="1408" y="279"/>
                  <a:pt x="1408" y="280"/>
                </a:cubicBezTo>
                <a:cubicBezTo>
                  <a:pt x="1408" y="280"/>
                  <a:pt x="1408" y="280"/>
                  <a:pt x="1409" y="279"/>
                </a:cubicBezTo>
                <a:cubicBezTo>
                  <a:pt x="1409" y="279"/>
                  <a:pt x="1409" y="279"/>
                  <a:pt x="1408" y="278"/>
                </a:cubicBezTo>
                <a:cubicBezTo>
                  <a:pt x="1408" y="278"/>
                  <a:pt x="1408" y="278"/>
                  <a:pt x="1408" y="279"/>
                </a:cubicBezTo>
                <a:close/>
                <a:moveTo>
                  <a:pt x="1405" y="384"/>
                </a:moveTo>
                <a:cubicBezTo>
                  <a:pt x="1404" y="385"/>
                  <a:pt x="1404" y="385"/>
                  <a:pt x="1404" y="385"/>
                </a:cubicBezTo>
                <a:cubicBezTo>
                  <a:pt x="1405" y="385"/>
                  <a:pt x="1405" y="385"/>
                  <a:pt x="1405" y="385"/>
                </a:cubicBezTo>
                <a:cubicBezTo>
                  <a:pt x="1405" y="384"/>
                  <a:pt x="1405" y="384"/>
                  <a:pt x="1405" y="384"/>
                </a:cubicBezTo>
                <a:close/>
                <a:moveTo>
                  <a:pt x="1447" y="386"/>
                </a:moveTo>
                <a:cubicBezTo>
                  <a:pt x="1448" y="386"/>
                  <a:pt x="1448" y="386"/>
                  <a:pt x="1448" y="386"/>
                </a:cubicBezTo>
                <a:cubicBezTo>
                  <a:pt x="1449" y="385"/>
                  <a:pt x="1449" y="385"/>
                  <a:pt x="1449" y="385"/>
                </a:cubicBezTo>
                <a:cubicBezTo>
                  <a:pt x="1447" y="385"/>
                  <a:pt x="1447" y="385"/>
                  <a:pt x="1447" y="385"/>
                </a:cubicBezTo>
                <a:cubicBezTo>
                  <a:pt x="1447" y="386"/>
                  <a:pt x="1447" y="386"/>
                  <a:pt x="1447" y="386"/>
                </a:cubicBezTo>
                <a:close/>
                <a:moveTo>
                  <a:pt x="1445" y="387"/>
                </a:moveTo>
                <a:cubicBezTo>
                  <a:pt x="1444" y="387"/>
                  <a:pt x="1444" y="387"/>
                  <a:pt x="1444" y="387"/>
                </a:cubicBezTo>
                <a:cubicBezTo>
                  <a:pt x="1443" y="388"/>
                  <a:pt x="1443" y="388"/>
                  <a:pt x="1443" y="388"/>
                </a:cubicBezTo>
                <a:cubicBezTo>
                  <a:pt x="1442" y="389"/>
                  <a:pt x="1442" y="389"/>
                  <a:pt x="1442" y="389"/>
                </a:cubicBezTo>
                <a:cubicBezTo>
                  <a:pt x="1442" y="390"/>
                  <a:pt x="1442" y="390"/>
                  <a:pt x="1442" y="390"/>
                </a:cubicBezTo>
                <a:cubicBezTo>
                  <a:pt x="1442" y="391"/>
                  <a:pt x="1442" y="391"/>
                  <a:pt x="1442" y="391"/>
                </a:cubicBezTo>
                <a:cubicBezTo>
                  <a:pt x="1441" y="391"/>
                  <a:pt x="1441" y="391"/>
                  <a:pt x="1441" y="391"/>
                </a:cubicBezTo>
                <a:cubicBezTo>
                  <a:pt x="1443" y="393"/>
                  <a:pt x="1443" y="393"/>
                  <a:pt x="1443" y="393"/>
                </a:cubicBezTo>
                <a:cubicBezTo>
                  <a:pt x="1443" y="394"/>
                  <a:pt x="1443" y="394"/>
                  <a:pt x="1443" y="394"/>
                </a:cubicBezTo>
                <a:cubicBezTo>
                  <a:pt x="1442" y="395"/>
                  <a:pt x="1442" y="395"/>
                  <a:pt x="1442" y="395"/>
                </a:cubicBezTo>
                <a:cubicBezTo>
                  <a:pt x="1444" y="395"/>
                  <a:pt x="1444" y="395"/>
                  <a:pt x="1444" y="395"/>
                </a:cubicBezTo>
                <a:cubicBezTo>
                  <a:pt x="1444" y="394"/>
                  <a:pt x="1444" y="394"/>
                  <a:pt x="1444" y="394"/>
                </a:cubicBezTo>
                <a:cubicBezTo>
                  <a:pt x="1444" y="393"/>
                  <a:pt x="1444" y="393"/>
                  <a:pt x="1444" y="393"/>
                </a:cubicBezTo>
                <a:cubicBezTo>
                  <a:pt x="1445" y="392"/>
                  <a:pt x="1445" y="392"/>
                  <a:pt x="1445" y="392"/>
                </a:cubicBezTo>
                <a:cubicBezTo>
                  <a:pt x="1446" y="391"/>
                  <a:pt x="1446" y="391"/>
                  <a:pt x="1446" y="391"/>
                </a:cubicBezTo>
                <a:cubicBezTo>
                  <a:pt x="1446" y="390"/>
                  <a:pt x="1446" y="390"/>
                  <a:pt x="1446" y="390"/>
                </a:cubicBezTo>
                <a:cubicBezTo>
                  <a:pt x="1445" y="389"/>
                  <a:pt x="1445" y="389"/>
                  <a:pt x="1445" y="389"/>
                </a:cubicBezTo>
                <a:cubicBezTo>
                  <a:pt x="1446" y="388"/>
                  <a:pt x="1446" y="388"/>
                  <a:pt x="1446" y="388"/>
                </a:cubicBezTo>
                <a:cubicBezTo>
                  <a:pt x="1446" y="387"/>
                  <a:pt x="1446" y="387"/>
                  <a:pt x="1446" y="387"/>
                </a:cubicBezTo>
                <a:cubicBezTo>
                  <a:pt x="1447" y="387"/>
                  <a:pt x="1447" y="387"/>
                  <a:pt x="1447" y="387"/>
                </a:cubicBezTo>
                <a:cubicBezTo>
                  <a:pt x="1446" y="386"/>
                  <a:pt x="1446" y="386"/>
                  <a:pt x="1446" y="386"/>
                </a:cubicBezTo>
                <a:cubicBezTo>
                  <a:pt x="1445" y="387"/>
                  <a:pt x="1445" y="387"/>
                  <a:pt x="1445" y="387"/>
                </a:cubicBezTo>
                <a:close/>
                <a:moveTo>
                  <a:pt x="1447" y="381"/>
                </a:moveTo>
                <a:cubicBezTo>
                  <a:pt x="1447" y="380"/>
                  <a:pt x="1447" y="380"/>
                  <a:pt x="1447" y="380"/>
                </a:cubicBezTo>
                <a:cubicBezTo>
                  <a:pt x="1446" y="380"/>
                  <a:pt x="1446" y="380"/>
                  <a:pt x="1446" y="380"/>
                </a:cubicBezTo>
                <a:cubicBezTo>
                  <a:pt x="1447" y="381"/>
                  <a:pt x="1447" y="381"/>
                  <a:pt x="1447" y="381"/>
                </a:cubicBezTo>
                <a:close/>
                <a:moveTo>
                  <a:pt x="1406" y="383"/>
                </a:moveTo>
                <a:cubicBezTo>
                  <a:pt x="1405" y="382"/>
                  <a:pt x="1405" y="382"/>
                  <a:pt x="1405" y="382"/>
                </a:cubicBezTo>
                <a:cubicBezTo>
                  <a:pt x="1405" y="383"/>
                  <a:pt x="1405" y="383"/>
                  <a:pt x="1405" y="383"/>
                </a:cubicBezTo>
                <a:cubicBezTo>
                  <a:pt x="1406" y="383"/>
                  <a:pt x="1406" y="383"/>
                  <a:pt x="1406" y="383"/>
                </a:cubicBezTo>
                <a:close/>
                <a:moveTo>
                  <a:pt x="1433" y="396"/>
                </a:moveTo>
                <a:cubicBezTo>
                  <a:pt x="1433" y="399"/>
                  <a:pt x="1433" y="399"/>
                  <a:pt x="1433" y="399"/>
                </a:cubicBezTo>
                <a:cubicBezTo>
                  <a:pt x="1433" y="400"/>
                  <a:pt x="1433" y="400"/>
                  <a:pt x="1433" y="400"/>
                </a:cubicBezTo>
                <a:cubicBezTo>
                  <a:pt x="1433" y="401"/>
                  <a:pt x="1433" y="401"/>
                  <a:pt x="1433" y="401"/>
                </a:cubicBezTo>
                <a:cubicBezTo>
                  <a:pt x="1434" y="402"/>
                  <a:pt x="1434" y="402"/>
                  <a:pt x="1434" y="402"/>
                </a:cubicBezTo>
                <a:cubicBezTo>
                  <a:pt x="1434" y="401"/>
                  <a:pt x="1434" y="401"/>
                  <a:pt x="1434" y="401"/>
                </a:cubicBezTo>
                <a:cubicBezTo>
                  <a:pt x="1435" y="399"/>
                  <a:pt x="1435" y="399"/>
                  <a:pt x="1435" y="399"/>
                </a:cubicBezTo>
                <a:cubicBezTo>
                  <a:pt x="1435" y="396"/>
                  <a:pt x="1435" y="396"/>
                  <a:pt x="1435" y="396"/>
                </a:cubicBezTo>
                <a:cubicBezTo>
                  <a:pt x="1436" y="394"/>
                  <a:pt x="1436" y="394"/>
                  <a:pt x="1436" y="394"/>
                </a:cubicBezTo>
                <a:cubicBezTo>
                  <a:pt x="1436" y="393"/>
                  <a:pt x="1436" y="393"/>
                  <a:pt x="1436" y="393"/>
                </a:cubicBezTo>
                <a:cubicBezTo>
                  <a:pt x="1435" y="392"/>
                  <a:pt x="1435" y="392"/>
                  <a:pt x="1435" y="392"/>
                </a:cubicBezTo>
                <a:cubicBezTo>
                  <a:pt x="1434" y="393"/>
                  <a:pt x="1434" y="393"/>
                  <a:pt x="1434" y="393"/>
                </a:cubicBezTo>
                <a:cubicBezTo>
                  <a:pt x="1435" y="394"/>
                  <a:pt x="1435" y="394"/>
                  <a:pt x="1435" y="394"/>
                </a:cubicBezTo>
                <a:cubicBezTo>
                  <a:pt x="1434" y="395"/>
                  <a:pt x="1434" y="395"/>
                  <a:pt x="1434" y="395"/>
                </a:cubicBezTo>
                <a:cubicBezTo>
                  <a:pt x="1433" y="396"/>
                  <a:pt x="1433" y="396"/>
                  <a:pt x="1433" y="396"/>
                </a:cubicBezTo>
                <a:close/>
                <a:moveTo>
                  <a:pt x="1442" y="372"/>
                </a:moveTo>
                <a:cubicBezTo>
                  <a:pt x="1443" y="371"/>
                  <a:pt x="1443" y="371"/>
                  <a:pt x="1443" y="371"/>
                </a:cubicBezTo>
                <a:cubicBezTo>
                  <a:pt x="1443" y="369"/>
                  <a:pt x="1443" y="369"/>
                  <a:pt x="1443" y="369"/>
                </a:cubicBezTo>
                <a:cubicBezTo>
                  <a:pt x="1442" y="369"/>
                  <a:pt x="1442" y="369"/>
                  <a:pt x="1442" y="369"/>
                </a:cubicBezTo>
                <a:cubicBezTo>
                  <a:pt x="1441" y="371"/>
                  <a:pt x="1441" y="371"/>
                  <a:pt x="1441" y="371"/>
                </a:cubicBezTo>
                <a:cubicBezTo>
                  <a:pt x="1442" y="373"/>
                  <a:pt x="1442" y="373"/>
                  <a:pt x="1442" y="373"/>
                </a:cubicBezTo>
                <a:cubicBezTo>
                  <a:pt x="1442" y="372"/>
                  <a:pt x="1442" y="372"/>
                  <a:pt x="1442" y="372"/>
                </a:cubicBezTo>
                <a:close/>
                <a:moveTo>
                  <a:pt x="1456" y="360"/>
                </a:moveTo>
                <a:cubicBezTo>
                  <a:pt x="1456" y="360"/>
                  <a:pt x="1456" y="360"/>
                  <a:pt x="1457" y="359"/>
                </a:cubicBezTo>
                <a:cubicBezTo>
                  <a:pt x="1457" y="359"/>
                  <a:pt x="1457" y="359"/>
                  <a:pt x="1456" y="359"/>
                </a:cubicBezTo>
                <a:lnTo>
                  <a:pt x="1456" y="360"/>
                </a:lnTo>
                <a:close/>
                <a:moveTo>
                  <a:pt x="1460" y="360"/>
                </a:moveTo>
                <a:cubicBezTo>
                  <a:pt x="1460" y="360"/>
                  <a:pt x="1460" y="360"/>
                  <a:pt x="1458" y="359"/>
                </a:cubicBezTo>
                <a:cubicBezTo>
                  <a:pt x="1458" y="359"/>
                  <a:pt x="1458" y="359"/>
                  <a:pt x="1458" y="360"/>
                </a:cubicBezTo>
                <a:cubicBezTo>
                  <a:pt x="1458" y="360"/>
                  <a:pt x="1458" y="360"/>
                  <a:pt x="1459" y="360"/>
                </a:cubicBezTo>
                <a:cubicBezTo>
                  <a:pt x="1459" y="360"/>
                  <a:pt x="1459" y="360"/>
                  <a:pt x="1460" y="360"/>
                </a:cubicBezTo>
                <a:close/>
                <a:moveTo>
                  <a:pt x="1462" y="362"/>
                </a:moveTo>
                <a:cubicBezTo>
                  <a:pt x="1462" y="362"/>
                  <a:pt x="1462" y="362"/>
                  <a:pt x="1463" y="361"/>
                </a:cubicBezTo>
                <a:cubicBezTo>
                  <a:pt x="1463" y="361"/>
                  <a:pt x="1463" y="361"/>
                  <a:pt x="1463" y="360"/>
                </a:cubicBezTo>
                <a:cubicBezTo>
                  <a:pt x="1463" y="360"/>
                  <a:pt x="1463" y="360"/>
                  <a:pt x="1461" y="361"/>
                </a:cubicBezTo>
                <a:cubicBezTo>
                  <a:pt x="1461" y="361"/>
                  <a:pt x="1461" y="361"/>
                  <a:pt x="1462" y="362"/>
                </a:cubicBezTo>
                <a:close/>
                <a:moveTo>
                  <a:pt x="1453" y="329"/>
                </a:moveTo>
                <a:cubicBezTo>
                  <a:pt x="1453" y="329"/>
                  <a:pt x="1453" y="329"/>
                  <a:pt x="1453" y="330"/>
                </a:cubicBezTo>
                <a:cubicBezTo>
                  <a:pt x="1453" y="330"/>
                  <a:pt x="1453" y="330"/>
                  <a:pt x="1454" y="329"/>
                </a:cubicBezTo>
                <a:cubicBezTo>
                  <a:pt x="1454" y="329"/>
                  <a:pt x="1454" y="329"/>
                  <a:pt x="1453" y="329"/>
                </a:cubicBezTo>
                <a:close/>
                <a:moveTo>
                  <a:pt x="1464" y="363"/>
                </a:moveTo>
                <a:cubicBezTo>
                  <a:pt x="1464" y="362"/>
                  <a:pt x="1464" y="362"/>
                  <a:pt x="1464" y="362"/>
                </a:cubicBezTo>
                <a:cubicBezTo>
                  <a:pt x="1464" y="362"/>
                  <a:pt x="1464" y="362"/>
                  <a:pt x="1463" y="363"/>
                </a:cubicBezTo>
                <a:cubicBezTo>
                  <a:pt x="1463" y="363"/>
                  <a:pt x="1463" y="363"/>
                  <a:pt x="1464" y="363"/>
                </a:cubicBezTo>
                <a:close/>
                <a:moveTo>
                  <a:pt x="1447" y="362"/>
                </a:moveTo>
                <a:cubicBezTo>
                  <a:pt x="1447" y="362"/>
                  <a:pt x="1447" y="362"/>
                  <a:pt x="1448" y="362"/>
                </a:cubicBezTo>
                <a:cubicBezTo>
                  <a:pt x="1448" y="362"/>
                  <a:pt x="1448" y="362"/>
                  <a:pt x="1448" y="363"/>
                </a:cubicBezTo>
                <a:cubicBezTo>
                  <a:pt x="1448" y="363"/>
                  <a:pt x="1448" y="363"/>
                  <a:pt x="1449" y="363"/>
                </a:cubicBezTo>
                <a:cubicBezTo>
                  <a:pt x="1449" y="363"/>
                  <a:pt x="1449" y="363"/>
                  <a:pt x="1451" y="364"/>
                </a:cubicBezTo>
                <a:cubicBezTo>
                  <a:pt x="1451" y="364"/>
                  <a:pt x="1451" y="364"/>
                  <a:pt x="1451" y="363"/>
                </a:cubicBezTo>
                <a:cubicBezTo>
                  <a:pt x="1451" y="363"/>
                  <a:pt x="1451" y="363"/>
                  <a:pt x="1450" y="363"/>
                </a:cubicBezTo>
                <a:cubicBezTo>
                  <a:pt x="1450" y="363"/>
                  <a:pt x="1450" y="363"/>
                  <a:pt x="1450" y="362"/>
                </a:cubicBezTo>
                <a:cubicBezTo>
                  <a:pt x="1450" y="362"/>
                  <a:pt x="1450" y="362"/>
                  <a:pt x="1450" y="361"/>
                </a:cubicBezTo>
                <a:cubicBezTo>
                  <a:pt x="1450" y="361"/>
                  <a:pt x="1450" y="361"/>
                  <a:pt x="1451" y="361"/>
                </a:cubicBezTo>
                <a:cubicBezTo>
                  <a:pt x="1451" y="361"/>
                  <a:pt x="1451" y="361"/>
                  <a:pt x="1451" y="360"/>
                </a:cubicBezTo>
                <a:cubicBezTo>
                  <a:pt x="1451" y="360"/>
                  <a:pt x="1451" y="360"/>
                  <a:pt x="1449" y="359"/>
                </a:cubicBezTo>
                <a:cubicBezTo>
                  <a:pt x="1449" y="359"/>
                  <a:pt x="1449" y="359"/>
                  <a:pt x="1448" y="359"/>
                </a:cubicBezTo>
                <a:cubicBezTo>
                  <a:pt x="1448" y="359"/>
                  <a:pt x="1448" y="359"/>
                  <a:pt x="1448" y="360"/>
                </a:cubicBezTo>
                <a:cubicBezTo>
                  <a:pt x="1448" y="360"/>
                  <a:pt x="1448" y="360"/>
                  <a:pt x="1449" y="361"/>
                </a:cubicBezTo>
                <a:cubicBezTo>
                  <a:pt x="1449" y="361"/>
                  <a:pt x="1449" y="361"/>
                  <a:pt x="1447" y="361"/>
                </a:cubicBezTo>
                <a:lnTo>
                  <a:pt x="1447" y="362"/>
                </a:lnTo>
                <a:close/>
                <a:moveTo>
                  <a:pt x="1470" y="311"/>
                </a:moveTo>
                <a:cubicBezTo>
                  <a:pt x="1470" y="311"/>
                  <a:pt x="1470" y="311"/>
                  <a:pt x="1471" y="311"/>
                </a:cubicBezTo>
                <a:cubicBezTo>
                  <a:pt x="1471" y="311"/>
                  <a:pt x="1471" y="311"/>
                  <a:pt x="1471" y="310"/>
                </a:cubicBezTo>
                <a:cubicBezTo>
                  <a:pt x="1471" y="310"/>
                  <a:pt x="1471" y="310"/>
                  <a:pt x="1469" y="310"/>
                </a:cubicBezTo>
                <a:cubicBezTo>
                  <a:pt x="1469" y="310"/>
                  <a:pt x="1469" y="310"/>
                  <a:pt x="1468" y="311"/>
                </a:cubicBezTo>
                <a:cubicBezTo>
                  <a:pt x="1468" y="311"/>
                  <a:pt x="1468" y="311"/>
                  <a:pt x="1469" y="312"/>
                </a:cubicBezTo>
                <a:cubicBezTo>
                  <a:pt x="1469" y="312"/>
                  <a:pt x="1469" y="312"/>
                  <a:pt x="1470" y="312"/>
                </a:cubicBezTo>
                <a:cubicBezTo>
                  <a:pt x="1470" y="312"/>
                  <a:pt x="1470" y="312"/>
                  <a:pt x="1470" y="311"/>
                </a:cubicBezTo>
                <a:close/>
                <a:moveTo>
                  <a:pt x="1465" y="365"/>
                </a:moveTo>
                <a:cubicBezTo>
                  <a:pt x="1465" y="365"/>
                  <a:pt x="1465" y="365"/>
                  <a:pt x="1465" y="364"/>
                </a:cubicBezTo>
                <a:cubicBezTo>
                  <a:pt x="1465" y="364"/>
                  <a:pt x="1465" y="364"/>
                  <a:pt x="1464" y="364"/>
                </a:cubicBezTo>
                <a:cubicBezTo>
                  <a:pt x="1464" y="364"/>
                  <a:pt x="1464" y="364"/>
                  <a:pt x="1465" y="365"/>
                </a:cubicBezTo>
                <a:close/>
                <a:moveTo>
                  <a:pt x="1469" y="374"/>
                </a:moveTo>
                <a:cubicBezTo>
                  <a:pt x="1468" y="374"/>
                  <a:pt x="1468" y="374"/>
                  <a:pt x="1468" y="374"/>
                </a:cubicBezTo>
                <a:cubicBezTo>
                  <a:pt x="1468" y="375"/>
                  <a:pt x="1468" y="375"/>
                  <a:pt x="1468" y="375"/>
                </a:cubicBezTo>
                <a:cubicBezTo>
                  <a:pt x="1469" y="375"/>
                  <a:pt x="1469" y="375"/>
                  <a:pt x="1469" y="375"/>
                </a:cubicBezTo>
                <a:cubicBezTo>
                  <a:pt x="1469" y="374"/>
                  <a:pt x="1469" y="374"/>
                  <a:pt x="1469" y="374"/>
                </a:cubicBezTo>
                <a:close/>
                <a:moveTo>
                  <a:pt x="1468" y="378"/>
                </a:moveTo>
                <a:cubicBezTo>
                  <a:pt x="1469" y="379"/>
                  <a:pt x="1469" y="379"/>
                  <a:pt x="1469" y="379"/>
                </a:cubicBezTo>
                <a:cubicBezTo>
                  <a:pt x="1470" y="379"/>
                  <a:pt x="1470" y="379"/>
                  <a:pt x="1470" y="379"/>
                </a:cubicBezTo>
                <a:cubicBezTo>
                  <a:pt x="1469" y="377"/>
                  <a:pt x="1469" y="377"/>
                  <a:pt x="1469" y="377"/>
                </a:cubicBezTo>
                <a:cubicBezTo>
                  <a:pt x="1468" y="377"/>
                  <a:pt x="1468" y="377"/>
                  <a:pt x="1468" y="377"/>
                </a:cubicBezTo>
                <a:cubicBezTo>
                  <a:pt x="1468" y="378"/>
                  <a:pt x="1468" y="378"/>
                  <a:pt x="1468" y="378"/>
                </a:cubicBezTo>
                <a:close/>
                <a:moveTo>
                  <a:pt x="1462" y="382"/>
                </a:moveTo>
                <a:cubicBezTo>
                  <a:pt x="1463" y="383"/>
                  <a:pt x="1463" y="383"/>
                  <a:pt x="1463" y="383"/>
                </a:cubicBezTo>
                <a:cubicBezTo>
                  <a:pt x="1463" y="384"/>
                  <a:pt x="1463" y="384"/>
                  <a:pt x="1463" y="384"/>
                </a:cubicBezTo>
                <a:cubicBezTo>
                  <a:pt x="1462" y="385"/>
                  <a:pt x="1462" y="385"/>
                  <a:pt x="1462" y="385"/>
                </a:cubicBezTo>
                <a:cubicBezTo>
                  <a:pt x="1463" y="385"/>
                  <a:pt x="1463" y="385"/>
                  <a:pt x="1463" y="385"/>
                </a:cubicBezTo>
                <a:cubicBezTo>
                  <a:pt x="1464" y="384"/>
                  <a:pt x="1464" y="384"/>
                  <a:pt x="1464" y="384"/>
                </a:cubicBezTo>
                <a:cubicBezTo>
                  <a:pt x="1464" y="382"/>
                  <a:pt x="1464" y="382"/>
                  <a:pt x="1464" y="382"/>
                </a:cubicBezTo>
                <a:cubicBezTo>
                  <a:pt x="1466" y="382"/>
                  <a:pt x="1466" y="382"/>
                  <a:pt x="1466" y="382"/>
                </a:cubicBezTo>
                <a:cubicBezTo>
                  <a:pt x="1467" y="381"/>
                  <a:pt x="1467" y="381"/>
                  <a:pt x="1467" y="381"/>
                </a:cubicBezTo>
                <a:cubicBezTo>
                  <a:pt x="1468" y="380"/>
                  <a:pt x="1468" y="380"/>
                  <a:pt x="1468" y="380"/>
                </a:cubicBezTo>
                <a:cubicBezTo>
                  <a:pt x="1469" y="380"/>
                  <a:pt x="1469" y="380"/>
                  <a:pt x="1469" y="380"/>
                </a:cubicBezTo>
                <a:cubicBezTo>
                  <a:pt x="1468" y="379"/>
                  <a:pt x="1468" y="379"/>
                  <a:pt x="1468" y="379"/>
                </a:cubicBezTo>
                <a:cubicBezTo>
                  <a:pt x="1467" y="378"/>
                  <a:pt x="1467" y="378"/>
                  <a:pt x="1467" y="378"/>
                </a:cubicBezTo>
                <a:cubicBezTo>
                  <a:pt x="1465" y="378"/>
                  <a:pt x="1465" y="378"/>
                  <a:pt x="1465" y="378"/>
                </a:cubicBezTo>
                <a:cubicBezTo>
                  <a:pt x="1464" y="378"/>
                  <a:pt x="1464" y="378"/>
                  <a:pt x="1464" y="378"/>
                </a:cubicBezTo>
                <a:cubicBezTo>
                  <a:pt x="1464" y="379"/>
                  <a:pt x="1464" y="379"/>
                  <a:pt x="1464" y="379"/>
                </a:cubicBezTo>
                <a:cubicBezTo>
                  <a:pt x="1463" y="379"/>
                  <a:pt x="1463" y="379"/>
                  <a:pt x="1463" y="379"/>
                </a:cubicBezTo>
                <a:cubicBezTo>
                  <a:pt x="1462" y="379"/>
                  <a:pt x="1462" y="379"/>
                  <a:pt x="1462" y="379"/>
                </a:cubicBezTo>
                <a:cubicBezTo>
                  <a:pt x="1461" y="379"/>
                  <a:pt x="1461" y="379"/>
                  <a:pt x="1461" y="379"/>
                </a:cubicBezTo>
                <a:cubicBezTo>
                  <a:pt x="1462" y="380"/>
                  <a:pt x="1462" y="380"/>
                  <a:pt x="1462" y="380"/>
                </a:cubicBezTo>
                <a:cubicBezTo>
                  <a:pt x="1461" y="381"/>
                  <a:pt x="1461" y="381"/>
                  <a:pt x="1461" y="381"/>
                </a:cubicBezTo>
                <a:cubicBezTo>
                  <a:pt x="1462" y="382"/>
                  <a:pt x="1462" y="382"/>
                  <a:pt x="1462" y="382"/>
                </a:cubicBezTo>
                <a:close/>
                <a:moveTo>
                  <a:pt x="1466" y="374"/>
                </a:moveTo>
                <a:cubicBezTo>
                  <a:pt x="1465" y="374"/>
                  <a:pt x="1465" y="374"/>
                  <a:pt x="1465" y="374"/>
                </a:cubicBezTo>
                <a:cubicBezTo>
                  <a:pt x="1464" y="375"/>
                  <a:pt x="1464" y="375"/>
                  <a:pt x="1464" y="375"/>
                </a:cubicBezTo>
                <a:cubicBezTo>
                  <a:pt x="1462" y="376"/>
                  <a:pt x="1462" y="376"/>
                  <a:pt x="1462" y="376"/>
                </a:cubicBezTo>
                <a:cubicBezTo>
                  <a:pt x="1464" y="376"/>
                  <a:pt x="1464" y="376"/>
                  <a:pt x="1464" y="376"/>
                </a:cubicBezTo>
                <a:cubicBezTo>
                  <a:pt x="1465" y="376"/>
                  <a:pt x="1465" y="376"/>
                  <a:pt x="1465" y="376"/>
                </a:cubicBezTo>
                <a:cubicBezTo>
                  <a:pt x="1465" y="377"/>
                  <a:pt x="1465" y="377"/>
                  <a:pt x="1465" y="377"/>
                </a:cubicBezTo>
                <a:cubicBezTo>
                  <a:pt x="1466" y="376"/>
                  <a:pt x="1466" y="376"/>
                  <a:pt x="1466" y="376"/>
                </a:cubicBezTo>
                <a:cubicBezTo>
                  <a:pt x="1467" y="376"/>
                  <a:pt x="1467" y="376"/>
                  <a:pt x="1467" y="376"/>
                </a:cubicBezTo>
                <a:cubicBezTo>
                  <a:pt x="1468" y="376"/>
                  <a:pt x="1468" y="376"/>
                  <a:pt x="1468" y="376"/>
                </a:cubicBezTo>
                <a:cubicBezTo>
                  <a:pt x="1467" y="375"/>
                  <a:pt x="1467" y="375"/>
                  <a:pt x="1467" y="375"/>
                </a:cubicBezTo>
                <a:cubicBezTo>
                  <a:pt x="1466" y="374"/>
                  <a:pt x="1466" y="374"/>
                  <a:pt x="1466" y="374"/>
                </a:cubicBezTo>
                <a:close/>
                <a:moveTo>
                  <a:pt x="1540" y="486"/>
                </a:moveTo>
                <a:cubicBezTo>
                  <a:pt x="1539" y="486"/>
                  <a:pt x="1539" y="486"/>
                  <a:pt x="1539" y="486"/>
                </a:cubicBezTo>
                <a:cubicBezTo>
                  <a:pt x="1537" y="487"/>
                  <a:pt x="1537" y="487"/>
                  <a:pt x="1537" y="487"/>
                </a:cubicBezTo>
                <a:cubicBezTo>
                  <a:pt x="1535" y="488"/>
                  <a:pt x="1535" y="488"/>
                  <a:pt x="1535" y="488"/>
                </a:cubicBezTo>
                <a:cubicBezTo>
                  <a:pt x="1534" y="490"/>
                  <a:pt x="1534" y="490"/>
                  <a:pt x="1534" y="490"/>
                </a:cubicBezTo>
                <a:cubicBezTo>
                  <a:pt x="1535" y="490"/>
                  <a:pt x="1535" y="490"/>
                  <a:pt x="1535" y="490"/>
                </a:cubicBezTo>
                <a:cubicBezTo>
                  <a:pt x="1536" y="490"/>
                  <a:pt x="1536" y="490"/>
                  <a:pt x="1536" y="490"/>
                </a:cubicBezTo>
                <a:cubicBezTo>
                  <a:pt x="1537" y="490"/>
                  <a:pt x="1537" y="490"/>
                  <a:pt x="1537" y="490"/>
                </a:cubicBezTo>
                <a:cubicBezTo>
                  <a:pt x="1538" y="490"/>
                  <a:pt x="1538" y="490"/>
                  <a:pt x="1538" y="490"/>
                </a:cubicBezTo>
                <a:cubicBezTo>
                  <a:pt x="1540" y="492"/>
                  <a:pt x="1540" y="492"/>
                  <a:pt x="1540" y="492"/>
                </a:cubicBezTo>
                <a:cubicBezTo>
                  <a:pt x="1540" y="493"/>
                  <a:pt x="1540" y="493"/>
                  <a:pt x="1540" y="493"/>
                </a:cubicBezTo>
                <a:cubicBezTo>
                  <a:pt x="1539" y="495"/>
                  <a:pt x="1539" y="495"/>
                  <a:pt x="1539" y="495"/>
                </a:cubicBezTo>
                <a:cubicBezTo>
                  <a:pt x="1540" y="496"/>
                  <a:pt x="1540" y="496"/>
                  <a:pt x="1540" y="496"/>
                </a:cubicBezTo>
                <a:cubicBezTo>
                  <a:pt x="1542" y="496"/>
                  <a:pt x="1542" y="496"/>
                  <a:pt x="1542" y="496"/>
                </a:cubicBezTo>
                <a:cubicBezTo>
                  <a:pt x="1544" y="495"/>
                  <a:pt x="1544" y="495"/>
                  <a:pt x="1544" y="495"/>
                </a:cubicBezTo>
                <a:cubicBezTo>
                  <a:pt x="1547" y="493"/>
                  <a:pt x="1547" y="493"/>
                  <a:pt x="1547" y="493"/>
                </a:cubicBezTo>
                <a:cubicBezTo>
                  <a:pt x="1549" y="493"/>
                  <a:pt x="1549" y="493"/>
                  <a:pt x="1549" y="493"/>
                </a:cubicBezTo>
                <a:cubicBezTo>
                  <a:pt x="1550" y="492"/>
                  <a:pt x="1550" y="492"/>
                  <a:pt x="1550" y="492"/>
                </a:cubicBezTo>
                <a:cubicBezTo>
                  <a:pt x="1552" y="491"/>
                  <a:pt x="1552" y="491"/>
                  <a:pt x="1552" y="491"/>
                </a:cubicBezTo>
                <a:cubicBezTo>
                  <a:pt x="1554" y="491"/>
                  <a:pt x="1554" y="491"/>
                  <a:pt x="1554" y="491"/>
                </a:cubicBezTo>
                <a:cubicBezTo>
                  <a:pt x="1556" y="491"/>
                  <a:pt x="1556" y="491"/>
                  <a:pt x="1556" y="491"/>
                </a:cubicBezTo>
                <a:cubicBezTo>
                  <a:pt x="1557" y="490"/>
                  <a:pt x="1557" y="490"/>
                  <a:pt x="1557" y="490"/>
                </a:cubicBezTo>
                <a:cubicBezTo>
                  <a:pt x="1557" y="489"/>
                  <a:pt x="1557" y="489"/>
                  <a:pt x="1557" y="489"/>
                </a:cubicBezTo>
                <a:cubicBezTo>
                  <a:pt x="1558" y="488"/>
                  <a:pt x="1558" y="488"/>
                  <a:pt x="1558" y="488"/>
                </a:cubicBezTo>
                <a:cubicBezTo>
                  <a:pt x="1556" y="488"/>
                  <a:pt x="1556" y="488"/>
                  <a:pt x="1556" y="488"/>
                </a:cubicBezTo>
                <a:cubicBezTo>
                  <a:pt x="1554" y="488"/>
                  <a:pt x="1554" y="488"/>
                  <a:pt x="1554" y="488"/>
                </a:cubicBezTo>
                <a:cubicBezTo>
                  <a:pt x="1553" y="489"/>
                  <a:pt x="1553" y="489"/>
                  <a:pt x="1553" y="489"/>
                </a:cubicBezTo>
                <a:cubicBezTo>
                  <a:pt x="1552" y="488"/>
                  <a:pt x="1552" y="488"/>
                  <a:pt x="1552" y="488"/>
                </a:cubicBezTo>
                <a:cubicBezTo>
                  <a:pt x="1551" y="490"/>
                  <a:pt x="1551" y="490"/>
                  <a:pt x="1551" y="490"/>
                </a:cubicBezTo>
                <a:cubicBezTo>
                  <a:pt x="1550" y="489"/>
                  <a:pt x="1550" y="489"/>
                  <a:pt x="1550" y="489"/>
                </a:cubicBezTo>
                <a:cubicBezTo>
                  <a:pt x="1547" y="486"/>
                  <a:pt x="1547" y="486"/>
                  <a:pt x="1547" y="486"/>
                </a:cubicBezTo>
                <a:cubicBezTo>
                  <a:pt x="1546" y="484"/>
                  <a:pt x="1546" y="484"/>
                  <a:pt x="1546" y="484"/>
                </a:cubicBezTo>
                <a:cubicBezTo>
                  <a:pt x="1545" y="483"/>
                  <a:pt x="1545" y="483"/>
                  <a:pt x="1545" y="483"/>
                </a:cubicBezTo>
                <a:cubicBezTo>
                  <a:pt x="1545" y="485"/>
                  <a:pt x="1545" y="485"/>
                  <a:pt x="1545" y="485"/>
                </a:cubicBezTo>
                <a:cubicBezTo>
                  <a:pt x="1547" y="487"/>
                  <a:pt x="1547" y="487"/>
                  <a:pt x="1547" y="487"/>
                </a:cubicBezTo>
                <a:cubicBezTo>
                  <a:pt x="1548" y="488"/>
                  <a:pt x="1548" y="488"/>
                  <a:pt x="1548" y="488"/>
                </a:cubicBezTo>
                <a:cubicBezTo>
                  <a:pt x="1550" y="490"/>
                  <a:pt x="1550" y="490"/>
                  <a:pt x="1550" y="490"/>
                </a:cubicBezTo>
                <a:cubicBezTo>
                  <a:pt x="1549" y="490"/>
                  <a:pt x="1549" y="490"/>
                  <a:pt x="1549" y="490"/>
                </a:cubicBezTo>
                <a:cubicBezTo>
                  <a:pt x="1548" y="489"/>
                  <a:pt x="1548" y="489"/>
                  <a:pt x="1548" y="489"/>
                </a:cubicBezTo>
                <a:cubicBezTo>
                  <a:pt x="1547" y="489"/>
                  <a:pt x="1547" y="489"/>
                  <a:pt x="1547" y="489"/>
                </a:cubicBezTo>
                <a:cubicBezTo>
                  <a:pt x="1547" y="487"/>
                  <a:pt x="1547" y="487"/>
                  <a:pt x="1547" y="487"/>
                </a:cubicBezTo>
                <a:cubicBezTo>
                  <a:pt x="1546" y="487"/>
                  <a:pt x="1546" y="487"/>
                  <a:pt x="1546" y="487"/>
                </a:cubicBezTo>
                <a:cubicBezTo>
                  <a:pt x="1545" y="488"/>
                  <a:pt x="1545" y="488"/>
                  <a:pt x="1545" y="488"/>
                </a:cubicBezTo>
                <a:cubicBezTo>
                  <a:pt x="1545" y="487"/>
                  <a:pt x="1545" y="487"/>
                  <a:pt x="1545" y="487"/>
                </a:cubicBezTo>
                <a:cubicBezTo>
                  <a:pt x="1544" y="487"/>
                  <a:pt x="1544" y="487"/>
                  <a:pt x="1544" y="487"/>
                </a:cubicBezTo>
                <a:cubicBezTo>
                  <a:pt x="1544" y="486"/>
                  <a:pt x="1544" y="486"/>
                  <a:pt x="1544" y="486"/>
                </a:cubicBezTo>
                <a:cubicBezTo>
                  <a:pt x="1545" y="486"/>
                  <a:pt x="1545" y="486"/>
                  <a:pt x="1545" y="486"/>
                </a:cubicBezTo>
                <a:cubicBezTo>
                  <a:pt x="1544" y="485"/>
                  <a:pt x="1544" y="485"/>
                  <a:pt x="1544" y="485"/>
                </a:cubicBezTo>
                <a:cubicBezTo>
                  <a:pt x="1543" y="485"/>
                  <a:pt x="1543" y="485"/>
                  <a:pt x="1543" y="485"/>
                </a:cubicBezTo>
                <a:cubicBezTo>
                  <a:pt x="1542" y="484"/>
                  <a:pt x="1542" y="484"/>
                  <a:pt x="1542" y="484"/>
                </a:cubicBezTo>
                <a:cubicBezTo>
                  <a:pt x="1540" y="484"/>
                  <a:pt x="1540" y="484"/>
                  <a:pt x="1540" y="484"/>
                </a:cubicBezTo>
                <a:cubicBezTo>
                  <a:pt x="1539" y="483"/>
                  <a:pt x="1539" y="483"/>
                  <a:pt x="1539" y="483"/>
                </a:cubicBezTo>
                <a:cubicBezTo>
                  <a:pt x="1539" y="485"/>
                  <a:pt x="1539" y="485"/>
                  <a:pt x="1539" y="485"/>
                </a:cubicBezTo>
                <a:cubicBezTo>
                  <a:pt x="1540" y="486"/>
                  <a:pt x="1540" y="486"/>
                  <a:pt x="1540" y="486"/>
                </a:cubicBezTo>
                <a:close/>
                <a:moveTo>
                  <a:pt x="1430" y="497"/>
                </a:moveTo>
                <a:cubicBezTo>
                  <a:pt x="1430" y="497"/>
                  <a:pt x="1430" y="497"/>
                  <a:pt x="1430" y="498"/>
                </a:cubicBezTo>
                <a:cubicBezTo>
                  <a:pt x="1430" y="498"/>
                  <a:pt x="1430" y="498"/>
                  <a:pt x="1431" y="498"/>
                </a:cubicBezTo>
                <a:cubicBezTo>
                  <a:pt x="1431" y="498"/>
                  <a:pt x="1431" y="498"/>
                  <a:pt x="1430" y="497"/>
                </a:cubicBezTo>
                <a:close/>
                <a:moveTo>
                  <a:pt x="1430" y="499"/>
                </a:moveTo>
                <a:cubicBezTo>
                  <a:pt x="1430" y="499"/>
                  <a:pt x="1430" y="499"/>
                  <a:pt x="1429" y="499"/>
                </a:cubicBezTo>
                <a:cubicBezTo>
                  <a:pt x="1429" y="499"/>
                  <a:pt x="1429" y="499"/>
                  <a:pt x="1430" y="500"/>
                </a:cubicBezTo>
                <a:cubicBezTo>
                  <a:pt x="1430" y="500"/>
                  <a:pt x="1430" y="500"/>
                  <a:pt x="1430" y="499"/>
                </a:cubicBezTo>
                <a:close/>
                <a:moveTo>
                  <a:pt x="1432" y="502"/>
                </a:moveTo>
                <a:cubicBezTo>
                  <a:pt x="1432" y="502"/>
                  <a:pt x="1432" y="502"/>
                  <a:pt x="1430" y="501"/>
                </a:cubicBezTo>
                <a:cubicBezTo>
                  <a:pt x="1430" y="501"/>
                  <a:pt x="1430" y="501"/>
                  <a:pt x="1432" y="503"/>
                </a:cubicBezTo>
                <a:cubicBezTo>
                  <a:pt x="1432" y="503"/>
                  <a:pt x="1432" y="503"/>
                  <a:pt x="1432" y="502"/>
                </a:cubicBezTo>
                <a:close/>
                <a:moveTo>
                  <a:pt x="1431" y="499"/>
                </a:moveTo>
                <a:cubicBezTo>
                  <a:pt x="1431" y="499"/>
                  <a:pt x="1431" y="499"/>
                  <a:pt x="1432" y="500"/>
                </a:cubicBezTo>
                <a:cubicBezTo>
                  <a:pt x="1432" y="500"/>
                  <a:pt x="1432" y="500"/>
                  <a:pt x="1433" y="500"/>
                </a:cubicBezTo>
                <a:cubicBezTo>
                  <a:pt x="1433" y="500"/>
                  <a:pt x="1433" y="500"/>
                  <a:pt x="1432" y="499"/>
                </a:cubicBezTo>
                <a:cubicBezTo>
                  <a:pt x="1432" y="499"/>
                  <a:pt x="1432" y="499"/>
                  <a:pt x="1431" y="499"/>
                </a:cubicBezTo>
                <a:close/>
                <a:moveTo>
                  <a:pt x="1428" y="493"/>
                </a:moveTo>
                <a:cubicBezTo>
                  <a:pt x="1427" y="493"/>
                  <a:pt x="1427" y="493"/>
                  <a:pt x="1427" y="493"/>
                </a:cubicBezTo>
                <a:cubicBezTo>
                  <a:pt x="1427" y="493"/>
                  <a:pt x="1427" y="493"/>
                  <a:pt x="1427" y="495"/>
                </a:cubicBezTo>
                <a:cubicBezTo>
                  <a:pt x="1427" y="495"/>
                  <a:pt x="1427" y="495"/>
                  <a:pt x="1428" y="495"/>
                </a:cubicBezTo>
                <a:cubicBezTo>
                  <a:pt x="1428" y="495"/>
                  <a:pt x="1428" y="495"/>
                  <a:pt x="1428" y="496"/>
                </a:cubicBezTo>
                <a:cubicBezTo>
                  <a:pt x="1428" y="496"/>
                  <a:pt x="1428" y="496"/>
                  <a:pt x="1429" y="495"/>
                </a:cubicBezTo>
                <a:cubicBezTo>
                  <a:pt x="1429" y="495"/>
                  <a:pt x="1429" y="495"/>
                  <a:pt x="1428" y="493"/>
                </a:cubicBezTo>
                <a:close/>
                <a:moveTo>
                  <a:pt x="1427" y="497"/>
                </a:moveTo>
                <a:cubicBezTo>
                  <a:pt x="1427" y="497"/>
                  <a:pt x="1427" y="497"/>
                  <a:pt x="1428" y="498"/>
                </a:cubicBezTo>
                <a:cubicBezTo>
                  <a:pt x="1428" y="498"/>
                  <a:pt x="1428" y="498"/>
                  <a:pt x="1429" y="498"/>
                </a:cubicBezTo>
                <a:cubicBezTo>
                  <a:pt x="1429" y="498"/>
                  <a:pt x="1429" y="498"/>
                  <a:pt x="1428" y="496"/>
                </a:cubicBezTo>
                <a:cubicBezTo>
                  <a:pt x="1428" y="496"/>
                  <a:pt x="1428" y="496"/>
                  <a:pt x="1427" y="495"/>
                </a:cubicBezTo>
                <a:cubicBezTo>
                  <a:pt x="1427" y="495"/>
                  <a:pt x="1427" y="495"/>
                  <a:pt x="1427" y="497"/>
                </a:cubicBezTo>
                <a:close/>
                <a:moveTo>
                  <a:pt x="1446" y="510"/>
                </a:moveTo>
                <a:cubicBezTo>
                  <a:pt x="1444" y="509"/>
                  <a:pt x="1444" y="509"/>
                  <a:pt x="1444" y="509"/>
                </a:cubicBezTo>
                <a:cubicBezTo>
                  <a:pt x="1445" y="510"/>
                  <a:pt x="1445" y="510"/>
                  <a:pt x="1445" y="510"/>
                </a:cubicBezTo>
                <a:cubicBezTo>
                  <a:pt x="1446" y="510"/>
                  <a:pt x="1446" y="510"/>
                  <a:pt x="1446" y="510"/>
                </a:cubicBezTo>
                <a:close/>
                <a:moveTo>
                  <a:pt x="1442" y="510"/>
                </a:moveTo>
                <a:cubicBezTo>
                  <a:pt x="1442" y="510"/>
                  <a:pt x="1442" y="510"/>
                  <a:pt x="1444" y="510"/>
                </a:cubicBezTo>
                <a:cubicBezTo>
                  <a:pt x="1444" y="510"/>
                  <a:pt x="1444" y="510"/>
                  <a:pt x="1444" y="509"/>
                </a:cubicBezTo>
                <a:cubicBezTo>
                  <a:pt x="1442" y="509"/>
                  <a:pt x="1442" y="509"/>
                  <a:pt x="1442" y="509"/>
                </a:cubicBezTo>
                <a:cubicBezTo>
                  <a:pt x="1441" y="509"/>
                  <a:pt x="1441" y="509"/>
                  <a:pt x="1441" y="509"/>
                </a:cubicBezTo>
                <a:cubicBezTo>
                  <a:pt x="1441" y="509"/>
                  <a:pt x="1441" y="509"/>
                  <a:pt x="1442" y="510"/>
                </a:cubicBezTo>
                <a:close/>
                <a:moveTo>
                  <a:pt x="1442" y="507"/>
                </a:moveTo>
                <a:cubicBezTo>
                  <a:pt x="1442" y="507"/>
                  <a:pt x="1442" y="507"/>
                  <a:pt x="1441" y="507"/>
                </a:cubicBezTo>
                <a:cubicBezTo>
                  <a:pt x="1441" y="507"/>
                  <a:pt x="1441" y="507"/>
                  <a:pt x="1442" y="508"/>
                </a:cubicBezTo>
                <a:cubicBezTo>
                  <a:pt x="1442" y="508"/>
                  <a:pt x="1442" y="508"/>
                  <a:pt x="1443" y="507"/>
                </a:cubicBezTo>
                <a:cubicBezTo>
                  <a:pt x="1443" y="507"/>
                  <a:pt x="1443" y="507"/>
                  <a:pt x="1442" y="507"/>
                </a:cubicBezTo>
                <a:close/>
                <a:moveTo>
                  <a:pt x="1442" y="508"/>
                </a:moveTo>
                <a:cubicBezTo>
                  <a:pt x="1442" y="508"/>
                  <a:pt x="1441" y="508"/>
                  <a:pt x="1440" y="508"/>
                </a:cubicBezTo>
                <a:cubicBezTo>
                  <a:pt x="1440" y="508"/>
                  <a:pt x="1440" y="508"/>
                  <a:pt x="1442" y="509"/>
                </a:cubicBezTo>
                <a:cubicBezTo>
                  <a:pt x="1442" y="509"/>
                  <a:pt x="1442" y="509"/>
                  <a:pt x="1443" y="508"/>
                </a:cubicBezTo>
                <a:cubicBezTo>
                  <a:pt x="1443" y="508"/>
                  <a:pt x="1443" y="508"/>
                  <a:pt x="1442" y="508"/>
                </a:cubicBezTo>
                <a:close/>
                <a:moveTo>
                  <a:pt x="1452" y="414"/>
                </a:moveTo>
                <a:cubicBezTo>
                  <a:pt x="1451" y="416"/>
                  <a:pt x="1451" y="416"/>
                  <a:pt x="1451" y="416"/>
                </a:cubicBezTo>
                <a:cubicBezTo>
                  <a:pt x="1453" y="414"/>
                  <a:pt x="1453" y="414"/>
                  <a:pt x="1453" y="414"/>
                </a:cubicBezTo>
                <a:cubicBezTo>
                  <a:pt x="1452" y="414"/>
                  <a:pt x="1452" y="414"/>
                  <a:pt x="1452" y="414"/>
                </a:cubicBezTo>
                <a:close/>
                <a:moveTo>
                  <a:pt x="1448" y="414"/>
                </a:moveTo>
                <a:cubicBezTo>
                  <a:pt x="1446" y="413"/>
                  <a:pt x="1446" y="413"/>
                  <a:pt x="1446" y="413"/>
                </a:cubicBezTo>
                <a:cubicBezTo>
                  <a:pt x="1447" y="414"/>
                  <a:pt x="1447" y="414"/>
                  <a:pt x="1447" y="414"/>
                </a:cubicBezTo>
                <a:cubicBezTo>
                  <a:pt x="1448" y="414"/>
                  <a:pt x="1448" y="414"/>
                  <a:pt x="1448" y="414"/>
                </a:cubicBezTo>
                <a:close/>
                <a:moveTo>
                  <a:pt x="1389" y="424"/>
                </a:moveTo>
                <a:cubicBezTo>
                  <a:pt x="1388" y="424"/>
                  <a:pt x="1388" y="424"/>
                  <a:pt x="1388" y="424"/>
                </a:cubicBezTo>
                <a:cubicBezTo>
                  <a:pt x="1388" y="425"/>
                  <a:pt x="1388" y="425"/>
                  <a:pt x="1388" y="425"/>
                </a:cubicBezTo>
                <a:cubicBezTo>
                  <a:pt x="1389" y="426"/>
                  <a:pt x="1389" y="426"/>
                  <a:pt x="1389" y="426"/>
                </a:cubicBezTo>
                <a:cubicBezTo>
                  <a:pt x="1389" y="425"/>
                  <a:pt x="1389" y="425"/>
                  <a:pt x="1389" y="425"/>
                </a:cubicBezTo>
                <a:cubicBezTo>
                  <a:pt x="1389" y="424"/>
                  <a:pt x="1389" y="424"/>
                  <a:pt x="1389" y="424"/>
                </a:cubicBezTo>
                <a:close/>
                <a:moveTo>
                  <a:pt x="1412" y="417"/>
                </a:moveTo>
                <a:cubicBezTo>
                  <a:pt x="1411" y="417"/>
                  <a:pt x="1411" y="417"/>
                  <a:pt x="1411" y="417"/>
                </a:cubicBezTo>
                <a:cubicBezTo>
                  <a:pt x="1411" y="418"/>
                  <a:pt x="1411" y="418"/>
                  <a:pt x="1411" y="418"/>
                </a:cubicBezTo>
                <a:cubicBezTo>
                  <a:pt x="1412" y="418"/>
                  <a:pt x="1412" y="418"/>
                  <a:pt x="1412" y="418"/>
                </a:cubicBezTo>
                <a:cubicBezTo>
                  <a:pt x="1412" y="417"/>
                  <a:pt x="1412" y="417"/>
                  <a:pt x="1412" y="417"/>
                </a:cubicBezTo>
                <a:close/>
                <a:moveTo>
                  <a:pt x="1365" y="444"/>
                </a:moveTo>
                <a:cubicBezTo>
                  <a:pt x="1365" y="443"/>
                  <a:pt x="1365" y="443"/>
                  <a:pt x="1365" y="443"/>
                </a:cubicBezTo>
                <a:cubicBezTo>
                  <a:pt x="1364" y="442"/>
                  <a:pt x="1364" y="442"/>
                  <a:pt x="1364" y="442"/>
                </a:cubicBezTo>
                <a:cubicBezTo>
                  <a:pt x="1363" y="442"/>
                  <a:pt x="1363" y="442"/>
                  <a:pt x="1363" y="442"/>
                </a:cubicBezTo>
                <a:cubicBezTo>
                  <a:pt x="1362" y="442"/>
                  <a:pt x="1362" y="442"/>
                  <a:pt x="1362" y="442"/>
                </a:cubicBezTo>
                <a:cubicBezTo>
                  <a:pt x="1363" y="443"/>
                  <a:pt x="1363" y="443"/>
                  <a:pt x="1363" y="443"/>
                </a:cubicBezTo>
                <a:cubicBezTo>
                  <a:pt x="1364" y="443"/>
                  <a:pt x="1364" y="443"/>
                  <a:pt x="1364" y="443"/>
                </a:cubicBezTo>
                <a:cubicBezTo>
                  <a:pt x="1365" y="444"/>
                  <a:pt x="1365" y="444"/>
                  <a:pt x="1365" y="444"/>
                </a:cubicBezTo>
                <a:close/>
                <a:moveTo>
                  <a:pt x="1366" y="440"/>
                </a:moveTo>
                <a:cubicBezTo>
                  <a:pt x="1365" y="440"/>
                  <a:pt x="1365" y="440"/>
                  <a:pt x="1365" y="440"/>
                </a:cubicBezTo>
                <a:cubicBezTo>
                  <a:pt x="1365" y="441"/>
                  <a:pt x="1365" y="441"/>
                  <a:pt x="1365" y="441"/>
                </a:cubicBezTo>
                <a:cubicBezTo>
                  <a:pt x="1366" y="441"/>
                  <a:pt x="1366" y="441"/>
                  <a:pt x="1366" y="441"/>
                </a:cubicBezTo>
                <a:cubicBezTo>
                  <a:pt x="1366" y="440"/>
                  <a:pt x="1366" y="440"/>
                  <a:pt x="1366" y="440"/>
                </a:cubicBezTo>
                <a:close/>
                <a:moveTo>
                  <a:pt x="1364" y="441"/>
                </a:moveTo>
                <a:cubicBezTo>
                  <a:pt x="1364" y="442"/>
                  <a:pt x="1364" y="442"/>
                  <a:pt x="1364" y="442"/>
                </a:cubicBezTo>
                <a:cubicBezTo>
                  <a:pt x="1365" y="441"/>
                  <a:pt x="1365" y="441"/>
                  <a:pt x="1365" y="441"/>
                </a:cubicBezTo>
                <a:cubicBezTo>
                  <a:pt x="1364" y="441"/>
                  <a:pt x="1364" y="441"/>
                  <a:pt x="1364" y="441"/>
                </a:cubicBezTo>
                <a:close/>
                <a:moveTo>
                  <a:pt x="1308" y="347"/>
                </a:moveTo>
                <a:cubicBezTo>
                  <a:pt x="1307" y="347"/>
                  <a:pt x="1307" y="347"/>
                  <a:pt x="1307" y="347"/>
                </a:cubicBezTo>
                <a:cubicBezTo>
                  <a:pt x="1308" y="348"/>
                  <a:pt x="1308" y="348"/>
                  <a:pt x="1308" y="348"/>
                </a:cubicBezTo>
                <a:cubicBezTo>
                  <a:pt x="1308" y="347"/>
                  <a:pt x="1308" y="347"/>
                  <a:pt x="1308" y="347"/>
                </a:cubicBezTo>
                <a:close/>
                <a:moveTo>
                  <a:pt x="1308" y="352"/>
                </a:moveTo>
                <a:cubicBezTo>
                  <a:pt x="1308" y="351"/>
                  <a:pt x="1308" y="351"/>
                  <a:pt x="1308" y="351"/>
                </a:cubicBezTo>
                <a:cubicBezTo>
                  <a:pt x="1308" y="350"/>
                  <a:pt x="1308" y="350"/>
                  <a:pt x="1308" y="350"/>
                </a:cubicBezTo>
                <a:cubicBezTo>
                  <a:pt x="1307" y="350"/>
                  <a:pt x="1307" y="350"/>
                  <a:pt x="1307" y="350"/>
                </a:cubicBezTo>
                <a:cubicBezTo>
                  <a:pt x="1308" y="352"/>
                  <a:pt x="1308" y="352"/>
                  <a:pt x="1308" y="352"/>
                </a:cubicBezTo>
                <a:close/>
                <a:moveTo>
                  <a:pt x="1305" y="343"/>
                </a:moveTo>
                <a:cubicBezTo>
                  <a:pt x="1305" y="344"/>
                  <a:pt x="1305" y="344"/>
                  <a:pt x="1305" y="344"/>
                </a:cubicBezTo>
                <a:cubicBezTo>
                  <a:pt x="1306" y="345"/>
                  <a:pt x="1306" y="345"/>
                  <a:pt x="1306" y="345"/>
                </a:cubicBezTo>
                <a:cubicBezTo>
                  <a:pt x="1305" y="343"/>
                  <a:pt x="1305" y="343"/>
                  <a:pt x="1305" y="343"/>
                </a:cubicBezTo>
                <a:close/>
                <a:moveTo>
                  <a:pt x="1309" y="342"/>
                </a:moveTo>
                <a:cubicBezTo>
                  <a:pt x="1308" y="342"/>
                  <a:pt x="1308" y="342"/>
                  <a:pt x="1308" y="342"/>
                </a:cubicBezTo>
                <a:cubicBezTo>
                  <a:pt x="1309" y="343"/>
                  <a:pt x="1309" y="343"/>
                  <a:pt x="1309" y="343"/>
                </a:cubicBezTo>
                <a:cubicBezTo>
                  <a:pt x="1309" y="342"/>
                  <a:pt x="1309" y="342"/>
                  <a:pt x="1309" y="342"/>
                </a:cubicBezTo>
                <a:close/>
                <a:moveTo>
                  <a:pt x="1309" y="346"/>
                </a:moveTo>
                <a:cubicBezTo>
                  <a:pt x="1309" y="346"/>
                  <a:pt x="1309" y="346"/>
                  <a:pt x="1308" y="345"/>
                </a:cubicBezTo>
                <a:cubicBezTo>
                  <a:pt x="1308" y="345"/>
                  <a:pt x="1308" y="345"/>
                  <a:pt x="1306" y="342"/>
                </a:cubicBezTo>
                <a:cubicBezTo>
                  <a:pt x="1306" y="343"/>
                  <a:pt x="1306" y="343"/>
                  <a:pt x="1306" y="343"/>
                </a:cubicBezTo>
                <a:cubicBezTo>
                  <a:pt x="1306" y="343"/>
                  <a:pt x="1306" y="343"/>
                  <a:pt x="1306" y="344"/>
                </a:cubicBezTo>
                <a:cubicBezTo>
                  <a:pt x="1306" y="344"/>
                  <a:pt x="1306" y="344"/>
                  <a:pt x="1308" y="346"/>
                </a:cubicBezTo>
                <a:cubicBezTo>
                  <a:pt x="1308" y="346"/>
                  <a:pt x="1308" y="346"/>
                  <a:pt x="1309" y="346"/>
                </a:cubicBezTo>
                <a:close/>
                <a:moveTo>
                  <a:pt x="1308" y="344"/>
                </a:moveTo>
                <a:cubicBezTo>
                  <a:pt x="1308" y="344"/>
                  <a:pt x="1308" y="344"/>
                  <a:pt x="1308" y="343"/>
                </a:cubicBezTo>
                <a:cubicBezTo>
                  <a:pt x="1308" y="343"/>
                  <a:pt x="1308" y="343"/>
                  <a:pt x="1307" y="342"/>
                </a:cubicBezTo>
                <a:cubicBezTo>
                  <a:pt x="1306" y="342"/>
                  <a:pt x="1306" y="342"/>
                  <a:pt x="1306" y="342"/>
                </a:cubicBezTo>
                <a:cubicBezTo>
                  <a:pt x="1306" y="342"/>
                  <a:pt x="1306" y="342"/>
                  <a:pt x="1307" y="343"/>
                </a:cubicBezTo>
                <a:cubicBezTo>
                  <a:pt x="1307" y="343"/>
                  <a:pt x="1307" y="343"/>
                  <a:pt x="1308" y="344"/>
                </a:cubicBezTo>
                <a:close/>
                <a:moveTo>
                  <a:pt x="1298" y="411"/>
                </a:moveTo>
                <a:cubicBezTo>
                  <a:pt x="1298" y="411"/>
                  <a:pt x="1298" y="411"/>
                  <a:pt x="1299" y="411"/>
                </a:cubicBezTo>
                <a:cubicBezTo>
                  <a:pt x="1299" y="411"/>
                  <a:pt x="1299" y="411"/>
                  <a:pt x="1299" y="410"/>
                </a:cubicBezTo>
                <a:cubicBezTo>
                  <a:pt x="1299" y="410"/>
                  <a:pt x="1299" y="410"/>
                  <a:pt x="1300" y="410"/>
                </a:cubicBezTo>
                <a:cubicBezTo>
                  <a:pt x="1300" y="410"/>
                  <a:pt x="1300" y="410"/>
                  <a:pt x="1301" y="410"/>
                </a:cubicBezTo>
                <a:cubicBezTo>
                  <a:pt x="1301" y="410"/>
                  <a:pt x="1301" y="410"/>
                  <a:pt x="1302" y="410"/>
                </a:cubicBezTo>
                <a:cubicBezTo>
                  <a:pt x="1302" y="410"/>
                  <a:pt x="1302" y="410"/>
                  <a:pt x="1301" y="409"/>
                </a:cubicBezTo>
                <a:cubicBezTo>
                  <a:pt x="1301" y="409"/>
                  <a:pt x="1301" y="409"/>
                  <a:pt x="1302" y="409"/>
                </a:cubicBezTo>
                <a:cubicBezTo>
                  <a:pt x="1302" y="409"/>
                  <a:pt x="1302" y="409"/>
                  <a:pt x="1303" y="410"/>
                </a:cubicBezTo>
                <a:cubicBezTo>
                  <a:pt x="1303" y="410"/>
                  <a:pt x="1303" y="410"/>
                  <a:pt x="1302" y="411"/>
                </a:cubicBezTo>
                <a:cubicBezTo>
                  <a:pt x="1302" y="411"/>
                  <a:pt x="1302" y="411"/>
                  <a:pt x="1302" y="412"/>
                </a:cubicBezTo>
                <a:cubicBezTo>
                  <a:pt x="1302" y="412"/>
                  <a:pt x="1302" y="412"/>
                  <a:pt x="1303" y="410"/>
                </a:cubicBezTo>
                <a:cubicBezTo>
                  <a:pt x="1303" y="410"/>
                  <a:pt x="1303" y="410"/>
                  <a:pt x="1303" y="409"/>
                </a:cubicBezTo>
                <a:cubicBezTo>
                  <a:pt x="1303" y="409"/>
                  <a:pt x="1303" y="409"/>
                  <a:pt x="1304" y="409"/>
                </a:cubicBezTo>
                <a:cubicBezTo>
                  <a:pt x="1304" y="409"/>
                  <a:pt x="1304" y="409"/>
                  <a:pt x="1304" y="408"/>
                </a:cubicBezTo>
                <a:cubicBezTo>
                  <a:pt x="1304" y="408"/>
                  <a:pt x="1304" y="408"/>
                  <a:pt x="1305" y="409"/>
                </a:cubicBezTo>
                <a:cubicBezTo>
                  <a:pt x="1305" y="409"/>
                  <a:pt x="1305" y="409"/>
                  <a:pt x="1306" y="410"/>
                </a:cubicBezTo>
                <a:cubicBezTo>
                  <a:pt x="1306" y="410"/>
                  <a:pt x="1306" y="410"/>
                  <a:pt x="1305" y="410"/>
                </a:cubicBezTo>
                <a:cubicBezTo>
                  <a:pt x="1305" y="410"/>
                  <a:pt x="1305" y="410"/>
                  <a:pt x="1304" y="411"/>
                </a:cubicBezTo>
                <a:cubicBezTo>
                  <a:pt x="1305" y="411"/>
                  <a:pt x="1305" y="411"/>
                  <a:pt x="1305" y="411"/>
                </a:cubicBezTo>
                <a:cubicBezTo>
                  <a:pt x="1306" y="411"/>
                  <a:pt x="1306" y="411"/>
                  <a:pt x="1306" y="411"/>
                </a:cubicBezTo>
                <a:cubicBezTo>
                  <a:pt x="1307" y="411"/>
                  <a:pt x="1307" y="411"/>
                  <a:pt x="1307" y="411"/>
                </a:cubicBezTo>
                <a:cubicBezTo>
                  <a:pt x="1308" y="410"/>
                  <a:pt x="1308" y="410"/>
                  <a:pt x="1308" y="410"/>
                </a:cubicBezTo>
                <a:cubicBezTo>
                  <a:pt x="1310" y="410"/>
                  <a:pt x="1310" y="410"/>
                  <a:pt x="1310" y="410"/>
                </a:cubicBezTo>
                <a:cubicBezTo>
                  <a:pt x="1311" y="410"/>
                  <a:pt x="1311" y="410"/>
                  <a:pt x="1311" y="410"/>
                </a:cubicBezTo>
                <a:cubicBezTo>
                  <a:pt x="1311" y="412"/>
                  <a:pt x="1311" y="412"/>
                  <a:pt x="1311" y="412"/>
                </a:cubicBezTo>
                <a:cubicBezTo>
                  <a:pt x="1312" y="414"/>
                  <a:pt x="1312" y="414"/>
                  <a:pt x="1312" y="414"/>
                </a:cubicBezTo>
                <a:cubicBezTo>
                  <a:pt x="1312" y="415"/>
                  <a:pt x="1312" y="415"/>
                  <a:pt x="1312" y="415"/>
                </a:cubicBezTo>
                <a:cubicBezTo>
                  <a:pt x="1313" y="415"/>
                  <a:pt x="1313" y="415"/>
                  <a:pt x="1313" y="415"/>
                </a:cubicBezTo>
                <a:cubicBezTo>
                  <a:pt x="1314" y="418"/>
                  <a:pt x="1314" y="418"/>
                  <a:pt x="1314" y="418"/>
                </a:cubicBezTo>
                <a:cubicBezTo>
                  <a:pt x="1313" y="416"/>
                  <a:pt x="1313" y="416"/>
                  <a:pt x="1313" y="416"/>
                </a:cubicBezTo>
                <a:cubicBezTo>
                  <a:pt x="1312" y="417"/>
                  <a:pt x="1312" y="417"/>
                  <a:pt x="1312" y="417"/>
                </a:cubicBezTo>
                <a:cubicBezTo>
                  <a:pt x="1313" y="418"/>
                  <a:pt x="1313" y="418"/>
                  <a:pt x="1313" y="418"/>
                </a:cubicBezTo>
                <a:cubicBezTo>
                  <a:pt x="1313" y="419"/>
                  <a:pt x="1313" y="419"/>
                  <a:pt x="1313" y="419"/>
                </a:cubicBezTo>
                <a:cubicBezTo>
                  <a:pt x="1311" y="418"/>
                  <a:pt x="1311" y="418"/>
                  <a:pt x="1311" y="418"/>
                </a:cubicBezTo>
                <a:cubicBezTo>
                  <a:pt x="1311" y="419"/>
                  <a:pt x="1311" y="419"/>
                  <a:pt x="1311" y="419"/>
                </a:cubicBezTo>
                <a:cubicBezTo>
                  <a:pt x="1310" y="420"/>
                  <a:pt x="1310" y="420"/>
                  <a:pt x="1310" y="420"/>
                </a:cubicBezTo>
                <a:cubicBezTo>
                  <a:pt x="1310" y="421"/>
                  <a:pt x="1310" y="421"/>
                  <a:pt x="1310" y="421"/>
                </a:cubicBezTo>
                <a:cubicBezTo>
                  <a:pt x="1310" y="421"/>
                  <a:pt x="1310" y="421"/>
                  <a:pt x="1309" y="421"/>
                </a:cubicBezTo>
                <a:cubicBezTo>
                  <a:pt x="1309" y="421"/>
                  <a:pt x="1309" y="421"/>
                  <a:pt x="1308" y="421"/>
                </a:cubicBezTo>
                <a:cubicBezTo>
                  <a:pt x="1308" y="421"/>
                  <a:pt x="1308" y="421"/>
                  <a:pt x="1309" y="422"/>
                </a:cubicBezTo>
                <a:cubicBezTo>
                  <a:pt x="1309" y="422"/>
                  <a:pt x="1309" y="422"/>
                  <a:pt x="1309" y="423"/>
                </a:cubicBezTo>
                <a:cubicBezTo>
                  <a:pt x="1309" y="423"/>
                  <a:pt x="1309" y="423"/>
                  <a:pt x="1310" y="425"/>
                </a:cubicBezTo>
                <a:cubicBezTo>
                  <a:pt x="1310" y="425"/>
                  <a:pt x="1310" y="425"/>
                  <a:pt x="1310" y="426"/>
                </a:cubicBezTo>
                <a:cubicBezTo>
                  <a:pt x="1310" y="426"/>
                  <a:pt x="1310" y="426"/>
                  <a:pt x="1309" y="426"/>
                </a:cubicBezTo>
                <a:cubicBezTo>
                  <a:pt x="1309" y="426"/>
                  <a:pt x="1309" y="426"/>
                  <a:pt x="1310" y="427"/>
                </a:cubicBezTo>
                <a:cubicBezTo>
                  <a:pt x="1310" y="427"/>
                  <a:pt x="1310" y="427"/>
                  <a:pt x="1310" y="430"/>
                </a:cubicBezTo>
                <a:cubicBezTo>
                  <a:pt x="1310" y="430"/>
                  <a:pt x="1310" y="430"/>
                  <a:pt x="1310" y="431"/>
                </a:cubicBezTo>
                <a:cubicBezTo>
                  <a:pt x="1310" y="431"/>
                  <a:pt x="1310" y="431"/>
                  <a:pt x="1309" y="432"/>
                </a:cubicBezTo>
                <a:cubicBezTo>
                  <a:pt x="1309" y="432"/>
                  <a:pt x="1309" y="432"/>
                  <a:pt x="1309" y="433"/>
                </a:cubicBezTo>
                <a:cubicBezTo>
                  <a:pt x="1309" y="433"/>
                  <a:pt x="1309" y="433"/>
                  <a:pt x="1308" y="434"/>
                </a:cubicBezTo>
                <a:cubicBezTo>
                  <a:pt x="1308" y="434"/>
                  <a:pt x="1308" y="434"/>
                  <a:pt x="1307" y="435"/>
                </a:cubicBezTo>
                <a:cubicBezTo>
                  <a:pt x="1307" y="435"/>
                  <a:pt x="1307" y="435"/>
                  <a:pt x="1309" y="436"/>
                </a:cubicBezTo>
                <a:cubicBezTo>
                  <a:pt x="1309" y="436"/>
                  <a:pt x="1309" y="436"/>
                  <a:pt x="1307" y="436"/>
                </a:cubicBezTo>
                <a:cubicBezTo>
                  <a:pt x="1307" y="436"/>
                  <a:pt x="1307" y="436"/>
                  <a:pt x="1306" y="436"/>
                </a:cubicBezTo>
                <a:cubicBezTo>
                  <a:pt x="1306" y="436"/>
                  <a:pt x="1306" y="436"/>
                  <a:pt x="1305" y="437"/>
                </a:cubicBezTo>
                <a:cubicBezTo>
                  <a:pt x="1305" y="437"/>
                  <a:pt x="1305" y="437"/>
                  <a:pt x="1305" y="436"/>
                </a:cubicBezTo>
                <a:cubicBezTo>
                  <a:pt x="1305" y="436"/>
                  <a:pt x="1305" y="436"/>
                  <a:pt x="1304" y="437"/>
                </a:cubicBezTo>
                <a:cubicBezTo>
                  <a:pt x="1304" y="437"/>
                  <a:pt x="1304" y="437"/>
                  <a:pt x="1301" y="437"/>
                </a:cubicBezTo>
                <a:cubicBezTo>
                  <a:pt x="1301" y="437"/>
                  <a:pt x="1301" y="437"/>
                  <a:pt x="1301" y="438"/>
                </a:cubicBezTo>
                <a:cubicBezTo>
                  <a:pt x="1301" y="438"/>
                  <a:pt x="1301" y="438"/>
                  <a:pt x="1300" y="438"/>
                </a:cubicBezTo>
                <a:cubicBezTo>
                  <a:pt x="1300" y="438"/>
                  <a:pt x="1300" y="438"/>
                  <a:pt x="1299" y="439"/>
                </a:cubicBezTo>
                <a:cubicBezTo>
                  <a:pt x="1299" y="439"/>
                  <a:pt x="1299" y="439"/>
                  <a:pt x="1298" y="439"/>
                </a:cubicBezTo>
                <a:cubicBezTo>
                  <a:pt x="1298" y="439"/>
                  <a:pt x="1298" y="439"/>
                  <a:pt x="1297" y="438"/>
                </a:cubicBezTo>
                <a:cubicBezTo>
                  <a:pt x="1297" y="438"/>
                  <a:pt x="1297" y="438"/>
                  <a:pt x="1297" y="440"/>
                </a:cubicBezTo>
                <a:cubicBezTo>
                  <a:pt x="1297" y="440"/>
                  <a:pt x="1297" y="440"/>
                  <a:pt x="1296" y="441"/>
                </a:cubicBezTo>
                <a:cubicBezTo>
                  <a:pt x="1296" y="441"/>
                  <a:pt x="1296" y="441"/>
                  <a:pt x="1294" y="441"/>
                </a:cubicBezTo>
                <a:cubicBezTo>
                  <a:pt x="1294" y="441"/>
                  <a:pt x="1294" y="441"/>
                  <a:pt x="1291" y="442"/>
                </a:cubicBezTo>
                <a:cubicBezTo>
                  <a:pt x="1291" y="442"/>
                  <a:pt x="1291" y="442"/>
                  <a:pt x="1291" y="441"/>
                </a:cubicBezTo>
                <a:cubicBezTo>
                  <a:pt x="1291" y="441"/>
                  <a:pt x="1291" y="441"/>
                  <a:pt x="1289" y="441"/>
                </a:cubicBezTo>
                <a:cubicBezTo>
                  <a:pt x="1289" y="441"/>
                  <a:pt x="1289" y="441"/>
                  <a:pt x="1288" y="441"/>
                </a:cubicBezTo>
                <a:cubicBezTo>
                  <a:pt x="1288" y="441"/>
                  <a:pt x="1288" y="441"/>
                  <a:pt x="1290" y="440"/>
                </a:cubicBezTo>
                <a:cubicBezTo>
                  <a:pt x="1290" y="440"/>
                  <a:pt x="1290" y="440"/>
                  <a:pt x="1290" y="439"/>
                </a:cubicBezTo>
                <a:cubicBezTo>
                  <a:pt x="1290" y="439"/>
                  <a:pt x="1290" y="439"/>
                  <a:pt x="1288" y="440"/>
                </a:cubicBezTo>
                <a:cubicBezTo>
                  <a:pt x="1288" y="440"/>
                  <a:pt x="1288" y="440"/>
                  <a:pt x="1290" y="438"/>
                </a:cubicBezTo>
                <a:cubicBezTo>
                  <a:pt x="1290" y="438"/>
                  <a:pt x="1290" y="438"/>
                  <a:pt x="1287" y="439"/>
                </a:cubicBezTo>
                <a:cubicBezTo>
                  <a:pt x="1287" y="439"/>
                  <a:pt x="1287" y="439"/>
                  <a:pt x="1287" y="438"/>
                </a:cubicBezTo>
                <a:cubicBezTo>
                  <a:pt x="1287" y="438"/>
                  <a:pt x="1287" y="438"/>
                  <a:pt x="1286" y="438"/>
                </a:cubicBezTo>
                <a:cubicBezTo>
                  <a:pt x="1286" y="438"/>
                  <a:pt x="1286" y="438"/>
                  <a:pt x="1286" y="437"/>
                </a:cubicBezTo>
                <a:cubicBezTo>
                  <a:pt x="1286" y="437"/>
                  <a:pt x="1286" y="437"/>
                  <a:pt x="1288" y="437"/>
                </a:cubicBezTo>
                <a:cubicBezTo>
                  <a:pt x="1288" y="437"/>
                  <a:pt x="1288" y="437"/>
                  <a:pt x="1289" y="436"/>
                </a:cubicBezTo>
                <a:cubicBezTo>
                  <a:pt x="1289" y="436"/>
                  <a:pt x="1289" y="436"/>
                  <a:pt x="1285" y="436"/>
                </a:cubicBezTo>
                <a:cubicBezTo>
                  <a:pt x="1285" y="436"/>
                  <a:pt x="1285" y="436"/>
                  <a:pt x="1285" y="435"/>
                </a:cubicBezTo>
                <a:cubicBezTo>
                  <a:pt x="1285" y="435"/>
                  <a:pt x="1285" y="435"/>
                  <a:pt x="1287" y="434"/>
                </a:cubicBezTo>
                <a:cubicBezTo>
                  <a:pt x="1287" y="434"/>
                  <a:pt x="1287" y="434"/>
                  <a:pt x="1288" y="435"/>
                </a:cubicBezTo>
                <a:cubicBezTo>
                  <a:pt x="1288" y="435"/>
                  <a:pt x="1288" y="435"/>
                  <a:pt x="1289" y="435"/>
                </a:cubicBezTo>
                <a:cubicBezTo>
                  <a:pt x="1289" y="435"/>
                  <a:pt x="1289" y="435"/>
                  <a:pt x="1289" y="434"/>
                </a:cubicBezTo>
                <a:cubicBezTo>
                  <a:pt x="1289" y="434"/>
                  <a:pt x="1289" y="434"/>
                  <a:pt x="1288" y="433"/>
                </a:cubicBezTo>
                <a:cubicBezTo>
                  <a:pt x="1288" y="433"/>
                  <a:pt x="1288" y="433"/>
                  <a:pt x="1290" y="433"/>
                </a:cubicBezTo>
                <a:cubicBezTo>
                  <a:pt x="1290" y="433"/>
                  <a:pt x="1290" y="433"/>
                  <a:pt x="1290" y="432"/>
                </a:cubicBezTo>
                <a:cubicBezTo>
                  <a:pt x="1290" y="432"/>
                  <a:pt x="1290" y="432"/>
                  <a:pt x="1291" y="432"/>
                </a:cubicBezTo>
                <a:cubicBezTo>
                  <a:pt x="1291" y="432"/>
                  <a:pt x="1291" y="432"/>
                  <a:pt x="1291" y="431"/>
                </a:cubicBezTo>
                <a:cubicBezTo>
                  <a:pt x="1291" y="431"/>
                  <a:pt x="1291" y="431"/>
                  <a:pt x="1292" y="429"/>
                </a:cubicBezTo>
                <a:cubicBezTo>
                  <a:pt x="1292" y="429"/>
                  <a:pt x="1292" y="429"/>
                  <a:pt x="1291" y="429"/>
                </a:cubicBezTo>
                <a:cubicBezTo>
                  <a:pt x="1291" y="429"/>
                  <a:pt x="1291" y="429"/>
                  <a:pt x="1292" y="427"/>
                </a:cubicBezTo>
                <a:cubicBezTo>
                  <a:pt x="1292" y="427"/>
                  <a:pt x="1292" y="427"/>
                  <a:pt x="1293" y="428"/>
                </a:cubicBezTo>
                <a:cubicBezTo>
                  <a:pt x="1293" y="428"/>
                  <a:pt x="1293" y="428"/>
                  <a:pt x="1294" y="426"/>
                </a:cubicBezTo>
                <a:cubicBezTo>
                  <a:pt x="1294" y="426"/>
                  <a:pt x="1294" y="426"/>
                  <a:pt x="1291" y="426"/>
                </a:cubicBezTo>
                <a:cubicBezTo>
                  <a:pt x="1291" y="426"/>
                  <a:pt x="1291" y="426"/>
                  <a:pt x="1291" y="425"/>
                </a:cubicBezTo>
                <a:cubicBezTo>
                  <a:pt x="1291" y="425"/>
                  <a:pt x="1291" y="425"/>
                  <a:pt x="1290" y="425"/>
                </a:cubicBezTo>
                <a:cubicBezTo>
                  <a:pt x="1290" y="425"/>
                  <a:pt x="1290" y="425"/>
                  <a:pt x="1289" y="425"/>
                </a:cubicBezTo>
                <a:cubicBezTo>
                  <a:pt x="1289" y="425"/>
                  <a:pt x="1289" y="425"/>
                  <a:pt x="1288" y="424"/>
                </a:cubicBezTo>
                <a:cubicBezTo>
                  <a:pt x="1288" y="424"/>
                  <a:pt x="1288" y="424"/>
                  <a:pt x="1288" y="423"/>
                </a:cubicBezTo>
                <a:cubicBezTo>
                  <a:pt x="1288" y="423"/>
                  <a:pt x="1288" y="423"/>
                  <a:pt x="1290" y="423"/>
                </a:cubicBezTo>
                <a:cubicBezTo>
                  <a:pt x="1290" y="423"/>
                  <a:pt x="1290" y="423"/>
                  <a:pt x="1289" y="422"/>
                </a:cubicBezTo>
                <a:cubicBezTo>
                  <a:pt x="1289" y="422"/>
                  <a:pt x="1289" y="422"/>
                  <a:pt x="1290" y="422"/>
                </a:cubicBezTo>
                <a:cubicBezTo>
                  <a:pt x="1290" y="422"/>
                  <a:pt x="1290" y="422"/>
                  <a:pt x="1291" y="421"/>
                </a:cubicBezTo>
                <a:cubicBezTo>
                  <a:pt x="1291" y="421"/>
                  <a:pt x="1291" y="421"/>
                  <a:pt x="1291" y="420"/>
                </a:cubicBezTo>
                <a:cubicBezTo>
                  <a:pt x="1291" y="420"/>
                  <a:pt x="1291" y="420"/>
                  <a:pt x="1290" y="421"/>
                </a:cubicBezTo>
                <a:cubicBezTo>
                  <a:pt x="1290" y="421"/>
                  <a:pt x="1290" y="421"/>
                  <a:pt x="1289" y="420"/>
                </a:cubicBezTo>
                <a:cubicBezTo>
                  <a:pt x="1289" y="420"/>
                  <a:pt x="1289" y="420"/>
                  <a:pt x="1290" y="420"/>
                </a:cubicBezTo>
                <a:cubicBezTo>
                  <a:pt x="1290" y="420"/>
                  <a:pt x="1290" y="420"/>
                  <a:pt x="1290" y="419"/>
                </a:cubicBezTo>
                <a:cubicBezTo>
                  <a:pt x="1290" y="419"/>
                  <a:pt x="1290" y="419"/>
                  <a:pt x="1289" y="419"/>
                </a:cubicBezTo>
                <a:cubicBezTo>
                  <a:pt x="1289" y="419"/>
                  <a:pt x="1289" y="419"/>
                  <a:pt x="1289" y="418"/>
                </a:cubicBezTo>
                <a:cubicBezTo>
                  <a:pt x="1289" y="418"/>
                  <a:pt x="1289" y="418"/>
                  <a:pt x="1288" y="418"/>
                </a:cubicBezTo>
                <a:cubicBezTo>
                  <a:pt x="1288" y="418"/>
                  <a:pt x="1288" y="418"/>
                  <a:pt x="1289" y="417"/>
                </a:cubicBezTo>
                <a:cubicBezTo>
                  <a:pt x="1289" y="417"/>
                  <a:pt x="1289" y="417"/>
                  <a:pt x="1290" y="417"/>
                </a:cubicBezTo>
                <a:cubicBezTo>
                  <a:pt x="1290" y="417"/>
                  <a:pt x="1290" y="417"/>
                  <a:pt x="1293" y="417"/>
                </a:cubicBezTo>
                <a:cubicBezTo>
                  <a:pt x="1293" y="417"/>
                  <a:pt x="1293" y="417"/>
                  <a:pt x="1294" y="418"/>
                </a:cubicBezTo>
                <a:cubicBezTo>
                  <a:pt x="1294" y="418"/>
                  <a:pt x="1294" y="418"/>
                  <a:pt x="1294" y="417"/>
                </a:cubicBezTo>
                <a:cubicBezTo>
                  <a:pt x="1294" y="417"/>
                  <a:pt x="1294" y="417"/>
                  <a:pt x="1295" y="418"/>
                </a:cubicBezTo>
                <a:cubicBezTo>
                  <a:pt x="1295" y="418"/>
                  <a:pt x="1295" y="418"/>
                  <a:pt x="1297" y="417"/>
                </a:cubicBezTo>
                <a:cubicBezTo>
                  <a:pt x="1297" y="417"/>
                  <a:pt x="1297" y="417"/>
                  <a:pt x="1296" y="417"/>
                </a:cubicBezTo>
                <a:cubicBezTo>
                  <a:pt x="1296" y="417"/>
                  <a:pt x="1296" y="417"/>
                  <a:pt x="1298" y="416"/>
                </a:cubicBezTo>
                <a:cubicBezTo>
                  <a:pt x="1298" y="416"/>
                  <a:pt x="1298" y="416"/>
                  <a:pt x="1300" y="415"/>
                </a:cubicBezTo>
                <a:cubicBezTo>
                  <a:pt x="1300" y="415"/>
                  <a:pt x="1300" y="415"/>
                  <a:pt x="1299" y="415"/>
                </a:cubicBezTo>
                <a:cubicBezTo>
                  <a:pt x="1299" y="415"/>
                  <a:pt x="1299" y="415"/>
                  <a:pt x="1298" y="415"/>
                </a:cubicBezTo>
                <a:cubicBezTo>
                  <a:pt x="1298" y="415"/>
                  <a:pt x="1298" y="415"/>
                  <a:pt x="1297" y="415"/>
                </a:cubicBezTo>
                <a:cubicBezTo>
                  <a:pt x="1297" y="415"/>
                  <a:pt x="1297" y="415"/>
                  <a:pt x="1296" y="414"/>
                </a:cubicBezTo>
                <a:cubicBezTo>
                  <a:pt x="1296" y="414"/>
                  <a:pt x="1296" y="414"/>
                  <a:pt x="1298" y="413"/>
                </a:cubicBezTo>
                <a:cubicBezTo>
                  <a:pt x="1298" y="413"/>
                  <a:pt x="1298" y="413"/>
                  <a:pt x="1299" y="412"/>
                </a:cubicBezTo>
                <a:cubicBezTo>
                  <a:pt x="1299" y="412"/>
                  <a:pt x="1299" y="412"/>
                  <a:pt x="1298" y="412"/>
                </a:cubicBezTo>
                <a:lnTo>
                  <a:pt x="1298" y="411"/>
                </a:lnTo>
                <a:close/>
                <a:moveTo>
                  <a:pt x="1295" y="431"/>
                </a:moveTo>
                <a:cubicBezTo>
                  <a:pt x="1295" y="431"/>
                  <a:pt x="1295" y="431"/>
                  <a:pt x="1294" y="431"/>
                </a:cubicBezTo>
                <a:cubicBezTo>
                  <a:pt x="1294" y="431"/>
                  <a:pt x="1294" y="431"/>
                  <a:pt x="1294" y="431"/>
                </a:cubicBezTo>
                <a:cubicBezTo>
                  <a:pt x="1294" y="431"/>
                  <a:pt x="1294" y="431"/>
                  <a:pt x="1292" y="432"/>
                </a:cubicBezTo>
                <a:cubicBezTo>
                  <a:pt x="1292" y="432"/>
                  <a:pt x="1292" y="432"/>
                  <a:pt x="1293" y="432"/>
                </a:cubicBezTo>
                <a:cubicBezTo>
                  <a:pt x="1293" y="432"/>
                  <a:pt x="1293" y="432"/>
                  <a:pt x="1294" y="431"/>
                </a:cubicBezTo>
                <a:lnTo>
                  <a:pt x="1295" y="431"/>
                </a:lnTo>
                <a:close/>
                <a:moveTo>
                  <a:pt x="1288" y="419"/>
                </a:moveTo>
                <a:cubicBezTo>
                  <a:pt x="1289" y="420"/>
                  <a:pt x="1289" y="420"/>
                  <a:pt x="1289" y="420"/>
                </a:cubicBezTo>
                <a:cubicBezTo>
                  <a:pt x="1289" y="419"/>
                  <a:pt x="1289" y="419"/>
                  <a:pt x="1289" y="419"/>
                </a:cubicBezTo>
                <a:cubicBezTo>
                  <a:pt x="1288" y="419"/>
                  <a:pt x="1288" y="419"/>
                  <a:pt x="1288" y="419"/>
                </a:cubicBezTo>
                <a:close/>
                <a:moveTo>
                  <a:pt x="1289" y="432"/>
                </a:moveTo>
                <a:cubicBezTo>
                  <a:pt x="1291" y="431"/>
                  <a:pt x="1291" y="431"/>
                  <a:pt x="1291" y="431"/>
                </a:cubicBezTo>
                <a:cubicBezTo>
                  <a:pt x="1288" y="432"/>
                  <a:pt x="1288" y="432"/>
                  <a:pt x="1288" y="432"/>
                </a:cubicBezTo>
                <a:cubicBezTo>
                  <a:pt x="1289" y="432"/>
                  <a:pt x="1289" y="432"/>
                  <a:pt x="1289" y="432"/>
                </a:cubicBezTo>
                <a:close/>
                <a:moveTo>
                  <a:pt x="1303" y="394"/>
                </a:moveTo>
                <a:cubicBezTo>
                  <a:pt x="1303" y="394"/>
                  <a:pt x="1303" y="394"/>
                  <a:pt x="1303" y="395"/>
                </a:cubicBezTo>
                <a:cubicBezTo>
                  <a:pt x="1303" y="395"/>
                  <a:pt x="1303" y="395"/>
                  <a:pt x="1304" y="394"/>
                </a:cubicBezTo>
                <a:cubicBezTo>
                  <a:pt x="1304" y="394"/>
                  <a:pt x="1304" y="394"/>
                  <a:pt x="1303" y="394"/>
                </a:cubicBezTo>
                <a:close/>
                <a:moveTo>
                  <a:pt x="1305" y="392"/>
                </a:moveTo>
                <a:cubicBezTo>
                  <a:pt x="1305" y="391"/>
                  <a:pt x="1305" y="391"/>
                  <a:pt x="1305" y="391"/>
                </a:cubicBezTo>
                <a:cubicBezTo>
                  <a:pt x="1304" y="391"/>
                  <a:pt x="1304" y="391"/>
                  <a:pt x="1304" y="391"/>
                </a:cubicBezTo>
                <a:cubicBezTo>
                  <a:pt x="1304" y="392"/>
                  <a:pt x="1304" y="392"/>
                  <a:pt x="1304" y="392"/>
                </a:cubicBezTo>
                <a:cubicBezTo>
                  <a:pt x="1304" y="393"/>
                  <a:pt x="1304" y="393"/>
                  <a:pt x="1304" y="393"/>
                </a:cubicBezTo>
                <a:cubicBezTo>
                  <a:pt x="1305" y="393"/>
                  <a:pt x="1305" y="393"/>
                  <a:pt x="1305" y="393"/>
                </a:cubicBezTo>
                <a:cubicBezTo>
                  <a:pt x="1305" y="392"/>
                  <a:pt x="1305" y="392"/>
                  <a:pt x="1305" y="392"/>
                </a:cubicBezTo>
                <a:close/>
                <a:moveTo>
                  <a:pt x="1311" y="399"/>
                </a:moveTo>
                <a:cubicBezTo>
                  <a:pt x="1310" y="400"/>
                  <a:pt x="1310" y="400"/>
                  <a:pt x="1310" y="400"/>
                </a:cubicBezTo>
                <a:cubicBezTo>
                  <a:pt x="1309" y="401"/>
                  <a:pt x="1309" y="401"/>
                  <a:pt x="1309" y="401"/>
                </a:cubicBezTo>
                <a:cubicBezTo>
                  <a:pt x="1312" y="400"/>
                  <a:pt x="1312" y="400"/>
                  <a:pt x="1312" y="400"/>
                </a:cubicBezTo>
                <a:cubicBezTo>
                  <a:pt x="1312" y="401"/>
                  <a:pt x="1312" y="401"/>
                  <a:pt x="1312" y="401"/>
                </a:cubicBezTo>
                <a:cubicBezTo>
                  <a:pt x="1313" y="400"/>
                  <a:pt x="1313" y="400"/>
                  <a:pt x="1313" y="400"/>
                </a:cubicBezTo>
                <a:cubicBezTo>
                  <a:pt x="1312" y="399"/>
                  <a:pt x="1312" y="399"/>
                  <a:pt x="1312" y="399"/>
                </a:cubicBezTo>
                <a:cubicBezTo>
                  <a:pt x="1311" y="397"/>
                  <a:pt x="1311" y="397"/>
                  <a:pt x="1311" y="397"/>
                </a:cubicBezTo>
                <a:cubicBezTo>
                  <a:pt x="1309" y="398"/>
                  <a:pt x="1309" y="398"/>
                  <a:pt x="1309" y="398"/>
                </a:cubicBezTo>
                <a:cubicBezTo>
                  <a:pt x="1311" y="399"/>
                  <a:pt x="1311" y="399"/>
                  <a:pt x="1311" y="399"/>
                </a:cubicBezTo>
                <a:close/>
                <a:moveTo>
                  <a:pt x="1313" y="409"/>
                </a:moveTo>
                <a:cubicBezTo>
                  <a:pt x="1313" y="408"/>
                  <a:pt x="1313" y="408"/>
                  <a:pt x="1313" y="408"/>
                </a:cubicBezTo>
                <a:cubicBezTo>
                  <a:pt x="1312" y="409"/>
                  <a:pt x="1312" y="409"/>
                  <a:pt x="1312" y="409"/>
                </a:cubicBezTo>
                <a:cubicBezTo>
                  <a:pt x="1313" y="409"/>
                  <a:pt x="1313" y="409"/>
                  <a:pt x="1313" y="409"/>
                </a:cubicBezTo>
                <a:close/>
                <a:moveTo>
                  <a:pt x="1316" y="406"/>
                </a:moveTo>
                <a:cubicBezTo>
                  <a:pt x="1316" y="405"/>
                  <a:pt x="1316" y="405"/>
                  <a:pt x="1316" y="405"/>
                </a:cubicBezTo>
                <a:cubicBezTo>
                  <a:pt x="1316" y="404"/>
                  <a:pt x="1316" y="404"/>
                  <a:pt x="1316" y="404"/>
                </a:cubicBezTo>
                <a:cubicBezTo>
                  <a:pt x="1315" y="405"/>
                  <a:pt x="1315" y="405"/>
                  <a:pt x="1315" y="405"/>
                </a:cubicBezTo>
                <a:cubicBezTo>
                  <a:pt x="1316" y="406"/>
                  <a:pt x="1316" y="406"/>
                  <a:pt x="1316" y="406"/>
                </a:cubicBezTo>
                <a:close/>
                <a:moveTo>
                  <a:pt x="1326" y="426"/>
                </a:moveTo>
                <a:cubicBezTo>
                  <a:pt x="1327" y="427"/>
                  <a:pt x="1327" y="427"/>
                  <a:pt x="1327" y="427"/>
                </a:cubicBezTo>
                <a:cubicBezTo>
                  <a:pt x="1327" y="426"/>
                  <a:pt x="1327" y="426"/>
                  <a:pt x="1327" y="426"/>
                </a:cubicBezTo>
                <a:cubicBezTo>
                  <a:pt x="1326" y="426"/>
                  <a:pt x="1326" y="426"/>
                  <a:pt x="1326" y="426"/>
                </a:cubicBezTo>
                <a:close/>
                <a:moveTo>
                  <a:pt x="1308" y="398"/>
                </a:moveTo>
                <a:cubicBezTo>
                  <a:pt x="1308" y="398"/>
                  <a:pt x="1308" y="398"/>
                  <a:pt x="1309" y="398"/>
                </a:cubicBezTo>
                <a:cubicBezTo>
                  <a:pt x="1309" y="398"/>
                  <a:pt x="1309" y="398"/>
                  <a:pt x="1309" y="397"/>
                </a:cubicBezTo>
                <a:cubicBezTo>
                  <a:pt x="1309" y="397"/>
                  <a:pt x="1309" y="397"/>
                  <a:pt x="1308" y="398"/>
                </a:cubicBezTo>
                <a:close/>
                <a:moveTo>
                  <a:pt x="1309" y="394"/>
                </a:moveTo>
                <a:cubicBezTo>
                  <a:pt x="1310" y="395"/>
                  <a:pt x="1310" y="395"/>
                  <a:pt x="1310" y="395"/>
                </a:cubicBezTo>
                <a:cubicBezTo>
                  <a:pt x="1310" y="394"/>
                  <a:pt x="1310" y="394"/>
                  <a:pt x="1310" y="394"/>
                </a:cubicBezTo>
                <a:cubicBezTo>
                  <a:pt x="1309" y="394"/>
                  <a:pt x="1309" y="394"/>
                  <a:pt x="1309" y="394"/>
                </a:cubicBezTo>
                <a:close/>
                <a:moveTo>
                  <a:pt x="1310" y="395"/>
                </a:moveTo>
                <a:cubicBezTo>
                  <a:pt x="1310" y="396"/>
                  <a:pt x="1310" y="396"/>
                  <a:pt x="1310" y="396"/>
                </a:cubicBezTo>
                <a:cubicBezTo>
                  <a:pt x="1311" y="395"/>
                  <a:pt x="1311" y="395"/>
                  <a:pt x="1311" y="395"/>
                </a:cubicBezTo>
                <a:cubicBezTo>
                  <a:pt x="1310" y="395"/>
                  <a:pt x="1310" y="395"/>
                  <a:pt x="1310" y="395"/>
                </a:cubicBezTo>
                <a:close/>
                <a:moveTo>
                  <a:pt x="1325" y="378"/>
                </a:moveTo>
                <a:cubicBezTo>
                  <a:pt x="1324" y="378"/>
                  <a:pt x="1324" y="378"/>
                  <a:pt x="1324" y="378"/>
                </a:cubicBezTo>
                <a:cubicBezTo>
                  <a:pt x="1325" y="379"/>
                  <a:pt x="1325" y="379"/>
                  <a:pt x="1325" y="379"/>
                </a:cubicBezTo>
                <a:cubicBezTo>
                  <a:pt x="1325" y="378"/>
                  <a:pt x="1325" y="378"/>
                  <a:pt x="1325" y="378"/>
                </a:cubicBezTo>
                <a:close/>
                <a:moveTo>
                  <a:pt x="1338" y="360"/>
                </a:moveTo>
                <a:cubicBezTo>
                  <a:pt x="1338" y="360"/>
                  <a:pt x="1338" y="360"/>
                  <a:pt x="1338" y="358"/>
                </a:cubicBezTo>
                <a:cubicBezTo>
                  <a:pt x="1338" y="358"/>
                  <a:pt x="1338" y="358"/>
                  <a:pt x="1337" y="358"/>
                </a:cubicBezTo>
                <a:cubicBezTo>
                  <a:pt x="1337" y="358"/>
                  <a:pt x="1337" y="358"/>
                  <a:pt x="1337" y="359"/>
                </a:cubicBezTo>
                <a:cubicBezTo>
                  <a:pt x="1337" y="359"/>
                  <a:pt x="1337" y="359"/>
                  <a:pt x="1336" y="360"/>
                </a:cubicBezTo>
                <a:cubicBezTo>
                  <a:pt x="1336" y="360"/>
                  <a:pt x="1336" y="360"/>
                  <a:pt x="1337" y="360"/>
                </a:cubicBezTo>
                <a:cubicBezTo>
                  <a:pt x="1337" y="360"/>
                  <a:pt x="1337" y="360"/>
                  <a:pt x="1338" y="360"/>
                </a:cubicBezTo>
                <a:close/>
                <a:moveTo>
                  <a:pt x="1336" y="363"/>
                </a:moveTo>
                <a:cubicBezTo>
                  <a:pt x="1336" y="363"/>
                  <a:pt x="1336" y="363"/>
                  <a:pt x="1337" y="364"/>
                </a:cubicBezTo>
                <a:cubicBezTo>
                  <a:pt x="1337" y="364"/>
                  <a:pt x="1337" y="364"/>
                  <a:pt x="1337" y="363"/>
                </a:cubicBezTo>
                <a:cubicBezTo>
                  <a:pt x="1337" y="363"/>
                  <a:pt x="1337" y="363"/>
                  <a:pt x="1338" y="363"/>
                </a:cubicBezTo>
                <a:cubicBezTo>
                  <a:pt x="1338" y="363"/>
                  <a:pt x="1338" y="363"/>
                  <a:pt x="1337" y="362"/>
                </a:cubicBezTo>
                <a:cubicBezTo>
                  <a:pt x="1337" y="362"/>
                  <a:pt x="1337" y="362"/>
                  <a:pt x="1338" y="361"/>
                </a:cubicBezTo>
                <a:cubicBezTo>
                  <a:pt x="1338" y="361"/>
                  <a:pt x="1338" y="361"/>
                  <a:pt x="1337" y="361"/>
                </a:cubicBezTo>
                <a:cubicBezTo>
                  <a:pt x="1337" y="361"/>
                  <a:pt x="1337" y="361"/>
                  <a:pt x="1336" y="361"/>
                </a:cubicBezTo>
                <a:cubicBezTo>
                  <a:pt x="1336" y="361"/>
                  <a:pt x="1336" y="361"/>
                  <a:pt x="1336" y="362"/>
                </a:cubicBezTo>
                <a:cubicBezTo>
                  <a:pt x="1336" y="362"/>
                  <a:pt x="1336" y="362"/>
                  <a:pt x="1335" y="362"/>
                </a:cubicBezTo>
                <a:cubicBezTo>
                  <a:pt x="1335" y="362"/>
                  <a:pt x="1335" y="362"/>
                  <a:pt x="1334" y="362"/>
                </a:cubicBezTo>
                <a:cubicBezTo>
                  <a:pt x="1334" y="362"/>
                  <a:pt x="1334" y="362"/>
                  <a:pt x="1335" y="363"/>
                </a:cubicBezTo>
                <a:cubicBezTo>
                  <a:pt x="1335" y="363"/>
                  <a:pt x="1335" y="363"/>
                  <a:pt x="1336" y="363"/>
                </a:cubicBezTo>
                <a:close/>
                <a:moveTo>
                  <a:pt x="1335" y="360"/>
                </a:moveTo>
                <a:cubicBezTo>
                  <a:pt x="1335" y="361"/>
                  <a:pt x="1335" y="361"/>
                  <a:pt x="1335" y="361"/>
                </a:cubicBezTo>
                <a:cubicBezTo>
                  <a:pt x="1336" y="361"/>
                  <a:pt x="1336" y="361"/>
                  <a:pt x="1336" y="361"/>
                </a:cubicBezTo>
                <a:cubicBezTo>
                  <a:pt x="1336" y="360"/>
                  <a:pt x="1336" y="360"/>
                  <a:pt x="1336" y="360"/>
                </a:cubicBezTo>
                <a:cubicBezTo>
                  <a:pt x="1335" y="360"/>
                  <a:pt x="1335" y="360"/>
                  <a:pt x="1335" y="360"/>
                </a:cubicBezTo>
                <a:close/>
                <a:moveTo>
                  <a:pt x="1313" y="392"/>
                </a:moveTo>
                <a:cubicBezTo>
                  <a:pt x="1313" y="392"/>
                  <a:pt x="1313" y="392"/>
                  <a:pt x="1312" y="392"/>
                </a:cubicBezTo>
                <a:cubicBezTo>
                  <a:pt x="1312" y="392"/>
                  <a:pt x="1312" y="392"/>
                  <a:pt x="1311" y="391"/>
                </a:cubicBezTo>
                <a:cubicBezTo>
                  <a:pt x="1311" y="391"/>
                  <a:pt x="1311" y="391"/>
                  <a:pt x="1311" y="389"/>
                </a:cubicBezTo>
                <a:cubicBezTo>
                  <a:pt x="1311" y="389"/>
                  <a:pt x="1311" y="389"/>
                  <a:pt x="1310" y="388"/>
                </a:cubicBezTo>
                <a:cubicBezTo>
                  <a:pt x="1310" y="388"/>
                  <a:pt x="1310" y="388"/>
                  <a:pt x="1309" y="389"/>
                </a:cubicBezTo>
                <a:cubicBezTo>
                  <a:pt x="1309" y="389"/>
                  <a:pt x="1309" y="389"/>
                  <a:pt x="1310" y="390"/>
                </a:cubicBezTo>
                <a:cubicBezTo>
                  <a:pt x="1310" y="390"/>
                  <a:pt x="1310" y="390"/>
                  <a:pt x="1308" y="389"/>
                </a:cubicBezTo>
                <a:cubicBezTo>
                  <a:pt x="1308" y="389"/>
                  <a:pt x="1308" y="389"/>
                  <a:pt x="1308" y="390"/>
                </a:cubicBezTo>
                <a:cubicBezTo>
                  <a:pt x="1308" y="390"/>
                  <a:pt x="1308" y="390"/>
                  <a:pt x="1307" y="390"/>
                </a:cubicBezTo>
                <a:cubicBezTo>
                  <a:pt x="1307" y="390"/>
                  <a:pt x="1307" y="390"/>
                  <a:pt x="1309" y="391"/>
                </a:cubicBezTo>
                <a:cubicBezTo>
                  <a:pt x="1309" y="391"/>
                  <a:pt x="1309" y="391"/>
                  <a:pt x="1310" y="393"/>
                </a:cubicBezTo>
                <a:cubicBezTo>
                  <a:pt x="1310" y="393"/>
                  <a:pt x="1310" y="393"/>
                  <a:pt x="1311" y="393"/>
                </a:cubicBezTo>
                <a:cubicBezTo>
                  <a:pt x="1311" y="393"/>
                  <a:pt x="1311" y="393"/>
                  <a:pt x="1311" y="394"/>
                </a:cubicBezTo>
                <a:cubicBezTo>
                  <a:pt x="1311" y="394"/>
                  <a:pt x="1311" y="394"/>
                  <a:pt x="1312" y="394"/>
                </a:cubicBezTo>
                <a:cubicBezTo>
                  <a:pt x="1312" y="394"/>
                  <a:pt x="1312" y="394"/>
                  <a:pt x="1312" y="393"/>
                </a:cubicBezTo>
                <a:cubicBezTo>
                  <a:pt x="1312" y="393"/>
                  <a:pt x="1312" y="393"/>
                  <a:pt x="1313" y="392"/>
                </a:cubicBezTo>
                <a:close/>
                <a:moveTo>
                  <a:pt x="1325" y="375"/>
                </a:moveTo>
                <a:cubicBezTo>
                  <a:pt x="1326" y="376"/>
                  <a:pt x="1326" y="376"/>
                  <a:pt x="1326" y="376"/>
                </a:cubicBezTo>
                <a:cubicBezTo>
                  <a:pt x="1326" y="375"/>
                  <a:pt x="1326" y="375"/>
                  <a:pt x="1326" y="375"/>
                </a:cubicBezTo>
                <a:cubicBezTo>
                  <a:pt x="1325" y="375"/>
                  <a:pt x="1325" y="375"/>
                  <a:pt x="1325" y="375"/>
                </a:cubicBezTo>
                <a:close/>
                <a:moveTo>
                  <a:pt x="1326" y="376"/>
                </a:moveTo>
                <a:cubicBezTo>
                  <a:pt x="1326" y="376"/>
                  <a:pt x="1326" y="376"/>
                  <a:pt x="1325" y="376"/>
                </a:cubicBezTo>
                <a:cubicBezTo>
                  <a:pt x="1325" y="376"/>
                  <a:pt x="1325" y="376"/>
                  <a:pt x="1324" y="376"/>
                </a:cubicBezTo>
                <a:cubicBezTo>
                  <a:pt x="1324" y="376"/>
                  <a:pt x="1324" y="376"/>
                  <a:pt x="1324" y="377"/>
                </a:cubicBezTo>
                <a:cubicBezTo>
                  <a:pt x="1324" y="377"/>
                  <a:pt x="1324" y="377"/>
                  <a:pt x="1325" y="377"/>
                </a:cubicBezTo>
                <a:cubicBezTo>
                  <a:pt x="1325" y="377"/>
                  <a:pt x="1325" y="377"/>
                  <a:pt x="1326" y="376"/>
                </a:cubicBezTo>
                <a:close/>
                <a:moveTo>
                  <a:pt x="1327" y="378"/>
                </a:moveTo>
                <a:cubicBezTo>
                  <a:pt x="1327" y="378"/>
                  <a:pt x="1327" y="378"/>
                  <a:pt x="1327" y="377"/>
                </a:cubicBezTo>
                <a:cubicBezTo>
                  <a:pt x="1327" y="377"/>
                  <a:pt x="1327" y="377"/>
                  <a:pt x="1326" y="377"/>
                </a:cubicBezTo>
                <a:cubicBezTo>
                  <a:pt x="1326" y="377"/>
                  <a:pt x="1326" y="377"/>
                  <a:pt x="1327" y="378"/>
                </a:cubicBezTo>
                <a:close/>
                <a:moveTo>
                  <a:pt x="1311" y="404"/>
                </a:moveTo>
                <a:cubicBezTo>
                  <a:pt x="1311" y="404"/>
                  <a:pt x="1311" y="404"/>
                  <a:pt x="1311" y="405"/>
                </a:cubicBezTo>
                <a:cubicBezTo>
                  <a:pt x="1311" y="405"/>
                  <a:pt x="1311" y="405"/>
                  <a:pt x="1312" y="404"/>
                </a:cubicBezTo>
                <a:cubicBezTo>
                  <a:pt x="1312" y="404"/>
                  <a:pt x="1312" y="404"/>
                  <a:pt x="1313" y="402"/>
                </a:cubicBezTo>
                <a:cubicBezTo>
                  <a:pt x="1313" y="402"/>
                  <a:pt x="1313" y="402"/>
                  <a:pt x="1311" y="404"/>
                </a:cubicBezTo>
                <a:close/>
                <a:moveTo>
                  <a:pt x="1307" y="388"/>
                </a:moveTo>
                <a:cubicBezTo>
                  <a:pt x="1308" y="387"/>
                  <a:pt x="1308" y="387"/>
                  <a:pt x="1308" y="387"/>
                </a:cubicBezTo>
                <a:cubicBezTo>
                  <a:pt x="1307" y="386"/>
                  <a:pt x="1307" y="386"/>
                  <a:pt x="1307" y="386"/>
                </a:cubicBezTo>
                <a:cubicBezTo>
                  <a:pt x="1306" y="387"/>
                  <a:pt x="1306" y="387"/>
                  <a:pt x="1306" y="387"/>
                </a:cubicBezTo>
                <a:cubicBezTo>
                  <a:pt x="1307" y="388"/>
                  <a:pt x="1307" y="388"/>
                  <a:pt x="1307" y="388"/>
                </a:cubicBezTo>
                <a:close/>
                <a:moveTo>
                  <a:pt x="1317" y="419"/>
                </a:moveTo>
                <a:cubicBezTo>
                  <a:pt x="1317" y="419"/>
                  <a:pt x="1317" y="419"/>
                  <a:pt x="1317" y="420"/>
                </a:cubicBezTo>
                <a:cubicBezTo>
                  <a:pt x="1317" y="420"/>
                  <a:pt x="1317" y="420"/>
                  <a:pt x="1318" y="420"/>
                </a:cubicBezTo>
                <a:cubicBezTo>
                  <a:pt x="1318" y="420"/>
                  <a:pt x="1318" y="420"/>
                  <a:pt x="1320" y="419"/>
                </a:cubicBezTo>
                <a:cubicBezTo>
                  <a:pt x="1320" y="419"/>
                  <a:pt x="1320" y="419"/>
                  <a:pt x="1319" y="418"/>
                </a:cubicBezTo>
                <a:cubicBezTo>
                  <a:pt x="1319" y="418"/>
                  <a:pt x="1319" y="418"/>
                  <a:pt x="1320" y="417"/>
                </a:cubicBezTo>
                <a:cubicBezTo>
                  <a:pt x="1320" y="417"/>
                  <a:pt x="1320" y="417"/>
                  <a:pt x="1317" y="419"/>
                </a:cubicBezTo>
                <a:close/>
                <a:moveTo>
                  <a:pt x="1319" y="426"/>
                </a:moveTo>
                <a:cubicBezTo>
                  <a:pt x="1318" y="427"/>
                  <a:pt x="1318" y="427"/>
                  <a:pt x="1318" y="427"/>
                </a:cubicBezTo>
                <a:cubicBezTo>
                  <a:pt x="1320" y="428"/>
                  <a:pt x="1320" y="428"/>
                  <a:pt x="1320" y="428"/>
                </a:cubicBezTo>
                <a:cubicBezTo>
                  <a:pt x="1321" y="427"/>
                  <a:pt x="1321" y="427"/>
                  <a:pt x="1321" y="427"/>
                </a:cubicBezTo>
                <a:cubicBezTo>
                  <a:pt x="1320" y="427"/>
                  <a:pt x="1320" y="427"/>
                  <a:pt x="1320" y="427"/>
                </a:cubicBezTo>
                <a:cubicBezTo>
                  <a:pt x="1320" y="426"/>
                  <a:pt x="1320" y="426"/>
                  <a:pt x="1320" y="426"/>
                </a:cubicBezTo>
                <a:cubicBezTo>
                  <a:pt x="1319" y="426"/>
                  <a:pt x="1319" y="426"/>
                  <a:pt x="1319" y="426"/>
                </a:cubicBezTo>
                <a:close/>
                <a:moveTo>
                  <a:pt x="1313" y="393"/>
                </a:moveTo>
                <a:cubicBezTo>
                  <a:pt x="1312" y="394"/>
                  <a:pt x="1312" y="394"/>
                  <a:pt x="1312" y="394"/>
                </a:cubicBezTo>
                <a:cubicBezTo>
                  <a:pt x="1313" y="394"/>
                  <a:pt x="1313" y="394"/>
                  <a:pt x="1313" y="394"/>
                </a:cubicBezTo>
                <a:cubicBezTo>
                  <a:pt x="1313" y="395"/>
                  <a:pt x="1313" y="395"/>
                  <a:pt x="1313" y="395"/>
                </a:cubicBezTo>
                <a:cubicBezTo>
                  <a:pt x="1312" y="394"/>
                  <a:pt x="1312" y="394"/>
                  <a:pt x="1312" y="394"/>
                </a:cubicBezTo>
                <a:cubicBezTo>
                  <a:pt x="1312" y="395"/>
                  <a:pt x="1312" y="395"/>
                  <a:pt x="1312" y="395"/>
                </a:cubicBezTo>
                <a:cubicBezTo>
                  <a:pt x="1312" y="396"/>
                  <a:pt x="1312" y="396"/>
                  <a:pt x="1312" y="396"/>
                </a:cubicBezTo>
                <a:cubicBezTo>
                  <a:pt x="1310" y="396"/>
                  <a:pt x="1310" y="396"/>
                  <a:pt x="1310" y="396"/>
                </a:cubicBezTo>
                <a:cubicBezTo>
                  <a:pt x="1310" y="397"/>
                  <a:pt x="1310" y="397"/>
                  <a:pt x="1310" y="397"/>
                </a:cubicBezTo>
                <a:cubicBezTo>
                  <a:pt x="1311" y="397"/>
                  <a:pt x="1311" y="397"/>
                  <a:pt x="1311" y="397"/>
                </a:cubicBezTo>
                <a:cubicBezTo>
                  <a:pt x="1312" y="398"/>
                  <a:pt x="1312" y="398"/>
                  <a:pt x="1312" y="398"/>
                </a:cubicBezTo>
                <a:cubicBezTo>
                  <a:pt x="1313" y="399"/>
                  <a:pt x="1313" y="399"/>
                  <a:pt x="1313" y="399"/>
                </a:cubicBezTo>
                <a:cubicBezTo>
                  <a:pt x="1315" y="396"/>
                  <a:pt x="1315" y="396"/>
                  <a:pt x="1315" y="396"/>
                </a:cubicBezTo>
                <a:cubicBezTo>
                  <a:pt x="1315" y="397"/>
                  <a:pt x="1315" y="397"/>
                  <a:pt x="1315" y="397"/>
                </a:cubicBezTo>
                <a:cubicBezTo>
                  <a:pt x="1314" y="399"/>
                  <a:pt x="1314" y="399"/>
                  <a:pt x="1314" y="399"/>
                </a:cubicBezTo>
                <a:cubicBezTo>
                  <a:pt x="1313" y="401"/>
                  <a:pt x="1313" y="401"/>
                  <a:pt x="1313" y="401"/>
                </a:cubicBezTo>
                <a:cubicBezTo>
                  <a:pt x="1314" y="401"/>
                  <a:pt x="1314" y="401"/>
                  <a:pt x="1314" y="401"/>
                </a:cubicBezTo>
                <a:cubicBezTo>
                  <a:pt x="1313" y="403"/>
                  <a:pt x="1313" y="403"/>
                  <a:pt x="1313" y="403"/>
                </a:cubicBezTo>
                <a:cubicBezTo>
                  <a:pt x="1313" y="404"/>
                  <a:pt x="1313" y="404"/>
                  <a:pt x="1313" y="404"/>
                </a:cubicBezTo>
                <a:cubicBezTo>
                  <a:pt x="1313" y="405"/>
                  <a:pt x="1313" y="405"/>
                  <a:pt x="1313" y="405"/>
                </a:cubicBezTo>
                <a:cubicBezTo>
                  <a:pt x="1313" y="406"/>
                  <a:pt x="1313" y="406"/>
                  <a:pt x="1313" y="406"/>
                </a:cubicBezTo>
                <a:cubicBezTo>
                  <a:pt x="1313" y="408"/>
                  <a:pt x="1313" y="408"/>
                  <a:pt x="1313" y="408"/>
                </a:cubicBezTo>
                <a:cubicBezTo>
                  <a:pt x="1314" y="407"/>
                  <a:pt x="1314" y="407"/>
                  <a:pt x="1314" y="407"/>
                </a:cubicBezTo>
                <a:cubicBezTo>
                  <a:pt x="1314" y="408"/>
                  <a:pt x="1314" y="408"/>
                  <a:pt x="1314" y="408"/>
                </a:cubicBezTo>
                <a:cubicBezTo>
                  <a:pt x="1316" y="409"/>
                  <a:pt x="1316" y="409"/>
                  <a:pt x="1316" y="409"/>
                </a:cubicBezTo>
                <a:cubicBezTo>
                  <a:pt x="1316" y="407"/>
                  <a:pt x="1316" y="407"/>
                  <a:pt x="1316" y="407"/>
                </a:cubicBezTo>
                <a:cubicBezTo>
                  <a:pt x="1315" y="406"/>
                  <a:pt x="1315" y="406"/>
                  <a:pt x="1315" y="406"/>
                </a:cubicBezTo>
                <a:cubicBezTo>
                  <a:pt x="1314" y="406"/>
                  <a:pt x="1314" y="406"/>
                  <a:pt x="1314" y="406"/>
                </a:cubicBezTo>
                <a:cubicBezTo>
                  <a:pt x="1314" y="405"/>
                  <a:pt x="1314" y="405"/>
                  <a:pt x="1314" y="405"/>
                </a:cubicBezTo>
                <a:cubicBezTo>
                  <a:pt x="1314" y="403"/>
                  <a:pt x="1314" y="403"/>
                  <a:pt x="1314" y="403"/>
                </a:cubicBezTo>
                <a:cubicBezTo>
                  <a:pt x="1316" y="401"/>
                  <a:pt x="1316" y="401"/>
                  <a:pt x="1316" y="401"/>
                </a:cubicBezTo>
                <a:cubicBezTo>
                  <a:pt x="1315" y="403"/>
                  <a:pt x="1315" y="403"/>
                  <a:pt x="1315" y="403"/>
                </a:cubicBezTo>
                <a:cubicBezTo>
                  <a:pt x="1315" y="404"/>
                  <a:pt x="1315" y="404"/>
                  <a:pt x="1315" y="404"/>
                </a:cubicBezTo>
                <a:cubicBezTo>
                  <a:pt x="1316" y="403"/>
                  <a:pt x="1316" y="403"/>
                  <a:pt x="1316" y="403"/>
                </a:cubicBezTo>
                <a:cubicBezTo>
                  <a:pt x="1316" y="404"/>
                  <a:pt x="1316" y="404"/>
                  <a:pt x="1316" y="404"/>
                </a:cubicBezTo>
                <a:cubicBezTo>
                  <a:pt x="1317" y="403"/>
                  <a:pt x="1317" y="403"/>
                  <a:pt x="1317" y="403"/>
                </a:cubicBezTo>
                <a:cubicBezTo>
                  <a:pt x="1317" y="405"/>
                  <a:pt x="1317" y="405"/>
                  <a:pt x="1317" y="405"/>
                </a:cubicBezTo>
                <a:cubicBezTo>
                  <a:pt x="1317" y="406"/>
                  <a:pt x="1317" y="406"/>
                  <a:pt x="1317" y="406"/>
                </a:cubicBezTo>
                <a:cubicBezTo>
                  <a:pt x="1318" y="407"/>
                  <a:pt x="1318" y="407"/>
                  <a:pt x="1318" y="407"/>
                </a:cubicBezTo>
                <a:cubicBezTo>
                  <a:pt x="1318" y="408"/>
                  <a:pt x="1318" y="408"/>
                  <a:pt x="1318" y="408"/>
                </a:cubicBezTo>
                <a:cubicBezTo>
                  <a:pt x="1317" y="409"/>
                  <a:pt x="1317" y="409"/>
                  <a:pt x="1317" y="409"/>
                </a:cubicBezTo>
                <a:cubicBezTo>
                  <a:pt x="1316" y="411"/>
                  <a:pt x="1316" y="411"/>
                  <a:pt x="1316" y="411"/>
                </a:cubicBezTo>
                <a:cubicBezTo>
                  <a:pt x="1316" y="413"/>
                  <a:pt x="1316" y="413"/>
                  <a:pt x="1316" y="413"/>
                </a:cubicBezTo>
                <a:cubicBezTo>
                  <a:pt x="1317" y="413"/>
                  <a:pt x="1317" y="413"/>
                  <a:pt x="1317" y="413"/>
                </a:cubicBezTo>
                <a:cubicBezTo>
                  <a:pt x="1319" y="415"/>
                  <a:pt x="1319" y="415"/>
                  <a:pt x="1319" y="415"/>
                </a:cubicBezTo>
                <a:cubicBezTo>
                  <a:pt x="1319" y="414"/>
                  <a:pt x="1319" y="414"/>
                  <a:pt x="1319" y="414"/>
                </a:cubicBezTo>
                <a:cubicBezTo>
                  <a:pt x="1319" y="413"/>
                  <a:pt x="1319" y="413"/>
                  <a:pt x="1319" y="413"/>
                </a:cubicBezTo>
                <a:cubicBezTo>
                  <a:pt x="1321" y="414"/>
                  <a:pt x="1321" y="414"/>
                  <a:pt x="1321" y="414"/>
                </a:cubicBezTo>
                <a:cubicBezTo>
                  <a:pt x="1322" y="414"/>
                  <a:pt x="1322" y="414"/>
                  <a:pt x="1322" y="414"/>
                </a:cubicBezTo>
                <a:cubicBezTo>
                  <a:pt x="1322" y="413"/>
                  <a:pt x="1322" y="413"/>
                  <a:pt x="1322" y="413"/>
                </a:cubicBezTo>
                <a:cubicBezTo>
                  <a:pt x="1323" y="413"/>
                  <a:pt x="1323" y="413"/>
                  <a:pt x="1323" y="413"/>
                </a:cubicBezTo>
                <a:cubicBezTo>
                  <a:pt x="1324" y="412"/>
                  <a:pt x="1324" y="412"/>
                  <a:pt x="1324" y="412"/>
                </a:cubicBezTo>
                <a:cubicBezTo>
                  <a:pt x="1327" y="412"/>
                  <a:pt x="1327" y="412"/>
                  <a:pt x="1327" y="412"/>
                </a:cubicBezTo>
                <a:cubicBezTo>
                  <a:pt x="1325" y="413"/>
                  <a:pt x="1325" y="413"/>
                  <a:pt x="1325" y="413"/>
                </a:cubicBezTo>
                <a:cubicBezTo>
                  <a:pt x="1323" y="416"/>
                  <a:pt x="1323" y="416"/>
                  <a:pt x="1323" y="416"/>
                </a:cubicBezTo>
                <a:cubicBezTo>
                  <a:pt x="1325" y="419"/>
                  <a:pt x="1325" y="419"/>
                  <a:pt x="1325" y="419"/>
                </a:cubicBezTo>
                <a:cubicBezTo>
                  <a:pt x="1326" y="419"/>
                  <a:pt x="1326" y="419"/>
                  <a:pt x="1326" y="419"/>
                </a:cubicBezTo>
                <a:cubicBezTo>
                  <a:pt x="1326" y="420"/>
                  <a:pt x="1326" y="420"/>
                  <a:pt x="1326" y="420"/>
                </a:cubicBezTo>
                <a:cubicBezTo>
                  <a:pt x="1327" y="419"/>
                  <a:pt x="1327" y="419"/>
                  <a:pt x="1327" y="419"/>
                </a:cubicBezTo>
                <a:cubicBezTo>
                  <a:pt x="1328" y="419"/>
                  <a:pt x="1328" y="419"/>
                  <a:pt x="1328" y="419"/>
                </a:cubicBezTo>
                <a:cubicBezTo>
                  <a:pt x="1328" y="420"/>
                  <a:pt x="1328" y="420"/>
                  <a:pt x="1328" y="420"/>
                </a:cubicBezTo>
                <a:cubicBezTo>
                  <a:pt x="1328" y="421"/>
                  <a:pt x="1328" y="421"/>
                  <a:pt x="1328" y="421"/>
                </a:cubicBezTo>
                <a:cubicBezTo>
                  <a:pt x="1327" y="422"/>
                  <a:pt x="1327" y="422"/>
                  <a:pt x="1327" y="422"/>
                </a:cubicBezTo>
                <a:cubicBezTo>
                  <a:pt x="1327" y="423"/>
                  <a:pt x="1327" y="423"/>
                  <a:pt x="1327" y="423"/>
                </a:cubicBezTo>
                <a:cubicBezTo>
                  <a:pt x="1326" y="425"/>
                  <a:pt x="1326" y="425"/>
                  <a:pt x="1326" y="425"/>
                </a:cubicBezTo>
                <a:cubicBezTo>
                  <a:pt x="1327" y="426"/>
                  <a:pt x="1327" y="426"/>
                  <a:pt x="1327" y="426"/>
                </a:cubicBezTo>
                <a:cubicBezTo>
                  <a:pt x="1328" y="426"/>
                  <a:pt x="1328" y="426"/>
                  <a:pt x="1328" y="426"/>
                </a:cubicBezTo>
                <a:cubicBezTo>
                  <a:pt x="1329" y="427"/>
                  <a:pt x="1329" y="427"/>
                  <a:pt x="1329" y="427"/>
                </a:cubicBezTo>
                <a:cubicBezTo>
                  <a:pt x="1328" y="427"/>
                  <a:pt x="1328" y="427"/>
                  <a:pt x="1328" y="427"/>
                </a:cubicBezTo>
                <a:cubicBezTo>
                  <a:pt x="1327" y="427"/>
                  <a:pt x="1327" y="427"/>
                  <a:pt x="1327" y="427"/>
                </a:cubicBezTo>
                <a:cubicBezTo>
                  <a:pt x="1327" y="428"/>
                  <a:pt x="1327" y="428"/>
                  <a:pt x="1327" y="428"/>
                </a:cubicBezTo>
                <a:cubicBezTo>
                  <a:pt x="1326" y="427"/>
                  <a:pt x="1326" y="427"/>
                  <a:pt x="1326" y="427"/>
                </a:cubicBezTo>
                <a:cubicBezTo>
                  <a:pt x="1325" y="427"/>
                  <a:pt x="1325" y="427"/>
                  <a:pt x="1325" y="427"/>
                </a:cubicBezTo>
                <a:cubicBezTo>
                  <a:pt x="1323" y="427"/>
                  <a:pt x="1323" y="427"/>
                  <a:pt x="1323" y="427"/>
                </a:cubicBezTo>
                <a:cubicBezTo>
                  <a:pt x="1321" y="428"/>
                  <a:pt x="1321" y="428"/>
                  <a:pt x="1321" y="428"/>
                </a:cubicBezTo>
                <a:cubicBezTo>
                  <a:pt x="1319" y="430"/>
                  <a:pt x="1319" y="430"/>
                  <a:pt x="1319" y="430"/>
                </a:cubicBezTo>
                <a:cubicBezTo>
                  <a:pt x="1318" y="431"/>
                  <a:pt x="1318" y="431"/>
                  <a:pt x="1318" y="431"/>
                </a:cubicBezTo>
                <a:cubicBezTo>
                  <a:pt x="1319" y="431"/>
                  <a:pt x="1319" y="431"/>
                  <a:pt x="1319" y="431"/>
                </a:cubicBezTo>
                <a:cubicBezTo>
                  <a:pt x="1321" y="430"/>
                  <a:pt x="1321" y="430"/>
                  <a:pt x="1321" y="430"/>
                </a:cubicBezTo>
                <a:cubicBezTo>
                  <a:pt x="1321" y="431"/>
                  <a:pt x="1321" y="431"/>
                  <a:pt x="1321" y="431"/>
                </a:cubicBezTo>
                <a:cubicBezTo>
                  <a:pt x="1322" y="432"/>
                  <a:pt x="1322" y="432"/>
                  <a:pt x="1322" y="432"/>
                </a:cubicBezTo>
                <a:cubicBezTo>
                  <a:pt x="1321" y="433"/>
                  <a:pt x="1321" y="433"/>
                  <a:pt x="1321" y="433"/>
                </a:cubicBezTo>
                <a:cubicBezTo>
                  <a:pt x="1321" y="434"/>
                  <a:pt x="1321" y="434"/>
                  <a:pt x="1321" y="434"/>
                </a:cubicBezTo>
                <a:cubicBezTo>
                  <a:pt x="1322" y="434"/>
                  <a:pt x="1322" y="434"/>
                  <a:pt x="1322" y="434"/>
                </a:cubicBezTo>
                <a:cubicBezTo>
                  <a:pt x="1320" y="436"/>
                  <a:pt x="1320" y="436"/>
                  <a:pt x="1320" y="436"/>
                </a:cubicBezTo>
                <a:cubicBezTo>
                  <a:pt x="1319" y="437"/>
                  <a:pt x="1319" y="437"/>
                  <a:pt x="1319" y="437"/>
                </a:cubicBezTo>
                <a:cubicBezTo>
                  <a:pt x="1318" y="437"/>
                  <a:pt x="1318" y="437"/>
                  <a:pt x="1318" y="437"/>
                </a:cubicBezTo>
                <a:cubicBezTo>
                  <a:pt x="1317" y="438"/>
                  <a:pt x="1317" y="438"/>
                  <a:pt x="1317" y="438"/>
                </a:cubicBezTo>
                <a:cubicBezTo>
                  <a:pt x="1316" y="438"/>
                  <a:pt x="1316" y="438"/>
                  <a:pt x="1316" y="438"/>
                </a:cubicBezTo>
                <a:cubicBezTo>
                  <a:pt x="1314" y="439"/>
                  <a:pt x="1314" y="439"/>
                  <a:pt x="1314" y="439"/>
                </a:cubicBezTo>
                <a:cubicBezTo>
                  <a:pt x="1315" y="439"/>
                  <a:pt x="1315" y="439"/>
                  <a:pt x="1315" y="439"/>
                </a:cubicBezTo>
                <a:cubicBezTo>
                  <a:pt x="1315" y="440"/>
                  <a:pt x="1315" y="440"/>
                  <a:pt x="1315" y="440"/>
                </a:cubicBezTo>
                <a:cubicBezTo>
                  <a:pt x="1315" y="441"/>
                  <a:pt x="1315" y="441"/>
                  <a:pt x="1315" y="441"/>
                </a:cubicBezTo>
                <a:cubicBezTo>
                  <a:pt x="1316" y="441"/>
                  <a:pt x="1316" y="441"/>
                  <a:pt x="1316" y="441"/>
                </a:cubicBezTo>
                <a:cubicBezTo>
                  <a:pt x="1316" y="442"/>
                  <a:pt x="1316" y="442"/>
                  <a:pt x="1316" y="442"/>
                </a:cubicBezTo>
                <a:cubicBezTo>
                  <a:pt x="1317" y="441"/>
                  <a:pt x="1317" y="441"/>
                  <a:pt x="1317" y="441"/>
                </a:cubicBezTo>
                <a:cubicBezTo>
                  <a:pt x="1318" y="441"/>
                  <a:pt x="1318" y="441"/>
                  <a:pt x="1318" y="441"/>
                </a:cubicBezTo>
                <a:cubicBezTo>
                  <a:pt x="1320" y="440"/>
                  <a:pt x="1320" y="440"/>
                  <a:pt x="1320" y="440"/>
                </a:cubicBezTo>
                <a:cubicBezTo>
                  <a:pt x="1320" y="441"/>
                  <a:pt x="1320" y="441"/>
                  <a:pt x="1320" y="441"/>
                </a:cubicBezTo>
                <a:cubicBezTo>
                  <a:pt x="1321" y="441"/>
                  <a:pt x="1321" y="441"/>
                  <a:pt x="1321" y="441"/>
                </a:cubicBezTo>
                <a:cubicBezTo>
                  <a:pt x="1320" y="442"/>
                  <a:pt x="1320" y="442"/>
                  <a:pt x="1320" y="442"/>
                </a:cubicBezTo>
                <a:cubicBezTo>
                  <a:pt x="1322" y="442"/>
                  <a:pt x="1322" y="442"/>
                  <a:pt x="1322" y="442"/>
                </a:cubicBezTo>
                <a:cubicBezTo>
                  <a:pt x="1323" y="442"/>
                  <a:pt x="1323" y="442"/>
                  <a:pt x="1323" y="442"/>
                </a:cubicBezTo>
                <a:cubicBezTo>
                  <a:pt x="1324" y="443"/>
                  <a:pt x="1324" y="443"/>
                  <a:pt x="1324" y="443"/>
                </a:cubicBezTo>
                <a:cubicBezTo>
                  <a:pt x="1324" y="444"/>
                  <a:pt x="1324" y="444"/>
                  <a:pt x="1324" y="444"/>
                </a:cubicBezTo>
                <a:cubicBezTo>
                  <a:pt x="1326" y="444"/>
                  <a:pt x="1326" y="444"/>
                  <a:pt x="1326" y="444"/>
                </a:cubicBezTo>
                <a:cubicBezTo>
                  <a:pt x="1327" y="443"/>
                  <a:pt x="1327" y="443"/>
                  <a:pt x="1327" y="443"/>
                </a:cubicBezTo>
                <a:cubicBezTo>
                  <a:pt x="1328" y="442"/>
                  <a:pt x="1328" y="442"/>
                  <a:pt x="1328" y="442"/>
                </a:cubicBezTo>
                <a:cubicBezTo>
                  <a:pt x="1329" y="442"/>
                  <a:pt x="1329" y="442"/>
                  <a:pt x="1329" y="442"/>
                </a:cubicBezTo>
                <a:cubicBezTo>
                  <a:pt x="1330" y="441"/>
                  <a:pt x="1330" y="441"/>
                  <a:pt x="1330" y="441"/>
                </a:cubicBezTo>
                <a:cubicBezTo>
                  <a:pt x="1331" y="441"/>
                  <a:pt x="1331" y="441"/>
                  <a:pt x="1331" y="441"/>
                </a:cubicBezTo>
                <a:cubicBezTo>
                  <a:pt x="1329" y="442"/>
                  <a:pt x="1329" y="442"/>
                  <a:pt x="1329" y="442"/>
                </a:cubicBezTo>
                <a:cubicBezTo>
                  <a:pt x="1328" y="444"/>
                  <a:pt x="1328" y="444"/>
                  <a:pt x="1328" y="444"/>
                </a:cubicBezTo>
                <a:cubicBezTo>
                  <a:pt x="1328" y="446"/>
                  <a:pt x="1328" y="446"/>
                  <a:pt x="1328" y="446"/>
                </a:cubicBezTo>
                <a:cubicBezTo>
                  <a:pt x="1327" y="446"/>
                  <a:pt x="1327" y="446"/>
                  <a:pt x="1327" y="446"/>
                </a:cubicBezTo>
                <a:cubicBezTo>
                  <a:pt x="1326" y="446"/>
                  <a:pt x="1326" y="446"/>
                  <a:pt x="1326" y="446"/>
                </a:cubicBezTo>
                <a:cubicBezTo>
                  <a:pt x="1325" y="445"/>
                  <a:pt x="1325" y="445"/>
                  <a:pt x="1325" y="445"/>
                </a:cubicBezTo>
                <a:cubicBezTo>
                  <a:pt x="1322" y="445"/>
                  <a:pt x="1322" y="445"/>
                  <a:pt x="1322" y="445"/>
                </a:cubicBezTo>
                <a:cubicBezTo>
                  <a:pt x="1320" y="446"/>
                  <a:pt x="1320" y="446"/>
                  <a:pt x="1320" y="446"/>
                </a:cubicBezTo>
                <a:cubicBezTo>
                  <a:pt x="1320" y="447"/>
                  <a:pt x="1320" y="447"/>
                  <a:pt x="1320" y="447"/>
                </a:cubicBezTo>
                <a:cubicBezTo>
                  <a:pt x="1319" y="447"/>
                  <a:pt x="1319" y="447"/>
                  <a:pt x="1319" y="447"/>
                </a:cubicBezTo>
                <a:cubicBezTo>
                  <a:pt x="1318" y="449"/>
                  <a:pt x="1318" y="449"/>
                  <a:pt x="1318" y="449"/>
                </a:cubicBezTo>
                <a:cubicBezTo>
                  <a:pt x="1317" y="450"/>
                  <a:pt x="1317" y="450"/>
                  <a:pt x="1317" y="450"/>
                </a:cubicBezTo>
                <a:cubicBezTo>
                  <a:pt x="1317" y="451"/>
                  <a:pt x="1317" y="451"/>
                  <a:pt x="1317" y="451"/>
                </a:cubicBezTo>
                <a:cubicBezTo>
                  <a:pt x="1316" y="451"/>
                  <a:pt x="1316" y="451"/>
                  <a:pt x="1316" y="451"/>
                </a:cubicBezTo>
                <a:cubicBezTo>
                  <a:pt x="1316" y="452"/>
                  <a:pt x="1316" y="452"/>
                  <a:pt x="1316" y="452"/>
                </a:cubicBezTo>
                <a:cubicBezTo>
                  <a:pt x="1315" y="452"/>
                  <a:pt x="1315" y="452"/>
                  <a:pt x="1315" y="452"/>
                </a:cubicBezTo>
                <a:cubicBezTo>
                  <a:pt x="1315" y="453"/>
                  <a:pt x="1315" y="453"/>
                  <a:pt x="1315" y="453"/>
                </a:cubicBezTo>
                <a:cubicBezTo>
                  <a:pt x="1313" y="454"/>
                  <a:pt x="1313" y="454"/>
                  <a:pt x="1313" y="454"/>
                </a:cubicBezTo>
                <a:cubicBezTo>
                  <a:pt x="1312" y="455"/>
                  <a:pt x="1312" y="455"/>
                  <a:pt x="1312" y="455"/>
                </a:cubicBezTo>
                <a:cubicBezTo>
                  <a:pt x="1312" y="456"/>
                  <a:pt x="1312" y="456"/>
                  <a:pt x="1312" y="456"/>
                </a:cubicBezTo>
                <a:cubicBezTo>
                  <a:pt x="1313" y="456"/>
                  <a:pt x="1313" y="456"/>
                  <a:pt x="1313" y="456"/>
                </a:cubicBezTo>
                <a:cubicBezTo>
                  <a:pt x="1313" y="455"/>
                  <a:pt x="1313" y="455"/>
                  <a:pt x="1313" y="455"/>
                </a:cubicBezTo>
                <a:cubicBezTo>
                  <a:pt x="1314" y="455"/>
                  <a:pt x="1314" y="455"/>
                  <a:pt x="1314" y="455"/>
                </a:cubicBezTo>
                <a:cubicBezTo>
                  <a:pt x="1315" y="456"/>
                  <a:pt x="1315" y="456"/>
                  <a:pt x="1315" y="456"/>
                </a:cubicBezTo>
                <a:cubicBezTo>
                  <a:pt x="1315" y="455"/>
                  <a:pt x="1315" y="455"/>
                  <a:pt x="1315" y="455"/>
                </a:cubicBezTo>
                <a:cubicBezTo>
                  <a:pt x="1316" y="454"/>
                  <a:pt x="1316" y="454"/>
                  <a:pt x="1316" y="454"/>
                </a:cubicBezTo>
                <a:cubicBezTo>
                  <a:pt x="1316" y="455"/>
                  <a:pt x="1316" y="455"/>
                  <a:pt x="1316" y="455"/>
                </a:cubicBezTo>
                <a:cubicBezTo>
                  <a:pt x="1317" y="454"/>
                  <a:pt x="1317" y="454"/>
                  <a:pt x="1317" y="454"/>
                </a:cubicBezTo>
                <a:cubicBezTo>
                  <a:pt x="1318" y="453"/>
                  <a:pt x="1318" y="453"/>
                  <a:pt x="1318" y="453"/>
                </a:cubicBezTo>
                <a:cubicBezTo>
                  <a:pt x="1319" y="453"/>
                  <a:pt x="1319" y="453"/>
                  <a:pt x="1319" y="453"/>
                </a:cubicBezTo>
                <a:cubicBezTo>
                  <a:pt x="1320" y="453"/>
                  <a:pt x="1320" y="453"/>
                  <a:pt x="1320" y="453"/>
                </a:cubicBezTo>
                <a:cubicBezTo>
                  <a:pt x="1321" y="453"/>
                  <a:pt x="1321" y="453"/>
                  <a:pt x="1321" y="453"/>
                </a:cubicBezTo>
                <a:cubicBezTo>
                  <a:pt x="1322" y="453"/>
                  <a:pt x="1322" y="453"/>
                  <a:pt x="1322" y="453"/>
                </a:cubicBezTo>
                <a:cubicBezTo>
                  <a:pt x="1323" y="454"/>
                  <a:pt x="1323" y="454"/>
                  <a:pt x="1323" y="454"/>
                </a:cubicBezTo>
                <a:cubicBezTo>
                  <a:pt x="1324" y="454"/>
                  <a:pt x="1324" y="454"/>
                  <a:pt x="1324" y="454"/>
                </a:cubicBezTo>
                <a:cubicBezTo>
                  <a:pt x="1324" y="453"/>
                  <a:pt x="1324" y="453"/>
                  <a:pt x="1324" y="453"/>
                </a:cubicBezTo>
                <a:cubicBezTo>
                  <a:pt x="1325" y="453"/>
                  <a:pt x="1325" y="453"/>
                  <a:pt x="1325" y="453"/>
                </a:cubicBezTo>
                <a:cubicBezTo>
                  <a:pt x="1325" y="452"/>
                  <a:pt x="1325" y="452"/>
                  <a:pt x="1325" y="452"/>
                </a:cubicBezTo>
                <a:cubicBezTo>
                  <a:pt x="1325" y="451"/>
                  <a:pt x="1325" y="451"/>
                  <a:pt x="1325" y="451"/>
                </a:cubicBezTo>
                <a:cubicBezTo>
                  <a:pt x="1326" y="450"/>
                  <a:pt x="1326" y="450"/>
                  <a:pt x="1326" y="450"/>
                </a:cubicBezTo>
                <a:cubicBezTo>
                  <a:pt x="1328" y="450"/>
                  <a:pt x="1328" y="450"/>
                  <a:pt x="1328" y="450"/>
                </a:cubicBezTo>
                <a:cubicBezTo>
                  <a:pt x="1329" y="450"/>
                  <a:pt x="1329" y="450"/>
                  <a:pt x="1329" y="450"/>
                </a:cubicBezTo>
                <a:cubicBezTo>
                  <a:pt x="1331" y="451"/>
                  <a:pt x="1331" y="451"/>
                  <a:pt x="1331" y="451"/>
                </a:cubicBezTo>
                <a:cubicBezTo>
                  <a:pt x="1331" y="450"/>
                  <a:pt x="1331" y="450"/>
                  <a:pt x="1331" y="450"/>
                </a:cubicBezTo>
                <a:cubicBezTo>
                  <a:pt x="1333" y="450"/>
                  <a:pt x="1333" y="450"/>
                  <a:pt x="1333" y="450"/>
                </a:cubicBezTo>
                <a:cubicBezTo>
                  <a:pt x="1334" y="451"/>
                  <a:pt x="1334" y="451"/>
                  <a:pt x="1334" y="451"/>
                </a:cubicBezTo>
                <a:cubicBezTo>
                  <a:pt x="1334" y="450"/>
                  <a:pt x="1334" y="450"/>
                  <a:pt x="1334" y="450"/>
                </a:cubicBezTo>
                <a:cubicBezTo>
                  <a:pt x="1335" y="449"/>
                  <a:pt x="1335" y="449"/>
                  <a:pt x="1335" y="449"/>
                </a:cubicBezTo>
                <a:cubicBezTo>
                  <a:pt x="1336" y="449"/>
                  <a:pt x="1336" y="449"/>
                  <a:pt x="1336" y="449"/>
                </a:cubicBezTo>
                <a:cubicBezTo>
                  <a:pt x="1337" y="448"/>
                  <a:pt x="1337" y="448"/>
                  <a:pt x="1337" y="448"/>
                </a:cubicBezTo>
                <a:cubicBezTo>
                  <a:pt x="1338" y="449"/>
                  <a:pt x="1338" y="449"/>
                  <a:pt x="1338" y="449"/>
                </a:cubicBezTo>
                <a:cubicBezTo>
                  <a:pt x="1338" y="449"/>
                  <a:pt x="1338" y="449"/>
                  <a:pt x="1337" y="449"/>
                </a:cubicBezTo>
                <a:cubicBezTo>
                  <a:pt x="1337" y="449"/>
                  <a:pt x="1337" y="449"/>
                  <a:pt x="1336" y="450"/>
                </a:cubicBezTo>
                <a:cubicBezTo>
                  <a:pt x="1336" y="450"/>
                  <a:pt x="1336" y="450"/>
                  <a:pt x="1337" y="450"/>
                </a:cubicBezTo>
                <a:cubicBezTo>
                  <a:pt x="1337" y="450"/>
                  <a:pt x="1337" y="450"/>
                  <a:pt x="1337" y="451"/>
                </a:cubicBezTo>
                <a:cubicBezTo>
                  <a:pt x="1337" y="451"/>
                  <a:pt x="1337" y="451"/>
                  <a:pt x="1338" y="451"/>
                </a:cubicBezTo>
                <a:cubicBezTo>
                  <a:pt x="1338" y="451"/>
                  <a:pt x="1338" y="451"/>
                  <a:pt x="1338" y="450"/>
                </a:cubicBezTo>
                <a:cubicBezTo>
                  <a:pt x="1338" y="450"/>
                  <a:pt x="1338" y="450"/>
                  <a:pt x="1339" y="449"/>
                </a:cubicBezTo>
                <a:cubicBezTo>
                  <a:pt x="1340" y="448"/>
                  <a:pt x="1340" y="448"/>
                  <a:pt x="1340" y="448"/>
                </a:cubicBezTo>
                <a:cubicBezTo>
                  <a:pt x="1340" y="449"/>
                  <a:pt x="1340" y="449"/>
                  <a:pt x="1340" y="449"/>
                </a:cubicBezTo>
                <a:cubicBezTo>
                  <a:pt x="1341" y="448"/>
                  <a:pt x="1341" y="448"/>
                  <a:pt x="1341" y="448"/>
                </a:cubicBezTo>
                <a:cubicBezTo>
                  <a:pt x="1343" y="448"/>
                  <a:pt x="1343" y="448"/>
                  <a:pt x="1343" y="448"/>
                </a:cubicBezTo>
                <a:cubicBezTo>
                  <a:pt x="1345" y="448"/>
                  <a:pt x="1345" y="448"/>
                  <a:pt x="1345" y="448"/>
                </a:cubicBezTo>
                <a:cubicBezTo>
                  <a:pt x="1346" y="449"/>
                  <a:pt x="1346" y="449"/>
                  <a:pt x="1346" y="449"/>
                </a:cubicBezTo>
                <a:cubicBezTo>
                  <a:pt x="1347" y="449"/>
                  <a:pt x="1347" y="449"/>
                  <a:pt x="1347" y="449"/>
                </a:cubicBezTo>
                <a:cubicBezTo>
                  <a:pt x="1347" y="448"/>
                  <a:pt x="1347" y="448"/>
                  <a:pt x="1347" y="448"/>
                </a:cubicBezTo>
                <a:cubicBezTo>
                  <a:pt x="1349" y="448"/>
                  <a:pt x="1349" y="448"/>
                  <a:pt x="1349" y="448"/>
                </a:cubicBezTo>
                <a:cubicBezTo>
                  <a:pt x="1349" y="447"/>
                  <a:pt x="1349" y="447"/>
                  <a:pt x="1349" y="447"/>
                </a:cubicBezTo>
                <a:cubicBezTo>
                  <a:pt x="1350" y="447"/>
                  <a:pt x="1350" y="447"/>
                  <a:pt x="1350" y="447"/>
                </a:cubicBezTo>
                <a:cubicBezTo>
                  <a:pt x="1351" y="447"/>
                  <a:pt x="1351" y="447"/>
                  <a:pt x="1351" y="447"/>
                </a:cubicBezTo>
                <a:cubicBezTo>
                  <a:pt x="1351" y="446"/>
                  <a:pt x="1351" y="446"/>
                  <a:pt x="1351" y="446"/>
                </a:cubicBezTo>
                <a:cubicBezTo>
                  <a:pt x="1352" y="445"/>
                  <a:pt x="1352" y="445"/>
                  <a:pt x="1352" y="445"/>
                </a:cubicBezTo>
                <a:cubicBezTo>
                  <a:pt x="1353" y="445"/>
                  <a:pt x="1353" y="445"/>
                  <a:pt x="1353" y="445"/>
                </a:cubicBezTo>
                <a:cubicBezTo>
                  <a:pt x="1353" y="444"/>
                  <a:pt x="1353" y="444"/>
                  <a:pt x="1353" y="444"/>
                </a:cubicBezTo>
                <a:cubicBezTo>
                  <a:pt x="1353" y="443"/>
                  <a:pt x="1353" y="443"/>
                  <a:pt x="1353" y="443"/>
                </a:cubicBezTo>
                <a:cubicBezTo>
                  <a:pt x="1351" y="443"/>
                  <a:pt x="1351" y="443"/>
                  <a:pt x="1351" y="443"/>
                </a:cubicBezTo>
                <a:cubicBezTo>
                  <a:pt x="1350" y="443"/>
                  <a:pt x="1350" y="443"/>
                  <a:pt x="1350" y="443"/>
                </a:cubicBezTo>
                <a:cubicBezTo>
                  <a:pt x="1349" y="442"/>
                  <a:pt x="1349" y="442"/>
                  <a:pt x="1349" y="442"/>
                </a:cubicBezTo>
                <a:cubicBezTo>
                  <a:pt x="1349" y="443"/>
                  <a:pt x="1349" y="443"/>
                  <a:pt x="1349" y="443"/>
                </a:cubicBezTo>
                <a:cubicBezTo>
                  <a:pt x="1348" y="443"/>
                  <a:pt x="1348" y="443"/>
                  <a:pt x="1348" y="443"/>
                </a:cubicBezTo>
                <a:cubicBezTo>
                  <a:pt x="1349" y="442"/>
                  <a:pt x="1349" y="442"/>
                  <a:pt x="1349" y="442"/>
                </a:cubicBezTo>
                <a:cubicBezTo>
                  <a:pt x="1348" y="442"/>
                  <a:pt x="1348" y="442"/>
                  <a:pt x="1348" y="442"/>
                </a:cubicBezTo>
                <a:cubicBezTo>
                  <a:pt x="1347" y="442"/>
                  <a:pt x="1347" y="442"/>
                  <a:pt x="1347" y="442"/>
                </a:cubicBezTo>
                <a:cubicBezTo>
                  <a:pt x="1348" y="441"/>
                  <a:pt x="1348" y="441"/>
                  <a:pt x="1348" y="441"/>
                </a:cubicBezTo>
                <a:cubicBezTo>
                  <a:pt x="1349" y="442"/>
                  <a:pt x="1349" y="442"/>
                  <a:pt x="1349" y="442"/>
                </a:cubicBezTo>
                <a:cubicBezTo>
                  <a:pt x="1350" y="441"/>
                  <a:pt x="1350" y="441"/>
                  <a:pt x="1350" y="441"/>
                </a:cubicBezTo>
                <a:cubicBezTo>
                  <a:pt x="1350" y="440"/>
                  <a:pt x="1350" y="440"/>
                  <a:pt x="1350" y="440"/>
                </a:cubicBezTo>
                <a:cubicBezTo>
                  <a:pt x="1349" y="440"/>
                  <a:pt x="1349" y="440"/>
                  <a:pt x="1349" y="440"/>
                </a:cubicBezTo>
                <a:cubicBezTo>
                  <a:pt x="1350" y="439"/>
                  <a:pt x="1350" y="439"/>
                  <a:pt x="1350" y="439"/>
                </a:cubicBezTo>
                <a:cubicBezTo>
                  <a:pt x="1351" y="440"/>
                  <a:pt x="1351" y="440"/>
                  <a:pt x="1351" y="440"/>
                </a:cubicBezTo>
                <a:cubicBezTo>
                  <a:pt x="1351" y="439"/>
                  <a:pt x="1351" y="439"/>
                  <a:pt x="1351" y="439"/>
                </a:cubicBezTo>
                <a:cubicBezTo>
                  <a:pt x="1352" y="438"/>
                  <a:pt x="1352" y="438"/>
                  <a:pt x="1352" y="438"/>
                </a:cubicBezTo>
                <a:cubicBezTo>
                  <a:pt x="1351" y="438"/>
                  <a:pt x="1351" y="438"/>
                  <a:pt x="1351" y="438"/>
                </a:cubicBezTo>
                <a:cubicBezTo>
                  <a:pt x="1351" y="437"/>
                  <a:pt x="1351" y="437"/>
                  <a:pt x="1351" y="437"/>
                </a:cubicBezTo>
                <a:cubicBezTo>
                  <a:pt x="1352" y="437"/>
                  <a:pt x="1352" y="437"/>
                  <a:pt x="1352" y="437"/>
                </a:cubicBezTo>
                <a:cubicBezTo>
                  <a:pt x="1352" y="438"/>
                  <a:pt x="1352" y="438"/>
                  <a:pt x="1352" y="438"/>
                </a:cubicBezTo>
                <a:cubicBezTo>
                  <a:pt x="1353" y="437"/>
                  <a:pt x="1353" y="437"/>
                  <a:pt x="1353" y="437"/>
                </a:cubicBezTo>
                <a:cubicBezTo>
                  <a:pt x="1353" y="435"/>
                  <a:pt x="1353" y="435"/>
                  <a:pt x="1353" y="435"/>
                </a:cubicBezTo>
                <a:cubicBezTo>
                  <a:pt x="1354" y="433"/>
                  <a:pt x="1354" y="433"/>
                  <a:pt x="1354" y="433"/>
                </a:cubicBezTo>
                <a:cubicBezTo>
                  <a:pt x="1354" y="432"/>
                  <a:pt x="1354" y="432"/>
                  <a:pt x="1354" y="432"/>
                </a:cubicBezTo>
                <a:cubicBezTo>
                  <a:pt x="1353" y="431"/>
                  <a:pt x="1353" y="431"/>
                  <a:pt x="1353" y="431"/>
                </a:cubicBezTo>
                <a:cubicBezTo>
                  <a:pt x="1351" y="429"/>
                  <a:pt x="1351" y="429"/>
                  <a:pt x="1351" y="429"/>
                </a:cubicBezTo>
                <a:cubicBezTo>
                  <a:pt x="1348" y="429"/>
                  <a:pt x="1348" y="429"/>
                  <a:pt x="1348" y="429"/>
                </a:cubicBezTo>
                <a:cubicBezTo>
                  <a:pt x="1346" y="429"/>
                  <a:pt x="1346" y="429"/>
                  <a:pt x="1346" y="429"/>
                </a:cubicBezTo>
                <a:cubicBezTo>
                  <a:pt x="1346" y="430"/>
                  <a:pt x="1346" y="430"/>
                  <a:pt x="1346" y="430"/>
                </a:cubicBezTo>
                <a:cubicBezTo>
                  <a:pt x="1346" y="431"/>
                  <a:pt x="1346" y="431"/>
                  <a:pt x="1346" y="431"/>
                </a:cubicBezTo>
                <a:cubicBezTo>
                  <a:pt x="1345" y="430"/>
                  <a:pt x="1345" y="430"/>
                  <a:pt x="1345" y="430"/>
                </a:cubicBezTo>
                <a:cubicBezTo>
                  <a:pt x="1344" y="430"/>
                  <a:pt x="1344" y="430"/>
                  <a:pt x="1344" y="430"/>
                </a:cubicBezTo>
                <a:cubicBezTo>
                  <a:pt x="1346" y="428"/>
                  <a:pt x="1346" y="428"/>
                  <a:pt x="1346" y="428"/>
                </a:cubicBezTo>
                <a:cubicBezTo>
                  <a:pt x="1346" y="427"/>
                  <a:pt x="1346" y="427"/>
                  <a:pt x="1346" y="427"/>
                </a:cubicBezTo>
                <a:cubicBezTo>
                  <a:pt x="1344" y="425"/>
                  <a:pt x="1344" y="425"/>
                  <a:pt x="1344" y="425"/>
                </a:cubicBezTo>
                <a:cubicBezTo>
                  <a:pt x="1342" y="424"/>
                  <a:pt x="1342" y="424"/>
                  <a:pt x="1342" y="424"/>
                </a:cubicBezTo>
                <a:cubicBezTo>
                  <a:pt x="1342" y="423"/>
                  <a:pt x="1342" y="423"/>
                  <a:pt x="1342" y="423"/>
                </a:cubicBezTo>
                <a:cubicBezTo>
                  <a:pt x="1343" y="423"/>
                  <a:pt x="1343" y="423"/>
                  <a:pt x="1343" y="423"/>
                </a:cubicBezTo>
                <a:cubicBezTo>
                  <a:pt x="1344" y="423"/>
                  <a:pt x="1344" y="423"/>
                  <a:pt x="1344" y="423"/>
                </a:cubicBezTo>
                <a:cubicBezTo>
                  <a:pt x="1342" y="421"/>
                  <a:pt x="1342" y="421"/>
                  <a:pt x="1342" y="421"/>
                </a:cubicBezTo>
                <a:cubicBezTo>
                  <a:pt x="1342" y="420"/>
                  <a:pt x="1342" y="420"/>
                  <a:pt x="1342" y="420"/>
                </a:cubicBezTo>
                <a:cubicBezTo>
                  <a:pt x="1343" y="419"/>
                  <a:pt x="1343" y="419"/>
                  <a:pt x="1343" y="419"/>
                </a:cubicBezTo>
                <a:cubicBezTo>
                  <a:pt x="1342" y="419"/>
                  <a:pt x="1342" y="419"/>
                  <a:pt x="1342" y="419"/>
                </a:cubicBezTo>
                <a:cubicBezTo>
                  <a:pt x="1341" y="418"/>
                  <a:pt x="1341" y="418"/>
                  <a:pt x="1341" y="418"/>
                </a:cubicBezTo>
                <a:cubicBezTo>
                  <a:pt x="1340" y="416"/>
                  <a:pt x="1340" y="416"/>
                  <a:pt x="1340" y="416"/>
                </a:cubicBezTo>
                <a:cubicBezTo>
                  <a:pt x="1339" y="416"/>
                  <a:pt x="1339" y="416"/>
                  <a:pt x="1339" y="416"/>
                </a:cubicBezTo>
                <a:cubicBezTo>
                  <a:pt x="1336" y="415"/>
                  <a:pt x="1336" y="415"/>
                  <a:pt x="1336" y="415"/>
                </a:cubicBezTo>
                <a:cubicBezTo>
                  <a:pt x="1336" y="414"/>
                  <a:pt x="1336" y="414"/>
                  <a:pt x="1336" y="414"/>
                </a:cubicBezTo>
                <a:cubicBezTo>
                  <a:pt x="1335" y="412"/>
                  <a:pt x="1335" y="412"/>
                  <a:pt x="1335" y="412"/>
                </a:cubicBezTo>
                <a:cubicBezTo>
                  <a:pt x="1334" y="411"/>
                  <a:pt x="1334" y="411"/>
                  <a:pt x="1334" y="411"/>
                </a:cubicBezTo>
                <a:cubicBezTo>
                  <a:pt x="1334" y="408"/>
                  <a:pt x="1334" y="408"/>
                  <a:pt x="1334" y="408"/>
                </a:cubicBezTo>
                <a:cubicBezTo>
                  <a:pt x="1333" y="407"/>
                  <a:pt x="1333" y="407"/>
                  <a:pt x="1333" y="407"/>
                </a:cubicBezTo>
                <a:cubicBezTo>
                  <a:pt x="1331" y="404"/>
                  <a:pt x="1331" y="404"/>
                  <a:pt x="1331" y="404"/>
                </a:cubicBezTo>
                <a:cubicBezTo>
                  <a:pt x="1330" y="404"/>
                  <a:pt x="1330" y="404"/>
                  <a:pt x="1330" y="404"/>
                </a:cubicBezTo>
                <a:cubicBezTo>
                  <a:pt x="1329" y="403"/>
                  <a:pt x="1329" y="403"/>
                  <a:pt x="1329" y="403"/>
                </a:cubicBezTo>
                <a:cubicBezTo>
                  <a:pt x="1328" y="403"/>
                  <a:pt x="1328" y="403"/>
                  <a:pt x="1328" y="403"/>
                </a:cubicBezTo>
                <a:cubicBezTo>
                  <a:pt x="1327" y="403"/>
                  <a:pt x="1327" y="403"/>
                  <a:pt x="1327" y="403"/>
                </a:cubicBezTo>
                <a:cubicBezTo>
                  <a:pt x="1326" y="404"/>
                  <a:pt x="1326" y="404"/>
                  <a:pt x="1326" y="404"/>
                </a:cubicBezTo>
                <a:cubicBezTo>
                  <a:pt x="1325" y="403"/>
                  <a:pt x="1325" y="403"/>
                  <a:pt x="1325" y="403"/>
                </a:cubicBezTo>
                <a:cubicBezTo>
                  <a:pt x="1326" y="402"/>
                  <a:pt x="1326" y="402"/>
                  <a:pt x="1326" y="402"/>
                </a:cubicBezTo>
                <a:cubicBezTo>
                  <a:pt x="1327" y="402"/>
                  <a:pt x="1327" y="402"/>
                  <a:pt x="1327" y="402"/>
                </a:cubicBezTo>
                <a:cubicBezTo>
                  <a:pt x="1328" y="401"/>
                  <a:pt x="1328" y="401"/>
                  <a:pt x="1328" y="401"/>
                </a:cubicBezTo>
                <a:cubicBezTo>
                  <a:pt x="1327" y="400"/>
                  <a:pt x="1327" y="400"/>
                  <a:pt x="1327" y="400"/>
                </a:cubicBezTo>
                <a:cubicBezTo>
                  <a:pt x="1327" y="399"/>
                  <a:pt x="1327" y="399"/>
                  <a:pt x="1327" y="399"/>
                </a:cubicBezTo>
                <a:cubicBezTo>
                  <a:pt x="1325" y="400"/>
                  <a:pt x="1325" y="400"/>
                  <a:pt x="1325" y="400"/>
                </a:cubicBezTo>
                <a:cubicBezTo>
                  <a:pt x="1326" y="399"/>
                  <a:pt x="1326" y="399"/>
                  <a:pt x="1326" y="399"/>
                </a:cubicBezTo>
                <a:cubicBezTo>
                  <a:pt x="1327" y="399"/>
                  <a:pt x="1327" y="399"/>
                  <a:pt x="1327" y="399"/>
                </a:cubicBezTo>
                <a:cubicBezTo>
                  <a:pt x="1328" y="399"/>
                  <a:pt x="1328" y="399"/>
                  <a:pt x="1328" y="399"/>
                </a:cubicBezTo>
                <a:cubicBezTo>
                  <a:pt x="1328" y="398"/>
                  <a:pt x="1328" y="398"/>
                  <a:pt x="1328" y="398"/>
                </a:cubicBezTo>
                <a:cubicBezTo>
                  <a:pt x="1329" y="398"/>
                  <a:pt x="1329" y="398"/>
                  <a:pt x="1329" y="398"/>
                </a:cubicBezTo>
                <a:cubicBezTo>
                  <a:pt x="1329" y="397"/>
                  <a:pt x="1329" y="397"/>
                  <a:pt x="1329" y="397"/>
                </a:cubicBezTo>
                <a:cubicBezTo>
                  <a:pt x="1330" y="396"/>
                  <a:pt x="1330" y="396"/>
                  <a:pt x="1330" y="396"/>
                </a:cubicBezTo>
                <a:cubicBezTo>
                  <a:pt x="1331" y="395"/>
                  <a:pt x="1331" y="395"/>
                  <a:pt x="1331" y="395"/>
                </a:cubicBezTo>
                <a:cubicBezTo>
                  <a:pt x="1330" y="394"/>
                  <a:pt x="1330" y="394"/>
                  <a:pt x="1330" y="394"/>
                </a:cubicBezTo>
                <a:cubicBezTo>
                  <a:pt x="1331" y="393"/>
                  <a:pt x="1331" y="393"/>
                  <a:pt x="1331" y="393"/>
                </a:cubicBezTo>
                <a:cubicBezTo>
                  <a:pt x="1331" y="391"/>
                  <a:pt x="1331" y="391"/>
                  <a:pt x="1331" y="391"/>
                </a:cubicBezTo>
                <a:cubicBezTo>
                  <a:pt x="1332" y="390"/>
                  <a:pt x="1332" y="390"/>
                  <a:pt x="1332" y="390"/>
                </a:cubicBezTo>
                <a:cubicBezTo>
                  <a:pt x="1331" y="388"/>
                  <a:pt x="1331" y="388"/>
                  <a:pt x="1331" y="388"/>
                </a:cubicBezTo>
                <a:cubicBezTo>
                  <a:pt x="1328" y="388"/>
                  <a:pt x="1328" y="388"/>
                  <a:pt x="1328" y="388"/>
                </a:cubicBezTo>
                <a:cubicBezTo>
                  <a:pt x="1327" y="388"/>
                  <a:pt x="1327" y="388"/>
                  <a:pt x="1327" y="388"/>
                </a:cubicBezTo>
                <a:cubicBezTo>
                  <a:pt x="1326" y="389"/>
                  <a:pt x="1326" y="389"/>
                  <a:pt x="1326" y="389"/>
                </a:cubicBezTo>
                <a:cubicBezTo>
                  <a:pt x="1325" y="389"/>
                  <a:pt x="1325" y="389"/>
                  <a:pt x="1325" y="389"/>
                </a:cubicBezTo>
                <a:cubicBezTo>
                  <a:pt x="1324" y="388"/>
                  <a:pt x="1324" y="388"/>
                  <a:pt x="1324" y="388"/>
                </a:cubicBezTo>
                <a:cubicBezTo>
                  <a:pt x="1324" y="389"/>
                  <a:pt x="1324" y="389"/>
                  <a:pt x="1324" y="389"/>
                </a:cubicBezTo>
                <a:cubicBezTo>
                  <a:pt x="1323" y="389"/>
                  <a:pt x="1323" y="389"/>
                  <a:pt x="1323" y="389"/>
                </a:cubicBezTo>
                <a:cubicBezTo>
                  <a:pt x="1322" y="389"/>
                  <a:pt x="1322" y="389"/>
                  <a:pt x="1322" y="389"/>
                </a:cubicBezTo>
                <a:cubicBezTo>
                  <a:pt x="1321" y="389"/>
                  <a:pt x="1321" y="389"/>
                  <a:pt x="1321" y="389"/>
                </a:cubicBezTo>
                <a:cubicBezTo>
                  <a:pt x="1321" y="390"/>
                  <a:pt x="1321" y="390"/>
                  <a:pt x="1321" y="390"/>
                </a:cubicBezTo>
                <a:cubicBezTo>
                  <a:pt x="1320" y="390"/>
                  <a:pt x="1320" y="390"/>
                  <a:pt x="1320" y="390"/>
                </a:cubicBezTo>
                <a:cubicBezTo>
                  <a:pt x="1321" y="389"/>
                  <a:pt x="1321" y="389"/>
                  <a:pt x="1321" y="389"/>
                </a:cubicBezTo>
                <a:cubicBezTo>
                  <a:pt x="1322" y="387"/>
                  <a:pt x="1322" y="387"/>
                  <a:pt x="1322" y="387"/>
                </a:cubicBezTo>
                <a:cubicBezTo>
                  <a:pt x="1321" y="387"/>
                  <a:pt x="1321" y="387"/>
                  <a:pt x="1321" y="387"/>
                </a:cubicBezTo>
                <a:cubicBezTo>
                  <a:pt x="1321" y="386"/>
                  <a:pt x="1321" y="386"/>
                  <a:pt x="1321" y="386"/>
                </a:cubicBezTo>
                <a:cubicBezTo>
                  <a:pt x="1324" y="384"/>
                  <a:pt x="1324" y="384"/>
                  <a:pt x="1324" y="384"/>
                </a:cubicBezTo>
                <a:cubicBezTo>
                  <a:pt x="1325" y="383"/>
                  <a:pt x="1325" y="383"/>
                  <a:pt x="1325" y="383"/>
                </a:cubicBezTo>
                <a:cubicBezTo>
                  <a:pt x="1326" y="382"/>
                  <a:pt x="1326" y="382"/>
                  <a:pt x="1326" y="382"/>
                </a:cubicBezTo>
                <a:cubicBezTo>
                  <a:pt x="1325" y="381"/>
                  <a:pt x="1325" y="381"/>
                  <a:pt x="1325" y="381"/>
                </a:cubicBezTo>
                <a:cubicBezTo>
                  <a:pt x="1326" y="380"/>
                  <a:pt x="1326" y="380"/>
                  <a:pt x="1326" y="380"/>
                </a:cubicBezTo>
                <a:cubicBezTo>
                  <a:pt x="1325" y="380"/>
                  <a:pt x="1325" y="380"/>
                  <a:pt x="1325" y="380"/>
                </a:cubicBezTo>
                <a:cubicBezTo>
                  <a:pt x="1324" y="380"/>
                  <a:pt x="1324" y="380"/>
                  <a:pt x="1324" y="380"/>
                </a:cubicBezTo>
                <a:cubicBezTo>
                  <a:pt x="1323" y="380"/>
                  <a:pt x="1323" y="380"/>
                  <a:pt x="1323" y="380"/>
                </a:cubicBezTo>
                <a:cubicBezTo>
                  <a:pt x="1322" y="381"/>
                  <a:pt x="1322" y="381"/>
                  <a:pt x="1322" y="381"/>
                </a:cubicBezTo>
                <a:cubicBezTo>
                  <a:pt x="1321" y="381"/>
                  <a:pt x="1321" y="381"/>
                  <a:pt x="1321" y="381"/>
                </a:cubicBezTo>
                <a:cubicBezTo>
                  <a:pt x="1320" y="381"/>
                  <a:pt x="1320" y="381"/>
                  <a:pt x="1320" y="381"/>
                </a:cubicBezTo>
                <a:cubicBezTo>
                  <a:pt x="1319" y="382"/>
                  <a:pt x="1319" y="382"/>
                  <a:pt x="1319" y="382"/>
                </a:cubicBezTo>
                <a:cubicBezTo>
                  <a:pt x="1319" y="381"/>
                  <a:pt x="1319" y="381"/>
                  <a:pt x="1319" y="381"/>
                </a:cubicBezTo>
                <a:cubicBezTo>
                  <a:pt x="1318" y="382"/>
                  <a:pt x="1318" y="382"/>
                  <a:pt x="1318" y="382"/>
                </a:cubicBezTo>
                <a:cubicBezTo>
                  <a:pt x="1318" y="381"/>
                  <a:pt x="1318" y="381"/>
                  <a:pt x="1318" y="381"/>
                </a:cubicBezTo>
                <a:cubicBezTo>
                  <a:pt x="1316" y="380"/>
                  <a:pt x="1316" y="380"/>
                  <a:pt x="1316" y="380"/>
                </a:cubicBezTo>
                <a:cubicBezTo>
                  <a:pt x="1316" y="381"/>
                  <a:pt x="1316" y="381"/>
                  <a:pt x="1316" y="381"/>
                </a:cubicBezTo>
                <a:cubicBezTo>
                  <a:pt x="1316" y="382"/>
                  <a:pt x="1316" y="382"/>
                  <a:pt x="1316" y="382"/>
                </a:cubicBezTo>
                <a:cubicBezTo>
                  <a:pt x="1316" y="383"/>
                  <a:pt x="1316" y="383"/>
                  <a:pt x="1316" y="383"/>
                </a:cubicBezTo>
                <a:cubicBezTo>
                  <a:pt x="1315" y="383"/>
                  <a:pt x="1315" y="383"/>
                  <a:pt x="1315" y="383"/>
                </a:cubicBezTo>
                <a:cubicBezTo>
                  <a:pt x="1315" y="384"/>
                  <a:pt x="1315" y="384"/>
                  <a:pt x="1315" y="384"/>
                </a:cubicBezTo>
                <a:cubicBezTo>
                  <a:pt x="1315" y="385"/>
                  <a:pt x="1315" y="385"/>
                  <a:pt x="1315" y="385"/>
                </a:cubicBezTo>
                <a:cubicBezTo>
                  <a:pt x="1314" y="385"/>
                  <a:pt x="1314" y="385"/>
                  <a:pt x="1314" y="385"/>
                </a:cubicBezTo>
                <a:cubicBezTo>
                  <a:pt x="1315" y="386"/>
                  <a:pt x="1315" y="386"/>
                  <a:pt x="1315" y="386"/>
                </a:cubicBezTo>
                <a:cubicBezTo>
                  <a:pt x="1314" y="387"/>
                  <a:pt x="1314" y="387"/>
                  <a:pt x="1314" y="387"/>
                </a:cubicBezTo>
                <a:cubicBezTo>
                  <a:pt x="1313" y="386"/>
                  <a:pt x="1313" y="386"/>
                  <a:pt x="1313" y="386"/>
                </a:cubicBezTo>
                <a:cubicBezTo>
                  <a:pt x="1313" y="387"/>
                  <a:pt x="1313" y="387"/>
                  <a:pt x="1313" y="387"/>
                </a:cubicBezTo>
                <a:cubicBezTo>
                  <a:pt x="1312" y="388"/>
                  <a:pt x="1312" y="388"/>
                  <a:pt x="1312" y="388"/>
                </a:cubicBezTo>
                <a:cubicBezTo>
                  <a:pt x="1313" y="388"/>
                  <a:pt x="1313" y="388"/>
                  <a:pt x="1313" y="388"/>
                </a:cubicBezTo>
                <a:cubicBezTo>
                  <a:pt x="1312" y="389"/>
                  <a:pt x="1312" y="389"/>
                  <a:pt x="1312" y="389"/>
                </a:cubicBezTo>
                <a:cubicBezTo>
                  <a:pt x="1312" y="391"/>
                  <a:pt x="1312" y="391"/>
                  <a:pt x="1312" y="391"/>
                </a:cubicBezTo>
                <a:cubicBezTo>
                  <a:pt x="1314" y="391"/>
                  <a:pt x="1314" y="391"/>
                  <a:pt x="1314" y="391"/>
                </a:cubicBezTo>
                <a:cubicBezTo>
                  <a:pt x="1313" y="392"/>
                  <a:pt x="1313" y="392"/>
                  <a:pt x="1313" y="392"/>
                </a:cubicBezTo>
                <a:cubicBezTo>
                  <a:pt x="1313" y="393"/>
                  <a:pt x="1313" y="393"/>
                  <a:pt x="1313" y="393"/>
                </a:cubicBezTo>
                <a:close/>
                <a:moveTo>
                  <a:pt x="1308" y="384"/>
                </a:moveTo>
                <a:cubicBezTo>
                  <a:pt x="1308" y="384"/>
                  <a:pt x="1308" y="384"/>
                  <a:pt x="1307" y="383"/>
                </a:cubicBezTo>
                <a:cubicBezTo>
                  <a:pt x="1307" y="383"/>
                  <a:pt x="1307" y="383"/>
                  <a:pt x="1306" y="384"/>
                </a:cubicBezTo>
                <a:cubicBezTo>
                  <a:pt x="1306" y="384"/>
                  <a:pt x="1306" y="384"/>
                  <a:pt x="1307" y="385"/>
                </a:cubicBezTo>
                <a:cubicBezTo>
                  <a:pt x="1307" y="385"/>
                  <a:pt x="1307" y="385"/>
                  <a:pt x="1306" y="385"/>
                </a:cubicBezTo>
                <a:cubicBezTo>
                  <a:pt x="1306" y="385"/>
                  <a:pt x="1306" y="385"/>
                  <a:pt x="1307" y="386"/>
                </a:cubicBezTo>
                <a:cubicBezTo>
                  <a:pt x="1307" y="386"/>
                  <a:pt x="1307" y="386"/>
                  <a:pt x="1308" y="386"/>
                </a:cubicBezTo>
                <a:cubicBezTo>
                  <a:pt x="1308" y="386"/>
                  <a:pt x="1308" y="386"/>
                  <a:pt x="1309" y="386"/>
                </a:cubicBezTo>
                <a:cubicBezTo>
                  <a:pt x="1309" y="386"/>
                  <a:pt x="1309" y="386"/>
                  <a:pt x="1310" y="385"/>
                </a:cubicBezTo>
                <a:cubicBezTo>
                  <a:pt x="1310" y="385"/>
                  <a:pt x="1310" y="385"/>
                  <a:pt x="1309" y="385"/>
                </a:cubicBezTo>
                <a:cubicBezTo>
                  <a:pt x="1309" y="385"/>
                  <a:pt x="1309" y="385"/>
                  <a:pt x="1310" y="384"/>
                </a:cubicBezTo>
                <a:cubicBezTo>
                  <a:pt x="1310" y="384"/>
                  <a:pt x="1310" y="384"/>
                  <a:pt x="1311" y="383"/>
                </a:cubicBezTo>
                <a:cubicBezTo>
                  <a:pt x="1311" y="383"/>
                  <a:pt x="1311" y="383"/>
                  <a:pt x="1310" y="381"/>
                </a:cubicBezTo>
                <a:cubicBezTo>
                  <a:pt x="1310" y="381"/>
                  <a:pt x="1310" y="381"/>
                  <a:pt x="1308" y="383"/>
                </a:cubicBezTo>
                <a:cubicBezTo>
                  <a:pt x="1308" y="383"/>
                  <a:pt x="1308" y="383"/>
                  <a:pt x="1308" y="384"/>
                </a:cubicBezTo>
                <a:close/>
                <a:moveTo>
                  <a:pt x="1311" y="406"/>
                </a:moveTo>
                <a:cubicBezTo>
                  <a:pt x="1310" y="404"/>
                  <a:pt x="1310" y="404"/>
                  <a:pt x="1310" y="404"/>
                </a:cubicBezTo>
                <a:cubicBezTo>
                  <a:pt x="1308" y="405"/>
                  <a:pt x="1308" y="405"/>
                  <a:pt x="1308" y="405"/>
                </a:cubicBezTo>
                <a:cubicBezTo>
                  <a:pt x="1308" y="406"/>
                  <a:pt x="1308" y="406"/>
                  <a:pt x="1308" y="406"/>
                </a:cubicBezTo>
                <a:cubicBezTo>
                  <a:pt x="1310" y="405"/>
                  <a:pt x="1310" y="405"/>
                  <a:pt x="1310" y="405"/>
                </a:cubicBezTo>
                <a:cubicBezTo>
                  <a:pt x="1309" y="407"/>
                  <a:pt x="1309" y="407"/>
                  <a:pt x="1309" y="407"/>
                </a:cubicBezTo>
                <a:cubicBezTo>
                  <a:pt x="1311" y="406"/>
                  <a:pt x="1311" y="406"/>
                  <a:pt x="1311" y="406"/>
                </a:cubicBezTo>
                <a:close/>
                <a:moveTo>
                  <a:pt x="1306" y="399"/>
                </a:moveTo>
                <a:cubicBezTo>
                  <a:pt x="1306" y="399"/>
                  <a:pt x="1306" y="399"/>
                  <a:pt x="1307" y="398"/>
                </a:cubicBezTo>
                <a:cubicBezTo>
                  <a:pt x="1307" y="398"/>
                  <a:pt x="1307" y="398"/>
                  <a:pt x="1306" y="398"/>
                </a:cubicBezTo>
                <a:cubicBezTo>
                  <a:pt x="1306" y="398"/>
                  <a:pt x="1306" y="398"/>
                  <a:pt x="1306" y="399"/>
                </a:cubicBezTo>
                <a:close/>
                <a:moveTo>
                  <a:pt x="1306" y="389"/>
                </a:moveTo>
                <a:cubicBezTo>
                  <a:pt x="1306" y="389"/>
                  <a:pt x="1306" y="389"/>
                  <a:pt x="1306" y="388"/>
                </a:cubicBezTo>
                <a:cubicBezTo>
                  <a:pt x="1306" y="388"/>
                  <a:pt x="1306" y="388"/>
                  <a:pt x="1304" y="388"/>
                </a:cubicBezTo>
                <a:cubicBezTo>
                  <a:pt x="1304" y="388"/>
                  <a:pt x="1304" y="388"/>
                  <a:pt x="1304" y="389"/>
                </a:cubicBezTo>
                <a:cubicBezTo>
                  <a:pt x="1304" y="389"/>
                  <a:pt x="1304" y="389"/>
                  <a:pt x="1305" y="389"/>
                </a:cubicBezTo>
                <a:cubicBezTo>
                  <a:pt x="1305" y="389"/>
                  <a:pt x="1305" y="389"/>
                  <a:pt x="1306" y="389"/>
                </a:cubicBezTo>
                <a:close/>
                <a:moveTo>
                  <a:pt x="1304" y="390"/>
                </a:moveTo>
                <a:cubicBezTo>
                  <a:pt x="1304" y="390"/>
                  <a:pt x="1304" y="390"/>
                  <a:pt x="1305" y="391"/>
                </a:cubicBezTo>
                <a:cubicBezTo>
                  <a:pt x="1305" y="391"/>
                  <a:pt x="1305" y="391"/>
                  <a:pt x="1305" y="390"/>
                </a:cubicBezTo>
                <a:cubicBezTo>
                  <a:pt x="1305" y="390"/>
                  <a:pt x="1305" y="390"/>
                  <a:pt x="1304" y="390"/>
                </a:cubicBezTo>
                <a:close/>
                <a:moveTo>
                  <a:pt x="1394" y="518"/>
                </a:moveTo>
                <a:cubicBezTo>
                  <a:pt x="1395" y="518"/>
                  <a:pt x="1395" y="518"/>
                  <a:pt x="1395" y="518"/>
                </a:cubicBezTo>
                <a:cubicBezTo>
                  <a:pt x="1395" y="519"/>
                  <a:pt x="1395" y="519"/>
                  <a:pt x="1395" y="519"/>
                </a:cubicBezTo>
                <a:cubicBezTo>
                  <a:pt x="1395" y="520"/>
                  <a:pt x="1395" y="520"/>
                  <a:pt x="1395" y="520"/>
                </a:cubicBezTo>
                <a:cubicBezTo>
                  <a:pt x="1394" y="520"/>
                  <a:pt x="1394" y="520"/>
                  <a:pt x="1394" y="520"/>
                </a:cubicBezTo>
                <a:cubicBezTo>
                  <a:pt x="1395" y="521"/>
                  <a:pt x="1395" y="521"/>
                  <a:pt x="1395" y="521"/>
                </a:cubicBezTo>
                <a:cubicBezTo>
                  <a:pt x="1397" y="522"/>
                  <a:pt x="1397" y="522"/>
                  <a:pt x="1397" y="522"/>
                </a:cubicBezTo>
                <a:cubicBezTo>
                  <a:pt x="1398" y="521"/>
                  <a:pt x="1398" y="521"/>
                  <a:pt x="1398" y="521"/>
                </a:cubicBezTo>
                <a:cubicBezTo>
                  <a:pt x="1399" y="519"/>
                  <a:pt x="1399" y="519"/>
                  <a:pt x="1399" y="519"/>
                </a:cubicBezTo>
                <a:cubicBezTo>
                  <a:pt x="1398" y="518"/>
                  <a:pt x="1398" y="518"/>
                  <a:pt x="1398" y="518"/>
                </a:cubicBezTo>
                <a:cubicBezTo>
                  <a:pt x="1399" y="515"/>
                  <a:pt x="1399" y="515"/>
                  <a:pt x="1399" y="515"/>
                </a:cubicBezTo>
                <a:cubicBezTo>
                  <a:pt x="1399" y="512"/>
                  <a:pt x="1399" y="512"/>
                  <a:pt x="1399" y="512"/>
                </a:cubicBezTo>
                <a:cubicBezTo>
                  <a:pt x="1399" y="511"/>
                  <a:pt x="1399" y="511"/>
                  <a:pt x="1399" y="511"/>
                </a:cubicBezTo>
                <a:cubicBezTo>
                  <a:pt x="1398" y="509"/>
                  <a:pt x="1398" y="509"/>
                  <a:pt x="1398" y="509"/>
                </a:cubicBezTo>
                <a:cubicBezTo>
                  <a:pt x="1398" y="510"/>
                  <a:pt x="1398" y="510"/>
                  <a:pt x="1398" y="510"/>
                </a:cubicBezTo>
                <a:cubicBezTo>
                  <a:pt x="1398" y="511"/>
                  <a:pt x="1398" y="511"/>
                  <a:pt x="1398" y="511"/>
                </a:cubicBezTo>
                <a:cubicBezTo>
                  <a:pt x="1398" y="512"/>
                  <a:pt x="1398" y="512"/>
                  <a:pt x="1398" y="512"/>
                </a:cubicBezTo>
                <a:cubicBezTo>
                  <a:pt x="1397" y="512"/>
                  <a:pt x="1397" y="512"/>
                  <a:pt x="1397" y="512"/>
                </a:cubicBezTo>
                <a:cubicBezTo>
                  <a:pt x="1396" y="511"/>
                  <a:pt x="1396" y="511"/>
                  <a:pt x="1396" y="511"/>
                </a:cubicBezTo>
                <a:cubicBezTo>
                  <a:pt x="1396" y="512"/>
                  <a:pt x="1396" y="512"/>
                  <a:pt x="1396" y="512"/>
                </a:cubicBezTo>
                <a:cubicBezTo>
                  <a:pt x="1394" y="512"/>
                  <a:pt x="1394" y="512"/>
                  <a:pt x="1394" y="512"/>
                </a:cubicBezTo>
                <a:cubicBezTo>
                  <a:pt x="1393" y="514"/>
                  <a:pt x="1393" y="514"/>
                  <a:pt x="1393" y="514"/>
                </a:cubicBezTo>
                <a:cubicBezTo>
                  <a:pt x="1394" y="515"/>
                  <a:pt x="1394" y="515"/>
                  <a:pt x="1394" y="515"/>
                </a:cubicBezTo>
                <a:cubicBezTo>
                  <a:pt x="1393" y="515"/>
                  <a:pt x="1393" y="515"/>
                  <a:pt x="1393" y="515"/>
                </a:cubicBezTo>
                <a:cubicBezTo>
                  <a:pt x="1393" y="516"/>
                  <a:pt x="1393" y="516"/>
                  <a:pt x="1393" y="516"/>
                </a:cubicBezTo>
                <a:cubicBezTo>
                  <a:pt x="1394" y="517"/>
                  <a:pt x="1394" y="517"/>
                  <a:pt x="1394" y="517"/>
                </a:cubicBezTo>
                <a:cubicBezTo>
                  <a:pt x="1393" y="517"/>
                  <a:pt x="1393" y="517"/>
                  <a:pt x="1393" y="517"/>
                </a:cubicBezTo>
                <a:cubicBezTo>
                  <a:pt x="1394" y="518"/>
                  <a:pt x="1394" y="518"/>
                  <a:pt x="1394" y="518"/>
                </a:cubicBezTo>
                <a:close/>
                <a:moveTo>
                  <a:pt x="1430" y="564"/>
                </a:moveTo>
                <a:cubicBezTo>
                  <a:pt x="1431" y="565"/>
                  <a:pt x="1431" y="565"/>
                  <a:pt x="1431" y="565"/>
                </a:cubicBezTo>
                <a:cubicBezTo>
                  <a:pt x="1432" y="564"/>
                  <a:pt x="1432" y="564"/>
                  <a:pt x="1432" y="564"/>
                </a:cubicBezTo>
                <a:cubicBezTo>
                  <a:pt x="1432" y="563"/>
                  <a:pt x="1432" y="563"/>
                  <a:pt x="1432" y="563"/>
                </a:cubicBezTo>
                <a:cubicBezTo>
                  <a:pt x="1430" y="563"/>
                  <a:pt x="1430" y="563"/>
                  <a:pt x="1430" y="563"/>
                </a:cubicBezTo>
                <a:cubicBezTo>
                  <a:pt x="1430" y="564"/>
                  <a:pt x="1430" y="564"/>
                  <a:pt x="1430" y="564"/>
                </a:cubicBezTo>
                <a:close/>
                <a:moveTo>
                  <a:pt x="1392" y="523"/>
                </a:moveTo>
                <a:cubicBezTo>
                  <a:pt x="1391" y="524"/>
                  <a:pt x="1391" y="524"/>
                  <a:pt x="1391" y="524"/>
                </a:cubicBezTo>
                <a:cubicBezTo>
                  <a:pt x="1392" y="524"/>
                  <a:pt x="1392" y="524"/>
                  <a:pt x="1392" y="524"/>
                </a:cubicBezTo>
                <a:cubicBezTo>
                  <a:pt x="1393" y="523"/>
                  <a:pt x="1393" y="523"/>
                  <a:pt x="1393" y="523"/>
                </a:cubicBezTo>
                <a:cubicBezTo>
                  <a:pt x="1392" y="523"/>
                  <a:pt x="1392" y="523"/>
                  <a:pt x="1392" y="523"/>
                </a:cubicBezTo>
                <a:close/>
                <a:moveTo>
                  <a:pt x="1418" y="548"/>
                </a:moveTo>
                <a:cubicBezTo>
                  <a:pt x="1418" y="550"/>
                  <a:pt x="1418" y="550"/>
                  <a:pt x="1418" y="550"/>
                </a:cubicBezTo>
                <a:cubicBezTo>
                  <a:pt x="1419" y="551"/>
                  <a:pt x="1419" y="551"/>
                  <a:pt x="1419" y="551"/>
                </a:cubicBezTo>
                <a:cubicBezTo>
                  <a:pt x="1421" y="551"/>
                  <a:pt x="1421" y="551"/>
                  <a:pt x="1421" y="551"/>
                </a:cubicBezTo>
                <a:cubicBezTo>
                  <a:pt x="1423" y="553"/>
                  <a:pt x="1423" y="553"/>
                  <a:pt x="1423" y="553"/>
                </a:cubicBezTo>
                <a:cubicBezTo>
                  <a:pt x="1424" y="553"/>
                  <a:pt x="1424" y="553"/>
                  <a:pt x="1424" y="553"/>
                </a:cubicBezTo>
                <a:cubicBezTo>
                  <a:pt x="1426" y="554"/>
                  <a:pt x="1426" y="554"/>
                  <a:pt x="1426" y="554"/>
                </a:cubicBezTo>
                <a:cubicBezTo>
                  <a:pt x="1428" y="555"/>
                  <a:pt x="1428" y="555"/>
                  <a:pt x="1428" y="555"/>
                </a:cubicBezTo>
                <a:cubicBezTo>
                  <a:pt x="1429" y="555"/>
                  <a:pt x="1429" y="555"/>
                  <a:pt x="1429" y="555"/>
                </a:cubicBezTo>
                <a:cubicBezTo>
                  <a:pt x="1430" y="556"/>
                  <a:pt x="1430" y="556"/>
                  <a:pt x="1430" y="556"/>
                </a:cubicBezTo>
                <a:cubicBezTo>
                  <a:pt x="1430" y="557"/>
                  <a:pt x="1430" y="557"/>
                  <a:pt x="1430" y="557"/>
                </a:cubicBezTo>
                <a:cubicBezTo>
                  <a:pt x="1433" y="558"/>
                  <a:pt x="1433" y="558"/>
                  <a:pt x="1433" y="558"/>
                </a:cubicBezTo>
                <a:cubicBezTo>
                  <a:pt x="1434" y="558"/>
                  <a:pt x="1434" y="558"/>
                  <a:pt x="1434" y="558"/>
                </a:cubicBezTo>
                <a:cubicBezTo>
                  <a:pt x="1434" y="556"/>
                  <a:pt x="1434" y="556"/>
                  <a:pt x="1434" y="556"/>
                </a:cubicBezTo>
                <a:cubicBezTo>
                  <a:pt x="1435" y="556"/>
                  <a:pt x="1435" y="556"/>
                  <a:pt x="1435" y="556"/>
                </a:cubicBezTo>
                <a:cubicBezTo>
                  <a:pt x="1435" y="554"/>
                  <a:pt x="1435" y="554"/>
                  <a:pt x="1435" y="554"/>
                </a:cubicBezTo>
                <a:cubicBezTo>
                  <a:pt x="1434" y="553"/>
                  <a:pt x="1434" y="553"/>
                  <a:pt x="1434" y="553"/>
                </a:cubicBezTo>
                <a:cubicBezTo>
                  <a:pt x="1435" y="550"/>
                  <a:pt x="1435" y="550"/>
                  <a:pt x="1435" y="550"/>
                </a:cubicBezTo>
                <a:cubicBezTo>
                  <a:pt x="1436" y="549"/>
                  <a:pt x="1436" y="549"/>
                  <a:pt x="1436" y="549"/>
                </a:cubicBezTo>
                <a:cubicBezTo>
                  <a:pt x="1436" y="547"/>
                  <a:pt x="1436" y="547"/>
                  <a:pt x="1436" y="547"/>
                </a:cubicBezTo>
                <a:cubicBezTo>
                  <a:pt x="1435" y="546"/>
                  <a:pt x="1435" y="546"/>
                  <a:pt x="1435" y="546"/>
                </a:cubicBezTo>
                <a:cubicBezTo>
                  <a:pt x="1434" y="547"/>
                  <a:pt x="1434" y="547"/>
                  <a:pt x="1434" y="547"/>
                </a:cubicBezTo>
                <a:cubicBezTo>
                  <a:pt x="1433" y="547"/>
                  <a:pt x="1433" y="547"/>
                  <a:pt x="1433" y="547"/>
                </a:cubicBezTo>
                <a:cubicBezTo>
                  <a:pt x="1432" y="546"/>
                  <a:pt x="1432" y="546"/>
                  <a:pt x="1432" y="546"/>
                </a:cubicBezTo>
                <a:cubicBezTo>
                  <a:pt x="1430" y="548"/>
                  <a:pt x="1430" y="548"/>
                  <a:pt x="1430" y="548"/>
                </a:cubicBezTo>
                <a:cubicBezTo>
                  <a:pt x="1427" y="548"/>
                  <a:pt x="1427" y="548"/>
                  <a:pt x="1427" y="548"/>
                </a:cubicBezTo>
                <a:cubicBezTo>
                  <a:pt x="1425" y="548"/>
                  <a:pt x="1425" y="548"/>
                  <a:pt x="1425" y="548"/>
                </a:cubicBezTo>
                <a:cubicBezTo>
                  <a:pt x="1423" y="548"/>
                  <a:pt x="1423" y="548"/>
                  <a:pt x="1423" y="548"/>
                </a:cubicBezTo>
                <a:cubicBezTo>
                  <a:pt x="1422" y="547"/>
                  <a:pt x="1422" y="547"/>
                  <a:pt x="1422" y="547"/>
                </a:cubicBezTo>
                <a:cubicBezTo>
                  <a:pt x="1421" y="547"/>
                  <a:pt x="1421" y="547"/>
                  <a:pt x="1421" y="547"/>
                </a:cubicBezTo>
                <a:cubicBezTo>
                  <a:pt x="1420" y="548"/>
                  <a:pt x="1420" y="548"/>
                  <a:pt x="1420" y="548"/>
                </a:cubicBezTo>
                <a:cubicBezTo>
                  <a:pt x="1420" y="547"/>
                  <a:pt x="1420" y="547"/>
                  <a:pt x="1420" y="547"/>
                </a:cubicBezTo>
                <a:cubicBezTo>
                  <a:pt x="1418" y="548"/>
                  <a:pt x="1418" y="548"/>
                  <a:pt x="1418" y="548"/>
                </a:cubicBezTo>
                <a:close/>
                <a:moveTo>
                  <a:pt x="1391" y="527"/>
                </a:moveTo>
                <a:cubicBezTo>
                  <a:pt x="1392" y="528"/>
                  <a:pt x="1392" y="528"/>
                  <a:pt x="1392" y="528"/>
                </a:cubicBezTo>
                <a:cubicBezTo>
                  <a:pt x="1392" y="529"/>
                  <a:pt x="1392" y="529"/>
                  <a:pt x="1392" y="529"/>
                </a:cubicBezTo>
                <a:cubicBezTo>
                  <a:pt x="1393" y="530"/>
                  <a:pt x="1393" y="530"/>
                  <a:pt x="1393" y="530"/>
                </a:cubicBezTo>
                <a:cubicBezTo>
                  <a:pt x="1393" y="532"/>
                  <a:pt x="1393" y="532"/>
                  <a:pt x="1393" y="532"/>
                </a:cubicBezTo>
                <a:cubicBezTo>
                  <a:pt x="1392" y="533"/>
                  <a:pt x="1392" y="533"/>
                  <a:pt x="1392" y="533"/>
                </a:cubicBezTo>
                <a:cubicBezTo>
                  <a:pt x="1393" y="533"/>
                  <a:pt x="1393" y="533"/>
                  <a:pt x="1393" y="533"/>
                </a:cubicBezTo>
                <a:cubicBezTo>
                  <a:pt x="1394" y="533"/>
                  <a:pt x="1394" y="533"/>
                  <a:pt x="1394" y="533"/>
                </a:cubicBezTo>
                <a:cubicBezTo>
                  <a:pt x="1394" y="534"/>
                  <a:pt x="1394" y="534"/>
                  <a:pt x="1394" y="534"/>
                </a:cubicBezTo>
                <a:cubicBezTo>
                  <a:pt x="1393" y="535"/>
                  <a:pt x="1393" y="535"/>
                  <a:pt x="1393" y="535"/>
                </a:cubicBezTo>
                <a:cubicBezTo>
                  <a:pt x="1393" y="537"/>
                  <a:pt x="1393" y="537"/>
                  <a:pt x="1393" y="537"/>
                </a:cubicBezTo>
                <a:cubicBezTo>
                  <a:pt x="1393" y="538"/>
                  <a:pt x="1393" y="538"/>
                  <a:pt x="1393" y="538"/>
                </a:cubicBezTo>
                <a:cubicBezTo>
                  <a:pt x="1394" y="540"/>
                  <a:pt x="1394" y="540"/>
                  <a:pt x="1394" y="540"/>
                </a:cubicBezTo>
                <a:cubicBezTo>
                  <a:pt x="1395" y="541"/>
                  <a:pt x="1395" y="541"/>
                  <a:pt x="1395" y="541"/>
                </a:cubicBezTo>
                <a:cubicBezTo>
                  <a:pt x="1396" y="541"/>
                  <a:pt x="1396" y="541"/>
                  <a:pt x="1396" y="541"/>
                </a:cubicBezTo>
                <a:cubicBezTo>
                  <a:pt x="1397" y="541"/>
                  <a:pt x="1397" y="541"/>
                  <a:pt x="1397" y="541"/>
                </a:cubicBezTo>
                <a:cubicBezTo>
                  <a:pt x="1397" y="540"/>
                  <a:pt x="1397" y="540"/>
                  <a:pt x="1397" y="540"/>
                </a:cubicBezTo>
                <a:cubicBezTo>
                  <a:pt x="1397" y="539"/>
                  <a:pt x="1397" y="539"/>
                  <a:pt x="1397" y="539"/>
                </a:cubicBezTo>
                <a:cubicBezTo>
                  <a:pt x="1398" y="539"/>
                  <a:pt x="1398" y="539"/>
                  <a:pt x="1398" y="539"/>
                </a:cubicBezTo>
                <a:cubicBezTo>
                  <a:pt x="1399" y="540"/>
                  <a:pt x="1399" y="540"/>
                  <a:pt x="1399" y="540"/>
                </a:cubicBezTo>
                <a:cubicBezTo>
                  <a:pt x="1400" y="540"/>
                  <a:pt x="1400" y="540"/>
                  <a:pt x="1400" y="540"/>
                </a:cubicBezTo>
                <a:cubicBezTo>
                  <a:pt x="1400" y="539"/>
                  <a:pt x="1400" y="539"/>
                  <a:pt x="1400" y="539"/>
                </a:cubicBezTo>
                <a:cubicBezTo>
                  <a:pt x="1400" y="536"/>
                  <a:pt x="1400" y="536"/>
                  <a:pt x="1400" y="536"/>
                </a:cubicBezTo>
                <a:cubicBezTo>
                  <a:pt x="1401" y="536"/>
                  <a:pt x="1401" y="536"/>
                  <a:pt x="1401" y="536"/>
                </a:cubicBezTo>
                <a:cubicBezTo>
                  <a:pt x="1400" y="533"/>
                  <a:pt x="1400" y="533"/>
                  <a:pt x="1400" y="533"/>
                </a:cubicBezTo>
                <a:cubicBezTo>
                  <a:pt x="1401" y="531"/>
                  <a:pt x="1401" y="531"/>
                  <a:pt x="1401" y="531"/>
                </a:cubicBezTo>
                <a:cubicBezTo>
                  <a:pt x="1399" y="529"/>
                  <a:pt x="1399" y="529"/>
                  <a:pt x="1399" y="529"/>
                </a:cubicBezTo>
                <a:cubicBezTo>
                  <a:pt x="1401" y="529"/>
                  <a:pt x="1401" y="529"/>
                  <a:pt x="1401" y="529"/>
                </a:cubicBezTo>
                <a:cubicBezTo>
                  <a:pt x="1401" y="528"/>
                  <a:pt x="1401" y="528"/>
                  <a:pt x="1401" y="528"/>
                </a:cubicBezTo>
                <a:cubicBezTo>
                  <a:pt x="1400" y="526"/>
                  <a:pt x="1400" y="526"/>
                  <a:pt x="1400" y="526"/>
                </a:cubicBezTo>
                <a:cubicBezTo>
                  <a:pt x="1400" y="525"/>
                  <a:pt x="1400" y="525"/>
                  <a:pt x="1400" y="525"/>
                </a:cubicBezTo>
                <a:cubicBezTo>
                  <a:pt x="1399" y="524"/>
                  <a:pt x="1399" y="524"/>
                  <a:pt x="1399" y="524"/>
                </a:cubicBezTo>
                <a:cubicBezTo>
                  <a:pt x="1398" y="524"/>
                  <a:pt x="1398" y="524"/>
                  <a:pt x="1398" y="524"/>
                </a:cubicBezTo>
                <a:cubicBezTo>
                  <a:pt x="1397" y="523"/>
                  <a:pt x="1397" y="523"/>
                  <a:pt x="1397" y="523"/>
                </a:cubicBezTo>
                <a:cubicBezTo>
                  <a:pt x="1396" y="523"/>
                  <a:pt x="1396" y="523"/>
                  <a:pt x="1396" y="523"/>
                </a:cubicBezTo>
                <a:cubicBezTo>
                  <a:pt x="1394" y="526"/>
                  <a:pt x="1394" y="526"/>
                  <a:pt x="1394" y="526"/>
                </a:cubicBezTo>
                <a:cubicBezTo>
                  <a:pt x="1393" y="526"/>
                  <a:pt x="1393" y="526"/>
                  <a:pt x="1393" y="526"/>
                </a:cubicBezTo>
                <a:cubicBezTo>
                  <a:pt x="1391" y="525"/>
                  <a:pt x="1391" y="525"/>
                  <a:pt x="1391" y="525"/>
                </a:cubicBezTo>
                <a:cubicBezTo>
                  <a:pt x="1391" y="527"/>
                  <a:pt x="1391" y="527"/>
                  <a:pt x="1391" y="527"/>
                </a:cubicBezTo>
                <a:close/>
                <a:moveTo>
                  <a:pt x="1407" y="514"/>
                </a:moveTo>
                <a:cubicBezTo>
                  <a:pt x="1408" y="515"/>
                  <a:pt x="1408" y="515"/>
                  <a:pt x="1408" y="515"/>
                </a:cubicBezTo>
                <a:cubicBezTo>
                  <a:pt x="1408" y="514"/>
                  <a:pt x="1408" y="514"/>
                  <a:pt x="1408" y="514"/>
                </a:cubicBezTo>
                <a:cubicBezTo>
                  <a:pt x="1407" y="514"/>
                  <a:pt x="1407" y="514"/>
                  <a:pt x="1407" y="514"/>
                </a:cubicBezTo>
                <a:close/>
                <a:moveTo>
                  <a:pt x="1404" y="511"/>
                </a:moveTo>
                <a:cubicBezTo>
                  <a:pt x="1405" y="511"/>
                  <a:pt x="1405" y="511"/>
                  <a:pt x="1405" y="511"/>
                </a:cubicBezTo>
                <a:cubicBezTo>
                  <a:pt x="1405" y="510"/>
                  <a:pt x="1405" y="510"/>
                  <a:pt x="1405" y="510"/>
                </a:cubicBezTo>
                <a:cubicBezTo>
                  <a:pt x="1404" y="510"/>
                  <a:pt x="1404" y="510"/>
                  <a:pt x="1404" y="510"/>
                </a:cubicBezTo>
                <a:cubicBezTo>
                  <a:pt x="1402" y="511"/>
                  <a:pt x="1402" y="511"/>
                  <a:pt x="1402" y="511"/>
                </a:cubicBezTo>
                <a:cubicBezTo>
                  <a:pt x="1403" y="512"/>
                  <a:pt x="1403" y="512"/>
                  <a:pt x="1403" y="512"/>
                </a:cubicBezTo>
                <a:cubicBezTo>
                  <a:pt x="1404" y="511"/>
                  <a:pt x="1404" y="511"/>
                  <a:pt x="1404" y="511"/>
                </a:cubicBezTo>
                <a:close/>
                <a:moveTo>
                  <a:pt x="1368" y="534"/>
                </a:moveTo>
                <a:cubicBezTo>
                  <a:pt x="1369" y="534"/>
                  <a:pt x="1369" y="534"/>
                  <a:pt x="1369" y="534"/>
                </a:cubicBezTo>
                <a:cubicBezTo>
                  <a:pt x="1367" y="533"/>
                  <a:pt x="1367" y="533"/>
                  <a:pt x="1367" y="533"/>
                </a:cubicBezTo>
                <a:cubicBezTo>
                  <a:pt x="1365" y="533"/>
                  <a:pt x="1365" y="533"/>
                  <a:pt x="1365" y="533"/>
                </a:cubicBezTo>
                <a:cubicBezTo>
                  <a:pt x="1365" y="534"/>
                  <a:pt x="1365" y="534"/>
                  <a:pt x="1365" y="534"/>
                </a:cubicBezTo>
                <a:cubicBezTo>
                  <a:pt x="1367" y="534"/>
                  <a:pt x="1367" y="534"/>
                  <a:pt x="1367" y="534"/>
                </a:cubicBezTo>
                <a:cubicBezTo>
                  <a:pt x="1368" y="534"/>
                  <a:pt x="1368" y="534"/>
                  <a:pt x="1368" y="534"/>
                </a:cubicBezTo>
                <a:close/>
                <a:moveTo>
                  <a:pt x="1355" y="540"/>
                </a:moveTo>
                <a:cubicBezTo>
                  <a:pt x="1353" y="540"/>
                  <a:pt x="1353" y="540"/>
                  <a:pt x="1353" y="540"/>
                </a:cubicBezTo>
                <a:cubicBezTo>
                  <a:pt x="1353" y="541"/>
                  <a:pt x="1353" y="541"/>
                  <a:pt x="1353" y="541"/>
                </a:cubicBezTo>
                <a:cubicBezTo>
                  <a:pt x="1354" y="542"/>
                  <a:pt x="1354" y="542"/>
                  <a:pt x="1354" y="542"/>
                </a:cubicBezTo>
                <a:cubicBezTo>
                  <a:pt x="1355" y="541"/>
                  <a:pt x="1355" y="541"/>
                  <a:pt x="1355" y="541"/>
                </a:cubicBezTo>
                <a:cubicBezTo>
                  <a:pt x="1355" y="540"/>
                  <a:pt x="1355" y="540"/>
                  <a:pt x="1355" y="540"/>
                </a:cubicBezTo>
                <a:close/>
                <a:moveTo>
                  <a:pt x="1362" y="538"/>
                </a:moveTo>
                <a:cubicBezTo>
                  <a:pt x="1362" y="536"/>
                  <a:pt x="1362" y="536"/>
                  <a:pt x="1362" y="536"/>
                </a:cubicBezTo>
                <a:cubicBezTo>
                  <a:pt x="1364" y="535"/>
                  <a:pt x="1364" y="535"/>
                  <a:pt x="1364" y="535"/>
                </a:cubicBezTo>
                <a:cubicBezTo>
                  <a:pt x="1362" y="535"/>
                  <a:pt x="1362" y="535"/>
                  <a:pt x="1362" y="535"/>
                </a:cubicBezTo>
                <a:cubicBezTo>
                  <a:pt x="1361" y="535"/>
                  <a:pt x="1361" y="535"/>
                  <a:pt x="1361" y="535"/>
                </a:cubicBezTo>
                <a:cubicBezTo>
                  <a:pt x="1360" y="536"/>
                  <a:pt x="1360" y="536"/>
                  <a:pt x="1360" y="536"/>
                </a:cubicBezTo>
                <a:cubicBezTo>
                  <a:pt x="1359" y="537"/>
                  <a:pt x="1359" y="537"/>
                  <a:pt x="1359" y="537"/>
                </a:cubicBezTo>
                <a:cubicBezTo>
                  <a:pt x="1361" y="537"/>
                  <a:pt x="1361" y="537"/>
                  <a:pt x="1361" y="537"/>
                </a:cubicBezTo>
                <a:cubicBezTo>
                  <a:pt x="1362" y="538"/>
                  <a:pt x="1362" y="538"/>
                  <a:pt x="1362" y="538"/>
                </a:cubicBezTo>
                <a:close/>
                <a:moveTo>
                  <a:pt x="1479" y="560"/>
                </a:moveTo>
                <a:cubicBezTo>
                  <a:pt x="1479" y="558"/>
                  <a:pt x="1479" y="558"/>
                  <a:pt x="1479" y="558"/>
                </a:cubicBezTo>
                <a:cubicBezTo>
                  <a:pt x="1478" y="559"/>
                  <a:pt x="1478" y="559"/>
                  <a:pt x="1478" y="559"/>
                </a:cubicBezTo>
                <a:cubicBezTo>
                  <a:pt x="1479" y="560"/>
                  <a:pt x="1479" y="560"/>
                  <a:pt x="1479" y="560"/>
                </a:cubicBezTo>
                <a:close/>
                <a:moveTo>
                  <a:pt x="1496" y="555"/>
                </a:moveTo>
                <a:cubicBezTo>
                  <a:pt x="1496" y="555"/>
                  <a:pt x="1496" y="555"/>
                  <a:pt x="1497" y="556"/>
                </a:cubicBezTo>
                <a:cubicBezTo>
                  <a:pt x="1497" y="556"/>
                  <a:pt x="1497" y="556"/>
                  <a:pt x="1498" y="555"/>
                </a:cubicBezTo>
                <a:cubicBezTo>
                  <a:pt x="1498" y="555"/>
                  <a:pt x="1498" y="555"/>
                  <a:pt x="1498" y="554"/>
                </a:cubicBezTo>
                <a:cubicBezTo>
                  <a:pt x="1498" y="554"/>
                  <a:pt x="1498" y="554"/>
                  <a:pt x="1497" y="554"/>
                </a:cubicBezTo>
                <a:cubicBezTo>
                  <a:pt x="1497" y="554"/>
                  <a:pt x="1497" y="554"/>
                  <a:pt x="1496" y="555"/>
                </a:cubicBezTo>
                <a:close/>
                <a:moveTo>
                  <a:pt x="1504" y="551"/>
                </a:moveTo>
                <a:cubicBezTo>
                  <a:pt x="1504" y="551"/>
                  <a:pt x="1504" y="551"/>
                  <a:pt x="1505" y="551"/>
                </a:cubicBezTo>
                <a:cubicBezTo>
                  <a:pt x="1505" y="551"/>
                  <a:pt x="1505" y="551"/>
                  <a:pt x="1506" y="550"/>
                </a:cubicBezTo>
                <a:cubicBezTo>
                  <a:pt x="1506" y="550"/>
                  <a:pt x="1506" y="550"/>
                  <a:pt x="1505" y="550"/>
                </a:cubicBezTo>
                <a:cubicBezTo>
                  <a:pt x="1505" y="550"/>
                  <a:pt x="1505" y="550"/>
                  <a:pt x="1504" y="549"/>
                </a:cubicBezTo>
                <a:cubicBezTo>
                  <a:pt x="1504" y="549"/>
                  <a:pt x="1504" y="549"/>
                  <a:pt x="1503" y="549"/>
                </a:cubicBezTo>
                <a:cubicBezTo>
                  <a:pt x="1503" y="549"/>
                  <a:pt x="1503" y="549"/>
                  <a:pt x="1502" y="550"/>
                </a:cubicBezTo>
                <a:cubicBezTo>
                  <a:pt x="1502" y="550"/>
                  <a:pt x="1502" y="550"/>
                  <a:pt x="1502" y="551"/>
                </a:cubicBezTo>
                <a:cubicBezTo>
                  <a:pt x="1502" y="551"/>
                  <a:pt x="1502" y="551"/>
                  <a:pt x="1503" y="550"/>
                </a:cubicBezTo>
                <a:cubicBezTo>
                  <a:pt x="1503" y="550"/>
                  <a:pt x="1503" y="550"/>
                  <a:pt x="1504" y="551"/>
                </a:cubicBezTo>
                <a:close/>
                <a:moveTo>
                  <a:pt x="1508" y="565"/>
                </a:moveTo>
                <a:cubicBezTo>
                  <a:pt x="1508" y="565"/>
                  <a:pt x="1508" y="565"/>
                  <a:pt x="1508" y="564"/>
                </a:cubicBezTo>
                <a:cubicBezTo>
                  <a:pt x="1508" y="564"/>
                  <a:pt x="1508" y="564"/>
                  <a:pt x="1507" y="565"/>
                </a:cubicBezTo>
                <a:cubicBezTo>
                  <a:pt x="1507" y="565"/>
                  <a:pt x="1507" y="565"/>
                  <a:pt x="1507" y="566"/>
                </a:cubicBezTo>
                <a:cubicBezTo>
                  <a:pt x="1507" y="566"/>
                  <a:pt x="1507" y="566"/>
                  <a:pt x="1508" y="567"/>
                </a:cubicBezTo>
                <a:cubicBezTo>
                  <a:pt x="1508" y="567"/>
                  <a:pt x="1508" y="567"/>
                  <a:pt x="1508" y="565"/>
                </a:cubicBezTo>
                <a:close/>
                <a:moveTo>
                  <a:pt x="1502" y="559"/>
                </a:moveTo>
                <a:cubicBezTo>
                  <a:pt x="1503" y="559"/>
                  <a:pt x="1503" y="559"/>
                  <a:pt x="1503" y="559"/>
                </a:cubicBezTo>
                <a:cubicBezTo>
                  <a:pt x="1503" y="559"/>
                  <a:pt x="1503" y="559"/>
                  <a:pt x="1504" y="558"/>
                </a:cubicBezTo>
                <a:cubicBezTo>
                  <a:pt x="1504" y="558"/>
                  <a:pt x="1504" y="558"/>
                  <a:pt x="1503" y="558"/>
                </a:cubicBezTo>
                <a:cubicBezTo>
                  <a:pt x="1503" y="558"/>
                  <a:pt x="1503" y="558"/>
                  <a:pt x="1502" y="558"/>
                </a:cubicBezTo>
                <a:cubicBezTo>
                  <a:pt x="1502" y="558"/>
                  <a:pt x="1502" y="558"/>
                  <a:pt x="1502" y="559"/>
                </a:cubicBezTo>
                <a:close/>
                <a:moveTo>
                  <a:pt x="1460" y="535"/>
                </a:moveTo>
                <a:cubicBezTo>
                  <a:pt x="1460" y="535"/>
                  <a:pt x="1460" y="535"/>
                  <a:pt x="1461" y="535"/>
                </a:cubicBezTo>
                <a:cubicBezTo>
                  <a:pt x="1461" y="535"/>
                  <a:pt x="1461" y="535"/>
                  <a:pt x="1461" y="536"/>
                </a:cubicBezTo>
                <a:cubicBezTo>
                  <a:pt x="1461" y="536"/>
                  <a:pt x="1461" y="536"/>
                  <a:pt x="1462" y="537"/>
                </a:cubicBezTo>
                <a:cubicBezTo>
                  <a:pt x="1462" y="537"/>
                  <a:pt x="1462" y="537"/>
                  <a:pt x="1463" y="537"/>
                </a:cubicBezTo>
                <a:cubicBezTo>
                  <a:pt x="1463" y="537"/>
                  <a:pt x="1463" y="537"/>
                  <a:pt x="1462" y="536"/>
                </a:cubicBezTo>
                <a:cubicBezTo>
                  <a:pt x="1462" y="536"/>
                  <a:pt x="1462" y="536"/>
                  <a:pt x="1462" y="534"/>
                </a:cubicBezTo>
                <a:cubicBezTo>
                  <a:pt x="1462" y="534"/>
                  <a:pt x="1462" y="534"/>
                  <a:pt x="1461" y="534"/>
                </a:cubicBezTo>
                <a:cubicBezTo>
                  <a:pt x="1461" y="534"/>
                  <a:pt x="1461" y="534"/>
                  <a:pt x="1460" y="535"/>
                </a:cubicBezTo>
                <a:close/>
                <a:moveTo>
                  <a:pt x="1485" y="540"/>
                </a:moveTo>
                <a:cubicBezTo>
                  <a:pt x="1485" y="540"/>
                  <a:pt x="1485" y="540"/>
                  <a:pt x="1485" y="539"/>
                </a:cubicBezTo>
                <a:cubicBezTo>
                  <a:pt x="1485" y="539"/>
                  <a:pt x="1485" y="539"/>
                  <a:pt x="1484" y="539"/>
                </a:cubicBezTo>
                <a:cubicBezTo>
                  <a:pt x="1484" y="539"/>
                  <a:pt x="1484" y="539"/>
                  <a:pt x="1485" y="540"/>
                </a:cubicBezTo>
                <a:close/>
                <a:moveTo>
                  <a:pt x="1481" y="540"/>
                </a:moveTo>
                <a:cubicBezTo>
                  <a:pt x="1481" y="540"/>
                  <a:pt x="1481" y="540"/>
                  <a:pt x="1480" y="541"/>
                </a:cubicBezTo>
                <a:cubicBezTo>
                  <a:pt x="1480" y="541"/>
                  <a:pt x="1480" y="541"/>
                  <a:pt x="1481" y="541"/>
                </a:cubicBezTo>
                <a:cubicBezTo>
                  <a:pt x="1481" y="541"/>
                  <a:pt x="1481" y="541"/>
                  <a:pt x="1482" y="541"/>
                </a:cubicBezTo>
                <a:cubicBezTo>
                  <a:pt x="1482" y="541"/>
                  <a:pt x="1482" y="541"/>
                  <a:pt x="1482" y="542"/>
                </a:cubicBezTo>
                <a:cubicBezTo>
                  <a:pt x="1482" y="542"/>
                  <a:pt x="1482" y="542"/>
                  <a:pt x="1483" y="542"/>
                </a:cubicBezTo>
                <a:cubicBezTo>
                  <a:pt x="1483" y="542"/>
                  <a:pt x="1483" y="542"/>
                  <a:pt x="1484" y="543"/>
                </a:cubicBezTo>
                <a:cubicBezTo>
                  <a:pt x="1484" y="543"/>
                  <a:pt x="1484" y="543"/>
                  <a:pt x="1485" y="544"/>
                </a:cubicBezTo>
                <a:cubicBezTo>
                  <a:pt x="1485" y="544"/>
                  <a:pt x="1485" y="544"/>
                  <a:pt x="1486" y="545"/>
                </a:cubicBezTo>
                <a:cubicBezTo>
                  <a:pt x="1486" y="545"/>
                  <a:pt x="1486" y="545"/>
                  <a:pt x="1487" y="545"/>
                </a:cubicBezTo>
                <a:cubicBezTo>
                  <a:pt x="1487" y="545"/>
                  <a:pt x="1487" y="545"/>
                  <a:pt x="1488" y="546"/>
                </a:cubicBezTo>
                <a:cubicBezTo>
                  <a:pt x="1488" y="546"/>
                  <a:pt x="1488" y="546"/>
                  <a:pt x="1488" y="547"/>
                </a:cubicBezTo>
                <a:cubicBezTo>
                  <a:pt x="1488" y="547"/>
                  <a:pt x="1488" y="547"/>
                  <a:pt x="1489" y="548"/>
                </a:cubicBezTo>
                <a:cubicBezTo>
                  <a:pt x="1489" y="548"/>
                  <a:pt x="1489" y="548"/>
                  <a:pt x="1490" y="549"/>
                </a:cubicBezTo>
                <a:cubicBezTo>
                  <a:pt x="1490" y="549"/>
                  <a:pt x="1490" y="549"/>
                  <a:pt x="1490" y="548"/>
                </a:cubicBezTo>
                <a:cubicBezTo>
                  <a:pt x="1490" y="548"/>
                  <a:pt x="1490" y="548"/>
                  <a:pt x="1489" y="547"/>
                </a:cubicBezTo>
                <a:cubicBezTo>
                  <a:pt x="1489" y="547"/>
                  <a:pt x="1489" y="547"/>
                  <a:pt x="1489" y="546"/>
                </a:cubicBezTo>
                <a:cubicBezTo>
                  <a:pt x="1489" y="546"/>
                  <a:pt x="1489" y="546"/>
                  <a:pt x="1489" y="545"/>
                </a:cubicBezTo>
                <a:cubicBezTo>
                  <a:pt x="1489" y="545"/>
                  <a:pt x="1489" y="545"/>
                  <a:pt x="1488" y="544"/>
                </a:cubicBezTo>
                <a:cubicBezTo>
                  <a:pt x="1488" y="544"/>
                  <a:pt x="1488" y="544"/>
                  <a:pt x="1487" y="542"/>
                </a:cubicBezTo>
                <a:cubicBezTo>
                  <a:pt x="1487" y="542"/>
                  <a:pt x="1487" y="542"/>
                  <a:pt x="1486" y="542"/>
                </a:cubicBezTo>
                <a:cubicBezTo>
                  <a:pt x="1486" y="542"/>
                  <a:pt x="1486" y="542"/>
                  <a:pt x="1485" y="542"/>
                </a:cubicBezTo>
                <a:cubicBezTo>
                  <a:pt x="1485" y="542"/>
                  <a:pt x="1485" y="542"/>
                  <a:pt x="1483" y="541"/>
                </a:cubicBezTo>
                <a:cubicBezTo>
                  <a:pt x="1483" y="541"/>
                  <a:pt x="1483" y="541"/>
                  <a:pt x="1482" y="540"/>
                </a:cubicBezTo>
                <a:cubicBezTo>
                  <a:pt x="1482" y="538"/>
                  <a:pt x="1482" y="538"/>
                  <a:pt x="1482" y="538"/>
                </a:cubicBezTo>
                <a:cubicBezTo>
                  <a:pt x="1481" y="539"/>
                  <a:pt x="1481" y="539"/>
                  <a:pt x="1481" y="539"/>
                </a:cubicBezTo>
                <a:cubicBezTo>
                  <a:pt x="1481" y="540"/>
                  <a:pt x="1481" y="540"/>
                  <a:pt x="1481" y="540"/>
                </a:cubicBezTo>
                <a:close/>
                <a:moveTo>
                  <a:pt x="1495" y="555"/>
                </a:moveTo>
                <a:cubicBezTo>
                  <a:pt x="1495" y="555"/>
                  <a:pt x="1495" y="555"/>
                  <a:pt x="1495" y="556"/>
                </a:cubicBezTo>
                <a:cubicBezTo>
                  <a:pt x="1495" y="556"/>
                  <a:pt x="1495" y="556"/>
                  <a:pt x="1496" y="555"/>
                </a:cubicBezTo>
                <a:cubicBezTo>
                  <a:pt x="1496" y="555"/>
                  <a:pt x="1496" y="555"/>
                  <a:pt x="1495" y="554"/>
                </a:cubicBezTo>
                <a:cubicBezTo>
                  <a:pt x="1495" y="554"/>
                  <a:pt x="1495" y="554"/>
                  <a:pt x="1495" y="555"/>
                </a:cubicBezTo>
                <a:close/>
                <a:moveTo>
                  <a:pt x="1495" y="533"/>
                </a:moveTo>
                <a:cubicBezTo>
                  <a:pt x="1495" y="533"/>
                  <a:pt x="1495" y="533"/>
                  <a:pt x="1495" y="532"/>
                </a:cubicBezTo>
                <a:cubicBezTo>
                  <a:pt x="1495" y="532"/>
                  <a:pt x="1495" y="532"/>
                  <a:pt x="1495" y="531"/>
                </a:cubicBezTo>
                <a:cubicBezTo>
                  <a:pt x="1495" y="531"/>
                  <a:pt x="1495" y="531"/>
                  <a:pt x="1494" y="532"/>
                </a:cubicBezTo>
                <a:cubicBezTo>
                  <a:pt x="1494" y="532"/>
                  <a:pt x="1494" y="532"/>
                  <a:pt x="1493" y="532"/>
                </a:cubicBezTo>
                <a:cubicBezTo>
                  <a:pt x="1493" y="532"/>
                  <a:pt x="1493" y="532"/>
                  <a:pt x="1492" y="532"/>
                </a:cubicBezTo>
                <a:cubicBezTo>
                  <a:pt x="1492" y="532"/>
                  <a:pt x="1492" y="532"/>
                  <a:pt x="1493" y="533"/>
                </a:cubicBezTo>
                <a:cubicBezTo>
                  <a:pt x="1493" y="533"/>
                  <a:pt x="1493" y="533"/>
                  <a:pt x="1493" y="534"/>
                </a:cubicBezTo>
                <a:cubicBezTo>
                  <a:pt x="1493" y="534"/>
                  <a:pt x="1493" y="534"/>
                  <a:pt x="1494" y="533"/>
                </a:cubicBezTo>
                <a:cubicBezTo>
                  <a:pt x="1494" y="533"/>
                  <a:pt x="1494" y="533"/>
                  <a:pt x="1494" y="534"/>
                </a:cubicBezTo>
                <a:cubicBezTo>
                  <a:pt x="1494" y="534"/>
                  <a:pt x="1494" y="534"/>
                  <a:pt x="1495" y="533"/>
                </a:cubicBezTo>
                <a:close/>
                <a:moveTo>
                  <a:pt x="1491" y="542"/>
                </a:moveTo>
                <a:cubicBezTo>
                  <a:pt x="1491" y="542"/>
                  <a:pt x="1491" y="542"/>
                  <a:pt x="1492" y="542"/>
                </a:cubicBezTo>
                <a:cubicBezTo>
                  <a:pt x="1492" y="542"/>
                  <a:pt x="1492" y="542"/>
                  <a:pt x="1492" y="541"/>
                </a:cubicBezTo>
                <a:cubicBezTo>
                  <a:pt x="1492" y="541"/>
                  <a:pt x="1492" y="541"/>
                  <a:pt x="1491" y="541"/>
                </a:cubicBezTo>
                <a:cubicBezTo>
                  <a:pt x="1491" y="541"/>
                  <a:pt x="1491" y="541"/>
                  <a:pt x="1491" y="542"/>
                </a:cubicBezTo>
                <a:close/>
                <a:moveTo>
                  <a:pt x="1511" y="563"/>
                </a:moveTo>
                <a:cubicBezTo>
                  <a:pt x="1511" y="563"/>
                  <a:pt x="1511" y="563"/>
                  <a:pt x="1512" y="562"/>
                </a:cubicBezTo>
                <a:cubicBezTo>
                  <a:pt x="1512" y="562"/>
                  <a:pt x="1512" y="562"/>
                  <a:pt x="1513" y="562"/>
                </a:cubicBezTo>
                <a:cubicBezTo>
                  <a:pt x="1513" y="562"/>
                  <a:pt x="1513" y="562"/>
                  <a:pt x="1513" y="561"/>
                </a:cubicBezTo>
                <a:cubicBezTo>
                  <a:pt x="1513" y="561"/>
                  <a:pt x="1513" y="561"/>
                  <a:pt x="1514" y="561"/>
                </a:cubicBezTo>
                <a:cubicBezTo>
                  <a:pt x="1514" y="561"/>
                  <a:pt x="1514" y="561"/>
                  <a:pt x="1514" y="560"/>
                </a:cubicBezTo>
                <a:cubicBezTo>
                  <a:pt x="1514" y="560"/>
                  <a:pt x="1514" y="560"/>
                  <a:pt x="1514" y="559"/>
                </a:cubicBezTo>
                <a:cubicBezTo>
                  <a:pt x="1514" y="559"/>
                  <a:pt x="1514" y="559"/>
                  <a:pt x="1513" y="559"/>
                </a:cubicBezTo>
                <a:cubicBezTo>
                  <a:pt x="1513" y="559"/>
                  <a:pt x="1513" y="559"/>
                  <a:pt x="1512" y="560"/>
                </a:cubicBezTo>
                <a:cubicBezTo>
                  <a:pt x="1512" y="560"/>
                  <a:pt x="1512" y="560"/>
                  <a:pt x="1511" y="561"/>
                </a:cubicBezTo>
                <a:cubicBezTo>
                  <a:pt x="1511" y="561"/>
                  <a:pt x="1511" y="561"/>
                  <a:pt x="1511" y="562"/>
                </a:cubicBezTo>
                <a:cubicBezTo>
                  <a:pt x="1511" y="562"/>
                  <a:pt x="1511" y="562"/>
                  <a:pt x="1510" y="563"/>
                </a:cubicBezTo>
                <a:cubicBezTo>
                  <a:pt x="1510" y="563"/>
                  <a:pt x="1510" y="563"/>
                  <a:pt x="1511" y="563"/>
                </a:cubicBezTo>
                <a:close/>
                <a:moveTo>
                  <a:pt x="1502" y="540"/>
                </a:moveTo>
                <a:cubicBezTo>
                  <a:pt x="1502" y="540"/>
                  <a:pt x="1502" y="540"/>
                  <a:pt x="1502" y="539"/>
                </a:cubicBezTo>
                <a:cubicBezTo>
                  <a:pt x="1502" y="539"/>
                  <a:pt x="1502" y="539"/>
                  <a:pt x="1502" y="538"/>
                </a:cubicBezTo>
                <a:cubicBezTo>
                  <a:pt x="1502" y="538"/>
                  <a:pt x="1502" y="538"/>
                  <a:pt x="1502" y="537"/>
                </a:cubicBezTo>
                <a:cubicBezTo>
                  <a:pt x="1502" y="537"/>
                  <a:pt x="1502" y="537"/>
                  <a:pt x="1500" y="537"/>
                </a:cubicBezTo>
                <a:cubicBezTo>
                  <a:pt x="1500" y="537"/>
                  <a:pt x="1500" y="537"/>
                  <a:pt x="1500" y="538"/>
                </a:cubicBezTo>
                <a:cubicBezTo>
                  <a:pt x="1500" y="538"/>
                  <a:pt x="1500" y="538"/>
                  <a:pt x="1501" y="538"/>
                </a:cubicBezTo>
                <a:cubicBezTo>
                  <a:pt x="1501" y="538"/>
                  <a:pt x="1501" y="538"/>
                  <a:pt x="1501" y="539"/>
                </a:cubicBezTo>
                <a:cubicBezTo>
                  <a:pt x="1501" y="539"/>
                  <a:pt x="1501" y="539"/>
                  <a:pt x="1500" y="539"/>
                </a:cubicBezTo>
                <a:cubicBezTo>
                  <a:pt x="1500" y="539"/>
                  <a:pt x="1500" y="539"/>
                  <a:pt x="1500" y="540"/>
                </a:cubicBezTo>
                <a:cubicBezTo>
                  <a:pt x="1500" y="540"/>
                  <a:pt x="1500" y="540"/>
                  <a:pt x="1501" y="540"/>
                </a:cubicBezTo>
                <a:cubicBezTo>
                  <a:pt x="1501" y="540"/>
                  <a:pt x="1501" y="540"/>
                  <a:pt x="1502" y="540"/>
                </a:cubicBezTo>
                <a:close/>
                <a:moveTo>
                  <a:pt x="1493" y="551"/>
                </a:moveTo>
                <a:cubicBezTo>
                  <a:pt x="1493" y="551"/>
                  <a:pt x="1493" y="551"/>
                  <a:pt x="1494" y="551"/>
                </a:cubicBezTo>
                <a:cubicBezTo>
                  <a:pt x="1494" y="551"/>
                  <a:pt x="1494" y="551"/>
                  <a:pt x="1494" y="550"/>
                </a:cubicBezTo>
                <a:cubicBezTo>
                  <a:pt x="1494" y="550"/>
                  <a:pt x="1494" y="550"/>
                  <a:pt x="1493" y="549"/>
                </a:cubicBezTo>
                <a:cubicBezTo>
                  <a:pt x="1493" y="549"/>
                  <a:pt x="1493" y="549"/>
                  <a:pt x="1492" y="549"/>
                </a:cubicBezTo>
                <a:cubicBezTo>
                  <a:pt x="1492" y="549"/>
                  <a:pt x="1492" y="549"/>
                  <a:pt x="1491" y="549"/>
                </a:cubicBezTo>
                <a:cubicBezTo>
                  <a:pt x="1491" y="549"/>
                  <a:pt x="1491" y="549"/>
                  <a:pt x="1492" y="550"/>
                </a:cubicBezTo>
                <a:cubicBezTo>
                  <a:pt x="1492" y="550"/>
                  <a:pt x="1492" y="550"/>
                  <a:pt x="1493" y="551"/>
                </a:cubicBezTo>
                <a:close/>
                <a:moveTo>
                  <a:pt x="1468" y="543"/>
                </a:moveTo>
                <a:cubicBezTo>
                  <a:pt x="1468" y="543"/>
                  <a:pt x="1468" y="543"/>
                  <a:pt x="1467" y="542"/>
                </a:cubicBezTo>
                <a:cubicBezTo>
                  <a:pt x="1467" y="542"/>
                  <a:pt x="1467" y="542"/>
                  <a:pt x="1466" y="543"/>
                </a:cubicBezTo>
                <a:cubicBezTo>
                  <a:pt x="1466" y="543"/>
                  <a:pt x="1466" y="543"/>
                  <a:pt x="1467" y="544"/>
                </a:cubicBezTo>
                <a:cubicBezTo>
                  <a:pt x="1467" y="544"/>
                  <a:pt x="1467" y="544"/>
                  <a:pt x="1467" y="543"/>
                </a:cubicBezTo>
                <a:cubicBezTo>
                  <a:pt x="1467" y="543"/>
                  <a:pt x="1467" y="543"/>
                  <a:pt x="1468" y="543"/>
                </a:cubicBezTo>
                <a:close/>
                <a:moveTo>
                  <a:pt x="1496" y="552"/>
                </a:moveTo>
                <a:cubicBezTo>
                  <a:pt x="1496" y="552"/>
                  <a:pt x="1496" y="552"/>
                  <a:pt x="1495" y="551"/>
                </a:cubicBezTo>
                <a:cubicBezTo>
                  <a:pt x="1495" y="551"/>
                  <a:pt x="1495" y="551"/>
                  <a:pt x="1494" y="551"/>
                </a:cubicBezTo>
                <a:cubicBezTo>
                  <a:pt x="1494" y="551"/>
                  <a:pt x="1494" y="551"/>
                  <a:pt x="1495" y="552"/>
                </a:cubicBezTo>
                <a:cubicBezTo>
                  <a:pt x="1495" y="552"/>
                  <a:pt x="1495" y="552"/>
                  <a:pt x="1496" y="552"/>
                </a:cubicBezTo>
                <a:close/>
                <a:moveTo>
                  <a:pt x="1483" y="561"/>
                </a:moveTo>
                <a:cubicBezTo>
                  <a:pt x="1483" y="561"/>
                  <a:pt x="1483" y="561"/>
                  <a:pt x="1482" y="560"/>
                </a:cubicBezTo>
                <a:cubicBezTo>
                  <a:pt x="1482" y="560"/>
                  <a:pt x="1482" y="560"/>
                  <a:pt x="1481" y="560"/>
                </a:cubicBezTo>
                <a:cubicBezTo>
                  <a:pt x="1481" y="560"/>
                  <a:pt x="1481" y="560"/>
                  <a:pt x="1482" y="561"/>
                </a:cubicBezTo>
                <a:cubicBezTo>
                  <a:pt x="1482" y="561"/>
                  <a:pt x="1482" y="561"/>
                  <a:pt x="1482" y="562"/>
                </a:cubicBezTo>
                <a:cubicBezTo>
                  <a:pt x="1482" y="562"/>
                  <a:pt x="1482" y="562"/>
                  <a:pt x="1483" y="561"/>
                </a:cubicBezTo>
                <a:close/>
                <a:moveTo>
                  <a:pt x="1490" y="552"/>
                </a:moveTo>
                <a:cubicBezTo>
                  <a:pt x="1490" y="552"/>
                  <a:pt x="1490" y="552"/>
                  <a:pt x="1490" y="551"/>
                </a:cubicBezTo>
                <a:cubicBezTo>
                  <a:pt x="1490" y="551"/>
                  <a:pt x="1490" y="551"/>
                  <a:pt x="1489" y="552"/>
                </a:cubicBezTo>
                <a:cubicBezTo>
                  <a:pt x="1489" y="552"/>
                  <a:pt x="1489" y="552"/>
                  <a:pt x="1490" y="552"/>
                </a:cubicBezTo>
                <a:close/>
                <a:moveTo>
                  <a:pt x="1497" y="552"/>
                </a:moveTo>
                <a:cubicBezTo>
                  <a:pt x="1497" y="552"/>
                  <a:pt x="1497" y="552"/>
                  <a:pt x="1496" y="552"/>
                </a:cubicBezTo>
                <a:cubicBezTo>
                  <a:pt x="1496" y="552"/>
                  <a:pt x="1496" y="552"/>
                  <a:pt x="1496" y="553"/>
                </a:cubicBezTo>
                <a:cubicBezTo>
                  <a:pt x="1496" y="553"/>
                  <a:pt x="1496" y="553"/>
                  <a:pt x="1497" y="552"/>
                </a:cubicBezTo>
                <a:close/>
                <a:moveTo>
                  <a:pt x="1466" y="545"/>
                </a:moveTo>
                <a:cubicBezTo>
                  <a:pt x="1466" y="545"/>
                  <a:pt x="1466" y="545"/>
                  <a:pt x="1465" y="546"/>
                </a:cubicBezTo>
                <a:cubicBezTo>
                  <a:pt x="1465" y="546"/>
                  <a:pt x="1465" y="546"/>
                  <a:pt x="1465" y="547"/>
                </a:cubicBezTo>
                <a:cubicBezTo>
                  <a:pt x="1465" y="547"/>
                  <a:pt x="1465" y="547"/>
                  <a:pt x="1466" y="547"/>
                </a:cubicBezTo>
                <a:cubicBezTo>
                  <a:pt x="1466" y="547"/>
                  <a:pt x="1466" y="547"/>
                  <a:pt x="1467" y="548"/>
                </a:cubicBezTo>
                <a:cubicBezTo>
                  <a:pt x="1467" y="548"/>
                  <a:pt x="1467" y="548"/>
                  <a:pt x="1468" y="548"/>
                </a:cubicBezTo>
                <a:cubicBezTo>
                  <a:pt x="1468" y="548"/>
                  <a:pt x="1468" y="548"/>
                  <a:pt x="1468" y="547"/>
                </a:cubicBezTo>
                <a:cubicBezTo>
                  <a:pt x="1468" y="547"/>
                  <a:pt x="1468" y="547"/>
                  <a:pt x="1468" y="546"/>
                </a:cubicBezTo>
                <a:cubicBezTo>
                  <a:pt x="1468" y="546"/>
                  <a:pt x="1468" y="546"/>
                  <a:pt x="1467" y="546"/>
                </a:cubicBezTo>
                <a:cubicBezTo>
                  <a:pt x="1467" y="546"/>
                  <a:pt x="1467" y="546"/>
                  <a:pt x="1468" y="545"/>
                </a:cubicBezTo>
                <a:cubicBezTo>
                  <a:pt x="1468" y="545"/>
                  <a:pt x="1468" y="545"/>
                  <a:pt x="1467" y="544"/>
                </a:cubicBezTo>
                <a:cubicBezTo>
                  <a:pt x="1467" y="544"/>
                  <a:pt x="1467" y="544"/>
                  <a:pt x="1467" y="545"/>
                </a:cubicBezTo>
                <a:cubicBezTo>
                  <a:pt x="1467" y="545"/>
                  <a:pt x="1467" y="545"/>
                  <a:pt x="1466" y="545"/>
                </a:cubicBezTo>
                <a:close/>
                <a:moveTo>
                  <a:pt x="1491" y="547"/>
                </a:moveTo>
                <a:cubicBezTo>
                  <a:pt x="1491" y="547"/>
                  <a:pt x="1491" y="547"/>
                  <a:pt x="1490" y="547"/>
                </a:cubicBezTo>
                <a:cubicBezTo>
                  <a:pt x="1490" y="547"/>
                  <a:pt x="1490" y="547"/>
                  <a:pt x="1490" y="548"/>
                </a:cubicBezTo>
                <a:cubicBezTo>
                  <a:pt x="1490" y="548"/>
                  <a:pt x="1490" y="548"/>
                  <a:pt x="1491" y="549"/>
                </a:cubicBezTo>
                <a:cubicBezTo>
                  <a:pt x="1491" y="549"/>
                  <a:pt x="1491" y="549"/>
                  <a:pt x="1491" y="547"/>
                </a:cubicBezTo>
                <a:close/>
                <a:moveTo>
                  <a:pt x="1490" y="553"/>
                </a:moveTo>
                <a:cubicBezTo>
                  <a:pt x="1490" y="553"/>
                  <a:pt x="1490" y="553"/>
                  <a:pt x="1490" y="554"/>
                </a:cubicBezTo>
                <a:cubicBezTo>
                  <a:pt x="1491" y="553"/>
                  <a:pt x="1491" y="553"/>
                  <a:pt x="1491" y="553"/>
                </a:cubicBezTo>
                <a:cubicBezTo>
                  <a:pt x="1491" y="553"/>
                  <a:pt x="1491" y="553"/>
                  <a:pt x="1490" y="553"/>
                </a:cubicBezTo>
                <a:close/>
                <a:moveTo>
                  <a:pt x="1500" y="551"/>
                </a:moveTo>
                <a:cubicBezTo>
                  <a:pt x="1500" y="551"/>
                  <a:pt x="1500" y="551"/>
                  <a:pt x="1500" y="552"/>
                </a:cubicBezTo>
                <a:cubicBezTo>
                  <a:pt x="1500" y="552"/>
                  <a:pt x="1500" y="552"/>
                  <a:pt x="1501" y="551"/>
                </a:cubicBezTo>
                <a:cubicBezTo>
                  <a:pt x="1501" y="551"/>
                  <a:pt x="1501" y="551"/>
                  <a:pt x="1500" y="551"/>
                </a:cubicBezTo>
                <a:close/>
                <a:moveTo>
                  <a:pt x="1498" y="538"/>
                </a:moveTo>
                <a:cubicBezTo>
                  <a:pt x="1498" y="538"/>
                  <a:pt x="1498" y="538"/>
                  <a:pt x="1498" y="539"/>
                </a:cubicBezTo>
                <a:cubicBezTo>
                  <a:pt x="1498" y="539"/>
                  <a:pt x="1498" y="539"/>
                  <a:pt x="1499" y="540"/>
                </a:cubicBezTo>
                <a:cubicBezTo>
                  <a:pt x="1499" y="540"/>
                  <a:pt x="1499" y="540"/>
                  <a:pt x="1500" y="539"/>
                </a:cubicBezTo>
                <a:cubicBezTo>
                  <a:pt x="1500" y="539"/>
                  <a:pt x="1500" y="539"/>
                  <a:pt x="1500" y="538"/>
                </a:cubicBezTo>
                <a:cubicBezTo>
                  <a:pt x="1500" y="538"/>
                  <a:pt x="1500" y="538"/>
                  <a:pt x="1498" y="538"/>
                </a:cubicBezTo>
                <a:close/>
                <a:moveTo>
                  <a:pt x="1467" y="549"/>
                </a:moveTo>
                <a:cubicBezTo>
                  <a:pt x="1467" y="549"/>
                  <a:pt x="1467" y="549"/>
                  <a:pt x="1467" y="550"/>
                </a:cubicBezTo>
                <a:cubicBezTo>
                  <a:pt x="1467" y="550"/>
                  <a:pt x="1467" y="550"/>
                  <a:pt x="1468" y="551"/>
                </a:cubicBezTo>
                <a:cubicBezTo>
                  <a:pt x="1468" y="551"/>
                  <a:pt x="1468" y="551"/>
                  <a:pt x="1469" y="550"/>
                </a:cubicBezTo>
                <a:cubicBezTo>
                  <a:pt x="1469" y="550"/>
                  <a:pt x="1469" y="550"/>
                  <a:pt x="1468" y="549"/>
                </a:cubicBezTo>
                <a:cubicBezTo>
                  <a:pt x="1468" y="549"/>
                  <a:pt x="1468" y="549"/>
                  <a:pt x="1467" y="549"/>
                </a:cubicBezTo>
                <a:close/>
                <a:moveTo>
                  <a:pt x="1491" y="554"/>
                </a:moveTo>
                <a:cubicBezTo>
                  <a:pt x="1491" y="554"/>
                  <a:pt x="1491" y="554"/>
                  <a:pt x="1490" y="555"/>
                </a:cubicBezTo>
                <a:cubicBezTo>
                  <a:pt x="1490" y="555"/>
                  <a:pt x="1490" y="555"/>
                  <a:pt x="1491" y="555"/>
                </a:cubicBezTo>
                <a:cubicBezTo>
                  <a:pt x="1491" y="555"/>
                  <a:pt x="1491" y="555"/>
                  <a:pt x="1491" y="554"/>
                </a:cubicBezTo>
                <a:close/>
                <a:moveTo>
                  <a:pt x="1489" y="566"/>
                </a:moveTo>
                <a:cubicBezTo>
                  <a:pt x="1488" y="566"/>
                  <a:pt x="1488" y="566"/>
                  <a:pt x="1488" y="566"/>
                </a:cubicBezTo>
                <a:cubicBezTo>
                  <a:pt x="1487" y="565"/>
                  <a:pt x="1487" y="565"/>
                  <a:pt x="1487" y="565"/>
                </a:cubicBezTo>
                <a:cubicBezTo>
                  <a:pt x="1487" y="566"/>
                  <a:pt x="1487" y="566"/>
                  <a:pt x="1487" y="566"/>
                </a:cubicBezTo>
                <a:cubicBezTo>
                  <a:pt x="1486" y="565"/>
                  <a:pt x="1486" y="565"/>
                  <a:pt x="1486" y="565"/>
                </a:cubicBezTo>
                <a:cubicBezTo>
                  <a:pt x="1486" y="566"/>
                  <a:pt x="1486" y="566"/>
                  <a:pt x="1486" y="566"/>
                </a:cubicBezTo>
                <a:cubicBezTo>
                  <a:pt x="1486" y="567"/>
                  <a:pt x="1486" y="567"/>
                  <a:pt x="1486" y="567"/>
                </a:cubicBezTo>
                <a:cubicBezTo>
                  <a:pt x="1486" y="568"/>
                  <a:pt x="1486" y="568"/>
                  <a:pt x="1486" y="568"/>
                </a:cubicBezTo>
                <a:cubicBezTo>
                  <a:pt x="1487" y="568"/>
                  <a:pt x="1487" y="568"/>
                  <a:pt x="1487" y="568"/>
                </a:cubicBezTo>
                <a:cubicBezTo>
                  <a:pt x="1489" y="568"/>
                  <a:pt x="1489" y="568"/>
                  <a:pt x="1489" y="568"/>
                </a:cubicBezTo>
                <a:cubicBezTo>
                  <a:pt x="1490" y="568"/>
                  <a:pt x="1490" y="568"/>
                  <a:pt x="1490" y="568"/>
                </a:cubicBezTo>
                <a:cubicBezTo>
                  <a:pt x="1491" y="568"/>
                  <a:pt x="1491" y="568"/>
                  <a:pt x="1491" y="568"/>
                </a:cubicBezTo>
                <a:cubicBezTo>
                  <a:pt x="1492" y="568"/>
                  <a:pt x="1492" y="568"/>
                  <a:pt x="1492" y="568"/>
                </a:cubicBezTo>
                <a:cubicBezTo>
                  <a:pt x="1493" y="569"/>
                  <a:pt x="1493" y="569"/>
                  <a:pt x="1493" y="569"/>
                </a:cubicBezTo>
                <a:cubicBezTo>
                  <a:pt x="1493" y="570"/>
                  <a:pt x="1493" y="570"/>
                  <a:pt x="1493" y="570"/>
                </a:cubicBezTo>
                <a:cubicBezTo>
                  <a:pt x="1495" y="570"/>
                  <a:pt x="1495" y="570"/>
                  <a:pt x="1495" y="570"/>
                </a:cubicBezTo>
                <a:cubicBezTo>
                  <a:pt x="1496" y="569"/>
                  <a:pt x="1496" y="569"/>
                  <a:pt x="1496" y="569"/>
                </a:cubicBezTo>
                <a:cubicBezTo>
                  <a:pt x="1498" y="569"/>
                  <a:pt x="1498" y="569"/>
                  <a:pt x="1498" y="569"/>
                </a:cubicBezTo>
                <a:cubicBezTo>
                  <a:pt x="1500" y="569"/>
                  <a:pt x="1500" y="569"/>
                  <a:pt x="1500" y="569"/>
                </a:cubicBezTo>
                <a:cubicBezTo>
                  <a:pt x="1502" y="569"/>
                  <a:pt x="1502" y="569"/>
                  <a:pt x="1502" y="569"/>
                </a:cubicBezTo>
                <a:cubicBezTo>
                  <a:pt x="1503" y="569"/>
                  <a:pt x="1503" y="569"/>
                  <a:pt x="1503" y="569"/>
                </a:cubicBezTo>
                <a:cubicBezTo>
                  <a:pt x="1503" y="568"/>
                  <a:pt x="1503" y="568"/>
                  <a:pt x="1503" y="568"/>
                </a:cubicBezTo>
                <a:cubicBezTo>
                  <a:pt x="1503" y="567"/>
                  <a:pt x="1503" y="567"/>
                  <a:pt x="1503" y="567"/>
                </a:cubicBezTo>
                <a:cubicBezTo>
                  <a:pt x="1503" y="566"/>
                  <a:pt x="1503" y="566"/>
                  <a:pt x="1503" y="566"/>
                </a:cubicBezTo>
                <a:cubicBezTo>
                  <a:pt x="1502" y="567"/>
                  <a:pt x="1502" y="567"/>
                  <a:pt x="1502" y="567"/>
                </a:cubicBezTo>
                <a:cubicBezTo>
                  <a:pt x="1502" y="568"/>
                  <a:pt x="1502" y="568"/>
                  <a:pt x="1502" y="568"/>
                </a:cubicBezTo>
                <a:cubicBezTo>
                  <a:pt x="1501" y="568"/>
                  <a:pt x="1501" y="568"/>
                  <a:pt x="1501" y="568"/>
                </a:cubicBezTo>
                <a:cubicBezTo>
                  <a:pt x="1500" y="568"/>
                  <a:pt x="1500" y="568"/>
                  <a:pt x="1500" y="568"/>
                </a:cubicBezTo>
                <a:cubicBezTo>
                  <a:pt x="1500" y="567"/>
                  <a:pt x="1500" y="567"/>
                  <a:pt x="1500" y="567"/>
                </a:cubicBezTo>
                <a:cubicBezTo>
                  <a:pt x="1499" y="566"/>
                  <a:pt x="1499" y="566"/>
                  <a:pt x="1499" y="566"/>
                </a:cubicBezTo>
                <a:cubicBezTo>
                  <a:pt x="1497" y="566"/>
                  <a:pt x="1497" y="566"/>
                  <a:pt x="1497" y="566"/>
                </a:cubicBezTo>
                <a:cubicBezTo>
                  <a:pt x="1496" y="566"/>
                  <a:pt x="1496" y="566"/>
                  <a:pt x="1496" y="566"/>
                </a:cubicBezTo>
                <a:cubicBezTo>
                  <a:pt x="1494" y="566"/>
                  <a:pt x="1494" y="566"/>
                  <a:pt x="1494" y="566"/>
                </a:cubicBezTo>
                <a:cubicBezTo>
                  <a:pt x="1493" y="567"/>
                  <a:pt x="1493" y="567"/>
                  <a:pt x="1493" y="567"/>
                </a:cubicBezTo>
                <a:cubicBezTo>
                  <a:pt x="1491" y="567"/>
                  <a:pt x="1491" y="567"/>
                  <a:pt x="1491" y="567"/>
                </a:cubicBezTo>
                <a:cubicBezTo>
                  <a:pt x="1491" y="566"/>
                  <a:pt x="1491" y="566"/>
                  <a:pt x="1491" y="566"/>
                </a:cubicBezTo>
                <a:cubicBezTo>
                  <a:pt x="1490" y="566"/>
                  <a:pt x="1490" y="566"/>
                  <a:pt x="1490" y="566"/>
                </a:cubicBezTo>
                <a:cubicBezTo>
                  <a:pt x="1489" y="565"/>
                  <a:pt x="1489" y="565"/>
                  <a:pt x="1489" y="565"/>
                </a:cubicBezTo>
                <a:cubicBezTo>
                  <a:pt x="1489" y="566"/>
                  <a:pt x="1489" y="566"/>
                  <a:pt x="1489" y="566"/>
                </a:cubicBezTo>
                <a:close/>
                <a:moveTo>
                  <a:pt x="1490" y="559"/>
                </a:moveTo>
                <a:cubicBezTo>
                  <a:pt x="1490" y="559"/>
                  <a:pt x="1490" y="559"/>
                  <a:pt x="1491" y="558"/>
                </a:cubicBezTo>
                <a:cubicBezTo>
                  <a:pt x="1491" y="558"/>
                  <a:pt x="1491" y="558"/>
                  <a:pt x="1490" y="558"/>
                </a:cubicBezTo>
                <a:cubicBezTo>
                  <a:pt x="1490" y="558"/>
                  <a:pt x="1490" y="558"/>
                  <a:pt x="1490" y="559"/>
                </a:cubicBezTo>
                <a:close/>
                <a:moveTo>
                  <a:pt x="1497" y="528"/>
                </a:moveTo>
                <a:cubicBezTo>
                  <a:pt x="1497" y="528"/>
                  <a:pt x="1497" y="528"/>
                  <a:pt x="1496" y="528"/>
                </a:cubicBezTo>
                <a:cubicBezTo>
                  <a:pt x="1496" y="528"/>
                  <a:pt x="1496" y="528"/>
                  <a:pt x="1495" y="528"/>
                </a:cubicBezTo>
                <a:cubicBezTo>
                  <a:pt x="1495" y="528"/>
                  <a:pt x="1495" y="528"/>
                  <a:pt x="1497" y="529"/>
                </a:cubicBezTo>
                <a:cubicBezTo>
                  <a:pt x="1497" y="529"/>
                  <a:pt x="1497" y="529"/>
                  <a:pt x="1497" y="528"/>
                </a:cubicBezTo>
                <a:close/>
                <a:moveTo>
                  <a:pt x="1499" y="546"/>
                </a:moveTo>
                <a:cubicBezTo>
                  <a:pt x="1499" y="546"/>
                  <a:pt x="1499" y="546"/>
                  <a:pt x="1500" y="546"/>
                </a:cubicBezTo>
                <a:cubicBezTo>
                  <a:pt x="1500" y="546"/>
                  <a:pt x="1500" y="546"/>
                  <a:pt x="1500" y="545"/>
                </a:cubicBezTo>
                <a:cubicBezTo>
                  <a:pt x="1500" y="545"/>
                  <a:pt x="1500" y="545"/>
                  <a:pt x="1500" y="543"/>
                </a:cubicBezTo>
                <a:cubicBezTo>
                  <a:pt x="1500" y="543"/>
                  <a:pt x="1500" y="543"/>
                  <a:pt x="1499" y="543"/>
                </a:cubicBezTo>
                <a:cubicBezTo>
                  <a:pt x="1499" y="543"/>
                  <a:pt x="1499" y="543"/>
                  <a:pt x="1498" y="543"/>
                </a:cubicBezTo>
                <a:cubicBezTo>
                  <a:pt x="1498" y="543"/>
                  <a:pt x="1498" y="543"/>
                  <a:pt x="1498" y="544"/>
                </a:cubicBezTo>
                <a:cubicBezTo>
                  <a:pt x="1498" y="544"/>
                  <a:pt x="1498" y="544"/>
                  <a:pt x="1499" y="544"/>
                </a:cubicBezTo>
                <a:cubicBezTo>
                  <a:pt x="1499" y="544"/>
                  <a:pt x="1499" y="544"/>
                  <a:pt x="1499" y="545"/>
                </a:cubicBezTo>
                <a:cubicBezTo>
                  <a:pt x="1499" y="545"/>
                  <a:pt x="1499" y="545"/>
                  <a:pt x="1499" y="546"/>
                </a:cubicBezTo>
                <a:close/>
                <a:moveTo>
                  <a:pt x="1509" y="558"/>
                </a:moveTo>
                <a:cubicBezTo>
                  <a:pt x="1510" y="557"/>
                  <a:pt x="1510" y="557"/>
                  <a:pt x="1510" y="557"/>
                </a:cubicBezTo>
                <a:cubicBezTo>
                  <a:pt x="1508" y="557"/>
                  <a:pt x="1508" y="557"/>
                  <a:pt x="1508" y="557"/>
                </a:cubicBezTo>
                <a:cubicBezTo>
                  <a:pt x="1509" y="558"/>
                  <a:pt x="1509" y="558"/>
                  <a:pt x="1509" y="558"/>
                </a:cubicBezTo>
                <a:close/>
                <a:moveTo>
                  <a:pt x="1507" y="555"/>
                </a:moveTo>
                <a:cubicBezTo>
                  <a:pt x="1508" y="555"/>
                  <a:pt x="1508" y="555"/>
                  <a:pt x="1508" y="555"/>
                </a:cubicBezTo>
                <a:cubicBezTo>
                  <a:pt x="1507" y="554"/>
                  <a:pt x="1507" y="554"/>
                  <a:pt x="1507" y="554"/>
                </a:cubicBezTo>
                <a:cubicBezTo>
                  <a:pt x="1507" y="555"/>
                  <a:pt x="1507" y="555"/>
                  <a:pt x="1507" y="555"/>
                </a:cubicBezTo>
                <a:close/>
                <a:moveTo>
                  <a:pt x="1499" y="530"/>
                </a:moveTo>
                <a:cubicBezTo>
                  <a:pt x="1498" y="529"/>
                  <a:pt x="1498" y="529"/>
                  <a:pt x="1498" y="529"/>
                </a:cubicBezTo>
                <a:cubicBezTo>
                  <a:pt x="1498" y="530"/>
                  <a:pt x="1498" y="530"/>
                  <a:pt x="1498" y="530"/>
                </a:cubicBezTo>
                <a:cubicBezTo>
                  <a:pt x="1497" y="530"/>
                  <a:pt x="1497" y="530"/>
                  <a:pt x="1497" y="530"/>
                </a:cubicBezTo>
                <a:cubicBezTo>
                  <a:pt x="1496" y="530"/>
                  <a:pt x="1496" y="530"/>
                  <a:pt x="1496" y="530"/>
                </a:cubicBezTo>
                <a:cubicBezTo>
                  <a:pt x="1497" y="531"/>
                  <a:pt x="1497" y="531"/>
                  <a:pt x="1497" y="531"/>
                </a:cubicBezTo>
                <a:cubicBezTo>
                  <a:pt x="1499" y="530"/>
                  <a:pt x="1499" y="530"/>
                  <a:pt x="1499" y="530"/>
                </a:cubicBezTo>
                <a:close/>
                <a:moveTo>
                  <a:pt x="1511" y="558"/>
                </a:moveTo>
                <a:cubicBezTo>
                  <a:pt x="1510" y="558"/>
                  <a:pt x="1510" y="558"/>
                  <a:pt x="1510" y="558"/>
                </a:cubicBezTo>
                <a:cubicBezTo>
                  <a:pt x="1511" y="559"/>
                  <a:pt x="1511" y="559"/>
                  <a:pt x="1511" y="559"/>
                </a:cubicBezTo>
                <a:cubicBezTo>
                  <a:pt x="1511" y="558"/>
                  <a:pt x="1511" y="558"/>
                  <a:pt x="1511" y="558"/>
                </a:cubicBezTo>
                <a:close/>
                <a:moveTo>
                  <a:pt x="1542" y="572"/>
                </a:moveTo>
                <a:cubicBezTo>
                  <a:pt x="1543" y="572"/>
                  <a:pt x="1543" y="572"/>
                  <a:pt x="1543" y="572"/>
                </a:cubicBezTo>
                <a:cubicBezTo>
                  <a:pt x="1544" y="572"/>
                  <a:pt x="1544" y="572"/>
                  <a:pt x="1544" y="572"/>
                </a:cubicBezTo>
                <a:cubicBezTo>
                  <a:pt x="1545" y="572"/>
                  <a:pt x="1545" y="572"/>
                  <a:pt x="1545" y="572"/>
                </a:cubicBezTo>
                <a:cubicBezTo>
                  <a:pt x="1546" y="571"/>
                  <a:pt x="1546" y="571"/>
                  <a:pt x="1546" y="571"/>
                </a:cubicBezTo>
                <a:cubicBezTo>
                  <a:pt x="1548" y="570"/>
                  <a:pt x="1548" y="570"/>
                  <a:pt x="1548" y="570"/>
                </a:cubicBezTo>
                <a:cubicBezTo>
                  <a:pt x="1549" y="570"/>
                  <a:pt x="1549" y="570"/>
                  <a:pt x="1549" y="570"/>
                </a:cubicBezTo>
                <a:cubicBezTo>
                  <a:pt x="1550" y="570"/>
                  <a:pt x="1550" y="570"/>
                  <a:pt x="1550" y="570"/>
                </a:cubicBezTo>
                <a:cubicBezTo>
                  <a:pt x="1550" y="569"/>
                  <a:pt x="1550" y="569"/>
                  <a:pt x="1550" y="569"/>
                </a:cubicBezTo>
                <a:cubicBezTo>
                  <a:pt x="1550" y="567"/>
                  <a:pt x="1550" y="567"/>
                  <a:pt x="1550" y="567"/>
                </a:cubicBezTo>
                <a:cubicBezTo>
                  <a:pt x="1551" y="566"/>
                  <a:pt x="1551" y="566"/>
                  <a:pt x="1551" y="566"/>
                </a:cubicBezTo>
                <a:cubicBezTo>
                  <a:pt x="1553" y="565"/>
                  <a:pt x="1553" y="565"/>
                  <a:pt x="1553" y="565"/>
                </a:cubicBezTo>
                <a:cubicBezTo>
                  <a:pt x="1553" y="564"/>
                  <a:pt x="1553" y="564"/>
                  <a:pt x="1553" y="564"/>
                </a:cubicBezTo>
                <a:cubicBezTo>
                  <a:pt x="1552" y="564"/>
                  <a:pt x="1552" y="564"/>
                  <a:pt x="1552" y="564"/>
                </a:cubicBezTo>
                <a:cubicBezTo>
                  <a:pt x="1550" y="565"/>
                  <a:pt x="1550" y="565"/>
                  <a:pt x="1550" y="565"/>
                </a:cubicBezTo>
                <a:cubicBezTo>
                  <a:pt x="1547" y="566"/>
                  <a:pt x="1547" y="566"/>
                  <a:pt x="1547" y="566"/>
                </a:cubicBezTo>
                <a:cubicBezTo>
                  <a:pt x="1546" y="567"/>
                  <a:pt x="1546" y="567"/>
                  <a:pt x="1546" y="567"/>
                </a:cubicBezTo>
                <a:cubicBezTo>
                  <a:pt x="1545" y="566"/>
                  <a:pt x="1545" y="566"/>
                  <a:pt x="1545" y="566"/>
                </a:cubicBezTo>
                <a:cubicBezTo>
                  <a:pt x="1543" y="566"/>
                  <a:pt x="1543" y="566"/>
                  <a:pt x="1543" y="566"/>
                </a:cubicBezTo>
                <a:cubicBezTo>
                  <a:pt x="1543" y="567"/>
                  <a:pt x="1543" y="567"/>
                  <a:pt x="1543" y="567"/>
                </a:cubicBezTo>
                <a:cubicBezTo>
                  <a:pt x="1543" y="568"/>
                  <a:pt x="1543" y="568"/>
                  <a:pt x="1543" y="568"/>
                </a:cubicBezTo>
                <a:cubicBezTo>
                  <a:pt x="1542" y="568"/>
                  <a:pt x="1542" y="568"/>
                  <a:pt x="1542" y="568"/>
                </a:cubicBezTo>
                <a:cubicBezTo>
                  <a:pt x="1541" y="567"/>
                  <a:pt x="1541" y="567"/>
                  <a:pt x="1541" y="567"/>
                </a:cubicBezTo>
                <a:cubicBezTo>
                  <a:pt x="1540" y="568"/>
                  <a:pt x="1540" y="568"/>
                  <a:pt x="1540" y="568"/>
                </a:cubicBezTo>
                <a:cubicBezTo>
                  <a:pt x="1539" y="568"/>
                  <a:pt x="1539" y="568"/>
                  <a:pt x="1539" y="568"/>
                </a:cubicBezTo>
                <a:cubicBezTo>
                  <a:pt x="1539" y="570"/>
                  <a:pt x="1539" y="570"/>
                  <a:pt x="1539" y="570"/>
                </a:cubicBezTo>
                <a:cubicBezTo>
                  <a:pt x="1540" y="571"/>
                  <a:pt x="1540" y="571"/>
                  <a:pt x="1540" y="571"/>
                </a:cubicBezTo>
                <a:cubicBezTo>
                  <a:pt x="1542" y="572"/>
                  <a:pt x="1542" y="572"/>
                  <a:pt x="1542" y="572"/>
                </a:cubicBezTo>
                <a:close/>
                <a:moveTo>
                  <a:pt x="1176" y="541"/>
                </a:moveTo>
                <a:cubicBezTo>
                  <a:pt x="1178" y="542"/>
                  <a:pt x="1178" y="542"/>
                  <a:pt x="1178" y="542"/>
                </a:cubicBezTo>
                <a:cubicBezTo>
                  <a:pt x="1177" y="541"/>
                  <a:pt x="1177" y="541"/>
                  <a:pt x="1177" y="541"/>
                </a:cubicBezTo>
                <a:cubicBezTo>
                  <a:pt x="1176" y="541"/>
                  <a:pt x="1176" y="541"/>
                  <a:pt x="1176" y="541"/>
                </a:cubicBezTo>
                <a:close/>
                <a:moveTo>
                  <a:pt x="1191" y="548"/>
                </a:moveTo>
                <a:cubicBezTo>
                  <a:pt x="1190" y="548"/>
                  <a:pt x="1190" y="548"/>
                  <a:pt x="1190" y="548"/>
                </a:cubicBezTo>
                <a:cubicBezTo>
                  <a:pt x="1191" y="549"/>
                  <a:pt x="1191" y="549"/>
                  <a:pt x="1191" y="549"/>
                </a:cubicBezTo>
                <a:cubicBezTo>
                  <a:pt x="1192" y="549"/>
                  <a:pt x="1192" y="549"/>
                  <a:pt x="1192" y="549"/>
                </a:cubicBezTo>
                <a:cubicBezTo>
                  <a:pt x="1193" y="548"/>
                  <a:pt x="1193" y="548"/>
                  <a:pt x="1193" y="548"/>
                </a:cubicBezTo>
                <a:cubicBezTo>
                  <a:pt x="1192" y="548"/>
                  <a:pt x="1192" y="548"/>
                  <a:pt x="1192" y="548"/>
                </a:cubicBezTo>
                <a:cubicBezTo>
                  <a:pt x="1191" y="548"/>
                  <a:pt x="1191" y="548"/>
                  <a:pt x="1191" y="548"/>
                </a:cubicBezTo>
                <a:close/>
                <a:moveTo>
                  <a:pt x="1174" y="542"/>
                </a:moveTo>
                <a:cubicBezTo>
                  <a:pt x="1174" y="543"/>
                  <a:pt x="1174" y="543"/>
                  <a:pt x="1174" y="543"/>
                </a:cubicBezTo>
                <a:cubicBezTo>
                  <a:pt x="1176" y="543"/>
                  <a:pt x="1176" y="543"/>
                  <a:pt x="1176" y="543"/>
                </a:cubicBezTo>
                <a:cubicBezTo>
                  <a:pt x="1175" y="542"/>
                  <a:pt x="1175" y="542"/>
                  <a:pt x="1175" y="542"/>
                </a:cubicBezTo>
                <a:cubicBezTo>
                  <a:pt x="1174" y="542"/>
                  <a:pt x="1174" y="542"/>
                  <a:pt x="1174" y="542"/>
                </a:cubicBezTo>
                <a:close/>
                <a:moveTo>
                  <a:pt x="1243" y="586"/>
                </a:moveTo>
                <a:cubicBezTo>
                  <a:pt x="1244" y="586"/>
                  <a:pt x="1244" y="586"/>
                  <a:pt x="1244" y="586"/>
                </a:cubicBezTo>
                <a:cubicBezTo>
                  <a:pt x="1244" y="586"/>
                  <a:pt x="1244" y="586"/>
                  <a:pt x="1243" y="584"/>
                </a:cubicBezTo>
                <a:cubicBezTo>
                  <a:pt x="1243" y="584"/>
                  <a:pt x="1243" y="584"/>
                  <a:pt x="1241" y="585"/>
                </a:cubicBezTo>
                <a:cubicBezTo>
                  <a:pt x="1241" y="585"/>
                  <a:pt x="1241" y="585"/>
                  <a:pt x="1242" y="585"/>
                </a:cubicBezTo>
                <a:cubicBezTo>
                  <a:pt x="1242" y="585"/>
                  <a:pt x="1242" y="585"/>
                  <a:pt x="1243" y="586"/>
                </a:cubicBezTo>
                <a:close/>
                <a:moveTo>
                  <a:pt x="1236" y="621"/>
                </a:moveTo>
                <a:cubicBezTo>
                  <a:pt x="1236" y="621"/>
                  <a:pt x="1236" y="621"/>
                  <a:pt x="1236" y="620"/>
                </a:cubicBezTo>
                <a:cubicBezTo>
                  <a:pt x="1236" y="620"/>
                  <a:pt x="1236" y="620"/>
                  <a:pt x="1235" y="620"/>
                </a:cubicBezTo>
                <a:cubicBezTo>
                  <a:pt x="1235" y="620"/>
                  <a:pt x="1235" y="620"/>
                  <a:pt x="1236" y="621"/>
                </a:cubicBezTo>
                <a:close/>
                <a:moveTo>
                  <a:pt x="1237" y="615"/>
                </a:moveTo>
                <a:cubicBezTo>
                  <a:pt x="1238" y="615"/>
                  <a:pt x="1238" y="615"/>
                  <a:pt x="1238" y="615"/>
                </a:cubicBezTo>
                <a:cubicBezTo>
                  <a:pt x="1238" y="615"/>
                  <a:pt x="1238" y="615"/>
                  <a:pt x="1238" y="613"/>
                </a:cubicBezTo>
                <a:cubicBezTo>
                  <a:pt x="1237" y="612"/>
                  <a:pt x="1237" y="612"/>
                  <a:pt x="1237" y="612"/>
                </a:cubicBezTo>
                <a:cubicBezTo>
                  <a:pt x="1236" y="613"/>
                  <a:pt x="1236" y="613"/>
                  <a:pt x="1236" y="613"/>
                </a:cubicBezTo>
                <a:cubicBezTo>
                  <a:pt x="1236" y="613"/>
                  <a:pt x="1236" y="613"/>
                  <a:pt x="1237" y="614"/>
                </a:cubicBezTo>
                <a:cubicBezTo>
                  <a:pt x="1237" y="614"/>
                  <a:pt x="1237" y="614"/>
                  <a:pt x="1237" y="615"/>
                </a:cubicBezTo>
                <a:close/>
                <a:moveTo>
                  <a:pt x="1250" y="617"/>
                </a:moveTo>
                <a:cubicBezTo>
                  <a:pt x="1249" y="617"/>
                  <a:pt x="1249" y="617"/>
                  <a:pt x="1249" y="617"/>
                </a:cubicBezTo>
                <a:cubicBezTo>
                  <a:pt x="1249" y="619"/>
                  <a:pt x="1249" y="619"/>
                  <a:pt x="1249" y="619"/>
                </a:cubicBezTo>
                <a:cubicBezTo>
                  <a:pt x="1250" y="620"/>
                  <a:pt x="1250" y="620"/>
                  <a:pt x="1250" y="620"/>
                </a:cubicBezTo>
                <a:cubicBezTo>
                  <a:pt x="1251" y="619"/>
                  <a:pt x="1251" y="619"/>
                  <a:pt x="1251" y="619"/>
                </a:cubicBezTo>
                <a:cubicBezTo>
                  <a:pt x="1252" y="619"/>
                  <a:pt x="1252" y="619"/>
                  <a:pt x="1252" y="619"/>
                </a:cubicBezTo>
                <a:cubicBezTo>
                  <a:pt x="1251" y="618"/>
                  <a:pt x="1251" y="618"/>
                  <a:pt x="1251" y="618"/>
                </a:cubicBezTo>
                <a:cubicBezTo>
                  <a:pt x="1250" y="617"/>
                  <a:pt x="1250" y="617"/>
                  <a:pt x="1250" y="617"/>
                </a:cubicBezTo>
                <a:close/>
                <a:moveTo>
                  <a:pt x="1245" y="617"/>
                </a:moveTo>
                <a:cubicBezTo>
                  <a:pt x="1245" y="617"/>
                  <a:pt x="1245" y="617"/>
                  <a:pt x="1247" y="617"/>
                </a:cubicBezTo>
                <a:cubicBezTo>
                  <a:pt x="1247" y="617"/>
                  <a:pt x="1247" y="617"/>
                  <a:pt x="1247" y="615"/>
                </a:cubicBezTo>
                <a:cubicBezTo>
                  <a:pt x="1247" y="615"/>
                  <a:pt x="1247" y="615"/>
                  <a:pt x="1246" y="615"/>
                </a:cubicBezTo>
                <a:cubicBezTo>
                  <a:pt x="1246" y="615"/>
                  <a:pt x="1246" y="615"/>
                  <a:pt x="1245" y="616"/>
                </a:cubicBezTo>
                <a:cubicBezTo>
                  <a:pt x="1245" y="616"/>
                  <a:pt x="1245" y="616"/>
                  <a:pt x="1244" y="616"/>
                </a:cubicBezTo>
                <a:cubicBezTo>
                  <a:pt x="1244" y="616"/>
                  <a:pt x="1244" y="616"/>
                  <a:pt x="1243" y="616"/>
                </a:cubicBezTo>
                <a:cubicBezTo>
                  <a:pt x="1243" y="616"/>
                  <a:pt x="1243" y="616"/>
                  <a:pt x="1242" y="617"/>
                </a:cubicBezTo>
                <a:cubicBezTo>
                  <a:pt x="1242" y="617"/>
                  <a:pt x="1242" y="617"/>
                  <a:pt x="1242" y="618"/>
                </a:cubicBezTo>
                <a:cubicBezTo>
                  <a:pt x="1242" y="618"/>
                  <a:pt x="1242" y="618"/>
                  <a:pt x="1243" y="618"/>
                </a:cubicBezTo>
                <a:cubicBezTo>
                  <a:pt x="1243" y="618"/>
                  <a:pt x="1243" y="618"/>
                  <a:pt x="1245" y="617"/>
                </a:cubicBezTo>
                <a:close/>
                <a:moveTo>
                  <a:pt x="1261" y="613"/>
                </a:moveTo>
                <a:cubicBezTo>
                  <a:pt x="1261" y="613"/>
                  <a:pt x="1261" y="613"/>
                  <a:pt x="1262" y="612"/>
                </a:cubicBezTo>
                <a:cubicBezTo>
                  <a:pt x="1262" y="612"/>
                  <a:pt x="1262" y="612"/>
                  <a:pt x="1264" y="612"/>
                </a:cubicBezTo>
                <a:cubicBezTo>
                  <a:pt x="1264" y="612"/>
                  <a:pt x="1264" y="612"/>
                  <a:pt x="1263" y="611"/>
                </a:cubicBezTo>
                <a:cubicBezTo>
                  <a:pt x="1263" y="611"/>
                  <a:pt x="1263" y="611"/>
                  <a:pt x="1262" y="611"/>
                </a:cubicBezTo>
                <a:cubicBezTo>
                  <a:pt x="1262" y="611"/>
                  <a:pt x="1262" y="611"/>
                  <a:pt x="1261" y="613"/>
                </a:cubicBezTo>
                <a:close/>
                <a:moveTo>
                  <a:pt x="1257" y="618"/>
                </a:moveTo>
                <a:cubicBezTo>
                  <a:pt x="1258" y="618"/>
                  <a:pt x="1258" y="618"/>
                  <a:pt x="1258" y="618"/>
                </a:cubicBezTo>
                <a:cubicBezTo>
                  <a:pt x="1258" y="618"/>
                  <a:pt x="1258" y="618"/>
                  <a:pt x="1259" y="618"/>
                </a:cubicBezTo>
                <a:cubicBezTo>
                  <a:pt x="1259" y="618"/>
                  <a:pt x="1259" y="618"/>
                  <a:pt x="1261" y="616"/>
                </a:cubicBezTo>
                <a:cubicBezTo>
                  <a:pt x="1261" y="616"/>
                  <a:pt x="1261" y="616"/>
                  <a:pt x="1261" y="614"/>
                </a:cubicBezTo>
                <a:cubicBezTo>
                  <a:pt x="1261" y="614"/>
                  <a:pt x="1261" y="614"/>
                  <a:pt x="1259" y="615"/>
                </a:cubicBezTo>
                <a:cubicBezTo>
                  <a:pt x="1259" y="615"/>
                  <a:pt x="1259" y="615"/>
                  <a:pt x="1259" y="616"/>
                </a:cubicBezTo>
                <a:cubicBezTo>
                  <a:pt x="1259" y="616"/>
                  <a:pt x="1259" y="616"/>
                  <a:pt x="1257" y="618"/>
                </a:cubicBezTo>
                <a:close/>
                <a:moveTo>
                  <a:pt x="1203" y="692"/>
                </a:moveTo>
                <a:cubicBezTo>
                  <a:pt x="1203" y="692"/>
                  <a:pt x="1203" y="692"/>
                  <a:pt x="1204" y="692"/>
                </a:cubicBezTo>
                <a:cubicBezTo>
                  <a:pt x="1204" y="692"/>
                  <a:pt x="1204" y="692"/>
                  <a:pt x="1204" y="690"/>
                </a:cubicBezTo>
                <a:cubicBezTo>
                  <a:pt x="1204" y="690"/>
                  <a:pt x="1204" y="690"/>
                  <a:pt x="1203" y="691"/>
                </a:cubicBezTo>
                <a:cubicBezTo>
                  <a:pt x="1203" y="691"/>
                  <a:pt x="1203" y="691"/>
                  <a:pt x="1203" y="692"/>
                </a:cubicBezTo>
                <a:close/>
                <a:moveTo>
                  <a:pt x="1202" y="695"/>
                </a:moveTo>
                <a:cubicBezTo>
                  <a:pt x="1202" y="695"/>
                  <a:pt x="1202" y="695"/>
                  <a:pt x="1203" y="696"/>
                </a:cubicBezTo>
                <a:cubicBezTo>
                  <a:pt x="1203" y="696"/>
                  <a:pt x="1203" y="696"/>
                  <a:pt x="1204" y="696"/>
                </a:cubicBezTo>
                <a:cubicBezTo>
                  <a:pt x="1204" y="696"/>
                  <a:pt x="1204" y="696"/>
                  <a:pt x="1204" y="695"/>
                </a:cubicBezTo>
                <a:cubicBezTo>
                  <a:pt x="1204" y="695"/>
                  <a:pt x="1204" y="695"/>
                  <a:pt x="1203" y="695"/>
                </a:cubicBezTo>
                <a:cubicBezTo>
                  <a:pt x="1203" y="695"/>
                  <a:pt x="1203" y="695"/>
                  <a:pt x="1202" y="695"/>
                </a:cubicBezTo>
                <a:close/>
                <a:moveTo>
                  <a:pt x="1195" y="693"/>
                </a:moveTo>
                <a:cubicBezTo>
                  <a:pt x="1195" y="693"/>
                  <a:pt x="1195" y="693"/>
                  <a:pt x="1196" y="693"/>
                </a:cubicBezTo>
                <a:cubicBezTo>
                  <a:pt x="1196" y="693"/>
                  <a:pt x="1196" y="693"/>
                  <a:pt x="1196" y="692"/>
                </a:cubicBezTo>
                <a:cubicBezTo>
                  <a:pt x="1196" y="692"/>
                  <a:pt x="1196" y="692"/>
                  <a:pt x="1195" y="692"/>
                </a:cubicBezTo>
                <a:cubicBezTo>
                  <a:pt x="1195" y="692"/>
                  <a:pt x="1195" y="692"/>
                  <a:pt x="1195" y="693"/>
                </a:cubicBezTo>
                <a:close/>
                <a:moveTo>
                  <a:pt x="1190" y="689"/>
                </a:moveTo>
                <a:cubicBezTo>
                  <a:pt x="1189" y="689"/>
                  <a:pt x="1189" y="689"/>
                  <a:pt x="1189" y="689"/>
                </a:cubicBezTo>
                <a:cubicBezTo>
                  <a:pt x="1188" y="689"/>
                  <a:pt x="1188" y="689"/>
                  <a:pt x="1188" y="689"/>
                </a:cubicBezTo>
                <a:cubicBezTo>
                  <a:pt x="1189" y="690"/>
                  <a:pt x="1189" y="690"/>
                  <a:pt x="1189" y="690"/>
                </a:cubicBezTo>
                <a:cubicBezTo>
                  <a:pt x="1189" y="690"/>
                  <a:pt x="1189" y="690"/>
                  <a:pt x="1190" y="690"/>
                </a:cubicBezTo>
                <a:cubicBezTo>
                  <a:pt x="1191" y="689"/>
                  <a:pt x="1191" y="689"/>
                  <a:pt x="1191" y="689"/>
                </a:cubicBezTo>
                <a:cubicBezTo>
                  <a:pt x="1190" y="689"/>
                  <a:pt x="1190" y="689"/>
                  <a:pt x="1190" y="689"/>
                </a:cubicBezTo>
                <a:close/>
                <a:moveTo>
                  <a:pt x="1198" y="701"/>
                </a:moveTo>
                <a:cubicBezTo>
                  <a:pt x="1198" y="701"/>
                  <a:pt x="1198" y="701"/>
                  <a:pt x="1198" y="702"/>
                </a:cubicBezTo>
                <a:cubicBezTo>
                  <a:pt x="1198" y="702"/>
                  <a:pt x="1198" y="702"/>
                  <a:pt x="1198" y="703"/>
                </a:cubicBezTo>
                <a:cubicBezTo>
                  <a:pt x="1200" y="704"/>
                  <a:pt x="1200" y="704"/>
                  <a:pt x="1200" y="704"/>
                </a:cubicBezTo>
                <a:cubicBezTo>
                  <a:pt x="1200" y="704"/>
                  <a:pt x="1200" y="704"/>
                  <a:pt x="1200" y="703"/>
                </a:cubicBezTo>
                <a:cubicBezTo>
                  <a:pt x="1200" y="703"/>
                  <a:pt x="1200" y="703"/>
                  <a:pt x="1199" y="701"/>
                </a:cubicBezTo>
                <a:cubicBezTo>
                  <a:pt x="1199" y="701"/>
                  <a:pt x="1199" y="701"/>
                  <a:pt x="1198" y="701"/>
                </a:cubicBezTo>
                <a:close/>
                <a:moveTo>
                  <a:pt x="1197" y="692"/>
                </a:moveTo>
                <a:cubicBezTo>
                  <a:pt x="1197" y="692"/>
                  <a:pt x="1197" y="692"/>
                  <a:pt x="1197" y="693"/>
                </a:cubicBezTo>
                <a:cubicBezTo>
                  <a:pt x="1197" y="693"/>
                  <a:pt x="1197" y="693"/>
                  <a:pt x="1198" y="693"/>
                </a:cubicBezTo>
                <a:cubicBezTo>
                  <a:pt x="1198" y="693"/>
                  <a:pt x="1198" y="693"/>
                  <a:pt x="1197" y="692"/>
                </a:cubicBezTo>
                <a:close/>
                <a:moveTo>
                  <a:pt x="1191" y="691"/>
                </a:moveTo>
                <a:cubicBezTo>
                  <a:pt x="1192" y="691"/>
                  <a:pt x="1192" y="691"/>
                  <a:pt x="1192" y="691"/>
                </a:cubicBezTo>
                <a:cubicBezTo>
                  <a:pt x="1192" y="691"/>
                  <a:pt x="1192" y="691"/>
                  <a:pt x="1192" y="690"/>
                </a:cubicBezTo>
                <a:cubicBezTo>
                  <a:pt x="1192" y="690"/>
                  <a:pt x="1192" y="690"/>
                  <a:pt x="1191" y="690"/>
                </a:cubicBezTo>
                <a:cubicBezTo>
                  <a:pt x="1191" y="690"/>
                  <a:pt x="1191" y="690"/>
                  <a:pt x="1191" y="691"/>
                </a:cubicBezTo>
                <a:close/>
                <a:moveTo>
                  <a:pt x="1202" y="702"/>
                </a:moveTo>
                <a:cubicBezTo>
                  <a:pt x="1202" y="702"/>
                  <a:pt x="1202" y="702"/>
                  <a:pt x="1202" y="701"/>
                </a:cubicBezTo>
                <a:cubicBezTo>
                  <a:pt x="1202" y="701"/>
                  <a:pt x="1202" y="701"/>
                  <a:pt x="1201" y="701"/>
                </a:cubicBezTo>
                <a:cubicBezTo>
                  <a:pt x="1201" y="701"/>
                  <a:pt x="1201" y="701"/>
                  <a:pt x="1202" y="702"/>
                </a:cubicBezTo>
                <a:close/>
                <a:moveTo>
                  <a:pt x="1685" y="719"/>
                </a:moveTo>
                <a:cubicBezTo>
                  <a:pt x="1684" y="719"/>
                  <a:pt x="1684" y="719"/>
                  <a:pt x="1684" y="719"/>
                </a:cubicBezTo>
                <a:cubicBezTo>
                  <a:pt x="1683" y="719"/>
                  <a:pt x="1683" y="719"/>
                  <a:pt x="1683" y="719"/>
                </a:cubicBezTo>
                <a:cubicBezTo>
                  <a:pt x="1682" y="719"/>
                  <a:pt x="1682" y="719"/>
                  <a:pt x="1682" y="719"/>
                </a:cubicBezTo>
                <a:cubicBezTo>
                  <a:pt x="1682" y="718"/>
                  <a:pt x="1682" y="718"/>
                  <a:pt x="1682" y="718"/>
                </a:cubicBezTo>
                <a:cubicBezTo>
                  <a:pt x="1681" y="718"/>
                  <a:pt x="1681" y="718"/>
                  <a:pt x="1681" y="718"/>
                </a:cubicBezTo>
                <a:cubicBezTo>
                  <a:pt x="1680" y="719"/>
                  <a:pt x="1680" y="719"/>
                  <a:pt x="1680" y="719"/>
                </a:cubicBezTo>
                <a:cubicBezTo>
                  <a:pt x="1680" y="720"/>
                  <a:pt x="1680" y="720"/>
                  <a:pt x="1680" y="720"/>
                </a:cubicBezTo>
                <a:cubicBezTo>
                  <a:pt x="1680" y="721"/>
                  <a:pt x="1680" y="721"/>
                  <a:pt x="1680" y="721"/>
                </a:cubicBezTo>
                <a:cubicBezTo>
                  <a:pt x="1681" y="721"/>
                  <a:pt x="1681" y="721"/>
                  <a:pt x="1681" y="721"/>
                </a:cubicBezTo>
                <a:cubicBezTo>
                  <a:pt x="1683" y="721"/>
                  <a:pt x="1683" y="721"/>
                  <a:pt x="1683" y="721"/>
                </a:cubicBezTo>
                <a:cubicBezTo>
                  <a:pt x="1684" y="721"/>
                  <a:pt x="1684" y="721"/>
                  <a:pt x="1684" y="721"/>
                </a:cubicBezTo>
                <a:cubicBezTo>
                  <a:pt x="1686" y="720"/>
                  <a:pt x="1686" y="720"/>
                  <a:pt x="1686" y="720"/>
                </a:cubicBezTo>
                <a:cubicBezTo>
                  <a:pt x="1687" y="720"/>
                  <a:pt x="1687" y="720"/>
                  <a:pt x="1687" y="720"/>
                </a:cubicBezTo>
                <a:cubicBezTo>
                  <a:pt x="1687" y="719"/>
                  <a:pt x="1687" y="719"/>
                  <a:pt x="1687" y="719"/>
                </a:cubicBezTo>
                <a:cubicBezTo>
                  <a:pt x="1686" y="719"/>
                  <a:pt x="1686" y="719"/>
                  <a:pt x="1686" y="719"/>
                </a:cubicBezTo>
                <a:cubicBezTo>
                  <a:pt x="1685" y="719"/>
                  <a:pt x="1685" y="719"/>
                  <a:pt x="1685" y="719"/>
                </a:cubicBezTo>
                <a:close/>
                <a:moveTo>
                  <a:pt x="1668" y="734"/>
                </a:moveTo>
                <a:cubicBezTo>
                  <a:pt x="1667" y="733"/>
                  <a:pt x="1667" y="733"/>
                  <a:pt x="1667" y="733"/>
                </a:cubicBezTo>
                <a:cubicBezTo>
                  <a:pt x="1667" y="734"/>
                  <a:pt x="1667" y="734"/>
                  <a:pt x="1667" y="734"/>
                </a:cubicBezTo>
                <a:cubicBezTo>
                  <a:pt x="1668" y="734"/>
                  <a:pt x="1668" y="734"/>
                  <a:pt x="1668" y="734"/>
                </a:cubicBezTo>
                <a:close/>
                <a:moveTo>
                  <a:pt x="1409" y="579"/>
                </a:moveTo>
                <a:cubicBezTo>
                  <a:pt x="1410" y="579"/>
                  <a:pt x="1410" y="579"/>
                  <a:pt x="1410" y="579"/>
                </a:cubicBezTo>
                <a:cubicBezTo>
                  <a:pt x="1410" y="578"/>
                  <a:pt x="1410" y="578"/>
                  <a:pt x="1410" y="578"/>
                </a:cubicBezTo>
                <a:cubicBezTo>
                  <a:pt x="1409" y="578"/>
                  <a:pt x="1409" y="578"/>
                  <a:pt x="1409" y="578"/>
                </a:cubicBezTo>
                <a:cubicBezTo>
                  <a:pt x="1408" y="578"/>
                  <a:pt x="1408" y="578"/>
                  <a:pt x="1408" y="578"/>
                </a:cubicBezTo>
                <a:cubicBezTo>
                  <a:pt x="1409" y="579"/>
                  <a:pt x="1409" y="579"/>
                  <a:pt x="1409" y="579"/>
                </a:cubicBezTo>
                <a:close/>
                <a:moveTo>
                  <a:pt x="1267" y="752"/>
                </a:moveTo>
                <a:cubicBezTo>
                  <a:pt x="1268" y="753"/>
                  <a:pt x="1268" y="753"/>
                  <a:pt x="1268" y="753"/>
                </a:cubicBezTo>
                <a:cubicBezTo>
                  <a:pt x="1268" y="752"/>
                  <a:pt x="1268" y="752"/>
                  <a:pt x="1268" y="752"/>
                </a:cubicBezTo>
                <a:cubicBezTo>
                  <a:pt x="1267" y="751"/>
                  <a:pt x="1267" y="751"/>
                  <a:pt x="1267" y="751"/>
                </a:cubicBezTo>
                <a:cubicBezTo>
                  <a:pt x="1267" y="752"/>
                  <a:pt x="1267" y="752"/>
                  <a:pt x="1267" y="752"/>
                </a:cubicBezTo>
                <a:close/>
                <a:moveTo>
                  <a:pt x="1385" y="798"/>
                </a:moveTo>
                <a:cubicBezTo>
                  <a:pt x="1385" y="799"/>
                  <a:pt x="1385" y="799"/>
                  <a:pt x="1385" y="799"/>
                </a:cubicBezTo>
                <a:cubicBezTo>
                  <a:pt x="1386" y="799"/>
                  <a:pt x="1386" y="799"/>
                  <a:pt x="1386" y="799"/>
                </a:cubicBezTo>
                <a:cubicBezTo>
                  <a:pt x="1387" y="798"/>
                  <a:pt x="1387" y="798"/>
                  <a:pt x="1387" y="798"/>
                </a:cubicBezTo>
                <a:cubicBezTo>
                  <a:pt x="1386" y="797"/>
                  <a:pt x="1386" y="797"/>
                  <a:pt x="1386" y="797"/>
                </a:cubicBezTo>
                <a:cubicBezTo>
                  <a:pt x="1385" y="798"/>
                  <a:pt x="1385" y="798"/>
                  <a:pt x="1385" y="798"/>
                </a:cubicBezTo>
                <a:close/>
                <a:moveTo>
                  <a:pt x="1400" y="777"/>
                </a:moveTo>
                <a:cubicBezTo>
                  <a:pt x="1400" y="775"/>
                  <a:pt x="1400" y="775"/>
                  <a:pt x="1400" y="775"/>
                </a:cubicBezTo>
                <a:cubicBezTo>
                  <a:pt x="1398" y="776"/>
                  <a:pt x="1398" y="776"/>
                  <a:pt x="1398" y="776"/>
                </a:cubicBezTo>
                <a:cubicBezTo>
                  <a:pt x="1398" y="778"/>
                  <a:pt x="1398" y="778"/>
                  <a:pt x="1398" y="778"/>
                </a:cubicBezTo>
                <a:cubicBezTo>
                  <a:pt x="1397" y="778"/>
                  <a:pt x="1397" y="778"/>
                  <a:pt x="1397" y="778"/>
                </a:cubicBezTo>
                <a:cubicBezTo>
                  <a:pt x="1397" y="779"/>
                  <a:pt x="1397" y="779"/>
                  <a:pt x="1397" y="779"/>
                </a:cubicBezTo>
                <a:cubicBezTo>
                  <a:pt x="1398" y="779"/>
                  <a:pt x="1398" y="779"/>
                  <a:pt x="1398" y="779"/>
                </a:cubicBezTo>
                <a:cubicBezTo>
                  <a:pt x="1399" y="780"/>
                  <a:pt x="1399" y="780"/>
                  <a:pt x="1399" y="780"/>
                </a:cubicBezTo>
                <a:cubicBezTo>
                  <a:pt x="1400" y="777"/>
                  <a:pt x="1400" y="777"/>
                  <a:pt x="1400" y="777"/>
                </a:cubicBezTo>
                <a:close/>
                <a:moveTo>
                  <a:pt x="2392" y="947"/>
                </a:moveTo>
                <a:cubicBezTo>
                  <a:pt x="2392" y="946"/>
                  <a:pt x="2392" y="946"/>
                  <a:pt x="2392" y="946"/>
                </a:cubicBezTo>
                <a:cubicBezTo>
                  <a:pt x="2392" y="945"/>
                  <a:pt x="2392" y="945"/>
                  <a:pt x="2392" y="945"/>
                </a:cubicBezTo>
                <a:cubicBezTo>
                  <a:pt x="2391" y="944"/>
                  <a:pt x="2391" y="944"/>
                  <a:pt x="2391" y="944"/>
                </a:cubicBezTo>
                <a:cubicBezTo>
                  <a:pt x="2390" y="945"/>
                  <a:pt x="2390" y="945"/>
                  <a:pt x="2390" y="945"/>
                </a:cubicBezTo>
                <a:cubicBezTo>
                  <a:pt x="2390" y="946"/>
                  <a:pt x="2390" y="946"/>
                  <a:pt x="2390" y="946"/>
                </a:cubicBezTo>
                <a:cubicBezTo>
                  <a:pt x="2390" y="947"/>
                  <a:pt x="2390" y="947"/>
                  <a:pt x="2390" y="947"/>
                </a:cubicBezTo>
                <a:cubicBezTo>
                  <a:pt x="2391" y="948"/>
                  <a:pt x="2391" y="948"/>
                  <a:pt x="2391" y="948"/>
                </a:cubicBezTo>
                <a:cubicBezTo>
                  <a:pt x="2392" y="948"/>
                  <a:pt x="2392" y="948"/>
                  <a:pt x="2392" y="948"/>
                </a:cubicBezTo>
                <a:cubicBezTo>
                  <a:pt x="2393" y="948"/>
                  <a:pt x="2393" y="948"/>
                  <a:pt x="2393" y="948"/>
                </a:cubicBezTo>
                <a:cubicBezTo>
                  <a:pt x="2392" y="947"/>
                  <a:pt x="2392" y="947"/>
                  <a:pt x="2392" y="947"/>
                </a:cubicBezTo>
                <a:close/>
                <a:moveTo>
                  <a:pt x="2375" y="947"/>
                </a:moveTo>
                <a:cubicBezTo>
                  <a:pt x="2375" y="948"/>
                  <a:pt x="2375" y="948"/>
                  <a:pt x="2375" y="948"/>
                </a:cubicBezTo>
                <a:cubicBezTo>
                  <a:pt x="2376" y="949"/>
                  <a:pt x="2376" y="949"/>
                  <a:pt x="2376" y="949"/>
                </a:cubicBezTo>
                <a:cubicBezTo>
                  <a:pt x="2377" y="949"/>
                  <a:pt x="2377" y="949"/>
                  <a:pt x="2377" y="949"/>
                </a:cubicBezTo>
                <a:cubicBezTo>
                  <a:pt x="2377" y="950"/>
                  <a:pt x="2377" y="950"/>
                  <a:pt x="2377" y="950"/>
                </a:cubicBezTo>
                <a:cubicBezTo>
                  <a:pt x="2379" y="951"/>
                  <a:pt x="2379" y="951"/>
                  <a:pt x="2379" y="951"/>
                </a:cubicBezTo>
                <a:cubicBezTo>
                  <a:pt x="2380" y="953"/>
                  <a:pt x="2380" y="953"/>
                  <a:pt x="2380" y="953"/>
                </a:cubicBezTo>
                <a:cubicBezTo>
                  <a:pt x="2381" y="953"/>
                  <a:pt x="2381" y="953"/>
                  <a:pt x="2381" y="953"/>
                </a:cubicBezTo>
                <a:cubicBezTo>
                  <a:pt x="2381" y="955"/>
                  <a:pt x="2381" y="955"/>
                  <a:pt x="2381" y="955"/>
                </a:cubicBezTo>
                <a:cubicBezTo>
                  <a:pt x="2383" y="955"/>
                  <a:pt x="2383" y="955"/>
                  <a:pt x="2383" y="955"/>
                </a:cubicBezTo>
                <a:cubicBezTo>
                  <a:pt x="2383" y="956"/>
                  <a:pt x="2383" y="956"/>
                  <a:pt x="2383" y="956"/>
                </a:cubicBezTo>
                <a:cubicBezTo>
                  <a:pt x="2384" y="957"/>
                  <a:pt x="2384" y="957"/>
                  <a:pt x="2384" y="957"/>
                </a:cubicBezTo>
                <a:cubicBezTo>
                  <a:pt x="2386" y="957"/>
                  <a:pt x="2386" y="957"/>
                  <a:pt x="2386" y="957"/>
                </a:cubicBezTo>
                <a:cubicBezTo>
                  <a:pt x="2387" y="958"/>
                  <a:pt x="2387" y="958"/>
                  <a:pt x="2387" y="958"/>
                </a:cubicBezTo>
                <a:cubicBezTo>
                  <a:pt x="2387" y="957"/>
                  <a:pt x="2387" y="957"/>
                  <a:pt x="2387" y="957"/>
                </a:cubicBezTo>
                <a:cubicBezTo>
                  <a:pt x="2388" y="958"/>
                  <a:pt x="2388" y="958"/>
                  <a:pt x="2388" y="958"/>
                </a:cubicBezTo>
                <a:cubicBezTo>
                  <a:pt x="2388" y="956"/>
                  <a:pt x="2388" y="956"/>
                  <a:pt x="2388" y="956"/>
                </a:cubicBezTo>
                <a:cubicBezTo>
                  <a:pt x="2387" y="956"/>
                  <a:pt x="2387" y="956"/>
                  <a:pt x="2387" y="956"/>
                </a:cubicBezTo>
                <a:cubicBezTo>
                  <a:pt x="2385" y="954"/>
                  <a:pt x="2385" y="954"/>
                  <a:pt x="2385" y="954"/>
                </a:cubicBezTo>
                <a:cubicBezTo>
                  <a:pt x="2383" y="951"/>
                  <a:pt x="2383" y="951"/>
                  <a:pt x="2383" y="951"/>
                </a:cubicBezTo>
                <a:cubicBezTo>
                  <a:pt x="2382" y="951"/>
                  <a:pt x="2382" y="951"/>
                  <a:pt x="2382" y="951"/>
                </a:cubicBezTo>
                <a:cubicBezTo>
                  <a:pt x="2380" y="949"/>
                  <a:pt x="2380" y="949"/>
                  <a:pt x="2380" y="949"/>
                </a:cubicBezTo>
                <a:cubicBezTo>
                  <a:pt x="2378" y="945"/>
                  <a:pt x="2378" y="945"/>
                  <a:pt x="2378" y="945"/>
                </a:cubicBezTo>
                <a:cubicBezTo>
                  <a:pt x="2377" y="945"/>
                  <a:pt x="2377" y="945"/>
                  <a:pt x="2377" y="945"/>
                </a:cubicBezTo>
                <a:cubicBezTo>
                  <a:pt x="2377" y="944"/>
                  <a:pt x="2377" y="944"/>
                  <a:pt x="2377" y="944"/>
                </a:cubicBezTo>
                <a:cubicBezTo>
                  <a:pt x="2375" y="943"/>
                  <a:pt x="2375" y="943"/>
                  <a:pt x="2375" y="943"/>
                </a:cubicBezTo>
                <a:cubicBezTo>
                  <a:pt x="2375" y="942"/>
                  <a:pt x="2375" y="942"/>
                  <a:pt x="2375" y="942"/>
                </a:cubicBezTo>
                <a:cubicBezTo>
                  <a:pt x="2374" y="941"/>
                  <a:pt x="2374" y="941"/>
                  <a:pt x="2374" y="941"/>
                </a:cubicBezTo>
                <a:cubicBezTo>
                  <a:pt x="2374" y="942"/>
                  <a:pt x="2374" y="942"/>
                  <a:pt x="2374" y="942"/>
                </a:cubicBezTo>
                <a:cubicBezTo>
                  <a:pt x="2372" y="940"/>
                  <a:pt x="2372" y="940"/>
                  <a:pt x="2372" y="940"/>
                </a:cubicBezTo>
                <a:cubicBezTo>
                  <a:pt x="2372" y="941"/>
                  <a:pt x="2372" y="941"/>
                  <a:pt x="2372" y="941"/>
                </a:cubicBezTo>
                <a:cubicBezTo>
                  <a:pt x="2372" y="942"/>
                  <a:pt x="2372" y="942"/>
                  <a:pt x="2372" y="942"/>
                </a:cubicBezTo>
                <a:cubicBezTo>
                  <a:pt x="2372" y="943"/>
                  <a:pt x="2372" y="943"/>
                  <a:pt x="2372" y="943"/>
                </a:cubicBezTo>
                <a:cubicBezTo>
                  <a:pt x="2374" y="946"/>
                  <a:pt x="2374" y="946"/>
                  <a:pt x="2374" y="946"/>
                </a:cubicBezTo>
                <a:cubicBezTo>
                  <a:pt x="2375" y="947"/>
                  <a:pt x="2375" y="947"/>
                  <a:pt x="2375" y="947"/>
                </a:cubicBezTo>
                <a:close/>
                <a:moveTo>
                  <a:pt x="2397" y="951"/>
                </a:moveTo>
                <a:cubicBezTo>
                  <a:pt x="2396" y="950"/>
                  <a:pt x="2396" y="950"/>
                  <a:pt x="2396" y="950"/>
                </a:cubicBezTo>
                <a:cubicBezTo>
                  <a:pt x="2394" y="951"/>
                  <a:pt x="2394" y="951"/>
                  <a:pt x="2394" y="951"/>
                </a:cubicBezTo>
                <a:cubicBezTo>
                  <a:pt x="2394" y="952"/>
                  <a:pt x="2394" y="952"/>
                  <a:pt x="2394" y="952"/>
                </a:cubicBezTo>
                <a:cubicBezTo>
                  <a:pt x="2395" y="953"/>
                  <a:pt x="2395" y="953"/>
                  <a:pt x="2395" y="953"/>
                </a:cubicBezTo>
                <a:cubicBezTo>
                  <a:pt x="2396" y="952"/>
                  <a:pt x="2396" y="952"/>
                  <a:pt x="2396" y="952"/>
                </a:cubicBezTo>
                <a:cubicBezTo>
                  <a:pt x="2397" y="951"/>
                  <a:pt x="2397" y="951"/>
                  <a:pt x="2397" y="951"/>
                </a:cubicBezTo>
                <a:close/>
                <a:moveTo>
                  <a:pt x="2388" y="944"/>
                </a:moveTo>
                <a:cubicBezTo>
                  <a:pt x="2388" y="943"/>
                  <a:pt x="2388" y="943"/>
                  <a:pt x="2388" y="943"/>
                </a:cubicBezTo>
                <a:cubicBezTo>
                  <a:pt x="2387" y="943"/>
                  <a:pt x="2387" y="943"/>
                  <a:pt x="2387" y="943"/>
                </a:cubicBezTo>
                <a:cubicBezTo>
                  <a:pt x="2387" y="944"/>
                  <a:pt x="2387" y="944"/>
                  <a:pt x="2387" y="944"/>
                </a:cubicBezTo>
                <a:cubicBezTo>
                  <a:pt x="2386" y="945"/>
                  <a:pt x="2386" y="945"/>
                  <a:pt x="2386" y="945"/>
                </a:cubicBezTo>
                <a:cubicBezTo>
                  <a:pt x="2388" y="945"/>
                  <a:pt x="2388" y="945"/>
                  <a:pt x="2388" y="945"/>
                </a:cubicBezTo>
                <a:cubicBezTo>
                  <a:pt x="2388" y="944"/>
                  <a:pt x="2388" y="944"/>
                  <a:pt x="2388" y="944"/>
                </a:cubicBezTo>
                <a:close/>
                <a:moveTo>
                  <a:pt x="1757" y="1185"/>
                </a:moveTo>
                <a:cubicBezTo>
                  <a:pt x="1757" y="1186"/>
                  <a:pt x="1757" y="1186"/>
                  <a:pt x="1757" y="1186"/>
                </a:cubicBezTo>
                <a:cubicBezTo>
                  <a:pt x="1757" y="1187"/>
                  <a:pt x="1757" y="1187"/>
                  <a:pt x="1757" y="1187"/>
                </a:cubicBezTo>
                <a:cubicBezTo>
                  <a:pt x="1758" y="1187"/>
                  <a:pt x="1758" y="1187"/>
                  <a:pt x="1758" y="1187"/>
                </a:cubicBezTo>
                <a:cubicBezTo>
                  <a:pt x="1758" y="1188"/>
                  <a:pt x="1758" y="1188"/>
                  <a:pt x="1758" y="1188"/>
                </a:cubicBezTo>
                <a:cubicBezTo>
                  <a:pt x="1759" y="1188"/>
                  <a:pt x="1759" y="1188"/>
                  <a:pt x="1759" y="1188"/>
                </a:cubicBezTo>
                <a:cubicBezTo>
                  <a:pt x="1758" y="1186"/>
                  <a:pt x="1758" y="1186"/>
                  <a:pt x="1758" y="1186"/>
                </a:cubicBezTo>
                <a:cubicBezTo>
                  <a:pt x="1757" y="1185"/>
                  <a:pt x="1757" y="1185"/>
                  <a:pt x="1757" y="1185"/>
                </a:cubicBezTo>
                <a:close/>
                <a:moveTo>
                  <a:pt x="1741" y="1146"/>
                </a:moveTo>
                <a:cubicBezTo>
                  <a:pt x="1740" y="1146"/>
                  <a:pt x="1740" y="1146"/>
                  <a:pt x="1740" y="1146"/>
                </a:cubicBezTo>
                <a:cubicBezTo>
                  <a:pt x="1739" y="1147"/>
                  <a:pt x="1739" y="1147"/>
                  <a:pt x="1739" y="1147"/>
                </a:cubicBezTo>
                <a:cubicBezTo>
                  <a:pt x="1740" y="1148"/>
                  <a:pt x="1740" y="1148"/>
                  <a:pt x="1740" y="1148"/>
                </a:cubicBezTo>
                <a:cubicBezTo>
                  <a:pt x="1740" y="1147"/>
                  <a:pt x="1740" y="1147"/>
                  <a:pt x="1740" y="1147"/>
                </a:cubicBezTo>
                <a:cubicBezTo>
                  <a:pt x="1741" y="1146"/>
                  <a:pt x="1741" y="1146"/>
                  <a:pt x="1741" y="1146"/>
                </a:cubicBezTo>
                <a:close/>
                <a:moveTo>
                  <a:pt x="1743" y="1147"/>
                </a:moveTo>
                <a:cubicBezTo>
                  <a:pt x="1742" y="1147"/>
                  <a:pt x="1742" y="1147"/>
                  <a:pt x="1742" y="1147"/>
                </a:cubicBezTo>
                <a:cubicBezTo>
                  <a:pt x="1742" y="1148"/>
                  <a:pt x="1742" y="1148"/>
                  <a:pt x="1742" y="1148"/>
                </a:cubicBezTo>
                <a:cubicBezTo>
                  <a:pt x="1743" y="1148"/>
                  <a:pt x="1743" y="1148"/>
                  <a:pt x="1743" y="1148"/>
                </a:cubicBezTo>
                <a:cubicBezTo>
                  <a:pt x="1743" y="1147"/>
                  <a:pt x="1743" y="1147"/>
                  <a:pt x="1743" y="1147"/>
                </a:cubicBezTo>
                <a:close/>
                <a:moveTo>
                  <a:pt x="1746" y="1149"/>
                </a:moveTo>
                <a:cubicBezTo>
                  <a:pt x="1745" y="1151"/>
                  <a:pt x="1745" y="1151"/>
                  <a:pt x="1745" y="1151"/>
                </a:cubicBezTo>
                <a:cubicBezTo>
                  <a:pt x="1744" y="1151"/>
                  <a:pt x="1744" y="1151"/>
                  <a:pt x="1744" y="1151"/>
                </a:cubicBezTo>
                <a:cubicBezTo>
                  <a:pt x="1744" y="1149"/>
                  <a:pt x="1744" y="1149"/>
                  <a:pt x="1744" y="1149"/>
                </a:cubicBezTo>
                <a:cubicBezTo>
                  <a:pt x="1744" y="1148"/>
                  <a:pt x="1744" y="1148"/>
                  <a:pt x="1744" y="1148"/>
                </a:cubicBezTo>
                <a:cubicBezTo>
                  <a:pt x="1743" y="1149"/>
                  <a:pt x="1743" y="1149"/>
                  <a:pt x="1743" y="1149"/>
                </a:cubicBezTo>
                <a:cubicBezTo>
                  <a:pt x="1743" y="1150"/>
                  <a:pt x="1743" y="1150"/>
                  <a:pt x="1743" y="1150"/>
                </a:cubicBezTo>
                <a:cubicBezTo>
                  <a:pt x="1742" y="1149"/>
                  <a:pt x="1742" y="1149"/>
                  <a:pt x="1742" y="1149"/>
                </a:cubicBezTo>
                <a:cubicBezTo>
                  <a:pt x="1741" y="1149"/>
                  <a:pt x="1741" y="1149"/>
                  <a:pt x="1741" y="1149"/>
                </a:cubicBezTo>
                <a:cubicBezTo>
                  <a:pt x="1740" y="1148"/>
                  <a:pt x="1740" y="1148"/>
                  <a:pt x="1740" y="1148"/>
                </a:cubicBezTo>
                <a:cubicBezTo>
                  <a:pt x="1740" y="1149"/>
                  <a:pt x="1740" y="1149"/>
                  <a:pt x="1740" y="1149"/>
                </a:cubicBezTo>
                <a:cubicBezTo>
                  <a:pt x="1740" y="1150"/>
                  <a:pt x="1740" y="1150"/>
                  <a:pt x="1740" y="1150"/>
                </a:cubicBezTo>
                <a:cubicBezTo>
                  <a:pt x="1739" y="1151"/>
                  <a:pt x="1739" y="1151"/>
                  <a:pt x="1739" y="1151"/>
                </a:cubicBezTo>
                <a:cubicBezTo>
                  <a:pt x="1738" y="1152"/>
                  <a:pt x="1738" y="1152"/>
                  <a:pt x="1738" y="1152"/>
                </a:cubicBezTo>
                <a:cubicBezTo>
                  <a:pt x="1738" y="1153"/>
                  <a:pt x="1738" y="1153"/>
                  <a:pt x="1738" y="1153"/>
                </a:cubicBezTo>
                <a:cubicBezTo>
                  <a:pt x="1739" y="1153"/>
                  <a:pt x="1739" y="1153"/>
                  <a:pt x="1739" y="1153"/>
                </a:cubicBezTo>
                <a:cubicBezTo>
                  <a:pt x="1740" y="1152"/>
                  <a:pt x="1740" y="1152"/>
                  <a:pt x="1740" y="1152"/>
                </a:cubicBezTo>
                <a:cubicBezTo>
                  <a:pt x="1741" y="1152"/>
                  <a:pt x="1741" y="1152"/>
                  <a:pt x="1741" y="1152"/>
                </a:cubicBezTo>
                <a:cubicBezTo>
                  <a:pt x="1742" y="1153"/>
                  <a:pt x="1742" y="1153"/>
                  <a:pt x="1742" y="1153"/>
                </a:cubicBezTo>
                <a:cubicBezTo>
                  <a:pt x="1743" y="1153"/>
                  <a:pt x="1743" y="1153"/>
                  <a:pt x="1743" y="1153"/>
                </a:cubicBezTo>
                <a:cubicBezTo>
                  <a:pt x="1744" y="1152"/>
                  <a:pt x="1744" y="1152"/>
                  <a:pt x="1744" y="1152"/>
                </a:cubicBezTo>
                <a:cubicBezTo>
                  <a:pt x="1744" y="1153"/>
                  <a:pt x="1744" y="1153"/>
                  <a:pt x="1744" y="1153"/>
                </a:cubicBezTo>
                <a:cubicBezTo>
                  <a:pt x="1745" y="1154"/>
                  <a:pt x="1745" y="1154"/>
                  <a:pt x="1745" y="1154"/>
                </a:cubicBezTo>
                <a:cubicBezTo>
                  <a:pt x="1746" y="1154"/>
                  <a:pt x="1746" y="1154"/>
                  <a:pt x="1746" y="1154"/>
                </a:cubicBezTo>
                <a:cubicBezTo>
                  <a:pt x="1747" y="1153"/>
                  <a:pt x="1747" y="1153"/>
                  <a:pt x="1747" y="1153"/>
                </a:cubicBezTo>
                <a:cubicBezTo>
                  <a:pt x="1746" y="1153"/>
                  <a:pt x="1746" y="1153"/>
                  <a:pt x="1746" y="1153"/>
                </a:cubicBezTo>
                <a:cubicBezTo>
                  <a:pt x="1745" y="1152"/>
                  <a:pt x="1745" y="1152"/>
                  <a:pt x="1745" y="1152"/>
                </a:cubicBezTo>
                <a:cubicBezTo>
                  <a:pt x="1746" y="1151"/>
                  <a:pt x="1746" y="1151"/>
                  <a:pt x="1746" y="1151"/>
                </a:cubicBezTo>
                <a:cubicBezTo>
                  <a:pt x="1747" y="1151"/>
                  <a:pt x="1747" y="1151"/>
                  <a:pt x="1747" y="1151"/>
                </a:cubicBezTo>
                <a:cubicBezTo>
                  <a:pt x="1748" y="1151"/>
                  <a:pt x="1748" y="1151"/>
                  <a:pt x="1748" y="1151"/>
                </a:cubicBezTo>
                <a:cubicBezTo>
                  <a:pt x="1748" y="1150"/>
                  <a:pt x="1748" y="1150"/>
                  <a:pt x="1748" y="1150"/>
                </a:cubicBezTo>
                <a:cubicBezTo>
                  <a:pt x="1748" y="1149"/>
                  <a:pt x="1748" y="1149"/>
                  <a:pt x="1748" y="1149"/>
                </a:cubicBezTo>
                <a:cubicBezTo>
                  <a:pt x="1747" y="1150"/>
                  <a:pt x="1747" y="1150"/>
                  <a:pt x="1747" y="1150"/>
                </a:cubicBezTo>
                <a:cubicBezTo>
                  <a:pt x="1746" y="1149"/>
                  <a:pt x="1746" y="1149"/>
                  <a:pt x="1746" y="1149"/>
                </a:cubicBezTo>
                <a:close/>
                <a:moveTo>
                  <a:pt x="1703" y="929"/>
                </a:moveTo>
                <a:cubicBezTo>
                  <a:pt x="1702" y="928"/>
                  <a:pt x="1702" y="928"/>
                  <a:pt x="1702" y="928"/>
                </a:cubicBezTo>
                <a:cubicBezTo>
                  <a:pt x="1702" y="930"/>
                  <a:pt x="1702" y="930"/>
                  <a:pt x="1702" y="930"/>
                </a:cubicBezTo>
                <a:cubicBezTo>
                  <a:pt x="1701" y="931"/>
                  <a:pt x="1701" y="931"/>
                  <a:pt x="1701" y="931"/>
                </a:cubicBezTo>
                <a:cubicBezTo>
                  <a:pt x="1703" y="932"/>
                  <a:pt x="1703" y="932"/>
                  <a:pt x="1703" y="932"/>
                </a:cubicBezTo>
                <a:cubicBezTo>
                  <a:pt x="1704" y="931"/>
                  <a:pt x="1704" y="931"/>
                  <a:pt x="1704" y="931"/>
                </a:cubicBezTo>
                <a:cubicBezTo>
                  <a:pt x="1704" y="930"/>
                  <a:pt x="1704" y="930"/>
                  <a:pt x="1704" y="930"/>
                </a:cubicBezTo>
                <a:cubicBezTo>
                  <a:pt x="1705" y="930"/>
                  <a:pt x="1705" y="930"/>
                  <a:pt x="1705" y="930"/>
                </a:cubicBezTo>
                <a:cubicBezTo>
                  <a:pt x="1705" y="929"/>
                  <a:pt x="1705" y="929"/>
                  <a:pt x="1705" y="929"/>
                </a:cubicBezTo>
                <a:cubicBezTo>
                  <a:pt x="1704" y="928"/>
                  <a:pt x="1704" y="928"/>
                  <a:pt x="1704" y="928"/>
                </a:cubicBezTo>
                <a:cubicBezTo>
                  <a:pt x="1703" y="929"/>
                  <a:pt x="1703" y="929"/>
                  <a:pt x="1703" y="929"/>
                </a:cubicBezTo>
                <a:close/>
                <a:moveTo>
                  <a:pt x="1689" y="933"/>
                </a:moveTo>
                <a:cubicBezTo>
                  <a:pt x="1689" y="935"/>
                  <a:pt x="1689" y="935"/>
                  <a:pt x="1689" y="935"/>
                </a:cubicBezTo>
                <a:cubicBezTo>
                  <a:pt x="1690" y="937"/>
                  <a:pt x="1690" y="937"/>
                  <a:pt x="1690" y="937"/>
                </a:cubicBezTo>
                <a:cubicBezTo>
                  <a:pt x="1691" y="937"/>
                  <a:pt x="1691" y="937"/>
                  <a:pt x="1691" y="937"/>
                </a:cubicBezTo>
                <a:cubicBezTo>
                  <a:pt x="1692" y="936"/>
                  <a:pt x="1692" y="936"/>
                  <a:pt x="1692" y="936"/>
                </a:cubicBezTo>
                <a:cubicBezTo>
                  <a:pt x="1692" y="935"/>
                  <a:pt x="1692" y="935"/>
                  <a:pt x="1692" y="935"/>
                </a:cubicBezTo>
                <a:cubicBezTo>
                  <a:pt x="1691" y="934"/>
                  <a:pt x="1691" y="934"/>
                  <a:pt x="1691" y="934"/>
                </a:cubicBezTo>
                <a:cubicBezTo>
                  <a:pt x="1689" y="933"/>
                  <a:pt x="1689" y="933"/>
                  <a:pt x="1689" y="933"/>
                </a:cubicBezTo>
                <a:close/>
                <a:moveTo>
                  <a:pt x="1648" y="884"/>
                </a:moveTo>
                <a:cubicBezTo>
                  <a:pt x="1648" y="885"/>
                  <a:pt x="1648" y="885"/>
                  <a:pt x="1648" y="885"/>
                </a:cubicBezTo>
                <a:cubicBezTo>
                  <a:pt x="1649" y="884"/>
                  <a:pt x="1649" y="884"/>
                  <a:pt x="1649" y="884"/>
                </a:cubicBezTo>
                <a:cubicBezTo>
                  <a:pt x="1648" y="884"/>
                  <a:pt x="1648" y="884"/>
                  <a:pt x="1648" y="884"/>
                </a:cubicBezTo>
                <a:close/>
                <a:moveTo>
                  <a:pt x="1655" y="908"/>
                </a:moveTo>
                <a:cubicBezTo>
                  <a:pt x="1656" y="907"/>
                  <a:pt x="1656" y="907"/>
                  <a:pt x="1656" y="907"/>
                </a:cubicBezTo>
                <a:cubicBezTo>
                  <a:pt x="1655" y="907"/>
                  <a:pt x="1655" y="907"/>
                  <a:pt x="1655" y="907"/>
                </a:cubicBezTo>
                <a:cubicBezTo>
                  <a:pt x="1655" y="908"/>
                  <a:pt x="1655" y="908"/>
                  <a:pt x="1655" y="908"/>
                </a:cubicBezTo>
                <a:close/>
                <a:moveTo>
                  <a:pt x="1649" y="881"/>
                </a:moveTo>
                <a:cubicBezTo>
                  <a:pt x="1648" y="882"/>
                  <a:pt x="1648" y="882"/>
                  <a:pt x="1648" y="882"/>
                </a:cubicBezTo>
                <a:cubicBezTo>
                  <a:pt x="1649" y="882"/>
                  <a:pt x="1649" y="882"/>
                  <a:pt x="1649" y="882"/>
                </a:cubicBezTo>
                <a:cubicBezTo>
                  <a:pt x="1649" y="881"/>
                  <a:pt x="1649" y="881"/>
                  <a:pt x="1649" y="881"/>
                </a:cubicBezTo>
                <a:close/>
                <a:moveTo>
                  <a:pt x="1657" y="894"/>
                </a:moveTo>
                <a:cubicBezTo>
                  <a:pt x="1658" y="893"/>
                  <a:pt x="1658" y="893"/>
                  <a:pt x="1658" y="893"/>
                </a:cubicBezTo>
                <a:cubicBezTo>
                  <a:pt x="1658" y="892"/>
                  <a:pt x="1658" y="892"/>
                  <a:pt x="1658" y="892"/>
                </a:cubicBezTo>
                <a:cubicBezTo>
                  <a:pt x="1657" y="890"/>
                  <a:pt x="1657" y="890"/>
                  <a:pt x="1657" y="890"/>
                </a:cubicBezTo>
                <a:cubicBezTo>
                  <a:pt x="1658" y="889"/>
                  <a:pt x="1658" y="889"/>
                  <a:pt x="1658" y="889"/>
                </a:cubicBezTo>
                <a:cubicBezTo>
                  <a:pt x="1658" y="886"/>
                  <a:pt x="1658" y="886"/>
                  <a:pt x="1658" y="886"/>
                </a:cubicBezTo>
                <a:cubicBezTo>
                  <a:pt x="1657" y="885"/>
                  <a:pt x="1657" y="885"/>
                  <a:pt x="1657" y="885"/>
                </a:cubicBezTo>
                <a:cubicBezTo>
                  <a:pt x="1657" y="882"/>
                  <a:pt x="1657" y="882"/>
                  <a:pt x="1657" y="882"/>
                </a:cubicBezTo>
                <a:cubicBezTo>
                  <a:pt x="1656" y="881"/>
                  <a:pt x="1656" y="881"/>
                  <a:pt x="1656" y="881"/>
                </a:cubicBezTo>
                <a:cubicBezTo>
                  <a:pt x="1655" y="880"/>
                  <a:pt x="1655" y="880"/>
                  <a:pt x="1655" y="880"/>
                </a:cubicBezTo>
                <a:cubicBezTo>
                  <a:pt x="1654" y="879"/>
                  <a:pt x="1654" y="879"/>
                  <a:pt x="1654" y="879"/>
                </a:cubicBezTo>
                <a:cubicBezTo>
                  <a:pt x="1653" y="878"/>
                  <a:pt x="1653" y="878"/>
                  <a:pt x="1653" y="878"/>
                </a:cubicBezTo>
                <a:cubicBezTo>
                  <a:pt x="1654" y="877"/>
                  <a:pt x="1654" y="877"/>
                  <a:pt x="1654" y="877"/>
                </a:cubicBezTo>
                <a:cubicBezTo>
                  <a:pt x="1654" y="876"/>
                  <a:pt x="1654" y="876"/>
                  <a:pt x="1654" y="876"/>
                </a:cubicBezTo>
                <a:cubicBezTo>
                  <a:pt x="1652" y="877"/>
                  <a:pt x="1652" y="877"/>
                  <a:pt x="1652" y="877"/>
                </a:cubicBezTo>
                <a:cubicBezTo>
                  <a:pt x="1652" y="878"/>
                  <a:pt x="1652" y="878"/>
                  <a:pt x="1652" y="878"/>
                </a:cubicBezTo>
                <a:cubicBezTo>
                  <a:pt x="1651" y="879"/>
                  <a:pt x="1651" y="879"/>
                  <a:pt x="1651" y="879"/>
                </a:cubicBezTo>
                <a:cubicBezTo>
                  <a:pt x="1651" y="880"/>
                  <a:pt x="1651" y="880"/>
                  <a:pt x="1651" y="880"/>
                </a:cubicBezTo>
                <a:cubicBezTo>
                  <a:pt x="1651" y="881"/>
                  <a:pt x="1651" y="881"/>
                  <a:pt x="1651" y="881"/>
                </a:cubicBezTo>
                <a:cubicBezTo>
                  <a:pt x="1650" y="883"/>
                  <a:pt x="1650" y="883"/>
                  <a:pt x="1650" y="883"/>
                </a:cubicBezTo>
                <a:cubicBezTo>
                  <a:pt x="1650" y="884"/>
                  <a:pt x="1650" y="884"/>
                  <a:pt x="1650" y="884"/>
                </a:cubicBezTo>
                <a:cubicBezTo>
                  <a:pt x="1649" y="886"/>
                  <a:pt x="1649" y="886"/>
                  <a:pt x="1649" y="886"/>
                </a:cubicBezTo>
                <a:cubicBezTo>
                  <a:pt x="1648" y="885"/>
                  <a:pt x="1648" y="885"/>
                  <a:pt x="1648" y="885"/>
                </a:cubicBezTo>
                <a:cubicBezTo>
                  <a:pt x="1647" y="887"/>
                  <a:pt x="1647" y="887"/>
                  <a:pt x="1647" y="887"/>
                </a:cubicBezTo>
                <a:cubicBezTo>
                  <a:pt x="1647" y="888"/>
                  <a:pt x="1647" y="888"/>
                  <a:pt x="1647" y="888"/>
                </a:cubicBezTo>
                <a:cubicBezTo>
                  <a:pt x="1646" y="888"/>
                  <a:pt x="1646" y="888"/>
                  <a:pt x="1646" y="888"/>
                </a:cubicBezTo>
                <a:cubicBezTo>
                  <a:pt x="1646" y="886"/>
                  <a:pt x="1646" y="886"/>
                  <a:pt x="1646" y="886"/>
                </a:cubicBezTo>
                <a:cubicBezTo>
                  <a:pt x="1645" y="886"/>
                  <a:pt x="1645" y="886"/>
                  <a:pt x="1645" y="886"/>
                </a:cubicBezTo>
                <a:cubicBezTo>
                  <a:pt x="1644" y="887"/>
                  <a:pt x="1644" y="887"/>
                  <a:pt x="1644" y="887"/>
                </a:cubicBezTo>
                <a:cubicBezTo>
                  <a:pt x="1644" y="888"/>
                  <a:pt x="1644" y="888"/>
                  <a:pt x="1644" y="888"/>
                </a:cubicBezTo>
                <a:cubicBezTo>
                  <a:pt x="1645" y="890"/>
                  <a:pt x="1645" y="890"/>
                  <a:pt x="1645" y="890"/>
                </a:cubicBezTo>
                <a:cubicBezTo>
                  <a:pt x="1646" y="890"/>
                  <a:pt x="1646" y="890"/>
                  <a:pt x="1646" y="890"/>
                </a:cubicBezTo>
                <a:cubicBezTo>
                  <a:pt x="1645" y="891"/>
                  <a:pt x="1645" y="891"/>
                  <a:pt x="1645" y="891"/>
                </a:cubicBezTo>
                <a:cubicBezTo>
                  <a:pt x="1645" y="890"/>
                  <a:pt x="1645" y="890"/>
                  <a:pt x="1645" y="890"/>
                </a:cubicBezTo>
                <a:cubicBezTo>
                  <a:pt x="1643" y="891"/>
                  <a:pt x="1643" y="891"/>
                  <a:pt x="1643" y="891"/>
                </a:cubicBezTo>
                <a:cubicBezTo>
                  <a:pt x="1644" y="892"/>
                  <a:pt x="1644" y="892"/>
                  <a:pt x="1644" y="892"/>
                </a:cubicBezTo>
                <a:cubicBezTo>
                  <a:pt x="1645" y="892"/>
                  <a:pt x="1645" y="892"/>
                  <a:pt x="1645" y="892"/>
                </a:cubicBezTo>
                <a:cubicBezTo>
                  <a:pt x="1645" y="893"/>
                  <a:pt x="1645" y="893"/>
                  <a:pt x="1645" y="893"/>
                </a:cubicBezTo>
                <a:cubicBezTo>
                  <a:pt x="1644" y="894"/>
                  <a:pt x="1644" y="894"/>
                  <a:pt x="1644" y="894"/>
                </a:cubicBezTo>
                <a:cubicBezTo>
                  <a:pt x="1644" y="893"/>
                  <a:pt x="1644" y="893"/>
                  <a:pt x="1644" y="893"/>
                </a:cubicBezTo>
                <a:cubicBezTo>
                  <a:pt x="1643" y="893"/>
                  <a:pt x="1643" y="893"/>
                  <a:pt x="1643" y="893"/>
                </a:cubicBezTo>
                <a:cubicBezTo>
                  <a:pt x="1643" y="894"/>
                  <a:pt x="1643" y="894"/>
                  <a:pt x="1643" y="894"/>
                </a:cubicBezTo>
                <a:cubicBezTo>
                  <a:pt x="1641" y="896"/>
                  <a:pt x="1641" y="896"/>
                  <a:pt x="1641" y="896"/>
                </a:cubicBezTo>
                <a:cubicBezTo>
                  <a:pt x="1641" y="894"/>
                  <a:pt x="1641" y="894"/>
                  <a:pt x="1641" y="894"/>
                </a:cubicBezTo>
                <a:cubicBezTo>
                  <a:pt x="1641" y="893"/>
                  <a:pt x="1641" y="893"/>
                  <a:pt x="1641" y="893"/>
                </a:cubicBezTo>
                <a:cubicBezTo>
                  <a:pt x="1640" y="894"/>
                  <a:pt x="1640" y="894"/>
                  <a:pt x="1640" y="894"/>
                </a:cubicBezTo>
                <a:cubicBezTo>
                  <a:pt x="1640" y="895"/>
                  <a:pt x="1640" y="895"/>
                  <a:pt x="1640" y="895"/>
                </a:cubicBezTo>
                <a:cubicBezTo>
                  <a:pt x="1639" y="896"/>
                  <a:pt x="1639" y="896"/>
                  <a:pt x="1639" y="896"/>
                </a:cubicBezTo>
                <a:cubicBezTo>
                  <a:pt x="1639" y="897"/>
                  <a:pt x="1639" y="897"/>
                  <a:pt x="1639" y="897"/>
                </a:cubicBezTo>
                <a:cubicBezTo>
                  <a:pt x="1640" y="897"/>
                  <a:pt x="1640" y="897"/>
                  <a:pt x="1640" y="897"/>
                </a:cubicBezTo>
                <a:cubicBezTo>
                  <a:pt x="1640" y="898"/>
                  <a:pt x="1640" y="898"/>
                  <a:pt x="1640" y="898"/>
                </a:cubicBezTo>
                <a:cubicBezTo>
                  <a:pt x="1639" y="898"/>
                  <a:pt x="1639" y="898"/>
                  <a:pt x="1639" y="898"/>
                </a:cubicBezTo>
                <a:cubicBezTo>
                  <a:pt x="1638" y="899"/>
                  <a:pt x="1638" y="899"/>
                  <a:pt x="1638" y="899"/>
                </a:cubicBezTo>
                <a:cubicBezTo>
                  <a:pt x="1638" y="898"/>
                  <a:pt x="1638" y="898"/>
                  <a:pt x="1638" y="898"/>
                </a:cubicBezTo>
                <a:cubicBezTo>
                  <a:pt x="1637" y="898"/>
                  <a:pt x="1637" y="898"/>
                  <a:pt x="1637" y="898"/>
                </a:cubicBezTo>
                <a:cubicBezTo>
                  <a:pt x="1638" y="897"/>
                  <a:pt x="1638" y="897"/>
                  <a:pt x="1638" y="897"/>
                </a:cubicBezTo>
                <a:cubicBezTo>
                  <a:pt x="1637" y="897"/>
                  <a:pt x="1637" y="897"/>
                  <a:pt x="1637" y="897"/>
                </a:cubicBezTo>
                <a:cubicBezTo>
                  <a:pt x="1635" y="899"/>
                  <a:pt x="1635" y="899"/>
                  <a:pt x="1635" y="899"/>
                </a:cubicBezTo>
                <a:cubicBezTo>
                  <a:pt x="1635" y="900"/>
                  <a:pt x="1635" y="900"/>
                  <a:pt x="1635" y="900"/>
                </a:cubicBezTo>
                <a:cubicBezTo>
                  <a:pt x="1635" y="901"/>
                  <a:pt x="1635" y="901"/>
                  <a:pt x="1635" y="901"/>
                </a:cubicBezTo>
                <a:cubicBezTo>
                  <a:pt x="1635" y="902"/>
                  <a:pt x="1635" y="902"/>
                  <a:pt x="1635" y="902"/>
                </a:cubicBezTo>
                <a:cubicBezTo>
                  <a:pt x="1634" y="902"/>
                  <a:pt x="1634" y="902"/>
                  <a:pt x="1634" y="902"/>
                </a:cubicBezTo>
                <a:cubicBezTo>
                  <a:pt x="1633" y="901"/>
                  <a:pt x="1633" y="901"/>
                  <a:pt x="1633" y="901"/>
                </a:cubicBezTo>
                <a:cubicBezTo>
                  <a:pt x="1633" y="900"/>
                  <a:pt x="1633" y="900"/>
                  <a:pt x="1633" y="900"/>
                </a:cubicBezTo>
                <a:cubicBezTo>
                  <a:pt x="1633" y="899"/>
                  <a:pt x="1633" y="899"/>
                  <a:pt x="1633" y="899"/>
                </a:cubicBezTo>
                <a:cubicBezTo>
                  <a:pt x="1631" y="901"/>
                  <a:pt x="1631" y="901"/>
                  <a:pt x="1631" y="901"/>
                </a:cubicBezTo>
                <a:cubicBezTo>
                  <a:pt x="1630" y="900"/>
                  <a:pt x="1630" y="900"/>
                  <a:pt x="1630" y="900"/>
                </a:cubicBezTo>
                <a:cubicBezTo>
                  <a:pt x="1629" y="900"/>
                  <a:pt x="1629" y="900"/>
                  <a:pt x="1629" y="900"/>
                </a:cubicBezTo>
                <a:cubicBezTo>
                  <a:pt x="1629" y="902"/>
                  <a:pt x="1629" y="902"/>
                  <a:pt x="1629" y="902"/>
                </a:cubicBezTo>
                <a:cubicBezTo>
                  <a:pt x="1628" y="902"/>
                  <a:pt x="1628" y="902"/>
                  <a:pt x="1628" y="902"/>
                </a:cubicBezTo>
                <a:cubicBezTo>
                  <a:pt x="1628" y="901"/>
                  <a:pt x="1628" y="901"/>
                  <a:pt x="1628" y="901"/>
                </a:cubicBezTo>
                <a:cubicBezTo>
                  <a:pt x="1627" y="901"/>
                  <a:pt x="1627" y="901"/>
                  <a:pt x="1627" y="901"/>
                </a:cubicBezTo>
                <a:cubicBezTo>
                  <a:pt x="1627" y="902"/>
                  <a:pt x="1627" y="902"/>
                  <a:pt x="1627" y="902"/>
                </a:cubicBezTo>
                <a:cubicBezTo>
                  <a:pt x="1626" y="901"/>
                  <a:pt x="1626" y="901"/>
                  <a:pt x="1626" y="901"/>
                </a:cubicBezTo>
                <a:cubicBezTo>
                  <a:pt x="1624" y="903"/>
                  <a:pt x="1624" y="903"/>
                  <a:pt x="1624" y="903"/>
                </a:cubicBezTo>
                <a:cubicBezTo>
                  <a:pt x="1623" y="903"/>
                  <a:pt x="1623" y="903"/>
                  <a:pt x="1623" y="903"/>
                </a:cubicBezTo>
                <a:cubicBezTo>
                  <a:pt x="1622" y="903"/>
                  <a:pt x="1622" y="903"/>
                  <a:pt x="1622" y="903"/>
                </a:cubicBezTo>
                <a:cubicBezTo>
                  <a:pt x="1621" y="903"/>
                  <a:pt x="1621" y="903"/>
                  <a:pt x="1621" y="903"/>
                </a:cubicBezTo>
                <a:cubicBezTo>
                  <a:pt x="1621" y="904"/>
                  <a:pt x="1621" y="904"/>
                  <a:pt x="1621" y="904"/>
                </a:cubicBezTo>
                <a:cubicBezTo>
                  <a:pt x="1621" y="906"/>
                  <a:pt x="1621" y="906"/>
                  <a:pt x="1621" y="906"/>
                </a:cubicBezTo>
                <a:cubicBezTo>
                  <a:pt x="1619" y="909"/>
                  <a:pt x="1619" y="909"/>
                  <a:pt x="1619" y="909"/>
                </a:cubicBezTo>
                <a:cubicBezTo>
                  <a:pt x="1617" y="911"/>
                  <a:pt x="1617" y="911"/>
                  <a:pt x="1617" y="911"/>
                </a:cubicBezTo>
                <a:cubicBezTo>
                  <a:pt x="1617" y="912"/>
                  <a:pt x="1617" y="912"/>
                  <a:pt x="1617" y="912"/>
                </a:cubicBezTo>
                <a:cubicBezTo>
                  <a:pt x="1618" y="913"/>
                  <a:pt x="1618" y="913"/>
                  <a:pt x="1618" y="913"/>
                </a:cubicBezTo>
                <a:cubicBezTo>
                  <a:pt x="1617" y="914"/>
                  <a:pt x="1617" y="914"/>
                  <a:pt x="1617" y="914"/>
                </a:cubicBezTo>
                <a:cubicBezTo>
                  <a:pt x="1618" y="916"/>
                  <a:pt x="1618" y="916"/>
                  <a:pt x="1618" y="916"/>
                </a:cubicBezTo>
                <a:cubicBezTo>
                  <a:pt x="1618" y="917"/>
                  <a:pt x="1618" y="917"/>
                  <a:pt x="1618" y="917"/>
                </a:cubicBezTo>
                <a:cubicBezTo>
                  <a:pt x="1620" y="921"/>
                  <a:pt x="1620" y="921"/>
                  <a:pt x="1620" y="921"/>
                </a:cubicBezTo>
                <a:cubicBezTo>
                  <a:pt x="1620" y="922"/>
                  <a:pt x="1620" y="922"/>
                  <a:pt x="1620" y="922"/>
                </a:cubicBezTo>
                <a:cubicBezTo>
                  <a:pt x="1621" y="923"/>
                  <a:pt x="1621" y="923"/>
                  <a:pt x="1621" y="923"/>
                </a:cubicBezTo>
                <a:cubicBezTo>
                  <a:pt x="1620" y="924"/>
                  <a:pt x="1620" y="924"/>
                  <a:pt x="1620" y="924"/>
                </a:cubicBezTo>
                <a:cubicBezTo>
                  <a:pt x="1620" y="925"/>
                  <a:pt x="1620" y="925"/>
                  <a:pt x="1620" y="925"/>
                </a:cubicBezTo>
                <a:cubicBezTo>
                  <a:pt x="1620" y="928"/>
                  <a:pt x="1620" y="928"/>
                  <a:pt x="1620" y="928"/>
                </a:cubicBezTo>
                <a:cubicBezTo>
                  <a:pt x="1618" y="929"/>
                  <a:pt x="1618" y="929"/>
                  <a:pt x="1618" y="929"/>
                </a:cubicBezTo>
                <a:cubicBezTo>
                  <a:pt x="1618" y="930"/>
                  <a:pt x="1618" y="930"/>
                  <a:pt x="1618" y="930"/>
                </a:cubicBezTo>
                <a:cubicBezTo>
                  <a:pt x="1617" y="930"/>
                  <a:pt x="1617" y="930"/>
                  <a:pt x="1617" y="930"/>
                </a:cubicBezTo>
                <a:cubicBezTo>
                  <a:pt x="1617" y="932"/>
                  <a:pt x="1617" y="932"/>
                  <a:pt x="1617" y="932"/>
                </a:cubicBezTo>
                <a:cubicBezTo>
                  <a:pt x="1616" y="932"/>
                  <a:pt x="1616" y="932"/>
                  <a:pt x="1616" y="932"/>
                </a:cubicBezTo>
                <a:cubicBezTo>
                  <a:pt x="1616" y="935"/>
                  <a:pt x="1616" y="935"/>
                  <a:pt x="1616" y="935"/>
                </a:cubicBezTo>
                <a:cubicBezTo>
                  <a:pt x="1615" y="936"/>
                  <a:pt x="1615" y="936"/>
                  <a:pt x="1615" y="936"/>
                </a:cubicBezTo>
                <a:cubicBezTo>
                  <a:pt x="1613" y="936"/>
                  <a:pt x="1613" y="936"/>
                  <a:pt x="1613" y="936"/>
                </a:cubicBezTo>
                <a:cubicBezTo>
                  <a:pt x="1613" y="937"/>
                  <a:pt x="1613" y="937"/>
                  <a:pt x="1613" y="937"/>
                </a:cubicBezTo>
                <a:cubicBezTo>
                  <a:pt x="1613" y="939"/>
                  <a:pt x="1613" y="939"/>
                  <a:pt x="1613" y="939"/>
                </a:cubicBezTo>
                <a:cubicBezTo>
                  <a:pt x="1611" y="940"/>
                  <a:pt x="1611" y="940"/>
                  <a:pt x="1611" y="940"/>
                </a:cubicBezTo>
                <a:cubicBezTo>
                  <a:pt x="1611" y="942"/>
                  <a:pt x="1611" y="942"/>
                  <a:pt x="1611" y="942"/>
                </a:cubicBezTo>
                <a:cubicBezTo>
                  <a:pt x="1611" y="943"/>
                  <a:pt x="1611" y="943"/>
                  <a:pt x="1611" y="943"/>
                </a:cubicBezTo>
                <a:cubicBezTo>
                  <a:pt x="1611" y="944"/>
                  <a:pt x="1611" y="944"/>
                  <a:pt x="1611" y="944"/>
                </a:cubicBezTo>
                <a:cubicBezTo>
                  <a:pt x="1611" y="946"/>
                  <a:pt x="1611" y="946"/>
                  <a:pt x="1611" y="946"/>
                </a:cubicBezTo>
                <a:cubicBezTo>
                  <a:pt x="1613" y="948"/>
                  <a:pt x="1613" y="948"/>
                  <a:pt x="1613" y="948"/>
                </a:cubicBezTo>
                <a:cubicBezTo>
                  <a:pt x="1613" y="949"/>
                  <a:pt x="1613" y="949"/>
                  <a:pt x="1613" y="949"/>
                </a:cubicBezTo>
                <a:cubicBezTo>
                  <a:pt x="1613" y="950"/>
                  <a:pt x="1613" y="950"/>
                  <a:pt x="1613" y="950"/>
                </a:cubicBezTo>
                <a:cubicBezTo>
                  <a:pt x="1614" y="950"/>
                  <a:pt x="1614" y="950"/>
                  <a:pt x="1614" y="950"/>
                </a:cubicBezTo>
                <a:cubicBezTo>
                  <a:pt x="1614" y="951"/>
                  <a:pt x="1614" y="951"/>
                  <a:pt x="1614" y="951"/>
                </a:cubicBezTo>
                <a:cubicBezTo>
                  <a:pt x="1613" y="951"/>
                  <a:pt x="1613" y="951"/>
                  <a:pt x="1613" y="951"/>
                </a:cubicBezTo>
                <a:cubicBezTo>
                  <a:pt x="1613" y="952"/>
                  <a:pt x="1613" y="952"/>
                  <a:pt x="1613" y="952"/>
                </a:cubicBezTo>
                <a:cubicBezTo>
                  <a:pt x="1613" y="954"/>
                  <a:pt x="1613" y="954"/>
                  <a:pt x="1613" y="954"/>
                </a:cubicBezTo>
                <a:cubicBezTo>
                  <a:pt x="1613" y="957"/>
                  <a:pt x="1613" y="957"/>
                  <a:pt x="1613" y="957"/>
                </a:cubicBezTo>
                <a:cubicBezTo>
                  <a:pt x="1613" y="958"/>
                  <a:pt x="1613" y="958"/>
                  <a:pt x="1613" y="958"/>
                </a:cubicBezTo>
                <a:cubicBezTo>
                  <a:pt x="1614" y="959"/>
                  <a:pt x="1614" y="959"/>
                  <a:pt x="1614" y="959"/>
                </a:cubicBezTo>
                <a:cubicBezTo>
                  <a:pt x="1615" y="960"/>
                  <a:pt x="1615" y="960"/>
                  <a:pt x="1615" y="960"/>
                </a:cubicBezTo>
                <a:cubicBezTo>
                  <a:pt x="1616" y="961"/>
                  <a:pt x="1616" y="961"/>
                  <a:pt x="1616" y="961"/>
                </a:cubicBezTo>
                <a:cubicBezTo>
                  <a:pt x="1617" y="962"/>
                  <a:pt x="1617" y="962"/>
                  <a:pt x="1617" y="962"/>
                </a:cubicBezTo>
                <a:cubicBezTo>
                  <a:pt x="1618" y="962"/>
                  <a:pt x="1618" y="962"/>
                  <a:pt x="1618" y="962"/>
                </a:cubicBezTo>
                <a:cubicBezTo>
                  <a:pt x="1619" y="963"/>
                  <a:pt x="1619" y="963"/>
                  <a:pt x="1619" y="963"/>
                </a:cubicBezTo>
                <a:cubicBezTo>
                  <a:pt x="1620" y="964"/>
                  <a:pt x="1620" y="964"/>
                  <a:pt x="1620" y="964"/>
                </a:cubicBezTo>
                <a:cubicBezTo>
                  <a:pt x="1621" y="964"/>
                  <a:pt x="1621" y="964"/>
                  <a:pt x="1621" y="964"/>
                </a:cubicBezTo>
                <a:cubicBezTo>
                  <a:pt x="1621" y="965"/>
                  <a:pt x="1621" y="965"/>
                  <a:pt x="1621" y="965"/>
                </a:cubicBezTo>
                <a:cubicBezTo>
                  <a:pt x="1622" y="964"/>
                  <a:pt x="1622" y="964"/>
                  <a:pt x="1622" y="964"/>
                </a:cubicBezTo>
                <a:cubicBezTo>
                  <a:pt x="1623" y="965"/>
                  <a:pt x="1623" y="965"/>
                  <a:pt x="1623" y="965"/>
                </a:cubicBezTo>
                <a:cubicBezTo>
                  <a:pt x="1625" y="964"/>
                  <a:pt x="1625" y="964"/>
                  <a:pt x="1625" y="964"/>
                </a:cubicBezTo>
                <a:cubicBezTo>
                  <a:pt x="1626" y="962"/>
                  <a:pt x="1626" y="962"/>
                  <a:pt x="1626" y="962"/>
                </a:cubicBezTo>
                <a:cubicBezTo>
                  <a:pt x="1630" y="962"/>
                  <a:pt x="1630" y="962"/>
                  <a:pt x="1630" y="962"/>
                </a:cubicBezTo>
                <a:cubicBezTo>
                  <a:pt x="1631" y="962"/>
                  <a:pt x="1631" y="962"/>
                  <a:pt x="1631" y="962"/>
                </a:cubicBezTo>
                <a:cubicBezTo>
                  <a:pt x="1633" y="961"/>
                  <a:pt x="1633" y="961"/>
                  <a:pt x="1633" y="961"/>
                </a:cubicBezTo>
                <a:cubicBezTo>
                  <a:pt x="1634" y="960"/>
                  <a:pt x="1634" y="960"/>
                  <a:pt x="1634" y="960"/>
                </a:cubicBezTo>
                <a:cubicBezTo>
                  <a:pt x="1635" y="960"/>
                  <a:pt x="1635" y="960"/>
                  <a:pt x="1635" y="960"/>
                </a:cubicBezTo>
                <a:cubicBezTo>
                  <a:pt x="1635" y="958"/>
                  <a:pt x="1635" y="958"/>
                  <a:pt x="1635" y="958"/>
                </a:cubicBezTo>
                <a:cubicBezTo>
                  <a:pt x="1636" y="957"/>
                  <a:pt x="1636" y="957"/>
                  <a:pt x="1636" y="957"/>
                </a:cubicBezTo>
                <a:cubicBezTo>
                  <a:pt x="1637" y="955"/>
                  <a:pt x="1637" y="955"/>
                  <a:pt x="1637" y="955"/>
                </a:cubicBezTo>
                <a:cubicBezTo>
                  <a:pt x="1638" y="955"/>
                  <a:pt x="1638" y="955"/>
                  <a:pt x="1638" y="955"/>
                </a:cubicBezTo>
                <a:cubicBezTo>
                  <a:pt x="1638" y="953"/>
                  <a:pt x="1638" y="953"/>
                  <a:pt x="1638" y="953"/>
                </a:cubicBezTo>
                <a:cubicBezTo>
                  <a:pt x="1637" y="952"/>
                  <a:pt x="1637" y="952"/>
                  <a:pt x="1637" y="952"/>
                </a:cubicBezTo>
                <a:cubicBezTo>
                  <a:pt x="1638" y="952"/>
                  <a:pt x="1638" y="952"/>
                  <a:pt x="1638" y="952"/>
                </a:cubicBezTo>
                <a:cubicBezTo>
                  <a:pt x="1639" y="950"/>
                  <a:pt x="1639" y="950"/>
                  <a:pt x="1639" y="950"/>
                </a:cubicBezTo>
                <a:cubicBezTo>
                  <a:pt x="1639" y="949"/>
                  <a:pt x="1639" y="949"/>
                  <a:pt x="1639" y="949"/>
                </a:cubicBezTo>
                <a:cubicBezTo>
                  <a:pt x="1640" y="948"/>
                  <a:pt x="1640" y="948"/>
                  <a:pt x="1640" y="948"/>
                </a:cubicBezTo>
                <a:cubicBezTo>
                  <a:pt x="1641" y="943"/>
                  <a:pt x="1641" y="943"/>
                  <a:pt x="1641" y="943"/>
                </a:cubicBezTo>
                <a:cubicBezTo>
                  <a:pt x="1642" y="941"/>
                  <a:pt x="1642" y="941"/>
                  <a:pt x="1642" y="941"/>
                </a:cubicBezTo>
                <a:cubicBezTo>
                  <a:pt x="1643" y="940"/>
                  <a:pt x="1643" y="940"/>
                  <a:pt x="1643" y="940"/>
                </a:cubicBezTo>
                <a:cubicBezTo>
                  <a:pt x="1643" y="937"/>
                  <a:pt x="1643" y="937"/>
                  <a:pt x="1643" y="937"/>
                </a:cubicBezTo>
                <a:cubicBezTo>
                  <a:pt x="1645" y="934"/>
                  <a:pt x="1645" y="934"/>
                  <a:pt x="1645" y="934"/>
                </a:cubicBezTo>
                <a:cubicBezTo>
                  <a:pt x="1647" y="929"/>
                  <a:pt x="1647" y="929"/>
                  <a:pt x="1647" y="929"/>
                </a:cubicBezTo>
                <a:cubicBezTo>
                  <a:pt x="1648" y="928"/>
                  <a:pt x="1648" y="928"/>
                  <a:pt x="1648" y="928"/>
                </a:cubicBezTo>
                <a:cubicBezTo>
                  <a:pt x="1648" y="925"/>
                  <a:pt x="1648" y="925"/>
                  <a:pt x="1648" y="925"/>
                </a:cubicBezTo>
                <a:cubicBezTo>
                  <a:pt x="1649" y="923"/>
                  <a:pt x="1649" y="923"/>
                  <a:pt x="1649" y="923"/>
                </a:cubicBezTo>
                <a:cubicBezTo>
                  <a:pt x="1649" y="922"/>
                  <a:pt x="1649" y="922"/>
                  <a:pt x="1649" y="922"/>
                </a:cubicBezTo>
                <a:cubicBezTo>
                  <a:pt x="1651" y="920"/>
                  <a:pt x="1651" y="920"/>
                  <a:pt x="1651" y="920"/>
                </a:cubicBezTo>
                <a:cubicBezTo>
                  <a:pt x="1651" y="916"/>
                  <a:pt x="1651" y="916"/>
                  <a:pt x="1651" y="916"/>
                </a:cubicBezTo>
                <a:cubicBezTo>
                  <a:pt x="1652" y="914"/>
                  <a:pt x="1652" y="914"/>
                  <a:pt x="1652" y="914"/>
                </a:cubicBezTo>
                <a:cubicBezTo>
                  <a:pt x="1653" y="913"/>
                  <a:pt x="1653" y="913"/>
                  <a:pt x="1653" y="913"/>
                </a:cubicBezTo>
                <a:cubicBezTo>
                  <a:pt x="1653" y="911"/>
                  <a:pt x="1653" y="911"/>
                  <a:pt x="1653" y="911"/>
                </a:cubicBezTo>
                <a:cubicBezTo>
                  <a:pt x="1652" y="910"/>
                  <a:pt x="1652" y="910"/>
                  <a:pt x="1652" y="910"/>
                </a:cubicBezTo>
                <a:cubicBezTo>
                  <a:pt x="1653" y="909"/>
                  <a:pt x="1653" y="909"/>
                  <a:pt x="1653" y="909"/>
                </a:cubicBezTo>
                <a:cubicBezTo>
                  <a:pt x="1654" y="907"/>
                  <a:pt x="1654" y="907"/>
                  <a:pt x="1654" y="907"/>
                </a:cubicBezTo>
                <a:cubicBezTo>
                  <a:pt x="1654" y="906"/>
                  <a:pt x="1654" y="906"/>
                  <a:pt x="1654" y="906"/>
                </a:cubicBezTo>
                <a:cubicBezTo>
                  <a:pt x="1655" y="905"/>
                  <a:pt x="1655" y="905"/>
                  <a:pt x="1655" y="905"/>
                </a:cubicBezTo>
                <a:cubicBezTo>
                  <a:pt x="1655" y="904"/>
                  <a:pt x="1655" y="904"/>
                  <a:pt x="1655" y="904"/>
                </a:cubicBezTo>
                <a:cubicBezTo>
                  <a:pt x="1654" y="903"/>
                  <a:pt x="1654" y="903"/>
                  <a:pt x="1654" y="903"/>
                </a:cubicBezTo>
                <a:cubicBezTo>
                  <a:pt x="1655" y="902"/>
                  <a:pt x="1655" y="902"/>
                  <a:pt x="1655" y="902"/>
                </a:cubicBezTo>
                <a:cubicBezTo>
                  <a:pt x="1654" y="900"/>
                  <a:pt x="1654" y="900"/>
                  <a:pt x="1654" y="900"/>
                </a:cubicBezTo>
                <a:cubicBezTo>
                  <a:pt x="1654" y="899"/>
                  <a:pt x="1654" y="899"/>
                  <a:pt x="1654" y="899"/>
                </a:cubicBezTo>
                <a:cubicBezTo>
                  <a:pt x="1655" y="898"/>
                  <a:pt x="1655" y="898"/>
                  <a:pt x="1655" y="898"/>
                </a:cubicBezTo>
                <a:cubicBezTo>
                  <a:pt x="1655" y="899"/>
                  <a:pt x="1655" y="899"/>
                  <a:pt x="1655" y="899"/>
                </a:cubicBezTo>
                <a:cubicBezTo>
                  <a:pt x="1656" y="900"/>
                  <a:pt x="1656" y="900"/>
                  <a:pt x="1656" y="900"/>
                </a:cubicBezTo>
                <a:cubicBezTo>
                  <a:pt x="1657" y="901"/>
                  <a:pt x="1657" y="901"/>
                  <a:pt x="1657" y="901"/>
                </a:cubicBezTo>
                <a:cubicBezTo>
                  <a:pt x="1658" y="902"/>
                  <a:pt x="1658" y="902"/>
                  <a:pt x="1658" y="902"/>
                </a:cubicBezTo>
                <a:cubicBezTo>
                  <a:pt x="1658" y="901"/>
                  <a:pt x="1658" y="901"/>
                  <a:pt x="1658" y="901"/>
                </a:cubicBezTo>
                <a:cubicBezTo>
                  <a:pt x="1658" y="900"/>
                  <a:pt x="1658" y="900"/>
                  <a:pt x="1658" y="900"/>
                </a:cubicBezTo>
                <a:cubicBezTo>
                  <a:pt x="1658" y="899"/>
                  <a:pt x="1658" y="899"/>
                  <a:pt x="1658" y="899"/>
                </a:cubicBezTo>
                <a:cubicBezTo>
                  <a:pt x="1659" y="898"/>
                  <a:pt x="1659" y="898"/>
                  <a:pt x="1659" y="898"/>
                </a:cubicBezTo>
                <a:cubicBezTo>
                  <a:pt x="1659" y="897"/>
                  <a:pt x="1659" y="897"/>
                  <a:pt x="1659" y="897"/>
                </a:cubicBezTo>
                <a:cubicBezTo>
                  <a:pt x="1658" y="895"/>
                  <a:pt x="1658" y="895"/>
                  <a:pt x="1658" y="895"/>
                </a:cubicBezTo>
                <a:cubicBezTo>
                  <a:pt x="1657" y="894"/>
                  <a:pt x="1657" y="894"/>
                  <a:pt x="1657" y="894"/>
                </a:cubicBezTo>
                <a:close/>
                <a:moveTo>
                  <a:pt x="1647" y="884"/>
                </a:moveTo>
                <a:cubicBezTo>
                  <a:pt x="1646" y="884"/>
                  <a:pt x="1646" y="884"/>
                  <a:pt x="1646" y="884"/>
                </a:cubicBezTo>
                <a:cubicBezTo>
                  <a:pt x="1646" y="885"/>
                  <a:pt x="1646" y="885"/>
                  <a:pt x="1646" y="885"/>
                </a:cubicBezTo>
                <a:cubicBezTo>
                  <a:pt x="1647" y="885"/>
                  <a:pt x="1647" y="885"/>
                  <a:pt x="1647" y="885"/>
                </a:cubicBezTo>
                <a:cubicBezTo>
                  <a:pt x="1647" y="884"/>
                  <a:pt x="1647" y="884"/>
                  <a:pt x="1647" y="884"/>
                </a:cubicBezTo>
                <a:close/>
                <a:moveTo>
                  <a:pt x="2216" y="1108"/>
                </a:moveTo>
                <a:cubicBezTo>
                  <a:pt x="2216" y="1108"/>
                  <a:pt x="2216" y="1108"/>
                  <a:pt x="2216" y="1109"/>
                </a:cubicBezTo>
                <a:cubicBezTo>
                  <a:pt x="2216" y="1109"/>
                  <a:pt x="2216" y="1109"/>
                  <a:pt x="2217" y="1108"/>
                </a:cubicBezTo>
                <a:cubicBezTo>
                  <a:pt x="2217" y="1108"/>
                  <a:pt x="2217" y="1108"/>
                  <a:pt x="2217" y="1107"/>
                </a:cubicBezTo>
                <a:cubicBezTo>
                  <a:pt x="2217" y="1107"/>
                  <a:pt x="2217" y="1107"/>
                  <a:pt x="2216" y="1108"/>
                </a:cubicBezTo>
                <a:close/>
                <a:moveTo>
                  <a:pt x="2218" y="1109"/>
                </a:moveTo>
                <a:cubicBezTo>
                  <a:pt x="2218" y="1108"/>
                  <a:pt x="2218" y="1108"/>
                  <a:pt x="2218" y="1108"/>
                </a:cubicBezTo>
                <a:cubicBezTo>
                  <a:pt x="2217" y="1108"/>
                  <a:pt x="2217" y="1108"/>
                  <a:pt x="2217" y="1108"/>
                </a:cubicBezTo>
                <a:cubicBezTo>
                  <a:pt x="2217" y="1109"/>
                  <a:pt x="2217" y="1109"/>
                  <a:pt x="2217" y="1109"/>
                </a:cubicBezTo>
                <a:cubicBezTo>
                  <a:pt x="2218" y="1109"/>
                  <a:pt x="2218" y="1109"/>
                  <a:pt x="2218" y="1109"/>
                </a:cubicBezTo>
                <a:close/>
                <a:moveTo>
                  <a:pt x="2201" y="892"/>
                </a:moveTo>
                <a:cubicBezTo>
                  <a:pt x="2201" y="892"/>
                  <a:pt x="2201" y="892"/>
                  <a:pt x="2201" y="893"/>
                </a:cubicBezTo>
                <a:cubicBezTo>
                  <a:pt x="2201" y="893"/>
                  <a:pt x="2201" y="893"/>
                  <a:pt x="2202" y="893"/>
                </a:cubicBezTo>
                <a:cubicBezTo>
                  <a:pt x="2202" y="893"/>
                  <a:pt x="2202" y="893"/>
                  <a:pt x="2201" y="892"/>
                </a:cubicBezTo>
                <a:close/>
                <a:moveTo>
                  <a:pt x="2217" y="1111"/>
                </a:moveTo>
                <a:cubicBezTo>
                  <a:pt x="2218" y="1111"/>
                  <a:pt x="2218" y="1111"/>
                  <a:pt x="2218" y="1111"/>
                </a:cubicBezTo>
                <a:cubicBezTo>
                  <a:pt x="2218" y="1110"/>
                  <a:pt x="2218" y="1110"/>
                  <a:pt x="2218" y="1110"/>
                </a:cubicBezTo>
                <a:cubicBezTo>
                  <a:pt x="2217" y="1110"/>
                  <a:pt x="2217" y="1110"/>
                  <a:pt x="2217" y="1110"/>
                </a:cubicBezTo>
                <a:cubicBezTo>
                  <a:pt x="2217" y="1111"/>
                  <a:pt x="2217" y="1111"/>
                  <a:pt x="2217" y="1111"/>
                </a:cubicBezTo>
                <a:close/>
                <a:moveTo>
                  <a:pt x="2299" y="974"/>
                </a:moveTo>
                <a:cubicBezTo>
                  <a:pt x="2299" y="974"/>
                  <a:pt x="2299" y="974"/>
                  <a:pt x="2299" y="975"/>
                </a:cubicBezTo>
                <a:cubicBezTo>
                  <a:pt x="2299" y="975"/>
                  <a:pt x="2299" y="975"/>
                  <a:pt x="2298" y="977"/>
                </a:cubicBezTo>
                <a:cubicBezTo>
                  <a:pt x="2298" y="977"/>
                  <a:pt x="2298" y="977"/>
                  <a:pt x="2297" y="978"/>
                </a:cubicBezTo>
                <a:cubicBezTo>
                  <a:pt x="2297" y="978"/>
                  <a:pt x="2297" y="978"/>
                  <a:pt x="2297" y="979"/>
                </a:cubicBezTo>
                <a:cubicBezTo>
                  <a:pt x="2297" y="979"/>
                  <a:pt x="2297" y="979"/>
                  <a:pt x="2297" y="980"/>
                </a:cubicBezTo>
                <a:cubicBezTo>
                  <a:pt x="2297" y="980"/>
                  <a:pt x="2297" y="980"/>
                  <a:pt x="2297" y="982"/>
                </a:cubicBezTo>
                <a:cubicBezTo>
                  <a:pt x="2297" y="982"/>
                  <a:pt x="2297" y="982"/>
                  <a:pt x="2298" y="982"/>
                </a:cubicBezTo>
                <a:cubicBezTo>
                  <a:pt x="2298" y="982"/>
                  <a:pt x="2298" y="982"/>
                  <a:pt x="2298" y="981"/>
                </a:cubicBezTo>
                <a:cubicBezTo>
                  <a:pt x="2298" y="981"/>
                  <a:pt x="2298" y="981"/>
                  <a:pt x="2298" y="979"/>
                </a:cubicBezTo>
                <a:cubicBezTo>
                  <a:pt x="2298" y="979"/>
                  <a:pt x="2298" y="979"/>
                  <a:pt x="2299" y="977"/>
                </a:cubicBezTo>
                <a:cubicBezTo>
                  <a:pt x="2299" y="977"/>
                  <a:pt x="2299" y="977"/>
                  <a:pt x="2300" y="975"/>
                </a:cubicBezTo>
                <a:cubicBezTo>
                  <a:pt x="2300" y="975"/>
                  <a:pt x="2300" y="975"/>
                  <a:pt x="2299" y="973"/>
                </a:cubicBezTo>
                <a:cubicBezTo>
                  <a:pt x="2299" y="973"/>
                  <a:pt x="2299" y="973"/>
                  <a:pt x="2299" y="974"/>
                </a:cubicBezTo>
                <a:close/>
                <a:moveTo>
                  <a:pt x="2203" y="896"/>
                </a:moveTo>
                <a:cubicBezTo>
                  <a:pt x="2204" y="895"/>
                  <a:pt x="2204" y="895"/>
                  <a:pt x="2204" y="895"/>
                </a:cubicBezTo>
                <a:cubicBezTo>
                  <a:pt x="2205" y="895"/>
                  <a:pt x="2205" y="895"/>
                  <a:pt x="2205" y="895"/>
                </a:cubicBezTo>
                <a:cubicBezTo>
                  <a:pt x="2206" y="894"/>
                  <a:pt x="2206" y="894"/>
                  <a:pt x="2206" y="894"/>
                </a:cubicBezTo>
                <a:cubicBezTo>
                  <a:pt x="2205" y="894"/>
                  <a:pt x="2205" y="894"/>
                  <a:pt x="2205" y="894"/>
                </a:cubicBezTo>
                <a:cubicBezTo>
                  <a:pt x="2204" y="894"/>
                  <a:pt x="2204" y="894"/>
                  <a:pt x="2204" y="894"/>
                </a:cubicBezTo>
                <a:cubicBezTo>
                  <a:pt x="2205" y="893"/>
                  <a:pt x="2205" y="893"/>
                  <a:pt x="2205" y="893"/>
                </a:cubicBezTo>
                <a:cubicBezTo>
                  <a:pt x="2204" y="893"/>
                  <a:pt x="2204" y="893"/>
                  <a:pt x="2204" y="893"/>
                </a:cubicBezTo>
                <a:cubicBezTo>
                  <a:pt x="2204" y="892"/>
                  <a:pt x="2204" y="892"/>
                  <a:pt x="2204" y="892"/>
                </a:cubicBezTo>
                <a:cubicBezTo>
                  <a:pt x="2203" y="893"/>
                  <a:pt x="2203" y="893"/>
                  <a:pt x="2203" y="893"/>
                </a:cubicBezTo>
                <a:cubicBezTo>
                  <a:pt x="2202" y="894"/>
                  <a:pt x="2202" y="894"/>
                  <a:pt x="2202" y="894"/>
                </a:cubicBezTo>
                <a:cubicBezTo>
                  <a:pt x="2203" y="895"/>
                  <a:pt x="2203" y="895"/>
                  <a:pt x="2203" y="895"/>
                </a:cubicBezTo>
                <a:cubicBezTo>
                  <a:pt x="2202" y="896"/>
                  <a:pt x="2202" y="896"/>
                  <a:pt x="2202" y="896"/>
                </a:cubicBezTo>
                <a:cubicBezTo>
                  <a:pt x="2203" y="896"/>
                  <a:pt x="2203" y="896"/>
                  <a:pt x="2203" y="896"/>
                </a:cubicBezTo>
                <a:close/>
                <a:moveTo>
                  <a:pt x="2214" y="1104"/>
                </a:moveTo>
                <a:cubicBezTo>
                  <a:pt x="2214" y="1104"/>
                  <a:pt x="2214" y="1104"/>
                  <a:pt x="2215" y="1102"/>
                </a:cubicBezTo>
                <a:cubicBezTo>
                  <a:pt x="2215" y="1102"/>
                  <a:pt x="2215" y="1102"/>
                  <a:pt x="2215" y="1100"/>
                </a:cubicBezTo>
                <a:cubicBezTo>
                  <a:pt x="2215" y="1100"/>
                  <a:pt x="2215" y="1100"/>
                  <a:pt x="2214" y="1099"/>
                </a:cubicBezTo>
                <a:cubicBezTo>
                  <a:pt x="2214" y="1099"/>
                  <a:pt x="2214" y="1099"/>
                  <a:pt x="2214" y="1100"/>
                </a:cubicBezTo>
                <a:cubicBezTo>
                  <a:pt x="2214" y="1100"/>
                  <a:pt x="2214" y="1100"/>
                  <a:pt x="2213" y="1101"/>
                </a:cubicBezTo>
                <a:cubicBezTo>
                  <a:pt x="2213" y="1101"/>
                  <a:pt x="2213" y="1101"/>
                  <a:pt x="2213" y="1102"/>
                </a:cubicBezTo>
                <a:cubicBezTo>
                  <a:pt x="2213" y="1102"/>
                  <a:pt x="2213" y="1102"/>
                  <a:pt x="2212" y="1103"/>
                </a:cubicBezTo>
                <a:cubicBezTo>
                  <a:pt x="2212" y="1103"/>
                  <a:pt x="2212" y="1103"/>
                  <a:pt x="2212" y="1104"/>
                </a:cubicBezTo>
                <a:cubicBezTo>
                  <a:pt x="2212" y="1104"/>
                  <a:pt x="2212" y="1104"/>
                  <a:pt x="2212" y="1105"/>
                </a:cubicBezTo>
                <a:cubicBezTo>
                  <a:pt x="2212" y="1105"/>
                  <a:pt x="2212" y="1105"/>
                  <a:pt x="2213" y="1105"/>
                </a:cubicBezTo>
                <a:cubicBezTo>
                  <a:pt x="2213" y="1105"/>
                  <a:pt x="2213" y="1105"/>
                  <a:pt x="2214" y="1104"/>
                </a:cubicBezTo>
                <a:close/>
                <a:moveTo>
                  <a:pt x="2045" y="974"/>
                </a:moveTo>
                <a:cubicBezTo>
                  <a:pt x="2045" y="974"/>
                  <a:pt x="2045" y="974"/>
                  <a:pt x="2045" y="975"/>
                </a:cubicBezTo>
                <a:cubicBezTo>
                  <a:pt x="2045" y="975"/>
                  <a:pt x="2045" y="975"/>
                  <a:pt x="2045" y="978"/>
                </a:cubicBezTo>
                <a:cubicBezTo>
                  <a:pt x="2045" y="978"/>
                  <a:pt x="2045" y="978"/>
                  <a:pt x="2046" y="976"/>
                </a:cubicBezTo>
                <a:cubicBezTo>
                  <a:pt x="2046" y="976"/>
                  <a:pt x="2046" y="976"/>
                  <a:pt x="2045" y="974"/>
                </a:cubicBezTo>
                <a:close/>
                <a:moveTo>
                  <a:pt x="2186" y="1062"/>
                </a:moveTo>
                <a:cubicBezTo>
                  <a:pt x="2187" y="1062"/>
                  <a:pt x="2187" y="1062"/>
                  <a:pt x="2187" y="1062"/>
                </a:cubicBezTo>
                <a:cubicBezTo>
                  <a:pt x="2187" y="1062"/>
                  <a:pt x="2187" y="1062"/>
                  <a:pt x="2188" y="1062"/>
                </a:cubicBezTo>
                <a:cubicBezTo>
                  <a:pt x="2188" y="1062"/>
                  <a:pt x="2188" y="1062"/>
                  <a:pt x="2187" y="1061"/>
                </a:cubicBezTo>
                <a:cubicBezTo>
                  <a:pt x="2187" y="1061"/>
                  <a:pt x="2187" y="1061"/>
                  <a:pt x="2186" y="1062"/>
                </a:cubicBezTo>
                <a:close/>
                <a:moveTo>
                  <a:pt x="2046" y="972"/>
                </a:moveTo>
                <a:cubicBezTo>
                  <a:pt x="2046" y="972"/>
                  <a:pt x="2046" y="972"/>
                  <a:pt x="2046" y="970"/>
                </a:cubicBezTo>
                <a:cubicBezTo>
                  <a:pt x="2046" y="970"/>
                  <a:pt x="2046" y="970"/>
                  <a:pt x="2045" y="973"/>
                </a:cubicBezTo>
                <a:lnTo>
                  <a:pt x="2046" y="972"/>
                </a:lnTo>
                <a:close/>
                <a:moveTo>
                  <a:pt x="2235" y="1114"/>
                </a:moveTo>
                <a:cubicBezTo>
                  <a:pt x="2235" y="1114"/>
                  <a:pt x="2235" y="1114"/>
                  <a:pt x="2234" y="1115"/>
                </a:cubicBezTo>
                <a:cubicBezTo>
                  <a:pt x="2234" y="1115"/>
                  <a:pt x="2234" y="1115"/>
                  <a:pt x="2234" y="1114"/>
                </a:cubicBezTo>
                <a:cubicBezTo>
                  <a:pt x="2234" y="1114"/>
                  <a:pt x="2234" y="1114"/>
                  <a:pt x="2233" y="1114"/>
                </a:cubicBezTo>
                <a:cubicBezTo>
                  <a:pt x="2233" y="1114"/>
                  <a:pt x="2233" y="1114"/>
                  <a:pt x="2232" y="1115"/>
                </a:cubicBezTo>
                <a:cubicBezTo>
                  <a:pt x="2232" y="1115"/>
                  <a:pt x="2232" y="1115"/>
                  <a:pt x="2232" y="1116"/>
                </a:cubicBezTo>
                <a:cubicBezTo>
                  <a:pt x="2232" y="1116"/>
                  <a:pt x="2232" y="1116"/>
                  <a:pt x="2228" y="1115"/>
                </a:cubicBezTo>
                <a:cubicBezTo>
                  <a:pt x="2228" y="1115"/>
                  <a:pt x="2228" y="1115"/>
                  <a:pt x="2227" y="1116"/>
                </a:cubicBezTo>
                <a:cubicBezTo>
                  <a:pt x="2227" y="1116"/>
                  <a:pt x="2227" y="1116"/>
                  <a:pt x="2227" y="1117"/>
                </a:cubicBezTo>
                <a:cubicBezTo>
                  <a:pt x="2227" y="1117"/>
                  <a:pt x="2227" y="1117"/>
                  <a:pt x="2226" y="1116"/>
                </a:cubicBezTo>
                <a:cubicBezTo>
                  <a:pt x="2226" y="1116"/>
                  <a:pt x="2226" y="1116"/>
                  <a:pt x="2225" y="1116"/>
                </a:cubicBezTo>
                <a:cubicBezTo>
                  <a:pt x="2225" y="1116"/>
                  <a:pt x="2225" y="1116"/>
                  <a:pt x="2224" y="1117"/>
                </a:cubicBezTo>
                <a:cubicBezTo>
                  <a:pt x="2224" y="1117"/>
                  <a:pt x="2224" y="1117"/>
                  <a:pt x="2223" y="1116"/>
                </a:cubicBezTo>
                <a:cubicBezTo>
                  <a:pt x="2223" y="1116"/>
                  <a:pt x="2223" y="1116"/>
                  <a:pt x="2221" y="1114"/>
                </a:cubicBezTo>
                <a:cubicBezTo>
                  <a:pt x="2221" y="1114"/>
                  <a:pt x="2221" y="1114"/>
                  <a:pt x="2219" y="1113"/>
                </a:cubicBezTo>
                <a:cubicBezTo>
                  <a:pt x="2219" y="1113"/>
                  <a:pt x="2219" y="1113"/>
                  <a:pt x="2219" y="1112"/>
                </a:cubicBezTo>
                <a:cubicBezTo>
                  <a:pt x="2219" y="1112"/>
                  <a:pt x="2219" y="1112"/>
                  <a:pt x="2218" y="1113"/>
                </a:cubicBezTo>
                <a:cubicBezTo>
                  <a:pt x="2218" y="1113"/>
                  <a:pt x="2218" y="1113"/>
                  <a:pt x="2218" y="1112"/>
                </a:cubicBezTo>
                <a:cubicBezTo>
                  <a:pt x="2218" y="1112"/>
                  <a:pt x="2218" y="1112"/>
                  <a:pt x="2216" y="1111"/>
                </a:cubicBezTo>
                <a:cubicBezTo>
                  <a:pt x="2216" y="1111"/>
                  <a:pt x="2216" y="1111"/>
                  <a:pt x="2215" y="1110"/>
                </a:cubicBezTo>
                <a:cubicBezTo>
                  <a:pt x="2215" y="1110"/>
                  <a:pt x="2215" y="1110"/>
                  <a:pt x="2215" y="1111"/>
                </a:cubicBezTo>
                <a:cubicBezTo>
                  <a:pt x="2215" y="1111"/>
                  <a:pt x="2215" y="1111"/>
                  <a:pt x="2215" y="1112"/>
                </a:cubicBezTo>
                <a:cubicBezTo>
                  <a:pt x="2215" y="1112"/>
                  <a:pt x="2215" y="1112"/>
                  <a:pt x="2214" y="1113"/>
                </a:cubicBezTo>
                <a:cubicBezTo>
                  <a:pt x="2214" y="1113"/>
                  <a:pt x="2214" y="1113"/>
                  <a:pt x="2214" y="1114"/>
                </a:cubicBezTo>
                <a:cubicBezTo>
                  <a:pt x="2214" y="1114"/>
                  <a:pt x="2214" y="1114"/>
                  <a:pt x="2215" y="1116"/>
                </a:cubicBezTo>
                <a:cubicBezTo>
                  <a:pt x="2215" y="1116"/>
                  <a:pt x="2215" y="1116"/>
                  <a:pt x="2214" y="1118"/>
                </a:cubicBezTo>
                <a:cubicBezTo>
                  <a:pt x="2214" y="1118"/>
                  <a:pt x="2214" y="1118"/>
                  <a:pt x="2214" y="1121"/>
                </a:cubicBezTo>
                <a:cubicBezTo>
                  <a:pt x="2214" y="1121"/>
                  <a:pt x="2214" y="1121"/>
                  <a:pt x="2215" y="1123"/>
                </a:cubicBezTo>
                <a:cubicBezTo>
                  <a:pt x="2215" y="1123"/>
                  <a:pt x="2215" y="1123"/>
                  <a:pt x="2214" y="1125"/>
                </a:cubicBezTo>
                <a:cubicBezTo>
                  <a:pt x="2214" y="1125"/>
                  <a:pt x="2214" y="1125"/>
                  <a:pt x="2215" y="1125"/>
                </a:cubicBezTo>
                <a:cubicBezTo>
                  <a:pt x="2215" y="1125"/>
                  <a:pt x="2215" y="1125"/>
                  <a:pt x="2215" y="1126"/>
                </a:cubicBezTo>
                <a:cubicBezTo>
                  <a:pt x="2215" y="1126"/>
                  <a:pt x="2215" y="1126"/>
                  <a:pt x="2216" y="1127"/>
                </a:cubicBezTo>
                <a:cubicBezTo>
                  <a:pt x="2216" y="1127"/>
                  <a:pt x="2216" y="1127"/>
                  <a:pt x="2215" y="1127"/>
                </a:cubicBezTo>
                <a:cubicBezTo>
                  <a:pt x="2215" y="1127"/>
                  <a:pt x="2215" y="1127"/>
                  <a:pt x="2214" y="1126"/>
                </a:cubicBezTo>
                <a:cubicBezTo>
                  <a:pt x="2214" y="1126"/>
                  <a:pt x="2214" y="1126"/>
                  <a:pt x="2213" y="1127"/>
                </a:cubicBezTo>
                <a:cubicBezTo>
                  <a:pt x="2213" y="1127"/>
                  <a:pt x="2213" y="1127"/>
                  <a:pt x="2213" y="1129"/>
                </a:cubicBezTo>
                <a:cubicBezTo>
                  <a:pt x="2213" y="1129"/>
                  <a:pt x="2213" y="1129"/>
                  <a:pt x="2214" y="1130"/>
                </a:cubicBezTo>
                <a:cubicBezTo>
                  <a:pt x="2214" y="1130"/>
                  <a:pt x="2214" y="1130"/>
                  <a:pt x="2214" y="1131"/>
                </a:cubicBezTo>
                <a:cubicBezTo>
                  <a:pt x="2214" y="1131"/>
                  <a:pt x="2214" y="1131"/>
                  <a:pt x="2214" y="1134"/>
                </a:cubicBezTo>
                <a:cubicBezTo>
                  <a:pt x="2214" y="1134"/>
                  <a:pt x="2214" y="1134"/>
                  <a:pt x="2215" y="1135"/>
                </a:cubicBezTo>
                <a:cubicBezTo>
                  <a:pt x="2215" y="1135"/>
                  <a:pt x="2215" y="1135"/>
                  <a:pt x="2214" y="1135"/>
                </a:cubicBezTo>
                <a:cubicBezTo>
                  <a:pt x="2214" y="1135"/>
                  <a:pt x="2214" y="1135"/>
                  <a:pt x="2215" y="1137"/>
                </a:cubicBezTo>
                <a:cubicBezTo>
                  <a:pt x="2215" y="1137"/>
                  <a:pt x="2215" y="1137"/>
                  <a:pt x="2216" y="1137"/>
                </a:cubicBezTo>
                <a:cubicBezTo>
                  <a:pt x="2216" y="1137"/>
                  <a:pt x="2216" y="1137"/>
                  <a:pt x="2215" y="1138"/>
                </a:cubicBezTo>
                <a:cubicBezTo>
                  <a:pt x="2215" y="1138"/>
                  <a:pt x="2215" y="1138"/>
                  <a:pt x="2215" y="1139"/>
                </a:cubicBezTo>
                <a:cubicBezTo>
                  <a:pt x="2216" y="1140"/>
                  <a:pt x="2216" y="1140"/>
                  <a:pt x="2216" y="1140"/>
                </a:cubicBezTo>
                <a:cubicBezTo>
                  <a:pt x="2216" y="1140"/>
                  <a:pt x="2216" y="1140"/>
                  <a:pt x="2217" y="1139"/>
                </a:cubicBezTo>
                <a:cubicBezTo>
                  <a:pt x="2217" y="1139"/>
                  <a:pt x="2217" y="1139"/>
                  <a:pt x="2218" y="1140"/>
                </a:cubicBezTo>
                <a:cubicBezTo>
                  <a:pt x="2218" y="1140"/>
                  <a:pt x="2218" y="1140"/>
                  <a:pt x="2219" y="1139"/>
                </a:cubicBezTo>
                <a:cubicBezTo>
                  <a:pt x="2219" y="1139"/>
                  <a:pt x="2219" y="1139"/>
                  <a:pt x="2219" y="1140"/>
                </a:cubicBezTo>
                <a:cubicBezTo>
                  <a:pt x="2219" y="1140"/>
                  <a:pt x="2219" y="1140"/>
                  <a:pt x="2219" y="1141"/>
                </a:cubicBezTo>
                <a:cubicBezTo>
                  <a:pt x="2219" y="1141"/>
                  <a:pt x="2219" y="1141"/>
                  <a:pt x="2220" y="1141"/>
                </a:cubicBezTo>
                <a:cubicBezTo>
                  <a:pt x="2220" y="1141"/>
                  <a:pt x="2220" y="1141"/>
                  <a:pt x="2221" y="1139"/>
                </a:cubicBezTo>
                <a:cubicBezTo>
                  <a:pt x="2221" y="1139"/>
                  <a:pt x="2221" y="1139"/>
                  <a:pt x="2222" y="1138"/>
                </a:cubicBezTo>
                <a:cubicBezTo>
                  <a:pt x="2222" y="1138"/>
                  <a:pt x="2222" y="1138"/>
                  <a:pt x="2222" y="1136"/>
                </a:cubicBezTo>
                <a:cubicBezTo>
                  <a:pt x="2222" y="1136"/>
                  <a:pt x="2222" y="1136"/>
                  <a:pt x="2223" y="1137"/>
                </a:cubicBezTo>
                <a:cubicBezTo>
                  <a:pt x="2223" y="1137"/>
                  <a:pt x="2223" y="1137"/>
                  <a:pt x="2223" y="1136"/>
                </a:cubicBezTo>
                <a:cubicBezTo>
                  <a:pt x="2223" y="1136"/>
                  <a:pt x="2223" y="1136"/>
                  <a:pt x="2224" y="1135"/>
                </a:cubicBezTo>
                <a:cubicBezTo>
                  <a:pt x="2224" y="1135"/>
                  <a:pt x="2224" y="1135"/>
                  <a:pt x="2225" y="1134"/>
                </a:cubicBezTo>
                <a:cubicBezTo>
                  <a:pt x="2225" y="1134"/>
                  <a:pt x="2225" y="1134"/>
                  <a:pt x="2225" y="1135"/>
                </a:cubicBezTo>
                <a:cubicBezTo>
                  <a:pt x="2225" y="1135"/>
                  <a:pt x="2225" y="1135"/>
                  <a:pt x="2226" y="1136"/>
                </a:cubicBezTo>
                <a:cubicBezTo>
                  <a:pt x="2226" y="1136"/>
                  <a:pt x="2226" y="1136"/>
                  <a:pt x="2226" y="1134"/>
                </a:cubicBezTo>
                <a:cubicBezTo>
                  <a:pt x="2226" y="1134"/>
                  <a:pt x="2226" y="1134"/>
                  <a:pt x="2227" y="1134"/>
                </a:cubicBezTo>
                <a:cubicBezTo>
                  <a:pt x="2227" y="1134"/>
                  <a:pt x="2227" y="1134"/>
                  <a:pt x="2228" y="1135"/>
                </a:cubicBezTo>
                <a:cubicBezTo>
                  <a:pt x="2228" y="1135"/>
                  <a:pt x="2228" y="1135"/>
                  <a:pt x="2228" y="1136"/>
                </a:cubicBezTo>
                <a:cubicBezTo>
                  <a:pt x="2228" y="1136"/>
                  <a:pt x="2228" y="1136"/>
                  <a:pt x="2227" y="1135"/>
                </a:cubicBezTo>
                <a:cubicBezTo>
                  <a:pt x="2227" y="1135"/>
                  <a:pt x="2227" y="1135"/>
                  <a:pt x="2227" y="1137"/>
                </a:cubicBezTo>
                <a:cubicBezTo>
                  <a:pt x="2227" y="1137"/>
                  <a:pt x="2227" y="1137"/>
                  <a:pt x="2228" y="1137"/>
                </a:cubicBezTo>
                <a:cubicBezTo>
                  <a:pt x="2228" y="1137"/>
                  <a:pt x="2228" y="1137"/>
                  <a:pt x="2230" y="1135"/>
                </a:cubicBezTo>
                <a:cubicBezTo>
                  <a:pt x="2230" y="1135"/>
                  <a:pt x="2230" y="1135"/>
                  <a:pt x="2230" y="1134"/>
                </a:cubicBezTo>
                <a:cubicBezTo>
                  <a:pt x="2230" y="1134"/>
                  <a:pt x="2230" y="1134"/>
                  <a:pt x="2229" y="1133"/>
                </a:cubicBezTo>
                <a:cubicBezTo>
                  <a:pt x="2229" y="1133"/>
                  <a:pt x="2229" y="1133"/>
                  <a:pt x="2230" y="1132"/>
                </a:cubicBezTo>
                <a:cubicBezTo>
                  <a:pt x="2230" y="1132"/>
                  <a:pt x="2230" y="1132"/>
                  <a:pt x="2230" y="1131"/>
                </a:cubicBezTo>
                <a:cubicBezTo>
                  <a:pt x="2230" y="1131"/>
                  <a:pt x="2230" y="1131"/>
                  <a:pt x="2231" y="1131"/>
                </a:cubicBezTo>
                <a:cubicBezTo>
                  <a:pt x="2231" y="1131"/>
                  <a:pt x="2231" y="1131"/>
                  <a:pt x="2231" y="1130"/>
                </a:cubicBezTo>
                <a:cubicBezTo>
                  <a:pt x="2231" y="1130"/>
                  <a:pt x="2231" y="1130"/>
                  <a:pt x="2231" y="1128"/>
                </a:cubicBezTo>
                <a:cubicBezTo>
                  <a:pt x="2231" y="1128"/>
                  <a:pt x="2231" y="1128"/>
                  <a:pt x="2232" y="1127"/>
                </a:cubicBezTo>
                <a:cubicBezTo>
                  <a:pt x="2232" y="1127"/>
                  <a:pt x="2232" y="1127"/>
                  <a:pt x="2233" y="1126"/>
                </a:cubicBezTo>
                <a:cubicBezTo>
                  <a:pt x="2233" y="1126"/>
                  <a:pt x="2233" y="1126"/>
                  <a:pt x="2233" y="1128"/>
                </a:cubicBezTo>
                <a:cubicBezTo>
                  <a:pt x="2233" y="1128"/>
                  <a:pt x="2233" y="1128"/>
                  <a:pt x="2233" y="1129"/>
                </a:cubicBezTo>
                <a:cubicBezTo>
                  <a:pt x="2233" y="1129"/>
                  <a:pt x="2233" y="1129"/>
                  <a:pt x="2234" y="1127"/>
                </a:cubicBezTo>
                <a:cubicBezTo>
                  <a:pt x="2234" y="1127"/>
                  <a:pt x="2234" y="1127"/>
                  <a:pt x="2234" y="1126"/>
                </a:cubicBezTo>
                <a:cubicBezTo>
                  <a:pt x="2234" y="1126"/>
                  <a:pt x="2234" y="1126"/>
                  <a:pt x="2234" y="1125"/>
                </a:cubicBezTo>
                <a:cubicBezTo>
                  <a:pt x="2234" y="1125"/>
                  <a:pt x="2234" y="1125"/>
                  <a:pt x="2234" y="1124"/>
                </a:cubicBezTo>
                <a:cubicBezTo>
                  <a:pt x="2234" y="1124"/>
                  <a:pt x="2234" y="1124"/>
                  <a:pt x="2235" y="1123"/>
                </a:cubicBezTo>
                <a:cubicBezTo>
                  <a:pt x="2235" y="1123"/>
                  <a:pt x="2235" y="1123"/>
                  <a:pt x="2235" y="1120"/>
                </a:cubicBezTo>
                <a:cubicBezTo>
                  <a:pt x="2235" y="1120"/>
                  <a:pt x="2235" y="1120"/>
                  <a:pt x="2236" y="1119"/>
                </a:cubicBezTo>
                <a:cubicBezTo>
                  <a:pt x="2236" y="1119"/>
                  <a:pt x="2236" y="1119"/>
                  <a:pt x="2237" y="1116"/>
                </a:cubicBezTo>
                <a:cubicBezTo>
                  <a:pt x="2237" y="1116"/>
                  <a:pt x="2237" y="1116"/>
                  <a:pt x="2237" y="1115"/>
                </a:cubicBezTo>
                <a:cubicBezTo>
                  <a:pt x="2237" y="1115"/>
                  <a:pt x="2237" y="1115"/>
                  <a:pt x="2236" y="1114"/>
                </a:cubicBezTo>
                <a:cubicBezTo>
                  <a:pt x="2236" y="1114"/>
                  <a:pt x="2236" y="1114"/>
                  <a:pt x="2235" y="1114"/>
                </a:cubicBezTo>
                <a:close/>
                <a:moveTo>
                  <a:pt x="2180" y="876"/>
                </a:moveTo>
                <a:cubicBezTo>
                  <a:pt x="2180" y="876"/>
                  <a:pt x="2180" y="876"/>
                  <a:pt x="2180" y="874"/>
                </a:cubicBezTo>
                <a:cubicBezTo>
                  <a:pt x="2180" y="874"/>
                  <a:pt x="2180" y="874"/>
                  <a:pt x="2180" y="873"/>
                </a:cubicBezTo>
                <a:cubicBezTo>
                  <a:pt x="2180" y="873"/>
                  <a:pt x="2180" y="873"/>
                  <a:pt x="2179" y="873"/>
                </a:cubicBezTo>
                <a:cubicBezTo>
                  <a:pt x="2179" y="873"/>
                  <a:pt x="2179" y="873"/>
                  <a:pt x="2179" y="874"/>
                </a:cubicBezTo>
                <a:cubicBezTo>
                  <a:pt x="2179" y="874"/>
                  <a:pt x="2179" y="874"/>
                  <a:pt x="2180" y="876"/>
                </a:cubicBezTo>
                <a:close/>
                <a:moveTo>
                  <a:pt x="2182" y="1060"/>
                </a:moveTo>
                <a:cubicBezTo>
                  <a:pt x="2182" y="1060"/>
                  <a:pt x="2182" y="1060"/>
                  <a:pt x="2179" y="1061"/>
                </a:cubicBezTo>
                <a:cubicBezTo>
                  <a:pt x="2179" y="1061"/>
                  <a:pt x="2179" y="1061"/>
                  <a:pt x="2178" y="1061"/>
                </a:cubicBezTo>
                <a:cubicBezTo>
                  <a:pt x="2178" y="1061"/>
                  <a:pt x="2178" y="1061"/>
                  <a:pt x="2177" y="1062"/>
                </a:cubicBezTo>
                <a:cubicBezTo>
                  <a:pt x="2177" y="1062"/>
                  <a:pt x="2177" y="1062"/>
                  <a:pt x="2178" y="1063"/>
                </a:cubicBezTo>
                <a:cubicBezTo>
                  <a:pt x="2178" y="1063"/>
                  <a:pt x="2178" y="1063"/>
                  <a:pt x="2180" y="1063"/>
                </a:cubicBezTo>
                <a:cubicBezTo>
                  <a:pt x="2180" y="1063"/>
                  <a:pt x="2180" y="1063"/>
                  <a:pt x="2181" y="1063"/>
                </a:cubicBezTo>
                <a:cubicBezTo>
                  <a:pt x="2181" y="1063"/>
                  <a:pt x="2181" y="1063"/>
                  <a:pt x="2182" y="1063"/>
                </a:cubicBezTo>
                <a:cubicBezTo>
                  <a:pt x="2182" y="1063"/>
                  <a:pt x="2182" y="1063"/>
                  <a:pt x="2183" y="1063"/>
                </a:cubicBezTo>
                <a:cubicBezTo>
                  <a:pt x="2183" y="1063"/>
                  <a:pt x="2183" y="1063"/>
                  <a:pt x="2184" y="1063"/>
                </a:cubicBezTo>
                <a:cubicBezTo>
                  <a:pt x="2184" y="1063"/>
                  <a:pt x="2184" y="1063"/>
                  <a:pt x="2184" y="1062"/>
                </a:cubicBezTo>
                <a:cubicBezTo>
                  <a:pt x="2184" y="1062"/>
                  <a:pt x="2184" y="1062"/>
                  <a:pt x="2185" y="1062"/>
                </a:cubicBezTo>
                <a:cubicBezTo>
                  <a:pt x="2185" y="1062"/>
                  <a:pt x="2185" y="1062"/>
                  <a:pt x="2185" y="1061"/>
                </a:cubicBezTo>
                <a:cubicBezTo>
                  <a:pt x="2185" y="1061"/>
                  <a:pt x="2185" y="1061"/>
                  <a:pt x="2184" y="1060"/>
                </a:cubicBezTo>
                <a:cubicBezTo>
                  <a:pt x="2184" y="1060"/>
                  <a:pt x="2184" y="1060"/>
                  <a:pt x="2182" y="1060"/>
                </a:cubicBezTo>
                <a:close/>
                <a:moveTo>
                  <a:pt x="2222" y="1139"/>
                </a:moveTo>
                <a:cubicBezTo>
                  <a:pt x="2222" y="1139"/>
                  <a:pt x="2222" y="1139"/>
                  <a:pt x="2223" y="1140"/>
                </a:cubicBezTo>
                <a:cubicBezTo>
                  <a:pt x="2223" y="1140"/>
                  <a:pt x="2223" y="1140"/>
                  <a:pt x="2224" y="1138"/>
                </a:cubicBezTo>
                <a:cubicBezTo>
                  <a:pt x="2224" y="1138"/>
                  <a:pt x="2224" y="1138"/>
                  <a:pt x="2224" y="1137"/>
                </a:cubicBezTo>
                <a:cubicBezTo>
                  <a:pt x="2224" y="1137"/>
                  <a:pt x="2224" y="1137"/>
                  <a:pt x="2223" y="1137"/>
                </a:cubicBezTo>
                <a:cubicBezTo>
                  <a:pt x="2223" y="1137"/>
                  <a:pt x="2223" y="1137"/>
                  <a:pt x="2223" y="1138"/>
                </a:cubicBezTo>
                <a:cubicBezTo>
                  <a:pt x="2223" y="1138"/>
                  <a:pt x="2223" y="1138"/>
                  <a:pt x="2222" y="1139"/>
                </a:cubicBezTo>
                <a:close/>
                <a:moveTo>
                  <a:pt x="2287" y="963"/>
                </a:moveTo>
                <a:cubicBezTo>
                  <a:pt x="2287" y="964"/>
                  <a:pt x="2287" y="964"/>
                  <a:pt x="2287" y="964"/>
                </a:cubicBezTo>
                <a:cubicBezTo>
                  <a:pt x="2288" y="965"/>
                  <a:pt x="2288" y="965"/>
                  <a:pt x="2288" y="965"/>
                </a:cubicBezTo>
                <a:cubicBezTo>
                  <a:pt x="2289" y="966"/>
                  <a:pt x="2289" y="966"/>
                  <a:pt x="2289" y="966"/>
                </a:cubicBezTo>
                <a:cubicBezTo>
                  <a:pt x="2289" y="965"/>
                  <a:pt x="2289" y="965"/>
                  <a:pt x="2289" y="965"/>
                </a:cubicBezTo>
                <a:cubicBezTo>
                  <a:pt x="2288" y="964"/>
                  <a:pt x="2288" y="964"/>
                  <a:pt x="2288" y="964"/>
                </a:cubicBezTo>
                <a:cubicBezTo>
                  <a:pt x="2287" y="963"/>
                  <a:pt x="2287" y="963"/>
                  <a:pt x="2287" y="963"/>
                </a:cubicBezTo>
                <a:close/>
                <a:moveTo>
                  <a:pt x="2168" y="879"/>
                </a:moveTo>
                <a:cubicBezTo>
                  <a:pt x="2169" y="880"/>
                  <a:pt x="2169" y="880"/>
                  <a:pt x="2169" y="880"/>
                </a:cubicBezTo>
                <a:cubicBezTo>
                  <a:pt x="2172" y="877"/>
                  <a:pt x="2172" y="877"/>
                  <a:pt x="2172" y="877"/>
                </a:cubicBezTo>
                <a:cubicBezTo>
                  <a:pt x="2173" y="876"/>
                  <a:pt x="2173" y="876"/>
                  <a:pt x="2173" y="876"/>
                </a:cubicBezTo>
                <a:cubicBezTo>
                  <a:pt x="2172" y="876"/>
                  <a:pt x="2172" y="876"/>
                  <a:pt x="2172" y="876"/>
                </a:cubicBezTo>
                <a:cubicBezTo>
                  <a:pt x="2172" y="875"/>
                  <a:pt x="2172" y="875"/>
                  <a:pt x="2172" y="875"/>
                </a:cubicBezTo>
                <a:cubicBezTo>
                  <a:pt x="2171" y="875"/>
                  <a:pt x="2171" y="875"/>
                  <a:pt x="2171" y="875"/>
                </a:cubicBezTo>
                <a:cubicBezTo>
                  <a:pt x="2169" y="875"/>
                  <a:pt x="2169" y="875"/>
                  <a:pt x="2169" y="875"/>
                </a:cubicBezTo>
                <a:cubicBezTo>
                  <a:pt x="2168" y="876"/>
                  <a:pt x="2168" y="876"/>
                  <a:pt x="2168" y="876"/>
                </a:cubicBezTo>
                <a:cubicBezTo>
                  <a:pt x="2167" y="875"/>
                  <a:pt x="2167" y="875"/>
                  <a:pt x="2167" y="875"/>
                </a:cubicBezTo>
                <a:cubicBezTo>
                  <a:pt x="2166" y="875"/>
                  <a:pt x="2166" y="875"/>
                  <a:pt x="2166" y="875"/>
                </a:cubicBezTo>
                <a:cubicBezTo>
                  <a:pt x="2166" y="876"/>
                  <a:pt x="2166" y="876"/>
                  <a:pt x="2166" y="876"/>
                </a:cubicBezTo>
                <a:cubicBezTo>
                  <a:pt x="2167" y="878"/>
                  <a:pt x="2167" y="878"/>
                  <a:pt x="2167" y="878"/>
                </a:cubicBezTo>
                <a:cubicBezTo>
                  <a:pt x="2168" y="879"/>
                  <a:pt x="2168" y="879"/>
                  <a:pt x="2168" y="879"/>
                </a:cubicBezTo>
                <a:close/>
                <a:moveTo>
                  <a:pt x="2064" y="941"/>
                </a:moveTo>
                <a:cubicBezTo>
                  <a:pt x="2064" y="941"/>
                  <a:pt x="2064" y="941"/>
                  <a:pt x="2065" y="940"/>
                </a:cubicBezTo>
                <a:cubicBezTo>
                  <a:pt x="2065" y="940"/>
                  <a:pt x="2065" y="940"/>
                  <a:pt x="2065" y="938"/>
                </a:cubicBezTo>
                <a:cubicBezTo>
                  <a:pt x="2065" y="938"/>
                  <a:pt x="2065" y="938"/>
                  <a:pt x="2064" y="940"/>
                </a:cubicBezTo>
                <a:cubicBezTo>
                  <a:pt x="2064" y="940"/>
                  <a:pt x="2064" y="940"/>
                  <a:pt x="2064" y="941"/>
                </a:cubicBezTo>
                <a:close/>
                <a:moveTo>
                  <a:pt x="2241" y="872"/>
                </a:moveTo>
                <a:cubicBezTo>
                  <a:pt x="2241" y="871"/>
                  <a:pt x="2241" y="871"/>
                  <a:pt x="2241" y="871"/>
                </a:cubicBezTo>
                <a:cubicBezTo>
                  <a:pt x="2240" y="870"/>
                  <a:pt x="2240" y="870"/>
                  <a:pt x="2240" y="870"/>
                </a:cubicBezTo>
                <a:cubicBezTo>
                  <a:pt x="2240" y="872"/>
                  <a:pt x="2240" y="872"/>
                  <a:pt x="2240" y="872"/>
                </a:cubicBezTo>
                <a:cubicBezTo>
                  <a:pt x="2241" y="872"/>
                  <a:pt x="2241" y="872"/>
                  <a:pt x="2241" y="872"/>
                </a:cubicBezTo>
                <a:close/>
                <a:moveTo>
                  <a:pt x="2220" y="911"/>
                </a:moveTo>
                <a:cubicBezTo>
                  <a:pt x="2218" y="912"/>
                  <a:pt x="2218" y="912"/>
                  <a:pt x="2218" y="912"/>
                </a:cubicBezTo>
                <a:cubicBezTo>
                  <a:pt x="2218" y="913"/>
                  <a:pt x="2218" y="913"/>
                  <a:pt x="2218" y="913"/>
                </a:cubicBezTo>
                <a:cubicBezTo>
                  <a:pt x="2219" y="914"/>
                  <a:pt x="2219" y="914"/>
                  <a:pt x="2219" y="914"/>
                </a:cubicBezTo>
                <a:cubicBezTo>
                  <a:pt x="2219" y="913"/>
                  <a:pt x="2219" y="913"/>
                  <a:pt x="2219" y="913"/>
                </a:cubicBezTo>
                <a:cubicBezTo>
                  <a:pt x="2220" y="912"/>
                  <a:pt x="2220" y="912"/>
                  <a:pt x="2220" y="912"/>
                </a:cubicBezTo>
                <a:cubicBezTo>
                  <a:pt x="2222" y="912"/>
                  <a:pt x="2222" y="912"/>
                  <a:pt x="2222" y="912"/>
                </a:cubicBezTo>
                <a:cubicBezTo>
                  <a:pt x="2220" y="911"/>
                  <a:pt x="2220" y="911"/>
                  <a:pt x="2220" y="911"/>
                </a:cubicBezTo>
                <a:close/>
                <a:moveTo>
                  <a:pt x="2221" y="916"/>
                </a:moveTo>
                <a:cubicBezTo>
                  <a:pt x="2221" y="915"/>
                  <a:pt x="2221" y="915"/>
                  <a:pt x="2221" y="915"/>
                </a:cubicBezTo>
                <a:cubicBezTo>
                  <a:pt x="2220" y="916"/>
                  <a:pt x="2220" y="916"/>
                  <a:pt x="2220" y="916"/>
                </a:cubicBezTo>
                <a:cubicBezTo>
                  <a:pt x="2221" y="916"/>
                  <a:pt x="2221" y="916"/>
                  <a:pt x="2221" y="916"/>
                </a:cubicBezTo>
                <a:close/>
                <a:moveTo>
                  <a:pt x="2204" y="876"/>
                </a:moveTo>
                <a:cubicBezTo>
                  <a:pt x="2205" y="876"/>
                  <a:pt x="2205" y="876"/>
                  <a:pt x="2205" y="876"/>
                </a:cubicBezTo>
                <a:cubicBezTo>
                  <a:pt x="2205" y="875"/>
                  <a:pt x="2205" y="875"/>
                  <a:pt x="2205" y="875"/>
                </a:cubicBezTo>
                <a:cubicBezTo>
                  <a:pt x="2206" y="874"/>
                  <a:pt x="2206" y="874"/>
                  <a:pt x="2206" y="874"/>
                </a:cubicBezTo>
                <a:cubicBezTo>
                  <a:pt x="2205" y="874"/>
                  <a:pt x="2205" y="874"/>
                  <a:pt x="2205" y="874"/>
                </a:cubicBezTo>
                <a:cubicBezTo>
                  <a:pt x="2204" y="875"/>
                  <a:pt x="2204" y="875"/>
                  <a:pt x="2204" y="875"/>
                </a:cubicBezTo>
                <a:cubicBezTo>
                  <a:pt x="2204" y="876"/>
                  <a:pt x="2204" y="876"/>
                  <a:pt x="2204" y="876"/>
                </a:cubicBezTo>
                <a:close/>
                <a:moveTo>
                  <a:pt x="2205" y="905"/>
                </a:moveTo>
                <a:cubicBezTo>
                  <a:pt x="2205" y="905"/>
                  <a:pt x="2205" y="905"/>
                  <a:pt x="2205" y="906"/>
                </a:cubicBezTo>
                <a:cubicBezTo>
                  <a:pt x="2205" y="906"/>
                  <a:pt x="2205" y="906"/>
                  <a:pt x="2205" y="907"/>
                </a:cubicBezTo>
                <a:cubicBezTo>
                  <a:pt x="2205" y="907"/>
                  <a:pt x="2205" y="907"/>
                  <a:pt x="2206" y="906"/>
                </a:cubicBezTo>
                <a:cubicBezTo>
                  <a:pt x="2206" y="906"/>
                  <a:pt x="2206" y="906"/>
                  <a:pt x="2205" y="905"/>
                </a:cubicBezTo>
                <a:close/>
                <a:moveTo>
                  <a:pt x="2203" y="876"/>
                </a:moveTo>
                <a:cubicBezTo>
                  <a:pt x="2202" y="877"/>
                  <a:pt x="2202" y="877"/>
                  <a:pt x="2202" y="877"/>
                </a:cubicBezTo>
                <a:cubicBezTo>
                  <a:pt x="2203" y="877"/>
                  <a:pt x="2203" y="877"/>
                  <a:pt x="2203" y="877"/>
                </a:cubicBezTo>
                <a:cubicBezTo>
                  <a:pt x="2203" y="876"/>
                  <a:pt x="2203" y="876"/>
                  <a:pt x="2203" y="876"/>
                </a:cubicBezTo>
                <a:close/>
                <a:moveTo>
                  <a:pt x="2202" y="878"/>
                </a:moveTo>
                <a:cubicBezTo>
                  <a:pt x="2202" y="877"/>
                  <a:pt x="2202" y="877"/>
                  <a:pt x="2202" y="877"/>
                </a:cubicBezTo>
                <a:cubicBezTo>
                  <a:pt x="2201" y="877"/>
                  <a:pt x="2201" y="877"/>
                  <a:pt x="2201" y="877"/>
                </a:cubicBezTo>
                <a:cubicBezTo>
                  <a:pt x="2202" y="878"/>
                  <a:pt x="2202" y="878"/>
                  <a:pt x="2202" y="878"/>
                </a:cubicBezTo>
                <a:close/>
                <a:moveTo>
                  <a:pt x="2262" y="926"/>
                </a:moveTo>
                <a:cubicBezTo>
                  <a:pt x="2262" y="926"/>
                  <a:pt x="2262" y="926"/>
                  <a:pt x="2261" y="927"/>
                </a:cubicBezTo>
                <a:cubicBezTo>
                  <a:pt x="2261" y="927"/>
                  <a:pt x="2261" y="927"/>
                  <a:pt x="2262" y="928"/>
                </a:cubicBezTo>
                <a:cubicBezTo>
                  <a:pt x="2262" y="928"/>
                  <a:pt x="2262" y="928"/>
                  <a:pt x="2262" y="926"/>
                </a:cubicBezTo>
                <a:close/>
                <a:moveTo>
                  <a:pt x="2261" y="925"/>
                </a:moveTo>
                <a:cubicBezTo>
                  <a:pt x="2261" y="925"/>
                  <a:pt x="2261" y="925"/>
                  <a:pt x="2262" y="926"/>
                </a:cubicBezTo>
                <a:cubicBezTo>
                  <a:pt x="2262" y="926"/>
                  <a:pt x="2262" y="926"/>
                  <a:pt x="2262" y="925"/>
                </a:cubicBezTo>
                <a:cubicBezTo>
                  <a:pt x="2262" y="925"/>
                  <a:pt x="2262" y="925"/>
                  <a:pt x="2261" y="925"/>
                </a:cubicBezTo>
                <a:close/>
                <a:moveTo>
                  <a:pt x="2125" y="902"/>
                </a:moveTo>
                <a:cubicBezTo>
                  <a:pt x="2126" y="903"/>
                  <a:pt x="2126" y="903"/>
                  <a:pt x="2126" y="903"/>
                </a:cubicBezTo>
                <a:cubicBezTo>
                  <a:pt x="2127" y="903"/>
                  <a:pt x="2127" y="903"/>
                  <a:pt x="2127" y="903"/>
                </a:cubicBezTo>
                <a:cubicBezTo>
                  <a:pt x="2126" y="902"/>
                  <a:pt x="2126" y="902"/>
                  <a:pt x="2126" y="902"/>
                </a:cubicBezTo>
                <a:lnTo>
                  <a:pt x="2125" y="902"/>
                </a:lnTo>
                <a:close/>
                <a:moveTo>
                  <a:pt x="2295" y="977"/>
                </a:moveTo>
                <a:cubicBezTo>
                  <a:pt x="2295" y="975"/>
                  <a:pt x="2295" y="975"/>
                  <a:pt x="2295" y="975"/>
                </a:cubicBezTo>
                <a:cubicBezTo>
                  <a:pt x="2293" y="974"/>
                  <a:pt x="2293" y="974"/>
                  <a:pt x="2293" y="974"/>
                </a:cubicBezTo>
                <a:cubicBezTo>
                  <a:pt x="2292" y="972"/>
                  <a:pt x="2292" y="972"/>
                  <a:pt x="2292" y="972"/>
                </a:cubicBezTo>
                <a:cubicBezTo>
                  <a:pt x="2292" y="970"/>
                  <a:pt x="2292" y="970"/>
                  <a:pt x="2292" y="970"/>
                </a:cubicBezTo>
                <a:cubicBezTo>
                  <a:pt x="2291" y="969"/>
                  <a:pt x="2291" y="969"/>
                  <a:pt x="2291" y="969"/>
                </a:cubicBezTo>
                <a:cubicBezTo>
                  <a:pt x="2290" y="969"/>
                  <a:pt x="2290" y="969"/>
                  <a:pt x="2290" y="969"/>
                </a:cubicBezTo>
                <a:cubicBezTo>
                  <a:pt x="2289" y="969"/>
                  <a:pt x="2289" y="969"/>
                  <a:pt x="2289" y="969"/>
                </a:cubicBezTo>
                <a:cubicBezTo>
                  <a:pt x="2289" y="968"/>
                  <a:pt x="2289" y="968"/>
                  <a:pt x="2289" y="968"/>
                </a:cubicBezTo>
                <a:cubicBezTo>
                  <a:pt x="2288" y="967"/>
                  <a:pt x="2288" y="967"/>
                  <a:pt x="2288" y="967"/>
                </a:cubicBezTo>
                <a:cubicBezTo>
                  <a:pt x="2288" y="966"/>
                  <a:pt x="2288" y="966"/>
                  <a:pt x="2288" y="966"/>
                </a:cubicBezTo>
                <a:cubicBezTo>
                  <a:pt x="2286" y="964"/>
                  <a:pt x="2286" y="964"/>
                  <a:pt x="2286" y="964"/>
                </a:cubicBezTo>
                <a:cubicBezTo>
                  <a:pt x="2285" y="964"/>
                  <a:pt x="2285" y="964"/>
                  <a:pt x="2285" y="964"/>
                </a:cubicBezTo>
                <a:cubicBezTo>
                  <a:pt x="2286" y="963"/>
                  <a:pt x="2286" y="963"/>
                  <a:pt x="2286" y="963"/>
                </a:cubicBezTo>
                <a:cubicBezTo>
                  <a:pt x="2285" y="961"/>
                  <a:pt x="2285" y="961"/>
                  <a:pt x="2285" y="961"/>
                </a:cubicBezTo>
                <a:cubicBezTo>
                  <a:pt x="2286" y="960"/>
                  <a:pt x="2286" y="960"/>
                  <a:pt x="2286" y="960"/>
                </a:cubicBezTo>
                <a:cubicBezTo>
                  <a:pt x="2286" y="958"/>
                  <a:pt x="2286" y="958"/>
                  <a:pt x="2286" y="958"/>
                </a:cubicBezTo>
                <a:cubicBezTo>
                  <a:pt x="2286" y="957"/>
                  <a:pt x="2286" y="957"/>
                  <a:pt x="2286" y="957"/>
                </a:cubicBezTo>
                <a:cubicBezTo>
                  <a:pt x="2286" y="956"/>
                  <a:pt x="2286" y="956"/>
                  <a:pt x="2286" y="956"/>
                </a:cubicBezTo>
                <a:cubicBezTo>
                  <a:pt x="2285" y="955"/>
                  <a:pt x="2285" y="955"/>
                  <a:pt x="2285" y="955"/>
                </a:cubicBezTo>
                <a:cubicBezTo>
                  <a:pt x="2285" y="956"/>
                  <a:pt x="2285" y="956"/>
                  <a:pt x="2285" y="956"/>
                </a:cubicBezTo>
                <a:cubicBezTo>
                  <a:pt x="2285" y="957"/>
                  <a:pt x="2285" y="957"/>
                  <a:pt x="2285" y="957"/>
                </a:cubicBezTo>
                <a:cubicBezTo>
                  <a:pt x="2282" y="954"/>
                  <a:pt x="2282" y="954"/>
                  <a:pt x="2282" y="954"/>
                </a:cubicBezTo>
                <a:cubicBezTo>
                  <a:pt x="2282" y="953"/>
                  <a:pt x="2282" y="953"/>
                  <a:pt x="2282" y="953"/>
                </a:cubicBezTo>
                <a:cubicBezTo>
                  <a:pt x="2281" y="953"/>
                  <a:pt x="2281" y="953"/>
                  <a:pt x="2281" y="953"/>
                </a:cubicBezTo>
                <a:cubicBezTo>
                  <a:pt x="2281" y="954"/>
                  <a:pt x="2281" y="954"/>
                  <a:pt x="2281" y="954"/>
                </a:cubicBezTo>
                <a:cubicBezTo>
                  <a:pt x="2281" y="955"/>
                  <a:pt x="2281" y="955"/>
                  <a:pt x="2281" y="955"/>
                </a:cubicBezTo>
                <a:cubicBezTo>
                  <a:pt x="2281" y="957"/>
                  <a:pt x="2281" y="957"/>
                  <a:pt x="2281" y="957"/>
                </a:cubicBezTo>
                <a:cubicBezTo>
                  <a:pt x="2280" y="955"/>
                  <a:pt x="2280" y="955"/>
                  <a:pt x="2280" y="955"/>
                </a:cubicBezTo>
                <a:cubicBezTo>
                  <a:pt x="2279" y="956"/>
                  <a:pt x="2279" y="956"/>
                  <a:pt x="2279" y="956"/>
                </a:cubicBezTo>
                <a:cubicBezTo>
                  <a:pt x="2279" y="955"/>
                  <a:pt x="2279" y="955"/>
                  <a:pt x="2279" y="955"/>
                </a:cubicBezTo>
                <a:cubicBezTo>
                  <a:pt x="2279" y="954"/>
                  <a:pt x="2279" y="954"/>
                  <a:pt x="2279" y="954"/>
                </a:cubicBezTo>
                <a:cubicBezTo>
                  <a:pt x="2279" y="950"/>
                  <a:pt x="2279" y="950"/>
                  <a:pt x="2279" y="950"/>
                </a:cubicBezTo>
                <a:cubicBezTo>
                  <a:pt x="2279" y="949"/>
                  <a:pt x="2279" y="949"/>
                  <a:pt x="2279" y="949"/>
                </a:cubicBezTo>
                <a:cubicBezTo>
                  <a:pt x="2278" y="948"/>
                  <a:pt x="2278" y="948"/>
                  <a:pt x="2278" y="948"/>
                </a:cubicBezTo>
                <a:cubicBezTo>
                  <a:pt x="2278" y="947"/>
                  <a:pt x="2278" y="947"/>
                  <a:pt x="2278" y="947"/>
                </a:cubicBezTo>
                <a:cubicBezTo>
                  <a:pt x="2277" y="947"/>
                  <a:pt x="2277" y="947"/>
                  <a:pt x="2277" y="947"/>
                </a:cubicBezTo>
                <a:cubicBezTo>
                  <a:pt x="2278" y="946"/>
                  <a:pt x="2278" y="946"/>
                  <a:pt x="2278" y="946"/>
                </a:cubicBezTo>
                <a:cubicBezTo>
                  <a:pt x="2276" y="944"/>
                  <a:pt x="2276" y="944"/>
                  <a:pt x="2276" y="944"/>
                </a:cubicBezTo>
                <a:cubicBezTo>
                  <a:pt x="2275" y="943"/>
                  <a:pt x="2275" y="943"/>
                  <a:pt x="2275" y="943"/>
                </a:cubicBezTo>
                <a:cubicBezTo>
                  <a:pt x="2275" y="941"/>
                  <a:pt x="2275" y="941"/>
                  <a:pt x="2275" y="941"/>
                </a:cubicBezTo>
                <a:cubicBezTo>
                  <a:pt x="2276" y="941"/>
                  <a:pt x="2276" y="941"/>
                  <a:pt x="2276" y="941"/>
                </a:cubicBezTo>
                <a:cubicBezTo>
                  <a:pt x="2276" y="940"/>
                  <a:pt x="2276" y="940"/>
                  <a:pt x="2276" y="940"/>
                </a:cubicBezTo>
                <a:cubicBezTo>
                  <a:pt x="2275" y="938"/>
                  <a:pt x="2275" y="938"/>
                  <a:pt x="2275" y="938"/>
                </a:cubicBezTo>
                <a:cubicBezTo>
                  <a:pt x="2275" y="939"/>
                  <a:pt x="2275" y="939"/>
                  <a:pt x="2275" y="939"/>
                </a:cubicBezTo>
                <a:cubicBezTo>
                  <a:pt x="2273" y="938"/>
                  <a:pt x="2273" y="938"/>
                  <a:pt x="2273" y="938"/>
                </a:cubicBezTo>
                <a:cubicBezTo>
                  <a:pt x="2272" y="937"/>
                  <a:pt x="2272" y="937"/>
                  <a:pt x="2272" y="937"/>
                </a:cubicBezTo>
                <a:cubicBezTo>
                  <a:pt x="2271" y="937"/>
                  <a:pt x="2271" y="937"/>
                  <a:pt x="2271" y="937"/>
                </a:cubicBezTo>
                <a:cubicBezTo>
                  <a:pt x="2270" y="936"/>
                  <a:pt x="2270" y="936"/>
                  <a:pt x="2270" y="936"/>
                </a:cubicBezTo>
                <a:cubicBezTo>
                  <a:pt x="2269" y="936"/>
                  <a:pt x="2269" y="936"/>
                  <a:pt x="2269" y="936"/>
                </a:cubicBezTo>
                <a:cubicBezTo>
                  <a:pt x="2268" y="935"/>
                  <a:pt x="2268" y="935"/>
                  <a:pt x="2268" y="935"/>
                </a:cubicBezTo>
                <a:cubicBezTo>
                  <a:pt x="2267" y="936"/>
                  <a:pt x="2267" y="936"/>
                  <a:pt x="2267" y="936"/>
                </a:cubicBezTo>
                <a:cubicBezTo>
                  <a:pt x="2267" y="935"/>
                  <a:pt x="2267" y="935"/>
                  <a:pt x="2267" y="935"/>
                </a:cubicBezTo>
                <a:cubicBezTo>
                  <a:pt x="2269" y="934"/>
                  <a:pt x="2269" y="934"/>
                  <a:pt x="2269" y="934"/>
                </a:cubicBezTo>
                <a:cubicBezTo>
                  <a:pt x="2268" y="933"/>
                  <a:pt x="2268" y="933"/>
                  <a:pt x="2268" y="933"/>
                </a:cubicBezTo>
                <a:cubicBezTo>
                  <a:pt x="2267" y="933"/>
                  <a:pt x="2267" y="933"/>
                  <a:pt x="2267" y="933"/>
                </a:cubicBezTo>
                <a:cubicBezTo>
                  <a:pt x="2266" y="933"/>
                  <a:pt x="2266" y="933"/>
                  <a:pt x="2266" y="933"/>
                </a:cubicBezTo>
                <a:cubicBezTo>
                  <a:pt x="2266" y="932"/>
                  <a:pt x="2266" y="932"/>
                  <a:pt x="2266" y="932"/>
                </a:cubicBezTo>
                <a:cubicBezTo>
                  <a:pt x="2265" y="932"/>
                  <a:pt x="2265" y="932"/>
                  <a:pt x="2265" y="932"/>
                </a:cubicBezTo>
                <a:cubicBezTo>
                  <a:pt x="2262" y="931"/>
                  <a:pt x="2262" y="931"/>
                  <a:pt x="2262" y="931"/>
                </a:cubicBezTo>
                <a:cubicBezTo>
                  <a:pt x="2261" y="928"/>
                  <a:pt x="2261" y="928"/>
                  <a:pt x="2261" y="928"/>
                </a:cubicBezTo>
                <a:cubicBezTo>
                  <a:pt x="2261" y="927"/>
                  <a:pt x="2261" y="927"/>
                  <a:pt x="2261" y="927"/>
                </a:cubicBezTo>
                <a:cubicBezTo>
                  <a:pt x="2261" y="926"/>
                  <a:pt x="2261" y="926"/>
                  <a:pt x="2261" y="926"/>
                </a:cubicBezTo>
                <a:cubicBezTo>
                  <a:pt x="2260" y="925"/>
                  <a:pt x="2260" y="925"/>
                  <a:pt x="2260" y="925"/>
                </a:cubicBezTo>
                <a:cubicBezTo>
                  <a:pt x="2260" y="923"/>
                  <a:pt x="2260" y="923"/>
                  <a:pt x="2260" y="923"/>
                </a:cubicBezTo>
                <a:cubicBezTo>
                  <a:pt x="2261" y="923"/>
                  <a:pt x="2261" y="923"/>
                  <a:pt x="2261" y="923"/>
                </a:cubicBezTo>
                <a:cubicBezTo>
                  <a:pt x="2261" y="921"/>
                  <a:pt x="2261" y="921"/>
                  <a:pt x="2261" y="921"/>
                </a:cubicBezTo>
                <a:cubicBezTo>
                  <a:pt x="2261" y="917"/>
                  <a:pt x="2261" y="917"/>
                  <a:pt x="2261" y="917"/>
                </a:cubicBezTo>
                <a:cubicBezTo>
                  <a:pt x="2260" y="916"/>
                  <a:pt x="2260" y="916"/>
                  <a:pt x="2260" y="916"/>
                </a:cubicBezTo>
                <a:cubicBezTo>
                  <a:pt x="2261" y="916"/>
                  <a:pt x="2261" y="916"/>
                  <a:pt x="2261" y="916"/>
                </a:cubicBezTo>
                <a:cubicBezTo>
                  <a:pt x="2260" y="915"/>
                  <a:pt x="2260" y="915"/>
                  <a:pt x="2260" y="915"/>
                </a:cubicBezTo>
                <a:cubicBezTo>
                  <a:pt x="2259" y="915"/>
                  <a:pt x="2259" y="915"/>
                  <a:pt x="2259" y="915"/>
                </a:cubicBezTo>
                <a:cubicBezTo>
                  <a:pt x="2258" y="912"/>
                  <a:pt x="2258" y="912"/>
                  <a:pt x="2258" y="912"/>
                </a:cubicBezTo>
                <a:cubicBezTo>
                  <a:pt x="2258" y="909"/>
                  <a:pt x="2258" y="909"/>
                  <a:pt x="2258" y="909"/>
                </a:cubicBezTo>
                <a:cubicBezTo>
                  <a:pt x="2258" y="908"/>
                  <a:pt x="2258" y="908"/>
                  <a:pt x="2258" y="908"/>
                </a:cubicBezTo>
                <a:cubicBezTo>
                  <a:pt x="2258" y="907"/>
                  <a:pt x="2258" y="907"/>
                  <a:pt x="2258" y="907"/>
                </a:cubicBezTo>
                <a:cubicBezTo>
                  <a:pt x="2257" y="904"/>
                  <a:pt x="2257" y="904"/>
                  <a:pt x="2257" y="904"/>
                </a:cubicBezTo>
                <a:cubicBezTo>
                  <a:pt x="2258" y="903"/>
                  <a:pt x="2258" y="903"/>
                  <a:pt x="2258" y="903"/>
                </a:cubicBezTo>
                <a:cubicBezTo>
                  <a:pt x="2257" y="901"/>
                  <a:pt x="2257" y="901"/>
                  <a:pt x="2257" y="901"/>
                </a:cubicBezTo>
                <a:cubicBezTo>
                  <a:pt x="2258" y="901"/>
                  <a:pt x="2258" y="901"/>
                  <a:pt x="2258" y="901"/>
                </a:cubicBezTo>
                <a:cubicBezTo>
                  <a:pt x="2258" y="900"/>
                  <a:pt x="2258" y="900"/>
                  <a:pt x="2258" y="900"/>
                </a:cubicBezTo>
                <a:cubicBezTo>
                  <a:pt x="2256" y="898"/>
                  <a:pt x="2256" y="898"/>
                  <a:pt x="2256" y="898"/>
                </a:cubicBezTo>
                <a:cubicBezTo>
                  <a:pt x="2254" y="897"/>
                  <a:pt x="2254" y="897"/>
                  <a:pt x="2254" y="897"/>
                </a:cubicBezTo>
                <a:cubicBezTo>
                  <a:pt x="2255" y="897"/>
                  <a:pt x="2255" y="897"/>
                  <a:pt x="2255" y="897"/>
                </a:cubicBezTo>
                <a:cubicBezTo>
                  <a:pt x="2253" y="895"/>
                  <a:pt x="2253" y="895"/>
                  <a:pt x="2253" y="895"/>
                </a:cubicBezTo>
                <a:cubicBezTo>
                  <a:pt x="2252" y="896"/>
                  <a:pt x="2252" y="896"/>
                  <a:pt x="2252" y="896"/>
                </a:cubicBezTo>
                <a:cubicBezTo>
                  <a:pt x="2251" y="896"/>
                  <a:pt x="2251" y="896"/>
                  <a:pt x="2251" y="896"/>
                </a:cubicBezTo>
                <a:cubicBezTo>
                  <a:pt x="2251" y="897"/>
                  <a:pt x="2251" y="897"/>
                  <a:pt x="2251" y="897"/>
                </a:cubicBezTo>
                <a:cubicBezTo>
                  <a:pt x="2250" y="897"/>
                  <a:pt x="2250" y="897"/>
                  <a:pt x="2250" y="897"/>
                </a:cubicBezTo>
                <a:cubicBezTo>
                  <a:pt x="2248" y="895"/>
                  <a:pt x="2248" y="895"/>
                  <a:pt x="2248" y="895"/>
                </a:cubicBezTo>
                <a:cubicBezTo>
                  <a:pt x="2248" y="894"/>
                  <a:pt x="2248" y="894"/>
                  <a:pt x="2248" y="894"/>
                </a:cubicBezTo>
                <a:cubicBezTo>
                  <a:pt x="2248" y="892"/>
                  <a:pt x="2248" y="892"/>
                  <a:pt x="2248" y="892"/>
                </a:cubicBezTo>
                <a:cubicBezTo>
                  <a:pt x="2248" y="890"/>
                  <a:pt x="2248" y="890"/>
                  <a:pt x="2248" y="890"/>
                </a:cubicBezTo>
                <a:cubicBezTo>
                  <a:pt x="2248" y="887"/>
                  <a:pt x="2248" y="887"/>
                  <a:pt x="2248" y="887"/>
                </a:cubicBezTo>
                <a:cubicBezTo>
                  <a:pt x="2247" y="887"/>
                  <a:pt x="2247" y="887"/>
                  <a:pt x="2247" y="887"/>
                </a:cubicBezTo>
                <a:cubicBezTo>
                  <a:pt x="2247" y="886"/>
                  <a:pt x="2247" y="886"/>
                  <a:pt x="2247" y="886"/>
                </a:cubicBezTo>
                <a:cubicBezTo>
                  <a:pt x="2247" y="885"/>
                  <a:pt x="2247" y="885"/>
                  <a:pt x="2247" y="885"/>
                </a:cubicBezTo>
                <a:cubicBezTo>
                  <a:pt x="2246" y="884"/>
                  <a:pt x="2246" y="884"/>
                  <a:pt x="2246" y="884"/>
                </a:cubicBezTo>
                <a:cubicBezTo>
                  <a:pt x="2246" y="883"/>
                  <a:pt x="2246" y="883"/>
                  <a:pt x="2246" y="883"/>
                </a:cubicBezTo>
                <a:cubicBezTo>
                  <a:pt x="2246" y="882"/>
                  <a:pt x="2246" y="882"/>
                  <a:pt x="2246" y="882"/>
                </a:cubicBezTo>
                <a:cubicBezTo>
                  <a:pt x="2246" y="881"/>
                  <a:pt x="2246" y="881"/>
                  <a:pt x="2246" y="881"/>
                </a:cubicBezTo>
                <a:cubicBezTo>
                  <a:pt x="2247" y="880"/>
                  <a:pt x="2247" y="880"/>
                  <a:pt x="2247" y="880"/>
                </a:cubicBezTo>
                <a:cubicBezTo>
                  <a:pt x="2246" y="879"/>
                  <a:pt x="2246" y="879"/>
                  <a:pt x="2246" y="879"/>
                </a:cubicBezTo>
                <a:cubicBezTo>
                  <a:pt x="2245" y="880"/>
                  <a:pt x="2245" y="880"/>
                  <a:pt x="2245" y="880"/>
                </a:cubicBezTo>
                <a:cubicBezTo>
                  <a:pt x="2244" y="879"/>
                  <a:pt x="2244" y="879"/>
                  <a:pt x="2244" y="879"/>
                </a:cubicBezTo>
                <a:cubicBezTo>
                  <a:pt x="2244" y="876"/>
                  <a:pt x="2244" y="876"/>
                  <a:pt x="2244" y="876"/>
                </a:cubicBezTo>
                <a:cubicBezTo>
                  <a:pt x="2244" y="875"/>
                  <a:pt x="2244" y="875"/>
                  <a:pt x="2244" y="875"/>
                </a:cubicBezTo>
                <a:cubicBezTo>
                  <a:pt x="2244" y="874"/>
                  <a:pt x="2244" y="874"/>
                  <a:pt x="2244" y="874"/>
                </a:cubicBezTo>
                <a:cubicBezTo>
                  <a:pt x="2242" y="873"/>
                  <a:pt x="2242" y="873"/>
                  <a:pt x="2242" y="873"/>
                </a:cubicBezTo>
                <a:cubicBezTo>
                  <a:pt x="2242" y="872"/>
                  <a:pt x="2242" y="872"/>
                  <a:pt x="2242" y="872"/>
                </a:cubicBezTo>
                <a:cubicBezTo>
                  <a:pt x="2241" y="873"/>
                  <a:pt x="2241" y="873"/>
                  <a:pt x="2241" y="873"/>
                </a:cubicBezTo>
                <a:cubicBezTo>
                  <a:pt x="2240" y="874"/>
                  <a:pt x="2240" y="874"/>
                  <a:pt x="2240" y="874"/>
                </a:cubicBezTo>
                <a:cubicBezTo>
                  <a:pt x="2240" y="876"/>
                  <a:pt x="2240" y="876"/>
                  <a:pt x="2240" y="876"/>
                </a:cubicBezTo>
                <a:cubicBezTo>
                  <a:pt x="2239" y="878"/>
                  <a:pt x="2239" y="878"/>
                  <a:pt x="2239" y="878"/>
                </a:cubicBezTo>
                <a:cubicBezTo>
                  <a:pt x="2239" y="879"/>
                  <a:pt x="2239" y="879"/>
                  <a:pt x="2239" y="879"/>
                </a:cubicBezTo>
                <a:cubicBezTo>
                  <a:pt x="2239" y="880"/>
                  <a:pt x="2239" y="880"/>
                  <a:pt x="2239" y="880"/>
                </a:cubicBezTo>
                <a:cubicBezTo>
                  <a:pt x="2238" y="880"/>
                  <a:pt x="2238" y="880"/>
                  <a:pt x="2238" y="880"/>
                </a:cubicBezTo>
                <a:cubicBezTo>
                  <a:pt x="2238" y="882"/>
                  <a:pt x="2238" y="882"/>
                  <a:pt x="2238" y="882"/>
                </a:cubicBezTo>
                <a:cubicBezTo>
                  <a:pt x="2237" y="883"/>
                  <a:pt x="2237" y="883"/>
                  <a:pt x="2237" y="883"/>
                </a:cubicBezTo>
                <a:cubicBezTo>
                  <a:pt x="2237" y="884"/>
                  <a:pt x="2237" y="884"/>
                  <a:pt x="2237" y="884"/>
                </a:cubicBezTo>
                <a:cubicBezTo>
                  <a:pt x="2239" y="885"/>
                  <a:pt x="2239" y="885"/>
                  <a:pt x="2239" y="885"/>
                </a:cubicBezTo>
                <a:cubicBezTo>
                  <a:pt x="2238" y="886"/>
                  <a:pt x="2238" y="886"/>
                  <a:pt x="2238" y="886"/>
                </a:cubicBezTo>
                <a:cubicBezTo>
                  <a:pt x="2237" y="886"/>
                  <a:pt x="2237" y="886"/>
                  <a:pt x="2237" y="886"/>
                </a:cubicBezTo>
                <a:cubicBezTo>
                  <a:pt x="2237" y="887"/>
                  <a:pt x="2237" y="887"/>
                  <a:pt x="2237" y="887"/>
                </a:cubicBezTo>
                <a:cubicBezTo>
                  <a:pt x="2236" y="888"/>
                  <a:pt x="2236" y="888"/>
                  <a:pt x="2236" y="888"/>
                </a:cubicBezTo>
                <a:cubicBezTo>
                  <a:pt x="2237" y="890"/>
                  <a:pt x="2237" y="890"/>
                  <a:pt x="2237" y="890"/>
                </a:cubicBezTo>
                <a:cubicBezTo>
                  <a:pt x="2237" y="891"/>
                  <a:pt x="2237" y="891"/>
                  <a:pt x="2237" y="891"/>
                </a:cubicBezTo>
                <a:cubicBezTo>
                  <a:pt x="2236" y="890"/>
                  <a:pt x="2236" y="890"/>
                  <a:pt x="2236" y="890"/>
                </a:cubicBezTo>
                <a:cubicBezTo>
                  <a:pt x="2235" y="891"/>
                  <a:pt x="2235" y="891"/>
                  <a:pt x="2235" y="891"/>
                </a:cubicBezTo>
                <a:cubicBezTo>
                  <a:pt x="2235" y="894"/>
                  <a:pt x="2235" y="894"/>
                  <a:pt x="2235" y="894"/>
                </a:cubicBezTo>
                <a:cubicBezTo>
                  <a:pt x="2235" y="896"/>
                  <a:pt x="2235" y="896"/>
                  <a:pt x="2235" y="896"/>
                </a:cubicBezTo>
                <a:cubicBezTo>
                  <a:pt x="2235" y="898"/>
                  <a:pt x="2235" y="898"/>
                  <a:pt x="2235" y="898"/>
                </a:cubicBezTo>
                <a:cubicBezTo>
                  <a:pt x="2235" y="900"/>
                  <a:pt x="2235" y="900"/>
                  <a:pt x="2235" y="900"/>
                </a:cubicBezTo>
                <a:cubicBezTo>
                  <a:pt x="2235" y="902"/>
                  <a:pt x="2235" y="902"/>
                  <a:pt x="2235" y="902"/>
                </a:cubicBezTo>
                <a:cubicBezTo>
                  <a:pt x="2234" y="903"/>
                  <a:pt x="2234" y="903"/>
                  <a:pt x="2234" y="903"/>
                </a:cubicBezTo>
                <a:cubicBezTo>
                  <a:pt x="2234" y="904"/>
                  <a:pt x="2234" y="904"/>
                  <a:pt x="2234" y="904"/>
                </a:cubicBezTo>
                <a:cubicBezTo>
                  <a:pt x="2233" y="906"/>
                  <a:pt x="2233" y="906"/>
                  <a:pt x="2233" y="906"/>
                </a:cubicBezTo>
                <a:cubicBezTo>
                  <a:pt x="2233" y="910"/>
                  <a:pt x="2233" y="910"/>
                  <a:pt x="2233" y="910"/>
                </a:cubicBezTo>
                <a:cubicBezTo>
                  <a:pt x="2232" y="911"/>
                  <a:pt x="2232" y="911"/>
                  <a:pt x="2232" y="911"/>
                </a:cubicBezTo>
                <a:cubicBezTo>
                  <a:pt x="2232" y="912"/>
                  <a:pt x="2232" y="912"/>
                  <a:pt x="2232" y="912"/>
                </a:cubicBezTo>
                <a:cubicBezTo>
                  <a:pt x="2231" y="914"/>
                  <a:pt x="2231" y="914"/>
                  <a:pt x="2231" y="914"/>
                </a:cubicBezTo>
                <a:cubicBezTo>
                  <a:pt x="2230" y="915"/>
                  <a:pt x="2230" y="915"/>
                  <a:pt x="2230" y="915"/>
                </a:cubicBezTo>
                <a:cubicBezTo>
                  <a:pt x="2230" y="918"/>
                  <a:pt x="2230" y="918"/>
                  <a:pt x="2230" y="918"/>
                </a:cubicBezTo>
                <a:cubicBezTo>
                  <a:pt x="2228" y="919"/>
                  <a:pt x="2228" y="919"/>
                  <a:pt x="2228" y="919"/>
                </a:cubicBezTo>
                <a:cubicBezTo>
                  <a:pt x="2224" y="921"/>
                  <a:pt x="2224" y="921"/>
                  <a:pt x="2224" y="921"/>
                </a:cubicBezTo>
                <a:cubicBezTo>
                  <a:pt x="2222" y="920"/>
                  <a:pt x="2222" y="920"/>
                  <a:pt x="2222" y="920"/>
                </a:cubicBezTo>
                <a:cubicBezTo>
                  <a:pt x="2221" y="920"/>
                  <a:pt x="2221" y="920"/>
                  <a:pt x="2221" y="920"/>
                </a:cubicBezTo>
                <a:cubicBezTo>
                  <a:pt x="2220" y="918"/>
                  <a:pt x="2220" y="918"/>
                  <a:pt x="2220" y="918"/>
                </a:cubicBezTo>
                <a:cubicBezTo>
                  <a:pt x="2218" y="917"/>
                  <a:pt x="2218" y="917"/>
                  <a:pt x="2218" y="917"/>
                </a:cubicBezTo>
                <a:cubicBezTo>
                  <a:pt x="2218" y="916"/>
                  <a:pt x="2218" y="916"/>
                  <a:pt x="2218" y="916"/>
                </a:cubicBezTo>
                <a:cubicBezTo>
                  <a:pt x="2217" y="915"/>
                  <a:pt x="2217" y="915"/>
                  <a:pt x="2217" y="915"/>
                </a:cubicBezTo>
                <a:cubicBezTo>
                  <a:pt x="2216" y="914"/>
                  <a:pt x="2216" y="914"/>
                  <a:pt x="2216" y="914"/>
                </a:cubicBezTo>
                <a:cubicBezTo>
                  <a:pt x="2215" y="914"/>
                  <a:pt x="2215" y="914"/>
                  <a:pt x="2215" y="914"/>
                </a:cubicBezTo>
                <a:cubicBezTo>
                  <a:pt x="2213" y="914"/>
                  <a:pt x="2213" y="914"/>
                  <a:pt x="2213" y="914"/>
                </a:cubicBezTo>
                <a:cubicBezTo>
                  <a:pt x="2211" y="913"/>
                  <a:pt x="2211" y="913"/>
                  <a:pt x="2211" y="913"/>
                </a:cubicBezTo>
                <a:cubicBezTo>
                  <a:pt x="2211" y="911"/>
                  <a:pt x="2211" y="911"/>
                  <a:pt x="2211" y="911"/>
                </a:cubicBezTo>
                <a:cubicBezTo>
                  <a:pt x="2209" y="910"/>
                  <a:pt x="2209" y="910"/>
                  <a:pt x="2209" y="910"/>
                </a:cubicBezTo>
                <a:cubicBezTo>
                  <a:pt x="2208" y="910"/>
                  <a:pt x="2208" y="910"/>
                  <a:pt x="2208" y="910"/>
                </a:cubicBezTo>
                <a:cubicBezTo>
                  <a:pt x="2206" y="909"/>
                  <a:pt x="2206" y="909"/>
                  <a:pt x="2206" y="909"/>
                </a:cubicBezTo>
                <a:cubicBezTo>
                  <a:pt x="2206" y="908"/>
                  <a:pt x="2206" y="908"/>
                  <a:pt x="2206" y="908"/>
                </a:cubicBezTo>
                <a:cubicBezTo>
                  <a:pt x="2205" y="908"/>
                  <a:pt x="2205" y="908"/>
                  <a:pt x="2205" y="908"/>
                </a:cubicBezTo>
                <a:cubicBezTo>
                  <a:pt x="2205" y="907"/>
                  <a:pt x="2205" y="907"/>
                  <a:pt x="2205" y="907"/>
                </a:cubicBezTo>
                <a:cubicBezTo>
                  <a:pt x="2203" y="907"/>
                  <a:pt x="2203" y="907"/>
                  <a:pt x="2203" y="907"/>
                </a:cubicBezTo>
                <a:cubicBezTo>
                  <a:pt x="2202" y="907"/>
                  <a:pt x="2202" y="907"/>
                  <a:pt x="2202" y="907"/>
                </a:cubicBezTo>
                <a:cubicBezTo>
                  <a:pt x="2202" y="906"/>
                  <a:pt x="2202" y="906"/>
                  <a:pt x="2202" y="906"/>
                </a:cubicBezTo>
                <a:cubicBezTo>
                  <a:pt x="2201" y="905"/>
                  <a:pt x="2201" y="905"/>
                  <a:pt x="2201" y="905"/>
                </a:cubicBezTo>
                <a:cubicBezTo>
                  <a:pt x="2201" y="904"/>
                  <a:pt x="2201" y="904"/>
                  <a:pt x="2201" y="904"/>
                </a:cubicBezTo>
                <a:cubicBezTo>
                  <a:pt x="2199" y="902"/>
                  <a:pt x="2199" y="902"/>
                  <a:pt x="2199" y="902"/>
                </a:cubicBezTo>
                <a:cubicBezTo>
                  <a:pt x="2198" y="902"/>
                  <a:pt x="2198" y="902"/>
                  <a:pt x="2198" y="902"/>
                </a:cubicBezTo>
                <a:cubicBezTo>
                  <a:pt x="2197" y="900"/>
                  <a:pt x="2197" y="900"/>
                  <a:pt x="2197" y="900"/>
                </a:cubicBezTo>
                <a:cubicBezTo>
                  <a:pt x="2196" y="899"/>
                  <a:pt x="2196" y="899"/>
                  <a:pt x="2196" y="899"/>
                </a:cubicBezTo>
                <a:cubicBezTo>
                  <a:pt x="2198" y="897"/>
                  <a:pt x="2198" y="897"/>
                  <a:pt x="2198" y="897"/>
                </a:cubicBezTo>
                <a:cubicBezTo>
                  <a:pt x="2198" y="895"/>
                  <a:pt x="2198" y="895"/>
                  <a:pt x="2198" y="895"/>
                </a:cubicBezTo>
                <a:cubicBezTo>
                  <a:pt x="2199" y="895"/>
                  <a:pt x="2199" y="895"/>
                  <a:pt x="2199" y="895"/>
                </a:cubicBezTo>
                <a:cubicBezTo>
                  <a:pt x="2200" y="893"/>
                  <a:pt x="2200" y="893"/>
                  <a:pt x="2200" y="893"/>
                </a:cubicBezTo>
                <a:cubicBezTo>
                  <a:pt x="2200" y="892"/>
                  <a:pt x="2200" y="892"/>
                  <a:pt x="2200" y="892"/>
                </a:cubicBezTo>
                <a:cubicBezTo>
                  <a:pt x="2199" y="893"/>
                  <a:pt x="2199" y="893"/>
                  <a:pt x="2199" y="893"/>
                </a:cubicBezTo>
                <a:cubicBezTo>
                  <a:pt x="2198" y="891"/>
                  <a:pt x="2198" y="891"/>
                  <a:pt x="2198" y="891"/>
                </a:cubicBezTo>
                <a:cubicBezTo>
                  <a:pt x="2199" y="890"/>
                  <a:pt x="2199" y="890"/>
                  <a:pt x="2199" y="890"/>
                </a:cubicBezTo>
                <a:cubicBezTo>
                  <a:pt x="2199" y="889"/>
                  <a:pt x="2199" y="889"/>
                  <a:pt x="2199" y="889"/>
                </a:cubicBezTo>
                <a:cubicBezTo>
                  <a:pt x="2200" y="889"/>
                  <a:pt x="2200" y="889"/>
                  <a:pt x="2200" y="889"/>
                </a:cubicBezTo>
                <a:cubicBezTo>
                  <a:pt x="2201" y="888"/>
                  <a:pt x="2201" y="888"/>
                  <a:pt x="2201" y="888"/>
                </a:cubicBezTo>
                <a:cubicBezTo>
                  <a:pt x="2201" y="889"/>
                  <a:pt x="2201" y="889"/>
                  <a:pt x="2201" y="889"/>
                </a:cubicBezTo>
                <a:cubicBezTo>
                  <a:pt x="2202" y="889"/>
                  <a:pt x="2202" y="889"/>
                  <a:pt x="2202" y="889"/>
                </a:cubicBezTo>
                <a:cubicBezTo>
                  <a:pt x="2204" y="888"/>
                  <a:pt x="2204" y="888"/>
                  <a:pt x="2204" y="888"/>
                </a:cubicBezTo>
                <a:cubicBezTo>
                  <a:pt x="2204" y="887"/>
                  <a:pt x="2204" y="887"/>
                  <a:pt x="2204" y="887"/>
                </a:cubicBezTo>
                <a:cubicBezTo>
                  <a:pt x="2203" y="886"/>
                  <a:pt x="2203" y="886"/>
                  <a:pt x="2203" y="886"/>
                </a:cubicBezTo>
                <a:cubicBezTo>
                  <a:pt x="2204" y="885"/>
                  <a:pt x="2204" y="885"/>
                  <a:pt x="2204" y="885"/>
                </a:cubicBezTo>
                <a:cubicBezTo>
                  <a:pt x="2205" y="886"/>
                  <a:pt x="2205" y="886"/>
                  <a:pt x="2205" y="886"/>
                </a:cubicBezTo>
                <a:cubicBezTo>
                  <a:pt x="2205" y="883"/>
                  <a:pt x="2205" y="883"/>
                  <a:pt x="2205" y="883"/>
                </a:cubicBezTo>
                <a:cubicBezTo>
                  <a:pt x="2206" y="883"/>
                  <a:pt x="2206" y="883"/>
                  <a:pt x="2206" y="883"/>
                </a:cubicBezTo>
                <a:cubicBezTo>
                  <a:pt x="2207" y="882"/>
                  <a:pt x="2207" y="882"/>
                  <a:pt x="2207" y="882"/>
                </a:cubicBezTo>
                <a:cubicBezTo>
                  <a:pt x="2207" y="881"/>
                  <a:pt x="2207" y="881"/>
                  <a:pt x="2207" y="881"/>
                </a:cubicBezTo>
                <a:cubicBezTo>
                  <a:pt x="2206" y="881"/>
                  <a:pt x="2206" y="881"/>
                  <a:pt x="2206" y="881"/>
                </a:cubicBezTo>
                <a:cubicBezTo>
                  <a:pt x="2205" y="882"/>
                  <a:pt x="2205" y="882"/>
                  <a:pt x="2205" y="882"/>
                </a:cubicBezTo>
                <a:cubicBezTo>
                  <a:pt x="2204" y="881"/>
                  <a:pt x="2204" y="881"/>
                  <a:pt x="2204" y="881"/>
                </a:cubicBezTo>
                <a:cubicBezTo>
                  <a:pt x="2204" y="879"/>
                  <a:pt x="2204" y="879"/>
                  <a:pt x="2204" y="879"/>
                </a:cubicBezTo>
                <a:cubicBezTo>
                  <a:pt x="2203" y="880"/>
                  <a:pt x="2203" y="880"/>
                  <a:pt x="2203" y="880"/>
                </a:cubicBezTo>
                <a:cubicBezTo>
                  <a:pt x="2201" y="881"/>
                  <a:pt x="2201" y="881"/>
                  <a:pt x="2201" y="881"/>
                </a:cubicBezTo>
                <a:cubicBezTo>
                  <a:pt x="2202" y="882"/>
                  <a:pt x="2202" y="882"/>
                  <a:pt x="2202" y="882"/>
                </a:cubicBezTo>
                <a:cubicBezTo>
                  <a:pt x="2202" y="883"/>
                  <a:pt x="2202" y="883"/>
                  <a:pt x="2202" y="883"/>
                </a:cubicBezTo>
                <a:cubicBezTo>
                  <a:pt x="2201" y="883"/>
                  <a:pt x="2201" y="883"/>
                  <a:pt x="2201" y="883"/>
                </a:cubicBezTo>
                <a:cubicBezTo>
                  <a:pt x="2200" y="882"/>
                  <a:pt x="2200" y="882"/>
                  <a:pt x="2200" y="882"/>
                </a:cubicBezTo>
                <a:cubicBezTo>
                  <a:pt x="2199" y="881"/>
                  <a:pt x="2199" y="881"/>
                  <a:pt x="2199" y="881"/>
                </a:cubicBezTo>
                <a:cubicBezTo>
                  <a:pt x="2199" y="882"/>
                  <a:pt x="2199" y="882"/>
                  <a:pt x="2199" y="882"/>
                </a:cubicBezTo>
                <a:cubicBezTo>
                  <a:pt x="2198" y="882"/>
                  <a:pt x="2198" y="882"/>
                  <a:pt x="2198" y="882"/>
                </a:cubicBezTo>
                <a:cubicBezTo>
                  <a:pt x="2198" y="881"/>
                  <a:pt x="2198" y="881"/>
                  <a:pt x="2198" y="881"/>
                </a:cubicBezTo>
                <a:cubicBezTo>
                  <a:pt x="2197" y="881"/>
                  <a:pt x="2197" y="881"/>
                  <a:pt x="2197" y="881"/>
                </a:cubicBezTo>
                <a:cubicBezTo>
                  <a:pt x="2197" y="880"/>
                  <a:pt x="2197" y="880"/>
                  <a:pt x="2197" y="880"/>
                </a:cubicBezTo>
                <a:cubicBezTo>
                  <a:pt x="2196" y="881"/>
                  <a:pt x="2196" y="881"/>
                  <a:pt x="2196" y="881"/>
                </a:cubicBezTo>
                <a:cubicBezTo>
                  <a:pt x="2196" y="882"/>
                  <a:pt x="2196" y="882"/>
                  <a:pt x="2196" y="882"/>
                </a:cubicBezTo>
                <a:cubicBezTo>
                  <a:pt x="2195" y="882"/>
                  <a:pt x="2195" y="882"/>
                  <a:pt x="2195" y="882"/>
                </a:cubicBezTo>
                <a:cubicBezTo>
                  <a:pt x="2194" y="881"/>
                  <a:pt x="2194" y="881"/>
                  <a:pt x="2194" y="881"/>
                </a:cubicBezTo>
                <a:cubicBezTo>
                  <a:pt x="2193" y="880"/>
                  <a:pt x="2193" y="880"/>
                  <a:pt x="2193" y="880"/>
                </a:cubicBezTo>
                <a:cubicBezTo>
                  <a:pt x="2192" y="879"/>
                  <a:pt x="2192" y="879"/>
                  <a:pt x="2192" y="879"/>
                </a:cubicBezTo>
                <a:cubicBezTo>
                  <a:pt x="2191" y="880"/>
                  <a:pt x="2191" y="880"/>
                  <a:pt x="2191" y="880"/>
                </a:cubicBezTo>
                <a:cubicBezTo>
                  <a:pt x="2190" y="880"/>
                  <a:pt x="2190" y="880"/>
                  <a:pt x="2190" y="880"/>
                </a:cubicBezTo>
                <a:cubicBezTo>
                  <a:pt x="2189" y="880"/>
                  <a:pt x="2189" y="880"/>
                  <a:pt x="2189" y="880"/>
                </a:cubicBezTo>
                <a:cubicBezTo>
                  <a:pt x="2189" y="879"/>
                  <a:pt x="2189" y="879"/>
                  <a:pt x="2189" y="879"/>
                </a:cubicBezTo>
                <a:cubicBezTo>
                  <a:pt x="2188" y="879"/>
                  <a:pt x="2188" y="879"/>
                  <a:pt x="2188" y="879"/>
                </a:cubicBezTo>
                <a:cubicBezTo>
                  <a:pt x="2187" y="878"/>
                  <a:pt x="2187" y="878"/>
                  <a:pt x="2187" y="878"/>
                </a:cubicBezTo>
                <a:cubicBezTo>
                  <a:pt x="2186" y="879"/>
                  <a:pt x="2186" y="879"/>
                  <a:pt x="2186" y="879"/>
                </a:cubicBezTo>
                <a:cubicBezTo>
                  <a:pt x="2184" y="878"/>
                  <a:pt x="2184" y="878"/>
                  <a:pt x="2184" y="878"/>
                </a:cubicBezTo>
                <a:cubicBezTo>
                  <a:pt x="2183" y="878"/>
                  <a:pt x="2183" y="878"/>
                  <a:pt x="2183" y="878"/>
                </a:cubicBezTo>
                <a:cubicBezTo>
                  <a:pt x="2183" y="877"/>
                  <a:pt x="2183" y="877"/>
                  <a:pt x="2183" y="877"/>
                </a:cubicBezTo>
                <a:cubicBezTo>
                  <a:pt x="2182" y="876"/>
                  <a:pt x="2182" y="876"/>
                  <a:pt x="2182" y="876"/>
                </a:cubicBezTo>
                <a:cubicBezTo>
                  <a:pt x="2180" y="877"/>
                  <a:pt x="2180" y="877"/>
                  <a:pt x="2180" y="877"/>
                </a:cubicBezTo>
                <a:cubicBezTo>
                  <a:pt x="2179" y="876"/>
                  <a:pt x="2179" y="876"/>
                  <a:pt x="2179" y="876"/>
                </a:cubicBezTo>
                <a:cubicBezTo>
                  <a:pt x="2178" y="875"/>
                  <a:pt x="2178" y="875"/>
                  <a:pt x="2178" y="875"/>
                </a:cubicBezTo>
                <a:cubicBezTo>
                  <a:pt x="2177" y="874"/>
                  <a:pt x="2177" y="874"/>
                  <a:pt x="2177" y="874"/>
                </a:cubicBezTo>
                <a:cubicBezTo>
                  <a:pt x="2176" y="875"/>
                  <a:pt x="2176" y="875"/>
                  <a:pt x="2176" y="875"/>
                </a:cubicBezTo>
                <a:cubicBezTo>
                  <a:pt x="2176" y="874"/>
                  <a:pt x="2176" y="874"/>
                  <a:pt x="2176" y="874"/>
                </a:cubicBezTo>
                <a:cubicBezTo>
                  <a:pt x="2174" y="875"/>
                  <a:pt x="2174" y="875"/>
                  <a:pt x="2174" y="875"/>
                </a:cubicBezTo>
                <a:cubicBezTo>
                  <a:pt x="2176" y="876"/>
                  <a:pt x="2176" y="876"/>
                  <a:pt x="2176" y="876"/>
                </a:cubicBezTo>
                <a:cubicBezTo>
                  <a:pt x="2175" y="876"/>
                  <a:pt x="2175" y="876"/>
                  <a:pt x="2175" y="876"/>
                </a:cubicBezTo>
                <a:cubicBezTo>
                  <a:pt x="2177" y="877"/>
                  <a:pt x="2177" y="877"/>
                  <a:pt x="2177" y="877"/>
                </a:cubicBezTo>
                <a:cubicBezTo>
                  <a:pt x="2178" y="876"/>
                  <a:pt x="2178" y="876"/>
                  <a:pt x="2178" y="876"/>
                </a:cubicBezTo>
                <a:cubicBezTo>
                  <a:pt x="2179" y="878"/>
                  <a:pt x="2179" y="878"/>
                  <a:pt x="2179" y="878"/>
                </a:cubicBezTo>
                <a:cubicBezTo>
                  <a:pt x="2180" y="880"/>
                  <a:pt x="2180" y="880"/>
                  <a:pt x="2180" y="880"/>
                </a:cubicBezTo>
                <a:cubicBezTo>
                  <a:pt x="2178" y="881"/>
                  <a:pt x="2178" y="881"/>
                  <a:pt x="2178" y="881"/>
                </a:cubicBezTo>
                <a:cubicBezTo>
                  <a:pt x="2178" y="882"/>
                  <a:pt x="2178" y="882"/>
                  <a:pt x="2178" y="882"/>
                </a:cubicBezTo>
                <a:cubicBezTo>
                  <a:pt x="2177" y="881"/>
                  <a:pt x="2177" y="881"/>
                  <a:pt x="2177" y="881"/>
                </a:cubicBezTo>
                <a:cubicBezTo>
                  <a:pt x="2176" y="881"/>
                  <a:pt x="2176" y="881"/>
                  <a:pt x="2176" y="881"/>
                </a:cubicBezTo>
                <a:cubicBezTo>
                  <a:pt x="2175" y="881"/>
                  <a:pt x="2175" y="881"/>
                  <a:pt x="2175" y="881"/>
                </a:cubicBezTo>
                <a:cubicBezTo>
                  <a:pt x="2172" y="882"/>
                  <a:pt x="2172" y="882"/>
                  <a:pt x="2172" y="882"/>
                </a:cubicBezTo>
                <a:cubicBezTo>
                  <a:pt x="2170" y="880"/>
                  <a:pt x="2170" y="880"/>
                  <a:pt x="2170" y="880"/>
                </a:cubicBezTo>
                <a:cubicBezTo>
                  <a:pt x="2170" y="881"/>
                  <a:pt x="2170" y="881"/>
                  <a:pt x="2170" y="881"/>
                </a:cubicBezTo>
                <a:cubicBezTo>
                  <a:pt x="2169" y="882"/>
                  <a:pt x="2169" y="882"/>
                  <a:pt x="2169" y="882"/>
                </a:cubicBezTo>
                <a:cubicBezTo>
                  <a:pt x="2169" y="883"/>
                  <a:pt x="2169" y="883"/>
                  <a:pt x="2169" y="883"/>
                </a:cubicBezTo>
                <a:cubicBezTo>
                  <a:pt x="2168" y="882"/>
                  <a:pt x="2168" y="882"/>
                  <a:pt x="2168" y="882"/>
                </a:cubicBezTo>
                <a:cubicBezTo>
                  <a:pt x="2168" y="884"/>
                  <a:pt x="2168" y="884"/>
                  <a:pt x="2168" y="884"/>
                </a:cubicBezTo>
                <a:cubicBezTo>
                  <a:pt x="2166" y="883"/>
                  <a:pt x="2166" y="883"/>
                  <a:pt x="2166" y="883"/>
                </a:cubicBezTo>
                <a:cubicBezTo>
                  <a:pt x="2166" y="884"/>
                  <a:pt x="2166" y="884"/>
                  <a:pt x="2166" y="884"/>
                </a:cubicBezTo>
                <a:cubicBezTo>
                  <a:pt x="2166" y="885"/>
                  <a:pt x="2166" y="885"/>
                  <a:pt x="2166" y="885"/>
                </a:cubicBezTo>
                <a:cubicBezTo>
                  <a:pt x="2165" y="885"/>
                  <a:pt x="2165" y="885"/>
                  <a:pt x="2165" y="885"/>
                </a:cubicBezTo>
                <a:cubicBezTo>
                  <a:pt x="2164" y="886"/>
                  <a:pt x="2164" y="886"/>
                  <a:pt x="2164" y="886"/>
                </a:cubicBezTo>
                <a:cubicBezTo>
                  <a:pt x="2164" y="887"/>
                  <a:pt x="2164" y="887"/>
                  <a:pt x="2164" y="887"/>
                </a:cubicBezTo>
                <a:cubicBezTo>
                  <a:pt x="2163" y="887"/>
                  <a:pt x="2163" y="887"/>
                  <a:pt x="2163" y="887"/>
                </a:cubicBezTo>
                <a:cubicBezTo>
                  <a:pt x="2163" y="888"/>
                  <a:pt x="2163" y="888"/>
                  <a:pt x="2163" y="888"/>
                </a:cubicBezTo>
                <a:cubicBezTo>
                  <a:pt x="2164" y="889"/>
                  <a:pt x="2164" y="889"/>
                  <a:pt x="2164" y="889"/>
                </a:cubicBezTo>
                <a:cubicBezTo>
                  <a:pt x="2164" y="890"/>
                  <a:pt x="2164" y="890"/>
                  <a:pt x="2164" y="890"/>
                </a:cubicBezTo>
                <a:cubicBezTo>
                  <a:pt x="2163" y="889"/>
                  <a:pt x="2163" y="889"/>
                  <a:pt x="2163" y="889"/>
                </a:cubicBezTo>
                <a:cubicBezTo>
                  <a:pt x="2162" y="890"/>
                  <a:pt x="2162" y="890"/>
                  <a:pt x="2162" y="890"/>
                </a:cubicBezTo>
                <a:cubicBezTo>
                  <a:pt x="2161" y="890"/>
                  <a:pt x="2161" y="890"/>
                  <a:pt x="2161" y="890"/>
                </a:cubicBezTo>
                <a:cubicBezTo>
                  <a:pt x="2160" y="892"/>
                  <a:pt x="2160" y="892"/>
                  <a:pt x="2160" y="892"/>
                </a:cubicBezTo>
                <a:cubicBezTo>
                  <a:pt x="2159" y="894"/>
                  <a:pt x="2159" y="894"/>
                  <a:pt x="2159" y="894"/>
                </a:cubicBezTo>
                <a:cubicBezTo>
                  <a:pt x="2158" y="894"/>
                  <a:pt x="2158" y="894"/>
                  <a:pt x="2158" y="894"/>
                </a:cubicBezTo>
                <a:cubicBezTo>
                  <a:pt x="2158" y="895"/>
                  <a:pt x="2158" y="895"/>
                  <a:pt x="2158" y="895"/>
                </a:cubicBezTo>
                <a:cubicBezTo>
                  <a:pt x="2157" y="896"/>
                  <a:pt x="2157" y="896"/>
                  <a:pt x="2157" y="896"/>
                </a:cubicBezTo>
                <a:cubicBezTo>
                  <a:pt x="2158" y="897"/>
                  <a:pt x="2158" y="897"/>
                  <a:pt x="2158" y="897"/>
                </a:cubicBezTo>
                <a:cubicBezTo>
                  <a:pt x="2160" y="897"/>
                  <a:pt x="2160" y="897"/>
                  <a:pt x="2160" y="897"/>
                </a:cubicBezTo>
                <a:cubicBezTo>
                  <a:pt x="2159" y="898"/>
                  <a:pt x="2159" y="898"/>
                  <a:pt x="2159" y="898"/>
                </a:cubicBezTo>
                <a:cubicBezTo>
                  <a:pt x="2158" y="898"/>
                  <a:pt x="2158" y="898"/>
                  <a:pt x="2158" y="898"/>
                </a:cubicBezTo>
                <a:cubicBezTo>
                  <a:pt x="2161" y="899"/>
                  <a:pt x="2161" y="899"/>
                  <a:pt x="2161" y="899"/>
                </a:cubicBezTo>
                <a:cubicBezTo>
                  <a:pt x="2160" y="900"/>
                  <a:pt x="2160" y="900"/>
                  <a:pt x="2160" y="900"/>
                </a:cubicBezTo>
                <a:cubicBezTo>
                  <a:pt x="2159" y="900"/>
                  <a:pt x="2159" y="900"/>
                  <a:pt x="2159" y="900"/>
                </a:cubicBezTo>
                <a:cubicBezTo>
                  <a:pt x="2159" y="902"/>
                  <a:pt x="2159" y="902"/>
                  <a:pt x="2159" y="902"/>
                </a:cubicBezTo>
                <a:cubicBezTo>
                  <a:pt x="2160" y="903"/>
                  <a:pt x="2160" y="903"/>
                  <a:pt x="2160" y="903"/>
                </a:cubicBezTo>
                <a:cubicBezTo>
                  <a:pt x="2158" y="902"/>
                  <a:pt x="2158" y="902"/>
                  <a:pt x="2158" y="902"/>
                </a:cubicBezTo>
                <a:cubicBezTo>
                  <a:pt x="2157" y="900"/>
                  <a:pt x="2157" y="900"/>
                  <a:pt x="2157" y="900"/>
                </a:cubicBezTo>
                <a:cubicBezTo>
                  <a:pt x="2156" y="900"/>
                  <a:pt x="2156" y="900"/>
                  <a:pt x="2156" y="900"/>
                </a:cubicBezTo>
                <a:cubicBezTo>
                  <a:pt x="2156" y="901"/>
                  <a:pt x="2156" y="901"/>
                  <a:pt x="2156" y="901"/>
                </a:cubicBezTo>
                <a:cubicBezTo>
                  <a:pt x="2156" y="902"/>
                  <a:pt x="2156" y="902"/>
                  <a:pt x="2156" y="902"/>
                </a:cubicBezTo>
                <a:cubicBezTo>
                  <a:pt x="2155" y="901"/>
                  <a:pt x="2155" y="901"/>
                  <a:pt x="2155" y="901"/>
                </a:cubicBezTo>
                <a:cubicBezTo>
                  <a:pt x="2153" y="899"/>
                  <a:pt x="2153" y="899"/>
                  <a:pt x="2153" y="899"/>
                </a:cubicBezTo>
                <a:cubicBezTo>
                  <a:pt x="2151" y="899"/>
                  <a:pt x="2151" y="899"/>
                  <a:pt x="2151" y="899"/>
                </a:cubicBezTo>
                <a:cubicBezTo>
                  <a:pt x="2151" y="900"/>
                  <a:pt x="2151" y="900"/>
                  <a:pt x="2151" y="900"/>
                </a:cubicBezTo>
                <a:cubicBezTo>
                  <a:pt x="2151" y="901"/>
                  <a:pt x="2151" y="901"/>
                  <a:pt x="2151" y="901"/>
                </a:cubicBezTo>
                <a:cubicBezTo>
                  <a:pt x="2150" y="900"/>
                  <a:pt x="2150" y="900"/>
                  <a:pt x="2150" y="900"/>
                </a:cubicBezTo>
                <a:cubicBezTo>
                  <a:pt x="2149" y="901"/>
                  <a:pt x="2149" y="901"/>
                  <a:pt x="2149" y="901"/>
                </a:cubicBezTo>
                <a:cubicBezTo>
                  <a:pt x="2150" y="902"/>
                  <a:pt x="2150" y="902"/>
                  <a:pt x="2150" y="902"/>
                </a:cubicBezTo>
                <a:cubicBezTo>
                  <a:pt x="2149" y="902"/>
                  <a:pt x="2149" y="902"/>
                  <a:pt x="2149" y="902"/>
                </a:cubicBezTo>
                <a:cubicBezTo>
                  <a:pt x="2149" y="903"/>
                  <a:pt x="2149" y="903"/>
                  <a:pt x="2149" y="903"/>
                </a:cubicBezTo>
                <a:cubicBezTo>
                  <a:pt x="2148" y="904"/>
                  <a:pt x="2148" y="904"/>
                  <a:pt x="2148" y="904"/>
                </a:cubicBezTo>
                <a:cubicBezTo>
                  <a:pt x="2146" y="904"/>
                  <a:pt x="2146" y="904"/>
                  <a:pt x="2146" y="904"/>
                </a:cubicBezTo>
                <a:cubicBezTo>
                  <a:pt x="2147" y="903"/>
                  <a:pt x="2147" y="903"/>
                  <a:pt x="2147" y="903"/>
                </a:cubicBezTo>
                <a:cubicBezTo>
                  <a:pt x="2148" y="902"/>
                  <a:pt x="2148" y="902"/>
                  <a:pt x="2148" y="902"/>
                </a:cubicBezTo>
                <a:cubicBezTo>
                  <a:pt x="2148" y="900"/>
                  <a:pt x="2148" y="900"/>
                  <a:pt x="2148" y="900"/>
                </a:cubicBezTo>
                <a:cubicBezTo>
                  <a:pt x="2149" y="899"/>
                  <a:pt x="2149" y="899"/>
                  <a:pt x="2149" y="899"/>
                </a:cubicBezTo>
                <a:cubicBezTo>
                  <a:pt x="2149" y="898"/>
                  <a:pt x="2149" y="898"/>
                  <a:pt x="2149" y="898"/>
                </a:cubicBezTo>
                <a:cubicBezTo>
                  <a:pt x="2147" y="898"/>
                  <a:pt x="2147" y="898"/>
                  <a:pt x="2147" y="898"/>
                </a:cubicBezTo>
                <a:cubicBezTo>
                  <a:pt x="2146" y="895"/>
                  <a:pt x="2146" y="895"/>
                  <a:pt x="2146" y="895"/>
                </a:cubicBezTo>
                <a:cubicBezTo>
                  <a:pt x="2145" y="893"/>
                  <a:pt x="2145" y="893"/>
                  <a:pt x="2145" y="893"/>
                </a:cubicBezTo>
                <a:cubicBezTo>
                  <a:pt x="2143" y="893"/>
                  <a:pt x="2143" y="893"/>
                  <a:pt x="2143" y="893"/>
                </a:cubicBezTo>
                <a:cubicBezTo>
                  <a:pt x="2142" y="892"/>
                  <a:pt x="2142" y="892"/>
                  <a:pt x="2142" y="892"/>
                </a:cubicBezTo>
                <a:cubicBezTo>
                  <a:pt x="2141" y="892"/>
                  <a:pt x="2141" y="892"/>
                  <a:pt x="2141" y="892"/>
                </a:cubicBezTo>
                <a:cubicBezTo>
                  <a:pt x="2142" y="893"/>
                  <a:pt x="2142" y="893"/>
                  <a:pt x="2142" y="893"/>
                </a:cubicBezTo>
                <a:cubicBezTo>
                  <a:pt x="2141" y="893"/>
                  <a:pt x="2141" y="893"/>
                  <a:pt x="2141" y="893"/>
                </a:cubicBezTo>
                <a:cubicBezTo>
                  <a:pt x="2140" y="895"/>
                  <a:pt x="2140" y="895"/>
                  <a:pt x="2140" y="895"/>
                </a:cubicBezTo>
                <a:cubicBezTo>
                  <a:pt x="2139" y="894"/>
                  <a:pt x="2139" y="894"/>
                  <a:pt x="2139" y="894"/>
                </a:cubicBezTo>
                <a:cubicBezTo>
                  <a:pt x="2138" y="894"/>
                  <a:pt x="2138" y="894"/>
                  <a:pt x="2138" y="894"/>
                </a:cubicBezTo>
                <a:cubicBezTo>
                  <a:pt x="2138" y="895"/>
                  <a:pt x="2138" y="895"/>
                  <a:pt x="2138" y="895"/>
                </a:cubicBezTo>
                <a:cubicBezTo>
                  <a:pt x="2137" y="893"/>
                  <a:pt x="2137" y="893"/>
                  <a:pt x="2137" y="893"/>
                </a:cubicBezTo>
                <a:cubicBezTo>
                  <a:pt x="2136" y="894"/>
                  <a:pt x="2136" y="894"/>
                  <a:pt x="2136" y="894"/>
                </a:cubicBezTo>
                <a:cubicBezTo>
                  <a:pt x="2137" y="894"/>
                  <a:pt x="2137" y="894"/>
                  <a:pt x="2137" y="894"/>
                </a:cubicBezTo>
                <a:cubicBezTo>
                  <a:pt x="2136" y="895"/>
                  <a:pt x="2136" y="895"/>
                  <a:pt x="2136" y="895"/>
                </a:cubicBezTo>
                <a:cubicBezTo>
                  <a:pt x="2136" y="897"/>
                  <a:pt x="2136" y="897"/>
                  <a:pt x="2136" y="897"/>
                </a:cubicBezTo>
                <a:cubicBezTo>
                  <a:pt x="2135" y="898"/>
                  <a:pt x="2135" y="898"/>
                  <a:pt x="2135" y="898"/>
                </a:cubicBezTo>
                <a:cubicBezTo>
                  <a:pt x="2134" y="897"/>
                  <a:pt x="2134" y="897"/>
                  <a:pt x="2134" y="897"/>
                </a:cubicBezTo>
                <a:cubicBezTo>
                  <a:pt x="2133" y="897"/>
                  <a:pt x="2133" y="897"/>
                  <a:pt x="2133" y="897"/>
                </a:cubicBezTo>
                <a:cubicBezTo>
                  <a:pt x="2131" y="897"/>
                  <a:pt x="2131" y="897"/>
                  <a:pt x="2131" y="897"/>
                </a:cubicBezTo>
                <a:cubicBezTo>
                  <a:pt x="2131" y="898"/>
                  <a:pt x="2131" y="898"/>
                  <a:pt x="2131" y="898"/>
                </a:cubicBezTo>
                <a:cubicBezTo>
                  <a:pt x="2131" y="899"/>
                  <a:pt x="2131" y="899"/>
                  <a:pt x="2131" y="899"/>
                </a:cubicBezTo>
                <a:cubicBezTo>
                  <a:pt x="2132" y="900"/>
                  <a:pt x="2132" y="900"/>
                  <a:pt x="2132" y="900"/>
                </a:cubicBezTo>
                <a:cubicBezTo>
                  <a:pt x="2131" y="901"/>
                  <a:pt x="2131" y="901"/>
                  <a:pt x="2131" y="901"/>
                </a:cubicBezTo>
                <a:cubicBezTo>
                  <a:pt x="2130" y="901"/>
                  <a:pt x="2130" y="901"/>
                  <a:pt x="2130" y="901"/>
                </a:cubicBezTo>
                <a:cubicBezTo>
                  <a:pt x="2128" y="902"/>
                  <a:pt x="2128" y="902"/>
                  <a:pt x="2128" y="902"/>
                </a:cubicBezTo>
                <a:cubicBezTo>
                  <a:pt x="2130" y="903"/>
                  <a:pt x="2130" y="903"/>
                  <a:pt x="2130" y="903"/>
                </a:cubicBezTo>
                <a:cubicBezTo>
                  <a:pt x="2130" y="904"/>
                  <a:pt x="2130" y="904"/>
                  <a:pt x="2130" y="904"/>
                </a:cubicBezTo>
                <a:cubicBezTo>
                  <a:pt x="2129" y="904"/>
                  <a:pt x="2129" y="904"/>
                  <a:pt x="2129" y="904"/>
                </a:cubicBezTo>
                <a:cubicBezTo>
                  <a:pt x="2128" y="902"/>
                  <a:pt x="2128" y="902"/>
                  <a:pt x="2128" y="902"/>
                </a:cubicBezTo>
                <a:cubicBezTo>
                  <a:pt x="2127" y="903"/>
                  <a:pt x="2127" y="903"/>
                  <a:pt x="2127" y="903"/>
                </a:cubicBezTo>
                <a:cubicBezTo>
                  <a:pt x="2126" y="904"/>
                  <a:pt x="2126" y="904"/>
                  <a:pt x="2126" y="904"/>
                </a:cubicBezTo>
                <a:cubicBezTo>
                  <a:pt x="2125" y="904"/>
                  <a:pt x="2125" y="904"/>
                  <a:pt x="2125" y="904"/>
                </a:cubicBezTo>
                <a:cubicBezTo>
                  <a:pt x="2125" y="905"/>
                  <a:pt x="2125" y="905"/>
                  <a:pt x="2125" y="905"/>
                </a:cubicBezTo>
                <a:cubicBezTo>
                  <a:pt x="2126" y="906"/>
                  <a:pt x="2126" y="906"/>
                  <a:pt x="2126" y="906"/>
                </a:cubicBezTo>
                <a:cubicBezTo>
                  <a:pt x="2127" y="906"/>
                  <a:pt x="2127" y="906"/>
                  <a:pt x="2127" y="906"/>
                </a:cubicBezTo>
                <a:cubicBezTo>
                  <a:pt x="2126" y="907"/>
                  <a:pt x="2126" y="907"/>
                  <a:pt x="2126" y="907"/>
                </a:cubicBezTo>
                <a:cubicBezTo>
                  <a:pt x="2126" y="908"/>
                  <a:pt x="2126" y="908"/>
                  <a:pt x="2126" y="908"/>
                </a:cubicBezTo>
                <a:cubicBezTo>
                  <a:pt x="2125" y="909"/>
                  <a:pt x="2125" y="909"/>
                  <a:pt x="2125" y="909"/>
                </a:cubicBezTo>
                <a:cubicBezTo>
                  <a:pt x="2125" y="910"/>
                  <a:pt x="2125" y="910"/>
                  <a:pt x="2125" y="910"/>
                </a:cubicBezTo>
                <a:cubicBezTo>
                  <a:pt x="2127" y="910"/>
                  <a:pt x="2127" y="910"/>
                  <a:pt x="2127" y="910"/>
                </a:cubicBezTo>
                <a:cubicBezTo>
                  <a:pt x="2125" y="911"/>
                  <a:pt x="2125" y="911"/>
                  <a:pt x="2125" y="911"/>
                </a:cubicBezTo>
                <a:cubicBezTo>
                  <a:pt x="2124" y="911"/>
                  <a:pt x="2124" y="911"/>
                  <a:pt x="2124" y="911"/>
                </a:cubicBezTo>
                <a:cubicBezTo>
                  <a:pt x="2123" y="910"/>
                  <a:pt x="2123" y="910"/>
                  <a:pt x="2123" y="910"/>
                </a:cubicBezTo>
                <a:cubicBezTo>
                  <a:pt x="2122" y="909"/>
                  <a:pt x="2122" y="909"/>
                  <a:pt x="2122" y="909"/>
                </a:cubicBezTo>
                <a:cubicBezTo>
                  <a:pt x="2121" y="910"/>
                  <a:pt x="2121" y="910"/>
                  <a:pt x="2121" y="910"/>
                </a:cubicBezTo>
                <a:cubicBezTo>
                  <a:pt x="2121" y="909"/>
                  <a:pt x="2121" y="909"/>
                  <a:pt x="2121" y="909"/>
                </a:cubicBezTo>
                <a:cubicBezTo>
                  <a:pt x="2120" y="909"/>
                  <a:pt x="2120" y="909"/>
                  <a:pt x="2120" y="909"/>
                </a:cubicBezTo>
                <a:cubicBezTo>
                  <a:pt x="2119" y="909"/>
                  <a:pt x="2119" y="909"/>
                  <a:pt x="2119" y="909"/>
                </a:cubicBezTo>
                <a:cubicBezTo>
                  <a:pt x="2120" y="910"/>
                  <a:pt x="2120" y="910"/>
                  <a:pt x="2120" y="910"/>
                </a:cubicBezTo>
                <a:cubicBezTo>
                  <a:pt x="2120" y="911"/>
                  <a:pt x="2120" y="911"/>
                  <a:pt x="2120" y="911"/>
                </a:cubicBezTo>
                <a:cubicBezTo>
                  <a:pt x="2119" y="912"/>
                  <a:pt x="2119" y="912"/>
                  <a:pt x="2119" y="912"/>
                </a:cubicBezTo>
                <a:cubicBezTo>
                  <a:pt x="2120" y="913"/>
                  <a:pt x="2120" y="913"/>
                  <a:pt x="2120" y="913"/>
                </a:cubicBezTo>
                <a:cubicBezTo>
                  <a:pt x="2122" y="913"/>
                  <a:pt x="2122" y="913"/>
                  <a:pt x="2122" y="913"/>
                </a:cubicBezTo>
                <a:cubicBezTo>
                  <a:pt x="2121" y="914"/>
                  <a:pt x="2121" y="914"/>
                  <a:pt x="2121" y="914"/>
                </a:cubicBezTo>
                <a:cubicBezTo>
                  <a:pt x="2121" y="915"/>
                  <a:pt x="2121" y="915"/>
                  <a:pt x="2121" y="915"/>
                </a:cubicBezTo>
                <a:cubicBezTo>
                  <a:pt x="2120" y="915"/>
                  <a:pt x="2120" y="915"/>
                  <a:pt x="2120" y="915"/>
                </a:cubicBezTo>
                <a:cubicBezTo>
                  <a:pt x="2120" y="916"/>
                  <a:pt x="2120" y="916"/>
                  <a:pt x="2120" y="916"/>
                </a:cubicBezTo>
                <a:cubicBezTo>
                  <a:pt x="2120" y="917"/>
                  <a:pt x="2120" y="917"/>
                  <a:pt x="2120" y="917"/>
                </a:cubicBezTo>
                <a:cubicBezTo>
                  <a:pt x="2119" y="919"/>
                  <a:pt x="2119" y="919"/>
                  <a:pt x="2119" y="919"/>
                </a:cubicBezTo>
                <a:cubicBezTo>
                  <a:pt x="2117" y="915"/>
                  <a:pt x="2117" y="915"/>
                  <a:pt x="2117" y="915"/>
                </a:cubicBezTo>
                <a:cubicBezTo>
                  <a:pt x="2116" y="912"/>
                  <a:pt x="2116" y="912"/>
                  <a:pt x="2116" y="912"/>
                </a:cubicBezTo>
                <a:cubicBezTo>
                  <a:pt x="2115" y="911"/>
                  <a:pt x="2115" y="911"/>
                  <a:pt x="2115" y="911"/>
                </a:cubicBezTo>
                <a:cubicBezTo>
                  <a:pt x="2116" y="910"/>
                  <a:pt x="2116" y="910"/>
                  <a:pt x="2116" y="910"/>
                </a:cubicBezTo>
                <a:cubicBezTo>
                  <a:pt x="2115" y="910"/>
                  <a:pt x="2115" y="910"/>
                  <a:pt x="2115" y="910"/>
                </a:cubicBezTo>
                <a:cubicBezTo>
                  <a:pt x="2114" y="911"/>
                  <a:pt x="2114" y="911"/>
                  <a:pt x="2114" y="911"/>
                </a:cubicBezTo>
                <a:cubicBezTo>
                  <a:pt x="2114" y="913"/>
                  <a:pt x="2114" y="913"/>
                  <a:pt x="2114" y="913"/>
                </a:cubicBezTo>
                <a:cubicBezTo>
                  <a:pt x="2113" y="913"/>
                  <a:pt x="2113" y="913"/>
                  <a:pt x="2113" y="913"/>
                </a:cubicBezTo>
                <a:cubicBezTo>
                  <a:pt x="2112" y="914"/>
                  <a:pt x="2112" y="914"/>
                  <a:pt x="2112" y="914"/>
                </a:cubicBezTo>
                <a:cubicBezTo>
                  <a:pt x="2111" y="914"/>
                  <a:pt x="2111" y="914"/>
                  <a:pt x="2111" y="914"/>
                </a:cubicBezTo>
                <a:cubicBezTo>
                  <a:pt x="2111" y="915"/>
                  <a:pt x="2111" y="915"/>
                  <a:pt x="2111" y="915"/>
                </a:cubicBezTo>
                <a:cubicBezTo>
                  <a:pt x="2109" y="916"/>
                  <a:pt x="2109" y="916"/>
                  <a:pt x="2109" y="916"/>
                </a:cubicBezTo>
                <a:cubicBezTo>
                  <a:pt x="2110" y="917"/>
                  <a:pt x="2110" y="917"/>
                  <a:pt x="2110" y="917"/>
                </a:cubicBezTo>
                <a:cubicBezTo>
                  <a:pt x="2110" y="921"/>
                  <a:pt x="2110" y="921"/>
                  <a:pt x="2110" y="921"/>
                </a:cubicBezTo>
                <a:cubicBezTo>
                  <a:pt x="2110" y="922"/>
                  <a:pt x="2110" y="922"/>
                  <a:pt x="2110" y="922"/>
                </a:cubicBezTo>
                <a:cubicBezTo>
                  <a:pt x="2109" y="923"/>
                  <a:pt x="2109" y="923"/>
                  <a:pt x="2109" y="923"/>
                </a:cubicBezTo>
                <a:cubicBezTo>
                  <a:pt x="2109" y="924"/>
                  <a:pt x="2109" y="924"/>
                  <a:pt x="2109" y="924"/>
                </a:cubicBezTo>
                <a:cubicBezTo>
                  <a:pt x="2107" y="924"/>
                  <a:pt x="2107" y="924"/>
                  <a:pt x="2107" y="924"/>
                </a:cubicBezTo>
                <a:cubicBezTo>
                  <a:pt x="2107" y="925"/>
                  <a:pt x="2107" y="925"/>
                  <a:pt x="2107" y="925"/>
                </a:cubicBezTo>
                <a:cubicBezTo>
                  <a:pt x="2105" y="926"/>
                  <a:pt x="2105" y="926"/>
                  <a:pt x="2105" y="926"/>
                </a:cubicBezTo>
                <a:cubicBezTo>
                  <a:pt x="2106" y="928"/>
                  <a:pt x="2106" y="928"/>
                  <a:pt x="2106" y="928"/>
                </a:cubicBezTo>
                <a:cubicBezTo>
                  <a:pt x="2105" y="928"/>
                  <a:pt x="2105" y="928"/>
                  <a:pt x="2105" y="928"/>
                </a:cubicBezTo>
                <a:cubicBezTo>
                  <a:pt x="2103" y="931"/>
                  <a:pt x="2103" y="931"/>
                  <a:pt x="2103" y="931"/>
                </a:cubicBezTo>
                <a:cubicBezTo>
                  <a:pt x="2099" y="933"/>
                  <a:pt x="2099" y="933"/>
                  <a:pt x="2099" y="933"/>
                </a:cubicBezTo>
                <a:cubicBezTo>
                  <a:pt x="2096" y="934"/>
                  <a:pt x="2096" y="934"/>
                  <a:pt x="2096" y="934"/>
                </a:cubicBezTo>
                <a:cubicBezTo>
                  <a:pt x="2094" y="934"/>
                  <a:pt x="2094" y="934"/>
                  <a:pt x="2094" y="934"/>
                </a:cubicBezTo>
                <a:cubicBezTo>
                  <a:pt x="2093" y="934"/>
                  <a:pt x="2093" y="934"/>
                  <a:pt x="2093" y="934"/>
                </a:cubicBezTo>
                <a:cubicBezTo>
                  <a:pt x="2091" y="935"/>
                  <a:pt x="2091" y="935"/>
                  <a:pt x="2091" y="935"/>
                </a:cubicBezTo>
                <a:cubicBezTo>
                  <a:pt x="2090" y="934"/>
                  <a:pt x="2090" y="934"/>
                  <a:pt x="2090" y="934"/>
                </a:cubicBezTo>
                <a:cubicBezTo>
                  <a:pt x="2088" y="935"/>
                  <a:pt x="2088" y="935"/>
                  <a:pt x="2088" y="935"/>
                </a:cubicBezTo>
                <a:cubicBezTo>
                  <a:pt x="2087" y="936"/>
                  <a:pt x="2087" y="936"/>
                  <a:pt x="2087" y="936"/>
                </a:cubicBezTo>
                <a:cubicBezTo>
                  <a:pt x="2086" y="937"/>
                  <a:pt x="2086" y="937"/>
                  <a:pt x="2086" y="937"/>
                </a:cubicBezTo>
                <a:cubicBezTo>
                  <a:pt x="2082" y="937"/>
                  <a:pt x="2082" y="937"/>
                  <a:pt x="2082" y="937"/>
                </a:cubicBezTo>
                <a:cubicBezTo>
                  <a:pt x="2081" y="937"/>
                  <a:pt x="2081" y="937"/>
                  <a:pt x="2081" y="937"/>
                </a:cubicBezTo>
                <a:cubicBezTo>
                  <a:pt x="2081" y="938"/>
                  <a:pt x="2081" y="938"/>
                  <a:pt x="2081" y="938"/>
                </a:cubicBezTo>
                <a:cubicBezTo>
                  <a:pt x="2078" y="939"/>
                  <a:pt x="2078" y="939"/>
                  <a:pt x="2078" y="939"/>
                </a:cubicBezTo>
                <a:cubicBezTo>
                  <a:pt x="2076" y="939"/>
                  <a:pt x="2076" y="939"/>
                  <a:pt x="2076" y="939"/>
                </a:cubicBezTo>
                <a:cubicBezTo>
                  <a:pt x="2075" y="939"/>
                  <a:pt x="2075" y="939"/>
                  <a:pt x="2075" y="939"/>
                </a:cubicBezTo>
                <a:cubicBezTo>
                  <a:pt x="2074" y="939"/>
                  <a:pt x="2074" y="939"/>
                  <a:pt x="2074" y="939"/>
                </a:cubicBezTo>
                <a:cubicBezTo>
                  <a:pt x="2074" y="938"/>
                  <a:pt x="2074" y="938"/>
                  <a:pt x="2074" y="938"/>
                </a:cubicBezTo>
                <a:cubicBezTo>
                  <a:pt x="2073" y="939"/>
                  <a:pt x="2073" y="939"/>
                  <a:pt x="2073" y="939"/>
                </a:cubicBezTo>
                <a:cubicBezTo>
                  <a:pt x="2072" y="940"/>
                  <a:pt x="2072" y="940"/>
                  <a:pt x="2072" y="940"/>
                </a:cubicBezTo>
                <a:cubicBezTo>
                  <a:pt x="2069" y="941"/>
                  <a:pt x="2069" y="941"/>
                  <a:pt x="2069" y="941"/>
                </a:cubicBezTo>
                <a:cubicBezTo>
                  <a:pt x="2068" y="941"/>
                  <a:pt x="2068" y="941"/>
                  <a:pt x="2068" y="941"/>
                </a:cubicBezTo>
                <a:cubicBezTo>
                  <a:pt x="2066" y="943"/>
                  <a:pt x="2066" y="943"/>
                  <a:pt x="2066" y="943"/>
                </a:cubicBezTo>
                <a:cubicBezTo>
                  <a:pt x="2063" y="945"/>
                  <a:pt x="2063" y="945"/>
                  <a:pt x="2063" y="945"/>
                </a:cubicBezTo>
                <a:cubicBezTo>
                  <a:pt x="2060" y="946"/>
                  <a:pt x="2060" y="946"/>
                  <a:pt x="2060" y="946"/>
                </a:cubicBezTo>
                <a:cubicBezTo>
                  <a:pt x="2058" y="948"/>
                  <a:pt x="2058" y="948"/>
                  <a:pt x="2058" y="948"/>
                </a:cubicBezTo>
                <a:cubicBezTo>
                  <a:pt x="2058" y="950"/>
                  <a:pt x="2058" y="950"/>
                  <a:pt x="2058" y="950"/>
                </a:cubicBezTo>
                <a:cubicBezTo>
                  <a:pt x="2057" y="951"/>
                  <a:pt x="2057" y="951"/>
                  <a:pt x="2057" y="951"/>
                </a:cubicBezTo>
                <a:cubicBezTo>
                  <a:pt x="2056" y="950"/>
                  <a:pt x="2056" y="950"/>
                  <a:pt x="2056" y="950"/>
                </a:cubicBezTo>
                <a:cubicBezTo>
                  <a:pt x="2056" y="949"/>
                  <a:pt x="2056" y="949"/>
                  <a:pt x="2056" y="949"/>
                </a:cubicBezTo>
                <a:cubicBezTo>
                  <a:pt x="2057" y="947"/>
                  <a:pt x="2057" y="947"/>
                  <a:pt x="2057" y="947"/>
                </a:cubicBezTo>
                <a:cubicBezTo>
                  <a:pt x="2057" y="946"/>
                  <a:pt x="2057" y="946"/>
                  <a:pt x="2057" y="946"/>
                </a:cubicBezTo>
                <a:cubicBezTo>
                  <a:pt x="2055" y="948"/>
                  <a:pt x="2055" y="948"/>
                  <a:pt x="2055" y="948"/>
                </a:cubicBezTo>
                <a:cubicBezTo>
                  <a:pt x="2054" y="949"/>
                  <a:pt x="2054" y="949"/>
                  <a:pt x="2054" y="949"/>
                </a:cubicBezTo>
                <a:cubicBezTo>
                  <a:pt x="2053" y="952"/>
                  <a:pt x="2053" y="952"/>
                  <a:pt x="2053" y="952"/>
                </a:cubicBezTo>
                <a:cubicBezTo>
                  <a:pt x="2054" y="954"/>
                  <a:pt x="2054" y="954"/>
                  <a:pt x="2054" y="954"/>
                </a:cubicBezTo>
                <a:cubicBezTo>
                  <a:pt x="2053" y="956"/>
                  <a:pt x="2053" y="956"/>
                  <a:pt x="2053" y="956"/>
                </a:cubicBezTo>
                <a:cubicBezTo>
                  <a:pt x="2053" y="958"/>
                  <a:pt x="2053" y="958"/>
                  <a:pt x="2053" y="958"/>
                </a:cubicBezTo>
                <a:cubicBezTo>
                  <a:pt x="2051" y="961"/>
                  <a:pt x="2051" y="961"/>
                  <a:pt x="2051" y="961"/>
                </a:cubicBezTo>
                <a:cubicBezTo>
                  <a:pt x="2050" y="966"/>
                  <a:pt x="2050" y="966"/>
                  <a:pt x="2050" y="966"/>
                </a:cubicBezTo>
                <a:cubicBezTo>
                  <a:pt x="2050" y="968"/>
                  <a:pt x="2050" y="968"/>
                  <a:pt x="2050" y="968"/>
                </a:cubicBezTo>
                <a:cubicBezTo>
                  <a:pt x="2050" y="971"/>
                  <a:pt x="2050" y="971"/>
                  <a:pt x="2050" y="971"/>
                </a:cubicBezTo>
                <a:cubicBezTo>
                  <a:pt x="2052" y="974"/>
                  <a:pt x="2052" y="974"/>
                  <a:pt x="2052" y="974"/>
                </a:cubicBezTo>
                <a:cubicBezTo>
                  <a:pt x="2052" y="976"/>
                  <a:pt x="2052" y="976"/>
                  <a:pt x="2052" y="976"/>
                </a:cubicBezTo>
                <a:cubicBezTo>
                  <a:pt x="2053" y="977"/>
                  <a:pt x="2053" y="977"/>
                  <a:pt x="2053" y="977"/>
                </a:cubicBezTo>
                <a:cubicBezTo>
                  <a:pt x="2052" y="979"/>
                  <a:pt x="2052" y="979"/>
                  <a:pt x="2052" y="979"/>
                </a:cubicBezTo>
                <a:cubicBezTo>
                  <a:pt x="2053" y="980"/>
                  <a:pt x="2053" y="980"/>
                  <a:pt x="2053" y="980"/>
                </a:cubicBezTo>
                <a:cubicBezTo>
                  <a:pt x="2051" y="981"/>
                  <a:pt x="2051" y="981"/>
                  <a:pt x="2051" y="981"/>
                </a:cubicBezTo>
                <a:cubicBezTo>
                  <a:pt x="2051" y="980"/>
                  <a:pt x="2051" y="980"/>
                  <a:pt x="2051" y="980"/>
                </a:cubicBezTo>
                <a:cubicBezTo>
                  <a:pt x="2051" y="978"/>
                  <a:pt x="2051" y="978"/>
                  <a:pt x="2051" y="978"/>
                </a:cubicBezTo>
                <a:cubicBezTo>
                  <a:pt x="2050" y="979"/>
                  <a:pt x="2050" y="979"/>
                  <a:pt x="2050" y="979"/>
                </a:cubicBezTo>
                <a:cubicBezTo>
                  <a:pt x="2050" y="977"/>
                  <a:pt x="2050" y="977"/>
                  <a:pt x="2050" y="977"/>
                </a:cubicBezTo>
                <a:cubicBezTo>
                  <a:pt x="2048" y="974"/>
                  <a:pt x="2048" y="974"/>
                  <a:pt x="2048" y="974"/>
                </a:cubicBezTo>
                <a:cubicBezTo>
                  <a:pt x="2048" y="975"/>
                  <a:pt x="2048" y="975"/>
                  <a:pt x="2048" y="975"/>
                </a:cubicBezTo>
                <a:cubicBezTo>
                  <a:pt x="2048" y="978"/>
                  <a:pt x="2048" y="978"/>
                  <a:pt x="2048" y="978"/>
                </a:cubicBezTo>
                <a:cubicBezTo>
                  <a:pt x="2050" y="980"/>
                  <a:pt x="2050" y="980"/>
                  <a:pt x="2050" y="980"/>
                </a:cubicBezTo>
                <a:cubicBezTo>
                  <a:pt x="2051" y="982"/>
                  <a:pt x="2051" y="982"/>
                  <a:pt x="2051" y="982"/>
                </a:cubicBezTo>
                <a:cubicBezTo>
                  <a:pt x="2049" y="982"/>
                  <a:pt x="2049" y="982"/>
                  <a:pt x="2049" y="982"/>
                </a:cubicBezTo>
                <a:cubicBezTo>
                  <a:pt x="2048" y="980"/>
                  <a:pt x="2048" y="980"/>
                  <a:pt x="2048" y="980"/>
                </a:cubicBezTo>
                <a:cubicBezTo>
                  <a:pt x="2047" y="978"/>
                  <a:pt x="2047" y="978"/>
                  <a:pt x="2047" y="978"/>
                </a:cubicBezTo>
                <a:cubicBezTo>
                  <a:pt x="2047" y="979"/>
                  <a:pt x="2047" y="979"/>
                  <a:pt x="2047" y="979"/>
                </a:cubicBezTo>
                <a:cubicBezTo>
                  <a:pt x="2046" y="979"/>
                  <a:pt x="2046" y="979"/>
                  <a:pt x="2046" y="979"/>
                </a:cubicBezTo>
                <a:cubicBezTo>
                  <a:pt x="2047" y="982"/>
                  <a:pt x="2047" y="982"/>
                  <a:pt x="2047" y="982"/>
                </a:cubicBezTo>
                <a:cubicBezTo>
                  <a:pt x="2049" y="984"/>
                  <a:pt x="2049" y="984"/>
                  <a:pt x="2049" y="984"/>
                </a:cubicBezTo>
                <a:cubicBezTo>
                  <a:pt x="2051" y="988"/>
                  <a:pt x="2051" y="988"/>
                  <a:pt x="2051" y="988"/>
                </a:cubicBezTo>
                <a:cubicBezTo>
                  <a:pt x="2050" y="994"/>
                  <a:pt x="2050" y="994"/>
                  <a:pt x="2050" y="994"/>
                </a:cubicBezTo>
                <a:cubicBezTo>
                  <a:pt x="2051" y="995"/>
                  <a:pt x="2051" y="995"/>
                  <a:pt x="2051" y="995"/>
                </a:cubicBezTo>
                <a:cubicBezTo>
                  <a:pt x="2052" y="999"/>
                  <a:pt x="2052" y="999"/>
                  <a:pt x="2052" y="999"/>
                </a:cubicBezTo>
                <a:cubicBezTo>
                  <a:pt x="2054" y="1004"/>
                  <a:pt x="2054" y="1004"/>
                  <a:pt x="2054" y="1004"/>
                </a:cubicBezTo>
                <a:cubicBezTo>
                  <a:pt x="2053" y="1005"/>
                  <a:pt x="2053" y="1005"/>
                  <a:pt x="2053" y="1005"/>
                </a:cubicBezTo>
                <a:cubicBezTo>
                  <a:pt x="2053" y="1012"/>
                  <a:pt x="2053" y="1012"/>
                  <a:pt x="2053" y="1012"/>
                </a:cubicBezTo>
                <a:cubicBezTo>
                  <a:pt x="2053" y="1013"/>
                  <a:pt x="2053" y="1013"/>
                  <a:pt x="2053" y="1013"/>
                </a:cubicBezTo>
                <a:cubicBezTo>
                  <a:pt x="2054" y="1015"/>
                  <a:pt x="2054" y="1015"/>
                  <a:pt x="2054" y="1015"/>
                </a:cubicBezTo>
                <a:cubicBezTo>
                  <a:pt x="2054" y="1017"/>
                  <a:pt x="2054" y="1017"/>
                  <a:pt x="2054" y="1017"/>
                </a:cubicBezTo>
                <a:cubicBezTo>
                  <a:pt x="2055" y="1020"/>
                  <a:pt x="2055" y="1020"/>
                  <a:pt x="2055" y="1020"/>
                </a:cubicBezTo>
                <a:cubicBezTo>
                  <a:pt x="2055" y="1022"/>
                  <a:pt x="2055" y="1022"/>
                  <a:pt x="2055" y="1022"/>
                </a:cubicBezTo>
                <a:cubicBezTo>
                  <a:pt x="2054" y="1023"/>
                  <a:pt x="2054" y="1023"/>
                  <a:pt x="2054" y="1023"/>
                </a:cubicBezTo>
                <a:cubicBezTo>
                  <a:pt x="2054" y="1024"/>
                  <a:pt x="2054" y="1024"/>
                  <a:pt x="2054" y="1024"/>
                </a:cubicBezTo>
                <a:cubicBezTo>
                  <a:pt x="2054" y="1025"/>
                  <a:pt x="2054" y="1025"/>
                  <a:pt x="2054" y="1025"/>
                </a:cubicBezTo>
                <a:cubicBezTo>
                  <a:pt x="2054" y="1028"/>
                  <a:pt x="2054" y="1028"/>
                  <a:pt x="2054" y="1028"/>
                </a:cubicBezTo>
                <a:cubicBezTo>
                  <a:pt x="2053" y="1029"/>
                  <a:pt x="2053" y="1029"/>
                  <a:pt x="2053" y="1029"/>
                </a:cubicBezTo>
                <a:cubicBezTo>
                  <a:pt x="2053" y="1030"/>
                  <a:pt x="2053" y="1030"/>
                  <a:pt x="2053" y="1030"/>
                </a:cubicBezTo>
                <a:cubicBezTo>
                  <a:pt x="2053" y="1031"/>
                  <a:pt x="2053" y="1031"/>
                  <a:pt x="2053" y="1031"/>
                </a:cubicBezTo>
                <a:cubicBezTo>
                  <a:pt x="2052" y="1032"/>
                  <a:pt x="2052" y="1032"/>
                  <a:pt x="2052" y="1032"/>
                </a:cubicBezTo>
                <a:cubicBezTo>
                  <a:pt x="2052" y="1034"/>
                  <a:pt x="2052" y="1034"/>
                  <a:pt x="2052" y="1034"/>
                </a:cubicBezTo>
                <a:cubicBezTo>
                  <a:pt x="2050" y="1035"/>
                  <a:pt x="2050" y="1035"/>
                  <a:pt x="2050" y="1035"/>
                </a:cubicBezTo>
                <a:cubicBezTo>
                  <a:pt x="2049" y="1035"/>
                  <a:pt x="2049" y="1035"/>
                  <a:pt x="2049" y="1035"/>
                </a:cubicBezTo>
                <a:cubicBezTo>
                  <a:pt x="2047" y="1037"/>
                  <a:pt x="2047" y="1037"/>
                  <a:pt x="2047" y="1037"/>
                </a:cubicBezTo>
                <a:cubicBezTo>
                  <a:pt x="2047" y="1041"/>
                  <a:pt x="2047" y="1041"/>
                  <a:pt x="2047" y="1041"/>
                </a:cubicBezTo>
                <a:cubicBezTo>
                  <a:pt x="2048" y="1042"/>
                  <a:pt x="2048" y="1042"/>
                  <a:pt x="2048" y="1042"/>
                </a:cubicBezTo>
                <a:cubicBezTo>
                  <a:pt x="2049" y="1042"/>
                  <a:pt x="2049" y="1042"/>
                  <a:pt x="2049" y="1042"/>
                </a:cubicBezTo>
                <a:cubicBezTo>
                  <a:pt x="2052" y="1044"/>
                  <a:pt x="2052" y="1044"/>
                  <a:pt x="2052" y="1044"/>
                </a:cubicBezTo>
                <a:cubicBezTo>
                  <a:pt x="2052" y="1045"/>
                  <a:pt x="2052" y="1045"/>
                  <a:pt x="2052" y="1045"/>
                </a:cubicBezTo>
                <a:cubicBezTo>
                  <a:pt x="2052" y="1046"/>
                  <a:pt x="2052" y="1046"/>
                  <a:pt x="2052" y="1046"/>
                </a:cubicBezTo>
                <a:cubicBezTo>
                  <a:pt x="2054" y="1046"/>
                  <a:pt x="2054" y="1046"/>
                  <a:pt x="2054" y="1046"/>
                </a:cubicBezTo>
                <a:cubicBezTo>
                  <a:pt x="2054" y="1047"/>
                  <a:pt x="2054" y="1047"/>
                  <a:pt x="2054" y="1047"/>
                </a:cubicBezTo>
                <a:cubicBezTo>
                  <a:pt x="2056" y="1047"/>
                  <a:pt x="2056" y="1047"/>
                  <a:pt x="2056" y="1047"/>
                </a:cubicBezTo>
                <a:cubicBezTo>
                  <a:pt x="2057" y="1047"/>
                  <a:pt x="2057" y="1047"/>
                  <a:pt x="2057" y="1047"/>
                </a:cubicBezTo>
                <a:cubicBezTo>
                  <a:pt x="2057" y="1048"/>
                  <a:pt x="2057" y="1048"/>
                  <a:pt x="2057" y="1048"/>
                </a:cubicBezTo>
                <a:cubicBezTo>
                  <a:pt x="2059" y="1048"/>
                  <a:pt x="2059" y="1048"/>
                  <a:pt x="2059" y="1048"/>
                </a:cubicBezTo>
                <a:cubicBezTo>
                  <a:pt x="2060" y="1047"/>
                  <a:pt x="2060" y="1047"/>
                  <a:pt x="2060" y="1047"/>
                </a:cubicBezTo>
                <a:cubicBezTo>
                  <a:pt x="2061" y="1048"/>
                  <a:pt x="2061" y="1048"/>
                  <a:pt x="2061" y="1048"/>
                </a:cubicBezTo>
                <a:cubicBezTo>
                  <a:pt x="2062" y="1048"/>
                  <a:pt x="2062" y="1048"/>
                  <a:pt x="2062" y="1048"/>
                </a:cubicBezTo>
                <a:cubicBezTo>
                  <a:pt x="2064" y="1048"/>
                  <a:pt x="2064" y="1048"/>
                  <a:pt x="2064" y="1048"/>
                </a:cubicBezTo>
                <a:cubicBezTo>
                  <a:pt x="2065" y="1048"/>
                  <a:pt x="2065" y="1048"/>
                  <a:pt x="2065" y="1048"/>
                </a:cubicBezTo>
                <a:cubicBezTo>
                  <a:pt x="2065" y="1047"/>
                  <a:pt x="2065" y="1047"/>
                  <a:pt x="2065" y="1047"/>
                </a:cubicBezTo>
                <a:cubicBezTo>
                  <a:pt x="2066" y="1047"/>
                  <a:pt x="2066" y="1047"/>
                  <a:pt x="2066" y="1047"/>
                </a:cubicBezTo>
                <a:cubicBezTo>
                  <a:pt x="2067" y="1045"/>
                  <a:pt x="2067" y="1045"/>
                  <a:pt x="2067" y="1045"/>
                </a:cubicBezTo>
                <a:cubicBezTo>
                  <a:pt x="2069" y="1045"/>
                  <a:pt x="2069" y="1045"/>
                  <a:pt x="2069" y="1045"/>
                </a:cubicBezTo>
                <a:cubicBezTo>
                  <a:pt x="2069" y="1044"/>
                  <a:pt x="2069" y="1044"/>
                  <a:pt x="2069" y="1044"/>
                </a:cubicBezTo>
                <a:cubicBezTo>
                  <a:pt x="2070" y="1044"/>
                  <a:pt x="2070" y="1044"/>
                  <a:pt x="2070" y="1044"/>
                </a:cubicBezTo>
                <a:cubicBezTo>
                  <a:pt x="2071" y="1044"/>
                  <a:pt x="2071" y="1044"/>
                  <a:pt x="2071" y="1044"/>
                </a:cubicBezTo>
                <a:cubicBezTo>
                  <a:pt x="2072" y="1045"/>
                  <a:pt x="2072" y="1045"/>
                  <a:pt x="2072" y="1045"/>
                </a:cubicBezTo>
                <a:cubicBezTo>
                  <a:pt x="2073" y="1043"/>
                  <a:pt x="2073" y="1043"/>
                  <a:pt x="2073" y="1043"/>
                </a:cubicBezTo>
                <a:cubicBezTo>
                  <a:pt x="2074" y="1043"/>
                  <a:pt x="2074" y="1043"/>
                  <a:pt x="2074" y="1043"/>
                </a:cubicBezTo>
                <a:cubicBezTo>
                  <a:pt x="2075" y="1042"/>
                  <a:pt x="2075" y="1042"/>
                  <a:pt x="2075" y="1042"/>
                </a:cubicBezTo>
                <a:cubicBezTo>
                  <a:pt x="2078" y="1039"/>
                  <a:pt x="2078" y="1039"/>
                  <a:pt x="2078" y="1039"/>
                </a:cubicBezTo>
                <a:cubicBezTo>
                  <a:pt x="2079" y="1040"/>
                  <a:pt x="2079" y="1040"/>
                  <a:pt x="2079" y="1040"/>
                </a:cubicBezTo>
                <a:cubicBezTo>
                  <a:pt x="2080" y="1040"/>
                  <a:pt x="2080" y="1040"/>
                  <a:pt x="2080" y="1040"/>
                </a:cubicBezTo>
                <a:cubicBezTo>
                  <a:pt x="2081" y="1039"/>
                  <a:pt x="2081" y="1039"/>
                  <a:pt x="2081" y="1039"/>
                </a:cubicBezTo>
                <a:cubicBezTo>
                  <a:pt x="2085" y="1039"/>
                  <a:pt x="2085" y="1039"/>
                  <a:pt x="2085" y="1039"/>
                </a:cubicBezTo>
                <a:cubicBezTo>
                  <a:pt x="2087" y="1039"/>
                  <a:pt x="2087" y="1039"/>
                  <a:pt x="2087" y="1039"/>
                </a:cubicBezTo>
                <a:cubicBezTo>
                  <a:pt x="2088" y="1039"/>
                  <a:pt x="2088" y="1039"/>
                  <a:pt x="2088" y="1039"/>
                </a:cubicBezTo>
                <a:cubicBezTo>
                  <a:pt x="2089" y="1039"/>
                  <a:pt x="2089" y="1039"/>
                  <a:pt x="2089" y="1039"/>
                </a:cubicBezTo>
                <a:cubicBezTo>
                  <a:pt x="2090" y="1039"/>
                  <a:pt x="2090" y="1039"/>
                  <a:pt x="2090" y="1039"/>
                </a:cubicBezTo>
                <a:cubicBezTo>
                  <a:pt x="2091" y="1040"/>
                  <a:pt x="2091" y="1040"/>
                  <a:pt x="2091" y="1040"/>
                </a:cubicBezTo>
                <a:cubicBezTo>
                  <a:pt x="2092" y="1040"/>
                  <a:pt x="2092" y="1040"/>
                  <a:pt x="2092" y="1040"/>
                </a:cubicBezTo>
                <a:cubicBezTo>
                  <a:pt x="2093" y="1040"/>
                  <a:pt x="2093" y="1040"/>
                  <a:pt x="2093" y="1040"/>
                </a:cubicBezTo>
                <a:cubicBezTo>
                  <a:pt x="2094" y="1040"/>
                  <a:pt x="2094" y="1040"/>
                  <a:pt x="2094" y="1040"/>
                </a:cubicBezTo>
                <a:cubicBezTo>
                  <a:pt x="2097" y="1040"/>
                  <a:pt x="2097" y="1040"/>
                  <a:pt x="2097" y="1040"/>
                </a:cubicBezTo>
                <a:cubicBezTo>
                  <a:pt x="2096" y="1041"/>
                  <a:pt x="2096" y="1041"/>
                  <a:pt x="2096" y="1041"/>
                </a:cubicBezTo>
                <a:cubicBezTo>
                  <a:pt x="2097" y="1041"/>
                  <a:pt x="2097" y="1041"/>
                  <a:pt x="2097" y="1041"/>
                </a:cubicBezTo>
                <a:cubicBezTo>
                  <a:pt x="2098" y="1040"/>
                  <a:pt x="2098" y="1040"/>
                  <a:pt x="2098" y="1040"/>
                </a:cubicBezTo>
                <a:cubicBezTo>
                  <a:pt x="2100" y="1040"/>
                  <a:pt x="2100" y="1040"/>
                  <a:pt x="2100" y="1040"/>
                </a:cubicBezTo>
                <a:cubicBezTo>
                  <a:pt x="2101" y="1039"/>
                  <a:pt x="2101" y="1039"/>
                  <a:pt x="2101" y="1039"/>
                </a:cubicBezTo>
                <a:cubicBezTo>
                  <a:pt x="2102" y="1037"/>
                  <a:pt x="2102" y="1037"/>
                  <a:pt x="2102" y="1037"/>
                </a:cubicBezTo>
                <a:cubicBezTo>
                  <a:pt x="2104" y="1036"/>
                  <a:pt x="2104" y="1036"/>
                  <a:pt x="2104" y="1036"/>
                </a:cubicBezTo>
                <a:cubicBezTo>
                  <a:pt x="2105" y="1034"/>
                  <a:pt x="2105" y="1034"/>
                  <a:pt x="2105" y="1034"/>
                </a:cubicBezTo>
                <a:cubicBezTo>
                  <a:pt x="2106" y="1032"/>
                  <a:pt x="2106" y="1032"/>
                  <a:pt x="2106" y="1032"/>
                </a:cubicBezTo>
                <a:cubicBezTo>
                  <a:pt x="2108" y="1032"/>
                  <a:pt x="2108" y="1032"/>
                  <a:pt x="2108" y="1032"/>
                </a:cubicBezTo>
                <a:cubicBezTo>
                  <a:pt x="2109" y="1032"/>
                  <a:pt x="2109" y="1032"/>
                  <a:pt x="2109" y="1032"/>
                </a:cubicBezTo>
                <a:cubicBezTo>
                  <a:pt x="2111" y="1031"/>
                  <a:pt x="2111" y="1031"/>
                  <a:pt x="2111" y="1031"/>
                </a:cubicBezTo>
                <a:cubicBezTo>
                  <a:pt x="2114" y="1029"/>
                  <a:pt x="2114" y="1029"/>
                  <a:pt x="2114" y="1029"/>
                </a:cubicBezTo>
                <a:cubicBezTo>
                  <a:pt x="2117" y="1027"/>
                  <a:pt x="2117" y="1027"/>
                  <a:pt x="2117" y="1027"/>
                </a:cubicBezTo>
                <a:cubicBezTo>
                  <a:pt x="2118" y="1027"/>
                  <a:pt x="2118" y="1027"/>
                  <a:pt x="2118" y="1027"/>
                </a:cubicBezTo>
                <a:cubicBezTo>
                  <a:pt x="2119" y="1027"/>
                  <a:pt x="2119" y="1027"/>
                  <a:pt x="2119" y="1027"/>
                </a:cubicBezTo>
                <a:cubicBezTo>
                  <a:pt x="2121" y="1028"/>
                  <a:pt x="2121" y="1028"/>
                  <a:pt x="2121" y="1028"/>
                </a:cubicBezTo>
                <a:cubicBezTo>
                  <a:pt x="2123" y="1028"/>
                  <a:pt x="2123" y="1028"/>
                  <a:pt x="2123" y="1028"/>
                </a:cubicBezTo>
                <a:cubicBezTo>
                  <a:pt x="2124" y="1028"/>
                  <a:pt x="2124" y="1028"/>
                  <a:pt x="2124" y="1028"/>
                </a:cubicBezTo>
                <a:cubicBezTo>
                  <a:pt x="2127" y="1028"/>
                  <a:pt x="2127" y="1028"/>
                  <a:pt x="2127" y="1028"/>
                </a:cubicBezTo>
                <a:cubicBezTo>
                  <a:pt x="2130" y="1026"/>
                  <a:pt x="2130" y="1026"/>
                  <a:pt x="2130" y="1026"/>
                </a:cubicBezTo>
                <a:cubicBezTo>
                  <a:pt x="2132" y="1026"/>
                  <a:pt x="2132" y="1026"/>
                  <a:pt x="2132" y="1026"/>
                </a:cubicBezTo>
                <a:cubicBezTo>
                  <a:pt x="2134" y="1025"/>
                  <a:pt x="2134" y="1025"/>
                  <a:pt x="2134" y="1025"/>
                </a:cubicBezTo>
                <a:cubicBezTo>
                  <a:pt x="2135" y="1025"/>
                  <a:pt x="2135" y="1025"/>
                  <a:pt x="2135" y="1025"/>
                </a:cubicBezTo>
                <a:cubicBezTo>
                  <a:pt x="2136" y="1024"/>
                  <a:pt x="2136" y="1024"/>
                  <a:pt x="2136" y="1024"/>
                </a:cubicBezTo>
                <a:cubicBezTo>
                  <a:pt x="2139" y="1023"/>
                  <a:pt x="2139" y="1023"/>
                  <a:pt x="2139" y="1023"/>
                </a:cubicBezTo>
                <a:cubicBezTo>
                  <a:pt x="2146" y="1023"/>
                  <a:pt x="2146" y="1023"/>
                  <a:pt x="2146" y="1023"/>
                </a:cubicBezTo>
                <a:cubicBezTo>
                  <a:pt x="2148" y="1024"/>
                  <a:pt x="2148" y="1024"/>
                  <a:pt x="2148" y="1024"/>
                </a:cubicBezTo>
                <a:cubicBezTo>
                  <a:pt x="2150" y="1024"/>
                  <a:pt x="2150" y="1024"/>
                  <a:pt x="2150" y="1024"/>
                </a:cubicBezTo>
                <a:cubicBezTo>
                  <a:pt x="2152" y="1023"/>
                  <a:pt x="2152" y="1023"/>
                  <a:pt x="2152" y="1023"/>
                </a:cubicBezTo>
                <a:cubicBezTo>
                  <a:pt x="2153" y="1023"/>
                  <a:pt x="2153" y="1023"/>
                  <a:pt x="2153" y="1023"/>
                </a:cubicBezTo>
                <a:cubicBezTo>
                  <a:pt x="2155" y="1025"/>
                  <a:pt x="2155" y="1025"/>
                  <a:pt x="2155" y="1025"/>
                </a:cubicBezTo>
                <a:cubicBezTo>
                  <a:pt x="2157" y="1027"/>
                  <a:pt x="2157" y="1027"/>
                  <a:pt x="2157" y="1027"/>
                </a:cubicBezTo>
                <a:cubicBezTo>
                  <a:pt x="2158" y="1028"/>
                  <a:pt x="2158" y="1028"/>
                  <a:pt x="2158" y="1028"/>
                </a:cubicBezTo>
                <a:cubicBezTo>
                  <a:pt x="2158" y="1027"/>
                  <a:pt x="2158" y="1027"/>
                  <a:pt x="2158" y="1027"/>
                </a:cubicBezTo>
                <a:cubicBezTo>
                  <a:pt x="2159" y="1027"/>
                  <a:pt x="2159" y="1027"/>
                  <a:pt x="2159" y="1027"/>
                </a:cubicBezTo>
                <a:cubicBezTo>
                  <a:pt x="2160" y="1027"/>
                  <a:pt x="2160" y="1027"/>
                  <a:pt x="2160" y="1027"/>
                </a:cubicBezTo>
                <a:cubicBezTo>
                  <a:pt x="2161" y="1027"/>
                  <a:pt x="2161" y="1027"/>
                  <a:pt x="2161" y="1027"/>
                </a:cubicBezTo>
                <a:cubicBezTo>
                  <a:pt x="2162" y="1027"/>
                  <a:pt x="2162" y="1027"/>
                  <a:pt x="2162" y="1027"/>
                </a:cubicBezTo>
                <a:cubicBezTo>
                  <a:pt x="2163" y="1029"/>
                  <a:pt x="2163" y="1029"/>
                  <a:pt x="2163" y="1029"/>
                </a:cubicBezTo>
                <a:cubicBezTo>
                  <a:pt x="2165" y="1029"/>
                  <a:pt x="2165" y="1029"/>
                  <a:pt x="2165" y="1029"/>
                </a:cubicBezTo>
                <a:cubicBezTo>
                  <a:pt x="2168" y="1031"/>
                  <a:pt x="2168" y="1031"/>
                  <a:pt x="2168" y="1031"/>
                </a:cubicBezTo>
                <a:cubicBezTo>
                  <a:pt x="2168" y="1032"/>
                  <a:pt x="2168" y="1032"/>
                  <a:pt x="2168" y="1032"/>
                </a:cubicBezTo>
                <a:cubicBezTo>
                  <a:pt x="2169" y="1032"/>
                  <a:pt x="2169" y="1032"/>
                  <a:pt x="2169" y="1032"/>
                </a:cubicBezTo>
                <a:cubicBezTo>
                  <a:pt x="2170" y="1033"/>
                  <a:pt x="2170" y="1033"/>
                  <a:pt x="2170" y="1033"/>
                </a:cubicBezTo>
                <a:cubicBezTo>
                  <a:pt x="2169" y="1034"/>
                  <a:pt x="2169" y="1034"/>
                  <a:pt x="2169" y="1034"/>
                </a:cubicBezTo>
                <a:cubicBezTo>
                  <a:pt x="2168" y="1034"/>
                  <a:pt x="2168" y="1034"/>
                  <a:pt x="2168" y="1034"/>
                </a:cubicBezTo>
                <a:cubicBezTo>
                  <a:pt x="2168" y="1035"/>
                  <a:pt x="2168" y="1035"/>
                  <a:pt x="2168" y="1035"/>
                </a:cubicBezTo>
                <a:cubicBezTo>
                  <a:pt x="2169" y="1037"/>
                  <a:pt x="2169" y="1037"/>
                  <a:pt x="2169" y="1037"/>
                </a:cubicBezTo>
                <a:cubicBezTo>
                  <a:pt x="2170" y="1037"/>
                  <a:pt x="2170" y="1037"/>
                  <a:pt x="2170" y="1037"/>
                </a:cubicBezTo>
                <a:cubicBezTo>
                  <a:pt x="2171" y="1039"/>
                  <a:pt x="2171" y="1039"/>
                  <a:pt x="2171" y="1039"/>
                </a:cubicBezTo>
                <a:cubicBezTo>
                  <a:pt x="2172" y="1040"/>
                  <a:pt x="2172" y="1040"/>
                  <a:pt x="2172" y="1040"/>
                </a:cubicBezTo>
                <a:cubicBezTo>
                  <a:pt x="2172" y="1042"/>
                  <a:pt x="2172" y="1042"/>
                  <a:pt x="2172" y="1042"/>
                </a:cubicBezTo>
                <a:cubicBezTo>
                  <a:pt x="2173" y="1045"/>
                  <a:pt x="2173" y="1045"/>
                  <a:pt x="2173" y="1045"/>
                </a:cubicBezTo>
                <a:cubicBezTo>
                  <a:pt x="2173" y="1046"/>
                  <a:pt x="2173" y="1046"/>
                  <a:pt x="2173" y="1046"/>
                </a:cubicBezTo>
                <a:cubicBezTo>
                  <a:pt x="2173" y="1047"/>
                  <a:pt x="2173" y="1047"/>
                  <a:pt x="2173" y="1047"/>
                </a:cubicBezTo>
                <a:cubicBezTo>
                  <a:pt x="2173" y="1049"/>
                  <a:pt x="2173" y="1049"/>
                  <a:pt x="2173" y="1049"/>
                </a:cubicBezTo>
                <a:cubicBezTo>
                  <a:pt x="2172" y="1050"/>
                  <a:pt x="2172" y="1050"/>
                  <a:pt x="2172" y="1050"/>
                </a:cubicBezTo>
                <a:cubicBezTo>
                  <a:pt x="2172" y="1049"/>
                  <a:pt x="2172" y="1049"/>
                  <a:pt x="2172" y="1049"/>
                </a:cubicBezTo>
                <a:cubicBezTo>
                  <a:pt x="2171" y="1049"/>
                  <a:pt x="2171" y="1049"/>
                  <a:pt x="2171" y="1049"/>
                </a:cubicBezTo>
                <a:cubicBezTo>
                  <a:pt x="2172" y="1051"/>
                  <a:pt x="2172" y="1051"/>
                  <a:pt x="2172" y="1051"/>
                </a:cubicBezTo>
                <a:cubicBezTo>
                  <a:pt x="2173" y="1051"/>
                  <a:pt x="2173" y="1051"/>
                  <a:pt x="2173" y="1051"/>
                </a:cubicBezTo>
                <a:cubicBezTo>
                  <a:pt x="2174" y="1053"/>
                  <a:pt x="2174" y="1053"/>
                  <a:pt x="2174" y="1053"/>
                </a:cubicBezTo>
                <a:cubicBezTo>
                  <a:pt x="2175" y="1052"/>
                  <a:pt x="2175" y="1052"/>
                  <a:pt x="2175" y="1052"/>
                </a:cubicBezTo>
                <a:cubicBezTo>
                  <a:pt x="2176" y="1053"/>
                  <a:pt x="2176" y="1053"/>
                  <a:pt x="2176" y="1053"/>
                </a:cubicBezTo>
                <a:cubicBezTo>
                  <a:pt x="2176" y="1052"/>
                  <a:pt x="2176" y="1052"/>
                  <a:pt x="2176" y="1052"/>
                </a:cubicBezTo>
                <a:cubicBezTo>
                  <a:pt x="2175" y="1051"/>
                  <a:pt x="2175" y="1051"/>
                  <a:pt x="2175" y="1051"/>
                </a:cubicBezTo>
                <a:cubicBezTo>
                  <a:pt x="2176" y="1050"/>
                  <a:pt x="2176" y="1050"/>
                  <a:pt x="2176" y="1050"/>
                </a:cubicBezTo>
                <a:cubicBezTo>
                  <a:pt x="2177" y="1049"/>
                  <a:pt x="2177" y="1049"/>
                  <a:pt x="2177" y="1049"/>
                </a:cubicBezTo>
                <a:cubicBezTo>
                  <a:pt x="2178" y="1049"/>
                  <a:pt x="2178" y="1049"/>
                  <a:pt x="2178" y="1049"/>
                </a:cubicBezTo>
                <a:cubicBezTo>
                  <a:pt x="2178" y="1048"/>
                  <a:pt x="2178" y="1048"/>
                  <a:pt x="2178" y="1048"/>
                </a:cubicBezTo>
                <a:cubicBezTo>
                  <a:pt x="2179" y="1047"/>
                  <a:pt x="2179" y="1047"/>
                  <a:pt x="2179" y="1047"/>
                </a:cubicBezTo>
                <a:cubicBezTo>
                  <a:pt x="2180" y="1046"/>
                  <a:pt x="2180" y="1046"/>
                  <a:pt x="2180" y="1046"/>
                </a:cubicBezTo>
                <a:cubicBezTo>
                  <a:pt x="2181" y="1045"/>
                  <a:pt x="2181" y="1045"/>
                  <a:pt x="2181" y="1045"/>
                </a:cubicBezTo>
                <a:cubicBezTo>
                  <a:pt x="2183" y="1043"/>
                  <a:pt x="2183" y="1043"/>
                  <a:pt x="2183" y="1043"/>
                </a:cubicBezTo>
                <a:cubicBezTo>
                  <a:pt x="2184" y="1043"/>
                  <a:pt x="2184" y="1043"/>
                  <a:pt x="2184" y="1043"/>
                </a:cubicBezTo>
                <a:cubicBezTo>
                  <a:pt x="2186" y="1042"/>
                  <a:pt x="2186" y="1042"/>
                  <a:pt x="2186" y="1042"/>
                </a:cubicBezTo>
                <a:cubicBezTo>
                  <a:pt x="2187" y="1040"/>
                  <a:pt x="2187" y="1040"/>
                  <a:pt x="2187" y="1040"/>
                </a:cubicBezTo>
                <a:cubicBezTo>
                  <a:pt x="2188" y="1037"/>
                  <a:pt x="2188" y="1037"/>
                  <a:pt x="2188" y="1037"/>
                </a:cubicBezTo>
                <a:cubicBezTo>
                  <a:pt x="2190" y="1037"/>
                  <a:pt x="2190" y="1037"/>
                  <a:pt x="2190" y="1037"/>
                </a:cubicBezTo>
                <a:cubicBezTo>
                  <a:pt x="2191" y="1036"/>
                  <a:pt x="2191" y="1036"/>
                  <a:pt x="2191" y="1036"/>
                </a:cubicBezTo>
                <a:cubicBezTo>
                  <a:pt x="2190" y="1034"/>
                  <a:pt x="2190" y="1034"/>
                  <a:pt x="2190" y="1034"/>
                </a:cubicBezTo>
                <a:cubicBezTo>
                  <a:pt x="2191" y="1033"/>
                  <a:pt x="2191" y="1033"/>
                  <a:pt x="2191" y="1033"/>
                </a:cubicBezTo>
                <a:cubicBezTo>
                  <a:pt x="2192" y="1035"/>
                  <a:pt x="2192" y="1035"/>
                  <a:pt x="2192" y="1035"/>
                </a:cubicBezTo>
                <a:cubicBezTo>
                  <a:pt x="2192" y="1036"/>
                  <a:pt x="2192" y="1036"/>
                  <a:pt x="2192" y="1036"/>
                </a:cubicBezTo>
                <a:cubicBezTo>
                  <a:pt x="2192" y="1038"/>
                  <a:pt x="2192" y="1038"/>
                  <a:pt x="2192" y="1038"/>
                </a:cubicBezTo>
                <a:cubicBezTo>
                  <a:pt x="2191" y="1039"/>
                  <a:pt x="2191" y="1039"/>
                  <a:pt x="2191" y="1039"/>
                </a:cubicBezTo>
                <a:cubicBezTo>
                  <a:pt x="2190" y="1042"/>
                  <a:pt x="2190" y="1042"/>
                  <a:pt x="2190" y="1042"/>
                </a:cubicBezTo>
                <a:cubicBezTo>
                  <a:pt x="2188" y="1044"/>
                  <a:pt x="2188" y="1044"/>
                  <a:pt x="2188" y="1044"/>
                </a:cubicBezTo>
                <a:cubicBezTo>
                  <a:pt x="2187" y="1045"/>
                  <a:pt x="2187" y="1045"/>
                  <a:pt x="2187" y="1045"/>
                </a:cubicBezTo>
                <a:cubicBezTo>
                  <a:pt x="2187" y="1046"/>
                  <a:pt x="2187" y="1046"/>
                  <a:pt x="2187" y="1046"/>
                </a:cubicBezTo>
                <a:cubicBezTo>
                  <a:pt x="2187" y="1048"/>
                  <a:pt x="2187" y="1048"/>
                  <a:pt x="2187" y="1048"/>
                </a:cubicBezTo>
                <a:cubicBezTo>
                  <a:pt x="2185" y="1050"/>
                  <a:pt x="2185" y="1050"/>
                  <a:pt x="2185" y="1050"/>
                </a:cubicBezTo>
                <a:cubicBezTo>
                  <a:pt x="2186" y="1050"/>
                  <a:pt x="2186" y="1050"/>
                  <a:pt x="2186" y="1050"/>
                </a:cubicBezTo>
                <a:cubicBezTo>
                  <a:pt x="2185" y="1053"/>
                  <a:pt x="2185" y="1053"/>
                  <a:pt x="2185" y="1053"/>
                </a:cubicBezTo>
                <a:cubicBezTo>
                  <a:pt x="2182" y="1053"/>
                  <a:pt x="2182" y="1053"/>
                  <a:pt x="2182" y="1053"/>
                </a:cubicBezTo>
                <a:cubicBezTo>
                  <a:pt x="2181" y="1055"/>
                  <a:pt x="2181" y="1055"/>
                  <a:pt x="2181" y="1055"/>
                </a:cubicBezTo>
                <a:cubicBezTo>
                  <a:pt x="2180" y="1056"/>
                  <a:pt x="2180" y="1056"/>
                  <a:pt x="2180" y="1056"/>
                </a:cubicBezTo>
                <a:cubicBezTo>
                  <a:pt x="2182" y="1056"/>
                  <a:pt x="2182" y="1056"/>
                  <a:pt x="2182" y="1056"/>
                </a:cubicBezTo>
                <a:cubicBezTo>
                  <a:pt x="2184" y="1055"/>
                  <a:pt x="2184" y="1055"/>
                  <a:pt x="2184" y="1055"/>
                </a:cubicBezTo>
                <a:cubicBezTo>
                  <a:pt x="2186" y="1056"/>
                  <a:pt x="2186" y="1056"/>
                  <a:pt x="2186" y="1056"/>
                </a:cubicBezTo>
                <a:cubicBezTo>
                  <a:pt x="2188" y="1052"/>
                  <a:pt x="2188" y="1052"/>
                  <a:pt x="2188" y="1052"/>
                </a:cubicBezTo>
                <a:cubicBezTo>
                  <a:pt x="2189" y="1049"/>
                  <a:pt x="2189" y="1049"/>
                  <a:pt x="2189" y="1049"/>
                </a:cubicBezTo>
                <a:cubicBezTo>
                  <a:pt x="2190" y="1047"/>
                  <a:pt x="2190" y="1047"/>
                  <a:pt x="2190" y="1047"/>
                </a:cubicBezTo>
                <a:cubicBezTo>
                  <a:pt x="2191" y="1048"/>
                  <a:pt x="2191" y="1048"/>
                  <a:pt x="2191" y="1048"/>
                </a:cubicBezTo>
                <a:cubicBezTo>
                  <a:pt x="2191" y="1051"/>
                  <a:pt x="2191" y="1051"/>
                  <a:pt x="2191" y="1051"/>
                </a:cubicBezTo>
                <a:cubicBezTo>
                  <a:pt x="2192" y="1053"/>
                  <a:pt x="2192" y="1053"/>
                  <a:pt x="2192" y="1053"/>
                </a:cubicBezTo>
                <a:cubicBezTo>
                  <a:pt x="2191" y="1053"/>
                  <a:pt x="2191" y="1053"/>
                  <a:pt x="2191" y="1053"/>
                </a:cubicBezTo>
                <a:cubicBezTo>
                  <a:pt x="2191" y="1056"/>
                  <a:pt x="2191" y="1056"/>
                  <a:pt x="2191" y="1056"/>
                </a:cubicBezTo>
                <a:cubicBezTo>
                  <a:pt x="2190" y="1058"/>
                  <a:pt x="2190" y="1058"/>
                  <a:pt x="2190" y="1058"/>
                </a:cubicBezTo>
                <a:cubicBezTo>
                  <a:pt x="2188" y="1059"/>
                  <a:pt x="2188" y="1059"/>
                  <a:pt x="2188" y="1059"/>
                </a:cubicBezTo>
                <a:cubicBezTo>
                  <a:pt x="2188" y="1060"/>
                  <a:pt x="2188" y="1060"/>
                  <a:pt x="2188" y="1060"/>
                </a:cubicBezTo>
                <a:cubicBezTo>
                  <a:pt x="2189" y="1060"/>
                  <a:pt x="2189" y="1060"/>
                  <a:pt x="2189" y="1060"/>
                </a:cubicBezTo>
                <a:cubicBezTo>
                  <a:pt x="2191" y="1060"/>
                  <a:pt x="2191" y="1060"/>
                  <a:pt x="2191" y="1060"/>
                </a:cubicBezTo>
                <a:cubicBezTo>
                  <a:pt x="2192" y="1059"/>
                  <a:pt x="2192" y="1059"/>
                  <a:pt x="2192" y="1059"/>
                </a:cubicBezTo>
                <a:cubicBezTo>
                  <a:pt x="2193" y="1059"/>
                  <a:pt x="2193" y="1059"/>
                  <a:pt x="2193" y="1059"/>
                </a:cubicBezTo>
                <a:cubicBezTo>
                  <a:pt x="2194" y="1058"/>
                  <a:pt x="2194" y="1058"/>
                  <a:pt x="2194" y="1058"/>
                </a:cubicBezTo>
                <a:cubicBezTo>
                  <a:pt x="2195" y="1058"/>
                  <a:pt x="2195" y="1058"/>
                  <a:pt x="2195" y="1058"/>
                </a:cubicBezTo>
                <a:cubicBezTo>
                  <a:pt x="2196" y="1058"/>
                  <a:pt x="2196" y="1058"/>
                  <a:pt x="2196" y="1058"/>
                </a:cubicBezTo>
                <a:cubicBezTo>
                  <a:pt x="2195" y="1059"/>
                  <a:pt x="2195" y="1059"/>
                  <a:pt x="2195" y="1059"/>
                </a:cubicBezTo>
                <a:cubicBezTo>
                  <a:pt x="2195" y="1060"/>
                  <a:pt x="2195" y="1060"/>
                  <a:pt x="2195" y="1060"/>
                </a:cubicBezTo>
                <a:cubicBezTo>
                  <a:pt x="2194" y="1060"/>
                  <a:pt x="2194" y="1060"/>
                  <a:pt x="2194" y="1060"/>
                </a:cubicBezTo>
                <a:cubicBezTo>
                  <a:pt x="2193" y="1061"/>
                  <a:pt x="2193" y="1061"/>
                  <a:pt x="2193" y="1061"/>
                </a:cubicBezTo>
                <a:cubicBezTo>
                  <a:pt x="2194" y="1063"/>
                  <a:pt x="2194" y="1063"/>
                  <a:pt x="2194" y="1063"/>
                </a:cubicBezTo>
                <a:cubicBezTo>
                  <a:pt x="2195" y="1064"/>
                  <a:pt x="2195" y="1064"/>
                  <a:pt x="2195" y="1064"/>
                </a:cubicBezTo>
                <a:cubicBezTo>
                  <a:pt x="2196" y="1066"/>
                  <a:pt x="2196" y="1066"/>
                  <a:pt x="2196" y="1066"/>
                </a:cubicBezTo>
                <a:cubicBezTo>
                  <a:pt x="2196" y="1068"/>
                  <a:pt x="2196" y="1068"/>
                  <a:pt x="2196" y="1068"/>
                </a:cubicBezTo>
                <a:cubicBezTo>
                  <a:pt x="2196" y="1071"/>
                  <a:pt x="2196" y="1071"/>
                  <a:pt x="2196" y="1071"/>
                </a:cubicBezTo>
                <a:cubicBezTo>
                  <a:pt x="2194" y="1073"/>
                  <a:pt x="2194" y="1073"/>
                  <a:pt x="2194" y="1073"/>
                </a:cubicBezTo>
                <a:cubicBezTo>
                  <a:pt x="2194" y="1074"/>
                  <a:pt x="2194" y="1074"/>
                  <a:pt x="2194" y="1074"/>
                </a:cubicBezTo>
                <a:cubicBezTo>
                  <a:pt x="2194" y="1076"/>
                  <a:pt x="2194" y="1076"/>
                  <a:pt x="2194" y="1076"/>
                </a:cubicBezTo>
                <a:cubicBezTo>
                  <a:pt x="2195" y="1077"/>
                  <a:pt x="2195" y="1077"/>
                  <a:pt x="2195" y="1077"/>
                </a:cubicBezTo>
                <a:cubicBezTo>
                  <a:pt x="2196" y="1078"/>
                  <a:pt x="2196" y="1078"/>
                  <a:pt x="2196" y="1078"/>
                </a:cubicBezTo>
                <a:cubicBezTo>
                  <a:pt x="2196" y="1080"/>
                  <a:pt x="2196" y="1080"/>
                  <a:pt x="2196" y="1080"/>
                </a:cubicBezTo>
                <a:cubicBezTo>
                  <a:pt x="2199" y="1083"/>
                  <a:pt x="2199" y="1083"/>
                  <a:pt x="2199" y="1083"/>
                </a:cubicBezTo>
                <a:cubicBezTo>
                  <a:pt x="2200" y="1084"/>
                  <a:pt x="2200" y="1084"/>
                  <a:pt x="2200" y="1084"/>
                </a:cubicBezTo>
                <a:cubicBezTo>
                  <a:pt x="2202" y="1085"/>
                  <a:pt x="2202" y="1085"/>
                  <a:pt x="2202" y="1085"/>
                </a:cubicBezTo>
                <a:cubicBezTo>
                  <a:pt x="2202" y="1086"/>
                  <a:pt x="2202" y="1086"/>
                  <a:pt x="2202" y="1086"/>
                </a:cubicBezTo>
                <a:cubicBezTo>
                  <a:pt x="2203" y="1086"/>
                  <a:pt x="2203" y="1086"/>
                  <a:pt x="2203" y="1086"/>
                </a:cubicBezTo>
                <a:cubicBezTo>
                  <a:pt x="2204" y="1086"/>
                  <a:pt x="2204" y="1086"/>
                  <a:pt x="2204" y="1086"/>
                </a:cubicBezTo>
                <a:cubicBezTo>
                  <a:pt x="2206" y="1086"/>
                  <a:pt x="2206" y="1086"/>
                  <a:pt x="2206" y="1086"/>
                </a:cubicBezTo>
                <a:cubicBezTo>
                  <a:pt x="2207" y="1088"/>
                  <a:pt x="2207" y="1088"/>
                  <a:pt x="2207" y="1088"/>
                </a:cubicBezTo>
                <a:cubicBezTo>
                  <a:pt x="2209" y="1088"/>
                  <a:pt x="2209" y="1088"/>
                  <a:pt x="2209" y="1088"/>
                </a:cubicBezTo>
                <a:cubicBezTo>
                  <a:pt x="2210" y="1089"/>
                  <a:pt x="2210" y="1089"/>
                  <a:pt x="2210" y="1089"/>
                </a:cubicBezTo>
                <a:cubicBezTo>
                  <a:pt x="2211" y="1091"/>
                  <a:pt x="2211" y="1091"/>
                  <a:pt x="2211" y="1091"/>
                </a:cubicBezTo>
                <a:cubicBezTo>
                  <a:pt x="2212" y="1091"/>
                  <a:pt x="2212" y="1091"/>
                  <a:pt x="2212" y="1091"/>
                </a:cubicBezTo>
                <a:cubicBezTo>
                  <a:pt x="2213" y="1092"/>
                  <a:pt x="2213" y="1092"/>
                  <a:pt x="2213" y="1092"/>
                </a:cubicBezTo>
                <a:cubicBezTo>
                  <a:pt x="2214" y="1092"/>
                  <a:pt x="2214" y="1092"/>
                  <a:pt x="2214" y="1092"/>
                </a:cubicBezTo>
                <a:cubicBezTo>
                  <a:pt x="2215" y="1092"/>
                  <a:pt x="2215" y="1092"/>
                  <a:pt x="2215" y="1092"/>
                </a:cubicBezTo>
                <a:cubicBezTo>
                  <a:pt x="2217" y="1090"/>
                  <a:pt x="2217" y="1090"/>
                  <a:pt x="2217" y="1090"/>
                </a:cubicBezTo>
                <a:cubicBezTo>
                  <a:pt x="2218" y="1089"/>
                  <a:pt x="2218" y="1089"/>
                  <a:pt x="2218" y="1089"/>
                </a:cubicBezTo>
                <a:cubicBezTo>
                  <a:pt x="2219" y="1089"/>
                  <a:pt x="2219" y="1089"/>
                  <a:pt x="2219" y="1089"/>
                </a:cubicBezTo>
                <a:cubicBezTo>
                  <a:pt x="2221" y="1088"/>
                  <a:pt x="2221" y="1088"/>
                  <a:pt x="2221" y="1088"/>
                </a:cubicBezTo>
                <a:cubicBezTo>
                  <a:pt x="2222" y="1088"/>
                  <a:pt x="2222" y="1088"/>
                  <a:pt x="2222" y="1088"/>
                </a:cubicBezTo>
                <a:cubicBezTo>
                  <a:pt x="2222" y="1087"/>
                  <a:pt x="2222" y="1087"/>
                  <a:pt x="2222" y="1087"/>
                </a:cubicBezTo>
                <a:cubicBezTo>
                  <a:pt x="2221" y="1086"/>
                  <a:pt x="2221" y="1086"/>
                  <a:pt x="2221" y="1086"/>
                </a:cubicBezTo>
                <a:cubicBezTo>
                  <a:pt x="2224" y="1084"/>
                  <a:pt x="2224" y="1084"/>
                  <a:pt x="2224" y="1084"/>
                </a:cubicBezTo>
                <a:cubicBezTo>
                  <a:pt x="2226" y="1085"/>
                  <a:pt x="2226" y="1085"/>
                  <a:pt x="2226" y="1085"/>
                </a:cubicBezTo>
                <a:cubicBezTo>
                  <a:pt x="2226" y="1087"/>
                  <a:pt x="2226" y="1087"/>
                  <a:pt x="2226" y="1087"/>
                </a:cubicBezTo>
                <a:cubicBezTo>
                  <a:pt x="2223" y="1088"/>
                  <a:pt x="2223" y="1088"/>
                  <a:pt x="2223" y="1088"/>
                </a:cubicBezTo>
                <a:cubicBezTo>
                  <a:pt x="2224" y="1089"/>
                  <a:pt x="2224" y="1089"/>
                  <a:pt x="2224" y="1089"/>
                </a:cubicBezTo>
                <a:cubicBezTo>
                  <a:pt x="2225" y="1089"/>
                  <a:pt x="2225" y="1089"/>
                  <a:pt x="2225" y="1089"/>
                </a:cubicBezTo>
                <a:cubicBezTo>
                  <a:pt x="2225" y="1088"/>
                  <a:pt x="2225" y="1088"/>
                  <a:pt x="2225" y="1088"/>
                </a:cubicBezTo>
                <a:cubicBezTo>
                  <a:pt x="2227" y="1088"/>
                  <a:pt x="2227" y="1088"/>
                  <a:pt x="2227" y="1088"/>
                </a:cubicBezTo>
                <a:cubicBezTo>
                  <a:pt x="2228" y="1088"/>
                  <a:pt x="2228" y="1088"/>
                  <a:pt x="2228" y="1088"/>
                </a:cubicBezTo>
                <a:cubicBezTo>
                  <a:pt x="2228" y="1090"/>
                  <a:pt x="2228" y="1090"/>
                  <a:pt x="2228" y="1090"/>
                </a:cubicBezTo>
                <a:cubicBezTo>
                  <a:pt x="2227" y="1090"/>
                  <a:pt x="2227" y="1090"/>
                  <a:pt x="2227" y="1090"/>
                </a:cubicBezTo>
                <a:cubicBezTo>
                  <a:pt x="2226" y="1091"/>
                  <a:pt x="2226" y="1091"/>
                  <a:pt x="2226" y="1091"/>
                </a:cubicBezTo>
                <a:cubicBezTo>
                  <a:pt x="2228" y="1093"/>
                  <a:pt x="2228" y="1093"/>
                  <a:pt x="2228" y="1093"/>
                </a:cubicBezTo>
                <a:cubicBezTo>
                  <a:pt x="2228" y="1095"/>
                  <a:pt x="2228" y="1095"/>
                  <a:pt x="2228" y="1095"/>
                </a:cubicBezTo>
                <a:cubicBezTo>
                  <a:pt x="2229" y="1094"/>
                  <a:pt x="2229" y="1094"/>
                  <a:pt x="2229" y="1094"/>
                </a:cubicBezTo>
                <a:cubicBezTo>
                  <a:pt x="2229" y="1096"/>
                  <a:pt x="2229" y="1096"/>
                  <a:pt x="2229" y="1096"/>
                </a:cubicBezTo>
                <a:cubicBezTo>
                  <a:pt x="2230" y="1097"/>
                  <a:pt x="2230" y="1097"/>
                  <a:pt x="2230" y="1097"/>
                </a:cubicBezTo>
                <a:cubicBezTo>
                  <a:pt x="2231" y="1095"/>
                  <a:pt x="2231" y="1095"/>
                  <a:pt x="2231" y="1095"/>
                </a:cubicBezTo>
                <a:cubicBezTo>
                  <a:pt x="2231" y="1094"/>
                  <a:pt x="2231" y="1094"/>
                  <a:pt x="2231" y="1094"/>
                </a:cubicBezTo>
                <a:cubicBezTo>
                  <a:pt x="2230" y="1094"/>
                  <a:pt x="2230" y="1094"/>
                  <a:pt x="2230" y="1094"/>
                </a:cubicBezTo>
                <a:cubicBezTo>
                  <a:pt x="2231" y="1093"/>
                  <a:pt x="2231" y="1093"/>
                  <a:pt x="2231" y="1093"/>
                </a:cubicBezTo>
                <a:cubicBezTo>
                  <a:pt x="2232" y="1093"/>
                  <a:pt x="2232" y="1093"/>
                  <a:pt x="2232" y="1093"/>
                </a:cubicBezTo>
                <a:cubicBezTo>
                  <a:pt x="2232" y="1094"/>
                  <a:pt x="2232" y="1094"/>
                  <a:pt x="2232" y="1094"/>
                </a:cubicBezTo>
                <a:cubicBezTo>
                  <a:pt x="2233" y="1093"/>
                  <a:pt x="2233" y="1093"/>
                  <a:pt x="2233" y="1093"/>
                </a:cubicBezTo>
                <a:cubicBezTo>
                  <a:pt x="2234" y="1093"/>
                  <a:pt x="2234" y="1093"/>
                  <a:pt x="2234" y="1093"/>
                </a:cubicBezTo>
                <a:cubicBezTo>
                  <a:pt x="2234" y="1094"/>
                  <a:pt x="2234" y="1094"/>
                  <a:pt x="2234" y="1094"/>
                </a:cubicBezTo>
                <a:cubicBezTo>
                  <a:pt x="2235" y="1093"/>
                  <a:pt x="2235" y="1093"/>
                  <a:pt x="2235" y="1093"/>
                </a:cubicBezTo>
                <a:cubicBezTo>
                  <a:pt x="2236" y="1091"/>
                  <a:pt x="2236" y="1091"/>
                  <a:pt x="2236" y="1091"/>
                </a:cubicBezTo>
                <a:cubicBezTo>
                  <a:pt x="2239" y="1089"/>
                  <a:pt x="2239" y="1089"/>
                  <a:pt x="2239" y="1089"/>
                </a:cubicBezTo>
                <a:cubicBezTo>
                  <a:pt x="2241" y="1087"/>
                  <a:pt x="2241" y="1087"/>
                  <a:pt x="2241" y="1087"/>
                </a:cubicBezTo>
                <a:cubicBezTo>
                  <a:pt x="2242" y="1087"/>
                  <a:pt x="2242" y="1087"/>
                  <a:pt x="2242" y="1087"/>
                </a:cubicBezTo>
                <a:cubicBezTo>
                  <a:pt x="2244" y="1086"/>
                  <a:pt x="2244" y="1086"/>
                  <a:pt x="2244" y="1086"/>
                </a:cubicBezTo>
                <a:cubicBezTo>
                  <a:pt x="2249" y="1085"/>
                  <a:pt x="2249" y="1085"/>
                  <a:pt x="2249" y="1085"/>
                </a:cubicBezTo>
                <a:cubicBezTo>
                  <a:pt x="2253" y="1086"/>
                  <a:pt x="2253" y="1086"/>
                  <a:pt x="2253" y="1086"/>
                </a:cubicBezTo>
                <a:cubicBezTo>
                  <a:pt x="2254" y="1085"/>
                  <a:pt x="2254" y="1085"/>
                  <a:pt x="2254" y="1085"/>
                </a:cubicBezTo>
                <a:cubicBezTo>
                  <a:pt x="2254" y="1084"/>
                  <a:pt x="2254" y="1084"/>
                  <a:pt x="2254" y="1084"/>
                </a:cubicBezTo>
                <a:cubicBezTo>
                  <a:pt x="2255" y="1084"/>
                  <a:pt x="2255" y="1084"/>
                  <a:pt x="2255" y="1084"/>
                </a:cubicBezTo>
                <a:cubicBezTo>
                  <a:pt x="2257" y="1083"/>
                  <a:pt x="2257" y="1083"/>
                  <a:pt x="2257" y="1083"/>
                </a:cubicBezTo>
                <a:cubicBezTo>
                  <a:pt x="2258" y="1081"/>
                  <a:pt x="2258" y="1081"/>
                  <a:pt x="2258" y="1081"/>
                </a:cubicBezTo>
                <a:cubicBezTo>
                  <a:pt x="2257" y="1078"/>
                  <a:pt x="2257" y="1078"/>
                  <a:pt x="2257" y="1078"/>
                </a:cubicBezTo>
                <a:cubicBezTo>
                  <a:pt x="2257" y="1077"/>
                  <a:pt x="2257" y="1077"/>
                  <a:pt x="2257" y="1077"/>
                </a:cubicBezTo>
                <a:cubicBezTo>
                  <a:pt x="2259" y="1075"/>
                  <a:pt x="2259" y="1075"/>
                  <a:pt x="2259" y="1075"/>
                </a:cubicBezTo>
                <a:cubicBezTo>
                  <a:pt x="2259" y="1071"/>
                  <a:pt x="2259" y="1071"/>
                  <a:pt x="2259" y="1071"/>
                </a:cubicBezTo>
                <a:cubicBezTo>
                  <a:pt x="2260" y="1070"/>
                  <a:pt x="2260" y="1070"/>
                  <a:pt x="2260" y="1070"/>
                </a:cubicBezTo>
                <a:cubicBezTo>
                  <a:pt x="2261" y="1067"/>
                  <a:pt x="2261" y="1067"/>
                  <a:pt x="2261" y="1067"/>
                </a:cubicBezTo>
                <a:cubicBezTo>
                  <a:pt x="2262" y="1067"/>
                  <a:pt x="2262" y="1067"/>
                  <a:pt x="2262" y="1067"/>
                </a:cubicBezTo>
                <a:cubicBezTo>
                  <a:pt x="2262" y="1065"/>
                  <a:pt x="2262" y="1065"/>
                  <a:pt x="2262" y="1065"/>
                </a:cubicBezTo>
                <a:cubicBezTo>
                  <a:pt x="2266" y="1061"/>
                  <a:pt x="2266" y="1061"/>
                  <a:pt x="2266" y="1061"/>
                </a:cubicBezTo>
                <a:cubicBezTo>
                  <a:pt x="2267" y="1061"/>
                  <a:pt x="2267" y="1061"/>
                  <a:pt x="2267" y="1061"/>
                </a:cubicBezTo>
                <a:cubicBezTo>
                  <a:pt x="2267" y="1058"/>
                  <a:pt x="2267" y="1058"/>
                  <a:pt x="2267" y="1058"/>
                </a:cubicBezTo>
                <a:cubicBezTo>
                  <a:pt x="2269" y="1056"/>
                  <a:pt x="2269" y="1056"/>
                  <a:pt x="2269" y="1056"/>
                </a:cubicBezTo>
                <a:cubicBezTo>
                  <a:pt x="2270" y="1053"/>
                  <a:pt x="2270" y="1053"/>
                  <a:pt x="2270" y="1053"/>
                </a:cubicBezTo>
                <a:cubicBezTo>
                  <a:pt x="2271" y="1052"/>
                  <a:pt x="2271" y="1052"/>
                  <a:pt x="2271" y="1052"/>
                </a:cubicBezTo>
                <a:cubicBezTo>
                  <a:pt x="2271" y="1050"/>
                  <a:pt x="2271" y="1050"/>
                  <a:pt x="2271" y="1050"/>
                </a:cubicBezTo>
                <a:cubicBezTo>
                  <a:pt x="2272" y="1050"/>
                  <a:pt x="2272" y="1050"/>
                  <a:pt x="2272" y="1050"/>
                </a:cubicBezTo>
                <a:cubicBezTo>
                  <a:pt x="2273" y="1047"/>
                  <a:pt x="2273" y="1047"/>
                  <a:pt x="2273" y="1047"/>
                </a:cubicBezTo>
                <a:cubicBezTo>
                  <a:pt x="2272" y="1047"/>
                  <a:pt x="2272" y="1047"/>
                  <a:pt x="2272" y="1047"/>
                </a:cubicBezTo>
                <a:cubicBezTo>
                  <a:pt x="2274" y="1046"/>
                  <a:pt x="2274" y="1046"/>
                  <a:pt x="2274" y="1046"/>
                </a:cubicBezTo>
                <a:cubicBezTo>
                  <a:pt x="2276" y="1044"/>
                  <a:pt x="2276" y="1044"/>
                  <a:pt x="2276" y="1044"/>
                </a:cubicBezTo>
                <a:cubicBezTo>
                  <a:pt x="2277" y="1043"/>
                  <a:pt x="2277" y="1043"/>
                  <a:pt x="2277" y="1043"/>
                </a:cubicBezTo>
                <a:cubicBezTo>
                  <a:pt x="2278" y="1041"/>
                  <a:pt x="2278" y="1041"/>
                  <a:pt x="2278" y="1041"/>
                </a:cubicBezTo>
                <a:cubicBezTo>
                  <a:pt x="2279" y="1040"/>
                  <a:pt x="2279" y="1040"/>
                  <a:pt x="2279" y="1040"/>
                </a:cubicBezTo>
                <a:cubicBezTo>
                  <a:pt x="2279" y="1039"/>
                  <a:pt x="2279" y="1039"/>
                  <a:pt x="2279" y="1039"/>
                </a:cubicBezTo>
                <a:cubicBezTo>
                  <a:pt x="2281" y="1039"/>
                  <a:pt x="2281" y="1039"/>
                  <a:pt x="2281" y="1039"/>
                </a:cubicBezTo>
                <a:cubicBezTo>
                  <a:pt x="2283" y="1038"/>
                  <a:pt x="2283" y="1038"/>
                  <a:pt x="2283" y="1038"/>
                </a:cubicBezTo>
                <a:cubicBezTo>
                  <a:pt x="2284" y="1036"/>
                  <a:pt x="2284" y="1036"/>
                  <a:pt x="2284" y="1036"/>
                </a:cubicBezTo>
                <a:cubicBezTo>
                  <a:pt x="2283" y="1035"/>
                  <a:pt x="2283" y="1035"/>
                  <a:pt x="2283" y="1035"/>
                </a:cubicBezTo>
                <a:cubicBezTo>
                  <a:pt x="2284" y="1034"/>
                  <a:pt x="2284" y="1034"/>
                  <a:pt x="2284" y="1034"/>
                </a:cubicBezTo>
                <a:cubicBezTo>
                  <a:pt x="2286" y="1033"/>
                  <a:pt x="2286" y="1033"/>
                  <a:pt x="2286" y="1033"/>
                </a:cubicBezTo>
                <a:cubicBezTo>
                  <a:pt x="2286" y="1031"/>
                  <a:pt x="2286" y="1031"/>
                  <a:pt x="2286" y="1031"/>
                </a:cubicBezTo>
                <a:cubicBezTo>
                  <a:pt x="2287" y="1031"/>
                  <a:pt x="2287" y="1031"/>
                  <a:pt x="2287" y="1031"/>
                </a:cubicBezTo>
                <a:cubicBezTo>
                  <a:pt x="2289" y="1028"/>
                  <a:pt x="2289" y="1028"/>
                  <a:pt x="2289" y="1028"/>
                </a:cubicBezTo>
                <a:cubicBezTo>
                  <a:pt x="2288" y="1027"/>
                  <a:pt x="2288" y="1027"/>
                  <a:pt x="2288" y="1027"/>
                </a:cubicBezTo>
                <a:cubicBezTo>
                  <a:pt x="2289" y="1025"/>
                  <a:pt x="2289" y="1025"/>
                  <a:pt x="2289" y="1025"/>
                </a:cubicBezTo>
                <a:cubicBezTo>
                  <a:pt x="2289" y="1024"/>
                  <a:pt x="2289" y="1024"/>
                  <a:pt x="2289" y="1024"/>
                </a:cubicBezTo>
                <a:cubicBezTo>
                  <a:pt x="2291" y="1019"/>
                  <a:pt x="2291" y="1019"/>
                  <a:pt x="2291" y="1019"/>
                </a:cubicBezTo>
                <a:cubicBezTo>
                  <a:pt x="2291" y="1017"/>
                  <a:pt x="2291" y="1017"/>
                  <a:pt x="2291" y="1017"/>
                </a:cubicBezTo>
                <a:cubicBezTo>
                  <a:pt x="2293" y="1013"/>
                  <a:pt x="2293" y="1013"/>
                  <a:pt x="2293" y="1013"/>
                </a:cubicBezTo>
                <a:cubicBezTo>
                  <a:pt x="2293" y="1012"/>
                  <a:pt x="2293" y="1012"/>
                  <a:pt x="2293" y="1012"/>
                </a:cubicBezTo>
                <a:cubicBezTo>
                  <a:pt x="2294" y="1009"/>
                  <a:pt x="2294" y="1009"/>
                  <a:pt x="2294" y="1009"/>
                </a:cubicBezTo>
                <a:cubicBezTo>
                  <a:pt x="2296" y="1007"/>
                  <a:pt x="2296" y="1007"/>
                  <a:pt x="2296" y="1007"/>
                </a:cubicBezTo>
                <a:cubicBezTo>
                  <a:pt x="2297" y="1006"/>
                  <a:pt x="2297" y="1006"/>
                  <a:pt x="2297" y="1006"/>
                </a:cubicBezTo>
                <a:cubicBezTo>
                  <a:pt x="2296" y="1004"/>
                  <a:pt x="2296" y="1004"/>
                  <a:pt x="2296" y="1004"/>
                </a:cubicBezTo>
                <a:cubicBezTo>
                  <a:pt x="2297" y="1002"/>
                  <a:pt x="2297" y="1002"/>
                  <a:pt x="2297" y="1002"/>
                </a:cubicBezTo>
                <a:cubicBezTo>
                  <a:pt x="2296" y="1000"/>
                  <a:pt x="2296" y="1000"/>
                  <a:pt x="2296" y="1000"/>
                </a:cubicBezTo>
                <a:cubicBezTo>
                  <a:pt x="2296" y="998"/>
                  <a:pt x="2296" y="998"/>
                  <a:pt x="2296" y="998"/>
                </a:cubicBezTo>
                <a:cubicBezTo>
                  <a:pt x="2296" y="996"/>
                  <a:pt x="2296" y="996"/>
                  <a:pt x="2296" y="996"/>
                </a:cubicBezTo>
                <a:cubicBezTo>
                  <a:pt x="2295" y="995"/>
                  <a:pt x="2295" y="995"/>
                  <a:pt x="2295" y="995"/>
                </a:cubicBezTo>
                <a:cubicBezTo>
                  <a:pt x="2295" y="994"/>
                  <a:pt x="2295" y="994"/>
                  <a:pt x="2295" y="994"/>
                </a:cubicBezTo>
                <a:cubicBezTo>
                  <a:pt x="2296" y="993"/>
                  <a:pt x="2296" y="993"/>
                  <a:pt x="2296" y="993"/>
                </a:cubicBezTo>
                <a:cubicBezTo>
                  <a:pt x="2296" y="992"/>
                  <a:pt x="2296" y="992"/>
                  <a:pt x="2296" y="992"/>
                </a:cubicBezTo>
                <a:cubicBezTo>
                  <a:pt x="2297" y="990"/>
                  <a:pt x="2297" y="990"/>
                  <a:pt x="2297" y="990"/>
                </a:cubicBezTo>
                <a:cubicBezTo>
                  <a:pt x="2297" y="989"/>
                  <a:pt x="2297" y="989"/>
                  <a:pt x="2297" y="989"/>
                </a:cubicBezTo>
                <a:cubicBezTo>
                  <a:pt x="2297" y="986"/>
                  <a:pt x="2297" y="986"/>
                  <a:pt x="2297" y="986"/>
                </a:cubicBezTo>
                <a:cubicBezTo>
                  <a:pt x="2297" y="984"/>
                  <a:pt x="2297" y="984"/>
                  <a:pt x="2297" y="984"/>
                </a:cubicBezTo>
                <a:cubicBezTo>
                  <a:pt x="2296" y="982"/>
                  <a:pt x="2296" y="982"/>
                  <a:pt x="2296" y="982"/>
                </a:cubicBezTo>
                <a:cubicBezTo>
                  <a:pt x="2296" y="980"/>
                  <a:pt x="2296" y="980"/>
                  <a:pt x="2296" y="980"/>
                </a:cubicBezTo>
                <a:cubicBezTo>
                  <a:pt x="2297" y="978"/>
                  <a:pt x="2297" y="978"/>
                  <a:pt x="2297" y="978"/>
                </a:cubicBezTo>
                <a:cubicBezTo>
                  <a:pt x="2295" y="978"/>
                  <a:pt x="2295" y="978"/>
                  <a:pt x="2295" y="978"/>
                </a:cubicBezTo>
                <a:cubicBezTo>
                  <a:pt x="2295" y="977"/>
                  <a:pt x="2295" y="977"/>
                  <a:pt x="2295" y="977"/>
                </a:cubicBezTo>
                <a:close/>
                <a:moveTo>
                  <a:pt x="2226" y="1089"/>
                </a:moveTo>
                <a:cubicBezTo>
                  <a:pt x="2226" y="1089"/>
                  <a:pt x="2226" y="1089"/>
                  <a:pt x="2225" y="1089"/>
                </a:cubicBezTo>
                <a:cubicBezTo>
                  <a:pt x="2225" y="1089"/>
                  <a:pt x="2225" y="1089"/>
                  <a:pt x="2226" y="1090"/>
                </a:cubicBezTo>
                <a:cubicBezTo>
                  <a:pt x="2226" y="1090"/>
                  <a:pt x="2226" y="1090"/>
                  <a:pt x="2226" y="1089"/>
                </a:cubicBezTo>
                <a:close/>
                <a:moveTo>
                  <a:pt x="2237" y="1105"/>
                </a:moveTo>
                <a:cubicBezTo>
                  <a:pt x="2236" y="1106"/>
                  <a:pt x="2236" y="1106"/>
                  <a:pt x="2236" y="1106"/>
                </a:cubicBezTo>
                <a:cubicBezTo>
                  <a:pt x="2237" y="1107"/>
                  <a:pt x="2237" y="1107"/>
                  <a:pt x="2237" y="1107"/>
                </a:cubicBezTo>
                <a:cubicBezTo>
                  <a:pt x="2237" y="1108"/>
                  <a:pt x="2237" y="1108"/>
                  <a:pt x="2237" y="1108"/>
                </a:cubicBezTo>
                <a:cubicBezTo>
                  <a:pt x="2240" y="1107"/>
                  <a:pt x="2240" y="1107"/>
                  <a:pt x="2240" y="1107"/>
                </a:cubicBezTo>
                <a:cubicBezTo>
                  <a:pt x="2240" y="1106"/>
                  <a:pt x="2240" y="1106"/>
                  <a:pt x="2240" y="1106"/>
                </a:cubicBezTo>
                <a:cubicBezTo>
                  <a:pt x="2237" y="1104"/>
                  <a:pt x="2237" y="1104"/>
                  <a:pt x="2237" y="1104"/>
                </a:cubicBezTo>
                <a:cubicBezTo>
                  <a:pt x="2237" y="1105"/>
                  <a:pt x="2237" y="1105"/>
                  <a:pt x="2237" y="1105"/>
                </a:cubicBezTo>
                <a:close/>
                <a:moveTo>
                  <a:pt x="2237" y="1109"/>
                </a:moveTo>
                <a:cubicBezTo>
                  <a:pt x="2236" y="1109"/>
                  <a:pt x="2236" y="1109"/>
                  <a:pt x="2236" y="1109"/>
                </a:cubicBezTo>
                <a:cubicBezTo>
                  <a:pt x="2236" y="1110"/>
                  <a:pt x="2236" y="1110"/>
                  <a:pt x="2236" y="1110"/>
                </a:cubicBezTo>
                <a:cubicBezTo>
                  <a:pt x="2238" y="1110"/>
                  <a:pt x="2238" y="1110"/>
                  <a:pt x="2238" y="1110"/>
                </a:cubicBezTo>
                <a:cubicBezTo>
                  <a:pt x="2239" y="1111"/>
                  <a:pt x="2239" y="1111"/>
                  <a:pt x="2239" y="1111"/>
                </a:cubicBezTo>
                <a:cubicBezTo>
                  <a:pt x="2240" y="1110"/>
                  <a:pt x="2240" y="1110"/>
                  <a:pt x="2240" y="1110"/>
                </a:cubicBezTo>
                <a:cubicBezTo>
                  <a:pt x="2238" y="1109"/>
                  <a:pt x="2238" y="1109"/>
                  <a:pt x="2238" y="1109"/>
                </a:cubicBezTo>
                <a:cubicBezTo>
                  <a:pt x="2237" y="1109"/>
                  <a:pt x="2237" y="1109"/>
                  <a:pt x="2237" y="1109"/>
                </a:cubicBezTo>
                <a:close/>
                <a:moveTo>
                  <a:pt x="2197" y="879"/>
                </a:moveTo>
                <a:cubicBezTo>
                  <a:pt x="2197" y="879"/>
                  <a:pt x="2197" y="879"/>
                  <a:pt x="2198" y="880"/>
                </a:cubicBezTo>
                <a:cubicBezTo>
                  <a:pt x="2198" y="880"/>
                  <a:pt x="2198" y="880"/>
                  <a:pt x="2199" y="879"/>
                </a:cubicBezTo>
                <a:cubicBezTo>
                  <a:pt x="2199" y="879"/>
                  <a:pt x="2199" y="879"/>
                  <a:pt x="2197" y="879"/>
                </a:cubicBezTo>
                <a:close/>
                <a:moveTo>
                  <a:pt x="2198" y="880"/>
                </a:moveTo>
                <a:cubicBezTo>
                  <a:pt x="2198" y="881"/>
                  <a:pt x="2198" y="881"/>
                  <a:pt x="2198" y="881"/>
                </a:cubicBezTo>
                <a:cubicBezTo>
                  <a:pt x="2199" y="880"/>
                  <a:pt x="2199" y="880"/>
                  <a:pt x="2199" y="880"/>
                </a:cubicBezTo>
                <a:cubicBezTo>
                  <a:pt x="2198" y="880"/>
                  <a:pt x="2198" y="880"/>
                  <a:pt x="2198" y="880"/>
                </a:cubicBezTo>
                <a:close/>
                <a:moveTo>
                  <a:pt x="2166" y="878"/>
                </a:moveTo>
                <a:cubicBezTo>
                  <a:pt x="2166" y="878"/>
                  <a:pt x="2166" y="878"/>
                  <a:pt x="2165" y="875"/>
                </a:cubicBezTo>
                <a:cubicBezTo>
                  <a:pt x="2165" y="875"/>
                  <a:pt x="2165" y="875"/>
                  <a:pt x="2164" y="876"/>
                </a:cubicBezTo>
                <a:cubicBezTo>
                  <a:pt x="2164" y="876"/>
                  <a:pt x="2164" y="876"/>
                  <a:pt x="2165" y="876"/>
                </a:cubicBezTo>
                <a:cubicBezTo>
                  <a:pt x="2165" y="876"/>
                  <a:pt x="2165" y="876"/>
                  <a:pt x="2164" y="877"/>
                </a:cubicBezTo>
                <a:cubicBezTo>
                  <a:pt x="2164" y="877"/>
                  <a:pt x="2164" y="877"/>
                  <a:pt x="2164" y="878"/>
                </a:cubicBezTo>
                <a:cubicBezTo>
                  <a:pt x="2164" y="878"/>
                  <a:pt x="2164" y="878"/>
                  <a:pt x="2165" y="878"/>
                </a:cubicBezTo>
                <a:cubicBezTo>
                  <a:pt x="2165" y="878"/>
                  <a:pt x="2165" y="878"/>
                  <a:pt x="2166" y="878"/>
                </a:cubicBezTo>
                <a:close/>
                <a:moveTo>
                  <a:pt x="2241" y="868"/>
                </a:moveTo>
                <a:cubicBezTo>
                  <a:pt x="2242" y="867"/>
                  <a:pt x="2242" y="867"/>
                  <a:pt x="2242" y="867"/>
                </a:cubicBezTo>
                <a:cubicBezTo>
                  <a:pt x="2241" y="867"/>
                  <a:pt x="2241" y="867"/>
                  <a:pt x="2241" y="867"/>
                </a:cubicBezTo>
                <a:cubicBezTo>
                  <a:pt x="2241" y="868"/>
                  <a:pt x="2241" y="868"/>
                  <a:pt x="2241" y="868"/>
                </a:cubicBezTo>
                <a:close/>
                <a:moveTo>
                  <a:pt x="2430" y="1101"/>
                </a:moveTo>
                <a:cubicBezTo>
                  <a:pt x="2429" y="1100"/>
                  <a:pt x="2429" y="1100"/>
                  <a:pt x="2429" y="1100"/>
                </a:cubicBezTo>
                <a:cubicBezTo>
                  <a:pt x="2430" y="1100"/>
                  <a:pt x="2430" y="1100"/>
                  <a:pt x="2430" y="1100"/>
                </a:cubicBezTo>
                <a:cubicBezTo>
                  <a:pt x="2429" y="1099"/>
                  <a:pt x="2429" y="1099"/>
                  <a:pt x="2429" y="1099"/>
                </a:cubicBezTo>
                <a:cubicBezTo>
                  <a:pt x="2427" y="1100"/>
                  <a:pt x="2427" y="1100"/>
                  <a:pt x="2427" y="1100"/>
                </a:cubicBezTo>
                <a:cubicBezTo>
                  <a:pt x="2425" y="1103"/>
                  <a:pt x="2425" y="1103"/>
                  <a:pt x="2425" y="1103"/>
                </a:cubicBezTo>
                <a:cubicBezTo>
                  <a:pt x="2423" y="1103"/>
                  <a:pt x="2423" y="1103"/>
                  <a:pt x="2423" y="1103"/>
                </a:cubicBezTo>
                <a:cubicBezTo>
                  <a:pt x="2421" y="1103"/>
                  <a:pt x="2421" y="1103"/>
                  <a:pt x="2421" y="1103"/>
                </a:cubicBezTo>
                <a:cubicBezTo>
                  <a:pt x="2419" y="1100"/>
                  <a:pt x="2419" y="1100"/>
                  <a:pt x="2419" y="1100"/>
                </a:cubicBezTo>
                <a:cubicBezTo>
                  <a:pt x="2418" y="1100"/>
                  <a:pt x="2418" y="1100"/>
                  <a:pt x="2418" y="1100"/>
                </a:cubicBezTo>
                <a:cubicBezTo>
                  <a:pt x="2417" y="1099"/>
                  <a:pt x="2417" y="1099"/>
                  <a:pt x="2417" y="1099"/>
                </a:cubicBezTo>
                <a:cubicBezTo>
                  <a:pt x="2417" y="1098"/>
                  <a:pt x="2417" y="1098"/>
                  <a:pt x="2417" y="1098"/>
                </a:cubicBezTo>
                <a:cubicBezTo>
                  <a:pt x="2418" y="1097"/>
                  <a:pt x="2418" y="1097"/>
                  <a:pt x="2418" y="1097"/>
                </a:cubicBezTo>
                <a:cubicBezTo>
                  <a:pt x="2418" y="1096"/>
                  <a:pt x="2418" y="1096"/>
                  <a:pt x="2418" y="1096"/>
                </a:cubicBezTo>
                <a:cubicBezTo>
                  <a:pt x="2417" y="1094"/>
                  <a:pt x="2417" y="1094"/>
                  <a:pt x="2417" y="1094"/>
                </a:cubicBezTo>
                <a:cubicBezTo>
                  <a:pt x="2417" y="1093"/>
                  <a:pt x="2417" y="1093"/>
                  <a:pt x="2417" y="1093"/>
                </a:cubicBezTo>
                <a:cubicBezTo>
                  <a:pt x="2416" y="1092"/>
                  <a:pt x="2416" y="1092"/>
                  <a:pt x="2416" y="1092"/>
                </a:cubicBezTo>
                <a:cubicBezTo>
                  <a:pt x="2417" y="1091"/>
                  <a:pt x="2417" y="1091"/>
                  <a:pt x="2417" y="1091"/>
                </a:cubicBezTo>
                <a:cubicBezTo>
                  <a:pt x="2417" y="1090"/>
                  <a:pt x="2417" y="1090"/>
                  <a:pt x="2417" y="1090"/>
                </a:cubicBezTo>
                <a:cubicBezTo>
                  <a:pt x="2416" y="1090"/>
                  <a:pt x="2416" y="1090"/>
                  <a:pt x="2416" y="1090"/>
                </a:cubicBezTo>
                <a:cubicBezTo>
                  <a:pt x="2416" y="1089"/>
                  <a:pt x="2416" y="1089"/>
                  <a:pt x="2416" y="1089"/>
                </a:cubicBezTo>
                <a:cubicBezTo>
                  <a:pt x="2416" y="1088"/>
                  <a:pt x="2416" y="1088"/>
                  <a:pt x="2416" y="1088"/>
                </a:cubicBezTo>
                <a:cubicBezTo>
                  <a:pt x="2415" y="1088"/>
                  <a:pt x="2415" y="1088"/>
                  <a:pt x="2415" y="1088"/>
                </a:cubicBezTo>
                <a:cubicBezTo>
                  <a:pt x="2414" y="1088"/>
                  <a:pt x="2414" y="1088"/>
                  <a:pt x="2414" y="1088"/>
                </a:cubicBezTo>
                <a:cubicBezTo>
                  <a:pt x="2415" y="1089"/>
                  <a:pt x="2415" y="1089"/>
                  <a:pt x="2415" y="1089"/>
                </a:cubicBezTo>
                <a:cubicBezTo>
                  <a:pt x="2415" y="1090"/>
                  <a:pt x="2415" y="1090"/>
                  <a:pt x="2415" y="1090"/>
                </a:cubicBezTo>
                <a:cubicBezTo>
                  <a:pt x="2415" y="1091"/>
                  <a:pt x="2415" y="1091"/>
                  <a:pt x="2415" y="1091"/>
                </a:cubicBezTo>
                <a:cubicBezTo>
                  <a:pt x="2414" y="1092"/>
                  <a:pt x="2414" y="1092"/>
                  <a:pt x="2414" y="1092"/>
                </a:cubicBezTo>
                <a:cubicBezTo>
                  <a:pt x="2415" y="1094"/>
                  <a:pt x="2415" y="1094"/>
                  <a:pt x="2415" y="1094"/>
                </a:cubicBezTo>
                <a:cubicBezTo>
                  <a:pt x="2414" y="1095"/>
                  <a:pt x="2414" y="1095"/>
                  <a:pt x="2414" y="1095"/>
                </a:cubicBezTo>
                <a:cubicBezTo>
                  <a:pt x="2413" y="1094"/>
                  <a:pt x="2413" y="1094"/>
                  <a:pt x="2413" y="1094"/>
                </a:cubicBezTo>
                <a:cubicBezTo>
                  <a:pt x="2413" y="1093"/>
                  <a:pt x="2413" y="1093"/>
                  <a:pt x="2413" y="1093"/>
                </a:cubicBezTo>
                <a:cubicBezTo>
                  <a:pt x="2412" y="1093"/>
                  <a:pt x="2412" y="1093"/>
                  <a:pt x="2412" y="1093"/>
                </a:cubicBezTo>
                <a:cubicBezTo>
                  <a:pt x="2412" y="1092"/>
                  <a:pt x="2412" y="1092"/>
                  <a:pt x="2412" y="1092"/>
                </a:cubicBezTo>
                <a:cubicBezTo>
                  <a:pt x="2411" y="1091"/>
                  <a:pt x="2411" y="1091"/>
                  <a:pt x="2411" y="1091"/>
                </a:cubicBezTo>
                <a:cubicBezTo>
                  <a:pt x="2410" y="1092"/>
                  <a:pt x="2410" y="1092"/>
                  <a:pt x="2410" y="1092"/>
                </a:cubicBezTo>
                <a:cubicBezTo>
                  <a:pt x="2410" y="1091"/>
                  <a:pt x="2410" y="1091"/>
                  <a:pt x="2410" y="1091"/>
                </a:cubicBezTo>
                <a:cubicBezTo>
                  <a:pt x="2411" y="1090"/>
                  <a:pt x="2411" y="1090"/>
                  <a:pt x="2411" y="1090"/>
                </a:cubicBezTo>
                <a:cubicBezTo>
                  <a:pt x="2410" y="1089"/>
                  <a:pt x="2410" y="1089"/>
                  <a:pt x="2410" y="1089"/>
                </a:cubicBezTo>
                <a:cubicBezTo>
                  <a:pt x="2411" y="1087"/>
                  <a:pt x="2411" y="1087"/>
                  <a:pt x="2411" y="1087"/>
                </a:cubicBezTo>
                <a:cubicBezTo>
                  <a:pt x="2412" y="1087"/>
                  <a:pt x="2412" y="1087"/>
                  <a:pt x="2412" y="1087"/>
                </a:cubicBezTo>
                <a:cubicBezTo>
                  <a:pt x="2412" y="1086"/>
                  <a:pt x="2412" y="1086"/>
                  <a:pt x="2412" y="1086"/>
                </a:cubicBezTo>
                <a:cubicBezTo>
                  <a:pt x="2412" y="1085"/>
                  <a:pt x="2412" y="1085"/>
                  <a:pt x="2412" y="1085"/>
                </a:cubicBezTo>
                <a:cubicBezTo>
                  <a:pt x="2412" y="1084"/>
                  <a:pt x="2412" y="1084"/>
                  <a:pt x="2412" y="1084"/>
                </a:cubicBezTo>
                <a:cubicBezTo>
                  <a:pt x="2412" y="1083"/>
                  <a:pt x="2412" y="1083"/>
                  <a:pt x="2412" y="1083"/>
                </a:cubicBezTo>
                <a:cubicBezTo>
                  <a:pt x="2412" y="1082"/>
                  <a:pt x="2412" y="1082"/>
                  <a:pt x="2412" y="1082"/>
                </a:cubicBezTo>
                <a:cubicBezTo>
                  <a:pt x="2410" y="1081"/>
                  <a:pt x="2410" y="1081"/>
                  <a:pt x="2410" y="1081"/>
                </a:cubicBezTo>
                <a:cubicBezTo>
                  <a:pt x="2411" y="1080"/>
                  <a:pt x="2411" y="1080"/>
                  <a:pt x="2411" y="1080"/>
                </a:cubicBezTo>
                <a:cubicBezTo>
                  <a:pt x="2411" y="1081"/>
                  <a:pt x="2411" y="1081"/>
                  <a:pt x="2411" y="1081"/>
                </a:cubicBezTo>
                <a:cubicBezTo>
                  <a:pt x="2412" y="1080"/>
                  <a:pt x="2412" y="1080"/>
                  <a:pt x="2412" y="1080"/>
                </a:cubicBezTo>
                <a:cubicBezTo>
                  <a:pt x="2413" y="1079"/>
                  <a:pt x="2413" y="1079"/>
                  <a:pt x="2413" y="1079"/>
                </a:cubicBezTo>
                <a:cubicBezTo>
                  <a:pt x="2413" y="1077"/>
                  <a:pt x="2413" y="1077"/>
                  <a:pt x="2413" y="1077"/>
                </a:cubicBezTo>
                <a:cubicBezTo>
                  <a:pt x="2413" y="1075"/>
                  <a:pt x="2413" y="1075"/>
                  <a:pt x="2413" y="1075"/>
                </a:cubicBezTo>
                <a:cubicBezTo>
                  <a:pt x="2413" y="1074"/>
                  <a:pt x="2413" y="1074"/>
                  <a:pt x="2413" y="1074"/>
                </a:cubicBezTo>
                <a:cubicBezTo>
                  <a:pt x="2412" y="1074"/>
                  <a:pt x="2412" y="1074"/>
                  <a:pt x="2412" y="1074"/>
                </a:cubicBezTo>
                <a:cubicBezTo>
                  <a:pt x="2411" y="1075"/>
                  <a:pt x="2411" y="1075"/>
                  <a:pt x="2411" y="1075"/>
                </a:cubicBezTo>
                <a:cubicBezTo>
                  <a:pt x="2410" y="1074"/>
                  <a:pt x="2410" y="1074"/>
                  <a:pt x="2410" y="1074"/>
                </a:cubicBezTo>
                <a:cubicBezTo>
                  <a:pt x="2410" y="1073"/>
                  <a:pt x="2410" y="1073"/>
                  <a:pt x="2410" y="1073"/>
                </a:cubicBezTo>
                <a:cubicBezTo>
                  <a:pt x="2409" y="1073"/>
                  <a:pt x="2409" y="1073"/>
                  <a:pt x="2409" y="1073"/>
                </a:cubicBezTo>
                <a:cubicBezTo>
                  <a:pt x="2410" y="1072"/>
                  <a:pt x="2410" y="1072"/>
                  <a:pt x="2410" y="1072"/>
                </a:cubicBezTo>
                <a:cubicBezTo>
                  <a:pt x="2411" y="1071"/>
                  <a:pt x="2411" y="1071"/>
                  <a:pt x="2411" y="1071"/>
                </a:cubicBezTo>
                <a:cubicBezTo>
                  <a:pt x="2410" y="1071"/>
                  <a:pt x="2410" y="1071"/>
                  <a:pt x="2410" y="1071"/>
                </a:cubicBezTo>
                <a:cubicBezTo>
                  <a:pt x="2409" y="1071"/>
                  <a:pt x="2409" y="1071"/>
                  <a:pt x="2409" y="1071"/>
                </a:cubicBezTo>
                <a:cubicBezTo>
                  <a:pt x="2408" y="1070"/>
                  <a:pt x="2408" y="1070"/>
                  <a:pt x="2408" y="1070"/>
                </a:cubicBezTo>
                <a:cubicBezTo>
                  <a:pt x="2407" y="1069"/>
                  <a:pt x="2407" y="1069"/>
                  <a:pt x="2407" y="1069"/>
                </a:cubicBezTo>
                <a:cubicBezTo>
                  <a:pt x="2407" y="1070"/>
                  <a:pt x="2407" y="1070"/>
                  <a:pt x="2407" y="1070"/>
                </a:cubicBezTo>
                <a:cubicBezTo>
                  <a:pt x="2406" y="1070"/>
                  <a:pt x="2406" y="1070"/>
                  <a:pt x="2406" y="1070"/>
                </a:cubicBezTo>
                <a:cubicBezTo>
                  <a:pt x="2406" y="1069"/>
                  <a:pt x="2406" y="1069"/>
                  <a:pt x="2406" y="1069"/>
                </a:cubicBezTo>
                <a:cubicBezTo>
                  <a:pt x="2406" y="1068"/>
                  <a:pt x="2406" y="1068"/>
                  <a:pt x="2406" y="1068"/>
                </a:cubicBezTo>
                <a:cubicBezTo>
                  <a:pt x="2405" y="1066"/>
                  <a:pt x="2405" y="1066"/>
                  <a:pt x="2405" y="1066"/>
                </a:cubicBezTo>
                <a:cubicBezTo>
                  <a:pt x="2405" y="1065"/>
                  <a:pt x="2405" y="1065"/>
                  <a:pt x="2405" y="1065"/>
                </a:cubicBezTo>
                <a:cubicBezTo>
                  <a:pt x="2403" y="1064"/>
                  <a:pt x="2403" y="1064"/>
                  <a:pt x="2403" y="1064"/>
                </a:cubicBezTo>
                <a:cubicBezTo>
                  <a:pt x="2403" y="1065"/>
                  <a:pt x="2403" y="1065"/>
                  <a:pt x="2403" y="1065"/>
                </a:cubicBezTo>
                <a:cubicBezTo>
                  <a:pt x="2404" y="1066"/>
                  <a:pt x="2404" y="1066"/>
                  <a:pt x="2404" y="1066"/>
                </a:cubicBezTo>
                <a:cubicBezTo>
                  <a:pt x="2405" y="1069"/>
                  <a:pt x="2405" y="1069"/>
                  <a:pt x="2405" y="1069"/>
                </a:cubicBezTo>
                <a:cubicBezTo>
                  <a:pt x="2405" y="1070"/>
                  <a:pt x="2405" y="1070"/>
                  <a:pt x="2405" y="1070"/>
                </a:cubicBezTo>
                <a:cubicBezTo>
                  <a:pt x="2405" y="1072"/>
                  <a:pt x="2405" y="1072"/>
                  <a:pt x="2405" y="1072"/>
                </a:cubicBezTo>
                <a:cubicBezTo>
                  <a:pt x="2404" y="1073"/>
                  <a:pt x="2404" y="1073"/>
                  <a:pt x="2404" y="1073"/>
                </a:cubicBezTo>
                <a:cubicBezTo>
                  <a:pt x="2404" y="1076"/>
                  <a:pt x="2404" y="1076"/>
                  <a:pt x="2404" y="1076"/>
                </a:cubicBezTo>
                <a:cubicBezTo>
                  <a:pt x="2405" y="1076"/>
                  <a:pt x="2405" y="1076"/>
                  <a:pt x="2405" y="1076"/>
                </a:cubicBezTo>
                <a:cubicBezTo>
                  <a:pt x="2406" y="1075"/>
                  <a:pt x="2406" y="1075"/>
                  <a:pt x="2406" y="1075"/>
                </a:cubicBezTo>
                <a:cubicBezTo>
                  <a:pt x="2407" y="1075"/>
                  <a:pt x="2407" y="1075"/>
                  <a:pt x="2407" y="1075"/>
                </a:cubicBezTo>
                <a:cubicBezTo>
                  <a:pt x="2406" y="1076"/>
                  <a:pt x="2406" y="1076"/>
                  <a:pt x="2406" y="1076"/>
                </a:cubicBezTo>
                <a:cubicBezTo>
                  <a:pt x="2405" y="1077"/>
                  <a:pt x="2405" y="1077"/>
                  <a:pt x="2405" y="1077"/>
                </a:cubicBezTo>
                <a:cubicBezTo>
                  <a:pt x="2406" y="1078"/>
                  <a:pt x="2406" y="1078"/>
                  <a:pt x="2406" y="1078"/>
                </a:cubicBezTo>
                <a:cubicBezTo>
                  <a:pt x="2406" y="1080"/>
                  <a:pt x="2406" y="1080"/>
                  <a:pt x="2406" y="1080"/>
                </a:cubicBezTo>
                <a:cubicBezTo>
                  <a:pt x="2407" y="1083"/>
                  <a:pt x="2407" y="1083"/>
                  <a:pt x="2407" y="1083"/>
                </a:cubicBezTo>
                <a:cubicBezTo>
                  <a:pt x="2407" y="1084"/>
                  <a:pt x="2407" y="1084"/>
                  <a:pt x="2407" y="1084"/>
                </a:cubicBezTo>
                <a:cubicBezTo>
                  <a:pt x="2408" y="1084"/>
                  <a:pt x="2408" y="1084"/>
                  <a:pt x="2408" y="1084"/>
                </a:cubicBezTo>
                <a:cubicBezTo>
                  <a:pt x="2408" y="1085"/>
                  <a:pt x="2408" y="1085"/>
                  <a:pt x="2408" y="1085"/>
                </a:cubicBezTo>
                <a:cubicBezTo>
                  <a:pt x="2408" y="1086"/>
                  <a:pt x="2408" y="1086"/>
                  <a:pt x="2408" y="1086"/>
                </a:cubicBezTo>
                <a:cubicBezTo>
                  <a:pt x="2409" y="1085"/>
                  <a:pt x="2409" y="1085"/>
                  <a:pt x="2409" y="1085"/>
                </a:cubicBezTo>
                <a:cubicBezTo>
                  <a:pt x="2409" y="1087"/>
                  <a:pt x="2409" y="1087"/>
                  <a:pt x="2409" y="1087"/>
                </a:cubicBezTo>
                <a:cubicBezTo>
                  <a:pt x="2408" y="1088"/>
                  <a:pt x="2408" y="1088"/>
                  <a:pt x="2408" y="1088"/>
                </a:cubicBezTo>
                <a:cubicBezTo>
                  <a:pt x="2407" y="1088"/>
                  <a:pt x="2407" y="1088"/>
                  <a:pt x="2407" y="1088"/>
                </a:cubicBezTo>
                <a:cubicBezTo>
                  <a:pt x="2407" y="1089"/>
                  <a:pt x="2407" y="1089"/>
                  <a:pt x="2407" y="1089"/>
                </a:cubicBezTo>
                <a:cubicBezTo>
                  <a:pt x="2408" y="1092"/>
                  <a:pt x="2408" y="1092"/>
                  <a:pt x="2408" y="1092"/>
                </a:cubicBezTo>
                <a:cubicBezTo>
                  <a:pt x="2409" y="1092"/>
                  <a:pt x="2409" y="1092"/>
                  <a:pt x="2409" y="1092"/>
                </a:cubicBezTo>
                <a:cubicBezTo>
                  <a:pt x="2409" y="1093"/>
                  <a:pt x="2409" y="1093"/>
                  <a:pt x="2409" y="1093"/>
                </a:cubicBezTo>
                <a:cubicBezTo>
                  <a:pt x="2410" y="1094"/>
                  <a:pt x="2410" y="1094"/>
                  <a:pt x="2410" y="1094"/>
                </a:cubicBezTo>
                <a:cubicBezTo>
                  <a:pt x="2409" y="1095"/>
                  <a:pt x="2409" y="1095"/>
                  <a:pt x="2409" y="1095"/>
                </a:cubicBezTo>
                <a:cubicBezTo>
                  <a:pt x="2409" y="1096"/>
                  <a:pt x="2409" y="1096"/>
                  <a:pt x="2409" y="1096"/>
                </a:cubicBezTo>
                <a:cubicBezTo>
                  <a:pt x="2408" y="1098"/>
                  <a:pt x="2408" y="1098"/>
                  <a:pt x="2408" y="1098"/>
                </a:cubicBezTo>
                <a:cubicBezTo>
                  <a:pt x="2408" y="1100"/>
                  <a:pt x="2408" y="1100"/>
                  <a:pt x="2408" y="1100"/>
                </a:cubicBezTo>
                <a:cubicBezTo>
                  <a:pt x="2408" y="1101"/>
                  <a:pt x="2408" y="1101"/>
                  <a:pt x="2408" y="1101"/>
                </a:cubicBezTo>
                <a:cubicBezTo>
                  <a:pt x="2407" y="1101"/>
                  <a:pt x="2407" y="1101"/>
                  <a:pt x="2407" y="1101"/>
                </a:cubicBezTo>
                <a:cubicBezTo>
                  <a:pt x="2407" y="1102"/>
                  <a:pt x="2407" y="1102"/>
                  <a:pt x="2407" y="1102"/>
                </a:cubicBezTo>
                <a:cubicBezTo>
                  <a:pt x="2407" y="1103"/>
                  <a:pt x="2407" y="1103"/>
                  <a:pt x="2407" y="1103"/>
                </a:cubicBezTo>
                <a:cubicBezTo>
                  <a:pt x="2407" y="1104"/>
                  <a:pt x="2407" y="1104"/>
                  <a:pt x="2407" y="1104"/>
                </a:cubicBezTo>
                <a:cubicBezTo>
                  <a:pt x="2406" y="1104"/>
                  <a:pt x="2406" y="1104"/>
                  <a:pt x="2406" y="1104"/>
                </a:cubicBezTo>
                <a:cubicBezTo>
                  <a:pt x="2405" y="1105"/>
                  <a:pt x="2405" y="1105"/>
                  <a:pt x="2405" y="1105"/>
                </a:cubicBezTo>
                <a:cubicBezTo>
                  <a:pt x="2404" y="1110"/>
                  <a:pt x="2404" y="1110"/>
                  <a:pt x="2404" y="1110"/>
                </a:cubicBezTo>
                <a:cubicBezTo>
                  <a:pt x="2404" y="1111"/>
                  <a:pt x="2404" y="1111"/>
                  <a:pt x="2404" y="1111"/>
                </a:cubicBezTo>
                <a:cubicBezTo>
                  <a:pt x="2403" y="1111"/>
                  <a:pt x="2403" y="1111"/>
                  <a:pt x="2403" y="1111"/>
                </a:cubicBezTo>
                <a:cubicBezTo>
                  <a:pt x="2401" y="1111"/>
                  <a:pt x="2401" y="1111"/>
                  <a:pt x="2401" y="1111"/>
                </a:cubicBezTo>
                <a:cubicBezTo>
                  <a:pt x="2400" y="1111"/>
                  <a:pt x="2400" y="1111"/>
                  <a:pt x="2400" y="1111"/>
                </a:cubicBezTo>
                <a:cubicBezTo>
                  <a:pt x="2398" y="1112"/>
                  <a:pt x="2398" y="1112"/>
                  <a:pt x="2398" y="1112"/>
                </a:cubicBezTo>
                <a:cubicBezTo>
                  <a:pt x="2397" y="1114"/>
                  <a:pt x="2397" y="1114"/>
                  <a:pt x="2397" y="1114"/>
                </a:cubicBezTo>
                <a:cubicBezTo>
                  <a:pt x="2396" y="1115"/>
                  <a:pt x="2396" y="1115"/>
                  <a:pt x="2396" y="1115"/>
                </a:cubicBezTo>
                <a:cubicBezTo>
                  <a:pt x="2397" y="1117"/>
                  <a:pt x="2397" y="1117"/>
                  <a:pt x="2397" y="1117"/>
                </a:cubicBezTo>
                <a:cubicBezTo>
                  <a:pt x="2398" y="1118"/>
                  <a:pt x="2398" y="1118"/>
                  <a:pt x="2398" y="1118"/>
                </a:cubicBezTo>
                <a:cubicBezTo>
                  <a:pt x="2400" y="1119"/>
                  <a:pt x="2400" y="1119"/>
                  <a:pt x="2400" y="1119"/>
                </a:cubicBezTo>
                <a:cubicBezTo>
                  <a:pt x="2400" y="1121"/>
                  <a:pt x="2400" y="1121"/>
                  <a:pt x="2400" y="1121"/>
                </a:cubicBezTo>
                <a:cubicBezTo>
                  <a:pt x="2402" y="1121"/>
                  <a:pt x="2402" y="1121"/>
                  <a:pt x="2402" y="1121"/>
                </a:cubicBezTo>
                <a:cubicBezTo>
                  <a:pt x="2403" y="1122"/>
                  <a:pt x="2403" y="1122"/>
                  <a:pt x="2403" y="1122"/>
                </a:cubicBezTo>
                <a:cubicBezTo>
                  <a:pt x="2403" y="1125"/>
                  <a:pt x="2403" y="1125"/>
                  <a:pt x="2403" y="1125"/>
                </a:cubicBezTo>
                <a:cubicBezTo>
                  <a:pt x="2403" y="1127"/>
                  <a:pt x="2403" y="1127"/>
                  <a:pt x="2403" y="1127"/>
                </a:cubicBezTo>
                <a:cubicBezTo>
                  <a:pt x="2402" y="1128"/>
                  <a:pt x="2402" y="1128"/>
                  <a:pt x="2402" y="1128"/>
                </a:cubicBezTo>
                <a:cubicBezTo>
                  <a:pt x="2400" y="1131"/>
                  <a:pt x="2400" y="1131"/>
                  <a:pt x="2400" y="1131"/>
                </a:cubicBezTo>
                <a:cubicBezTo>
                  <a:pt x="2398" y="1133"/>
                  <a:pt x="2398" y="1133"/>
                  <a:pt x="2398" y="1133"/>
                </a:cubicBezTo>
                <a:cubicBezTo>
                  <a:pt x="2396" y="1134"/>
                  <a:pt x="2396" y="1134"/>
                  <a:pt x="2396" y="1134"/>
                </a:cubicBezTo>
                <a:cubicBezTo>
                  <a:pt x="2396" y="1135"/>
                  <a:pt x="2396" y="1135"/>
                  <a:pt x="2396" y="1135"/>
                </a:cubicBezTo>
                <a:cubicBezTo>
                  <a:pt x="2396" y="1136"/>
                  <a:pt x="2396" y="1136"/>
                  <a:pt x="2396" y="1136"/>
                </a:cubicBezTo>
                <a:cubicBezTo>
                  <a:pt x="2397" y="1136"/>
                  <a:pt x="2397" y="1136"/>
                  <a:pt x="2397" y="1136"/>
                </a:cubicBezTo>
                <a:cubicBezTo>
                  <a:pt x="2397" y="1135"/>
                  <a:pt x="2397" y="1135"/>
                  <a:pt x="2397" y="1135"/>
                </a:cubicBezTo>
                <a:cubicBezTo>
                  <a:pt x="2398" y="1135"/>
                  <a:pt x="2398" y="1135"/>
                  <a:pt x="2398" y="1135"/>
                </a:cubicBezTo>
                <a:cubicBezTo>
                  <a:pt x="2398" y="1136"/>
                  <a:pt x="2398" y="1136"/>
                  <a:pt x="2398" y="1136"/>
                </a:cubicBezTo>
                <a:cubicBezTo>
                  <a:pt x="2398" y="1137"/>
                  <a:pt x="2398" y="1137"/>
                  <a:pt x="2398" y="1137"/>
                </a:cubicBezTo>
                <a:cubicBezTo>
                  <a:pt x="2399" y="1137"/>
                  <a:pt x="2399" y="1137"/>
                  <a:pt x="2399" y="1137"/>
                </a:cubicBezTo>
                <a:cubicBezTo>
                  <a:pt x="2399" y="1138"/>
                  <a:pt x="2399" y="1138"/>
                  <a:pt x="2399" y="1138"/>
                </a:cubicBezTo>
                <a:cubicBezTo>
                  <a:pt x="2399" y="1139"/>
                  <a:pt x="2399" y="1139"/>
                  <a:pt x="2399" y="1139"/>
                </a:cubicBezTo>
                <a:cubicBezTo>
                  <a:pt x="2400" y="1139"/>
                  <a:pt x="2400" y="1139"/>
                  <a:pt x="2400" y="1139"/>
                </a:cubicBezTo>
                <a:cubicBezTo>
                  <a:pt x="2402" y="1137"/>
                  <a:pt x="2402" y="1137"/>
                  <a:pt x="2402" y="1137"/>
                </a:cubicBezTo>
                <a:cubicBezTo>
                  <a:pt x="2404" y="1135"/>
                  <a:pt x="2404" y="1135"/>
                  <a:pt x="2404" y="1135"/>
                </a:cubicBezTo>
                <a:cubicBezTo>
                  <a:pt x="2406" y="1133"/>
                  <a:pt x="2406" y="1133"/>
                  <a:pt x="2406" y="1133"/>
                </a:cubicBezTo>
                <a:cubicBezTo>
                  <a:pt x="2408" y="1131"/>
                  <a:pt x="2408" y="1131"/>
                  <a:pt x="2408" y="1131"/>
                </a:cubicBezTo>
                <a:cubicBezTo>
                  <a:pt x="2410" y="1129"/>
                  <a:pt x="2410" y="1129"/>
                  <a:pt x="2410" y="1129"/>
                </a:cubicBezTo>
                <a:cubicBezTo>
                  <a:pt x="2411" y="1128"/>
                  <a:pt x="2411" y="1128"/>
                  <a:pt x="2411" y="1128"/>
                </a:cubicBezTo>
                <a:cubicBezTo>
                  <a:pt x="2412" y="1128"/>
                  <a:pt x="2412" y="1128"/>
                  <a:pt x="2412" y="1128"/>
                </a:cubicBezTo>
                <a:cubicBezTo>
                  <a:pt x="2413" y="1127"/>
                  <a:pt x="2413" y="1127"/>
                  <a:pt x="2413" y="1127"/>
                </a:cubicBezTo>
                <a:cubicBezTo>
                  <a:pt x="2413" y="1126"/>
                  <a:pt x="2413" y="1126"/>
                  <a:pt x="2413" y="1126"/>
                </a:cubicBezTo>
                <a:cubicBezTo>
                  <a:pt x="2414" y="1125"/>
                  <a:pt x="2414" y="1125"/>
                  <a:pt x="2414" y="1125"/>
                </a:cubicBezTo>
                <a:cubicBezTo>
                  <a:pt x="2415" y="1123"/>
                  <a:pt x="2415" y="1123"/>
                  <a:pt x="2415" y="1123"/>
                </a:cubicBezTo>
                <a:cubicBezTo>
                  <a:pt x="2417" y="1121"/>
                  <a:pt x="2417" y="1121"/>
                  <a:pt x="2417" y="1121"/>
                </a:cubicBezTo>
                <a:cubicBezTo>
                  <a:pt x="2417" y="1120"/>
                  <a:pt x="2417" y="1120"/>
                  <a:pt x="2417" y="1120"/>
                </a:cubicBezTo>
                <a:cubicBezTo>
                  <a:pt x="2416" y="1119"/>
                  <a:pt x="2416" y="1119"/>
                  <a:pt x="2416" y="1119"/>
                </a:cubicBezTo>
                <a:cubicBezTo>
                  <a:pt x="2415" y="1119"/>
                  <a:pt x="2415" y="1119"/>
                  <a:pt x="2415" y="1119"/>
                </a:cubicBezTo>
                <a:cubicBezTo>
                  <a:pt x="2414" y="1119"/>
                  <a:pt x="2414" y="1119"/>
                  <a:pt x="2414" y="1119"/>
                </a:cubicBezTo>
                <a:cubicBezTo>
                  <a:pt x="2415" y="1118"/>
                  <a:pt x="2415" y="1118"/>
                  <a:pt x="2415" y="1118"/>
                </a:cubicBezTo>
                <a:cubicBezTo>
                  <a:pt x="2416" y="1118"/>
                  <a:pt x="2416" y="1118"/>
                  <a:pt x="2416" y="1118"/>
                </a:cubicBezTo>
                <a:cubicBezTo>
                  <a:pt x="2419" y="1115"/>
                  <a:pt x="2419" y="1115"/>
                  <a:pt x="2419" y="1115"/>
                </a:cubicBezTo>
                <a:cubicBezTo>
                  <a:pt x="2420" y="1114"/>
                  <a:pt x="2420" y="1114"/>
                  <a:pt x="2420" y="1114"/>
                </a:cubicBezTo>
                <a:cubicBezTo>
                  <a:pt x="2422" y="1115"/>
                  <a:pt x="2422" y="1115"/>
                  <a:pt x="2422" y="1115"/>
                </a:cubicBezTo>
                <a:cubicBezTo>
                  <a:pt x="2423" y="1115"/>
                  <a:pt x="2423" y="1115"/>
                  <a:pt x="2423" y="1115"/>
                </a:cubicBezTo>
                <a:cubicBezTo>
                  <a:pt x="2423" y="1116"/>
                  <a:pt x="2423" y="1116"/>
                  <a:pt x="2423" y="1116"/>
                </a:cubicBezTo>
                <a:cubicBezTo>
                  <a:pt x="2424" y="1115"/>
                  <a:pt x="2424" y="1115"/>
                  <a:pt x="2424" y="1115"/>
                </a:cubicBezTo>
                <a:cubicBezTo>
                  <a:pt x="2425" y="1115"/>
                  <a:pt x="2425" y="1115"/>
                  <a:pt x="2425" y="1115"/>
                </a:cubicBezTo>
                <a:cubicBezTo>
                  <a:pt x="2423" y="1114"/>
                  <a:pt x="2423" y="1114"/>
                  <a:pt x="2423" y="1114"/>
                </a:cubicBezTo>
                <a:cubicBezTo>
                  <a:pt x="2423" y="1113"/>
                  <a:pt x="2423" y="1113"/>
                  <a:pt x="2423" y="1113"/>
                </a:cubicBezTo>
                <a:cubicBezTo>
                  <a:pt x="2424" y="1111"/>
                  <a:pt x="2424" y="1111"/>
                  <a:pt x="2424" y="1111"/>
                </a:cubicBezTo>
                <a:cubicBezTo>
                  <a:pt x="2425" y="1110"/>
                  <a:pt x="2425" y="1110"/>
                  <a:pt x="2425" y="1110"/>
                </a:cubicBezTo>
                <a:cubicBezTo>
                  <a:pt x="2426" y="1110"/>
                  <a:pt x="2426" y="1110"/>
                  <a:pt x="2426" y="1110"/>
                </a:cubicBezTo>
                <a:cubicBezTo>
                  <a:pt x="2426" y="1111"/>
                  <a:pt x="2426" y="1111"/>
                  <a:pt x="2426" y="1111"/>
                </a:cubicBezTo>
                <a:cubicBezTo>
                  <a:pt x="2427" y="1110"/>
                  <a:pt x="2427" y="1110"/>
                  <a:pt x="2427" y="1110"/>
                </a:cubicBezTo>
                <a:cubicBezTo>
                  <a:pt x="2428" y="1109"/>
                  <a:pt x="2428" y="1109"/>
                  <a:pt x="2428" y="1109"/>
                </a:cubicBezTo>
                <a:cubicBezTo>
                  <a:pt x="2429" y="1107"/>
                  <a:pt x="2429" y="1107"/>
                  <a:pt x="2429" y="1107"/>
                </a:cubicBezTo>
                <a:cubicBezTo>
                  <a:pt x="2429" y="1106"/>
                  <a:pt x="2429" y="1106"/>
                  <a:pt x="2429" y="1106"/>
                </a:cubicBezTo>
                <a:cubicBezTo>
                  <a:pt x="2429" y="1105"/>
                  <a:pt x="2429" y="1105"/>
                  <a:pt x="2429" y="1105"/>
                </a:cubicBezTo>
                <a:cubicBezTo>
                  <a:pt x="2430" y="1104"/>
                  <a:pt x="2430" y="1104"/>
                  <a:pt x="2430" y="1104"/>
                </a:cubicBezTo>
                <a:cubicBezTo>
                  <a:pt x="2431" y="1102"/>
                  <a:pt x="2431" y="1102"/>
                  <a:pt x="2431" y="1102"/>
                </a:cubicBezTo>
                <a:cubicBezTo>
                  <a:pt x="2432" y="1102"/>
                  <a:pt x="2432" y="1102"/>
                  <a:pt x="2432" y="1102"/>
                </a:cubicBezTo>
                <a:cubicBezTo>
                  <a:pt x="2431" y="1101"/>
                  <a:pt x="2431" y="1101"/>
                  <a:pt x="2431" y="1101"/>
                </a:cubicBezTo>
                <a:cubicBezTo>
                  <a:pt x="2430" y="1101"/>
                  <a:pt x="2430" y="1101"/>
                  <a:pt x="2430" y="1101"/>
                </a:cubicBezTo>
                <a:close/>
                <a:moveTo>
                  <a:pt x="2314" y="1257"/>
                </a:moveTo>
                <a:cubicBezTo>
                  <a:pt x="2313" y="1257"/>
                  <a:pt x="2313" y="1257"/>
                  <a:pt x="2313" y="1257"/>
                </a:cubicBezTo>
                <a:cubicBezTo>
                  <a:pt x="2314" y="1258"/>
                  <a:pt x="2314" y="1258"/>
                  <a:pt x="2314" y="1258"/>
                </a:cubicBezTo>
                <a:cubicBezTo>
                  <a:pt x="2315" y="1258"/>
                  <a:pt x="2315" y="1258"/>
                  <a:pt x="2315" y="1258"/>
                </a:cubicBezTo>
                <a:cubicBezTo>
                  <a:pt x="2316" y="1256"/>
                  <a:pt x="2316" y="1256"/>
                  <a:pt x="2316" y="1256"/>
                </a:cubicBezTo>
                <a:cubicBezTo>
                  <a:pt x="2316" y="1255"/>
                  <a:pt x="2316" y="1255"/>
                  <a:pt x="2316" y="1255"/>
                </a:cubicBezTo>
                <a:cubicBezTo>
                  <a:pt x="2315" y="1257"/>
                  <a:pt x="2315" y="1257"/>
                  <a:pt x="2315" y="1257"/>
                </a:cubicBezTo>
                <a:cubicBezTo>
                  <a:pt x="2314" y="1257"/>
                  <a:pt x="2314" y="1257"/>
                  <a:pt x="2314" y="1257"/>
                </a:cubicBezTo>
                <a:close/>
                <a:moveTo>
                  <a:pt x="2392" y="1130"/>
                </a:moveTo>
                <a:cubicBezTo>
                  <a:pt x="2393" y="1130"/>
                  <a:pt x="2393" y="1130"/>
                  <a:pt x="2393" y="1130"/>
                </a:cubicBezTo>
                <a:cubicBezTo>
                  <a:pt x="2393" y="1129"/>
                  <a:pt x="2393" y="1129"/>
                  <a:pt x="2393" y="1129"/>
                </a:cubicBezTo>
                <a:cubicBezTo>
                  <a:pt x="2392" y="1129"/>
                  <a:pt x="2392" y="1129"/>
                  <a:pt x="2392" y="1129"/>
                </a:cubicBezTo>
                <a:cubicBezTo>
                  <a:pt x="2392" y="1130"/>
                  <a:pt x="2392" y="1130"/>
                  <a:pt x="2392" y="1130"/>
                </a:cubicBezTo>
                <a:close/>
                <a:moveTo>
                  <a:pt x="2416" y="1086"/>
                </a:moveTo>
                <a:cubicBezTo>
                  <a:pt x="2417" y="1086"/>
                  <a:pt x="2417" y="1086"/>
                  <a:pt x="2417" y="1086"/>
                </a:cubicBezTo>
                <a:cubicBezTo>
                  <a:pt x="2416" y="1085"/>
                  <a:pt x="2416" y="1085"/>
                  <a:pt x="2416" y="1085"/>
                </a:cubicBezTo>
                <a:cubicBezTo>
                  <a:pt x="2416" y="1084"/>
                  <a:pt x="2416" y="1084"/>
                  <a:pt x="2416" y="1084"/>
                </a:cubicBezTo>
                <a:cubicBezTo>
                  <a:pt x="2415" y="1086"/>
                  <a:pt x="2415" y="1086"/>
                  <a:pt x="2415" y="1086"/>
                </a:cubicBezTo>
                <a:cubicBezTo>
                  <a:pt x="2416" y="1087"/>
                  <a:pt x="2416" y="1087"/>
                  <a:pt x="2416" y="1087"/>
                </a:cubicBezTo>
                <a:cubicBezTo>
                  <a:pt x="2416" y="1086"/>
                  <a:pt x="2416" y="1086"/>
                  <a:pt x="2416" y="1086"/>
                </a:cubicBezTo>
                <a:close/>
                <a:moveTo>
                  <a:pt x="2413" y="1092"/>
                </a:moveTo>
                <a:cubicBezTo>
                  <a:pt x="2413" y="1091"/>
                  <a:pt x="2413" y="1091"/>
                  <a:pt x="2413" y="1091"/>
                </a:cubicBezTo>
                <a:cubicBezTo>
                  <a:pt x="2412" y="1091"/>
                  <a:pt x="2412" y="1091"/>
                  <a:pt x="2412" y="1091"/>
                </a:cubicBezTo>
                <a:cubicBezTo>
                  <a:pt x="2413" y="1092"/>
                  <a:pt x="2413" y="1092"/>
                  <a:pt x="2413" y="1092"/>
                </a:cubicBezTo>
                <a:close/>
                <a:moveTo>
                  <a:pt x="2335" y="1188"/>
                </a:moveTo>
                <a:cubicBezTo>
                  <a:pt x="2334" y="1188"/>
                  <a:pt x="2334" y="1188"/>
                  <a:pt x="2334" y="1188"/>
                </a:cubicBezTo>
                <a:cubicBezTo>
                  <a:pt x="2334" y="1189"/>
                  <a:pt x="2334" y="1189"/>
                  <a:pt x="2334" y="1189"/>
                </a:cubicBezTo>
                <a:cubicBezTo>
                  <a:pt x="2334" y="1190"/>
                  <a:pt x="2334" y="1190"/>
                  <a:pt x="2334" y="1190"/>
                </a:cubicBezTo>
                <a:cubicBezTo>
                  <a:pt x="2334" y="1191"/>
                  <a:pt x="2334" y="1191"/>
                  <a:pt x="2334" y="1191"/>
                </a:cubicBezTo>
                <a:cubicBezTo>
                  <a:pt x="2333" y="1191"/>
                  <a:pt x="2333" y="1191"/>
                  <a:pt x="2333" y="1191"/>
                </a:cubicBezTo>
                <a:cubicBezTo>
                  <a:pt x="2333" y="1192"/>
                  <a:pt x="2333" y="1192"/>
                  <a:pt x="2333" y="1192"/>
                </a:cubicBezTo>
                <a:cubicBezTo>
                  <a:pt x="2332" y="1192"/>
                  <a:pt x="2332" y="1192"/>
                  <a:pt x="2332" y="1192"/>
                </a:cubicBezTo>
                <a:cubicBezTo>
                  <a:pt x="2331" y="1194"/>
                  <a:pt x="2331" y="1194"/>
                  <a:pt x="2331" y="1194"/>
                </a:cubicBezTo>
                <a:cubicBezTo>
                  <a:pt x="2332" y="1194"/>
                  <a:pt x="2332" y="1194"/>
                  <a:pt x="2332" y="1194"/>
                </a:cubicBezTo>
                <a:cubicBezTo>
                  <a:pt x="2333" y="1193"/>
                  <a:pt x="2333" y="1193"/>
                  <a:pt x="2333" y="1193"/>
                </a:cubicBezTo>
                <a:cubicBezTo>
                  <a:pt x="2334" y="1193"/>
                  <a:pt x="2334" y="1193"/>
                  <a:pt x="2334" y="1193"/>
                </a:cubicBezTo>
                <a:cubicBezTo>
                  <a:pt x="2335" y="1193"/>
                  <a:pt x="2335" y="1193"/>
                  <a:pt x="2335" y="1193"/>
                </a:cubicBezTo>
                <a:cubicBezTo>
                  <a:pt x="2336" y="1192"/>
                  <a:pt x="2336" y="1192"/>
                  <a:pt x="2336" y="1192"/>
                </a:cubicBezTo>
                <a:cubicBezTo>
                  <a:pt x="2337" y="1193"/>
                  <a:pt x="2337" y="1193"/>
                  <a:pt x="2337" y="1193"/>
                </a:cubicBezTo>
                <a:cubicBezTo>
                  <a:pt x="2337" y="1192"/>
                  <a:pt x="2337" y="1192"/>
                  <a:pt x="2337" y="1192"/>
                </a:cubicBezTo>
                <a:cubicBezTo>
                  <a:pt x="2336" y="1191"/>
                  <a:pt x="2336" y="1191"/>
                  <a:pt x="2336" y="1191"/>
                </a:cubicBezTo>
                <a:cubicBezTo>
                  <a:pt x="2337" y="1191"/>
                  <a:pt x="2337" y="1191"/>
                  <a:pt x="2337" y="1191"/>
                </a:cubicBezTo>
                <a:cubicBezTo>
                  <a:pt x="2337" y="1190"/>
                  <a:pt x="2337" y="1190"/>
                  <a:pt x="2337" y="1190"/>
                </a:cubicBezTo>
                <a:cubicBezTo>
                  <a:pt x="2336" y="1189"/>
                  <a:pt x="2336" y="1189"/>
                  <a:pt x="2336" y="1189"/>
                </a:cubicBezTo>
                <a:cubicBezTo>
                  <a:pt x="2335" y="1188"/>
                  <a:pt x="2335" y="1188"/>
                  <a:pt x="2335" y="1188"/>
                </a:cubicBezTo>
                <a:close/>
                <a:moveTo>
                  <a:pt x="2391" y="1134"/>
                </a:moveTo>
                <a:cubicBezTo>
                  <a:pt x="2391" y="1133"/>
                  <a:pt x="2391" y="1133"/>
                  <a:pt x="2391" y="1133"/>
                </a:cubicBezTo>
                <a:cubicBezTo>
                  <a:pt x="2390" y="1133"/>
                  <a:pt x="2390" y="1133"/>
                  <a:pt x="2390" y="1133"/>
                </a:cubicBezTo>
                <a:cubicBezTo>
                  <a:pt x="2389" y="1133"/>
                  <a:pt x="2389" y="1133"/>
                  <a:pt x="2389" y="1133"/>
                </a:cubicBezTo>
                <a:cubicBezTo>
                  <a:pt x="2388" y="1135"/>
                  <a:pt x="2388" y="1135"/>
                  <a:pt x="2388" y="1135"/>
                </a:cubicBezTo>
                <a:cubicBezTo>
                  <a:pt x="2388" y="1134"/>
                  <a:pt x="2388" y="1134"/>
                  <a:pt x="2388" y="1134"/>
                </a:cubicBezTo>
                <a:cubicBezTo>
                  <a:pt x="2387" y="1132"/>
                  <a:pt x="2387" y="1132"/>
                  <a:pt x="2387" y="1132"/>
                </a:cubicBezTo>
                <a:cubicBezTo>
                  <a:pt x="2388" y="1131"/>
                  <a:pt x="2388" y="1131"/>
                  <a:pt x="2388" y="1131"/>
                </a:cubicBezTo>
                <a:cubicBezTo>
                  <a:pt x="2388" y="1130"/>
                  <a:pt x="2388" y="1130"/>
                  <a:pt x="2388" y="1130"/>
                </a:cubicBezTo>
                <a:cubicBezTo>
                  <a:pt x="2387" y="1130"/>
                  <a:pt x="2387" y="1130"/>
                  <a:pt x="2387" y="1130"/>
                </a:cubicBezTo>
                <a:cubicBezTo>
                  <a:pt x="2386" y="1129"/>
                  <a:pt x="2386" y="1129"/>
                  <a:pt x="2386" y="1129"/>
                </a:cubicBezTo>
                <a:cubicBezTo>
                  <a:pt x="2386" y="1128"/>
                  <a:pt x="2386" y="1128"/>
                  <a:pt x="2386" y="1128"/>
                </a:cubicBezTo>
                <a:cubicBezTo>
                  <a:pt x="2387" y="1127"/>
                  <a:pt x="2387" y="1127"/>
                  <a:pt x="2387" y="1127"/>
                </a:cubicBezTo>
                <a:cubicBezTo>
                  <a:pt x="2386" y="1127"/>
                  <a:pt x="2386" y="1127"/>
                  <a:pt x="2386" y="1127"/>
                </a:cubicBezTo>
                <a:cubicBezTo>
                  <a:pt x="2384" y="1128"/>
                  <a:pt x="2384" y="1128"/>
                  <a:pt x="2384" y="1128"/>
                </a:cubicBezTo>
                <a:cubicBezTo>
                  <a:pt x="2383" y="1129"/>
                  <a:pt x="2383" y="1129"/>
                  <a:pt x="2383" y="1129"/>
                </a:cubicBezTo>
                <a:cubicBezTo>
                  <a:pt x="2382" y="1130"/>
                  <a:pt x="2382" y="1130"/>
                  <a:pt x="2382" y="1130"/>
                </a:cubicBezTo>
                <a:cubicBezTo>
                  <a:pt x="2382" y="1131"/>
                  <a:pt x="2382" y="1131"/>
                  <a:pt x="2382" y="1131"/>
                </a:cubicBezTo>
                <a:cubicBezTo>
                  <a:pt x="2381" y="1134"/>
                  <a:pt x="2381" y="1134"/>
                  <a:pt x="2381" y="1134"/>
                </a:cubicBezTo>
                <a:cubicBezTo>
                  <a:pt x="2380" y="1135"/>
                  <a:pt x="2380" y="1135"/>
                  <a:pt x="2380" y="1135"/>
                </a:cubicBezTo>
                <a:cubicBezTo>
                  <a:pt x="2379" y="1136"/>
                  <a:pt x="2379" y="1136"/>
                  <a:pt x="2379" y="1136"/>
                </a:cubicBezTo>
                <a:cubicBezTo>
                  <a:pt x="2378" y="1137"/>
                  <a:pt x="2378" y="1137"/>
                  <a:pt x="2378" y="1137"/>
                </a:cubicBezTo>
                <a:cubicBezTo>
                  <a:pt x="2377" y="1138"/>
                  <a:pt x="2377" y="1138"/>
                  <a:pt x="2377" y="1138"/>
                </a:cubicBezTo>
                <a:cubicBezTo>
                  <a:pt x="2376" y="1139"/>
                  <a:pt x="2376" y="1139"/>
                  <a:pt x="2376" y="1139"/>
                </a:cubicBezTo>
                <a:cubicBezTo>
                  <a:pt x="2375" y="1139"/>
                  <a:pt x="2375" y="1139"/>
                  <a:pt x="2375" y="1139"/>
                </a:cubicBezTo>
                <a:cubicBezTo>
                  <a:pt x="2374" y="1139"/>
                  <a:pt x="2374" y="1139"/>
                  <a:pt x="2374" y="1139"/>
                </a:cubicBezTo>
                <a:cubicBezTo>
                  <a:pt x="2374" y="1141"/>
                  <a:pt x="2374" y="1141"/>
                  <a:pt x="2374" y="1141"/>
                </a:cubicBezTo>
                <a:cubicBezTo>
                  <a:pt x="2374" y="1142"/>
                  <a:pt x="2374" y="1142"/>
                  <a:pt x="2374" y="1142"/>
                </a:cubicBezTo>
                <a:cubicBezTo>
                  <a:pt x="2373" y="1142"/>
                  <a:pt x="2373" y="1142"/>
                  <a:pt x="2373" y="1142"/>
                </a:cubicBezTo>
                <a:cubicBezTo>
                  <a:pt x="2372" y="1143"/>
                  <a:pt x="2372" y="1143"/>
                  <a:pt x="2372" y="1143"/>
                </a:cubicBezTo>
                <a:cubicBezTo>
                  <a:pt x="2372" y="1145"/>
                  <a:pt x="2372" y="1145"/>
                  <a:pt x="2372" y="1145"/>
                </a:cubicBezTo>
                <a:cubicBezTo>
                  <a:pt x="2371" y="1145"/>
                  <a:pt x="2371" y="1145"/>
                  <a:pt x="2371" y="1145"/>
                </a:cubicBezTo>
                <a:cubicBezTo>
                  <a:pt x="2371" y="1146"/>
                  <a:pt x="2371" y="1146"/>
                  <a:pt x="2371" y="1146"/>
                </a:cubicBezTo>
                <a:cubicBezTo>
                  <a:pt x="2369" y="1149"/>
                  <a:pt x="2369" y="1149"/>
                  <a:pt x="2369" y="1149"/>
                </a:cubicBezTo>
                <a:cubicBezTo>
                  <a:pt x="2366" y="1151"/>
                  <a:pt x="2366" y="1151"/>
                  <a:pt x="2366" y="1151"/>
                </a:cubicBezTo>
                <a:cubicBezTo>
                  <a:pt x="2365" y="1151"/>
                  <a:pt x="2365" y="1151"/>
                  <a:pt x="2365" y="1151"/>
                </a:cubicBezTo>
                <a:cubicBezTo>
                  <a:pt x="2363" y="1152"/>
                  <a:pt x="2363" y="1152"/>
                  <a:pt x="2363" y="1152"/>
                </a:cubicBezTo>
                <a:cubicBezTo>
                  <a:pt x="2363" y="1153"/>
                  <a:pt x="2363" y="1153"/>
                  <a:pt x="2363" y="1153"/>
                </a:cubicBezTo>
                <a:cubicBezTo>
                  <a:pt x="2362" y="1153"/>
                  <a:pt x="2362" y="1153"/>
                  <a:pt x="2362" y="1153"/>
                </a:cubicBezTo>
                <a:cubicBezTo>
                  <a:pt x="2360" y="1154"/>
                  <a:pt x="2360" y="1154"/>
                  <a:pt x="2360" y="1154"/>
                </a:cubicBezTo>
                <a:cubicBezTo>
                  <a:pt x="2358" y="1156"/>
                  <a:pt x="2358" y="1156"/>
                  <a:pt x="2358" y="1156"/>
                </a:cubicBezTo>
                <a:cubicBezTo>
                  <a:pt x="2357" y="1156"/>
                  <a:pt x="2357" y="1156"/>
                  <a:pt x="2357" y="1156"/>
                </a:cubicBezTo>
                <a:cubicBezTo>
                  <a:pt x="2355" y="1157"/>
                  <a:pt x="2355" y="1157"/>
                  <a:pt x="2355" y="1157"/>
                </a:cubicBezTo>
                <a:cubicBezTo>
                  <a:pt x="2354" y="1158"/>
                  <a:pt x="2354" y="1158"/>
                  <a:pt x="2354" y="1158"/>
                </a:cubicBezTo>
                <a:cubicBezTo>
                  <a:pt x="2355" y="1159"/>
                  <a:pt x="2355" y="1159"/>
                  <a:pt x="2355" y="1159"/>
                </a:cubicBezTo>
                <a:cubicBezTo>
                  <a:pt x="2355" y="1160"/>
                  <a:pt x="2355" y="1160"/>
                  <a:pt x="2355" y="1160"/>
                </a:cubicBezTo>
                <a:cubicBezTo>
                  <a:pt x="2354" y="1159"/>
                  <a:pt x="2354" y="1159"/>
                  <a:pt x="2354" y="1159"/>
                </a:cubicBezTo>
                <a:cubicBezTo>
                  <a:pt x="2353" y="1159"/>
                  <a:pt x="2353" y="1159"/>
                  <a:pt x="2353" y="1159"/>
                </a:cubicBezTo>
                <a:cubicBezTo>
                  <a:pt x="2352" y="1160"/>
                  <a:pt x="2352" y="1160"/>
                  <a:pt x="2352" y="1160"/>
                </a:cubicBezTo>
                <a:cubicBezTo>
                  <a:pt x="2351" y="1160"/>
                  <a:pt x="2351" y="1160"/>
                  <a:pt x="2351" y="1160"/>
                </a:cubicBezTo>
                <a:cubicBezTo>
                  <a:pt x="2351" y="1159"/>
                  <a:pt x="2351" y="1159"/>
                  <a:pt x="2351" y="1159"/>
                </a:cubicBezTo>
                <a:cubicBezTo>
                  <a:pt x="2350" y="1159"/>
                  <a:pt x="2350" y="1159"/>
                  <a:pt x="2350" y="1159"/>
                </a:cubicBezTo>
                <a:cubicBezTo>
                  <a:pt x="2348" y="1161"/>
                  <a:pt x="2348" y="1161"/>
                  <a:pt x="2348" y="1161"/>
                </a:cubicBezTo>
                <a:cubicBezTo>
                  <a:pt x="2347" y="1162"/>
                  <a:pt x="2347" y="1162"/>
                  <a:pt x="2347" y="1162"/>
                </a:cubicBezTo>
                <a:cubicBezTo>
                  <a:pt x="2345" y="1163"/>
                  <a:pt x="2345" y="1163"/>
                  <a:pt x="2345" y="1163"/>
                </a:cubicBezTo>
                <a:cubicBezTo>
                  <a:pt x="2345" y="1164"/>
                  <a:pt x="2345" y="1164"/>
                  <a:pt x="2345" y="1164"/>
                </a:cubicBezTo>
                <a:cubicBezTo>
                  <a:pt x="2343" y="1165"/>
                  <a:pt x="2343" y="1165"/>
                  <a:pt x="2343" y="1165"/>
                </a:cubicBezTo>
                <a:cubicBezTo>
                  <a:pt x="2343" y="1166"/>
                  <a:pt x="2343" y="1166"/>
                  <a:pt x="2343" y="1166"/>
                </a:cubicBezTo>
                <a:cubicBezTo>
                  <a:pt x="2342" y="1165"/>
                  <a:pt x="2342" y="1165"/>
                  <a:pt x="2342" y="1165"/>
                </a:cubicBezTo>
                <a:cubicBezTo>
                  <a:pt x="2342" y="1166"/>
                  <a:pt x="2342" y="1166"/>
                  <a:pt x="2342" y="1166"/>
                </a:cubicBezTo>
                <a:cubicBezTo>
                  <a:pt x="2341" y="1166"/>
                  <a:pt x="2341" y="1166"/>
                  <a:pt x="2341" y="1166"/>
                </a:cubicBezTo>
                <a:cubicBezTo>
                  <a:pt x="2341" y="1168"/>
                  <a:pt x="2341" y="1168"/>
                  <a:pt x="2341" y="1168"/>
                </a:cubicBezTo>
                <a:cubicBezTo>
                  <a:pt x="2340" y="1169"/>
                  <a:pt x="2340" y="1169"/>
                  <a:pt x="2340" y="1169"/>
                </a:cubicBezTo>
                <a:cubicBezTo>
                  <a:pt x="2340" y="1168"/>
                  <a:pt x="2340" y="1168"/>
                  <a:pt x="2340" y="1168"/>
                </a:cubicBezTo>
                <a:cubicBezTo>
                  <a:pt x="2338" y="1170"/>
                  <a:pt x="2338" y="1170"/>
                  <a:pt x="2338" y="1170"/>
                </a:cubicBezTo>
                <a:cubicBezTo>
                  <a:pt x="2337" y="1170"/>
                  <a:pt x="2337" y="1170"/>
                  <a:pt x="2337" y="1170"/>
                </a:cubicBezTo>
                <a:cubicBezTo>
                  <a:pt x="2337" y="1171"/>
                  <a:pt x="2337" y="1171"/>
                  <a:pt x="2337" y="1171"/>
                </a:cubicBezTo>
                <a:cubicBezTo>
                  <a:pt x="2337" y="1173"/>
                  <a:pt x="2337" y="1173"/>
                  <a:pt x="2337" y="1173"/>
                </a:cubicBezTo>
                <a:cubicBezTo>
                  <a:pt x="2336" y="1174"/>
                  <a:pt x="2336" y="1174"/>
                  <a:pt x="2336" y="1174"/>
                </a:cubicBezTo>
                <a:cubicBezTo>
                  <a:pt x="2336" y="1173"/>
                  <a:pt x="2336" y="1173"/>
                  <a:pt x="2336" y="1173"/>
                </a:cubicBezTo>
                <a:cubicBezTo>
                  <a:pt x="2335" y="1172"/>
                  <a:pt x="2335" y="1172"/>
                  <a:pt x="2335" y="1172"/>
                </a:cubicBezTo>
                <a:cubicBezTo>
                  <a:pt x="2335" y="1173"/>
                  <a:pt x="2335" y="1173"/>
                  <a:pt x="2335" y="1173"/>
                </a:cubicBezTo>
                <a:cubicBezTo>
                  <a:pt x="2334" y="1173"/>
                  <a:pt x="2334" y="1173"/>
                  <a:pt x="2334" y="1173"/>
                </a:cubicBezTo>
                <a:cubicBezTo>
                  <a:pt x="2333" y="1175"/>
                  <a:pt x="2333" y="1175"/>
                  <a:pt x="2333" y="1175"/>
                </a:cubicBezTo>
                <a:cubicBezTo>
                  <a:pt x="2333" y="1176"/>
                  <a:pt x="2333" y="1176"/>
                  <a:pt x="2333" y="1176"/>
                </a:cubicBezTo>
                <a:cubicBezTo>
                  <a:pt x="2334" y="1177"/>
                  <a:pt x="2334" y="1177"/>
                  <a:pt x="2334" y="1177"/>
                </a:cubicBezTo>
                <a:cubicBezTo>
                  <a:pt x="2335" y="1178"/>
                  <a:pt x="2335" y="1178"/>
                  <a:pt x="2335" y="1178"/>
                </a:cubicBezTo>
                <a:cubicBezTo>
                  <a:pt x="2334" y="1178"/>
                  <a:pt x="2334" y="1178"/>
                  <a:pt x="2334" y="1178"/>
                </a:cubicBezTo>
                <a:cubicBezTo>
                  <a:pt x="2333" y="1178"/>
                  <a:pt x="2333" y="1178"/>
                  <a:pt x="2333" y="1178"/>
                </a:cubicBezTo>
                <a:cubicBezTo>
                  <a:pt x="2332" y="1178"/>
                  <a:pt x="2332" y="1178"/>
                  <a:pt x="2332" y="1178"/>
                </a:cubicBezTo>
                <a:cubicBezTo>
                  <a:pt x="2331" y="1180"/>
                  <a:pt x="2331" y="1180"/>
                  <a:pt x="2331" y="1180"/>
                </a:cubicBezTo>
                <a:cubicBezTo>
                  <a:pt x="2331" y="1182"/>
                  <a:pt x="2331" y="1182"/>
                  <a:pt x="2331" y="1182"/>
                </a:cubicBezTo>
                <a:cubicBezTo>
                  <a:pt x="2332" y="1182"/>
                  <a:pt x="2332" y="1182"/>
                  <a:pt x="2332" y="1182"/>
                </a:cubicBezTo>
                <a:cubicBezTo>
                  <a:pt x="2332" y="1183"/>
                  <a:pt x="2332" y="1183"/>
                  <a:pt x="2332" y="1183"/>
                </a:cubicBezTo>
                <a:cubicBezTo>
                  <a:pt x="2334" y="1183"/>
                  <a:pt x="2334" y="1183"/>
                  <a:pt x="2334" y="1183"/>
                </a:cubicBezTo>
                <a:cubicBezTo>
                  <a:pt x="2335" y="1183"/>
                  <a:pt x="2335" y="1183"/>
                  <a:pt x="2335" y="1183"/>
                </a:cubicBezTo>
                <a:cubicBezTo>
                  <a:pt x="2336" y="1182"/>
                  <a:pt x="2336" y="1182"/>
                  <a:pt x="2336" y="1182"/>
                </a:cubicBezTo>
                <a:cubicBezTo>
                  <a:pt x="2336" y="1183"/>
                  <a:pt x="2336" y="1183"/>
                  <a:pt x="2336" y="1183"/>
                </a:cubicBezTo>
                <a:cubicBezTo>
                  <a:pt x="2337" y="1184"/>
                  <a:pt x="2337" y="1184"/>
                  <a:pt x="2337" y="1184"/>
                </a:cubicBezTo>
                <a:cubicBezTo>
                  <a:pt x="2337" y="1185"/>
                  <a:pt x="2337" y="1185"/>
                  <a:pt x="2337" y="1185"/>
                </a:cubicBezTo>
                <a:cubicBezTo>
                  <a:pt x="2338" y="1185"/>
                  <a:pt x="2338" y="1185"/>
                  <a:pt x="2338" y="1185"/>
                </a:cubicBezTo>
                <a:cubicBezTo>
                  <a:pt x="2339" y="1185"/>
                  <a:pt x="2339" y="1185"/>
                  <a:pt x="2339" y="1185"/>
                </a:cubicBezTo>
                <a:cubicBezTo>
                  <a:pt x="2339" y="1187"/>
                  <a:pt x="2339" y="1187"/>
                  <a:pt x="2339" y="1187"/>
                </a:cubicBezTo>
                <a:cubicBezTo>
                  <a:pt x="2340" y="1188"/>
                  <a:pt x="2340" y="1188"/>
                  <a:pt x="2340" y="1188"/>
                </a:cubicBezTo>
                <a:cubicBezTo>
                  <a:pt x="2341" y="1188"/>
                  <a:pt x="2341" y="1188"/>
                  <a:pt x="2341" y="1188"/>
                </a:cubicBezTo>
                <a:cubicBezTo>
                  <a:pt x="2340" y="1189"/>
                  <a:pt x="2340" y="1189"/>
                  <a:pt x="2340" y="1189"/>
                </a:cubicBezTo>
                <a:cubicBezTo>
                  <a:pt x="2342" y="1188"/>
                  <a:pt x="2342" y="1188"/>
                  <a:pt x="2342" y="1188"/>
                </a:cubicBezTo>
                <a:cubicBezTo>
                  <a:pt x="2342" y="1189"/>
                  <a:pt x="2342" y="1189"/>
                  <a:pt x="2342" y="1189"/>
                </a:cubicBezTo>
                <a:cubicBezTo>
                  <a:pt x="2343" y="1189"/>
                  <a:pt x="2343" y="1189"/>
                  <a:pt x="2343" y="1189"/>
                </a:cubicBezTo>
                <a:cubicBezTo>
                  <a:pt x="2344" y="1189"/>
                  <a:pt x="2344" y="1189"/>
                  <a:pt x="2344" y="1189"/>
                </a:cubicBezTo>
                <a:cubicBezTo>
                  <a:pt x="2347" y="1188"/>
                  <a:pt x="2347" y="1188"/>
                  <a:pt x="2347" y="1188"/>
                </a:cubicBezTo>
                <a:cubicBezTo>
                  <a:pt x="2348" y="1187"/>
                  <a:pt x="2348" y="1187"/>
                  <a:pt x="2348" y="1187"/>
                </a:cubicBezTo>
                <a:cubicBezTo>
                  <a:pt x="2350" y="1186"/>
                  <a:pt x="2350" y="1186"/>
                  <a:pt x="2350" y="1186"/>
                </a:cubicBezTo>
                <a:cubicBezTo>
                  <a:pt x="2351" y="1185"/>
                  <a:pt x="2351" y="1185"/>
                  <a:pt x="2351" y="1185"/>
                </a:cubicBezTo>
                <a:cubicBezTo>
                  <a:pt x="2352" y="1184"/>
                  <a:pt x="2352" y="1184"/>
                  <a:pt x="2352" y="1184"/>
                </a:cubicBezTo>
                <a:cubicBezTo>
                  <a:pt x="2353" y="1183"/>
                  <a:pt x="2353" y="1183"/>
                  <a:pt x="2353" y="1183"/>
                </a:cubicBezTo>
                <a:cubicBezTo>
                  <a:pt x="2354" y="1182"/>
                  <a:pt x="2354" y="1182"/>
                  <a:pt x="2354" y="1182"/>
                </a:cubicBezTo>
                <a:cubicBezTo>
                  <a:pt x="2356" y="1182"/>
                  <a:pt x="2356" y="1182"/>
                  <a:pt x="2356" y="1182"/>
                </a:cubicBezTo>
                <a:cubicBezTo>
                  <a:pt x="2357" y="1182"/>
                  <a:pt x="2357" y="1182"/>
                  <a:pt x="2357" y="1182"/>
                </a:cubicBezTo>
                <a:cubicBezTo>
                  <a:pt x="2357" y="1181"/>
                  <a:pt x="2357" y="1181"/>
                  <a:pt x="2357" y="1181"/>
                </a:cubicBezTo>
                <a:cubicBezTo>
                  <a:pt x="2356" y="1181"/>
                  <a:pt x="2356" y="1181"/>
                  <a:pt x="2356" y="1181"/>
                </a:cubicBezTo>
                <a:cubicBezTo>
                  <a:pt x="2356" y="1180"/>
                  <a:pt x="2356" y="1180"/>
                  <a:pt x="2356" y="1180"/>
                </a:cubicBezTo>
                <a:cubicBezTo>
                  <a:pt x="2357" y="1179"/>
                  <a:pt x="2357" y="1179"/>
                  <a:pt x="2357" y="1179"/>
                </a:cubicBezTo>
                <a:cubicBezTo>
                  <a:pt x="2358" y="1177"/>
                  <a:pt x="2358" y="1177"/>
                  <a:pt x="2358" y="1177"/>
                </a:cubicBezTo>
                <a:cubicBezTo>
                  <a:pt x="2359" y="1175"/>
                  <a:pt x="2359" y="1175"/>
                  <a:pt x="2359" y="1175"/>
                </a:cubicBezTo>
                <a:cubicBezTo>
                  <a:pt x="2360" y="1174"/>
                  <a:pt x="2360" y="1174"/>
                  <a:pt x="2360" y="1174"/>
                </a:cubicBezTo>
                <a:cubicBezTo>
                  <a:pt x="2362" y="1172"/>
                  <a:pt x="2362" y="1172"/>
                  <a:pt x="2362" y="1172"/>
                </a:cubicBezTo>
                <a:cubicBezTo>
                  <a:pt x="2363" y="1171"/>
                  <a:pt x="2363" y="1171"/>
                  <a:pt x="2363" y="1171"/>
                </a:cubicBezTo>
                <a:cubicBezTo>
                  <a:pt x="2363" y="1170"/>
                  <a:pt x="2363" y="1170"/>
                  <a:pt x="2363" y="1170"/>
                </a:cubicBezTo>
                <a:cubicBezTo>
                  <a:pt x="2365" y="1168"/>
                  <a:pt x="2365" y="1168"/>
                  <a:pt x="2365" y="1168"/>
                </a:cubicBezTo>
                <a:cubicBezTo>
                  <a:pt x="2365" y="1167"/>
                  <a:pt x="2365" y="1167"/>
                  <a:pt x="2365" y="1167"/>
                </a:cubicBezTo>
                <a:cubicBezTo>
                  <a:pt x="2365" y="1166"/>
                  <a:pt x="2365" y="1166"/>
                  <a:pt x="2365" y="1166"/>
                </a:cubicBezTo>
                <a:cubicBezTo>
                  <a:pt x="2366" y="1164"/>
                  <a:pt x="2366" y="1164"/>
                  <a:pt x="2366" y="1164"/>
                </a:cubicBezTo>
                <a:cubicBezTo>
                  <a:pt x="2367" y="1164"/>
                  <a:pt x="2367" y="1164"/>
                  <a:pt x="2367" y="1164"/>
                </a:cubicBezTo>
                <a:cubicBezTo>
                  <a:pt x="2368" y="1163"/>
                  <a:pt x="2368" y="1163"/>
                  <a:pt x="2368" y="1163"/>
                </a:cubicBezTo>
                <a:cubicBezTo>
                  <a:pt x="2368" y="1164"/>
                  <a:pt x="2368" y="1164"/>
                  <a:pt x="2368" y="1164"/>
                </a:cubicBezTo>
                <a:cubicBezTo>
                  <a:pt x="2369" y="1164"/>
                  <a:pt x="2369" y="1164"/>
                  <a:pt x="2369" y="1164"/>
                </a:cubicBezTo>
                <a:cubicBezTo>
                  <a:pt x="2370" y="1163"/>
                  <a:pt x="2370" y="1163"/>
                  <a:pt x="2370" y="1163"/>
                </a:cubicBezTo>
                <a:cubicBezTo>
                  <a:pt x="2371" y="1163"/>
                  <a:pt x="2371" y="1163"/>
                  <a:pt x="2371" y="1163"/>
                </a:cubicBezTo>
                <a:cubicBezTo>
                  <a:pt x="2371" y="1162"/>
                  <a:pt x="2371" y="1162"/>
                  <a:pt x="2371" y="1162"/>
                </a:cubicBezTo>
                <a:cubicBezTo>
                  <a:pt x="2372" y="1161"/>
                  <a:pt x="2372" y="1161"/>
                  <a:pt x="2372" y="1161"/>
                </a:cubicBezTo>
                <a:cubicBezTo>
                  <a:pt x="2372" y="1160"/>
                  <a:pt x="2372" y="1160"/>
                  <a:pt x="2372" y="1160"/>
                </a:cubicBezTo>
                <a:cubicBezTo>
                  <a:pt x="2373" y="1161"/>
                  <a:pt x="2373" y="1161"/>
                  <a:pt x="2373" y="1161"/>
                </a:cubicBezTo>
                <a:cubicBezTo>
                  <a:pt x="2374" y="1161"/>
                  <a:pt x="2374" y="1161"/>
                  <a:pt x="2374" y="1161"/>
                </a:cubicBezTo>
                <a:cubicBezTo>
                  <a:pt x="2375" y="1160"/>
                  <a:pt x="2375" y="1160"/>
                  <a:pt x="2375" y="1160"/>
                </a:cubicBezTo>
                <a:cubicBezTo>
                  <a:pt x="2376" y="1160"/>
                  <a:pt x="2376" y="1160"/>
                  <a:pt x="2376" y="1160"/>
                </a:cubicBezTo>
                <a:cubicBezTo>
                  <a:pt x="2376" y="1161"/>
                  <a:pt x="2376" y="1161"/>
                  <a:pt x="2376" y="1161"/>
                </a:cubicBezTo>
                <a:cubicBezTo>
                  <a:pt x="2377" y="1162"/>
                  <a:pt x="2377" y="1162"/>
                  <a:pt x="2377" y="1162"/>
                </a:cubicBezTo>
                <a:cubicBezTo>
                  <a:pt x="2377" y="1161"/>
                  <a:pt x="2377" y="1161"/>
                  <a:pt x="2377" y="1161"/>
                </a:cubicBezTo>
                <a:cubicBezTo>
                  <a:pt x="2377" y="1160"/>
                  <a:pt x="2377" y="1160"/>
                  <a:pt x="2377" y="1160"/>
                </a:cubicBezTo>
                <a:cubicBezTo>
                  <a:pt x="2378" y="1160"/>
                  <a:pt x="2378" y="1160"/>
                  <a:pt x="2378" y="1160"/>
                </a:cubicBezTo>
                <a:cubicBezTo>
                  <a:pt x="2378" y="1161"/>
                  <a:pt x="2378" y="1161"/>
                  <a:pt x="2378" y="1161"/>
                </a:cubicBezTo>
                <a:cubicBezTo>
                  <a:pt x="2378" y="1162"/>
                  <a:pt x="2378" y="1162"/>
                  <a:pt x="2378" y="1162"/>
                </a:cubicBezTo>
                <a:cubicBezTo>
                  <a:pt x="2379" y="1161"/>
                  <a:pt x="2379" y="1161"/>
                  <a:pt x="2379" y="1161"/>
                </a:cubicBezTo>
                <a:cubicBezTo>
                  <a:pt x="2379" y="1160"/>
                  <a:pt x="2379" y="1160"/>
                  <a:pt x="2379" y="1160"/>
                </a:cubicBezTo>
                <a:cubicBezTo>
                  <a:pt x="2378" y="1159"/>
                  <a:pt x="2378" y="1159"/>
                  <a:pt x="2378" y="1159"/>
                </a:cubicBezTo>
                <a:cubicBezTo>
                  <a:pt x="2377" y="1158"/>
                  <a:pt x="2377" y="1158"/>
                  <a:pt x="2377" y="1158"/>
                </a:cubicBezTo>
                <a:cubicBezTo>
                  <a:pt x="2378" y="1158"/>
                  <a:pt x="2378" y="1158"/>
                  <a:pt x="2378" y="1158"/>
                </a:cubicBezTo>
                <a:cubicBezTo>
                  <a:pt x="2378" y="1157"/>
                  <a:pt x="2378" y="1157"/>
                  <a:pt x="2378" y="1157"/>
                </a:cubicBezTo>
                <a:cubicBezTo>
                  <a:pt x="2378" y="1155"/>
                  <a:pt x="2378" y="1155"/>
                  <a:pt x="2378" y="1155"/>
                </a:cubicBezTo>
                <a:cubicBezTo>
                  <a:pt x="2379" y="1154"/>
                  <a:pt x="2379" y="1154"/>
                  <a:pt x="2379" y="1154"/>
                </a:cubicBezTo>
                <a:cubicBezTo>
                  <a:pt x="2381" y="1154"/>
                  <a:pt x="2381" y="1154"/>
                  <a:pt x="2381" y="1154"/>
                </a:cubicBezTo>
                <a:cubicBezTo>
                  <a:pt x="2382" y="1152"/>
                  <a:pt x="2382" y="1152"/>
                  <a:pt x="2382" y="1152"/>
                </a:cubicBezTo>
                <a:cubicBezTo>
                  <a:pt x="2383" y="1152"/>
                  <a:pt x="2383" y="1152"/>
                  <a:pt x="2383" y="1152"/>
                </a:cubicBezTo>
                <a:cubicBezTo>
                  <a:pt x="2384" y="1150"/>
                  <a:pt x="2384" y="1150"/>
                  <a:pt x="2384" y="1150"/>
                </a:cubicBezTo>
                <a:cubicBezTo>
                  <a:pt x="2384" y="1149"/>
                  <a:pt x="2384" y="1149"/>
                  <a:pt x="2384" y="1149"/>
                </a:cubicBezTo>
                <a:cubicBezTo>
                  <a:pt x="2386" y="1148"/>
                  <a:pt x="2386" y="1148"/>
                  <a:pt x="2386" y="1148"/>
                </a:cubicBezTo>
                <a:cubicBezTo>
                  <a:pt x="2387" y="1148"/>
                  <a:pt x="2387" y="1148"/>
                  <a:pt x="2387" y="1148"/>
                </a:cubicBezTo>
                <a:cubicBezTo>
                  <a:pt x="2386" y="1147"/>
                  <a:pt x="2386" y="1147"/>
                  <a:pt x="2386" y="1147"/>
                </a:cubicBezTo>
                <a:cubicBezTo>
                  <a:pt x="2389" y="1145"/>
                  <a:pt x="2389" y="1145"/>
                  <a:pt x="2389" y="1145"/>
                </a:cubicBezTo>
                <a:cubicBezTo>
                  <a:pt x="2389" y="1144"/>
                  <a:pt x="2389" y="1144"/>
                  <a:pt x="2389" y="1144"/>
                </a:cubicBezTo>
                <a:cubicBezTo>
                  <a:pt x="2392" y="1141"/>
                  <a:pt x="2392" y="1141"/>
                  <a:pt x="2392" y="1141"/>
                </a:cubicBezTo>
                <a:cubicBezTo>
                  <a:pt x="2393" y="1141"/>
                  <a:pt x="2393" y="1141"/>
                  <a:pt x="2393" y="1141"/>
                </a:cubicBezTo>
                <a:cubicBezTo>
                  <a:pt x="2393" y="1140"/>
                  <a:pt x="2393" y="1140"/>
                  <a:pt x="2393" y="1140"/>
                </a:cubicBezTo>
                <a:cubicBezTo>
                  <a:pt x="2393" y="1139"/>
                  <a:pt x="2393" y="1139"/>
                  <a:pt x="2393" y="1139"/>
                </a:cubicBezTo>
                <a:cubicBezTo>
                  <a:pt x="2392" y="1138"/>
                  <a:pt x="2392" y="1138"/>
                  <a:pt x="2392" y="1138"/>
                </a:cubicBezTo>
                <a:cubicBezTo>
                  <a:pt x="2392" y="1137"/>
                  <a:pt x="2392" y="1137"/>
                  <a:pt x="2392" y="1137"/>
                </a:cubicBezTo>
                <a:cubicBezTo>
                  <a:pt x="2392" y="1136"/>
                  <a:pt x="2392" y="1136"/>
                  <a:pt x="2392" y="1136"/>
                </a:cubicBezTo>
                <a:cubicBezTo>
                  <a:pt x="2393" y="1136"/>
                  <a:pt x="2393" y="1136"/>
                  <a:pt x="2393" y="1136"/>
                </a:cubicBezTo>
                <a:cubicBezTo>
                  <a:pt x="2394" y="1134"/>
                  <a:pt x="2394" y="1134"/>
                  <a:pt x="2394" y="1134"/>
                </a:cubicBezTo>
                <a:cubicBezTo>
                  <a:pt x="2393" y="1135"/>
                  <a:pt x="2393" y="1135"/>
                  <a:pt x="2393" y="1135"/>
                </a:cubicBezTo>
                <a:cubicBezTo>
                  <a:pt x="2392" y="1135"/>
                  <a:pt x="2392" y="1135"/>
                  <a:pt x="2392" y="1135"/>
                </a:cubicBezTo>
                <a:cubicBezTo>
                  <a:pt x="2393" y="1134"/>
                  <a:pt x="2393" y="1134"/>
                  <a:pt x="2393" y="1134"/>
                </a:cubicBezTo>
                <a:cubicBezTo>
                  <a:pt x="2392" y="1134"/>
                  <a:pt x="2392" y="1134"/>
                  <a:pt x="2392" y="1134"/>
                </a:cubicBezTo>
                <a:cubicBezTo>
                  <a:pt x="2391" y="1134"/>
                  <a:pt x="2391" y="1134"/>
                  <a:pt x="2391" y="1134"/>
                </a:cubicBezTo>
                <a:close/>
                <a:moveTo>
                  <a:pt x="2331" y="1176"/>
                </a:moveTo>
                <a:cubicBezTo>
                  <a:pt x="2331" y="1177"/>
                  <a:pt x="2331" y="1177"/>
                  <a:pt x="2331" y="1177"/>
                </a:cubicBezTo>
                <a:cubicBezTo>
                  <a:pt x="2332" y="1177"/>
                  <a:pt x="2332" y="1177"/>
                  <a:pt x="2332" y="1177"/>
                </a:cubicBezTo>
                <a:cubicBezTo>
                  <a:pt x="2333" y="1177"/>
                  <a:pt x="2333" y="1177"/>
                  <a:pt x="2333" y="1177"/>
                </a:cubicBezTo>
                <a:cubicBezTo>
                  <a:pt x="2333" y="1176"/>
                  <a:pt x="2333" y="1176"/>
                  <a:pt x="2333" y="1176"/>
                </a:cubicBezTo>
                <a:cubicBezTo>
                  <a:pt x="2332" y="1176"/>
                  <a:pt x="2332" y="1176"/>
                  <a:pt x="2332" y="1176"/>
                </a:cubicBezTo>
                <a:cubicBezTo>
                  <a:pt x="2331" y="1176"/>
                  <a:pt x="2331" y="1176"/>
                  <a:pt x="2331" y="1176"/>
                </a:cubicBezTo>
                <a:close/>
                <a:moveTo>
                  <a:pt x="2392" y="1132"/>
                </a:moveTo>
                <a:cubicBezTo>
                  <a:pt x="2391" y="1133"/>
                  <a:pt x="2391" y="1133"/>
                  <a:pt x="2391" y="1133"/>
                </a:cubicBezTo>
                <a:cubicBezTo>
                  <a:pt x="2392" y="1133"/>
                  <a:pt x="2392" y="1133"/>
                  <a:pt x="2392" y="1133"/>
                </a:cubicBezTo>
                <a:cubicBezTo>
                  <a:pt x="2392" y="1132"/>
                  <a:pt x="2392" y="1132"/>
                  <a:pt x="2392" y="1132"/>
                </a:cubicBezTo>
                <a:close/>
                <a:moveTo>
                  <a:pt x="2305" y="1234"/>
                </a:moveTo>
                <a:cubicBezTo>
                  <a:pt x="2306" y="1233"/>
                  <a:pt x="2306" y="1233"/>
                  <a:pt x="2306" y="1233"/>
                </a:cubicBezTo>
                <a:cubicBezTo>
                  <a:pt x="2308" y="1234"/>
                  <a:pt x="2308" y="1234"/>
                  <a:pt x="2308" y="1234"/>
                </a:cubicBezTo>
                <a:cubicBezTo>
                  <a:pt x="2308" y="1233"/>
                  <a:pt x="2308" y="1233"/>
                  <a:pt x="2308" y="1233"/>
                </a:cubicBezTo>
                <a:cubicBezTo>
                  <a:pt x="2307" y="1232"/>
                  <a:pt x="2307" y="1232"/>
                  <a:pt x="2307" y="1232"/>
                </a:cubicBezTo>
                <a:cubicBezTo>
                  <a:pt x="2308" y="1231"/>
                  <a:pt x="2308" y="1231"/>
                  <a:pt x="2308" y="1231"/>
                </a:cubicBezTo>
                <a:cubicBezTo>
                  <a:pt x="2308" y="1230"/>
                  <a:pt x="2308" y="1230"/>
                  <a:pt x="2308" y="1230"/>
                </a:cubicBezTo>
                <a:cubicBezTo>
                  <a:pt x="2305" y="1233"/>
                  <a:pt x="2305" y="1233"/>
                  <a:pt x="2305" y="1233"/>
                </a:cubicBezTo>
                <a:cubicBezTo>
                  <a:pt x="2305" y="1234"/>
                  <a:pt x="2305" y="1234"/>
                  <a:pt x="2305" y="1234"/>
                </a:cubicBezTo>
                <a:close/>
                <a:moveTo>
                  <a:pt x="2405" y="1064"/>
                </a:moveTo>
                <a:cubicBezTo>
                  <a:pt x="2405" y="1065"/>
                  <a:pt x="2405" y="1065"/>
                  <a:pt x="2405" y="1065"/>
                </a:cubicBezTo>
                <a:cubicBezTo>
                  <a:pt x="2406" y="1065"/>
                  <a:pt x="2406" y="1065"/>
                  <a:pt x="2406" y="1065"/>
                </a:cubicBezTo>
                <a:cubicBezTo>
                  <a:pt x="2405" y="1064"/>
                  <a:pt x="2405" y="1064"/>
                  <a:pt x="2405" y="1064"/>
                </a:cubicBezTo>
                <a:close/>
                <a:moveTo>
                  <a:pt x="2408" y="1068"/>
                </a:moveTo>
                <a:cubicBezTo>
                  <a:pt x="2407" y="1069"/>
                  <a:pt x="2407" y="1069"/>
                  <a:pt x="2407" y="1069"/>
                </a:cubicBezTo>
                <a:cubicBezTo>
                  <a:pt x="2408" y="1069"/>
                  <a:pt x="2408" y="1069"/>
                  <a:pt x="2408" y="1069"/>
                </a:cubicBezTo>
                <a:cubicBezTo>
                  <a:pt x="2408" y="1068"/>
                  <a:pt x="2408" y="1068"/>
                  <a:pt x="2408" y="1068"/>
                </a:cubicBezTo>
                <a:close/>
                <a:moveTo>
                  <a:pt x="2392" y="1133"/>
                </a:moveTo>
                <a:cubicBezTo>
                  <a:pt x="2393" y="1134"/>
                  <a:pt x="2393" y="1134"/>
                  <a:pt x="2393" y="1134"/>
                </a:cubicBezTo>
                <a:cubicBezTo>
                  <a:pt x="2394" y="1133"/>
                  <a:pt x="2394" y="1133"/>
                  <a:pt x="2394" y="1133"/>
                </a:cubicBezTo>
                <a:cubicBezTo>
                  <a:pt x="2394" y="1132"/>
                  <a:pt x="2394" y="1132"/>
                  <a:pt x="2394" y="1132"/>
                </a:cubicBezTo>
                <a:cubicBezTo>
                  <a:pt x="2393" y="1132"/>
                  <a:pt x="2393" y="1132"/>
                  <a:pt x="2393" y="1132"/>
                </a:cubicBezTo>
                <a:cubicBezTo>
                  <a:pt x="2392" y="1133"/>
                  <a:pt x="2392" y="1133"/>
                  <a:pt x="2392" y="1133"/>
                </a:cubicBezTo>
                <a:close/>
                <a:moveTo>
                  <a:pt x="2407" y="1085"/>
                </a:moveTo>
                <a:cubicBezTo>
                  <a:pt x="2407" y="1086"/>
                  <a:pt x="2407" y="1086"/>
                  <a:pt x="2407" y="1086"/>
                </a:cubicBezTo>
                <a:cubicBezTo>
                  <a:pt x="2408" y="1085"/>
                  <a:pt x="2408" y="1085"/>
                  <a:pt x="2408" y="1085"/>
                </a:cubicBezTo>
                <a:cubicBezTo>
                  <a:pt x="2407" y="1084"/>
                  <a:pt x="2407" y="1084"/>
                  <a:pt x="2407" y="1084"/>
                </a:cubicBezTo>
                <a:cubicBezTo>
                  <a:pt x="2407" y="1085"/>
                  <a:pt x="2407" y="1085"/>
                  <a:pt x="2407" y="1085"/>
                </a:cubicBezTo>
                <a:close/>
                <a:moveTo>
                  <a:pt x="1236" y="325"/>
                </a:moveTo>
                <a:cubicBezTo>
                  <a:pt x="1235" y="325"/>
                  <a:pt x="1235" y="325"/>
                  <a:pt x="1235" y="325"/>
                </a:cubicBezTo>
                <a:cubicBezTo>
                  <a:pt x="1234" y="325"/>
                  <a:pt x="1234" y="325"/>
                  <a:pt x="1234" y="325"/>
                </a:cubicBezTo>
                <a:cubicBezTo>
                  <a:pt x="1233" y="325"/>
                  <a:pt x="1233" y="325"/>
                  <a:pt x="1233" y="325"/>
                </a:cubicBezTo>
                <a:cubicBezTo>
                  <a:pt x="1232" y="324"/>
                  <a:pt x="1232" y="324"/>
                  <a:pt x="1232" y="324"/>
                </a:cubicBezTo>
                <a:cubicBezTo>
                  <a:pt x="1230" y="326"/>
                  <a:pt x="1230" y="326"/>
                  <a:pt x="1230" y="326"/>
                </a:cubicBezTo>
                <a:cubicBezTo>
                  <a:pt x="1228" y="325"/>
                  <a:pt x="1228" y="325"/>
                  <a:pt x="1228" y="325"/>
                </a:cubicBezTo>
                <a:cubicBezTo>
                  <a:pt x="1227" y="325"/>
                  <a:pt x="1227" y="325"/>
                  <a:pt x="1227" y="325"/>
                </a:cubicBezTo>
                <a:cubicBezTo>
                  <a:pt x="1225" y="325"/>
                  <a:pt x="1225" y="325"/>
                  <a:pt x="1225" y="325"/>
                </a:cubicBezTo>
                <a:cubicBezTo>
                  <a:pt x="1226" y="323"/>
                  <a:pt x="1226" y="323"/>
                  <a:pt x="1226" y="323"/>
                </a:cubicBezTo>
                <a:cubicBezTo>
                  <a:pt x="1225" y="323"/>
                  <a:pt x="1225" y="323"/>
                  <a:pt x="1225" y="323"/>
                </a:cubicBezTo>
                <a:cubicBezTo>
                  <a:pt x="1225" y="321"/>
                  <a:pt x="1225" y="321"/>
                  <a:pt x="1225" y="321"/>
                </a:cubicBezTo>
                <a:cubicBezTo>
                  <a:pt x="1226" y="321"/>
                  <a:pt x="1226" y="321"/>
                  <a:pt x="1226" y="321"/>
                </a:cubicBezTo>
                <a:cubicBezTo>
                  <a:pt x="1227" y="321"/>
                  <a:pt x="1227" y="321"/>
                  <a:pt x="1227" y="321"/>
                </a:cubicBezTo>
                <a:cubicBezTo>
                  <a:pt x="1227" y="322"/>
                  <a:pt x="1227" y="322"/>
                  <a:pt x="1227" y="322"/>
                </a:cubicBezTo>
                <a:cubicBezTo>
                  <a:pt x="1228" y="322"/>
                  <a:pt x="1228" y="322"/>
                  <a:pt x="1228" y="322"/>
                </a:cubicBezTo>
                <a:cubicBezTo>
                  <a:pt x="1229" y="322"/>
                  <a:pt x="1229" y="322"/>
                  <a:pt x="1229" y="322"/>
                </a:cubicBezTo>
                <a:cubicBezTo>
                  <a:pt x="1229" y="321"/>
                  <a:pt x="1229" y="321"/>
                  <a:pt x="1229" y="321"/>
                </a:cubicBezTo>
                <a:cubicBezTo>
                  <a:pt x="1229" y="320"/>
                  <a:pt x="1229" y="320"/>
                  <a:pt x="1229" y="320"/>
                </a:cubicBezTo>
                <a:cubicBezTo>
                  <a:pt x="1230" y="320"/>
                  <a:pt x="1230" y="320"/>
                  <a:pt x="1230" y="320"/>
                </a:cubicBezTo>
                <a:cubicBezTo>
                  <a:pt x="1229" y="319"/>
                  <a:pt x="1229" y="319"/>
                  <a:pt x="1229" y="319"/>
                </a:cubicBezTo>
                <a:cubicBezTo>
                  <a:pt x="1230" y="318"/>
                  <a:pt x="1230" y="318"/>
                  <a:pt x="1230" y="318"/>
                </a:cubicBezTo>
                <a:cubicBezTo>
                  <a:pt x="1231" y="317"/>
                  <a:pt x="1231" y="317"/>
                  <a:pt x="1231" y="317"/>
                </a:cubicBezTo>
                <a:cubicBezTo>
                  <a:pt x="1231" y="316"/>
                  <a:pt x="1231" y="316"/>
                  <a:pt x="1231" y="316"/>
                </a:cubicBezTo>
                <a:cubicBezTo>
                  <a:pt x="1229" y="318"/>
                  <a:pt x="1229" y="318"/>
                  <a:pt x="1229" y="318"/>
                </a:cubicBezTo>
                <a:cubicBezTo>
                  <a:pt x="1228" y="317"/>
                  <a:pt x="1228" y="317"/>
                  <a:pt x="1228" y="317"/>
                </a:cubicBezTo>
                <a:cubicBezTo>
                  <a:pt x="1227" y="316"/>
                  <a:pt x="1227" y="316"/>
                  <a:pt x="1227" y="316"/>
                </a:cubicBezTo>
                <a:cubicBezTo>
                  <a:pt x="1227" y="315"/>
                  <a:pt x="1227" y="315"/>
                  <a:pt x="1227" y="315"/>
                </a:cubicBezTo>
                <a:cubicBezTo>
                  <a:pt x="1228" y="315"/>
                  <a:pt x="1228" y="315"/>
                  <a:pt x="1228" y="315"/>
                </a:cubicBezTo>
                <a:cubicBezTo>
                  <a:pt x="1228" y="314"/>
                  <a:pt x="1228" y="314"/>
                  <a:pt x="1228" y="314"/>
                </a:cubicBezTo>
                <a:cubicBezTo>
                  <a:pt x="1227" y="314"/>
                  <a:pt x="1227" y="314"/>
                  <a:pt x="1227" y="314"/>
                </a:cubicBezTo>
                <a:cubicBezTo>
                  <a:pt x="1224" y="314"/>
                  <a:pt x="1224" y="314"/>
                  <a:pt x="1224" y="314"/>
                </a:cubicBezTo>
                <a:cubicBezTo>
                  <a:pt x="1222" y="314"/>
                  <a:pt x="1222" y="314"/>
                  <a:pt x="1222" y="314"/>
                </a:cubicBezTo>
                <a:cubicBezTo>
                  <a:pt x="1221" y="314"/>
                  <a:pt x="1221" y="314"/>
                  <a:pt x="1221" y="314"/>
                </a:cubicBezTo>
                <a:cubicBezTo>
                  <a:pt x="1220" y="313"/>
                  <a:pt x="1220" y="313"/>
                  <a:pt x="1220" y="313"/>
                </a:cubicBezTo>
                <a:cubicBezTo>
                  <a:pt x="1220" y="312"/>
                  <a:pt x="1220" y="312"/>
                  <a:pt x="1220" y="312"/>
                </a:cubicBezTo>
                <a:cubicBezTo>
                  <a:pt x="1221" y="311"/>
                  <a:pt x="1221" y="311"/>
                  <a:pt x="1221" y="311"/>
                </a:cubicBezTo>
                <a:cubicBezTo>
                  <a:pt x="1222" y="312"/>
                  <a:pt x="1222" y="312"/>
                  <a:pt x="1222" y="312"/>
                </a:cubicBezTo>
                <a:cubicBezTo>
                  <a:pt x="1223" y="311"/>
                  <a:pt x="1223" y="311"/>
                  <a:pt x="1223" y="311"/>
                </a:cubicBezTo>
                <a:cubicBezTo>
                  <a:pt x="1224" y="311"/>
                  <a:pt x="1224" y="311"/>
                  <a:pt x="1224" y="311"/>
                </a:cubicBezTo>
                <a:cubicBezTo>
                  <a:pt x="1225" y="312"/>
                  <a:pt x="1225" y="312"/>
                  <a:pt x="1225" y="312"/>
                </a:cubicBezTo>
                <a:cubicBezTo>
                  <a:pt x="1226" y="311"/>
                  <a:pt x="1226" y="311"/>
                  <a:pt x="1226" y="311"/>
                </a:cubicBezTo>
                <a:cubicBezTo>
                  <a:pt x="1226" y="310"/>
                  <a:pt x="1226" y="310"/>
                  <a:pt x="1226" y="310"/>
                </a:cubicBezTo>
                <a:cubicBezTo>
                  <a:pt x="1227" y="310"/>
                  <a:pt x="1227" y="310"/>
                  <a:pt x="1227" y="310"/>
                </a:cubicBezTo>
                <a:cubicBezTo>
                  <a:pt x="1227" y="311"/>
                  <a:pt x="1227" y="311"/>
                  <a:pt x="1227" y="311"/>
                </a:cubicBezTo>
                <a:cubicBezTo>
                  <a:pt x="1228" y="312"/>
                  <a:pt x="1228" y="312"/>
                  <a:pt x="1228" y="312"/>
                </a:cubicBezTo>
                <a:cubicBezTo>
                  <a:pt x="1229" y="311"/>
                  <a:pt x="1229" y="311"/>
                  <a:pt x="1229" y="311"/>
                </a:cubicBezTo>
                <a:cubicBezTo>
                  <a:pt x="1231" y="311"/>
                  <a:pt x="1231" y="311"/>
                  <a:pt x="1231" y="311"/>
                </a:cubicBezTo>
                <a:cubicBezTo>
                  <a:pt x="1232" y="310"/>
                  <a:pt x="1232" y="310"/>
                  <a:pt x="1232" y="310"/>
                </a:cubicBezTo>
                <a:cubicBezTo>
                  <a:pt x="1232" y="309"/>
                  <a:pt x="1232" y="309"/>
                  <a:pt x="1232" y="309"/>
                </a:cubicBezTo>
                <a:cubicBezTo>
                  <a:pt x="1231" y="310"/>
                  <a:pt x="1231" y="310"/>
                  <a:pt x="1231" y="310"/>
                </a:cubicBezTo>
                <a:cubicBezTo>
                  <a:pt x="1230" y="310"/>
                  <a:pt x="1230" y="310"/>
                  <a:pt x="1230" y="310"/>
                </a:cubicBezTo>
                <a:cubicBezTo>
                  <a:pt x="1228" y="310"/>
                  <a:pt x="1228" y="310"/>
                  <a:pt x="1228" y="310"/>
                </a:cubicBezTo>
                <a:cubicBezTo>
                  <a:pt x="1228" y="309"/>
                  <a:pt x="1228" y="309"/>
                  <a:pt x="1228" y="309"/>
                </a:cubicBezTo>
                <a:cubicBezTo>
                  <a:pt x="1230" y="308"/>
                  <a:pt x="1230" y="308"/>
                  <a:pt x="1230" y="308"/>
                </a:cubicBezTo>
                <a:cubicBezTo>
                  <a:pt x="1231" y="308"/>
                  <a:pt x="1231" y="308"/>
                  <a:pt x="1231" y="308"/>
                </a:cubicBezTo>
                <a:cubicBezTo>
                  <a:pt x="1232" y="308"/>
                  <a:pt x="1232" y="308"/>
                  <a:pt x="1232" y="308"/>
                </a:cubicBezTo>
                <a:cubicBezTo>
                  <a:pt x="1233" y="307"/>
                  <a:pt x="1233" y="307"/>
                  <a:pt x="1233" y="307"/>
                </a:cubicBezTo>
                <a:cubicBezTo>
                  <a:pt x="1232" y="307"/>
                  <a:pt x="1232" y="307"/>
                  <a:pt x="1232" y="307"/>
                </a:cubicBezTo>
                <a:cubicBezTo>
                  <a:pt x="1231" y="307"/>
                  <a:pt x="1231" y="307"/>
                  <a:pt x="1231" y="307"/>
                </a:cubicBezTo>
                <a:cubicBezTo>
                  <a:pt x="1230" y="307"/>
                  <a:pt x="1230" y="307"/>
                  <a:pt x="1230" y="307"/>
                </a:cubicBezTo>
                <a:cubicBezTo>
                  <a:pt x="1231" y="306"/>
                  <a:pt x="1231" y="306"/>
                  <a:pt x="1231" y="306"/>
                </a:cubicBezTo>
                <a:cubicBezTo>
                  <a:pt x="1231" y="305"/>
                  <a:pt x="1231" y="305"/>
                  <a:pt x="1231" y="305"/>
                </a:cubicBezTo>
                <a:cubicBezTo>
                  <a:pt x="1229" y="306"/>
                  <a:pt x="1229" y="306"/>
                  <a:pt x="1229" y="306"/>
                </a:cubicBezTo>
                <a:cubicBezTo>
                  <a:pt x="1228" y="306"/>
                  <a:pt x="1228" y="306"/>
                  <a:pt x="1228" y="306"/>
                </a:cubicBezTo>
                <a:cubicBezTo>
                  <a:pt x="1227" y="306"/>
                  <a:pt x="1227" y="306"/>
                  <a:pt x="1227" y="306"/>
                </a:cubicBezTo>
                <a:cubicBezTo>
                  <a:pt x="1227" y="305"/>
                  <a:pt x="1227" y="305"/>
                  <a:pt x="1227" y="305"/>
                </a:cubicBezTo>
                <a:cubicBezTo>
                  <a:pt x="1226" y="306"/>
                  <a:pt x="1226" y="306"/>
                  <a:pt x="1226" y="306"/>
                </a:cubicBezTo>
                <a:cubicBezTo>
                  <a:pt x="1225" y="306"/>
                  <a:pt x="1225" y="306"/>
                  <a:pt x="1225" y="306"/>
                </a:cubicBezTo>
                <a:cubicBezTo>
                  <a:pt x="1225" y="305"/>
                  <a:pt x="1225" y="305"/>
                  <a:pt x="1225" y="305"/>
                </a:cubicBezTo>
                <a:cubicBezTo>
                  <a:pt x="1224" y="306"/>
                  <a:pt x="1224" y="306"/>
                  <a:pt x="1224" y="306"/>
                </a:cubicBezTo>
                <a:cubicBezTo>
                  <a:pt x="1223" y="306"/>
                  <a:pt x="1223" y="306"/>
                  <a:pt x="1223" y="306"/>
                </a:cubicBezTo>
                <a:cubicBezTo>
                  <a:pt x="1222" y="307"/>
                  <a:pt x="1222" y="307"/>
                  <a:pt x="1222" y="307"/>
                </a:cubicBezTo>
                <a:cubicBezTo>
                  <a:pt x="1221" y="307"/>
                  <a:pt x="1221" y="307"/>
                  <a:pt x="1221" y="307"/>
                </a:cubicBezTo>
                <a:cubicBezTo>
                  <a:pt x="1220" y="306"/>
                  <a:pt x="1220" y="306"/>
                  <a:pt x="1220" y="306"/>
                </a:cubicBezTo>
                <a:cubicBezTo>
                  <a:pt x="1218" y="305"/>
                  <a:pt x="1218" y="305"/>
                  <a:pt x="1218" y="305"/>
                </a:cubicBezTo>
                <a:cubicBezTo>
                  <a:pt x="1219" y="304"/>
                  <a:pt x="1219" y="304"/>
                  <a:pt x="1219" y="304"/>
                </a:cubicBezTo>
                <a:cubicBezTo>
                  <a:pt x="1220" y="304"/>
                  <a:pt x="1220" y="304"/>
                  <a:pt x="1220" y="304"/>
                </a:cubicBezTo>
                <a:cubicBezTo>
                  <a:pt x="1221" y="306"/>
                  <a:pt x="1221" y="306"/>
                  <a:pt x="1221" y="306"/>
                </a:cubicBezTo>
                <a:cubicBezTo>
                  <a:pt x="1222" y="306"/>
                  <a:pt x="1222" y="306"/>
                  <a:pt x="1222" y="306"/>
                </a:cubicBezTo>
                <a:cubicBezTo>
                  <a:pt x="1221" y="305"/>
                  <a:pt x="1221" y="305"/>
                  <a:pt x="1221" y="305"/>
                </a:cubicBezTo>
                <a:cubicBezTo>
                  <a:pt x="1220" y="303"/>
                  <a:pt x="1220" y="303"/>
                  <a:pt x="1220" y="303"/>
                </a:cubicBezTo>
                <a:cubicBezTo>
                  <a:pt x="1221" y="303"/>
                  <a:pt x="1221" y="303"/>
                  <a:pt x="1221" y="303"/>
                </a:cubicBezTo>
                <a:cubicBezTo>
                  <a:pt x="1223" y="304"/>
                  <a:pt x="1223" y="304"/>
                  <a:pt x="1223" y="304"/>
                </a:cubicBezTo>
                <a:cubicBezTo>
                  <a:pt x="1224" y="303"/>
                  <a:pt x="1224" y="303"/>
                  <a:pt x="1224" y="303"/>
                </a:cubicBezTo>
                <a:cubicBezTo>
                  <a:pt x="1223" y="303"/>
                  <a:pt x="1223" y="303"/>
                  <a:pt x="1223" y="303"/>
                </a:cubicBezTo>
                <a:cubicBezTo>
                  <a:pt x="1222" y="302"/>
                  <a:pt x="1222" y="302"/>
                  <a:pt x="1222" y="302"/>
                </a:cubicBezTo>
                <a:cubicBezTo>
                  <a:pt x="1223" y="301"/>
                  <a:pt x="1223" y="301"/>
                  <a:pt x="1223" y="301"/>
                </a:cubicBezTo>
                <a:cubicBezTo>
                  <a:pt x="1224" y="302"/>
                  <a:pt x="1224" y="302"/>
                  <a:pt x="1224" y="302"/>
                </a:cubicBezTo>
                <a:cubicBezTo>
                  <a:pt x="1224" y="301"/>
                  <a:pt x="1224" y="301"/>
                  <a:pt x="1224" y="301"/>
                </a:cubicBezTo>
                <a:cubicBezTo>
                  <a:pt x="1223" y="301"/>
                  <a:pt x="1223" y="301"/>
                  <a:pt x="1223" y="301"/>
                </a:cubicBezTo>
                <a:cubicBezTo>
                  <a:pt x="1223" y="300"/>
                  <a:pt x="1223" y="300"/>
                  <a:pt x="1223" y="300"/>
                </a:cubicBezTo>
                <a:cubicBezTo>
                  <a:pt x="1223" y="299"/>
                  <a:pt x="1223" y="299"/>
                  <a:pt x="1223" y="299"/>
                </a:cubicBezTo>
                <a:cubicBezTo>
                  <a:pt x="1224" y="299"/>
                  <a:pt x="1224" y="299"/>
                  <a:pt x="1224" y="299"/>
                </a:cubicBezTo>
                <a:cubicBezTo>
                  <a:pt x="1225" y="298"/>
                  <a:pt x="1225" y="298"/>
                  <a:pt x="1225" y="298"/>
                </a:cubicBezTo>
                <a:cubicBezTo>
                  <a:pt x="1226" y="299"/>
                  <a:pt x="1226" y="299"/>
                  <a:pt x="1226" y="299"/>
                </a:cubicBezTo>
                <a:cubicBezTo>
                  <a:pt x="1227" y="300"/>
                  <a:pt x="1227" y="300"/>
                  <a:pt x="1227" y="300"/>
                </a:cubicBezTo>
                <a:cubicBezTo>
                  <a:pt x="1227" y="301"/>
                  <a:pt x="1227" y="301"/>
                  <a:pt x="1227" y="301"/>
                </a:cubicBezTo>
                <a:cubicBezTo>
                  <a:pt x="1228" y="300"/>
                  <a:pt x="1228" y="300"/>
                  <a:pt x="1228" y="300"/>
                </a:cubicBezTo>
                <a:cubicBezTo>
                  <a:pt x="1230" y="301"/>
                  <a:pt x="1230" y="301"/>
                  <a:pt x="1230" y="301"/>
                </a:cubicBezTo>
                <a:cubicBezTo>
                  <a:pt x="1229" y="299"/>
                  <a:pt x="1229" y="299"/>
                  <a:pt x="1229" y="299"/>
                </a:cubicBezTo>
                <a:cubicBezTo>
                  <a:pt x="1228" y="298"/>
                  <a:pt x="1228" y="298"/>
                  <a:pt x="1228" y="298"/>
                </a:cubicBezTo>
                <a:cubicBezTo>
                  <a:pt x="1229" y="298"/>
                  <a:pt x="1229" y="298"/>
                  <a:pt x="1229" y="298"/>
                </a:cubicBezTo>
                <a:cubicBezTo>
                  <a:pt x="1230" y="298"/>
                  <a:pt x="1230" y="298"/>
                  <a:pt x="1230" y="298"/>
                </a:cubicBezTo>
                <a:cubicBezTo>
                  <a:pt x="1230" y="297"/>
                  <a:pt x="1230" y="297"/>
                  <a:pt x="1230" y="297"/>
                </a:cubicBezTo>
                <a:cubicBezTo>
                  <a:pt x="1229" y="297"/>
                  <a:pt x="1229" y="297"/>
                  <a:pt x="1229" y="297"/>
                </a:cubicBezTo>
                <a:cubicBezTo>
                  <a:pt x="1228" y="297"/>
                  <a:pt x="1228" y="297"/>
                  <a:pt x="1228" y="297"/>
                </a:cubicBezTo>
                <a:cubicBezTo>
                  <a:pt x="1227" y="297"/>
                  <a:pt x="1227" y="297"/>
                  <a:pt x="1227" y="297"/>
                </a:cubicBezTo>
                <a:cubicBezTo>
                  <a:pt x="1226" y="296"/>
                  <a:pt x="1226" y="296"/>
                  <a:pt x="1226" y="296"/>
                </a:cubicBezTo>
                <a:cubicBezTo>
                  <a:pt x="1228" y="296"/>
                  <a:pt x="1228" y="296"/>
                  <a:pt x="1228" y="296"/>
                </a:cubicBezTo>
                <a:cubicBezTo>
                  <a:pt x="1229" y="296"/>
                  <a:pt x="1229" y="296"/>
                  <a:pt x="1229" y="296"/>
                </a:cubicBezTo>
                <a:cubicBezTo>
                  <a:pt x="1231" y="296"/>
                  <a:pt x="1231" y="296"/>
                  <a:pt x="1231" y="296"/>
                </a:cubicBezTo>
                <a:cubicBezTo>
                  <a:pt x="1231" y="297"/>
                  <a:pt x="1231" y="297"/>
                  <a:pt x="1231" y="297"/>
                </a:cubicBezTo>
                <a:cubicBezTo>
                  <a:pt x="1231" y="298"/>
                  <a:pt x="1231" y="298"/>
                  <a:pt x="1231" y="298"/>
                </a:cubicBezTo>
                <a:cubicBezTo>
                  <a:pt x="1233" y="299"/>
                  <a:pt x="1233" y="299"/>
                  <a:pt x="1233" y="299"/>
                </a:cubicBezTo>
                <a:cubicBezTo>
                  <a:pt x="1233" y="300"/>
                  <a:pt x="1233" y="300"/>
                  <a:pt x="1233" y="300"/>
                </a:cubicBezTo>
                <a:cubicBezTo>
                  <a:pt x="1234" y="299"/>
                  <a:pt x="1234" y="299"/>
                  <a:pt x="1234" y="299"/>
                </a:cubicBezTo>
                <a:cubicBezTo>
                  <a:pt x="1235" y="300"/>
                  <a:pt x="1235" y="300"/>
                  <a:pt x="1235" y="300"/>
                </a:cubicBezTo>
                <a:cubicBezTo>
                  <a:pt x="1234" y="301"/>
                  <a:pt x="1234" y="301"/>
                  <a:pt x="1234" y="301"/>
                </a:cubicBezTo>
                <a:cubicBezTo>
                  <a:pt x="1235" y="302"/>
                  <a:pt x="1235" y="302"/>
                  <a:pt x="1235" y="302"/>
                </a:cubicBezTo>
                <a:cubicBezTo>
                  <a:pt x="1235" y="303"/>
                  <a:pt x="1235" y="303"/>
                  <a:pt x="1235" y="303"/>
                </a:cubicBezTo>
                <a:cubicBezTo>
                  <a:pt x="1234" y="304"/>
                  <a:pt x="1234" y="304"/>
                  <a:pt x="1234" y="304"/>
                </a:cubicBezTo>
                <a:cubicBezTo>
                  <a:pt x="1234" y="305"/>
                  <a:pt x="1234" y="305"/>
                  <a:pt x="1234" y="305"/>
                </a:cubicBezTo>
                <a:cubicBezTo>
                  <a:pt x="1235" y="305"/>
                  <a:pt x="1235" y="305"/>
                  <a:pt x="1235" y="305"/>
                </a:cubicBezTo>
                <a:cubicBezTo>
                  <a:pt x="1235" y="306"/>
                  <a:pt x="1235" y="306"/>
                  <a:pt x="1235" y="306"/>
                </a:cubicBezTo>
                <a:cubicBezTo>
                  <a:pt x="1234" y="307"/>
                  <a:pt x="1234" y="307"/>
                  <a:pt x="1234" y="307"/>
                </a:cubicBezTo>
                <a:cubicBezTo>
                  <a:pt x="1234" y="308"/>
                  <a:pt x="1234" y="308"/>
                  <a:pt x="1234" y="308"/>
                </a:cubicBezTo>
                <a:cubicBezTo>
                  <a:pt x="1235" y="308"/>
                  <a:pt x="1235" y="308"/>
                  <a:pt x="1235" y="308"/>
                </a:cubicBezTo>
                <a:cubicBezTo>
                  <a:pt x="1236" y="310"/>
                  <a:pt x="1236" y="310"/>
                  <a:pt x="1236" y="310"/>
                </a:cubicBezTo>
                <a:cubicBezTo>
                  <a:pt x="1236" y="308"/>
                  <a:pt x="1236" y="308"/>
                  <a:pt x="1236" y="308"/>
                </a:cubicBezTo>
                <a:cubicBezTo>
                  <a:pt x="1237" y="308"/>
                  <a:pt x="1237" y="308"/>
                  <a:pt x="1237" y="308"/>
                </a:cubicBezTo>
                <a:cubicBezTo>
                  <a:pt x="1237" y="306"/>
                  <a:pt x="1237" y="306"/>
                  <a:pt x="1237" y="306"/>
                </a:cubicBezTo>
                <a:cubicBezTo>
                  <a:pt x="1238" y="306"/>
                  <a:pt x="1238" y="306"/>
                  <a:pt x="1238" y="306"/>
                </a:cubicBezTo>
                <a:cubicBezTo>
                  <a:pt x="1238" y="307"/>
                  <a:pt x="1238" y="307"/>
                  <a:pt x="1238" y="307"/>
                </a:cubicBezTo>
                <a:cubicBezTo>
                  <a:pt x="1239" y="307"/>
                  <a:pt x="1239" y="307"/>
                  <a:pt x="1239" y="307"/>
                </a:cubicBezTo>
                <a:cubicBezTo>
                  <a:pt x="1240" y="306"/>
                  <a:pt x="1240" y="306"/>
                  <a:pt x="1240" y="306"/>
                </a:cubicBezTo>
                <a:cubicBezTo>
                  <a:pt x="1240" y="304"/>
                  <a:pt x="1240" y="304"/>
                  <a:pt x="1240" y="304"/>
                </a:cubicBezTo>
                <a:cubicBezTo>
                  <a:pt x="1240" y="303"/>
                  <a:pt x="1240" y="303"/>
                  <a:pt x="1240" y="303"/>
                </a:cubicBezTo>
                <a:cubicBezTo>
                  <a:pt x="1239" y="300"/>
                  <a:pt x="1239" y="300"/>
                  <a:pt x="1239" y="300"/>
                </a:cubicBezTo>
                <a:cubicBezTo>
                  <a:pt x="1241" y="299"/>
                  <a:pt x="1241" y="299"/>
                  <a:pt x="1241" y="299"/>
                </a:cubicBezTo>
                <a:cubicBezTo>
                  <a:pt x="1242" y="300"/>
                  <a:pt x="1242" y="300"/>
                  <a:pt x="1242" y="300"/>
                </a:cubicBezTo>
                <a:cubicBezTo>
                  <a:pt x="1242" y="302"/>
                  <a:pt x="1242" y="302"/>
                  <a:pt x="1242" y="302"/>
                </a:cubicBezTo>
                <a:cubicBezTo>
                  <a:pt x="1243" y="303"/>
                  <a:pt x="1243" y="303"/>
                  <a:pt x="1243" y="303"/>
                </a:cubicBezTo>
                <a:cubicBezTo>
                  <a:pt x="1243" y="305"/>
                  <a:pt x="1243" y="305"/>
                  <a:pt x="1243" y="305"/>
                </a:cubicBezTo>
                <a:cubicBezTo>
                  <a:pt x="1244" y="305"/>
                  <a:pt x="1244" y="305"/>
                  <a:pt x="1244" y="305"/>
                </a:cubicBezTo>
                <a:cubicBezTo>
                  <a:pt x="1245" y="303"/>
                  <a:pt x="1245" y="303"/>
                  <a:pt x="1245" y="303"/>
                </a:cubicBezTo>
                <a:cubicBezTo>
                  <a:pt x="1245" y="302"/>
                  <a:pt x="1245" y="302"/>
                  <a:pt x="1245" y="302"/>
                </a:cubicBezTo>
                <a:cubicBezTo>
                  <a:pt x="1245" y="301"/>
                  <a:pt x="1245" y="301"/>
                  <a:pt x="1245" y="301"/>
                </a:cubicBezTo>
                <a:cubicBezTo>
                  <a:pt x="1247" y="299"/>
                  <a:pt x="1247" y="299"/>
                  <a:pt x="1247" y="299"/>
                </a:cubicBezTo>
                <a:cubicBezTo>
                  <a:pt x="1249" y="300"/>
                  <a:pt x="1249" y="300"/>
                  <a:pt x="1249" y="300"/>
                </a:cubicBezTo>
                <a:cubicBezTo>
                  <a:pt x="1249" y="301"/>
                  <a:pt x="1249" y="301"/>
                  <a:pt x="1249" y="301"/>
                </a:cubicBezTo>
                <a:cubicBezTo>
                  <a:pt x="1249" y="302"/>
                  <a:pt x="1249" y="302"/>
                  <a:pt x="1249" y="302"/>
                </a:cubicBezTo>
                <a:cubicBezTo>
                  <a:pt x="1249" y="303"/>
                  <a:pt x="1249" y="303"/>
                  <a:pt x="1249" y="303"/>
                </a:cubicBezTo>
                <a:cubicBezTo>
                  <a:pt x="1250" y="304"/>
                  <a:pt x="1250" y="304"/>
                  <a:pt x="1250" y="304"/>
                </a:cubicBezTo>
                <a:cubicBezTo>
                  <a:pt x="1250" y="307"/>
                  <a:pt x="1250" y="307"/>
                  <a:pt x="1250" y="307"/>
                </a:cubicBezTo>
                <a:cubicBezTo>
                  <a:pt x="1251" y="304"/>
                  <a:pt x="1251" y="304"/>
                  <a:pt x="1251" y="304"/>
                </a:cubicBezTo>
                <a:cubicBezTo>
                  <a:pt x="1250" y="302"/>
                  <a:pt x="1250" y="302"/>
                  <a:pt x="1250" y="302"/>
                </a:cubicBezTo>
                <a:cubicBezTo>
                  <a:pt x="1250" y="300"/>
                  <a:pt x="1250" y="300"/>
                  <a:pt x="1250" y="300"/>
                </a:cubicBezTo>
                <a:cubicBezTo>
                  <a:pt x="1251" y="300"/>
                  <a:pt x="1251" y="300"/>
                  <a:pt x="1251" y="300"/>
                </a:cubicBezTo>
                <a:cubicBezTo>
                  <a:pt x="1252" y="300"/>
                  <a:pt x="1252" y="300"/>
                  <a:pt x="1252" y="300"/>
                </a:cubicBezTo>
                <a:cubicBezTo>
                  <a:pt x="1253" y="300"/>
                  <a:pt x="1253" y="300"/>
                  <a:pt x="1253" y="300"/>
                </a:cubicBezTo>
                <a:cubicBezTo>
                  <a:pt x="1254" y="302"/>
                  <a:pt x="1254" y="302"/>
                  <a:pt x="1254" y="302"/>
                </a:cubicBezTo>
                <a:cubicBezTo>
                  <a:pt x="1255" y="302"/>
                  <a:pt x="1255" y="302"/>
                  <a:pt x="1255" y="302"/>
                </a:cubicBezTo>
                <a:cubicBezTo>
                  <a:pt x="1256" y="300"/>
                  <a:pt x="1256" y="300"/>
                  <a:pt x="1256" y="300"/>
                </a:cubicBezTo>
                <a:cubicBezTo>
                  <a:pt x="1256" y="299"/>
                  <a:pt x="1256" y="299"/>
                  <a:pt x="1256" y="299"/>
                </a:cubicBezTo>
                <a:cubicBezTo>
                  <a:pt x="1257" y="300"/>
                  <a:pt x="1257" y="300"/>
                  <a:pt x="1257" y="300"/>
                </a:cubicBezTo>
                <a:cubicBezTo>
                  <a:pt x="1257" y="301"/>
                  <a:pt x="1257" y="301"/>
                  <a:pt x="1257" y="301"/>
                </a:cubicBezTo>
                <a:cubicBezTo>
                  <a:pt x="1258" y="300"/>
                  <a:pt x="1258" y="300"/>
                  <a:pt x="1258" y="300"/>
                </a:cubicBezTo>
                <a:cubicBezTo>
                  <a:pt x="1260" y="300"/>
                  <a:pt x="1260" y="300"/>
                  <a:pt x="1260" y="300"/>
                </a:cubicBezTo>
                <a:cubicBezTo>
                  <a:pt x="1260" y="299"/>
                  <a:pt x="1260" y="299"/>
                  <a:pt x="1260" y="299"/>
                </a:cubicBezTo>
                <a:cubicBezTo>
                  <a:pt x="1260" y="298"/>
                  <a:pt x="1260" y="298"/>
                  <a:pt x="1260" y="298"/>
                </a:cubicBezTo>
                <a:cubicBezTo>
                  <a:pt x="1260" y="297"/>
                  <a:pt x="1260" y="297"/>
                  <a:pt x="1260" y="297"/>
                </a:cubicBezTo>
                <a:cubicBezTo>
                  <a:pt x="1261" y="297"/>
                  <a:pt x="1261" y="297"/>
                  <a:pt x="1261" y="297"/>
                </a:cubicBezTo>
                <a:cubicBezTo>
                  <a:pt x="1262" y="296"/>
                  <a:pt x="1262" y="296"/>
                  <a:pt x="1262" y="296"/>
                </a:cubicBezTo>
                <a:cubicBezTo>
                  <a:pt x="1263" y="297"/>
                  <a:pt x="1263" y="297"/>
                  <a:pt x="1263" y="297"/>
                </a:cubicBezTo>
                <a:cubicBezTo>
                  <a:pt x="1263" y="298"/>
                  <a:pt x="1263" y="298"/>
                  <a:pt x="1263" y="298"/>
                </a:cubicBezTo>
                <a:cubicBezTo>
                  <a:pt x="1264" y="299"/>
                  <a:pt x="1264" y="299"/>
                  <a:pt x="1264" y="299"/>
                </a:cubicBezTo>
                <a:cubicBezTo>
                  <a:pt x="1263" y="299"/>
                  <a:pt x="1263" y="299"/>
                  <a:pt x="1263" y="299"/>
                </a:cubicBezTo>
                <a:cubicBezTo>
                  <a:pt x="1264" y="301"/>
                  <a:pt x="1264" y="301"/>
                  <a:pt x="1264" y="301"/>
                </a:cubicBezTo>
                <a:cubicBezTo>
                  <a:pt x="1265" y="300"/>
                  <a:pt x="1265" y="300"/>
                  <a:pt x="1265" y="300"/>
                </a:cubicBezTo>
                <a:cubicBezTo>
                  <a:pt x="1265" y="299"/>
                  <a:pt x="1265" y="299"/>
                  <a:pt x="1265" y="299"/>
                </a:cubicBezTo>
                <a:cubicBezTo>
                  <a:pt x="1267" y="297"/>
                  <a:pt x="1267" y="297"/>
                  <a:pt x="1267" y="297"/>
                </a:cubicBezTo>
                <a:cubicBezTo>
                  <a:pt x="1268" y="297"/>
                  <a:pt x="1268" y="297"/>
                  <a:pt x="1268" y="297"/>
                </a:cubicBezTo>
                <a:cubicBezTo>
                  <a:pt x="1269" y="298"/>
                  <a:pt x="1269" y="298"/>
                  <a:pt x="1269" y="298"/>
                </a:cubicBezTo>
                <a:cubicBezTo>
                  <a:pt x="1268" y="298"/>
                  <a:pt x="1268" y="298"/>
                  <a:pt x="1268" y="298"/>
                </a:cubicBezTo>
                <a:cubicBezTo>
                  <a:pt x="1268" y="299"/>
                  <a:pt x="1268" y="299"/>
                  <a:pt x="1268" y="299"/>
                </a:cubicBezTo>
                <a:cubicBezTo>
                  <a:pt x="1268" y="300"/>
                  <a:pt x="1268" y="300"/>
                  <a:pt x="1268" y="300"/>
                </a:cubicBezTo>
                <a:cubicBezTo>
                  <a:pt x="1266" y="300"/>
                  <a:pt x="1266" y="300"/>
                  <a:pt x="1266" y="300"/>
                </a:cubicBezTo>
                <a:cubicBezTo>
                  <a:pt x="1267" y="301"/>
                  <a:pt x="1267" y="301"/>
                  <a:pt x="1267" y="301"/>
                </a:cubicBezTo>
                <a:cubicBezTo>
                  <a:pt x="1268" y="302"/>
                  <a:pt x="1268" y="302"/>
                  <a:pt x="1268" y="302"/>
                </a:cubicBezTo>
                <a:cubicBezTo>
                  <a:pt x="1269" y="301"/>
                  <a:pt x="1269" y="301"/>
                  <a:pt x="1269" y="301"/>
                </a:cubicBezTo>
                <a:cubicBezTo>
                  <a:pt x="1270" y="303"/>
                  <a:pt x="1270" y="303"/>
                  <a:pt x="1270" y="303"/>
                </a:cubicBezTo>
                <a:cubicBezTo>
                  <a:pt x="1269" y="303"/>
                  <a:pt x="1269" y="303"/>
                  <a:pt x="1269" y="303"/>
                </a:cubicBezTo>
                <a:cubicBezTo>
                  <a:pt x="1268" y="304"/>
                  <a:pt x="1268" y="304"/>
                  <a:pt x="1268" y="304"/>
                </a:cubicBezTo>
                <a:cubicBezTo>
                  <a:pt x="1268" y="305"/>
                  <a:pt x="1268" y="305"/>
                  <a:pt x="1268" y="305"/>
                </a:cubicBezTo>
                <a:cubicBezTo>
                  <a:pt x="1269" y="305"/>
                  <a:pt x="1269" y="305"/>
                  <a:pt x="1269" y="305"/>
                </a:cubicBezTo>
                <a:cubicBezTo>
                  <a:pt x="1270" y="305"/>
                  <a:pt x="1270" y="305"/>
                  <a:pt x="1270" y="305"/>
                </a:cubicBezTo>
                <a:cubicBezTo>
                  <a:pt x="1270" y="306"/>
                  <a:pt x="1270" y="306"/>
                  <a:pt x="1270" y="306"/>
                </a:cubicBezTo>
                <a:cubicBezTo>
                  <a:pt x="1270" y="307"/>
                  <a:pt x="1270" y="307"/>
                  <a:pt x="1270" y="307"/>
                </a:cubicBezTo>
                <a:cubicBezTo>
                  <a:pt x="1273" y="307"/>
                  <a:pt x="1273" y="307"/>
                  <a:pt x="1273" y="307"/>
                </a:cubicBezTo>
                <a:cubicBezTo>
                  <a:pt x="1274" y="308"/>
                  <a:pt x="1274" y="308"/>
                  <a:pt x="1274" y="308"/>
                </a:cubicBezTo>
                <a:cubicBezTo>
                  <a:pt x="1273" y="309"/>
                  <a:pt x="1273" y="309"/>
                  <a:pt x="1273" y="309"/>
                </a:cubicBezTo>
                <a:cubicBezTo>
                  <a:pt x="1272" y="309"/>
                  <a:pt x="1272" y="309"/>
                  <a:pt x="1272" y="309"/>
                </a:cubicBezTo>
                <a:cubicBezTo>
                  <a:pt x="1271" y="309"/>
                  <a:pt x="1271" y="309"/>
                  <a:pt x="1271" y="309"/>
                </a:cubicBezTo>
                <a:cubicBezTo>
                  <a:pt x="1271" y="311"/>
                  <a:pt x="1271" y="311"/>
                  <a:pt x="1271" y="311"/>
                </a:cubicBezTo>
                <a:cubicBezTo>
                  <a:pt x="1271" y="312"/>
                  <a:pt x="1271" y="312"/>
                  <a:pt x="1271" y="312"/>
                </a:cubicBezTo>
                <a:cubicBezTo>
                  <a:pt x="1272" y="314"/>
                  <a:pt x="1272" y="314"/>
                  <a:pt x="1272" y="314"/>
                </a:cubicBezTo>
                <a:cubicBezTo>
                  <a:pt x="1272" y="315"/>
                  <a:pt x="1272" y="315"/>
                  <a:pt x="1272" y="315"/>
                </a:cubicBezTo>
                <a:cubicBezTo>
                  <a:pt x="1271" y="316"/>
                  <a:pt x="1271" y="316"/>
                  <a:pt x="1271" y="316"/>
                </a:cubicBezTo>
                <a:cubicBezTo>
                  <a:pt x="1270" y="316"/>
                  <a:pt x="1270" y="316"/>
                  <a:pt x="1270" y="316"/>
                </a:cubicBezTo>
                <a:cubicBezTo>
                  <a:pt x="1270" y="315"/>
                  <a:pt x="1270" y="315"/>
                  <a:pt x="1270" y="315"/>
                </a:cubicBezTo>
                <a:cubicBezTo>
                  <a:pt x="1269" y="314"/>
                  <a:pt x="1269" y="314"/>
                  <a:pt x="1269" y="314"/>
                </a:cubicBezTo>
                <a:cubicBezTo>
                  <a:pt x="1269" y="315"/>
                  <a:pt x="1269" y="315"/>
                  <a:pt x="1269" y="315"/>
                </a:cubicBezTo>
                <a:cubicBezTo>
                  <a:pt x="1269" y="317"/>
                  <a:pt x="1269" y="317"/>
                  <a:pt x="1269" y="317"/>
                </a:cubicBezTo>
                <a:cubicBezTo>
                  <a:pt x="1268" y="318"/>
                  <a:pt x="1268" y="318"/>
                  <a:pt x="1268" y="318"/>
                </a:cubicBezTo>
                <a:cubicBezTo>
                  <a:pt x="1269" y="318"/>
                  <a:pt x="1269" y="318"/>
                  <a:pt x="1269" y="318"/>
                </a:cubicBezTo>
                <a:cubicBezTo>
                  <a:pt x="1269" y="319"/>
                  <a:pt x="1269" y="319"/>
                  <a:pt x="1269" y="319"/>
                </a:cubicBezTo>
                <a:cubicBezTo>
                  <a:pt x="1268" y="320"/>
                  <a:pt x="1268" y="320"/>
                  <a:pt x="1268" y="320"/>
                </a:cubicBezTo>
                <a:cubicBezTo>
                  <a:pt x="1266" y="319"/>
                  <a:pt x="1266" y="319"/>
                  <a:pt x="1266" y="319"/>
                </a:cubicBezTo>
                <a:cubicBezTo>
                  <a:pt x="1266" y="318"/>
                  <a:pt x="1266" y="318"/>
                  <a:pt x="1266" y="318"/>
                </a:cubicBezTo>
                <a:cubicBezTo>
                  <a:pt x="1265" y="318"/>
                  <a:pt x="1265" y="318"/>
                  <a:pt x="1265" y="318"/>
                </a:cubicBezTo>
                <a:cubicBezTo>
                  <a:pt x="1265" y="319"/>
                  <a:pt x="1265" y="319"/>
                  <a:pt x="1265" y="319"/>
                </a:cubicBezTo>
                <a:cubicBezTo>
                  <a:pt x="1265" y="320"/>
                  <a:pt x="1265" y="320"/>
                  <a:pt x="1265" y="320"/>
                </a:cubicBezTo>
                <a:cubicBezTo>
                  <a:pt x="1262" y="321"/>
                  <a:pt x="1262" y="321"/>
                  <a:pt x="1262" y="321"/>
                </a:cubicBezTo>
                <a:cubicBezTo>
                  <a:pt x="1261" y="322"/>
                  <a:pt x="1261" y="322"/>
                  <a:pt x="1261" y="322"/>
                </a:cubicBezTo>
                <a:cubicBezTo>
                  <a:pt x="1258" y="325"/>
                  <a:pt x="1258" y="325"/>
                  <a:pt x="1258" y="325"/>
                </a:cubicBezTo>
                <a:cubicBezTo>
                  <a:pt x="1256" y="325"/>
                  <a:pt x="1256" y="325"/>
                  <a:pt x="1256" y="325"/>
                </a:cubicBezTo>
                <a:cubicBezTo>
                  <a:pt x="1255" y="324"/>
                  <a:pt x="1255" y="324"/>
                  <a:pt x="1255" y="324"/>
                </a:cubicBezTo>
                <a:cubicBezTo>
                  <a:pt x="1254" y="326"/>
                  <a:pt x="1254" y="326"/>
                  <a:pt x="1254" y="326"/>
                </a:cubicBezTo>
                <a:cubicBezTo>
                  <a:pt x="1253" y="326"/>
                  <a:pt x="1253" y="326"/>
                  <a:pt x="1253" y="326"/>
                </a:cubicBezTo>
                <a:cubicBezTo>
                  <a:pt x="1253" y="327"/>
                  <a:pt x="1253" y="327"/>
                  <a:pt x="1253" y="327"/>
                </a:cubicBezTo>
                <a:cubicBezTo>
                  <a:pt x="1252" y="326"/>
                  <a:pt x="1252" y="326"/>
                  <a:pt x="1252" y="326"/>
                </a:cubicBezTo>
                <a:cubicBezTo>
                  <a:pt x="1253" y="325"/>
                  <a:pt x="1253" y="325"/>
                  <a:pt x="1253" y="325"/>
                </a:cubicBezTo>
                <a:cubicBezTo>
                  <a:pt x="1251" y="326"/>
                  <a:pt x="1251" y="326"/>
                  <a:pt x="1251" y="326"/>
                </a:cubicBezTo>
                <a:cubicBezTo>
                  <a:pt x="1251" y="327"/>
                  <a:pt x="1251" y="327"/>
                  <a:pt x="1251" y="327"/>
                </a:cubicBezTo>
                <a:cubicBezTo>
                  <a:pt x="1250" y="328"/>
                  <a:pt x="1250" y="328"/>
                  <a:pt x="1250" y="328"/>
                </a:cubicBezTo>
                <a:cubicBezTo>
                  <a:pt x="1249" y="328"/>
                  <a:pt x="1249" y="328"/>
                  <a:pt x="1249" y="328"/>
                </a:cubicBezTo>
                <a:cubicBezTo>
                  <a:pt x="1248" y="327"/>
                  <a:pt x="1248" y="327"/>
                  <a:pt x="1248" y="327"/>
                </a:cubicBezTo>
                <a:cubicBezTo>
                  <a:pt x="1248" y="328"/>
                  <a:pt x="1248" y="328"/>
                  <a:pt x="1248" y="328"/>
                </a:cubicBezTo>
                <a:cubicBezTo>
                  <a:pt x="1248" y="329"/>
                  <a:pt x="1248" y="329"/>
                  <a:pt x="1248" y="329"/>
                </a:cubicBezTo>
                <a:cubicBezTo>
                  <a:pt x="1246" y="330"/>
                  <a:pt x="1246" y="330"/>
                  <a:pt x="1246" y="330"/>
                </a:cubicBezTo>
                <a:cubicBezTo>
                  <a:pt x="1245" y="329"/>
                  <a:pt x="1245" y="329"/>
                  <a:pt x="1245" y="329"/>
                </a:cubicBezTo>
                <a:cubicBezTo>
                  <a:pt x="1243" y="329"/>
                  <a:pt x="1243" y="329"/>
                  <a:pt x="1243" y="329"/>
                </a:cubicBezTo>
                <a:cubicBezTo>
                  <a:pt x="1241" y="327"/>
                  <a:pt x="1241" y="327"/>
                  <a:pt x="1241" y="327"/>
                </a:cubicBezTo>
                <a:cubicBezTo>
                  <a:pt x="1240" y="327"/>
                  <a:pt x="1240" y="327"/>
                  <a:pt x="1240" y="327"/>
                </a:cubicBezTo>
                <a:cubicBezTo>
                  <a:pt x="1239" y="328"/>
                  <a:pt x="1239" y="328"/>
                  <a:pt x="1239" y="328"/>
                </a:cubicBezTo>
                <a:cubicBezTo>
                  <a:pt x="1238" y="328"/>
                  <a:pt x="1238" y="328"/>
                  <a:pt x="1238" y="328"/>
                </a:cubicBezTo>
                <a:cubicBezTo>
                  <a:pt x="1236" y="326"/>
                  <a:pt x="1236" y="326"/>
                  <a:pt x="1236" y="326"/>
                </a:cubicBezTo>
                <a:cubicBezTo>
                  <a:pt x="1236" y="325"/>
                  <a:pt x="1236" y="325"/>
                  <a:pt x="1236" y="325"/>
                </a:cubicBezTo>
                <a:close/>
                <a:moveTo>
                  <a:pt x="1232" y="319"/>
                </a:moveTo>
                <a:cubicBezTo>
                  <a:pt x="1233" y="319"/>
                  <a:pt x="1233" y="319"/>
                  <a:pt x="1233" y="319"/>
                </a:cubicBezTo>
                <a:cubicBezTo>
                  <a:pt x="1232" y="318"/>
                  <a:pt x="1232" y="318"/>
                  <a:pt x="1232" y="318"/>
                </a:cubicBezTo>
                <a:cubicBezTo>
                  <a:pt x="1231" y="319"/>
                  <a:pt x="1231" y="319"/>
                  <a:pt x="1231" y="319"/>
                </a:cubicBezTo>
                <a:cubicBezTo>
                  <a:pt x="1232" y="319"/>
                  <a:pt x="1232" y="319"/>
                  <a:pt x="1232" y="319"/>
                </a:cubicBezTo>
                <a:close/>
                <a:moveTo>
                  <a:pt x="1237" y="330"/>
                </a:moveTo>
                <a:cubicBezTo>
                  <a:pt x="1238" y="331"/>
                  <a:pt x="1238" y="331"/>
                  <a:pt x="1238" y="331"/>
                </a:cubicBezTo>
                <a:cubicBezTo>
                  <a:pt x="1239" y="330"/>
                  <a:pt x="1239" y="330"/>
                  <a:pt x="1239" y="330"/>
                </a:cubicBezTo>
                <a:cubicBezTo>
                  <a:pt x="1238" y="329"/>
                  <a:pt x="1238" y="329"/>
                  <a:pt x="1238" y="329"/>
                </a:cubicBezTo>
                <a:cubicBezTo>
                  <a:pt x="1237" y="330"/>
                  <a:pt x="1237" y="330"/>
                  <a:pt x="1237" y="330"/>
                </a:cubicBezTo>
                <a:close/>
                <a:moveTo>
                  <a:pt x="376" y="659"/>
                </a:moveTo>
                <a:cubicBezTo>
                  <a:pt x="374" y="658"/>
                  <a:pt x="374" y="658"/>
                  <a:pt x="374" y="658"/>
                </a:cubicBezTo>
                <a:cubicBezTo>
                  <a:pt x="373" y="658"/>
                  <a:pt x="373" y="658"/>
                  <a:pt x="373" y="658"/>
                </a:cubicBezTo>
                <a:cubicBezTo>
                  <a:pt x="373" y="659"/>
                  <a:pt x="373" y="659"/>
                  <a:pt x="373" y="659"/>
                </a:cubicBezTo>
                <a:cubicBezTo>
                  <a:pt x="374" y="659"/>
                  <a:pt x="374" y="659"/>
                  <a:pt x="374" y="659"/>
                </a:cubicBezTo>
                <a:cubicBezTo>
                  <a:pt x="375" y="660"/>
                  <a:pt x="375" y="660"/>
                  <a:pt x="375" y="660"/>
                </a:cubicBezTo>
                <a:cubicBezTo>
                  <a:pt x="376" y="660"/>
                  <a:pt x="376" y="660"/>
                  <a:pt x="376" y="660"/>
                </a:cubicBezTo>
                <a:cubicBezTo>
                  <a:pt x="377" y="660"/>
                  <a:pt x="377" y="660"/>
                  <a:pt x="377" y="660"/>
                </a:cubicBezTo>
                <a:cubicBezTo>
                  <a:pt x="376" y="659"/>
                  <a:pt x="376" y="659"/>
                  <a:pt x="376" y="659"/>
                </a:cubicBezTo>
                <a:close/>
                <a:moveTo>
                  <a:pt x="382" y="668"/>
                </a:moveTo>
                <a:cubicBezTo>
                  <a:pt x="383" y="667"/>
                  <a:pt x="383" y="667"/>
                  <a:pt x="383" y="667"/>
                </a:cubicBezTo>
                <a:cubicBezTo>
                  <a:pt x="381" y="665"/>
                  <a:pt x="381" y="665"/>
                  <a:pt x="381" y="665"/>
                </a:cubicBezTo>
                <a:cubicBezTo>
                  <a:pt x="380" y="665"/>
                  <a:pt x="380" y="665"/>
                  <a:pt x="380" y="665"/>
                </a:cubicBezTo>
                <a:cubicBezTo>
                  <a:pt x="379" y="664"/>
                  <a:pt x="379" y="664"/>
                  <a:pt x="379" y="664"/>
                </a:cubicBezTo>
                <a:cubicBezTo>
                  <a:pt x="378" y="663"/>
                  <a:pt x="378" y="663"/>
                  <a:pt x="378" y="663"/>
                </a:cubicBezTo>
                <a:cubicBezTo>
                  <a:pt x="377" y="664"/>
                  <a:pt x="377" y="664"/>
                  <a:pt x="377" y="664"/>
                </a:cubicBezTo>
                <a:cubicBezTo>
                  <a:pt x="378" y="665"/>
                  <a:pt x="378" y="665"/>
                  <a:pt x="378" y="665"/>
                </a:cubicBezTo>
                <a:cubicBezTo>
                  <a:pt x="377" y="666"/>
                  <a:pt x="377" y="666"/>
                  <a:pt x="377" y="666"/>
                </a:cubicBezTo>
                <a:cubicBezTo>
                  <a:pt x="377" y="667"/>
                  <a:pt x="377" y="667"/>
                  <a:pt x="377" y="667"/>
                </a:cubicBezTo>
                <a:cubicBezTo>
                  <a:pt x="377" y="668"/>
                  <a:pt x="377" y="668"/>
                  <a:pt x="377" y="668"/>
                </a:cubicBezTo>
                <a:cubicBezTo>
                  <a:pt x="377" y="670"/>
                  <a:pt x="377" y="670"/>
                  <a:pt x="377" y="670"/>
                </a:cubicBezTo>
                <a:cubicBezTo>
                  <a:pt x="377" y="673"/>
                  <a:pt x="377" y="673"/>
                  <a:pt x="377" y="673"/>
                </a:cubicBezTo>
                <a:cubicBezTo>
                  <a:pt x="379" y="674"/>
                  <a:pt x="379" y="674"/>
                  <a:pt x="379" y="674"/>
                </a:cubicBezTo>
                <a:cubicBezTo>
                  <a:pt x="381" y="671"/>
                  <a:pt x="381" y="671"/>
                  <a:pt x="381" y="671"/>
                </a:cubicBezTo>
                <a:cubicBezTo>
                  <a:pt x="383" y="670"/>
                  <a:pt x="383" y="670"/>
                  <a:pt x="383" y="670"/>
                </a:cubicBezTo>
                <a:cubicBezTo>
                  <a:pt x="384" y="669"/>
                  <a:pt x="384" y="669"/>
                  <a:pt x="384" y="669"/>
                </a:cubicBezTo>
                <a:cubicBezTo>
                  <a:pt x="383" y="668"/>
                  <a:pt x="383" y="668"/>
                  <a:pt x="383" y="668"/>
                </a:cubicBezTo>
                <a:cubicBezTo>
                  <a:pt x="382" y="668"/>
                  <a:pt x="382" y="668"/>
                  <a:pt x="382" y="668"/>
                </a:cubicBezTo>
                <a:close/>
                <a:moveTo>
                  <a:pt x="365" y="653"/>
                </a:moveTo>
                <a:cubicBezTo>
                  <a:pt x="364" y="653"/>
                  <a:pt x="364" y="653"/>
                  <a:pt x="364" y="653"/>
                </a:cubicBezTo>
                <a:cubicBezTo>
                  <a:pt x="364" y="654"/>
                  <a:pt x="364" y="654"/>
                  <a:pt x="364" y="654"/>
                </a:cubicBezTo>
                <a:cubicBezTo>
                  <a:pt x="365" y="656"/>
                  <a:pt x="365" y="656"/>
                  <a:pt x="365" y="656"/>
                </a:cubicBezTo>
                <a:cubicBezTo>
                  <a:pt x="367" y="656"/>
                  <a:pt x="367" y="656"/>
                  <a:pt x="367" y="656"/>
                </a:cubicBezTo>
                <a:cubicBezTo>
                  <a:pt x="367" y="655"/>
                  <a:pt x="367" y="655"/>
                  <a:pt x="367" y="655"/>
                </a:cubicBezTo>
                <a:cubicBezTo>
                  <a:pt x="366" y="654"/>
                  <a:pt x="366" y="654"/>
                  <a:pt x="366" y="654"/>
                </a:cubicBezTo>
                <a:cubicBezTo>
                  <a:pt x="365" y="653"/>
                  <a:pt x="365" y="653"/>
                  <a:pt x="365" y="653"/>
                </a:cubicBezTo>
                <a:close/>
                <a:moveTo>
                  <a:pt x="350" y="651"/>
                </a:moveTo>
                <a:cubicBezTo>
                  <a:pt x="351" y="652"/>
                  <a:pt x="351" y="652"/>
                  <a:pt x="351" y="652"/>
                </a:cubicBezTo>
                <a:cubicBezTo>
                  <a:pt x="352" y="651"/>
                  <a:pt x="352" y="651"/>
                  <a:pt x="352" y="651"/>
                </a:cubicBezTo>
                <a:cubicBezTo>
                  <a:pt x="351" y="650"/>
                  <a:pt x="351" y="650"/>
                  <a:pt x="351" y="650"/>
                </a:cubicBezTo>
                <a:cubicBezTo>
                  <a:pt x="350" y="651"/>
                  <a:pt x="350" y="651"/>
                  <a:pt x="350" y="651"/>
                </a:cubicBezTo>
                <a:close/>
                <a:moveTo>
                  <a:pt x="371" y="657"/>
                </a:moveTo>
                <a:cubicBezTo>
                  <a:pt x="372" y="657"/>
                  <a:pt x="372" y="657"/>
                  <a:pt x="372" y="657"/>
                </a:cubicBezTo>
                <a:cubicBezTo>
                  <a:pt x="373" y="656"/>
                  <a:pt x="373" y="656"/>
                  <a:pt x="373" y="656"/>
                </a:cubicBezTo>
                <a:cubicBezTo>
                  <a:pt x="371" y="657"/>
                  <a:pt x="371" y="657"/>
                  <a:pt x="371" y="657"/>
                </a:cubicBezTo>
                <a:close/>
                <a:moveTo>
                  <a:pt x="355" y="650"/>
                </a:moveTo>
                <a:cubicBezTo>
                  <a:pt x="356" y="651"/>
                  <a:pt x="356" y="651"/>
                  <a:pt x="356" y="651"/>
                </a:cubicBezTo>
                <a:cubicBezTo>
                  <a:pt x="357" y="651"/>
                  <a:pt x="357" y="651"/>
                  <a:pt x="357" y="651"/>
                </a:cubicBezTo>
                <a:cubicBezTo>
                  <a:pt x="357" y="649"/>
                  <a:pt x="357" y="649"/>
                  <a:pt x="357" y="649"/>
                </a:cubicBezTo>
                <a:cubicBezTo>
                  <a:pt x="356" y="649"/>
                  <a:pt x="356" y="649"/>
                  <a:pt x="356" y="649"/>
                </a:cubicBezTo>
                <a:cubicBezTo>
                  <a:pt x="355" y="650"/>
                  <a:pt x="355" y="650"/>
                  <a:pt x="355" y="650"/>
                </a:cubicBezTo>
                <a:close/>
                <a:moveTo>
                  <a:pt x="777" y="804"/>
                </a:moveTo>
                <a:cubicBezTo>
                  <a:pt x="777" y="803"/>
                  <a:pt x="777" y="803"/>
                  <a:pt x="777" y="803"/>
                </a:cubicBezTo>
                <a:cubicBezTo>
                  <a:pt x="777" y="801"/>
                  <a:pt x="777" y="801"/>
                  <a:pt x="777" y="801"/>
                </a:cubicBezTo>
                <a:cubicBezTo>
                  <a:pt x="776" y="800"/>
                  <a:pt x="776" y="800"/>
                  <a:pt x="776" y="800"/>
                </a:cubicBezTo>
                <a:cubicBezTo>
                  <a:pt x="775" y="801"/>
                  <a:pt x="775" y="801"/>
                  <a:pt x="775" y="801"/>
                </a:cubicBezTo>
                <a:cubicBezTo>
                  <a:pt x="775" y="802"/>
                  <a:pt x="775" y="802"/>
                  <a:pt x="775" y="802"/>
                </a:cubicBezTo>
                <a:cubicBezTo>
                  <a:pt x="776" y="802"/>
                  <a:pt x="776" y="802"/>
                  <a:pt x="776" y="802"/>
                </a:cubicBezTo>
                <a:cubicBezTo>
                  <a:pt x="776" y="804"/>
                  <a:pt x="776" y="804"/>
                  <a:pt x="776" y="804"/>
                </a:cubicBezTo>
                <a:cubicBezTo>
                  <a:pt x="777" y="806"/>
                  <a:pt x="777" y="806"/>
                  <a:pt x="777" y="806"/>
                </a:cubicBezTo>
                <a:cubicBezTo>
                  <a:pt x="776" y="806"/>
                  <a:pt x="776" y="806"/>
                  <a:pt x="776" y="806"/>
                </a:cubicBezTo>
                <a:cubicBezTo>
                  <a:pt x="775" y="808"/>
                  <a:pt x="775" y="808"/>
                  <a:pt x="775" y="808"/>
                </a:cubicBezTo>
                <a:cubicBezTo>
                  <a:pt x="776" y="808"/>
                  <a:pt x="776" y="808"/>
                  <a:pt x="776" y="808"/>
                </a:cubicBezTo>
                <a:cubicBezTo>
                  <a:pt x="778" y="808"/>
                  <a:pt x="778" y="808"/>
                  <a:pt x="778" y="808"/>
                </a:cubicBezTo>
                <a:cubicBezTo>
                  <a:pt x="778" y="806"/>
                  <a:pt x="778" y="806"/>
                  <a:pt x="778" y="806"/>
                </a:cubicBezTo>
                <a:cubicBezTo>
                  <a:pt x="777" y="805"/>
                  <a:pt x="777" y="805"/>
                  <a:pt x="777" y="805"/>
                </a:cubicBezTo>
                <a:cubicBezTo>
                  <a:pt x="777" y="804"/>
                  <a:pt x="777" y="804"/>
                  <a:pt x="777" y="804"/>
                </a:cubicBezTo>
                <a:close/>
                <a:moveTo>
                  <a:pt x="779" y="803"/>
                </a:moveTo>
                <a:cubicBezTo>
                  <a:pt x="780" y="803"/>
                  <a:pt x="780" y="803"/>
                  <a:pt x="780" y="803"/>
                </a:cubicBezTo>
                <a:cubicBezTo>
                  <a:pt x="779" y="802"/>
                  <a:pt x="779" y="802"/>
                  <a:pt x="779" y="802"/>
                </a:cubicBezTo>
                <a:cubicBezTo>
                  <a:pt x="779" y="803"/>
                  <a:pt x="779" y="803"/>
                  <a:pt x="779" y="803"/>
                </a:cubicBezTo>
                <a:close/>
                <a:moveTo>
                  <a:pt x="781" y="805"/>
                </a:moveTo>
                <a:cubicBezTo>
                  <a:pt x="782" y="806"/>
                  <a:pt x="782" y="806"/>
                  <a:pt x="782" y="806"/>
                </a:cubicBezTo>
                <a:cubicBezTo>
                  <a:pt x="783" y="805"/>
                  <a:pt x="783" y="805"/>
                  <a:pt x="783" y="805"/>
                </a:cubicBezTo>
                <a:cubicBezTo>
                  <a:pt x="782" y="805"/>
                  <a:pt x="782" y="805"/>
                  <a:pt x="782" y="805"/>
                </a:cubicBezTo>
                <a:cubicBezTo>
                  <a:pt x="781" y="805"/>
                  <a:pt x="781" y="805"/>
                  <a:pt x="781" y="805"/>
                </a:cubicBezTo>
                <a:close/>
                <a:moveTo>
                  <a:pt x="785" y="808"/>
                </a:moveTo>
                <a:cubicBezTo>
                  <a:pt x="785" y="809"/>
                  <a:pt x="785" y="809"/>
                  <a:pt x="785" y="809"/>
                </a:cubicBezTo>
                <a:cubicBezTo>
                  <a:pt x="787" y="807"/>
                  <a:pt x="787" y="807"/>
                  <a:pt x="787" y="807"/>
                </a:cubicBezTo>
                <a:cubicBezTo>
                  <a:pt x="786" y="807"/>
                  <a:pt x="786" y="807"/>
                  <a:pt x="786" y="807"/>
                </a:cubicBezTo>
                <a:cubicBezTo>
                  <a:pt x="785" y="808"/>
                  <a:pt x="785" y="808"/>
                  <a:pt x="785" y="808"/>
                </a:cubicBezTo>
                <a:close/>
                <a:moveTo>
                  <a:pt x="775" y="804"/>
                </a:moveTo>
                <a:cubicBezTo>
                  <a:pt x="774" y="804"/>
                  <a:pt x="774" y="804"/>
                  <a:pt x="774" y="804"/>
                </a:cubicBezTo>
                <a:cubicBezTo>
                  <a:pt x="774" y="805"/>
                  <a:pt x="774" y="805"/>
                  <a:pt x="774" y="805"/>
                </a:cubicBezTo>
                <a:cubicBezTo>
                  <a:pt x="775" y="805"/>
                  <a:pt x="775" y="805"/>
                  <a:pt x="775" y="805"/>
                </a:cubicBezTo>
                <a:cubicBezTo>
                  <a:pt x="775" y="804"/>
                  <a:pt x="775" y="804"/>
                  <a:pt x="775" y="804"/>
                </a:cubicBezTo>
                <a:close/>
                <a:moveTo>
                  <a:pt x="946" y="684"/>
                </a:moveTo>
                <a:cubicBezTo>
                  <a:pt x="944" y="685"/>
                  <a:pt x="944" y="685"/>
                  <a:pt x="944" y="685"/>
                </a:cubicBezTo>
                <a:cubicBezTo>
                  <a:pt x="946" y="685"/>
                  <a:pt x="946" y="685"/>
                  <a:pt x="946" y="685"/>
                </a:cubicBezTo>
                <a:cubicBezTo>
                  <a:pt x="946" y="684"/>
                  <a:pt x="946" y="684"/>
                  <a:pt x="946" y="684"/>
                </a:cubicBezTo>
                <a:close/>
                <a:moveTo>
                  <a:pt x="957" y="681"/>
                </a:moveTo>
                <a:cubicBezTo>
                  <a:pt x="955" y="681"/>
                  <a:pt x="955" y="681"/>
                  <a:pt x="955" y="681"/>
                </a:cubicBezTo>
                <a:cubicBezTo>
                  <a:pt x="954" y="682"/>
                  <a:pt x="954" y="682"/>
                  <a:pt x="954" y="682"/>
                </a:cubicBezTo>
                <a:cubicBezTo>
                  <a:pt x="954" y="683"/>
                  <a:pt x="954" y="683"/>
                  <a:pt x="954" y="683"/>
                </a:cubicBezTo>
                <a:cubicBezTo>
                  <a:pt x="956" y="684"/>
                  <a:pt x="956" y="684"/>
                  <a:pt x="956" y="684"/>
                </a:cubicBezTo>
                <a:cubicBezTo>
                  <a:pt x="956" y="683"/>
                  <a:pt x="956" y="683"/>
                  <a:pt x="956" y="683"/>
                </a:cubicBezTo>
                <a:cubicBezTo>
                  <a:pt x="957" y="681"/>
                  <a:pt x="957" y="681"/>
                  <a:pt x="957" y="681"/>
                </a:cubicBezTo>
                <a:close/>
                <a:moveTo>
                  <a:pt x="963" y="684"/>
                </a:moveTo>
                <a:cubicBezTo>
                  <a:pt x="962" y="685"/>
                  <a:pt x="962" y="685"/>
                  <a:pt x="962" y="685"/>
                </a:cubicBezTo>
                <a:cubicBezTo>
                  <a:pt x="963" y="686"/>
                  <a:pt x="963" y="686"/>
                  <a:pt x="963" y="686"/>
                </a:cubicBezTo>
                <a:cubicBezTo>
                  <a:pt x="964" y="685"/>
                  <a:pt x="964" y="685"/>
                  <a:pt x="964" y="685"/>
                </a:cubicBezTo>
                <a:cubicBezTo>
                  <a:pt x="963" y="684"/>
                  <a:pt x="963" y="684"/>
                  <a:pt x="963" y="684"/>
                </a:cubicBezTo>
                <a:close/>
                <a:moveTo>
                  <a:pt x="958" y="688"/>
                </a:moveTo>
                <a:cubicBezTo>
                  <a:pt x="957" y="686"/>
                  <a:pt x="957" y="686"/>
                  <a:pt x="957" y="686"/>
                </a:cubicBezTo>
                <a:cubicBezTo>
                  <a:pt x="956" y="687"/>
                  <a:pt x="956" y="687"/>
                  <a:pt x="956" y="687"/>
                </a:cubicBezTo>
                <a:cubicBezTo>
                  <a:pt x="957" y="688"/>
                  <a:pt x="957" y="688"/>
                  <a:pt x="957" y="688"/>
                </a:cubicBezTo>
                <a:cubicBezTo>
                  <a:pt x="958" y="688"/>
                  <a:pt x="958" y="688"/>
                  <a:pt x="958" y="688"/>
                </a:cubicBezTo>
                <a:close/>
                <a:moveTo>
                  <a:pt x="962" y="689"/>
                </a:moveTo>
                <a:cubicBezTo>
                  <a:pt x="963" y="690"/>
                  <a:pt x="963" y="690"/>
                  <a:pt x="963" y="690"/>
                </a:cubicBezTo>
                <a:cubicBezTo>
                  <a:pt x="964" y="689"/>
                  <a:pt x="964" y="689"/>
                  <a:pt x="964" y="689"/>
                </a:cubicBezTo>
                <a:cubicBezTo>
                  <a:pt x="962" y="688"/>
                  <a:pt x="962" y="688"/>
                  <a:pt x="962" y="688"/>
                </a:cubicBezTo>
                <a:cubicBezTo>
                  <a:pt x="962" y="689"/>
                  <a:pt x="962" y="689"/>
                  <a:pt x="962" y="689"/>
                </a:cubicBezTo>
                <a:close/>
                <a:moveTo>
                  <a:pt x="930" y="684"/>
                </a:moveTo>
                <a:cubicBezTo>
                  <a:pt x="933" y="684"/>
                  <a:pt x="933" y="684"/>
                  <a:pt x="933" y="684"/>
                </a:cubicBezTo>
                <a:cubicBezTo>
                  <a:pt x="934" y="684"/>
                  <a:pt x="934" y="684"/>
                  <a:pt x="934" y="684"/>
                </a:cubicBezTo>
                <a:cubicBezTo>
                  <a:pt x="936" y="684"/>
                  <a:pt x="936" y="684"/>
                  <a:pt x="936" y="684"/>
                </a:cubicBezTo>
                <a:cubicBezTo>
                  <a:pt x="937" y="684"/>
                  <a:pt x="937" y="684"/>
                  <a:pt x="937" y="684"/>
                </a:cubicBezTo>
                <a:cubicBezTo>
                  <a:pt x="939" y="683"/>
                  <a:pt x="939" y="683"/>
                  <a:pt x="939" y="683"/>
                </a:cubicBezTo>
                <a:cubicBezTo>
                  <a:pt x="940" y="682"/>
                  <a:pt x="940" y="682"/>
                  <a:pt x="940" y="682"/>
                </a:cubicBezTo>
                <a:cubicBezTo>
                  <a:pt x="939" y="681"/>
                  <a:pt x="939" y="681"/>
                  <a:pt x="939" y="681"/>
                </a:cubicBezTo>
                <a:cubicBezTo>
                  <a:pt x="939" y="680"/>
                  <a:pt x="939" y="680"/>
                  <a:pt x="939" y="680"/>
                </a:cubicBezTo>
                <a:cubicBezTo>
                  <a:pt x="938" y="680"/>
                  <a:pt x="938" y="680"/>
                  <a:pt x="938" y="680"/>
                </a:cubicBezTo>
                <a:cubicBezTo>
                  <a:pt x="936" y="680"/>
                  <a:pt x="936" y="680"/>
                  <a:pt x="936" y="680"/>
                </a:cubicBezTo>
                <a:cubicBezTo>
                  <a:pt x="931" y="680"/>
                  <a:pt x="931" y="680"/>
                  <a:pt x="931" y="680"/>
                </a:cubicBezTo>
                <a:cubicBezTo>
                  <a:pt x="931" y="681"/>
                  <a:pt x="931" y="681"/>
                  <a:pt x="931" y="681"/>
                </a:cubicBezTo>
                <a:cubicBezTo>
                  <a:pt x="929" y="681"/>
                  <a:pt x="929" y="681"/>
                  <a:pt x="929" y="681"/>
                </a:cubicBezTo>
                <a:cubicBezTo>
                  <a:pt x="930" y="682"/>
                  <a:pt x="930" y="682"/>
                  <a:pt x="930" y="682"/>
                </a:cubicBezTo>
                <a:cubicBezTo>
                  <a:pt x="929" y="683"/>
                  <a:pt x="929" y="683"/>
                  <a:pt x="929" y="683"/>
                </a:cubicBezTo>
                <a:cubicBezTo>
                  <a:pt x="930" y="684"/>
                  <a:pt x="930" y="684"/>
                  <a:pt x="930" y="684"/>
                </a:cubicBezTo>
                <a:close/>
                <a:moveTo>
                  <a:pt x="941" y="683"/>
                </a:moveTo>
                <a:cubicBezTo>
                  <a:pt x="940" y="684"/>
                  <a:pt x="940" y="684"/>
                  <a:pt x="940" y="684"/>
                </a:cubicBezTo>
                <a:cubicBezTo>
                  <a:pt x="942" y="683"/>
                  <a:pt x="942" y="683"/>
                  <a:pt x="942" y="683"/>
                </a:cubicBezTo>
                <a:cubicBezTo>
                  <a:pt x="941" y="683"/>
                  <a:pt x="941" y="683"/>
                  <a:pt x="941" y="683"/>
                </a:cubicBezTo>
                <a:close/>
                <a:moveTo>
                  <a:pt x="924" y="679"/>
                </a:moveTo>
                <a:cubicBezTo>
                  <a:pt x="923" y="678"/>
                  <a:pt x="923" y="678"/>
                  <a:pt x="923" y="678"/>
                </a:cubicBezTo>
                <a:cubicBezTo>
                  <a:pt x="921" y="677"/>
                  <a:pt x="921" y="677"/>
                  <a:pt x="921" y="677"/>
                </a:cubicBezTo>
                <a:cubicBezTo>
                  <a:pt x="920" y="677"/>
                  <a:pt x="920" y="677"/>
                  <a:pt x="920" y="677"/>
                </a:cubicBezTo>
                <a:cubicBezTo>
                  <a:pt x="918" y="676"/>
                  <a:pt x="918" y="676"/>
                  <a:pt x="918" y="676"/>
                </a:cubicBezTo>
                <a:cubicBezTo>
                  <a:pt x="917" y="677"/>
                  <a:pt x="917" y="677"/>
                  <a:pt x="917" y="677"/>
                </a:cubicBezTo>
                <a:cubicBezTo>
                  <a:pt x="916" y="676"/>
                  <a:pt x="916" y="676"/>
                  <a:pt x="916" y="676"/>
                </a:cubicBezTo>
                <a:cubicBezTo>
                  <a:pt x="914" y="675"/>
                  <a:pt x="914" y="675"/>
                  <a:pt x="914" y="675"/>
                </a:cubicBezTo>
                <a:cubicBezTo>
                  <a:pt x="913" y="675"/>
                  <a:pt x="913" y="675"/>
                  <a:pt x="913" y="675"/>
                </a:cubicBezTo>
                <a:cubicBezTo>
                  <a:pt x="913" y="674"/>
                  <a:pt x="913" y="674"/>
                  <a:pt x="913" y="674"/>
                </a:cubicBezTo>
                <a:cubicBezTo>
                  <a:pt x="915" y="675"/>
                  <a:pt x="915" y="675"/>
                  <a:pt x="915" y="675"/>
                </a:cubicBezTo>
                <a:cubicBezTo>
                  <a:pt x="918" y="675"/>
                  <a:pt x="918" y="675"/>
                  <a:pt x="918" y="675"/>
                </a:cubicBezTo>
                <a:cubicBezTo>
                  <a:pt x="919" y="675"/>
                  <a:pt x="919" y="675"/>
                  <a:pt x="919" y="675"/>
                </a:cubicBezTo>
                <a:cubicBezTo>
                  <a:pt x="918" y="674"/>
                  <a:pt x="918" y="674"/>
                  <a:pt x="918" y="674"/>
                </a:cubicBezTo>
                <a:cubicBezTo>
                  <a:pt x="917" y="674"/>
                  <a:pt x="917" y="674"/>
                  <a:pt x="917" y="674"/>
                </a:cubicBezTo>
                <a:cubicBezTo>
                  <a:pt x="915" y="674"/>
                  <a:pt x="915" y="674"/>
                  <a:pt x="915" y="674"/>
                </a:cubicBezTo>
                <a:cubicBezTo>
                  <a:pt x="914" y="672"/>
                  <a:pt x="914" y="672"/>
                  <a:pt x="914" y="672"/>
                </a:cubicBezTo>
                <a:cubicBezTo>
                  <a:pt x="913" y="672"/>
                  <a:pt x="913" y="672"/>
                  <a:pt x="913" y="672"/>
                </a:cubicBezTo>
                <a:cubicBezTo>
                  <a:pt x="912" y="672"/>
                  <a:pt x="912" y="672"/>
                  <a:pt x="912" y="672"/>
                </a:cubicBezTo>
                <a:cubicBezTo>
                  <a:pt x="907" y="670"/>
                  <a:pt x="907" y="670"/>
                  <a:pt x="907" y="670"/>
                </a:cubicBezTo>
                <a:cubicBezTo>
                  <a:pt x="906" y="671"/>
                  <a:pt x="906" y="671"/>
                  <a:pt x="906" y="671"/>
                </a:cubicBezTo>
                <a:cubicBezTo>
                  <a:pt x="905" y="670"/>
                  <a:pt x="905" y="670"/>
                  <a:pt x="905" y="670"/>
                </a:cubicBezTo>
                <a:cubicBezTo>
                  <a:pt x="903" y="671"/>
                  <a:pt x="903" y="671"/>
                  <a:pt x="903" y="671"/>
                </a:cubicBezTo>
                <a:cubicBezTo>
                  <a:pt x="902" y="672"/>
                  <a:pt x="902" y="672"/>
                  <a:pt x="902" y="672"/>
                </a:cubicBezTo>
                <a:cubicBezTo>
                  <a:pt x="901" y="672"/>
                  <a:pt x="901" y="672"/>
                  <a:pt x="901" y="672"/>
                </a:cubicBezTo>
                <a:cubicBezTo>
                  <a:pt x="900" y="672"/>
                  <a:pt x="900" y="672"/>
                  <a:pt x="900" y="672"/>
                </a:cubicBezTo>
                <a:cubicBezTo>
                  <a:pt x="899" y="671"/>
                  <a:pt x="899" y="671"/>
                  <a:pt x="899" y="671"/>
                </a:cubicBezTo>
                <a:cubicBezTo>
                  <a:pt x="896" y="671"/>
                  <a:pt x="896" y="671"/>
                  <a:pt x="896" y="671"/>
                </a:cubicBezTo>
                <a:cubicBezTo>
                  <a:pt x="895" y="671"/>
                  <a:pt x="895" y="671"/>
                  <a:pt x="895" y="671"/>
                </a:cubicBezTo>
                <a:cubicBezTo>
                  <a:pt x="894" y="671"/>
                  <a:pt x="894" y="671"/>
                  <a:pt x="894" y="671"/>
                </a:cubicBezTo>
                <a:cubicBezTo>
                  <a:pt x="892" y="671"/>
                  <a:pt x="892" y="671"/>
                  <a:pt x="892" y="671"/>
                </a:cubicBezTo>
                <a:cubicBezTo>
                  <a:pt x="893" y="672"/>
                  <a:pt x="893" y="672"/>
                  <a:pt x="893" y="672"/>
                </a:cubicBezTo>
                <a:cubicBezTo>
                  <a:pt x="896" y="673"/>
                  <a:pt x="896" y="673"/>
                  <a:pt x="896" y="673"/>
                </a:cubicBezTo>
                <a:cubicBezTo>
                  <a:pt x="896" y="674"/>
                  <a:pt x="896" y="674"/>
                  <a:pt x="896" y="674"/>
                </a:cubicBezTo>
                <a:cubicBezTo>
                  <a:pt x="896" y="675"/>
                  <a:pt x="896" y="675"/>
                  <a:pt x="896" y="675"/>
                </a:cubicBezTo>
                <a:cubicBezTo>
                  <a:pt x="896" y="676"/>
                  <a:pt x="896" y="676"/>
                  <a:pt x="896" y="676"/>
                </a:cubicBezTo>
                <a:cubicBezTo>
                  <a:pt x="896" y="677"/>
                  <a:pt x="896" y="677"/>
                  <a:pt x="896" y="677"/>
                </a:cubicBezTo>
                <a:cubicBezTo>
                  <a:pt x="898" y="678"/>
                  <a:pt x="898" y="678"/>
                  <a:pt x="898" y="678"/>
                </a:cubicBezTo>
                <a:cubicBezTo>
                  <a:pt x="899" y="679"/>
                  <a:pt x="899" y="679"/>
                  <a:pt x="899" y="679"/>
                </a:cubicBezTo>
                <a:cubicBezTo>
                  <a:pt x="899" y="680"/>
                  <a:pt x="899" y="680"/>
                  <a:pt x="899" y="680"/>
                </a:cubicBezTo>
                <a:cubicBezTo>
                  <a:pt x="896" y="680"/>
                  <a:pt x="896" y="680"/>
                  <a:pt x="896" y="680"/>
                </a:cubicBezTo>
                <a:cubicBezTo>
                  <a:pt x="894" y="680"/>
                  <a:pt x="894" y="680"/>
                  <a:pt x="894" y="680"/>
                </a:cubicBezTo>
                <a:cubicBezTo>
                  <a:pt x="893" y="680"/>
                  <a:pt x="893" y="680"/>
                  <a:pt x="893" y="680"/>
                </a:cubicBezTo>
                <a:cubicBezTo>
                  <a:pt x="892" y="679"/>
                  <a:pt x="892" y="679"/>
                  <a:pt x="892" y="679"/>
                </a:cubicBezTo>
                <a:cubicBezTo>
                  <a:pt x="890" y="680"/>
                  <a:pt x="890" y="680"/>
                  <a:pt x="890" y="680"/>
                </a:cubicBezTo>
                <a:cubicBezTo>
                  <a:pt x="890" y="679"/>
                  <a:pt x="890" y="679"/>
                  <a:pt x="890" y="679"/>
                </a:cubicBezTo>
                <a:cubicBezTo>
                  <a:pt x="888" y="680"/>
                  <a:pt x="888" y="680"/>
                  <a:pt x="888" y="680"/>
                </a:cubicBezTo>
                <a:cubicBezTo>
                  <a:pt x="887" y="679"/>
                  <a:pt x="887" y="679"/>
                  <a:pt x="887" y="679"/>
                </a:cubicBezTo>
                <a:cubicBezTo>
                  <a:pt x="885" y="679"/>
                  <a:pt x="885" y="679"/>
                  <a:pt x="885" y="679"/>
                </a:cubicBezTo>
                <a:cubicBezTo>
                  <a:pt x="885" y="680"/>
                  <a:pt x="885" y="680"/>
                  <a:pt x="885" y="680"/>
                </a:cubicBezTo>
                <a:cubicBezTo>
                  <a:pt x="885" y="681"/>
                  <a:pt x="885" y="681"/>
                  <a:pt x="885" y="681"/>
                </a:cubicBezTo>
                <a:cubicBezTo>
                  <a:pt x="887" y="681"/>
                  <a:pt x="887" y="681"/>
                  <a:pt x="887" y="681"/>
                </a:cubicBezTo>
                <a:cubicBezTo>
                  <a:pt x="888" y="683"/>
                  <a:pt x="888" y="683"/>
                  <a:pt x="888" y="683"/>
                </a:cubicBezTo>
                <a:cubicBezTo>
                  <a:pt x="889" y="683"/>
                  <a:pt x="889" y="683"/>
                  <a:pt x="889" y="683"/>
                </a:cubicBezTo>
                <a:cubicBezTo>
                  <a:pt x="889" y="682"/>
                  <a:pt x="889" y="682"/>
                  <a:pt x="889" y="682"/>
                </a:cubicBezTo>
                <a:cubicBezTo>
                  <a:pt x="890" y="682"/>
                  <a:pt x="890" y="682"/>
                  <a:pt x="890" y="682"/>
                </a:cubicBezTo>
                <a:cubicBezTo>
                  <a:pt x="892" y="682"/>
                  <a:pt x="892" y="682"/>
                  <a:pt x="892" y="682"/>
                </a:cubicBezTo>
                <a:cubicBezTo>
                  <a:pt x="894" y="682"/>
                  <a:pt x="894" y="682"/>
                  <a:pt x="894" y="682"/>
                </a:cubicBezTo>
                <a:cubicBezTo>
                  <a:pt x="897" y="682"/>
                  <a:pt x="897" y="682"/>
                  <a:pt x="897" y="682"/>
                </a:cubicBezTo>
                <a:cubicBezTo>
                  <a:pt x="898" y="682"/>
                  <a:pt x="898" y="682"/>
                  <a:pt x="898" y="682"/>
                </a:cubicBezTo>
                <a:cubicBezTo>
                  <a:pt x="899" y="682"/>
                  <a:pt x="899" y="682"/>
                  <a:pt x="899" y="682"/>
                </a:cubicBezTo>
                <a:cubicBezTo>
                  <a:pt x="900" y="683"/>
                  <a:pt x="900" y="683"/>
                  <a:pt x="900" y="683"/>
                </a:cubicBezTo>
                <a:cubicBezTo>
                  <a:pt x="901" y="684"/>
                  <a:pt x="901" y="684"/>
                  <a:pt x="901" y="684"/>
                </a:cubicBezTo>
                <a:cubicBezTo>
                  <a:pt x="901" y="685"/>
                  <a:pt x="901" y="685"/>
                  <a:pt x="901" y="685"/>
                </a:cubicBezTo>
                <a:cubicBezTo>
                  <a:pt x="902" y="685"/>
                  <a:pt x="902" y="685"/>
                  <a:pt x="902" y="685"/>
                </a:cubicBezTo>
                <a:cubicBezTo>
                  <a:pt x="902" y="686"/>
                  <a:pt x="902" y="686"/>
                  <a:pt x="902" y="686"/>
                </a:cubicBezTo>
                <a:cubicBezTo>
                  <a:pt x="903" y="687"/>
                  <a:pt x="903" y="687"/>
                  <a:pt x="903" y="687"/>
                </a:cubicBezTo>
                <a:cubicBezTo>
                  <a:pt x="904" y="685"/>
                  <a:pt x="904" y="685"/>
                  <a:pt x="904" y="685"/>
                </a:cubicBezTo>
                <a:cubicBezTo>
                  <a:pt x="905" y="683"/>
                  <a:pt x="905" y="683"/>
                  <a:pt x="905" y="683"/>
                </a:cubicBezTo>
                <a:cubicBezTo>
                  <a:pt x="905" y="682"/>
                  <a:pt x="905" y="682"/>
                  <a:pt x="905" y="682"/>
                </a:cubicBezTo>
                <a:cubicBezTo>
                  <a:pt x="906" y="681"/>
                  <a:pt x="906" y="681"/>
                  <a:pt x="906" y="681"/>
                </a:cubicBezTo>
                <a:cubicBezTo>
                  <a:pt x="906" y="682"/>
                  <a:pt x="906" y="682"/>
                  <a:pt x="906" y="682"/>
                </a:cubicBezTo>
                <a:cubicBezTo>
                  <a:pt x="907" y="682"/>
                  <a:pt x="907" y="682"/>
                  <a:pt x="907" y="682"/>
                </a:cubicBezTo>
                <a:cubicBezTo>
                  <a:pt x="908" y="680"/>
                  <a:pt x="908" y="680"/>
                  <a:pt x="908" y="680"/>
                </a:cubicBezTo>
                <a:cubicBezTo>
                  <a:pt x="909" y="681"/>
                  <a:pt x="909" y="681"/>
                  <a:pt x="909" y="681"/>
                </a:cubicBezTo>
                <a:cubicBezTo>
                  <a:pt x="909" y="682"/>
                  <a:pt x="909" y="682"/>
                  <a:pt x="909" y="682"/>
                </a:cubicBezTo>
                <a:cubicBezTo>
                  <a:pt x="910" y="683"/>
                  <a:pt x="910" y="683"/>
                  <a:pt x="910" y="683"/>
                </a:cubicBezTo>
                <a:cubicBezTo>
                  <a:pt x="911" y="682"/>
                  <a:pt x="911" y="682"/>
                  <a:pt x="911" y="682"/>
                </a:cubicBezTo>
                <a:cubicBezTo>
                  <a:pt x="913" y="681"/>
                  <a:pt x="913" y="681"/>
                  <a:pt x="913" y="681"/>
                </a:cubicBezTo>
                <a:cubicBezTo>
                  <a:pt x="915" y="680"/>
                  <a:pt x="915" y="680"/>
                  <a:pt x="915" y="680"/>
                </a:cubicBezTo>
                <a:cubicBezTo>
                  <a:pt x="917" y="681"/>
                  <a:pt x="917" y="681"/>
                  <a:pt x="917" y="681"/>
                </a:cubicBezTo>
                <a:cubicBezTo>
                  <a:pt x="918" y="680"/>
                  <a:pt x="918" y="680"/>
                  <a:pt x="918" y="680"/>
                </a:cubicBezTo>
                <a:cubicBezTo>
                  <a:pt x="919" y="681"/>
                  <a:pt x="919" y="681"/>
                  <a:pt x="919" y="681"/>
                </a:cubicBezTo>
                <a:cubicBezTo>
                  <a:pt x="920" y="681"/>
                  <a:pt x="920" y="681"/>
                  <a:pt x="920" y="681"/>
                </a:cubicBezTo>
                <a:cubicBezTo>
                  <a:pt x="922" y="681"/>
                  <a:pt x="922" y="681"/>
                  <a:pt x="922" y="681"/>
                </a:cubicBezTo>
                <a:cubicBezTo>
                  <a:pt x="922" y="680"/>
                  <a:pt x="922" y="680"/>
                  <a:pt x="922" y="680"/>
                </a:cubicBezTo>
                <a:cubicBezTo>
                  <a:pt x="923" y="680"/>
                  <a:pt x="923" y="680"/>
                  <a:pt x="923" y="680"/>
                </a:cubicBezTo>
                <a:lnTo>
                  <a:pt x="924" y="679"/>
                </a:lnTo>
                <a:close/>
                <a:moveTo>
                  <a:pt x="922" y="682"/>
                </a:moveTo>
                <a:cubicBezTo>
                  <a:pt x="921" y="682"/>
                  <a:pt x="921" y="682"/>
                  <a:pt x="921" y="682"/>
                </a:cubicBezTo>
                <a:cubicBezTo>
                  <a:pt x="921" y="683"/>
                  <a:pt x="921" y="683"/>
                  <a:pt x="921" y="683"/>
                </a:cubicBezTo>
                <a:cubicBezTo>
                  <a:pt x="922" y="683"/>
                  <a:pt x="922" y="683"/>
                  <a:pt x="922" y="683"/>
                </a:cubicBezTo>
                <a:cubicBezTo>
                  <a:pt x="923" y="683"/>
                  <a:pt x="923" y="683"/>
                  <a:pt x="923" y="683"/>
                </a:cubicBezTo>
                <a:cubicBezTo>
                  <a:pt x="922" y="682"/>
                  <a:pt x="922" y="682"/>
                  <a:pt x="922" y="682"/>
                </a:cubicBezTo>
                <a:close/>
                <a:moveTo>
                  <a:pt x="1273" y="71"/>
                </a:moveTo>
                <a:cubicBezTo>
                  <a:pt x="1274" y="72"/>
                  <a:pt x="1274" y="72"/>
                  <a:pt x="1274" y="72"/>
                </a:cubicBezTo>
                <a:cubicBezTo>
                  <a:pt x="1275" y="70"/>
                  <a:pt x="1275" y="70"/>
                  <a:pt x="1275" y="70"/>
                </a:cubicBezTo>
                <a:cubicBezTo>
                  <a:pt x="1274" y="69"/>
                  <a:pt x="1274" y="69"/>
                  <a:pt x="1274" y="69"/>
                </a:cubicBezTo>
                <a:cubicBezTo>
                  <a:pt x="1273" y="70"/>
                  <a:pt x="1273" y="70"/>
                  <a:pt x="1273" y="70"/>
                </a:cubicBezTo>
                <a:cubicBezTo>
                  <a:pt x="1273" y="71"/>
                  <a:pt x="1273" y="71"/>
                  <a:pt x="1273" y="71"/>
                </a:cubicBezTo>
                <a:close/>
                <a:moveTo>
                  <a:pt x="1038" y="119"/>
                </a:moveTo>
                <a:cubicBezTo>
                  <a:pt x="1036" y="118"/>
                  <a:pt x="1036" y="118"/>
                  <a:pt x="1036" y="118"/>
                </a:cubicBezTo>
                <a:cubicBezTo>
                  <a:pt x="1034" y="117"/>
                  <a:pt x="1034" y="117"/>
                  <a:pt x="1034" y="117"/>
                </a:cubicBezTo>
                <a:cubicBezTo>
                  <a:pt x="1033" y="117"/>
                  <a:pt x="1033" y="117"/>
                  <a:pt x="1033" y="117"/>
                </a:cubicBezTo>
                <a:cubicBezTo>
                  <a:pt x="1032" y="118"/>
                  <a:pt x="1032" y="118"/>
                  <a:pt x="1032" y="118"/>
                </a:cubicBezTo>
                <a:cubicBezTo>
                  <a:pt x="1034" y="119"/>
                  <a:pt x="1034" y="119"/>
                  <a:pt x="1034" y="119"/>
                </a:cubicBezTo>
                <a:cubicBezTo>
                  <a:pt x="1035" y="120"/>
                  <a:pt x="1035" y="120"/>
                  <a:pt x="1035" y="120"/>
                </a:cubicBezTo>
                <a:cubicBezTo>
                  <a:pt x="1036" y="120"/>
                  <a:pt x="1036" y="120"/>
                  <a:pt x="1036" y="120"/>
                </a:cubicBezTo>
                <a:cubicBezTo>
                  <a:pt x="1038" y="119"/>
                  <a:pt x="1038" y="119"/>
                  <a:pt x="1038" y="119"/>
                </a:cubicBezTo>
                <a:close/>
                <a:moveTo>
                  <a:pt x="1278" y="67"/>
                </a:moveTo>
                <a:cubicBezTo>
                  <a:pt x="1278" y="65"/>
                  <a:pt x="1278" y="65"/>
                  <a:pt x="1278" y="65"/>
                </a:cubicBezTo>
                <a:cubicBezTo>
                  <a:pt x="1278" y="64"/>
                  <a:pt x="1278" y="64"/>
                  <a:pt x="1278" y="64"/>
                </a:cubicBezTo>
                <a:cubicBezTo>
                  <a:pt x="1278" y="63"/>
                  <a:pt x="1278" y="63"/>
                  <a:pt x="1278" y="63"/>
                </a:cubicBezTo>
                <a:cubicBezTo>
                  <a:pt x="1277" y="63"/>
                  <a:pt x="1277" y="63"/>
                  <a:pt x="1277" y="63"/>
                </a:cubicBezTo>
                <a:cubicBezTo>
                  <a:pt x="1277" y="64"/>
                  <a:pt x="1277" y="64"/>
                  <a:pt x="1277" y="64"/>
                </a:cubicBezTo>
                <a:cubicBezTo>
                  <a:pt x="1277" y="65"/>
                  <a:pt x="1277" y="65"/>
                  <a:pt x="1277" y="65"/>
                </a:cubicBezTo>
                <a:cubicBezTo>
                  <a:pt x="1277" y="67"/>
                  <a:pt x="1277" y="67"/>
                  <a:pt x="1277" y="67"/>
                </a:cubicBezTo>
                <a:cubicBezTo>
                  <a:pt x="1277" y="68"/>
                  <a:pt x="1277" y="68"/>
                  <a:pt x="1277" y="68"/>
                </a:cubicBezTo>
                <a:cubicBezTo>
                  <a:pt x="1278" y="68"/>
                  <a:pt x="1278" y="68"/>
                  <a:pt x="1278" y="68"/>
                </a:cubicBezTo>
                <a:cubicBezTo>
                  <a:pt x="1278" y="67"/>
                  <a:pt x="1278" y="67"/>
                  <a:pt x="1278" y="67"/>
                </a:cubicBezTo>
                <a:close/>
                <a:moveTo>
                  <a:pt x="1272" y="69"/>
                </a:moveTo>
                <a:cubicBezTo>
                  <a:pt x="1273" y="68"/>
                  <a:pt x="1273" y="68"/>
                  <a:pt x="1273" y="68"/>
                </a:cubicBezTo>
                <a:cubicBezTo>
                  <a:pt x="1273" y="67"/>
                  <a:pt x="1273" y="67"/>
                  <a:pt x="1273" y="67"/>
                </a:cubicBezTo>
                <a:cubicBezTo>
                  <a:pt x="1273" y="65"/>
                  <a:pt x="1273" y="65"/>
                  <a:pt x="1273" y="65"/>
                </a:cubicBezTo>
                <a:cubicBezTo>
                  <a:pt x="1272" y="65"/>
                  <a:pt x="1272" y="65"/>
                  <a:pt x="1272" y="65"/>
                </a:cubicBezTo>
                <a:cubicBezTo>
                  <a:pt x="1271" y="66"/>
                  <a:pt x="1271" y="66"/>
                  <a:pt x="1271" y="66"/>
                </a:cubicBezTo>
                <a:cubicBezTo>
                  <a:pt x="1272" y="67"/>
                  <a:pt x="1272" y="67"/>
                  <a:pt x="1272" y="67"/>
                </a:cubicBezTo>
                <a:cubicBezTo>
                  <a:pt x="1271" y="69"/>
                  <a:pt x="1271" y="69"/>
                  <a:pt x="1271" y="69"/>
                </a:cubicBezTo>
                <a:cubicBezTo>
                  <a:pt x="1272" y="69"/>
                  <a:pt x="1272" y="69"/>
                  <a:pt x="1272" y="69"/>
                </a:cubicBezTo>
                <a:close/>
                <a:moveTo>
                  <a:pt x="1179" y="34"/>
                </a:moveTo>
                <a:cubicBezTo>
                  <a:pt x="1179" y="33"/>
                  <a:pt x="1179" y="33"/>
                  <a:pt x="1179" y="33"/>
                </a:cubicBezTo>
                <a:cubicBezTo>
                  <a:pt x="1178" y="32"/>
                  <a:pt x="1178" y="32"/>
                  <a:pt x="1178" y="32"/>
                </a:cubicBezTo>
                <a:cubicBezTo>
                  <a:pt x="1177" y="32"/>
                  <a:pt x="1177" y="32"/>
                  <a:pt x="1177" y="32"/>
                </a:cubicBezTo>
                <a:cubicBezTo>
                  <a:pt x="1178" y="34"/>
                  <a:pt x="1178" y="34"/>
                  <a:pt x="1178" y="34"/>
                </a:cubicBezTo>
                <a:cubicBezTo>
                  <a:pt x="1179" y="34"/>
                  <a:pt x="1179" y="34"/>
                  <a:pt x="1179" y="34"/>
                </a:cubicBezTo>
                <a:close/>
                <a:moveTo>
                  <a:pt x="1167" y="43"/>
                </a:moveTo>
                <a:cubicBezTo>
                  <a:pt x="1167" y="44"/>
                  <a:pt x="1167" y="44"/>
                  <a:pt x="1167" y="44"/>
                </a:cubicBezTo>
                <a:cubicBezTo>
                  <a:pt x="1168" y="44"/>
                  <a:pt x="1168" y="44"/>
                  <a:pt x="1168" y="44"/>
                </a:cubicBezTo>
                <a:cubicBezTo>
                  <a:pt x="1169" y="44"/>
                  <a:pt x="1169" y="44"/>
                  <a:pt x="1169" y="44"/>
                </a:cubicBezTo>
                <a:cubicBezTo>
                  <a:pt x="1169" y="43"/>
                  <a:pt x="1169" y="43"/>
                  <a:pt x="1169" y="43"/>
                </a:cubicBezTo>
                <a:cubicBezTo>
                  <a:pt x="1168" y="42"/>
                  <a:pt x="1168" y="42"/>
                  <a:pt x="1168" y="42"/>
                </a:cubicBezTo>
                <a:cubicBezTo>
                  <a:pt x="1168" y="40"/>
                  <a:pt x="1168" y="40"/>
                  <a:pt x="1168" y="40"/>
                </a:cubicBezTo>
                <a:cubicBezTo>
                  <a:pt x="1167" y="39"/>
                  <a:pt x="1167" y="39"/>
                  <a:pt x="1167" y="39"/>
                </a:cubicBezTo>
                <a:cubicBezTo>
                  <a:pt x="1166" y="39"/>
                  <a:pt x="1166" y="39"/>
                  <a:pt x="1166" y="39"/>
                </a:cubicBezTo>
                <a:cubicBezTo>
                  <a:pt x="1166" y="40"/>
                  <a:pt x="1166" y="40"/>
                  <a:pt x="1166" y="40"/>
                </a:cubicBezTo>
                <a:cubicBezTo>
                  <a:pt x="1167" y="41"/>
                  <a:pt x="1167" y="41"/>
                  <a:pt x="1167" y="41"/>
                </a:cubicBezTo>
                <a:cubicBezTo>
                  <a:pt x="1167" y="43"/>
                  <a:pt x="1167" y="43"/>
                  <a:pt x="1167" y="43"/>
                </a:cubicBezTo>
                <a:close/>
                <a:moveTo>
                  <a:pt x="1168" y="52"/>
                </a:moveTo>
                <a:cubicBezTo>
                  <a:pt x="1168" y="53"/>
                  <a:pt x="1168" y="53"/>
                  <a:pt x="1168" y="53"/>
                </a:cubicBezTo>
                <a:cubicBezTo>
                  <a:pt x="1168" y="54"/>
                  <a:pt x="1168" y="54"/>
                  <a:pt x="1168" y="54"/>
                </a:cubicBezTo>
                <a:cubicBezTo>
                  <a:pt x="1169" y="55"/>
                  <a:pt x="1169" y="55"/>
                  <a:pt x="1169" y="55"/>
                </a:cubicBezTo>
                <a:cubicBezTo>
                  <a:pt x="1169" y="56"/>
                  <a:pt x="1169" y="56"/>
                  <a:pt x="1169" y="56"/>
                </a:cubicBezTo>
                <a:cubicBezTo>
                  <a:pt x="1171" y="56"/>
                  <a:pt x="1171" y="56"/>
                  <a:pt x="1171" y="56"/>
                </a:cubicBezTo>
                <a:cubicBezTo>
                  <a:pt x="1171" y="55"/>
                  <a:pt x="1171" y="55"/>
                  <a:pt x="1171" y="55"/>
                </a:cubicBezTo>
                <a:cubicBezTo>
                  <a:pt x="1171" y="54"/>
                  <a:pt x="1171" y="54"/>
                  <a:pt x="1171" y="54"/>
                </a:cubicBezTo>
                <a:cubicBezTo>
                  <a:pt x="1170" y="53"/>
                  <a:pt x="1170" y="53"/>
                  <a:pt x="1170" y="53"/>
                </a:cubicBezTo>
                <a:cubicBezTo>
                  <a:pt x="1170" y="52"/>
                  <a:pt x="1170" y="52"/>
                  <a:pt x="1170" y="52"/>
                </a:cubicBezTo>
                <a:cubicBezTo>
                  <a:pt x="1168" y="52"/>
                  <a:pt x="1168" y="52"/>
                  <a:pt x="1168" y="52"/>
                </a:cubicBezTo>
                <a:close/>
                <a:moveTo>
                  <a:pt x="1170" y="57"/>
                </a:moveTo>
                <a:cubicBezTo>
                  <a:pt x="1169" y="57"/>
                  <a:pt x="1169" y="57"/>
                  <a:pt x="1169" y="57"/>
                </a:cubicBezTo>
                <a:cubicBezTo>
                  <a:pt x="1169" y="58"/>
                  <a:pt x="1169" y="58"/>
                  <a:pt x="1169" y="58"/>
                </a:cubicBezTo>
                <a:cubicBezTo>
                  <a:pt x="1169" y="59"/>
                  <a:pt x="1169" y="59"/>
                  <a:pt x="1169" y="59"/>
                </a:cubicBezTo>
                <a:cubicBezTo>
                  <a:pt x="1169" y="60"/>
                  <a:pt x="1169" y="60"/>
                  <a:pt x="1169" y="60"/>
                </a:cubicBezTo>
                <a:cubicBezTo>
                  <a:pt x="1171" y="62"/>
                  <a:pt x="1171" y="62"/>
                  <a:pt x="1171" y="62"/>
                </a:cubicBezTo>
                <a:cubicBezTo>
                  <a:pt x="1172" y="61"/>
                  <a:pt x="1172" y="61"/>
                  <a:pt x="1172" y="61"/>
                </a:cubicBezTo>
                <a:cubicBezTo>
                  <a:pt x="1171" y="58"/>
                  <a:pt x="1171" y="58"/>
                  <a:pt x="1171" y="58"/>
                </a:cubicBezTo>
                <a:cubicBezTo>
                  <a:pt x="1171" y="57"/>
                  <a:pt x="1171" y="57"/>
                  <a:pt x="1171" y="57"/>
                </a:cubicBezTo>
                <a:cubicBezTo>
                  <a:pt x="1170" y="57"/>
                  <a:pt x="1170" y="57"/>
                  <a:pt x="1170" y="57"/>
                </a:cubicBezTo>
                <a:close/>
                <a:moveTo>
                  <a:pt x="1206" y="22"/>
                </a:moveTo>
                <a:cubicBezTo>
                  <a:pt x="1207" y="21"/>
                  <a:pt x="1207" y="21"/>
                  <a:pt x="1207" y="21"/>
                </a:cubicBezTo>
                <a:cubicBezTo>
                  <a:pt x="1206" y="20"/>
                  <a:pt x="1206" y="20"/>
                  <a:pt x="1206" y="20"/>
                </a:cubicBezTo>
                <a:cubicBezTo>
                  <a:pt x="1205" y="20"/>
                  <a:pt x="1205" y="20"/>
                  <a:pt x="1205" y="20"/>
                </a:cubicBezTo>
                <a:cubicBezTo>
                  <a:pt x="1205" y="22"/>
                  <a:pt x="1205" y="22"/>
                  <a:pt x="1205" y="22"/>
                </a:cubicBezTo>
                <a:cubicBezTo>
                  <a:pt x="1206" y="23"/>
                  <a:pt x="1206" y="23"/>
                  <a:pt x="1206" y="23"/>
                </a:cubicBezTo>
                <a:cubicBezTo>
                  <a:pt x="1206" y="22"/>
                  <a:pt x="1206" y="22"/>
                  <a:pt x="1206" y="22"/>
                </a:cubicBezTo>
                <a:close/>
                <a:moveTo>
                  <a:pt x="1148" y="47"/>
                </a:moveTo>
                <a:cubicBezTo>
                  <a:pt x="1149" y="45"/>
                  <a:pt x="1149" y="45"/>
                  <a:pt x="1149" y="45"/>
                </a:cubicBezTo>
                <a:cubicBezTo>
                  <a:pt x="1149" y="43"/>
                  <a:pt x="1149" y="43"/>
                  <a:pt x="1149" y="43"/>
                </a:cubicBezTo>
                <a:cubicBezTo>
                  <a:pt x="1149" y="42"/>
                  <a:pt x="1149" y="42"/>
                  <a:pt x="1149" y="42"/>
                </a:cubicBezTo>
                <a:cubicBezTo>
                  <a:pt x="1149" y="40"/>
                  <a:pt x="1149" y="40"/>
                  <a:pt x="1149" y="40"/>
                </a:cubicBezTo>
                <a:cubicBezTo>
                  <a:pt x="1148" y="39"/>
                  <a:pt x="1148" y="39"/>
                  <a:pt x="1148" y="39"/>
                </a:cubicBezTo>
                <a:cubicBezTo>
                  <a:pt x="1147" y="40"/>
                  <a:pt x="1147" y="40"/>
                  <a:pt x="1147" y="40"/>
                </a:cubicBezTo>
                <a:cubicBezTo>
                  <a:pt x="1147" y="44"/>
                  <a:pt x="1147" y="44"/>
                  <a:pt x="1147" y="44"/>
                </a:cubicBezTo>
                <a:cubicBezTo>
                  <a:pt x="1146" y="45"/>
                  <a:pt x="1146" y="45"/>
                  <a:pt x="1146" y="45"/>
                </a:cubicBezTo>
                <a:cubicBezTo>
                  <a:pt x="1146" y="46"/>
                  <a:pt x="1146" y="46"/>
                  <a:pt x="1146" y="46"/>
                </a:cubicBezTo>
                <a:cubicBezTo>
                  <a:pt x="1148" y="49"/>
                  <a:pt x="1148" y="49"/>
                  <a:pt x="1148" y="49"/>
                </a:cubicBezTo>
                <a:cubicBezTo>
                  <a:pt x="1148" y="47"/>
                  <a:pt x="1148" y="47"/>
                  <a:pt x="1148" y="47"/>
                </a:cubicBezTo>
                <a:close/>
                <a:moveTo>
                  <a:pt x="1149" y="53"/>
                </a:moveTo>
                <a:cubicBezTo>
                  <a:pt x="1150" y="53"/>
                  <a:pt x="1150" y="53"/>
                  <a:pt x="1150" y="53"/>
                </a:cubicBezTo>
                <a:cubicBezTo>
                  <a:pt x="1150" y="52"/>
                  <a:pt x="1150" y="52"/>
                  <a:pt x="1150" y="52"/>
                </a:cubicBezTo>
                <a:cubicBezTo>
                  <a:pt x="1150" y="51"/>
                  <a:pt x="1150" y="51"/>
                  <a:pt x="1150" y="51"/>
                </a:cubicBezTo>
                <a:cubicBezTo>
                  <a:pt x="1148" y="49"/>
                  <a:pt x="1148" y="49"/>
                  <a:pt x="1148" y="49"/>
                </a:cubicBezTo>
                <a:cubicBezTo>
                  <a:pt x="1148" y="51"/>
                  <a:pt x="1148" y="51"/>
                  <a:pt x="1148" y="51"/>
                </a:cubicBezTo>
                <a:cubicBezTo>
                  <a:pt x="1149" y="53"/>
                  <a:pt x="1149" y="53"/>
                  <a:pt x="1149" y="53"/>
                </a:cubicBezTo>
                <a:close/>
                <a:moveTo>
                  <a:pt x="1152" y="44"/>
                </a:moveTo>
                <a:cubicBezTo>
                  <a:pt x="1152" y="43"/>
                  <a:pt x="1152" y="43"/>
                  <a:pt x="1152" y="43"/>
                </a:cubicBezTo>
                <a:cubicBezTo>
                  <a:pt x="1151" y="43"/>
                  <a:pt x="1151" y="43"/>
                  <a:pt x="1151" y="43"/>
                </a:cubicBezTo>
                <a:cubicBezTo>
                  <a:pt x="1151" y="44"/>
                  <a:pt x="1151" y="44"/>
                  <a:pt x="1151" y="44"/>
                </a:cubicBezTo>
                <a:cubicBezTo>
                  <a:pt x="1152" y="45"/>
                  <a:pt x="1152" y="45"/>
                  <a:pt x="1152" y="45"/>
                </a:cubicBezTo>
                <a:cubicBezTo>
                  <a:pt x="1152" y="44"/>
                  <a:pt x="1152" y="44"/>
                  <a:pt x="1152" y="44"/>
                </a:cubicBezTo>
                <a:close/>
                <a:moveTo>
                  <a:pt x="1202" y="27"/>
                </a:moveTo>
                <a:cubicBezTo>
                  <a:pt x="1203" y="26"/>
                  <a:pt x="1203" y="26"/>
                  <a:pt x="1203" y="26"/>
                </a:cubicBezTo>
                <a:cubicBezTo>
                  <a:pt x="1204" y="26"/>
                  <a:pt x="1204" y="26"/>
                  <a:pt x="1204" y="26"/>
                </a:cubicBezTo>
                <a:cubicBezTo>
                  <a:pt x="1202" y="24"/>
                  <a:pt x="1202" y="24"/>
                  <a:pt x="1202" y="24"/>
                </a:cubicBezTo>
                <a:cubicBezTo>
                  <a:pt x="1202" y="23"/>
                  <a:pt x="1202" y="23"/>
                  <a:pt x="1202" y="23"/>
                </a:cubicBezTo>
                <a:cubicBezTo>
                  <a:pt x="1201" y="23"/>
                  <a:pt x="1201" y="23"/>
                  <a:pt x="1201" y="23"/>
                </a:cubicBezTo>
                <a:cubicBezTo>
                  <a:pt x="1201" y="24"/>
                  <a:pt x="1201" y="24"/>
                  <a:pt x="1201" y="24"/>
                </a:cubicBezTo>
                <a:cubicBezTo>
                  <a:pt x="1200" y="24"/>
                  <a:pt x="1200" y="24"/>
                  <a:pt x="1200" y="24"/>
                </a:cubicBezTo>
                <a:cubicBezTo>
                  <a:pt x="1200" y="25"/>
                  <a:pt x="1200" y="25"/>
                  <a:pt x="1200" y="25"/>
                </a:cubicBezTo>
                <a:cubicBezTo>
                  <a:pt x="1201" y="26"/>
                  <a:pt x="1201" y="26"/>
                  <a:pt x="1201" y="26"/>
                </a:cubicBezTo>
                <a:cubicBezTo>
                  <a:pt x="1202" y="27"/>
                  <a:pt x="1202" y="27"/>
                  <a:pt x="1202" y="27"/>
                </a:cubicBezTo>
                <a:close/>
                <a:moveTo>
                  <a:pt x="1173" y="34"/>
                </a:moveTo>
                <a:cubicBezTo>
                  <a:pt x="1174" y="34"/>
                  <a:pt x="1174" y="34"/>
                  <a:pt x="1174" y="34"/>
                </a:cubicBezTo>
                <a:cubicBezTo>
                  <a:pt x="1174" y="33"/>
                  <a:pt x="1174" y="33"/>
                  <a:pt x="1174" y="33"/>
                </a:cubicBezTo>
                <a:cubicBezTo>
                  <a:pt x="1174" y="32"/>
                  <a:pt x="1174" y="32"/>
                  <a:pt x="1174" y="32"/>
                </a:cubicBezTo>
                <a:cubicBezTo>
                  <a:pt x="1173" y="32"/>
                  <a:pt x="1173" y="32"/>
                  <a:pt x="1173" y="32"/>
                </a:cubicBezTo>
                <a:cubicBezTo>
                  <a:pt x="1173" y="31"/>
                  <a:pt x="1173" y="31"/>
                  <a:pt x="1173" y="31"/>
                </a:cubicBezTo>
                <a:cubicBezTo>
                  <a:pt x="1172" y="31"/>
                  <a:pt x="1172" y="31"/>
                  <a:pt x="1172" y="31"/>
                </a:cubicBezTo>
                <a:cubicBezTo>
                  <a:pt x="1171" y="31"/>
                  <a:pt x="1171" y="31"/>
                  <a:pt x="1171" y="31"/>
                </a:cubicBezTo>
                <a:cubicBezTo>
                  <a:pt x="1171" y="32"/>
                  <a:pt x="1171" y="32"/>
                  <a:pt x="1171" y="32"/>
                </a:cubicBezTo>
                <a:cubicBezTo>
                  <a:pt x="1171" y="33"/>
                  <a:pt x="1171" y="33"/>
                  <a:pt x="1171" y="33"/>
                </a:cubicBezTo>
                <a:cubicBezTo>
                  <a:pt x="1173" y="33"/>
                  <a:pt x="1173" y="33"/>
                  <a:pt x="1173" y="33"/>
                </a:cubicBezTo>
                <a:cubicBezTo>
                  <a:pt x="1173" y="34"/>
                  <a:pt x="1173" y="34"/>
                  <a:pt x="1173" y="34"/>
                </a:cubicBezTo>
                <a:close/>
                <a:moveTo>
                  <a:pt x="1206" y="25"/>
                </a:moveTo>
                <a:cubicBezTo>
                  <a:pt x="1207" y="25"/>
                  <a:pt x="1207" y="25"/>
                  <a:pt x="1207" y="25"/>
                </a:cubicBezTo>
                <a:cubicBezTo>
                  <a:pt x="1207" y="24"/>
                  <a:pt x="1207" y="24"/>
                  <a:pt x="1207" y="24"/>
                </a:cubicBezTo>
                <a:cubicBezTo>
                  <a:pt x="1207" y="23"/>
                  <a:pt x="1207" y="23"/>
                  <a:pt x="1207" y="23"/>
                </a:cubicBezTo>
                <a:cubicBezTo>
                  <a:pt x="1206" y="24"/>
                  <a:pt x="1206" y="24"/>
                  <a:pt x="1206" y="24"/>
                </a:cubicBezTo>
                <a:cubicBezTo>
                  <a:pt x="1206" y="25"/>
                  <a:pt x="1206" y="25"/>
                  <a:pt x="1206" y="25"/>
                </a:cubicBezTo>
                <a:close/>
                <a:moveTo>
                  <a:pt x="1197" y="26"/>
                </a:moveTo>
                <a:cubicBezTo>
                  <a:pt x="1197" y="27"/>
                  <a:pt x="1197" y="27"/>
                  <a:pt x="1197" y="27"/>
                </a:cubicBezTo>
                <a:cubicBezTo>
                  <a:pt x="1198" y="27"/>
                  <a:pt x="1198" y="27"/>
                  <a:pt x="1198" y="27"/>
                </a:cubicBezTo>
                <a:cubicBezTo>
                  <a:pt x="1197" y="26"/>
                  <a:pt x="1197" y="26"/>
                  <a:pt x="1197" y="26"/>
                </a:cubicBezTo>
                <a:close/>
                <a:moveTo>
                  <a:pt x="1180" y="33"/>
                </a:moveTo>
                <a:cubicBezTo>
                  <a:pt x="1181" y="34"/>
                  <a:pt x="1181" y="34"/>
                  <a:pt x="1181" y="34"/>
                </a:cubicBezTo>
                <a:cubicBezTo>
                  <a:pt x="1182" y="35"/>
                  <a:pt x="1182" y="35"/>
                  <a:pt x="1182" y="35"/>
                </a:cubicBezTo>
                <a:cubicBezTo>
                  <a:pt x="1183" y="33"/>
                  <a:pt x="1183" y="33"/>
                  <a:pt x="1183" y="33"/>
                </a:cubicBezTo>
                <a:cubicBezTo>
                  <a:pt x="1183" y="32"/>
                  <a:pt x="1183" y="32"/>
                  <a:pt x="1183" y="32"/>
                </a:cubicBezTo>
                <a:cubicBezTo>
                  <a:pt x="1183" y="31"/>
                  <a:pt x="1183" y="31"/>
                  <a:pt x="1183" y="31"/>
                </a:cubicBezTo>
                <a:cubicBezTo>
                  <a:pt x="1182" y="31"/>
                  <a:pt x="1182" y="31"/>
                  <a:pt x="1182" y="31"/>
                </a:cubicBezTo>
                <a:cubicBezTo>
                  <a:pt x="1181" y="29"/>
                  <a:pt x="1181" y="29"/>
                  <a:pt x="1181" y="29"/>
                </a:cubicBezTo>
                <a:cubicBezTo>
                  <a:pt x="1180" y="29"/>
                  <a:pt x="1180" y="29"/>
                  <a:pt x="1180" y="29"/>
                </a:cubicBezTo>
                <a:cubicBezTo>
                  <a:pt x="1180" y="30"/>
                  <a:pt x="1180" y="30"/>
                  <a:pt x="1180" y="30"/>
                </a:cubicBezTo>
                <a:cubicBezTo>
                  <a:pt x="1180" y="31"/>
                  <a:pt x="1180" y="31"/>
                  <a:pt x="1180" y="31"/>
                </a:cubicBezTo>
                <a:cubicBezTo>
                  <a:pt x="1180" y="32"/>
                  <a:pt x="1180" y="32"/>
                  <a:pt x="1180" y="32"/>
                </a:cubicBezTo>
                <a:cubicBezTo>
                  <a:pt x="1179" y="31"/>
                  <a:pt x="1179" y="31"/>
                  <a:pt x="1179" y="31"/>
                </a:cubicBezTo>
                <a:cubicBezTo>
                  <a:pt x="1178" y="31"/>
                  <a:pt x="1178" y="31"/>
                  <a:pt x="1178" y="31"/>
                </a:cubicBezTo>
                <a:cubicBezTo>
                  <a:pt x="1179" y="32"/>
                  <a:pt x="1179" y="32"/>
                  <a:pt x="1179" y="32"/>
                </a:cubicBezTo>
                <a:cubicBezTo>
                  <a:pt x="1180" y="33"/>
                  <a:pt x="1180" y="33"/>
                  <a:pt x="1180" y="33"/>
                </a:cubicBezTo>
                <a:close/>
                <a:moveTo>
                  <a:pt x="1083" y="65"/>
                </a:moveTo>
                <a:cubicBezTo>
                  <a:pt x="1083" y="64"/>
                  <a:pt x="1083" y="64"/>
                  <a:pt x="1083" y="64"/>
                </a:cubicBezTo>
                <a:cubicBezTo>
                  <a:pt x="1082" y="63"/>
                  <a:pt x="1082" y="63"/>
                  <a:pt x="1082" y="63"/>
                </a:cubicBezTo>
                <a:cubicBezTo>
                  <a:pt x="1081" y="63"/>
                  <a:pt x="1081" y="63"/>
                  <a:pt x="1081" y="63"/>
                </a:cubicBezTo>
                <a:cubicBezTo>
                  <a:pt x="1082" y="64"/>
                  <a:pt x="1082" y="64"/>
                  <a:pt x="1082" y="64"/>
                </a:cubicBezTo>
                <a:cubicBezTo>
                  <a:pt x="1082" y="65"/>
                  <a:pt x="1082" y="65"/>
                  <a:pt x="1082" y="65"/>
                </a:cubicBezTo>
                <a:cubicBezTo>
                  <a:pt x="1083" y="65"/>
                  <a:pt x="1083" y="65"/>
                  <a:pt x="1083" y="65"/>
                </a:cubicBezTo>
                <a:close/>
                <a:moveTo>
                  <a:pt x="1121" y="336"/>
                </a:moveTo>
                <a:cubicBezTo>
                  <a:pt x="1120" y="336"/>
                  <a:pt x="1120" y="336"/>
                  <a:pt x="1120" y="336"/>
                </a:cubicBezTo>
                <a:cubicBezTo>
                  <a:pt x="1121" y="337"/>
                  <a:pt x="1121" y="337"/>
                  <a:pt x="1121" y="337"/>
                </a:cubicBezTo>
                <a:cubicBezTo>
                  <a:pt x="1121" y="336"/>
                  <a:pt x="1121" y="336"/>
                  <a:pt x="1121" y="336"/>
                </a:cubicBezTo>
                <a:close/>
                <a:moveTo>
                  <a:pt x="1053" y="146"/>
                </a:moveTo>
                <a:cubicBezTo>
                  <a:pt x="1053" y="146"/>
                  <a:pt x="1053" y="146"/>
                  <a:pt x="1053" y="147"/>
                </a:cubicBezTo>
                <a:cubicBezTo>
                  <a:pt x="1053" y="147"/>
                  <a:pt x="1053" y="147"/>
                  <a:pt x="1054" y="147"/>
                </a:cubicBezTo>
                <a:cubicBezTo>
                  <a:pt x="1054" y="147"/>
                  <a:pt x="1054" y="147"/>
                  <a:pt x="1055" y="147"/>
                </a:cubicBezTo>
                <a:cubicBezTo>
                  <a:pt x="1055" y="147"/>
                  <a:pt x="1055" y="147"/>
                  <a:pt x="1055" y="145"/>
                </a:cubicBezTo>
                <a:cubicBezTo>
                  <a:pt x="1055" y="145"/>
                  <a:pt x="1055" y="145"/>
                  <a:pt x="1055" y="144"/>
                </a:cubicBezTo>
                <a:cubicBezTo>
                  <a:pt x="1055" y="144"/>
                  <a:pt x="1055" y="144"/>
                  <a:pt x="1054" y="144"/>
                </a:cubicBezTo>
                <a:cubicBezTo>
                  <a:pt x="1054" y="144"/>
                  <a:pt x="1054" y="144"/>
                  <a:pt x="1053" y="146"/>
                </a:cubicBezTo>
                <a:close/>
                <a:moveTo>
                  <a:pt x="1082" y="196"/>
                </a:moveTo>
                <a:cubicBezTo>
                  <a:pt x="1082" y="197"/>
                  <a:pt x="1082" y="197"/>
                  <a:pt x="1082" y="197"/>
                </a:cubicBezTo>
                <a:cubicBezTo>
                  <a:pt x="1083" y="197"/>
                  <a:pt x="1083" y="197"/>
                  <a:pt x="1083" y="197"/>
                </a:cubicBezTo>
                <a:cubicBezTo>
                  <a:pt x="1083" y="196"/>
                  <a:pt x="1083" y="196"/>
                  <a:pt x="1083" y="196"/>
                </a:cubicBezTo>
                <a:cubicBezTo>
                  <a:pt x="1082" y="196"/>
                  <a:pt x="1082" y="196"/>
                  <a:pt x="1082" y="196"/>
                </a:cubicBezTo>
                <a:close/>
                <a:moveTo>
                  <a:pt x="1264" y="102"/>
                </a:moveTo>
                <a:cubicBezTo>
                  <a:pt x="1265" y="103"/>
                  <a:pt x="1265" y="103"/>
                  <a:pt x="1265" y="103"/>
                </a:cubicBezTo>
                <a:cubicBezTo>
                  <a:pt x="1267" y="103"/>
                  <a:pt x="1267" y="103"/>
                  <a:pt x="1267" y="103"/>
                </a:cubicBezTo>
                <a:cubicBezTo>
                  <a:pt x="1268" y="102"/>
                  <a:pt x="1268" y="102"/>
                  <a:pt x="1268" y="102"/>
                </a:cubicBezTo>
                <a:cubicBezTo>
                  <a:pt x="1268" y="100"/>
                  <a:pt x="1268" y="100"/>
                  <a:pt x="1268" y="100"/>
                </a:cubicBezTo>
                <a:cubicBezTo>
                  <a:pt x="1267" y="99"/>
                  <a:pt x="1267" y="99"/>
                  <a:pt x="1267" y="99"/>
                </a:cubicBezTo>
                <a:cubicBezTo>
                  <a:pt x="1265" y="100"/>
                  <a:pt x="1265" y="100"/>
                  <a:pt x="1265" y="100"/>
                </a:cubicBezTo>
                <a:cubicBezTo>
                  <a:pt x="1264" y="102"/>
                  <a:pt x="1264" y="102"/>
                  <a:pt x="1264" y="102"/>
                </a:cubicBezTo>
                <a:close/>
                <a:moveTo>
                  <a:pt x="1081" y="206"/>
                </a:moveTo>
                <a:cubicBezTo>
                  <a:pt x="1081" y="207"/>
                  <a:pt x="1081" y="207"/>
                  <a:pt x="1081" y="207"/>
                </a:cubicBezTo>
                <a:cubicBezTo>
                  <a:pt x="1082" y="206"/>
                  <a:pt x="1082" y="206"/>
                  <a:pt x="1082" y="206"/>
                </a:cubicBezTo>
                <a:cubicBezTo>
                  <a:pt x="1081" y="206"/>
                  <a:pt x="1081" y="206"/>
                  <a:pt x="1081" y="206"/>
                </a:cubicBezTo>
                <a:close/>
                <a:moveTo>
                  <a:pt x="1072" y="282"/>
                </a:moveTo>
                <a:cubicBezTo>
                  <a:pt x="1073" y="282"/>
                  <a:pt x="1073" y="282"/>
                  <a:pt x="1073" y="282"/>
                </a:cubicBezTo>
                <a:cubicBezTo>
                  <a:pt x="1073" y="281"/>
                  <a:pt x="1073" y="281"/>
                  <a:pt x="1073" y="281"/>
                </a:cubicBezTo>
                <a:cubicBezTo>
                  <a:pt x="1072" y="282"/>
                  <a:pt x="1072" y="282"/>
                  <a:pt x="1072" y="282"/>
                </a:cubicBezTo>
                <a:close/>
                <a:moveTo>
                  <a:pt x="1263" y="135"/>
                </a:moveTo>
                <a:cubicBezTo>
                  <a:pt x="1262" y="135"/>
                  <a:pt x="1262" y="135"/>
                  <a:pt x="1262" y="135"/>
                </a:cubicBezTo>
                <a:cubicBezTo>
                  <a:pt x="1263" y="136"/>
                  <a:pt x="1263" y="136"/>
                  <a:pt x="1263" y="136"/>
                </a:cubicBezTo>
                <a:cubicBezTo>
                  <a:pt x="1263" y="135"/>
                  <a:pt x="1263" y="135"/>
                  <a:pt x="1263" y="135"/>
                </a:cubicBezTo>
                <a:close/>
                <a:moveTo>
                  <a:pt x="1081" y="210"/>
                </a:moveTo>
                <a:cubicBezTo>
                  <a:pt x="1080" y="210"/>
                  <a:pt x="1080" y="210"/>
                  <a:pt x="1080" y="210"/>
                </a:cubicBezTo>
                <a:cubicBezTo>
                  <a:pt x="1080" y="211"/>
                  <a:pt x="1080" y="211"/>
                  <a:pt x="1080" y="211"/>
                </a:cubicBezTo>
                <a:cubicBezTo>
                  <a:pt x="1079" y="211"/>
                  <a:pt x="1079" y="211"/>
                  <a:pt x="1079" y="211"/>
                </a:cubicBezTo>
                <a:cubicBezTo>
                  <a:pt x="1079" y="212"/>
                  <a:pt x="1079" y="212"/>
                  <a:pt x="1079" y="212"/>
                </a:cubicBezTo>
                <a:cubicBezTo>
                  <a:pt x="1080" y="212"/>
                  <a:pt x="1080" y="212"/>
                  <a:pt x="1080" y="212"/>
                </a:cubicBezTo>
                <a:cubicBezTo>
                  <a:pt x="1081" y="211"/>
                  <a:pt x="1081" y="211"/>
                  <a:pt x="1081" y="211"/>
                </a:cubicBezTo>
                <a:cubicBezTo>
                  <a:pt x="1082" y="210"/>
                  <a:pt x="1082" y="210"/>
                  <a:pt x="1082" y="210"/>
                </a:cubicBezTo>
                <a:cubicBezTo>
                  <a:pt x="1083" y="210"/>
                  <a:pt x="1083" y="210"/>
                  <a:pt x="1083" y="210"/>
                </a:cubicBezTo>
                <a:cubicBezTo>
                  <a:pt x="1082" y="209"/>
                  <a:pt x="1082" y="209"/>
                  <a:pt x="1082" y="209"/>
                </a:cubicBezTo>
                <a:cubicBezTo>
                  <a:pt x="1081" y="210"/>
                  <a:pt x="1081" y="210"/>
                  <a:pt x="1081" y="210"/>
                </a:cubicBezTo>
                <a:close/>
                <a:moveTo>
                  <a:pt x="1074" y="280"/>
                </a:moveTo>
                <a:cubicBezTo>
                  <a:pt x="1073" y="280"/>
                  <a:pt x="1073" y="280"/>
                  <a:pt x="1073" y="280"/>
                </a:cubicBezTo>
                <a:cubicBezTo>
                  <a:pt x="1072" y="280"/>
                  <a:pt x="1072" y="280"/>
                  <a:pt x="1072" y="280"/>
                </a:cubicBezTo>
                <a:cubicBezTo>
                  <a:pt x="1073" y="281"/>
                  <a:pt x="1073" y="281"/>
                  <a:pt x="1073" y="281"/>
                </a:cubicBezTo>
                <a:cubicBezTo>
                  <a:pt x="1074" y="281"/>
                  <a:pt x="1074" y="281"/>
                  <a:pt x="1074" y="281"/>
                </a:cubicBezTo>
                <a:cubicBezTo>
                  <a:pt x="1074" y="280"/>
                  <a:pt x="1074" y="280"/>
                  <a:pt x="1074" y="280"/>
                </a:cubicBezTo>
                <a:close/>
                <a:moveTo>
                  <a:pt x="1088" y="227"/>
                </a:moveTo>
                <a:cubicBezTo>
                  <a:pt x="1089" y="227"/>
                  <a:pt x="1089" y="227"/>
                  <a:pt x="1089" y="227"/>
                </a:cubicBezTo>
                <a:cubicBezTo>
                  <a:pt x="1090" y="227"/>
                  <a:pt x="1090" y="227"/>
                  <a:pt x="1090" y="227"/>
                </a:cubicBezTo>
                <a:cubicBezTo>
                  <a:pt x="1091" y="226"/>
                  <a:pt x="1091" y="226"/>
                  <a:pt x="1091" y="226"/>
                </a:cubicBezTo>
                <a:cubicBezTo>
                  <a:pt x="1091" y="225"/>
                  <a:pt x="1091" y="225"/>
                  <a:pt x="1091" y="225"/>
                </a:cubicBezTo>
                <a:cubicBezTo>
                  <a:pt x="1090" y="224"/>
                  <a:pt x="1090" y="224"/>
                  <a:pt x="1090" y="224"/>
                </a:cubicBezTo>
                <a:cubicBezTo>
                  <a:pt x="1089" y="225"/>
                  <a:pt x="1089" y="225"/>
                  <a:pt x="1089" y="225"/>
                </a:cubicBezTo>
                <a:cubicBezTo>
                  <a:pt x="1088" y="227"/>
                  <a:pt x="1088" y="227"/>
                  <a:pt x="1088" y="227"/>
                </a:cubicBezTo>
                <a:close/>
                <a:moveTo>
                  <a:pt x="1074" y="268"/>
                </a:moveTo>
                <a:cubicBezTo>
                  <a:pt x="1073" y="269"/>
                  <a:pt x="1073" y="269"/>
                  <a:pt x="1073" y="269"/>
                </a:cubicBezTo>
                <a:cubicBezTo>
                  <a:pt x="1073" y="270"/>
                  <a:pt x="1073" y="270"/>
                  <a:pt x="1073" y="270"/>
                </a:cubicBezTo>
                <a:cubicBezTo>
                  <a:pt x="1074" y="270"/>
                  <a:pt x="1074" y="270"/>
                  <a:pt x="1074" y="270"/>
                </a:cubicBezTo>
                <a:cubicBezTo>
                  <a:pt x="1075" y="269"/>
                  <a:pt x="1075" y="269"/>
                  <a:pt x="1075" y="269"/>
                </a:cubicBezTo>
                <a:cubicBezTo>
                  <a:pt x="1075" y="268"/>
                  <a:pt x="1075" y="268"/>
                  <a:pt x="1075" y="268"/>
                </a:cubicBezTo>
                <a:cubicBezTo>
                  <a:pt x="1074" y="268"/>
                  <a:pt x="1074" y="268"/>
                  <a:pt x="1074" y="268"/>
                </a:cubicBezTo>
                <a:close/>
                <a:moveTo>
                  <a:pt x="1213" y="242"/>
                </a:moveTo>
                <a:cubicBezTo>
                  <a:pt x="1212" y="243"/>
                  <a:pt x="1212" y="243"/>
                  <a:pt x="1212" y="243"/>
                </a:cubicBezTo>
                <a:cubicBezTo>
                  <a:pt x="1211" y="244"/>
                  <a:pt x="1211" y="244"/>
                  <a:pt x="1211" y="244"/>
                </a:cubicBezTo>
                <a:cubicBezTo>
                  <a:pt x="1210" y="245"/>
                  <a:pt x="1210" y="245"/>
                  <a:pt x="1210" y="245"/>
                </a:cubicBezTo>
                <a:cubicBezTo>
                  <a:pt x="1209" y="245"/>
                  <a:pt x="1209" y="245"/>
                  <a:pt x="1209" y="245"/>
                </a:cubicBezTo>
                <a:cubicBezTo>
                  <a:pt x="1208" y="246"/>
                  <a:pt x="1208" y="246"/>
                  <a:pt x="1208" y="246"/>
                </a:cubicBezTo>
                <a:cubicBezTo>
                  <a:pt x="1208" y="247"/>
                  <a:pt x="1208" y="247"/>
                  <a:pt x="1208" y="247"/>
                </a:cubicBezTo>
                <a:cubicBezTo>
                  <a:pt x="1208" y="248"/>
                  <a:pt x="1208" y="248"/>
                  <a:pt x="1208" y="248"/>
                </a:cubicBezTo>
                <a:cubicBezTo>
                  <a:pt x="1210" y="248"/>
                  <a:pt x="1210" y="248"/>
                  <a:pt x="1210" y="248"/>
                </a:cubicBezTo>
                <a:cubicBezTo>
                  <a:pt x="1212" y="247"/>
                  <a:pt x="1212" y="247"/>
                  <a:pt x="1212" y="247"/>
                </a:cubicBezTo>
                <a:cubicBezTo>
                  <a:pt x="1215" y="248"/>
                  <a:pt x="1215" y="248"/>
                  <a:pt x="1215" y="248"/>
                </a:cubicBezTo>
                <a:cubicBezTo>
                  <a:pt x="1216" y="247"/>
                  <a:pt x="1216" y="247"/>
                  <a:pt x="1216" y="247"/>
                </a:cubicBezTo>
                <a:cubicBezTo>
                  <a:pt x="1217" y="246"/>
                  <a:pt x="1217" y="246"/>
                  <a:pt x="1217" y="246"/>
                </a:cubicBezTo>
                <a:cubicBezTo>
                  <a:pt x="1219" y="247"/>
                  <a:pt x="1219" y="247"/>
                  <a:pt x="1219" y="247"/>
                </a:cubicBezTo>
                <a:cubicBezTo>
                  <a:pt x="1220" y="247"/>
                  <a:pt x="1220" y="247"/>
                  <a:pt x="1220" y="247"/>
                </a:cubicBezTo>
                <a:cubicBezTo>
                  <a:pt x="1221" y="247"/>
                  <a:pt x="1221" y="247"/>
                  <a:pt x="1221" y="247"/>
                </a:cubicBezTo>
                <a:cubicBezTo>
                  <a:pt x="1222" y="246"/>
                  <a:pt x="1222" y="246"/>
                  <a:pt x="1222" y="246"/>
                </a:cubicBezTo>
                <a:cubicBezTo>
                  <a:pt x="1222" y="242"/>
                  <a:pt x="1222" y="242"/>
                  <a:pt x="1222" y="242"/>
                </a:cubicBezTo>
                <a:cubicBezTo>
                  <a:pt x="1221" y="242"/>
                  <a:pt x="1221" y="242"/>
                  <a:pt x="1221" y="242"/>
                </a:cubicBezTo>
                <a:cubicBezTo>
                  <a:pt x="1221" y="240"/>
                  <a:pt x="1221" y="240"/>
                  <a:pt x="1221" y="240"/>
                </a:cubicBezTo>
                <a:cubicBezTo>
                  <a:pt x="1220" y="240"/>
                  <a:pt x="1220" y="240"/>
                  <a:pt x="1220" y="240"/>
                </a:cubicBezTo>
                <a:cubicBezTo>
                  <a:pt x="1216" y="242"/>
                  <a:pt x="1216" y="242"/>
                  <a:pt x="1216" y="242"/>
                </a:cubicBezTo>
                <a:cubicBezTo>
                  <a:pt x="1213" y="242"/>
                  <a:pt x="1213" y="242"/>
                  <a:pt x="1213" y="242"/>
                </a:cubicBezTo>
                <a:close/>
                <a:moveTo>
                  <a:pt x="1260" y="143"/>
                </a:moveTo>
                <a:cubicBezTo>
                  <a:pt x="1259" y="143"/>
                  <a:pt x="1259" y="143"/>
                  <a:pt x="1259" y="143"/>
                </a:cubicBezTo>
                <a:cubicBezTo>
                  <a:pt x="1259" y="144"/>
                  <a:pt x="1259" y="144"/>
                  <a:pt x="1259" y="144"/>
                </a:cubicBezTo>
                <a:cubicBezTo>
                  <a:pt x="1260" y="144"/>
                  <a:pt x="1260" y="144"/>
                  <a:pt x="1260" y="144"/>
                </a:cubicBezTo>
                <a:cubicBezTo>
                  <a:pt x="1260" y="143"/>
                  <a:pt x="1260" y="143"/>
                  <a:pt x="1260" y="143"/>
                </a:cubicBezTo>
                <a:close/>
                <a:moveTo>
                  <a:pt x="1226" y="217"/>
                </a:moveTo>
                <a:cubicBezTo>
                  <a:pt x="1227" y="216"/>
                  <a:pt x="1227" y="216"/>
                  <a:pt x="1227" y="216"/>
                </a:cubicBezTo>
                <a:cubicBezTo>
                  <a:pt x="1227" y="215"/>
                  <a:pt x="1227" y="215"/>
                  <a:pt x="1227" y="215"/>
                </a:cubicBezTo>
                <a:cubicBezTo>
                  <a:pt x="1226" y="215"/>
                  <a:pt x="1226" y="215"/>
                  <a:pt x="1226" y="215"/>
                </a:cubicBezTo>
                <a:cubicBezTo>
                  <a:pt x="1226" y="216"/>
                  <a:pt x="1226" y="216"/>
                  <a:pt x="1226" y="216"/>
                </a:cubicBezTo>
                <a:cubicBezTo>
                  <a:pt x="1226" y="217"/>
                  <a:pt x="1226" y="217"/>
                  <a:pt x="1226" y="217"/>
                </a:cubicBezTo>
                <a:close/>
                <a:moveTo>
                  <a:pt x="1229" y="259"/>
                </a:moveTo>
                <a:cubicBezTo>
                  <a:pt x="1230" y="259"/>
                  <a:pt x="1230" y="259"/>
                  <a:pt x="1230" y="259"/>
                </a:cubicBezTo>
                <a:cubicBezTo>
                  <a:pt x="1230" y="258"/>
                  <a:pt x="1230" y="258"/>
                  <a:pt x="1230" y="258"/>
                </a:cubicBezTo>
                <a:cubicBezTo>
                  <a:pt x="1229" y="258"/>
                  <a:pt x="1229" y="258"/>
                  <a:pt x="1229" y="258"/>
                </a:cubicBezTo>
                <a:cubicBezTo>
                  <a:pt x="1229" y="259"/>
                  <a:pt x="1229" y="259"/>
                  <a:pt x="1229" y="259"/>
                </a:cubicBezTo>
                <a:close/>
                <a:moveTo>
                  <a:pt x="1212" y="243"/>
                </a:moveTo>
                <a:cubicBezTo>
                  <a:pt x="1212" y="242"/>
                  <a:pt x="1212" y="242"/>
                  <a:pt x="1212" y="242"/>
                </a:cubicBezTo>
                <a:cubicBezTo>
                  <a:pt x="1211" y="242"/>
                  <a:pt x="1211" y="242"/>
                  <a:pt x="1211" y="242"/>
                </a:cubicBezTo>
                <a:cubicBezTo>
                  <a:pt x="1210" y="243"/>
                  <a:pt x="1210" y="243"/>
                  <a:pt x="1210" y="243"/>
                </a:cubicBezTo>
                <a:cubicBezTo>
                  <a:pt x="1211" y="243"/>
                  <a:pt x="1211" y="243"/>
                  <a:pt x="1211" y="243"/>
                </a:cubicBezTo>
                <a:cubicBezTo>
                  <a:pt x="1212" y="243"/>
                  <a:pt x="1212" y="243"/>
                  <a:pt x="1212" y="243"/>
                </a:cubicBezTo>
                <a:close/>
                <a:moveTo>
                  <a:pt x="1253" y="190"/>
                </a:moveTo>
                <a:cubicBezTo>
                  <a:pt x="1253" y="189"/>
                  <a:pt x="1253" y="189"/>
                  <a:pt x="1253" y="189"/>
                </a:cubicBezTo>
                <a:cubicBezTo>
                  <a:pt x="1253" y="188"/>
                  <a:pt x="1253" y="188"/>
                  <a:pt x="1253" y="188"/>
                </a:cubicBezTo>
                <a:cubicBezTo>
                  <a:pt x="1253" y="187"/>
                  <a:pt x="1253" y="187"/>
                  <a:pt x="1253" y="187"/>
                </a:cubicBezTo>
                <a:cubicBezTo>
                  <a:pt x="1252" y="186"/>
                  <a:pt x="1252" y="186"/>
                  <a:pt x="1252" y="186"/>
                </a:cubicBezTo>
                <a:cubicBezTo>
                  <a:pt x="1251" y="186"/>
                  <a:pt x="1251" y="186"/>
                  <a:pt x="1251" y="186"/>
                </a:cubicBezTo>
                <a:cubicBezTo>
                  <a:pt x="1251" y="187"/>
                  <a:pt x="1251" y="187"/>
                  <a:pt x="1251" y="187"/>
                </a:cubicBezTo>
                <a:cubicBezTo>
                  <a:pt x="1251" y="189"/>
                  <a:pt x="1251" y="189"/>
                  <a:pt x="1251" y="189"/>
                </a:cubicBezTo>
                <a:cubicBezTo>
                  <a:pt x="1251" y="190"/>
                  <a:pt x="1251" y="190"/>
                  <a:pt x="1251" y="190"/>
                </a:cubicBezTo>
                <a:cubicBezTo>
                  <a:pt x="1252" y="190"/>
                  <a:pt x="1252" y="190"/>
                  <a:pt x="1252" y="190"/>
                </a:cubicBezTo>
                <a:cubicBezTo>
                  <a:pt x="1253" y="190"/>
                  <a:pt x="1253" y="190"/>
                  <a:pt x="1253" y="190"/>
                </a:cubicBezTo>
                <a:close/>
                <a:moveTo>
                  <a:pt x="1260" y="163"/>
                </a:moveTo>
                <a:cubicBezTo>
                  <a:pt x="1260" y="164"/>
                  <a:pt x="1260" y="164"/>
                  <a:pt x="1260" y="164"/>
                </a:cubicBezTo>
                <a:cubicBezTo>
                  <a:pt x="1260" y="165"/>
                  <a:pt x="1260" y="165"/>
                  <a:pt x="1260" y="165"/>
                </a:cubicBezTo>
                <a:cubicBezTo>
                  <a:pt x="1260" y="166"/>
                  <a:pt x="1260" y="166"/>
                  <a:pt x="1260" y="166"/>
                </a:cubicBezTo>
                <a:cubicBezTo>
                  <a:pt x="1261" y="168"/>
                  <a:pt x="1261" y="168"/>
                  <a:pt x="1261" y="168"/>
                </a:cubicBezTo>
                <a:cubicBezTo>
                  <a:pt x="1261" y="170"/>
                  <a:pt x="1261" y="170"/>
                  <a:pt x="1261" y="170"/>
                </a:cubicBezTo>
                <a:cubicBezTo>
                  <a:pt x="1260" y="171"/>
                  <a:pt x="1260" y="171"/>
                  <a:pt x="1260" y="171"/>
                </a:cubicBezTo>
                <a:cubicBezTo>
                  <a:pt x="1260" y="172"/>
                  <a:pt x="1260" y="172"/>
                  <a:pt x="1260" y="172"/>
                </a:cubicBezTo>
                <a:cubicBezTo>
                  <a:pt x="1261" y="173"/>
                  <a:pt x="1261" y="173"/>
                  <a:pt x="1261" y="173"/>
                </a:cubicBezTo>
                <a:cubicBezTo>
                  <a:pt x="1261" y="172"/>
                  <a:pt x="1261" y="172"/>
                  <a:pt x="1261" y="172"/>
                </a:cubicBezTo>
                <a:cubicBezTo>
                  <a:pt x="1261" y="171"/>
                  <a:pt x="1261" y="171"/>
                  <a:pt x="1261" y="171"/>
                </a:cubicBezTo>
                <a:cubicBezTo>
                  <a:pt x="1262" y="170"/>
                  <a:pt x="1262" y="170"/>
                  <a:pt x="1262" y="170"/>
                </a:cubicBezTo>
                <a:cubicBezTo>
                  <a:pt x="1262" y="168"/>
                  <a:pt x="1262" y="168"/>
                  <a:pt x="1262" y="168"/>
                </a:cubicBezTo>
                <a:cubicBezTo>
                  <a:pt x="1261" y="167"/>
                  <a:pt x="1261" y="167"/>
                  <a:pt x="1261" y="167"/>
                </a:cubicBezTo>
                <a:cubicBezTo>
                  <a:pt x="1261" y="164"/>
                  <a:pt x="1261" y="164"/>
                  <a:pt x="1261" y="164"/>
                </a:cubicBezTo>
                <a:cubicBezTo>
                  <a:pt x="1261" y="163"/>
                  <a:pt x="1261" y="163"/>
                  <a:pt x="1261" y="163"/>
                </a:cubicBezTo>
                <a:cubicBezTo>
                  <a:pt x="1261" y="162"/>
                  <a:pt x="1261" y="162"/>
                  <a:pt x="1261" y="162"/>
                </a:cubicBezTo>
                <a:cubicBezTo>
                  <a:pt x="1260" y="161"/>
                  <a:pt x="1260" y="161"/>
                  <a:pt x="1260" y="161"/>
                </a:cubicBezTo>
                <a:cubicBezTo>
                  <a:pt x="1259" y="162"/>
                  <a:pt x="1259" y="162"/>
                  <a:pt x="1259" y="162"/>
                </a:cubicBezTo>
                <a:cubicBezTo>
                  <a:pt x="1260" y="163"/>
                  <a:pt x="1260" y="163"/>
                  <a:pt x="1260" y="163"/>
                </a:cubicBezTo>
                <a:close/>
                <a:moveTo>
                  <a:pt x="1217" y="248"/>
                </a:moveTo>
                <a:cubicBezTo>
                  <a:pt x="1216" y="247"/>
                  <a:pt x="1216" y="247"/>
                  <a:pt x="1216" y="247"/>
                </a:cubicBezTo>
                <a:cubicBezTo>
                  <a:pt x="1216" y="248"/>
                  <a:pt x="1216" y="248"/>
                  <a:pt x="1216" y="248"/>
                </a:cubicBezTo>
                <a:cubicBezTo>
                  <a:pt x="1217" y="248"/>
                  <a:pt x="1217" y="248"/>
                  <a:pt x="1217" y="248"/>
                </a:cubicBezTo>
                <a:close/>
                <a:moveTo>
                  <a:pt x="1257" y="193"/>
                </a:moveTo>
                <a:cubicBezTo>
                  <a:pt x="1258" y="192"/>
                  <a:pt x="1258" y="192"/>
                  <a:pt x="1258" y="192"/>
                </a:cubicBezTo>
                <a:cubicBezTo>
                  <a:pt x="1257" y="192"/>
                  <a:pt x="1257" y="192"/>
                  <a:pt x="1257" y="192"/>
                </a:cubicBezTo>
                <a:cubicBezTo>
                  <a:pt x="1256" y="192"/>
                  <a:pt x="1256" y="192"/>
                  <a:pt x="1256" y="192"/>
                </a:cubicBezTo>
                <a:cubicBezTo>
                  <a:pt x="1256" y="193"/>
                  <a:pt x="1256" y="193"/>
                  <a:pt x="1256" y="193"/>
                </a:cubicBezTo>
                <a:cubicBezTo>
                  <a:pt x="1257" y="193"/>
                  <a:pt x="1257" y="193"/>
                  <a:pt x="1257" y="193"/>
                </a:cubicBezTo>
                <a:close/>
                <a:moveTo>
                  <a:pt x="1092" y="348"/>
                </a:moveTo>
                <a:cubicBezTo>
                  <a:pt x="1093" y="348"/>
                  <a:pt x="1093" y="348"/>
                  <a:pt x="1093" y="348"/>
                </a:cubicBezTo>
                <a:cubicBezTo>
                  <a:pt x="1093" y="347"/>
                  <a:pt x="1093" y="347"/>
                  <a:pt x="1093" y="347"/>
                </a:cubicBezTo>
                <a:cubicBezTo>
                  <a:pt x="1092" y="347"/>
                  <a:pt x="1092" y="347"/>
                  <a:pt x="1092" y="347"/>
                </a:cubicBezTo>
                <a:cubicBezTo>
                  <a:pt x="1092" y="348"/>
                  <a:pt x="1092" y="348"/>
                  <a:pt x="1092" y="348"/>
                </a:cubicBezTo>
                <a:close/>
                <a:moveTo>
                  <a:pt x="1109" y="358"/>
                </a:moveTo>
                <a:cubicBezTo>
                  <a:pt x="1110" y="357"/>
                  <a:pt x="1110" y="357"/>
                  <a:pt x="1110" y="357"/>
                </a:cubicBezTo>
                <a:cubicBezTo>
                  <a:pt x="1108" y="356"/>
                  <a:pt x="1108" y="356"/>
                  <a:pt x="1108" y="356"/>
                </a:cubicBezTo>
                <a:cubicBezTo>
                  <a:pt x="1107" y="356"/>
                  <a:pt x="1107" y="356"/>
                  <a:pt x="1107" y="356"/>
                </a:cubicBezTo>
                <a:cubicBezTo>
                  <a:pt x="1108" y="358"/>
                  <a:pt x="1108" y="358"/>
                  <a:pt x="1108" y="358"/>
                </a:cubicBezTo>
                <a:cubicBezTo>
                  <a:pt x="1109" y="358"/>
                  <a:pt x="1109" y="358"/>
                  <a:pt x="1109" y="358"/>
                </a:cubicBezTo>
                <a:close/>
                <a:moveTo>
                  <a:pt x="1134" y="309"/>
                </a:moveTo>
                <a:cubicBezTo>
                  <a:pt x="1134" y="310"/>
                  <a:pt x="1134" y="310"/>
                  <a:pt x="1134" y="310"/>
                </a:cubicBezTo>
                <a:cubicBezTo>
                  <a:pt x="1134" y="311"/>
                  <a:pt x="1134" y="311"/>
                  <a:pt x="1134" y="311"/>
                </a:cubicBezTo>
                <a:cubicBezTo>
                  <a:pt x="1135" y="311"/>
                  <a:pt x="1135" y="311"/>
                  <a:pt x="1135" y="311"/>
                </a:cubicBezTo>
                <a:cubicBezTo>
                  <a:pt x="1135" y="310"/>
                  <a:pt x="1135" y="310"/>
                  <a:pt x="1135" y="310"/>
                </a:cubicBezTo>
                <a:cubicBezTo>
                  <a:pt x="1135" y="309"/>
                  <a:pt x="1135" y="309"/>
                  <a:pt x="1135" y="309"/>
                </a:cubicBezTo>
                <a:cubicBezTo>
                  <a:pt x="1134" y="308"/>
                  <a:pt x="1134" y="308"/>
                  <a:pt x="1134" y="308"/>
                </a:cubicBezTo>
                <a:cubicBezTo>
                  <a:pt x="1134" y="309"/>
                  <a:pt x="1134" y="309"/>
                  <a:pt x="1134" y="309"/>
                </a:cubicBezTo>
                <a:close/>
                <a:moveTo>
                  <a:pt x="1133" y="307"/>
                </a:moveTo>
                <a:cubicBezTo>
                  <a:pt x="1134" y="308"/>
                  <a:pt x="1134" y="308"/>
                  <a:pt x="1134" y="308"/>
                </a:cubicBezTo>
                <a:cubicBezTo>
                  <a:pt x="1134" y="307"/>
                  <a:pt x="1134" y="307"/>
                  <a:pt x="1134" y="307"/>
                </a:cubicBezTo>
                <a:cubicBezTo>
                  <a:pt x="1133" y="307"/>
                  <a:pt x="1133" y="307"/>
                  <a:pt x="1133" y="307"/>
                </a:cubicBezTo>
                <a:close/>
                <a:moveTo>
                  <a:pt x="1106" y="360"/>
                </a:moveTo>
                <a:cubicBezTo>
                  <a:pt x="1106" y="360"/>
                  <a:pt x="1106" y="360"/>
                  <a:pt x="1107" y="360"/>
                </a:cubicBezTo>
                <a:cubicBezTo>
                  <a:pt x="1107" y="360"/>
                  <a:pt x="1107" y="360"/>
                  <a:pt x="1108" y="360"/>
                </a:cubicBezTo>
                <a:cubicBezTo>
                  <a:pt x="1108" y="360"/>
                  <a:pt x="1108" y="360"/>
                  <a:pt x="1108" y="359"/>
                </a:cubicBezTo>
                <a:cubicBezTo>
                  <a:pt x="1108" y="359"/>
                  <a:pt x="1108" y="359"/>
                  <a:pt x="1107" y="359"/>
                </a:cubicBezTo>
                <a:cubicBezTo>
                  <a:pt x="1107" y="359"/>
                  <a:pt x="1107" y="359"/>
                  <a:pt x="1106" y="360"/>
                </a:cubicBezTo>
                <a:close/>
                <a:moveTo>
                  <a:pt x="1072" y="296"/>
                </a:moveTo>
                <a:cubicBezTo>
                  <a:pt x="1072" y="295"/>
                  <a:pt x="1072" y="295"/>
                  <a:pt x="1072" y="295"/>
                </a:cubicBezTo>
                <a:cubicBezTo>
                  <a:pt x="1071" y="296"/>
                  <a:pt x="1071" y="296"/>
                  <a:pt x="1071" y="296"/>
                </a:cubicBezTo>
                <a:cubicBezTo>
                  <a:pt x="1072" y="296"/>
                  <a:pt x="1072" y="296"/>
                  <a:pt x="1072" y="296"/>
                </a:cubicBezTo>
                <a:close/>
                <a:moveTo>
                  <a:pt x="1082" y="310"/>
                </a:moveTo>
                <a:cubicBezTo>
                  <a:pt x="1082" y="310"/>
                  <a:pt x="1082" y="310"/>
                  <a:pt x="1081" y="309"/>
                </a:cubicBezTo>
                <a:cubicBezTo>
                  <a:pt x="1081" y="309"/>
                  <a:pt x="1081" y="309"/>
                  <a:pt x="1080" y="309"/>
                </a:cubicBezTo>
                <a:cubicBezTo>
                  <a:pt x="1080" y="309"/>
                  <a:pt x="1080" y="309"/>
                  <a:pt x="1079" y="310"/>
                </a:cubicBezTo>
                <a:cubicBezTo>
                  <a:pt x="1079" y="310"/>
                  <a:pt x="1079" y="310"/>
                  <a:pt x="1078" y="311"/>
                </a:cubicBezTo>
                <a:cubicBezTo>
                  <a:pt x="1078" y="311"/>
                  <a:pt x="1078" y="311"/>
                  <a:pt x="1080" y="311"/>
                </a:cubicBezTo>
                <a:cubicBezTo>
                  <a:pt x="1080" y="311"/>
                  <a:pt x="1080" y="311"/>
                  <a:pt x="1081" y="310"/>
                </a:cubicBezTo>
                <a:cubicBezTo>
                  <a:pt x="1081" y="310"/>
                  <a:pt x="1081" y="310"/>
                  <a:pt x="1082" y="310"/>
                </a:cubicBezTo>
                <a:close/>
                <a:moveTo>
                  <a:pt x="1071" y="294"/>
                </a:moveTo>
                <a:cubicBezTo>
                  <a:pt x="1071" y="295"/>
                  <a:pt x="1071" y="295"/>
                  <a:pt x="1071" y="295"/>
                </a:cubicBezTo>
                <a:cubicBezTo>
                  <a:pt x="1072" y="295"/>
                  <a:pt x="1072" y="295"/>
                  <a:pt x="1072" y="295"/>
                </a:cubicBezTo>
                <a:cubicBezTo>
                  <a:pt x="1072" y="294"/>
                  <a:pt x="1072" y="294"/>
                  <a:pt x="1072" y="294"/>
                </a:cubicBezTo>
                <a:cubicBezTo>
                  <a:pt x="1071" y="294"/>
                  <a:pt x="1071" y="294"/>
                  <a:pt x="1071" y="294"/>
                </a:cubicBezTo>
                <a:close/>
                <a:moveTo>
                  <a:pt x="1140" y="303"/>
                </a:moveTo>
                <a:cubicBezTo>
                  <a:pt x="1139" y="303"/>
                  <a:pt x="1139" y="303"/>
                  <a:pt x="1139" y="303"/>
                </a:cubicBezTo>
                <a:cubicBezTo>
                  <a:pt x="1139" y="304"/>
                  <a:pt x="1139" y="304"/>
                  <a:pt x="1139" y="304"/>
                </a:cubicBezTo>
                <a:cubicBezTo>
                  <a:pt x="1140" y="304"/>
                  <a:pt x="1140" y="304"/>
                  <a:pt x="1140" y="304"/>
                </a:cubicBezTo>
                <a:cubicBezTo>
                  <a:pt x="1140" y="303"/>
                  <a:pt x="1140" y="303"/>
                  <a:pt x="1140" y="303"/>
                </a:cubicBezTo>
                <a:close/>
                <a:moveTo>
                  <a:pt x="1087" y="348"/>
                </a:moveTo>
                <a:cubicBezTo>
                  <a:pt x="1086" y="348"/>
                  <a:pt x="1086" y="348"/>
                  <a:pt x="1086" y="348"/>
                </a:cubicBezTo>
                <a:cubicBezTo>
                  <a:pt x="1086" y="349"/>
                  <a:pt x="1086" y="349"/>
                  <a:pt x="1086" y="349"/>
                </a:cubicBezTo>
                <a:cubicBezTo>
                  <a:pt x="1087" y="349"/>
                  <a:pt x="1087" y="349"/>
                  <a:pt x="1087" y="349"/>
                </a:cubicBezTo>
                <a:cubicBezTo>
                  <a:pt x="1087" y="348"/>
                  <a:pt x="1087" y="348"/>
                  <a:pt x="1087" y="348"/>
                </a:cubicBezTo>
                <a:close/>
                <a:moveTo>
                  <a:pt x="1096" y="347"/>
                </a:moveTo>
                <a:cubicBezTo>
                  <a:pt x="1095" y="347"/>
                  <a:pt x="1095" y="347"/>
                  <a:pt x="1095" y="347"/>
                </a:cubicBezTo>
                <a:cubicBezTo>
                  <a:pt x="1095" y="348"/>
                  <a:pt x="1095" y="348"/>
                  <a:pt x="1095" y="348"/>
                </a:cubicBezTo>
                <a:cubicBezTo>
                  <a:pt x="1096" y="348"/>
                  <a:pt x="1096" y="348"/>
                  <a:pt x="1096" y="348"/>
                </a:cubicBezTo>
                <a:cubicBezTo>
                  <a:pt x="1096" y="347"/>
                  <a:pt x="1096" y="347"/>
                  <a:pt x="1096" y="347"/>
                </a:cubicBezTo>
                <a:close/>
                <a:moveTo>
                  <a:pt x="1099" y="355"/>
                </a:moveTo>
                <a:cubicBezTo>
                  <a:pt x="1099" y="356"/>
                  <a:pt x="1099" y="356"/>
                  <a:pt x="1099" y="356"/>
                </a:cubicBezTo>
                <a:cubicBezTo>
                  <a:pt x="1100" y="356"/>
                  <a:pt x="1100" y="356"/>
                  <a:pt x="1100" y="356"/>
                </a:cubicBezTo>
                <a:cubicBezTo>
                  <a:pt x="1100" y="355"/>
                  <a:pt x="1100" y="355"/>
                  <a:pt x="1100" y="355"/>
                </a:cubicBezTo>
                <a:cubicBezTo>
                  <a:pt x="1101" y="355"/>
                  <a:pt x="1101" y="355"/>
                  <a:pt x="1101" y="355"/>
                </a:cubicBezTo>
                <a:cubicBezTo>
                  <a:pt x="1100" y="354"/>
                  <a:pt x="1100" y="354"/>
                  <a:pt x="1100" y="354"/>
                </a:cubicBezTo>
                <a:cubicBezTo>
                  <a:pt x="1099" y="355"/>
                  <a:pt x="1099" y="355"/>
                  <a:pt x="1099" y="355"/>
                </a:cubicBezTo>
                <a:close/>
                <a:moveTo>
                  <a:pt x="1234" y="217"/>
                </a:moveTo>
                <a:cubicBezTo>
                  <a:pt x="1233" y="216"/>
                  <a:pt x="1233" y="216"/>
                  <a:pt x="1233" y="216"/>
                </a:cubicBezTo>
                <a:cubicBezTo>
                  <a:pt x="1232" y="216"/>
                  <a:pt x="1232" y="216"/>
                  <a:pt x="1232" y="216"/>
                </a:cubicBezTo>
                <a:cubicBezTo>
                  <a:pt x="1231" y="216"/>
                  <a:pt x="1231" y="216"/>
                  <a:pt x="1231" y="216"/>
                </a:cubicBezTo>
                <a:cubicBezTo>
                  <a:pt x="1230" y="215"/>
                  <a:pt x="1230" y="215"/>
                  <a:pt x="1230" y="215"/>
                </a:cubicBezTo>
                <a:cubicBezTo>
                  <a:pt x="1229" y="216"/>
                  <a:pt x="1229" y="216"/>
                  <a:pt x="1229" y="216"/>
                </a:cubicBezTo>
                <a:cubicBezTo>
                  <a:pt x="1229" y="217"/>
                  <a:pt x="1229" y="217"/>
                  <a:pt x="1229" y="217"/>
                </a:cubicBezTo>
                <a:cubicBezTo>
                  <a:pt x="1230" y="217"/>
                  <a:pt x="1230" y="217"/>
                  <a:pt x="1230" y="217"/>
                </a:cubicBezTo>
                <a:cubicBezTo>
                  <a:pt x="1230" y="218"/>
                  <a:pt x="1230" y="218"/>
                  <a:pt x="1230" y="218"/>
                </a:cubicBezTo>
                <a:cubicBezTo>
                  <a:pt x="1230" y="220"/>
                  <a:pt x="1230" y="220"/>
                  <a:pt x="1230" y="220"/>
                </a:cubicBezTo>
                <a:cubicBezTo>
                  <a:pt x="1231" y="221"/>
                  <a:pt x="1231" y="221"/>
                  <a:pt x="1231" y="221"/>
                </a:cubicBezTo>
                <a:cubicBezTo>
                  <a:pt x="1233" y="221"/>
                  <a:pt x="1233" y="221"/>
                  <a:pt x="1233" y="221"/>
                </a:cubicBezTo>
                <a:cubicBezTo>
                  <a:pt x="1234" y="223"/>
                  <a:pt x="1234" y="223"/>
                  <a:pt x="1234" y="223"/>
                </a:cubicBezTo>
                <a:cubicBezTo>
                  <a:pt x="1235" y="224"/>
                  <a:pt x="1235" y="224"/>
                  <a:pt x="1235" y="224"/>
                </a:cubicBezTo>
                <a:cubicBezTo>
                  <a:pt x="1236" y="224"/>
                  <a:pt x="1236" y="224"/>
                  <a:pt x="1236" y="224"/>
                </a:cubicBezTo>
                <a:cubicBezTo>
                  <a:pt x="1237" y="225"/>
                  <a:pt x="1237" y="225"/>
                  <a:pt x="1237" y="225"/>
                </a:cubicBezTo>
                <a:cubicBezTo>
                  <a:pt x="1238" y="226"/>
                  <a:pt x="1238" y="226"/>
                  <a:pt x="1238" y="226"/>
                </a:cubicBezTo>
                <a:cubicBezTo>
                  <a:pt x="1239" y="225"/>
                  <a:pt x="1239" y="225"/>
                  <a:pt x="1239" y="225"/>
                </a:cubicBezTo>
                <a:cubicBezTo>
                  <a:pt x="1239" y="224"/>
                  <a:pt x="1239" y="224"/>
                  <a:pt x="1239" y="224"/>
                </a:cubicBezTo>
                <a:cubicBezTo>
                  <a:pt x="1238" y="223"/>
                  <a:pt x="1238" y="223"/>
                  <a:pt x="1238" y="223"/>
                </a:cubicBezTo>
                <a:cubicBezTo>
                  <a:pt x="1237" y="222"/>
                  <a:pt x="1237" y="222"/>
                  <a:pt x="1237" y="222"/>
                </a:cubicBezTo>
                <a:cubicBezTo>
                  <a:pt x="1236" y="221"/>
                  <a:pt x="1236" y="221"/>
                  <a:pt x="1236" y="221"/>
                </a:cubicBezTo>
                <a:cubicBezTo>
                  <a:pt x="1237" y="220"/>
                  <a:pt x="1237" y="220"/>
                  <a:pt x="1237" y="220"/>
                </a:cubicBezTo>
                <a:cubicBezTo>
                  <a:pt x="1237" y="221"/>
                  <a:pt x="1237" y="221"/>
                  <a:pt x="1237" y="221"/>
                </a:cubicBezTo>
                <a:cubicBezTo>
                  <a:pt x="1238" y="221"/>
                  <a:pt x="1238" y="221"/>
                  <a:pt x="1238" y="221"/>
                </a:cubicBezTo>
                <a:cubicBezTo>
                  <a:pt x="1240" y="222"/>
                  <a:pt x="1240" y="222"/>
                  <a:pt x="1240" y="222"/>
                </a:cubicBezTo>
                <a:cubicBezTo>
                  <a:pt x="1240" y="220"/>
                  <a:pt x="1240" y="220"/>
                  <a:pt x="1240" y="220"/>
                </a:cubicBezTo>
                <a:cubicBezTo>
                  <a:pt x="1237" y="219"/>
                  <a:pt x="1237" y="219"/>
                  <a:pt x="1237" y="219"/>
                </a:cubicBezTo>
                <a:cubicBezTo>
                  <a:pt x="1236" y="217"/>
                  <a:pt x="1236" y="217"/>
                  <a:pt x="1236" y="217"/>
                </a:cubicBezTo>
                <a:cubicBezTo>
                  <a:pt x="1235" y="217"/>
                  <a:pt x="1235" y="217"/>
                  <a:pt x="1235" y="217"/>
                </a:cubicBezTo>
                <a:cubicBezTo>
                  <a:pt x="1234" y="217"/>
                  <a:pt x="1234" y="217"/>
                  <a:pt x="1234" y="217"/>
                </a:cubicBezTo>
                <a:close/>
                <a:moveTo>
                  <a:pt x="1101" y="352"/>
                </a:moveTo>
                <a:cubicBezTo>
                  <a:pt x="1101" y="352"/>
                  <a:pt x="1101" y="352"/>
                  <a:pt x="1101" y="353"/>
                </a:cubicBezTo>
                <a:cubicBezTo>
                  <a:pt x="1101" y="353"/>
                  <a:pt x="1101" y="353"/>
                  <a:pt x="1102" y="352"/>
                </a:cubicBezTo>
                <a:cubicBezTo>
                  <a:pt x="1102" y="352"/>
                  <a:pt x="1102" y="352"/>
                  <a:pt x="1102" y="351"/>
                </a:cubicBezTo>
                <a:cubicBezTo>
                  <a:pt x="1102" y="351"/>
                  <a:pt x="1102" y="351"/>
                  <a:pt x="1101" y="351"/>
                </a:cubicBezTo>
                <a:cubicBezTo>
                  <a:pt x="1101" y="351"/>
                  <a:pt x="1101" y="351"/>
                  <a:pt x="1101" y="352"/>
                </a:cubicBezTo>
                <a:close/>
                <a:moveTo>
                  <a:pt x="1078" y="317"/>
                </a:moveTo>
                <a:cubicBezTo>
                  <a:pt x="1078" y="317"/>
                  <a:pt x="1078" y="317"/>
                  <a:pt x="1077" y="316"/>
                </a:cubicBezTo>
                <a:cubicBezTo>
                  <a:pt x="1077" y="316"/>
                  <a:pt x="1077" y="316"/>
                  <a:pt x="1077" y="317"/>
                </a:cubicBezTo>
                <a:cubicBezTo>
                  <a:pt x="1077" y="317"/>
                  <a:pt x="1077" y="317"/>
                  <a:pt x="1078" y="317"/>
                </a:cubicBezTo>
                <a:close/>
                <a:moveTo>
                  <a:pt x="1121" y="330"/>
                </a:moveTo>
                <a:cubicBezTo>
                  <a:pt x="1121" y="331"/>
                  <a:pt x="1121" y="331"/>
                  <a:pt x="1121" y="331"/>
                </a:cubicBezTo>
                <a:cubicBezTo>
                  <a:pt x="1122" y="331"/>
                  <a:pt x="1122" y="331"/>
                  <a:pt x="1122" y="331"/>
                </a:cubicBezTo>
                <a:cubicBezTo>
                  <a:pt x="1123" y="331"/>
                  <a:pt x="1123" y="331"/>
                  <a:pt x="1123" y="331"/>
                </a:cubicBezTo>
                <a:cubicBezTo>
                  <a:pt x="1123" y="330"/>
                  <a:pt x="1123" y="330"/>
                  <a:pt x="1123" y="330"/>
                </a:cubicBezTo>
                <a:cubicBezTo>
                  <a:pt x="1122" y="330"/>
                  <a:pt x="1122" y="330"/>
                  <a:pt x="1122" y="330"/>
                </a:cubicBezTo>
                <a:cubicBezTo>
                  <a:pt x="1121" y="330"/>
                  <a:pt x="1121" y="330"/>
                  <a:pt x="1121" y="330"/>
                </a:cubicBezTo>
                <a:close/>
                <a:moveTo>
                  <a:pt x="1124" y="326"/>
                </a:moveTo>
                <a:cubicBezTo>
                  <a:pt x="1124" y="326"/>
                  <a:pt x="1124" y="326"/>
                  <a:pt x="1125" y="326"/>
                </a:cubicBezTo>
                <a:cubicBezTo>
                  <a:pt x="1125" y="326"/>
                  <a:pt x="1125" y="326"/>
                  <a:pt x="1126" y="326"/>
                </a:cubicBezTo>
                <a:cubicBezTo>
                  <a:pt x="1126" y="326"/>
                  <a:pt x="1126" y="326"/>
                  <a:pt x="1126" y="325"/>
                </a:cubicBezTo>
                <a:cubicBezTo>
                  <a:pt x="1126" y="325"/>
                  <a:pt x="1126" y="325"/>
                  <a:pt x="1125" y="325"/>
                </a:cubicBezTo>
                <a:cubicBezTo>
                  <a:pt x="1125" y="325"/>
                  <a:pt x="1125" y="325"/>
                  <a:pt x="1124" y="324"/>
                </a:cubicBezTo>
                <a:cubicBezTo>
                  <a:pt x="1124" y="324"/>
                  <a:pt x="1124" y="324"/>
                  <a:pt x="1123" y="324"/>
                </a:cubicBezTo>
                <a:cubicBezTo>
                  <a:pt x="1123" y="324"/>
                  <a:pt x="1123" y="324"/>
                  <a:pt x="1123" y="325"/>
                </a:cubicBezTo>
                <a:cubicBezTo>
                  <a:pt x="1123" y="325"/>
                  <a:pt x="1123" y="325"/>
                  <a:pt x="1124" y="326"/>
                </a:cubicBezTo>
                <a:close/>
                <a:moveTo>
                  <a:pt x="1103" y="357"/>
                </a:moveTo>
                <a:cubicBezTo>
                  <a:pt x="1103" y="357"/>
                  <a:pt x="1103" y="357"/>
                  <a:pt x="1104" y="357"/>
                </a:cubicBezTo>
                <a:cubicBezTo>
                  <a:pt x="1104" y="357"/>
                  <a:pt x="1104" y="357"/>
                  <a:pt x="1104" y="356"/>
                </a:cubicBezTo>
                <a:cubicBezTo>
                  <a:pt x="1104" y="356"/>
                  <a:pt x="1104" y="356"/>
                  <a:pt x="1104" y="355"/>
                </a:cubicBezTo>
                <a:cubicBezTo>
                  <a:pt x="1104" y="355"/>
                  <a:pt x="1104" y="355"/>
                  <a:pt x="1103" y="356"/>
                </a:cubicBezTo>
                <a:cubicBezTo>
                  <a:pt x="1103" y="356"/>
                  <a:pt x="1103" y="356"/>
                  <a:pt x="1103" y="357"/>
                </a:cubicBezTo>
                <a:close/>
                <a:moveTo>
                  <a:pt x="1154" y="300"/>
                </a:moveTo>
                <a:cubicBezTo>
                  <a:pt x="1155" y="301"/>
                  <a:pt x="1155" y="301"/>
                  <a:pt x="1155" y="301"/>
                </a:cubicBezTo>
                <a:cubicBezTo>
                  <a:pt x="1155" y="300"/>
                  <a:pt x="1155" y="300"/>
                  <a:pt x="1155" y="300"/>
                </a:cubicBezTo>
                <a:cubicBezTo>
                  <a:pt x="1155" y="299"/>
                  <a:pt x="1155" y="299"/>
                  <a:pt x="1155" y="299"/>
                </a:cubicBezTo>
                <a:cubicBezTo>
                  <a:pt x="1154" y="299"/>
                  <a:pt x="1154" y="299"/>
                  <a:pt x="1154" y="299"/>
                </a:cubicBezTo>
                <a:cubicBezTo>
                  <a:pt x="1154" y="300"/>
                  <a:pt x="1154" y="300"/>
                  <a:pt x="1154" y="300"/>
                </a:cubicBezTo>
                <a:close/>
                <a:moveTo>
                  <a:pt x="1151" y="297"/>
                </a:moveTo>
                <a:cubicBezTo>
                  <a:pt x="1150" y="298"/>
                  <a:pt x="1150" y="298"/>
                  <a:pt x="1150" y="298"/>
                </a:cubicBezTo>
                <a:cubicBezTo>
                  <a:pt x="1150" y="299"/>
                  <a:pt x="1150" y="299"/>
                  <a:pt x="1150" y="299"/>
                </a:cubicBezTo>
                <a:cubicBezTo>
                  <a:pt x="1149" y="300"/>
                  <a:pt x="1149" y="300"/>
                  <a:pt x="1149" y="300"/>
                </a:cubicBezTo>
                <a:cubicBezTo>
                  <a:pt x="1150" y="300"/>
                  <a:pt x="1150" y="300"/>
                  <a:pt x="1150" y="300"/>
                </a:cubicBezTo>
                <a:cubicBezTo>
                  <a:pt x="1150" y="301"/>
                  <a:pt x="1150" y="301"/>
                  <a:pt x="1150" y="301"/>
                </a:cubicBezTo>
                <a:cubicBezTo>
                  <a:pt x="1151" y="301"/>
                  <a:pt x="1151" y="301"/>
                  <a:pt x="1151" y="301"/>
                </a:cubicBezTo>
                <a:cubicBezTo>
                  <a:pt x="1152" y="300"/>
                  <a:pt x="1152" y="300"/>
                  <a:pt x="1152" y="300"/>
                </a:cubicBezTo>
                <a:cubicBezTo>
                  <a:pt x="1153" y="300"/>
                  <a:pt x="1153" y="300"/>
                  <a:pt x="1153" y="300"/>
                </a:cubicBezTo>
                <a:cubicBezTo>
                  <a:pt x="1152" y="298"/>
                  <a:pt x="1152" y="298"/>
                  <a:pt x="1152" y="298"/>
                </a:cubicBezTo>
                <a:cubicBezTo>
                  <a:pt x="1151" y="297"/>
                  <a:pt x="1151" y="297"/>
                  <a:pt x="1151" y="297"/>
                </a:cubicBezTo>
                <a:close/>
                <a:moveTo>
                  <a:pt x="1116" y="349"/>
                </a:moveTo>
                <a:cubicBezTo>
                  <a:pt x="1115" y="348"/>
                  <a:pt x="1115" y="348"/>
                  <a:pt x="1115" y="348"/>
                </a:cubicBezTo>
                <a:cubicBezTo>
                  <a:pt x="1115" y="349"/>
                  <a:pt x="1115" y="349"/>
                  <a:pt x="1115" y="349"/>
                </a:cubicBezTo>
                <a:cubicBezTo>
                  <a:pt x="1116" y="349"/>
                  <a:pt x="1116" y="349"/>
                  <a:pt x="1116" y="349"/>
                </a:cubicBezTo>
                <a:close/>
                <a:moveTo>
                  <a:pt x="1043" y="120"/>
                </a:moveTo>
                <a:cubicBezTo>
                  <a:pt x="1042" y="119"/>
                  <a:pt x="1042" y="119"/>
                  <a:pt x="1042" y="119"/>
                </a:cubicBezTo>
                <a:cubicBezTo>
                  <a:pt x="1041" y="119"/>
                  <a:pt x="1041" y="119"/>
                  <a:pt x="1041" y="119"/>
                </a:cubicBezTo>
                <a:cubicBezTo>
                  <a:pt x="1042" y="120"/>
                  <a:pt x="1042" y="120"/>
                  <a:pt x="1042" y="120"/>
                </a:cubicBezTo>
                <a:cubicBezTo>
                  <a:pt x="1043" y="120"/>
                  <a:pt x="1043" y="120"/>
                  <a:pt x="1043" y="120"/>
                </a:cubicBezTo>
                <a:close/>
                <a:moveTo>
                  <a:pt x="1081" y="170"/>
                </a:moveTo>
                <a:cubicBezTo>
                  <a:pt x="1080" y="170"/>
                  <a:pt x="1080" y="170"/>
                  <a:pt x="1080" y="170"/>
                </a:cubicBezTo>
                <a:cubicBezTo>
                  <a:pt x="1080" y="171"/>
                  <a:pt x="1080" y="171"/>
                  <a:pt x="1080" y="171"/>
                </a:cubicBezTo>
                <a:cubicBezTo>
                  <a:pt x="1081" y="171"/>
                  <a:pt x="1081" y="171"/>
                  <a:pt x="1081" y="171"/>
                </a:cubicBezTo>
                <a:cubicBezTo>
                  <a:pt x="1081" y="170"/>
                  <a:pt x="1081" y="170"/>
                  <a:pt x="1081" y="170"/>
                </a:cubicBezTo>
                <a:close/>
                <a:moveTo>
                  <a:pt x="1269" y="119"/>
                </a:moveTo>
                <a:cubicBezTo>
                  <a:pt x="1269" y="120"/>
                  <a:pt x="1269" y="120"/>
                  <a:pt x="1269" y="120"/>
                </a:cubicBezTo>
                <a:cubicBezTo>
                  <a:pt x="1268" y="121"/>
                  <a:pt x="1268" y="121"/>
                  <a:pt x="1268" y="121"/>
                </a:cubicBezTo>
                <a:cubicBezTo>
                  <a:pt x="1269" y="123"/>
                  <a:pt x="1269" y="123"/>
                  <a:pt x="1269" y="123"/>
                </a:cubicBezTo>
                <a:cubicBezTo>
                  <a:pt x="1270" y="122"/>
                  <a:pt x="1270" y="122"/>
                  <a:pt x="1270" y="122"/>
                </a:cubicBezTo>
                <a:cubicBezTo>
                  <a:pt x="1270" y="121"/>
                  <a:pt x="1270" y="121"/>
                  <a:pt x="1270" y="121"/>
                </a:cubicBezTo>
                <a:cubicBezTo>
                  <a:pt x="1270" y="119"/>
                  <a:pt x="1270" y="119"/>
                  <a:pt x="1270" y="119"/>
                </a:cubicBezTo>
                <a:cubicBezTo>
                  <a:pt x="1271" y="118"/>
                  <a:pt x="1271" y="118"/>
                  <a:pt x="1271" y="118"/>
                </a:cubicBezTo>
                <a:cubicBezTo>
                  <a:pt x="1270" y="118"/>
                  <a:pt x="1270" y="118"/>
                  <a:pt x="1270" y="118"/>
                </a:cubicBezTo>
                <a:cubicBezTo>
                  <a:pt x="1269" y="119"/>
                  <a:pt x="1269" y="119"/>
                  <a:pt x="1269" y="119"/>
                </a:cubicBezTo>
                <a:close/>
                <a:moveTo>
                  <a:pt x="1083" y="177"/>
                </a:moveTo>
                <a:cubicBezTo>
                  <a:pt x="1082" y="177"/>
                  <a:pt x="1082" y="177"/>
                  <a:pt x="1082" y="177"/>
                </a:cubicBezTo>
                <a:cubicBezTo>
                  <a:pt x="1082" y="178"/>
                  <a:pt x="1082" y="178"/>
                  <a:pt x="1082" y="178"/>
                </a:cubicBezTo>
                <a:cubicBezTo>
                  <a:pt x="1083" y="178"/>
                  <a:pt x="1083" y="178"/>
                  <a:pt x="1083" y="178"/>
                </a:cubicBezTo>
                <a:cubicBezTo>
                  <a:pt x="1083" y="177"/>
                  <a:pt x="1083" y="177"/>
                  <a:pt x="1083" y="177"/>
                </a:cubicBezTo>
                <a:close/>
                <a:moveTo>
                  <a:pt x="1038" y="118"/>
                </a:moveTo>
                <a:cubicBezTo>
                  <a:pt x="1039" y="119"/>
                  <a:pt x="1039" y="119"/>
                  <a:pt x="1039" y="119"/>
                </a:cubicBezTo>
                <a:cubicBezTo>
                  <a:pt x="1041" y="119"/>
                  <a:pt x="1041" y="119"/>
                  <a:pt x="1041" y="119"/>
                </a:cubicBezTo>
                <a:cubicBezTo>
                  <a:pt x="1040" y="117"/>
                  <a:pt x="1040" y="117"/>
                  <a:pt x="1040" y="117"/>
                </a:cubicBezTo>
                <a:cubicBezTo>
                  <a:pt x="1039" y="118"/>
                  <a:pt x="1039" y="118"/>
                  <a:pt x="1039" y="118"/>
                </a:cubicBezTo>
                <a:cubicBezTo>
                  <a:pt x="1039" y="117"/>
                  <a:pt x="1039" y="117"/>
                  <a:pt x="1039" y="117"/>
                </a:cubicBezTo>
                <a:cubicBezTo>
                  <a:pt x="1038" y="118"/>
                  <a:pt x="1038" y="118"/>
                  <a:pt x="1038" y="118"/>
                </a:cubicBezTo>
                <a:close/>
                <a:moveTo>
                  <a:pt x="1080" y="203"/>
                </a:moveTo>
                <a:cubicBezTo>
                  <a:pt x="1081" y="203"/>
                  <a:pt x="1081" y="203"/>
                  <a:pt x="1081" y="203"/>
                </a:cubicBezTo>
                <a:cubicBezTo>
                  <a:pt x="1081" y="202"/>
                  <a:pt x="1081" y="202"/>
                  <a:pt x="1081" y="202"/>
                </a:cubicBezTo>
                <a:cubicBezTo>
                  <a:pt x="1080" y="202"/>
                  <a:pt x="1080" y="202"/>
                  <a:pt x="1080" y="202"/>
                </a:cubicBezTo>
                <a:cubicBezTo>
                  <a:pt x="1080" y="203"/>
                  <a:pt x="1080" y="203"/>
                  <a:pt x="1080" y="203"/>
                </a:cubicBezTo>
                <a:close/>
                <a:moveTo>
                  <a:pt x="1081" y="205"/>
                </a:moveTo>
                <a:cubicBezTo>
                  <a:pt x="1082" y="205"/>
                  <a:pt x="1082" y="205"/>
                  <a:pt x="1082" y="205"/>
                </a:cubicBezTo>
                <a:cubicBezTo>
                  <a:pt x="1084" y="204"/>
                  <a:pt x="1084" y="204"/>
                  <a:pt x="1084" y="204"/>
                </a:cubicBezTo>
                <a:cubicBezTo>
                  <a:pt x="1085" y="203"/>
                  <a:pt x="1085" y="203"/>
                  <a:pt x="1085" y="203"/>
                </a:cubicBezTo>
                <a:cubicBezTo>
                  <a:pt x="1085" y="202"/>
                  <a:pt x="1085" y="202"/>
                  <a:pt x="1085" y="202"/>
                </a:cubicBezTo>
                <a:cubicBezTo>
                  <a:pt x="1084" y="202"/>
                  <a:pt x="1084" y="202"/>
                  <a:pt x="1084" y="202"/>
                </a:cubicBezTo>
                <a:cubicBezTo>
                  <a:pt x="1083" y="203"/>
                  <a:pt x="1083" y="203"/>
                  <a:pt x="1083" y="203"/>
                </a:cubicBezTo>
                <a:cubicBezTo>
                  <a:pt x="1082" y="203"/>
                  <a:pt x="1082" y="203"/>
                  <a:pt x="1082" y="203"/>
                </a:cubicBezTo>
                <a:cubicBezTo>
                  <a:pt x="1082" y="204"/>
                  <a:pt x="1082" y="204"/>
                  <a:pt x="1082" y="204"/>
                </a:cubicBezTo>
                <a:cubicBezTo>
                  <a:pt x="1081" y="204"/>
                  <a:pt x="1081" y="204"/>
                  <a:pt x="1081" y="204"/>
                </a:cubicBezTo>
                <a:cubicBezTo>
                  <a:pt x="1081" y="205"/>
                  <a:pt x="1081" y="205"/>
                  <a:pt x="1081" y="205"/>
                </a:cubicBezTo>
                <a:close/>
                <a:moveTo>
                  <a:pt x="1085" y="205"/>
                </a:moveTo>
                <a:cubicBezTo>
                  <a:pt x="1085" y="204"/>
                  <a:pt x="1085" y="204"/>
                  <a:pt x="1085" y="204"/>
                </a:cubicBezTo>
                <a:cubicBezTo>
                  <a:pt x="1084" y="205"/>
                  <a:pt x="1084" y="205"/>
                  <a:pt x="1084" y="205"/>
                </a:cubicBezTo>
                <a:cubicBezTo>
                  <a:pt x="1085" y="205"/>
                  <a:pt x="1085" y="205"/>
                  <a:pt x="1085" y="205"/>
                </a:cubicBezTo>
                <a:close/>
                <a:moveTo>
                  <a:pt x="1084" y="206"/>
                </a:moveTo>
                <a:cubicBezTo>
                  <a:pt x="1084" y="205"/>
                  <a:pt x="1084" y="205"/>
                  <a:pt x="1084" y="205"/>
                </a:cubicBezTo>
                <a:cubicBezTo>
                  <a:pt x="1083" y="206"/>
                  <a:pt x="1083" y="206"/>
                  <a:pt x="1083" y="206"/>
                </a:cubicBezTo>
                <a:cubicBezTo>
                  <a:pt x="1084" y="206"/>
                  <a:pt x="1084" y="206"/>
                  <a:pt x="1084" y="206"/>
                </a:cubicBezTo>
                <a:close/>
                <a:moveTo>
                  <a:pt x="1085" y="199"/>
                </a:moveTo>
                <a:cubicBezTo>
                  <a:pt x="1084" y="199"/>
                  <a:pt x="1084" y="199"/>
                  <a:pt x="1084" y="199"/>
                </a:cubicBezTo>
                <a:cubicBezTo>
                  <a:pt x="1083" y="200"/>
                  <a:pt x="1083" y="200"/>
                  <a:pt x="1083" y="200"/>
                </a:cubicBezTo>
                <a:cubicBezTo>
                  <a:pt x="1084" y="200"/>
                  <a:pt x="1084" y="200"/>
                  <a:pt x="1084" y="200"/>
                </a:cubicBezTo>
                <a:cubicBezTo>
                  <a:pt x="1085" y="199"/>
                  <a:pt x="1085" y="199"/>
                  <a:pt x="1085" y="199"/>
                </a:cubicBezTo>
                <a:close/>
                <a:moveTo>
                  <a:pt x="1245" y="213"/>
                </a:moveTo>
                <a:cubicBezTo>
                  <a:pt x="1245" y="212"/>
                  <a:pt x="1245" y="212"/>
                  <a:pt x="1245" y="212"/>
                </a:cubicBezTo>
                <a:cubicBezTo>
                  <a:pt x="1244" y="213"/>
                  <a:pt x="1244" y="213"/>
                  <a:pt x="1244" y="213"/>
                </a:cubicBezTo>
                <a:cubicBezTo>
                  <a:pt x="1245" y="213"/>
                  <a:pt x="1245" y="213"/>
                  <a:pt x="1245" y="213"/>
                </a:cubicBezTo>
                <a:close/>
                <a:moveTo>
                  <a:pt x="1222" y="241"/>
                </a:moveTo>
                <a:cubicBezTo>
                  <a:pt x="1223" y="241"/>
                  <a:pt x="1223" y="241"/>
                  <a:pt x="1223" y="241"/>
                </a:cubicBezTo>
                <a:cubicBezTo>
                  <a:pt x="1222" y="240"/>
                  <a:pt x="1222" y="240"/>
                  <a:pt x="1222" y="240"/>
                </a:cubicBezTo>
                <a:cubicBezTo>
                  <a:pt x="1222" y="241"/>
                  <a:pt x="1222" y="241"/>
                  <a:pt x="1222" y="241"/>
                </a:cubicBezTo>
                <a:close/>
                <a:moveTo>
                  <a:pt x="1248" y="194"/>
                </a:moveTo>
                <a:cubicBezTo>
                  <a:pt x="1246" y="194"/>
                  <a:pt x="1246" y="194"/>
                  <a:pt x="1246" y="194"/>
                </a:cubicBezTo>
                <a:cubicBezTo>
                  <a:pt x="1245" y="194"/>
                  <a:pt x="1245" y="194"/>
                  <a:pt x="1245" y="194"/>
                </a:cubicBezTo>
                <a:cubicBezTo>
                  <a:pt x="1244" y="196"/>
                  <a:pt x="1244" y="196"/>
                  <a:pt x="1244" y="196"/>
                </a:cubicBezTo>
                <a:cubicBezTo>
                  <a:pt x="1244" y="197"/>
                  <a:pt x="1244" y="197"/>
                  <a:pt x="1244" y="197"/>
                </a:cubicBezTo>
                <a:cubicBezTo>
                  <a:pt x="1244" y="198"/>
                  <a:pt x="1244" y="198"/>
                  <a:pt x="1244" y="198"/>
                </a:cubicBezTo>
                <a:cubicBezTo>
                  <a:pt x="1245" y="198"/>
                  <a:pt x="1245" y="198"/>
                  <a:pt x="1245" y="198"/>
                </a:cubicBezTo>
                <a:cubicBezTo>
                  <a:pt x="1247" y="199"/>
                  <a:pt x="1247" y="199"/>
                  <a:pt x="1247" y="199"/>
                </a:cubicBezTo>
                <a:cubicBezTo>
                  <a:pt x="1249" y="199"/>
                  <a:pt x="1249" y="199"/>
                  <a:pt x="1249" y="199"/>
                </a:cubicBezTo>
                <a:cubicBezTo>
                  <a:pt x="1250" y="199"/>
                  <a:pt x="1250" y="199"/>
                  <a:pt x="1250" y="199"/>
                </a:cubicBezTo>
                <a:cubicBezTo>
                  <a:pt x="1250" y="197"/>
                  <a:pt x="1250" y="197"/>
                  <a:pt x="1250" y="197"/>
                </a:cubicBezTo>
                <a:cubicBezTo>
                  <a:pt x="1251" y="197"/>
                  <a:pt x="1251" y="197"/>
                  <a:pt x="1251" y="197"/>
                </a:cubicBezTo>
                <a:cubicBezTo>
                  <a:pt x="1250" y="195"/>
                  <a:pt x="1250" y="195"/>
                  <a:pt x="1250" y="195"/>
                </a:cubicBezTo>
                <a:cubicBezTo>
                  <a:pt x="1248" y="194"/>
                  <a:pt x="1248" y="194"/>
                  <a:pt x="1248" y="194"/>
                </a:cubicBezTo>
                <a:close/>
                <a:moveTo>
                  <a:pt x="1266" y="146"/>
                </a:moveTo>
                <a:cubicBezTo>
                  <a:pt x="1266" y="147"/>
                  <a:pt x="1266" y="147"/>
                  <a:pt x="1266" y="147"/>
                </a:cubicBezTo>
                <a:cubicBezTo>
                  <a:pt x="1267" y="147"/>
                  <a:pt x="1267" y="147"/>
                  <a:pt x="1267" y="147"/>
                </a:cubicBezTo>
                <a:cubicBezTo>
                  <a:pt x="1267" y="146"/>
                  <a:pt x="1267" y="146"/>
                  <a:pt x="1267" y="146"/>
                </a:cubicBezTo>
                <a:cubicBezTo>
                  <a:pt x="1267" y="145"/>
                  <a:pt x="1267" y="145"/>
                  <a:pt x="1267" y="145"/>
                </a:cubicBezTo>
                <a:cubicBezTo>
                  <a:pt x="1268" y="144"/>
                  <a:pt x="1268" y="144"/>
                  <a:pt x="1268" y="144"/>
                </a:cubicBezTo>
                <a:cubicBezTo>
                  <a:pt x="1268" y="143"/>
                  <a:pt x="1268" y="143"/>
                  <a:pt x="1268" y="143"/>
                </a:cubicBezTo>
                <a:cubicBezTo>
                  <a:pt x="1266" y="144"/>
                  <a:pt x="1266" y="144"/>
                  <a:pt x="1266" y="144"/>
                </a:cubicBezTo>
                <a:cubicBezTo>
                  <a:pt x="1266" y="146"/>
                  <a:pt x="1266" y="146"/>
                  <a:pt x="1266" y="146"/>
                </a:cubicBezTo>
                <a:close/>
                <a:moveTo>
                  <a:pt x="1225" y="211"/>
                </a:moveTo>
                <a:cubicBezTo>
                  <a:pt x="1227" y="211"/>
                  <a:pt x="1227" y="211"/>
                  <a:pt x="1227" y="211"/>
                </a:cubicBezTo>
                <a:cubicBezTo>
                  <a:pt x="1228" y="212"/>
                  <a:pt x="1228" y="212"/>
                  <a:pt x="1228" y="212"/>
                </a:cubicBezTo>
                <a:cubicBezTo>
                  <a:pt x="1230" y="213"/>
                  <a:pt x="1230" y="213"/>
                  <a:pt x="1230" y="213"/>
                </a:cubicBezTo>
                <a:cubicBezTo>
                  <a:pt x="1232" y="213"/>
                  <a:pt x="1232" y="213"/>
                  <a:pt x="1232" y="213"/>
                </a:cubicBezTo>
                <a:cubicBezTo>
                  <a:pt x="1236" y="213"/>
                  <a:pt x="1236" y="213"/>
                  <a:pt x="1236" y="213"/>
                </a:cubicBezTo>
                <a:cubicBezTo>
                  <a:pt x="1234" y="214"/>
                  <a:pt x="1234" y="214"/>
                  <a:pt x="1234" y="214"/>
                </a:cubicBezTo>
                <a:cubicBezTo>
                  <a:pt x="1233" y="214"/>
                  <a:pt x="1233" y="214"/>
                  <a:pt x="1233" y="214"/>
                </a:cubicBezTo>
                <a:cubicBezTo>
                  <a:pt x="1231" y="214"/>
                  <a:pt x="1231" y="214"/>
                  <a:pt x="1231" y="214"/>
                </a:cubicBezTo>
                <a:cubicBezTo>
                  <a:pt x="1230" y="214"/>
                  <a:pt x="1230" y="214"/>
                  <a:pt x="1230" y="214"/>
                </a:cubicBezTo>
                <a:cubicBezTo>
                  <a:pt x="1229" y="214"/>
                  <a:pt x="1229" y="214"/>
                  <a:pt x="1229" y="214"/>
                </a:cubicBezTo>
                <a:cubicBezTo>
                  <a:pt x="1230" y="215"/>
                  <a:pt x="1230" y="215"/>
                  <a:pt x="1230" y="215"/>
                </a:cubicBezTo>
                <a:cubicBezTo>
                  <a:pt x="1232" y="215"/>
                  <a:pt x="1232" y="215"/>
                  <a:pt x="1232" y="215"/>
                </a:cubicBezTo>
                <a:cubicBezTo>
                  <a:pt x="1233" y="216"/>
                  <a:pt x="1233" y="216"/>
                  <a:pt x="1233" y="216"/>
                </a:cubicBezTo>
                <a:cubicBezTo>
                  <a:pt x="1235" y="216"/>
                  <a:pt x="1235" y="216"/>
                  <a:pt x="1235" y="216"/>
                </a:cubicBezTo>
                <a:cubicBezTo>
                  <a:pt x="1236" y="217"/>
                  <a:pt x="1236" y="217"/>
                  <a:pt x="1236" y="217"/>
                </a:cubicBezTo>
                <a:cubicBezTo>
                  <a:pt x="1237" y="217"/>
                  <a:pt x="1237" y="217"/>
                  <a:pt x="1237" y="217"/>
                </a:cubicBezTo>
                <a:cubicBezTo>
                  <a:pt x="1238" y="217"/>
                  <a:pt x="1238" y="217"/>
                  <a:pt x="1238" y="217"/>
                </a:cubicBezTo>
                <a:cubicBezTo>
                  <a:pt x="1238" y="218"/>
                  <a:pt x="1238" y="218"/>
                  <a:pt x="1238" y="218"/>
                </a:cubicBezTo>
                <a:cubicBezTo>
                  <a:pt x="1239" y="218"/>
                  <a:pt x="1239" y="218"/>
                  <a:pt x="1239" y="218"/>
                </a:cubicBezTo>
                <a:cubicBezTo>
                  <a:pt x="1240" y="218"/>
                  <a:pt x="1240" y="218"/>
                  <a:pt x="1240" y="218"/>
                </a:cubicBezTo>
                <a:cubicBezTo>
                  <a:pt x="1241" y="218"/>
                  <a:pt x="1241" y="218"/>
                  <a:pt x="1241" y="218"/>
                </a:cubicBezTo>
                <a:cubicBezTo>
                  <a:pt x="1241" y="217"/>
                  <a:pt x="1241" y="217"/>
                  <a:pt x="1241" y="217"/>
                </a:cubicBezTo>
                <a:cubicBezTo>
                  <a:pt x="1241" y="216"/>
                  <a:pt x="1241" y="216"/>
                  <a:pt x="1241" y="216"/>
                </a:cubicBezTo>
                <a:cubicBezTo>
                  <a:pt x="1242" y="216"/>
                  <a:pt x="1242" y="216"/>
                  <a:pt x="1242" y="216"/>
                </a:cubicBezTo>
                <a:cubicBezTo>
                  <a:pt x="1240" y="215"/>
                  <a:pt x="1240" y="215"/>
                  <a:pt x="1240" y="215"/>
                </a:cubicBezTo>
                <a:cubicBezTo>
                  <a:pt x="1239" y="214"/>
                  <a:pt x="1239" y="214"/>
                  <a:pt x="1239" y="214"/>
                </a:cubicBezTo>
                <a:cubicBezTo>
                  <a:pt x="1237" y="213"/>
                  <a:pt x="1237" y="213"/>
                  <a:pt x="1237" y="213"/>
                </a:cubicBezTo>
                <a:cubicBezTo>
                  <a:pt x="1237" y="212"/>
                  <a:pt x="1237" y="212"/>
                  <a:pt x="1237" y="212"/>
                </a:cubicBezTo>
                <a:cubicBezTo>
                  <a:pt x="1236" y="212"/>
                  <a:pt x="1236" y="212"/>
                  <a:pt x="1236" y="212"/>
                </a:cubicBezTo>
                <a:cubicBezTo>
                  <a:pt x="1233" y="212"/>
                  <a:pt x="1233" y="212"/>
                  <a:pt x="1233" y="212"/>
                </a:cubicBezTo>
                <a:cubicBezTo>
                  <a:pt x="1232" y="212"/>
                  <a:pt x="1232" y="212"/>
                  <a:pt x="1232" y="212"/>
                </a:cubicBezTo>
                <a:cubicBezTo>
                  <a:pt x="1230" y="211"/>
                  <a:pt x="1230" y="211"/>
                  <a:pt x="1230" y="211"/>
                </a:cubicBezTo>
                <a:cubicBezTo>
                  <a:pt x="1229" y="210"/>
                  <a:pt x="1229" y="210"/>
                  <a:pt x="1229" y="210"/>
                </a:cubicBezTo>
                <a:cubicBezTo>
                  <a:pt x="1228" y="210"/>
                  <a:pt x="1228" y="210"/>
                  <a:pt x="1228" y="210"/>
                </a:cubicBezTo>
                <a:cubicBezTo>
                  <a:pt x="1229" y="209"/>
                  <a:pt x="1229" y="209"/>
                  <a:pt x="1229" y="209"/>
                </a:cubicBezTo>
                <a:cubicBezTo>
                  <a:pt x="1230" y="209"/>
                  <a:pt x="1230" y="209"/>
                  <a:pt x="1230" y="209"/>
                </a:cubicBezTo>
                <a:cubicBezTo>
                  <a:pt x="1232" y="211"/>
                  <a:pt x="1232" y="211"/>
                  <a:pt x="1232" y="211"/>
                </a:cubicBezTo>
                <a:cubicBezTo>
                  <a:pt x="1234" y="211"/>
                  <a:pt x="1234" y="211"/>
                  <a:pt x="1234" y="211"/>
                </a:cubicBezTo>
                <a:cubicBezTo>
                  <a:pt x="1235" y="211"/>
                  <a:pt x="1235" y="211"/>
                  <a:pt x="1235" y="211"/>
                </a:cubicBezTo>
                <a:cubicBezTo>
                  <a:pt x="1234" y="210"/>
                  <a:pt x="1234" y="210"/>
                  <a:pt x="1234" y="210"/>
                </a:cubicBezTo>
                <a:cubicBezTo>
                  <a:pt x="1231" y="208"/>
                  <a:pt x="1231" y="208"/>
                  <a:pt x="1231" y="208"/>
                </a:cubicBezTo>
                <a:cubicBezTo>
                  <a:pt x="1228" y="208"/>
                  <a:pt x="1228" y="208"/>
                  <a:pt x="1228" y="208"/>
                </a:cubicBezTo>
                <a:cubicBezTo>
                  <a:pt x="1227" y="208"/>
                  <a:pt x="1227" y="208"/>
                  <a:pt x="1227" y="208"/>
                </a:cubicBezTo>
                <a:cubicBezTo>
                  <a:pt x="1227" y="209"/>
                  <a:pt x="1227" y="209"/>
                  <a:pt x="1227" y="209"/>
                </a:cubicBezTo>
                <a:cubicBezTo>
                  <a:pt x="1225" y="209"/>
                  <a:pt x="1225" y="209"/>
                  <a:pt x="1225" y="209"/>
                </a:cubicBezTo>
                <a:cubicBezTo>
                  <a:pt x="1224" y="210"/>
                  <a:pt x="1224" y="210"/>
                  <a:pt x="1224" y="210"/>
                </a:cubicBezTo>
                <a:cubicBezTo>
                  <a:pt x="1225" y="211"/>
                  <a:pt x="1225" y="211"/>
                  <a:pt x="1225" y="211"/>
                </a:cubicBezTo>
                <a:close/>
                <a:moveTo>
                  <a:pt x="1262" y="140"/>
                </a:moveTo>
                <a:cubicBezTo>
                  <a:pt x="1263" y="139"/>
                  <a:pt x="1263" y="139"/>
                  <a:pt x="1263" y="139"/>
                </a:cubicBezTo>
                <a:cubicBezTo>
                  <a:pt x="1263" y="138"/>
                  <a:pt x="1263" y="138"/>
                  <a:pt x="1263" y="138"/>
                </a:cubicBezTo>
                <a:cubicBezTo>
                  <a:pt x="1262" y="139"/>
                  <a:pt x="1262" y="139"/>
                  <a:pt x="1262" y="139"/>
                </a:cubicBezTo>
                <a:cubicBezTo>
                  <a:pt x="1262" y="140"/>
                  <a:pt x="1262" y="140"/>
                  <a:pt x="1262" y="140"/>
                </a:cubicBezTo>
                <a:close/>
                <a:moveTo>
                  <a:pt x="1264" y="188"/>
                </a:moveTo>
                <a:cubicBezTo>
                  <a:pt x="1265" y="187"/>
                  <a:pt x="1265" y="187"/>
                  <a:pt x="1265" y="187"/>
                </a:cubicBezTo>
                <a:cubicBezTo>
                  <a:pt x="1265" y="186"/>
                  <a:pt x="1265" y="186"/>
                  <a:pt x="1265" y="186"/>
                </a:cubicBezTo>
                <a:cubicBezTo>
                  <a:pt x="1265" y="185"/>
                  <a:pt x="1265" y="185"/>
                  <a:pt x="1265" y="185"/>
                </a:cubicBezTo>
                <a:cubicBezTo>
                  <a:pt x="1264" y="184"/>
                  <a:pt x="1264" y="184"/>
                  <a:pt x="1264" y="184"/>
                </a:cubicBezTo>
                <a:cubicBezTo>
                  <a:pt x="1264" y="185"/>
                  <a:pt x="1264" y="185"/>
                  <a:pt x="1264" y="185"/>
                </a:cubicBezTo>
                <a:cubicBezTo>
                  <a:pt x="1264" y="186"/>
                  <a:pt x="1264" y="186"/>
                  <a:pt x="1264" y="186"/>
                </a:cubicBezTo>
                <a:cubicBezTo>
                  <a:pt x="1263" y="185"/>
                  <a:pt x="1263" y="185"/>
                  <a:pt x="1263" y="185"/>
                </a:cubicBezTo>
                <a:cubicBezTo>
                  <a:pt x="1263" y="184"/>
                  <a:pt x="1263" y="184"/>
                  <a:pt x="1263" y="184"/>
                </a:cubicBezTo>
                <a:cubicBezTo>
                  <a:pt x="1263" y="183"/>
                  <a:pt x="1263" y="183"/>
                  <a:pt x="1263" y="183"/>
                </a:cubicBezTo>
                <a:cubicBezTo>
                  <a:pt x="1262" y="182"/>
                  <a:pt x="1262" y="182"/>
                  <a:pt x="1262" y="182"/>
                </a:cubicBezTo>
                <a:cubicBezTo>
                  <a:pt x="1263" y="182"/>
                  <a:pt x="1263" y="182"/>
                  <a:pt x="1263" y="182"/>
                </a:cubicBezTo>
                <a:cubicBezTo>
                  <a:pt x="1263" y="181"/>
                  <a:pt x="1263" y="181"/>
                  <a:pt x="1263" y="181"/>
                </a:cubicBezTo>
                <a:cubicBezTo>
                  <a:pt x="1262" y="180"/>
                  <a:pt x="1262" y="180"/>
                  <a:pt x="1262" y="180"/>
                </a:cubicBezTo>
                <a:cubicBezTo>
                  <a:pt x="1261" y="181"/>
                  <a:pt x="1261" y="181"/>
                  <a:pt x="1261" y="181"/>
                </a:cubicBezTo>
                <a:cubicBezTo>
                  <a:pt x="1260" y="181"/>
                  <a:pt x="1260" y="181"/>
                  <a:pt x="1260" y="181"/>
                </a:cubicBezTo>
                <a:cubicBezTo>
                  <a:pt x="1259" y="181"/>
                  <a:pt x="1259" y="181"/>
                  <a:pt x="1259" y="181"/>
                </a:cubicBezTo>
                <a:cubicBezTo>
                  <a:pt x="1259" y="184"/>
                  <a:pt x="1259" y="184"/>
                  <a:pt x="1259" y="184"/>
                </a:cubicBezTo>
                <a:cubicBezTo>
                  <a:pt x="1258" y="185"/>
                  <a:pt x="1258" y="185"/>
                  <a:pt x="1258" y="185"/>
                </a:cubicBezTo>
                <a:cubicBezTo>
                  <a:pt x="1259" y="186"/>
                  <a:pt x="1259" y="186"/>
                  <a:pt x="1259" y="186"/>
                </a:cubicBezTo>
                <a:cubicBezTo>
                  <a:pt x="1260" y="187"/>
                  <a:pt x="1260" y="187"/>
                  <a:pt x="1260" y="187"/>
                </a:cubicBezTo>
                <a:cubicBezTo>
                  <a:pt x="1261" y="187"/>
                  <a:pt x="1261" y="187"/>
                  <a:pt x="1261" y="187"/>
                </a:cubicBezTo>
                <a:cubicBezTo>
                  <a:pt x="1262" y="187"/>
                  <a:pt x="1262" y="187"/>
                  <a:pt x="1262" y="187"/>
                </a:cubicBezTo>
                <a:cubicBezTo>
                  <a:pt x="1263" y="187"/>
                  <a:pt x="1263" y="187"/>
                  <a:pt x="1263" y="187"/>
                </a:cubicBezTo>
                <a:cubicBezTo>
                  <a:pt x="1263" y="188"/>
                  <a:pt x="1263" y="188"/>
                  <a:pt x="1263" y="188"/>
                </a:cubicBezTo>
                <a:cubicBezTo>
                  <a:pt x="1264" y="188"/>
                  <a:pt x="1264" y="188"/>
                  <a:pt x="1264" y="188"/>
                </a:cubicBezTo>
                <a:close/>
                <a:moveTo>
                  <a:pt x="1250" y="162"/>
                </a:moveTo>
                <a:cubicBezTo>
                  <a:pt x="1249" y="162"/>
                  <a:pt x="1249" y="162"/>
                  <a:pt x="1249" y="162"/>
                </a:cubicBezTo>
                <a:cubicBezTo>
                  <a:pt x="1250" y="163"/>
                  <a:pt x="1250" y="163"/>
                  <a:pt x="1250" y="163"/>
                </a:cubicBezTo>
                <a:cubicBezTo>
                  <a:pt x="1251" y="163"/>
                  <a:pt x="1251" y="163"/>
                  <a:pt x="1251" y="163"/>
                </a:cubicBezTo>
                <a:cubicBezTo>
                  <a:pt x="1250" y="162"/>
                  <a:pt x="1250" y="162"/>
                  <a:pt x="1250" y="162"/>
                </a:cubicBezTo>
                <a:close/>
                <a:moveTo>
                  <a:pt x="1253" y="165"/>
                </a:moveTo>
                <a:cubicBezTo>
                  <a:pt x="1253" y="164"/>
                  <a:pt x="1253" y="164"/>
                  <a:pt x="1253" y="164"/>
                </a:cubicBezTo>
                <a:cubicBezTo>
                  <a:pt x="1251" y="164"/>
                  <a:pt x="1251" y="164"/>
                  <a:pt x="1251" y="164"/>
                </a:cubicBezTo>
                <a:cubicBezTo>
                  <a:pt x="1251" y="165"/>
                  <a:pt x="1251" y="165"/>
                  <a:pt x="1251" y="165"/>
                </a:cubicBezTo>
                <a:cubicBezTo>
                  <a:pt x="1251" y="166"/>
                  <a:pt x="1251" y="166"/>
                  <a:pt x="1251" y="166"/>
                </a:cubicBezTo>
                <a:cubicBezTo>
                  <a:pt x="1252" y="166"/>
                  <a:pt x="1252" y="166"/>
                  <a:pt x="1252" y="166"/>
                </a:cubicBezTo>
                <a:cubicBezTo>
                  <a:pt x="1253" y="165"/>
                  <a:pt x="1253" y="165"/>
                  <a:pt x="1253" y="165"/>
                </a:cubicBezTo>
                <a:close/>
                <a:moveTo>
                  <a:pt x="1086" y="227"/>
                </a:moveTo>
                <a:cubicBezTo>
                  <a:pt x="1086" y="226"/>
                  <a:pt x="1086" y="226"/>
                  <a:pt x="1086" y="226"/>
                </a:cubicBezTo>
                <a:cubicBezTo>
                  <a:pt x="1086" y="224"/>
                  <a:pt x="1086" y="224"/>
                  <a:pt x="1086" y="224"/>
                </a:cubicBezTo>
                <a:cubicBezTo>
                  <a:pt x="1085" y="225"/>
                  <a:pt x="1085" y="225"/>
                  <a:pt x="1085" y="225"/>
                </a:cubicBezTo>
                <a:cubicBezTo>
                  <a:pt x="1084" y="226"/>
                  <a:pt x="1084" y="226"/>
                  <a:pt x="1084" y="226"/>
                </a:cubicBezTo>
                <a:cubicBezTo>
                  <a:pt x="1084" y="227"/>
                  <a:pt x="1084" y="227"/>
                  <a:pt x="1084" y="227"/>
                </a:cubicBezTo>
                <a:cubicBezTo>
                  <a:pt x="1085" y="228"/>
                  <a:pt x="1085" y="228"/>
                  <a:pt x="1085" y="228"/>
                </a:cubicBezTo>
                <a:cubicBezTo>
                  <a:pt x="1086" y="227"/>
                  <a:pt x="1086" y="227"/>
                  <a:pt x="1086" y="227"/>
                </a:cubicBezTo>
                <a:close/>
                <a:moveTo>
                  <a:pt x="1076" y="246"/>
                </a:moveTo>
                <a:cubicBezTo>
                  <a:pt x="1078" y="247"/>
                  <a:pt x="1078" y="247"/>
                  <a:pt x="1078" y="247"/>
                </a:cubicBezTo>
                <a:cubicBezTo>
                  <a:pt x="1079" y="248"/>
                  <a:pt x="1079" y="248"/>
                  <a:pt x="1079" y="248"/>
                </a:cubicBezTo>
                <a:cubicBezTo>
                  <a:pt x="1078" y="248"/>
                  <a:pt x="1078" y="248"/>
                  <a:pt x="1078" y="248"/>
                </a:cubicBezTo>
                <a:cubicBezTo>
                  <a:pt x="1077" y="248"/>
                  <a:pt x="1077" y="248"/>
                  <a:pt x="1077" y="248"/>
                </a:cubicBezTo>
                <a:cubicBezTo>
                  <a:pt x="1077" y="249"/>
                  <a:pt x="1077" y="249"/>
                  <a:pt x="1077" y="249"/>
                </a:cubicBezTo>
                <a:cubicBezTo>
                  <a:pt x="1077" y="250"/>
                  <a:pt x="1077" y="250"/>
                  <a:pt x="1077" y="250"/>
                </a:cubicBezTo>
                <a:cubicBezTo>
                  <a:pt x="1079" y="250"/>
                  <a:pt x="1079" y="250"/>
                  <a:pt x="1079" y="250"/>
                </a:cubicBezTo>
                <a:cubicBezTo>
                  <a:pt x="1080" y="251"/>
                  <a:pt x="1080" y="251"/>
                  <a:pt x="1080" y="251"/>
                </a:cubicBezTo>
                <a:cubicBezTo>
                  <a:pt x="1081" y="251"/>
                  <a:pt x="1081" y="251"/>
                  <a:pt x="1081" y="251"/>
                </a:cubicBezTo>
                <a:cubicBezTo>
                  <a:pt x="1081" y="250"/>
                  <a:pt x="1081" y="250"/>
                  <a:pt x="1081" y="250"/>
                </a:cubicBezTo>
                <a:cubicBezTo>
                  <a:pt x="1085" y="250"/>
                  <a:pt x="1085" y="250"/>
                  <a:pt x="1085" y="250"/>
                </a:cubicBezTo>
                <a:cubicBezTo>
                  <a:pt x="1087" y="250"/>
                  <a:pt x="1087" y="250"/>
                  <a:pt x="1087" y="250"/>
                </a:cubicBezTo>
                <a:cubicBezTo>
                  <a:pt x="1089" y="248"/>
                  <a:pt x="1089" y="248"/>
                  <a:pt x="1089" y="248"/>
                </a:cubicBezTo>
                <a:cubicBezTo>
                  <a:pt x="1088" y="246"/>
                  <a:pt x="1088" y="246"/>
                  <a:pt x="1088" y="246"/>
                </a:cubicBezTo>
                <a:cubicBezTo>
                  <a:pt x="1088" y="244"/>
                  <a:pt x="1088" y="244"/>
                  <a:pt x="1088" y="244"/>
                </a:cubicBezTo>
                <a:cubicBezTo>
                  <a:pt x="1087" y="244"/>
                  <a:pt x="1087" y="244"/>
                  <a:pt x="1087" y="244"/>
                </a:cubicBezTo>
                <a:cubicBezTo>
                  <a:pt x="1085" y="244"/>
                  <a:pt x="1085" y="244"/>
                  <a:pt x="1085" y="244"/>
                </a:cubicBezTo>
                <a:cubicBezTo>
                  <a:pt x="1085" y="241"/>
                  <a:pt x="1085" y="241"/>
                  <a:pt x="1085" y="241"/>
                </a:cubicBezTo>
                <a:cubicBezTo>
                  <a:pt x="1083" y="239"/>
                  <a:pt x="1083" y="239"/>
                  <a:pt x="1083" y="239"/>
                </a:cubicBezTo>
                <a:cubicBezTo>
                  <a:pt x="1081" y="238"/>
                  <a:pt x="1081" y="238"/>
                  <a:pt x="1081" y="238"/>
                </a:cubicBezTo>
                <a:cubicBezTo>
                  <a:pt x="1080" y="237"/>
                  <a:pt x="1080" y="237"/>
                  <a:pt x="1080" y="237"/>
                </a:cubicBezTo>
                <a:cubicBezTo>
                  <a:pt x="1078" y="237"/>
                  <a:pt x="1078" y="237"/>
                  <a:pt x="1078" y="237"/>
                </a:cubicBezTo>
                <a:cubicBezTo>
                  <a:pt x="1077" y="236"/>
                  <a:pt x="1077" y="236"/>
                  <a:pt x="1077" y="236"/>
                </a:cubicBezTo>
                <a:cubicBezTo>
                  <a:pt x="1077" y="237"/>
                  <a:pt x="1077" y="237"/>
                  <a:pt x="1077" y="237"/>
                </a:cubicBezTo>
                <a:cubicBezTo>
                  <a:pt x="1076" y="238"/>
                  <a:pt x="1076" y="238"/>
                  <a:pt x="1076" y="238"/>
                </a:cubicBezTo>
                <a:cubicBezTo>
                  <a:pt x="1076" y="240"/>
                  <a:pt x="1076" y="240"/>
                  <a:pt x="1076" y="240"/>
                </a:cubicBezTo>
                <a:cubicBezTo>
                  <a:pt x="1077" y="241"/>
                  <a:pt x="1077" y="241"/>
                  <a:pt x="1077" y="241"/>
                </a:cubicBezTo>
                <a:cubicBezTo>
                  <a:pt x="1077" y="242"/>
                  <a:pt x="1077" y="242"/>
                  <a:pt x="1077" y="242"/>
                </a:cubicBezTo>
                <a:cubicBezTo>
                  <a:pt x="1076" y="241"/>
                  <a:pt x="1076" y="241"/>
                  <a:pt x="1076" y="241"/>
                </a:cubicBezTo>
                <a:cubicBezTo>
                  <a:pt x="1075" y="242"/>
                  <a:pt x="1075" y="242"/>
                  <a:pt x="1075" y="242"/>
                </a:cubicBezTo>
                <a:cubicBezTo>
                  <a:pt x="1075" y="243"/>
                  <a:pt x="1075" y="243"/>
                  <a:pt x="1075" y="243"/>
                </a:cubicBezTo>
                <a:cubicBezTo>
                  <a:pt x="1075" y="244"/>
                  <a:pt x="1075" y="244"/>
                  <a:pt x="1075" y="244"/>
                </a:cubicBezTo>
                <a:cubicBezTo>
                  <a:pt x="1076" y="244"/>
                  <a:pt x="1076" y="244"/>
                  <a:pt x="1076" y="244"/>
                </a:cubicBezTo>
                <a:cubicBezTo>
                  <a:pt x="1075" y="245"/>
                  <a:pt x="1075" y="245"/>
                  <a:pt x="1075" y="245"/>
                </a:cubicBezTo>
                <a:cubicBezTo>
                  <a:pt x="1076" y="246"/>
                  <a:pt x="1076" y="246"/>
                  <a:pt x="1076" y="246"/>
                </a:cubicBezTo>
                <a:close/>
                <a:moveTo>
                  <a:pt x="1070" y="280"/>
                </a:moveTo>
                <a:cubicBezTo>
                  <a:pt x="1070" y="281"/>
                  <a:pt x="1070" y="281"/>
                  <a:pt x="1070" y="281"/>
                </a:cubicBezTo>
                <a:cubicBezTo>
                  <a:pt x="1071" y="280"/>
                  <a:pt x="1071" y="280"/>
                  <a:pt x="1071" y="280"/>
                </a:cubicBezTo>
                <a:cubicBezTo>
                  <a:pt x="1070" y="280"/>
                  <a:pt x="1070" y="280"/>
                  <a:pt x="1070" y="280"/>
                </a:cubicBezTo>
                <a:close/>
                <a:moveTo>
                  <a:pt x="1078" y="235"/>
                </a:moveTo>
                <a:cubicBezTo>
                  <a:pt x="1078" y="234"/>
                  <a:pt x="1078" y="234"/>
                  <a:pt x="1078" y="234"/>
                </a:cubicBezTo>
                <a:cubicBezTo>
                  <a:pt x="1077" y="233"/>
                  <a:pt x="1077" y="233"/>
                  <a:pt x="1077" y="233"/>
                </a:cubicBezTo>
                <a:cubicBezTo>
                  <a:pt x="1076" y="234"/>
                  <a:pt x="1076" y="234"/>
                  <a:pt x="1076" y="234"/>
                </a:cubicBezTo>
                <a:cubicBezTo>
                  <a:pt x="1077" y="235"/>
                  <a:pt x="1077" y="235"/>
                  <a:pt x="1077" y="235"/>
                </a:cubicBezTo>
                <a:cubicBezTo>
                  <a:pt x="1078" y="235"/>
                  <a:pt x="1078" y="235"/>
                  <a:pt x="1078" y="235"/>
                </a:cubicBezTo>
                <a:close/>
                <a:moveTo>
                  <a:pt x="1083" y="257"/>
                </a:moveTo>
                <a:cubicBezTo>
                  <a:pt x="1082" y="257"/>
                  <a:pt x="1082" y="257"/>
                  <a:pt x="1082" y="257"/>
                </a:cubicBezTo>
                <a:cubicBezTo>
                  <a:pt x="1081" y="258"/>
                  <a:pt x="1081" y="258"/>
                  <a:pt x="1081" y="258"/>
                </a:cubicBezTo>
                <a:cubicBezTo>
                  <a:pt x="1083" y="259"/>
                  <a:pt x="1083" y="259"/>
                  <a:pt x="1083" y="259"/>
                </a:cubicBezTo>
                <a:cubicBezTo>
                  <a:pt x="1084" y="258"/>
                  <a:pt x="1084" y="258"/>
                  <a:pt x="1084" y="258"/>
                </a:cubicBezTo>
                <a:cubicBezTo>
                  <a:pt x="1085" y="258"/>
                  <a:pt x="1085" y="258"/>
                  <a:pt x="1085" y="258"/>
                </a:cubicBezTo>
                <a:cubicBezTo>
                  <a:pt x="1084" y="257"/>
                  <a:pt x="1084" y="257"/>
                  <a:pt x="1084" y="257"/>
                </a:cubicBezTo>
                <a:cubicBezTo>
                  <a:pt x="1083" y="257"/>
                  <a:pt x="1083" y="257"/>
                  <a:pt x="1083" y="257"/>
                </a:cubicBezTo>
                <a:close/>
                <a:moveTo>
                  <a:pt x="1085" y="259"/>
                </a:moveTo>
                <a:cubicBezTo>
                  <a:pt x="1086" y="259"/>
                  <a:pt x="1086" y="259"/>
                  <a:pt x="1086" y="259"/>
                </a:cubicBezTo>
                <a:cubicBezTo>
                  <a:pt x="1085" y="258"/>
                  <a:pt x="1085" y="258"/>
                  <a:pt x="1085" y="258"/>
                </a:cubicBezTo>
                <a:cubicBezTo>
                  <a:pt x="1084" y="259"/>
                  <a:pt x="1084" y="259"/>
                  <a:pt x="1084" y="259"/>
                </a:cubicBezTo>
                <a:cubicBezTo>
                  <a:pt x="1085" y="259"/>
                  <a:pt x="1085" y="259"/>
                  <a:pt x="1085" y="259"/>
                </a:cubicBezTo>
                <a:close/>
                <a:moveTo>
                  <a:pt x="1079" y="259"/>
                </a:moveTo>
                <a:cubicBezTo>
                  <a:pt x="1079" y="260"/>
                  <a:pt x="1079" y="260"/>
                  <a:pt x="1079" y="260"/>
                </a:cubicBezTo>
                <a:cubicBezTo>
                  <a:pt x="1080" y="260"/>
                  <a:pt x="1080" y="260"/>
                  <a:pt x="1080" y="260"/>
                </a:cubicBezTo>
                <a:cubicBezTo>
                  <a:pt x="1081" y="260"/>
                  <a:pt x="1081" y="260"/>
                  <a:pt x="1081" y="260"/>
                </a:cubicBezTo>
                <a:cubicBezTo>
                  <a:pt x="1081" y="259"/>
                  <a:pt x="1081" y="259"/>
                  <a:pt x="1081" y="259"/>
                </a:cubicBezTo>
                <a:cubicBezTo>
                  <a:pt x="1080" y="259"/>
                  <a:pt x="1080" y="259"/>
                  <a:pt x="1080" y="259"/>
                </a:cubicBezTo>
                <a:cubicBezTo>
                  <a:pt x="1079" y="259"/>
                  <a:pt x="1079" y="259"/>
                  <a:pt x="1079" y="259"/>
                </a:cubicBezTo>
                <a:close/>
                <a:moveTo>
                  <a:pt x="1217" y="265"/>
                </a:moveTo>
                <a:cubicBezTo>
                  <a:pt x="1218" y="266"/>
                  <a:pt x="1218" y="266"/>
                  <a:pt x="1218" y="266"/>
                </a:cubicBezTo>
                <a:cubicBezTo>
                  <a:pt x="1217" y="267"/>
                  <a:pt x="1217" y="267"/>
                  <a:pt x="1217" y="267"/>
                </a:cubicBezTo>
                <a:cubicBezTo>
                  <a:pt x="1216" y="267"/>
                  <a:pt x="1216" y="267"/>
                  <a:pt x="1216" y="267"/>
                </a:cubicBezTo>
                <a:cubicBezTo>
                  <a:pt x="1214" y="268"/>
                  <a:pt x="1214" y="268"/>
                  <a:pt x="1214" y="268"/>
                </a:cubicBezTo>
                <a:cubicBezTo>
                  <a:pt x="1213" y="269"/>
                  <a:pt x="1213" y="269"/>
                  <a:pt x="1213" y="269"/>
                </a:cubicBezTo>
                <a:cubicBezTo>
                  <a:pt x="1212" y="268"/>
                  <a:pt x="1212" y="268"/>
                  <a:pt x="1212" y="268"/>
                </a:cubicBezTo>
                <a:cubicBezTo>
                  <a:pt x="1211" y="269"/>
                  <a:pt x="1211" y="269"/>
                  <a:pt x="1211" y="269"/>
                </a:cubicBezTo>
                <a:cubicBezTo>
                  <a:pt x="1210" y="269"/>
                  <a:pt x="1210" y="269"/>
                  <a:pt x="1210" y="269"/>
                </a:cubicBezTo>
                <a:cubicBezTo>
                  <a:pt x="1209" y="269"/>
                  <a:pt x="1209" y="269"/>
                  <a:pt x="1209" y="269"/>
                </a:cubicBezTo>
                <a:cubicBezTo>
                  <a:pt x="1209" y="270"/>
                  <a:pt x="1209" y="270"/>
                  <a:pt x="1209" y="270"/>
                </a:cubicBezTo>
                <a:cubicBezTo>
                  <a:pt x="1208" y="270"/>
                  <a:pt x="1208" y="270"/>
                  <a:pt x="1208" y="270"/>
                </a:cubicBezTo>
                <a:cubicBezTo>
                  <a:pt x="1207" y="269"/>
                  <a:pt x="1207" y="269"/>
                  <a:pt x="1207" y="269"/>
                </a:cubicBezTo>
                <a:cubicBezTo>
                  <a:pt x="1206" y="271"/>
                  <a:pt x="1206" y="271"/>
                  <a:pt x="1206" y="271"/>
                </a:cubicBezTo>
                <a:cubicBezTo>
                  <a:pt x="1206" y="270"/>
                  <a:pt x="1206" y="270"/>
                  <a:pt x="1206" y="270"/>
                </a:cubicBezTo>
                <a:cubicBezTo>
                  <a:pt x="1205" y="270"/>
                  <a:pt x="1205" y="270"/>
                  <a:pt x="1205" y="270"/>
                </a:cubicBezTo>
                <a:cubicBezTo>
                  <a:pt x="1204" y="271"/>
                  <a:pt x="1204" y="271"/>
                  <a:pt x="1204" y="271"/>
                </a:cubicBezTo>
                <a:cubicBezTo>
                  <a:pt x="1203" y="271"/>
                  <a:pt x="1203" y="271"/>
                  <a:pt x="1203" y="271"/>
                </a:cubicBezTo>
                <a:cubicBezTo>
                  <a:pt x="1202" y="271"/>
                  <a:pt x="1202" y="271"/>
                  <a:pt x="1202" y="271"/>
                </a:cubicBezTo>
                <a:cubicBezTo>
                  <a:pt x="1201" y="271"/>
                  <a:pt x="1201" y="271"/>
                  <a:pt x="1201" y="271"/>
                </a:cubicBezTo>
                <a:cubicBezTo>
                  <a:pt x="1201" y="272"/>
                  <a:pt x="1201" y="272"/>
                  <a:pt x="1201" y="272"/>
                </a:cubicBezTo>
                <a:cubicBezTo>
                  <a:pt x="1200" y="272"/>
                  <a:pt x="1200" y="272"/>
                  <a:pt x="1200" y="272"/>
                </a:cubicBezTo>
                <a:cubicBezTo>
                  <a:pt x="1199" y="272"/>
                  <a:pt x="1199" y="272"/>
                  <a:pt x="1199" y="272"/>
                </a:cubicBezTo>
                <a:cubicBezTo>
                  <a:pt x="1199" y="273"/>
                  <a:pt x="1199" y="273"/>
                  <a:pt x="1199" y="273"/>
                </a:cubicBezTo>
                <a:cubicBezTo>
                  <a:pt x="1198" y="272"/>
                  <a:pt x="1198" y="272"/>
                  <a:pt x="1198" y="272"/>
                </a:cubicBezTo>
                <a:cubicBezTo>
                  <a:pt x="1198" y="273"/>
                  <a:pt x="1198" y="273"/>
                  <a:pt x="1198" y="273"/>
                </a:cubicBezTo>
                <a:cubicBezTo>
                  <a:pt x="1197" y="274"/>
                  <a:pt x="1197" y="274"/>
                  <a:pt x="1197" y="274"/>
                </a:cubicBezTo>
                <a:cubicBezTo>
                  <a:pt x="1196" y="274"/>
                  <a:pt x="1196" y="274"/>
                  <a:pt x="1196" y="274"/>
                </a:cubicBezTo>
                <a:cubicBezTo>
                  <a:pt x="1195" y="272"/>
                  <a:pt x="1195" y="272"/>
                  <a:pt x="1195" y="272"/>
                </a:cubicBezTo>
                <a:cubicBezTo>
                  <a:pt x="1194" y="272"/>
                  <a:pt x="1194" y="272"/>
                  <a:pt x="1194" y="272"/>
                </a:cubicBezTo>
                <a:cubicBezTo>
                  <a:pt x="1193" y="272"/>
                  <a:pt x="1193" y="272"/>
                  <a:pt x="1193" y="272"/>
                </a:cubicBezTo>
                <a:cubicBezTo>
                  <a:pt x="1193" y="273"/>
                  <a:pt x="1193" y="273"/>
                  <a:pt x="1193" y="273"/>
                </a:cubicBezTo>
                <a:cubicBezTo>
                  <a:pt x="1193" y="274"/>
                  <a:pt x="1193" y="274"/>
                  <a:pt x="1193" y="274"/>
                </a:cubicBezTo>
                <a:cubicBezTo>
                  <a:pt x="1192" y="274"/>
                  <a:pt x="1192" y="274"/>
                  <a:pt x="1192" y="274"/>
                </a:cubicBezTo>
                <a:cubicBezTo>
                  <a:pt x="1191" y="274"/>
                  <a:pt x="1191" y="274"/>
                  <a:pt x="1191" y="274"/>
                </a:cubicBezTo>
                <a:cubicBezTo>
                  <a:pt x="1190" y="274"/>
                  <a:pt x="1190" y="274"/>
                  <a:pt x="1190" y="274"/>
                </a:cubicBezTo>
                <a:cubicBezTo>
                  <a:pt x="1189" y="275"/>
                  <a:pt x="1189" y="275"/>
                  <a:pt x="1189" y="275"/>
                </a:cubicBezTo>
                <a:cubicBezTo>
                  <a:pt x="1189" y="274"/>
                  <a:pt x="1189" y="274"/>
                  <a:pt x="1189" y="274"/>
                </a:cubicBezTo>
                <a:cubicBezTo>
                  <a:pt x="1188" y="274"/>
                  <a:pt x="1188" y="274"/>
                  <a:pt x="1188" y="274"/>
                </a:cubicBezTo>
                <a:cubicBezTo>
                  <a:pt x="1187" y="274"/>
                  <a:pt x="1187" y="274"/>
                  <a:pt x="1187" y="274"/>
                </a:cubicBezTo>
                <a:cubicBezTo>
                  <a:pt x="1187" y="275"/>
                  <a:pt x="1187" y="275"/>
                  <a:pt x="1187" y="275"/>
                </a:cubicBezTo>
                <a:cubicBezTo>
                  <a:pt x="1186" y="275"/>
                  <a:pt x="1186" y="275"/>
                  <a:pt x="1186" y="275"/>
                </a:cubicBezTo>
                <a:cubicBezTo>
                  <a:pt x="1185" y="274"/>
                  <a:pt x="1185" y="274"/>
                  <a:pt x="1185" y="274"/>
                </a:cubicBezTo>
                <a:cubicBezTo>
                  <a:pt x="1185" y="273"/>
                  <a:pt x="1185" y="273"/>
                  <a:pt x="1185" y="273"/>
                </a:cubicBezTo>
                <a:cubicBezTo>
                  <a:pt x="1185" y="272"/>
                  <a:pt x="1185" y="272"/>
                  <a:pt x="1185" y="272"/>
                </a:cubicBezTo>
                <a:cubicBezTo>
                  <a:pt x="1184" y="272"/>
                  <a:pt x="1184" y="272"/>
                  <a:pt x="1184" y="272"/>
                </a:cubicBezTo>
                <a:cubicBezTo>
                  <a:pt x="1183" y="270"/>
                  <a:pt x="1183" y="270"/>
                  <a:pt x="1183" y="270"/>
                </a:cubicBezTo>
                <a:cubicBezTo>
                  <a:pt x="1183" y="269"/>
                  <a:pt x="1183" y="269"/>
                  <a:pt x="1183" y="269"/>
                </a:cubicBezTo>
                <a:cubicBezTo>
                  <a:pt x="1183" y="267"/>
                  <a:pt x="1183" y="267"/>
                  <a:pt x="1183" y="267"/>
                </a:cubicBezTo>
                <a:cubicBezTo>
                  <a:pt x="1182" y="267"/>
                  <a:pt x="1182" y="267"/>
                  <a:pt x="1182" y="267"/>
                </a:cubicBezTo>
                <a:cubicBezTo>
                  <a:pt x="1182" y="268"/>
                  <a:pt x="1182" y="268"/>
                  <a:pt x="1182" y="268"/>
                </a:cubicBezTo>
                <a:cubicBezTo>
                  <a:pt x="1182" y="269"/>
                  <a:pt x="1182" y="269"/>
                  <a:pt x="1182" y="269"/>
                </a:cubicBezTo>
                <a:cubicBezTo>
                  <a:pt x="1182" y="270"/>
                  <a:pt x="1182" y="270"/>
                  <a:pt x="1182" y="270"/>
                </a:cubicBezTo>
                <a:cubicBezTo>
                  <a:pt x="1183" y="270"/>
                  <a:pt x="1183" y="270"/>
                  <a:pt x="1183" y="270"/>
                </a:cubicBezTo>
                <a:cubicBezTo>
                  <a:pt x="1183" y="271"/>
                  <a:pt x="1183" y="271"/>
                  <a:pt x="1183" y="271"/>
                </a:cubicBezTo>
                <a:cubicBezTo>
                  <a:pt x="1183" y="272"/>
                  <a:pt x="1183" y="272"/>
                  <a:pt x="1183" y="272"/>
                </a:cubicBezTo>
                <a:cubicBezTo>
                  <a:pt x="1183" y="273"/>
                  <a:pt x="1183" y="273"/>
                  <a:pt x="1183" y="273"/>
                </a:cubicBezTo>
                <a:cubicBezTo>
                  <a:pt x="1184" y="273"/>
                  <a:pt x="1184" y="273"/>
                  <a:pt x="1184" y="273"/>
                </a:cubicBezTo>
                <a:cubicBezTo>
                  <a:pt x="1184" y="275"/>
                  <a:pt x="1184" y="275"/>
                  <a:pt x="1184" y="275"/>
                </a:cubicBezTo>
                <a:cubicBezTo>
                  <a:pt x="1184" y="276"/>
                  <a:pt x="1184" y="276"/>
                  <a:pt x="1184" y="276"/>
                </a:cubicBezTo>
                <a:cubicBezTo>
                  <a:pt x="1183" y="277"/>
                  <a:pt x="1183" y="277"/>
                  <a:pt x="1183" y="277"/>
                </a:cubicBezTo>
                <a:cubicBezTo>
                  <a:pt x="1182" y="277"/>
                  <a:pt x="1182" y="277"/>
                  <a:pt x="1182" y="277"/>
                </a:cubicBezTo>
                <a:cubicBezTo>
                  <a:pt x="1181" y="277"/>
                  <a:pt x="1181" y="277"/>
                  <a:pt x="1181" y="277"/>
                </a:cubicBezTo>
                <a:cubicBezTo>
                  <a:pt x="1180" y="279"/>
                  <a:pt x="1180" y="279"/>
                  <a:pt x="1180" y="279"/>
                </a:cubicBezTo>
                <a:cubicBezTo>
                  <a:pt x="1179" y="279"/>
                  <a:pt x="1179" y="279"/>
                  <a:pt x="1179" y="279"/>
                </a:cubicBezTo>
                <a:cubicBezTo>
                  <a:pt x="1178" y="279"/>
                  <a:pt x="1178" y="279"/>
                  <a:pt x="1178" y="279"/>
                </a:cubicBezTo>
                <a:cubicBezTo>
                  <a:pt x="1178" y="280"/>
                  <a:pt x="1178" y="280"/>
                  <a:pt x="1178" y="280"/>
                </a:cubicBezTo>
                <a:cubicBezTo>
                  <a:pt x="1177" y="281"/>
                  <a:pt x="1177" y="281"/>
                  <a:pt x="1177" y="281"/>
                </a:cubicBezTo>
                <a:cubicBezTo>
                  <a:pt x="1176" y="281"/>
                  <a:pt x="1176" y="281"/>
                  <a:pt x="1176" y="281"/>
                </a:cubicBezTo>
                <a:cubicBezTo>
                  <a:pt x="1176" y="282"/>
                  <a:pt x="1176" y="282"/>
                  <a:pt x="1176" y="282"/>
                </a:cubicBezTo>
                <a:cubicBezTo>
                  <a:pt x="1176" y="283"/>
                  <a:pt x="1176" y="283"/>
                  <a:pt x="1176" y="283"/>
                </a:cubicBezTo>
                <a:cubicBezTo>
                  <a:pt x="1176" y="284"/>
                  <a:pt x="1176" y="284"/>
                  <a:pt x="1176" y="284"/>
                </a:cubicBezTo>
                <a:cubicBezTo>
                  <a:pt x="1175" y="284"/>
                  <a:pt x="1175" y="284"/>
                  <a:pt x="1175" y="284"/>
                </a:cubicBezTo>
                <a:cubicBezTo>
                  <a:pt x="1175" y="283"/>
                  <a:pt x="1175" y="283"/>
                  <a:pt x="1175" y="283"/>
                </a:cubicBezTo>
                <a:cubicBezTo>
                  <a:pt x="1174" y="283"/>
                  <a:pt x="1174" y="283"/>
                  <a:pt x="1174" y="283"/>
                </a:cubicBezTo>
                <a:cubicBezTo>
                  <a:pt x="1174" y="284"/>
                  <a:pt x="1174" y="284"/>
                  <a:pt x="1174" y="284"/>
                </a:cubicBezTo>
                <a:cubicBezTo>
                  <a:pt x="1174" y="285"/>
                  <a:pt x="1174" y="285"/>
                  <a:pt x="1174" y="285"/>
                </a:cubicBezTo>
                <a:cubicBezTo>
                  <a:pt x="1173" y="286"/>
                  <a:pt x="1173" y="286"/>
                  <a:pt x="1173" y="286"/>
                </a:cubicBezTo>
                <a:cubicBezTo>
                  <a:pt x="1171" y="287"/>
                  <a:pt x="1171" y="287"/>
                  <a:pt x="1171" y="287"/>
                </a:cubicBezTo>
                <a:cubicBezTo>
                  <a:pt x="1171" y="288"/>
                  <a:pt x="1171" y="288"/>
                  <a:pt x="1171" y="288"/>
                </a:cubicBezTo>
                <a:cubicBezTo>
                  <a:pt x="1171" y="289"/>
                  <a:pt x="1171" y="289"/>
                  <a:pt x="1171" y="289"/>
                </a:cubicBezTo>
                <a:cubicBezTo>
                  <a:pt x="1171" y="290"/>
                  <a:pt x="1171" y="290"/>
                  <a:pt x="1171" y="290"/>
                </a:cubicBezTo>
                <a:cubicBezTo>
                  <a:pt x="1170" y="291"/>
                  <a:pt x="1170" y="291"/>
                  <a:pt x="1170" y="291"/>
                </a:cubicBezTo>
                <a:cubicBezTo>
                  <a:pt x="1169" y="291"/>
                  <a:pt x="1169" y="291"/>
                  <a:pt x="1169" y="291"/>
                </a:cubicBezTo>
                <a:cubicBezTo>
                  <a:pt x="1169" y="290"/>
                  <a:pt x="1169" y="290"/>
                  <a:pt x="1169" y="290"/>
                </a:cubicBezTo>
                <a:cubicBezTo>
                  <a:pt x="1168" y="291"/>
                  <a:pt x="1168" y="291"/>
                  <a:pt x="1168" y="291"/>
                </a:cubicBezTo>
                <a:cubicBezTo>
                  <a:pt x="1168" y="292"/>
                  <a:pt x="1168" y="292"/>
                  <a:pt x="1168" y="292"/>
                </a:cubicBezTo>
                <a:cubicBezTo>
                  <a:pt x="1166" y="294"/>
                  <a:pt x="1166" y="294"/>
                  <a:pt x="1166" y="294"/>
                </a:cubicBezTo>
                <a:cubicBezTo>
                  <a:pt x="1165" y="294"/>
                  <a:pt x="1165" y="294"/>
                  <a:pt x="1165" y="294"/>
                </a:cubicBezTo>
                <a:cubicBezTo>
                  <a:pt x="1165" y="293"/>
                  <a:pt x="1165" y="293"/>
                  <a:pt x="1165" y="293"/>
                </a:cubicBezTo>
                <a:cubicBezTo>
                  <a:pt x="1164" y="293"/>
                  <a:pt x="1164" y="293"/>
                  <a:pt x="1164" y="293"/>
                </a:cubicBezTo>
                <a:cubicBezTo>
                  <a:pt x="1163" y="293"/>
                  <a:pt x="1163" y="293"/>
                  <a:pt x="1163" y="293"/>
                </a:cubicBezTo>
                <a:cubicBezTo>
                  <a:pt x="1162" y="292"/>
                  <a:pt x="1162" y="292"/>
                  <a:pt x="1162" y="292"/>
                </a:cubicBezTo>
                <a:cubicBezTo>
                  <a:pt x="1162" y="293"/>
                  <a:pt x="1162" y="293"/>
                  <a:pt x="1162" y="293"/>
                </a:cubicBezTo>
                <a:cubicBezTo>
                  <a:pt x="1163" y="293"/>
                  <a:pt x="1163" y="293"/>
                  <a:pt x="1163" y="293"/>
                </a:cubicBezTo>
                <a:cubicBezTo>
                  <a:pt x="1163" y="294"/>
                  <a:pt x="1163" y="294"/>
                  <a:pt x="1163" y="294"/>
                </a:cubicBezTo>
                <a:cubicBezTo>
                  <a:pt x="1163" y="295"/>
                  <a:pt x="1163" y="295"/>
                  <a:pt x="1163" y="295"/>
                </a:cubicBezTo>
                <a:cubicBezTo>
                  <a:pt x="1162" y="295"/>
                  <a:pt x="1162" y="295"/>
                  <a:pt x="1162" y="295"/>
                </a:cubicBezTo>
                <a:cubicBezTo>
                  <a:pt x="1160" y="296"/>
                  <a:pt x="1160" y="296"/>
                  <a:pt x="1160" y="296"/>
                </a:cubicBezTo>
                <a:cubicBezTo>
                  <a:pt x="1159" y="297"/>
                  <a:pt x="1159" y="297"/>
                  <a:pt x="1159" y="297"/>
                </a:cubicBezTo>
                <a:cubicBezTo>
                  <a:pt x="1159" y="298"/>
                  <a:pt x="1159" y="298"/>
                  <a:pt x="1159" y="298"/>
                </a:cubicBezTo>
                <a:cubicBezTo>
                  <a:pt x="1158" y="297"/>
                  <a:pt x="1158" y="297"/>
                  <a:pt x="1158" y="297"/>
                </a:cubicBezTo>
                <a:cubicBezTo>
                  <a:pt x="1158" y="296"/>
                  <a:pt x="1158" y="296"/>
                  <a:pt x="1158" y="296"/>
                </a:cubicBezTo>
                <a:cubicBezTo>
                  <a:pt x="1157" y="296"/>
                  <a:pt x="1157" y="296"/>
                  <a:pt x="1157" y="296"/>
                </a:cubicBezTo>
                <a:cubicBezTo>
                  <a:pt x="1157" y="297"/>
                  <a:pt x="1157" y="297"/>
                  <a:pt x="1157" y="297"/>
                </a:cubicBezTo>
                <a:cubicBezTo>
                  <a:pt x="1157" y="298"/>
                  <a:pt x="1157" y="298"/>
                  <a:pt x="1157" y="298"/>
                </a:cubicBezTo>
                <a:cubicBezTo>
                  <a:pt x="1156" y="298"/>
                  <a:pt x="1156" y="298"/>
                  <a:pt x="1156" y="298"/>
                </a:cubicBezTo>
                <a:cubicBezTo>
                  <a:pt x="1155" y="298"/>
                  <a:pt x="1155" y="298"/>
                  <a:pt x="1155" y="298"/>
                </a:cubicBezTo>
                <a:cubicBezTo>
                  <a:pt x="1154" y="297"/>
                  <a:pt x="1154" y="297"/>
                  <a:pt x="1154" y="297"/>
                </a:cubicBezTo>
                <a:cubicBezTo>
                  <a:pt x="1154" y="296"/>
                  <a:pt x="1154" y="296"/>
                  <a:pt x="1154" y="296"/>
                </a:cubicBezTo>
                <a:cubicBezTo>
                  <a:pt x="1153" y="297"/>
                  <a:pt x="1153" y="297"/>
                  <a:pt x="1153" y="297"/>
                </a:cubicBezTo>
                <a:cubicBezTo>
                  <a:pt x="1153" y="298"/>
                  <a:pt x="1153" y="298"/>
                  <a:pt x="1153" y="298"/>
                </a:cubicBezTo>
                <a:cubicBezTo>
                  <a:pt x="1151" y="296"/>
                  <a:pt x="1151" y="296"/>
                  <a:pt x="1151" y="296"/>
                </a:cubicBezTo>
                <a:cubicBezTo>
                  <a:pt x="1151" y="295"/>
                  <a:pt x="1151" y="295"/>
                  <a:pt x="1151" y="295"/>
                </a:cubicBezTo>
                <a:cubicBezTo>
                  <a:pt x="1152" y="294"/>
                  <a:pt x="1152" y="294"/>
                  <a:pt x="1152" y="294"/>
                </a:cubicBezTo>
                <a:cubicBezTo>
                  <a:pt x="1152" y="293"/>
                  <a:pt x="1152" y="293"/>
                  <a:pt x="1152" y="293"/>
                </a:cubicBezTo>
                <a:cubicBezTo>
                  <a:pt x="1153" y="293"/>
                  <a:pt x="1153" y="293"/>
                  <a:pt x="1153" y="293"/>
                </a:cubicBezTo>
                <a:cubicBezTo>
                  <a:pt x="1153" y="292"/>
                  <a:pt x="1153" y="292"/>
                  <a:pt x="1153" y="292"/>
                </a:cubicBezTo>
                <a:cubicBezTo>
                  <a:pt x="1152" y="292"/>
                  <a:pt x="1152" y="292"/>
                  <a:pt x="1152" y="292"/>
                </a:cubicBezTo>
                <a:cubicBezTo>
                  <a:pt x="1151" y="291"/>
                  <a:pt x="1151" y="291"/>
                  <a:pt x="1151" y="291"/>
                </a:cubicBezTo>
                <a:cubicBezTo>
                  <a:pt x="1150" y="291"/>
                  <a:pt x="1150" y="291"/>
                  <a:pt x="1150" y="291"/>
                </a:cubicBezTo>
                <a:cubicBezTo>
                  <a:pt x="1150" y="292"/>
                  <a:pt x="1150" y="292"/>
                  <a:pt x="1150" y="292"/>
                </a:cubicBezTo>
                <a:cubicBezTo>
                  <a:pt x="1151" y="293"/>
                  <a:pt x="1151" y="293"/>
                  <a:pt x="1151" y="293"/>
                </a:cubicBezTo>
                <a:cubicBezTo>
                  <a:pt x="1150" y="294"/>
                  <a:pt x="1150" y="294"/>
                  <a:pt x="1150" y="294"/>
                </a:cubicBezTo>
                <a:cubicBezTo>
                  <a:pt x="1150" y="295"/>
                  <a:pt x="1150" y="295"/>
                  <a:pt x="1150" y="295"/>
                </a:cubicBezTo>
                <a:cubicBezTo>
                  <a:pt x="1149" y="296"/>
                  <a:pt x="1149" y="296"/>
                  <a:pt x="1149" y="296"/>
                </a:cubicBezTo>
                <a:cubicBezTo>
                  <a:pt x="1148" y="296"/>
                  <a:pt x="1148" y="296"/>
                  <a:pt x="1148" y="296"/>
                </a:cubicBezTo>
                <a:cubicBezTo>
                  <a:pt x="1148" y="295"/>
                  <a:pt x="1148" y="295"/>
                  <a:pt x="1148" y="295"/>
                </a:cubicBezTo>
                <a:cubicBezTo>
                  <a:pt x="1147" y="296"/>
                  <a:pt x="1147" y="296"/>
                  <a:pt x="1147" y="296"/>
                </a:cubicBezTo>
                <a:cubicBezTo>
                  <a:pt x="1148" y="298"/>
                  <a:pt x="1148" y="298"/>
                  <a:pt x="1148" y="298"/>
                </a:cubicBezTo>
                <a:cubicBezTo>
                  <a:pt x="1148" y="299"/>
                  <a:pt x="1148" y="299"/>
                  <a:pt x="1148" y="299"/>
                </a:cubicBezTo>
                <a:cubicBezTo>
                  <a:pt x="1148" y="300"/>
                  <a:pt x="1148" y="300"/>
                  <a:pt x="1148" y="300"/>
                </a:cubicBezTo>
                <a:cubicBezTo>
                  <a:pt x="1147" y="300"/>
                  <a:pt x="1147" y="300"/>
                  <a:pt x="1147" y="300"/>
                </a:cubicBezTo>
                <a:cubicBezTo>
                  <a:pt x="1146" y="300"/>
                  <a:pt x="1146" y="300"/>
                  <a:pt x="1146" y="300"/>
                </a:cubicBezTo>
                <a:cubicBezTo>
                  <a:pt x="1145" y="300"/>
                  <a:pt x="1145" y="300"/>
                  <a:pt x="1145" y="300"/>
                </a:cubicBezTo>
                <a:cubicBezTo>
                  <a:pt x="1145" y="301"/>
                  <a:pt x="1145" y="301"/>
                  <a:pt x="1145" y="301"/>
                </a:cubicBezTo>
                <a:cubicBezTo>
                  <a:pt x="1144" y="301"/>
                  <a:pt x="1144" y="301"/>
                  <a:pt x="1144" y="301"/>
                </a:cubicBezTo>
                <a:cubicBezTo>
                  <a:pt x="1143" y="301"/>
                  <a:pt x="1143" y="301"/>
                  <a:pt x="1143" y="301"/>
                </a:cubicBezTo>
                <a:cubicBezTo>
                  <a:pt x="1143" y="300"/>
                  <a:pt x="1143" y="300"/>
                  <a:pt x="1143" y="300"/>
                </a:cubicBezTo>
                <a:cubicBezTo>
                  <a:pt x="1142" y="299"/>
                  <a:pt x="1142" y="299"/>
                  <a:pt x="1142" y="299"/>
                </a:cubicBezTo>
                <a:cubicBezTo>
                  <a:pt x="1142" y="300"/>
                  <a:pt x="1142" y="300"/>
                  <a:pt x="1142" y="300"/>
                </a:cubicBezTo>
                <a:cubicBezTo>
                  <a:pt x="1141" y="301"/>
                  <a:pt x="1141" y="301"/>
                  <a:pt x="1141" y="301"/>
                </a:cubicBezTo>
                <a:cubicBezTo>
                  <a:pt x="1140" y="300"/>
                  <a:pt x="1140" y="300"/>
                  <a:pt x="1140" y="300"/>
                </a:cubicBezTo>
                <a:cubicBezTo>
                  <a:pt x="1140" y="299"/>
                  <a:pt x="1140" y="299"/>
                  <a:pt x="1140" y="299"/>
                </a:cubicBezTo>
                <a:cubicBezTo>
                  <a:pt x="1139" y="299"/>
                  <a:pt x="1139" y="299"/>
                  <a:pt x="1139" y="299"/>
                </a:cubicBezTo>
                <a:cubicBezTo>
                  <a:pt x="1139" y="300"/>
                  <a:pt x="1139" y="300"/>
                  <a:pt x="1139" y="300"/>
                </a:cubicBezTo>
                <a:cubicBezTo>
                  <a:pt x="1138" y="300"/>
                  <a:pt x="1138" y="300"/>
                  <a:pt x="1138" y="300"/>
                </a:cubicBezTo>
                <a:cubicBezTo>
                  <a:pt x="1138" y="301"/>
                  <a:pt x="1138" y="301"/>
                  <a:pt x="1138" y="301"/>
                </a:cubicBezTo>
                <a:cubicBezTo>
                  <a:pt x="1138" y="302"/>
                  <a:pt x="1138" y="302"/>
                  <a:pt x="1138" y="302"/>
                </a:cubicBezTo>
                <a:cubicBezTo>
                  <a:pt x="1138" y="303"/>
                  <a:pt x="1138" y="303"/>
                  <a:pt x="1138" y="303"/>
                </a:cubicBezTo>
                <a:cubicBezTo>
                  <a:pt x="1138" y="304"/>
                  <a:pt x="1138" y="304"/>
                  <a:pt x="1138" y="304"/>
                </a:cubicBezTo>
                <a:cubicBezTo>
                  <a:pt x="1137" y="306"/>
                  <a:pt x="1137" y="306"/>
                  <a:pt x="1137" y="306"/>
                </a:cubicBezTo>
                <a:cubicBezTo>
                  <a:pt x="1136" y="306"/>
                  <a:pt x="1136" y="306"/>
                  <a:pt x="1136" y="306"/>
                </a:cubicBezTo>
                <a:cubicBezTo>
                  <a:pt x="1135" y="305"/>
                  <a:pt x="1135" y="305"/>
                  <a:pt x="1135" y="305"/>
                </a:cubicBezTo>
                <a:cubicBezTo>
                  <a:pt x="1135" y="304"/>
                  <a:pt x="1135" y="304"/>
                  <a:pt x="1135" y="304"/>
                </a:cubicBezTo>
                <a:cubicBezTo>
                  <a:pt x="1134" y="304"/>
                  <a:pt x="1134" y="304"/>
                  <a:pt x="1134" y="304"/>
                </a:cubicBezTo>
                <a:cubicBezTo>
                  <a:pt x="1134" y="305"/>
                  <a:pt x="1134" y="305"/>
                  <a:pt x="1134" y="305"/>
                </a:cubicBezTo>
                <a:cubicBezTo>
                  <a:pt x="1133" y="304"/>
                  <a:pt x="1133" y="304"/>
                  <a:pt x="1133" y="304"/>
                </a:cubicBezTo>
                <a:cubicBezTo>
                  <a:pt x="1133" y="303"/>
                  <a:pt x="1133" y="303"/>
                  <a:pt x="1133" y="303"/>
                </a:cubicBezTo>
                <a:cubicBezTo>
                  <a:pt x="1132" y="303"/>
                  <a:pt x="1132" y="303"/>
                  <a:pt x="1132" y="303"/>
                </a:cubicBezTo>
                <a:cubicBezTo>
                  <a:pt x="1132" y="304"/>
                  <a:pt x="1132" y="304"/>
                  <a:pt x="1132" y="304"/>
                </a:cubicBezTo>
                <a:cubicBezTo>
                  <a:pt x="1132" y="305"/>
                  <a:pt x="1132" y="305"/>
                  <a:pt x="1132" y="305"/>
                </a:cubicBezTo>
                <a:cubicBezTo>
                  <a:pt x="1132" y="306"/>
                  <a:pt x="1132" y="306"/>
                  <a:pt x="1132" y="306"/>
                </a:cubicBezTo>
                <a:cubicBezTo>
                  <a:pt x="1132" y="307"/>
                  <a:pt x="1132" y="307"/>
                  <a:pt x="1132" y="307"/>
                </a:cubicBezTo>
                <a:cubicBezTo>
                  <a:pt x="1133" y="308"/>
                  <a:pt x="1133" y="308"/>
                  <a:pt x="1133" y="308"/>
                </a:cubicBezTo>
                <a:cubicBezTo>
                  <a:pt x="1133" y="309"/>
                  <a:pt x="1133" y="309"/>
                  <a:pt x="1133" y="309"/>
                </a:cubicBezTo>
                <a:cubicBezTo>
                  <a:pt x="1133" y="311"/>
                  <a:pt x="1133" y="311"/>
                  <a:pt x="1133" y="311"/>
                </a:cubicBezTo>
                <a:cubicBezTo>
                  <a:pt x="1133" y="312"/>
                  <a:pt x="1133" y="312"/>
                  <a:pt x="1133" y="312"/>
                </a:cubicBezTo>
                <a:cubicBezTo>
                  <a:pt x="1132" y="311"/>
                  <a:pt x="1132" y="311"/>
                  <a:pt x="1132" y="311"/>
                </a:cubicBezTo>
                <a:cubicBezTo>
                  <a:pt x="1132" y="312"/>
                  <a:pt x="1132" y="312"/>
                  <a:pt x="1132" y="312"/>
                </a:cubicBezTo>
                <a:cubicBezTo>
                  <a:pt x="1131" y="312"/>
                  <a:pt x="1131" y="312"/>
                  <a:pt x="1131" y="312"/>
                </a:cubicBezTo>
                <a:cubicBezTo>
                  <a:pt x="1129" y="312"/>
                  <a:pt x="1129" y="312"/>
                  <a:pt x="1129" y="312"/>
                </a:cubicBezTo>
                <a:cubicBezTo>
                  <a:pt x="1128" y="312"/>
                  <a:pt x="1128" y="312"/>
                  <a:pt x="1128" y="312"/>
                </a:cubicBezTo>
                <a:cubicBezTo>
                  <a:pt x="1128" y="313"/>
                  <a:pt x="1128" y="313"/>
                  <a:pt x="1128" y="313"/>
                </a:cubicBezTo>
                <a:cubicBezTo>
                  <a:pt x="1129" y="314"/>
                  <a:pt x="1129" y="314"/>
                  <a:pt x="1129" y="314"/>
                </a:cubicBezTo>
                <a:cubicBezTo>
                  <a:pt x="1130" y="314"/>
                  <a:pt x="1130" y="314"/>
                  <a:pt x="1130" y="314"/>
                </a:cubicBezTo>
                <a:cubicBezTo>
                  <a:pt x="1131" y="314"/>
                  <a:pt x="1131" y="314"/>
                  <a:pt x="1131" y="314"/>
                </a:cubicBezTo>
                <a:cubicBezTo>
                  <a:pt x="1131" y="315"/>
                  <a:pt x="1131" y="315"/>
                  <a:pt x="1131" y="315"/>
                </a:cubicBezTo>
                <a:cubicBezTo>
                  <a:pt x="1132" y="315"/>
                  <a:pt x="1132" y="315"/>
                  <a:pt x="1132" y="315"/>
                </a:cubicBezTo>
                <a:cubicBezTo>
                  <a:pt x="1133" y="315"/>
                  <a:pt x="1133" y="315"/>
                  <a:pt x="1133" y="315"/>
                </a:cubicBezTo>
                <a:cubicBezTo>
                  <a:pt x="1132" y="316"/>
                  <a:pt x="1132" y="316"/>
                  <a:pt x="1132" y="316"/>
                </a:cubicBezTo>
                <a:cubicBezTo>
                  <a:pt x="1131" y="316"/>
                  <a:pt x="1131" y="316"/>
                  <a:pt x="1131" y="316"/>
                </a:cubicBezTo>
                <a:cubicBezTo>
                  <a:pt x="1131" y="317"/>
                  <a:pt x="1131" y="317"/>
                  <a:pt x="1131" y="317"/>
                </a:cubicBezTo>
                <a:cubicBezTo>
                  <a:pt x="1132" y="317"/>
                  <a:pt x="1132" y="317"/>
                  <a:pt x="1132" y="317"/>
                </a:cubicBezTo>
                <a:cubicBezTo>
                  <a:pt x="1132" y="318"/>
                  <a:pt x="1132" y="318"/>
                  <a:pt x="1132" y="318"/>
                </a:cubicBezTo>
                <a:cubicBezTo>
                  <a:pt x="1132" y="319"/>
                  <a:pt x="1132" y="319"/>
                  <a:pt x="1132" y="319"/>
                </a:cubicBezTo>
                <a:cubicBezTo>
                  <a:pt x="1131" y="320"/>
                  <a:pt x="1131" y="320"/>
                  <a:pt x="1131" y="320"/>
                </a:cubicBezTo>
                <a:cubicBezTo>
                  <a:pt x="1130" y="319"/>
                  <a:pt x="1130" y="319"/>
                  <a:pt x="1130" y="319"/>
                </a:cubicBezTo>
                <a:cubicBezTo>
                  <a:pt x="1129" y="318"/>
                  <a:pt x="1129" y="318"/>
                  <a:pt x="1129" y="318"/>
                </a:cubicBezTo>
                <a:cubicBezTo>
                  <a:pt x="1128" y="318"/>
                  <a:pt x="1128" y="318"/>
                  <a:pt x="1128" y="318"/>
                </a:cubicBezTo>
                <a:cubicBezTo>
                  <a:pt x="1128" y="317"/>
                  <a:pt x="1128" y="317"/>
                  <a:pt x="1128" y="317"/>
                </a:cubicBezTo>
                <a:cubicBezTo>
                  <a:pt x="1127" y="317"/>
                  <a:pt x="1127" y="317"/>
                  <a:pt x="1127" y="317"/>
                </a:cubicBezTo>
                <a:cubicBezTo>
                  <a:pt x="1127" y="318"/>
                  <a:pt x="1127" y="318"/>
                  <a:pt x="1127" y="318"/>
                </a:cubicBezTo>
                <a:cubicBezTo>
                  <a:pt x="1128" y="319"/>
                  <a:pt x="1128" y="319"/>
                  <a:pt x="1128" y="319"/>
                </a:cubicBezTo>
                <a:cubicBezTo>
                  <a:pt x="1129" y="319"/>
                  <a:pt x="1129" y="319"/>
                  <a:pt x="1129" y="319"/>
                </a:cubicBezTo>
                <a:cubicBezTo>
                  <a:pt x="1130" y="320"/>
                  <a:pt x="1130" y="320"/>
                  <a:pt x="1130" y="320"/>
                </a:cubicBezTo>
                <a:cubicBezTo>
                  <a:pt x="1131" y="320"/>
                  <a:pt x="1131" y="320"/>
                  <a:pt x="1131" y="320"/>
                </a:cubicBezTo>
                <a:cubicBezTo>
                  <a:pt x="1131" y="321"/>
                  <a:pt x="1131" y="321"/>
                  <a:pt x="1131" y="321"/>
                </a:cubicBezTo>
                <a:cubicBezTo>
                  <a:pt x="1130" y="322"/>
                  <a:pt x="1130" y="322"/>
                  <a:pt x="1130" y="322"/>
                </a:cubicBezTo>
                <a:cubicBezTo>
                  <a:pt x="1129" y="322"/>
                  <a:pt x="1129" y="322"/>
                  <a:pt x="1129" y="322"/>
                </a:cubicBezTo>
                <a:cubicBezTo>
                  <a:pt x="1128" y="322"/>
                  <a:pt x="1128" y="322"/>
                  <a:pt x="1128" y="322"/>
                </a:cubicBezTo>
                <a:cubicBezTo>
                  <a:pt x="1126" y="321"/>
                  <a:pt x="1126" y="321"/>
                  <a:pt x="1126" y="321"/>
                </a:cubicBezTo>
                <a:cubicBezTo>
                  <a:pt x="1126" y="320"/>
                  <a:pt x="1126" y="320"/>
                  <a:pt x="1126" y="320"/>
                </a:cubicBezTo>
                <a:cubicBezTo>
                  <a:pt x="1125" y="320"/>
                  <a:pt x="1125" y="320"/>
                  <a:pt x="1125" y="320"/>
                </a:cubicBezTo>
                <a:cubicBezTo>
                  <a:pt x="1125" y="321"/>
                  <a:pt x="1125" y="321"/>
                  <a:pt x="1125" y="321"/>
                </a:cubicBezTo>
                <a:cubicBezTo>
                  <a:pt x="1125" y="321"/>
                  <a:pt x="1125" y="321"/>
                  <a:pt x="1126" y="321"/>
                </a:cubicBezTo>
                <a:cubicBezTo>
                  <a:pt x="1126" y="321"/>
                  <a:pt x="1126" y="321"/>
                  <a:pt x="1126" y="322"/>
                </a:cubicBezTo>
                <a:cubicBezTo>
                  <a:pt x="1126" y="322"/>
                  <a:pt x="1126" y="322"/>
                  <a:pt x="1128" y="323"/>
                </a:cubicBezTo>
                <a:cubicBezTo>
                  <a:pt x="1128" y="323"/>
                  <a:pt x="1128" y="323"/>
                  <a:pt x="1127" y="323"/>
                </a:cubicBezTo>
                <a:cubicBezTo>
                  <a:pt x="1127" y="324"/>
                  <a:pt x="1127" y="324"/>
                  <a:pt x="1127" y="324"/>
                </a:cubicBezTo>
                <a:cubicBezTo>
                  <a:pt x="1127" y="325"/>
                  <a:pt x="1127" y="325"/>
                  <a:pt x="1127" y="325"/>
                </a:cubicBezTo>
                <a:cubicBezTo>
                  <a:pt x="1126" y="324"/>
                  <a:pt x="1126" y="324"/>
                  <a:pt x="1126" y="324"/>
                </a:cubicBezTo>
                <a:cubicBezTo>
                  <a:pt x="1125" y="324"/>
                  <a:pt x="1125" y="324"/>
                  <a:pt x="1125" y="324"/>
                </a:cubicBezTo>
                <a:cubicBezTo>
                  <a:pt x="1124" y="323"/>
                  <a:pt x="1124" y="323"/>
                  <a:pt x="1124" y="323"/>
                </a:cubicBezTo>
                <a:cubicBezTo>
                  <a:pt x="1123" y="323"/>
                  <a:pt x="1123" y="323"/>
                  <a:pt x="1123" y="323"/>
                </a:cubicBezTo>
                <a:cubicBezTo>
                  <a:pt x="1123" y="324"/>
                  <a:pt x="1123" y="324"/>
                  <a:pt x="1123" y="324"/>
                </a:cubicBezTo>
                <a:cubicBezTo>
                  <a:pt x="1122" y="324"/>
                  <a:pt x="1122" y="324"/>
                  <a:pt x="1122" y="324"/>
                </a:cubicBezTo>
                <a:cubicBezTo>
                  <a:pt x="1122" y="325"/>
                  <a:pt x="1122" y="325"/>
                  <a:pt x="1122" y="325"/>
                </a:cubicBezTo>
                <a:cubicBezTo>
                  <a:pt x="1122" y="326"/>
                  <a:pt x="1122" y="326"/>
                  <a:pt x="1122" y="326"/>
                </a:cubicBezTo>
                <a:cubicBezTo>
                  <a:pt x="1122" y="327"/>
                  <a:pt x="1122" y="327"/>
                  <a:pt x="1122" y="327"/>
                </a:cubicBezTo>
                <a:cubicBezTo>
                  <a:pt x="1123" y="327"/>
                  <a:pt x="1123" y="327"/>
                  <a:pt x="1123" y="327"/>
                </a:cubicBezTo>
                <a:cubicBezTo>
                  <a:pt x="1124" y="327"/>
                  <a:pt x="1124" y="327"/>
                  <a:pt x="1124" y="327"/>
                </a:cubicBezTo>
                <a:cubicBezTo>
                  <a:pt x="1125" y="327"/>
                  <a:pt x="1125" y="327"/>
                  <a:pt x="1125" y="327"/>
                </a:cubicBezTo>
                <a:cubicBezTo>
                  <a:pt x="1125" y="328"/>
                  <a:pt x="1125" y="328"/>
                  <a:pt x="1125" y="328"/>
                </a:cubicBezTo>
                <a:cubicBezTo>
                  <a:pt x="1125" y="329"/>
                  <a:pt x="1125" y="329"/>
                  <a:pt x="1125" y="329"/>
                </a:cubicBezTo>
                <a:cubicBezTo>
                  <a:pt x="1124" y="329"/>
                  <a:pt x="1124" y="329"/>
                  <a:pt x="1124" y="329"/>
                </a:cubicBezTo>
                <a:cubicBezTo>
                  <a:pt x="1123" y="330"/>
                  <a:pt x="1123" y="330"/>
                  <a:pt x="1123" y="330"/>
                </a:cubicBezTo>
                <a:cubicBezTo>
                  <a:pt x="1123" y="329"/>
                  <a:pt x="1123" y="329"/>
                  <a:pt x="1123" y="329"/>
                </a:cubicBezTo>
                <a:cubicBezTo>
                  <a:pt x="1122" y="329"/>
                  <a:pt x="1122" y="329"/>
                  <a:pt x="1122" y="329"/>
                </a:cubicBezTo>
                <a:cubicBezTo>
                  <a:pt x="1121" y="329"/>
                  <a:pt x="1121" y="329"/>
                  <a:pt x="1121" y="329"/>
                </a:cubicBezTo>
                <a:cubicBezTo>
                  <a:pt x="1121" y="328"/>
                  <a:pt x="1121" y="328"/>
                  <a:pt x="1121" y="328"/>
                </a:cubicBezTo>
                <a:cubicBezTo>
                  <a:pt x="1120" y="327"/>
                  <a:pt x="1120" y="327"/>
                  <a:pt x="1120" y="327"/>
                </a:cubicBezTo>
                <a:cubicBezTo>
                  <a:pt x="1120" y="328"/>
                  <a:pt x="1120" y="328"/>
                  <a:pt x="1120" y="328"/>
                </a:cubicBezTo>
                <a:cubicBezTo>
                  <a:pt x="1120" y="329"/>
                  <a:pt x="1120" y="329"/>
                  <a:pt x="1120" y="329"/>
                </a:cubicBezTo>
                <a:cubicBezTo>
                  <a:pt x="1119" y="330"/>
                  <a:pt x="1119" y="330"/>
                  <a:pt x="1119" y="330"/>
                </a:cubicBezTo>
                <a:cubicBezTo>
                  <a:pt x="1118" y="330"/>
                  <a:pt x="1118" y="330"/>
                  <a:pt x="1118" y="330"/>
                </a:cubicBezTo>
                <a:cubicBezTo>
                  <a:pt x="1118" y="329"/>
                  <a:pt x="1118" y="329"/>
                  <a:pt x="1118" y="329"/>
                </a:cubicBezTo>
                <a:cubicBezTo>
                  <a:pt x="1117" y="329"/>
                  <a:pt x="1117" y="329"/>
                  <a:pt x="1117" y="329"/>
                </a:cubicBezTo>
                <a:cubicBezTo>
                  <a:pt x="1117" y="330"/>
                  <a:pt x="1117" y="330"/>
                  <a:pt x="1117" y="330"/>
                </a:cubicBezTo>
                <a:cubicBezTo>
                  <a:pt x="1119" y="331"/>
                  <a:pt x="1119" y="331"/>
                  <a:pt x="1119" y="331"/>
                </a:cubicBezTo>
                <a:cubicBezTo>
                  <a:pt x="1120" y="331"/>
                  <a:pt x="1120" y="331"/>
                  <a:pt x="1120" y="331"/>
                </a:cubicBezTo>
                <a:cubicBezTo>
                  <a:pt x="1121" y="332"/>
                  <a:pt x="1121" y="332"/>
                  <a:pt x="1121" y="332"/>
                </a:cubicBezTo>
                <a:cubicBezTo>
                  <a:pt x="1121" y="334"/>
                  <a:pt x="1121" y="334"/>
                  <a:pt x="1121" y="334"/>
                </a:cubicBezTo>
                <a:cubicBezTo>
                  <a:pt x="1120" y="334"/>
                  <a:pt x="1120" y="334"/>
                  <a:pt x="1120" y="334"/>
                </a:cubicBezTo>
                <a:cubicBezTo>
                  <a:pt x="1119" y="333"/>
                  <a:pt x="1119" y="333"/>
                  <a:pt x="1119" y="333"/>
                </a:cubicBezTo>
                <a:cubicBezTo>
                  <a:pt x="1118" y="332"/>
                  <a:pt x="1118" y="332"/>
                  <a:pt x="1118" y="332"/>
                </a:cubicBezTo>
                <a:cubicBezTo>
                  <a:pt x="1117" y="332"/>
                  <a:pt x="1117" y="332"/>
                  <a:pt x="1117" y="332"/>
                </a:cubicBezTo>
                <a:cubicBezTo>
                  <a:pt x="1116" y="332"/>
                  <a:pt x="1116" y="332"/>
                  <a:pt x="1116" y="332"/>
                </a:cubicBezTo>
                <a:cubicBezTo>
                  <a:pt x="1117" y="333"/>
                  <a:pt x="1117" y="333"/>
                  <a:pt x="1117" y="333"/>
                </a:cubicBezTo>
                <a:cubicBezTo>
                  <a:pt x="1118" y="333"/>
                  <a:pt x="1118" y="333"/>
                  <a:pt x="1118" y="333"/>
                </a:cubicBezTo>
                <a:cubicBezTo>
                  <a:pt x="1119" y="334"/>
                  <a:pt x="1119" y="334"/>
                  <a:pt x="1119" y="334"/>
                </a:cubicBezTo>
                <a:cubicBezTo>
                  <a:pt x="1120" y="335"/>
                  <a:pt x="1120" y="335"/>
                  <a:pt x="1120" y="335"/>
                </a:cubicBezTo>
                <a:cubicBezTo>
                  <a:pt x="1120" y="336"/>
                  <a:pt x="1120" y="336"/>
                  <a:pt x="1120" y="336"/>
                </a:cubicBezTo>
                <a:cubicBezTo>
                  <a:pt x="1120" y="337"/>
                  <a:pt x="1120" y="337"/>
                  <a:pt x="1120" y="337"/>
                </a:cubicBezTo>
                <a:cubicBezTo>
                  <a:pt x="1120" y="338"/>
                  <a:pt x="1120" y="338"/>
                  <a:pt x="1120" y="338"/>
                </a:cubicBezTo>
                <a:cubicBezTo>
                  <a:pt x="1119" y="338"/>
                  <a:pt x="1119" y="338"/>
                  <a:pt x="1119" y="338"/>
                </a:cubicBezTo>
                <a:cubicBezTo>
                  <a:pt x="1119" y="339"/>
                  <a:pt x="1119" y="339"/>
                  <a:pt x="1119" y="339"/>
                </a:cubicBezTo>
                <a:cubicBezTo>
                  <a:pt x="1119" y="340"/>
                  <a:pt x="1119" y="340"/>
                  <a:pt x="1119" y="340"/>
                </a:cubicBezTo>
                <a:cubicBezTo>
                  <a:pt x="1118" y="340"/>
                  <a:pt x="1118" y="340"/>
                  <a:pt x="1118" y="340"/>
                </a:cubicBezTo>
                <a:cubicBezTo>
                  <a:pt x="1118" y="339"/>
                  <a:pt x="1118" y="339"/>
                  <a:pt x="1118" y="339"/>
                </a:cubicBezTo>
                <a:cubicBezTo>
                  <a:pt x="1117" y="339"/>
                  <a:pt x="1117" y="339"/>
                  <a:pt x="1117" y="339"/>
                </a:cubicBezTo>
                <a:cubicBezTo>
                  <a:pt x="1116" y="339"/>
                  <a:pt x="1116" y="339"/>
                  <a:pt x="1116" y="339"/>
                </a:cubicBezTo>
                <a:cubicBezTo>
                  <a:pt x="1117" y="340"/>
                  <a:pt x="1117" y="340"/>
                  <a:pt x="1117" y="340"/>
                </a:cubicBezTo>
                <a:cubicBezTo>
                  <a:pt x="1118" y="340"/>
                  <a:pt x="1118" y="340"/>
                  <a:pt x="1118" y="340"/>
                </a:cubicBezTo>
                <a:cubicBezTo>
                  <a:pt x="1117" y="341"/>
                  <a:pt x="1117" y="341"/>
                  <a:pt x="1117" y="341"/>
                </a:cubicBezTo>
                <a:cubicBezTo>
                  <a:pt x="1116" y="341"/>
                  <a:pt x="1116" y="341"/>
                  <a:pt x="1116" y="341"/>
                </a:cubicBezTo>
                <a:cubicBezTo>
                  <a:pt x="1116" y="342"/>
                  <a:pt x="1116" y="342"/>
                  <a:pt x="1116" y="342"/>
                </a:cubicBezTo>
                <a:cubicBezTo>
                  <a:pt x="1117" y="342"/>
                  <a:pt x="1117" y="342"/>
                  <a:pt x="1117" y="342"/>
                </a:cubicBezTo>
                <a:cubicBezTo>
                  <a:pt x="1116" y="343"/>
                  <a:pt x="1116" y="343"/>
                  <a:pt x="1116" y="343"/>
                </a:cubicBezTo>
                <a:cubicBezTo>
                  <a:pt x="1115" y="343"/>
                  <a:pt x="1115" y="343"/>
                  <a:pt x="1115" y="343"/>
                </a:cubicBezTo>
                <a:cubicBezTo>
                  <a:pt x="1114" y="343"/>
                  <a:pt x="1114" y="343"/>
                  <a:pt x="1114" y="343"/>
                </a:cubicBezTo>
                <a:cubicBezTo>
                  <a:pt x="1115" y="344"/>
                  <a:pt x="1115" y="344"/>
                  <a:pt x="1115" y="344"/>
                </a:cubicBezTo>
                <a:cubicBezTo>
                  <a:pt x="1116" y="344"/>
                  <a:pt x="1116" y="344"/>
                  <a:pt x="1116" y="344"/>
                </a:cubicBezTo>
                <a:cubicBezTo>
                  <a:pt x="1115" y="345"/>
                  <a:pt x="1115" y="345"/>
                  <a:pt x="1115" y="345"/>
                </a:cubicBezTo>
                <a:cubicBezTo>
                  <a:pt x="1113" y="345"/>
                  <a:pt x="1113" y="345"/>
                  <a:pt x="1113" y="345"/>
                </a:cubicBezTo>
                <a:cubicBezTo>
                  <a:pt x="1112" y="345"/>
                  <a:pt x="1112" y="345"/>
                  <a:pt x="1112" y="345"/>
                </a:cubicBezTo>
                <a:cubicBezTo>
                  <a:pt x="1113" y="346"/>
                  <a:pt x="1113" y="346"/>
                  <a:pt x="1113" y="346"/>
                </a:cubicBezTo>
                <a:cubicBezTo>
                  <a:pt x="1115" y="346"/>
                  <a:pt x="1115" y="346"/>
                  <a:pt x="1115" y="346"/>
                </a:cubicBezTo>
                <a:cubicBezTo>
                  <a:pt x="1116" y="346"/>
                  <a:pt x="1116" y="346"/>
                  <a:pt x="1116" y="346"/>
                </a:cubicBezTo>
                <a:cubicBezTo>
                  <a:pt x="1116" y="347"/>
                  <a:pt x="1116" y="347"/>
                  <a:pt x="1116" y="347"/>
                </a:cubicBezTo>
                <a:cubicBezTo>
                  <a:pt x="1115" y="348"/>
                  <a:pt x="1115" y="348"/>
                  <a:pt x="1115" y="348"/>
                </a:cubicBezTo>
                <a:cubicBezTo>
                  <a:pt x="1114" y="348"/>
                  <a:pt x="1114" y="348"/>
                  <a:pt x="1114" y="348"/>
                </a:cubicBezTo>
                <a:cubicBezTo>
                  <a:pt x="1113" y="348"/>
                  <a:pt x="1113" y="348"/>
                  <a:pt x="1113" y="348"/>
                </a:cubicBezTo>
                <a:cubicBezTo>
                  <a:pt x="1113" y="349"/>
                  <a:pt x="1113" y="349"/>
                  <a:pt x="1113" y="349"/>
                </a:cubicBezTo>
                <a:cubicBezTo>
                  <a:pt x="1112" y="349"/>
                  <a:pt x="1112" y="349"/>
                  <a:pt x="1112" y="349"/>
                </a:cubicBezTo>
                <a:cubicBezTo>
                  <a:pt x="1113" y="350"/>
                  <a:pt x="1113" y="350"/>
                  <a:pt x="1113" y="350"/>
                </a:cubicBezTo>
                <a:cubicBezTo>
                  <a:pt x="1114" y="350"/>
                  <a:pt x="1114" y="350"/>
                  <a:pt x="1114" y="350"/>
                </a:cubicBezTo>
                <a:cubicBezTo>
                  <a:pt x="1114" y="351"/>
                  <a:pt x="1114" y="351"/>
                  <a:pt x="1114" y="351"/>
                </a:cubicBezTo>
                <a:cubicBezTo>
                  <a:pt x="1113" y="351"/>
                  <a:pt x="1113" y="351"/>
                  <a:pt x="1113" y="351"/>
                </a:cubicBezTo>
                <a:cubicBezTo>
                  <a:pt x="1112" y="351"/>
                  <a:pt x="1112" y="351"/>
                  <a:pt x="1112" y="351"/>
                </a:cubicBezTo>
                <a:cubicBezTo>
                  <a:pt x="1113" y="352"/>
                  <a:pt x="1113" y="352"/>
                  <a:pt x="1113" y="352"/>
                </a:cubicBezTo>
                <a:cubicBezTo>
                  <a:pt x="1114" y="351"/>
                  <a:pt x="1114" y="351"/>
                  <a:pt x="1114" y="351"/>
                </a:cubicBezTo>
                <a:cubicBezTo>
                  <a:pt x="1115" y="352"/>
                  <a:pt x="1115" y="352"/>
                  <a:pt x="1115" y="352"/>
                </a:cubicBezTo>
                <a:cubicBezTo>
                  <a:pt x="1114" y="352"/>
                  <a:pt x="1114" y="352"/>
                  <a:pt x="1114" y="352"/>
                </a:cubicBezTo>
                <a:cubicBezTo>
                  <a:pt x="1114" y="353"/>
                  <a:pt x="1114" y="353"/>
                  <a:pt x="1114" y="353"/>
                </a:cubicBezTo>
                <a:cubicBezTo>
                  <a:pt x="1113" y="353"/>
                  <a:pt x="1113" y="353"/>
                  <a:pt x="1113" y="353"/>
                </a:cubicBezTo>
                <a:cubicBezTo>
                  <a:pt x="1112" y="353"/>
                  <a:pt x="1112" y="353"/>
                  <a:pt x="1112" y="353"/>
                </a:cubicBezTo>
                <a:cubicBezTo>
                  <a:pt x="1111" y="352"/>
                  <a:pt x="1111" y="352"/>
                  <a:pt x="1111" y="352"/>
                </a:cubicBezTo>
                <a:cubicBezTo>
                  <a:pt x="1110" y="352"/>
                  <a:pt x="1110" y="352"/>
                  <a:pt x="1110" y="352"/>
                </a:cubicBezTo>
                <a:cubicBezTo>
                  <a:pt x="1110" y="351"/>
                  <a:pt x="1110" y="351"/>
                  <a:pt x="1110" y="351"/>
                </a:cubicBezTo>
                <a:cubicBezTo>
                  <a:pt x="1109" y="351"/>
                  <a:pt x="1109" y="351"/>
                  <a:pt x="1109" y="351"/>
                </a:cubicBezTo>
                <a:cubicBezTo>
                  <a:pt x="1108" y="351"/>
                  <a:pt x="1108" y="351"/>
                  <a:pt x="1108" y="351"/>
                </a:cubicBezTo>
                <a:cubicBezTo>
                  <a:pt x="1108" y="352"/>
                  <a:pt x="1108" y="352"/>
                  <a:pt x="1108" y="352"/>
                </a:cubicBezTo>
                <a:cubicBezTo>
                  <a:pt x="1110" y="353"/>
                  <a:pt x="1110" y="353"/>
                  <a:pt x="1110" y="353"/>
                </a:cubicBezTo>
                <a:cubicBezTo>
                  <a:pt x="1111" y="353"/>
                  <a:pt x="1111" y="353"/>
                  <a:pt x="1111" y="353"/>
                </a:cubicBezTo>
                <a:cubicBezTo>
                  <a:pt x="1111" y="354"/>
                  <a:pt x="1111" y="354"/>
                  <a:pt x="1111" y="354"/>
                </a:cubicBezTo>
                <a:cubicBezTo>
                  <a:pt x="1111" y="355"/>
                  <a:pt x="1111" y="355"/>
                  <a:pt x="1111" y="355"/>
                </a:cubicBezTo>
                <a:cubicBezTo>
                  <a:pt x="1112" y="355"/>
                  <a:pt x="1112" y="355"/>
                  <a:pt x="1112" y="355"/>
                </a:cubicBezTo>
                <a:cubicBezTo>
                  <a:pt x="1113" y="355"/>
                  <a:pt x="1113" y="355"/>
                  <a:pt x="1113" y="355"/>
                </a:cubicBezTo>
                <a:cubicBezTo>
                  <a:pt x="1113" y="356"/>
                  <a:pt x="1113" y="356"/>
                  <a:pt x="1113" y="356"/>
                </a:cubicBezTo>
                <a:cubicBezTo>
                  <a:pt x="1112" y="356"/>
                  <a:pt x="1112" y="356"/>
                  <a:pt x="1112" y="356"/>
                </a:cubicBezTo>
                <a:cubicBezTo>
                  <a:pt x="1112" y="357"/>
                  <a:pt x="1112" y="357"/>
                  <a:pt x="1112" y="357"/>
                </a:cubicBezTo>
                <a:cubicBezTo>
                  <a:pt x="1111" y="357"/>
                  <a:pt x="1111" y="357"/>
                  <a:pt x="1111" y="357"/>
                </a:cubicBezTo>
                <a:cubicBezTo>
                  <a:pt x="1108" y="355"/>
                  <a:pt x="1108" y="355"/>
                  <a:pt x="1108" y="355"/>
                </a:cubicBezTo>
                <a:cubicBezTo>
                  <a:pt x="1107" y="355"/>
                  <a:pt x="1107" y="355"/>
                  <a:pt x="1107" y="355"/>
                </a:cubicBezTo>
                <a:cubicBezTo>
                  <a:pt x="1107" y="354"/>
                  <a:pt x="1107" y="354"/>
                  <a:pt x="1107" y="354"/>
                </a:cubicBezTo>
                <a:cubicBezTo>
                  <a:pt x="1107" y="353"/>
                  <a:pt x="1107" y="353"/>
                  <a:pt x="1107" y="353"/>
                </a:cubicBezTo>
                <a:cubicBezTo>
                  <a:pt x="1106" y="354"/>
                  <a:pt x="1106" y="354"/>
                  <a:pt x="1106" y="354"/>
                </a:cubicBezTo>
                <a:cubicBezTo>
                  <a:pt x="1106" y="355"/>
                  <a:pt x="1106" y="355"/>
                  <a:pt x="1106" y="355"/>
                </a:cubicBezTo>
                <a:cubicBezTo>
                  <a:pt x="1105" y="355"/>
                  <a:pt x="1105" y="355"/>
                  <a:pt x="1105" y="355"/>
                </a:cubicBezTo>
                <a:cubicBezTo>
                  <a:pt x="1104" y="355"/>
                  <a:pt x="1104" y="355"/>
                  <a:pt x="1104" y="355"/>
                </a:cubicBezTo>
                <a:cubicBezTo>
                  <a:pt x="1104" y="354"/>
                  <a:pt x="1104" y="354"/>
                  <a:pt x="1104" y="354"/>
                </a:cubicBezTo>
                <a:cubicBezTo>
                  <a:pt x="1105" y="352"/>
                  <a:pt x="1105" y="352"/>
                  <a:pt x="1105" y="352"/>
                </a:cubicBezTo>
                <a:cubicBezTo>
                  <a:pt x="1104" y="353"/>
                  <a:pt x="1104" y="353"/>
                  <a:pt x="1104" y="353"/>
                </a:cubicBezTo>
                <a:cubicBezTo>
                  <a:pt x="1103" y="355"/>
                  <a:pt x="1103" y="355"/>
                  <a:pt x="1103" y="355"/>
                </a:cubicBezTo>
                <a:cubicBezTo>
                  <a:pt x="1102" y="356"/>
                  <a:pt x="1102" y="356"/>
                  <a:pt x="1102" y="356"/>
                </a:cubicBezTo>
                <a:cubicBezTo>
                  <a:pt x="1101" y="355"/>
                  <a:pt x="1101" y="355"/>
                  <a:pt x="1101" y="355"/>
                </a:cubicBezTo>
                <a:cubicBezTo>
                  <a:pt x="1102" y="355"/>
                  <a:pt x="1102" y="355"/>
                  <a:pt x="1102" y="355"/>
                </a:cubicBezTo>
                <a:cubicBezTo>
                  <a:pt x="1103" y="354"/>
                  <a:pt x="1103" y="354"/>
                  <a:pt x="1103" y="354"/>
                </a:cubicBezTo>
                <a:cubicBezTo>
                  <a:pt x="1103" y="352"/>
                  <a:pt x="1103" y="352"/>
                  <a:pt x="1103" y="352"/>
                </a:cubicBezTo>
                <a:cubicBezTo>
                  <a:pt x="1104" y="351"/>
                  <a:pt x="1104" y="351"/>
                  <a:pt x="1104" y="351"/>
                </a:cubicBezTo>
                <a:cubicBezTo>
                  <a:pt x="1103" y="351"/>
                  <a:pt x="1103" y="351"/>
                  <a:pt x="1103" y="351"/>
                </a:cubicBezTo>
                <a:cubicBezTo>
                  <a:pt x="1102" y="351"/>
                  <a:pt x="1102" y="351"/>
                  <a:pt x="1102" y="351"/>
                </a:cubicBezTo>
                <a:cubicBezTo>
                  <a:pt x="1102" y="350"/>
                  <a:pt x="1102" y="350"/>
                  <a:pt x="1102" y="350"/>
                </a:cubicBezTo>
                <a:cubicBezTo>
                  <a:pt x="1101" y="350"/>
                  <a:pt x="1101" y="350"/>
                  <a:pt x="1101" y="350"/>
                </a:cubicBezTo>
                <a:cubicBezTo>
                  <a:pt x="1101" y="351"/>
                  <a:pt x="1101" y="351"/>
                  <a:pt x="1101" y="351"/>
                </a:cubicBezTo>
                <a:cubicBezTo>
                  <a:pt x="1100" y="352"/>
                  <a:pt x="1100" y="352"/>
                  <a:pt x="1100" y="352"/>
                </a:cubicBezTo>
                <a:cubicBezTo>
                  <a:pt x="1099" y="351"/>
                  <a:pt x="1099" y="351"/>
                  <a:pt x="1099" y="351"/>
                </a:cubicBezTo>
                <a:cubicBezTo>
                  <a:pt x="1098" y="351"/>
                  <a:pt x="1098" y="351"/>
                  <a:pt x="1098" y="351"/>
                </a:cubicBezTo>
                <a:cubicBezTo>
                  <a:pt x="1100" y="350"/>
                  <a:pt x="1100" y="350"/>
                  <a:pt x="1100" y="350"/>
                </a:cubicBezTo>
                <a:cubicBezTo>
                  <a:pt x="1100" y="349"/>
                  <a:pt x="1100" y="349"/>
                  <a:pt x="1100" y="349"/>
                </a:cubicBezTo>
                <a:cubicBezTo>
                  <a:pt x="1101" y="348"/>
                  <a:pt x="1101" y="348"/>
                  <a:pt x="1101" y="348"/>
                </a:cubicBezTo>
                <a:cubicBezTo>
                  <a:pt x="1102" y="347"/>
                  <a:pt x="1102" y="347"/>
                  <a:pt x="1102" y="347"/>
                </a:cubicBezTo>
                <a:cubicBezTo>
                  <a:pt x="1100" y="348"/>
                  <a:pt x="1100" y="348"/>
                  <a:pt x="1100" y="348"/>
                </a:cubicBezTo>
                <a:cubicBezTo>
                  <a:pt x="1101" y="347"/>
                  <a:pt x="1101" y="347"/>
                  <a:pt x="1101" y="347"/>
                </a:cubicBezTo>
                <a:cubicBezTo>
                  <a:pt x="1102" y="346"/>
                  <a:pt x="1102" y="346"/>
                  <a:pt x="1102" y="346"/>
                </a:cubicBezTo>
                <a:cubicBezTo>
                  <a:pt x="1103" y="346"/>
                  <a:pt x="1103" y="346"/>
                  <a:pt x="1103" y="346"/>
                </a:cubicBezTo>
                <a:cubicBezTo>
                  <a:pt x="1103" y="345"/>
                  <a:pt x="1103" y="345"/>
                  <a:pt x="1103" y="345"/>
                </a:cubicBezTo>
                <a:cubicBezTo>
                  <a:pt x="1103" y="344"/>
                  <a:pt x="1103" y="344"/>
                  <a:pt x="1103" y="344"/>
                </a:cubicBezTo>
                <a:cubicBezTo>
                  <a:pt x="1102" y="344"/>
                  <a:pt x="1102" y="344"/>
                  <a:pt x="1102" y="344"/>
                </a:cubicBezTo>
                <a:cubicBezTo>
                  <a:pt x="1101" y="346"/>
                  <a:pt x="1101" y="346"/>
                  <a:pt x="1101" y="346"/>
                </a:cubicBezTo>
                <a:cubicBezTo>
                  <a:pt x="1099" y="347"/>
                  <a:pt x="1099" y="347"/>
                  <a:pt x="1099" y="347"/>
                </a:cubicBezTo>
                <a:cubicBezTo>
                  <a:pt x="1098" y="347"/>
                  <a:pt x="1098" y="347"/>
                  <a:pt x="1098" y="347"/>
                </a:cubicBezTo>
                <a:cubicBezTo>
                  <a:pt x="1098" y="346"/>
                  <a:pt x="1098" y="346"/>
                  <a:pt x="1098" y="346"/>
                </a:cubicBezTo>
                <a:cubicBezTo>
                  <a:pt x="1099" y="346"/>
                  <a:pt x="1099" y="346"/>
                  <a:pt x="1099" y="346"/>
                </a:cubicBezTo>
                <a:cubicBezTo>
                  <a:pt x="1100" y="345"/>
                  <a:pt x="1100" y="345"/>
                  <a:pt x="1100" y="345"/>
                </a:cubicBezTo>
                <a:cubicBezTo>
                  <a:pt x="1100" y="344"/>
                  <a:pt x="1100" y="344"/>
                  <a:pt x="1100" y="344"/>
                </a:cubicBezTo>
                <a:cubicBezTo>
                  <a:pt x="1099" y="343"/>
                  <a:pt x="1099" y="343"/>
                  <a:pt x="1099" y="343"/>
                </a:cubicBezTo>
                <a:cubicBezTo>
                  <a:pt x="1098" y="343"/>
                  <a:pt x="1098" y="343"/>
                  <a:pt x="1098" y="343"/>
                </a:cubicBezTo>
                <a:cubicBezTo>
                  <a:pt x="1098" y="344"/>
                  <a:pt x="1098" y="344"/>
                  <a:pt x="1098" y="344"/>
                </a:cubicBezTo>
                <a:cubicBezTo>
                  <a:pt x="1099" y="344"/>
                  <a:pt x="1099" y="344"/>
                  <a:pt x="1099" y="344"/>
                </a:cubicBezTo>
                <a:cubicBezTo>
                  <a:pt x="1099" y="345"/>
                  <a:pt x="1099" y="345"/>
                  <a:pt x="1099" y="345"/>
                </a:cubicBezTo>
                <a:cubicBezTo>
                  <a:pt x="1098" y="345"/>
                  <a:pt x="1098" y="345"/>
                  <a:pt x="1098" y="345"/>
                </a:cubicBezTo>
                <a:cubicBezTo>
                  <a:pt x="1097" y="345"/>
                  <a:pt x="1097" y="345"/>
                  <a:pt x="1097" y="345"/>
                </a:cubicBezTo>
                <a:cubicBezTo>
                  <a:pt x="1096" y="345"/>
                  <a:pt x="1096" y="345"/>
                  <a:pt x="1096" y="345"/>
                </a:cubicBezTo>
                <a:cubicBezTo>
                  <a:pt x="1095" y="346"/>
                  <a:pt x="1095" y="346"/>
                  <a:pt x="1095" y="346"/>
                </a:cubicBezTo>
                <a:cubicBezTo>
                  <a:pt x="1094" y="347"/>
                  <a:pt x="1094" y="347"/>
                  <a:pt x="1094" y="347"/>
                </a:cubicBezTo>
                <a:cubicBezTo>
                  <a:pt x="1093" y="347"/>
                  <a:pt x="1093" y="347"/>
                  <a:pt x="1093" y="347"/>
                </a:cubicBezTo>
                <a:cubicBezTo>
                  <a:pt x="1093" y="346"/>
                  <a:pt x="1093" y="346"/>
                  <a:pt x="1093" y="346"/>
                </a:cubicBezTo>
                <a:cubicBezTo>
                  <a:pt x="1092" y="346"/>
                  <a:pt x="1092" y="346"/>
                  <a:pt x="1092" y="346"/>
                </a:cubicBezTo>
                <a:cubicBezTo>
                  <a:pt x="1091" y="347"/>
                  <a:pt x="1091" y="347"/>
                  <a:pt x="1091" y="347"/>
                </a:cubicBezTo>
                <a:cubicBezTo>
                  <a:pt x="1090" y="347"/>
                  <a:pt x="1090" y="347"/>
                  <a:pt x="1090" y="347"/>
                </a:cubicBezTo>
                <a:cubicBezTo>
                  <a:pt x="1090" y="348"/>
                  <a:pt x="1090" y="348"/>
                  <a:pt x="1090" y="348"/>
                </a:cubicBezTo>
                <a:cubicBezTo>
                  <a:pt x="1089" y="348"/>
                  <a:pt x="1089" y="348"/>
                  <a:pt x="1089" y="348"/>
                </a:cubicBezTo>
                <a:cubicBezTo>
                  <a:pt x="1088" y="348"/>
                  <a:pt x="1088" y="348"/>
                  <a:pt x="1088" y="348"/>
                </a:cubicBezTo>
                <a:cubicBezTo>
                  <a:pt x="1087" y="347"/>
                  <a:pt x="1087" y="347"/>
                  <a:pt x="1087" y="347"/>
                </a:cubicBezTo>
                <a:cubicBezTo>
                  <a:pt x="1088" y="346"/>
                  <a:pt x="1088" y="346"/>
                  <a:pt x="1088" y="346"/>
                </a:cubicBezTo>
                <a:cubicBezTo>
                  <a:pt x="1089" y="346"/>
                  <a:pt x="1089" y="346"/>
                  <a:pt x="1089" y="346"/>
                </a:cubicBezTo>
                <a:cubicBezTo>
                  <a:pt x="1090" y="346"/>
                  <a:pt x="1090" y="346"/>
                  <a:pt x="1090" y="346"/>
                </a:cubicBezTo>
                <a:cubicBezTo>
                  <a:pt x="1089" y="345"/>
                  <a:pt x="1089" y="345"/>
                  <a:pt x="1089" y="345"/>
                </a:cubicBezTo>
                <a:cubicBezTo>
                  <a:pt x="1088" y="345"/>
                  <a:pt x="1088" y="345"/>
                  <a:pt x="1088" y="345"/>
                </a:cubicBezTo>
                <a:cubicBezTo>
                  <a:pt x="1088" y="344"/>
                  <a:pt x="1088" y="344"/>
                  <a:pt x="1088" y="344"/>
                </a:cubicBezTo>
                <a:cubicBezTo>
                  <a:pt x="1088" y="343"/>
                  <a:pt x="1088" y="343"/>
                  <a:pt x="1088" y="343"/>
                </a:cubicBezTo>
                <a:cubicBezTo>
                  <a:pt x="1087" y="342"/>
                  <a:pt x="1087" y="342"/>
                  <a:pt x="1087" y="342"/>
                </a:cubicBezTo>
                <a:cubicBezTo>
                  <a:pt x="1087" y="343"/>
                  <a:pt x="1087" y="343"/>
                  <a:pt x="1087" y="343"/>
                </a:cubicBezTo>
                <a:cubicBezTo>
                  <a:pt x="1085" y="344"/>
                  <a:pt x="1085" y="344"/>
                  <a:pt x="1085" y="344"/>
                </a:cubicBezTo>
                <a:cubicBezTo>
                  <a:pt x="1084" y="344"/>
                  <a:pt x="1084" y="344"/>
                  <a:pt x="1084" y="344"/>
                </a:cubicBezTo>
                <a:cubicBezTo>
                  <a:pt x="1084" y="343"/>
                  <a:pt x="1084" y="343"/>
                  <a:pt x="1084" y="343"/>
                </a:cubicBezTo>
                <a:cubicBezTo>
                  <a:pt x="1085" y="342"/>
                  <a:pt x="1085" y="342"/>
                  <a:pt x="1085" y="342"/>
                </a:cubicBezTo>
                <a:cubicBezTo>
                  <a:pt x="1084" y="341"/>
                  <a:pt x="1084" y="341"/>
                  <a:pt x="1084" y="341"/>
                </a:cubicBezTo>
                <a:cubicBezTo>
                  <a:pt x="1085" y="340"/>
                  <a:pt x="1085" y="340"/>
                  <a:pt x="1085" y="340"/>
                </a:cubicBezTo>
                <a:cubicBezTo>
                  <a:pt x="1086" y="340"/>
                  <a:pt x="1086" y="340"/>
                  <a:pt x="1086" y="340"/>
                </a:cubicBezTo>
                <a:cubicBezTo>
                  <a:pt x="1086" y="339"/>
                  <a:pt x="1086" y="339"/>
                  <a:pt x="1086" y="339"/>
                </a:cubicBezTo>
                <a:cubicBezTo>
                  <a:pt x="1085" y="339"/>
                  <a:pt x="1085" y="339"/>
                  <a:pt x="1085" y="339"/>
                </a:cubicBezTo>
                <a:cubicBezTo>
                  <a:pt x="1084" y="339"/>
                  <a:pt x="1084" y="339"/>
                  <a:pt x="1084" y="339"/>
                </a:cubicBezTo>
                <a:cubicBezTo>
                  <a:pt x="1083" y="340"/>
                  <a:pt x="1083" y="340"/>
                  <a:pt x="1083" y="340"/>
                </a:cubicBezTo>
                <a:cubicBezTo>
                  <a:pt x="1082" y="340"/>
                  <a:pt x="1082" y="340"/>
                  <a:pt x="1082" y="340"/>
                </a:cubicBezTo>
                <a:cubicBezTo>
                  <a:pt x="1081" y="340"/>
                  <a:pt x="1081" y="340"/>
                  <a:pt x="1081" y="340"/>
                </a:cubicBezTo>
                <a:cubicBezTo>
                  <a:pt x="1081" y="339"/>
                  <a:pt x="1081" y="339"/>
                  <a:pt x="1081" y="339"/>
                </a:cubicBezTo>
                <a:cubicBezTo>
                  <a:pt x="1082" y="339"/>
                  <a:pt x="1082" y="339"/>
                  <a:pt x="1082" y="339"/>
                </a:cubicBezTo>
                <a:cubicBezTo>
                  <a:pt x="1083" y="338"/>
                  <a:pt x="1083" y="338"/>
                  <a:pt x="1083" y="338"/>
                </a:cubicBezTo>
                <a:cubicBezTo>
                  <a:pt x="1083" y="337"/>
                  <a:pt x="1083" y="337"/>
                  <a:pt x="1083" y="337"/>
                </a:cubicBezTo>
                <a:cubicBezTo>
                  <a:pt x="1084" y="337"/>
                  <a:pt x="1084" y="337"/>
                  <a:pt x="1084" y="337"/>
                </a:cubicBezTo>
                <a:cubicBezTo>
                  <a:pt x="1084" y="336"/>
                  <a:pt x="1084" y="336"/>
                  <a:pt x="1084" y="336"/>
                </a:cubicBezTo>
                <a:cubicBezTo>
                  <a:pt x="1083" y="336"/>
                  <a:pt x="1083" y="336"/>
                  <a:pt x="1083" y="336"/>
                </a:cubicBezTo>
                <a:cubicBezTo>
                  <a:pt x="1082" y="336"/>
                  <a:pt x="1082" y="336"/>
                  <a:pt x="1082" y="336"/>
                </a:cubicBezTo>
                <a:cubicBezTo>
                  <a:pt x="1081" y="337"/>
                  <a:pt x="1081" y="337"/>
                  <a:pt x="1081" y="337"/>
                </a:cubicBezTo>
                <a:cubicBezTo>
                  <a:pt x="1081" y="336"/>
                  <a:pt x="1081" y="336"/>
                  <a:pt x="1081" y="336"/>
                </a:cubicBezTo>
                <a:cubicBezTo>
                  <a:pt x="1081" y="335"/>
                  <a:pt x="1081" y="335"/>
                  <a:pt x="1081" y="335"/>
                </a:cubicBezTo>
                <a:cubicBezTo>
                  <a:pt x="1082" y="335"/>
                  <a:pt x="1082" y="335"/>
                  <a:pt x="1082" y="335"/>
                </a:cubicBezTo>
                <a:cubicBezTo>
                  <a:pt x="1083" y="335"/>
                  <a:pt x="1083" y="335"/>
                  <a:pt x="1083" y="335"/>
                </a:cubicBezTo>
                <a:cubicBezTo>
                  <a:pt x="1084" y="334"/>
                  <a:pt x="1084" y="334"/>
                  <a:pt x="1084" y="334"/>
                </a:cubicBezTo>
                <a:cubicBezTo>
                  <a:pt x="1084" y="333"/>
                  <a:pt x="1084" y="333"/>
                  <a:pt x="1084" y="333"/>
                </a:cubicBezTo>
                <a:cubicBezTo>
                  <a:pt x="1083" y="333"/>
                  <a:pt x="1083" y="333"/>
                  <a:pt x="1083" y="333"/>
                </a:cubicBezTo>
                <a:cubicBezTo>
                  <a:pt x="1082" y="334"/>
                  <a:pt x="1082" y="334"/>
                  <a:pt x="1082" y="334"/>
                </a:cubicBezTo>
                <a:cubicBezTo>
                  <a:pt x="1081" y="334"/>
                  <a:pt x="1081" y="334"/>
                  <a:pt x="1081" y="334"/>
                </a:cubicBezTo>
                <a:cubicBezTo>
                  <a:pt x="1082" y="333"/>
                  <a:pt x="1082" y="333"/>
                  <a:pt x="1082" y="333"/>
                </a:cubicBezTo>
                <a:cubicBezTo>
                  <a:pt x="1081" y="332"/>
                  <a:pt x="1081" y="332"/>
                  <a:pt x="1081" y="332"/>
                </a:cubicBezTo>
                <a:cubicBezTo>
                  <a:pt x="1082" y="332"/>
                  <a:pt x="1082" y="332"/>
                  <a:pt x="1082" y="332"/>
                </a:cubicBezTo>
                <a:cubicBezTo>
                  <a:pt x="1082" y="331"/>
                  <a:pt x="1082" y="331"/>
                  <a:pt x="1082" y="331"/>
                </a:cubicBezTo>
                <a:cubicBezTo>
                  <a:pt x="1081" y="331"/>
                  <a:pt x="1081" y="331"/>
                  <a:pt x="1081" y="331"/>
                </a:cubicBezTo>
                <a:cubicBezTo>
                  <a:pt x="1081" y="330"/>
                  <a:pt x="1081" y="330"/>
                  <a:pt x="1081" y="330"/>
                </a:cubicBezTo>
                <a:cubicBezTo>
                  <a:pt x="1081" y="329"/>
                  <a:pt x="1081" y="329"/>
                  <a:pt x="1081" y="329"/>
                </a:cubicBezTo>
                <a:cubicBezTo>
                  <a:pt x="1080" y="329"/>
                  <a:pt x="1080" y="329"/>
                  <a:pt x="1080" y="329"/>
                </a:cubicBezTo>
                <a:cubicBezTo>
                  <a:pt x="1079" y="330"/>
                  <a:pt x="1079" y="330"/>
                  <a:pt x="1079" y="330"/>
                </a:cubicBezTo>
                <a:cubicBezTo>
                  <a:pt x="1079" y="329"/>
                  <a:pt x="1079" y="329"/>
                  <a:pt x="1079" y="329"/>
                </a:cubicBezTo>
                <a:cubicBezTo>
                  <a:pt x="1079" y="328"/>
                  <a:pt x="1079" y="328"/>
                  <a:pt x="1079" y="328"/>
                </a:cubicBezTo>
                <a:cubicBezTo>
                  <a:pt x="1080" y="327"/>
                  <a:pt x="1080" y="327"/>
                  <a:pt x="1080" y="327"/>
                </a:cubicBezTo>
                <a:cubicBezTo>
                  <a:pt x="1081" y="326"/>
                  <a:pt x="1081" y="326"/>
                  <a:pt x="1081" y="326"/>
                </a:cubicBezTo>
                <a:cubicBezTo>
                  <a:pt x="1081" y="325"/>
                  <a:pt x="1081" y="325"/>
                  <a:pt x="1081" y="325"/>
                </a:cubicBezTo>
                <a:cubicBezTo>
                  <a:pt x="1081" y="324"/>
                  <a:pt x="1081" y="324"/>
                  <a:pt x="1081" y="324"/>
                </a:cubicBezTo>
                <a:cubicBezTo>
                  <a:pt x="1080" y="325"/>
                  <a:pt x="1080" y="325"/>
                  <a:pt x="1080" y="325"/>
                </a:cubicBezTo>
                <a:cubicBezTo>
                  <a:pt x="1080" y="324"/>
                  <a:pt x="1080" y="324"/>
                  <a:pt x="1080" y="324"/>
                </a:cubicBezTo>
                <a:cubicBezTo>
                  <a:pt x="1079" y="324"/>
                  <a:pt x="1079" y="324"/>
                  <a:pt x="1079" y="324"/>
                </a:cubicBezTo>
                <a:cubicBezTo>
                  <a:pt x="1078" y="324"/>
                  <a:pt x="1078" y="324"/>
                  <a:pt x="1078" y="324"/>
                </a:cubicBezTo>
                <a:cubicBezTo>
                  <a:pt x="1078" y="323"/>
                  <a:pt x="1078" y="323"/>
                  <a:pt x="1078" y="323"/>
                </a:cubicBezTo>
                <a:cubicBezTo>
                  <a:pt x="1078" y="322"/>
                  <a:pt x="1078" y="322"/>
                  <a:pt x="1078" y="322"/>
                </a:cubicBezTo>
                <a:cubicBezTo>
                  <a:pt x="1080" y="322"/>
                  <a:pt x="1080" y="322"/>
                  <a:pt x="1080" y="322"/>
                </a:cubicBezTo>
                <a:cubicBezTo>
                  <a:pt x="1080" y="321"/>
                  <a:pt x="1080" y="321"/>
                  <a:pt x="1080" y="321"/>
                </a:cubicBezTo>
                <a:cubicBezTo>
                  <a:pt x="1079" y="321"/>
                  <a:pt x="1079" y="321"/>
                  <a:pt x="1079" y="321"/>
                </a:cubicBezTo>
                <a:cubicBezTo>
                  <a:pt x="1078" y="321"/>
                  <a:pt x="1078" y="321"/>
                  <a:pt x="1078" y="321"/>
                </a:cubicBezTo>
                <a:cubicBezTo>
                  <a:pt x="1077" y="321"/>
                  <a:pt x="1077" y="321"/>
                  <a:pt x="1077" y="321"/>
                </a:cubicBezTo>
                <a:cubicBezTo>
                  <a:pt x="1076" y="321"/>
                  <a:pt x="1076" y="321"/>
                  <a:pt x="1076" y="321"/>
                </a:cubicBezTo>
                <a:cubicBezTo>
                  <a:pt x="1076" y="320"/>
                  <a:pt x="1076" y="320"/>
                  <a:pt x="1076" y="320"/>
                </a:cubicBezTo>
                <a:cubicBezTo>
                  <a:pt x="1077" y="320"/>
                  <a:pt x="1077" y="320"/>
                  <a:pt x="1077" y="320"/>
                </a:cubicBezTo>
                <a:cubicBezTo>
                  <a:pt x="1078" y="320"/>
                  <a:pt x="1078" y="320"/>
                  <a:pt x="1078" y="320"/>
                </a:cubicBezTo>
                <a:cubicBezTo>
                  <a:pt x="1080" y="320"/>
                  <a:pt x="1080" y="320"/>
                  <a:pt x="1080" y="320"/>
                </a:cubicBezTo>
                <a:cubicBezTo>
                  <a:pt x="1080" y="319"/>
                  <a:pt x="1080" y="319"/>
                  <a:pt x="1080" y="319"/>
                </a:cubicBezTo>
                <a:cubicBezTo>
                  <a:pt x="1079" y="319"/>
                  <a:pt x="1079" y="319"/>
                  <a:pt x="1079" y="319"/>
                </a:cubicBezTo>
                <a:cubicBezTo>
                  <a:pt x="1078" y="319"/>
                  <a:pt x="1078" y="319"/>
                  <a:pt x="1078" y="319"/>
                </a:cubicBezTo>
                <a:cubicBezTo>
                  <a:pt x="1077" y="319"/>
                  <a:pt x="1077" y="319"/>
                  <a:pt x="1077" y="319"/>
                </a:cubicBezTo>
                <a:cubicBezTo>
                  <a:pt x="1076" y="319"/>
                  <a:pt x="1076" y="319"/>
                  <a:pt x="1076" y="319"/>
                </a:cubicBezTo>
                <a:cubicBezTo>
                  <a:pt x="1077" y="318"/>
                  <a:pt x="1077" y="318"/>
                  <a:pt x="1077" y="318"/>
                </a:cubicBezTo>
                <a:cubicBezTo>
                  <a:pt x="1078" y="318"/>
                  <a:pt x="1078" y="318"/>
                  <a:pt x="1078" y="318"/>
                </a:cubicBezTo>
                <a:cubicBezTo>
                  <a:pt x="1079" y="317"/>
                  <a:pt x="1079" y="317"/>
                  <a:pt x="1079" y="317"/>
                </a:cubicBezTo>
                <a:cubicBezTo>
                  <a:pt x="1080" y="316"/>
                  <a:pt x="1080" y="316"/>
                  <a:pt x="1080" y="316"/>
                </a:cubicBezTo>
                <a:cubicBezTo>
                  <a:pt x="1079" y="316"/>
                  <a:pt x="1079" y="316"/>
                  <a:pt x="1079" y="316"/>
                </a:cubicBezTo>
                <a:cubicBezTo>
                  <a:pt x="1078" y="316"/>
                  <a:pt x="1078" y="316"/>
                  <a:pt x="1078" y="316"/>
                </a:cubicBezTo>
                <a:cubicBezTo>
                  <a:pt x="1077" y="316"/>
                  <a:pt x="1077" y="316"/>
                  <a:pt x="1077" y="316"/>
                </a:cubicBezTo>
                <a:cubicBezTo>
                  <a:pt x="1076" y="317"/>
                  <a:pt x="1076" y="317"/>
                  <a:pt x="1076" y="317"/>
                </a:cubicBezTo>
                <a:cubicBezTo>
                  <a:pt x="1075" y="316"/>
                  <a:pt x="1075" y="316"/>
                  <a:pt x="1075" y="316"/>
                </a:cubicBezTo>
                <a:cubicBezTo>
                  <a:pt x="1075" y="315"/>
                  <a:pt x="1075" y="315"/>
                  <a:pt x="1075" y="315"/>
                </a:cubicBezTo>
                <a:cubicBezTo>
                  <a:pt x="1077" y="315"/>
                  <a:pt x="1077" y="315"/>
                  <a:pt x="1077" y="315"/>
                </a:cubicBezTo>
                <a:cubicBezTo>
                  <a:pt x="1078" y="314"/>
                  <a:pt x="1078" y="314"/>
                  <a:pt x="1078" y="314"/>
                </a:cubicBezTo>
                <a:cubicBezTo>
                  <a:pt x="1077" y="314"/>
                  <a:pt x="1077" y="314"/>
                  <a:pt x="1077" y="314"/>
                </a:cubicBezTo>
                <a:cubicBezTo>
                  <a:pt x="1076" y="314"/>
                  <a:pt x="1076" y="314"/>
                  <a:pt x="1076" y="314"/>
                </a:cubicBezTo>
                <a:cubicBezTo>
                  <a:pt x="1075" y="314"/>
                  <a:pt x="1075" y="314"/>
                  <a:pt x="1075" y="314"/>
                </a:cubicBezTo>
                <a:cubicBezTo>
                  <a:pt x="1075" y="313"/>
                  <a:pt x="1075" y="313"/>
                  <a:pt x="1075" y="313"/>
                </a:cubicBezTo>
                <a:cubicBezTo>
                  <a:pt x="1075" y="312"/>
                  <a:pt x="1075" y="312"/>
                  <a:pt x="1075" y="312"/>
                </a:cubicBezTo>
                <a:cubicBezTo>
                  <a:pt x="1076" y="312"/>
                  <a:pt x="1076" y="312"/>
                  <a:pt x="1076" y="312"/>
                </a:cubicBezTo>
                <a:cubicBezTo>
                  <a:pt x="1079" y="312"/>
                  <a:pt x="1079" y="312"/>
                  <a:pt x="1079" y="312"/>
                </a:cubicBezTo>
                <a:cubicBezTo>
                  <a:pt x="1080" y="311"/>
                  <a:pt x="1080" y="311"/>
                  <a:pt x="1080" y="311"/>
                </a:cubicBezTo>
                <a:cubicBezTo>
                  <a:pt x="1082" y="311"/>
                  <a:pt x="1082" y="311"/>
                  <a:pt x="1082" y="311"/>
                </a:cubicBezTo>
                <a:cubicBezTo>
                  <a:pt x="1083" y="311"/>
                  <a:pt x="1083" y="311"/>
                  <a:pt x="1083" y="311"/>
                </a:cubicBezTo>
                <a:cubicBezTo>
                  <a:pt x="1083" y="310"/>
                  <a:pt x="1083" y="310"/>
                  <a:pt x="1083" y="310"/>
                </a:cubicBezTo>
                <a:cubicBezTo>
                  <a:pt x="1083" y="309"/>
                  <a:pt x="1083" y="309"/>
                  <a:pt x="1083" y="309"/>
                </a:cubicBezTo>
                <a:cubicBezTo>
                  <a:pt x="1082" y="309"/>
                  <a:pt x="1082" y="309"/>
                  <a:pt x="1082" y="309"/>
                </a:cubicBezTo>
                <a:cubicBezTo>
                  <a:pt x="1081" y="308"/>
                  <a:pt x="1081" y="308"/>
                  <a:pt x="1081" y="308"/>
                </a:cubicBezTo>
                <a:cubicBezTo>
                  <a:pt x="1080" y="307"/>
                  <a:pt x="1080" y="307"/>
                  <a:pt x="1080" y="307"/>
                </a:cubicBezTo>
                <a:cubicBezTo>
                  <a:pt x="1081" y="307"/>
                  <a:pt x="1081" y="307"/>
                  <a:pt x="1081" y="307"/>
                </a:cubicBezTo>
                <a:cubicBezTo>
                  <a:pt x="1082" y="306"/>
                  <a:pt x="1082" y="306"/>
                  <a:pt x="1082" y="306"/>
                </a:cubicBezTo>
                <a:cubicBezTo>
                  <a:pt x="1082" y="307"/>
                  <a:pt x="1082" y="307"/>
                  <a:pt x="1082" y="307"/>
                </a:cubicBezTo>
                <a:cubicBezTo>
                  <a:pt x="1083" y="307"/>
                  <a:pt x="1083" y="307"/>
                  <a:pt x="1083" y="307"/>
                </a:cubicBezTo>
                <a:cubicBezTo>
                  <a:pt x="1084" y="309"/>
                  <a:pt x="1084" y="309"/>
                  <a:pt x="1084" y="309"/>
                </a:cubicBezTo>
                <a:cubicBezTo>
                  <a:pt x="1085" y="309"/>
                  <a:pt x="1085" y="309"/>
                  <a:pt x="1085" y="309"/>
                </a:cubicBezTo>
                <a:cubicBezTo>
                  <a:pt x="1084" y="308"/>
                  <a:pt x="1084" y="308"/>
                  <a:pt x="1084" y="308"/>
                </a:cubicBezTo>
                <a:cubicBezTo>
                  <a:pt x="1084" y="307"/>
                  <a:pt x="1084" y="307"/>
                  <a:pt x="1084" y="307"/>
                </a:cubicBezTo>
                <a:cubicBezTo>
                  <a:pt x="1084" y="305"/>
                  <a:pt x="1084" y="305"/>
                  <a:pt x="1084" y="305"/>
                </a:cubicBezTo>
                <a:cubicBezTo>
                  <a:pt x="1084" y="304"/>
                  <a:pt x="1084" y="304"/>
                  <a:pt x="1084" y="304"/>
                </a:cubicBezTo>
                <a:cubicBezTo>
                  <a:pt x="1083" y="305"/>
                  <a:pt x="1083" y="305"/>
                  <a:pt x="1083" y="305"/>
                </a:cubicBezTo>
                <a:cubicBezTo>
                  <a:pt x="1082" y="305"/>
                  <a:pt x="1082" y="305"/>
                  <a:pt x="1082" y="305"/>
                </a:cubicBezTo>
                <a:cubicBezTo>
                  <a:pt x="1082" y="304"/>
                  <a:pt x="1082" y="304"/>
                  <a:pt x="1082" y="304"/>
                </a:cubicBezTo>
                <a:cubicBezTo>
                  <a:pt x="1081" y="305"/>
                  <a:pt x="1081" y="305"/>
                  <a:pt x="1081" y="305"/>
                </a:cubicBezTo>
                <a:cubicBezTo>
                  <a:pt x="1080" y="306"/>
                  <a:pt x="1080" y="306"/>
                  <a:pt x="1080" y="306"/>
                </a:cubicBezTo>
                <a:cubicBezTo>
                  <a:pt x="1079" y="306"/>
                  <a:pt x="1079" y="306"/>
                  <a:pt x="1079" y="306"/>
                </a:cubicBezTo>
                <a:cubicBezTo>
                  <a:pt x="1079" y="305"/>
                  <a:pt x="1079" y="305"/>
                  <a:pt x="1079" y="305"/>
                </a:cubicBezTo>
                <a:cubicBezTo>
                  <a:pt x="1078" y="306"/>
                  <a:pt x="1078" y="306"/>
                  <a:pt x="1078" y="306"/>
                </a:cubicBezTo>
                <a:cubicBezTo>
                  <a:pt x="1076" y="308"/>
                  <a:pt x="1076" y="308"/>
                  <a:pt x="1076" y="308"/>
                </a:cubicBezTo>
                <a:cubicBezTo>
                  <a:pt x="1075" y="309"/>
                  <a:pt x="1075" y="309"/>
                  <a:pt x="1075" y="309"/>
                </a:cubicBezTo>
                <a:cubicBezTo>
                  <a:pt x="1074" y="309"/>
                  <a:pt x="1074" y="309"/>
                  <a:pt x="1074" y="309"/>
                </a:cubicBezTo>
                <a:cubicBezTo>
                  <a:pt x="1074" y="308"/>
                  <a:pt x="1074" y="308"/>
                  <a:pt x="1074" y="308"/>
                </a:cubicBezTo>
                <a:cubicBezTo>
                  <a:pt x="1074" y="307"/>
                  <a:pt x="1074" y="307"/>
                  <a:pt x="1074" y="307"/>
                </a:cubicBezTo>
                <a:cubicBezTo>
                  <a:pt x="1074" y="306"/>
                  <a:pt x="1074" y="306"/>
                  <a:pt x="1074" y="306"/>
                </a:cubicBezTo>
                <a:cubicBezTo>
                  <a:pt x="1074" y="305"/>
                  <a:pt x="1074" y="305"/>
                  <a:pt x="1074" y="305"/>
                </a:cubicBezTo>
                <a:cubicBezTo>
                  <a:pt x="1074" y="304"/>
                  <a:pt x="1074" y="304"/>
                  <a:pt x="1074" y="304"/>
                </a:cubicBezTo>
                <a:cubicBezTo>
                  <a:pt x="1075" y="304"/>
                  <a:pt x="1075" y="304"/>
                  <a:pt x="1075" y="304"/>
                </a:cubicBezTo>
                <a:cubicBezTo>
                  <a:pt x="1077" y="303"/>
                  <a:pt x="1077" y="303"/>
                  <a:pt x="1077" y="303"/>
                </a:cubicBezTo>
                <a:cubicBezTo>
                  <a:pt x="1078" y="302"/>
                  <a:pt x="1078" y="302"/>
                  <a:pt x="1078" y="302"/>
                </a:cubicBezTo>
                <a:cubicBezTo>
                  <a:pt x="1079" y="302"/>
                  <a:pt x="1079" y="302"/>
                  <a:pt x="1079" y="302"/>
                </a:cubicBezTo>
                <a:cubicBezTo>
                  <a:pt x="1078" y="301"/>
                  <a:pt x="1078" y="301"/>
                  <a:pt x="1078" y="301"/>
                </a:cubicBezTo>
                <a:cubicBezTo>
                  <a:pt x="1077" y="302"/>
                  <a:pt x="1077" y="302"/>
                  <a:pt x="1077" y="302"/>
                </a:cubicBezTo>
                <a:cubicBezTo>
                  <a:pt x="1076" y="302"/>
                  <a:pt x="1076" y="302"/>
                  <a:pt x="1076" y="302"/>
                </a:cubicBezTo>
                <a:cubicBezTo>
                  <a:pt x="1076" y="303"/>
                  <a:pt x="1076" y="303"/>
                  <a:pt x="1076" y="303"/>
                </a:cubicBezTo>
                <a:cubicBezTo>
                  <a:pt x="1075" y="303"/>
                  <a:pt x="1075" y="303"/>
                  <a:pt x="1075" y="303"/>
                </a:cubicBezTo>
                <a:cubicBezTo>
                  <a:pt x="1074" y="303"/>
                  <a:pt x="1074" y="303"/>
                  <a:pt x="1074" y="303"/>
                </a:cubicBezTo>
                <a:cubicBezTo>
                  <a:pt x="1074" y="302"/>
                  <a:pt x="1074" y="302"/>
                  <a:pt x="1074" y="302"/>
                </a:cubicBezTo>
                <a:cubicBezTo>
                  <a:pt x="1074" y="301"/>
                  <a:pt x="1074" y="301"/>
                  <a:pt x="1074" y="301"/>
                </a:cubicBezTo>
                <a:cubicBezTo>
                  <a:pt x="1075" y="300"/>
                  <a:pt x="1075" y="300"/>
                  <a:pt x="1075" y="300"/>
                </a:cubicBezTo>
                <a:cubicBezTo>
                  <a:pt x="1075" y="299"/>
                  <a:pt x="1075" y="299"/>
                  <a:pt x="1075" y="299"/>
                </a:cubicBezTo>
                <a:cubicBezTo>
                  <a:pt x="1074" y="298"/>
                  <a:pt x="1074" y="298"/>
                  <a:pt x="1074" y="298"/>
                </a:cubicBezTo>
                <a:cubicBezTo>
                  <a:pt x="1073" y="299"/>
                  <a:pt x="1073" y="299"/>
                  <a:pt x="1073" y="299"/>
                </a:cubicBezTo>
                <a:cubicBezTo>
                  <a:pt x="1073" y="298"/>
                  <a:pt x="1073" y="298"/>
                  <a:pt x="1073" y="298"/>
                </a:cubicBezTo>
                <a:cubicBezTo>
                  <a:pt x="1073" y="297"/>
                  <a:pt x="1073" y="297"/>
                  <a:pt x="1073" y="297"/>
                </a:cubicBezTo>
                <a:cubicBezTo>
                  <a:pt x="1075" y="297"/>
                  <a:pt x="1075" y="297"/>
                  <a:pt x="1075" y="297"/>
                </a:cubicBezTo>
                <a:cubicBezTo>
                  <a:pt x="1075" y="296"/>
                  <a:pt x="1075" y="296"/>
                  <a:pt x="1075" y="296"/>
                </a:cubicBezTo>
                <a:cubicBezTo>
                  <a:pt x="1077" y="296"/>
                  <a:pt x="1077" y="296"/>
                  <a:pt x="1077" y="296"/>
                </a:cubicBezTo>
                <a:cubicBezTo>
                  <a:pt x="1077" y="295"/>
                  <a:pt x="1077" y="295"/>
                  <a:pt x="1077" y="295"/>
                </a:cubicBezTo>
                <a:cubicBezTo>
                  <a:pt x="1078" y="295"/>
                  <a:pt x="1078" y="295"/>
                  <a:pt x="1078" y="295"/>
                </a:cubicBezTo>
                <a:cubicBezTo>
                  <a:pt x="1078" y="294"/>
                  <a:pt x="1078" y="294"/>
                  <a:pt x="1078" y="294"/>
                </a:cubicBezTo>
                <a:cubicBezTo>
                  <a:pt x="1079" y="294"/>
                  <a:pt x="1079" y="294"/>
                  <a:pt x="1079" y="294"/>
                </a:cubicBezTo>
                <a:cubicBezTo>
                  <a:pt x="1080" y="294"/>
                  <a:pt x="1080" y="294"/>
                  <a:pt x="1080" y="294"/>
                </a:cubicBezTo>
                <a:cubicBezTo>
                  <a:pt x="1082" y="294"/>
                  <a:pt x="1082" y="294"/>
                  <a:pt x="1082" y="294"/>
                </a:cubicBezTo>
                <a:cubicBezTo>
                  <a:pt x="1083" y="294"/>
                  <a:pt x="1083" y="294"/>
                  <a:pt x="1083" y="294"/>
                </a:cubicBezTo>
                <a:cubicBezTo>
                  <a:pt x="1083" y="293"/>
                  <a:pt x="1083" y="293"/>
                  <a:pt x="1083" y="293"/>
                </a:cubicBezTo>
                <a:cubicBezTo>
                  <a:pt x="1082" y="293"/>
                  <a:pt x="1082" y="293"/>
                  <a:pt x="1082" y="293"/>
                </a:cubicBezTo>
                <a:cubicBezTo>
                  <a:pt x="1082" y="292"/>
                  <a:pt x="1082" y="292"/>
                  <a:pt x="1082" y="292"/>
                </a:cubicBezTo>
                <a:cubicBezTo>
                  <a:pt x="1081" y="292"/>
                  <a:pt x="1081" y="292"/>
                  <a:pt x="1081" y="292"/>
                </a:cubicBezTo>
                <a:cubicBezTo>
                  <a:pt x="1078" y="294"/>
                  <a:pt x="1078" y="294"/>
                  <a:pt x="1078" y="294"/>
                </a:cubicBezTo>
                <a:cubicBezTo>
                  <a:pt x="1077" y="294"/>
                  <a:pt x="1077" y="294"/>
                  <a:pt x="1077" y="294"/>
                </a:cubicBezTo>
                <a:cubicBezTo>
                  <a:pt x="1077" y="295"/>
                  <a:pt x="1077" y="295"/>
                  <a:pt x="1077" y="295"/>
                </a:cubicBezTo>
                <a:cubicBezTo>
                  <a:pt x="1076" y="295"/>
                  <a:pt x="1076" y="295"/>
                  <a:pt x="1076" y="295"/>
                </a:cubicBezTo>
                <a:cubicBezTo>
                  <a:pt x="1075" y="296"/>
                  <a:pt x="1075" y="296"/>
                  <a:pt x="1075" y="296"/>
                </a:cubicBezTo>
                <a:cubicBezTo>
                  <a:pt x="1074" y="296"/>
                  <a:pt x="1074" y="296"/>
                  <a:pt x="1074" y="296"/>
                </a:cubicBezTo>
                <a:cubicBezTo>
                  <a:pt x="1074" y="295"/>
                  <a:pt x="1074" y="295"/>
                  <a:pt x="1074" y="295"/>
                </a:cubicBezTo>
                <a:cubicBezTo>
                  <a:pt x="1073" y="295"/>
                  <a:pt x="1073" y="295"/>
                  <a:pt x="1073" y="295"/>
                </a:cubicBezTo>
                <a:cubicBezTo>
                  <a:pt x="1074" y="294"/>
                  <a:pt x="1074" y="294"/>
                  <a:pt x="1074" y="294"/>
                </a:cubicBezTo>
                <a:cubicBezTo>
                  <a:pt x="1073" y="293"/>
                  <a:pt x="1073" y="293"/>
                  <a:pt x="1073" y="293"/>
                </a:cubicBezTo>
                <a:cubicBezTo>
                  <a:pt x="1072" y="293"/>
                  <a:pt x="1072" y="293"/>
                  <a:pt x="1072" y="293"/>
                </a:cubicBezTo>
                <a:cubicBezTo>
                  <a:pt x="1072" y="292"/>
                  <a:pt x="1072" y="292"/>
                  <a:pt x="1072" y="292"/>
                </a:cubicBezTo>
                <a:cubicBezTo>
                  <a:pt x="1073" y="291"/>
                  <a:pt x="1073" y="291"/>
                  <a:pt x="1073" y="291"/>
                </a:cubicBezTo>
                <a:cubicBezTo>
                  <a:pt x="1074" y="291"/>
                  <a:pt x="1074" y="291"/>
                  <a:pt x="1074" y="291"/>
                </a:cubicBezTo>
                <a:cubicBezTo>
                  <a:pt x="1075" y="291"/>
                  <a:pt x="1075" y="291"/>
                  <a:pt x="1075" y="291"/>
                </a:cubicBezTo>
                <a:cubicBezTo>
                  <a:pt x="1076" y="291"/>
                  <a:pt x="1076" y="291"/>
                  <a:pt x="1076" y="291"/>
                </a:cubicBezTo>
                <a:cubicBezTo>
                  <a:pt x="1077" y="291"/>
                  <a:pt x="1077" y="291"/>
                  <a:pt x="1077" y="291"/>
                </a:cubicBezTo>
                <a:cubicBezTo>
                  <a:pt x="1078" y="290"/>
                  <a:pt x="1078" y="290"/>
                  <a:pt x="1078" y="290"/>
                </a:cubicBezTo>
                <a:cubicBezTo>
                  <a:pt x="1079" y="290"/>
                  <a:pt x="1079" y="290"/>
                  <a:pt x="1079" y="290"/>
                </a:cubicBezTo>
                <a:cubicBezTo>
                  <a:pt x="1079" y="289"/>
                  <a:pt x="1079" y="289"/>
                  <a:pt x="1079" y="289"/>
                </a:cubicBezTo>
                <a:cubicBezTo>
                  <a:pt x="1078" y="289"/>
                  <a:pt x="1078" y="289"/>
                  <a:pt x="1078" y="289"/>
                </a:cubicBezTo>
                <a:cubicBezTo>
                  <a:pt x="1077" y="290"/>
                  <a:pt x="1077" y="290"/>
                  <a:pt x="1077" y="290"/>
                </a:cubicBezTo>
                <a:cubicBezTo>
                  <a:pt x="1076" y="290"/>
                  <a:pt x="1076" y="290"/>
                  <a:pt x="1076" y="290"/>
                </a:cubicBezTo>
                <a:cubicBezTo>
                  <a:pt x="1075" y="290"/>
                  <a:pt x="1075" y="290"/>
                  <a:pt x="1075" y="290"/>
                </a:cubicBezTo>
                <a:cubicBezTo>
                  <a:pt x="1074" y="289"/>
                  <a:pt x="1074" y="289"/>
                  <a:pt x="1074" y="289"/>
                </a:cubicBezTo>
                <a:cubicBezTo>
                  <a:pt x="1073" y="290"/>
                  <a:pt x="1073" y="290"/>
                  <a:pt x="1073" y="290"/>
                </a:cubicBezTo>
                <a:cubicBezTo>
                  <a:pt x="1072" y="291"/>
                  <a:pt x="1072" y="291"/>
                  <a:pt x="1072" y="291"/>
                </a:cubicBezTo>
                <a:cubicBezTo>
                  <a:pt x="1072" y="290"/>
                  <a:pt x="1072" y="290"/>
                  <a:pt x="1072" y="290"/>
                </a:cubicBezTo>
                <a:cubicBezTo>
                  <a:pt x="1071" y="290"/>
                  <a:pt x="1071" y="290"/>
                  <a:pt x="1071" y="290"/>
                </a:cubicBezTo>
                <a:cubicBezTo>
                  <a:pt x="1071" y="289"/>
                  <a:pt x="1071" y="289"/>
                  <a:pt x="1071" y="289"/>
                </a:cubicBezTo>
                <a:cubicBezTo>
                  <a:pt x="1073" y="289"/>
                  <a:pt x="1073" y="289"/>
                  <a:pt x="1073" y="289"/>
                </a:cubicBezTo>
                <a:cubicBezTo>
                  <a:pt x="1075" y="288"/>
                  <a:pt x="1075" y="288"/>
                  <a:pt x="1075" y="288"/>
                </a:cubicBezTo>
                <a:cubicBezTo>
                  <a:pt x="1076" y="287"/>
                  <a:pt x="1076" y="287"/>
                  <a:pt x="1076" y="287"/>
                </a:cubicBezTo>
                <a:cubicBezTo>
                  <a:pt x="1077" y="287"/>
                  <a:pt x="1077" y="287"/>
                  <a:pt x="1077" y="287"/>
                </a:cubicBezTo>
                <a:cubicBezTo>
                  <a:pt x="1078" y="286"/>
                  <a:pt x="1078" y="286"/>
                  <a:pt x="1078" y="286"/>
                </a:cubicBezTo>
                <a:cubicBezTo>
                  <a:pt x="1080" y="284"/>
                  <a:pt x="1080" y="284"/>
                  <a:pt x="1080" y="284"/>
                </a:cubicBezTo>
                <a:cubicBezTo>
                  <a:pt x="1082" y="283"/>
                  <a:pt x="1082" y="283"/>
                  <a:pt x="1082" y="283"/>
                </a:cubicBezTo>
                <a:cubicBezTo>
                  <a:pt x="1084" y="282"/>
                  <a:pt x="1084" y="282"/>
                  <a:pt x="1084" y="282"/>
                </a:cubicBezTo>
                <a:cubicBezTo>
                  <a:pt x="1085" y="282"/>
                  <a:pt x="1085" y="282"/>
                  <a:pt x="1085" y="282"/>
                </a:cubicBezTo>
                <a:cubicBezTo>
                  <a:pt x="1085" y="281"/>
                  <a:pt x="1085" y="281"/>
                  <a:pt x="1085" y="281"/>
                </a:cubicBezTo>
                <a:cubicBezTo>
                  <a:pt x="1084" y="281"/>
                  <a:pt x="1084" y="281"/>
                  <a:pt x="1084" y="281"/>
                </a:cubicBezTo>
                <a:cubicBezTo>
                  <a:pt x="1083" y="282"/>
                  <a:pt x="1083" y="282"/>
                  <a:pt x="1083" y="282"/>
                </a:cubicBezTo>
                <a:cubicBezTo>
                  <a:pt x="1080" y="283"/>
                  <a:pt x="1080" y="283"/>
                  <a:pt x="1080" y="283"/>
                </a:cubicBezTo>
                <a:cubicBezTo>
                  <a:pt x="1078" y="284"/>
                  <a:pt x="1078" y="284"/>
                  <a:pt x="1078" y="284"/>
                </a:cubicBezTo>
                <a:cubicBezTo>
                  <a:pt x="1077" y="286"/>
                  <a:pt x="1077" y="286"/>
                  <a:pt x="1077" y="286"/>
                </a:cubicBezTo>
                <a:cubicBezTo>
                  <a:pt x="1076" y="286"/>
                  <a:pt x="1076" y="286"/>
                  <a:pt x="1076" y="286"/>
                </a:cubicBezTo>
                <a:cubicBezTo>
                  <a:pt x="1074" y="287"/>
                  <a:pt x="1074" y="287"/>
                  <a:pt x="1074" y="287"/>
                </a:cubicBezTo>
                <a:cubicBezTo>
                  <a:pt x="1073" y="287"/>
                  <a:pt x="1073" y="287"/>
                  <a:pt x="1073" y="287"/>
                </a:cubicBezTo>
                <a:cubicBezTo>
                  <a:pt x="1071" y="288"/>
                  <a:pt x="1071" y="288"/>
                  <a:pt x="1071" y="288"/>
                </a:cubicBezTo>
                <a:cubicBezTo>
                  <a:pt x="1070" y="288"/>
                  <a:pt x="1070" y="288"/>
                  <a:pt x="1070" y="288"/>
                </a:cubicBezTo>
                <a:cubicBezTo>
                  <a:pt x="1070" y="287"/>
                  <a:pt x="1070" y="287"/>
                  <a:pt x="1070" y="287"/>
                </a:cubicBezTo>
                <a:cubicBezTo>
                  <a:pt x="1070" y="285"/>
                  <a:pt x="1070" y="285"/>
                  <a:pt x="1070" y="285"/>
                </a:cubicBezTo>
                <a:cubicBezTo>
                  <a:pt x="1071" y="284"/>
                  <a:pt x="1071" y="284"/>
                  <a:pt x="1071" y="284"/>
                </a:cubicBezTo>
                <a:cubicBezTo>
                  <a:pt x="1072" y="284"/>
                  <a:pt x="1072" y="284"/>
                  <a:pt x="1072" y="284"/>
                </a:cubicBezTo>
                <a:cubicBezTo>
                  <a:pt x="1073" y="285"/>
                  <a:pt x="1073" y="285"/>
                  <a:pt x="1073" y="285"/>
                </a:cubicBezTo>
                <a:cubicBezTo>
                  <a:pt x="1075" y="285"/>
                  <a:pt x="1075" y="285"/>
                  <a:pt x="1075" y="285"/>
                </a:cubicBezTo>
                <a:cubicBezTo>
                  <a:pt x="1076" y="285"/>
                  <a:pt x="1076" y="285"/>
                  <a:pt x="1076" y="285"/>
                </a:cubicBezTo>
                <a:cubicBezTo>
                  <a:pt x="1075" y="284"/>
                  <a:pt x="1075" y="284"/>
                  <a:pt x="1075" y="284"/>
                </a:cubicBezTo>
                <a:cubicBezTo>
                  <a:pt x="1074" y="284"/>
                  <a:pt x="1074" y="284"/>
                  <a:pt x="1074" y="284"/>
                </a:cubicBezTo>
                <a:cubicBezTo>
                  <a:pt x="1073" y="284"/>
                  <a:pt x="1073" y="284"/>
                  <a:pt x="1073" y="284"/>
                </a:cubicBezTo>
                <a:cubicBezTo>
                  <a:pt x="1072" y="284"/>
                  <a:pt x="1072" y="284"/>
                  <a:pt x="1072" y="284"/>
                </a:cubicBezTo>
                <a:cubicBezTo>
                  <a:pt x="1072" y="283"/>
                  <a:pt x="1072" y="283"/>
                  <a:pt x="1072" y="283"/>
                </a:cubicBezTo>
                <a:cubicBezTo>
                  <a:pt x="1073" y="282"/>
                  <a:pt x="1073" y="282"/>
                  <a:pt x="1073" y="282"/>
                </a:cubicBezTo>
                <a:cubicBezTo>
                  <a:pt x="1074" y="283"/>
                  <a:pt x="1074" y="283"/>
                  <a:pt x="1074" y="283"/>
                </a:cubicBezTo>
                <a:cubicBezTo>
                  <a:pt x="1075" y="283"/>
                  <a:pt x="1075" y="283"/>
                  <a:pt x="1075" y="283"/>
                </a:cubicBezTo>
                <a:cubicBezTo>
                  <a:pt x="1076" y="283"/>
                  <a:pt x="1076" y="283"/>
                  <a:pt x="1076" y="283"/>
                </a:cubicBezTo>
                <a:cubicBezTo>
                  <a:pt x="1076" y="282"/>
                  <a:pt x="1076" y="282"/>
                  <a:pt x="1076" y="282"/>
                </a:cubicBezTo>
                <a:cubicBezTo>
                  <a:pt x="1075" y="282"/>
                  <a:pt x="1075" y="282"/>
                  <a:pt x="1075" y="282"/>
                </a:cubicBezTo>
                <a:cubicBezTo>
                  <a:pt x="1074" y="282"/>
                  <a:pt x="1074" y="282"/>
                  <a:pt x="1074" y="282"/>
                </a:cubicBezTo>
                <a:cubicBezTo>
                  <a:pt x="1075" y="281"/>
                  <a:pt x="1075" y="281"/>
                  <a:pt x="1075" y="281"/>
                </a:cubicBezTo>
                <a:cubicBezTo>
                  <a:pt x="1076" y="281"/>
                  <a:pt x="1076" y="281"/>
                  <a:pt x="1076" y="281"/>
                </a:cubicBezTo>
                <a:cubicBezTo>
                  <a:pt x="1077" y="281"/>
                  <a:pt x="1077" y="281"/>
                  <a:pt x="1077" y="281"/>
                </a:cubicBezTo>
                <a:cubicBezTo>
                  <a:pt x="1078" y="281"/>
                  <a:pt x="1078" y="281"/>
                  <a:pt x="1078" y="281"/>
                </a:cubicBezTo>
                <a:cubicBezTo>
                  <a:pt x="1078" y="280"/>
                  <a:pt x="1078" y="280"/>
                  <a:pt x="1078" y="280"/>
                </a:cubicBezTo>
                <a:cubicBezTo>
                  <a:pt x="1078" y="279"/>
                  <a:pt x="1078" y="279"/>
                  <a:pt x="1078" y="279"/>
                </a:cubicBezTo>
                <a:cubicBezTo>
                  <a:pt x="1077" y="279"/>
                  <a:pt x="1077" y="279"/>
                  <a:pt x="1077" y="279"/>
                </a:cubicBezTo>
                <a:cubicBezTo>
                  <a:pt x="1076" y="280"/>
                  <a:pt x="1076" y="280"/>
                  <a:pt x="1076" y="280"/>
                </a:cubicBezTo>
                <a:cubicBezTo>
                  <a:pt x="1075" y="280"/>
                  <a:pt x="1075" y="280"/>
                  <a:pt x="1075" y="280"/>
                </a:cubicBezTo>
                <a:cubicBezTo>
                  <a:pt x="1073" y="279"/>
                  <a:pt x="1073" y="279"/>
                  <a:pt x="1073" y="279"/>
                </a:cubicBezTo>
                <a:cubicBezTo>
                  <a:pt x="1071" y="279"/>
                  <a:pt x="1071" y="279"/>
                  <a:pt x="1071" y="279"/>
                </a:cubicBezTo>
                <a:cubicBezTo>
                  <a:pt x="1071" y="278"/>
                  <a:pt x="1071" y="278"/>
                  <a:pt x="1071" y="278"/>
                </a:cubicBezTo>
                <a:cubicBezTo>
                  <a:pt x="1072" y="278"/>
                  <a:pt x="1072" y="278"/>
                  <a:pt x="1072" y="278"/>
                </a:cubicBezTo>
                <a:cubicBezTo>
                  <a:pt x="1073" y="278"/>
                  <a:pt x="1073" y="278"/>
                  <a:pt x="1073" y="278"/>
                </a:cubicBezTo>
                <a:cubicBezTo>
                  <a:pt x="1073" y="277"/>
                  <a:pt x="1073" y="277"/>
                  <a:pt x="1073" y="277"/>
                </a:cubicBezTo>
                <a:cubicBezTo>
                  <a:pt x="1072" y="277"/>
                  <a:pt x="1072" y="277"/>
                  <a:pt x="1072" y="277"/>
                </a:cubicBezTo>
                <a:cubicBezTo>
                  <a:pt x="1072" y="276"/>
                  <a:pt x="1072" y="276"/>
                  <a:pt x="1072" y="276"/>
                </a:cubicBezTo>
                <a:cubicBezTo>
                  <a:pt x="1073" y="276"/>
                  <a:pt x="1073" y="276"/>
                  <a:pt x="1073" y="276"/>
                </a:cubicBezTo>
                <a:cubicBezTo>
                  <a:pt x="1074" y="276"/>
                  <a:pt x="1074" y="276"/>
                  <a:pt x="1074" y="276"/>
                </a:cubicBezTo>
                <a:cubicBezTo>
                  <a:pt x="1075" y="276"/>
                  <a:pt x="1075" y="276"/>
                  <a:pt x="1075" y="276"/>
                </a:cubicBezTo>
                <a:cubicBezTo>
                  <a:pt x="1079" y="276"/>
                  <a:pt x="1079" y="276"/>
                  <a:pt x="1079" y="276"/>
                </a:cubicBezTo>
                <a:cubicBezTo>
                  <a:pt x="1080" y="276"/>
                  <a:pt x="1080" y="276"/>
                  <a:pt x="1080" y="276"/>
                </a:cubicBezTo>
                <a:cubicBezTo>
                  <a:pt x="1081" y="276"/>
                  <a:pt x="1081" y="276"/>
                  <a:pt x="1081" y="276"/>
                </a:cubicBezTo>
                <a:cubicBezTo>
                  <a:pt x="1082" y="276"/>
                  <a:pt x="1082" y="276"/>
                  <a:pt x="1082" y="276"/>
                </a:cubicBezTo>
                <a:cubicBezTo>
                  <a:pt x="1082" y="275"/>
                  <a:pt x="1082" y="275"/>
                  <a:pt x="1082" y="275"/>
                </a:cubicBezTo>
                <a:cubicBezTo>
                  <a:pt x="1080" y="275"/>
                  <a:pt x="1080" y="275"/>
                  <a:pt x="1080" y="275"/>
                </a:cubicBezTo>
                <a:cubicBezTo>
                  <a:pt x="1078" y="275"/>
                  <a:pt x="1078" y="275"/>
                  <a:pt x="1078" y="275"/>
                </a:cubicBezTo>
                <a:cubicBezTo>
                  <a:pt x="1076" y="275"/>
                  <a:pt x="1076" y="275"/>
                  <a:pt x="1076" y="275"/>
                </a:cubicBezTo>
                <a:cubicBezTo>
                  <a:pt x="1075" y="275"/>
                  <a:pt x="1075" y="275"/>
                  <a:pt x="1075" y="275"/>
                </a:cubicBezTo>
                <a:cubicBezTo>
                  <a:pt x="1074" y="275"/>
                  <a:pt x="1074" y="275"/>
                  <a:pt x="1074" y="275"/>
                </a:cubicBezTo>
                <a:cubicBezTo>
                  <a:pt x="1073" y="275"/>
                  <a:pt x="1073" y="275"/>
                  <a:pt x="1073" y="275"/>
                </a:cubicBezTo>
                <a:cubicBezTo>
                  <a:pt x="1072" y="276"/>
                  <a:pt x="1072" y="276"/>
                  <a:pt x="1072" y="276"/>
                </a:cubicBezTo>
                <a:cubicBezTo>
                  <a:pt x="1072" y="275"/>
                  <a:pt x="1072" y="275"/>
                  <a:pt x="1072" y="275"/>
                </a:cubicBezTo>
                <a:cubicBezTo>
                  <a:pt x="1073" y="274"/>
                  <a:pt x="1073" y="274"/>
                  <a:pt x="1073" y="274"/>
                </a:cubicBezTo>
                <a:cubicBezTo>
                  <a:pt x="1074" y="273"/>
                  <a:pt x="1074" y="273"/>
                  <a:pt x="1074" y="273"/>
                </a:cubicBezTo>
                <a:cubicBezTo>
                  <a:pt x="1075" y="273"/>
                  <a:pt x="1075" y="273"/>
                  <a:pt x="1075" y="273"/>
                </a:cubicBezTo>
                <a:cubicBezTo>
                  <a:pt x="1076" y="272"/>
                  <a:pt x="1076" y="272"/>
                  <a:pt x="1076" y="272"/>
                </a:cubicBezTo>
                <a:cubicBezTo>
                  <a:pt x="1076" y="271"/>
                  <a:pt x="1076" y="271"/>
                  <a:pt x="1076" y="271"/>
                </a:cubicBezTo>
                <a:cubicBezTo>
                  <a:pt x="1077" y="270"/>
                  <a:pt x="1077" y="270"/>
                  <a:pt x="1077" y="270"/>
                </a:cubicBezTo>
                <a:cubicBezTo>
                  <a:pt x="1078" y="270"/>
                  <a:pt x="1078" y="270"/>
                  <a:pt x="1078" y="270"/>
                </a:cubicBezTo>
                <a:cubicBezTo>
                  <a:pt x="1078" y="271"/>
                  <a:pt x="1078" y="271"/>
                  <a:pt x="1078" y="271"/>
                </a:cubicBezTo>
                <a:cubicBezTo>
                  <a:pt x="1079" y="271"/>
                  <a:pt x="1079" y="271"/>
                  <a:pt x="1079" y="271"/>
                </a:cubicBezTo>
                <a:cubicBezTo>
                  <a:pt x="1080" y="270"/>
                  <a:pt x="1080" y="270"/>
                  <a:pt x="1080" y="270"/>
                </a:cubicBezTo>
                <a:cubicBezTo>
                  <a:pt x="1081" y="270"/>
                  <a:pt x="1081" y="270"/>
                  <a:pt x="1081" y="270"/>
                </a:cubicBezTo>
                <a:cubicBezTo>
                  <a:pt x="1081" y="271"/>
                  <a:pt x="1081" y="271"/>
                  <a:pt x="1081" y="271"/>
                </a:cubicBezTo>
                <a:cubicBezTo>
                  <a:pt x="1082" y="271"/>
                  <a:pt x="1082" y="271"/>
                  <a:pt x="1082" y="271"/>
                </a:cubicBezTo>
                <a:cubicBezTo>
                  <a:pt x="1083" y="272"/>
                  <a:pt x="1083" y="272"/>
                  <a:pt x="1083" y="272"/>
                </a:cubicBezTo>
                <a:cubicBezTo>
                  <a:pt x="1085" y="272"/>
                  <a:pt x="1085" y="272"/>
                  <a:pt x="1085" y="272"/>
                </a:cubicBezTo>
                <a:cubicBezTo>
                  <a:pt x="1086" y="272"/>
                  <a:pt x="1086" y="272"/>
                  <a:pt x="1086" y="272"/>
                </a:cubicBezTo>
                <a:cubicBezTo>
                  <a:pt x="1087" y="274"/>
                  <a:pt x="1087" y="274"/>
                  <a:pt x="1087" y="274"/>
                </a:cubicBezTo>
                <a:cubicBezTo>
                  <a:pt x="1088" y="275"/>
                  <a:pt x="1088" y="275"/>
                  <a:pt x="1088" y="275"/>
                </a:cubicBezTo>
                <a:cubicBezTo>
                  <a:pt x="1090" y="275"/>
                  <a:pt x="1090" y="275"/>
                  <a:pt x="1090" y="275"/>
                </a:cubicBezTo>
                <a:cubicBezTo>
                  <a:pt x="1091" y="275"/>
                  <a:pt x="1091" y="275"/>
                  <a:pt x="1091" y="275"/>
                </a:cubicBezTo>
                <a:cubicBezTo>
                  <a:pt x="1092" y="274"/>
                  <a:pt x="1092" y="274"/>
                  <a:pt x="1092" y="274"/>
                </a:cubicBezTo>
                <a:cubicBezTo>
                  <a:pt x="1091" y="274"/>
                  <a:pt x="1091" y="274"/>
                  <a:pt x="1091" y="274"/>
                </a:cubicBezTo>
                <a:cubicBezTo>
                  <a:pt x="1090" y="274"/>
                  <a:pt x="1090" y="274"/>
                  <a:pt x="1090" y="274"/>
                </a:cubicBezTo>
                <a:cubicBezTo>
                  <a:pt x="1089" y="274"/>
                  <a:pt x="1089" y="274"/>
                  <a:pt x="1089" y="274"/>
                </a:cubicBezTo>
                <a:cubicBezTo>
                  <a:pt x="1088" y="273"/>
                  <a:pt x="1088" y="273"/>
                  <a:pt x="1088" y="273"/>
                </a:cubicBezTo>
                <a:cubicBezTo>
                  <a:pt x="1087" y="272"/>
                  <a:pt x="1087" y="272"/>
                  <a:pt x="1087" y="272"/>
                </a:cubicBezTo>
                <a:cubicBezTo>
                  <a:pt x="1087" y="271"/>
                  <a:pt x="1087" y="271"/>
                  <a:pt x="1087" y="271"/>
                </a:cubicBezTo>
                <a:cubicBezTo>
                  <a:pt x="1089" y="271"/>
                  <a:pt x="1089" y="271"/>
                  <a:pt x="1089" y="271"/>
                </a:cubicBezTo>
                <a:cubicBezTo>
                  <a:pt x="1091" y="271"/>
                  <a:pt x="1091" y="271"/>
                  <a:pt x="1091" y="271"/>
                </a:cubicBezTo>
                <a:cubicBezTo>
                  <a:pt x="1091" y="270"/>
                  <a:pt x="1091" y="270"/>
                  <a:pt x="1091" y="270"/>
                </a:cubicBezTo>
                <a:cubicBezTo>
                  <a:pt x="1091" y="269"/>
                  <a:pt x="1091" y="269"/>
                  <a:pt x="1091" y="269"/>
                </a:cubicBezTo>
                <a:cubicBezTo>
                  <a:pt x="1090" y="269"/>
                  <a:pt x="1090" y="269"/>
                  <a:pt x="1090" y="269"/>
                </a:cubicBezTo>
                <a:cubicBezTo>
                  <a:pt x="1089" y="269"/>
                  <a:pt x="1089" y="269"/>
                  <a:pt x="1089" y="269"/>
                </a:cubicBezTo>
                <a:cubicBezTo>
                  <a:pt x="1089" y="270"/>
                  <a:pt x="1089" y="270"/>
                  <a:pt x="1089" y="270"/>
                </a:cubicBezTo>
                <a:cubicBezTo>
                  <a:pt x="1087" y="270"/>
                  <a:pt x="1087" y="270"/>
                  <a:pt x="1087" y="270"/>
                </a:cubicBezTo>
                <a:cubicBezTo>
                  <a:pt x="1086" y="269"/>
                  <a:pt x="1086" y="269"/>
                  <a:pt x="1086" y="269"/>
                </a:cubicBezTo>
                <a:cubicBezTo>
                  <a:pt x="1087" y="269"/>
                  <a:pt x="1087" y="269"/>
                  <a:pt x="1087" y="269"/>
                </a:cubicBezTo>
                <a:cubicBezTo>
                  <a:pt x="1088" y="269"/>
                  <a:pt x="1088" y="269"/>
                  <a:pt x="1088" y="269"/>
                </a:cubicBezTo>
                <a:cubicBezTo>
                  <a:pt x="1087" y="268"/>
                  <a:pt x="1087" y="268"/>
                  <a:pt x="1087" y="268"/>
                </a:cubicBezTo>
                <a:cubicBezTo>
                  <a:pt x="1086" y="268"/>
                  <a:pt x="1086" y="268"/>
                  <a:pt x="1086" y="268"/>
                </a:cubicBezTo>
                <a:cubicBezTo>
                  <a:pt x="1085" y="268"/>
                  <a:pt x="1085" y="268"/>
                  <a:pt x="1085" y="268"/>
                </a:cubicBezTo>
                <a:cubicBezTo>
                  <a:pt x="1085" y="269"/>
                  <a:pt x="1085" y="269"/>
                  <a:pt x="1085" y="269"/>
                </a:cubicBezTo>
                <a:cubicBezTo>
                  <a:pt x="1086" y="269"/>
                  <a:pt x="1086" y="269"/>
                  <a:pt x="1086" y="269"/>
                </a:cubicBezTo>
                <a:cubicBezTo>
                  <a:pt x="1086" y="270"/>
                  <a:pt x="1086" y="270"/>
                  <a:pt x="1086" y="270"/>
                </a:cubicBezTo>
                <a:cubicBezTo>
                  <a:pt x="1085" y="271"/>
                  <a:pt x="1085" y="271"/>
                  <a:pt x="1085" y="271"/>
                </a:cubicBezTo>
                <a:cubicBezTo>
                  <a:pt x="1084" y="271"/>
                  <a:pt x="1084" y="271"/>
                  <a:pt x="1084" y="271"/>
                </a:cubicBezTo>
                <a:cubicBezTo>
                  <a:pt x="1083" y="271"/>
                  <a:pt x="1083" y="271"/>
                  <a:pt x="1083" y="271"/>
                </a:cubicBezTo>
                <a:cubicBezTo>
                  <a:pt x="1082" y="270"/>
                  <a:pt x="1082" y="270"/>
                  <a:pt x="1082" y="270"/>
                </a:cubicBezTo>
                <a:cubicBezTo>
                  <a:pt x="1081" y="270"/>
                  <a:pt x="1081" y="270"/>
                  <a:pt x="1081" y="270"/>
                </a:cubicBezTo>
                <a:cubicBezTo>
                  <a:pt x="1081" y="269"/>
                  <a:pt x="1081" y="269"/>
                  <a:pt x="1081" y="269"/>
                </a:cubicBezTo>
                <a:cubicBezTo>
                  <a:pt x="1080" y="269"/>
                  <a:pt x="1080" y="269"/>
                  <a:pt x="1080" y="269"/>
                </a:cubicBezTo>
                <a:cubicBezTo>
                  <a:pt x="1079" y="269"/>
                  <a:pt x="1079" y="269"/>
                  <a:pt x="1079" y="269"/>
                </a:cubicBezTo>
                <a:cubicBezTo>
                  <a:pt x="1078" y="269"/>
                  <a:pt x="1078" y="269"/>
                  <a:pt x="1078" y="269"/>
                </a:cubicBezTo>
                <a:cubicBezTo>
                  <a:pt x="1077" y="269"/>
                  <a:pt x="1077" y="269"/>
                  <a:pt x="1077" y="269"/>
                </a:cubicBezTo>
                <a:cubicBezTo>
                  <a:pt x="1076" y="270"/>
                  <a:pt x="1076" y="270"/>
                  <a:pt x="1076" y="270"/>
                </a:cubicBezTo>
                <a:cubicBezTo>
                  <a:pt x="1075" y="271"/>
                  <a:pt x="1075" y="271"/>
                  <a:pt x="1075" y="271"/>
                </a:cubicBezTo>
                <a:cubicBezTo>
                  <a:pt x="1074" y="272"/>
                  <a:pt x="1074" y="272"/>
                  <a:pt x="1074" y="272"/>
                </a:cubicBezTo>
                <a:cubicBezTo>
                  <a:pt x="1074" y="271"/>
                  <a:pt x="1074" y="271"/>
                  <a:pt x="1074" y="271"/>
                </a:cubicBezTo>
                <a:cubicBezTo>
                  <a:pt x="1075" y="269"/>
                  <a:pt x="1075" y="269"/>
                  <a:pt x="1075" y="269"/>
                </a:cubicBezTo>
                <a:cubicBezTo>
                  <a:pt x="1076" y="269"/>
                  <a:pt x="1076" y="269"/>
                  <a:pt x="1076" y="269"/>
                </a:cubicBezTo>
                <a:cubicBezTo>
                  <a:pt x="1076" y="268"/>
                  <a:pt x="1076" y="268"/>
                  <a:pt x="1076" y="268"/>
                </a:cubicBezTo>
                <a:cubicBezTo>
                  <a:pt x="1077" y="267"/>
                  <a:pt x="1077" y="267"/>
                  <a:pt x="1077" y="267"/>
                </a:cubicBezTo>
                <a:cubicBezTo>
                  <a:pt x="1078" y="266"/>
                  <a:pt x="1078" y="266"/>
                  <a:pt x="1078" y="266"/>
                </a:cubicBezTo>
                <a:cubicBezTo>
                  <a:pt x="1079" y="267"/>
                  <a:pt x="1079" y="267"/>
                  <a:pt x="1079" y="267"/>
                </a:cubicBezTo>
                <a:cubicBezTo>
                  <a:pt x="1080" y="267"/>
                  <a:pt x="1080" y="267"/>
                  <a:pt x="1080" y="267"/>
                </a:cubicBezTo>
                <a:cubicBezTo>
                  <a:pt x="1080" y="266"/>
                  <a:pt x="1080" y="266"/>
                  <a:pt x="1080" y="266"/>
                </a:cubicBezTo>
                <a:cubicBezTo>
                  <a:pt x="1078" y="265"/>
                  <a:pt x="1078" y="265"/>
                  <a:pt x="1078" y="265"/>
                </a:cubicBezTo>
                <a:cubicBezTo>
                  <a:pt x="1078" y="264"/>
                  <a:pt x="1078" y="264"/>
                  <a:pt x="1078" y="264"/>
                </a:cubicBezTo>
                <a:cubicBezTo>
                  <a:pt x="1077" y="264"/>
                  <a:pt x="1077" y="264"/>
                  <a:pt x="1077" y="264"/>
                </a:cubicBezTo>
                <a:cubicBezTo>
                  <a:pt x="1077" y="263"/>
                  <a:pt x="1077" y="263"/>
                  <a:pt x="1077" y="263"/>
                </a:cubicBezTo>
                <a:cubicBezTo>
                  <a:pt x="1078" y="263"/>
                  <a:pt x="1078" y="263"/>
                  <a:pt x="1078" y="263"/>
                </a:cubicBezTo>
                <a:cubicBezTo>
                  <a:pt x="1079" y="263"/>
                  <a:pt x="1079" y="263"/>
                  <a:pt x="1079" y="263"/>
                </a:cubicBezTo>
                <a:cubicBezTo>
                  <a:pt x="1080" y="265"/>
                  <a:pt x="1080" y="265"/>
                  <a:pt x="1080" y="265"/>
                </a:cubicBezTo>
                <a:cubicBezTo>
                  <a:pt x="1081" y="266"/>
                  <a:pt x="1081" y="266"/>
                  <a:pt x="1081" y="266"/>
                </a:cubicBezTo>
                <a:cubicBezTo>
                  <a:pt x="1081" y="265"/>
                  <a:pt x="1081" y="265"/>
                  <a:pt x="1081" y="265"/>
                </a:cubicBezTo>
                <a:cubicBezTo>
                  <a:pt x="1081" y="264"/>
                  <a:pt x="1081" y="264"/>
                  <a:pt x="1081" y="264"/>
                </a:cubicBezTo>
                <a:cubicBezTo>
                  <a:pt x="1082" y="265"/>
                  <a:pt x="1082" y="265"/>
                  <a:pt x="1082" y="265"/>
                </a:cubicBezTo>
                <a:cubicBezTo>
                  <a:pt x="1084" y="267"/>
                  <a:pt x="1084" y="267"/>
                  <a:pt x="1084" y="267"/>
                </a:cubicBezTo>
                <a:cubicBezTo>
                  <a:pt x="1085" y="267"/>
                  <a:pt x="1085" y="267"/>
                  <a:pt x="1085" y="267"/>
                </a:cubicBezTo>
                <a:cubicBezTo>
                  <a:pt x="1086" y="266"/>
                  <a:pt x="1086" y="266"/>
                  <a:pt x="1086" y="266"/>
                </a:cubicBezTo>
                <a:cubicBezTo>
                  <a:pt x="1087" y="266"/>
                  <a:pt x="1087" y="266"/>
                  <a:pt x="1087" y="266"/>
                </a:cubicBezTo>
                <a:cubicBezTo>
                  <a:pt x="1087" y="267"/>
                  <a:pt x="1087" y="267"/>
                  <a:pt x="1087" y="267"/>
                </a:cubicBezTo>
                <a:cubicBezTo>
                  <a:pt x="1089" y="268"/>
                  <a:pt x="1089" y="268"/>
                  <a:pt x="1089" y="268"/>
                </a:cubicBezTo>
                <a:cubicBezTo>
                  <a:pt x="1090" y="268"/>
                  <a:pt x="1090" y="268"/>
                  <a:pt x="1090" y="268"/>
                </a:cubicBezTo>
                <a:cubicBezTo>
                  <a:pt x="1091" y="268"/>
                  <a:pt x="1091" y="268"/>
                  <a:pt x="1091" y="268"/>
                </a:cubicBezTo>
                <a:cubicBezTo>
                  <a:pt x="1090" y="267"/>
                  <a:pt x="1090" y="267"/>
                  <a:pt x="1090" y="267"/>
                </a:cubicBezTo>
                <a:cubicBezTo>
                  <a:pt x="1087" y="265"/>
                  <a:pt x="1087" y="265"/>
                  <a:pt x="1087" y="265"/>
                </a:cubicBezTo>
                <a:cubicBezTo>
                  <a:pt x="1087" y="264"/>
                  <a:pt x="1087" y="264"/>
                  <a:pt x="1087" y="264"/>
                </a:cubicBezTo>
                <a:cubicBezTo>
                  <a:pt x="1088" y="263"/>
                  <a:pt x="1088" y="263"/>
                  <a:pt x="1088" y="263"/>
                </a:cubicBezTo>
                <a:cubicBezTo>
                  <a:pt x="1089" y="263"/>
                  <a:pt x="1089" y="263"/>
                  <a:pt x="1089" y="263"/>
                </a:cubicBezTo>
                <a:cubicBezTo>
                  <a:pt x="1089" y="262"/>
                  <a:pt x="1089" y="262"/>
                  <a:pt x="1089" y="262"/>
                </a:cubicBezTo>
                <a:cubicBezTo>
                  <a:pt x="1089" y="261"/>
                  <a:pt x="1089" y="261"/>
                  <a:pt x="1089" y="261"/>
                </a:cubicBezTo>
                <a:cubicBezTo>
                  <a:pt x="1088" y="262"/>
                  <a:pt x="1088" y="262"/>
                  <a:pt x="1088" y="262"/>
                </a:cubicBezTo>
                <a:cubicBezTo>
                  <a:pt x="1086" y="262"/>
                  <a:pt x="1086" y="262"/>
                  <a:pt x="1086" y="262"/>
                </a:cubicBezTo>
                <a:cubicBezTo>
                  <a:pt x="1087" y="263"/>
                  <a:pt x="1087" y="263"/>
                  <a:pt x="1087" y="263"/>
                </a:cubicBezTo>
                <a:cubicBezTo>
                  <a:pt x="1085" y="263"/>
                  <a:pt x="1085" y="263"/>
                  <a:pt x="1085" y="263"/>
                </a:cubicBezTo>
                <a:cubicBezTo>
                  <a:pt x="1085" y="264"/>
                  <a:pt x="1085" y="264"/>
                  <a:pt x="1085" y="264"/>
                </a:cubicBezTo>
                <a:cubicBezTo>
                  <a:pt x="1084" y="263"/>
                  <a:pt x="1084" y="263"/>
                  <a:pt x="1084" y="263"/>
                </a:cubicBezTo>
                <a:cubicBezTo>
                  <a:pt x="1083" y="264"/>
                  <a:pt x="1083" y="264"/>
                  <a:pt x="1083" y="264"/>
                </a:cubicBezTo>
                <a:cubicBezTo>
                  <a:pt x="1082" y="263"/>
                  <a:pt x="1082" y="263"/>
                  <a:pt x="1082" y="263"/>
                </a:cubicBezTo>
                <a:cubicBezTo>
                  <a:pt x="1081" y="263"/>
                  <a:pt x="1081" y="263"/>
                  <a:pt x="1081" y="263"/>
                </a:cubicBezTo>
                <a:cubicBezTo>
                  <a:pt x="1081" y="262"/>
                  <a:pt x="1081" y="262"/>
                  <a:pt x="1081" y="262"/>
                </a:cubicBezTo>
                <a:cubicBezTo>
                  <a:pt x="1082" y="261"/>
                  <a:pt x="1082" y="261"/>
                  <a:pt x="1082" y="261"/>
                </a:cubicBezTo>
                <a:cubicBezTo>
                  <a:pt x="1081" y="261"/>
                  <a:pt x="1081" y="261"/>
                  <a:pt x="1081" y="261"/>
                </a:cubicBezTo>
                <a:cubicBezTo>
                  <a:pt x="1083" y="260"/>
                  <a:pt x="1083" y="260"/>
                  <a:pt x="1083" y="260"/>
                </a:cubicBezTo>
                <a:cubicBezTo>
                  <a:pt x="1084" y="260"/>
                  <a:pt x="1084" y="260"/>
                  <a:pt x="1084" y="260"/>
                </a:cubicBezTo>
                <a:cubicBezTo>
                  <a:pt x="1085" y="260"/>
                  <a:pt x="1085" y="260"/>
                  <a:pt x="1085" y="260"/>
                </a:cubicBezTo>
                <a:cubicBezTo>
                  <a:pt x="1086" y="260"/>
                  <a:pt x="1086" y="260"/>
                  <a:pt x="1086" y="260"/>
                </a:cubicBezTo>
                <a:cubicBezTo>
                  <a:pt x="1087" y="260"/>
                  <a:pt x="1087" y="260"/>
                  <a:pt x="1087" y="260"/>
                </a:cubicBezTo>
                <a:cubicBezTo>
                  <a:pt x="1088" y="260"/>
                  <a:pt x="1088" y="260"/>
                  <a:pt x="1088" y="260"/>
                </a:cubicBezTo>
                <a:cubicBezTo>
                  <a:pt x="1089" y="260"/>
                  <a:pt x="1089" y="260"/>
                  <a:pt x="1089" y="260"/>
                </a:cubicBezTo>
                <a:cubicBezTo>
                  <a:pt x="1089" y="259"/>
                  <a:pt x="1089" y="259"/>
                  <a:pt x="1089" y="259"/>
                </a:cubicBezTo>
                <a:cubicBezTo>
                  <a:pt x="1090" y="259"/>
                  <a:pt x="1090" y="259"/>
                  <a:pt x="1090" y="259"/>
                </a:cubicBezTo>
                <a:cubicBezTo>
                  <a:pt x="1091" y="258"/>
                  <a:pt x="1091" y="258"/>
                  <a:pt x="1091" y="258"/>
                </a:cubicBezTo>
                <a:cubicBezTo>
                  <a:pt x="1091" y="257"/>
                  <a:pt x="1091" y="257"/>
                  <a:pt x="1091" y="257"/>
                </a:cubicBezTo>
                <a:cubicBezTo>
                  <a:pt x="1090" y="258"/>
                  <a:pt x="1090" y="258"/>
                  <a:pt x="1090" y="258"/>
                </a:cubicBezTo>
                <a:cubicBezTo>
                  <a:pt x="1089" y="258"/>
                  <a:pt x="1089" y="258"/>
                  <a:pt x="1089" y="258"/>
                </a:cubicBezTo>
                <a:cubicBezTo>
                  <a:pt x="1089" y="257"/>
                  <a:pt x="1089" y="257"/>
                  <a:pt x="1089" y="257"/>
                </a:cubicBezTo>
                <a:cubicBezTo>
                  <a:pt x="1090" y="256"/>
                  <a:pt x="1090" y="256"/>
                  <a:pt x="1090" y="256"/>
                </a:cubicBezTo>
                <a:cubicBezTo>
                  <a:pt x="1091" y="254"/>
                  <a:pt x="1091" y="254"/>
                  <a:pt x="1091" y="254"/>
                </a:cubicBezTo>
                <a:cubicBezTo>
                  <a:pt x="1090" y="253"/>
                  <a:pt x="1090" y="253"/>
                  <a:pt x="1090" y="253"/>
                </a:cubicBezTo>
                <a:cubicBezTo>
                  <a:pt x="1091" y="253"/>
                  <a:pt x="1091" y="253"/>
                  <a:pt x="1091" y="253"/>
                </a:cubicBezTo>
                <a:cubicBezTo>
                  <a:pt x="1092" y="254"/>
                  <a:pt x="1092" y="254"/>
                  <a:pt x="1092" y="254"/>
                </a:cubicBezTo>
                <a:cubicBezTo>
                  <a:pt x="1092" y="255"/>
                  <a:pt x="1092" y="255"/>
                  <a:pt x="1092" y="255"/>
                </a:cubicBezTo>
                <a:cubicBezTo>
                  <a:pt x="1093" y="255"/>
                  <a:pt x="1093" y="255"/>
                  <a:pt x="1093" y="255"/>
                </a:cubicBezTo>
                <a:cubicBezTo>
                  <a:pt x="1094" y="255"/>
                  <a:pt x="1094" y="255"/>
                  <a:pt x="1094" y="255"/>
                </a:cubicBezTo>
                <a:cubicBezTo>
                  <a:pt x="1094" y="256"/>
                  <a:pt x="1094" y="256"/>
                  <a:pt x="1094" y="256"/>
                </a:cubicBezTo>
                <a:cubicBezTo>
                  <a:pt x="1095" y="256"/>
                  <a:pt x="1095" y="256"/>
                  <a:pt x="1095" y="256"/>
                </a:cubicBezTo>
                <a:cubicBezTo>
                  <a:pt x="1096" y="256"/>
                  <a:pt x="1096" y="256"/>
                  <a:pt x="1096" y="256"/>
                </a:cubicBezTo>
                <a:cubicBezTo>
                  <a:pt x="1096" y="255"/>
                  <a:pt x="1096" y="255"/>
                  <a:pt x="1096" y="255"/>
                </a:cubicBezTo>
                <a:cubicBezTo>
                  <a:pt x="1095" y="255"/>
                  <a:pt x="1095" y="255"/>
                  <a:pt x="1095" y="255"/>
                </a:cubicBezTo>
                <a:cubicBezTo>
                  <a:pt x="1094" y="254"/>
                  <a:pt x="1094" y="254"/>
                  <a:pt x="1094" y="254"/>
                </a:cubicBezTo>
                <a:cubicBezTo>
                  <a:pt x="1095" y="254"/>
                  <a:pt x="1095" y="254"/>
                  <a:pt x="1095" y="254"/>
                </a:cubicBezTo>
                <a:cubicBezTo>
                  <a:pt x="1096" y="254"/>
                  <a:pt x="1096" y="254"/>
                  <a:pt x="1096" y="254"/>
                </a:cubicBezTo>
                <a:cubicBezTo>
                  <a:pt x="1096" y="253"/>
                  <a:pt x="1096" y="253"/>
                  <a:pt x="1096" y="253"/>
                </a:cubicBezTo>
                <a:cubicBezTo>
                  <a:pt x="1095" y="253"/>
                  <a:pt x="1095" y="253"/>
                  <a:pt x="1095" y="253"/>
                </a:cubicBezTo>
                <a:cubicBezTo>
                  <a:pt x="1094" y="252"/>
                  <a:pt x="1094" y="252"/>
                  <a:pt x="1094" y="252"/>
                </a:cubicBezTo>
                <a:cubicBezTo>
                  <a:pt x="1093" y="252"/>
                  <a:pt x="1093" y="252"/>
                  <a:pt x="1093" y="252"/>
                </a:cubicBezTo>
                <a:cubicBezTo>
                  <a:pt x="1092" y="252"/>
                  <a:pt x="1092" y="252"/>
                  <a:pt x="1092" y="252"/>
                </a:cubicBezTo>
                <a:cubicBezTo>
                  <a:pt x="1092" y="251"/>
                  <a:pt x="1092" y="251"/>
                  <a:pt x="1092" y="251"/>
                </a:cubicBezTo>
                <a:cubicBezTo>
                  <a:pt x="1093" y="251"/>
                  <a:pt x="1093" y="251"/>
                  <a:pt x="1093" y="251"/>
                </a:cubicBezTo>
                <a:cubicBezTo>
                  <a:pt x="1094" y="250"/>
                  <a:pt x="1094" y="250"/>
                  <a:pt x="1094" y="250"/>
                </a:cubicBezTo>
                <a:cubicBezTo>
                  <a:pt x="1094" y="249"/>
                  <a:pt x="1094" y="249"/>
                  <a:pt x="1094" y="249"/>
                </a:cubicBezTo>
                <a:cubicBezTo>
                  <a:pt x="1095" y="249"/>
                  <a:pt x="1095" y="249"/>
                  <a:pt x="1095" y="249"/>
                </a:cubicBezTo>
                <a:cubicBezTo>
                  <a:pt x="1096" y="249"/>
                  <a:pt x="1096" y="249"/>
                  <a:pt x="1096" y="249"/>
                </a:cubicBezTo>
                <a:cubicBezTo>
                  <a:pt x="1095" y="248"/>
                  <a:pt x="1095" y="248"/>
                  <a:pt x="1095" y="248"/>
                </a:cubicBezTo>
                <a:cubicBezTo>
                  <a:pt x="1094" y="248"/>
                  <a:pt x="1094" y="248"/>
                  <a:pt x="1094" y="248"/>
                </a:cubicBezTo>
                <a:cubicBezTo>
                  <a:pt x="1094" y="247"/>
                  <a:pt x="1094" y="247"/>
                  <a:pt x="1094" y="247"/>
                </a:cubicBezTo>
                <a:cubicBezTo>
                  <a:pt x="1096" y="247"/>
                  <a:pt x="1096" y="247"/>
                  <a:pt x="1096" y="247"/>
                </a:cubicBezTo>
                <a:cubicBezTo>
                  <a:pt x="1096" y="246"/>
                  <a:pt x="1096" y="246"/>
                  <a:pt x="1096" y="246"/>
                </a:cubicBezTo>
                <a:cubicBezTo>
                  <a:pt x="1097" y="246"/>
                  <a:pt x="1097" y="246"/>
                  <a:pt x="1097" y="246"/>
                </a:cubicBezTo>
                <a:cubicBezTo>
                  <a:pt x="1098" y="245"/>
                  <a:pt x="1098" y="245"/>
                  <a:pt x="1098" y="245"/>
                </a:cubicBezTo>
                <a:cubicBezTo>
                  <a:pt x="1097" y="244"/>
                  <a:pt x="1097" y="244"/>
                  <a:pt x="1097" y="244"/>
                </a:cubicBezTo>
                <a:cubicBezTo>
                  <a:pt x="1098" y="244"/>
                  <a:pt x="1098" y="244"/>
                  <a:pt x="1098" y="244"/>
                </a:cubicBezTo>
                <a:cubicBezTo>
                  <a:pt x="1098" y="243"/>
                  <a:pt x="1098" y="243"/>
                  <a:pt x="1098" y="243"/>
                </a:cubicBezTo>
                <a:cubicBezTo>
                  <a:pt x="1097" y="242"/>
                  <a:pt x="1097" y="242"/>
                  <a:pt x="1097" y="242"/>
                </a:cubicBezTo>
                <a:cubicBezTo>
                  <a:pt x="1096" y="243"/>
                  <a:pt x="1096" y="243"/>
                  <a:pt x="1096" y="243"/>
                </a:cubicBezTo>
                <a:cubicBezTo>
                  <a:pt x="1095" y="243"/>
                  <a:pt x="1095" y="243"/>
                  <a:pt x="1095" y="243"/>
                </a:cubicBezTo>
                <a:cubicBezTo>
                  <a:pt x="1094" y="243"/>
                  <a:pt x="1094" y="243"/>
                  <a:pt x="1094" y="243"/>
                </a:cubicBezTo>
                <a:cubicBezTo>
                  <a:pt x="1093" y="243"/>
                  <a:pt x="1093" y="243"/>
                  <a:pt x="1093" y="243"/>
                </a:cubicBezTo>
                <a:cubicBezTo>
                  <a:pt x="1092" y="243"/>
                  <a:pt x="1092" y="243"/>
                  <a:pt x="1092" y="243"/>
                </a:cubicBezTo>
                <a:cubicBezTo>
                  <a:pt x="1091" y="242"/>
                  <a:pt x="1091" y="242"/>
                  <a:pt x="1091" y="242"/>
                </a:cubicBezTo>
                <a:cubicBezTo>
                  <a:pt x="1091" y="243"/>
                  <a:pt x="1091" y="243"/>
                  <a:pt x="1091" y="243"/>
                </a:cubicBezTo>
                <a:cubicBezTo>
                  <a:pt x="1090" y="242"/>
                  <a:pt x="1090" y="242"/>
                  <a:pt x="1090" y="242"/>
                </a:cubicBezTo>
                <a:cubicBezTo>
                  <a:pt x="1089" y="241"/>
                  <a:pt x="1089" y="241"/>
                  <a:pt x="1089" y="241"/>
                </a:cubicBezTo>
                <a:cubicBezTo>
                  <a:pt x="1088" y="241"/>
                  <a:pt x="1088" y="241"/>
                  <a:pt x="1088" y="241"/>
                </a:cubicBezTo>
                <a:cubicBezTo>
                  <a:pt x="1087" y="241"/>
                  <a:pt x="1087" y="241"/>
                  <a:pt x="1087" y="241"/>
                </a:cubicBezTo>
                <a:cubicBezTo>
                  <a:pt x="1087" y="240"/>
                  <a:pt x="1087" y="240"/>
                  <a:pt x="1087" y="240"/>
                </a:cubicBezTo>
                <a:cubicBezTo>
                  <a:pt x="1087" y="239"/>
                  <a:pt x="1087" y="239"/>
                  <a:pt x="1087" y="239"/>
                </a:cubicBezTo>
                <a:cubicBezTo>
                  <a:pt x="1085" y="238"/>
                  <a:pt x="1085" y="238"/>
                  <a:pt x="1085" y="238"/>
                </a:cubicBezTo>
                <a:cubicBezTo>
                  <a:pt x="1083" y="237"/>
                  <a:pt x="1083" y="237"/>
                  <a:pt x="1083" y="237"/>
                </a:cubicBezTo>
                <a:cubicBezTo>
                  <a:pt x="1081" y="237"/>
                  <a:pt x="1081" y="237"/>
                  <a:pt x="1081" y="237"/>
                </a:cubicBezTo>
                <a:cubicBezTo>
                  <a:pt x="1080" y="236"/>
                  <a:pt x="1080" y="236"/>
                  <a:pt x="1080" y="236"/>
                </a:cubicBezTo>
                <a:cubicBezTo>
                  <a:pt x="1080" y="235"/>
                  <a:pt x="1080" y="235"/>
                  <a:pt x="1080" y="235"/>
                </a:cubicBezTo>
                <a:cubicBezTo>
                  <a:pt x="1080" y="233"/>
                  <a:pt x="1080" y="233"/>
                  <a:pt x="1080" y="233"/>
                </a:cubicBezTo>
                <a:cubicBezTo>
                  <a:pt x="1079" y="233"/>
                  <a:pt x="1079" y="233"/>
                  <a:pt x="1079" y="233"/>
                </a:cubicBezTo>
                <a:cubicBezTo>
                  <a:pt x="1079" y="232"/>
                  <a:pt x="1079" y="232"/>
                  <a:pt x="1079" y="232"/>
                </a:cubicBezTo>
                <a:cubicBezTo>
                  <a:pt x="1079" y="231"/>
                  <a:pt x="1079" y="231"/>
                  <a:pt x="1079" y="231"/>
                </a:cubicBezTo>
                <a:cubicBezTo>
                  <a:pt x="1080" y="230"/>
                  <a:pt x="1080" y="230"/>
                  <a:pt x="1080" y="230"/>
                </a:cubicBezTo>
                <a:cubicBezTo>
                  <a:pt x="1081" y="230"/>
                  <a:pt x="1081" y="230"/>
                  <a:pt x="1081" y="230"/>
                </a:cubicBezTo>
                <a:cubicBezTo>
                  <a:pt x="1082" y="230"/>
                  <a:pt x="1082" y="230"/>
                  <a:pt x="1082" y="230"/>
                </a:cubicBezTo>
                <a:cubicBezTo>
                  <a:pt x="1084" y="230"/>
                  <a:pt x="1084" y="230"/>
                  <a:pt x="1084" y="230"/>
                </a:cubicBezTo>
                <a:cubicBezTo>
                  <a:pt x="1085" y="231"/>
                  <a:pt x="1085" y="231"/>
                  <a:pt x="1085" y="231"/>
                </a:cubicBezTo>
                <a:cubicBezTo>
                  <a:pt x="1086" y="231"/>
                  <a:pt x="1086" y="231"/>
                  <a:pt x="1086" y="231"/>
                </a:cubicBezTo>
                <a:cubicBezTo>
                  <a:pt x="1087" y="232"/>
                  <a:pt x="1087" y="232"/>
                  <a:pt x="1087" y="232"/>
                </a:cubicBezTo>
                <a:cubicBezTo>
                  <a:pt x="1088" y="232"/>
                  <a:pt x="1088" y="232"/>
                  <a:pt x="1088" y="232"/>
                </a:cubicBezTo>
                <a:cubicBezTo>
                  <a:pt x="1089" y="232"/>
                  <a:pt x="1089" y="232"/>
                  <a:pt x="1089" y="232"/>
                </a:cubicBezTo>
                <a:cubicBezTo>
                  <a:pt x="1090" y="233"/>
                  <a:pt x="1090" y="233"/>
                  <a:pt x="1090" y="233"/>
                </a:cubicBezTo>
                <a:cubicBezTo>
                  <a:pt x="1091" y="233"/>
                  <a:pt x="1091" y="233"/>
                  <a:pt x="1091" y="233"/>
                </a:cubicBezTo>
                <a:cubicBezTo>
                  <a:pt x="1091" y="234"/>
                  <a:pt x="1091" y="234"/>
                  <a:pt x="1091" y="234"/>
                </a:cubicBezTo>
                <a:cubicBezTo>
                  <a:pt x="1092" y="236"/>
                  <a:pt x="1092" y="236"/>
                  <a:pt x="1092" y="236"/>
                </a:cubicBezTo>
                <a:cubicBezTo>
                  <a:pt x="1093" y="237"/>
                  <a:pt x="1093" y="237"/>
                  <a:pt x="1093" y="237"/>
                </a:cubicBezTo>
                <a:cubicBezTo>
                  <a:pt x="1094" y="238"/>
                  <a:pt x="1094" y="238"/>
                  <a:pt x="1094" y="238"/>
                </a:cubicBezTo>
                <a:cubicBezTo>
                  <a:pt x="1095" y="239"/>
                  <a:pt x="1095" y="239"/>
                  <a:pt x="1095" y="239"/>
                </a:cubicBezTo>
                <a:cubicBezTo>
                  <a:pt x="1096" y="239"/>
                  <a:pt x="1096" y="239"/>
                  <a:pt x="1096" y="239"/>
                </a:cubicBezTo>
                <a:cubicBezTo>
                  <a:pt x="1097" y="239"/>
                  <a:pt x="1097" y="239"/>
                  <a:pt x="1097" y="239"/>
                </a:cubicBezTo>
                <a:cubicBezTo>
                  <a:pt x="1097" y="238"/>
                  <a:pt x="1097" y="238"/>
                  <a:pt x="1097" y="238"/>
                </a:cubicBezTo>
                <a:cubicBezTo>
                  <a:pt x="1096" y="238"/>
                  <a:pt x="1096" y="238"/>
                  <a:pt x="1096" y="238"/>
                </a:cubicBezTo>
                <a:cubicBezTo>
                  <a:pt x="1095" y="238"/>
                  <a:pt x="1095" y="238"/>
                  <a:pt x="1095" y="238"/>
                </a:cubicBezTo>
                <a:cubicBezTo>
                  <a:pt x="1094" y="236"/>
                  <a:pt x="1094" y="236"/>
                  <a:pt x="1094" y="236"/>
                </a:cubicBezTo>
                <a:cubicBezTo>
                  <a:pt x="1095" y="237"/>
                  <a:pt x="1095" y="237"/>
                  <a:pt x="1095" y="237"/>
                </a:cubicBezTo>
                <a:cubicBezTo>
                  <a:pt x="1096" y="237"/>
                  <a:pt x="1096" y="237"/>
                  <a:pt x="1096" y="237"/>
                </a:cubicBezTo>
                <a:cubicBezTo>
                  <a:pt x="1096" y="236"/>
                  <a:pt x="1096" y="236"/>
                  <a:pt x="1096" y="236"/>
                </a:cubicBezTo>
                <a:cubicBezTo>
                  <a:pt x="1097" y="236"/>
                  <a:pt x="1097" y="236"/>
                  <a:pt x="1097" y="236"/>
                </a:cubicBezTo>
                <a:cubicBezTo>
                  <a:pt x="1095" y="235"/>
                  <a:pt x="1095" y="235"/>
                  <a:pt x="1095" y="235"/>
                </a:cubicBezTo>
                <a:cubicBezTo>
                  <a:pt x="1094" y="233"/>
                  <a:pt x="1094" y="233"/>
                  <a:pt x="1094" y="233"/>
                </a:cubicBezTo>
                <a:cubicBezTo>
                  <a:pt x="1094" y="232"/>
                  <a:pt x="1094" y="232"/>
                  <a:pt x="1094" y="232"/>
                </a:cubicBezTo>
                <a:cubicBezTo>
                  <a:pt x="1095" y="233"/>
                  <a:pt x="1095" y="233"/>
                  <a:pt x="1095" y="233"/>
                </a:cubicBezTo>
                <a:cubicBezTo>
                  <a:pt x="1096" y="233"/>
                  <a:pt x="1096" y="233"/>
                  <a:pt x="1096" y="233"/>
                </a:cubicBezTo>
                <a:cubicBezTo>
                  <a:pt x="1095" y="232"/>
                  <a:pt x="1095" y="232"/>
                  <a:pt x="1095" y="232"/>
                </a:cubicBezTo>
                <a:cubicBezTo>
                  <a:pt x="1094" y="231"/>
                  <a:pt x="1094" y="231"/>
                  <a:pt x="1094" y="231"/>
                </a:cubicBezTo>
                <a:cubicBezTo>
                  <a:pt x="1093" y="230"/>
                  <a:pt x="1093" y="230"/>
                  <a:pt x="1093" y="230"/>
                </a:cubicBezTo>
                <a:cubicBezTo>
                  <a:pt x="1093" y="229"/>
                  <a:pt x="1093" y="229"/>
                  <a:pt x="1093" y="229"/>
                </a:cubicBezTo>
                <a:cubicBezTo>
                  <a:pt x="1094" y="230"/>
                  <a:pt x="1094" y="230"/>
                  <a:pt x="1094" y="230"/>
                </a:cubicBezTo>
                <a:cubicBezTo>
                  <a:pt x="1096" y="230"/>
                  <a:pt x="1096" y="230"/>
                  <a:pt x="1096" y="230"/>
                </a:cubicBezTo>
                <a:cubicBezTo>
                  <a:pt x="1097" y="230"/>
                  <a:pt x="1097" y="230"/>
                  <a:pt x="1097" y="230"/>
                </a:cubicBezTo>
                <a:cubicBezTo>
                  <a:pt x="1097" y="229"/>
                  <a:pt x="1097" y="229"/>
                  <a:pt x="1097" y="229"/>
                </a:cubicBezTo>
                <a:cubicBezTo>
                  <a:pt x="1096" y="228"/>
                  <a:pt x="1096" y="228"/>
                  <a:pt x="1096" y="228"/>
                </a:cubicBezTo>
                <a:cubicBezTo>
                  <a:pt x="1095" y="229"/>
                  <a:pt x="1095" y="229"/>
                  <a:pt x="1095" y="229"/>
                </a:cubicBezTo>
                <a:cubicBezTo>
                  <a:pt x="1094" y="229"/>
                  <a:pt x="1094" y="229"/>
                  <a:pt x="1094" y="229"/>
                </a:cubicBezTo>
                <a:cubicBezTo>
                  <a:pt x="1093" y="229"/>
                  <a:pt x="1093" y="229"/>
                  <a:pt x="1093" y="229"/>
                </a:cubicBezTo>
                <a:cubicBezTo>
                  <a:pt x="1093" y="228"/>
                  <a:pt x="1093" y="228"/>
                  <a:pt x="1093" y="228"/>
                </a:cubicBezTo>
                <a:cubicBezTo>
                  <a:pt x="1093" y="227"/>
                  <a:pt x="1093" y="227"/>
                  <a:pt x="1093" y="227"/>
                </a:cubicBezTo>
                <a:cubicBezTo>
                  <a:pt x="1095" y="227"/>
                  <a:pt x="1095" y="227"/>
                  <a:pt x="1095" y="227"/>
                </a:cubicBezTo>
                <a:cubicBezTo>
                  <a:pt x="1096" y="227"/>
                  <a:pt x="1096" y="227"/>
                  <a:pt x="1096" y="227"/>
                </a:cubicBezTo>
                <a:cubicBezTo>
                  <a:pt x="1096" y="226"/>
                  <a:pt x="1096" y="226"/>
                  <a:pt x="1096" y="226"/>
                </a:cubicBezTo>
                <a:cubicBezTo>
                  <a:pt x="1095" y="225"/>
                  <a:pt x="1095" y="225"/>
                  <a:pt x="1095" y="225"/>
                </a:cubicBezTo>
                <a:cubicBezTo>
                  <a:pt x="1094" y="226"/>
                  <a:pt x="1094" y="226"/>
                  <a:pt x="1094" y="226"/>
                </a:cubicBezTo>
                <a:cubicBezTo>
                  <a:pt x="1093" y="226"/>
                  <a:pt x="1093" y="226"/>
                  <a:pt x="1093" y="226"/>
                </a:cubicBezTo>
                <a:cubicBezTo>
                  <a:pt x="1092" y="228"/>
                  <a:pt x="1092" y="228"/>
                  <a:pt x="1092" y="228"/>
                </a:cubicBezTo>
                <a:cubicBezTo>
                  <a:pt x="1091" y="228"/>
                  <a:pt x="1091" y="228"/>
                  <a:pt x="1091" y="228"/>
                </a:cubicBezTo>
                <a:cubicBezTo>
                  <a:pt x="1091" y="227"/>
                  <a:pt x="1091" y="227"/>
                  <a:pt x="1091" y="227"/>
                </a:cubicBezTo>
                <a:cubicBezTo>
                  <a:pt x="1092" y="227"/>
                  <a:pt x="1092" y="227"/>
                  <a:pt x="1092" y="227"/>
                </a:cubicBezTo>
                <a:cubicBezTo>
                  <a:pt x="1092" y="226"/>
                  <a:pt x="1092" y="226"/>
                  <a:pt x="1092" y="226"/>
                </a:cubicBezTo>
                <a:cubicBezTo>
                  <a:pt x="1093" y="225"/>
                  <a:pt x="1093" y="225"/>
                  <a:pt x="1093" y="225"/>
                </a:cubicBezTo>
                <a:cubicBezTo>
                  <a:pt x="1094" y="225"/>
                  <a:pt x="1094" y="225"/>
                  <a:pt x="1094" y="225"/>
                </a:cubicBezTo>
                <a:cubicBezTo>
                  <a:pt x="1095" y="224"/>
                  <a:pt x="1095" y="224"/>
                  <a:pt x="1095" y="224"/>
                </a:cubicBezTo>
                <a:cubicBezTo>
                  <a:pt x="1096" y="224"/>
                  <a:pt x="1096" y="224"/>
                  <a:pt x="1096" y="224"/>
                </a:cubicBezTo>
                <a:cubicBezTo>
                  <a:pt x="1096" y="223"/>
                  <a:pt x="1096" y="223"/>
                  <a:pt x="1096" y="223"/>
                </a:cubicBezTo>
                <a:cubicBezTo>
                  <a:pt x="1094" y="223"/>
                  <a:pt x="1094" y="223"/>
                  <a:pt x="1094" y="223"/>
                </a:cubicBezTo>
                <a:cubicBezTo>
                  <a:pt x="1093" y="224"/>
                  <a:pt x="1093" y="224"/>
                  <a:pt x="1093" y="224"/>
                </a:cubicBezTo>
                <a:cubicBezTo>
                  <a:pt x="1092" y="224"/>
                  <a:pt x="1092" y="224"/>
                  <a:pt x="1092" y="224"/>
                </a:cubicBezTo>
                <a:cubicBezTo>
                  <a:pt x="1091" y="224"/>
                  <a:pt x="1091" y="224"/>
                  <a:pt x="1091" y="224"/>
                </a:cubicBezTo>
                <a:cubicBezTo>
                  <a:pt x="1090" y="224"/>
                  <a:pt x="1090" y="224"/>
                  <a:pt x="1090" y="224"/>
                </a:cubicBezTo>
                <a:cubicBezTo>
                  <a:pt x="1090" y="223"/>
                  <a:pt x="1090" y="223"/>
                  <a:pt x="1090" y="223"/>
                </a:cubicBezTo>
                <a:cubicBezTo>
                  <a:pt x="1091" y="222"/>
                  <a:pt x="1091" y="222"/>
                  <a:pt x="1091" y="222"/>
                </a:cubicBezTo>
                <a:cubicBezTo>
                  <a:pt x="1092" y="222"/>
                  <a:pt x="1092" y="222"/>
                  <a:pt x="1092" y="222"/>
                </a:cubicBezTo>
                <a:cubicBezTo>
                  <a:pt x="1093" y="222"/>
                  <a:pt x="1093" y="222"/>
                  <a:pt x="1093" y="222"/>
                </a:cubicBezTo>
                <a:cubicBezTo>
                  <a:pt x="1095" y="221"/>
                  <a:pt x="1095" y="221"/>
                  <a:pt x="1095" y="221"/>
                </a:cubicBezTo>
                <a:cubicBezTo>
                  <a:pt x="1097" y="220"/>
                  <a:pt x="1097" y="220"/>
                  <a:pt x="1097" y="220"/>
                </a:cubicBezTo>
                <a:cubicBezTo>
                  <a:pt x="1096" y="220"/>
                  <a:pt x="1096" y="220"/>
                  <a:pt x="1096" y="220"/>
                </a:cubicBezTo>
                <a:cubicBezTo>
                  <a:pt x="1095" y="220"/>
                  <a:pt x="1095" y="220"/>
                  <a:pt x="1095" y="220"/>
                </a:cubicBezTo>
                <a:cubicBezTo>
                  <a:pt x="1094" y="221"/>
                  <a:pt x="1094" y="221"/>
                  <a:pt x="1094" y="221"/>
                </a:cubicBezTo>
                <a:cubicBezTo>
                  <a:pt x="1093" y="220"/>
                  <a:pt x="1093" y="220"/>
                  <a:pt x="1093" y="220"/>
                </a:cubicBezTo>
                <a:cubicBezTo>
                  <a:pt x="1092" y="219"/>
                  <a:pt x="1092" y="219"/>
                  <a:pt x="1092" y="219"/>
                </a:cubicBezTo>
                <a:cubicBezTo>
                  <a:pt x="1091" y="219"/>
                  <a:pt x="1091" y="219"/>
                  <a:pt x="1091" y="219"/>
                </a:cubicBezTo>
                <a:cubicBezTo>
                  <a:pt x="1092" y="218"/>
                  <a:pt x="1092" y="218"/>
                  <a:pt x="1092" y="218"/>
                </a:cubicBezTo>
                <a:cubicBezTo>
                  <a:pt x="1092" y="217"/>
                  <a:pt x="1092" y="217"/>
                  <a:pt x="1092" y="217"/>
                </a:cubicBezTo>
                <a:cubicBezTo>
                  <a:pt x="1093" y="216"/>
                  <a:pt x="1093" y="216"/>
                  <a:pt x="1093" y="216"/>
                </a:cubicBezTo>
                <a:cubicBezTo>
                  <a:pt x="1093" y="215"/>
                  <a:pt x="1093" y="215"/>
                  <a:pt x="1093" y="215"/>
                </a:cubicBezTo>
                <a:cubicBezTo>
                  <a:pt x="1092" y="216"/>
                  <a:pt x="1092" y="216"/>
                  <a:pt x="1092" y="216"/>
                </a:cubicBezTo>
                <a:cubicBezTo>
                  <a:pt x="1091" y="217"/>
                  <a:pt x="1091" y="217"/>
                  <a:pt x="1091" y="217"/>
                </a:cubicBezTo>
                <a:cubicBezTo>
                  <a:pt x="1091" y="218"/>
                  <a:pt x="1091" y="218"/>
                  <a:pt x="1091" y="218"/>
                </a:cubicBezTo>
                <a:cubicBezTo>
                  <a:pt x="1090" y="218"/>
                  <a:pt x="1090" y="218"/>
                  <a:pt x="1090" y="218"/>
                </a:cubicBezTo>
                <a:cubicBezTo>
                  <a:pt x="1090" y="219"/>
                  <a:pt x="1090" y="219"/>
                  <a:pt x="1090" y="219"/>
                </a:cubicBezTo>
                <a:cubicBezTo>
                  <a:pt x="1089" y="219"/>
                  <a:pt x="1089" y="219"/>
                  <a:pt x="1089" y="219"/>
                </a:cubicBezTo>
                <a:cubicBezTo>
                  <a:pt x="1089" y="218"/>
                  <a:pt x="1089" y="218"/>
                  <a:pt x="1089" y="218"/>
                </a:cubicBezTo>
                <a:cubicBezTo>
                  <a:pt x="1088" y="219"/>
                  <a:pt x="1088" y="219"/>
                  <a:pt x="1088" y="219"/>
                </a:cubicBezTo>
                <a:cubicBezTo>
                  <a:pt x="1087" y="218"/>
                  <a:pt x="1087" y="218"/>
                  <a:pt x="1087" y="218"/>
                </a:cubicBezTo>
                <a:cubicBezTo>
                  <a:pt x="1087" y="217"/>
                  <a:pt x="1087" y="217"/>
                  <a:pt x="1087" y="217"/>
                </a:cubicBezTo>
                <a:cubicBezTo>
                  <a:pt x="1086" y="219"/>
                  <a:pt x="1086" y="219"/>
                  <a:pt x="1086" y="219"/>
                </a:cubicBezTo>
                <a:cubicBezTo>
                  <a:pt x="1085" y="219"/>
                  <a:pt x="1085" y="219"/>
                  <a:pt x="1085" y="219"/>
                </a:cubicBezTo>
                <a:cubicBezTo>
                  <a:pt x="1086" y="220"/>
                  <a:pt x="1086" y="220"/>
                  <a:pt x="1086" y="220"/>
                </a:cubicBezTo>
                <a:cubicBezTo>
                  <a:pt x="1086" y="221"/>
                  <a:pt x="1086" y="221"/>
                  <a:pt x="1086" y="221"/>
                </a:cubicBezTo>
                <a:cubicBezTo>
                  <a:pt x="1086" y="222"/>
                  <a:pt x="1086" y="222"/>
                  <a:pt x="1086" y="222"/>
                </a:cubicBezTo>
                <a:cubicBezTo>
                  <a:pt x="1085" y="222"/>
                  <a:pt x="1085" y="222"/>
                  <a:pt x="1085" y="222"/>
                </a:cubicBezTo>
                <a:cubicBezTo>
                  <a:pt x="1084" y="223"/>
                  <a:pt x="1084" y="223"/>
                  <a:pt x="1084" y="223"/>
                </a:cubicBezTo>
                <a:cubicBezTo>
                  <a:pt x="1084" y="222"/>
                  <a:pt x="1084" y="222"/>
                  <a:pt x="1084" y="222"/>
                </a:cubicBezTo>
                <a:cubicBezTo>
                  <a:pt x="1083" y="223"/>
                  <a:pt x="1083" y="223"/>
                  <a:pt x="1083" y="223"/>
                </a:cubicBezTo>
                <a:cubicBezTo>
                  <a:pt x="1082" y="223"/>
                  <a:pt x="1082" y="223"/>
                  <a:pt x="1082" y="223"/>
                </a:cubicBezTo>
                <a:cubicBezTo>
                  <a:pt x="1081" y="223"/>
                  <a:pt x="1081" y="223"/>
                  <a:pt x="1081" y="223"/>
                </a:cubicBezTo>
                <a:cubicBezTo>
                  <a:pt x="1080" y="223"/>
                  <a:pt x="1080" y="223"/>
                  <a:pt x="1080" y="223"/>
                </a:cubicBezTo>
                <a:cubicBezTo>
                  <a:pt x="1080" y="222"/>
                  <a:pt x="1080" y="222"/>
                  <a:pt x="1080" y="222"/>
                </a:cubicBezTo>
                <a:cubicBezTo>
                  <a:pt x="1080" y="221"/>
                  <a:pt x="1080" y="221"/>
                  <a:pt x="1080" y="221"/>
                </a:cubicBezTo>
                <a:cubicBezTo>
                  <a:pt x="1079" y="221"/>
                  <a:pt x="1079" y="221"/>
                  <a:pt x="1079" y="221"/>
                </a:cubicBezTo>
                <a:cubicBezTo>
                  <a:pt x="1079" y="222"/>
                  <a:pt x="1079" y="222"/>
                  <a:pt x="1079" y="222"/>
                </a:cubicBezTo>
                <a:cubicBezTo>
                  <a:pt x="1078" y="222"/>
                  <a:pt x="1078" y="222"/>
                  <a:pt x="1078" y="222"/>
                </a:cubicBezTo>
                <a:cubicBezTo>
                  <a:pt x="1078" y="220"/>
                  <a:pt x="1078" y="220"/>
                  <a:pt x="1078" y="220"/>
                </a:cubicBezTo>
                <a:cubicBezTo>
                  <a:pt x="1078" y="219"/>
                  <a:pt x="1078" y="219"/>
                  <a:pt x="1078" y="219"/>
                </a:cubicBezTo>
                <a:cubicBezTo>
                  <a:pt x="1078" y="218"/>
                  <a:pt x="1078" y="218"/>
                  <a:pt x="1078" y="218"/>
                </a:cubicBezTo>
                <a:cubicBezTo>
                  <a:pt x="1079" y="217"/>
                  <a:pt x="1079" y="217"/>
                  <a:pt x="1079" y="217"/>
                </a:cubicBezTo>
                <a:cubicBezTo>
                  <a:pt x="1080" y="217"/>
                  <a:pt x="1080" y="217"/>
                  <a:pt x="1080" y="217"/>
                </a:cubicBezTo>
                <a:cubicBezTo>
                  <a:pt x="1081" y="216"/>
                  <a:pt x="1081" y="216"/>
                  <a:pt x="1081" y="216"/>
                </a:cubicBezTo>
                <a:cubicBezTo>
                  <a:pt x="1083" y="216"/>
                  <a:pt x="1083" y="216"/>
                  <a:pt x="1083" y="216"/>
                </a:cubicBezTo>
                <a:cubicBezTo>
                  <a:pt x="1084" y="216"/>
                  <a:pt x="1084" y="216"/>
                  <a:pt x="1084" y="216"/>
                </a:cubicBezTo>
                <a:cubicBezTo>
                  <a:pt x="1085" y="214"/>
                  <a:pt x="1085" y="214"/>
                  <a:pt x="1085" y="214"/>
                </a:cubicBezTo>
                <a:cubicBezTo>
                  <a:pt x="1086" y="213"/>
                  <a:pt x="1086" y="213"/>
                  <a:pt x="1086" y="213"/>
                </a:cubicBezTo>
                <a:cubicBezTo>
                  <a:pt x="1086" y="212"/>
                  <a:pt x="1086" y="212"/>
                  <a:pt x="1086" y="212"/>
                </a:cubicBezTo>
                <a:cubicBezTo>
                  <a:pt x="1085" y="212"/>
                  <a:pt x="1085" y="212"/>
                  <a:pt x="1085" y="212"/>
                </a:cubicBezTo>
                <a:cubicBezTo>
                  <a:pt x="1085" y="213"/>
                  <a:pt x="1085" y="213"/>
                  <a:pt x="1085" y="213"/>
                </a:cubicBezTo>
                <a:cubicBezTo>
                  <a:pt x="1084" y="215"/>
                  <a:pt x="1084" y="215"/>
                  <a:pt x="1084" y="215"/>
                </a:cubicBezTo>
                <a:cubicBezTo>
                  <a:pt x="1082" y="215"/>
                  <a:pt x="1082" y="215"/>
                  <a:pt x="1082" y="215"/>
                </a:cubicBezTo>
                <a:cubicBezTo>
                  <a:pt x="1081" y="215"/>
                  <a:pt x="1081" y="215"/>
                  <a:pt x="1081" y="215"/>
                </a:cubicBezTo>
                <a:cubicBezTo>
                  <a:pt x="1080" y="214"/>
                  <a:pt x="1080" y="214"/>
                  <a:pt x="1080" y="214"/>
                </a:cubicBezTo>
                <a:cubicBezTo>
                  <a:pt x="1080" y="213"/>
                  <a:pt x="1080" y="213"/>
                  <a:pt x="1080" y="213"/>
                </a:cubicBezTo>
                <a:cubicBezTo>
                  <a:pt x="1081" y="213"/>
                  <a:pt x="1081" y="213"/>
                  <a:pt x="1081" y="213"/>
                </a:cubicBezTo>
                <a:cubicBezTo>
                  <a:pt x="1082" y="211"/>
                  <a:pt x="1082" y="211"/>
                  <a:pt x="1082" y="211"/>
                </a:cubicBezTo>
                <a:cubicBezTo>
                  <a:pt x="1083" y="211"/>
                  <a:pt x="1083" y="211"/>
                  <a:pt x="1083" y="211"/>
                </a:cubicBezTo>
                <a:cubicBezTo>
                  <a:pt x="1083" y="210"/>
                  <a:pt x="1083" y="210"/>
                  <a:pt x="1083" y="210"/>
                </a:cubicBezTo>
                <a:cubicBezTo>
                  <a:pt x="1084" y="210"/>
                  <a:pt x="1084" y="210"/>
                  <a:pt x="1084" y="210"/>
                </a:cubicBezTo>
                <a:cubicBezTo>
                  <a:pt x="1085" y="209"/>
                  <a:pt x="1085" y="209"/>
                  <a:pt x="1085" y="209"/>
                </a:cubicBezTo>
                <a:cubicBezTo>
                  <a:pt x="1084" y="209"/>
                  <a:pt x="1084" y="209"/>
                  <a:pt x="1084" y="209"/>
                </a:cubicBezTo>
                <a:cubicBezTo>
                  <a:pt x="1084" y="208"/>
                  <a:pt x="1084" y="208"/>
                  <a:pt x="1084" y="208"/>
                </a:cubicBezTo>
                <a:cubicBezTo>
                  <a:pt x="1083" y="209"/>
                  <a:pt x="1083" y="209"/>
                  <a:pt x="1083" y="209"/>
                </a:cubicBezTo>
                <a:cubicBezTo>
                  <a:pt x="1082" y="209"/>
                  <a:pt x="1082" y="209"/>
                  <a:pt x="1082" y="209"/>
                </a:cubicBezTo>
                <a:cubicBezTo>
                  <a:pt x="1081" y="209"/>
                  <a:pt x="1081" y="209"/>
                  <a:pt x="1081" y="209"/>
                </a:cubicBezTo>
                <a:cubicBezTo>
                  <a:pt x="1081" y="208"/>
                  <a:pt x="1081" y="208"/>
                  <a:pt x="1081" y="208"/>
                </a:cubicBezTo>
                <a:cubicBezTo>
                  <a:pt x="1081" y="207"/>
                  <a:pt x="1081" y="207"/>
                  <a:pt x="1081" y="207"/>
                </a:cubicBezTo>
                <a:cubicBezTo>
                  <a:pt x="1082" y="207"/>
                  <a:pt x="1082" y="207"/>
                  <a:pt x="1082" y="207"/>
                </a:cubicBezTo>
                <a:cubicBezTo>
                  <a:pt x="1083" y="207"/>
                  <a:pt x="1083" y="207"/>
                  <a:pt x="1083" y="207"/>
                </a:cubicBezTo>
                <a:cubicBezTo>
                  <a:pt x="1084" y="207"/>
                  <a:pt x="1084" y="207"/>
                  <a:pt x="1084" y="207"/>
                </a:cubicBezTo>
                <a:cubicBezTo>
                  <a:pt x="1086" y="207"/>
                  <a:pt x="1086" y="207"/>
                  <a:pt x="1086" y="207"/>
                </a:cubicBezTo>
                <a:cubicBezTo>
                  <a:pt x="1086" y="205"/>
                  <a:pt x="1086" y="205"/>
                  <a:pt x="1086" y="205"/>
                </a:cubicBezTo>
                <a:cubicBezTo>
                  <a:pt x="1086" y="204"/>
                  <a:pt x="1086" y="204"/>
                  <a:pt x="1086" y="204"/>
                </a:cubicBezTo>
                <a:cubicBezTo>
                  <a:pt x="1087" y="202"/>
                  <a:pt x="1087" y="202"/>
                  <a:pt x="1087" y="202"/>
                </a:cubicBezTo>
                <a:cubicBezTo>
                  <a:pt x="1087" y="201"/>
                  <a:pt x="1087" y="201"/>
                  <a:pt x="1087" y="201"/>
                </a:cubicBezTo>
                <a:cubicBezTo>
                  <a:pt x="1087" y="200"/>
                  <a:pt x="1087" y="200"/>
                  <a:pt x="1087" y="200"/>
                </a:cubicBezTo>
                <a:cubicBezTo>
                  <a:pt x="1087" y="199"/>
                  <a:pt x="1087" y="199"/>
                  <a:pt x="1087" y="199"/>
                </a:cubicBezTo>
                <a:cubicBezTo>
                  <a:pt x="1086" y="199"/>
                  <a:pt x="1086" y="199"/>
                  <a:pt x="1086" y="199"/>
                </a:cubicBezTo>
                <a:cubicBezTo>
                  <a:pt x="1085" y="198"/>
                  <a:pt x="1085" y="198"/>
                  <a:pt x="1085" y="198"/>
                </a:cubicBezTo>
                <a:cubicBezTo>
                  <a:pt x="1084" y="198"/>
                  <a:pt x="1084" y="198"/>
                  <a:pt x="1084" y="198"/>
                </a:cubicBezTo>
                <a:cubicBezTo>
                  <a:pt x="1083" y="198"/>
                  <a:pt x="1083" y="198"/>
                  <a:pt x="1083" y="198"/>
                </a:cubicBezTo>
                <a:cubicBezTo>
                  <a:pt x="1083" y="197"/>
                  <a:pt x="1083" y="197"/>
                  <a:pt x="1083" y="197"/>
                </a:cubicBezTo>
                <a:cubicBezTo>
                  <a:pt x="1084" y="197"/>
                  <a:pt x="1084" y="197"/>
                  <a:pt x="1084" y="197"/>
                </a:cubicBezTo>
                <a:cubicBezTo>
                  <a:pt x="1085" y="197"/>
                  <a:pt x="1085" y="197"/>
                  <a:pt x="1085" y="197"/>
                </a:cubicBezTo>
                <a:cubicBezTo>
                  <a:pt x="1086" y="196"/>
                  <a:pt x="1086" y="196"/>
                  <a:pt x="1086" y="196"/>
                </a:cubicBezTo>
                <a:cubicBezTo>
                  <a:pt x="1086" y="195"/>
                  <a:pt x="1086" y="195"/>
                  <a:pt x="1086" y="195"/>
                </a:cubicBezTo>
                <a:cubicBezTo>
                  <a:pt x="1087" y="195"/>
                  <a:pt x="1087" y="195"/>
                  <a:pt x="1087" y="195"/>
                </a:cubicBezTo>
                <a:cubicBezTo>
                  <a:pt x="1087" y="194"/>
                  <a:pt x="1087" y="194"/>
                  <a:pt x="1087" y="194"/>
                </a:cubicBezTo>
                <a:cubicBezTo>
                  <a:pt x="1086" y="193"/>
                  <a:pt x="1086" y="193"/>
                  <a:pt x="1086" y="193"/>
                </a:cubicBezTo>
                <a:cubicBezTo>
                  <a:pt x="1085" y="193"/>
                  <a:pt x="1085" y="193"/>
                  <a:pt x="1085" y="193"/>
                </a:cubicBezTo>
                <a:cubicBezTo>
                  <a:pt x="1085" y="192"/>
                  <a:pt x="1085" y="192"/>
                  <a:pt x="1085" y="192"/>
                </a:cubicBezTo>
                <a:cubicBezTo>
                  <a:pt x="1086" y="191"/>
                  <a:pt x="1086" y="191"/>
                  <a:pt x="1086" y="191"/>
                </a:cubicBezTo>
                <a:cubicBezTo>
                  <a:pt x="1085" y="190"/>
                  <a:pt x="1085" y="190"/>
                  <a:pt x="1085" y="190"/>
                </a:cubicBezTo>
                <a:cubicBezTo>
                  <a:pt x="1085" y="189"/>
                  <a:pt x="1085" y="189"/>
                  <a:pt x="1085" y="189"/>
                </a:cubicBezTo>
                <a:cubicBezTo>
                  <a:pt x="1085" y="188"/>
                  <a:pt x="1085" y="188"/>
                  <a:pt x="1085" y="188"/>
                </a:cubicBezTo>
                <a:cubicBezTo>
                  <a:pt x="1086" y="189"/>
                  <a:pt x="1086" y="189"/>
                  <a:pt x="1086" y="189"/>
                </a:cubicBezTo>
                <a:cubicBezTo>
                  <a:pt x="1086" y="188"/>
                  <a:pt x="1086" y="188"/>
                  <a:pt x="1086" y="188"/>
                </a:cubicBezTo>
                <a:cubicBezTo>
                  <a:pt x="1086" y="187"/>
                  <a:pt x="1086" y="187"/>
                  <a:pt x="1086" y="187"/>
                </a:cubicBezTo>
                <a:cubicBezTo>
                  <a:pt x="1086" y="186"/>
                  <a:pt x="1086" y="186"/>
                  <a:pt x="1086" y="186"/>
                </a:cubicBezTo>
                <a:cubicBezTo>
                  <a:pt x="1086" y="185"/>
                  <a:pt x="1086" y="185"/>
                  <a:pt x="1086" y="185"/>
                </a:cubicBezTo>
                <a:cubicBezTo>
                  <a:pt x="1085" y="184"/>
                  <a:pt x="1085" y="184"/>
                  <a:pt x="1085" y="184"/>
                </a:cubicBezTo>
                <a:cubicBezTo>
                  <a:pt x="1085" y="183"/>
                  <a:pt x="1085" y="183"/>
                  <a:pt x="1085" y="183"/>
                </a:cubicBezTo>
                <a:cubicBezTo>
                  <a:pt x="1086" y="182"/>
                  <a:pt x="1086" y="182"/>
                  <a:pt x="1086" y="182"/>
                </a:cubicBezTo>
                <a:cubicBezTo>
                  <a:pt x="1086" y="181"/>
                  <a:pt x="1086" y="181"/>
                  <a:pt x="1086" y="181"/>
                </a:cubicBezTo>
                <a:cubicBezTo>
                  <a:pt x="1085" y="181"/>
                  <a:pt x="1085" y="181"/>
                  <a:pt x="1085" y="181"/>
                </a:cubicBezTo>
                <a:cubicBezTo>
                  <a:pt x="1084" y="182"/>
                  <a:pt x="1084" y="182"/>
                  <a:pt x="1084" y="182"/>
                </a:cubicBezTo>
                <a:cubicBezTo>
                  <a:pt x="1083" y="182"/>
                  <a:pt x="1083" y="182"/>
                  <a:pt x="1083" y="182"/>
                </a:cubicBezTo>
                <a:cubicBezTo>
                  <a:pt x="1082" y="183"/>
                  <a:pt x="1082" y="183"/>
                  <a:pt x="1082" y="183"/>
                </a:cubicBezTo>
                <a:cubicBezTo>
                  <a:pt x="1081" y="182"/>
                  <a:pt x="1081" y="182"/>
                  <a:pt x="1081" y="182"/>
                </a:cubicBezTo>
                <a:cubicBezTo>
                  <a:pt x="1082" y="182"/>
                  <a:pt x="1082" y="182"/>
                  <a:pt x="1082" y="182"/>
                </a:cubicBezTo>
                <a:cubicBezTo>
                  <a:pt x="1083" y="181"/>
                  <a:pt x="1083" y="181"/>
                  <a:pt x="1083" y="181"/>
                </a:cubicBezTo>
                <a:cubicBezTo>
                  <a:pt x="1084" y="181"/>
                  <a:pt x="1084" y="181"/>
                  <a:pt x="1084" y="181"/>
                </a:cubicBezTo>
                <a:cubicBezTo>
                  <a:pt x="1084" y="180"/>
                  <a:pt x="1084" y="180"/>
                  <a:pt x="1084" y="180"/>
                </a:cubicBezTo>
                <a:cubicBezTo>
                  <a:pt x="1085" y="179"/>
                  <a:pt x="1085" y="179"/>
                  <a:pt x="1085" y="179"/>
                </a:cubicBezTo>
                <a:cubicBezTo>
                  <a:pt x="1085" y="178"/>
                  <a:pt x="1085" y="178"/>
                  <a:pt x="1085" y="178"/>
                </a:cubicBezTo>
                <a:cubicBezTo>
                  <a:pt x="1086" y="178"/>
                  <a:pt x="1086" y="178"/>
                  <a:pt x="1086" y="178"/>
                </a:cubicBezTo>
                <a:cubicBezTo>
                  <a:pt x="1087" y="177"/>
                  <a:pt x="1087" y="177"/>
                  <a:pt x="1087" y="177"/>
                </a:cubicBezTo>
                <a:cubicBezTo>
                  <a:pt x="1087" y="176"/>
                  <a:pt x="1087" y="176"/>
                  <a:pt x="1087" y="176"/>
                </a:cubicBezTo>
                <a:cubicBezTo>
                  <a:pt x="1086" y="176"/>
                  <a:pt x="1086" y="176"/>
                  <a:pt x="1086" y="176"/>
                </a:cubicBezTo>
                <a:cubicBezTo>
                  <a:pt x="1086" y="176"/>
                  <a:pt x="1086" y="176"/>
                  <a:pt x="1085" y="177"/>
                </a:cubicBezTo>
                <a:cubicBezTo>
                  <a:pt x="1085" y="177"/>
                  <a:pt x="1085" y="177"/>
                  <a:pt x="1085" y="176"/>
                </a:cubicBezTo>
                <a:cubicBezTo>
                  <a:pt x="1085" y="176"/>
                  <a:pt x="1085" y="176"/>
                  <a:pt x="1084" y="176"/>
                </a:cubicBezTo>
                <a:cubicBezTo>
                  <a:pt x="1084" y="176"/>
                  <a:pt x="1084" y="176"/>
                  <a:pt x="1082" y="176"/>
                </a:cubicBezTo>
                <a:cubicBezTo>
                  <a:pt x="1082" y="176"/>
                  <a:pt x="1082" y="176"/>
                  <a:pt x="1081" y="176"/>
                </a:cubicBezTo>
                <a:cubicBezTo>
                  <a:pt x="1081" y="176"/>
                  <a:pt x="1081" y="176"/>
                  <a:pt x="1080" y="175"/>
                </a:cubicBezTo>
                <a:cubicBezTo>
                  <a:pt x="1080" y="175"/>
                  <a:pt x="1080" y="175"/>
                  <a:pt x="1081" y="175"/>
                </a:cubicBezTo>
                <a:cubicBezTo>
                  <a:pt x="1081" y="175"/>
                  <a:pt x="1081" y="175"/>
                  <a:pt x="1082" y="174"/>
                </a:cubicBezTo>
                <a:cubicBezTo>
                  <a:pt x="1082" y="174"/>
                  <a:pt x="1082" y="174"/>
                  <a:pt x="1083" y="175"/>
                </a:cubicBezTo>
                <a:cubicBezTo>
                  <a:pt x="1083" y="175"/>
                  <a:pt x="1083" y="175"/>
                  <a:pt x="1085" y="175"/>
                </a:cubicBezTo>
                <a:cubicBezTo>
                  <a:pt x="1085" y="174"/>
                  <a:pt x="1085" y="174"/>
                  <a:pt x="1085" y="174"/>
                </a:cubicBezTo>
                <a:cubicBezTo>
                  <a:pt x="1085" y="173"/>
                  <a:pt x="1085" y="173"/>
                  <a:pt x="1085" y="173"/>
                </a:cubicBezTo>
                <a:cubicBezTo>
                  <a:pt x="1084" y="173"/>
                  <a:pt x="1084" y="173"/>
                  <a:pt x="1084" y="173"/>
                </a:cubicBezTo>
                <a:cubicBezTo>
                  <a:pt x="1084" y="172"/>
                  <a:pt x="1084" y="172"/>
                  <a:pt x="1084" y="172"/>
                </a:cubicBezTo>
                <a:cubicBezTo>
                  <a:pt x="1084" y="171"/>
                  <a:pt x="1084" y="171"/>
                  <a:pt x="1084" y="171"/>
                </a:cubicBezTo>
                <a:cubicBezTo>
                  <a:pt x="1084" y="169"/>
                  <a:pt x="1084" y="169"/>
                  <a:pt x="1084" y="169"/>
                </a:cubicBezTo>
                <a:cubicBezTo>
                  <a:pt x="1083" y="168"/>
                  <a:pt x="1083" y="168"/>
                  <a:pt x="1083" y="168"/>
                </a:cubicBezTo>
                <a:cubicBezTo>
                  <a:pt x="1081" y="167"/>
                  <a:pt x="1081" y="167"/>
                  <a:pt x="1081" y="167"/>
                </a:cubicBezTo>
                <a:cubicBezTo>
                  <a:pt x="1081" y="166"/>
                  <a:pt x="1081" y="166"/>
                  <a:pt x="1081" y="166"/>
                </a:cubicBezTo>
                <a:cubicBezTo>
                  <a:pt x="1081" y="165"/>
                  <a:pt x="1081" y="165"/>
                  <a:pt x="1081" y="165"/>
                </a:cubicBezTo>
                <a:cubicBezTo>
                  <a:pt x="1080" y="165"/>
                  <a:pt x="1080" y="165"/>
                  <a:pt x="1080" y="165"/>
                </a:cubicBezTo>
                <a:cubicBezTo>
                  <a:pt x="1080" y="164"/>
                  <a:pt x="1080" y="164"/>
                  <a:pt x="1080" y="164"/>
                </a:cubicBezTo>
                <a:cubicBezTo>
                  <a:pt x="1081" y="164"/>
                  <a:pt x="1081" y="164"/>
                  <a:pt x="1081" y="164"/>
                </a:cubicBezTo>
                <a:cubicBezTo>
                  <a:pt x="1082" y="163"/>
                  <a:pt x="1082" y="163"/>
                  <a:pt x="1082" y="163"/>
                </a:cubicBezTo>
                <a:cubicBezTo>
                  <a:pt x="1083" y="163"/>
                  <a:pt x="1083" y="163"/>
                  <a:pt x="1083" y="163"/>
                </a:cubicBezTo>
                <a:cubicBezTo>
                  <a:pt x="1083" y="162"/>
                  <a:pt x="1083" y="162"/>
                  <a:pt x="1083" y="162"/>
                </a:cubicBezTo>
                <a:cubicBezTo>
                  <a:pt x="1082" y="162"/>
                  <a:pt x="1082" y="162"/>
                  <a:pt x="1082" y="162"/>
                </a:cubicBezTo>
                <a:cubicBezTo>
                  <a:pt x="1082" y="161"/>
                  <a:pt x="1082" y="161"/>
                  <a:pt x="1082" y="161"/>
                </a:cubicBezTo>
                <a:cubicBezTo>
                  <a:pt x="1083" y="160"/>
                  <a:pt x="1083" y="160"/>
                  <a:pt x="1083" y="160"/>
                </a:cubicBezTo>
                <a:cubicBezTo>
                  <a:pt x="1084" y="159"/>
                  <a:pt x="1084" y="159"/>
                  <a:pt x="1084" y="159"/>
                </a:cubicBezTo>
                <a:cubicBezTo>
                  <a:pt x="1084" y="158"/>
                  <a:pt x="1084" y="158"/>
                  <a:pt x="1084" y="158"/>
                </a:cubicBezTo>
                <a:cubicBezTo>
                  <a:pt x="1083" y="158"/>
                  <a:pt x="1083" y="158"/>
                  <a:pt x="1083" y="158"/>
                </a:cubicBezTo>
                <a:cubicBezTo>
                  <a:pt x="1084" y="157"/>
                  <a:pt x="1084" y="157"/>
                  <a:pt x="1084" y="157"/>
                </a:cubicBezTo>
                <a:cubicBezTo>
                  <a:pt x="1083" y="157"/>
                  <a:pt x="1083" y="157"/>
                  <a:pt x="1083" y="157"/>
                </a:cubicBezTo>
                <a:cubicBezTo>
                  <a:pt x="1082" y="155"/>
                  <a:pt x="1082" y="155"/>
                  <a:pt x="1082" y="155"/>
                </a:cubicBezTo>
                <a:cubicBezTo>
                  <a:pt x="1080" y="154"/>
                  <a:pt x="1080" y="154"/>
                  <a:pt x="1080" y="154"/>
                </a:cubicBezTo>
                <a:cubicBezTo>
                  <a:pt x="1080" y="153"/>
                  <a:pt x="1080" y="153"/>
                  <a:pt x="1080" y="153"/>
                </a:cubicBezTo>
                <a:cubicBezTo>
                  <a:pt x="1079" y="153"/>
                  <a:pt x="1079" y="153"/>
                  <a:pt x="1079" y="153"/>
                </a:cubicBezTo>
                <a:cubicBezTo>
                  <a:pt x="1079" y="154"/>
                  <a:pt x="1079" y="154"/>
                  <a:pt x="1079" y="154"/>
                </a:cubicBezTo>
                <a:cubicBezTo>
                  <a:pt x="1078" y="154"/>
                  <a:pt x="1078" y="154"/>
                  <a:pt x="1078" y="154"/>
                </a:cubicBezTo>
                <a:cubicBezTo>
                  <a:pt x="1078" y="153"/>
                  <a:pt x="1078" y="153"/>
                  <a:pt x="1078" y="153"/>
                </a:cubicBezTo>
                <a:cubicBezTo>
                  <a:pt x="1078" y="152"/>
                  <a:pt x="1078" y="152"/>
                  <a:pt x="1078" y="152"/>
                </a:cubicBezTo>
                <a:cubicBezTo>
                  <a:pt x="1077" y="152"/>
                  <a:pt x="1077" y="152"/>
                  <a:pt x="1077" y="152"/>
                </a:cubicBezTo>
                <a:cubicBezTo>
                  <a:pt x="1076" y="151"/>
                  <a:pt x="1076" y="151"/>
                  <a:pt x="1076" y="151"/>
                </a:cubicBezTo>
                <a:cubicBezTo>
                  <a:pt x="1075" y="151"/>
                  <a:pt x="1075" y="151"/>
                  <a:pt x="1075" y="151"/>
                </a:cubicBezTo>
                <a:cubicBezTo>
                  <a:pt x="1074" y="151"/>
                  <a:pt x="1074" y="151"/>
                  <a:pt x="1074" y="151"/>
                </a:cubicBezTo>
                <a:cubicBezTo>
                  <a:pt x="1074" y="150"/>
                  <a:pt x="1074" y="150"/>
                  <a:pt x="1074" y="150"/>
                </a:cubicBezTo>
                <a:cubicBezTo>
                  <a:pt x="1074" y="149"/>
                  <a:pt x="1074" y="149"/>
                  <a:pt x="1074" y="149"/>
                </a:cubicBezTo>
                <a:cubicBezTo>
                  <a:pt x="1073" y="148"/>
                  <a:pt x="1073" y="148"/>
                  <a:pt x="1073" y="148"/>
                </a:cubicBezTo>
                <a:cubicBezTo>
                  <a:pt x="1072" y="147"/>
                  <a:pt x="1072" y="147"/>
                  <a:pt x="1072" y="147"/>
                </a:cubicBezTo>
                <a:cubicBezTo>
                  <a:pt x="1071" y="147"/>
                  <a:pt x="1071" y="147"/>
                  <a:pt x="1071" y="147"/>
                </a:cubicBezTo>
                <a:cubicBezTo>
                  <a:pt x="1071" y="148"/>
                  <a:pt x="1071" y="148"/>
                  <a:pt x="1071" y="148"/>
                </a:cubicBezTo>
                <a:cubicBezTo>
                  <a:pt x="1070" y="147"/>
                  <a:pt x="1070" y="147"/>
                  <a:pt x="1070" y="147"/>
                </a:cubicBezTo>
                <a:cubicBezTo>
                  <a:pt x="1068" y="146"/>
                  <a:pt x="1068" y="146"/>
                  <a:pt x="1068" y="146"/>
                </a:cubicBezTo>
                <a:cubicBezTo>
                  <a:pt x="1067" y="145"/>
                  <a:pt x="1067" y="145"/>
                  <a:pt x="1067" y="145"/>
                </a:cubicBezTo>
                <a:cubicBezTo>
                  <a:pt x="1066" y="144"/>
                  <a:pt x="1066" y="144"/>
                  <a:pt x="1066" y="144"/>
                </a:cubicBezTo>
                <a:cubicBezTo>
                  <a:pt x="1065" y="144"/>
                  <a:pt x="1065" y="144"/>
                  <a:pt x="1065" y="144"/>
                </a:cubicBezTo>
                <a:cubicBezTo>
                  <a:pt x="1063" y="144"/>
                  <a:pt x="1063" y="144"/>
                  <a:pt x="1063" y="144"/>
                </a:cubicBezTo>
                <a:cubicBezTo>
                  <a:pt x="1062" y="145"/>
                  <a:pt x="1062" y="145"/>
                  <a:pt x="1062" y="145"/>
                </a:cubicBezTo>
                <a:cubicBezTo>
                  <a:pt x="1062" y="146"/>
                  <a:pt x="1062" y="146"/>
                  <a:pt x="1062" y="146"/>
                </a:cubicBezTo>
                <a:cubicBezTo>
                  <a:pt x="1061" y="147"/>
                  <a:pt x="1061" y="147"/>
                  <a:pt x="1061" y="147"/>
                </a:cubicBezTo>
                <a:cubicBezTo>
                  <a:pt x="1060" y="148"/>
                  <a:pt x="1060" y="148"/>
                  <a:pt x="1060" y="148"/>
                </a:cubicBezTo>
                <a:cubicBezTo>
                  <a:pt x="1060" y="147"/>
                  <a:pt x="1060" y="147"/>
                  <a:pt x="1060" y="147"/>
                </a:cubicBezTo>
                <a:cubicBezTo>
                  <a:pt x="1061" y="146"/>
                  <a:pt x="1061" y="146"/>
                  <a:pt x="1061" y="146"/>
                </a:cubicBezTo>
                <a:cubicBezTo>
                  <a:pt x="1061" y="144"/>
                  <a:pt x="1061" y="144"/>
                  <a:pt x="1061" y="144"/>
                </a:cubicBezTo>
                <a:cubicBezTo>
                  <a:pt x="1060" y="144"/>
                  <a:pt x="1060" y="144"/>
                  <a:pt x="1060" y="144"/>
                </a:cubicBezTo>
                <a:cubicBezTo>
                  <a:pt x="1059" y="144"/>
                  <a:pt x="1059" y="144"/>
                  <a:pt x="1059" y="144"/>
                </a:cubicBezTo>
                <a:cubicBezTo>
                  <a:pt x="1058" y="145"/>
                  <a:pt x="1058" y="145"/>
                  <a:pt x="1058" y="145"/>
                </a:cubicBezTo>
                <a:cubicBezTo>
                  <a:pt x="1058" y="146"/>
                  <a:pt x="1058" y="146"/>
                  <a:pt x="1058" y="146"/>
                </a:cubicBezTo>
                <a:cubicBezTo>
                  <a:pt x="1057" y="146"/>
                  <a:pt x="1057" y="146"/>
                  <a:pt x="1057" y="146"/>
                </a:cubicBezTo>
                <a:cubicBezTo>
                  <a:pt x="1056" y="144"/>
                  <a:pt x="1056" y="144"/>
                  <a:pt x="1056" y="144"/>
                </a:cubicBezTo>
                <a:cubicBezTo>
                  <a:pt x="1055" y="144"/>
                  <a:pt x="1055" y="144"/>
                  <a:pt x="1055" y="144"/>
                </a:cubicBezTo>
                <a:cubicBezTo>
                  <a:pt x="1054" y="143"/>
                  <a:pt x="1054" y="143"/>
                  <a:pt x="1054" y="143"/>
                </a:cubicBezTo>
                <a:cubicBezTo>
                  <a:pt x="1053" y="143"/>
                  <a:pt x="1053" y="143"/>
                  <a:pt x="1053" y="143"/>
                </a:cubicBezTo>
                <a:cubicBezTo>
                  <a:pt x="1052" y="144"/>
                  <a:pt x="1052" y="144"/>
                  <a:pt x="1052" y="144"/>
                </a:cubicBezTo>
                <a:cubicBezTo>
                  <a:pt x="1051" y="144"/>
                  <a:pt x="1051" y="144"/>
                  <a:pt x="1051" y="144"/>
                </a:cubicBezTo>
                <a:cubicBezTo>
                  <a:pt x="1051" y="145"/>
                  <a:pt x="1051" y="145"/>
                  <a:pt x="1051" y="145"/>
                </a:cubicBezTo>
                <a:cubicBezTo>
                  <a:pt x="1050" y="144"/>
                  <a:pt x="1050" y="144"/>
                  <a:pt x="1050" y="144"/>
                </a:cubicBezTo>
                <a:cubicBezTo>
                  <a:pt x="1050" y="143"/>
                  <a:pt x="1050" y="143"/>
                  <a:pt x="1050" y="143"/>
                </a:cubicBezTo>
                <a:cubicBezTo>
                  <a:pt x="1050" y="142"/>
                  <a:pt x="1050" y="142"/>
                  <a:pt x="1050" y="142"/>
                </a:cubicBezTo>
                <a:cubicBezTo>
                  <a:pt x="1050" y="141"/>
                  <a:pt x="1050" y="141"/>
                  <a:pt x="1050" y="141"/>
                </a:cubicBezTo>
                <a:cubicBezTo>
                  <a:pt x="1049" y="141"/>
                  <a:pt x="1049" y="141"/>
                  <a:pt x="1049" y="141"/>
                </a:cubicBezTo>
                <a:cubicBezTo>
                  <a:pt x="1048" y="142"/>
                  <a:pt x="1048" y="142"/>
                  <a:pt x="1048" y="142"/>
                </a:cubicBezTo>
                <a:cubicBezTo>
                  <a:pt x="1048" y="143"/>
                  <a:pt x="1048" y="143"/>
                  <a:pt x="1048" y="143"/>
                </a:cubicBezTo>
                <a:cubicBezTo>
                  <a:pt x="1048" y="144"/>
                  <a:pt x="1048" y="144"/>
                  <a:pt x="1048" y="144"/>
                </a:cubicBezTo>
                <a:cubicBezTo>
                  <a:pt x="1048" y="145"/>
                  <a:pt x="1048" y="145"/>
                  <a:pt x="1048" y="145"/>
                </a:cubicBezTo>
                <a:cubicBezTo>
                  <a:pt x="1048" y="146"/>
                  <a:pt x="1048" y="146"/>
                  <a:pt x="1048" y="146"/>
                </a:cubicBezTo>
                <a:cubicBezTo>
                  <a:pt x="1048" y="147"/>
                  <a:pt x="1048" y="147"/>
                  <a:pt x="1048" y="147"/>
                </a:cubicBezTo>
                <a:cubicBezTo>
                  <a:pt x="1047" y="148"/>
                  <a:pt x="1047" y="148"/>
                  <a:pt x="1047" y="148"/>
                </a:cubicBezTo>
                <a:cubicBezTo>
                  <a:pt x="1047" y="147"/>
                  <a:pt x="1047" y="147"/>
                  <a:pt x="1047" y="147"/>
                </a:cubicBezTo>
                <a:cubicBezTo>
                  <a:pt x="1046" y="146"/>
                  <a:pt x="1046" y="146"/>
                  <a:pt x="1046" y="146"/>
                </a:cubicBezTo>
                <a:cubicBezTo>
                  <a:pt x="1044" y="145"/>
                  <a:pt x="1044" y="145"/>
                  <a:pt x="1044" y="145"/>
                </a:cubicBezTo>
                <a:cubicBezTo>
                  <a:pt x="1043" y="145"/>
                  <a:pt x="1043" y="145"/>
                  <a:pt x="1043" y="145"/>
                </a:cubicBezTo>
                <a:cubicBezTo>
                  <a:pt x="1042" y="144"/>
                  <a:pt x="1042" y="144"/>
                  <a:pt x="1042" y="144"/>
                </a:cubicBezTo>
                <a:cubicBezTo>
                  <a:pt x="1041" y="143"/>
                  <a:pt x="1041" y="143"/>
                  <a:pt x="1041" y="143"/>
                </a:cubicBezTo>
                <a:cubicBezTo>
                  <a:pt x="1042" y="142"/>
                  <a:pt x="1042" y="142"/>
                  <a:pt x="1042" y="142"/>
                </a:cubicBezTo>
                <a:cubicBezTo>
                  <a:pt x="1040" y="142"/>
                  <a:pt x="1040" y="142"/>
                  <a:pt x="1040" y="142"/>
                </a:cubicBezTo>
                <a:cubicBezTo>
                  <a:pt x="1040" y="140"/>
                  <a:pt x="1040" y="140"/>
                  <a:pt x="1040" y="140"/>
                </a:cubicBezTo>
                <a:cubicBezTo>
                  <a:pt x="1039" y="139"/>
                  <a:pt x="1039" y="139"/>
                  <a:pt x="1039" y="139"/>
                </a:cubicBezTo>
                <a:cubicBezTo>
                  <a:pt x="1038" y="138"/>
                  <a:pt x="1038" y="138"/>
                  <a:pt x="1038" y="138"/>
                </a:cubicBezTo>
                <a:cubicBezTo>
                  <a:pt x="1038" y="137"/>
                  <a:pt x="1038" y="137"/>
                  <a:pt x="1038" y="137"/>
                </a:cubicBezTo>
                <a:cubicBezTo>
                  <a:pt x="1039" y="136"/>
                  <a:pt x="1039" y="136"/>
                  <a:pt x="1039" y="136"/>
                </a:cubicBezTo>
                <a:cubicBezTo>
                  <a:pt x="1040" y="136"/>
                  <a:pt x="1040" y="136"/>
                  <a:pt x="1040" y="136"/>
                </a:cubicBezTo>
                <a:cubicBezTo>
                  <a:pt x="1041" y="135"/>
                  <a:pt x="1041" y="135"/>
                  <a:pt x="1041" y="135"/>
                </a:cubicBezTo>
                <a:cubicBezTo>
                  <a:pt x="1042" y="135"/>
                  <a:pt x="1042" y="135"/>
                  <a:pt x="1042" y="135"/>
                </a:cubicBezTo>
                <a:cubicBezTo>
                  <a:pt x="1044" y="135"/>
                  <a:pt x="1044" y="135"/>
                  <a:pt x="1044" y="135"/>
                </a:cubicBezTo>
                <a:cubicBezTo>
                  <a:pt x="1045" y="135"/>
                  <a:pt x="1045" y="135"/>
                  <a:pt x="1045" y="135"/>
                </a:cubicBezTo>
                <a:cubicBezTo>
                  <a:pt x="1045" y="134"/>
                  <a:pt x="1045" y="134"/>
                  <a:pt x="1045" y="134"/>
                </a:cubicBezTo>
                <a:cubicBezTo>
                  <a:pt x="1045" y="133"/>
                  <a:pt x="1045" y="133"/>
                  <a:pt x="1045" y="133"/>
                </a:cubicBezTo>
                <a:cubicBezTo>
                  <a:pt x="1044" y="134"/>
                  <a:pt x="1044" y="134"/>
                  <a:pt x="1044" y="134"/>
                </a:cubicBezTo>
                <a:cubicBezTo>
                  <a:pt x="1042" y="133"/>
                  <a:pt x="1042" y="133"/>
                  <a:pt x="1042" y="133"/>
                </a:cubicBezTo>
                <a:cubicBezTo>
                  <a:pt x="1041" y="133"/>
                  <a:pt x="1041" y="133"/>
                  <a:pt x="1041" y="133"/>
                </a:cubicBezTo>
                <a:cubicBezTo>
                  <a:pt x="1039" y="131"/>
                  <a:pt x="1039" y="131"/>
                  <a:pt x="1039" y="131"/>
                </a:cubicBezTo>
                <a:cubicBezTo>
                  <a:pt x="1039" y="130"/>
                  <a:pt x="1039" y="130"/>
                  <a:pt x="1039" y="130"/>
                </a:cubicBezTo>
                <a:cubicBezTo>
                  <a:pt x="1040" y="129"/>
                  <a:pt x="1040" y="129"/>
                  <a:pt x="1040" y="129"/>
                </a:cubicBezTo>
                <a:cubicBezTo>
                  <a:pt x="1041" y="129"/>
                  <a:pt x="1041" y="129"/>
                  <a:pt x="1041" y="129"/>
                </a:cubicBezTo>
                <a:cubicBezTo>
                  <a:pt x="1041" y="127"/>
                  <a:pt x="1041" y="127"/>
                  <a:pt x="1041" y="127"/>
                </a:cubicBezTo>
                <a:cubicBezTo>
                  <a:pt x="1040" y="127"/>
                  <a:pt x="1040" y="127"/>
                  <a:pt x="1040" y="127"/>
                </a:cubicBezTo>
                <a:cubicBezTo>
                  <a:pt x="1040" y="129"/>
                  <a:pt x="1040" y="129"/>
                  <a:pt x="1040" y="129"/>
                </a:cubicBezTo>
                <a:cubicBezTo>
                  <a:pt x="1039" y="129"/>
                  <a:pt x="1039" y="129"/>
                  <a:pt x="1039" y="129"/>
                </a:cubicBezTo>
                <a:cubicBezTo>
                  <a:pt x="1038" y="130"/>
                  <a:pt x="1038" y="130"/>
                  <a:pt x="1038" y="130"/>
                </a:cubicBezTo>
                <a:cubicBezTo>
                  <a:pt x="1037" y="129"/>
                  <a:pt x="1037" y="129"/>
                  <a:pt x="1037" y="129"/>
                </a:cubicBezTo>
                <a:cubicBezTo>
                  <a:pt x="1036" y="128"/>
                  <a:pt x="1036" y="128"/>
                  <a:pt x="1036" y="128"/>
                </a:cubicBezTo>
                <a:cubicBezTo>
                  <a:pt x="1036" y="127"/>
                  <a:pt x="1036" y="127"/>
                  <a:pt x="1036" y="127"/>
                </a:cubicBezTo>
                <a:cubicBezTo>
                  <a:pt x="1037" y="127"/>
                  <a:pt x="1037" y="127"/>
                  <a:pt x="1037" y="127"/>
                </a:cubicBezTo>
                <a:cubicBezTo>
                  <a:pt x="1037" y="126"/>
                  <a:pt x="1037" y="126"/>
                  <a:pt x="1037" y="126"/>
                </a:cubicBezTo>
                <a:cubicBezTo>
                  <a:pt x="1036" y="126"/>
                  <a:pt x="1036" y="126"/>
                  <a:pt x="1036" y="126"/>
                </a:cubicBezTo>
                <a:cubicBezTo>
                  <a:pt x="1036" y="125"/>
                  <a:pt x="1036" y="125"/>
                  <a:pt x="1036" y="125"/>
                </a:cubicBezTo>
                <a:cubicBezTo>
                  <a:pt x="1036" y="124"/>
                  <a:pt x="1036" y="124"/>
                  <a:pt x="1036" y="124"/>
                </a:cubicBezTo>
                <a:cubicBezTo>
                  <a:pt x="1037" y="124"/>
                  <a:pt x="1037" y="124"/>
                  <a:pt x="1037" y="124"/>
                </a:cubicBezTo>
                <a:cubicBezTo>
                  <a:pt x="1037" y="123"/>
                  <a:pt x="1037" y="123"/>
                  <a:pt x="1037" y="123"/>
                </a:cubicBezTo>
                <a:cubicBezTo>
                  <a:pt x="1038" y="123"/>
                  <a:pt x="1038" y="123"/>
                  <a:pt x="1038" y="123"/>
                </a:cubicBezTo>
                <a:cubicBezTo>
                  <a:pt x="1039" y="124"/>
                  <a:pt x="1039" y="124"/>
                  <a:pt x="1039" y="124"/>
                </a:cubicBezTo>
                <a:cubicBezTo>
                  <a:pt x="1039" y="123"/>
                  <a:pt x="1039" y="123"/>
                  <a:pt x="1039" y="123"/>
                </a:cubicBezTo>
                <a:cubicBezTo>
                  <a:pt x="1041" y="122"/>
                  <a:pt x="1041" y="122"/>
                  <a:pt x="1041" y="122"/>
                </a:cubicBezTo>
                <a:cubicBezTo>
                  <a:pt x="1043" y="122"/>
                  <a:pt x="1043" y="122"/>
                  <a:pt x="1043" y="122"/>
                </a:cubicBezTo>
                <a:cubicBezTo>
                  <a:pt x="1044" y="123"/>
                  <a:pt x="1044" y="123"/>
                  <a:pt x="1044" y="123"/>
                </a:cubicBezTo>
                <a:cubicBezTo>
                  <a:pt x="1046" y="123"/>
                  <a:pt x="1046" y="123"/>
                  <a:pt x="1046" y="123"/>
                </a:cubicBezTo>
                <a:cubicBezTo>
                  <a:pt x="1049" y="124"/>
                  <a:pt x="1049" y="124"/>
                  <a:pt x="1049" y="124"/>
                </a:cubicBezTo>
                <a:cubicBezTo>
                  <a:pt x="1050" y="125"/>
                  <a:pt x="1050" y="125"/>
                  <a:pt x="1050" y="125"/>
                </a:cubicBezTo>
                <a:cubicBezTo>
                  <a:pt x="1051" y="125"/>
                  <a:pt x="1051" y="125"/>
                  <a:pt x="1051" y="125"/>
                </a:cubicBezTo>
                <a:cubicBezTo>
                  <a:pt x="1053" y="126"/>
                  <a:pt x="1053" y="126"/>
                  <a:pt x="1053" y="126"/>
                </a:cubicBezTo>
                <a:cubicBezTo>
                  <a:pt x="1054" y="126"/>
                  <a:pt x="1054" y="126"/>
                  <a:pt x="1054" y="126"/>
                </a:cubicBezTo>
                <a:cubicBezTo>
                  <a:pt x="1052" y="125"/>
                  <a:pt x="1052" y="125"/>
                  <a:pt x="1052" y="125"/>
                </a:cubicBezTo>
                <a:cubicBezTo>
                  <a:pt x="1051" y="124"/>
                  <a:pt x="1051" y="124"/>
                  <a:pt x="1051" y="124"/>
                </a:cubicBezTo>
                <a:cubicBezTo>
                  <a:pt x="1049" y="123"/>
                  <a:pt x="1049" y="123"/>
                  <a:pt x="1049" y="123"/>
                </a:cubicBezTo>
                <a:cubicBezTo>
                  <a:pt x="1048" y="123"/>
                  <a:pt x="1048" y="123"/>
                  <a:pt x="1048" y="123"/>
                </a:cubicBezTo>
                <a:cubicBezTo>
                  <a:pt x="1047" y="122"/>
                  <a:pt x="1047" y="122"/>
                  <a:pt x="1047" y="122"/>
                </a:cubicBezTo>
                <a:cubicBezTo>
                  <a:pt x="1049" y="121"/>
                  <a:pt x="1049" y="121"/>
                  <a:pt x="1049" y="121"/>
                </a:cubicBezTo>
                <a:cubicBezTo>
                  <a:pt x="1051" y="121"/>
                  <a:pt x="1051" y="121"/>
                  <a:pt x="1051" y="121"/>
                </a:cubicBezTo>
                <a:cubicBezTo>
                  <a:pt x="1053" y="121"/>
                  <a:pt x="1053" y="121"/>
                  <a:pt x="1053" y="121"/>
                </a:cubicBezTo>
                <a:cubicBezTo>
                  <a:pt x="1055" y="122"/>
                  <a:pt x="1055" y="122"/>
                  <a:pt x="1055" y="122"/>
                </a:cubicBezTo>
                <a:cubicBezTo>
                  <a:pt x="1056" y="123"/>
                  <a:pt x="1056" y="123"/>
                  <a:pt x="1056" y="123"/>
                </a:cubicBezTo>
                <a:cubicBezTo>
                  <a:pt x="1057" y="123"/>
                  <a:pt x="1057" y="123"/>
                  <a:pt x="1057" y="123"/>
                </a:cubicBezTo>
                <a:cubicBezTo>
                  <a:pt x="1057" y="124"/>
                  <a:pt x="1057" y="124"/>
                  <a:pt x="1057" y="124"/>
                </a:cubicBezTo>
                <a:cubicBezTo>
                  <a:pt x="1058" y="124"/>
                  <a:pt x="1058" y="124"/>
                  <a:pt x="1058" y="124"/>
                </a:cubicBezTo>
                <a:cubicBezTo>
                  <a:pt x="1058" y="123"/>
                  <a:pt x="1058" y="123"/>
                  <a:pt x="1058" y="123"/>
                </a:cubicBezTo>
                <a:cubicBezTo>
                  <a:pt x="1058" y="122"/>
                  <a:pt x="1058" y="122"/>
                  <a:pt x="1058" y="122"/>
                </a:cubicBezTo>
                <a:cubicBezTo>
                  <a:pt x="1059" y="121"/>
                  <a:pt x="1059" y="121"/>
                  <a:pt x="1059" y="121"/>
                </a:cubicBezTo>
                <a:cubicBezTo>
                  <a:pt x="1059" y="119"/>
                  <a:pt x="1059" y="119"/>
                  <a:pt x="1059" y="119"/>
                </a:cubicBezTo>
                <a:cubicBezTo>
                  <a:pt x="1058" y="119"/>
                  <a:pt x="1058" y="119"/>
                  <a:pt x="1058" y="119"/>
                </a:cubicBezTo>
                <a:cubicBezTo>
                  <a:pt x="1058" y="118"/>
                  <a:pt x="1058" y="118"/>
                  <a:pt x="1058" y="118"/>
                </a:cubicBezTo>
                <a:cubicBezTo>
                  <a:pt x="1057" y="118"/>
                  <a:pt x="1057" y="118"/>
                  <a:pt x="1057" y="118"/>
                </a:cubicBezTo>
                <a:cubicBezTo>
                  <a:pt x="1056" y="118"/>
                  <a:pt x="1056" y="118"/>
                  <a:pt x="1056" y="118"/>
                </a:cubicBezTo>
                <a:cubicBezTo>
                  <a:pt x="1055" y="119"/>
                  <a:pt x="1055" y="119"/>
                  <a:pt x="1055" y="119"/>
                </a:cubicBezTo>
                <a:cubicBezTo>
                  <a:pt x="1054" y="119"/>
                  <a:pt x="1054" y="119"/>
                  <a:pt x="1054" y="119"/>
                </a:cubicBezTo>
                <a:cubicBezTo>
                  <a:pt x="1052" y="118"/>
                  <a:pt x="1052" y="118"/>
                  <a:pt x="1052" y="118"/>
                </a:cubicBezTo>
                <a:cubicBezTo>
                  <a:pt x="1051" y="118"/>
                  <a:pt x="1051" y="118"/>
                  <a:pt x="1051" y="118"/>
                </a:cubicBezTo>
                <a:cubicBezTo>
                  <a:pt x="1051" y="117"/>
                  <a:pt x="1051" y="117"/>
                  <a:pt x="1051" y="117"/>
                </a:cubicBezTo>
                <a:cubicBezTo>
                  <a:pt x="1050" y="116"/>
                  <a:pt x="1050" y="116"/>
                  <a:pt x="1050" y="116"/>
                </a:cubicBezTo>
                <a:cubicBezTo>
                  <a:pt x="1049" y="116"/>
                  <a:pt x="1049" y="116"/>
                  <a:pt x="1049" y="116"/>
                </a:cubicBezTo>
                <a:cubicBezTo>
                  <a:pt x="1049" y="117"/>
                  <a:pt x="1049" y="117"/>
                  <a:pt x="1049" y="117"/>
                </a:cubicBezTo>
                <a:cubicBezTo>
                  <a:pt x="1049" y="119"/>
                  <a:pt x="1049" y="119"/>
                  <a:pt x="1049" y="119"/>
                </a:cubicBezTo>
                <a:cubicBezTo>
                  <a:pt x="1047" y="119"/>
                  <a:pt x="1047" y="119"/>
                  <a:pt x="1047" y="119"/>
                </a:cubicBezTo>
                <a:cubicBezTo>
                  <a:pt x="1046" y="119"/>
                  <a:pt x="1046" y="119"/>
                  <a:pt x="1046" y="119"/>
                </a:cubicBezTo>
                <a:cubicBezTo>
                  <a:pt x="1044" y="117"/>
                  <a:pt x="1044" y="117"/>
                  <a:pt x="1044" y="117"/>
                </a:cubicBezTo>
                <a:cubicBezTo>
                  <a:pt x="1044" y="116"/>
                  <a:pt x="1044" y="116"/>
                  <a:pt x="1044" y="116"/>
                </a:cubicBezTo>
                <a:cubicBezTo>
                  <a:pt x="1045" y="116"/>
                  <a:pt x="1045" y="116"/>
                  <a:pt x="1045" y="116"/>
                </a:cubicBezTo>
                <a:cubicBezTo>
                  <a:pt x="1047" y="115"/>
                  <a:pt x="1047" y="115"/>
                  <a:pt x="1047" y="115"/>
                </a:cubicBezTo>
                <a:cubicBezTo>
                  <a:pt x="1047" y="114"/>
                  <a:pt x="1047" y="114"/>
                  <a:pt x="1047" y="114"/>
                </a:cubicBezTo>
                <a:cubicBezTo>
                  <a:pt x="1045" y="115"/>
                  <a:pt x="1045" y="115"/>
                  <a:pt x="1045" y="115"/>
                </a:cubicBezTo>
                <a:cubicBezTo>
                  <a:pt x="1044" y="115"/>
                  <a:pt x="1044" y="115"/>
                  <a:pt x="1044" y="115"/>
                </a:cubicBezTo>
                <a:cubicBezTo>
                  <a:pt x="1043" y="115"/>
                  <a:pt x="1043" y="115"/>
                  <a:pt x="1043" y="115"/>
                </a:cubicBezTo>
                <a:cubicBezTo>
                  <a:pt x="1043" y="114"/>
                  <a:pt x="1043" y="114"/>
                  <a:pt x="1043" y="114"/>
                </a:cubicBezTo>
                <a:cubicBezTo>
                  <a:pt x="1044" y="113"/>
                  <a:pt x="1044" y="113"/>
                  <a:pt x="1044" y="113"/>
                </a:cubicBezTo>
                <a:cubicBezTo>
                  <a:pt x="1045" y="113"/>
                  <a:pt x="1045" y="113"/>
                  <a:pt x="1045" y="113"/>
                </a:cubicBezTo>
                <a:cubicBezTo>
                  <a:pt x="1046" y="111"/>
                  <a:pt x="1046" y="111"/>
                  <a:pt x="1046" y="111"/>
                </a:cubicBezTo>
                <a:cubicBezTo>
                  <a:pt x="1045" y="110"/>
                  <a:pt x="1045" y="110"/>
                  <a:pt x="1045" y="110"/>
                </a:cubicBezTo>
                <a:cubicBezTo>
                  <a:pt x="1045" y="111"/>
                  <a:pt x="1045" y="111"/>
                  <a:pt x="1045" y="111"/>
                </a:cubicBezTo>
                <a:cubicBezTo>
                  <a:pt x="1043" y="112"/>
                  <a:pt x="1043" y="112"/>
                  <a:pt x="1043" y="112"/>
                </a:cubicBezTo>
                <a:cubicBezTo>
                  <a:pt x="1042" y="112"/>
                  <a:pt x="1042" y="112"/>
                  <a:pt x="1042" y="112"/>
                </a:cubicBezTo>
                <a:cubicBezTo>
                  <a:pt x="1041" y="112"/>
                  <a:pt x="1041" y="112"/>
                  <a:pt x="1041" y="112"/>
                </a:cubicBezTo>
                <a:cubicBezTo>
                  <a:pt x="1040" y="111"/>
                  <a:pt x="1040" y="111"/>
                  <a:pt x="1040" y="111"/>
                </a:cubicBezTo>
                <a:cubicBezTo>
                  <a:pt x="1041" y="111"/>
                  <a:pt x="1041" y="111"/>
                  <a:pt x="1041" y="111"/>
                </a:cubicBezTo>
                <a:cubicBezTo>
                  <a:pt x="1041" y="110"/>
                  <a:pt x="1041" y="110"/>
                  <a:pt x="1041" y="110"/>
                </a:cubicBezTo>
                <a:cubicBezTo>
                  <a:pt x="1042" y="110"/>
                  <a:pt x="1042" y="110"/>
                  <a:pt x="1042" y="110"/>
                </a:cubicBezTo>
                <a:cubicBezTo>
                  <a:pt x="1042" y="109"/>
                  <a:pt x="1042" y="109"/>
                  <a:pt x="1042" y="109"/>
                </a:cubicBezTo>
                <a:cubicBezTo>
                  <a:pt x="1041" y="109"/>
                  <a:pt x="1041" y="109"/>
                  <a:pt x="1041" y="109"/>
                </a:cubicBezTo>
                <a:cubicBezTo>
                  <a:pt x="1040" y="109"/>
                  <a:pt x="1040" y="109"/>
                  <a:pt x="1040" y="109"/>
                </a:cubicBezTo>
                <a:cubicBezTo>
                  <a:pt x="1039" y="108"/>
                  <a:pt x="1039" y="108"/>
                  <a:pt x="1039" y="108"/>
                </a:cubicBezTo>
                <a:cubicBezTo>
                  <a:pt x="1038" y="106"/>
                  <a:pt x="1038" y="106"/>
                  <a:pt x="1038" y="106"/>
                </a:cubicBezTo>
                <a:cubicBezTo>
                  <a:pt x="1038" y="105"/>
                  <a:pt x="1038" y="105"/>
                  <a:pt x="1038" y="105"/>
                </a:cubicBezTo>
                <a:cubicBezTo>
                  <a:pt x="1036" y="104"/>
                  <a:pt x="1036" y="104"/>
                  <a:pt x="1036" y="104"/>
                </a:cubicBezTo>
                <a:cubicBezTo>
                  <a:pt x="1037" y="104"/>
                  <a:pt x="1037" y="104"/>
                  <a:pt x="1037" y="104"/>
                </a:cubicBezTo>
                <a:cubicBezTo>
                  <a:pt x="1038" y="103"/>
                  <a:pt x="1038" y="103"/>
                  <a:pt x="1038" y="103"/>
                </a:cubicBezTo>
                <a:cubicBezTo>
                  <a:pt x="1038" y="102"/>
                  <a:pt x="1038" y="102"/>
                  <a:pt x="1038" y="102"/>
                </a:cubicBezTo>
                <a:cubicBezTo>
                  <a:pt x="1039" y="102"/>
                  <a:pt x="1039" y="102"/>
                  <a:pt x="1039" y="102"/>
                </a:cubicBezTo>
                <a:cubicBezTo>
                  <a:pt x="1040" y="102"/>
                  <a:pt x="1040" y="102"/>
                  <a:pt x="1040" y="102"/>
                </a:cubicBezTo>
                <a:cubicBezTo>
                  <a:pt x="1040" y="101"/>
                  <a:pt x="1040" y="101"/>
                  <a:pt x="1040" y="101"/>
                </a:cubicBezTo>
                <a:cubicBezTo>
                  <a:pt x="1039" y="101"/>
                  <a:pt x="1039" y="101"/>
                  <a:pt x="1039" y="101"/>
                </a:cubicBezTo>
                <a:cubicBezTo>
                  <a:pt x="1038" y="101"/>
                  <a:pt x="1038" y="101"/>
                  <a:pt x="1038" y="101"/>
                </a:cubicBezTo>
                <a:cubicBezTo>
                  <a:pt x="1038" y="100"/>
                  <a:pt x="1038" y="100"/>
                  <a:pt x="1038" y="100"/>
                </a:cubicBezTo>
                <a:cubicBezTo>
                  <a:pt x="1039" y="100"/>
                  <a:pt x="1039" y="100"/>
                  <a:pt x="1039" y="100"/>
                </a:cubicBezTo>
                <a:cubicBezTo>
                  <a:pt x="1041" y="99"/>
                  <a:pt x="1041" y="99"/>
                  <a:pt x="1041" y="99"/>
                </a:cubicBezTo>
                <a:cubicBezTo>
                  <a:pt x="1041" y="98"/>
                  <a:pt x="1041" y="98"/>
                  <a:pt x="1041" y="98"/>
                </a:cubicBezTo>
                <a:cubicBezTo>
                  <a:pt x="1042" y="97"/>
                  <a:pt x="1042" y="97"/>
                  <a:pt x="1042" y="97"/>
                </a:cubicBezTo>
                <a:cubicBezTo>
                  <a:pt x="1043" y="97"/>
                  <a:pt x="1043" y="97"/>
                  <a:pt x="1043" y="97"/>
                </a:cubicBezTo>
                <a:cubicBezTo>
                  <a:pt x="1044" y="97"/>
                  <a:pt x="1044" y="97"/>
                  <a:pt x="1044" y="97"/>
                </a:cubicBezTo>
                <a:cubicBezTo>
                  <a:pt x="1045" y="97"/>
                  <a:pt x="1045" y="97"/>
                  <a:pt x="1045" y="97"/>
                </a:cubicBezTo>
                <a:cubicBezTo>
                  <a:pt x="1046" y="97"/>
                  <a:pt x="1046" y="97"/>
                  <a:pt x="1046" y="97"/>
                </a:cubicBezTo>
                <a:cubicBezTo>
                  <a:pt x="1047" y="97"/>
                  <a:pt x="1047" y="97"/>
                  <a:pt x="1047" y="97"/>
                </a:cubicBezTo>
                <a:cubicBezTo>
                  <a:pt x="1048" y="97"/>
                  <a:pt x="1048" y="97"/>
                  <a:pt x="1048" y="97"/>
                </a:cubicBezTo>
                <a:cubicBezTo>
                  <a:pt x="1049" y="97"/>
                  <a:pt x="1049" y="97"/>
                  <a:pt x="1049" y="97"/>
                </a:cubicBezTo>
                <a:cubicBezTo>
                  <a:pt x="1049" y="96"/>
                  <a:pt x="1049" y="96"/>
                  <a:pt x="1049" y="96"/>
                </a:cubicBezTo>
                <a:cubicBezTo>
                  <a:pt x="1050" y="96"/>
                  <a:pt x="1050" y="96"/>
                  <a:pt x="1050" y="96"/>
                </a:cubicBezTo>
                <a:cubicBezTo>
                  <a:pt x="1051" y="96"/>
                  <a:pt x="1051" y="96"/>
                  <a:pt x="1051" y="96"/>
                </a:cubicBezTo>
                <a:cubicBezTo>
                  <a:pt x="1052" y="96"/>
                  <a:pt x="1052" y="96"/>
                  <a:pt x="1052" y="96"/>
                </a:cubicBezTo>
                <a:cubicBezTo>
                  <a:pt x="1053" y="96"/>
                  <a:pt x="1053" y="96"/>
                  <a:pt x="1053" y="96"/>
                </a:cubicBezTo>
                <a:cubicBezTo>
                  <a:pt x="1058" y="94"/>
                  <a:pt x="1058" y="94"/>
                  <a:pt x="1058" y="94"/>
                </a:cubicBezTo>
                <a:cubicBezTo>
                  <a:pt x="1059" y="94"/>
                  <a:pt x="1059" y="94"/>
                  <a:pt x="1059" y="94"/>
                </a:cubicBezTo>
                <a:cubicBezTo>
                  <a:pt x="1059" y="93"/>
                  <a:pt x="1059" y="93"/>
                  <a:pt x="1059" y="93"/>
                </a:cubicBezTo>
                <a:cubicBezTo>
                  <a:pt x="1061" y="92"/>
                  <a:pt x="1061" y="92"/>
                  <a:pt x="1061" y="92"/>
                </a:cubicBezTo>
                <a:cubicBezTo>
                  <a:pt x="1063" y="92"/>
                  <a:pt x="1063" y="92"/>
                  <a:pt x="1063" y="92"/>
                </a:cubicBezTo>
                <a:cubicBezTo>
                  <a:pt x="1064" y="92"/>
                  <a:pt x="1064" y="92"/>
                  <a:pt x="1064" y="92"/>
                </a:cubicBezTo>
                <a:cubicBezTo>
                  <a:pt x="1065" y="92"/>
                  <a:pt x="1065" y="92"/>
                  <a:pt x="1065" y="92"/>
                </a:cubicBezTo>
                <a:cubicBezTo>
                  <a:pt x="1066" y="93"/>
                  <a:pt x="1066" y="93"/>
                  <a:pt x="1066" y="93"/>
                </a:cubicBezTo>
                <a:cubicBezTo>
                  <a:pt x="1067" y="92"/>
                  <a:pt x="1067" y="92"/>
                  <a:pt x="1067" y="92"/>
                </a:cubicBezTo>
                <a:cubicBezTo>
                  <a:pt x="1068" y="92"/>
                  <a:pt x="1068" y="92"/>
                  <a:pt x="1068" y="92"/>
                </a:cubicBezTo>
                <a:cubicBezTo>
                  <a:pt x="1070" y="92"/>
                  <a:pt x="1070" y="92"/>
                  <a:pt x="1070" y="92"/>
                </a:cubicBezTo>
                <a:cubicBezTo>
                  <a:pt x="1070" y="93"/>
                  <a:pt x="1070" y="93"/>
                  <a:pt x="1070" y="93"/>
                </a:cubicBezTo>
                <a:cubicBezTo>
                  <a:pt x="1071" y="93"/>
                  <a:pt x="1071" y="93"/>
                  <a:pt x="1071" y="93"/>
                </a:cubicBezTo>
                <a:cubicBezTo>
                  <a:pt x="1072" y="93"/>
                  <a:pt x="1072" y="93"/>
                  <a:pt x="1072" y="93"/>
                </a:cubicBezTo>
                <a:cubicBezTo>
                  <a:pt x="1073" y="94"/>
                  <a:pt x="1073" y="94"/>
                  <a:pt x="1073" y="94"/>
                </a:cubicBezTo>
                <a:cubicBezTo>
                  <a:pt x="1074" y="94"/>
                  <a:pt x="1074" y="94"/>
                  <a:pt x="1074" y="94"/>
                </a:cubicBezTo>
                <a:cubicBezTo>
                  <a:pt x="1075" y="94"/>
                  <a:pt x="1075" y="94"/>
                  <a:pt x="1075" y="94"/>
                </a:cubicBezTo>
                <a:cubicBezTo>
                  <a:pt x="1075" y="93"/>
                  <a:pt x="1075" y="93"/>
                  <a:pt x="1075" y="93"/>
                </a:cubicBezTo>
                <a:cubicBezTo>
                  <a:pt x="1076" y="92"/>
                  <a:pt x="1076" y="92"/>
                  <a:pt x="1076" y="92"/>
                </a:cubicBezTo>
                <a:cubicBezTo>
                  <a:pt x="1077" y="91"/>
                  <a:pt x="1077" y="91"/>
                  <a:pt x="1077" y="91"/>
                </a:cubicBezTo>
                <a:cubicBezTo>
                  <a:pt x="1078" y="90"/>
                  <a:pt x="1078" y="90"/>
                  <a:pt x="1078" y="90"/>
                </a:cubicBezTo>
                <a:cubicBezTo>
                  <a:pt x="1079" y="89"/>
                  <a:pt x="1079" y="89"/>
                  <a:pt x="1079" y="89"/>
                </a:cubicBezTo>
                <a:cubicBezTo>
                  <a:pt x="1080" y="88"/>
                  <a:pt x="1080" y="88"/>
                  <a:pt x="1080" y="88"/>
                </a:cubicBezTo>
                <a:cubicBezTo>
                  <a:pt x="1081" y="87"/>
                  <a:pt x="1081" y="87"/>
                  <a:pt x="1081" y="87"/>
                </a:cubicBezTo>
                <a:cubicBezTo>
                  <a:pt x="1082" y="86"/>
                  <a:pt x="1082" y="86"/>
                  <a:pt x="1082" y="86"/>
                </a:cubicBezTo>
                <a:cubicBezTo>
                  <a:pt x="1082" y="85"/>
                  <a:pt x="1082" y="85"/>
                  <a:pt x="1082" y="85"/>
                </a:cubicBezTo>
                <a:cubicBezTo>
                  <a:pt x="1081" y="85"/>
                  <a:pt x="1081" y="85"/>
                  <a:pt x="1081" y="85"/>
                </a:cubicBezTo>
                <a:cubicBezTo>
                  <a:pt x="1081" y="84"/>
                  <a:pt x="1081" y="84"/>
                  <a:pt x="1081" y="84"/>
                </a:cubicBezTo>
                <a:cubicBezTo>
                  <a:pt x="1082" y="82"/>
                  <a:pt x="1082" y="82"/>
                  <a:pt x="1082" y="82"/>
                </a:cubicBezTo>
                <a:cubicBezTo>
                  <a:pt x="1083" y="82"/>
                  <a:pt x="1083" y="82"/>
                  <a:pt x="1083" y="82"/>
                </a:cubicBezTo>
                <a:cubicBezTo>
                  <a:pt x="1085" y="82"/>
                  <a:pt x="1085" y="82"/>
                  <a:pt x="1085" y="82"/>
                </a:cubicBezTo>
                <a:cubicBezTo>
                  <a:pt x="1086" y="82"/>
                  <a:pt x="1086" y="82"/>
                  <a:pt x="1086" y="82"/>
                </a:cubicBezTo>
                <a:cubicBezTo>
                  <a:pt x="1087" y="81"/>
                  <a:pt x="1087" y="81"/>
                  <a:pt x="1087" y="81"/>
                </a:cubicBezTo>
                <a:cubicBezTo>
                  <a:pt x="1086" y="80"/>
                  <a:pt x="1086" y="80"/>
                  <a:pt x="1086" y="80"/>
                </a:cubicBezTo>
                <a:cubicBezTo>
                  <a:pt x="1085" y="80"/>
                  <a:pt x="1085" y="80"/>
                  <a:pt x="1085" y="80"/>
                </a:cubicBezTo>
                <a:cubicBezTo>
                  <a:pt x="1084" y="80"/>
                  <a:pt x="1084" y="80"/>
                  <a:pt x="1084" y="80"/>
                </a:cubicBezTo>
                <a:cubicBezTo>
                  <a:pt x="1084" y="79"/>
                  <a:pt x="1084" y="79"/>
                  <a:pt x="1084" y="79"/>
                </a:cubicBezTo>
                <a:cubicBezTo>
                  <a:pt x="1084" y="78"/>
                  <a:pt x="1084" y="78"/>
                  <a:pt x="1084" y="78"/>
                </a:cubicBezTo>
                <a:cubicBezTo>
                  <a:pt x="1085" y="78"/>
                  <a:pt x="1085" y="78"/>
                  <a:pt x="1085" y="78"/>
                </a:cubicBezTo>
                <a:cubicBezTo>
                  <a:pt x="1087" y="78"/>
                  <a:pt x="1087" y="78"/>
                  <a:pt x="1087" y="78"/>
                </a:cubicBezTo>
                <a:cubicBezTo>
                  <a:pt x="1088" y="77"/>
                  <a:pt x="1088" y="77"/>
                  <a:pt x="1088" y="77"/>
                </a:cubicBezTo>
                <a:cubicBezTo>
                  <a:pt x="1089" y="77"/>
                  <a:pt x="1089" y="77"/>
                  <a:pt x="1089" y="77"/>
                </a:cubicBezTo>
                <a:cubicBezTo>
                  <a:pt x="1090" y="76"/>
                  <a:pt x="1090" y="76"/>
                  <a:pt x="1090" y="76"/>
                </a:cubicBezTo>
                <a:cubicBezTo>
                  <a:pt x="1089" y="76"/>
                  <a:pt x="1089" y="76"/>
                  <a:pt x="1089" y="76"/>
                </a:cubicBezTo>
                <a:cubicBezTo>
                  <a:pt x="1089" y="75"/>
                  <a:pt x="1089" y="75"/>
                  <a:pt x="1089" y="75"/>
                </a:cubicBezTo>
                <a:cubicBezTo>
                  <a:pt x="1088" y="76"/>
                  <a:pt x="1088" y="76"/>
                  <a:pt x="1088" y="76"/>
                </a:cubicBezTo>
                <a:cubicBezTo>
                  <a:pt x="1088" y="77"/>
                  <a:pt x="1088" y="77"/>
                  <a:pt x="1088" y="77"/>
                </a:cubicBezTo>
                <a:cubicBezTo>
                  <a:pt x="1087" y="77"/>
                  <a:pt x="1087" y="77"/>
                  <a:pt x="1087" y="77"/>
                </a:cubicBezTo>
                <a:cubicBezTo>
                  <a:pt x="1085" y="77"/>
                  <a:pt x="1085" y="77"/>
                  <a:pt x="1085" y="77"/>
                </a:cubicBezTo>
                <a:cubicBezTo>
                  <a:pt x="1084" y="77"/>
                  <a:pt x="1084" y="77"/>
                  <a:pt x="1084" y="77"/>
                </a:cubicBezTo>
                <a:cubicBezTo>
                  <a:pt x="1083" y="78"/>
                  <a:pt x="1083" y="78"/>
                  <a:pt x="1083" y="78"/>
                </a:cubicBezTo>
                <a:cubicBezTo>
                  <a:pt x="1082" y="78"/>
                  <a:pt x="1082" y="78"/>
                  <a:pt x="1082" y="78"/>
                </a:cubicBezTo>
                <a:cubicBezTo>
                  <a:pt x="1081" y="77"/>
                  <a:pt x="1081" y="77"/>
                  <a:pt x="1081" y="77"/>
                </a:cubicBezTo>
                <a:cubicBezTo>
                  <a:pt x="1080" y="76"/>
                  <a:pt x="1080" y="76"/>
                  <a:pt x="1080" y="76"/>
                </a:cubicBezTo>
                <a:cubicBezTo>
                  <a:pt x="1079" y="76"/>
                  <a:pt x="1079" y="76"/>
                  <a:pt x="1079" y="76"/>
                </a:cubicBezTo>
                <a:cubicBezTo>
                  <a:pt x="1079" y="77"/>
                  <a:pt x="1079" y="77"/>
                  <a:pt x="1079" y="77"/>
                </a:cubicBezTo>
                <a:cubicBezTo>
                  <a:pt x="1078" y="77"/>
                  <a:pt x="1078" y="77"/>
                  <a:pt x="1078" y="77"/>
                </a:cubicBezTo>
                <a:cubicBezTo>
                  <a:pt x="1078" y="76"/>
                  <a:pt x="1078" y="76"/>
                  <a:pt x="1078" y="76"/>
                </a:cubicBezTo>
                <a:cubicBezTo>
                  <a:pt x="1077" y="76"/>
                  <a:pt x="1077" y="76"/>
                  <a:pt x="1077" y="76"/>
                </a:cubicBezTo>
                <a:cubicBezTo>
                  <a:pt x="1076" y="76"/>
                  <a:pt x="1076" y="76"/>
                  <a:pt x="1076" y="76"/>
                </a:cubicBezTo>
                <a:cubicBezTo>
                  <a:pt x="1076" y="75"/>
                  <a:pt x="1076" y="75"/>
                  <a:pt x="1076" y="75"/>
                </a:cubicBezTo>
                <a:cubicBezTo>
                  <a:pt x="1076" y="74"/>
                  <a:pt x="1076" y="74"/>
                  <a:pt x="1076" y="74"/>
                </a:cubicBezTo>
                <a:cubicBezTo>
                  <a:pt x="1076" y="73"/>
                  <a:pt x="1076" y="73"/>
                  <a:pt x="1076" y="73"/>
                </a:cubicBezTo>
                <a:cubicBezTo>
                  <a:pt x="1077" y="73"/>
                  <a:pt x="1077" y="73"/>
                  <a:pt x="1077" y="73"/>
                </a:cubicBezTo>
                <a:cubicBezTo>
                  <a:pt x="1078" y="72"/>
                  <a:pt x="1078" y="72"/>
                  <a:pt x="1078" y="72"/>
                </a:cubicBezTo>
                <a:cubicBezTo>
                  <a:pt x="1078" y="71"/>
                  <a:pt x="1078" y="71"/>
                  <a:pt x="1078" y="71"/>
                </a:cubicBezTo>
                <a:cubicBezTo>
                  <a:pt x="1079" y="71"/>
                  <a:pt x="1079" y="71"/>
                  <a:pt x="1079" y="71"/>
                </a:cubicBezTo>
                <a:cubicBezTo>
                  <a:pt x="1079" y="70"/>
                  <a:pt x="1079" y="70"/>
                  <a:pt x="1079" y="70"/>
                </a:cubicBezTo>
                <a:cubicBezTo>
                  <a:pt x="1078" y="69"/>
                  <a:pt x="1078" y="69"/>
                  <a:pt x="1078" y="69"/>
                </a:cubicBezTo>
                <a:cubicBezTo>
                  <a:pt x="1079" y="69"/>
                  <a:pt x="1079" y="69"/>
                  <a:pt x="1079" y="69"/>
                </a:cubicBezTo>
                <a:cubicBezTo>
                  <a:pt x="1080" y="68"/>
                  <a:pt x="1080" y="68"/>
                  <a:pt x="1080" y="68"/>
                </a:cubicBezTo>
                <a:cubicBezTo>
                  <a:pt x="1081" y="68"/>
                  <a:pt x="1081" y="68"/>
                  <a:pt x="1081" y="68"/>
                </a:cubicBezTo>
                <a:cubicBezTo>
                  <a:pt x="1081" y="67"/>
                  <a:pt x="1081" y="67"/>
                  <a:pt x="1081" y="67"/>
                </a:cubicBezTo>
                <a:cubicBezTo>
                  <a:pt x="1082" y="67"/>
                  <a:pt x="1082" y="67"/>
                  <a:pt x="1082" y="67"/>
                </a:cubicBezTo>
                <a:cubicBezTo>
                  <a:pt x="1084" y="66"/>
                  <a:pt x="1084" y="66"/>
                  <a:pt x="1084" y="66"/>
                </a:cubicBezTo>
                <a:cubicBezTo>
                  <a:pt x="1084" y="65"/>
                  <a:pt x="1084" y="65"/>
                  <a:pt x="1084" y="65"/>
                </a:cubicBezTo>
                <a:cubicBezTo>
                  <a:pt x="1085" y="65"/>
                  <a:pt x="1085" y="65"/>
                  <a:pt x="1085" y="65"/>
                </a:cubicBezTo>
                <a:cubicBezTo>
                  <a:pt x="1087" y="65"/>
                  <a:pt x="1087" y="65"/>
                  <a:pt x="1087" y="65"/>
                </a:cubicBezTo>
                <a:cubicBezTo>
                  <a:pt x="1088" y="65"/>
                  <a:pt x="1088" y="65"/>
                  <a:pt x="1088" y="65"/>
                </a:cubicBezTo>
                <a:cubicBezTo>
                  <a:pt x="1087" y="64"/>
                  <a:pt x="1087" y="64"/>
                  <a:pt x="1087" y="64"/>
                </a:cubicBezTo>
                <a:cubicBezTo>
                  <a:pt x="1087" y="63"/>
                  <a:pt x="1087" y="63"/>
                  <a:pt x="1087" y="63"/>
                </a:cubicBezTo>
                <a:cubicBezTo>
                  <a:pt x="1089" y="63"/>
                  <a:pt x="1089" y="63"/>
                  <a:pt x="1089" y="63"/>
                </a:cubicBezTo>
                <a:cubicBezTo>
                  <a:pt x="1091" y="62"/>
                  <a:pt x="1091" y="62"/>
                  <a:pt x="1091" y="62"/>
                </a:cubicBezTo>
                <a:cubicBezTo>
                  <a:pt x="1091" y="61"/>
                  <a:pt x="1091" y="61"/>
                  <a:pt x="1091" y="61"/>
                </a:cubicBezTo>
                <a:cubicBezTo>
                  <a:pt x="1091" y="60"/>
                  <a:pt x="1091" y="60"/>
                  <a:pt x="1091" y="60"/>
                </a:cubicBezTo>
                <a:cubicBezTo>
                  <a:pt x="1092" y="59"/>
                  <a:pt x="1092" y="59"/>
                  <a:pt x="1092" y="59"/>
                </a:cubicBezTo>
                <a:cubicBezTo>
                  <a:pt x="1093" y="59"/>
                  <a:pt x="1093" y="59"/>
                  <a:pt x="1093" y="59"/>
                </a:cubicBezTo>
                <a:cubicBezTo>
                  <a:pt x="1094" y="58"/>
                  <a:pt x="1094" y="58"/>
                  <a:pt x="1094" y="58"/>
                </a:cubicBezTo>
                <a:cubicBezTo>
                  <a:pt x="1095" y="58"/>
                  <a:pt x="1095" y="58"/>
                  <a:pt x="1095" y="58"/>
                </a:cubicBezTo>
                <a:cubicBezTo>
                  <a:pt x="1096" y="58"/>
                  <a:pt x="1096" y="58"/>
                  <a:pt x="1096" y="58"/>
                </a:cubicBezTo>
                <a:cubicBezTo>
                  <a:pt x="1096" y="59"/>
                  <a:pt x="1096" y="59"/>
                  <a:pt x="1096" y="59"/>
                </a:cubicBezTo>
                <a:cubicBezTo>
                  <a:pt x="1096" y="61"/>
                  <a:pt x="1096" y="61"/>
                  <a:pt x="1096" y="61"/>
                </a:cubicBezTo>
                <a:cubicBezTo>
                  <a:pt x="1096" y="62"/>
                  <a:pt x="1096" y="62"/>
                  <a:pt x="1096" y="62"/>
                </a:cubicBezTo>
                <a:cubicBezTo>
                  <a:pt x="1096" y="64"/>
                  <a:pt x="1096" y="64"/>
                  <a:pt x="1096" y="64"/>
                </a:cubicBezTo>
                <a:cubicBezTo>
                  <a:pt x="1096" y="66"/>
                  <a:pt x="1096" y="66"/>
                  <a:pt x="1096" y="66"/>
                </a:cubicBezTo>
                <a:cubicBezTo>
                  <a:pt x="1097" y="66"/>
                  <a:pt x="1097" y="66"/>
                  <a:pt x="1097" y="66"/>
                </a:cubicBezTo>
                <a:cubicBezTo>
                  <a:pt x="1097" y="64"/>
                  <a:pt x="1097" y="64"/>
                  <a:pt x="1097" y="64"/>
                </a:cubicBezTo>
                <a:cubicBezTo>
                  <a:pt x="1097" y="62"/>
                  <a:pt x="1097" y="62"/>
                  <a:pt x="1097" y="62"/>
                </a:cubicBezTo>
                <a:cubicBezTo>
                  <a:pt x="1097" y="61"/>
                  <a:pt x="1097" y="61"/>
                  <a:pt x="1097" y="61"/>
                </a:cubicBezTo>
                <a:cubicBezTo>
                  <a:pt x="1097" y="60"/>
                  <a:pt x="1097" y="60"/>
                  <a:pt x="1097" y="60"/>
                </a:cubicBezTo>
                <a:cubicBezTo>
                  <a:pt x="1097" y="58"/>
                  <a:pt x="1097" y="58"/>
                  <a:pt x="1097" y="58"/>
                </a:cubicBezTo>
                <a:cubicBezTo>
                  <a:pt x="1098" y="58"/>
                  <a:pt x="1098" y="58"/>
                  <a:pt x="1098" y="58"/>
                </a:cubicBezTo>
                <a:cubicBezTo>
                  <a:pt x="1099" y="57"/>
                  <a:pt x="1099" y="57"/>
                  <a:pt x="1099" y="57"/>
                </a:cubicBezTo>
                <a:cubicBezTo>
                  <a:pt x="1100" y="57"/>
                  <a:pt x="1100" y="57"/>
                  <a:pt x="1100" y="57"/>
                </a:cubicBezTo>
                <a:cubicBezTo>
                  <a:pt x="1100" y="58"/>
                  <a:pt x="1100" y="58"/>
                  <a:pt x="1100" y="58"/>
                </a:cubicBezTo>
                <a:cubicBezTo>
                  <a:pt x="1101" y="58"/>
                  <a:pt x="1101" y="58"/>
                  <a:pt x="1101" y="58"/>
                </a:cubicBezTo>
                <a:cubicBezTo>
                  <a:pt x="1101" y="59"/>
                  <a:pt x="1101" y="59"/>
                  <a:pt x="1101" y="59"/>
                </a:cubicBezTo>
                <a:cubicBezTo>
                  <a:pt x="1101" y="60"/>
                  <a:pt x="1101" y="60"/>
                  <a:pt x="1101" y="60"/>
                </a:cubicBezTo>
                <a:cubicBezTo>
                  <a:pt x="1102" y="60"/>
                  <a:pt x="1102" y="60"/>
                  <a:pt x="1102" y="60"/>
                </a:cubicBezTo>
                <a:cubicBezTo>
                  <a:pt x="1104" y="60"/>
                  <a:pt x="1104" y="60"/>
                  <a:pt x="1104" y="60"/>
                </a:cubicBezTo>
                <a:cubicBezTo>
                  <a:pt x="1105" y="60"/>
                  <a:pt x="1105" y="60"/>
                  <a:pt x="1105" y="60"/>
                </a:cubicBezTo>
                <a:cubicBezTo>
                  <a:pt x="1106" y="60"/>
                  <a:pt x="1106" y="60"/>
                  <a:pt x="1106" y="60"/>
                </a:cubicBezTo>
                <a:cubicBezTo>
                  <a:pt x="1106" y="59"/>
                  <a:pt x="1106" y="59"/>
                  <a:pt x="1106" y="59"/>
                </a:cubicBezTo>
                <a:cubicBezTo>
                  <a:pt x="1105" y="59"/>
                  <a:pt x="1105" y="59"/>
                  <a:pt x="1105" y="59"/>
                </a:cubicBezTo>
                <a:cubicBezTo>
                  <a:pt x="1106" y="58"/>
                  <a:pt x="1106" y="58"/>
                  <a:pt x="1106" y="58"/>
                </a:cubicBezTo>
                <a:cubicBezTo>
                  <a:pt x="1106" y="57"/>
                  <a:pt x="1106" y="57"/>
                  <a:pt x="1106" y="57"/>
                </a:cubicBezTo>
                <a:cubicBezTo>
                  <a:pt x="1107" y="56"/>
                  <a:pt x="1107" y="56"/>
                  <a:pt x="1107" y="56"/>
                </a:cubicBezTo>
                <a:cubicBezTo>
                  <a:pt x="1108" y="56"/>
                  <a:pt x="1108" y="56"/>
                  <a:pt x="1108" y="56"/>
                </a:cubicBezTo>
                <a:cubicBezTo>
                  <a:pt x="1110" y="55"/>
                  <a:pt x="1110" y="55"/>
                  <a:pt x="1110" y="55"/>
                </a:cubicBezTo>
                <a:cubicBezTo>
                  <a:pt x="1110" y="54"/>
                  <a:pt x="1110" y="54"/>
                  <a:pt x="1110" y="54"/>
                </a:cubicBezTo>
                <a:cubicBezTo>
                  <a:pt x="1110" y="52"/>
                  <a:pt x="1110" y="52"/>
                  <a:pt x="1110" y="52"/>
                </a:cubicBezTo>
                <a:cubicBezTo>
                  <a:pt x="1109" y="52"/>
                  <a:pt x="1109" y="52"/>
                  <a:pt x="1109" y="52"/>
                </a:cubicBezTo>
                <a:cubicBezTo>
                  <a:pt x="1109" y="51"/>
                  <a:pt x="1109" y="51"/>
                  <a:pt x="1109" y="51"/>
                </a:cubicBezTo>
                <a:cubicBezTo>
                  <a:pt x="1110" y="50"/>
                  <a:pt x="1110" y="50"/>
                  <a:pt x="1110" y="50"/>
                </a:cubicBezTo>
                <a:cubicBezTo>
                  <a:pt x="1110" y="48"/>
                  <a:pt x="1110" y="48"/>
                  <a:pt x="1110" y="48"/>
                </a:cubicBezTo>
                <a:cubicBezTo>
                  <a:pt x="1110" y="47"/>
                  <a:pt x="1110" y="47"/>
                  <a:pt x="1110" y="47"/>
                </a:cubicBezTo>
                <a:cubicBezTo>
                  <a:pt x="1110" y="46"/>
                  <a:pt x="1110" y="46"/>
                  <a:pt x="1110" y="46"/>
                </a:cubicBezTo>
                <a:cubicBezTo>
                  <a:pt x="1111" y="45"/>
                  <a:pt x="1111" y="45"/>
                  <a:pt x="1111" y="45"/>
                </a:cubicBezTo>
                <a:cubicBezTo>
                  <a:pt x="1113" y="45"/>
                  <a:pt x="1113" y="45"/>
                  <a:pt x="1113" y="45"/>
                </a:cubicBezTo>
                <a:cubicBezTo>
                  <a:pt x="1114" y="44"/>
                  <a:pt x="1114" y="44"/>
                  <a:pt x="1114" y="44"/>
                </a:cubicBezTo>
                <a:cubicBezTo>
                  <a:pt x="1116" y="44"/>
                  <a:pt x="1116" y="44"/>
                  <a:pt x="1116" y="44"/>
                </a:cubicBezTo>
                <a:cubicBezTo>
                  <a:pt x="1116" y="45"/>
                  <a:pt x="1116" y="45"/>
                  <a:pt x="1116" y="45"/>
                </a:cubicBezTo>
                <a:cubicBezTo>
                  <a:pt x="1116" y="46"/>
                  <a:pt x="1116" y="46"/>
                  <a:pt x="1116" y="46"/>
                </a:cubicBezTo>
                <a:cubicBezTo>
                  <a:pt x="1118" y="47"/>
                  <a:pt x="1118" y="47"/>
                  <a:pt x="1118" y="47"/>
                </a:cubicBezTo>
                <a:cubicBezTo>
                  <a:pt x="1118" y="48"/>
                  <a:pt x="1118" y="48"/>
                  <a:pt x="1118" y="48"/>
                </a:cubicBezTo>
                <a:cubicBezTo>
                  <a:pt x="1118" y="51"/>
                  <a:pt x="1118" y="51"/>
                  <a:pt x="1118" y="51"/>
                </a:cubicBezTo>
                <a:cubicBezTo>
                  <a:pt x="1117" y="53"/>
                  <a:pt x="1117" y="53"/>
                  <a:pt x="1117" y="53"/>
                </a:cubicBezTo>
                <a:cubicBezTo>
                  <a:pt x="1118" y="53"/>
                  <a:pt x="1118" y="53"/>
                  <a:pt x="1118" y="53"/>
                </a:cubicBezTo>
                <a:cubicBezTo>
                  <a:pt x="1120" y="55"/>
                  <a:pt x="1120" y="55"/>
                  <a:pt x="1120" y="55"/>
                </a:cubicBezTo>
                <a:cubicBezTo>
                  <a:pt x="1120" y="56"/>
                  <a:pt x="1120" y="56"/>
                  <a:pt x="1120" y="56"/>
                </a:cubicBezTo>
                <a:cubicBezTo>
                  <a:pt x="1121" y="57"/>
                  <a:pt x="1121" y="57"/>
                  <a:pt x="1121" y="57"/>
                </a:cubicBezTo>
                <a:cubicBezTo>
                  <a:pt x="1121" y="56"/>
                  <a:pt x="1121" y="56"/>
                  <a:pt x="1121" y="56"/>
                </a:cubicBezTo>
                <a:cubicBezTo>
                  <a:pt x="1121" y="54"/>
                  <a:pt x="1121" y="54"/>
                  <a:pt x="1121" y="54"/>
                </a:cubicBezTo>
                <a:cubicBezTo>
                  <a:pt x="1121" y="53"/>
                  <a:pt x="1121" y="53"/>
                  <a:pt x="1121" y="53"/>
                </a:cubicBezTo>
                <a:cubicBezTo>
                  <a:pt x="1119" y="51"/>
                  <a:pt x="1119" y="51"/>
                  <a:pt x="1119" y="51"/>
                </a:cubicBezTo>
                <a:cubicBezTo>
                  <a:pt x="1119" y="49"/>
                  <a:pt x="1119" y="49"/>
                  <a:pt x="1119" y="49"/>
                </a:cubicBezTo>
                <a:cubicBezTo>
                  <a:pt x="1120" y="47"/>
                  <a:pt x="1120" y="47"/>
                  <a:pt x="1120" y="47"/>
                </a:cubicBezTo>
                <a:cubicBezTo>
                  <a:pt x="1120" y="46"/>
                  <a:pt x="1120" y="46"/>
                  <a:pt x="1120" y="46"/>
                </a:cubicBezTo>
                <a:cubicBezTo>
                  <a:pt x="1119" y="45"/>
                  <a:pt x="1119" y="45"/>
                  <a:pt x="1119" y="45"/>
                </a:cubicBezTo>
                <a:cubicBezTo>
                  <a:pt x="1119" y="44"/>
                  <a:pt x="1119" y="44"/>
                  <a:pt x="1119" y="44"/>
                </a:cubicBezTo>
                <a:cubicBezTo>
                  <a:pt x="1119" y="43"/>
                  <a:pt x="1119" y="43"/>
                  <a:pt x="1119" y="43"/>
                </a:cubicBezTo>
                <a:cubicBezTo>
                  <a:pt x="1119" y="42"/>
                  <a:pt x="1119" y="42"/>
                  <a:pt x="1119" y="42"/>
                </a:cubicBezTo>
                <a:cubicBezTo>
                  <a:pt x="1120" y="41"/>
                  <a:pt x="1120" y="41"/>
                  <a:pt x="1120" y="41"/>
                </a:cubicBezTo>
                <a:cubicBezTo>
                  <a:pt x="1121" y="41"/>
                  <a:pt x="1121" y="41"/>
                  <a:pt x="1121" y="41"/>
                </a:cubicBezTo>
                <a:cubicBezTo>
                  <a:pt x="1122" y="42"/>
                  <a:pt x="1122" y="42"/>
                  <a:pt x="1122" y="42"/>
                </a:cubicBezTo>
                <a:cubicBezTo>
                  <a:pt x="1123" y="41"/>
                  <a:pt x="1123" y="41"/>
                  <a:pt x="1123" y="41"/>
                </a:cubicBezTo>
                <a:cubicBezTo>
                  <a:pt x="1124" y="41"/>
                  <a:pt x="1124" y="41"/>
                  <a:pt x="1124" y="41"/>
                </a:cubicBezTo>
                <a:cubicBezTo>
                  <a:pt x="1125" y="42"/>
                  <a:pt x="1125" y="42"/>
                  <a:pt x="1125" y="42"/>
                </a:cubicBezTo>
                <a:cubicBezTo>
                  <a:pt x="1128" y="41"/>
                  <a:pt x="1128" y="41"/>
                  <a:pt x="1128" y="41"/>
                </a:cubicBezTo>
                <a:cubicBezTo>
                  <a:pt x="1130" y="41"/>
                  <a:pt x="1130" y="41"/>
                  <a:pt x="1130" y="41"/>
                </a:cubicBezTo>
                <a:cubicBezTo>
                  <a:pt x="1133" y="40"/>
                  <a:pt x="1133" y="40"/>
                  <a:pt x="1133" y="40"/>
                </a:cubicBezTo>
                <a:cubicBezTo>
                  <a:pt x="1133" y="41"/>
                  <a:pt x="1133" y="41"/>
                  <a:pt x="1133" y="41"/>
                </a:cubicBezTo>
                <a:cubicBezTo>
                  <a:pt x="1134" y="42"/>
                  <a:pt x="1134" y="42"/>
                  <a:pt x="1134" y="42"/>
                </a:cubicBezTo>
                <a:cubicBezTo>
                  <a:pt x="1134" y="43"/>
                  <a:pt x="1134" y="43"/>
                  <a:pt x="1134" y="43"/>
                </a:cubicBezTo>
                <a:cubicBezTo>
                  <a:pt x="1134" y="44"/>
                  <a:pt x="1134" y="44"/>
                  <a:pt x="1134" y="44"/>
                </a:cubicBezTo>
                <a:cubicBezTo>
                  <a:pt x="1135" y="44"/>
                  <a:pt x="1135" y="44"/>
                  <a:pt x="1135" y="44"/>
                </a:cubicBezTo>
                <a:cubicBezTo>
                  <a:pt x="1135" y="43"/>
                  <a:pt x="1135" y="43"/>
                  <a:pt x="1135" y="43"/>
                </a:cubicBezTo>
                <a:cubicBezTo>
                  <a:pt x="1135" y="42"/>
                  <a:pt x="1135" y="42"/>
                  <a:pt x="1135" y="42"/>
                </a:cubicBezTo>
                <a:cubicBezTo>
                  <a:pt x="1135" y="41"/>
                  <a:pt x="1135" y="41"/>
                  <a:pt x="1135" y="41"/>
                </a:cubicBezTo>
                <a:cubicBezTo>
                  <a:pt x="1136" y="39"/>
                  <a:pt x="1136" y="39"/>
                  <a:pt x="1136" y="39"/>
                </a:cubicBezTo>
                <a:cubicBezTo>
                  <a:pt x="1137" y="40"/>
                  <a:pt x="1137" y="40"/>
                  <a:pt x="1137" y="40"/>
                </a:cubicBezTo>
                <a:cubicBezTo>
                  <a:pt x="1138" y="41"/>
                  <a:pt x="1138" y="41"/>
                  <a:pt x="1138" y="41"/>
                </a:cubicBezTo>
                <a:cubicBezTo>
                  <a:pt x="1138" y="42"/>
                  <a:pt x="1138" y="42"/>
                  <a:pt x="1138" y="42"/>
                </a:cubicBezTo>
                <a:cubicBezTo>
                  <a:pt x="1139" y="43"/>
                  <a:pt x="1139" y="43"/>
                  <a:pt x="1139" y="43"/>
                </a:cubicBezTo>
                <a:cubicBezTo>
                  <a:pt x="1139" y="42"/>
                  <a:pt x="1139" y="42"/>
                  <a:pt x="1139" y="42"/>
                </a:cubicBezTo>
                <a:cubicBezTo>
                  <a:pt x="1139" y="40"/>
                  <a:pt x="1139" y="40"/>
                  <a:pt x="1139" y="40"/>
                </a:cubicBezTo>
                <a:cubicBezTo>
                  <a:pt x="1138" y="39"/>
                  <a:pt x="1138" y="39"/>
                  <a:pt x="1138" y="39"/>
                </a:cubicBezTo>
                <a:cubicBezTo>
                  <a:pt x="1138" y="38"/>
                  <a:pt x="1138" y="38"/>
                  <a:pt x="1138" y="38"/>
                </a:cubicBezTo>
                <a:cubicBezTo>
                  <a:pt x="1139" y="38"/>
                  <a:pt x="1139" y="38"/>
                  <a:pt x="1139" y="38"/>
                </a:cubicBezTo>
                <a:cubicBezTo>
                  <a:pt x="1140" y="38"/>
                  <a:pt x="1140" y="38"/>
                  <a:pt x="1140" y="38"/>
                </a:cubicBezTo>
                <a:cubicBezTo>
                  <a:pt x="1141" y="39"/>
                  <a:pt x="1141" y="39"/>
                  <a:pt x="1141" y="39"/>
                </a:cubicBezTo>
                <a:cubicBezTo>
                  <a:pt x="1142" y="38"/>
                  <a:pt x="1142" y="38"/>
                  <a:pt x="1142" y="38"/>
                </a:cubicBezTo>
                <a:cubicBezTo>
                  <a:pt x="1143" y="38"/>
                  <a:pt x="1143" y="38"/>
                  <a:pt x="1143" y="38"/>
                </a:cubicBezTo>
                <a:cubicBezTo>
                  <a:pt x="1145" y="38"/>
                  <a:pt x="1145" y="38"/>
                  <a:pt x="1145" y="38"/>
                </a:cubicBezTo>
                <a:cubicBezTo>
                  <a:pt x="1145" y="39"/>
                  <a:pt x="1145" y="39"/>
                  <a:pt x="1145" y="39"/>
                </a:cubicBezTo>
                <a:cubicBezTo>
                  <a:pt x="1145" y="42"/>
                  <a:pt x="1145" y="42"/>
                  <a:pt x="1145" y="42"/>
                </a:cubicBezTo>
                <a:cubicBezTo>
                  <a:pt x="1144" y="43"/>
                  <a:pt x="1144" y="43"/>
                  <a:pt x="1144" y="43"/>
                </a:cubicBezTo>
                <a:cubicBezTo>
                  <a:pt x="1144" y="44"/>
                  <a:pt x="1144" y="44"/>
                  <a:pt x="1144" y="44"/>
                </a:cubicBezTo>
                <a:cubicBezTo>
                  <a:pt x="1143" y="46"/>
                  <a:pt x="1143" y="46"/>
                  <a:pt x="1143" y="46"/>
                </a:cubicBezTo>
                <a:cubicBezTo>
                  <a:pt x="1143" y="48"/>
                  <a:pt x="1143" y="48"/>
                  <a:pt x="1143" y="48"/>
                </a:cubicBezTo>
                <a:cubicBezTo>
                  <a:pt x="1142" y="49"/>
                  <a:pt x="1142" y="49"/>
                  <a:pt x="1142" y="49"/>
                </a:cubicBezTo>
                <a:cubicBezTo>
                  <a:pt x="1142" y="50"/>
                  <a:pt x="1142" y="50"/>
                  <a:pt x="1142" y="50"/>
                </a:cubicBezTo>
                <a:cubicBezTo>
                  <a:pt x="1141" y="50"/>
                  <a:pt x="1141" y="50"/>
                  <a:pt x="1141" y="50"/>
                </a:cubicBezTo>
                <a:cubicBezTo>
                  <a:pt x="1142" y="51"/>
                  <a:pt x="1142" y="51"/>
                  <a:pt x="1142" y="51"/>
                </a:cubicBezTo>
                <a:cubicBezTo>
                  <a:pt x="1142" y="52"/>
                  <a:pt x="1142" y="52"/>
                  <a:pt x="1142" y="52"/>
                </a:cubicBezTo>
                <a:cubicBezTo>
                  <a:pt x="1141" y="53"/>
                  <a:pt x="1141" y="53"/>
                  <a:pt x="1141" y="53"/>
                </a:cubicBezTo>
                <a:cubicBezTo>
                  <a:pt x="1140" y="55"/>
                  <a:pt x="1140" y="55"/>
                  <a:pt x="1140" y="55"/>
                </a:cubicBezTo>
                <a:cubicBezTo>
                  <a:pt x="1139" y="55"/>
                  <a:pt x="1139" y="55"/>
                  <a:pt x="1139" y="55"/>
                </a:cubicBezTo>
                <a:cubicBezTo>
                  <a:pt x="1139" y="56"/>
                  <a:pt x="1139" y="56"/>
                  <a:pt x="1139" y="56"/>
                </a:cubicBezTo>
                <a:cubicBezTo>
                  <a:pt x="1138" y="57"/>
                  <a:pt x="1138" y="57"/>
                  <a:pt x="1138" y="57"/>
                </a:cubicBezTo>
                <a:cubicBezTo>
                  <a:pt x="1138" y="58"/>
                  <a:pt x="1138" y="58"/>
                  <a:pt x="1138" y="58"/>
                </a:cubicBezTo>
                <a:cubicBezTo>
                  <a:pt x="1137" y="60"/>
                  <a:pt x="1137" y="60"/>
                  <a:pt x="1137" y="60"/>
                </a:cubicBezTo>
                <a:cubicBezTo>
                  <a:pt x="1138" y="60"/>
                  <a:pt x="1138" y="60"/>
                  <a:pt x="1138" y="60"/>
                </a:cubicBezTo>
                <a:cubicBezTo>
                  <a:pt x="1139" y="59"/>
                  <a:pt x="1139" y="59"/>
                  <a:pt x="1139" y="59"/>
                </a:cubicBezTo>
                <a:cubicBezTo>
                  <a:pt x="1140" y="58"/>
                  <a:pt x="1140" y="58"/>
                  <a:pt x="1140" y="58"/>
                </a:cubicBezTo>
                <a:cubicBezTo>
                  <a:pt x="1140" y="57"/>
                  <a:pt x="1140" y="57"/>
                  <a:pt x="1140" y="57"/>
                </a:cubicBezTo>
                <a:cubicBezTo>
                  <a:pt x="1141" y="56"/>
                  <a:pt x="1141" y="56"/>
                  <a:pt x="1141" y="56"/>
                </a:cubicBezTo>
                <a:cubicBezTo>
                  <a:pt x="1142" y="55"/>
                  <a:pt x="1142" y="55"/>
                  <a:pt x="1142" y="55"/>
                </a:cubicBezTo>
                <a:cubicBezTo>
                  <a:pt x="1142" y="54"/>
                  <a:pt x="1142" y="54"/>
                  <a:pt x="1142" y="54"/>
                </a:cubicBezTo>
                <a:cubicBezTo>
                  <a:pt x="1143" y="53"/>
                  <a:pt x="1143" y="53"/>
                  <a:pt x="1143" y="53"/>
                </a:cubicBezTo>
                <a:cubicBezTo>
                  <a:pt x="1144" y="53"/>
                  <a:pt x="1144" y="53"/>
                  <a:pt x="1144" y="53"/>
                </a:cubicBezTo>
                <a:cubicBezTo>
                  <a:pt x="1144" y="52"/>
                  <a:pt x="1144" y="52"/>
                  <a:pt x="1144" y="52"/>
                </a:cubicBezTo>
                <a:cubicBezTo>
                  <a:pt x="1144" y="51"/>
                  <a:pt x="1144" y="51"/>
                  <a:pt x="1144" y="51"/>
                </a:cubicBezTo>
                <a:cubicBezTo>
                  <a:pt x="1145" y="51"/>
                  <a:pt x="1145" y="51"/>
                  <a:pt x="1145" y="51"/>
                </a:cubicBezTo>
                <a:cubicBezTo>
                  <a:pt x="1145" y="49"/>
                  <a:pt x="1145" y="49"/>
                  <a:pt x="1145" y="49"/>
                </a:cubicBezTo>
                <a:cubicBezTo>
                  <a:pt x="1146" y="49"/>
                  <a:pt x="1146" y="49"/>
                  <a:pt x="1146" y="49"/>
                </a:cubicBezTo>
                <a:cubicBezTo>
                  <a:pt x="1146" y="50"/>
                  <a:pt x="1146" y="50"/>
                  <a:pt x="1146" y="50"/>
                </a:cubicBezTo>
                <a:cubicBezTo>
                  <a:pt x="1146" y="51"/>
                  <a:pt x="1146" y="51"/>
                  <a:pt x="1146" y="51"/>
                </a:cubicBezTo>
                <a:cubicBezTo>
                  <a:pt x="1147" y="51"/>
                  <a:pt x="1147" y="51"/>
                  <a:pt x="1147" y="51"/>
                </a:cubicBezTo>
                <a:cubicBezTo>
                  <a:pt x="1147" y="52"/>
                  <a:pt x="1147" y="52"/>
                  <a:pt x="1147" y="52"/>
                </a:cubicBezTo>
                <a:cubicBezTo>
                  <a:pt x="1148" y="54"/>
                  <a:pt x="1148" y="54"/>
                  <a:pt x="1148" y="54"/>
                </a:cubicBezTo>
                <a:cubicBezTo>
                  <a:pt x="1149" y="55"/>
                  <a:pt x="1149" y="55"/>
                  <a:pt x="1149" y="55"/>
                </a:cubicBezTo>
                <a:cubicBezTo>
                  <a:pt x="1149" y="57"/>
                  <a:pt x="1149" y="57"/>
                  <a:pt x="1149" y="57"/>
                </a:cubicBezTo>
                <a:cubicBezTo>
                  <a:pt x="1150" y="57"/>
                  <a:pt x="1150" y="57"/>
                  <a:pt x="1150" y="57"/>
                </a:cubicBezTo>
                <a:cubicBezTo>
                  <a:pt x="1151" y="58"/>
                  <a:pt x="1151" y="58"/>
                  <a:pt x="1151" y="58"/>
                </a:cubicBezTo>
                <a:cubicBezTo>
                  <a:pt x="1151" y="57"/>
                  <a:pt x="1151" y="57"/>
                  <a:pt x="1151" y="57"/>
                </a:cubicBezTo>
                <a:cubicBezTo>
                  <a:pt x="1152" y="57"/>
                  <a:pt x="1152" y="57"/>
                  <a:pt x="1152" y="57"/>
                </a:cubicBezTo>
                <a:cubicBezTo>
                  <a:pt x="1152" y="56"/>
                  <a:pt x="1152" y="56"/>
                  <a:pt x="1152" y="56"/>
                </a:cubicBezTo>
                <a:cubicBezTo>
                  <a:pt x="1151" y="55"/>
                  <a:pt x="1151" y="55"/>
                  <a:pt x="1151" y="55"/>
                </a:cubicBezTo>
                <a:cubicBezTo>
                  <a:pt x="1151" y="54"/>
                  <a:pt x="1151" y="54"/>
                  <a:pt x="1151" y="54"/>
                </a:cubicBezTo>
                <a:cubicBezTo>
                  <a:pt x="1152" y="55"/>
                  <a:pt x="1152" y="55"/>
                  <a:pt x="1152" y="55"/>
                </a:cubicBezTo>
                <a:cubicBezTo>
                  <a:pt x="1153" y="55"/>
                  <a:pt x="1153" y="55"/>
                  <a:pt x="1153" y="55"/>
                </a:cubicBezTo>
                <a:cubicBezTo>
                  <a:pt x="1154" y="55"/>
                  <a:pt x="1154" y="55"/>
                  <a:pt x="1154" y="55"/>
                </a:cubicBezTo>
                <a:cubicBezTo>
                  <a:pt x="1154" y="56"/>
                  <a:pt x="1154" y="56"/>
                  <a:pt x="1154" y="56"/>
                </a:cubicBezTo>
                <a:cubicBezTo>
                  <a:pt x="1155" y="56"/>
                  <a:pt x="1155" y="56"/>
                  <a:pt x="1155" y="56"/>
                </a:cubicBezTo>
                <a:cubicBezTo>
                  <a:pt x="1156" y="56"/>
                  <a:pt x="1156" y="56"/>
                  <a:pt x="1156" y="56"/>
                </a:cubicBezTo>
                <a:cubicBezTo>
                  <a:pt x="1157" y="56"/>
                  <a:pt x="1157" y="56"/>
                  <a:pt x="1157" y="56"/>
                </a:cubicBezTo>
                <a:cubicBezTo>
                  <a:pt x="1157" y="54"/>
                  <a:pt x="1157" y="54"/>
                  <a:pt x="1157" y="54"/>
                </a:cubicBezTo>
                <a:cubicBezTo>
                  <a:pt x="1157" y="53"/>
                  <a:pt x="1157" y="53"/>
                  <a:pt x="1157" y="53"/>
                </a:cubicBezTo>
                <a:cubicBezTo>
                  <a:pt x="1157" y="51"/>
                  <a:pt x="1157" y="51"/>
                  <a:pt x="1157" y="51"/>
                </a:cubicBezTo>
                <a:cubicBezTo>
                  <a:pt x="1158" y="49"/>
                  <a:pt x="1158" y="49"/>
                  <a:pt x="1158" y="49"/>
                </a:cubicBezTo>
                <a:cubicBezTo>
                  <a:pt x="1157" y="49"/>
                  <a:pt x="1157" y="49"/>
                  <a:pt x="1157" y="49"/>
                </a:cubicBezTo>
                <a:cubicBezTo>
                  <a:pt x="1157" y="47"/>
                  <a:pt x="1157" y="47"/>
                  <a:pt x="1157" y="47"/>
                </a:cubicBezTo>
                <a:cubicBezTo>
                  <a:pt x="1157" y="45"/>
                  <a:pt x="1157" y="45"/>
                  <a:pt x="1157" y="45"/>
                </a:cubicBezTo>
                <a:cubicBezTo>
                  <a:pt x="1158" y="43"/>
                  <a:pt x="1158" y="43"/>
                  <a:pt x="1158" y="43"/>
                </a:cubicBezTo>
                <a:cubicBezTo>
                  <a:pt x="1158" y="42"/>
                  <a:pt x="1158" y="42"/>
                  <a:pt x="1158" y="42"/>
                </a:cubicBezTo>
                <a:cubicBezTo>
                  <a:pt x="1158" y="41"/>
                  <a:pt x="1158" y="41"/>
                  <a:pt x="1158" y="41"/>
                </a:cubicBezTo>
                <a:cubicBezTo>
                  <a:pt x="1158" y="40"/>
                  <a:pt x="1158" y="40"/>
                  <a:pt x="1158" y="40"/>
                </a:cubicBezTo>
                <a:cubicBezTo>
                  <a:pt x="1158" y="39"/>
                  <a:pt x="1158" y="39"/>
                  <a:pt x="1158" y="39"/>
                </a:cubicBezTo>
                <a:cubicBezTo>
                  <a:pt x="1160" y="39"/>
                  <a:pt x="1160" y="39"/>
                  <a:pt x="1160" y="39"/>
                </a:cubicBezTo>
                <a:cubicBezTo>
                  <a:pt x="1161" y="39"/>
                  <a:pt x="1161" y="39"/>
                  <a:pt x="1161" y="39"/>
                </a:cubicBezTo>
                <a:cubicBezTo>
                  <a:pt x="1162" y="40"/>
                  <a:pt x="1162" y="40"/>
                  <a:pt x="1162" y="40"/>
                </a:cubicBezTo>
                <a:cubicBezTo>
                  <a:pt x="1162" y="41"/>
                  <a:pt x="1162" y="41"/>
                  <a:pt x="1162" y="41"/>
                </a:cubicBezTo>
                <a:cubicBezTo>
                  <a:pt x="1163" y="41"/>
                  <a:pt x="1163" y="41"/>
                  <a:pt x="1163" y="41"/>
                </a:cubicBezTo>
                <a:cubicBezTo>
                  <a:pt x="1164" y="42"/>
                  <a:pt x="1164" y="42"/>
                  <a:pt x="1164" y="42"/>
                </a:cubicBezTo>
                <a:cubicBezTo>
                  <a:pt x="1165" y="45"/>
                  <a:pt x="1165" y="45"/>
                  <a:pt x="1165" y="45"/>
                </a:cubicBezTo>
                <a:cubicBezTo>
                  <a:pt x="1165" y="46"/>
                  <a:pt x="1165" y="46"/>
                  <a:pt x="1165" y="46"/>
                </a:cubicBezTo>
                <a:cubicBezTo>
                  <a:pt x="1166" y="48"/>
                  <a:pt x="1166" y="48"/>
                  <a:pt x="1166" y="48"/>
                </a:cubicBezTo>
                <a:cubicBezTo>
                  <a:pt x="1167" y="49"/>
                  <a:pt x="1167" y="49"/>
                  <a:pt x="1167" y="49"/>
                </a:cubicBezTo>
                <a:cubicBezTo>
                  <a:pt x="1167" y="52"/>
                  <a:pt x="1167" y="52"/>
                  <a:pt x="1167" y="52"/>
                </a:cubicBezTo>
                <a:cubicBezTo>
                  <a:pt x="1167" y="53"/>
                  <a:pt x="1167" y="53"/>
                  <a:pt x="1167" y="53"/>
                </a:cubicBezTo>
                <a:cubicBezTo>
                  <a:pt x="1166" y="53"/>
                  <a:pt x="1166" y="53"/>
                  <a:pt x="1166" y="53"/>
                </a:cubicBezTo>
                <a:cubicBezTo>
                  <a:pt x="1166" y="54"/>
                  <a:pt x="1166" y="54"/>
                  <a:pt x="1166" y="54"/>
                </a:cubicBezTo>
                <a:cubicBezTo>
                  <a:pt x="1166" y="56"/>
                  <a:pt x="1166" y="56"/>
                  <a:pt x="1166" y="56"/>
                </a:cubicBezTo>
                <a:cubicBezTo>
                  <a:pt x="1167" y="56"/>
                  <a:pt x="1167" y="56"/>
                  <a:pt x="1167" y="56"/>
                </a:cubicBezTo>
                <a:cubicBezTo>
                  <a:pt x="1168" y="58"/>
                  <a:pt x="1168" y="58"/>
                  <a:pt x="1168" y="58"/>
                </a:cubicBezTo>
                <a:cubicBezTo>
                  <a:pt x="1168" y="60"/>
                  <a:pt x="1168" y="60"/>
                  <a:pt x="1168" y="60"/>
                </a:cubicBezTo>
                <a:cubicBezTo>
                  <a:pt x="1168" y="61"/>
                  <a:pt x="1168" y="61"/>
                  <a:pt x="1168" y="61"/>
                </a:cubicBezTo>
                <a:cubicBezTo>
                  <a:pt x="1168" y="62"/>
                  <a:pt x="1168" y="62"/>
                  <a:pt x="1168" y="62"/>
                </a:cubicBezTo>
                <a:cubicBezTo>
                  <a:pt x="1169" y="62"/>
                  <a:pt x="1169" y="62"/>
                  <a:pt x="1169" y="62"/>
                </a:cubicBezTo>
                <a:cubicBezTo>
                  <a:pt x="1171" y="63"/>
                  <a:pt x="1171" y="63"/>
                  <a:pt x="1171" y="63"/>
                </a:cubicBezTo>
                <a:cubicBezTo>
                  <a:pt x="1172" y="63"/>
                  <a:pt x="1172" y="63"/>
                  <a:pt x="1172" y="63"/>
                </a:cubicBezTo>
                <a:cubicBezTo>
                  <a:pt x="1173" y="62"/>
                  <a:pt x="1173" y="62"/>
                  <a:pt x="1173" y="62"/>
                </a:cubicBezTo>
                <a:cubicBezTo>
                  <a:pt x="1174" y="61"/>
                  <a:pt x="1174" y="61"/>
                  <a:pt x="1174" y="61"/>
                </a:cubicBezTo>
                <a:cubicBezTo>
                  <a:pt x="1174" y="60"/>
                  <a:pt x="1174" y="60"/>
                  <a:pt x="1174" y="60"/>
                </a:cubicBezTo>
                <a:cubicBezTo>
                  <a:pt x="1175" y="60"/>
                  <a:pt x="1175" y="60"/>
                  <a:pt x="1175" y="60"/>
                </a:cubicBezTo>
                <a:cubicBezTo>
                  <a:pt x="1175" y="61"/>
                  <a:pt x="1175" y="61"/>
                  <a:pt x="1175" y="61"/>
                </a:cubicBezTo>
                <a:cubicBezTo>
                  <a:pt x="1175" y="62"/>
                  <a:pt x="1175" y="62"/>
                  <a:pt x="1175" y="62"/>
                </a:cubicBezTo>
                <a:cubicBezTo>
                  <a:pt x="1176" y="61"/>
                  <a:pt x="1176" y="61"/>
                  <a:pt x="1176" y="61"/>
                </a:cubicBezTo>
                <a:cubicBezTo>
                  <a:pt x="1177" y="62"/>
                  <a:pt x="1177" y="62"/>
                  <a:pt x="1177" y="62"/>
                </a:cubicBezTo>
                <a:cubicBezTo>
                  <a:pt x="1177" y="63"/>
                  <a:pt x="1177" y="63"/>
                  <a:pt x="1177" y="63"/>
                </a:cubicBezTo>
                <a:cubicBezTo>
                  <a:pt x="1178" y="64"/>
                  <a:pt x="1178" y="64"/>
                  <a:pt x="1178" y="64"/>
                </a:cubicBezTo>
                <a:cubicBezTo>
                  <a:pt x="1179" y="64"/>
                  <a:pt x="1179" y="64"/>
                  <a:pt x="1179" y="64"/>
                </a:cubicBezTo>
                <a:cubicBezTo>
                  <a:pt x="1180" y="64"/>
                  <a:pt x="1180" y="64"/>
                  <a:pt x="1180" y="64"/>
                </a:cubicBezTo>
                <a:cubicBezTo>
                  <a:pt x="1179" y="63"/>
                  <a:pt x="1179" y="63"/>
                  <a:pt x="1179" y="63"/>
                </a:cubicBezTo>
                <a:cubicBezTo>
                  <a:pt x="1179" y="62"/>
                  <a:pt x="1179" y="62"/>
                  <a:pt x="1179" y="62"/>
                </a:cubicBezTo>
                <a:cubicBezTo>
                  <a:pt x="1179" y="61"/>
                  <a:pt x="1179" y="61"/>
                  <a:pt x="1179" y="61"/>
                </a:cubicBezTo>
                <a:cubicBezTo>
                  <a:pt x="1178" y="61"/>
                  <a:pt x="1178" y="61"/>
                  <a:pt x="1178" y="61"/>
                </a:cubicBezTo>
                <a:cubicBezTo>
                  <a:pt x="1178" y="60"/>
                  <a:pt x="1178" y="60"/>
                  <a:pt x="1178" y="60"/>
                </a:cubicBezTo>
                <a:cubicBezTo>
                  <a:pt x="1177" y="59"/>
                  <a:pt x="1177" y="59"/>
                  <a:pt x="1177" y="59"/>
                </a:cubicBezTo>
                <a:cubicBezTo>
                  <a:pt x="1176" y="58"/>
                  <a:pt x="1176" y="58"/>
                  <a:pt x="1176" y="58"/>
                </a:cubicBezTo>
                <a:cubicBezTo>
                  <a:pt x="1176" y="57"/>
                  <a:pt x="1176" y="57"/>
                  <a:pt x="1176" y="57"/>
                </a:cubicBezTo>
                <a:cubicBezTo>
                  <a:pt x="1175" y="55"/>
                  <a:pt x="1175" y="55"/>
                  <a:pt x="1175" y="55"/>
                </a:cubicBezTo>
                <a:cubicBezTo>
                  <a:pt x="1175" y="54"/>
                  <a:pt x="1175" y="54"/>
                  <a:pt x="1175" y="54"/>
                </a:cubicBezTo>
                <a:cubicBezTo>
                  <a:pt x="1175" y="52"/>
                  <a:pt x="1175" y="52"/>
                  <a:pt x="1175" y="52"/>
                </a:cubicBezTo>
                <a:cubicBezTo>
                  <a:pt x="1175" y="51"/>
                  <a:pt x="1175" y="51"/>
                  <a:pt x="1175" y="51"/>
                </a:cubicBezTo>
                <a:cubicBezTo>
                  <a:pt x="1174" y="49"/>
                  <a:pt x="1174" y="49"/>
                  <a:pt x="1174" y="49"/>
                </a:cubicBezTo>
                <a:cubicBezTo>
                  <a:pt x="1174" y="48"/>
                  <a:pt x="1174" y="48"/>
                  <a:pt x="1174" y="48"/>
                </a:cubicBezTo>
                <a:cubicBezTo>
                  <a:pt x="1174" y="46"/>
                  <a:pt x="1174" y="46"/>
                  <a:pt x="1174" y="46"/>
                </a:cubicBezTo>
                <a:cubicBezTo>
                  <a:pt x="1173" y="45"/>
                  <a:pt x="1173" y="45"/>
                  <a:pt x="1173" y="45"/>
                </a:cubicBezTo>
                <a:cubicBezTo>
                  <a:pt x="1173" y="44"/>
                  <a:pt x="1173" y="44"/>
                  <a:pt x="1173" y="44"/>
                </a:cubicBezTo>
                <a:cubicBezTo>
                  <a:pt x="1173" y="42"/>
                  <a:pt x="1173" y="42"/>
                  <a:pt x="1173" y="42"/>
                </a:cubicBezTo>
                <a:cubicBezTo>
                  <a:pt x="1172" y="41"/>
                  <a:pt x="1172" y="41"/>
                  <a:pt x="1172" y="41"/>
                </a:cubicBezTo>
                <a:cubicBezTo>
                  <a:pt x="1173" y="40"/>
                  <a:pt x="1173" y="40"/>
                  <a:pt x="1173" y="40"/>
                </a:cubicBezTo>
                <a:cubicBezTo>
                  <a:pt x="1172" y="39"/>
                  <a:pt x="1172" y="39"/>
                  <a:pt x="1172" y="39"/>
                </a:cubicBezTo>
                <a:cubicBezTo>
                  <a:pt x="1172" y="38"/>
                  <a:pt x="1172" y="38"/>
                  <a:pt x="1172" y="38"/>
                </a:cubicBezTo>
                <a:cubicBezTo>
                  <a:pt x="1172" y="37"/>
                  <a:pt x="1172" y="37"/>
                  <a:pt x="1172" y="37"/>
                </a:cubicBezTo>
                <a:cubicBezTo>
                  <a:pt x="1174" y="38"/>
                  <a:pt x="1174" y="38"/>
                  <a:pt x="1174" y="38"/>
                </a:cubicBezTo>
                <a:cubicBezTo>
                  <a:pt x="1175" y="38"/>
                  <a:pt x="1175" y="38"/>
                  <a:pt x="1175" y="38"/>
                </a:cubicBezTo>
                <a:cubicBezTo>
                  <a:pt x="1176" y="38"/>
                  <a:pt x="1176" y="38"/>
                  <a:pt x="1176" y="38"/>
                </a:cubicBezTo>
                <a:cubicBezTo>
                  <a:pt x="1177" y="38"/>
                  <a:pt x="1177" y="38"/>
                  <a:pt x="1177" y="38"/>
                </a:cubicBezTo>
                <a:cubicBezTo>
                  <a:pt x="1179" y="40"/>
                  <a:pt x="1179" y="40"/>
                  <a:pt x="1179" y="40"/>
                </a:cubicBezTo>
                <a:cubicBezTo>
                  <a:pt x="1180" y="41"/>
                  <a:pt x="1180" y="41"/>
                  <a:pt x="1180" y="41"/>
                </a:cubicBezTo>
                <a:cubicBezTo>
                  <a:pt x="1181" y="40"/>
                  <a:pt x="1181" y="40"/>
                  <a:pt x="1181" y="40"/>
                </a:cubicBezTo>
                <a:cubicBezTo>
                  <a:pt x="1181" y="39"/>
                  <a:pt x="1181" y="39"/>
                  <a:pt x="1181" y="39"/>
                </a:cubicBezTo>
                <a:cubicBezTo>
                  <a:pt x="1180" y="39"/>
                  <a:pt x="1180" y="39"/>
                  <a:pt x="1180" y="39"/>
                </a:cubicBezTo>
                <a:cubicBezTo>
                  <a:pt x="1181" y="37"/>
                  <a:pt x="1181" y="37"/>
                  <a:pt x="1181" y="37"/>
                </a:cubicBezTo>
                <a:cubicBezTo>
                  <a:pt x="1182" y="37"/>
                  <a:pt x="1182" y="37"/>
                  <a:pt x="1182" y="37"/>
                </a:cubicBezTo>
                <a:cubicBezTo>
                  <a:pt x="1183" y="37"/>
                  <a:pt x="1183" y="37"/>
                  <a:pt x="1183" y="37"/>
                </a:cubicBezTo>
                <a:cubicBezTo>
                  <a:pt x="1184" y="37"/>
                  <a:pt x="1184" y="37"/>
                  <a:pt x="1184" y="37"/>
                </a:cubicBezTo>
                <a:cubicBezTo>
                  <a:pt x="1185" y="36"/>
                  <a:pt x="1185" y="36"/>
                  <a:pt x="1185" y="36"/>
                </a:cubicBezTo>
                <a:cubicBezTo>
                  <a:pt x="1184" y="35"/>
                  <a:pt x="1184" y="35"/>
                  <a:pt x="1184" y="35"/>
                </a:cubicBezTo>
                <a:cubicBezTo>
                  <a:pt x="1184" y="33"/>
                  <a:pt x="1184" y="33"/>
                  <a:pt x="1184" y="33"/>
                </a:cubicBezTo>
                <a:cubicBezTo>
                  <a:pt x="1185" y="32"/>
                  <a:pt x="1185" y="32"/>
                  <a:pt x="1185" y="32"/>
                </a:cubicBezTo>
                <a:cubicBezTo>
                  <a:pt x="1186" y="32"/>
                  <a:pt x="1186" y="32"/>
                  <a:pt x="1186" y="32"/>
                </a:cubicBezTo>
                <a:cubicBezTo>
                  <a:pt x="1186" y="31"/>
                  <a:pt x="1186" y="31"/>
                  <a:pt x="1186" y="31"/>
                </a:cubicBezTo>
                <a:cubicBezTo>
                  <a:pt x="1184" y="30"/>
                  <a:pt x="1184" y="30"/>
                  <a:pt x="1184" y="30"/>
                </a:cubicBezTo>
                <a:cubicBezTo>
                  <a:pt x="1184" y="29"/>
                  <a:pt x="1184" y="29"/>
                  <a:pt x="1184" y="29"/>
                </a:cubicBezTo>
                <a:cubicBezTo>
                  <a:pt x="1184" y="28"/>
                  <a:pt x="1184" y="28"/>
                  <a:pt x="1184" y="28"/>
                </a:cubicBezTo>
                <a:cubicBezTo>
                  <a:pt x="1184" y="27"/>
                  <a:pt x="1184" y="27"/>
                  <a:pt x="1184" y="27"/>
                </a:cubicBezTo>
                <a:cubicBezTo>
                  <a:pt x="1185" y="27"/>
                  <a:pt x="1185" y="27"/>
                  <a:pt x="1185" y="27"/>
                </a:cubicBezTo>
                <a:cubicBezTo>
                  <a:pt x="1186" y="28"/>
                  <a:pt x="1186" y="28"/>
                  <a:pt x="1186" y="28"/>
                </a:cubicBezTo>
                <a:cubicBezTo>
                  <a:pt x="1186" y="29"/>
                  <a:pt x="1186" y="29"/>
                  <a:pt x="1186" y="29"/>
                </a:cubicBezTo>
                <a:cubicBezTo>
                  <a:pt x="1187" y="29"/>
                  <a:pt x="1187" y="29"/>
                  <a:pt x="1187" y="29"/>
                </a:cubicBezTo>
                <a:cubicBezTo>
                  <a:pt x="1188" y="27"/>
                  <a:pt x="1188" y="27"/>
                  <a:pt x="1188" y="27"/>
                </a:cubicBezTo>
                <a:cubicBezTo>
                  <a:pt x="1189" y="27"/>
                  <a:pt x="1189" y="27"/>
                  <a:pt x="1189" y="27"/>
                </a:cubicBezTo>
                <a:cubicBezTo>
                  <a:pt x="1190" y="26"/>
                  <a:pt x="1190" y="26"/>
                  <a:pt x="1190" y="26"/>
                </a:cubicBezTo>
                <a:cubicBezTo>
                  <a:pt x="1190" y="25"/>
                  <a:pt x="1190" y="25"/>
                  <a:pt x="1190" y="25"/>
                </a:cubicBezTo>
                <a:cubicBezTo>
                  <a:pt x="1191" y="24"/>
                  <a:pt x="1191" y="24"/>
                  <a:pt x="1191" y="24"/>
                </a:cubicBezTo>
                <a:cubicBezTo>
                  <a:pt x="1193" y="24"/>
                  <a:pt x="1193" y="24"/>
                  <a:pt x="1193" y="24"/>
                </a:cubicBezTo>
                <a:cubicBezTo>
                  <a:pt x="1192" y="25"/>
                  <a:pt x="1192" y="25"/>
                  <a:pt x="1192" y="25"/>
                </a:cubicBezTo>
                <a:cubicBezTo>
                  <a:pt x="1191" y="26"/>
                  <a:pt x="1191" y="26"/>
                  <a:pt x="1191" y="26"/>
                </a:cubicBezTo>
                <a:cubicBezTo>
                  <a:pt x="1192" y="26"/>
                  <a:pt x="1192" y="26"/>
                  <a:pt x="1192" y="26"/>
                </a:cubicBezTo>
                <a:cubicBezTo>
                  <a:pt x="1193" y="26"/>
                  <a:pt x="1193" y="26"/>
                  <a:pt x="1193" y="26"/>
                </a:cubicBezTo>
                <a:cubicBezTo>
                  <a:pt x="1194" y="26"/>
                  <a:pt x="1194" y="26"/>
                  <a:pt x="1194" y="26"/>
                </a:cubicBezTo>
                <a:cubicBezTo>
                  <a:pt x="1194" y="27"/>
                  <a:pt x="1194" y="27"/>
                  <a:pt x="1194" y="27"/>
                </a:cubicBezTo>
                <a:cubicBezTo>
                  <a:pt x="1195" y="28"/>
                  <a:pt x="1195" y="28"/>
                  <a:pt x="1195" y="28"/>
                </a:cubicBezTo>
                <a:cubicBezTo>
                  <a:pt x="1194" y="29"/>
                  <a:pt x="1194" y="29"/>
                  <a:pt x="1194" y="29"/>
                </a:cubicBezTo>
                <a:cubicBezTo>
                  <a:pt x="1195" y="30"/>
                  <a:pt x="1195" y="30"/>
                  <a:pt x="1195" y="30"/>
                </a:cubicBezTo>
                <a:cubicBezTo>
                  <a:pt x="1195" y="29"/>
                  <a:pt x="1195" y="29"/>
                  <a:pt x="1195" y="29"/>
                </a:cubicBezTo>
                <a:cubicBezTo>
                  <a:pt x="1196" y="28"/>
                  <a:pt x="1196" y="28"/>
                  <a:pt x="1196" y="28"/>
                </a:cubicBezTo>
                <a:cubicBezTo>
                  <a:pt x="1198" y="28"/>
                  <a:pt x="1198" y="28"/>
                  <a:pt x="1198" y="28"/>
                </a:cubicBezTo>
                <a:cubicBezTo>
                  <a:pt x="1198" y="29"/>
                  <a:pt x="1198" y="29"/>
                  <a:pt x="1198" y="29"/>
                </a:cubicBezTo>
                <a:cubicBezTo>
                  <a:pt x="1198" y="30"/>
                  <a:pt x="1198" y="30"/>
                  <a:pt x="1198" y="30"/>
                </a:cubicBezTo>
                <a:cubicBezTo>
                  <a:pt x="1199" y="32"/>
                  <a:pt x="1199" y="32"/>
                  <a:pt x="1199" y="32"/>
                </a:cubicBezTo>
                <a:cubicBezTo>
                  <a:pt x="1200" y="33"/>
                  <a:pt x="1200" y="33"/>
                  <a:pt x="1200" y="33"/>
                </a:cubicBezTo>
                <a:cubicBezTo>
                  <a:pt x="1200" y="34"/>
                  <a:pt x="1200" y="34"/>
                  <a:pt x="1200" y="34"/>
                </a:cubicBezTo>
                <a:cubicBezTo>
                  <a:pt x="1201" y="33"/>
                  <a:pt x="1201" y="33"/>
                  <a:pt x="1201" y="33"/>
                </a:cubicBezTo>
                <a:cubicBezTo>
                  <a:pt x="1200" y="32"/>
                  <a:pt x="1200" y="32"/>
                  <a:pt x="1200" y="32"/>
                </a:cubicBezTo>
                <a:cubicBezTo>
                  <a:pt x="1200" y="31"/>
                  <a:pt x="1200" y="31"/>
                  <a:pt x="1200" y="31"/>
                </a:cubicBezTo>
                <a:cubicBezTo>
                  <a:pt x="1200" y="30"/>
                  <a:pt x="1200" y="30"/>
                  <a:pt x="1200" y="30"/>
                </a:cubicBezTo>
                <a:cubicBezTo>
                  <a:pt x="1199" y="29"/>
                  <a:pt x="1199" y="29"/>
                  <a:pt x="1199" y="29"/>
                </a:cubicBezTo>
                <a:cubicBezTo>
                  <a:pt x="1200" y="29"/>
                  <a:pt x="1200" y="29"/>
                  <a:pt x="1200" y="29"/>
                </a:cubicBezTo>
                <a:cubicBezTo>
                  <a:pt x="1202" y="31"/>
                  <a:pt x="1202" y="31"/>
                  <a:pt x="1202" y="31"/>
                </a:cubicBezTo>
                <a:cubicBezTo>
                  <a:pt x="1203" y="33"/>
                  <a:pt x="1203" y="33"/>
                  <a:pt x="1203" y="33"/>
                </a:cubicBezTo>
                <a:cubicBezTo>
                  <a:pt x="1205" y="34"/>
                  <a:pt x="1205" y="34"/>
                  <a:pt x="1205" y="34"/>
                </a:cubicBezTo>
                <a:cubicBezTo>
                  <a:pt x="1206" y="34"/>
                  <a:pt x="1206" y="34"/>
                  <a:pt x="1206" y="34"/>
                </a:cubicBezTo>
                <a:cubicBezTo>
                  <a:pt x="1206" y="33"/>
                  <a:pt x="1206" y="33"/>
                  <a:pt x="1206" y="33"/>
                </a:cubicBezTo>
                <a:cubicBezTo>
                  <a:pt x="1204" y="32"/>
                  <a:pt x="1204" y="32"/>
                  <a:pt x="1204" y="32"/>
                </a:cubicBezTo>
                <a:cubicBezTo>
                  <a:pt x="1203" y="30"/>
                  <a:pt x="1203" y="30"/>
                  <a:pt x="1203" y="30"/>
                </a:cubicBezTo>
                <a:cubicBezTo>
                  <a:pt x="1203" y="29"/>
                  <a:pt x="1203" y="29"/>
                  <a:pt x="1203" y="29"/>
                </a:cubicBezTo>
                <a:cubicBezTo>
                  <a:pt x="1203" y="27"/>
                  <a:pt x="1203" y="27"/>
                  <a:pt x="1203" y="27"/>
                </a:cubicBezTo>
                <a:cubicBezTo>
                  <a:pt x="1205" y="27"/>
                  <a:pt x="1205" y="27"/>
                  <a:pt x="1205" y="27"/>
                </a:cubicBezTo>
                <a:cubicBezTo>
                  <a:pt x="1206" y="27"/>
                  <a:pt x="1206" y="27"/>
                  <a:pt x="1206" y="27"/>
                </a:cubicBezTo>
                <a:cubicBezTo>
                  <a:pt x="1207" y="28"/>
                  <a:pt x="1207" y="28"/>
                  <a:pt x="1207" y="28"/>
                </a:cubicBezTo>
                <a:cubicBezTo>
                  <a:pt x="1209" y="28"/>
                  <a:pt x="1209" y="28"/>
                  <a:pt x="1209" y="28"/>
                </a:cubicBezTo>
                <a:cubicBezTo>
                  <a:pt x="1209" y="27"/>
                  <a:pt x="1209" y="27"/>
                  <a:pt x="1209" y="27"/>
                </a:cubicBezTo>
                <a:cubicBezTo>
                  <a:pt x="1208" y="27"/>
                  <a:pt x="1208" y="27"/>
                  <a:pt x="1208" y="27"/>
                </a:cubicBezTo>
                <a:cubicBezTo>
                  <a:pt x="1208" y="26"/>
                  <a:pt x="1208" y="26"/>
                  <a:pt x="1208" y="26"/>
                </a:cubicBezTo>
                <a:cubicBezTo>
                  <a:pt x="1209" y="25"/>
                  <a:pt x="1209" y="25"/>
                  <a:pt x="1209" y="25"/>
                </a:cubicBezTo>
                <a:cubicBezTo>
                  <a:pt x="1210" y="24"/>
                  <a:pt x="1210" y="24"/>
                  <a:pt x="1210" y="24"/>
                </a:cubicBezTo>
                <a:cubicBezTo>
                  <a:pt x="1209" y="23"/>
                  <a:pt x="1209" y="23"/>
                  <a:pt x="1209" y="23"/>
                </a:cubicBezTo>
                <a:cubicBezTo>
                  <a:pt x="1209" y="22"/>
                  <a:pt x="1209" y="22"/>
                  <a:pt x="1209" y="22"/>
                </a:cubicBezTo>
                <a:cubicBezTo>
                  <a:pt x="1209" y="21"/>
                  <a:pt x="1209" y="21"/>
                  <a:pt x="1209" y="21"/>
                </a:cubicBezTo>
                <a:cubicBezTo>
                  <a:pt x="1210" y="21"/>
                  <a:pt x="1210" y="21"/>
                  <a:pt x="1210" y="21"/>
                </a:cubicBezTo>
                <a:cubicBezTo>
                  <a:pt x="1211" y="21"/>
                  <a:pt x="1211" y="21"/>
                  <a:pt x="1211" y="21"/>
                </a:cubicBezTo>
                <a:cubicBezTo>
                  <a:pt x="1212" y="20"/>
                  <a:pt x="1212" y="20"/>
                  <a:pt x="1212" y="20"/>
                </a:cubicBezTo>
                <a:cubicBezTo>
                  <a:pt x="1212" y="19"/>
                  <a:pt x="1212" y="19"/>
                  <a:pt x="1212" y="19"/>
                </a:cubicBezTo>
                <a:cubicBezTo>
                  <a:pt x="1213" y="19"/>
                  <a:pt x="1213" y="19"/>
                  <a:pt x="1213" y="19"/>
                </a:cubicBezTo>
                <a:cubicBezTo>
                  <a:pt x="1213" y="20"/>
                  <a:pt x="1213" y="20"/>
                  <a:pt x="1213" y="20"/>
                </a:cubicBezTo>
                <a:cubicBezTo>
                  <a:pt x="1214" y="20"/>
                  <a:pt x="1214" y="20"/>
                  <a:pt x="1214" y="20"/>
                </a:cubicBezTo>
                <a:cubicBezTo>
                  <a:pt x="1214" y="21"/>
                  <a:pt x="1214" y="21"/>
                  <a:pt x="1214" y="21"/>
                </a:cubicBezTo>
                <a:cubicBezTo>
                  <a:pt x="1215" y="22"/>
                  <a:pt x="1215" y="22"/>
                  <a:pt x="1215" y="22"/>
                </a:cubicBezTo>
                <a:cubicBezTo>
                  <a:pt x="1215" y="23"/>
                  <a:pt x="1215" y="23"/>
                  <a:pt x="1215" y="23"/>
                </a:cubicBezTo>
                <a:cubicBezTo>
                  <a:pt x="1216" y="22"/>
                  <a:pt x="1216" y="22"/>
                  <a:pt x="1216" y="22"/>
                </a:cubicBezTo>
                <a:cubicBezTo>
                  <a:pt x="1216" y="21"/>
                  <a:pt x="1216" y="21"/>
                  <a:pt x="1216" y="21"/>
                </a:cubicBezTo>
                <a:cubicBezTo>
                  <a:pt x="1216" y="20"/>
                  <a:pt x="1216" y="20"/>
                  <a:pt x="1216" y="20"/>
                </a:cubicBezTo>
                <a:cubicBezTo>
                  <a:pt x="1216" y="19"/>
                  <a:pt x="1216" y="19"/>
                  <a:pt x="1216" y="19"/>
                </a:cubicBezTo>
                <a:cubicBezTo>
                  <a:pt x="1217" y="19"/>
                  <a:pt x="1217" y="19"/>
                  <a:pt x="1217" y="19"/>
                </a:cubicBezTo>
                <a:cubicBezTo>
                  <a:pt x="1218" y="19"/>
                  <a:pt x="1218" y="19"/>
                  <a:pt x="1218" y="19"/>
                </a:cubicBezTo>
                <a:cubicBezTo>
                  <a:pt x="1220" y="19"/>
                  <a:pt x="1220" y="19"/>
                  <a:pt x="1220" y="19"/>
                </a:cubicBezTo>
                <a:cubicBezTo>
                  <a:pt x="1221" y="19"/>
                  <a:pt x="1221" y="19"/>
                  <a:pt x="1221" y="19"/>
                </a:cubicBezTo>
                <a:cubicBezTo>
                  <a:pt x="1221" y="20"/>
                  <a:pt x="1221" y="20"/>
                  <a:pt x="1221" y="20"/>
                </a:cubicBezTo>
                <a:cubicBezTo>
                  <a:pt x="1222" y="20"/>
                  <a:pt x="1222" y="20"/>
                  <a:pt x="1222" y="20"/>
                </a:cubicBezTo>
                <a:cubicBezTo>
                  <a:pt x="1223" y="19"/>
                  <a:pt x="1223" y="19"/>
                  <a:pt x="1223" y="19"/>
                </a:cubicBezTo>
                <a:cubicBezTo>
                  <a:pt x="1224" y="20"/>
                  <a:pt x="1224" y="20"/>
                  <a:pt x="1224" y="20"/>
                </a:cubicBezTo>
                <a:cubicBezTo>
                  <a:pt x="1226" y="20"/>
                  <a:pt x="1226" y="20"/>
                  <a:pt x="1226" y="20"/>
                </a:cubicBezTo>
                <a:cubicBezTo>
                  <a:pt x="1227" y="20"/>
                  <a:pt x="1227" y="20"/>
                  <a:pt x="1227" y="20"/>
                </a:cubicBezTo>
                <a:cubicBezTo>
                  <a:pt x="1228" y="20"/>
                  <a:pt x="1228" y="20"/>
                  <a:pt x="1228" y="20"/>
                </a:cubicBezTo>
                <a:cubicBezTo>
                  <a:pt x="1229" y="20"/>
                  <a:pt x="1229" y="20"/>
                  <a:pt x="1229" y="20"/>
                </a:cubicBezTo>
                <a:cubicBezTo>
                  <a:pt x="1229" y="21"/>
                  <a:pt x="1229" y="21"/>
                  <a:pt x="1229" y="21"/>
                </a:cubicBezTo>
                <a:cubicBezTo>
                  <a:pt x="1231" y="22"/>
                  <a:pt x="1231" y="22"/>
                  <a:pt x="1231" y="22"/>
                </a:cubicBezTo>
                <a:cubicBezTo>
                  <a:pt x="1232" y="22"/>
                  <a:pt x="1232" y="22"/>
                  <a:pt x="1232" y="22"/>
                </a:cubicBezTo>
                <a:cubicBezTo>
                  <a:pt x="1234" y="23"/>
                  <a:pt x="1234" y="23"/>
                  <a:pt x="1234" y="23"/>
                </a:cubicBezTo>
                <a:cubicBezTo>
                  <a:pt x="1235" y="23"/>
                  <a:pt x="1235" y="23"/>
                  <a:pt x="1235" y="23"/>
                </a:cubicBezTo>
                <a:cubicBezTo>
                  <a:pt x="1236" y="24"/>
                  <a:pt x="1236" y="24"/>
                  <a:pt x="1236" y="24"/>
                </a:cubicBezTo>
                <a:cubicBezTo>
                  <a:pt x="1239" y="24"/>
                  <a:pt x="1239" y="24"/>
                  <a:pt x="1239" y="24"/>
                </a:cubicBezTo>
                <a:cubicBezTo>
                  <a:pt x="1240" y="25"/>
                  <a:pt x="1240" y="25"/>
                  <a:pt x="1240" y="25"/>
                </a:cubicBezTo>
                <a:cubicBezTo>
                  <a:pt x="1241" y="24"/>
                  <a:pt x="1241" y="24"/>
                  <a:pt x="1241" y="24"/>
                </a:cubicBezTo>
                <a:cubicBezTo>
                  <a:pt x="1241" y="25"/>
                  <a:pt x="1241" y="25"/>
                  <a:pt x="1241" y="25"/>
                </a:cubicBezTo>
                <a:cubicBezTo>
                  <a:pt x="1242" y="25"/>
                  <a:pt x="1242" y="25"/>
                  <a:pt x="1242" y="25"/>
                </a:cubicBezTo>
                <a:cubicBezTo>
                  <a:pt x="1243" y="25"/>
                  <a:pt x="1243" y="25"/>
                  <a:pt x="1243" y="25"/>
                </a:cubicBezTo>
                <a:cubicBezTo>
                  <a:pt x="1244" y="25"/>
                  <a:pt x="1244" y="25"/>
                  <a:pt x="1244" y="25"/>
                </a:cubicBezTo>
                <a:cubicBezTo>
                  <a:pt x="1245" y="26"/>
                  <a:pt x="1245" y="26"/>
                  <a:pt x="1245" y="26"/>
                </a:cubicBezTo>
                <a:cubicBezTo>
                  <a:pt x="1247" y="27"/>
                  <a:pt x="1247" y="27"/>
                  <a:pt x="1247" y="27"/>
                </a:cubicBezTo>
                <a:cubicBezTo>
                  <a:pt x="1248" y="28"/>
                  <a:pt x="1248" y="28"/>
                  <a:pt x="1248" y="28"/>
                </a:cubicBezTo>
                <a:cubicBezTo>
                  <a:pt x="1249" y="29"/>
                  <a:pt x="1249" y="29"/>
                  <a:pt x="1249" y="29"/>
                </a:cubicBezTo>
                <a:cubicBezTo>
                  <a:pt x="1250" y="29"/>
                  <a:pt x="1250" y="29"/>
                  <a:pt x="1250" y="29"/>
                </a:cubicBezTo>
                <a:cubicBezTo>
                  <a:pt x="1252" y="30"/>
                  <a:pt x="1252" y="30"/>
                  <a:pt x="1252" y="30"/>
                </a:cubicBezTo>
                <a:cubicBezTo>
                  <a:pt x="1251" y="31"/>
                  <a:pt x="1251" y="31"/>
                  <a:pt x="1251" y="31"/>
                </a:cubicBezTo>
                <a:cubicBezTo>
                  <a:pt x="1251" y="32"/>
                  <a:pt x="1251" y="32"/>
                  <a:pt x="1251" y="32"/>
                </a:cubicBezTo>
                <a:cubicBezTo>
                  <a:pt x="1250" y="32"/>
                  <a:pt x="1250" y="32"/>
                  <a:pt x="1250" y="32"/>
                </a:cubicBezTo>
                <a:cubicBezTo>
                  <a:pt x="1249" y="32"/>
                  <a:pt x="1249" y="32"/>
                  <a:pt x="1249" y="32"/>
                </a:cubicBezTo>
                <a:cubicBezTo>
                  <a:pt x="1248" y="32"/>
                  <a:pt x="1248" y="32"/>
                  <a:pt x="1248" y="32"/>
                </a:cubicBezTo>
                <a:cubicBezTo>
                  <a:pt x="1247" y="33"/>
                  <a:pt x="1247" y="33"/>
                  <a:pt x="1247" y="33"/>
                </a:cubicBezTo>
                <a:cubicBezTo>
                  <a:pt x="1246" y="33"/>
                  <a:pt x="1246" y="33"/>
                  <a:pt x="1246" y="33"/>
                </a:cubicBezTo>
                <a:cubicBezTo>
                  <a:pt x="1245" y="33"/>
                  <a:pt x="1245" y="33"/>
                  <a:pt x="1245" y="33"/>
                </a:cubicBezTo>
                <a:cubicBezTo>
                  <a:pt x="1243" y="33"/>
                  <a:pt x="1243" y="33"/>
                  <a:pt x="1243" y="33"/>
                </a:cubicBezTo>
                <a:cubicBezTo>
                  <a:pt x="1241" y="32"/>
                  <a:pt x="1241" y="32"/>
                  <a:pt x="1241" y="32"/>
                </a:cubicBezTo>
                <a:cubicBezTo>
                  <a:pt x="1240" y="32"/>
                  <a:pt x="1240" y="32"/>
                  <a:pt x="1240" y="32"/>
                </a:cubicBezTo>
                <a:cubicBezTo>
                  <a:pt x="1239" y="32"/>
                  <a:pt x="1239" y="32"/>
                  <a:pt x="1239" y="32"/>
                </a:cubicBezTo>
                <a:cubicBezTo>
                  <a:pt x="1238" y="31"/>
                  <a:pt x="1238" y="31"/>
                  <a:pt x="1238" y="31"/>
                </a:cubicBezTo>
                <a:cubicBezTo>
                  <a:pt x="1236" y="31"/>
                  <a:pt x="1236" y="31"/>
                  <a:pt x="1236" y="31"/>
                </a:cubicBezTo>
                <a:cubicBezTo>
                  <a:pt x="1236" y="32"/>
                  <a:pt x="1236" y="32"/>
                  <a:pt x="1236" y="32"/>
                </a:cubicBezTo>
                <a:cubicBezTo>
                  <a:pt x="1235" y="32"/>
                  <a:pt x="1235" y="32"/>
                  <a:pt x="1235" y="32"/>
                </a:cubicBezTo>
                <a:cubicBezTo>
                  <a:pt x="1235" y="31"/>
                  <a:pt x="1235" y="31"/>
                  <a:pt x="1235" y="31"/>
                </a:cubicBezTo>
                <a:cubicBezTo>
                  <a:pt x="1233" y="31"/>
                  <a:pt x="1233" y="31"/>
                  <a:pt x="1233" y="31"/>
                </a:cubicBezTo>
                <a:cubicBezTo>
                  <a:pt x="1231" y="32"/>
                  <a:pt x="1231" y="32"/>
                  <a:pt x="1231" y="32"/>
                </a:cubicBezTo>
                <a:cubicBezTo>
                  <a:pt x="1231" y="33"/>
                  <a:pt x="1231" y="33"/>
                  <a:pt x="1231" y="33"/>
                </a:cubicBezTo>
                <a:cubicBezTo>
                  <a:pt x="1230" y="32"/>
                  <a:pt x="1230" y="32"/>
                  <a:pt x="1230" y="32"/>
                </a:cubicBezTo>
                <a:cubicBezTo>
                  <a:pt x="1229" y="32"/>
                  <a:pt x="1229" y="32"/>
                  <a:pt x="1229" y="32"/>
                </a:cubicBezTo>
                <a:cubicBezTo>
                  <a:pt x="1227" y="33"/>
                  <a:pt x="1227" y="33"/>
                  <a:pt x="1227" y="33"/>
                </a:cubicBezTo>
                <a:cubicBezTo>
                  <a:pt x="1225" y="33"/>
                  <a:pt x="1225" y="33"/>
                  <a:pt x="1225" y="33"/>
                </a:cubicBezTo>
                <a:cubicBezTo>
                  <a:pt x="1225" y="32"/>
                  <a:pt x="1225" y="32"/>
                  <a:pt x="1225" y="32"/>
                </a:cubicBezTo>
                <a:cubicBezTo>
                  <a:pt x="1225" y="31"/>
                  <a:pt x="1225" y="31"/>
                  <a:pt x="1225" y="31"/>
                </a:cubicBezTo>
                <a:cubicBezTo>
                  <a:pt x="1225" y="30"/>
                  <a:pt x="1225" y="30"/>
                  <a:pt x="1225" y="30"/>
                </a:cubicBezTo>
                <a:cubicBezTo>
                  <a:pt x="1226" y="30"/>
                  <a:pt x="1226" y="30"/>
                  <a:pt x="1226" y="30"/>
                </a:cubicBezTo>
                <a:cubicBezTo>
                  <a:pt x="1226" y="29"/>
                  <a:pt x="1226" y="29"/>
                  <a:pt x="1226" y="29"/>
                </a:cubicBezTo>
                <a:cubicBezTo>
                  <a:pt x="1225" y="29"/>
                  <a:pt x="1225" y="29"/>
                  <a:pt x="1225" y="29"/>
                </a:cubicBezTo>
                <a:cubicBezTo>
                  <a:pt x="1224" y="29"/>
                  <a:pt x="1224" y="29"/>
                  <a:pt x="1224" y="29"/>
                </a:cubicBezTo>
                <a:cubicBezTo>
                  <a:pt x="1223" y="30"/>
                  <a:pt x="1223" y="30"/>
                  <a:pt x="1223" y="30"/>
                </a:cubicBezTo>
                <a:cubicBezTo>
                  <a:pt x="1223" y="31"/>
                  <a:pt x="1223" y="31"/>
                  <a:pt x="1223" y="31"/>
                </a:cubicBezTo>
                <a:cubicBezTo>
                  <a:pt x="1224" y="32"/>
                  <a:pt x="1224" y="32"/>
                  <a:pt x="1224" y="32"/>
                </a:cubicBezTo>
                <a:cubicBezTo>
                  <a:pt x="1224" y="33"/>
                  <a:pt x="1224" y="33"/>
                  <a:pt x="1224" y="33"/>
                </a:cubicBezTo>
                <a:cubicBezTo>
                  <a:pt x="1223" y="34"/>
                  <a:pt x="1223" y="34"/>
                  <a:pt x="1223" y="34"/>
                </a:cubicBezTo>
                <a:cubicBezTo>
                  <a:pt x="1222" y="34"/>
                  <a:pt x="1222" y="34"/>
                  <a:pt x="1222" y="34"/>
                </a:cubicBezTo>
                <a:cubicBezTo>
                  <a:pt x="1220" y="34"/>
                  <a:pt x="1220" y="34"/>
                  <a:pt x="1220" y="34"/>
                </a:cubicBezTo>
                <a:cubicBezTo>
                  <a:pt x="1219" y="34"/>
                  <a:pt x="1219" y="34"/>
                  <a:pt x="1219" y="34"/>
                </a:cubicBezTo>
                <a:cubicBezTo>
                  <a:pt x="1217" y="34"/>
                  <a:pt x="1217" y="34"/>
                  <a:pt x="1217" y="34"/>
                </a:cubicBezTo>
                <a:cubicBezTo>
                  <a:pt x="1216" y="34"/>
                  <a:pt x="1216" y="34"/>
                  <a:pt x="1216" y="34"/>
                </a:cubicBezTo>
                <a:cubicBezTo>
                  <a:pt x="1214" y="34"/>
                  <a:pt x="1214" y="34"/>
                  <a:pt x="1214" y="34"/>
                </a:cubicBezTo>
                <a:cubicBezTo>
                  <a:pt x="1212" y="36"/>
                  <a:pt x="1212" y="36"/>
                  <a:pt x="1212" y="36"/>
                </a:cubicBezTo>
                <a:cubicBezTo>
                  <a:pt x="1212" y="37"/>
                  <a:pt x="1212" y="37"/>
                  <a:pt x="1212" y="37"/>
                </a:cubicBezTo>
                <a:cubicBezTo>
                  <a:pt x="1212" y="38"/>
                  <a:pt x="1212" y="38"/>
                  <a:pt x="1212" y="38"/>
                </a:cubicBezTo>
                <a:cubicBezTo>
                  <a:pt x="1211" y="39"/>
                  <a:pt x="1211" y="39"/>
                  <a:pt x="1211" y="39"/>
                </a:cubicBezTo>
                <a:cubicBezTo>
                  <a:pt x="1211" y="40"/>
                  <a:pt x="1211" y="40"/>
                  <a:pt x="1211" y="40"/>
                </a:cubicBezTo>
                <a:cubicBezTo>
                  <a:pt x="1211" y="41"/>
                  <a:pt x="1211" y="41"/>
                  <a:pt x="1211" y="41"/>
                </a:cubicBezTo>
                <a:cubicBezTo>
                  <a:pt x="1212" y="40"/>
                  <a:pt x="1212" y="40"/>
                  <a:pt x="1212" y="40"/>
                </a:cubicBezTo>
                <a:cubicBezTo>
                  <a:pt x="1212" y="39"/>
                  <a:pt x="1212" y="39"/>
                  <a:pt x="1212" y="39"/>
                </a:cubicBezTo>
                <a:cubicBezTo>
                  <a:pt x="1213" y="38"/>
                  <a:pt x="1213" y="38"/>
                  <a:pt x="1213" y="38"/>
                </a:cubicBezTo>
                <a:cubicBezTo>
                  <a:pt x="1213" y="37"/>
                  <a:pt x="1213" y="37"/>
                  <a:pt x="1213" y="37"/>
                </a:cubicBezTo>
                <a:cubicBezTo>
                  <a:pt x="1215" y="37"/>
                  <a:pt x="1215" y="37"/>
                  <a:pt x="1215" y="37"/>
                </a:cubicBezTo>
                <a:cubicBezTo>
                  <a:pt x="1216" y="38"/>
                  <a:pt x="1216" y="38"/>
                  <a:pt x="1216" y="38"/>
                </a:cubicBezTo>
                <a:cubicBezTo>
                  <a:pt x="1215" y="38"/>
                  <a:pt x="1215" y="38"/>
                  <a:pt x="1215" y="38"/>
                </a:cubicBezTo>
                <a:cubicBezTo>
                  <a:pt x="1215" y="39"/>
                  <a:pt x="1215" y="39"/>
                  <a:pt x="1215" y="39"/>
                </a:cubicBezTo>
                <a:cubicBezTo>
                  <a:pt x="1215" y="40"/>
                  <a:pt x="1215" y="40"/>
                  <a:pt x="1215" y="40"/>
                </a:cubicBezTo>
                <a:cubicBezTo>
                  <a:pt x="1216" y="39"/>
                  <a:pt x="1216" y="39"/>
                  <a:pt x="1216" y="39"/>
                </a:cubicBezTo>
                <a:cubicBezTo>
                  <a:pt x="1216" y="38"/>
                  <a:pt x="1216" y="38"/>
                  <a:pt x="1216" y="38"/>
                </a:cubicBezTo>
                <a:cubicBezTo>
                  <a:pt x="1216" y="37"/>
                  <a:pt x="1216" y="37"/>
                  <a:pt x="1216" y="37"/>
                </a:cubicBezTo>
                <a:cubicBezTo>
                  <a:pt x="1216" y="37"/>
                  <a:pt x="1216" y="37"/>
                  <a:pt x="1217" y="36"/>
                </a:cubicBezTo>
                <a:cubicBezTo>
                  <a:pt x="1217" y="36"/>
                  <a:pt x="1217" y="36"/>
                  <a:pt x="1219" y="35"/>
                </a:cubicBezTo>
                <a:cubicBezTo>
                  <a:pt x="1221" y="35"/>
                  <a:pt x="1221" y="35"/>
                  <a:pt x="1221" y="35"/>
                </a:cubicBezTo>
                <a:cubicBezTo>
                  <a:pt x="1222" y="35"/>
                  <a:pt x="1222" y="35"/>
                  <a:pt x="1222" y="35"/>
                </a:cubicBezTo>
                <a:cubicBezTo>
                  <a:pt x="1223" y="35"/>
                  <a:pt x="1223" y="35"/>
                  <a:pt x="1223" y="35"/>
                </a:cubicBezTo>
                <a:cubicBezTo>
                  <a:pt x="1224" y="36"/>
                  <a:pt x="1224" y="36"/>
                  <a:pt x="1224" y="36"/>
                </a:cubicBezTo>
                <a:cubicBezTo>
                  <a:pt x="1224" y="37"/>
                  <a:pt x="1224" y="37"/>
                  <a:pt x="1224" y="37"/>
                </a:cubicBezTo>
                <a:cubicBezTo>
                  <a:pt x="1225" y="38"/>
                  <a:pt x="1225" y="38"/>
                  <a:pt x="1225" y="38"/>
                </a:cubicBezTo>
                <a:cubicBezTo>
                  <a:pt x="1226" y="37"/>
                  <a:pt x="1226" y="37"/>
                  <a:pt x="1226" y="37"/>
                </a:cubicBezTo>
                <a:cubicBezTo>
                  <a:pt x="1225" y="36"/>
                  <a:pt x="1225" y="36"/>
                  <a:pt x="1225" y="36"/>
                </a:cubicBezTo>
                <a:cubicBezTo>
                  <a:pt x="1225" y="35"/>
                  <a:pt x="1225" y="35"/>
                  <a:pt x="1225" y="35"/>
                </a:cubicBezTo>
                <a:cubicBezTo>
                  <a:pt x="1227" y="35"/>
                  <a:pt x="1227" y="35"/>
                  <a:pt x="1227" y="35"/>
                </a:cubicBezTo>
                <a:cubicBezTo>
                  <a:pt x="1228" y="35"/>
                  <a:pt x="1228" y="35"/>
                  <a:pt x="1228" y="35"/>
                </a:cubicBezTo>
                <a:cubicBezTo>
                  <a:pt x="1229" y="35"/>
                  <a:pt x="1229" y="35"/>
                  <a:pt x="1229" y="35"/>
                </a:cubicBezTo>
                <a:cubicBezTo>
                  <a:pt x="1231" y="35"/>
                  <a:pt x="1231" y="35"/>
                  <a:pt x="1231" y="35"/>
                </a:cubicBezTo>
                <a:cubicBezTo>
                  <a:pt x="1233" y="34"/>
                  <a:pt x="1233" y="34"/>
                  <a:pt x="1233" y="34"/>
                </a:cubicBezTo>
                <a:cubicBezTo>
                  <a:pt x="1234" y="34"/>
                  <a:pt x="1234" y="34"/>
                  <a:pt x="1234" y="34"/>
                </a:cubicBezTo>
                <a:cubicBezTo>
                  <a:pt x="1236" y="34"/>
                  <a:pt x="1236" y="34"/>
                  <a:pt x="1236" y="34"/>
                </a:cubicBezTo>
                <a:cubicBezTo>
                  <a:pt x="1238" y="34"/>
                  <a:pt x="1238" y="34"/>
                  <a:pt x="1238" y="34"/>
                </a:cubicBezTo>
                <a:cubicBezTo>
                  <a:pt x="1239" y="35"/>
                  <a:pt x="1239" y="35"/>
                  <a:pt x="1239" y="35"/>
                </a:cubicBezTo>
                <a:cubicBezTo>
                  <a:pt x="1240" y="35"/>
                  <a:pt x="1240" y="35"/>
                  <a:pt x="1240" y="35"/>
                </a:cubicBezTo>
                <a:cubicBezTo>
                  <a:pt x="1241" y="35"/>
                  <a:pt x="1241" y="35"/>
                  <a:pt x="1241" y="35"/>
                </a:cubicBezTo>
                <a:cubicBezTo>
                  <a:pt x="1242" y="36"/>
                  <a:pt x="1242" y="36"/>
                  <a:pt x="1242" y="36"/>
                </a:cubicBezTo>
                <a:cubicBezTo>
                  <a:pt x="1243" y="36"/>
                  <a:pt x="1243" y="36"/>
                  <a:pt x="1243" y="36"/>
                </a:cubicBezTo>
                <a:cubicBezTo>
                  <a:pt x="1244" y="37"/>
                  <a:pt x="1244" y="37"/>
                  <a:pt x="1244" y="37"/>
                </a:cubicBezTo>
                <a:cubicBezTo>
                  <a:pt x="1245" y="36"/>
                  <a:pt x="1245" y="36"/>
                  <a:pt x="1245" y="36"/>
                </a:cubicBezTo>
                <a:cubicBezTo>
                  <a:pt x="1246" y="36"/>
                  <a:pt x="1246" y="36"/>
                  <a:pt x="1246" y="36"/>
                </a:cubicBezTo>
                <a:cubicBezTo>
                  <a:pt x="1246" y="37"/>
                  <a:pt x="1246" y="37"/>
                  <a:pt x="1246" y="37"/>
                </a:cubicBezTo>
                <a:cubicBezTo>
                  <a:pt x="1247" y="37"/>
                  <a:pt x="1247" y="37"/>
                  <a:pt x="1247" y="37"/>
                </a:cubicBezTo>
                <a:cubicBezTo>
                  <a:pt x="1248" y="36"/>
                  <a:pt x="1248" y="36"/>
                  <a:pt x="1248" y="36"/>
                </a:cubicBezTo>
                <a:cubicBezTo>
                  <a:pt x="1249" y="36"/>
                  <a:pt x="1249" y="36"/>
                  <a:pt x="1249" y="36"/>
                </a:cubicBezTo>
                <a:cubicBezTo>
                  <a:pt x="1250" y="36"/>
                  <a:pt x="1250" y="36"/>
                  <a:pt x="1250" y="36"/>
                </a:cubicBezTo>
                <a:cubicBezTo>
                  <a:pt x="1252" y="35"/>
                  <a:pt x="1252" y="35"/>
                  <a:pt x="1252" y="35"/>
                </a:cubicBezTo>
                <a:cubicBezTo>
                  <a:pt x="1253" y="34"/>
                  <a:pt x="1253" y="34"/>
                  <a:pt x="1253" y="34"/>
                </a:cubicBezTo>
                <a:cubicBezTo>
                  <a:pt x="1254" y="34"/>
                  <a:pt x="1254" y="34"/>
                  <a:pt x="1254" y="34"/>
                </a:cubicBezTo>
                <a:cubicBezTo>
                  <a:pt x="1255" y="35"/>
                  <a:pt x="1255" y="35"/>
                  <a:pt x="1255" y="35"/>
                </a:cubicBezTo>
                <a:cubicBezTo>
                  <a:pt x="1256" y="36"/>
                  <a:pt x="1256" y="36"/>
                  <a:pt x="1256" y="36"/>
                </a:cubicBezTo>
                <a:cubicBezTo>
                  <a:pt x="1256" y="37"/>
                  <a:pt x="1256" y="37"/>
                  <a:pt x="1256" y="37"/>
                </a:cubicBezTo>
                <a:cubicBezTo>
                  <a:pt x="1255" y="37"/>
                  <a:pt x="1255" y="37"/>
                  <a:pt x="1255" y="37"/>
                </a:cubicBezTo>
                <a:cubicBezTo>
                  <a:pt x="1255" y="38"/>
                  <a:pt x="1255" y="38"/>
                  <a:pt x="1255" y="38"/>
                </a:cubicBezTo>
                <a:cubicBezTo>
                  <a:pt x="1256" y="38"/>
                  <a:pt x="1256" y="38"/>
                  <a:pt x="1256" y="38"/>
                </a:cubicBezTo>
                <a:cubicBezTo>
                  <a:pt x="1256" y="39"/>
                  <a:pt x="1256" y="39"/>
                  <a:pt x="1256" y="39"/>
                </a:cubicBezTo>
                <a:cubicBezTo>
                  <a:pt x="1254" y="41"/>
                  <a:pt x="1254" y="41"/>
                  <a:pt x="1254" y="41"/>
                </a:cubicBezTo>
                <a:cubicBezTo>
                  <a:pt x="1252" y="41"/>
                  <a:pt x="1252" y="41"/>
                  <a:pt x="1252" y="41"/>
                </a:cubicBezTo>
                <a:cubicBezTo>
                  <a:pt x="1251" y="41"/>
                  <a:pt x="1251" y="41"/>
                  <a:pt x="1251" y="41"/>
                </a:cubicBezTo>
                <a:cubicBezTo>
                  <a:pt x="1250" y="41"/>
                  <a:pt x="1250" y="41"/>
                  <a:pt x="1250" y="41"/>
                </a:cubicBezTo>
                <a:cubicBezTo>
                  <a:pt x="1250" y="40"/>
                  <a:pt x="1250" y="40"/>
                  <a:pt x="1250" y="40"/>
                </a:cubicBezTo>
                <a:cubicBezTo>
                  <a:pt x="1249" y="40"/>
                  <a:pt x="1249" y="40"/>
                  <a:pt x="1249" y="40"/>
                </a:cubicBezTo>
                <a:cubicBezTo>
                  <a:pt x="1249" y="41"/>
                  <a:pt x="1249" y="41"/>
                  <a:pt x="1249" y="41"/>
                </a:cubicBezTo>
                <a:cubicBezTo>
                  <a:pt x="1250" y="42"/>
                  <a:pt x="1250" y="42"/>
                  <a:pt x="1250" y="42"/>
                </a:cubicBezTo>
                <a:cubicBezTo>
                  <a:pt x="1251" y="42"/>
                  <a:pt x="1251" y="42"/>
                  <a:pt x="1251" y="42"/>
                </a:cubicBezTo>
                <a:cubicBezTo>
                  <a:pt x="1250" y="43"/>
                  <a:pt x="1250" y="43"/>
                  <a:pt x="1250" y="43"/>
                </a:cubicBezTo>
                <a:cubicBezTo>
                  <a:pt x="1249" y="42"/>
                  <a:pt x="1249" y="42"/>
                  <a:pt x="1249" y="42"/>
                </a:cubicBezTo>
                <a:cubicBezTo>
                  <a:pt x="1248" y="42"/>
                  <a:pt x="1248" y="42"/>
                  <a:pt x="1248" y="42"/>
                </a:cubicBezTo>
                <a:cubicBezTo>
                  <a:pt x="1248" y="43"/>
                  <a:pt x="1248" y="43"/>
                  <a:pt x="1248" y="43"/>
                </a:cubicBezTo>
                <a:cubicBezTo>
                  <a:pt x="1249" y="43"/>
                  <a:pt x="1249" y="43"/>
                  <a:pt x="1249" y="43"/>
                </a:cubicBezTo>
                <a:cubicBezTo>
                  <a:pt x="1250" y="44"/>
                  <a:pt x="1250" y="44"/>
                  <a:pt x="1250" y="44"/>
                </a:cubicBezTo>
                <a:cubicBezTo>
                  <a:pt x="1252" y="44"/>
                  <a:pt x="1252" y="44"/>
                  <a:pt x="1252" y="44"/>
                </a:cubicBezTo>
                <a:cubicBezTo>
                  <a:pt x="1253" y="44"/>
                  <a:pt x="1253" y="44"/>
                  <a:pt x="1253" y="44"/>
                </a:cubicBezTo>
                <a:cubicBezTo>
                  <a:pt x="1255" y="43"/>
                  <a:pt x="1255" y="43"/>
                  <a:pt x="1255" y="43"/>
                </a:cubicBezTo>
                <a:cubicBezTo>
                  <a:pt x="1256" y="44"/>
                  <a:pt x="1256" y="44"/>
                  <a:pt x="1256" y="44"/>
                </a:cubicBezTo>
                <a:cubicBezTo>
                  <a:pt x="1256" y="43"/>
                  <a:pt x="1256" y="43"/>
                  <a:pt x="1256" y="43"/>
                </a:cubicBezTo>
                <a:cubicBezTo>
                  <a:pt x="1256" y="42"/>
                  <a:pt x="1256" y="42"/>
                  <a:pt x="1256" y="42"/>
                </a:cubicBezTo>
                <a:cubicBezTo>
                  <a:pt x="1257" y="42"/>
                  <a:pt x="1257" y="42"/>
                  <a:pt x="1257" y="42"/>
                </a:cubicBezTo>
                <a:cubicBezTo>
                  <a:pt x="1259" y="42"/>
                  <a:pt x="1259" y="42"/>
                  <a:pt x="1259" y="42"/>
                </a:cubicBezTo>
                <a:cubicBezTo>
                  <a:pt x="1260" y="43"/>
                  <a:pt x="1260" y="43"/>
                  <a:pt x="1260" y="43"/>
                </a:cubicBezTo>
                <a:cubicBezTo>
                  <a:pt x="1261" y="44"/>
                  <a:pt x="1261" y="44"/>
                  <a:pt x="1261" y="44"/>
                </a:cubicBezTo>
                <a:cubicBezTo>
                  <a:pt x="1262" y="43"/>
                  <a:pt x="1262" y="43"/>
                  <a:pt x="1262" y="43"/>
                </a:cubicBezTo>
                <a:cubicBezTo>
                  <a:pt x="1263" y="44"/>
                  <a:pt x="1263" y="44"/>
                  <a:pt x="1263" y="44"/>
                </a:cubicBezTo>
                <a:cubicBezTo>
                  <a:pt x="1263" y="45"/>
                  <a:pt x="1263" y="45"/>
                  <a:pt x="1263" y="45"/>
                </a:cubicBezTo>
                <a:cubicBezTo>
                  <a:pt x="1265" y="45"/>
                  <a:pt x="1265" y="45"/>
                  <a:pt x="1265" y="45"/>
                </a:cubicBezTo>
                <a:cubicBezTo>
                  <a:pt x="1266" y="46"/>
                  <a:pt x="1266" y="46"/>
                  <a:pt x="1266" y="46"/>
                </a:cubicBezTo>
                <a:cubicBezTo>
                  <a:pt x="1266" y="47"/>
                  <a:pt x="1266" y="47"/>
                  <a:pt x="1266" y="47"/>
                </a:cubicBezTo>
                <a:cubicBezTo>
                  <a:pt x="1267" y="48"/>
                  <a:pt x="1267" y="48"/>
                  <a:pt x="1267" y="48"/>
                </a:cubicBezTo>
                <a:cubicBezTo>
                  <a:pt x="1269" y="48"/>
                  <a:pt x="1269" y="48"/>
                  <a:pt x="1269" y="48"/>
                </a:cubicBezTo>
                <a:cubicBezTo>
                  <a:pt x="1270" y="49"/>
                  <a:pt x="1270" y="49"/>
                  <a:pt x="1270" y="49"/>
                </a:cubicBezTo>
                <a:cubicBezTo>
                  <a:pt x="1270" y="50"/>
                  <a:pt x="1270" y="50"/>
                  <a:pt x="1270" y="50"/>
                </a:cubicBezTo>
                <a:cubicBezTo>
                  <a:pt x="1270" y="51"/>
                  <a:pt x="1270" y="51"/>
                  <a:pt x="1270" y="51"/>
                </a:cubicBezTo>
                <a:cubicBezTo>
                  <a:pt x="1269" y="51"/>
                  <a:pt x="1269" y="51"/>
                  <a:pt x="1269" y="51"/>
                </a:cubicBezTo>
                <a:cubicBezTo>
                  <a:pt x="1269" y="52"/>
                  <a:pt x="1269" y="52"/>
                  <a:pt x="1269" y="52"/>
                </a:cubicBezTo>
                <a:cubicBezTo>
                  <a:pt x="1269" y="53"/>
                  <a:pt x="1269" y="53"/>
                  <a:pt x="1269" y="53"/>
                </a:cubicBezTo>
                <a:cubicBezTo>
                  <a:pt x="1267" y="54"/>
                  <a:pt x="1267" y="54"/>
                  <a:pt x="1267" y="54"/>
                </a:cubicBezTo>
                <a:cubicBezTo>
                  <a:pt x="1266" y="54"/>
                  <a:pt x="1266" y="54"/>
                  <a:pt x="1266" y="54"/>
                </a:cubicBezTo>
                <a:cubicBezTo>
                  <a:pt x="1266" y="55"/>
                  <a:pt x="1266" y="55"/>
                  <a:pt x="1266" y="55"/>
                </a:cubicBezTo>
                <a:cubicBezTo>
                  <a:pt x="1265" y="55"/>
                  <a:pt x="1265" y="55"/>
                  <a:pt x="1265" y="55"/>
                </a:cubicBezTo>
                <a:cubicBezTo>
                  <a:pt x="1264" y="56"/>
                  <a:pt x="1264" y="56"/>
                  <a:pt x="1264" y="56"/>
                </a:cubicBezTo>
                <a:cubicBezTo>
                  <a:pt x="1262" y="57"/>
                  <a:pt x="1262" y="57"/>
                  <a:pt x="1262" y="57"/>
                </a:cubicBezTo>
                <a:cubicBezTo>
                  <a:pt x="1260" y="57"/>
                  <a:pt x="1260" y="57"/>
                  <a:pt x="1260" y="57"/>
                </a:cubicBezTo>
                <a:cubicBezTo>
                  <a:pt x="1259" y="57"/>
                  <a:pt x="1259" y="57"/>
                  <a:pt x="1259" y="57"/>
                </a:cubicBezTo>
                <a:cubicBezTo>
                  <a:pt x="1258" y="57"/>
                  <a:pt x="1258" y="57"/>
                  <a:pt x="1258" y="57"/>
                </a:cubicBezTo>
                <a:cubicBezTo>
                  <a:pt x="1258" y="56"/>
                  <a:pt x="1258" y="56"/>
                  <a:pt x="1258" y="56"/>
                </a:cubicBezTo>
                <a:cubicBezTo>
                  <a:pt x="1257" y="56"/>
                  <a:pt x="1257" y="56"/>
                  <a:pt x="1257" y="56"/>
                </a:cubicBezTo>
                <a:cubicBezTo>
                  <a:pt x="1257" y="57"/>
                  <a:pt x="1257" y="57"/>
                  <a:pt x="1257" y="57"/>
                </a:cubicBezTo>
                <a:cubicBezTo>
                  <a:pt x="1258" y="57"/>
                  <a:pt x="1258" y="57"/>
                  <a:pt x="1258" y="57"/>
                </a:cubicBezTo>
                <a:cubicBezTo>
                  <a:pt x="1258" y="58"/>
                  <a:pt x="1258" y="58"/>
                  <a:pt x="1258" y="58"/>
                </a:cubicBezTo>
                <a:cubicBezTo>
                  <a:pt x="1257" y="58"/>
                  <a:pt x="1257" y="58"/>
                  <a:pt x="1257" y="58"/>
                </a:cubicBezTo>
                <a:cubicBezTo>
                  <a:pt x="1256" y="57"/>
                  <a:pt x="1256" y="57"/>
                  <a:pt x="1256" y="57"/>
                </a:cubicBezTo>
                <a:cubicBezTo>
                  <a:pt x="1255" y="58"/>
                  <a:pt x="1255" y="58"/>
                  <a:pt x="1255" y="58"/>
                </a:cubicBezTo>
                <a:cubicBezTo>
                  <a:pt x="1254" y="58"/>
                  <a:pt x="1254" y="58"/>
                  <a:pt x="1254" y="58"/>
                </a:cubicBezTo>
                <a:cubicBezTo>
                  <a:pt x="1253" y="57"/>
                  <a:pt x="1253" y="57"/>
                  <a:pt x="1253" y="57"/>
                </a:cubicBezTo>
                <a:cubicBezTo>
                  <a:pt x="1252" y="57"/>
                  <a:pt x="1252" y="57"/>
                  <a:pt x="1252" y="57"/>
                </a:cubicBezTo>
                <a:cubicBezTo>
                  <a:pt x="1251" y="58"/>
                  <a:pt x="1251" y="58"/>
                  <a:pt x="1251" y="58"/>
                </a:cubicBezTo>
                <a:cubicBezTo>
                  <a:pt x="1250" y="59"/>
                  <a:pt x="1250" y="59"/>
                  <a:pt x="1250" y="59"/>
                </a:cubicBezTo>
                <a:cubicBezTo>
                  <a:pt x="1249" y="59"/>
                  <a:pt x="1249" y="59"/>
                  <a:pt x="1249" y="59"/>
                </a:cubicBezTo>
                <a:cubicBezTo>
                  <a:pt x="1248" y="58"/>
                  <a:pt x="1248" y="58"/>
                  <a:pt x="1248" y="58"/>
                </a:cubicBezTo>
                <a:cubicBezTo>
                  <a:pt x="1247" y="58"/>
                  <a:pt x="1247" y="58"/>
                  <a:pt x="1247" y="58"/>
                </a:cubicBezTo>
                <a:cubicBezTo>
                  <a:pt x="1246" y="58"/>
                  <a:pt x="1246" y="58"/>
                  <a:pt x="1246" y="58"/>
                </a:cubicBezTo>
                <a:cubicBezTo>
                  <a:pt x="1245" y="58"/>
                  <a:pt x="1245" y="58"/>
                  <a:pt x="1245" y="58"/>
                </a:cubicBezTo>
                <a:cubicBezTo>
                  <a:pt x="1244" y="59"/>
                  <a:pt x="1244" y="59"/>
                  <a:pt x="1244" y="59"/>
                </a:cubicBezTo>
                <a:cubicBezTo>
                  <a:pt x="1243" y="58"/>
                  <a:pt x="1243" y="58"/>
                  <a:pt x="1243" y="58"/>
                </a:cubicBezTo>
                <a:cubicBezTo>
                  <a:pt x="1241" y="57"/>
                  <a:pt x="1241" y="57"/>
                  <a:pt x="1241" y="57"/>
                </a:cubicBezTo>
                <a:cubicBezTo>
                  <a:pt x="1239" y="57"/>
                  <a:pt x="1239" y="57"/>
                  <a:pt x="1239" y="57"/>
                </a:cubicBezTo>
                <a:cubicBezTo>
                  <a:pt x="1238" y="56"/>
                  <a:pt x="1238" y="56"/>
                  <a:pt x="1238" y="56"/>
                </a:cubicBezTo>
                <a:cubicBezTo>
                  <a:pt x="1237" y="56"/>
                  <a:pt x="1237" y="56"/>
                  <a:pt x="1237" y="56"/>
                </a:cubicBezTo>
                <a:cubicBezTo>
                  <a:pt x="1236" y="57"/>
                  <a:pt x="1236" y="57"/>
                  <a:pt x="1236" y="57"/>
                </a:cubicBezTo>
                <a:cubicBezTo>
                  <a:pt x="1235" y="56"/>
                  <a:pt x="1235" y="56"/>
                  <a:pt x="1235" y="56"/>
                </a:cubicBezTo>
                <a:cubicBezTo>
                  <a:pt x="1234" y="56"/>
                  <a:pt x="1234" y="56"/>
                  <a:pt x="1234" y="56"/>
                </a:cubicBezTo>
                <a:cubicBezTo>
                  <a:pt x="1233" y="56"/>
                  <a:pt x="1233" y="56"/>
                  <a:pt x="1233" y="56"/>
                </a:cubicBezTo>
                <a:cubicBezTo>
                  <a:pt x="1232" y="57"/>
                  <a:pt x="1232" y="57"/>
                  <a:pt x="1232" y="57"/>
                </a:cubicBezTo>
                <a:cubicBezTo>
                  <a:pt x="1231" y="57"/>
                  <a:pt x="1231" y="57"/>
                  <a:pt x="1231" y="57"/>
                </a:cubicBezTo>
                <a:cubicBezTo>
                  <a:pt x="1230" y="57"/>
                  <a:pt x="1230" y="57"/>
                  <a:pt x="1230" y="57"/>
                </a:cubicBezTo>
                <a:cubicBezTo>
                  <a:pt x="1229" y="58"/>
                  <a:pt x="1229" y="58"/>
                  <a:pt x="1229" y="58"/>
                </a:cubicBezTo>
                <a:cubicBezTo>
                  <a:pt x="1228" y="58"/>
                  <a:pt x="1228" y="58"/>
                  <a:pt x="1228" y="58"/>
                </a:cubicBezTo>
                <a:cubicBezTo>
                  <a:pt x="1228" y="57"/>
                  <a:pt x="1228" y="57"/>
                  <a:pt x="1228" y="57"/>
                </a:cubicBezTo>
                <a:cubicBezTo>
                  <a:pt x="1227" y="57"/>
                  <a:pt x="1227" y="57"/>
                  <a:pt x="1227" y="57"/>
                </a:cubicBezTo>
                <a:cubicBezTo>
                  <a:pt x="1228" y="58"/>
                  <a:pt x="1228" y="58"/>
                  <a:pt x="1228" y="58"/>
                </a:cubicBezTo>
                <a:cubicBezTo>
                  <a:pt x="1227" y="59"/>
                  <a:pt x="1227" y="59"/>
                  <a:pt x="1227" y="59"/>
                </a:cubicBezTo>
                <a:cubicBezTo>
                  <a:pt x="1226" y="59"/>
                  <a:pt x="1226" y="59"/>
                  <a:pt x="1226" y="59"/>
                </a:cubicBezTo>
                <a:cubicBezTo>
                  <a:pt x="1225" y="59"/>
                  <a:pt x="1225" y="59"/>
                  <a:pt x="1225" y="59"/>
                </a:cubicBezTo>
                <a:cubicBezTo>
                  <a:pt x="1224" y="60"/>
                  <a:pt x="1224" y="60"/>
                  <a:pt x="1224" y="60"/>
                </a:cubicBezTo>
                <a:cubicBezTo>
                  <a:pt x="1223" y="60"/>
                  <a:pt x="1223" y="60"/>
                  <a:pt x="1223" y="60"/>
                </a:cubicBezTo>
                <a:cubicBezTo>
                  <a:pt x="1221" y="61"/>
                  <a:pt x="1221" y="61"/>
                  <a:pt x="1221" y="61"/>
                </a:cubicBezTo>
                <a:cubicBezTo>
                  <a:pt x="1220" y="61"/>
                  <a:pt x="1220" y="61"/>
                  <a:pt x="1220" y="61"/>
                </a:cubicBezTo>
                <a:cubicBezTo>
                  <a:pt x="1220" y="62"/>
                  <a:pt x="1220" y="62"/>
                  <a:pt x="1220" y="62"/>
                </a:cubicBezTo>
                <a:cubicBezTo>
                  <a:pt x="1219" y="62"/>
                  <a:pt x="1219" y="62"/>
                  <a:pt x="1219" y="62"/>
                </a:cubicBezTo>
                <a:cubicBezTo>
                  <a:pt x="1218" y="62"/>
                  <a:pt x="1218" y="62"/>
                  <a:pt x="1218" y="62"/>
                </a:cubicBezTo>
                <a:cubicBezTo>
                  <a:pt x="1216" y="63"/>
                  <a:pt x="1216" y="63"/>
                  <a:pt x="1216" y="63"/>
                </a:cubicBezTo>
                <a:cubicBezTo>
                  <a:pt x="1215" y="63"/>
                  <a:pt x="1215" y="63"/>
                  <a:pt x="1215" y="63"/>
                </a:cubicBezTo>
                <a:cubicBezTo>
                  <a:pt x="1215" y="64"/>
                  <a:pt x="1215" y="64"/>
                  <a:pt x="1215" y="64"/>
                </a:cubicBezTo>
                <a:cubicBezTo>
                  <a:pt x="1216" y="65"/>
                  <a:pt x="1216" y="65"/>
                  <a:pt x="1216" y="65"/>
                </a:cubicBezTo>
                <a:cubicBezTo>
                  <a:pt x="1216" y="66"/>
                  <a:pt x="1216" y="66"/>
                  <a:pt x="1216" y="66"/>
                </a:cubicBezTo>
                <a:cubicBezTo>
                  <a:pt x="1216" y="67"/>
                  <a:pt x="1216" y="67"/>
                  <a:pt x="1216" y="67"/>
                </a:cubicBezTo>
                <a:cubicBezTo>
                  <a:pt x="1216" y="68"/>
                  <a:pt x="1216" y="68"/>
                  <a:pt x="1216" y="68"/>
                </a:cubicBezTo>
                <a:cubicBezTo>
                  <a:pt x="1217" y="67"/>
                  <a:pt x="1217" y="67"/>
                  <a:pt x="1217" y="67"/>
                </a:cubicBezTo>
                <a:cubicBezTo>
                  <a:pt x="1218" y="66"/>
                  <a:pt x="1218" y="66"/>
                  <a:pt x="1218" y="66"/>
                </a:cubicBezTo>
                <a:cubicBezTo>
                  <a:pt x="1218" y="65"/>
                  <a:pt x="1218" y="65"/>
                  <a:pt x="1218" y="65"/>
                </a:cubicBezTo>
                <a:cubicBezTo>
                  <a:pt x="1219" y="65"/>
                  <a:pt x="1219" y="65"/>
                  <a:pt x="1219" y="65"/>
                </a:cubicBezTo>
                <a:cubicBezTo>
                  <a:pt x="1220" y="64"/>
                  <a:pt x="1220" y="64"/>
                  <a:pt x="1220" y="64"/>
                </a:cubicBezTo>
                <a:cubicBezTo>
                  <a:pt x="1221" y="64"/>
                  <a:pt x="1221" y="64"/>
                  <a:pt x="1221" y="64"/>
                </a:cubicBezTo>
                <a:cubicBezTo>
                  <a:pt x="1222" y="64"/>
                  <a:pt x="1222" y="64"/>
                  <a:pt x="1222" y="64"/>
                </a:cubicBezTo>
                <a:cubicBezTo>
                  <a:pt x="1223" y="64"/>
                  <a:pt x="1223" y="64"/>
                  <a:pt x="1223" y="64"/>
                </a:cubicBezTo>
                <a:cubicBezTo>
                  <a:pt x="1224" y="63"/>
                  <a:pt x="1224" y="63"/>
                  <a:pt x="1224" y="63"/>
                </a:cubicBezTo>
                <a:cubicBezTo>
                  <a:pt x="1225" y="63"/>
                  <a:pt x="1225" y="63"/>
                  <a:pt x="1225" y="63"/>
                </a:cubicBezTo>
                <a:cubicBezTo>
                  <a:pt x="1228" y="62"/>
                  <a:pt x="1228" y="62"/>
                  <a:pt x="1228" y="62"/>
                </a:cubicBezTo>
                <a:cubicBezTo>
                  <a:pt x="1229" y="62"/>
                  <a:pt x="1229" y="62"/>
                  <a:pt x="1229" y="62"/>
                </a:cubicBezTo>
                <a:cubicBezTo>
                  <a:pt x="1228" y="63"/>
                  <a:pt x="1228" y="63"/>
                  <a:pt x="1228" y="63"/>
                </a:cubicBezTo>
                <a:cubicBezTo>
                  <a:pt x="1229" y="63"/>
                  <a:pt x="1229" y="63"/>
                  <a:pt x="1229" y="63"/>
                </a:cubicBezTo>
                <a:cubicBezTo>
                  <a:pt x="1230" y="62"/>
                  <a:pt x="1230" y="62"/>
                  <a:pt x="1230" y="62"/>
                </a:cubicBezTo>
                <a:cubicBezTo>
                  <a:pt x="1230" y="61"/>
                  <a:pt x="1230" y="61"/>
                  <a:pt x="1230" y="61"/>
                </a:cubicBezTo>
                <a:cubicBezTo>
                  <a:pt x="1230" y="60"/>
                  <a:pt x="1230" y="60"/>
                  <a:pt x="1230" y="60"/>
                </a:cubicBezTo>
                <a:cubicBezTo>
                  <a:pt x="1231" y="60"/>
                  <a:pt x="1231" y="60"/>
                  <a:pt x="1231" y="60"/>
                </a:cubicBezTo>
                <a:cubicBezTo>
                  <a:pt x="1232" y="60"/>
                  <a:pt x="1232" y="60"/>
                  <a:pt x="1232" y="60"/>
                </a:cubicBezTo>
                <a:cubicBezTo>
                  <a:pt x="1233" y="60"/>
                  <a:pt x="1233" y="60"/>
                  <a:pt x="1233" y="60"/>
                </a:cubicBezTo>
                <a:cubicBezTo>
                  <a:pt x="1234" y="60"/>
                  <a:pt x="1234" y="60"/>
                  <a:pt x="1234" y="60"/>
                </a:cubicBezTo>
                <a:cubicBezTo>
                  <a:pt x="1236" y="60"/>
                  <a:pt x="1236" y="60"/>
                  <a:pt x="1236" y="60"/>
                </a:cubicBezTo>
                <a:cubicBezTo>
                  <a:pt x="1237" y="61"/>
                  <a:pt x="1237" y="61"/>
                  <a:pt x="1237" y="61"/>
                </a:cubicBezTo>
                <a:cubicBezTo>
                  <a:pt x="1238" y="61"/>
                  <a:pt x="1238" y="61"/>
                  <a:pt x="1238" y="61"/>
                </a:cubicBezTo>
                <a:cubicBezTo>
                  <a:pt x="1241" y="61"/>
                  <a:pt x="1241" y="61"/>
                  <a:pt x="1241" y="61"/>
                </a:cubicBezTo>
                <a:cubicBezTo>
                  <a:pt x="1242" y="61"/>
                  <a:pt x="1242" y="61"/>
                  <a:pt x="1242" y="61"/>
                </a:cubicBezTo>
                <a:cubicBezTo>
                  <a:pt x="1243" y="61"/>
                  <a:pt x="1243" y="61"/>
                  <a:pt x="1243" y="61"/>
                </a:cubicBezTo>
                <a:cubicBezTo>
                  <a:pt x="1245" y="62"/>
                  <a:pt x="1245" y="62"/>
                  <a:pt x="1245" y="62"/>
                </a:cubicBezTo>
                <a:cubicBezTo>
                  <a:pt x="1248" y="62"/>
                  <a:pt x="1248" y="62"/>
                  <a:pt x="1248" y="62"/>
                </a:cubicBezTo>
                <a:cubicBezTo>
                  <a:pt x="1249" y="62"/>
                  <a:pt x="1249" y="62"/>
                  <a:pt x="1249" y="62"/>
                </a:cubicBezTo>
                <a:cubicBezTo>
                  <a:pt x="1249" y="63"/>
                  <a:pt x="1249" y="63"/>
                  <a:pt x="1249" y="63"/>
                </a:cubicBezTo>
                <a:cubicBezTo>
                  <a:pt x="1249" y="64"/>
                  <a:pt x="1249" y="64"/>
                  <a:pt x="1249" y="64"/>
                </a:cubicBezTo>
                <a:cubicBezTo>
                  <a:pt x="1248" y="64"/>
                  <a:pt x="1248" y="64"/>
                  <a:pt x="1248" y="64"/>
                </a:cubicBezTo>
                <a:cubicBezTo>
                  <a:pt x="1248" y="65"/>
                  <a:pt x="1248" y="65"/>
                  <a:pt x="1248" y="65"/>
                </a:cubicBezTo>
                <a:cubicBezTo>
                  <a:pt x="1247" y="66"/>
                  <a:pt x="1247" y="66"/>
                  <a:pt x="1247" y="66"/>
                </a:cubicBezTo>
                <a:cubicBezTo>
                  <a:pt x="1247" y="67"/>
                  <a:pt x="1247" y="67"/>
                  <a:pt x="1247" y="67"/>
                </a:cubicBezTo>
                <a:cubicBezTo>
                  <a:pt x="1244" y="67"/>
                  <a:pt x="1244" y="67"/>
                  <a:pt x="1244" y="67"/>
                </a:cubicBezTo>
                <a:cubicBezTo>
                  <a:pt x="1242" y="68"/>
                  <a:pt x="1242" y="68"/>
                  <a:pt x="1242" y="68"/>
                </a:cubicBezTo>
                <a:cubicBezTo>
                  <a:pt x="1241" y="68"/>
                  <a:pt x="1241" y="68"/>
                  <a:pt x="1241" y="68"/>
                </a:cubicBezTo>
                <a:cubicBezTo>
                  <a:pt x="1241" y="69"/>
                  <a:pt x="1241" y="69"/>
                  <a:pt x="1241" y="69"/>
                </a:cubicBezTo>
                <a:cubicBezTo>
                  <a:pt x="1240" y="70"/>
                  <a:pt x="1240" y="70"/>
                  <a:pt x="1240" y="70"/>
                </a:cubicBezTo>
                <a:cubicBezTo>
                  <a:pt x="1241" y="71"/>
                  <a:pt x="1241" y="71"/>
                  <a:pt x="1241" y="71"/>
                </a:cubicBezTo>
                <a:cubicBezTo>
                  <a:pt x="1242" y="71"/>
                  <a:pt x="1242" y="71"/>
                  <a:pt x="1242" y="71"/>
                </a:cubicBezTo>
                <a:cubicBezTo>
                  <a:pt x="1244" y="70"/>
                  <a:pt x="1244" y="70"/>
                  <a:pt x="1244" y="70"/>
                </a:cubicBezTo>
                <a:cubicBezTo>
                  <a:pt x="1245" y="70"/>
                  <a:pt x="1245" y="70"/>
                  <a:pt x="1245" y="70"/>
                </a:cubicBezTo>
                <a:cubicBezTo>
                  <a:pt x="1245" y="70"/>
                  <a:pt x="1245" y="70"/>
                  <a:pt x="1247" y="70"/>
                </a:cubicBezTo>
                <a:cubicBezTo>
                  <a:pt x="1248" y="70"/>
                  <a:pt x="1250" y="70"/>
                  <a:pt x="1250" y="70"/>
                </a:cubicBezTo>
                <a:cubicBezTo>
                  <a:pt x="1251" y="71"/>
                  <a:pt x="1251" y="71"/>
                  <a:pt x="1251" y="71"/>
                </a:cubicBezTo>
                <a:cubicBezTo>
                  <a:pt x="1252" y="71"/>
                  <a:pt x="1252" y="71"/>
                  <a:pt x="1252" y="71"/>
                </a:cubicBezTo>
                <a:cubicBezTo>
                  <a:pt x="1252" y="70"/>
                  <a:pt x="1252" y="70"/>
                  <a:pt x="1252" y="70"/>
                </a:cubicBezTo>
                <a:cubicBezTo>
                  <a:pt x="1253" y="70"/>
                  <a:pt x="1253" y="70"/>
                  <a:pt x="1253" y="70"/>
                </a:cubicBezTo>
                <a:cubicBezTo>
                  <a:pt x="1254" y="71"/>
                  <a:pt x="1254" y="71"/>
                  <a:pt x="1254" y="71"/>
                </a:cubicBezTo>
                <a:cubicBezTo>
                  <a:pt x="1255" y="69"/>
                  <a:pt x="1255" y="69"/>
                  <a:pt x="1255" y="69"/>
                </a:cubicBezTo>
                <a:cubicBezTo>
                  <a:pt x="1255" y="67"/>
                  <a:pt x="1255" y="67"/>
                  <a:pt x="1255" y="67"/>
                </a:cubicBezTo>
                <a:cubicBezTo>
                  <a:pt x="1255" y="66"/>
                  <a:pt x="1255" y="66"/>
                  <a:pt x="1255" y="66"/>
                </a:cubicBezTo>
                <a:cubicBezTo>
                  <a:pt x="1256" y="65"/>
                  <a:pt x="1256" y="65"/>
                  <a:pt x="1256" y="65"/>
                </a:cubicBezTo>
                <a:cubicBezTo>
                  <a:pt x="1256" y="64"/>
                  <a:pt x="1256" y="64"/>
                  <a:pt x="1256" y="64"/>
                </a:cubicBezTo>
                <a:cubicBezTo>
                  <a:pt x="1257" y="63"/>
                  <a:pt x="1257" y="63"/>
                  <a:pt x="1257" y="63"/>
                </a:cubicBezTo>
                <a:cubicBezTo>
                  <a:pt x="1258" y="63"/>
                  <a:pt x="1258" y="63"/>
                  <a:pt x="1258" y="63"/>
                </a:cubicBezTo>
                <a:cubicBezTo>
                  <a:pt x="1259" y="64"/>
                  <a:pt x="1259" y="64"/>
                  <a:pt x="1259" y="64"/>
                </a:cubicBezTo>
                <a:cubicBezTo>
                  <a:pt x="1261" y="63"/>
                  <a:pt x="1261" y="63"/>
                  <a:pt x="1261" y="63"/>
                </a:cubicBezTo>
                <a:cubicBezTo>
                  <a:pt x="1262" y="63"/>
                  <a:pt x="1262" y="63"/>
                  <a:pt x="1262" y="63"/>
                </a:cubicBezTo>
                <a:cubicBezTo>
                  <a:pt x="1263" y="63"/>
                  <a:pt x="1263" y="63"/>
                  <a:pt x="1263" y="63"/>
                </a:cubicBezTo>
                <a:cubicBezTo>
                  <a:pt x="1263" y="65"/>
                  <a:pt x="1263" y="65"/>
                  <a:pt x="1263" y="65"/>
                </a:cubicBezTo>
                <a:cubicBezTo>
                  <a:pt x="1263" y="67"/>
                  <a:pt x="1263" y="67"/>
                  <a:pt x="1263" y="67"/>
                </a:cubicBezTo>
                <a:cubicBezTo>
                  <a:pt x="1263" y="68"/>
                  <a:pt x="1263" y="68"/>
                  <a:pt x="1263" y="68"/>
                </a:cubicBezTo>
                <a:cubicBezTo>
                  <a:pt x="1262" y="70"/>
                  <a:pt x="1262" y="70"/>
                  <a:pt x="1262" y="70"/>
                </a:cubicBezTo>
                <a:cubicBezTo>
                  <a:pt x="1261" y="71"/>
                  <a:pt x="1261" y="71"/>
                  <a:pt x="1261" y="71"/>
                </a:cubicBezTo>
                <a:cubicBezTo>
                  <a:pt x="1261" y="73"/>
                  <a:pt x="1261" y="73"/>
                  <a:pt x="1261" y="73"/>
                </a:cubicBezTo>
                <a:cubicBezTo>
                  <a:pt x="1261" y="74"/>
                  <a:pt x="1261" y="74"/>
                  <a:pt x="1261" y="74"/>
                </a:cubicBezTo>
                <a:cubicBezTo>
                  <a:pt x="1257" y="77"/>
                  <a:pt x="1257" y="77"/>
                  <a:pt x="1257" y="77"/>
                </a:cubicBezTo>
                <a:cubicBezTo>
                  <a:pt x="1256" y="77"/>
                  <a:pt x="1256" y="77"/>
                  <a:pt x="1256" y="77"/>
                </a:cubicBezTo>
                <a:cubicBezTo>
                  <a:pt x="1255" y="77"/>
                  <a:pt x="1255" y="77"/>
                  <a:pt x="1255" y="77"/>
                </a:cubicBezTo>
                <a:cubicBezTo>
                  <a:pt x="1254" y="78"/>
                  <a:pt x="1254" y="78"/>
                  <a:pt x="1254" y="78"/>
                </a:cubicBezTo>
                <a:cubicBezTo>
                  <a:pt x="1253" y="78"/>
                  <a:pt x="1253" y="78"/>
                  <a:pt x="1253" y="78"/>
                </a:cubicBezTo>
                <a:cubicBezTo>
                  <a:pt x="1252" y="79"/>
                  <a:pt x="1252" y="79"/>
                  <a:pt x="1252" y="79"/>
                </a:cubicBezTo>
                <a:cubicBezTo>
                  <a:pt x="1252" y="80"/>
                  <a:pt x="1252" y="80"/>
                  <a:pt x="1252" y="80"/>
                </a:cubicBezTo>
                <a:cubicBezTo>
                  <a:pt x="1251" y="81"/>
                  <a:pt x="1251" y="81"/>
                  <a:pt x="1251" y="81"/>
                </a:cubicBezTo>
                <a:cubicBezTo>
                  <a:pt x="1250" y="82"/>
                  <a:pt x="1250" y="82"/>
                  <a:pt x="1250" y="82"/>
                </a:cubicBezTo>
                <a:cubicBezTo>
                  <a:pt x="1249" y="81"/>
                  <a:pt x="1249" y="81"/>
                  <a:pt x="1249" y="81"/>
                </a:cubicBezTo>
                <a:cubicBezTo>
                  <a:pt x="1249" y="82"/>
                  <a:pt x="1249" y="82"/>
                  <a:pt x="1249" y="82"/>
                </a:cubicBezTo>
                <a:cubicBezTo>
                  <a:pt x="1249" y="83"/>
                  <a:pt x="1249" y="83"/>
                  <a:pt x="1249" y="83"/>
                </a:cubicBezTo>
                <a:cubicBezTo>
                  <a:pt x="1248" y="85"/>
                  <a:pt x="1248" y="85"/>
                  <a:pt x="1248" y="85"/>
                </a:cubicBezTo>
                <a:cubicBezTo>
                  <a:pt x="1247" y="86"/>
                  <a:pt x="1247" y="86"/>
                  <a:pt x="1247" y="86"/>
                </a:cubicBezTo>
                <a:cubicBezTo>
                  <a:pt x="1246" y="86"/>
                  <a:pt x="1246" y="86"/>
                  <a:pt x="1246" y="86"/>
                </a:cubicBezTo>
                <a:cubicBezTo>
                  <a:pt x="1245" y="88"/>
                  <a:pt x="1245" y="88"/>
                  <a:pt x="1245" y="88"/>
                </a:cubicBezTo>
                <a:cubicBezTo>
                  <a:pt x="1243" y="89"/>
                  <a:pt x="1243" y="89"/>
                  <a:pt x="1243" y="89"/>
                </a:cubicBezTo>
                <a:cubicBezTo>
                  <a:pt x="1242" y="89"/>
                  <a:pt x="1242" y="89"/>
                  <a:pt x="1242" y="89"/>
                </a:cubicBezTo>
                <a:cubicBezTo>
                  <a:pt x="1241" y="90"/>
                  <a:pt x="1241" y="90"/>
                  <a:pt x="1241" y="90"/>
                </a:cubicBezTo>
                <a:cubicBezTo>
                  <a:pt x="1241" y="91"/>
                  <a:pt x="1241" y="91"/>
                  <a:pt x="1241" y="91"/>
                </a:cubicBezTo>
                <a:cubicBezTo>
                  <a:pt x="1240" y="91"/>
                  <a:pt x="1240" y="91"/>
                  <a:pt x="1240" y="91"/>
                </a:cubicBezTo>
                <a:cubicBezTo>
                  <a:pt x="1240" y="92"/>
                  <a:pt x="1240" y="92"/>
                  <a:pt x="1240" y="92"/>
                </a:cubicBezTo>
                <a:cubicBezTo>
                  <a:pt x="1240" y="93"/>
                  <a:pt x="1240" y="93"/>
                  <a:pt x="1240" y="93"/>
                </a:cubicBezTo>
                <a:cubicBezTo>
                  <a:pt x="1239" y="94"/>
                  <a:pt x="1239" y="94"/>
                  <a:pt x="1239" y="94"/>
                </a:cubicBezTo>
                <a:cubicBezTo>
                  <a:pt x="1239" y="95"/>
                  <a:pt x="1239" y="95"/>
                  <a:pt x="1239" y="95"/>
                </a:cubicBezTo>
                <a:cubicBezTo>
                  <a:pt x="1240" y="94"/>
                  <a:pt x="1240" y="94"/>
                  <a:pt x="1240" y="94"/>
                </a:cubicBezTo>
                <a:cubicBezTo>
                  <a:pt x="1241" y="92"/>
                  <a:pt x="1241" y="92"/>
                  <a:pt x="1241" y="92"/>
                </a:cubicBezTo>
                <a:cubicBezTo>
                  <a:pt x="1242" y="91"/>
                  <a:pt x="1242" y="91"/>
                  <a:pt x="1242" y="91"/>
                </a:cubicBezTo>
                <a:cubicBezTo>
                  <a:pt x="1243" y="90"/>
                  <a:pt x="1243" y="90"/>
                  <a:pt x="1243" y="90"/>
                </a:cubicBezTo>
                <a:cubicBezTo>
                  <a:pt x="1244" y="90"/>
                  <a:pt x="1244" y="90"/>
                  <a:pt x="1244" y="90"/>
                </a:cubicBezTo>
                <a:cubicBezTo>
                  <a:pt x="1244" y="91"/>
                  <a:pt x="1244" y="91"/>
                  <a:pt x="1244" y="91"/>
                </a:cubicBezTo>
                <a:cubicBezTo>
                  <a:pt x="1245" y="89"/>
                  <a:pt x="1245" y="89"/>
                  <a:pt x="1245" y="89"/>
                </a:cubicBezTo>
                <a:cubicBezTo>
                  <a:pt x="1247" y="88"/>
                  <a:pt x="1247" y="88"/>
                  <a:pt x="1247" y="88"/>
                </a:cubicBezTo>
                <a:cubicBezTo>
                  <a:pt x="1248" y="88"/>
                  <a:pt x="1248" y="88"/>
                  <a:pt x="1248" y="88"/>
                </a:cubicBezTo>
                <a:cubicBezTo>
                  <a:pt x="1248" y="86"/>
                  <a:pt x="1248" y="86"/>
                  <a:pt x="1248" y="86"/>
                </a:cubicBezTo>
                <a:cubicBezTo>
                  <a:pt x="1250" y="85"/>
                  <a:pt x="1250" y="85"/>
                  <a:pt x="1250" y="85"/>
                </a:cubicBezTo>
                <a:cubicBezTo>
                  <a:pt x="1252" y="83"/>
                  <a:pt x="1252" y="83"/>
                  <a:pt x="1252" y="83"/>
                </a:cubicBezTo>
                <a:cubicBezTo>
                  <a:pt x="1253" y="83"/>
                  <a:pt x="1253" y="83"/>
                  <a:pt x="1253" y="83"/>
                </a:cubicBezTo>
                <a:cubicBezTo>
                  <a:pt x="1254" y="83"/>
                  <a:pt x="1254" y="83"/>
                  <a:pt x="1254" y="83"/>
                </a:cubicBezTo>
                <a:cubicBezTo>
                  <a:pt x="1255" y="82"/>
                  <a:pt x="1255" y="82"/>
                  <a:pt x="1255" y="82"/>
                </a:cubicBezTo>
                <a:cubicBezTo>
                  <a:pt x="1256" y="82"/>
                  <a:pt x="1256" y="82"/>
                  <a:pt x="1256" y="82"/>
                </a:cubicBezTo>
                <a:cubicBezTo>
                  <a:pt x="1258" y="82"/>
                  <a:pt x="1258" y="82"/>
                  <a:pt x="1258" y="82"/>
                </a:cubicBezTo>
                <a:cubicBezTo>
                  <a:pt x="1260" y="81"/>
                  <a:pt x="1260" y="81"/>
                  <a:pt x="1260" y="81"/>
                </a:cubicBezTo>
                <a:cubicBezTo>
                  <a:pt x="1261" y="80"/>
                  <a:pt x="1261" y="80"/>
                  <a:pt x="1261" y="80"/>
                </a:cubicBezTo>
                <a:cubicBezTo>
                  <a:pt x="1262" y="80"/>
                  <a:pt x="1262" y="80"/>
                  <a:pt x="1262" y="80"/>
                </a:cubicBezTo>
                <a:cubicBezTo>
                  <a:pt x="1263" y="79"/>
                  <a:pt x="1263" y="79"/>
                  <a:pt x="1263" y="79"/>
                </a:cubicBezTo>
                <a:cubicBezTo>
                  <a:pt x="1264" y="78"/>
                  <a:pt x="1264" y="78"/>
                  <a:pt x="1264" y="78"/>
                </a:cubicBezTo>
                <a:cubicBezTo>
                  <a:pt x="1265" y="78"/>
                  <a:pt x="1265" y="78"/>
                  <a:pt x="1265" y="78"/>
                </a:cubicBezTo>
                <a:cubicBezTo>
                  <a:pt x="1265" y="77"/>
                  <a:pt x="1265" y="77"/>
                  <a:pt x="1265" y="77"/>
                </a:cubicBezTo>
                <a:cubicBezTo>
                  <a:pt x="1267" y="76"/>
                  <a:pt x="1267" y="76"/>
                  <a:pt x="1267" y="76"/>
                </a:cubicBezTo>
                <a:cubicBezTo>
                  <a:pt x="1268" y="74"/>
                  <a:pt x="1268" y="74"/>
                  <a:pt x="1268" y="74"/>
                </a:cubicBezTo>
                <a:cubicBezTo>
                  <a:pt x="1268" y="73"/>
                  <a:pt x="1268" y="73"/>
                  <a:pt x="1268" y="73"/>
                </a:cubicBezTo>
                <a:cubicBezTo>
                  <a:pt x="1269" y="72"/>
                  <a:pt x="1269" y="72"/>
                  <a:pt x="1269" y="72"/>
                </a:cubicBezTo>
                <a:cubicBezTo>
                  <a:pt x="1270" y="73"/>
                  <a:pt x="1270" y="73"/>
                  <a:pt x="1270" y="73"/>
                </a:cubicBezTo>
                <a:cubicBezTo>
                  <a:pt x="1270" y="74"/>
                  <a:pt x="1270" y="74"/>
                  <a:pt x="1270" y="74"/>
                </a:cubicBezTo>
                <a:cubicBezTo>
                  <a:pt x="1269" y="75"/>
                  <a:pt x="1269" y="75"/>
                  <a:pt x="1269" y="75"/>
                </a:cubicBezTo>
                <a:cubicBezTo>
                  <a:pt x="1270" y="76"/>
                  <a:pt x="1270" y="76"/>
                  <a:pt x="1270" y="76"/>
                </a:cubicBezTo>
                <a:cubicBezTo>
                  <a:pt x="1270" y="77"/>
                  <a:pt x="1270" y="77"/>
                  <a:pt x="1270" y="77"/>
                </a:cubicBezTo>
                <a:cubicBezTo>
                  <a:pt x="1270" y="78"/>
                  <a:pt x="1270" y="78"/>
                  <a:pt x="1270" y="78"/>
                </a:cubicBezTo>
                <a:cubicBezTo>
                  <a:pt x="1271" y="77"/>
                  <a:pt x="1271" y="77"/>
                  <a:pt x="1271" y="77"/>
                </a:cubicBezTo>
                <a:cubicBezTo>
                  <a:pt x="1271" y="76"/>
                  <a:pt x="1271" y="76"/>
                  <a:pt x="1271" y="76"/>
                </a:cubicBezTo>
                <a:cubicBezTo>
                  <a:pt x="1271" y="74"/>
                  <a:pt x="1271" y="74"/>
                  <a:pt x="1271" y="74"/>
                </a:cubicBezTo>
                <a:cubicBezTo>
                  <a:pt x="1272" y="74"/>
                  <a:pt x="1272" y="74"/>
                  <a:pt x="1272" y="74"/>
                </a:cubicBezTo>
                <a:cubicBezTo>
                  <a:pt x="1272" y="75"/>
                  <a:pt x="1272" y="75"/>
                  <a:pt x="1272" y="75"/>
                </a:cubicBezTo>
                <a:cubicBezTo>
                  <a:pt x="1273" y="76"/>
                  <a:pt x="1273" y="76"/>
                  <a:pt x="1273" y="76"/>
                </a:cubicBezTo>
                <a:cubicBezTo>
                  <a:pt x="1274" y="76"/>
                  <a:pt x="1274" y="76"/>
                  <a:pt x="1274" y="76"/>
                </a:cubicBezTo>
                <a:cubicBezTo>
                  <a:pt x="1275" y="75"/>
                  <a:pt x="1275" y="75"/>
                  <a:pt x="1275" y="75"/>
                </a:cubicBezTo>
                <a:cubicBezTo>
                  <a:pt x="1275" y="74"/>
                  <a:pt x="1275" y="74"/>
                  <a:pt x="1275" y="74"/>
                </a:cubicBezTo>
                <a:cubicBezTo>
                  <a:pt x="1275" y="73"/>
                  <a:pt x="1275" y="73"/>
                  <a:pt x="1275" y="73"/>
                </a:cubicBezTo>
                <a:cubicBezTo>
                  <a:pt x="1276" y="73"/>
                  <a:pt x="1276" y="73"/>
                  <a:pt x="1276" y="73"/>
                </a:cubicBezTo>
                <a:cubicBezTo>
                  <a:pt x="1276" y="71"/>
                  <a:pt x="1276" y="71"/>
                  <a:pt x="1276" y="71"/>
                </a:cubicBezTo>
                <a:cubicBezTo>
                  <a:pt x="1276" y="70"/>
                  <a:pt x="1276" y="70"/>
                  <a:pt x="1276" y="70"/>
                </a:cubicBezTo>
                <a:cubicBezTo>
                  <a:pt x="1277" y="69"/>
                  <a:pt x="1277" y="69"/>
                  <a:pt x="1277" y="69"/>
                </a:cubicBezTo>
                <a:cubicBezTo>
                  <a:pt x="1277" y="70"/>
                  <a:pt x="1277" y="70"/>
                  <a:pt x="1277" y="70"/>
                </a:cubicBezTo>
                <a:cubicBezTo>
                  <a:pt x="1278" y="71"/>
                  <a:pt x="1278" y="71"/>
                  <a:pt x="1278" y="71"/>
                </a:cubicBezTo>
                <a:cubicBezTo>
                  <a:pt x="1280" y="70"/>
                  <a:pt x="1280" y="70"/>
                  <a:pt x="1280" y="70"/>
                </a:cubicBezTo>
                <a:cubicBezTo>
                  <a:pt x="1280" y="69"/>
                  <a:pt x="1280" y="69"/>
                  <a:pt x="1280" y="69"/>
                </a:cubicBezTo>
                <a:cubicBezTo>
                  <a:pt x="1282" y="69"/>
                  <a:pt x="1282" y="69"/>
                  <a:pt x="1282" y="69"/>
                </a:cubicBezTo>
                <a:cubicBezTo>
                  <a:pt x="1283" y="69"/>
                  <a:pt x="1283" y="69"/>
                  <a:pt x="1283" y="69"/>
                </a:cubicBezTo>
                <a:cubicBezTo>
                  <a:pt x="1284" y="68"/>
                  <a:pt x="1284" y="68"/>
                  <a:pt x="1284" y="68"/>
                </a:cubicBezTo>
                <a:cubicBezTo>
                  <a:pt x="1286" y="69"/>
                  <a:pt x="1286" y="69"/>
                  <a:pt x="1286" y="69"/>
                </a:cubicBezTo>
                <a:cubicBezTo>
                  <a:pt x="1287" y="70"/>
                  <a:pt x="1287" y="70"/>
                  <a:pt x="1287" y="70"/>
                </a:cubicBezTo>
                <a:cubicBezTo>
                  <a:pt x="1289" y="70"/>
                  <a:pt x="1289" y="70"/>
                  <a:pt x="1289" y="70"/>
                </a:cubicBezTo>
                <a:cubicBezTo>
                  <a:pt x="1290" y="70"/>
                  <a:pt x="1290" y="70"/>
                  <a:pt x="1290" y="70"/>
                </a:cubicBezTo>
                <a:cubicBezTo>
                  <a:pt x="1291" y="71"/>
                  <a:pt x="1291" y="71"/>
                  <a:pt x="1291" y="71"/>
                </a:cubicBezTo>
                <a:cubicBezTo>
                  <a:pt x="1292" y="72"/>
                  <a:pt x="1292" y="72"/>
                  <a:pt x="1292" y="72"/>
                </a:cubicBezTo>
                <a:cubicBezTo>
                  <a:pt x="1293" y="72"/>
                  <a:pt x="1293" y="72"/>
                  <a:pt x="1293" y="72"/>
                </a:cubicBezTo>
                <a:cubicBezTo>
                  <a:pt x="1294" y="72"/>
                  <a:pt x="1294" y="72"/>
                  <a:pt x="1294" y="72"/>
                </a:cubicBezTo>
                <a:cubicBezTo>
                  <a:pt x="1294" y="73"/>
                  <a:pt x="1294" y="73"/>
                  <a:pt x="1294" y="73"/>
                </a:cubicBezTo>
                <a:cubicBezTo>
                  <a:pt x="1295" y="74"/>
                  <a:pt x="1295" y="74"/>
                  <a:pt x="1295" y="74"/>
                </a:cubicBezTo>
                <a:cubicBezTo>
                  <a:pt x="1296" y="75"/>
                  <a:pt x="1296" y="75"/>
                  <a:pt x="1296" y="75"/>
                </a:cubicBezTo>
                <a:cubicBezTo>
                  <a:pt x="1297" y="76"/>
                  <a:pt x="1297" y="76"/>
                  <a:pt x="1297" y="76"/>
                </a:cubicBezTo>
                <a:cubicBezTo>
                  <a:pt x="1298" y="77"/>
                  <a:pt x="1298" y="77"/>
                  <a:pt x="1298" y="77"/>
                </a:cubicBezTo>
                <a:cubicBezTo>
                  <a:pt x="1298" y="79"/>
                  <a:pt x="1298" y="79"/>
                  <a:pt x="1298" y="79"/>
                </a:cubicBezTo>
                <a:cubicBezTo>
                  <a:pt x="1298" y="80"/>
                  <a:pt x="1298" y="80"/>
                  <a:pt x="1298" y="80"/>
                </a:cubicBezTo>
                <a:cubicBezTo>
                  <a:pt x="1298" y="81"/>
                  <a:pt x="1298" y="81"/>
                  <a:pt x="1298" y="81"/>
                </a:cubicBezTo>
                <a:cubicBezTo>
                  <a:pt x="1296" y="81"/>
                  <a:pt x="1296" y="81"/>
                  <a:pt x="1296" y="81"/>
                </a:cubicBezTo>
                <a:cubicBezTo>
                  <a:pt x="1295" y="82"/>
                  <a:pt x="1295" y="82"/>
                  <a:pt x="1295" y="82"/>
                </a:cubicBezTo>
                <a:cubicBezTo>
                  <a:pt x="1295" y="83"/>
                  <a:pt x="1295" y="83"/>
                  <a:pt x="1295" y="83"/>
                </a:cubicBezTo>
                <a:cubicBezTo>
                  <a:pt x="1294" y="83"/>
                  <a:pt x="1294" y="83"/>
                  <a:pt x="1294" y="83"/>
                </a:cubicBezTo>
                <a:cubicBezTo>
                  <a:pt x="1293" y="84"/>
                  <a:pt x="1293" y="84"/>
                  <a:pt x="1293" y="84"/>
                </a:cubicBezTo>
                <a:cubicBezTo>
                  <a:pt x="1292" y="86"/>
                  <a:pt x="1292" y="86"/>
                  <a:pt x="1292" y="86"/>
                </a:cubicBezTo>
                <a:cubicBezTo>
                  <a:pt x="1291" y="87"/>
                  <a:pt x="1291" y="87"/>
                  <a:pt x="1291" y="87"/>
                </a:cubicBezTo>
                <a:cubicBezTo>
                  <a:pt x="1290" y="86"/>
                  <a:pt x="1290" y="86"/>
                  <a:pt x="1290" y="86"/>
                </a:cubicBezTo>
                <a:cubicBezTo>
                  <a:pt x="1288" y="85"/>
                  <a:pt x="1288" y="85"/>
                  <a:pt x="1288" y="85"/>
                </a:cubicBezTo>
                <a:cubicBezTo>
                  <a:pt x="1287" y="86"/>
                  <a:pt x="1287" y="86"/>
                  <a:pt x="1287" y="86"/>
                </a:cubicBezTo>
                <a:cubicBezTo>
                  <a:pt x="1286" y="87"/>
                  <a:pt x="1286" y="87"/>
                  <a:pt x="1286" y="87"/>
                </a:cubicBezTo>
                <a:cubicBezTo>
                  <a:pt x="1286" y="88"/>
                  <a:pt x="1286" y="88"/>
                  <a:pt x="1286" y="88"/>
                </a:cubicBezTo>
                <a:cubicBezTo>
                  <a:pt x="1286" y="89"/>
                  <a:pt x="1286" y="89"/>
                  <a:pt x="1286" y="89"/>
                </a:cubicBezTo>
                <a:cubicBezTo>
                  <a:pt x="1287" y="90"/>
                  <a:pt x="1287" y="90"/>
                  <a:pt x="1287" y="90"/>
                </a:cubicBezTo>
                <a:cubicBezTo>
                  <a:pt x="1288" y="90"/>
                  <a:pt x="1288" y="90"/>
                  <a:pt x="1288" y="90"/>
                </a:cubicBezTo>
                <a:cubicBezTo>
                  <a:pt x="1288" y="91"/>
                  <a:pt x="1288" y="91"/>
                  <a:pt x="1288" y="91"/>
                </a:cubicBezTo>
                <a:cubicBezTo>
                  <a:pt x="1287" y="91"/>
                  <a:pt x="1287" y="91"/>
                  <a:pt x="1287" y="91"/>
                </a:cubicBezTo>
                <a:cubicBezTo>
                  <a:pt x="1286" y="91"/>
                  <a:pt x="1286" y="91"/>
                  <a:pt x="1286" y="91"/>
                </a:cubicBezTo>
                <a:cubicBezTo>
                  <a:pt x="1284" y="92"/>
                  <a:pt x="1284" y="92"/>
                  <a:pt x="1284" y="92"/>
                </a:cubicBezTo>
                <a:cubicBezTo>
                  <a:pt x="1282" y="93"/>
                  <a:pt x="1282" y="93"/>
                  <a:pt x="1282" y="93"/>
                </a:cubicBezTo>
                <a:cubicBezTo>
                  <a:pt x="1281" y="93"/>
                  <a:pt x="1281" y="93"/>
                  <a:pt x="1281" y="93"/>
                </a:cubicBezTo>
                <a:cubicBezTo>
                  <a:pt x="1280" y="93"/>
                  <a:pt x="1280" y="93"/>
                  <a:pt x="1280" y="93"/>
                </a:cubicBezTo>
                <a:cubicBezTo>
                  <a:pt x="1279" y="92"/>
                  <a:pt x="1279" y="92"/>
                  <a:pt x="1279" y="92"/>
                </a:cubicBezTo>
                <a:cubicBezTo>
                  <a:pt x="1278" y="92"/>
                  <a:pt x="1278" y="92"/>
                  <a:pt x="1278" y="92"/>
                </a:cubicBezTo>
                <a:cubicBezTo>
                  <a:pt x="1277" y="92"/>
                  <a:pt x="1277" y="92"/>
                  <a:pt x="1277" y="92"/>
                </a:cubicBezTo>
                <a:cubicBezTo>
                  <a:pt x="1276" y="92"/>
                  <a:pt x="1276" y="92"/>
                  <a:pt x="1276" y="92"/>
                </a:cubicBezTo>
                <a:cubicBezTo>
                  <a:pt x="1275" y="92"/>
                  <a:pt x="1275" y="92"/>
                  <a:pt x="1275" y="92"/>
                </a:cubicBezTo>
                <a:cubicBezTo>
                  <a:pt x="1274" y="92"/>
                  <a:pt x="1274" y="92"/>
                  <a:pt x="1274" y="92"/>
                </a:cubicBezTo>
                <a:cubicBezTo>
                  <a:pt x="1273" y="93"/>
                  <a:pt x="1273" y="93"/>
                  <a:pt x="1273" y="93"/>
                </a:cubicBezTo>
                <a:cubicBezTo>
                  <a:pt x="1272" y="93"/>
                  <a:pt x="1272" y="93"/>
                  <a:pt x="1272" y="93"/>
                </a:cubicBezTo>
                <a:cubicBezTo>
                  <a:pt x="1271" y="93"/>
                  <a:pt x="1271" y="93"/>
                  <a:pt x="1271" y="93"/>
                </a:cubicBezTo>
                <a:cubicBezTo>
                  <a:pt x="1271" y="94"/>
                  <a:pt x="1271" y="94"/>
                  <a:pt x="1271" y="94"/>
                </a:cubicBezTo>
                <a:cubicBezTo>
                  <a:pt x="1269" y="93"/>
                  <a:pt x="1269" y="93"/>
                  <a:pt x="1269" y="93"/>
                </a:cubicBezTo>
                <a:cubicBezTo>
                  <a:pt x="1268" y="93"/>
                  <a:pt x="1268" y="93"/>
                  <a:pt x="1268" y="93"/>
                </a:cubicBezTo>
                <a:cubicBezTo>
                  <a:pt x="1267" y="93"/>
                  <a:pt x="1267" y="93"/>
                  <a:pt x="1267" y="93"/>
                </a:cubicBezTo>
                <a:cubicBezTo>
                  <a:pt x="1266" y="94"/>
                  <a:pt x="1266" y="94"/>
                  <a:pt x="1266" y="94"/>
                </a:cubicBezTo>
                <a:cubicBezTo>
                  <a:pt x="1268" y="94"/>
                  <a:pt x="1268" y="94"/>
                  <a:pt x="1268" y="94"/>
                </a:cubicBezTo>
                <a:cubicBezTo>
                  <a:pt x="1269" y="94"/>
                  <a:pt x="1269" y="94"/>
                  <a:pt x="1269" y="94"/>
                </a:cubicBezTo>
                <a:cubicBezTo>
                  <a:pt x="1270" y="94"/>
                  <a:pt x="1270" y="94"/>
                  <a:pt x="1270" y="94"/>
                </a:cubicBezTo>
                <a:cubicBezTo>
                  <a:pt x="1271" y="94"/>
                  <a:pt x="1271" y="94"/>
                  <a:pt x="1271" y="94"/>
                </a:cubicBezTo>
                <a:cubicBezTo>
                  <a:pt x="1273" y="95"/>
                  <a:pt x="1273" y="95"/>
                  <a:pt x="1273" y="95"/>
                </a:cubicBezTo>
                <a:cubicBezTo>
                  <a:pt x="1275" y="95"/>
                  <a:pt x="1275" y="95"/>
                  <a:pt x="1275" y="95"/>
                </a:cubicBezTo>
                <a:cubicBezTo>
                  <a:pt x="1276" y="95"/>
                  <a:pt x="1276" y="95"/>
                  <a:pt x="1276" y="95"/>
                </a:cubicBezTo>
                <a:cubicBezTo>
                  <a:pt x="1277" y="95"/>
                  <a:pt x="1277" y="95"/>
                  <a:pt x="1277" y="95"/>
                </a:cubicBezTo>
                <a:cubicBezTo>
                  <a:pt x="1278" y="95"/>
                  <a:pt x="1278" y="95"/>
                  <a:pt x="1278" y="95"/>
                </a:cubicBezTo>
                <a:cubicBezTo>
                  <a:pt x="1279" y="95"/>
                  <a:pt x="1279" y="95"/>
                  <a:pt x="1279" y="95"/>
                </a:cubicBezTo>
                <a:cubicBezTo>
                  <a:pt x="1280" y="96"/>
                  <a:pt x="1280" y="96"/>
                  <a:pt x="1280" y="96"/>
                </a:cubicBezTo>
                <a:cubicBezTo>
                  <a:pt x="1281" y="97"/>
                  <a:pt x="1281" y="97"/>
                  <a:pt x="1281" y="97"/>
                </a:cubicBezTo>
                <a:cubicBezTo>
                  <a:pt x="1280" y="98"/>
                  <a:pt x="1280" y="98"/>
                  <a:pt x="1280" y="98"/>
                </a:cubicBezTo>
                <a:cubicBezTo>
                  <a:pt x="1279" y="99"/>
                  <a:pt x="1279" y="99"/>
                  <a:pt x="1279" y="99"/>
                </a:cubicBezTo>
                <a:cubicBezTo>
                  <a:pt x="1279" y="100"/>
                  <a:pt x="1279" y="100"/>
                  <a:pt x="1279" y="100"/>
                </a:cubicBezTo>
                <a:cubicBezTo>
                  <a:pt x="1278" y="101"/>
                  <a:pt x="1278" y="101"/>
                  <a:pt x="1278" y="101"/>
                </a:cubicBezTo>
                <a:cubicBezTo>
                  <a:pt x="1275" y="101"/>
                  <a:pt x="1275" y="101"/>
                  <a:pt x="1275" y="101"/>
                </a:cubicBezTo>
                <a:cubicBezTo>
                  <a:pt x="1274" y="101"/>
                  <a:pt x="1274" y="101"/>
                  <a:pt x="1274" y="101"/>
                </a:cubicBezTo>
                <a:cubicBezTo>
                  <a:pt x="1273" y="101"/>
                  <a:pt x="1273" y="101"/>
                  <a:pt x="1273" y="101"/>
                </a:cubicBezTo>
                <a:cubicBezTo>
                  <a:pt x="1271" y="101"/>
                  <a:pt x="1271" y="101"/>
                  <a:pt x="1271" y="101"/>
                </a:cubicBezTo>
                <a:cubicBezTo>
                  <a:pt x="1270" y="101"/>
                  <a:pt x="1270" y="101"/>
                  <a:pt x="1270" y="101"/>
                </a:cubicBezTo>
                <a:cubicBezTo>
                  <a:pt x="1268" y="99"/>
                  <a:pt x="1268" y="99"/>
                  <a:pt x="1268" y="99"/>
                </a:cubicBezTo>
                <a:cubicBezTo>
                  <a:pt x="1267" y="99"/>
                  <a:pt x="1267" y="99"/>
                  <a:pt x="1267" y="99"/>
                </a:cubicBezTo>
                <a:cubicBezTo>
                  <a:pt x="1266" y="99"/>
                  <a:pt x="1266" y="99"/>
                  <a:pt x="1266" y="99"/>
                </a:cubicBezTo>
                <a:cubicBezTo>
                  <a:pt x="1265" y="99"/>
                  <a:pt x="1265" y="99"/>
                  <a:pt x="1265" y="99"/>
                </a:cubicBezTo>
                <a:cubicBezTo>
                  <a:pt x="1264" y="99"/>
                  <a:pt x="1264" y="99"/>
                  <a:pt x="1264" y="99"/>
                </a:cubicBezTo>
                <a:cubicBezTo>
                  <a:pt x="1264" y="101"/>
                  <a:pt x="1264" y="101"/>
                  <a:pt x="1264" y="101"/>
                </a:cubicBezTo>
                <a:cubicBezTo>
                  <a:pt x="1262" y="102"/>
                  <a:pt x="1262" y="102"/>
                  <a:pt x="1262" y="102"/>
                </a:cubicBezTo>
                <a:cubicBezTo>
                  <a:pt x="1261" y="103"/>
                  <a:pt x="1261" y="103"/>
                  <a:pt x="1261" y="103"/>
                </a:cubicBezTo>
                <a:cubicBezTo>
                  <a:pt x="1262" y="103"/>
                  <a:pt x="1262" y="103"/>
                  <a:pt x="1262" y="103"/>
                </a:cubicBezTo>
                <a:cubicBezTo>
                  <a:pt x="1263" y="104"/>
                  <a:pt x="1263" y="104"/>
                  <a:pt x="1263" y="104"/>
                </a:cubicBezTo>
                <a:cubicBezTo>
                  <a:pt x="1263" y="105"/>
                  <a:pt x="1263" y="105"/>
                  <a:pt x="1263" y="105"/>
                </a:cubicBezTo>
                <a:cubicBezTo>
                  <a:pt x="1262" y="105"/>
                  <a:pt x="1262" y="105"/>
                  <a:pt x="1262" y="105"/>
                </a:cubicBezTo>
                <a:cubicBezTo>
                  <a:pt x="1261" y="105"/>
                  <a:pt x="1261" y="105"/>
                  <a:pt x="1261" y="105"/>
                </a:cubicBezTo>
                <a:cubicBezTo>
                  <a:pt x="1261" y="106"/>
                  <a:pt x="1261" y="106"/>
                  <a:pt x="1261" y="106"/>
                </a:cubicBezTo>
                <a:cubicBezTo>
                  <a:pt x="1262" y="106"/>
                  <a:pt x="1262" y="106"/>
                  <a:pt x="1262" y="106"/>
                </a:cubicBezTo>
                <a:cubicBezTo>
                  <a:pt x="1263" y="107"/>
                  <a:pt x="1263" y="107"/>
                  <a:pt x="1263" y="107"/>
                </a:cubicBezTo>
                <a:cubicBezTo>
                  <a:pt x="1264" y="106"/>
                  <a:pt x="1264" y="106"/>
                  <a:pt x="1264" y="106"/>
                </a:cubicBezTo>
                <a:cubicBezTo>
                  <a:pt x="1265" y="105"/>
                  <a:pt x="1265" y="105"/>
                  <a:pt x="1265" y="105"/>
                </a:cubicBezTo>
                <a:cubicBezTo>
                  <a:pt x="1266" y="104"/>
                  <a:pt x="1266" y="104"/>
                  <a:pt x="1266" y="104"/>
                </a:cubicBezTo>
                <a:cubicBezTo>
                  <a:pt x="1268" y="103"/>
                  <a:pt x="1268" y="103"/>
                  <a:pt x="1268" y="103"/>
                </a:cubicBezTo>
                <a:cubicBezTo>
                  <a:pt x="1269" y="103"/>
                  <a:pt x="1269" y="103"/>
                  <a:pt x="1269" y="103"/>
                </a:cubicBezTo>
                <a:cubicBezTo>
                  <a:pt x="1271" y="102"/>
                  <a:pt x="1271" y="102"/>
                  <a:pt x="1271" y="102"/>
                </a:cubicBezTo>
                <a:cubicBezTo>
                  <a:pt x="1272" y="102"/>
                  <a:pt x="1272" y="102"/>
                  <a:pt x="1272" y="102"/>
                </a:cubicBezTo>
                <a:cubicBezTo>
                  <a:pt x="1272" y="103"/>
                  <a:pt x="1272" y="103"/>
                  <a:pt x="1272" y="103"/>
                </a:cubicBezTo>
                <a:cubicBezTo>
                  <a:pt x="1273" y="103"/>
                  <a:pt x="1273" y="103"/>
                  <a:pt x="1273" y="103"/>
                </a:cubicBezTo>
                <a:cubicBezTo>
                  <a:pt x="1274" y="104"/>
                  <a:pt x="1274" y="104"/>
                  <a:pt x="1274" y="104"/>
                </a:cubicBezTo>
                <a:cubicBezTo>
                  <a:pt x="1275" y="104"/>
                  <a:pt x="1275" y="104"/>
                  <a:pt x="1275" y="104"/>
                </a:cubicBezTo>
                <a:cubicBezTo>
                  <a:pt x="1275" y="105"/>
                  <a:pt x="1275" y="105"/>
                  <a:pt x="1275" y="105"/>
                </a:cubicBezTo>
                <a:cubicBezTo>
                  <a:pt x="1273" y="106"/>
                  <a:pt x="1273" y="106"/>
                  <a:pt x="1273" y="106"/>
                </a:cubicBezTo>
                <a:cubicBezTo>
                  <a:pt x="1273" y="108"/>
                  <a:pt x="1273" y="108"/>
                  <a:pt x="1273" y="108"/>
                </a:cubicBezTo>
                <a:cubicBezTo>
                  <a:pt x="1272" y="109"/>
                  <a:pt x="1272" y="109"/>
                  <a:pt x="1272" y="109"/>
                </a:cubicBezTo>
                <a:cubicBezTo>
                  <a:pt x="1271" y="110"/>
                  <a:pt x="1271" y="110"/>
                  <a:pt x="1271" y="110"/>
                </a:cubicBezTo>
                <a:cubicBezTo>
                  <a:pt x="1270" y="111"/>
                  <a:pt x="1270" y="111"/>
                  <a:pt x="1270" y="111"/>
                </a:cubicBezTo>
                <a:cubicBezTo>
                  <a:pt x="1269" y="113"/>
                  <a:pt x="1269" y="113"/>
                  <a:pt x="1269" y="113"/>
                </a:cubicBezTo>
                <a:cubicBezTo>
                  <a:pt x="1267" y="116"/>
                  <a:pt x="1267" y="116"/>
                  <a:pt x="1267" y="116"/>
                </a:cubicBezTo>
                <a:cubicBezTo>
                  <a:pt x="1266" y="117"/>
                  <a:pt x="1266" y="117"/>
                  <a:pt x="1266" y="117"/>
                </a:cubicBezTo>
                <a:cubicBezTo>
                  <a:pt x="1265" y="118"/>
                  <a:pt x="1265" y="118"/>
                  <a:pt x="1265" y="118"/>
                </a:cubicBezTo>
                <a:cubicBezTo>
                  <a:pt x="1265" y="119"/>
                  <a:pt x="1265" y="119"/>
                  <a:pt x="1265" y="119"/>
                </a:cubicBezTo>
                <a:cubicBezTo>
                  <a:pt x="1265" y="121"/>
                  <a:pt x="1265" y="121"/>
                  <a:pt x="1265" y="121"/>
                </a:cubicBezTo>
                <a:cubicBezTo>
                  <a:pt x="1264" y="121"/>
                  <a:pt x="1264" y="121"/>
                  <a:pt x="1264" y="121"/>
                </a:cubicBezTo>
                <a:cubicBezTo>
                  <a:pt x="1264" y="122"/>
                  <a:pt x="1264" y="122"/>
                  <a:pt x="1264" y="122"/>
                </a:cubicBezTo>
                <a:cubicBezTo>
                  <a:pt x="1264" y="124"/>
                  <a:pt x="1264" y="124"/>
                  <a:pt x="1264" y="124"/>
                </a:cubicBezTo>
                <a:cubicBezTo>
                  <a:pt x="1263" y="126"/>
                  <a:pt x="1263" y="126"/>
                  <a:pt x="1263" y="126"/>
                </a:cubicBezTo>
                <a:cubicBezTo>
                  <a:pt x="1262" y="128"/>
                  <a:pt x="1262" y="128"/>
                  <a:pt x="1262" y="128"/>
                </a:cubicBezTo>
                <a:cubicBezTo>
                  <a:pt x="1263" y="129"/>
                  <a:pt x="1263" y="129"/>
                  <a:pt x="1263" y="129"/>
                </a:cubicBezTo>
                <a:cubicBezTo>
                  <a:pt x="1263" y="130"/>
                  <a:pt x="1263" y="130"/>
                  <a:pt x="1263" y="130"/>
                </a:cubicBezTo>
                <a:cubicBezTo>
                  <a:pt x="1263" y="132"/>
                  <a:pt x="1263" y="132"/>
                  <a:pt x="1263" y="132"/>
                </a:cubicBezTo>
                <a:cubicBezTo>
                  <a:pt x="1262" y="132"/>
                  <a:pt x="1262" y="132"/>
                  <a:pt x="1262" y="132"/>
                </a:cubicBezTo>
                <a:cubicBezTo>
                  <a:pt x="1261" y="133"/>
                  <a:pt x="1261" y="133"/>
                  <a:pt x="1261" y="133"/>
                </a:cubicBezTo>
                <a:cubicBezTo>
                  <a:pt x="1262" y="135"/>
                  <a:pt x="1262" y="135"/>
                  <a:pt x="1262" y="135"/>
                </a:cubicBezTo>
                <a:cubicBezTo>
                  <a:pt x="1261" y="135"/>
                  <a:pt x="1261" y="135"/>
                  <a:pt x="1261" y="135"/>
                </a:cubicBezTo>
                <a:cubicBezTo>
                  <a:pt x="1261" y="136"/>
                  <a:pt x="1261" y="136"/>
                  <a:pt x="1261" y="136"/>
                </a:cubicBezTo>
                <a:cubicBezTo>
                  <a:pt x="1260" y="138"/>
                  <a:pt x="1260" y="138"/>
                  <a:pt x="1260" y="138"/>
                </a:cubicBezTo>
                <a:cubicBezTo>
                  <a:pt x="1260" y="139"/>
                  <a:pt x="1260" y="139"/>
                  <a:pt x="1260" y="139"/>
                </a:cubicBezTo>
                <a:cubicBezTo>
                  <a:pt x="1259" y="140"/>
                  <a:pt x="1259" y="140"/>
                  <a:pt x="1259" y="140"/>
                </a:cubicBezTo>
                <a:cubicBezTo>
                  <a:pt x="1258" y="140"/>
                  <a:pt x="1258" y="140"/>
                  <a:pt x="1258" y="140"/>
                </a:cubicBezTo>
                <a:cubicBezTo>
                  <a:pt x="1258" y="139"/>
                  <a:pt x="1258" y="139"/>
                  <a:pt x="1258" y="139"/>
                </a:cubicBezTo>
                <a:cubicBezTo>
                  <a:pt x="1258" y="138"/>
                  <a:pt x="1258" y="138"/>
                  <a:pt x="1258" y="138"/>
                </a:cubicBezTo>
                <a:cubicBezTo>
                  <a:pt x="1257" y="138"/>
                  <a:pt x="1257" y="138"/>
                  <a:pt x="1257" y="138"/>
                </a:cubicBezTo>
                <a:cubicBezTo>
                  <a:pt x="1258" y="137"/>
                  <a:pt x="1258" y="137"/>
                  <a:pt x="1258" y="137"/>
                </a:cubicBezTo>
                <a:cubicBezTo>
                  <a:pt x="1257" y="136"/>
                  <a:pt x="1257" y="136"/>
                  <a:pt x="1257" y="136"/>
                </a:cubicBezTo>
                <a:cubicBezTo>
                  <a:pt x="1256" y="136"/>
                  <a:pt x="1256" y="136"/>
                  <a:pt x="1256" y="136"/>
                </a:cubicBezTo>
                <a:cubicBezTo>
                  <a:pt x="1256" y="137"/>
                  <a:pt x="1256" y="137"/>
                  <a:pt x="1256" y="137"/>
                </a:cubicBezTo>
                <a:cubicBezTo>
                  <a:pt x="1255" y="137"/>
                  <a:pt x="1255" y="137"/>
                  <a:pt x="1255" y="137"/>
                </a:cubicBezTo>
                <a:cubicBezTo>
                  <a:pt x="1255" y="138"/>
                  <a:pt x="1255" y="138"/>
                  <a:pt x="1255" y="138"/>
                </a:cubicBezTo>
                <a:cubicBezTo>
                  <a:pt x="1255" y="139"/>
                  <a:pt x="1255" y="139"/>
                  <a:pt x="1255" y="139"/>
                </a:cubicBezTo>
                <a:cubicBezTo>
                  <a:pt x="1254" y="139"/>
                  <a:pt x="1254" y="139"/>
                  <a:pt x="1254" y="139"/>
                </a:cubicBezTo>
                <a:cubicBezTo>
                  <a:pt x="1254" y="140"/>
                  <a:pt x="1254" y="140"/>
                  <a:pt x="1254" y="140"/>
                </a:cubicBezTo>
                <a:cubicBezTo>
                  <a:pt x="1255" y="140"/>
                  <a:pt x="1255" y="140"/>
                  <a:pt x="1255" y="140"/>
                </a:cubicBezTo>
                <a:cubicBezTo>
                  <a:pt x="1256" y="141"/>
                  <a:pt x="1256" y="141"/>
                  <a:pt x="1256" y="141"/>
                </a:cubicBezTo>
                <a:cubicBezTo>
                  <a:pt x="1257" y="142"/>
                  <a:pt x="1257" y="142"/>
                  <a:pt x="1257" y="142"/>
                </a:cubicBezTo>
                <a:cubicBezTo>
                  <a:pt x="1258" y="144"/>
                  <a:pt x="1258" y="144"/>
                  <a:pt x="1258" y="144"/>
                </a:cubicBezTo>
                <a:cubicBezTo>
                  <a:pt x="1259" y="144"/>
                  <a:pt x="1259" y="144"/>
                  <a:pt x="1259" y="144"/>
                </a:cubicBezTo>
                <a:cubicBezTo>
                  <a:pt x="1260" y="145"/>
                  <a:pt x="1260" y="145"/>
                  <a:pt x="1260" y="145"/>
                </a:cubicBezTo>
                <a:cubicBezTo>
                  <a:pt x="1261" y="146"/>
                  <a:pt x="1261" y="146"/>
                  <a:pt x="1261" y="146"/>
                </a:cubicBezTo>
                <a:cubicBezTo>
                  <a:pt x="1262" y="147"/>
                  <a:pt x="1262" y="147"/>
                  <a:pt x="1262" y="147"/>
                </a:cubicBezTo>
                <a:cubicBezTo>
                  <a:pt x="1261" y="148"/>
                  <a:pt x="1261" y="148"/>
                  <a:pt x="1261" y="148"/>
                </a:cubicBezTo>
                <a:cubicBezTo>
                  <a:pt x="1260" y="148"/>
                  <a:pt x="1260" y="148"/>
                  <a:pt x="1260" y="148"/>
                </a:cubicBezTo>
                <a:cubicBezTo>
                  <a:pt x="1259" y="148"/>
                  <a:pt x="1259" y="148"/>
                  <a:pt x="1259" y="148"/>
                </a:cubicBezTo>
                <a:cubicBezTo>
                  <a:pt x="1258" y="146"/>
                  <a:pt x="1258" y="146"/>
                  <a:pt x="1258" y="146"/>
                </a:cubicBezTo>
                <a:cubicBezTo>
                  <a:pt x="1257" y="145"/>
                  <a:pt x="1257" y="145"/>
                  <a:pt x="1257" y="145"/>
                </a:cubicBezTo>
                <a:cubicBezTo>
                  <a:pt x="1256" y="145"/>
                  <a:pt x="1256" y="145"/>
                  <a:pt x="1256" y="145"/>
                </a:cubicBezTo>
                <a:cubicBezTo>
                  <a:pt x="1256" y="146"/>
                  <a:pt x="1256" y="146"/>
                  <a:pt x="1256" y="146"/>
                </a:cubicBezTo>
                <a:cubicBezTo>
                  <a:pt x="1257" y="147"/>
                  <a:pt x="1257" y="147"/>
                  <a:pt x="1257" y="147"/>
                </a:cubicBezTo>
                <a:cubicBezTo>
                  <a:pt x="1257" y="148"/>
                  <a:pt x="1257" y="148"/>
                  <a:pt x="1257" y="148"/>
                </a:cubicBezTo>
                <a:cubicBezTo>
                  <a:pt x="1256" y="148"/>
                  <a:pt x="1256" y="148"/>
                  <a:pt x="1256" y="148"/>
                </a:cubicBezTo>
                <a:cubicBezTo>
                  <a:pt x="1256" y="149"/>
                  <a:pt x="1256" y="149"/>
                  <a:pt x="1256" y="149"/>
                </a:cubicBezTo>
                <a:cubicBezTo>
                  <a:pt x="1257" y="149"/>
                  <a:pt x="1257" y="149"/>
                  <a:pt x="1257" y="149"/>
                </a:cubicBezTo>
                <a:cubicBezTo>
                  <a:pt x="1256" y="150"/>
                  <a:pt x="1256" y="150"/>
                  <a:pt x="1256" y="150"/>
                </a:cubicBezTo>
                <a:cubicBezTo>
                  <a:pt x="1257" y="150"/>
                  <a:pt x="1257" y="150"/>
                  <a:pt x="1257" y="150"/>
                </a:cubicBezTo>
                <a:cubicBezTo>
                  <a:pt x="1259" y="150"/>
                  <a:pt x="1259" y="150"/>
                  <a:pt x="1259" y="150"/>
                </a:cubicBezTo>
                <a:cubicBezTo>
                  <a:pt x="1259" y="151"/>
                  <a:pt x="1259" y="151"/>
                  <a:pt x="1259" y="151"/>
                </a:cubicBezTo>
                <a:cubicBezTo>
                  <a:pt x="1259" y="152"/>
                  <a:pt x="1259" y="152"/>
                  <a:pt x="1259" y="152"/>
                </a:cubicBezTo>
                <a:cubicBezTo>
                  <a:pt x="1259" y="153"/>
                  <a:pt x="1259" y="153"/>
                  <a:pt x="1259" y="153"/>
                </a:cubicBezTo>
                <a:cubicBezTo>
                  <a:pt x="1260" y="152"/>
                  <a:pt x="1260" y="152"/>
                  <a:pt x="1260" y="152"/>
                </a:cubicBezTo>
                <a:cubicBezTo>
                  <a:pt x="1261" y="151"/>
                  <a:pt x="1261" y="151"/>
                  <a:pt x="1261" y="151"/>
                </a:cubicBezTo>
                <a:cubicBezTo>
                  <a:pt x="1262" y="150"/>
                  <a:pt x="1262" y="150"/>
                  <a:pt x="1262" y="150"/>
                </a:cubicBezTo>
                <a:cubicBezTo>
                  <a:pt x="1262" y="151"/>
                  <a:pt x="1262" y="151"/>
                  <a:pt x="1262" y="151"/>
                </a:cubicBezTo>
                <a:cubicBezTo>
                  <a:pt x="1263" y="151"/>
                  <a:pt x="1263" y="151"/>
                  <a:pt x="1263" y="151"/>
                </a:cubicBezTo>
                <a:cubicBezTo>
                  <a:pt x="1264" y="152"/>
                  <a:pt x="1264" y="152"/>
                  <a:pt x="1264" y="152"/>
                </a:cubicBezTo>
                <a:cubicBezTo>
                  <a:pt x="1265" y="152"/>
                  <a:pt x="1265" y="152"/>
                  <a:pt x="1265" y="152"/>
                </a:cubicBezTo>
                <a:cubicBezTo>
                  <a:pt x="1265" y="153"/>
                  <a:pt x="1265" y="153"/>
                  <a:pt x="1265" y="153"/>
                </a:cubicBezTo>
                <a:cubicBezTo>
                  <a:pt x="1265" y="154"/>
                  <a:pt x="1265" y="154"/>
                  <a:pt x="1265" y="154"/>
                </a:cubicBezTo>
                <a:cubicBezTo>
                  <a:pt x="1264" y="155"/>
                  <a:pt x="1264" y="155"/>
                  <a:pt x="1264" y="155"/>
                </a:cubicBezTo>
                <a:cubicBezTo>
                  <a:pt x="1264" y="156"/>
                  <a:pt x="1264" y="156"/>
                  <a:pt x="1264" y="156"/>
                </a:cubicBezTo>
                <a:cubicBezTo>
                  <a:pt x="1264" y="158"/>
                  <a:pt x="1264" y="158"/>
                  <a:pt x="1264" y="158"/>
                </a:cubicBezTo>
                <a:cubicBezTo>
                  <a:pt x="1264" y="160"/>
                  <a:pt x="1264" y="160"/>
                  <a:pt x="1264" y="160"/>
                </a:cubicBezTo>
                <a:cubicBezTo>
                  <a:pt x="1263" y="161"/>
                  <a:pt x="1263" y="161"/>
                  <a:pt x="1263" y="161"/>
                </a:cubicBezTo>
                <a:cubicBezTo>
                  <a:pt x="1263" y="162"/>
                  <a:pt x="1263" y="162"/>
                  <a:pt x="1263" y="162"/>
                </a:cubicBezTo>
                <a:cubicBezTo>
                  <a:pt x="1262" y="162"/>
                  <a:pt x="1262" y="162"/>
                  <a:pt x="1262" y="162"/>
                </a:cubicBezTo>
                <a:cubicBezTo>
                  <a:pt x="1262" y="161"/>
                  <a:pt x="1262" y="161"/>
                  <a:pt x="1262" y="161"/>
                </a:cubicBezTo>
                <a:cubicBezTo>
                  <a:pt x="1260" y="161"/>
                  <a:pt x="1260" y="161"/>
                  <a:pt x="1260" y="161"/>
                </a:cubicBezTo>
                <a:cubicBezTo>
                  <a:pt x="1260" y="160"/>
                  <a:pt x="1260" y="160"/>
                  <a:pt x="1260" y="160"/>
                </a:cubicBezTo>
                <a:cubicBezTo>
                  <a:pt x="1259" y="160"/>
                  <a:pt x="1259" y="160"/>
                  <a:pt x="1259" y="160"/>
                </a:cubicBezTo>
                <a:cubicBezTo>
                  <a:pt x="1258" y="160"/>
                  <a:pt x="1258" y="160"/>
                  <a:pt x="1258" y="160"/>
                </a:cubicBezTo>
                <a:cubicBezTo>
                  <a:pt x="1258" y="159"/>
                  <a:pt x="1258" y="159"/>
                  <a:pt x="1258" y="159"/>
                </a:cubicBezTo>
                <a:cubicBezTo>
                  <a:pt x="1258" y="158"/>
                  <a:pt x="1258" y="158"/>
                  <a:pt x="1258" y="158"/>
                </a:cubicBezTo>
                <a:cubicBezTo>
                  <a:pt x="1257" y="158"/>
                  <a:pt x="1257" y="158"/>
                  <a:pt x="1257" y="158"/>
                </a:cubicBezTo>
                <a:cubicBezTo>
                  <a:pt x="1257" y="157"/>
                  <a:pt x="1257" y="157"/>
                  <a:pt x="1257" y="157"/>
                </a:cubicBezTo>
                <a:cubicBezTo>
                  <a:pt x="1256" y="158"/>
                  <a:pt x="1256" y="158"/>
                  <a:pt x="1256" y="158"/>
                </a:cubicBezTo>
                <a:cubicBezTo>
                  <a:pt x="1256" y="157"/>
                  <a:pt x="1256" y="157"/>
                  <a:pt x="1256" y="157"/>
                </a:cubicBezTo>
                <a:cubicBezTo>
                  <a:pt x="1255" y="157"/>
                  <a:pt x="1255" y="157"/>
                  <a:pt x="1255" y="157"/>
                </a:cubicBezTo>
                <a:cubicBezTo>
                  <a:pt x="1254" y="156"/>
                  <a:pt x="1254" y="156"/>
                  <a:pt x="1254" y="156"/>
                </a:cubicBezTo>
                <a:cubicBezTo>
                  <a:pt x="1253" y="157"/>
                  <a:pt x="1253" y="157"/>
                  <a:pt x="1253" y="157"/>
                </a:cubicBezTo>
                <a:cubicBezTo>
                  <a:pt x="1253" y="158"/>
                  <a:pt x="1253" y="158"/>
                  <a:pt x="1253" y="158"/>
                </a:cubicBezTo>
                <a:cubicBezTo>
                  <a:pt x="1252" y="158"/>
                  <a:pt x="1252" y="158"/>
                  <a:pt x="1252" y="158"/>
                </a:cubicBezTo>
                <a:cubicBezTo>
                  <a:pt x="1251" y="157"/>
                  <a:pt x="1251" y="157"/>
                  <a:pt x="1251" y="157"/>
                </a:cubicBezTo>
                <a:cubicBezTo>
                  <a:pt x="1250" y="158"/>
                  <a:pt x="1250" y="158"/>
                  <a:pt x="1250" y="158"/>
                </a:cubicBezTo>
                <a:cubicBezTo>
                  <a:pt x="1251" y="158"/>
                  <a:pt x="1251" y="158"/>
                  <a:pt x="1251" y="158"/>
                </a:cubicBezTo>
                <a:cubicBezTo>
                  <a:pt x="1252" y="158"/>
                  <a:pt x="1252" y="158"/>
                  <a:pt x="1252" y="158"/>
                </a:cubicBezTo>
                <a:cubicBezTo>
                  <a:pt x="1253" y="159"/>
                  <a:pt x="1253" y="159"/>
                  <a:pt x="1253" y="159"/>
                </a:cubicBezTo>
                <a:cubicBezTo>
                  <a:pt x="1252" y="159"/>
                  <a:pt x="1252" y="159"/>
                  <a:pt x="1252" y="159"/>
                </a:cubicBezTo>
                <a:cubicBezTo>
                  <a:pt x="1250" y="161"/>
                  <a:pt x="1250" y="161"/>
                  <a:pt x="1250" y="161"/>
                </a:cubicBezTo>
                <a:cubicBezTo>
                  <a:pt x="1249" y="161"/>
                  <a:pt x="1249" y="161"/>
                  <a:pt x="1249" y="161"/>
                </a:cubicBezTo>
                <a:cubicBezTo>
                  <a:pt x="1248" y="161"/>
                  <a:pt x="1248" y="161"/>
                  <a:pt x="1248" y="161"/>
                </a:cubicBezTo>
                <a:cubicBezTo>
                  <a:pt x="1248" y="160"/>
                  <a:pt x="1248" y="160"/>
                  <a:pt x="1248" y="160"/>
                </a:cubicBezTo>
                <a:cubicBezTo>
                  <a:pt x="1247" y="160"/>
                  <a:pt x="1247" y="160"/>
                  <a:pt x="1247" y="160"/>
                </a:cubicBezTo>
                <a:cubicBezTo>
                  <a:pt x="1247" y="161"/>
                  <a:pt x="1247" y="161"/>
                  <a:pt x="1247" y="161"/>
                </a:cubicBezTo>
                <a:cubicBezTo>
                  <a:pt x="1248" y="161"/>
                  <a:pt x="1248" y="161"/>
                  <a:pt x="1248" y="161"/>
                </a:cubicBezTo>
                <a:cubicBezTo>
                  <a:pt x="1247" y="162"/>
                  <a:pt x="1247" y="162"/>
                  <a:pt x="1247" y="162"/>
                </a:cubicBezTo>
                <a:cubicBezTo>
                  <a:pt x="1247" y="163"/>
                  <a:pt x="1247" y="163"/>
                  <a:pt x="1247" y="163"/>
                </a:cubicBezTo>
                <a:cubicBezTo>
                  <a:pt x="1248" y="163"/>
                  <a:pt x="1248" y="163"/>
                  <a:pt x="1248" y="163"/>
                </a:cubicBezTo>
                <a:cubicBezTo>
                  <a:pt x="1247" y="164"/>
                  <a:pt x="1247" y="164"/>
                  <a:pt x="1247" y="164"/>
                </a:cubicBezTo>
                <a:cubicBezTo>
                  <a:pt x="1248" y="164"/>
                  <a:pt x="1248" y="164"/>
                  <a:pt x="1248" y="164"/>
                </a:cubicBezTo>
                <a:cubicBezTo>
                  <a:pt x="1248" y="165"/>
                  <a:pt x="1248" y="165"/>
                  <a:pt x="1248" y="165"/>
                </a:cubicBezTo>
                <a:cubicBezTo>
                  <a:pt x="1247" y="165"/>
                  <a:pt x="1247" y="165"/>
                  <a:pt x="1247" y="165"/>
                </a:cubicBezTo>
                <a:cubicBezTo>
                  <a:pt x="1246" y="165"/>
                  <a:pt x="1246" y="165"/>
                  <a:pt x="1246" y="165"/>
                </a:cubicBezTo>
                <a:cubicBezTo>
                  <a:pt x="1245" y="165"/>
                  <a:pt x="1245" y="165"/>
                  <a:pt x="1245" y="165"/>
                </a:cubicBezTo>
                <a:cubicBezTo>
                  <a:pt x="1246" y="166"/>
                  <a:pt x="1246" y="166"/>
                  <a:pt x="1246" y="166"/>
                </a:cubicBezTo>
                <a:cubicBezTo>
                  <a:pt x="1248" y="166"/>
                  <a:pt x="1248" y="166"/>
                  <a:pt x="1248" y="166"/>
                </a:cubicBezTo>
                <a:cubicBezTo>
                  <a:pt x="1248" y="167"/>
                  <a:pt x="1248" y="167"/>
                  <a:pt x="1248" y="167"/>
                </a:cubicBezTo>
                <a:cubicBezTo>
                  <a:pt x="1248" y="168"/>
                  <a:pt x="1248" y="168"/>
                  <a:pt x="1248" y="168"/>
                </a:cubicBezTo>
                <a:cubicBezTo>
                  <a:pt x="1249" y="168"/>
                  <a:pt x="1249" y="168"/>
                  <a:pt x="1249" y="168"/>
                </a:cubicBezTo>
                <a:cubicBezTo>
                  <a:pt x="1250" y="167"/>
                  <a:pt x="1250" y="167"/>
                  <a:pt x="1250" y="167"/>
                </a:cubicBezTo>
                <a:cubicBezTo>
                  <a:pt x="1251" y="168"/>
                  <a:pt x="1251" y="168"/>
                  <a:pt x="1251" y="168"/>
                </a:cubicBezTo>
                <a:cubicBezTo>
                  <a:pt x="1252" y="168"/>
                  <a:pt x="1252" y="168"/>
                  <a:pt x="1252" y="168"/>
                </a:cubicBezTo>
                <a:cubicBezTo>
                  <a:pt x="1253" y="168"/>
                  <a:pt x="1253" y="168"/>
                  <a:pt x="1253" y="168"/>
                </a:cubicBezTo>
                <a:cubicBezTo>
                  <a:pt x="1254" y="169"/>
                  <a:pt x="1254" y="169"/>
                  <a:pt x="1254" y="169"/>
                </a:cubicBezTo>
                <a:cubicBezTo>
                  <a:pt x="1255" y="168"/>
                  <a:pt x="1255" y="168"/>
                  <a:pt x="1255" y="168"/>
                </a:cubicBezTo>
                <a:cubicBezTo>
                  <a:pt x="1256" y="168"/>
                  <a:pt x="1256" y="168"/>
                  <a:pt x="1256" y="168"/>
                </a:cubicBezTo>
                <a:cubicBezTo>
                  <a:pt x="1256" y="169"/>
                  <a:pt x="1256" y="169"/>
                  <a:pt x="1256" y="169"/>
                </a:cubicBezTo>
                <a:cubicBezTo>
                  <a:pt x="1256" y="170"/>
                  <a:pt x="1256" y="170"/>
                  <a:pt x="1256" y="170"/>
                </a:cubicBezTo>
                <a:cubicBezTo>
                  <a:pt x="1256" y="171"/>
                  <a:pt x="1256" y="171"/>
                  <a:pt x="1256" y="171"/>
                </a:cubicBezTo>
                <a:cubicBezTo>
                  <a:pt x="1255" y="171"/>
                  <a:pt x="1255" y="171"/>
                  <a:pt x="1255" y="171"/>
                </a:cubicBezTo>
                <a:cubicBezTo>
                  <a:pt x="1254" y="171"/>
                  <a:pt x="1254" y="171"/>
                  <a:pt x="1254" y="171"/>
                </a:cubicBezTo>
                <a:cubicBezTo>
                  <a:pt x="1253" y="171"/>
                  <a:pt x="1253" y="171"/>
                  <a:pt x="1253" y="171"/>
                </a:cubicBezTo>
                <a:cubicBezTo>
                  <a:pt x="1252" y="171"/>
                  <a:pt x="1252" y="171"/>
                  <a:pt x="1252" y="171"/>
                </a:cubicBezTo>
                <a:cubicBezTo>
                  <a:pt x="1250" y="171"/>
                  <a:pt x="1250" y="171"/>
                  <a:pt x="1250" y="171"/>
                </a:cubicBezTo>
                <a:cubicBezTo>
                  <a:pt x="1249" y="171"/>
                  <a:pt x="1249" y="171"/>
                  <a:pt x="1249" y="171"/>
                </a:cubicBezTo>
                <a:cubicBezTo>
                  <a:pt x="1248" y="171"/>
                  <a:pt x="1248" y="171"/>
                  <a:pt x="1248" y="171"/>
                </a:cubicBezTo>
                <a:cubicBezTo>
                  <a:pt x="1247" y="171"/>
                  <a:pt x="1247" y="171"/>
                  <a:pt x="1247" y="171"/>
                </a:cubicBezTo>
                <a:cubicBezTo>
                  <a:pt x="1248" y="172"/>
                  <a:pt x="1248" y="172"/>
                  <a:pt x="1248" y="172"/>
                </a:cubicBezTo>
                <a:cubicBezTo>
                  <a:pt x="1249" y="172"/>
                  <a:pt x="1249" y="172"/>
                  <a:pt x="1249" y="172"/>
                </a:cubicBezTo>
                <a:cubicBezTo>
                  <a:pt x="1250" y="172"/>
                  <a:pt x="1250" y="172"/>
                  <a:pt x="1250" y="172"/>
                </a:cubicBezTo>
                <a:cubicBezTo>
                  <a:pt x="1252" y="172"/>
                  <a:pt x="1252" y="172"/>
                  <a:pt x="1252" y="172"/>
                </a:cubicBezTo>
                <a:cubicBezTo>
                  <a:pt x="1253" y="173"/>
                  <a:pt x="1253" y="173"/>
                  <a:pt x="1253" y="173"/>
                </a:cubicBezTo>
                <a:cubicBezTo>
                  <a:pt x="1254" y="173"/>
                  <a:pt x="1254" y="173"/>
                  <a:pt x="1254" y="173"/>
                </a:cubicBezTo>
                <a:cubicBezTo>
                  <a:pt x="1255" y="173"/>
                  <a:pt x="1255" y="173"/>
                  <a:pt x="1255" y="173"/>
                </a:cubicBezTo>
                <a:cubicBezTo>
                  <a:pt x="1255" y="174"/>
                  <a:pt x="1255" y="174"/>
                  <a:pt x="1255" y="174"/>
                </a:cubicBezTo>
                <a:cubicBezTo>
                  <a:pt x="1256" y="175"/>
                  <a:pt x="1256" y="175"/>
                  <a:pt x="1256" y="175"/>
                </a:cubicBezTo>
                <a:cubicBezTo>
                  <a:pt x="1257" y="176"/>
                  <a:pt x="1257" y="176"/>
                  <a:pt x="1257" y="176"/>
                </a:cubicBezTo>
                <a:cubicBezTo>
                  <a:pt x="1257" y="177"/>
                  <a:pt x="1257" y="177"/>
                  <a:pt x="1257" y="177"/>
                </a:cubicBezTo>
                <a:cubicBezTo>
                  <a:pt x="1256" y="176"/>
                  <a:pt x="1256" y="176"/>
                  <a:pt x="1256" y="176"/>
                </a:cubicBezTo>
                <a:cubicBezTo>
                  <a:pt x="1256" y="177"/>
                  <a:pt x="1256" y="177"/>
                  <a:pt x="1256" y="177"/>
                </a:cubicBezTo>
                <a:cubicBezTo>
                  <a:pt x="1255" y="177"/>
                  <a:pt x="1255" y="177"/>
                  <a:pt x="1255" y="177"/>
                </a:cubicBezTo>
                <a:cubicBezTo>
                  <a:pt x="1256" y="178"/>
                  <a:pt x="1256" y="178"/>
                  <a:pt x="1256" y="178"/>
                </a:cubicBezTo>
                <a:cubicBezTo>
                  <a:pt x="1256" y="180"/>
                  <a:pt x="1256" y="180"/>
                  <a:pt x="1256" y="180"/>
                </a:cubicBezTo>
                <a:cubicBezTo>
                  <a:pt x="1256" y="181"/>
                  <a:pt x="1256" y="181"/>
                  <a:pt x="1256" y="181"/>
                </a:cubicBezTo>
                <a:cubicBezTo>
                  <a:pt x="1256" y="182"/>
                  <a:pt x="1256" y="182"/>
                  <a:pt x="1256" y="182"/>
                </a:cubicBezTo>
                <a:cubicBezTo>
                  <a:pt x="1256" y="183"/>
                  <a:pt x="1256" y="183"/>
                  <a:pt x="1256" y="183"/>
                </a:cubicBezTo>
                <a:cubicBezTo>
                  <a:pt x="1255" y="185"/>
                  <a:pt x="1255" y="185"/>
                  <a:pt x="1255" y="185"/>
                </a:cubicBezTo>
                <a:cubicBezTo>
                  <a:pt x="1254" y="185"/>
                  <a:pt x="1254" y="185"/>
                  <a:pt x="1254" y="185"/>
                </a:cubicBezTo>
                <a:cubicBezTo>
                  <a:pt x="1253" y="185"/>
                  <a:pt x="1253" y="185"/>
                  <a:pt x="1253" y="185"/>
                </a:cubicBezTo>
                <a:cubicBezTo>
                  <a:pt x="1252" y="184"/>
                  <a:pt x="1252" y="184"/>
                  <a:pt x="1252" y="184"/>
                </a:cubicBezTo>
                <a:cubicBezTo>
                  <a:pt x="1253" y="183"/>
                  <a:pt x="1253" y="183"/>
                  <a:pt x="1253" y="183"/>
                </a:cubicBezTo>
                <a:cubicBezTo>
                  <a:pt x="1252" y="183"/>
                  <a:pt x="1252" y="183"/>
                  <a:pt x="1252" y="183"/>
                </a:cubicBezTo>
                <a:cubicBezTo>
                  <a:pt x="1251" y="183"/>
                  <a:pt x="1251" y="183"/>
                  <a:pt x="1251" y="183"/>
                </a:cubicBezTo>
                <a:cubicBezTo>
                  <a:pt x="1250" y="181"/>
                  <a:pt x="1250" y="181"/>
                  <a:pt x="1250" y="181"/>
                </a:cubicBezTo>
                <a:cubicBezTo>
                  <a:pt x="1249" y="180"/>
                  <a:pt x="1249" y="180"/>
                  <a:pt x="1249" y="180"/>
                </a:cubicBezTo>
                <a:cubicBezTo>
                  <a:pt x="1247" y="179"/>
                  <a:pt x="1247" y="179"/>
                  <a:pt x="1247" y="179"/>
                </a:cubicBezTo>
                <a:cubicBezTo>
                  <a:pt x="1247" y="178"/>
                  <a:pt x="1247" y="178"/>
                  <a:pt x="1247" y="178"/>
                </a:cubicBezTo>
                <a:cubicBezTo>
                  <a:pt x="1247" y="177"/>
                  <a:pt x="1247" y="177"/>
                  <a:pt x="1247" y="177"/>
                </a:cubicBezTo>
                <a:cubicBezTo>
                  <a:pt x="1246" y="176"/>
                  <a:pt x="1246" y="176"/>
                  <a:pt x="1246" y="176"/>
                </a:cubicBezTo>
                <a:cubicBezTo>
                  <a:pt x="1245" y="176"/>
                  <a:pt x="1245" y="176"/>
                  <a:pt x="1245" y="176"/>
                </a:cubicBezTo>
                <a:cubicBezTo>
                  <a:pt x="1246" y="178"/>
                  <a:pt x="1246" y="178"/>
                  <a:pt x="1246" y="178"/>
                </a:cubicBezTo>
                <a:cubicBezTo>
                  <a:pt x="1246" y="179"/>
                  <a:pt x="1246" y="179"/>
                  <a:pt x="1246" y="179"/>
                </a:cubicBezTo>
                <a:cubicBezTo>
                  <a:pt x="1244" y="179"/>
                  <a:pt x="1244" y="179"/>
                  <a:pt x="1244" y="179"/>
                </a:cubicBezTo>
                <a:cubicBezTo>
                  <a:pt x="1244" y="178"/>
                  <a:pt x="1244" y="178"/>
                  <a:pt x="1244" y="178"/>
                </a:cubicBezTo>
                <a:cubicBezTo>
                  <a:pt x="1243" y="177"/>
                  <a:pt x="1243" y="177"/>
                  <a:pt x="1243" y="177"/>
                </a:cubicBezTo>
                <a:cubicBezTo>
                  <a:pt x="1242" y="176"/>
                  <a:pt x="1242" y="176"/>
                  <a:pt x="1242" y="176"/>
                </a:cubicBezTo>
                <a:cubicBezTo>
                  <a:pt x="1242" y="177"/>
                  <a:pt x="1242" y="177"/>
                  <a:pt x="1242" y="177"/>
                </a:cubicBezTo>
                <a:cubicBezTo>
                  <a:pt x="1242" y="178"/>
                  <a:pt x="1242" y="178"/>
                  <a:pt x="1242" y="178"/>
                </a:cubicBezTo>
                <a:cubicBezTo>
                  <a:pt x="1243" y="179"/>
                  <a:pt x="1243" y="179"/>
                  <a:pt x="1243" y="179"/>
                </a:cubicBezTo>
                <a:cubicBezTo>
                  <a:pt x="1245" y="180"/>
                  <a:pt x="1245" y="180"/>
                  <a:pt x="1245" y="180"/>
                </a:cubicBezTo>
                <a:cubicBezTo>
                  <a:pt x="1247" y="180"/>
                  <a:pt x="1247" y="180"/>
                  <a:pt x="1247" y="180"/>
                </a:cubicBezTo>
                <a:cubicBezTo>
                  <a:pt x="1249" y="181"/>
                  <a:pt x="1249" y="181"/>
                  <a:pt x="1249" y="181"/>
                </a:cubicBezTo>
                <a:cubicBezTo>
                  <a:pt x="1251" y="183"/>
                  <a:pt x="1251" y="183"/>
                  <a:pt x="1251" y="183"/>
                </a:cubicBezTo>
                <a:cubicBezTo>
                  <a:pt x="1251" y="184"/>
                  <a:pt x="1251" y="184"/>
                  <a:pt x="1251" y="184"/>
                </a:cubicBezTo>
                <a:cubicBezTo>
                  <a:pt x="1251" y="185"/>
                  <a:pt x="1251" y="185"/>
                  <a:pt x="1251" y="185"/>
                </a:cubicBezTo>
                <a:cubicBezTo>
                  <a:pt x="1250" y="184"/>
                  <a:pt x="1250" y="184"/>
                  <a:pt x="1250" y="184"/>
                </a:cubicBezTo>
                <a:cubicBezTo>
                  <a:pt x="1249" y="184"/>
                  <a:pt x="1249" y="184"/>
                  <a:pt x="1249" y="184"/>
                </a:cubicBezTo>
                <a:cubicBezTo>
                  <a:pt x="1248" y="184"/>
                  <a:pt x="1248" y="184"/>
                  <a:pt x="1248" y="184"/>
                </a:cubicBezTo>
                <a:cubicBezTo>
                  <a:pt x="1246" y="186"/>
                  <a:pt x="1246" y="186"/>
                  <a:pt x="1246" y="186"/>
                </a:cubicBezTo>
                <a:cubicBezTo>
                  <a:pt x="1245" y="185"/>
                  <a:pt x="1245" y="185"/>
                  <a:pt x="1245" y="185"/>
                </a:cubicBezTo>
                <a:cubicBezTo>
                  <a:pt x="1244" y="184"/>
                  <a:pt x="1244" y="184"/>
                  <a:pt x="1244" y="184"/>
                </a:cubicBezTo>
                <a:cubicBezTo>
                  <a:pt x="1245" y="184"/>
                  <a:pt x="1245" y="184"/>
                  <a:pt x="1245" y="184"/>
                </a:cubicBezTo>
                <a:cubicBezTo>
                  <a:pt x="1244" y="183"/>
                  <a:pt x="1244" y="183"/>
                  <a:pt x="1244" y="183"/>
                </a:cubicBezTo>
                <a:cubicBezTo>
                  <a:pt x="1244" y="184"/>
                  <a:pt x="1244" y="184"/>
                  <a:pt x="1244" y="184"/>
                </a:cubicBezTo>
                <a:cubicBezTo>
                  <a:pt x="1244" y="185"/>
                  <a:pt x="1244" y="185"/>
                  <a:pt x="1244" y="185"/>
                </a:cubicBezTo>
                <a:cubicBezTo>
                  <a:pt x="1245" y="186"/>
                  <a:pt x="1245" y="186"/>
                  <a:pt x="1245" y="186"/>
                </a:cubicBezTo>
                <a:cubicBezTo>
                  <a:pt x="1246" y="186"/>
                  <a:pt x="1246" y="186"/>
                  <a:pt x="1246" y="186"/>
                </a:cubicBezTo>
                <a:cubicBezTo>
                  <a:pt x="1247" y="186"/>
                  <a:pt x="1247" y="186"/>
                  <a:pt x="1247" y="186"/>
                </a:cubicBezTo>
                <a:cubicBezTo>
                  <a:pt x="1248" y="185"/>
                  <a:pt x="1248" y="185"/>
                  <a:pt x="1248" y="185"/>
                </a:cubicBezTo>
                <a:cubicBezTo>
                  <a:pt x="1249" y="185"/>
                  <a:pt x="1249" y="185"/>
                  <a:pt x="1249" y="185"/>
                </a:cubicBezTo>
                <a:cubicBezTo>
                  <a:pt x="1250" y="186"/>
                  <a:pt x="1250" y="186"/>
                  <a:pt x="1250" y="186"/>
                </a:cubicBezTo>
                <a:cubicBezTo>
                  <a:pt x="1250" y="187"/>
                  <a:pt x="1250" y="187"/>
                  <a:pt x="1250" y="187"/>
                </a:cubicBezTo>
                <a:cubicBezTo>
                  <a:pt x="1249" y="189"/>
                  <a:pt x="1249" y="189"/>
                  <a:pt x="1249" y="189"/>
                </a:cubicBezTo>
                <a:cubicBezTo>
                  <a:pt x="1249" y="190"/>
                  <a:pt x="1249" y="190"/>
                  <a:pt x="1249" y="190"/>
                </a:cubicBezTo>
                <a:cubicBezTo>
                  <a:pt x="1248" y="190"/>
                  <a:pt x="1248" y="190"/>
                  <a:pt x="1248" y="190"/>
                </a:cubicBezTo>
                <a:cubicBezTo>
                  <a:pt x="1249" y="191"/>
                  <a:pt x="1249" y="191"/>
                  <a:pt x="1249" y="191"/>
                </a:cubicBezTo>
                <a:cubicBezTo>
                  <a:pt x="1250" y="190"/>
                  <a:pt x="1250" y="190"/>
                  <a:pt x="1250" y="190"/>
                </a:cubicBezTo>
                <a:cubicBezTo>
                  <a:pt x="1251" y="190"/>
                  <a:pt x="1251" y="190"/>
                  <a:pt x="1251" y="190"/>
                </a:cubicBezTo>
                <a:cubicBezTo>
                  <a:pt x="1252" y="192"/>
                  <a:pt x="1252" y="192"/>
                  <a:pt x="1252" y="192"/>
                </a:cubicBezTo>
                <a:cubicBezTo>
                  <a:pt x="1253" y="192"/>
                  <a:pt x="1253" y="192"/>
                  <a:pt x="1253" y="192"/>
                </a:cubicBezTo>
                <a:cubicBezTo>
                  <a:pt x="1254" y="192"/>
                  <a:pt x="1254" y="192"/>
                  <a:pt x="1254" y="192"/>
                </a:cubicBezTo>
                <a:cubicBezTo>
                  <a:pt x="1255" y="191"/>
                  <a:pt x="1255" y="191"/>
                  <a:pt x="1255" y="191"/>
                </a:cubicBezTo>
                <a:cubicBezTo>
                  <a:pt x="1256" y="192"/>
                  <a:pt x="1256" y="192"/>
                  <a:pt x="1256" y="192"/>
                </a:cubicBezTo>
                <a:cubicBezTo>
                  <a:pt x="1255" y="193"/>
                  <a:pt x="1255" y="193"/>
                  <a:pt x="1255" y="193"/>
                </a:cubicBezTo>
                <a:cubicBezTo>
                  <a:pt x="1255" y="194"/>
                  <a:pt x="1255" y="194"/>
                  <a:pt x="1255" y="194"/>
                </a:cubicBezTo>
                <a:cubicBezTo>
                  <a:pt x="1256" y="194"/>
                  <a:pt x="1256" y="194"/>
                  <a:pt x="1256" y="194"/>
                </a:cubicBezTo>
                <a:cubicBezTo>
                  <a:pt x="1256" y="195"/>
                  <a:pt x="1256" y="195"/>
                  <a:pt x="1256" y="195"/>
                </a:cubicBezTo>
                <a:cubicBezTo>
                  <a:pt x="1254" y="197"/>
                  <a:pt x="1254" y="197"/>
                  <a:pt x="1254" y="197"/>
                </a:cubicBezTo>
                <a:cubicBezTo>
                  <a:pt x="1253" y="198"/>
                  <a:pt x="1253" y="198"/>
                  <a:pt x="1253" y="198"/>
                </a:cubicBezTo>
                <a:cubicBezTo>
                  <a:pt x="1252" y="198"/>
                  <a:pt x="1252" y="198"/>
                  <a:pt x="1252" y="198"/>
                </a:cubicBezTo>
                <a:cubicBezTo>
                  <a:pt x="1252" y="197"/>
                  <a:pt x="1252" y="197"/>
                  <a:pt x="1252" y="197"/>
                </a:cubicBezTo>
                <a:cubicBezTo>
                  <a:pt x="1252" y="196"/>
                  <a:pt x="1252" y="196"/>
                  <a:pt x="1252" y="196"/>
                </a:cubicBezTo>
                <a:cubicBezTo>
                  <a:pt x="1251" y="196"/>
                  <a:pt x="1251" y="196"/>
                  <a:pt x="1251" y="196"/>
                </a:cubicBezTo>
                <a:cubicBezTo>
                  <a:pt x="1251" y="195"/>
                  <a:pt x="1251" y="195"/>
                  <a:pt x="1251" y="195"/>
                </a:cubicBezTo>
                <a:cubicBezTo>
                  <a:pt x="1250" y="194"/>
                  <a:pt x="1250" y="194"/>
                  <a:pt x="1250" y="194"/>
                </a:cubicBezTo>
                <a:cubicBezTo>
                  <a:pt x="1249" y="193"/>
                  <a:pt x="1249" y="193"/>
                  <a:pt x="1249" y="193"/>
                </a:cubicBezTo>
                <a:cubicBezTo>
                  <a:pt x="1248" y="193"/>
                  <a:pt x="1248" y="193"/>
                  <a:pt x="1248" y="193"/>
                </a:cubicBezTo>
                <a:cubicBezTo>
                  <a:pt x="1247" y="193"/>
                  <a:pt x="1247" y="193"/>
                  <a:pt x="1247" y="193"/>
                </a:cubicBezTo>
                <a:cubicBezTo>
                  <a:pt x="1246" y="193"/>
                  <a:pt x="1246" y="193"/>
                  <a:pt x="1246" y="193"/>
                </a:cubicBezTo>
                <a:cubicBezTo>
                  <a:pt x="1245" y="193"/>
                  <a:pt x="1245" y="193"/>
                  <a:pt x="1245" y="193"/>
                </a:cubicBezTo>
                <a:cubicBezTo>
                  <a:pt x="1244" y="192"/>
                  <a:pt x="1244" y="192"/>
                  <a:pt x="1244" y="192"/>
                </a:cubicBezTo>
                <a:cubicBezTo>
                  <a:pt x="1244" y="191"/>
                  <a:pt x="1244" y="191"/>
                  <a:pt x="1244" y="191"/>
                </a:cubicBezTo>
                <a:cubicBezTo>
                  <a:pt x="1243" y="191"/>
                  <a:pt x="1243" y="191"/>
                  <a:pt x="1243" y="191"/>
                </a:cubicBezTo>
                <a:cubicBezTo>
                  <a:pt x="1243" y="192"/>
                  <a:pt x="1243" y="192"/>
                  <a:pt x="1243" y="192"/>
                </a:cubicBezTo>
                <a:cubicBezTo>
                  <a:pt x="1244" y="192"/>
                  <a:pt x="1244" y="192"/>
                  <a:pt x="1244" y="192"/>
                </a:cubicBezTo>
                <a:cubicBezTo>
                  <a:pt x="1244" y="194"/>
                  <a:pt x="1244" y="194"/>
                  <a:pt x="1244" y="194"/>
                </a:cubicBezTo>
                <a:cubicBezTo>
                  <a:pt x="1243" y="195"/>
                  <a:pt x="1243" y="195"/>
                  <a:pt x="1243" y="195"/>
                </a:cubicBezTo>
                <a:cubicBezTo>
                  <a:pt x="1242" y="195"/>
                  <a:pt x="1242" y="195"/>
                  <a:pt x="1242" y="195"/>
                </a:cubicBezTo>
                <a:cubicBezTo>
                  <a:pt x="1241" y="195"/>
                  <a:pt x="1241" y="195"/>
                  <a:pt x="1241" y="195"/>
                </a:cubicBezTo>
                <a:cubicBezTo>
                  <a:pt x="1242" y="196"/>
                  <a:pt x="1242" y="196"/>
                  <a:pt x="1242" y="196"/>
                </a:cubicBezTo>
                <a:cubicBezTo>
                  <a:pt x="1242" y="197"/>
                  <a:pt x="1242" y="197"/>
                  <a:pt x="1242" y="197"/>
                </a:cubicBezTo>
                <a:cubicBezTo>
                  <a:pt x="1241" y="198"/>
                  <a:pt x="1241" y="198"/>
                  <a:pt x="1241" y="198"/>
                </a:cubicBezTo>
                <a:cubicBezTo>
                  <a:pt x="1241" y="199"/>
                  <a:pt x="1241" y="199"/>
                  <a:pt x="1241" y="199"/>
                </a:cubicBezTo>
                <a:cubicBezTo>
                  <a:pt x="1242" y="200"/>
                  <a:pt x="1242" y="200"/>
                  <a:pt x="1242" y="200"/>
                </a:cubicBezTo>
                <a:cubicBezTo>
                  <a:pt x="1242" y="201"/>
                  <a:pt x="1242" y="201"/>
                  <a:pt x="1242" y="201"/>
                </a:cubicBezTo>
                <a:cubicBezTo>
                  <a:pt x="1243" y="201"/>
                  <a:pt x="1243" y="201"/>
                  <a:pt x="1243" y="201"/>
                </a:cubicBezTo>
                <a:cubicBezTo>
                  <a:pt x="1243" y="203"/>
                  <a:pt x="1243" y="203"/>
                  <a:pt x="1243" y="203"/>
                </a:cubicBezTo>
                <a:cubicBezTo>
                  <a:pt x="1244" y="203"/>
                  <a:pt x="1244" y="203"/>
                  <a:pt x="1244" y="203"/>
                </a:cubicBezTo>
                <a:cubicBezTo>
                  <a:pt x="1244" y="202"/>
                  <a:pt x="1244" y="202"/>
                  <a:pt x="1244" y="202"/>
                </a:cubicBezTo>
                <a:cubicBezTo>
                  <a:pt x="1243" y="201"/>
                  <a:pt x="1243" y="201"/>
                  <a:pt x="1243" y="201"/>
                </a:cubicBezTo>
                <a:cubicBezTo>
                  <a:pt x="1243" y="200"/>
                  <a:pt x="1243" y="200"/>
                  <a:pt x="1243" y="200"/>
                </a:cubicBezTo>
                <a:cubicBezTo>
                  <a:pt x="1244" y="199"/>
                  <a:pt x="1244" y="199"/>
                  <a:pt x="1244" y="199"/>
                </a:cubicBezTo>
                <a:cubicBezTo>
                  <a:pt x="1244" y="200"/>
                  <a:pt x="1244" y="200"/>
                  <a:pt x="1244" y="200"/>
                </a:cubicBezTo>
                <a:cubicBezTo>
                  <a:pt x="1245" y="201"/>
                  <a:pt x="1245" y="201"/>
                  <a:pt x="1245" y="201"/>
                </a:cubicBezTo>
                <a:cubicBezTo>
                  <a:pt x="1245" y="202"/>
                  <a:pt x="1245" y="202"/>
                  <a:pt x="1245" y="202"/>
                </a:cubicBezTo>
                <a:cubicBezTo>
                  <a:pt x="1246" y="202"/>
                  <a:pt x="1246" y="202"/>
                  <a:pt x="1246" y="202"/>
                </a:cubicBezTo>
                <a:cubicBezTo>
                  <a:pt x="1247" y="202"/>
                  <a:pt x="1247" y="202"/>
                  <a:pt x="1247" y="202"/>
                </a:cubicBezTo>
                <a:cubicBezTo>
                  <a:pt x="1248" y="202"/>
                  <a:pt x="1248" y="202"/>
                  <a:pt x="1248" y="202"/>
                </a:cubicBezTo>
                <a:cubicBezTo>
                  <a:pt x="1249" y="201"/>
                  <a:pt x="1249" y="201"/>
                  <a:pt x="1249" y="201"/>
                </a:cubicBezTo>
                <a:cubicBezTo>
                  <a:pt x="1250" y="202"/>
                  <a:pt x="1250" y="202"/>
                  <a:pt x="1250" y="202"/>
                </a:cubicBezTo>
                <a:cubicBezTo>
                  <a:pt x="1250" y="203"/>
                  <a:pt x="1250" y="203"/>
                  <a:pt x="1250" y="203"/>
                </a:cubicBezTo>
                <a:cubicBezTo>
                  <a:pt x="1249" y="204"/>
                  <a:pt x="1249" y="204"/>
                  <a:pt x="1249" y="204"/>
                </a:cubicBezTo>
                <a:cubicBezTo>
                  <a:pt x="1249" y="205"/>
                  <a:pt x="1249" y="205"/>
                  <a:pt x="1249" y="205"/>
                </a:cubicBezTo>
                <a:cubicBezTo>
                  <a:pt x="1249" y="206"/>
                  <a:pt x="1249" y="206"/>
                  <a:pt x="1249" y="206"/>
                </a:cubicBezTo>
                <a:cubicBezTo>
                  <a:pt x="1249" y="208"/>
                  <a:pt x="1249" y="208"/>
                  <a:pt x="1249" y="208"/>
                </a:cubicBezTo>
                <a:cubicBezTo>
                  <a:pt x="1248" y="208"/>
                  <a:pt x="1248" y="208"/>
                  <a:pt x="1248" y="208"/>
                </a:cubicBezTo>
                <a:cubicBezTo>
                  <a:pt x="1247" y="208"/>
                  <a:pt x="1247" y="208"/>
                  <a:pt x="1247" y="208"/>
                </a:cubicBezTo>
                <a:cubicBezTo>
                  <a:pt x="1246" y="209"/>
                  <a:pt x="1246" y="209"/>
                  <a:pt x="1246" y="209"/>
                </a:cubicBezTo>
                <a:cubicBezTo>
                  <a:pt x="1245" y="208"/>
                  <a:pt x="1245" y="208"/>
                  <a:pt x="1245" y="208"/>
                </a:cubicBezTo>
                <a:cubicBezTo>
                  <a:pt x="1244" y="208"/>
                  <a:pt x="1244" y="208"/>
                  <a:pt x="1244" y="208"/>
                </a:cubicBezTo>
                <a:cubicBezTo>
                  <a:pt x="1243" y="209"/>
                  <a:pt x="1243" y="209"/>
                  <a:pt x="1243" y="209"/>
                </a:cubicBezTo>
                <a:cubicBezTo>
                  <a:pt x="1242" y="210"/>
                  <a:pt x="1242" y="210"/>
                  <a:pt x="1242" y="210"/>
                </a:cubicBezTo>
                <a:cubicBezTo>
                  <a:pt x="1241" y="210"/>
                  <a:pt x="1241" y="210"/>
                  <a:pt x="1241" y="210"/>
                </a:cubicBezTo>
                <a:cubicBezTo>
                  <a:pt x="1240" y="211"/>
                  <a:pt x="1240" y="211"/>
                  <a:pt x="1240" y="211"/>
                </a:cubicBezTo>
                <a:cubicBezTo>
                  <a:pt x="1239" y="211"/>
                  <a:pt x="1239" y="211"/>
                  <a:pt x="1239" y="211"/>
                </a:cubicBezTo>
                <a:cubicBezTo>
                  <a:pt x="1238" y="210"/>
                  <a:pt x="1238" y="210"/>
                  <a:pt x="1238" y="210"/>
                </a:cubicBezTo>
                <a:cubicBezTo>
                  <a:pt x="1236" y="210"/>
                  <a:pt x="1236" y="210"/>
                  <a:pt x="1236" y="210"/>
                </a:cubicBezTo>
                <a:cubicBezTo>
                  <a:pt x="1235" y="208"/>
                  <a:pt x="1235" y="208"/>
                  <a:pt x="1235" y="208"/>
                </a:cubicBezTo>
                <a:cubicBezTo>
                  <a:pt x="1233" y="206"/>
                  <a:pt x="1233" y="206"/>
                  <a:pt x="1233" y="206"/>
                </a:cubicBezTo>
                <a:cubicBezTo>
                  <a:pt x="1232" y="205"/>
                  <a:pt x="1232" y="205"/>
                  <a:pt x="1232" y="205"/>
                </a:cubicBezTo>
                <a:cubicBezTo>
                  <a:pt x="1232" y="204"/>
                  <a:pt x="1232" y="204"/>
                  <a:pt x="1232" y="204"/>
                </a:cubicBezTo>
                <a:cubicBezTo>
                  <a:pt x="1233" y="204"/>
                  <a:pt x="1233" y="204"/>
                  <a:pt x="1233" y="204"/>
                </a:cubicBezTo>
                <a:cubicBezTo>
                  <a:pt x="1234" y="205"/>
                  <a:pt x="1234" y="205"/>
                  <a:pt x="1234" y="205"/>
                </a:cubicBezTo>
                <a:cubicBezTo>
                  <a:pt x="1236" y="206"/>
                  <a:pt x="1236" y="206"/>
                  <a:pt x="1236" y="206"/>
                </a:cubicBezTo>
                <a:cubicBezTo>
                  <a:pt x="1237" y="207"/>
                  <a:pt x="1237" y="207"/>
                  <a:pt x="1237" y="207"/>
                </a:cubicBezTo>
                <a:cubicBezTo>
                  <a:pt x="1238" y="207"/>
                  <a:pt x="1238" y="207"/>
                  <a:pt x="1238" y="207"/>
                </a:cubicBezTo>
                <a:cubicBezTo>
                  <a:pt x="1239" y="206"/>
                  <a:pt x="1239" y="206"/>
                  <a:pt x="1239" y="206"/>
                </a:cubicBezTo>
                <a:cubicBezTo>
                  <a:pt x="1240" y="206"/>
                  <a:pt x="1240" y="206"/>
                  <a:pt x="1240" y="206"/>
                </a:cubicBezTo>
                <a:cubicBezTo>
                  <a:pt x="1239" y="205"/>
                  <a:pt x="1239" y="205"/>
                  <a:pt x="1239" y="205"/>
                </a:cubicBezTo>
                <a:cubicBezTo>
                  <a:pt x="1238" y="206"/>
                  <a:pt x="1238" y="206"/>
                  <a:pt x="1238" y="206"/>
                </a:cubicBezTo>
                <a:cubicBezTo>
                  <a:pt x="1237" y="205"/>
                  <a:pt x="1237" y="205"/>
                  <a:pt x="1237" y="205"/>
                </a:cubicBezTo>
                <a:cubicBezTo>
                  <a:pt x="1235" y="204"/>
                  <a:pt x="1235" y="204"/>
                  <a:pt x="1235" y="204"/>
                </a:cubicBezTo>
                <a:cubicBezTo>
                  <a:pt x="1233" y="203"/>
                  <a:pt x="1233" y="203"/>
                  <a:pt x="1233" y="203"/>
                </a:cubicBezTo>
                <a:cubicBezTo>
                  <a:pt x="1232" y="203"/>
                  <a:pt x="1232" y="203"/>
                  <a:pt x="1232" y="203"/>
                </a:cubicBezTo>
                <a:cubicBezTo>
                  <a:pt x="1232" y="202"/>
                  <a:pt x="1232" y="202"/>
                  <a:pt x="1232" y="202"/>
                </a:cubicBezTo>
                <a:cubicBezTo>
                  <a:pt x="1231" y="202"/>
                  <a:pt x="1231" y="202"/>
                  <a:pt x="1231" y="202"/>
                </a:cubicBezTo>
                <a:cubicBezTo>
                  <a:pt x="1231" y="203"/>
                  <a:pt x="1231" y="203"/>
                  <a:pt x="1231" y="203"/>
                </a:cubicBezTo>
                <a:cubicBezTo>
                  <a:pt x="1230" y="205"/>
                  <a:pt x="1230" y="205"/>
                  <a:pt x="1230" y="205"/>
                </a:cubicBezTo>
                <a:cubicBezTo>
                  <a:pt x="1230" y="206"/>
                  <a:pt x="1230" y="206"/>
                  <a:pt x="1230" y="206"/>
                </a:cubicBezTo>
                <a:cubicBezTo>
                  <a:pt x="1228" y="204"/>
                  <a:pt x="1228" y="204"/>
                  <a:pt x="1228" y="204"/>
                </a:cubicBezTo>
                <a:cubicBezTo>
                  <a:pt x="1227" y="202"/>
                  <a:pt x="1227" y="202"/>
                  <a:pt x="1227" y="202"/>
                </a:cubicBezTo>
                <a:cubicBezTo>
                  <a:pt x="1226" y="201"/>
                  <a:pt x="1226" y="201"/>
                  <a:pt x="1226" y="201"/>
                </a:cubicBezTo>
                <a:cubicBezTo>
                  <a:pt x="1226" y="200"/>
                  <a:pt x="1226" y="200"/>
                  <a:pt x="1226" y="200"/>
                </a:cubicBezTo>
                <a:cubicBezTo>
                  <a:pt x="1225" y="200"/>
                  <a:pt x="1225" y="200"/>
                  <a:pt x="1225" y="200"/>
                </a:cubicBezTo>
                <a:cubicBezTo>
                  <a:pt x="1225" y="201"/>
                  <a:pt x="1225" y="201"/>
                  <a:pt x="1225" y="201"/>
                </a:cubicBezTo>
                <a:cubicBezTo>
                  <a:pt x="1226" y="202"/>
                  <a:pt x="1226" y="202"/>
                  <a:pt x="1226" y="202"/>
                </a:cubicBezTo>
                <a:cubicBezTo>
                  <a:pt x="1227" y="204"/>
                  <a:pt x="1227" y="204"/>
                  <a:pt x="1227" y="204"/>
                </a:cubicBezTo>
                <a:cubicBezTo>
                  <a:pt x="1227" y="205"/>
                  <a:pt x="1227" y="205"/>
                  <a:pt x="1227" y="205"/>
                </a:cubicBezTo>
                <a:cubicBezTo>
                  <a:pt x="1228" y="205"/>
                  <a:pt x="1228" y="205"/>
                  <a:pt x="1228" y="205"/>
                </a:cubicBezTo>
                <a:cubicBezTo>
                  <a:pt x="1229" y="206"/>
                  <a:pt x="1229" y="206"/>
                  <a:pt x="1229" y="206"/>
                </a:cubicBezTo>
                <a:cubicBezTo>
                  <a:pt x="1228" y="207"/>
                  <a:pt x="1228" y="207"/>
                  <a:pt x="1228" y="207"/>
                </a:cubicBezTo>
                <a:cubicBezTo>
                  <a:pt x="1227" y="207"/>
                  <a:pt x="1227" y="207"/>
                  <a:pt x="1227" y="207"/>
                </a:cubicBezTo>
                <a:cubicBezTo>
                  <a:pt x="1226" y="208"/>
                  <a:pt x="1226" y="208"/>
                  <a:pt x="1226" y="208"/>
                </a:cubicBezTo>
                <a:cubicBezTo>
                  <a:pt x="1225" y="209"/>
                  <a:pt x="1225" y="209"/>
                  <a:pt x="1225" y="209"/>
                </a:cubicBezTo>
                <a:cubicBezTo>
                  <a:pt x="1224" y="209"/>
                  <a:pt x="1224" y="209"/>
                  <a:pt x="1224" y="209"/>
                </a:cubicBezTo>
                <a:cubicBezTo>
                  <a:pt x="1223" y="209"/>
                  <a:pt x="1223" y="209"/>
                  <a:pt x="1223" y="209"/>
                </a:cubicBezTo>
                <a:cubicBezTo>
                  <a:pt x="1222" y="209"/>
                  <a:pt x="1222" y="209"/>
                  <a:pt x="1222" y="209"/>
                </a:cubicBezTo>
                <a:cubicBezTo>
                  <a:pt x="1221" y="209"/>
                  <a:pt x="1221" y="209"/>
                  <a:pt x="1221" y="209"/>
                </a:cubicBezTo>
                <a:cubicBezTo>
                  <a:pt x="1221" y="208"/>
                  <a:pt x="1221" y="208"/>
                  <a:pt x="1221" y="208"/>
                </a:cubicBezTo>
                <a:cubicBezTo>
                  <a:pt x="1220" y="208"/>
                  <a:pt x="1220" y="208"/>
                  <a:pt x="1220" y="208"/>
                </a:cubicBezTo>
                <a:cubicBezTo>
                  <a:pt x="1218" y="207"/>
                  <a:pt x="1218" y="207"/>
                  <a:pt x="1218" y="207"/>
                </a:cubicBezTo>
                <a:cubicBezTo>
                  <a:pt x="1218" y="206"/>
                  <a:pt x="1218" y="206"/>
                  <a:pt x="1218" y="206"/>
                </a:cubicBezTo>
                <a:cubicBezTo>
                  <a:pt x="1218" y="205"/>
                  <a:pt x="1218" y="205"/>
                  <a:pt x="1218" y="205"/>
                </a:cubicBezTo>
                <a:cubicBezTo>
                  <a:pt x="1217" y="205"/>
                  <a:pt x="1217" y="205"/>
                  <a:pt x="1217" y="205"/>
                </a:cubicBezTo>
                <a:cubicBezTo>
                  <a:pt x="1217" y="206"/>
                  <a:pt x="1217" y="206"/>
                  <a:pt x="1217" y="206"/>
                </a:cubicBezTo>
                <a:cubicBezTo>
                  <a:pt x="1217" y="207"/>
                  <a:pt x="1217" y="207"/>
                  <a:pt x="1217" y="207"/>
                </a:cubicBezTo>
                <a:cubicBezTo>
                  <a:pt x="1218" y="207"/>
                  <a:pt x="1218" y="207"/>
                  <a:pt x="1218" y="207"/>
                </a:cubicBezTo>
                <a:cubicBezTo>
                  <a:pt x="1219" y="208"/>
                  <a:pt x="1219" y="208"/>
                  <a:pt x="1219" y="208"/>
                </a:cubicBezTo>
                <a:cubicBezTo>
                  <a:pt x="1220" y="209"/>
                  <a:pt x="1220" y="209"/>
                  <a:pt x="1220" y="209"/>
                </a:cubicBezTo>
                <a:cubicBezTo>
                  <a:pt x="1220" y="210"/>
                  <a:pt x="1220" y="210"/>
                  <a:pt x="1220" y="210"/>
                </a:cubicBezTo>
                <a:cubicBezTo>
                  <a:pt x="1219" y="210"/>
                  <a:pt x="1219" y="210"/>
                  <a:pt x="1219" y="210"/>
                </a:cubicBezTo>
                <a:cubicBezTo>
                  <a:pt x="1217" y="210"/>
                  <a:pt x="1217" y="210"/>
                  <a:pt x="1217" y="210"/>
                </a:cubicBezTo>
                <a:cubicBezTo>
                  <a:pt x="1216" y="210"/>
                  <a:pt x="1216" y="210"/>
                  <a:pt x="1216" y="210"/>
                </a:cubicBezTo>
                <a:cubicBezTo>
                  <a:pt x="1215" y="210"/>
                  <a:pt x="1215" y="210"/>
                  <a:pt x="1215" y="210"/>
                </a:cubicBezTo>
                <a:cubicBezTo>
                  <a:pt x="1214" y="211"/>
                  <a:pt x="1214" y="211"/>
                  <a:pt x="1214" y="211"/>
                </a:cubicBezTo>
                <a:cubicBezTo>
                  <a:pt x="1215" y="211"/>
                  <a:pt x="1215" y="211"/>
                  <a:pt x="1215" y="211"/>
                </a:cubicBezTo>
                <a:cubicBezTo>
                  <a:pt x="1215" y="212"/>
                  <a:pt x="1215" y="212"/>
                  <a:pt x="1215" y="212"/>
                </a:cubicBezTo>
                <a:cubicBezTo>
                  <a:pt x="1216" y="212"/>
                  <a:pt x="1216" y="212"/>
                  <a:pt x="1216" y="212"/>
                </a:cubicBezTo>
                <a:cubicBezTo>
                  <a:pt x="1216" y="211"/>
                  <a:pt x="1216" y="211"/>
                  <a:pt x="1216" y="211"/>
                </a:cubicBezTo>
                <a:cubicBezTo>
                  <a:pt x="1218" y="211"/>
                  <a:pt x="1218" y="211"/>
                  <a:pt x="1218" y="211"/>
                </a:cubicBezTo>
                <a:cubicBezTo>
                  <a:pt x="1219" y="211"/>
                  <a:pt x="1219" y="212"/>
                  <a:pt x="1219" y="212"/>
                </a:cubicBezTo>
                <a:cubicBezTo>
                  <a:pt x="1220" y="211"/>
                  <a:pt x="1220" y="211"/>
                  <a:pt x="1220" y="211"/>
                </a:cubicBezTo>
                <a:cubicBezTo>
                  <a:pt x="1220" y="210"/>
                  <a:pt x="1220" y="210"/>
                  <a:pt x="1220" y="210"/>
                </a:cubicBezTo>
                <a:cubicBezTo>
                  <a:pt x="1221" y="210"/>
                  <a:pt x="1221" y="210"/>
                  <a:pt x="1221" y="210"/>
                </a:cubicBezTo>
                <a:cubicBezTo>
                  <a:pt x="1222" y="210"/>
                  <a:pt x="1222" y="210"/>
                  <a:pt x="1222" y="210"/>
                </a:cubicBezTo>
                <a:cubicBezTo>
                  <a:pt x="1223" y="210"/>
                  <a:pt x="1223" y="210"/>
                  <a:pt x="1223" y="210"/>
                </a:cubicBezTo>
                <a:cubicBezTo>
                  <a:pt x="1224" y="211"/>
                  <a:pt x="1224" y="211"/>
                  <a:pt x="1224" y="211"/>
                </a:cubicBezTo>
                <a:cubicBezTo>
                  <a:pt x="1225" y="211"/>
                  <a:pt x="1225" y="211"/>
                  <a:pt x="1225" y="211"/>
                </a:cubicBezTo>
                <a:cubicBezTo>
                  <a:pt x="1226" y="212"/>
                  <a:pt x="1226" y="212"/>
                  <a:pt x="1226" y="212"/>
                </a:cubicBezTo>
                <a:cubicBezTo>
                  <a:pt x="1227" y="212"/>
                  <a:pt x="1227" y="212"/>
                  <a:pt x="1227" y="212"/>
                </a:cubicBezTo>
                <a:cubicBezTo>
                  <a:pt x="1227" y="213"/>
                  <a:pt x="1227" y="213"/>
                  <a:pt x="1227" y="213"/>
                </a:cubicBezTo>
                <a:cubicBezTo>
                  <a:pt x="1227" y="214"/>
                  <a:pt x="1227" y="214"/>
                  <a:pt x="1227" y="214"/>
                </a:cubicBezTo>
                <a:cubicBezTo>
                  <a:pt x="1226" y="214"/>
                  <a:pt x="1226" y="214"/>
                  <a:pt x="1226" y="214"/>
                </a:cubicBezTo>
                <a:cubicBezTo>
                  <a:pt x="1226" y="215"/>
                  <a:pt x="1226" y="215"/>
                  <a:pt x="1226" y="215"/>
                </a:cubicBezTo>
                <a:cubicBezTo>
                  <a:pt x="1225" y="214"/>
                  <a:pt x="1225" y="214"/>
                  <a:pt x="1225" y="214"/>
                </a:cubicBezTo>
                <a:cubicBezTo>
                  <a:pt x="1224" y="215"/>
                  <a:pt x="1224" y="215"/>
                  <a:pt x="1224" y="215"/>
                </a:cubicBezTo>
                <a:cubicBezTo>
                  <a:pt x="1223" y="215"/>
                  <a:pt x="1223" y="215"/>
                  <a:pt x="1223" y="215"/>
                </a:cubicBezTo>
                <a:cubicBezTo>
                  <a:pt x="1222" y="216"/>
                  <a:pt x="1222" y="216"/>
                  <a:pt x="1222" y="216"/>
                </a:cubicBezTo>
                <a:cubicBezTo>
                  <a:pt x="1221" y="216"/>
                  <a:pt x="1221" y="216"/>
                  <a:pt x="1221" y="216"/>
                </a:cubicBezTo>
                <a:cubicBezTo>
                  <a:pt x="1220" y="214"/>
                  <a:pt x="1220" y="214"/>
                  <a:pt x="1220" y="214"/>
                </a:cubicBezTo>
                <a:cubicBezTo>
                  <a:pt x="1219" y="214"/>
                  <a:pt x="1219" y="214"/>
                  <a:pt x="1219" y="214"/>
                </a:cubicBezTo>
                <a:cubicBezTo>
                  <a:pt x="1218" y="215"/>
                  <a:pt x="1218" y="215"/>
                  <a:pt x="1218" y="215"/>
                </a:cubicBezTo>
                <a:cubicBezTo>
                  <a:pt x="1219" y="215"/>
                  <a:pt x="1219" y="215"/>
                  <a:pt x="1219" y="215"/>
                </a:cubicBezTo>
                <a:cubicBezTo>
                  <a:pt x="1220" y="216"/>
                  <a:pt x="1220" y="216"/>
                  <a:pt x="1220" y="216"/>
                </a:cubicBezTo>
                <a:cubicBezTo>
                  <a:pt x="1219" y="216"/>
                  <a:pt x="1219" y="216"/>
                  <a:pt x="1219" y="216"/>
                </a:cubicBezTo>
                <a:cubicBezTo>
                  <a:pt x="1218" y="216"/>
                  <a:pt x="1218" y="216"/>
                  <a:pt x="1218" y="216"/>
                </a:cubicBezTo>
                <a:cubicBezTo>
                  <a:pt x="1217" y="217"/>
                  <a:pt x="1217" y="217"/>
                  <a:pt x="1217" y="217"/>
                </a:cubicBezTo>
                <a:cubicBezTo>
                  <a:pt x="1218" y="217"/>
                  <a:pt x="1218" y="217"/>
                  <a:pt x="1218" y="217"/>
                </a:cubicBezTo>
                <a:cubicBezTo>
                  <a:pt x="1219" y="217"/>
                  <a:pt x="1219" y="217"/>
                  <a:pt x="1219" y="217"/>
                </a:cubicBezTo>
                <a:cubicBezTo>
                  <a:pt x="1220" y="217"/>
                  <a:pt x="1220" y="217"/>
                  <a:pt x="1220" y="217"/>
                </a:cubicBezTo>
                <a:cubicBezTo>
                  <a:pt x="1220" y="218"/>
                  <a:pt x="1220" y="218"/>
                  <a:pt x="1220" y="218"/>
                </a:cubicBezTo>
                <a:cubicBezTo>
                  <a:pt x="1221" y="218"/>
                  <a:pt x="1221" y="218"/>
                  <a:pt x="1221" y="218"/>
                </a:cubicBezTo>
                <a:cubicBezTo>
                  <a:pt x="1221" y="217"/>
                  <a:pt x="1221" y="217"/>
                  <a:pt x="1221" y="217"/>
                </a:cubicBezTo>
                <a:cubicBezTo>
                  <a:pt x="1222" y="217"/>
                  <a:pt x="1222" y="217"/>
                  <a:pt x="1222" y="217"/>
                </a:cubicBezTo>
                <a:cubicBezTo>
                  <a:pt x="1223" y="217"/>
                  <a:pt x="1223" y="217"/>
                  <a:pt x="1223" y="217"/>
                </a:cubicBezTo>
                <a:cubicBezTo>
                  <a:pt x="1224" y="216"/>
                  <a:pt x="1224" y="216"/>
                  <a:pt x="1224" y="216"/>
                </a:cubicBezTo>
                <a:cubicBezTo>
                  <a:pt x="1225" y="216"/>
                  <a:pt x="1225" y="216"/>
                  <a:pt x="1225" y="216"/>
                </a:cubicBezTo>
                <a:cubicBezTo>
                  <a:pt x="1226" y="217"/>
                  <a:pt x="1226" y="217"/>
                  <a:pt x="1226" y="217"/>
                </a:cubicBezTo>
                <a:cubicBezTo>
                  <a:pt x="1227" y="217"/>
                  <a:pt x="1227" y="217"/>
                  <a:pt x="1227" y="217"/>
                </a:cubicBezTo>
                <a:cubicBezTo>
                  <a:pt x="1227" y="218"/>
                  <a:pt x="1227" y="218"/>
                  <a:pt x="1227" y="218"/>
                </a:cubicBezTo>
                <a:cubicBezTo>
                  <a:pt x="1227" y="220"/>
                  <a:pt x="1227" y="220"/>
                  <a:pt x="1227" y="220"/>
                </a:cubicBezTo>
                <a:cubicBezTo>
                  <a:pt x="1226" y="221"/>
                  <a:pt x="1226" y="221"/>
                  <a:pt x="1226" y="221"/>
                </a:cubicBezTo>
                <a:cubicBezTo>
                  <a:pt x="1225" y="221"/>
                  <a:pt x="1225" y="221"/>
                  <a:pt x="1225" y="221"/>
                </a:cubicBezTo>
                <a:cubicBezTo>
                  <a:pt x="1224" y="221"/>
                  <a:pt x="1224" y="221"/>
                  <a:pt x="1224" y="221"/>
                </a:cubicBezTo>
                <a:cubicBezTo>
                  <a:pt x="1223" y="221"/>
                  <a:pt x="1223" y="221"/>
                  <a:pt x="1223" y="221"/>
                </a:cubicBezTo>
                <a:cubicBezTo>
                  <a:pt x="1224" y="222"/>
                  <a:pt x="1224" y="222"/>
                  <a:pt x="1224" y="222"/>
                </a:cubicBezTo>
                <a:cubicBezTo>
                  <a:pt x="1224" y="222"/>
                  <a:pt x="1224" y="222"/>
                  <a:pt x="1225" y="222"/>
                </a:cubicBezTo>
                <a:cubicBezTo>
                  <a:pt x="1224" y="223"/>
                  <a:pt x="1224" y="223"/>
                  <a:pt x="1224" y="223"/>
                </a:cubicBezTo>
                <a:cubicBezTo>
                  <a:pt x="1224" y="223"/>
                  <a:pt x="1224" y="223"/>
                  <a:pt x="1225" y="223"/>
                </a:cubicBezTo>
                <a:cubicBezTo>
                  <a:pt x="1225" y="223"/>
                  <a:pt x="1225" y="223"/>
                  <a:pt x="1225" y="222"/>
                </a:cubicBezTo>
                <a:cubicBezTo>
                  <a:pt x="1225" y="222"/>
                  <a:pt x="1225" y="222"/>
                  <a:pt x="1225" y="222"/>
                </a:cubicBezTo>
                <a:cubicBezTo>
                  <a:pt x="1226" y="222"/>
                  <a:pt x="1226" y="222"/>
                  <a:pt x="1226" y="222"/>
                </a:cubicBezTo>
                <a:cubicBezTo>
                  <a:pt x="1228" y="222"/>
                  <a:pt x="1228" y="222"/>
                  <a:pt x="1228" y="222"/>
                </a:cubicBezTo>
                <a:cubicBezTo>
                  <a:pt x="1229" y="222"/>
                  <a:pt x="1229" y="222"/>
                  <a:pt x="1229" y="222"/>
                </a:cubicBezTo>
                <a:cubicBezTo>
                  <a:pt x="1229" y="223"/>
                  <a:pt x="1229" y="223"/>
                  <a:pt x="1229" y="223"/>
                </a:cubicBezTo>
                <a:cubicBezTo>
                  <a:pt x="1231" y="224"/>
                  <a:pt x="1231" y="224"/>
                  <a:pt x="1231" y="224"/>
                </a:cubicBezTo>
                <a:cubicBezTo>
                  <a:pt x="1231" y="225"/>
                  <a:pt x="1231" y="225"/>
                  <a:pt x="1231" y="225"/>
                </a:cubicBezTo>
                <a:cubicBezTo>
                  <a:pt x="1232" y="225"/>
                  <a:pt x="1232" y="225"/>
                  <a:pt x="1232" y="225"/>
                </a:cubicBezTo>
                <a:cubicBezTo>
                  <a:pt x="1232" y="226"/>
                  <a:pt x="1232" y="226"/>
                  <a:pt x="1232" y="226"/>
                </a:cubicBezTo>
                <a:cubicBezTo>
                  <a:pt x="1233" y="226"/>
                  <a:pt x="1233" y="226"/>
                  <a:pt x="1233" y="226"/>
                </a:cubicBezTo>
                <a:cubicBezTo>
                  <a:pt x="1234" y="227"/>
                  <a:pt x="1234" y="227"/>
                  <a:pt x="1234" y="227"/>
                </a:cubicBezTo>
                <a:cubicBezTo>
                  <a:pt x="1235" y="228"/>
                  <a:pt x="1235" y="228"/>
                  <a:pt x="1235" y="228"/>
                </a:cubicBezTo>
                <a:cubicBezTo>
                  <a:pt x="1236" y="228"/>
                  <a:pt x="1236" y="228"/>
                  <a:pt x="1236" y="228"/>
                </a:cubicBezTo>
                <a:cubicBezTo>
                  <a:pt x="1236" y="229"/>
                  <a:pt x="1236" y="229"/>
                  <a:pt x="1236" y="229"/>
                </a:cubicBezTo>
                <a:cubicBezTo>
                  <a:pt x="1237" y="229"/>
                  <a:pt x="1237" y="229"/>
                  <a:pt x="1237" y="229"/>
                </a:cubicBezTo>
                <a:cubicBezTo>
                  <a:pt x="1237" y="230"/>
                  <a:pt x="1237" y="230"/>
                  <a:pt x="1237" y="230"/>
                </a:cubicBezTo>
                <a:cubicBezTo>
                  <a:pt x="1236" y="231"/>
                  <a:pt x="1236" y="231"/>
                  <a:pt x="1236" y="231"/>
                </a:cubicBezTo>
                <a:cubicBezTo>
                  <a:pt x="1235" y="231"/>
                  <a:pt x="1235" y="231"/>
                  <a:pt x="1235" y="231"/>
                </a:cubicBezTo>
                <a:cubicBezTo>
                  <a:pt x="1235" y="232"/>
                  <a:pt x="1235" y="232"/>
                  <a:pt x="1235" y="232"/>
                </a:cubicBezTo>
                <a:cubicBezTo>
                  <a:pt x="1236" y="231"/>
                  <a:pt x="1236" y="231"/>
                  <a:pt x="1236" y="231"/>
                </a:cubicBezTo>
                <a:cubicBezTo>
                  <a:pt x="1237" y="231"/>
                  <a:pt x="1237" y="231"/>
                  <a:pt x="1237" y="231"/>
                </a:cubicBezTo>
                <a:cubicBezTo>
                  <a:pt x="1237" y="232"/>
                  <a:pt x="1237" y="232"/>
                  <a:pt x="1237" y="232"/>
                </a:cubicBezTo>
                <a:cubicBezTo>
                  <a:pt x="1238" y="232"/>
                  <a:pt x="1238" y="232"/>
                  <a:pt x="1238" y="232"/>
                </a:cubicBezTo>
                <a:cubicBezTo>
                  <a:pt x="1239" y="232"/>
                  <a:pt x="1239" y="232"/>
                  <a:pt x="1239" y="232"/>
                </a:cubicBezTo>
                <a:cubicBezTo>
                  <a:pt x="1239" y="233"/>
                  <a:pt x="1239" y="233"/>
                  <a:pt x="1239" y="233"/>
                </a:cubicBezTo>
                <a:cubicBezTo>
                  <a:pt x="1238" y="234"/>
                  <a:pt x="1238" y="234"/>
                  <a:pt x="1238" y="234"/>
                </a:cubicBezTo>
                <a:cubicBezTo>
                  <a:pt x="1237" y="234"/>
                  <a:pt x="1237" y="234"/>
                  <a:pt x="1237" y="234"/>
                </a:cubicBezTo>
                <a:cubicBezTo>
                  <a:pt x="1237" y="235"/>
                  <a:pt x="1237" y="235"/>
                  <a:pt x="1237" y="235"/>
                </a:cubicBezTo>
                <a:cubicBezTo>
                  <a:pt x="1237" y="236"/>
                  <a:pt x="1237" y="236"/>
                  <a:pt x="1237" y="236"/>
                </a:cubicBezTo>
                <a:cubicBezTo>
                  <a:pt x="1237" y="237"/>
                  <a:pt x="1237" y="237"/>
                  <a:pt x="1237" y="237"/>
                </a:cubicBezTo>
                <a:cubicBezTo>
                  <a:pt x="1238" y="236"/>
                  <a:pt x="1238" y="236"/>
                  <a:pt x="1238" y="236"/>
                </a:cubicBezTo>
                <a:cubicBezTo>
                  <a:pt x="1239" y="235"/>
                  <a:pt x="1239" y="235"/>
                  <a:pt x="1239" y="235"/>
                </a:cubicBezTo>
                <a:cubicBezTo>
                  <a:pt x="1240" y="235"/>
                  <a:pt x="1240" y="235"/>
                  <a:pt x="1240" y="235"/>
                </a:cubicBezTo>
                <a:cubicBezTo>
                  <a:pt x="1240" y="236"/>
                  <a:pt x="1240" y="236"/>
                  <a:pt x="1240" y="236"/>
                </a:cubicBezTo>
                <a:cubicBezTo>
                  <a:pt x="1239" y="237"/>
                  <a:pt x="1239" y="237"/>
                  <a:pt x="1239" y="237"/>
                </a:cubicBezTo>
                <a:cubicBezTo>
                  <a:pt x="1239" y="238"/>
                  <a:pt x="1239" y="238"/>
                  <a:pt x="1239" y="238"/>
                </a:cubicBezTo>
                <a:cubicBezTo>
                  <a:pt x="1240" y="238"/>
                  <a:pt x="1240" y="238"/>
                  <a:pt x="1240" y="238"/>
                </a:cubicBezTo>
                <a:cubicBezTo>
                  <a:pt x="1240" y="240"/>
                  <a:pt x="1240" y="240"/>
                  <a:pt x="1240" y="240"/>
                </a:cubicBezTo>
                <a:cubicBezTo>
                  <a:pt x="1239" y="240"/>
                  <a:pt x="1239" y="240"/>
                  <a:pt x="1239" y="240"/>
                </a:cubicBezTo>
                <a:cubicBezTo>
                  <a:pt x="1238" y="240"/>
                  <a:pt x="1238" y="240"/>
                  <a:pt x="1238" y="240"/>
                </a:cubicBezTo>
                <a:cubicBezTo>
                  <a:pt x="1238" y="241"/>
                  <a:pt x="1238" y="241"/>
                  <a:pt x="1238" y="241"/>
                </a:cubicBezTo>
                <a:cubicBezTo>
                  <a:pt x="1239" y="241"/>
                  <a:pt x="1239" y="241"/>
                  <a:pt x="1239" y="241"/>
                </a:cubicBezTo>
                <a:cubicBezTo>
                  <a:pt x="1239" y="242"/>
                  <a:pt x="1239" y="242"/>
                  <a:pt x="1239" y="242"/>
                </a:cubicBezTo>
                <a:cubicBezTo>
                  <a:pt x="1239" y="243"/>
                  <a:pt x="1239" y="243"/>
                  <a:pt x="1239" y="243"/>
                </a:cubicBezTo>
                <a:cubicBezTo>
                  <a:pt x="1240" y="243"/>
                  <a:pt x="1240" y="243"/>
                  <a:pt x="1240" y="243"/>
                </a:cubicBezTo>
                <a:cubicBezTo>
                  <a:pt x="1240" y="244"/>
                  <a:pt x="1240" y="244"/>
                  <a:pt x="1240" y="244"/>
                </a:cubicBezTo>
                <a:cubicBezTo>
                  <a:pt x="1239" y="245"/>
                  <a:pt x="1239" y="245"/>
                  <a:pt x="1239" y="245"/>
                </a:cubicBezTo>
                <a:cubicBezTo>
                  <a:pt x="1239" y="246"/>
                  <a:pt x="1239" y="246"/>
                  <a:pt x="1239" y="246"/>
                </a:cubicBezTo>
                <a:cubicBezTo>
                  <a:pt x="1239" y="248"/>
                  <a:pt x="1239" y="248"/>
                  <a:pt x="1239" y="248"/>
                </a:cubicBezTo>
                <a:cubicBezTo>
                  <a:pt x="1239" y="249"/>
                  <a:pt x="1239" y="249"/>
                  <a:pt x="1239" y="249"/>
                </a:cubicBezTo>
                <a:cubicBezTo>
                  <a:pt x="1239" y="250"/>
                  <a:pt x="1239" y="250"/>
                  <a:pt x="1239" y="250"/>
                </a:cubicBezTo>
                <a:cubicBezTo>
                  <a:pt x="1238" y="250"/>
                  <a:pt x="1238" y="250"/>
                  <a:pt x="1238" y="250"/>
                </a:cubicBezTo>
                <a:cubicBezTo>
                  <a:pt x="1237" y="249"/>
                  <a:pt x="1237" y="249"/>
                  <a:pt x="1237" y="249"/>
                </a:cubicBezTo>
                <a:cubicBezTo>
                  <a:pt x="1238" y="249"/>
                  <a:pt x="1238" y="249"/>
                  <a:pt x="1238" y="249"/>
                </a:cubicBezTo>
                <a:cubicBezTo>
                  <a:pt x="1237" y="248"/>
                  <a:pt x="1237" y="248"/>
                  <a:pt x="1237" y="248"/>
                </a:cubicBezTo>
                <a:cubicBezTo>
                  <a:pt x="1236" y="248"/>
                  <a:pt x="1236" y="248"/>
                  <a:pt x="1236" y="248"/>
                </a:cubicBezTo>
                <a:cubicBezTo>
                  <a:pt x="1236" y="249"/>
                  <a:pt x="1236" y="249"/>
                  <a:pt x="1236" y="249"/>
                </a:cubicBezTo>
                <a:cubicBezTo>
                  <a:pt x="1235" y="248"/>
                  <a:pt x="1235" y="248"/>
                  <a:pt x="1235" y="248"/>
                </a:cubicBezTo>
                <a:cubicBezTo>
                  <a:pt x="1235" y="247"/>
                  <a:pt x="1235" y="247"/>
                  <a:pt x="1235" y="247"/>
                </a:cubicBezTo>
                <a:cubicBezTo>
                  <a:pt x="1236" y="246"/>
                  <a:pt x="1236" y="246"/>
                  <a:pt x="1236" y="246"/>
                </a:cubicBezTo>
                <a:cubicBezTo>
                  <a:pt x="1235" y="245"/>
                  <a:pt x="1235" y="245"/>
                  <a:pt x="1235" y="245"/>
                </a:cubicBezTo>
                <a:cubicBezTo>
                  <a:pt x="1235" y="244"/>
                  <a:pt x="1235" y="244"/>
                  <a:pt x="1235" y="244"/>
                </a:cubicBezTo>
                <a:cubicBezTo>
                  <a:pt x="1235" y="243"/>
                  <a:pt x="1235" y="243"/>
                  <a:pt x="1235" y="243"/>
                </a:cubicBezTo>
                <a:cubicBezTo>
                  <a:pt x="1234" y="244"/>
                  <a:pt x="1234" y="244"/>
                  <a:pt x="1234" y="244"/>
                </a:cubicBezTo>
                <a:cubicBezTo>
                  <a:pt x="1234" y="245"/>
                  <a:pt x="1234" y="245"/>
                  <a:pt x="1234" y="245"/>
                </a:cubicBezTo>
                <a:cubicBezTo>
                  <a:pt x="1234" y="246"/>
                  <a:pt x="1234" y="246"/>
                  <a:pt x="1234" y="246"/>
                </a:cubicBezTo>
                <a:cubicBezTo>
                  <a:pt x="1234" y="248"/>
                  <a:pt x="1234" y="248"/>
                  <a:pt x="1234" y="248"/>
                </a:cubicBezTo>
                <a:cubicBezTo>
                  <a:pt x="1234" y="249"/>
                  <a:pt x="1234" y="249"/>
                  <a:pt x="1234" y="249"/>
                </a:cubicBezTo>
                <a:cubicBezTo>
                  <a:pt x="1233" y="249"/>
                  <a:pt x="1233" y="249"/>
                  <a:pt x="1233" y="249"/>
                </a:cubicBezTo>
                <a:cubicBezTo>
                  <a:pt x="1232" y="249"/>
                  <a:pt x="1232" y="249"/>
                  <a:pt x="1232" y="249"/>
                </a:cubicBezTo>
                <a:cubicBezTo>
                  <a:pt x="1231" y="249"/>
                  <a:pt x="1231" y="249"/>
                  <a:pt x="1231" y="249"/>
                </a:cubicBezTo>
                <a:cubicBezTo>
                  <a:pt x="1229" y="248"/>
                  <a:pt x="1229" y="248"/>
                  <a:pt x="1229" y="248"/>
                </a:cubicBezTo>
                <a:cubicBezTo>
                  <a:pt x="1228" y="246"/>
                  <a:pt x="1228" y="246"/>
                  <a:pt x="1228" y="246"/>
                </a:cubicBezTo>
                <a:cubicBezTo>
                  <a:pt x="1227" y="245"/>
                  <a:pt x="1227" y="245"/>
                  <a:pt x="1227" y="245"/>
                </a:cubicBezTo>
                <a:cubicBezTo>
                  <a:pt x="1227" y="244"/>
                  <a:pt x="1227" y="244"/>
                  <a:pt x="1227" y="244"/>
                </a:cubicBezTo>
                <a:cubicBezTo>
                  <a:pt x="1227" y="242"/>
                  <a:pt x="1227" y="242"/>
                  <a:pt x="1227" y="242"/>
                </a:cubicBezTo>
                <a:cubicBezTo>
                  <a:pt x="1226" y="241"/>
                  <a:pt x="1226" y="241"/>
                  <a:pt x="1226" y="241"/>
                </a:cubicBezTo>
                <a:cubicBezTo>
                  <a:pt x="1225" y="240"/>
                  <a:pt x="1225" y="240"/>
                  <a:pt x="1225" y="240"/>
                </a:cubicBezTo>
                <a:cubicBezTo>
                  <a:pt x="1225" y="239"/>
                  <a:pt x="1225" y="239"/>
                  <a:pt x="1225" y="239"/>
                </a:cubicBezTo>
                <a:cubicBezTo>
                  <a:pt x="1225" y="238"/>
                  <a:pt x="1225" y="238"/>
                  <a:pt x="1225" y="238"/>
                </a:cubicBezTo>
                <a:cubicBezTo>
                  <a:pt x="1226" y="237"/>
                  <a:pt x="1226" y="237"/>
                  <a:pt x="1226" y="237"/>
                </a:cubicBezTo>
                <a:cubicBezTo>
                  <a:pt x="1225" y="236"/>
                  <a:pt x="1225" y="236"/>
                  <a:pt x="1225" y="236"/>
                </a:cubicBezTo>
                <a:cubicBezTo>
                  <a:pt x="1224" y="236"/>
                  <a:pt x="1224" y="236"/>
                  <a:pt x="1224" y="236"/>
                </a:cubicBezTo>
                <a:cubicBezTo>
                  <a:pt x="1223" y="237"/>
                  <a:pt x="1223" y="237"/>
                  <a:pt x="1223" y="237"/>
                </a:cubicBezTo>
                <a:cubicBezTo>
                  <a:pt x="1223" y="236"/>
                  <a:pt x="1223" y="236"/>
                  <a:pt x="1223" y="236"/>
                </a:cubicBezTo>
                <a:cubicBezTo>
                  <a:pt x="1221" y="234"/>
                  <a:pt x="1221" y="234"/>
                  <a:pt x="1221" y="234"/>
                </a:cubicBezTo>
                <a:cubicBezTo>
                  <a:pt x="1220" y="233"/>
                  <a:pt x="1220" y="233"/>
                  <a:pt x="1220" y="233"/>
                </a:cubicBezTo>
                <a:cubicBezTo>
                  <a:pt x="1220" y="232"/>
                  <a:pt x="1220" y="232"/>
                  <a:pt x="1220" y="232"/>
                </a:cubicBezTo>
                <a:cubicBezTo>
                  <a:pt x="1219" y="233"/>
                  <a:pt x="1219" y="233"/>
                  <a:pt x="1219" y="233"/>
                </a:cubicBezTo>
                <a:cubicBezTo>
                  <a:pt x="1218" y="233"/>
                  <a:pt x="1218" y="233"/>
                  <a:pt x="1218" y="233"/>
                </a:cubicBezTo>
                <a:cubicBezTo>
                  <a:pt x="1217" y="232"/>
                  <a:pt x="1217" y="232"/>
                  <a:pt x="1217" y="232"/>
                </a:cubicBezTo>
                <a:cubicBezTo>
                  <a:pt x="1217" y="233"/>
                  <a:pt x="1217" y="233"/>
                  <a:pt x="1217" y="233"/>
                </a:cubicBezTo>
                <a:cubicBezTo>
                  <a:pt x="1216" y="233"/>
                  <a:pt x="1216" y="233"/>
                  <a:pt x="1216" y="233"/>
                </a:cubicBezTo>
                <a:cubicBezTo>
                  <a:pt x="1215" y="233"/>
                  <a:pt x="1215" y="233"/>
                  <a:pt x="1215" y="233"/>
                </a:cubicBezTo>
                <a:cubicBezTo>
                  <a:pt x="1214" y="232"/>
                  <a:pt x="1214" y="232"/>
                  <a:pt x="1214" y="232"/>
                </a:cubicBezTo>
                <a:cubicBezTo>
                  <a:pt x="1214" y="231"/>
                  <a:pt x="1214" y="231"/>
                  <a:pt x="1214" y="231"/>
                </a:cubicBezTo>
                <a:cubicBezTo>
                  <a:pt x="1213" y="230"/>
                  <a:pt x="1213" y="230"/>
                  <a:pt x="1213" y="230"/>
                </a:cubicBezTo>
                <a:cubicBezTo>
                  <a:pt x="1213" y="229"/>
                  <a:pt x="1213" y="229"/>
                  <a:pt x="1213" y="229"/>
                </a:cubicBezTo>
                <a:cubicBezTo>
                  <a:pt x="1212" y="229"/>
                  <a:pt x="1212" y="229"/>
                  <a:pt x="1212" y="229"/>
                </a:cubicBezTo>
                <a:cubicBezTo>
                  <a:pt x="1212" y="227"/>
                  <a:pt x="1212" y="227"/>
                  <a:pt x="1212" y="227"/>
                </a:cubicBezTo>
                <a:cubicBezTo>
                  <a:pt x="1211" y="226"/>
                  <a:pt x="1211" y="226"/>
                  <a:pt x="1211" y="226"/>
                </a:cubicBezTo>
                <a:cubicBezTo>
                  <a:pt x="1211" y="227"/>
                  <a:pt x="1211" y="227"/>
                  <a:pt x="1211" y="227"/>
                </a:cubicBezTo>
                <a:cubicBezTo>
                  <a:pt x="1211" y="228"/>
                  <a:pt x="1211" y="228"/>
                  <a:pt x="1211" y="228"/>
                </a:cubicBezTo>
                <a:cubicBezTo>
                  <a:pt x="1211" y="229"/>
                  <a:pt x="1211" y="229"/>
                  <a:pt x="1211" y="229"/>
                </a:cubicBezTo>
                <a:cubicBezTo>
                  <a:pt x="1210" y="229"/>
                  <a:pt x="1210" y="229"/>
                  <a:pt x="1210" y="229"/>
                </a:cubicBezTo>
                <a:cubicBezTo>
                  <a:pt x="1210" y="230"/>
                  <a:pt x="1210" y="230"/>
                  <a:pt x="1210" y="230"/>
                </a:cubicBezTo>
                <a:cubicBezTo>
                  <a:pt x="1211" y="230"/>
                  <a:pt x="1211" y="230"/>
                  <a:pt x="1211" y="230"/>
                </a:cubicBezTo>
                <a:cubicBezTo>
                  <a:pt x="1212" y="231"/>
                  <a:pt x="1212" y="231"/>
                  <a:pt x="1212" y="231"/>
                </a:cubicBezTo>
                <a:cubicBezTo>
                  <a:pt x="1213" y="232"/>
                  <a:pt x="1213" y="232"/>
                  <a:pt x="1213" y="232"/>
                </a:cubicBezTo>
                <a:cubicBezTo>
                  <a:pt x="1212" y="233"/>
                  <a:pt x="1212" y="233"/>
                  <a:pt x="1212" y="233"/>
                </a:cubicBezTo>
                <a:cubicBezTo>
                  <a:pt x="1211" y="233"/>
                  <a:pt x="1211" y="233"/>
                  <a:pt x="1211" y="233"/>
                </a:cubicBezTo>
                <a:cubicBezTo>
                  <a:pt x="1210" y="234"/>
                  <a:pt x="1210" y="234"/>
                  <a:pt x="1210" y="234"/>
                </a:cubicBezTo>
                <a:cubicBezTo>
                  <a:pt x="1209" y="233"/>
                  <a:pt x="1209" y="233"/>
                  <a:pt x="1209" y="233"/>
                </a:cubicBezTo>
                <a:cubicBezTo>
                  <a:pt x="1209" y="234"/>
                  <a:pt x="1209" y="234"/>
                  <a:pt x="1209" y="234"/>
                </a:cubicBezTo>
                <a:cubicBezTo>
                  <a:pt x="1210" y="234"/>
                  <a:pt x="1210" y="234"/>
                  <a:pt x="1210" y="234"/>
                </a:cubicBezTo>
                <a:cubicBezTo>
                  <a:pt x="1211" y="234"/>
                  <a:pt x="1211" y="234"/>
                  <a:pt x="1211" y="234"/>
                </a:cubicBezTo>
                <a:cubicBezTo>
                  <a:pt x="1212" y="233"/>
                  <a:pt x="1212" y="233"/>
                  <a:pt x="1212" y="233"/>
                </a:cubicBezTo>
                <a:cubicBezTo>
                  <a:pt x="1213" y="233"/>
                  <a:pt x="1213" y="233"/>
                  <a:pt x="1213" y="233"/>
                </a:cubicBezTo>
                <a:cubicBezTo>
                  <a:pt x="1214" y="233"/>
                  <a:pt x="1214" y="233"/>
                  <a:pt x="1214" y="233"/>
                </a:cubicBezTo>
                <a:cubicBezTo>
                  <a:pt x="1214" y="234"/>
                  <a:pt x="1214" y="234"/>
                  <a:pt x="1214" y="234"/>
                </a:cubicBezTo>
                <a:cubicBezTo>
                  <a:pt x="1215" y="234"/>
                  <a:pt x="1215" y="234"/>
                  <a:pt x="1215" y="234"/>
                </a:cubicBezTo>
                <a:cubicBezTo>
                  <a:pt x="1216" y="234"/>
                  <a:pt x="1216" y="234"/>
                  <a:pt x="1216" y="234"/>
                </a:cubicBezTo>
                <a:cubicBezTo>
                  <a:pt x="1219" y="235"/>
                  <a:pt x="1219" y="235"/>
                  <a:pt x="1219" y="235"/>
                </a:cubicBezTo>
                <a:cubicBezTo>
                  <a:pt x="1220" y="235"/>
                  <a:pt x="1220" y="235"/>
                  <a:pt x="1220" y="235"/>
                </a:cubicBezTo>
                <a:cubicBezTo>
                  <a:pt x="1221" y="235"/>
                  <a:pt x="1221" y="235"/>
                  <a:pt x="1221" y="235"/>
                </a:cubicBezTo>
                <a:cubicBezTo>
                  <a:pt x="1221" y="236"/>
                  <a:pt x="1221" y="236"/>
                  <a:pt x="1221" y="236"/>
                </a:cubicBezTo>
                <a:cubicBezTo>
                  <a:pt x="1222" y="237"/>
                  <a:pt x="1222" y="237"/>
                  <a:pt x="1222" y="237"/>
                </a:cubicBezTo>
                <a:cubicBezTo>
                  <a:pt x="1221" y="238"/>
                  <a:pt x="1221" y="238"/>
                  <a:pt x="1221" y="238"/>
                </a:cubicBezTo>
                <a:cubicBezTo>
                  <a:pt x="1220" y="239"/>
                  <a:pt x="1220" y="239"/>
                  <a:pt x="1220" y="239"/>
                </a:cubicBezTo>
                <a:cubicBezTo>
                  <a:pt x="1220" y="240"/>
                  <a:pt x="1220" y="240"/>
                  <a:pt x="1220" y="240"/>
                </a:cubicBezTo>
                <a:cubicBezTo>
                  <a:pt x="1219" y="240"/>
                  <a:pt x="1219" y="240"/>
                  <a:pt x="1219" y="240"/>
                </a:cubicBezTo>
                <a:cubicBezTo>
                  <a:pt x="1218" y="240"/>
                  <a:pt x="1218" y="240"/>
                  <a:pt x="1218" y="240"/>
                </a:cubicBezTo>
                <a:cubicBezTo>
                  <a:pt x="1215" y="241"/>
                  <a:pt x="1215" y="241"/>
                  <a:pt x="1215" y="241"/>
                </a:cubicBezTo>
                <a:cubicBezTo>
                  <a:pt x="1214" y="241"/>
                  <a:pt x="1214" y="241"/>
                  <a:pt x="1214" y="241"/>
                </a:cubicBezTo>
                <a:cubicBezTo>
                  <a:pt x="1212" y="242"/>
                  <a:pt x="1212" y="242"/>
                  <a:pt x="1212" y="242"/>
                </a:cubicBezTo>
                <a:cubicBezTo>
                  <a:pt x="1212" y="241"/>
                  <a:pt x="1212" y="241"/>
                  <a:pt x="1212" y="241"/>
                </a:cubicBezTo>
                <a:cubicBezTo>
                  <a:pt x="1211" y="240"/>
                  <a:pt x="1211" y="240"/>
                  <a:pt x="1211" y="240"/>
                </a:cubicBezTo>
                <a:cubicBezTo>
                  <a:pt x="1211" y="239"/>
                  <a:pt x="1211" y="239"/>
                  <a:pt x="1211" y="239"/>
                </a:cubicBezTo>
                <a:cubicBezTo>
                  <a:pt x="1210" y="239"/>
                  <a:pt x="1210" y="239"/>
                  <a:pt x="1210" y="239"/>
                </a:cubicBezTo>
                <a:cubicBezTo>
                  <a:pt x="1210" y="240"/>
                  <a:pt x="1210" y="240"/>
                  <a:pt x="1210" y="240"/>
                </a:cubicBezTo>
                <a:cubicBezTo>
                  <a:pt x="1210" y="241"/>
                  <a:pt x="1210" y="241"/>
                  <a:pt x="1210" y="241"/>
                </a:cubicBezTo>
                <a:cubicBezTo>
                  <a:pt x="1209" y="241"/>
                  <a:pt x="1209" y="241"/>
                  <a:pt x="1209" y="241"/>
                </a:cubicBezTo>
                <a:cubicBezTo>
                  <a:pt x="1208" y="241"/>
                  <a:pt x="1208" y="241"/>
                  <a:pt x="1208" y="241"/>
                </a:cubicBezTo>
                <a:cubicBezTo>
                  <a:pt x="1208" y="242"/>
                  <a:pt x="1208" y="242"/>
                  <a:pt x="1208" y="242"/>
                </a:cubicBezTo>
                <a:cubicBezTo>
                  <a:pt x="1209" y="242"/>
                  <a:pt x="1209" y="242"/>
                  <a:pt x="1209" y="242"/>
                </a:cubicBezTo>
                <a:cubicBezTo>
                  <a:pt x="1210" y="243"/>
                  <a:pt x="1210" y="243"/>
                  <a:pt x="1210" y="243"/>
                </a:cubicBezTo>
                <a:cubicBezTo>
                  <a:pt x="1209" y="244"/>
                  <a:pt x="1209" y="244"/>
                  <a:pt x="1209" y="244"/>
                </a:cubicBezTo>
                <a:cubicBezTo>
                  <a:pt x="1208" y="244"/>
                  <a:pt x="1208" y="244"/>
                  <a:pt x="1208" y="244"/>
                </a:cubicBezTo>
                <a:cubicBezTo>
                  <a:pt x="1208" y="245"/>
                  <a:pt x="1208" y="245"/>
                  <a:pt x="1208" y="245"/>
                </a:cubicBezTo>
                <a:cubicBezTo>
                  <a:pt x="1207" y="245"/>
                  <a:pt x="1207" y="245"/>
                  <a:pt x="1207" y="245"/>
                </a:cubicBezTo>
                <a:cubicBezTo>
                  <a:pt x="1207" y="246"/>
                  <a:pt x="1207" y="246"/>
                  <a:pt x="1207" y="246"/>
                </a:cubicBezTo>
                <a:cubicBezTo>
                  <a:pt x="1205" y="247"/>
                  <a:pt x="1205" y="247"/>
                  <a:pt x="1205" y="247"/>
                </a:cubicBezTo>
                <a:cubicBezTo>
                  <a:pt x="1203" y="247"/>
                  <a:pt x="1203" y="247"/>
                  <a:pt x="1203" y="247"/>
                </a:cubicBezTo>
                <a:cubicBezTo>
                  <a:pt x="1202" y="248"/>
                  <a:pt x="1202" y="248"/>
                  <a:pt x="1202" y="248"/>
                </a:cubicBezTo>
                <a:cubicBezTo>
                  <a:pt x="1201" y="248"/>
                  <a:pt x="1201" y="248"/>
                  <a:pt x="1201" y="248"/>
                </a:cubicBezTo>
                <a:cubicBezTo>
                  <a:pt x="1202" y="249"/>
                  <a:pt x="1202" y="249"/>
                  <a:pt x="1202" y="249"/>
                </a:cubicBezTo>
                <a:cubicBezTo>
                  <a:pt x="1204" y="248"/>
                  <a:pt x="1204" y="248"/>
                  <a:pt x="1204" y="248"/>
                </a:cubicBezTo>
                <a:cubicBezTo>
                  <a:pt x="1205" y="248"/>
                  <a:pt x="1205" y="248"/>
                  <a:pt x="1205" y="248"/>
                </a:cubicBezTo>
                <a:cubicBezTo>
                  <a:pt x="1206" y="247"/>
                  <a:pt x="1206" y="247"/>
                  <a:pt x="1206" y="247"/>
                </a:cubicBezTo>
                <a:cubicBezTo>
                  <a:pt x="1207" y="248"/>
                  <a:pt x="1207" y="248"/>
                  <a:pt x="1207" y="248"/>
                </a:cubicBezTo>
                <a:cubicBezTo>
                  <a:pt x="1208" y="249"/>
                  <a:pt x="1208" y="249"/>
                  <a:pt x="1208" y="249"/>
                </a:cubicBezTo>
                <a:cubicBezTo>
                  <a:pt x="1210" y="249"/>
                  <a:pt x="1210" y="249"/>
                  <a:pt x="1210" y="249"/>
                </a:cubicBezTo>
                <a:cubicBezTo>
                  <a:pt x="1211" y="248"/>
                  <a:pt x="1211" y="248"/>
                  <a:pt x="1211" y="248"/>
                </a:cubicBezTo>
                <a:cubicBezTo>
                  <a:pt x="1213" y="248"/>
                  <a:pt x="1213" y="248"/>
                  <a:pt x="1213" y="248"/>
                </a:cubicBezTo>
                <a:cubicBezTo>
                  <a:pt x="1213" y="249"/>
                  <a:pt x="1213" y="249"/>
                  <a:pt x="1213" y="249"/>
                </a:cubicBezTo>
                <a:cubicBezTo>
                  <a:pt x="1215" y="248"/>
                  <a:pt x="1215" y="248"/>
                  <a:pt x="1215" y="248"/>
                </a:cubicBezTo>
                <a:cubicBezTo>
                  <a:pt x="1215" y="249"/>
                  <a:pt x="1215" y="249"/>
                  <a:pt x="1215" y="249"/>
                </a:cubicBezTo>
                <a:cubicBezTo>
                  <a:pt x="1216" y="249"/>
                  <a:pt x="1216" y="249"/>
                  <a:pt x="1216" y="249"/>
                </a:cubicBezTo>
                <a:cubicBezTo>
                  <a:pt x="1216" y="250"/>
                  <a:pt x="1216" y="250"/>
                  <a:pt x="1216" y="250"/>
                </a:cubicBezTo>
                <a:cubicBezTo>
                  <a:pt x="1215" y="250"/>
                  <a:pt x="1215" y="250"/>
                  <a:pt x="1215" y="250"/>
                </a:cubicBezTo>
                <a:cubicBezTo>
                  <a:pt x="1214" y="250"/>
                  <a:pt x="1214" y="250"/>
                  <a:pt x="1214" y="250"/>
                </a:cubicBezTo>
                <a:cubicBezTo>
                  <a:pt x="1213" y="250"/>
                  <a:pt x="1213" y="250"/>
                  <a:pt x="1213" y="250"/>
                </a:cubicBezTo>
                <a:cubicBezTo>
                  <a:pt x="1212" y="251"/>
                  <a:pt x="1212" y="251"/>
                  <a:pt x="1212" y="251"/>
                </a:cubicBezTo>
                <a:cubicBezTo>
                  <a:pt x="1210" y="251"/>
                  <a:pt x="1210" y="251"/>
                  <a:pt x="1210" y="251"/>
                </a:cubicBezTo>
                <a:cubicBezTo>
                  <a:pt x="1209" y="252"/>
                  <a:pt x="1209" y="252"/>
                  <a:pt x="1209" y="252"/>
                </a:cubicBezTo>
                <a:cubicBezTo>
                  <a:pt x="1209" y="251"/>
                  <a:pt x="1209" y="251"/>
                  <a:pt x="1209" y="251"/>
                </a:cubicBezTo>
                <a:cubicBezTo>
                  <a:pt x="1208" y="251"/>
                  <a:pt x="1208" y="251"/>
                  <a:pt x="1208" y="251"/>
                </a:cubicBezTo>
                <a:cubicBezTo>
                  <a:pt x="1207" y="251"/>
                  <a:pt x="1207" y="251"/>
                  <a:pt x="1207" y="251"/>
                </a:cubicBezTo>
                <a:cubicBezTo>
                  <a:pt x="1206" y="252"/>
                  <a:pt x="1206" y="252"/>
                  <a:pt x="1206" y="252"/>
                </a:cubicBezTo>
                <a:cubicBezTo>
                  <a:pt x="1207" y="252"/>
                  <a:pt x="1207" y="252"/>
                  <a:pt x="1207" y="252"/>
                </a:cubicBezTo>
                <a:cubicBezTo>
                  <a:pt x="1208" y="252"/>
                  <a:pt x="1208" y="252"/>
                  <a:pt x="1208" y="252"/>
                </a:cubicBezTo>
                <a:cubicBezTo>
                  <a:pt x="1209" y="252"/>
                  <a:pt x="1209" y="252"/>
                  <a:pt x="1209" y="252"/>
                </a:cubicBezTo>
                <a:cubicBezTo>
                  <a:pt x="1210" y="252"/>
                  <a:pt x="1210" y="252"/>
                  <a:pt x="1210" y="252"/>
                </a:cubicBezTo>
                <a:cubicBezTo>
                  <a:pt x="1211" y="253"/>
                  <a:pt x="1211" y="253"/>
                  <a:pt x="1211" y="253"/>
                </a:cubicBezTo>
                <a:cubicBezTo>
                  <a:pt x="1212" y="253"/>
                  <a:pt x="1212" y="253"/>
                  <a:pt x="1212" y="253"/>
                </a:cubicBezTo>
                <a:cubicBezTo>
                  <a:pt x="1213" y="251"/>
                  <a:pt x="1213" y="251"/>
                  <a:pt x="1213" y="251"/>
                </a:cubicBezTo>
                <a:cubicBezTo>
                  <a:pt x="1213" y="251"/>
                  <a:pt x="1213" y="251"/>
                  <a:pt x="1214" y="251"/>
                </a:cubicBezTo>
                <a:cubicBezTo>
                  <a:pt x="1214" y="251"/>
                  <a:pt x="1214" y="251"/>
                  <a:pt x="1215" y="251"/>
                </a:cubicBezTo>
                <a:cubicBezTo>
                  <a:pt x="1216" y="252"/>
                  <a:pt x="1216" y="252"/>
                  <a:pt x="1216" y="252"/>
                </a:cubicBezTo>
                <a:cubicBezTo>
                  <a:pt x="1217" y="251"/>
                  <a:pt x="1217" y="251"/>
                  <a:pt x="1217" y="251"/>
                </a:cubicBezTo>
                <a:cubicBezTo>
                  <a:pt x="1218" y="251"/>
                  <a:pt x="1218" y="251"/>
                  <a:pt x="1218" y="251"/>
                </a:cubicBezTo>
                <a:cubicBezTo>
                  <a:pt x="1219" y="251"/>
                  <a:pt x="1219" y="251"/>
                  <a:pt x="1219" y="251"/>
                </a:cubicBezTo>
                <a:cubicBezTo>
                  <a:pt x="1221" y="250"/>
                  <a:pt x="1221" y="250"/>
                  <a:pt x="1221" y="250"/>
                </a:cubicBezTo>
                <a:cubicBezTo>
                  <a:pt x="1222" y="250"/>
                  <a:pt x="1222" y="250"/>
                  <a:pt x="1222" y="250"/>
                </a:cubicBezTo>
                <a:cubicBezTo>
                  <a:pt x="1223" y="249"/>
                  <a:pt x="1223" y="249"/>
                  <a:pt x="1223" y="249"/>
                </a:cubicBezTo>
                <a:cubicBezTo>
                  <a:pt x="1223" y="250"/>
                  <a:pt x="1223" y="250"/>
                  <a:pt x="1223" y="250"/>
                </a:cubicBezTo>
                <a:cubicBezTo>
                  <a:pt x="1225" y="251"/>
                  <a:pt x="1225" y="251"/>
                  <a:pt x="1225" y="251"/>
                </a:cubicBezTo>
                <a:cubicBezTo>
                  <a:pt x="1227" y="252"/>
                  <a:pt x="1227" y="252"/>
                  <a:pt x="1227" y="252"/>
                </a:cubicBezTo>
                <a:cubicBezTo>
                  <a:pt x="1228" y="252"/>
                  <a:pt x="1228" y="252"/>
                  <a:pt x="1228" y="252"/>
                </a:cubicBezTo>
                <a:cubicBezTo>
                  <a:pt x="1230" y="253"/>
                  <a:pt x="1230" y="253"/>
                  <a:pt x="1230" y="253"/>
                </a:cubicBezTo>
                <a:cubicBezTo>
                  <a:pt x="1231" y="253"/>
                  <a:pt x="1231" y="253"/>
                  <a:pt x="1231" y="253"/>
                </a:cubicBezTo>
                <a:cubicBezTo>
                  <a:pt x="1232" y="253"/>
                  <a:pt x="1232" y="253"/>
                  <a:pt x="1232" y="253"/>
                </a:cubicBezTo>
                <a:cubicBezTo>
                  <a:pt x="1233" y="253"/>
                  <a:pt x="1233" y="253"/>
                  <a:pt x="1233" y="253"/>
                </a:cubicBezTo>
                <a:cubicBezTo>
                  <a:pt x="1234" y="253"/>
                  <a:pt x="1234" y="253"/>
                  <a:pt x="1234" y="253"/>
                </a:cubicBezTo>
                <a:cubicBezTo>
                  <a:pt x="1236" y="252"/>
                  <a:pt x="1236" y="252"/>
                  <a:pt x="1236" y="252"/>
                </a:cubicBezTo>
                <a:cubicBezTo>
                  <a:pt x="1236" y="253"/>
                  <a:pt x="1236" y="253"/>
                  <a:pt x="1236" y="253"/>
                </a:cubicBezTo>
                <a:cubicBezTo>
                  <a:pt x="1235" y="254"/>
                  <a:pt x="1235" y="254"/>
                  <a:pt x="1235" y="254"/>
                </a:cubicBezTo>
                <a:cubicBezTo>
                  <a:pt x="1234" y="255"/>
                  <a:pt x="1234" y="255"/>
                  <a:pt x="1234" y="255"/>
                </a:cubicBezTo>
                <a:cubicBezTo>
                  <a:pt x="1233" y="255"/>
                  <a:pt x="1233" y="255"/>
                  <a:pt x="1233" y="255"/>
                </a:cubicBezTo>
                <a:cubicBezTo>
                  <a:pt x="1232" y="255"/>
                  <a:pt x="1232" y="255"/>
                  <a:pt x="1232" y="255"/>
                </a:cubicBezTo>
                <a:cubicBezTo>
                  <a:pt x="1231" y="255"/>
                  <a:pt x="1231" y="255"/>
                  <a:pt x="1231" y="255"/>
                </a:cubicBezTo>
                <a:cubicBezTo>
                  <a:pt x="1231" y="256"/>
                  <a:pt x="1231" y="256"/>
                  <a:pt x="1231" y="256"/>
                </a:cubicBezTo>
                <a:cubicBezTo>
                  <a:pt x="1232" y="256"/>
                  <a:pt x="1232" y="256"/>
                  <a:pt x="1232" y="256"/>
                </a:cubicBezTo>
                <a:cubicBezTo>
                  <a:pt x="1232" y="257"/>
                  <a:pt x="1232" y="257"/>
                  <a:pt x="1232" y="257"/>
                </a:cubicBezTo>
                <a:cubicBezTo>
                  <a:pt x="1231" y="257"/>
                  <a:pt x="1231" y="257"/>
                  <a:pt x="1231" y="257"/>
                </a:cubicBezTo>
                <a:cubicBezTo>
                  <a:pt x="1230" y="256"/>
                  <a:pt x="1230" y="256"/>
                  <a:pt x="1230" y="256"/>
                </a:cubicBezTo>
                <a:cubicBezTo>
                  <a:pt x="1230" y="257"/>
                  <a:pt x="1230" y="257"/>
                  <a:pt x="1230" y="257"/>
                </a:cubicBezTo>
                <a:cubicBezTo>
                  <a:pt x="1230" y="258"/>
                  <a:pt x="1230" y="258"/>
                  <a:pt x="1230" y="258"/>
                </a:cubicBezTo>
                <a:cubicBezTo>
                  <a:pt x="1229" y="257"/>
                  <a:pt x="1229" y="257"/>
                  <a:pt x="1229" y="257"/>
                </a:cubicBezTo>
                <a:cubicBezTo>
                  <a:pt x="1228" y="257"/>
                  <a:pt x="1228" y="257"/>
                  <a:pt x="1228" y="257"/>
                </a:cubicBezTo>
                <a:cubicBezTo>
                  <a:pt x="1228" y="258"/>
                  <a:pt x="1228" y="258"/>
                  <a:pt x="1228" y="258"/>
                </a:cubicBezTo>
                <a:cubicBezTo>
                  <a:pt x="1228" y="259"/>
                  <a:pt x="1228" y="259"/>
                  <a:pt x="1228" y="259"/>
                </a:cubicBezTo>
                <a:cubicBezTo>
                  <a:pt x="1227" y="260"/>
                  <a:pt x="1227" y="260"/>
                  <a:pt x="1227" y="260"/>
                </a:cubicBezTo>
                <a:cubicBezTo>
                  <a:pt x="1226" y="259"/>
                  <a:pt x="1226" y="259"/>
                  <a:pt x="1226" y="259"/>
                </a:cubicBezTo>
                <a:cubicBezTo>
                  <a:pt x="1225" y="259"/>
                  <a:pt x="1225" y="259"/>
                  <a:pt x="1225" y="259"/>
                </a:cubicBezTo>
                <a:cubicBezTo>
                  <a:pt x="1226" y="260"/>
                  <a:pt x="1226" y="260"/>
                  <a:pt x="1226" y="260"/>
                </a:cubicBezTo>
                <a:cubicBezTo>
                  <a:pt x="1226" y="261"/>
                  <a:pt x="1226" y="261"/>
                  <a:pt x="1226" y="261"/>
                </a:cubicBezTo>
                <a:cubicBezTo>
                  <a:pt x="1225" y="261"/>
                  <a:pt x="1225" y="261"/>
                  <a:pt x="1225" y="261"/>
                </a:cubicBezTo>
                <a:cubicBezTo>
                  <a:pt x="1224" y="261"/>
                  <a:pt x="1224" y="261"/>
                  <a:pt x="1224" y="261"/>
                </a:cubicBezTo>
                <a:cubicBezTo>
                  <a:pt x="1224" y="262"/>
                  <a:pt x="1224" y="262"/>
                  <a:pt x="1224" y="262"/>
                </a:cubicBezTo>
                <a:cubicBezTo>
                  <a:pt x="1223" y="261"/>
                  <a:pt x="1223" y="261"/>
                  <a:pt x="1223" y="261"/>
                </a:cubicBezTo>
                <a:cubicBezTo>
                  <a:pt x="1222" y="261"/>
                  <a:pt x="1222" y="261"/>
                  <a:pt x="1222" y="261"/>
                </a:cubicBezTo>
                <a:cubicBezTo>
                  <a:pt x="1222" y="262"/>
                  <a:pt x="1222" y="262"/>
                  <a:pt x="1222" y="262"/>
                </a:cubicBezTo>
                <a:cubicBezTo>
                  <a:pt x="1223" y="262"/>
                  <a:pt x="1223" y="262"/>
                  <a:pt x="1223" y="262"/>
                </a:cubicBezTo>
                <a:cubicBezTo>
                  <a:pt x="1222" y="263"/>
                  <a:pt x="1222" y="263"/>
                  <a:pt x="1222" y="263"/>
                </a:cubicBezTo>
                <a:cubicBezTo>
                  <a:pt x="1221" y="263"/>
                  <a:pt x="1221" y="263"/>
                  <a:pt x="1221" y="263"/>
                </a:cubicBezTo>
                <a:cubicBezTo>
                  <a:pt x="1221" y="262"/>
                  <a:pt x="1221" y="262"/>
                  <a:pt x="1221" y="262"/>
                </a:cubicBezTo>
                <a:cubicBezTo>
                  <a:pt x="1220" y="263"/>
                  <a:pt x="1220" y="263"/>
                  <a:pt x="1220" y="263"/>
                </a:cubicBezTo>
                <a:cubicBezTo>
                  <a:pt x="1221" y="264"/>
                  <a:pt x="1221" y="264"/>
                  <a:pt x="1221" y="264"/>
                </a:cubicBezTo>
                <a:cubicBezTo>
                  <a:pt x="1221" y="265"/>
                  <a:pt x="1221" y="265"/>
                  <a:pt x="1221" y="265"/>
                </a:cubicBezTo>
                <a:cubicBezTo>
                  <a:pt x="1219" y="265"/>
                  <a:pt x="1219" y="265"/>
                  <a:pt x="1219" y="265"/>
                </a:cubicBezTo>
                <a:cubicBezTo>
                  <a:pt x="1218" y="264"/>
                  <a:pt x="1218" y="264"/>
                  <a:pt x="1218" y="264"/>
                </a:cubicBezTo>
                <a:cubicBezTo>
                  <a:pt x="1217" y="264"/>
                  <a:pt x="1217" y="264"/>
                  <a:pt x="1217" y="264"/>
                </a:cubicBezTo>
                <a:cubicBezTo>
                  <a:pt x="1217" y="265"/>
                  <a:pt x="1217" y="265"/>
                  <a:pt x="1217" y="265"/>
                </a:cubicBezTo>
                <a:close/>
                <a:moveTo>
                  <a:pt x="1221" y="220"/>
                </a:moveTo>
                <a:cubicBezTo>
                  <a:pt x="1220" y="221"/>
                  <a:pt x="1220" y="221"/>
                  <a:pt x="1220" y="221"/>
                </a:cubicBezTo>
                <a:cubicBezTo>
                  <a:pt x="1221" y="221"/>
                  <a:pt x="1221" y="221"/>
                  <a:pt x="1221" y="221"/>
                </a:cubicBezTo>
                <a:cubicBezTo>
                  <a:pt x="1221" y="220"/>
                  <a:pt x="1221" y="220"/>
                  <a:pt x="1221" y="220"/>
                </a:cubicBezTo>
                <a:close/>
                <a:moveTo>
                  <a:pt x="1225" y="56"/>
                </a:moveTo>
                <a:cubicBezTo>
                  <a:pt x="1225" y="57"/>
                  <a:pt x="1225" y="57"/>
                  <a:pt x="1225" y="57"/>
                </a:cubicBezTo>
                <a:cubicBezTo>
                  <a:pt x="1226" y="57"/>
                  <a:pt x="1226" y="57"/>
                  <a:pt x="1226" y="57"/>
                </a:cubicBezTo>
                <a:cubicBezTo>
                  <a:pt x="1226" y="56"/>
                  <a:pt x="1226" y="56"/>
                  <a:pt x="1226" y="56"/>
                </a:cubicBezTo>
                <a:cubicBezTo>
                  <a:pt x="1225" y="56"/>
                  <a:pt x="1225" y="56"/>
                  <a:pt x="1225" y="56"/>
                </a:cubicBezTo>
                <a:close/>
                <a:moveTo>
                  <a:pt x="1089" y="216"/>
                </a:moveTo>
                <a:cubicBezTo>
                  <a:pt x="1090" y="215"/>
                  <a:pt x="1090" y="215"/>
                  <a:pt x="1090" y="215"/>
                </a:cubicBezTo>
                <a:cubicBezTo>
                  <a:pt x="1089" y="213"/>
                  <a:pt x="1089" y="213"/>
                  <a:pt x="1089" y="213"/>
                </a:cubicBezTo>
                <a:cubicBezTo>
                  <a:pt x="1089" y="212"/>
                  <a:pt x="1089" y="212"/>
                  <a:pt x="1089" y="212"/>
                </a:cubicBezTo>
                <a:cubicBezTo>
                  <a:pt x="1089" y="211"/>
                  <a:pt x="1089" y="211"/>
                  <a:pt x="1089" y="211"/>
                </a:cubicBezTo>
                <a:cubicBezTo>
                  <a:pt x="1088" y="213"/>
                  <a:pt x="1088" y="213"/>
                  <a:pt x="1088" y="213"/>
                </a:cubicBezTo>
                <a:cubicBezTo>
                  <a:pt x="1089" y="214"/>
                  <a:pt x="1089" y="214"/>
                  <a:pt x="1089" y="214"/>
                </a:cubicBezTo>
                <a:cubicBezTo>
                  <a:pt x="1089" y="215"/>
                  <a:pt x="1089" y="215"/>
                  <a:pt x="1089" y="215"/>
                </a:cubicBezTo>
                <a:cubicBezTo>
                  <a:pt x="1089" y="216"/>
                  <a:pt x="1089" y="216"/>
                  <a:pt x="1089" y="216"/>
                </a:cubicBezTo>
                <a:close/>
                <a:moveTo>
                  <a:pt x="1111" y="348"/>
                </a:moveTo>
                <a:cubicBezTo>
                  <a:pt x="1112" y="348"/>
                  <a:pt x="1112" y="348"/>
                  <a:pt x="1112" y="348"/>
                </a:cubicBezTo>
                <a:cubicBezTo>
                  <a:pt x="1111" y="347"/>
                  <a:pt x="1111" y="347"/>
                  <a:pt x="1111" y="347"/>
                </a:cubicBezTo>
                <a:cubicBezTo>
                  <a:pt x="1111" y="348"/>
                  <a:pt x="1111" y="348"/>
                  <a:pt x="1111" y="348"/>
                </a:cubicBezTo>
                <a:close/>
                <a:moveTo>
                  <a:pt x="1126" y="323"/>
                </a:moveTo>
                <a:cubicBezTo>
                  <a:pt x="1126" y="323"/>
                  <a:pt x="1126" y="323"/>
                  <a:pt x="1125" y="322"/>
                </a:cubicBezTo>
                <a:cubicBezTo>
                  <a:pt x="1125" y="323"/>
                  <a:pt x="1125" y="323"/>
                  <a:pt x="1125" y="323"/>
                </a:cubicBezTo>
                <a:cubicBezTo>
                  <a:pt x="1126" y="323"/>
                  <a:pt x="1126" y="323"/>
                  <a:pt x="1126" y="323"/>
                </a:cubicBezTo>
                <a:close/>
                <a:moveTo>
                  <a:pt x="1195" y="50"/>
                </a:moveTo>
                <a:cubicBezTo>
                  <a:pt x="1197" y="51"/>
                  <a:pt x="1197" y="51"/>
                  <a:pt x="1197" y="51"/>
                </a:cubicBezTo>
                <a:cubicBezTo>
                  <a:pt x="1196" y="50"/>
                  <a:pt x="1196" y="50"/>
                  <a:pt x="1196" y="50"/>
                </a:cubicBezTo>
                <a:cubicBezTo>
                  <a:pt x="1195" y="49"/>
                  <a:pt x="1195" y="49"/>
                  <a:pt x="1195" y="49"/>
                </a:cubicBezTo>
                <a:cubicBezTo>
                  <a:pt x="1194" y="48"/>
                  <a:pt x="1194" y="48"/>
                  <a:pt x="1194" y="48"/>
                </a:cubicBezTo>
                <a:cubicBezTo>
                  <a:pt x="1193" y="48"/>
                  <a:pt x="1193" y="48"/>
                  <a:pt x="1193" y="48"/>
                </a:cubicBezTo>
                <a:cubicBezTo>
                  <a:pt x="1192" y="47"/>
                  <a:pt x="1192" y="47"/>
                  <a:pt x="1192" y="47"/>
                </a:cubicBezTo>
                <a:cubicBezTo>
                  <a:pt x="1192" y="46"/>
                  <a:pt x="1192" y="46"/>
                  <a:pt x="1192" y="46"/>
                </a:cubicBezTo>
                <a:cubicBezTo>
                  <a:pt x="1192" y="45"/>
                  <a:pt x="1192" y="45"/>
                  <a:pt x="1192" y="45"/>
                </a:cubicBezTo>
                <a:cubicBezTo>
                  <a:pt x="1191" y="44"/>
                  <a:pt x="1191" y="44"/>
                  <a:pt x="1191" y="44"/>
                </a:cubicBezTo>
                <a:cubicBezTo>
                  <a:pt x="1191" y="43"/>
                  <a:pt x="1191" y="43"/>
                  <a:pt x="1191" y="43"/>
                </a:cubicBezTo>
                <a:cubicBezTo>
                  <a:pt x="1192" y="41"/>
                  <a:pt x="1192" y="41"/>
                  <a:pt x="1192" y="41"/>
                </a:cubicBezTo>
                <a:cubicBezTo>
                  <a:pt x="1192" y="40"/>
                  <a:pt x="1192" y="40"/>
                  <a:pt x="1192" y="40"/>
                </a:cubicBezTo>
                <a:cubicBezTo>
                  <a:pt x="1192" y="39"/>
                  <a:pt x="1192" y="39"/>
                  <a:pt x="1192" y="39"/>
                </a:cubicBezTo>
                <a:cubicBezTo>
                  <a:pt x="1192" y="38"/>
                  <a:pt x="1192" y="38"/>
                  <a:pt x="1192" y="38"/>
                </a:cubicBezTo>
                <a:cubicBezTo>
                  <a:pt x="1191" y="38"/>
                  <a:pt x="1191" y="38"/>
                  <a:pt x="1191" y="38"/>
                </a:cubicBezTo>
                <a:cubicBezTo>
                  <a:pt x="1190" y="37"/>
                  <a:pt x="1190" y="37"/>
                  <a:pt x="1190" y="37"/>
                </a:cubicBezTo>
                <a:cubicBezTo>
                  <a:pt x="1189" y="35"/>
                  <a:pt x="1189" y="35"/>
                  <a:pt x="1189" y="35"/>
                </a:cubicBezTo>
                <a:cubicBezTo>
                  <a:pt x="1188" y="35"/>
                  <a:pt x="1188" y="35"/>
                  <a:pt x="1188" y="35"/>
                </a:cubicBezTo>
                <a:cubicBezTo>
                  <a:pt x="1187" y="35"/>
                  <a:pt x="1187" y="35"/>
                  <a:pt x="1187" y="35"/>
                </a:cubicBezTo>
                <a:cubicBezTo>
                  <a:pt x="1186" y="36"/>
                  <a:pt x="1186" y="36"/>
                  <a:pt x="1186" y="36"/>
                </a:cubicBezTo>
                <a:cubicBezTo>
                  <a:pt x="1187" y="37"/>
                  <a:pt x="1187" y="37"/>
                  <a:pt x="1187" y="37"/>
                </a:cubicBezTo>
                <a:cubicBezTo>
                  <a:pt x="1188" y="37"/>
                  <a:pt x="1188" y="37"/>
                  <a:pt x="1188" y="37"/>
                </a:cubicBezTo>
                <a:cubicBezTo>
                  <a:pt x="1189" y="38"/>
                  <a:pt x="1189" y="38"/>
                  <a:pt x="1189" y="38"/>
                </a:cubicBezTo>
                <a:cubicBezTo>
                  <a:pt x="1189" y="40"/>
                  <a:pt x="1189" y="40"/>
                  <a:pt x="1189" y="40"/>
                </a:cubicBezTo>
                <a:cubicBezTo>
                  <a:pt x="1191" y="42"/>
                  <a:pt x="1191" y="42"/>
                  <a:pt x="1191" y="42"/>
                </a:cubicBezTo>
                <a:cubicBezTo>
                  <a:pt x="1191" y="43"/>
                  <a:pt x="1191" y="43"/>
                  <a:pt x="1191" y="43"/>
                </a:cubicBezTo>
                <a:cubicBezTo>
                  <a:pt x="1190" y="44"/>
                  <a:pt x="1190" y="44"/>
                  <a:pt x="1190" y="44"/>
                </a:cubicBezTo>
                <a:cubicBezTo>
                  <a:pt x="1191" y="46"/>
                  <a:pt x="1191" y="46"/>
                  <a:pt x="1191" y="46"/>
                </a:cubicBezTo>
                <a:cubicBezTo>
                  <a:pt x="1191" y="47"/>
                  <a:pt x="1191" y="47"/>
                  <a:pt x="1191" y="47"/>
                </a:cubicBezTo>
                <a:cubicBezTo>
                  <a:pt x="1191" y="48"/>
                  <a:pt x="1191" y="48"/>
                  <a:pt x="1191" y="48"/>
                </a:cubicBezTo>
                <a:cubicBezTo>
                  <a:pt x="1192" y="49"/>
                  <a:pt x="1192" y="49"/>
                  <a:pt x="1192" y="49"/>
                </a:cubicBezTo>
                <a:cubicBezTo>
                  <a:pt x="1194" y="49"/>
                  <a:pt x="1194" y="49"/>
                  <a:pt x="1194" y="49"/>
                </a:cubicBezTo>
                <a:cubicBezTo>
                  <a:pt x="1195" y="50"/>
                  <a:pt x="1195" y="50"/>
                  <a:pt x="1195" y="50"/>
                </a:cubicBezTo>
                <a:close/>
                <a:moveTo>
                  <a:pt x="1078" y="309"/>
                </a:moveTo>
                <a:cubicBezTo>
                  <a:pt x="1079" y="308"/>
                  <a:pt x="1079" y="308"/>
                  <a:pt x="1079" y="308"/>
                </a:cubicBezTo>
                <a:cubicBezTo>
                  <a:pt x="1078" y="308"/>
                  <a:pt x="1078" y="308"/>
                  <a:pt x="1078" y="308"/>
                </a:cubicBezTo>
                <a:cubicBezTo>
                  <a:pt x="1077" y="310"/>
                  <a:pt x="1077" y="310"/>
                  <a:pt x="1077" y="310"/>
                </a:cubicBezTo>
                <a:cubicBezTo>
                  <a:pt x="1078" y="309"/>
                  <a:pt x="1078" y="309"/>
                  <a:pt x="1078" y="309"/>
                </a:cubicBezTo>
                <a:close/>
                <a:moveTo>
                  <a:pt x="1083" y="264"/>
                </a:moveTo>
                <a:cubicBezTo>
                  <a:pt x="1083" y="265"/>
                  <a:pt x="1083" y="265"/>
                  <a:pt x="1083" y="265"/>
                </a:cubicBezTo>
                <a:cubicBezTo>
                  <a:pt x="1084" y="265"/>
                  <a:pt x="1084" y="265"/>
                  <a:pt x="1084" y="265"/>
                </a:cubicBezTo>
                <a:cubicBezTo>
                  <a:pt x="1086" y="265"/>
                  <a:pt x="1086" y="265"/>
                  <a:pt x="1086" y="265"/>
                </a:cubicBezTo>
                <a:cubicBezTo>
                  <a:pt x="1086" y="264"/>
                  <a:pt x="1086" y="264"/>
                  <a:pt x="1086" y="264"/>
                </a:cubicBezTo>
                <a:cubicBezTo>
                  <a:pt x="1085" y="264"/>
                  <a:pt x="1085" y="264"/>
                  <a:pt x="1085" y="264"/>
                </a:cubicBezTo>
                <a:cubicBezTo>
                  <a:pt x="1084" y="264"/>
                  <a:pt x="1084" y="264"/>
                  <a:pt x="1084" y="264"/>
                </a:cubicBezTo>
                <a:cubicBezTo>
                  <a:pt x="1083" y="264"/>
                  <a:pt x="1083" y="264"/>
                  <a:pt x="1083" y="264"/>
                </a:cubicBezTo>
                <a:close/>
                <a:moveTo>
                  <a:pt x="1077" y="308"/>
                </a:moveTo>
                <a:cubicBezTo>
                  <a:pt x="1077" y="309"/>
                  <a:pt x="1077" y="309"/>
                  <a:pt x="1077" y="309"/>
                </a:cubicBezTo>
                <a:cubicBezTo>
                  <a:pt x="1078" y="308"/>
                  <a:pt x="1078" y="308"/>
                  <a:pt x="1078" y="308"/>
                </a:cubicBezTo>
                <a:cubicBezTo>
                  <a:pt x="1078" y="307"/>
                  <a:pt x="1078" y="307"/>
                  <a:pt x="1078" y="307"/>
                </a:cubicBezTo>
                <a:cubicBezTo>
                  <a:pt x="1077" y="308"/>
                  <a:pt x="1077" y="308"/>
                  <a:pt x="1077" y="308"/>
                </a:cubicBezTo>
                <a:close/>
                <a:moveTo>
                  <a:pt x="1083" y="193"/>
                </a:moveTo>
                <a:cubicBezTo>
                  <a:pt x="1083" y="194"/>
                  <a:pt x="1083" y="194"/>
                  <a:pt x="1083" y="194"/>
                </a:cubicBezTo>
                <a:cubicBezTo>
                  <a:pt x="1084" y="193"/>
                  <a:pt x="1084" y="193"/>
                  <a:pt x="1084" y="193"/>
                </a:cubicBezTo>
                <a:cubicBezTo>
                  <a:pt x="1083" y="192"/>
                  <a:pt x="1083" y="192"/>
                  <a:pt x="1083" y="192"/>
                </a:cubicBezTo>
                <a:cubicBezTo>
                  <a:pt x="1083" y="193"/>
                  <a:pt x="1083" y="193"/>
                  <a:pt x="1083" y="193"/>
                </a:cubicBezTo>
                <a:close/>
                <a:moveTo>
                  <a:pt x="1094" y="245"/>
                </a:moveTo>
                <a:cubicBezTo>
                  <a:pt x="1095" y="245"/>
                  <a:pt x="1095" y="245"/>
                  <a:pt x="1095" y="245"/>
                </a:cubicBezTo>
                <a:cubicBezTo>
                  <a:pt x="1094" y="244"/>
                  <a:pt x="1094" y="244"/>
                  <a:pt x="1094" y="244"/>
                </a:cubicBezTo>
                <a:cubicBezTo>
                  <a:pt x="1092" y="244"/>
                  <a:pt x="1092" y="244"/>
                  <a:pt x="1092" y="244"/>
                </a:cubicBezTo>
                <a:cubicBezTo>
                  <a:pt x="1092" y="245"/>
                  <a:pt x="1092" y="245"/>
                  <a:pt x="1092" y="245"/>
                </a:cubicBezTo>
                <a:cubicBezTo>
                  <a:pt x="1092" y="246"/>
                  <a:pt x="1092" y="246"/>
                  <a:pt x="1092" y="246"/>
                </a:cubicBezTo>
                <a:cubicBezTo>
                  <a:pt x="1092" y="247"/>
                  <a:pt x="1092" y="247"/>
                  <a:pt x="1092" y="247"/>
                </a:cubicBezTo>
                <a:cubicBezTo>
                  <a:pt x="1092" y="248"/>
                  <a:pt x="1092" y="248"/>
                  <a:pt x="1092" y="248"/>
                </a:cubicBezTo>
                <a:cubicBezTo>
                  <a:pt x="1093" y="247"/>
                  <a:pt x="1093" y="247"/>
                  <a:pt x="1093" y="247"/>
                </a:cubicBezTo>
                <a:cubicBezTo>
                  <a:pt x="1094" y="245"/>
                  <a:pt x="1094" y="245"/>
                  <a:pt x="1094" y="245"/>
                </a:cubicBezTo>
                <a:close/>
                <a:moveTo>
                  <a:pt x="1085" y="186"/>
                </a:moveTo>
                <a:cubicBezTo>
                  <a:pt x="1083" y="185"/>
                  <a:pt x="1083" y="185"/>
                  <a:pt x="1083" y="185"/>
                </a:cubicBezTo>
                <a:cubicBezTo>
                  <a:pt x="1082" y="185"/>
                  <a:pt x="1082" y="185"/>
                  <a:pt x="1082" y="185"/>
                </a:cubicBezTo>
                <a:cubicBezTo>
                  <a:pt x="1083" y="186"/>
                  <a:pt x="1083" y="186"/>
                  <a:pt x="1083" y="186"/>
                </a:cubicBezTo>
                <a:cubicBezTo>
                  <a:pt x="1084" y="186"/>
                  <a:pt x="1084" y="186"/>
                  <a:pt x="1084" y="186"/>
                </a:cubicBezTo>
                <a:cubicBezTo>
                  <a:pt x="1084" y="187"/>
                  <a:pt x="1084" y="187"/>
                  <a:pt x="1084" y="187"/>
                </a:cubicBezTo>
                <a:cubicBezTo>
                  <a:pt x="1085" y="186"/>
                  <a:pt x="1085" y="186"/>
                  <a:pt x="1085" y="186"/>
                </a:cubicBezTo>
                <a:close/>
                <a:moveTo>
                  <a:pt x="1081" y="188"/>
                </a:moveTo>
                <a:cubicBezTo>
                  <a:pt x="1082" y="189"/>
                  <a:pt x="1082" y="189"/>
                  <a:pt x="1082" y="189"/>
                </a:cubicBezTo>
                <a:cubicBezTo>
                  <a:pt x="1083" y="189"/>
                  <a:pt x="1083" y="189"/>
                  <a:pt x="1083" y="189"/>
                </a:cubicBezTo>
                <a:cubicBezTo>
                  <a:pt x="1082" y="188"/>
                  <a:pt x="1082" y="188"/>
                  <a:pt x="1082" y="188"/>
                </a:cubicBezTo>
                <a:cubicBezTo>
                  <a:pt x="1081" y="188"/>
                  <a:pt x="1081" y="188"/>
                  <a:pt x="1081" y="188"/>
                </a:cubicBezTo>
                <a:close/>
                <a:moveTo>
                  <a:pt x="1090" y="221"/>
                </a:moveTo>
                <a:cubicBezTo>
                  <a:pt x="1091" y="221"/>
                  <a:pt x="1091" y="221"/>
                  <a:pt x="1091" y="221"/>
                </a:cubicBezTo>
                <a:cubicBezTo>
                  <a:pt x="1091" y="220"/>
                  <a:pt x="1091" y="220"/>
                  <a:pt x="1091" y="220"/>
                </a:cubicBezTo>
                <a:cubicBezTo>
                  <a:pt x="1090" y="220"/>
                  <a:pt x="1090" y="220"/>
                  <a:pt x="1090" y="220"/>
                </a:cubicBezTo>
                <a:cubicBezTo>
                  <a:pt x="1089" y="220"/>
                  <a:pt x="1089" y="220"/>
                  <a:pt x="1089" y="220"/>
                </a:cubicBezTo>
                <a:cubicBezTo>
                  <a:pt x="1088" y="220"/>
                  <a:pt x="1088" y="220"/>
                  <a:pt x="1088" y="220"/>
                </a:cubicBezTo>
                <a:cubicBezTo>
                  <a:pt x="1088" y="221"/>
                  <a:pt x="1088" y="221"/>
                  <a:pt x="1088" y="221"/>
                </a:cubicBezTo>
                <a:cubicBezTo>
                  <a:pt x="1088" y="222"/>
                  <a:pt x="1088" y="222"/>
                  <a:pt x="1088" y="222"/>
                </a:cubicBezTo>
                <a:cubicBezTo>
                  <a:pt x="1089" y="222"/>
                  <a:pt x="1089" y="222"/>
                  <a:pt x="1089" y="222"/>
                </a:cubicBezTo>
                <a:cubicBezTo>
                  <a:pt x="1090" y="221"/>
                  <a:pt x="1090" y="221"/>
                  <a:pt x="1090" y="221"/>
                </a:cubicBezTo>
                <a:close/>
                <a:moveTo>
                  <a:pt x="1080" y="215"/>
                </a:moveTo>
                <a:cubicBezTo>
                  <a:pt x="1079" y="215"/>
                  <a:pt x="1079" y="215"/>
                  <a:pt x="1079" y="215"/>
                </a:cubicBezTo>
                <a:cubicBezTo>
                  <a:pt x="1078" y="215"/>
                  <a:pt x="1078" y="215"/>
                  <a:pt x="1078" y="215"/>
                </a:cubicBezTo>
                <a:cubicBezTo>
                  <a:pt x="1079" y="216"/>
                  <a:pt x="1079" y="216"/>
                  <a:pt x="1079" y="216"/>
                </a:cubicBezTo>
                <a:cubicBezTo>
                  <a:pt x="1080" y="215"/>
                  <a:pt x="1080" y="215"/>
                  <a:pt x="1080" y="215"/>
                </a:cubicBezTo>
                <a:close/>
                <a:moveTo>
                  <a:pt x="1091" y="231"/>
                </a:moveTo>
                <a:cubicBezTo>
                  <a:pt x="1093" y="232"/>
                  <a:pt x="1093" y="232"/>
                  <a:pt x="1093" y="232"/>
                </a:cubicBezTo>
                <a:cubicBezTo>
                  <a:pt x="1093" y="231"/>
                  <a:pt x="1093" y="231"/>
                  <a:pt x="1093" y="231"/>
                </a:cubicBezTo>
                <a:cubicBezTo>
                  <a:pt x="1092" y="230"/>
                  <a:pt x="1092" y="230"/>
                  <a:pt x="1092" y="230"/>
                </a:cubicBezTo>
                <a:cubicBezTo>
                  <a:pt x="1091" y="231"/>
                  <a:pt x="1091" y="231"/>
                  <a:pt x="1091" y="231"/>
                </a:cubicBezTo>
                <a:close/>
                <a:moveTo>
                  <a:pt x="1093" y="235"/>
                </a:moveTo>
                <a:cubicBezTo>
                  <a:pt x="1094" y="234"/>
                  <a:pt x="1094" y="234"/>
                  <a:pt x="1094" y="234"/>
                </a:cubicBezTo>
                <a:cubicBezTo>
                  <a:pt x="1093" y="234"/>
                  <a:pt x="1093" y="234"/>
                  <a:pt x="1093" y="234"/>
                </a:cubicBezTo>
                <a:cubicBezTo>
                  <a:pt x="1093" y="235"/>
                  <a:pt x="1093" y="235"/>
                  <a:pt x="1093" y="235"/>
                </a:cubicBezTo>
                <a:close/>
                <a:moveTo>
                  <a:pt x="588" y="329"/>
                </a:moveTo>
                <a:cubicBezTo>
                  <a:pt x="588" y="329"/>
                  <a:pt x="588" y="329"/>
                  <a:pt x="589" y="329"/>
                </a:cubicBezTo>
                <a:cubicBezTo>
                  <a:pt x="589" y="329"/>
                  <a:pt x="589" y="329"/>
                  <a:pt x="589" y="327"/>
                </a:cubicBezTo>
                <a:cubicBezTo>
                  <a:pt x="589" y="327"/>
                  <a:pt x="589" y="327"/>
                  <a:pt x="588" y="328"/>
                </a:cubicBezTo>
                <a:cubicBezTo>
                  <a:pt x="588" y="328"/>
                  <a:pt x="588" y="328"/>
                  <a:pt x="588" y="329"/>
                </a:cubicBezTo>
                <a:close/>
                <a:moveTo>
                  <a:pt x="554" y="283"/>
                </a:moveTo>
                <a:cubicBezTo>
                  <a:pt x="554" y="283"/>
                  <a:pt x="554" y="283"/>
                  <a:pt x="554" y="284"/>
                </a:cubicBezTo>
                <a:cubicBezTo>
                  <a:pt x="554" y="284"/>
                  <a:pt x="554" y="284"/>
                  <a:pt x="555" y="284"/>
                </a:cubicBezTo>
                <a:cubicBezTo>
                  <a:pt x="555" y="284"/>
                  <a:pt x="555" y="284"/>
                  <a:pt x="556" y="283"/>
                </a:cubicBezTo>
                <a:cubicBezTo>
                  <a:pt x="556" y="283"/>
                  <a:pt x="556" y="283"/>
                  <a:pt x="555" y="283"/>
                </a:cubicBezTo>
                <a:cubicBezTo>
                  <a:pt x="555" y="283"/>
                  <a:pt x="555" y="283"/>
                  <a:pt x="554" y="283"/>
                </a:cubicBezTo>
                <a:close/>
                <a:moveTo>
                  <a:pt x="589" y="325"/>
                </a:moveTo>
                <a:cubicBezTo>
                  <a:pt x="589" y="325"/>
                  <a:pt x="589" y="325"/>
                  <a:pt x="589" y="326"/>
                </a:cubicBezTo>
                <a:cubicBezTo>
                  <a:pt x="589" y="326"/>
                  <a:pt x="589" y="326"/>
                  <a:pt x="588" y="327"/>
                </a:cubicBezTo>
                <a:cubicBezTo>
                  <a:pt x="588" y="327"/>
                  <a:pt x="588" y="327"/>
                  <a:pt x="589" y="327"/>
                </a:cubicBezTo>
                <a:cubicBezTo>
                  <a:pt x="589" y="327"/>
                  <a:pt x="589" y="327"/>
                  <a:pt x="590" y="326"/>
                </a:cubicBezTo>
                <a:cubicBezTo>
                  <a:pt x="590" y="326"/>
                  <a:pt x="590" y="326"/>
                  <a:pt x="589" y="325"/>
                </a:cubicBezTo>
                <a:close/>
                <a:moveTo>
                  <a:pt x="545" y="270"/>
                </a:moveTo>
                <a:cubicBezTo>
                  <a:pt x="545" y="270"/>
                  <a:pt x="545" y="270"/>
                  <a:pt x="544" y="270"/>
                </a:cubicBezTo>
                <a:cubicBezTo>
                  <a:pt x="544" y="270"/>
                  <a:pt x="544" y="270"/>
                  <a:pt x="544" y="271"/>
                </a:cubicBezTo>
                <a:cubicBezTo>
                  <a:pt x="544" y="271"/>
                  <a:pt x="544" y="271"/>
                  <a:pt x="545" y="271"/>
                </a:cubicBezTo>
                <a:cubicBezTo>
                  <a:pt x="545" y="271"/>
                  <a:pt x="545" y="271"/>
                  <a:pt x="545" y="270"/>
                </a:cubicBezTo>
                <a:close/>
                <a:moveTo>
                  <a:pt x="603" y="350"/>
                </a:moveTo>
                <a:cubicBezTo>
                  <a:pt x="603" y="350"/>
                  <a:pt x="603" y="350"/>
                  <a:pt x="602" y="351"/>
                </a:cubicBezTo>
                <a:cubicBezTo>
                  <a:pt x="602" y="351"/>
                  <a:pt x="602" y="351"/>
                  <a:pt x="603" y="352"/>
                </a:cubicBezTo>
                <a:cubicBezTo>
                  <a:pt x="603" y="352"/>
                  <a:pt x="603" y="352"/>
                  <a:pt x="603" y="353"/>
                </a:cubicBezTo>
                <a:cubicBezTo>
                  <a:pt x="603" y="353"/>
                  <a:pt x="603" y="353"/>
                  <a:pt x="604" y="352"/>
                </a:cubicBezTo>
                <a:cubicBezTo>
                  <a:pt x="604" y="352"/>
                  <a:pt x="604" y="352"/>
                  <a:pt x="603" y="350"/>
                </a:cubicBezTo>
                <a:close/>
                <a:moveTo>
                  <a:pt x="540" y="274"/>
                </a:moveTo>
                <a:cubicBezTo>
                  <a:pt x="540" y="274"/>
                  <a:pt x="540" y="274"/>
                  <a:pt x="541" y="273"/>
                </a:cubicBezTo>
                <a:cubicBezTo>
                  <a:pt x="541" y="273"/>
                  <a:pt x="541" y="273"/>
                  <a:pt x="542" y="272"/>
                </a:cubicBezTo>
                <a:cubicBezTo>
                  <a:pt x="542" y="272"/>
                  <a:pt x="542" y="272"/>
                  <a:pt x="541" y="272"/>
                </a:cubicBezTo>
                <a:cubicBezTo>
                  <a:pt x="541" y="272"/>
                  <a:pt x="541" y="272"/>
                  <a:pt x="540" y="273"/>
                </a:cubicBezTo>
                <a:cubicBezTo>
                  <a:pt x="540" y="273"/>
                  <a:pt x="540" y="273"/>
                  <a:pt x="540" y="274"/>
                </a:cubicBezTo>
                <a:close/>
                <a:moveTo>
                  <a:pt x="548" y="268"/>
                </a:moveTo>
                <a:cubicBezTo>
                  <a:pt x="548" y="268"/>
                  <a:pt x="548" y="268"/>
                  <a:pt x="547" y="267"/>
                </a:cubicBezTo>
                <a:cubicBezTo>
                  <a:pt x="547" y="267"/>
                  <a:pt x="547" y="267"/>
                  <a:pt x="546" y="268"/>
                </a:cubicBezTo>
                <a:cubicBezTo>
                  <a:pt x="546" y="268"/>
                  <a:pt x="546" y="268"/>
                  <a:pt x="547" y="268"/>
                </a:cubicBezTo>
                <a:cubicBezTo>
                  <a:pt x="547" y="268"/>
                  <a:pt x="547" y="268"/>
                  <a:pt x="548" y="268"/>
                </a:cubicBezTo>
                <a:close/>
                <a:moveTo>
                  <a:pt x="603" y="355"/>
                </a:moveTo>
                <a:cubicBezTo>
                  <a:pt x="603" y="355"/>
                  <a:pt x="603" y="355"/>
                  <a:pt x="604" y="355"/>
                </a:cubicBezTo>
                <a:cubicBezTo>
                  <a:pt x="604" y="355"/>
                  <a:pt x="604" y="355"/>
                  <a:pt x="605" y="354"/>
                </a:cubicBezTo>
                <a:cubicBezTo>
                  <a:pt x="605" y="354"/>
                  <a:pt x="605" y="354"/>
                  <a:pt x="604" y="353"/>
                </a:cubicBezTo>
                <a:cubicBezTo>
                  <a:pt x="604" y="353"/>
                  <a:pt x="604" y="353"/>
                  <a:pt x="603" y="353"/>
                </a:cubicBezTo>
                <a:cubicBezTo>
                  <a:pt x="603" y="353"/>
                  <a:pt x="603" y="353"/>
                  <a:pt x="603" y="354"/>
                </a:cubicBezTo>
                <a:cubicBezTo>
                  <a:pt x="603" y="354"/>
                  <a:pt x="603" y="354"/>
                  <a:pt x="603" y="355"/>
                </a:cubicBezTo>
                <a:close/>
                <a:moveTo>
                  <a:pt x="593" y="312"/>
                </a:moveTo>
                <a:cubicBezTo>
                  <a:pt x="593" y="312"/>
                  <a:pt x="593" y="312"/>
                  <a:pt x="592" y="313"/>
                </a:cubicBezTo>
                <a:cubicBezTo>
                  <a:pt x="592" y="313"/>
                  <a:pt x="592" y="313"/>
                  <a:pt x="592" y="314"/>
                </a:cubicBezTo>
                <a:cubicBezTo>
                  <a:pt x="592" y="314"/>
                  <a:pt x="592" y="314"/>
                  <a:pt x="593" y="313"/>
                </a:cubicBezTo>
                <a:cubicBezTo>
                  <a:pt x="593" y="313"/>
                  <a:pt x="593" y="313"/>
                  <a:pt x="593" y="312"/>
                </a:cubicBezTo>
                <a:close/>
                <a:moveTo>
                  <a:pt x="538" y="276"/>
                </a:moveTo>
                <a:cubicBezTo>
                  <a:pt x="538" y="276"/>
                  <a:pt x="538" y="276"/>
                  <a:pt x="539" y="276"/>
                </a:cubicBezTo>
                <a:cubicBezTo>
                  <a:pt x="539" y="276"/>
                  <a:pt x="539" y="276"/>
                  <a:pt x="539" y="275"/>
                </a:cubicBezTo>
                <a:cubicBezTo>
                  <a:pt x="539" y="275"/>
                  <a:pt x="539" y="275"/>
                  <a:pt x="540" y="274"/>
                </a:cubicBezTo>
                <a:cubicBezTo>
                  <a:pt x="540" y="274"/>
                  <a:pt x="540" y="274"/>
                  <a:pt x="538" y="275"/>
                </a:cubicBezTo>
                <a:cubicBezTo>
                  <a:pt x="538" y="275"/>
                  <a:pt x="538" y="275"/>
                  <a:pt x="538" y="276"/>
                </a:cubicBezTo>
                <a:close/>
                <a:moveTo>
                  <a:pt x="589" y="318"/>
                </a:moveTo>
                <a:cubicBezTo>
                  <a:pt x="589" y="318"/>
                  <a:pt x="589" y="318"/>
                  <a:pt x="588" y="319"/>
                </a:cubicBezTo>
                <a:cubicBezTo>
                  <a:pt x="588" y="319"/>
                  <a:pt x="588" y="319"/>
                  <a:pt x="589" y="321"/>
                </a:cubicBezTo>
                <a:cubicBezTo>
                  <a:pt x="589" y="321"/>
                  <a:pt x="589" y="321"/>
                  <a:pt x="589" y="322"/>
                </a:cubicBezTo>
                <a:cubicBezTo>
                  <a:pt x="589" y="322"/>
                  <a:pt x="589" y="322"/>
                  <a:pt x="590" y="322"/>
                </a:cubicBezTo>
                <a:cubicBezTo>
                  <a:pt x="590" y="322"/>
                  <a:pt x="590" y="322"/>
                  <a:pt x="589" y="323"/>
                </a:cubicBezTo>
                <a:cubicBezTo>
                  <a:pt x="589" y="323"/>
                  <a:pt x="589" y="323"/>
                  <a:pt x="590" y="325"/>
                </a:cubicBezTo>
                <a:cubicBezTo>
                  <a:pt x="590" y="325"/>
                  <a:pt x="590" y="325"/>
                  <a:pt x="591" y="325"/>
                </a:cubicBezTo>
                <a:cubicBezTo>
                  <a:pt x="591" y="325"/>
                  <a:pt x="591" y="325"/>
                  <a:pt x="592" y="324"/>
                </a:cubicBezTo>
                <a:cubicBezTo>
                  <a:pt x="592" y="324"/>
                  <a:pt x="592" y="324"/>
                  <a:pt x="592" y="322"/>
                </a:cubicBezTo>
                <a:cubicBezTo>
                  <a:pt x="592" y="322"/>
                  <a:pt x="592" y="322"/>
                  <a:pt x="591" y="321"/>
                </a:cubicBezTo>
                <a:cubicBezTo>
                  <a:pt x="591" y="321"/>
                  <a:pt x="591" y="321"/>
                  <a:pt x="591" y="319"/>
                </a:cubicBezTo>
                <a:cubicBezTo>
                  <a:pt x="591" y="319"/>
                  <a:pt x="591" y="319"/>
                  <a:pt x="593" y="322"/>
                </a:cubicBezTo>
                <a:cubicBezTo>
                  <a:pt x="593" y="322"/>
                  <a:pt x="593" y="322"/>
                  <a:pt x="593" y="323"/>
                </a:cubicBezTo>
                <a:cubicBezTo>
                  <a:pt x="593" y="323"/>
                  <a:pt x="593" y="323"/>
                  <a:pt x="594" y="325"/>
                </a:cubicBezTo>
                <a:cubicBezTo>
                  <a:pt x="594" y="325"/>
                  <a:pt x="594" y="325"/>
                  <a:pt x="595" y="325"/>
                </a:cubicBezTo>
                <a:cubicBezTo>
                  <a:pt x="595" y="325"/>
                  <a:pt x="595" y="325"/>
                  <a:pt x="595" y="323"/>
                </a:cubicBezTo>
                <a:cubicBezTo>
                  <a:pt x="595" y="323"/>
                  <a:pt x="595" y="323"/>
                  <a:pt x="596" y="322"/>
                </a:cubicBezTo>
                <a:cubicBezTo>
                  <a:pt x="596" y="322"/>
                  <a:pt x="596" y="322"/>
                  <a:pt x="595" y="321"/>
                </a:cubicBezTo>
                <a:cubicBezTo>
                  <a:pt x="595" y="321"/>
                  <a:pt x="595" y="321"/>
                  <a:pt x="594" y="321"/>
                </a:cubicBezTo>
                <a:cubicBezTo>
                  <a:pt x="594" y="321"/>
                  <a:pt x="594" y="321"/>
                  <a:pt x="594" y="320"/>
                </a:cubicBezTo>
                <a:cubicBezTo>
                  <a:pt x="594" y="320"/>
                  <a:pt x="594" y="320"/>
                  <a:pt x="592" y="318"/>
                </a:cubicBezTo>
                <a:cubicBezTo>
                  <a:pt x="592" y="318"/>
                  <a:pt x="592" y="318"/>
                  <a:pt x="592" y="317"/>
                </a:cubicBezTo>
                <a:cubicBezTo>
                  <a:pt x="592" y="317"/>
                  <a:pt x="592" y="317"/>
                  <a:pt x="594" y="319"/>
                </a:cubicBezTo>
                <a:cubicBezTo>
                  <a:pt x="594" y="319"/>
                  <a:pt x="594" y="319"/>
                  <a:pt x="595" y="320"/>
                </a:cubicBezTo>
                <a:cubicBezTo>
                  <a:pt x="595" y="320"/>
                  <a:pt x="595" y="320"/>
                  <a:pt x="596" y="320"/>
                </a:cubicBezTo>
                <a:cubicBezTo>
                  <a:pt x="596" y="320"/>
                  <a:pt x="596" y="320"/>
                  <a:pt x="596" y="319"/>
                </a:cubicBezTo>
                <a:cubicBezTo>
                  <a:pt x="596" y="319"/>
                  <a:pt x="596" y="319"/>
                  <a:pt x="597" y="318"/>
                </a:cubicBezTo>
                <a:cubicBezTo>
                  <a:pt x="597" y="318"/>
                  <a:pt x="597" y="318"/>
                  <a:pt x="596" y="316"/>
                </a:cubicBezTo>
                <a:cubicBezTo>
                  <a:pt x="596" y="316"/>
                  <a:pt x="596" y="316"/>
                  <a:pt x="595" y="317"/>
                </a:cubicBezTo>
                <a:cubicBezTo>
                  <a:pt x="595" y="317"/>
                  <a:pt x="595" y="317"/>
                  <a:pt x="594" y="318"/>
                </a:cubicBezTo>
                <a:cubicBezTo>
                  <a:pt x="594" y="318"/>
                  <a:pt x="594" y="318"/>
                  <a:pt x="594" y="317"/>
                </a:cubicBezTo>
                <a:cubicBezTo>
                  <a:pt x="594" y="317"/>
                  <a:pt x="594" y="317"/>
                  <a:pt x="594" y="316"/>
                </a:cubicBezTo>
                <a:cubicBezTo>
                  <a:pt x="594" y="316"/>
                  <a:pt x="594" y="316"/>
                  <a:pt x="594" y="315"/>
                </a:cubicBezTo>
                <a:cubicBezTo>
                  <a:pt x="594" y="315"/>
                  <a:pt x="594" y="315"/>
                  <a:pt x="593" y="314"/>
                </a:cubicBezTo>
                <a:cubicBezTo>
                  <a:pt x="593" y="314"/>
                  <a:pt x="593" y="314"/>
                  <a:pt x="591" y="315"/>
                </a:cubicBezTo>
                <a:cubicBezTo>
                  <a:pt x="591" y="315"/>
                  <a:pt x="591" y="315"/>
                  <a:pt x="591" y="316"/>
                </a:cubicBezTo>
                <a:cubicBezTo>
                  <a:pt x="591" y="316"/>
                  <a:pt x="591" y="316"/>
                  <a:pt x="590" y="314"/>
                </a:cubicBezTo>
                <a:cubicBezTo>
                  <a:pt x="590" y="314"/>
                  <a:pt x="590" y="314"/>
                  <a:pt x="589" y="316"/>
                </a:cubicBezTo>
                <a:cubicBezTo>
                  <a:pt x="589" y="316"/>
                  <a:pt x="589" y="316"/>
                  <a:pt x="590" y="317"/>
                </a:cubicBezTo>
                <a:cubicBezTo>
                  <a:pt x="590" y="317"/>
                  <a:pt x="590" y="317"/>
                  <a:pt x="590" y="318"/>
                </a:cubicBezTo>
                <a:cubicBezTo>
                  <a:pt x="590" y="318"/>
                  <a:pt x="590" y="318"/>
                  <a:pt x="589" y="318"/>
                </a:cubicBezTo>
                <a:close/>
                <a:moveTo>
                  <a:pt x="595" y="329"/>
                </a:moveTo>
                <a:cubicBezTo>
                  <a:pt x="595" y="329"/>
                  <a:pt x="595" y="329"/>
                  <a:pt x="595" y="330"/>
                </a:cubicBezTo>
                <a:cubicBezTo>
                  <a:pt x="595" y="330"/>
                  <a:pt x="595" y="330"/>
                  <a:pt x="596" y="329"/>
                </a:cubicBezTo>
                <a:cubicBezTo>
                  <a:pt x="596" y="329"/>
                  <a:pt x="596" y="329"/>
                  <a:pt x="598" y="328"/>
                </a:cubicBezTo>
                <a:cubicBezTo>
                  <a:pt x="598" y="328"/>
                  <a:pt x="598" y="328"/>
                  <a:pt x="598" y="326"/>
                </a:cubicBezTo>
                <a:cubicBezTo>
                  <a:pt x="598" y="326"/>
                  <a:pt x="598" y="326"/>
                  <a:pt x="596" y="326"/>
                </a:cubicBezTo>
                <a:cubicBezTo>
                  <a:pt x="596" y="326"/>
                  <a:pt x="596" y="326"/>
                  <a:pt x="595" y="326"/>
                </a:cubicBezTo>
                <a:cubicBezTo>
                  <a:pt x="595" y="326"/>
                  <a:pt x="595" y="326"/>
                  <a:pt x="595" y="328"/>
                </a:cubicBezTo>
                <a:cubicBezTo>
                  <a:pt x="595" y="328"/>
                  <a:pt x="595" y="328"/>
                  <a:pt x="595" y="329"/>
                </a:cubicBezTo>
                <a:close/>
                <a:moveTo>
                  <a:pt x="600" y="326"/>
                </a:moveTo>
                <a:cubicBezTo>
                  <a:pt x="600" y="326"/>
                  <a:pt x="600" y="326"/>
                  <a:pt x="600" y="325"/>
                </a:cubicBezTo>
                <a:cubicBezTo>
                  <a:pt x="600" y="325"/>
                  <a:pt x="600" y="325"/>
                  <a:pt x="600" y="324"/>
                </a:cubicBezTo>
                <a:cubicBezTo>
                  <a:pt x="600" y="324"/>
                  <a:pt x="600" y="324"/>
                  <a:pt x="600" y="320"/>
                </a:cubicBezTo>
                <a:cubicBezTo>
                  <a:pt x="600" y="320"/>
                  <a:pt x="600" y="320"/>
                  <a:pt x="601" y="319"/>
                </a:cubicBezTo>
                <a:cubicBezTo>
                  <a:pt x="601" y="319"/>
                  <a:pt x="601" y="319"/>
                  <a:pt x="601" y="321"/>
                </a:cubicBezTo>
                <a:cubicBezTo>
                  <a:pt x="601" y="321"/>
                  <a:pt x="601" y="321"/>
                  <a:pt x="601" y="324"/>
                </a:cubicBezTo>
                <a:cubicBezTo>
                  <a:pt x="601" y="324"/>
                  <a:pt x="601" y="324"/>
                  <a:pt x="602" y="324"/>
                </a:cubicBezTo>
                <a:cubicBezTo>
                  <a:pt x="602" y="324"/>
                  <a:pt x="602" y="324"/>
                  <a:pt x="602" y="323"/>
                </a:cubicBezTo>
                <a:cubicBezTo>
                  <a:pt x="602" y="323"/>
                  <a:pt x="602" y="323"/>
                  <a:pt x="602" y="318"/>
                </a:cubicBezTo>
                <a:cubicBezTo>
                  <a:pt x="602" y="318"/>
                  <a:pt x="602" y="318"/>
                  <a:pt x="601" y="317"/>
                </a:cubicBezTo>
                <a:cubicBezTo>
                  <a:pt x="601" y="317"/>
                  <a:pt x="601" y="317"/>
                  <a:pt x="600" y="316"/>
                </a:cubicBezTo>
                <a:cubicBezTo>
                  <a:pt x="600" y="316"/>
                  <a:pt x="600" y="316"/>
                  <a:pt x="600" y="315"/>
                </a:cubicBezTo>
                <a:cubicBezTo>
                  <a:pt x="600" y="315"/>
                  <a:pt x="600" y="315"/>
                  <a:pt x="599" y="314"/>
                </a:cubicBezTo>
                <a:cubicBezTo>
                  <a:pt x="599" y="314"/>
                  <a:pt x="599" y="314"/>
                  <a:pt x="598" y="316"/>
                </a:cubicBezTo>
                <a:cubicBezTo>
                  <a:pt x="598" y="316"/>
                  <a:pt x="598" y="316"/>
                  <a:pt x="598" y="320"/>
                </a:cubicBezTo>
                <a:cubicBezTo>
                  <a:pt x="598" y="320"/>
                  <a:pt x="598" y="320"/>
                  <a:pt x="597" y="321"/>
                </a:cubicBezTo>
                <a:cubicBezTo>
                  <a:pt x="597" y="321"/>
                  <a:pt x="597" y="321"/>
                  <a:pt x="597" y="323"/>
                </a:cubicBezTo>
                <a:cubicBezTo>
                  <a:pt x="597" y="323"/>
                  <a:pt x="597" y="323"/>
                  <a:pt x="598" y="324"/>
                </a:cubicBezTo>
                <a:cubicBezTo>
                  <a:pt x="598" y="324"/>
                  <a:pt x="598" y="324"/>
                  <a:pt x="597" y="325"/>
                </a:cubicBezTo>
                <a:cubicBezTo>
                  <a:pt x="597" y="325"/>
                  <a:pt x="597" y="325"/>
                  <a:pt x="598" y="326"/>
                </a:cubicBezTo>
                <a:cubicBezTo>
                  <a:pt x="598" y="326"/>
                  <a:pt x="598" y="326"/>
                  <a:pt x="599" y="326"/>
                </a:cubicBezTo>
                <a:cubicBezTo>
                  <a:pt x="599" y="326"/>
                  <a:pt x="599" y="326"/>
                  <a:pt x="600" y="326"/>
                </a:cubicBezTo>
                <a:close/>
                <a:moveTo>
                  <a:pt x="595" y="326"/>
                </a:moveTo>
                <a:cubicBezTo>
                  <a:pt x="595" y="326"/>
                  <a:pt x="595" y="326"/>
                  <a:pt x="594" y="325"/>
                </a:cubicBezTo>
                <a:cubicBezTo>
                  <a:pt x="594" y="325"/>
                  <a:pt x="594" y="325"/>
                  <a:pt x="594" y="326"/>
                </a:cubicBezTo>
                <a:cubicBezTo>
                  <a:pt x="594" y="326"/>
                  <a:pt x="594" y="326"/>
                  <a:pt x="595" y="326"/>
                </a:cubicBezTo>
                <a:close/>
                <a:moveTo>
                  <a:pt x="547" y="273"/>
                </a:moveTo>
                <a:cubicBezTo>
                  <a:pt x="547" y="273"/>
                  <a:pt x="547" y="273"/>
                  <a:pt x="546" y="273"/>
                </a:cubicBezTo>
                <a:cubicBezTo>
                  <a:pt x="546" y="273"/>
                  <a:pt x="546" y="273"/>
                  <a:pt x="545" y="274"/>
                </a:cubicBezTo>
                <a:cubicBezTo>
                  <a:pt x="545" y="274"/>
                  <a:pt x="545" y="274"/>
                  <a:pt x="545" y="276"/>
                </a:cubicBezTo>
                <a:cubicBezTo>
                  <a:pt x="545" y="276"/>
                  <a:pt x="545" y="276"/>
                  <a:pt x="547" y="276"/>
                </a:cubicBezTo>
                <a:cubicBezTo>
                  <a:pt x="547" y="276"/>
                  <a:pt x="547" y="276"/>
                  <a:pt x="548" y="275"/>
                </a:cubicBezTo>
                <a:cubicBezTo>
                  <a:pt x="548" y="275"/>
                  <a:pt x="548" y="275"/>
                  <a:pt x="547" y="275"/>
                </a:cubicBezTo>
                <a:cubicBezTo>
                  <a:pt x="547" y="275"/>
                  <a:pt x="547" y="275"/>
                  <a:pt x="547" y="273"/>
                </a:cubicBezTo>
                <a:close/>
                <a:moveTo>
                  <a:pt x="483" y="310"/>
                </a:moveTo>
                <a:cubicBezTo>
                  <a:pt x="483" y="310"/>
                  <a:pt x="483" y="310"/>
                  <a:pt x="484" y="310"/>
                </a:cubicBezTo>
                <a:cubicBezTo>
                  <a:pt x="484" y="310"/>
                  <a:pt x="484" y="310"/>
                  <a:pt x="485" y="310"/>
                </a:cubicBezTo>
                <a:cubicBezTo>
                  <a:pt x="485" y="310"/>
                  <a:pt x="485" y="310"/>
                  <a:pt x="486" y="309"/>
                </a:cubicBezTo>
                <a:cubicBezTo>
                  <a:pt x="486" y="309"/>
                  <a:pt x="486" y="309"/>
                  <a:pt x="486" y="308"/>
                </a:cubicBezTo>
                <a:cubicBezTo>
                  <a:pt x="486" y="308"/>
                  <a:pt x="486" y="308"/>
                  <a:pt x="483" y="309"/>
                </a:cubicBezTo>
                <a:cubicBezTo>
                  <a:pt x="483" y="309"/>
                  <a:pt x="483" y="309"/>
                  <a:pt x="483" y="310"/>
                </a:cubicBezTo>
                <a:close/>
                <a:moveTo>
                  <a:pt x="498" y="297"/>
                </a:moveTo>
                <a:cubicBezTo>
                  <a:pt x="498" y="297"/>
                  <a:pt x="498" y="297"/>
                  <a:pt x="497" y="298"/>
                </a:cubicBezTo>
                <a:cubicBezTo>
                  <a:pt x="497" y="298"/>
                  <a:pt x="497" y="298"/>
                  <a:pt x="496" y="298"/>
                </a:cubicBezTo>
                <a:cubicBezTo>
                  <a:pt x="496" y="298"/>
                  <a:pt x="496" y="298"/>
                  <a:pt x="496" y="297"/>
                </a:cubicBezTo>
                <a:cubicBezTo>
                  <a:pt x="496" y="297"/>
                  <a:pt x="496" y="297"/>
                  <a:pt x="496" y="296"/>
                </a:cubicBezTo>
                <a:cubicBezTo>
                  <a:pt x="496" y="296"/>
                  <a:pt x="496" y="296"/>
                  <a:pt x="495" y="295"/>
                </a:cubicBezTo>
                <a:cubicBezTo>
                  <a:pt x="495" y="295"/>
                  <a:pt x="495" y="295"/>
                  <a:pt x="495" y="296"/>
                </a:cubicBezTo>
                <a:cubicBezTo>
                  <a:pt x="495" y="296"/>
                  <a:pt x="495" y="296"/>
                  <a:pt x="495" y="298"/>
                </a:cubicBezTo>
                <a:cubicBezTo>
                  <a:pt x="495" y="298"/>
                  <a:pt x="495" y="298"/>
                  <a:pt x="494" y="297"/>
                </a:cubicBezTo>
                <a:cubicBezTo>
                  <a:pt x="494" y="297"/>
                  <a:pt x="494" y="297"/>
                  <a:pt x="493" y="298"/>
                </a:cubicBezTo>
                <a:cubicBezTo>
                  <a:pt x="493" y="298"/>
                  <a:pt x="493" y="298"/>
                  <a:pt x="492" y="299"/>
                </a:cubicBezTo>
                <a:cubicBezTo>
                  <a:pt x="492" y="299"/>
                  <a:pt x="492" y="299"/>
                  <a:pt x="492" y="298"/>
                </a:cubicBezTo>
                <a:cubicBezTo>
                  <a:pt x="492" y="298"/>
                  <a:pt x="492" y="298"/>
                  <a:pt x="491" y="299"/>
                </a:cubicBezTo>
                <a:cubicBezTo>
                  <a:pt x="491" y="299"/>
                  <a:pt x="491" y="299"/>
                  <a:pt x="490" y="298"/>
                </a:cubicBezTo>
                <a:cubicBezTo>
                  <a:pt x="490" y="298"/>
                  <a:pt x="490" y="298"/>
                  <a:pt x="490" y="299"/>
                </a:cubicBezTo>
                <a:cubicBezTo>
                  <a:pt x="490" y="299"/>
                  <a:pt x="490" y="299"/>
                  <a:pt x="490" y="300"/>
                </a:cubicBezTo>
                <a:cubicBezTo>
                  <a:pt x="490" y="300"/>
                  <a:pt x="490" y="300"/>
                  <a:pt x="489" y="301"/>
                </a:cubicBezTo>
                <a:cubicBezTo>
                  <a:pt x="489" y="301"/>
                  <a:pt x="489" y="301"/>
                  <a:pt x="489" y="298"/>
                </a:cubicBezTo>
                <a:cubicBezTo>
                  <a:pt x="489" y="298"/>
                  <a:pt x="489" y="298"/>
                  <a:pt x="488" y="298"/>
                </a:cubicBezTo>
                <a:cubicBezTo>
                  <a:pt x="488" y="298"/>
                  <a:pt x="488" y="298"/>
                  <a:pt x="487" y="298"/>
                </a:cubicBezTo>
                <a:cubicBezTo>
                  <a:pt x="487" y="298"/>
                  <a:pt x="487" y="298"/>
                  <a:pt x="484" y="300"/>
                </a:cubicBezTo>
                <a:cubicBezTo>
                  <a:pt x="484" y="300"/>
                  <a:pt x="484" y="300"/>
                  <a:pt x="482" y="301"/>
                </a:cubicBezTo>
                <a:cubicBezTo>
                  <a:pt x="482" y="301"/>
                  <a:pt x="482" y="301"/>
                  <a:pt x="482" y="302"/>
                </a:cubicBezTo>
                <a:cubicBezTo>
                  <a:pt x="482" y="302"/>
                  <a:pt x="482" y="302"/>
                  <a:pt x="483" y="302"/>
                </a:cubicBezTo>
                <a:cubicBezTo>
                  <a:pt x="483" y="302"/>
                  <a:pt x="483" y="302"/>
                  <a:pt x="483" y="304"/>
                </a:cubicBezTo>
                <a:cubicBezTo>
                  <a:pt x="483" y="304"/>
                  <a:pt x="483" y="304"/>
                  <a:pt x="482" y="305"/>
                </a:cubicBezTo>
                <a:cubicBezTo>
                  <a:pt x="482" y="305"/>
                  <a:pt x="482" y="305"/>
                  <a:pt x="482" y="306"/>
                </a:cubicBezTo>
                <a:cubicBezTo>
                  <a:pt x="482" y="306"/>
                  <a:pt x="482" y="306"/>
                  <a:pt x="482" y="307"/>
                </a:cubicBezTo>
                <a:cubicBezTo>
                  <a:pt x="482" y="307"/>
                  <a:pt x="482" y="307"/>
                  <a:pt x="483" y="308"/>
                </a:cubicBezTo>
                <a:cubicBezTo>
                  <a:pt x="483" y="308"/>
                  <a:pt x="483" y="308"/>
                  <a:pt x="483" y="307"/>
                </a:cubicBezTo>
                <a:cubicBezTo>
                  <a:pt x="483" y="307"/>
                  <a:pt x="483" y="307"/>
                  <a:pt x="484" y="307"/>
                </a:cubicBezTo>
                <a:cubicBezTo>
                  <a:pt x="484" y="307"/>
                  <a:pt x="484" y="307"/>
                  <a:pt x="483" y="306"/>
                </a:cubicBezTo>
                <a:cubicBezTo>
                  <a:pt x="483" y="306"/>
                  <a:pt x="483" y="306"/>
                  <a:pt x="484" y="306"/>
                </a:cubicBezTo>
                <a:cubicBezTo>
                  <a:pt x="484" y="306"/>
                  <a:pt x="484" y="306"/>
                  <a:pt x="485" y="307"/>
                </a:cubicBezTo>
                <a:cubicBezTo>
                  <a:pt x="485" y="307"/>
                  <a:pt x="485" y="307"/>
                  <a:pt x="486" y="306"/>
                </a:cubicBezTo>
                <a:cubicBezTo>
                  <a:pt x="486" y="306"/>
                  <a:pt x="486" y="306"/>
                  <a:pt x="486" y="307"/>
                </a:cubicBezTo>
                <a:cubicBezTo>
                  <a:pt x="486" y="307"/>
                  <a:pt x="486" y="307"/>
                  <a:pt x="486" y="308"/>
                </a:cubicBezTo>
                <a:cubicBezTo>
                  <a:pt x="486" y="308"/>
                  <a:pt x="486" y="308"/>
                  <a:pt x="487" y="307"/>
                </a:cubicBezTo>
                <a:cubicBezTo>
                  <a:pt x="487" y="307"/>
                  <a:pt x="487" y="307"/>
                  <a:pt x="487" y="306"/>
                </a:cubicBezTo>
                <a:cubicBezTo>
                  <a:pt x="487" y="306"/>
                  <a:pt x="487" y="306"/>
                  <a:pt x="488" y="306"/>
                </a:cubicBezTo>
                <a:cubicBezTo>
                  <a:pt x="488" y="306"/>
                  <a:pt x="488" y="306"/>
                  <a:pt x="489" y="305"/>
                </a:cubicBezTo>
                <a:cubicBezTo>
                  <a:pt x="489" y="305"/>
                  <a:pt x="489" y="305"/>
                  <a:pt x="490" y="305"/>
                </a:cubicBezTo>
                <a:cubicBezTo>
                  <a:pt x="490" y="305"/>
                  <a:pt x="490" y="305"/>
                  <a:pt x="491" y="305"/>
                </a:cubicBezTo>
                <a:cubicBezTo>
                  <a:pt x="491" y="305"/>
                  <a:pt x="491" y="305"/>
                  <a:pt x="492" y="304"/>
                </a:cubicBezTo>
                <a:cubicBezTo>
                  <a:pt x="492" y="304"/>
                  <a:pt x="492" y="304"/>
                  <a:pt x="491" y="303"/>
                </a:cubicBezTo>
                <a:cubicBezTo>
                  <a:pt x="491" y="303"/>
                  <a:pt x="491" y="303"/>
                  <a:pt x="493" y="303"/>
                </a:cubicBezTo>
                <a:cubicBezTo>
                  <a:pt x="493" y="303"/>
                  <a:pt x="493" y="303"/>
                  <a:pt x="494" y="304"/>
                </a:cubicBezTo>
                <a:cubicBezTo>
                  <a:pt x="494" y="304"/>
                  <a:pt x="494" y="304"/>
                  <a:pt x="495" y="304"/>
                </a:cubicBezTo>
                <a:cubicBezTo>
                  <a:pt x="495" y="304"/>
                  <a:pt x="495" y="304"/>
                  <a:pt x="495" y="303"/>
                </a:cubicBezTo>
                <a:cubicBezTo>
                  <a:pt x="495" y="303"/>
                  <a:pt x="495" y="303"/>
                  <a:pt x="495" y="302"/>
                </a:cubicBezTo>
                <a:cubicBezTo>
                  <a:pt x="495" y="302"/>
                  <a:pt x="495" y="302"/>
                  <a:pt x="494" y="301"/>
                </a:cubicBezTo>
                <a:cubicBezTo>
                  <a:pt x="494" y="301"/>
                  <a:pt x="494" y="301"/>
                  <a:pt x="495" y="301"/>
                </a:cubicBezTo>
                <a:cubicBezTo>
                  <a:pt x="495" y="301"/>
                  <a:pt x="495" y="301"/>
                  <a:pt x="496" y="301"/>
                </a:cubicBezTo>
                <a:cubicBezTo>
                  <a:pt x="496" y="301"/>
                  <a:pt x="496" y="301"/>
                  <a:pt x="497" y="301"/>
                </a:cubicBezTo>
                <a:cubicBezTo>
                  <a:pt x="497" y="301"/>
                  <a:pt x="497" y="301"/>
                  <a:pt x="498" y="302"/>
                </a:cubicBezTo>
                <a:cubicBezTo>
                  <a:pt x="498" y="302"/>
                  <a:pt x="498" y="302"/>
                  <a:pt x="499" y="300"/>
                </a:cubicBezTo>
                <a:cubicBezTo>
                  <a:pt x="499" y="300"/>
                  <a:pt x="499" y="300"/>
                  <a:pt x="499" y="299"/>
                </a:cubicBezTo>
                <a:cubicBezTo>
                  <a:pt x="499" y="299"/>
                  <a:pt x="499" y="299"/>
                  <a:pt x="498" y="299"/>
                </a:cubicBezTo>
                <a:cubicBezTo>
                  <a:pt x="498" y="299"/>
                  <a:pt x="498" y="299"/>
                  <a:pt x="498" y="298"/>
                </a:cubicBezTo>
                <a:cubicBezTo>
                  <a:pt x="498" y="298"/>
                  <a:pt x="498" y="298"/>
                  <a:pt x="499" y="298"/>
                </a:cubicBezTo>
                <a:cubicBezTo>
                  <a:pt x="499" y="298"/>
                  <a:pt x="499" y="298"/>
                  <a:pt x="500" y="298"/>
                </a:cubicBezTo>
                <a:cubicBezTo>
                  <a:pt x="500" y="298"/>
                  <a:pt x="500" y="298"/>
                  <a:pt x="500" y="297"/>
                </a:cubicBezTo>
                <a:cubicBezTo>
                  <a:pt x="500" y="297"/>
                  <a:pt x="500" y="297"/>
                  <a:pt x="499" y="296"/>
                </a:cubicBezTo>
                <a:cubicBezTo>
                  <a:pt x="499" y="296"/>
                  <a:pt x="499" y="296"/>
                  <a:pt x="498" y="297"/>
                </a:cubicBezTo>
                <a:close/>
                <a:moveTo>
                  <a:pt x="482" y="312"/>
                </a:moveTo>
                <a:cubicBezTo>
                  <a:pt x="482" y="312"/>
                  <a:pt x="482" y="312"/>
                  <a:pt x="482" y="311"/>
                </a:cubicBezTo>
                <a:cubicBezTo>
                  <a:pt x="482" y="311"/>
                  <a:pt x="482" y="311"/>
                  <a:pt x="481" y="312"/>
                </a:cubicBezTo>
                <a:cubicBezTo>
                  <a:pt x="481" y="312"/>
                  <a:pt x="481" y="312"/>
                  <a:pt x="482" y="312"/>
                </a:cubicBezTo>
                <a:close/>
                <a:moveTo>
                  <a:pt x="541" y="266"/>
                </a:moveTo>
                <a:cubicBezTo>
                  <a:pt x="541" y="266"/>
                  <a:pt x="541" y="266"/>
                  <a:pt x="540" y="267"/>
                </a:cubicBezTo>
                <a:cubicBezTo>
                  <a:pt x="540" y="267"/>
                  <a:pt x="540" y="267"/>
                  <a:pt x="541" y="269"/>
                </a:cubicBezTo>
                <a:cubicBezTo>
                  <a:pt x="541" y="269"/>
                  <a:pt x="541" y="269"/>
                  <a:pt x="542" y="268"/>
                </a:cubicBezTo>
                <a:cubicBezTo>
                  <a:pt x="542" y="268"/>
                  <a:pt x="542" y="268"/>
                  <a:pt x="541" y="267"/>
                </a:cubicBezTo>
                <a:cubicBezTo>
                  <a:pt x="541" y="267"/>
                  <a:pt x="541" y="267"/>
                  <a:pt x="542" y="267"/>
                </a:cubicBezTo>
                <a:cubicBezTo>
                  <a:pt x="542" y="267"/>
                  <a:pt x="542" y="267"/>
                  <a:pt x="541" y="266"/>
                </a:cubicBezTo>
                <a:close/>
                <a:moveTo>
                  <a:pt x="479" y="311"/>
                </a:moveTo>
                <a:cubicBezTo>
                  <a:pt x="479" y="311"/>
                  <a:pt x="479" y="311"/>
                  <a:pt x="478" y="313"/>
                </a:cubicBezTo>
                <a:cubicBezTo>
                  <a:pt x="478" y="313"/>
                  <a:pt x="478" y="313"/>
                  <a:pt x="479" y="313"/>
                </a:cubicBezTo>
                <a:cubicBezTo>
                  <a:pt x="479" y="313"/>
                  <a:pt x="479" y="313"/>
                  <a:pt x="481" y="310"/>
                </a:cubicBezTo>
                <a:cubicBezTo>
                  <a:pt x="481" y="310"/>
                  <a:pt x="481" y="310"/>
                  <a:pt x="479" y="311"/>
                </a:cubicBezTo>
                <a:close/>
                <a:moveTo>
                  <a:pt x="469" y="320"/>
                </a:moveTo>
                <a:cubicBezTo>
                  <a:pt x="469" y="320"/>
                  <a:pt x="469" y="320"/>
                  <a:pt x="470" y="320"/>
                </a:cubicBezTo>
                <a:cubicBezTo>
                  <a:pt x="470" y="320"/>
                  <a:pt x="470" y="320"/>
                  <a:pt x="470" y="319"/>
                </a:cubicBezTo>
                <a:cubicBezTo>
                  <a:pt x="470" y="319"/>
                  <a:pt x="470" y="319"/>
                  <a:pt x="469" y="319"/>
                </a:cubicBezTo>
                <a:cubicBezTo>
                  <a:pt x="469" y="319"/>
                  <a:pt x="469" y="319"/>
                  <a:pt x="469" y="320"/>
                </a:cubicBezTo>
                <a:close/>
                <a:moveTo>
                  <a:pt x="493" y="296"/>
                </a:moveTo>
                <a:cubicBezTo>
                  <a:pt x="493" y="296"/>
                  <a:pt x="493" y="296"/>
                  <a:pt x="492" y="295"/>
                </a:cubicBezTo>
                <a:cubicBezTo>
                  <a:pt x="492" y="295"/>
                  <a:pt x="492" y="295"/>
                  <a:pt x="491" y="295"/>
                </a:cubicBezTo>
                <a:cubicBezTo>
                  <a:pt x="491" y="295"/>
                  <a:pt x="491" y="295"/>
                  <a:pt x="490" y="297"/>
                </a:cubicBezTo>
                <a:cubicBezTo>
                  <a:pt x="490" y="297"/>
                  <a:pt x="490" y="297"/>
                  <a:pt x="492" y="298"/>
                </a:cubicBezTo>
                <a:cubicBezTo>
                  <a:pt x="492" y="298"/>
                  <a:pt x="492" y="298"/>
                  <a:pt x="493" y="297"/>
                </a:cubicBezTo>
                <a:cubicBezTo>
                  <a:pt x="493" y="297"/>
                  <a:pt x="493" y="297"/>
                  <a:pt x="493" y="296"/>
                </a:cubicBezTo>
                <a:close/>
                <a:moveTo>
                  <a:pt x="540" y="287"/>
                </a:moveTo>
                <a:cubicBezTo>
                  <a:pt x="540" y="287"/>
                  <a:pt x="540" y="287"/>
                  <a:pt x="542" y="287"/>
                </a:cubicBezTo>
                <a:cubicBezTo>
                  <a:pt x="542" y="287"/>
                  <a:pt x="542" y="287"/>
                  <a:pt x="541" y="286"/>
                </a:cubicBezTo>
                <a:cubicBezTo>
                  <a:pt x="541" y="286"/>
                  <a:pt x="541" y="286"/>
                  <a:pt x="540" y="287"/>
                </a:cubicBezTo>
                <a:close/>
                <a:moveTo>
                  <a:pt x="504" y="292"/>
                </a:moveTo>
                <a:cubicBezTo>
                  <a:pt x="504" y="292"/>
                  <a:pt x="504" y="292"/>
                  <a:pt x="503" y="291"/>
                </a:cubicBezTo>
                <a:cubicBezTo>
                  <a:pt x="503" y="291"/>
                  <a:pt x="503" y="291"/>
                  <a:pt x="502" y="291"/>
                </a:cubicBezTo>
                <a:cubicBezTo>
                  <a:pt x="502" y="291"/>
                  <a:pt x="502" y="291"/>
                  <a:pt x="501" y="291"/>
                </a:cubicBezTo>
                <a:cubicBezTo>
                  <a:pt x="501" y="291"/>
                  <a:pt x="501" y="291"/>
                  <a:pt x="502" y="290"/>
                </a:cubicBezTo>
                <a:cubicBezTo>
                  <a:pt x="502" y="290"/>
                  <a:pt x="502" y="290"/>
                  <a:pt x="501" y="290"/>
                </a:cubicBezTo>
                <a:cubicBezTo>
                  <a:pt x="501" y="290"/>
                  <a:pt x="501" y="290"/>
                  <a:pt x="500" y="290"/>
                </a:cubicBezTo>
                <a:cubicBezTo>
                  <a:pt x="500" y="290"/>
                  <a:pt x="500" y="290"/>
                  <a:pt x="499" y="291"/>
                </a:cubicBezTo>
                <a:cubicBezTo>
                  <a:pt x="499" y="291"/>
                  <a:pt x="499" y="291"/>
                  <a:pt x="500" y="292"/>
                </a:cubicBezTo>
                <a:cubicBezTo>
                  <a:pt x="500" y="292"/>
                  <a:pt x="500" y="292"/>
                  <a:pt x="499" y="293"/>
                </a:cubicBezTo>
                <a:cubicBezTo>
                  <a:pt x="499" y="293"/>
                  <a:pt x="499" y="293"/>
                  <a:pt x="498" y="292"/>
                </a:cubicBezTo>
                <a:cubicBezTo>
                  <a:pt x="498" y="292"/>
                  <a:pt x="498" y="292"/>
                  <a:pt x="498" y="293"/>
                </a:cubicBezTo>
                <a:cubicBezTo>
                  <a:pt x="498" y="293"/>
                  <a:pt x="498" y="293"/>
                  <a:pt x="497" y="293"/>
                </a:cubicBezTo>
                <a:cubicBezTo>
                  <a:pt x="497" y="293"/>
                  <a:pt x="497" y="293"/>
                  <a:pt x="496" y="293"/>
                </a:cubicBezTo>
                <a:cubicBezTo>
                  <a:pt x="496" y="293"/>
                  <a:pt x="496" y="293"/>
                  <a:pt x="497" y="294"/>
                </a:cubicBezTo>
                <a:cubicBezTo>
                  <a:pt x="497" y="294"/>
                  <a:pt x="497" y="294"/>
                  <a:pt x="498" y="295"/>
                </a:cubicBezTo>
                <a:cubicBezTo>
                  <a:pt x="498" y="295"/>
                  <a:pt x="498" y="295"/>
                  <a:pt x="499" y="295"/>
                </a:cubicBezTo>
                <a:cubicBezTo>
                  <a:pt x="499" y="295"/>
                  <a:pt x="499" y="295"/>
                  <a:pt x="500" y="294"/>
                </a:cubicBezTo>
                <a:cubicBezTo>
                  <a:pt x="500" y="294"/>
                  <a:pt x="500" y="294"/>
                  <a:pt x="500" y="295"/>
                </a:cubicBezTo>
                <a:cubicBezTo>
                  <a:pt x="500" y="295"/>
                  <a:pt x="500" y="295"/>
                  <a:pt x="501" y="295"/>
                </a:cubicBezTo>
                <a:cubicBezTo>
                  <a:pt x="501" y="295"/>
                  <a:pt x="501" y="295"/>
                  <a:pt x="502" y="294"/>
                </a:cubicBezTo>
                <a:cubicBezTo>
                  <a:pt x="502" y="294"/>
                  <a:pt x="502" y="294"/>
                  <a:pt x="503" y="294"/>
                </a:cubicBezTo>
                <a:cubicBezTo>
                  <a:pt x="503" y="294"/>
                  <a:pt x="503" y="294"/>
                  <a:pt x="504" y="294"/>
                </a:cubicBezTo>
                <a:cubicBezTo>
                  <a:pt x="504" y="294"/>
                  <a:pt x="504" y="294"/>
                  <a:pt x="503" y="293"/>
                </a:cubicBezTo>
                <a:cubicBezTo>
                  <a:pt x="503" y="293"/>
                  <a:pt x="503" y="293"/>
                  <a:pt x="503" y="292"/>
                </a:cubicBezTo>
                <a:cubicBezTo>
                  <a:pt x="503" y="292"/>
                  <a:pt x="503" y="292"/>
                  <a:pt x="504" y="292"/>
                </a:cubicBezTo>
                <a:close/>
                <a:moveTo>
                  <a:pt x="537" y="278"/>
                </a:moveTo>
                <a:cubicBezTo>
                  <a:pt x="537" y="278"/>
                  <a:pt x="537" y="278"/>
                  <a:pt x="537" y="277"/>
                </a:cubicBezTo>
                <a:cubicBezTo>
                  <a:pt x="537" y="277"/>
                  <a:pt x="537" y="277"/>
                  <a:pt x="535" y="278"/>
                </a:cubicBezTo>
                <a:cubicBezTo>
                  <a:pt x="536" y="279"/>
                  <a:pt x="536" y="279"/>
                  <a:pt x="536" y="279"/>
                </a:cubicBezTo>
                <a:cubicBezTo>
                  <a:pt x="536" y="279"/>
                  <a:pt x="536" y="279"/>
                  <a:pt x="537" y="278"/>
                </a:cubicBezTo>
                <a:close/>
                <a:moveTo>
                  <a:pt x="543" y="274"/>
                </a:moveTo>
                <a:cubicBezTo>
                  <a:pt x="543" y="274"/>
                  <a:pt x="543" y="274"/>
                  <a:pt x="542" y="276"/>
                </a:cubicBezTo>
                <a:cubicBezTo>
                  <a:pt x="542" y="276"/>
                  <a:pt x="542" y="276"/>
                  <a:pt x="540" y="277"/>
                </a:cubicBezTo>
                <a:cubicBezTo>
                  <a:pt x="540" y="277"/>
                  <a:pt x="540" y="277"/>
                  <a:pt x="539" y="278"/>
                </a:cubicBezTo>
                <a:cubicBezTo>
                  <a:pt x="539" y="278"/>
                  <a:pt x="539" y="278"/>
                  <a:pt x="537" y="279"/>
                </a:cubicBezTo>
                <a:cubicBezTo>
                  <a:pt x="537" y="279"/>
                  <a:pt x="537" y="279"/>
                  <a:pt x="537" y="280"/>
                </a:cubicBezTo>
                <a:cubicBezTo>
                  <a:pt x="537" y="280"/>
                  <a:pt x="537" y="280"/>
                  <a:pt x="536" y="280"/>
                </a:cubicBezTo>
                <a:cubicBezTo>
                  <a:pt x="536" y="280"/>
                  <a:pt x="536" y="280"/>
                  <a:pt x="535" y="281"/>
                </a:cubicBezTo>
                <a:cubicBezTo>
                  <a:pt x="535" y="281"/>
                  <a:pt x="535" y="281"/>
                  <a:pt x="537" y="281"/>
                </a:cubicBezTo>
                <a:cubicBezTo>
                  <a:pt x="537" y="281"/>
                  <a:pt x="537" y="281"/>
                  <a:pt x="539" y="281"/>
                </a:cubicBezTo>
                <a:cubicBezTo>
                  <a:pt x="539" y="281"/>
                  <a:pt x="539" y="281"/>
                  <a:pt x="539" y="280"/>
                </a:cubicBezTo>
                <a:cubicBezTo>
                  <a:pt x="539" y="280"/>
                  <a:pt x="539" y="280"/>
                  <a:pt x="540" y="279"/>
                </a:cubicBezTo>
                <a:cubicBezTo>
                  <a:pt x="540" y="279"/>
                  <a:pt x="540" y="279"/>
                  <a:pt x="542" y="277"/>
                </a:cubicBezTo>
                <a:cubicBezTo>
                  <a:pt x="542" y="277"/>
                  <a:pt x="542" y="277"/>
                  <a:pt x="543" y="277"/>
                </a:cubicBezTo>
                <a:cubicBezTo>
                  <a:pt x="543" y="277"/>
                  <a:pt x="543" y="277"/>
                  <a:pt x="544" y="276"/>
                </a:cubicBezTo>
                <a:cubicBezTo>
                  <a:pt x="544" y="276"/>
                  <a:pt x="544" y="276"/>
                  <a:pt x="543" y="275"/>
                </a:cubicBezTo>
                <a:cubicBezTo>
                  <a:pt x="543" y="275"/>
                  <a:pt x="543" y="275"/>
                  <a:pt x="544" y="275"/>
                </a:cubicBezTo>
                <a:cubicBezTo>
                  <a:pt x="544" y="275"/>
                  <a:pt x="544" y="275"/>
                  <a:pt x="543" y="274"/>
                </a:cubicBezTo>
                <a:close/>
                <a:moveTo>
                  <a:pt x="503" y="289"/>
                </a:moveTo>
                <a:cubicBezTo>
                  <a:pt x="503" y="289"/>
                  <a:pt x="503" y="289"/>
                  <a:pt x="503" y="288"/>
                </a:cubicBezTo>
                <a:cubicBezTo>
                  <a:pt x="503" y="288"/>
                  <a:pt x="503" y="288"/>
                  <a:pt x="502" y="287"/>
                </a:cubicBezTo>
                <a:cubicBezTo>
                  <a:pt x="502" y="287"/>
                  <a:pt x="502" y="287"/>
                  <a:pt x="502" y="288"/>
                </a:cubicBezTo>
                <a:cubicBezTo>
                  <a:pt x="502" y="288"/>
                  <a:pt x="502" y="288"/>
                  <a:pt x="501" y="289"/>
                </a:cubicBezTo>
                <a:cubicBezTo>
                  <a:pt x="501" y="289"/>
                  <a:pt x="501" y="289"/>
                  <a:pt x="502" y="289"/>
                </a:cubicBezTo>
                <a:cubicBezTo>
                  <a:pt x="502" y="289"/>
                  <a:pt x="502" y="289"/>
                  <a:pt x="503" y="289"/>
                </a:cubicBezTo>
                <a:close/>
                <a:moveTo>
                  <a:pt x="502" y="277"/>
                </a:moveTo>
                <a:cubicBezTo>
                  <a:pt x="502" y="277"/>
                  <a:pt x="502" y="277"/>
                  <a:pt x="503" y="278"/>
                </a:cubicBezTo>
                <a:cubicBezTo>
                  <a:pt x="503" y="278"/>
                  <a:pt x="503" y="278"/>
                  <a:pt x="504" y="277"/>
                </a:cubicBezTo>
                <a:cubicBezTo>
                  <a:pt x="504" y="277"/>
                  <a:pt x="504" y="277"/>
                  <a:pt x="503" y="277"/>
                </a:cubicBezTo>
                <a:cubicBezTo>
                  <a:pt x="503" y="277"/>
                  <a:pt x="503" y="277"/>
                  <a:pt x="502" y="277"/>
                </a:cubicBezTo>
                <a:close/>
                <a:moveTo>
                  <a:pt x="596" y="342"/>
                </a:moveTo>
                <a:cubicBezTo>
                  <a:pt x="596" y="342"/>
                  <a:pt x="596" y="342"/>
                  <a:pt x="597" y="342"/>
                </a:cubicBezTo>
                <a:cubicBezTo>
                  <a:pt x="597" y="342"/>
                  <a:pt x="597" y="342"/>
                  <a:pt x="597" y="341"/>
                </a:cubicBezTo>
                <a:cubicBezTo>
                  <a:pt x="597" y="341"/>
                  <a:pt x="597" y="341"/>
                  <a:pt x="595" y="341"/>
                </a:cubicBezTo>
                <a:cubicBezTo>
                  <a:pt x="595" y="341"/>
                  <a:pt x="595" y="341"/>
                  <a:pt x="595" y="343"/>
                </a:cubicBezTo>
                <a:cubicBezTo>
                  <a:pt x="595" y="343"/>
                  <a:pt x="595" y="343"/>
                  <a:pt x="596" y="342"/>
                </a:cubicBezTo>
                <a:close/>
                <a:moveTo>
                  <a:pt x="431" y="323"/>
                </a:moveTo>
                <a:cubicBezTo>
                  <a:pt x="431" y="323"/>
                  <a:pt x="431" y="323"/>
                  <a:pt x="431" y="322"/>
                </a:cubicBezTo>
                <a:cubicBezTo>
                  <a:pt x="431" y="322"/>
                  <a:pt x="431" y="322"/>
                  <a:pt x="431" y="321"/>
                </a:cubicBezTo>
                <a:cubicBezTo>
                  <a:pt x="431" y="321"/>
                  <a:pt x="431" y="321"/>
                  <a:pt x="430" y="322"/>
                </a:cubicBezTo>
                <a:cubicBezTo>
                  <a:pt x="430" y="322"/>
                  <a:pt x="430" y="322"/>
                  <a:pt x="431" y="323"/>
                </a:cubicBezTo>
                <a:close/>
                <a:moveTo>
                  <a:pt x="469" y="215"/>
                </a:moveTo>
                <a:cubicBezTo>
                  <a:pt x="469" y="215"/>
                  <a:pt x="469" y="215"/>
                  <a:pt x="469" y="213"/>
                </a:cubicBezTo>
                <a:cubicBezTo>
                  <a:pt x="469" y="213"/>
                  <a:pt x="469" y="213"/>
                  <a:pt x="468" y="212"/>
                </a:cubicBezTo>
                <a:cubicBezTo>
                  <a:pt x="468" y="212"/>
                  <a:pt x="468" y="212"/>
                  <a:pt x="467" y="213"/>
                </a:cubicBezTo>
                <a:cubicBezTo>
                  <a:pt x="467" y="213"/>
                  <a:pt x="467" y="213"/>
                  <a:pt x="464" y="217"/>
                </a:cubicBezTo>
                <a:cubicBezTo>
                  <a:pt x="464" y="217"/>
                  <a:pt x="464" y="217"/>
                  <a:pt x="465" y="218"/>
                </a:cubicBezTo>
                <a:cubicBezTo>
                  <a:pt x="465" y="218"/>
                  <a:pt x="465" y="218"/>
                  <a:pt x="466" y="218"/>
                </a:cubicBezTo>
                <a:cubicBezTo>
                  <a:pt x="466" y="218"/>
                  <a:pt x="466" y="218"/>
                  <a:pt x="467" y="218"/>
                </a:cubicBezTo>
                <a:cubicBezTo>
                  <a:pt x="467" y="218"/>
                  <a:pt x="467" y="218"/>
                  <a:pt x="467" y="219"/>
                </a:cubicBezTo>
                <a:cubicBezTo>
                  <a:pt x="467" y="219"/>
                  <a:pt x="467" y="219"/>
                  <a:pt x="468" y="220"/>
                </a:cubicBezTo>
                <a:cubicBezTo>
                  <a:pt x="468" y="220"/>
                  <a:pt x="468" y="220"/>
                  <a:pt x="468" y="217"/>
                </a:cubicBezTo>
                <a:cubicBezTo>
                  <a:pt x="468" y="217"/>
                  <a:pt x="468" y="217"/>
                  <a:pt x="469" y="215"/>
                </a:cubicBezTo>
                <a:close/>
                <a:moveTo>
                  <a:pt x="452" y="276"/>
                </a:moveTo>
                <a:cubicBezTo>
                  <a:pt x="453" y="276"/>
                  <a:pt x="453" y="276"/>
                  <a:pt x="453" y="276"/>
                </a:cubicBezTo>
                <a:cubicBezTo>
                  <a:pt x="452" y="275"/>
                  <a:pt x="452" y="275"/>
                  <a:pt x="452" y="275"/>
                </a:cubicBezTo>
                <a:cubicBezTo>
                  <a:pt x="452" y="276"/>
                  <a:pt x="452" y="276"/>
                  <a:pt x="452" y="276"/>
                </a:cubicBezTo>
                <a:close/>
                <a:moveTo>
                  <a:pt x="604" y="340"/>
                </a:moveTo>
                <a:cubicBezTo>
                  <a:pt x="604" y="340"/>
                  <a:pt x="604" y="340"/>
                  <a:pt x="602" y="342"/>
                </a:cubicBezTo>
                <a:cubicBezTo>
                  <a:pt x="602" y="342"/>
                  <a:pt x="602" y="342"/>
                  <a:pt x="602" y="343"/>
                </a:cubicBezTo>
                <a:cubicBezTo>
                  <a:pt x="602" y="343"/>
                  <a:pt x="602" y="343"/>
                  <a:pt x="603" y="342"/>
                </a:cubicBezTo>
                <a:cubicBezTo>
                  <a:pt x="603" y="342"/>
                  <a:pt x="603" y="342"/>
                  <a:pt x="604" y="341"/>
                </a:cubicBezTo>
                <a:cubicBezTo>
                  <a:pt x="604" y="341"/>
                  <a:pt x="604" y="341"/>
                  <a:pt x="604" y="340"/>
                </a:cubicBezTo>
                <a:close/>
                <a:moveTo>
                  <a:pt x="607" y="346"/>
                </a:moveTo>
                <a:cubicBezTo>
                  <a:pt x="607" y="346"/>
                  <a:pt x="607" y="346"/>
                  <a:pt x="606" y="347"/>
                </a:cubicBezTo>
                <a:cubicBezTo>
                  <a:pt x="606" y="347"/>
                  <a:pt x="606" y="347"/>
                  <a:pt x="605" y="348"/>
                </a:cubicBezTo>
                <a:cubicBezTo>
                  <a:pt x="605" y="348"/>
                  <a:pt x="605" y="348"/>
                  <a:pt x="605" y="349"/>
                </a:cubicBezTo>
                <a:cubicBezTo>
                  <a:pt x="605" y="349"/>
                  <a:pt x="605" y="349"/>
                  <a:pt x="604" y="350"/>
                </a:cubicBezTo>
                <a:cubicBezTo>
                  <a:pt x="604" y="350"/>
                  <a:pt x="604" y="350"/>
                  <a:pt x="604" y="351"/>
                </a:cubicBezTo>
                <a:cubicBezTo>
                  <a:pt x="604" y="351"/>
                  <a:pt x="604" y="351"/>
                  <a:pt x="607" y="350"/>
                </a:cubicBezTo>
                <a:cubicBezTo>
                  <a:pt x="607" y="350"/>
                  <a:pt x="607" y="350"/>
                  <a:pt x="605" y="351"/>
                </a:cubicBezTo>
                <a:cubicBezTo>
                  <a:pt x="605" y="351"/>
                  <a:pt x="605" y="351"/>
                  <a:pt x="605" y="353"/>
                </a:cubicBezTo>
                <a:cubicBezTo>
                  <a:pt x="605" y="353"/>
                  <a:pt x="605" y="353"/>
                  <a:pt x="607" y="352"/>
                </a:cubicBezTo>
                <a:cubicBezTo>
                  <a:pt x="607" y="352"/>
                  <a:pt x="607" y="352"/>
                  <a:pt x="609" y="349"/>
                </a:cubicBezTo>
                <a:cubicBezTo>
                  <a:pt x="609" y="349"/>
                  <a:pt x="609" y="349"/>
                  <a:pt x="608" y="348"/>
                </a:cubicBezTo>
                <a:cubicBezTo>
                  <a:pt x="608" y="348"/>
                  <a:pt x="608" y="348"/>
                  <a:pt x="609" y="347"/>
                </a:cubicBezTo>
                <a:cubicBezTo>
                  <a:pt x="609" y="347"/>
                  <a:pt x="609" y="347"/>
                  <a:pt x="608" y="346"/>
                </a:cubicBezTo>
                <a:cubicBezTo>
                  <a:pt x="608" y="346"/>
                  <a:pt x="608" y="346"/>
                  <a:pt x="607" y="346"/>
                </a:cubicBezTo>
                <a:close/>
                <a:moveTo>
                  <a:pt x="344" y="343"/>
                </a:moveTo>
                <a:cubicBezTo>
                  <a:pt x="343" y="342"/>
                  <a:pt x="343" y="342"/>
                  <a:pt x="343" y="342"/>
                </a:cubicBezTo>
                <a:cubicBezTo>
                  <a:pt x="342" y="343"/>
                  <a:pt x="342" y="343"/>
                  <a:pt x="342" y="343"/>
                </a:cubicBezTo>
                <a:cubicBezTo>
                  <a:pt x="342" y="344"/>
                  <a:pt x="342" y="344"/>
                  <a:pt x="342" y="344"/>
                </a:cubicBezTo>
                <a:cubicBezTo>
                  <a:pt x="341" y="344"/>
                  <a:pt x="341" y="344"/>
                  <a:pt x="341" y="344"/>
                </a:cubicBezTo>
                <a:cubicBezTo>
                  <a:pt x="340" y="345"/>
                  <a:pt x="340" y="345"/>
                  <a:pt x="340" y="345"/>
                </a:cubicBezTo>
                <a:cubicBezTo>
                  <a:pt x="339" y="345"/>
                  <a:pt x="339" y="345"/>
                  <a:pt x="339" y="345"/>
                </a:cubicBezTo>
                <a:cubicBezTo>
                  <a:pt x="338" y="345"/>
                  <a:pt x="338" y="345"/>
                  <a:pt x="338" y="345"/>
                </a:cubicBezTo>
                <a:cubicBezTo>
                  <a:pt x="338" y="346"/>
                  <a:pt x="338" y="346"/>
                  <a:pt x="338" y="346"/>
                </a:cubicBezTo>
                <a:cubicBezTo>
                  <a:pt x="339" y="346"/>
                  <a:pt x="339" y="346"/>
                  <a:pt x="339" y="346"/>
                </a:cubicBezTo>
                <a:cubicBezTo>
                  <a:pt x="340" y="346"/>
                  <a:pt x="340" y="346"/>
                  <a:pt x="340" y="346"/>
                </a:cubicBezTo>
                <a:cubicBezTo>
                  <a:pt x="342" y="345"/>
                  <a:pt x="342" y="345"/>
                  <a:pt x="342" y="345"/>
                </a:cubicBezTo>
                <a:cubicBezTo>
                  <a:pt x="343" y="346"/>
                  <a:pt x="343" y="346"/>
                  <a:pt x="343" y="346"/>
                </a:cubicBezTo>
                <a:cubicBezTo>
                  <a:pt x="343" y="345"/>
                  <a:pt x="343" y="345"/>
                  <a:pt x="343" y="345"/>
                </a:cubicBezTo>
                <a:cubicBezTo>
                  <a:pt x="344" y="344"/>
                  <a:pt x="344" y="344"/>
                  <a:pt x="344" y="344"/>
                </a:cubicBezTo>
                <a:cubicBezTo>
                  <a:pt x="344" y="343"/>
                  <a:pt x="344" y="343"/>
                  <a:pt x="344" y="343"/>
                </a:cubicBezTo>
                <a:close/>
                <a:moveTo>
                  <a:pt x="599" y="356"/>
                </a:moveTo>
                <a:cubicBezTo>
                  <a:pt x="599" y="356"/>
                  <a:pt x="599" y="356"/>
                  <a:pt x="600" y="356"/>
                </a:cubicBezTo>
                <a:cubicBezTo>
                  <a:pt x="600" y="356"/>
                  <a:pt x="600" y="356"/>
                  <a:pt x="599" y="355"/>
                </a:cubicBezTo>
                <a:cubicBezTo>
                  <a:pt x="599" y="355"/>
                  <a:pt x="599" y="355"/>
                  <a:pt x="599" y="354"/>
                </a:cubicBezTo>
                <a:cubicBezTo>
                  <a:pt x="599" y="354"/>
                  <a:pt x="599" y="354"/>
                  <a:pt x="600" y="354"/>
                </a:cubicBezTo>
                <a:cubicBezTo>
                  <a:pt x="600" y="354"/>
                  <a:pt x="600" y="354"/>
                  <a:pt x="601" y="353"/>
                </a:cubicBezTo>
                <a:cubicBezTo>
                  <a:pt x="601" y="353"/>
                  <a:pt x="601" y="353"/>
                  <a:pt x="601" y="352"/>
                </a:cubicBezTo>
                <a:cubicBezTo>
                  <a:pt x="601" y="352"/>
                  <a:pt x="601" y="352"/>
                  <a:pt x="600" y="352"/>
                </a:cubicBezTo>
                <a:cubicBezTo>
                  <a:pt x="600" y="352"/>
                  <a:pt x="600" y="352"/>
                  <a:pt x="601" y="351"/>
                </a:cubicBezTo>
                <a:cubicBezTo>
                  <a:pt x="601" y="351"/>
                  <a:pt x="601" y="351"/>
                  <a:pt x="601" y="350"/>
                </a:cubicBezTo>
                <a:cubicBezTo>
                  <a:pt x="601" y="350"/>
                  <a:pt x="601" y="350"/>
                  <a:pt x="599" y="349"/>
                </a:cubicBezTo>
                <a:cubicBezTo>
                  <a:pt x="599" y="349"/>
                  <a:pt x="599" y="349"/>
                  <a:pt x="600" y="348"/>
                </a:cubicBezTo>
                <a:cubicBezTo>
                  <a:pt x="600" y="348"/>
                  <a:pt x="600" y="348"/>
                  <a:pt x="601" y="348"/>
                </a:cubicBezTo>
                <a:cubicBezTo>
                  <a:pt x="601" y="348"/>
                  <a:pt x="601" y="348"/>
                  <a:pt x="601" y="347"/>
                </a:cubicBezTo>
                <a:cubicBezTo>
                  <a:pt x="601" y="347"/>
                  <a:pt x="601" y="347"/>
                  <a:pt x="600" y="346"/>
                </a:cubicBezTo>
                <a:cubicBezTo>
                  <a:pt x="600" y="346"/>
                  <a:pt x="600" y="346"/>
                  <a:pt x="601" y="346"/>
                </a:cubicBezTo>
                <a:cubicBezTo>
                  <a:pt x="601" y="346"/>
                  <a:pt x="601" y="346"/>
                  <a:pt x="601" y="344"/>
                </a:cubicBezTo>
                <a:cubicBezTo>
                  <a:pt x="601" y="344"/>
                  <a:pt x="601" y="344"/>
                  <a:pt x="599" y="343"/>
                </a:cubicBezTo>
                <a:cubicBezTo>
                  <a:pt x="599" y="343"/>
                  <a:pt x="599" y="343"/>
                  <a:pt x="598" y="343"/>
                </a:cubicBezTo>
                <a:cubicBezTo>
                  <a:pt x="598" y="343"/>
                  <a:pt x="598" y="343"/>
                  <a:pt x="599" y="342"/>
                </a:cubicBezTo>
                <a:cubicBezTo>
                  <a:pt x="599" y="342"/>
                  <a:pt x="599" y="342"/>
                  <a:pt x="599" y="341"/>
                </a:cubicBezTo>
                <a:cubicBezTo>
                  <a:pt x="599" y="341"/>
                  <a:pt x="599" y="341"/>
                  <a:pt x="599" y="339"/>
                </a:cubicBezTo>
                <a:cubicBezTo>
                  <a:pt x="599" y="339"/>
                  <a:pt x="599" y="339"/>
                  <a:pt x="597" y="339"/>
                </a:cubicBezTo>
                <a:cubicBezTo>
                  <a:pt x="597" y="339"/>
                  <a:pt x="597" y="339"/>
                  <a:pt x="597" y="340"/>
                </a:cubicBezTo>
                <a:cubicBezTo>
                  <a:pt x="597" y="340"/>
                  <a:pt x="597" y="340"/>
                  <a:pt x="598" y="341"/>
                </a:cubicBezTo>
                <a:cubicBezTo>
                  <a:pt x="598" y="341"/>
                  <a:pt x="598" y="341"/>
                  <a:pt x="598" y="342"/>
                </a:cubicBezTo>
                <a:cubicBezTo>
                  <a:pt x="598" y="342"/>
                  <a:pt x="598" y="342"/>
                  <a:pt x="597" y="344"/>
                </a:cubicBezTo>
                <a:cubicBezTo>
                  <a:pt x="597" y="344"/>
                  <a:pt x="597" y="344"/>
                  <a:pt x="597" y="345"/>
                </a:cubicBezTo>
                <a:cubicBezTo>
                  <a:pt x="597" y="345"/>
                  <a:pt x="597" y="345"/>
                  <a:pt x="597" y="346"/>
                </a:cubicBezTo>
                <a:cubicBezTo>
                  <a:pt x="597" y="346"/>
                  <a:pt x="597" y="346"/>
                  <a:pt x="596" y="346"/>
                </a:cubicBezTo>
                <a:cubicBezTo>
                  <a:pt x="596" y="346"/>
                  <a:pt x="596" y="346"/>
                  <a:pt x="596" y="347"/>
                </a:cubicBezTo>
                <a:cubicBezTo>
                  <a:pt x="596" y="347"/>
                  <a:pt x="596" y="347"/>
                  <a:pt x="597" y="347"/>
                </a:cubicBezTo>
                <a:cubicBezTo>
                  <a:pt x="597" y="347"/>
                  <a:pt x="597" y="347"/>
                  <a:pt x="597" y="348"/>
                </a:cubicBezTo>
                <a:cubicBezTo>
                  <a:pt x="597" y="348"/>
                  <a:pt x="597" y="348"/>
                  <a:pt x="596" y="349"/>
                </a:cubicBezTo>
                <a:cubicBezTo>
                  <a:pt x="596" y="349"/>
                  <a:pt x="596" y="349"/>
                  <a:pt x="596" y="350"/>
                </a:cubicBezTo>
                <a:cubicBezTo>
                  <a:pt x="596" y="350"/>
                  <a:pt x="596" y="350"/>
                  <a:pt x="595" y="350"/>
                </a:cubicBezTo>
                <a:cubicBezTo>
                  <a:pt x="595" y="350"/>
                  <a:pt x="595" y="350"/>
                  <a:pt x="595" y="351"/>
                </a:cubicBezTo>
                <a:cubicBezTo>
                  <a:pt x="595" y="351"/>
                  <a:pt x="595" y="351"/>
                  <a:pt x="596" y="351"/>
                </a:cubicBezTo>
                <a:cubicBezTo>
                  <a:pt x="596" y="351"/>
                  <a:pt x="596" y="351"/>
                  <a:pt x="596" y="352"/>
                </a:cubicBezTo>
                <a:cubicBezTo>
                  <a:pt x="596" y="352"/>
                  <a:pt x="596" y="352"/>
                  <a:pt x="597" y="351"/>
                </a:cubicBezTo>
                <a:cubicBezTo>
                  <a:pt x="597" y="351"/>
                  <a:pt x="597" y="351"/>
                  <a:pt x="598" y="351"/>
                </a:cubicBezTo>
                <a:cubicBezTo>
                  <a:pt x="598" y="351"/>
                  <a:pt x="598" y="351"/>
                  <a:pt x="598" y="352"/>
                </a:cubicBezTo>
                <a:cubicBezTo>
                  <a:pt x="598" y="352"/>
                  <a:pt x="598" y="352"/>
                  <a:pt x="597" y="352"/>
                </a:cubicBezTo>
                <a:cubicBezTo>
                  <a:pt x="597" y="352"/>
                  <a:pt x="597" y="352"/>
                  <a:pt x="597" y="353"/>
                </a:cubicBezTo>
                <a:cubicBezTo>
                  <a:pt x="597" y="353"/>
                  <a:pt x="597" y="353"/>
                  <a:pt x="598" y="354"/>
                </a:cubicBezTo>
                <a:cubicBezTo>
                  <a:pt x="598" y="354"/>
                  <a:pt x="598" y="354"/>
                  <a:pt x="597" y="355"/>
                </a:cubicBezTo>
                <a:cubicBezTo>
                  <a:pt x="597" y="355"/>
                  <a:pt x="597" y="355"/>
                  <a:pt x="598" y="356"/>
                </a:cubicBezTo>
                <a:cubicBezTo>
                  <a:pt x="598" y="356"/>
                  <a:pt x="598" y="356"/>
                  <a:pt x="597" y="357"/>
                </a:cubicBezTo>
                <a:cubicBezTo>
                  <a:pt x="597" y="357"/>
                  <a:pt x="597" y="357"/>
                  <a:pt x="598" y="358"/>
                </a:cubicBezTo>
                <a:cubicBezTo>
                  <a:pt x="598" y="358"/>
                  <a:pt x="598" y="358"/>
                  <a:pt x="599" y="358"/>
                </a:cubicBezTo>
                <a:cubicBezTo>
                  <a:pt x="599" y="358"/>
                  <a:pt x="599" y="358"/>
                  <a:pt x="600" y="357"/>
                </a:cubicBezTo>
                <a:cubicBezTo>
                  <a:pt x="600" y="357"/>
                  <a:pt x="600" y="357"/>
                  <a:pt x="599" y="356"/>
                </a:cubicBezTo>
                <a:close/>
                <a:moveTo>
                  <a:pt x="457" y="277"/>
                </a:moveTo>
                <a:cubicBezTo>
                  <a:pt x="457" y="277"/>
                  <a:pt x="457" y="277"/>
                  <a:pt x="457" y="278"/>
                </a:cubicBezTo>
                <a:cubicBezTo>
                  <a:pt x="457" y="278"/>
                  <a:pt x="457" y="278"/>
                  <a:pt x="458" y="277"/>
                </a:cubicBezTo>
                <a:cubicBezTo>
                  <a:pt x="458" y="277"/>
                  <a:pt x="458" y="277"/>
                  <a:pt x="459" y="276"/>
                </a:cubicBezTo>
                <a:cubicBezTo>
                  <a:pt x="459" y="276"/>
                  <a:pt x="459" y="276"/>
                  <a:pt x="459" y="275"/>
                </a:cubicBezTo>
                <a:cubicBezTo>
                  <a:pt x="459" y="275"/>
                  <a:pt x="459" y="275"/>
                  <a:pt x="458" y="276"/>
                </a:cubicBezTo>
                <a:cubicBezTo>
                  <a:pt x="458" y="276"/>
                  <a:pt x="458" y="276"/>
                  <a:pt x="457" y="277"/>
                </a:cubicBezTo>
                <a:close/>
                <a:moveTo>
                  <a:pt x="460" y="277"/>
                </a:moveTo>
                <a:cubicBezTo>
                  <a:pt x="460" y="277"/>
                  <a:pt x="460" y="277"/>
                  <a:pt x="461" y="276"/>
                </a:cubicBezTo>
                <a:cubicBezTo>
                  <a:pt x="461" y="276"/>
                  <a:pt x="461" y="276"/>
                  <a:pt x="459" y="277"/>
                </a:cubicBezTo>
                <a:cubicBezTo>
                  <a:pt x="459" y="277"/>
                  <a:pt x="459" y="277"/>
                  <a:pt x="460" y="277"/>
                </a:cubicBezTo>
                <a:close/>
                <a:moveTo>
                  <a:pt x="485" y="208"/>
                </a:moveTo>
                <a:cubicBezTo>
                  <a:pt x="485" y="208"/>
                  <a:pt x="485" y="208"/>
                  <a:pt x="484" y="207"/>
                </a:cubicBezTo>
                <a:cubicBezTo>
                  <a:pt x="484" y="207"/>
                  <a:pt x="484" y="207"/>
                  <a:pt x="483" y="207"/>
                </a:cubicBezTo>
                <a:cubicBezTo>
                  <a:pt x="483" y="207"/>
                  <a:pt x="483" y="207"/>
                  <a:pt x="482" y="207"/>
                </a:cubicBezTo>
                <a:cubicBezTo>
                  <a:pt x="482" y="207"/>
                  <a:pt x="482" y="207"/>
                  <a:pt x="484" y="209"/>
                </a:cubicBezTo>
                <a:cubicBezTo>
                  <a:pt x="484" y="209"/>
                  <a:pt x="484" y="209"/>
                  <a:pt x="485" y="208"/>
                </a:cubicBezTo>
                <a:close/>
                <a:moveTo>
                  <a:pt x="515" y="161"/>
                </a:moveTo>
                <a:cubicBezTo>
                  <a:pt x="514" y="162"/>
                  <a:pt x="514" y="162"/>
                  <a:pt x="514" y="162"/>
                </a:cubicBezTo>
                <a:cubicBezTo>
                  <a:pt x="514" y="166"/>
                  <a:pt x="514" y="166"/>
                  <a:pt x="514" y="166"/>
                </a:cubicBezTo>
                <a:cubicBezTo>
                  <a:pt x="516" y="162"/>
                  <a:pt x="516" y="162"/>
                  <a:pt x="516" y="162"/>
                </a:cubicBezTo>
                <a:cubicBezTo>
                  <a:pt x="515" y="161"/>
                  <a:pt x="515" y="161"/>
                  <a:pt x="515" y="161"/>
                </a:cubicBezTo>
                <a:close/>
                <a:moveTo>
                  <a:pt x="518" y="266"/>
                </a:moveTo>
                <a:cubicBezTo>
                  <a:pt x="518" y="266"/>
                  <a:pt x="518" y="266"/>
                  <a:pt x="517" y="266"/>
                </a:cubicBezTo>
                <a:cubicBezTo>
                  <a:pt x="517" y="266"/>
                  <a:pt x="517" y="266"/>
                  <a:pt x="515" y="268"/>
                </a:cubicBezTo>
                <a:cubicBezTo>
                  <a:pt x="515" y="268"/>
                  <a:pt x="515" y="268"/>
                  <a:pt x="516" y="268"/>
                </a:cubicBezTo>
                <a:cubicBezTo>
                  <a:pt x="516" y="268"/>
                  <a:pt x="516" y="268"/>
                  <a:pt x="518" y="267"/>
                </a:cubicBezTo>
                <a:cubicBezTo>
                  <a:pt x="518" y="267"/>
                  <a:pt x="518" y="267"/>
                  <a:pt x="518" y="266"/>
                </a:cubicBezTo>
                <a:close/>
                <a:moveTo>
                  <a:pt x="475" y="213"/>
                </a:moveTo>
                <a:cubicBezTo>
                  <a:pt x="475" y="213"/>
                  <a:pt x="475" y="213"/>
                  <a:pt x="475" y="212"/>
                </a:cubicBezTo>
                <a:cubicBezTo>
                  <a:pt x="475" y="212"/>
                  <a:pt x="475" y="212"/>
                  <a:pt x="472" y="211"/>
                </a:cubicBezTo>
                <a:cubicBezTo>
                  <a:pt x="472" y="211"/>
                  <a:pt x="472" y="211"/>
                  <a:pt x="470" y="211"/>
                </a:cubicBezTo>
                <a:cubicBezTo>
                  <a:pt x="470" y="211"/>
                  <a:pt x="470" y="211"/>
                  <a:pt x="469" y="211"/>
                </a:cubicBezTo>
                <a:cubicBezTo>
                  <a:pt x="469" y="211"/>
                  <a:pt x="469" y="211"/>
                  <a:pt x="470" y="212"/>
                </a:cubicBezTo>
                <a:cubicBezTo>
                  <a:pt x="470" y="212"/>
                  <a:pt x="470" y="212"/>
                  <a:pt x="470" y="213"/>
                </a:cubicBezTo>
                <a:cubicBezTo>
                  <a:pt x="470" y="213"/>
                  <a:pt x="470" y="213"/>
                  <a:pt x="471" y="214"/>
                </a:cubicBezTo>
                <a:cubicBezTo>
                  <a:pt x="471" y="214"/>
                  <a:pt x="471" y="214"/>
                  <a:pt x="471" y="215"/>
                </a:cubicBezTo>
                <a:cubicBezTo>
                  <a:pt x="470" y="215"/>
                  <a:pt x="470" y="215"/>
                  <a:pt x="470" y="215"/>
                </a:cubicBezTo>
                <a:cubicBezTo>
                  <a:pt x="470" y="215"/>
                  <a:pt x="470" y="215"/>
                  <a:pt x="471" y="216"/>
                </a:cubicBezTo>
                <a:cubicBezTo>
                  <a:pt x="471" y="216"/>
                  <a:pt x="471" y="216"/>
                  <a:pt x="473" y="213"/>
                </a:cubicBezTo>
                <a:cubicBezTo>
                  <a:pt x="473" y="213"/>
                  <a:pt x="473" y="213"/>
                  <a:pt x="475" y="213"/>
                </a:cubicBezTo>
                <a:close/>
                <a:moveTo>
                  <a:pt x="595" y="357"/>
                </a:moveTo>
                <a:cubicBezTo>
                  <a:pt x="595" y="357"/>
                  <a:pt x="595" y="357"/>
                  <a:pt x="594" y="355"/>
                </a:cubicBezTo>
                <a:cubicBezTo>
                  <a:pt x="594" y="355"/>
                  <a:pt x="594" y="355"/>
                  <a:pt x="594" y="354"/>
                </a:cubicBezTo>
                <a:cubicBezTo>
                  <a:pt x="594" y="354"/>
                  <a:pt x="594" y="354"/>
                  <a:pt x="593" y="354"/>
                </a:cubicBezTo>
                <a:cubicBezTo>
                  <a:pt x="593" y="354"/>
                  <a:pt x="593" y="354"/>
                  <a:pt x="593" y="355"/>
                </a:cubicBezTo>
                <a:cubicBezTo>
                  <a:pt x="593" y="355"/>
                  <a:pt x="593" y="355"/>
                  <a:pt x="593" y="356"/>
                </a:cubicBezTo>
                <a:cubicBezTo>
                  <a:pt x="593" y="356"/>
                  <a:pt x="593" y="356"/>
                  <a:pt x="594" y="358"/>
                </a:cubicBezTo>
                <a:cubicBezTo>
                  <a:pt x="594" y="358"/>
                  <a:pt x="594" y="358"/>
                  <a:pt x="595" y="357"/>
                </a:cubicBezTo>
                <a:close/>
                <a:moveTo>
                  <a:pt x="595" y="339"/>
                </a:moveTo>
                <a:cubicBezTo>
                  <a:pt x="595" y="339"/>
                  <a:pt x="595" y="339"/>
                  <a:pt x="597" y="337"/>
                </a:cubicBezTo>
                <a:cubicBezTo>
                  <a:pt x="597" y="337"/>
                  <a:pt x="597" y="337"/>
                  <a:pt x="598" y="334"/>
                </a:cubicBezTo>
                <a:cubicBezTo>
                  <a:pt x="598" y="334"/>
                  <a:pt x="598" y="334"/>
                  <a:pt x="597" y="334"/>
                </a:cubicBezTo>
                <a:cubicBezTo>
                  <a:pt x="597" y="334"/>
                  <a:pt x="597" y="334"/>
                  <a:pt x="597" y="333"/>
                </a:cubicBezTo>
                <a:cubicBezTo>
                  <a:pt x="597" y="333"/>
                  <a:pt x="597" y="333"/>
                  <a:pt x="597" y="332"/>
                </a:cubicBezTo>
                <a:cubicBezTo>
                  <a:pt x="597" y="332"/>
                  <a:pt x="597" y="332"/>
                  <a:pt x="596" y="331"/>
                </a:cubicBezTo>
                <a:cubicBezTo>
                  <a:pt x="596" y="331"/>
                  <a:pt x="596" y="331"/>
                  <a:pt x="596" y="332"/>
                </a:cubicBezTo>
                <a:cubicBezTo>
                  <a:pt x="596" y="332"/>
                  <a:pt x="596" y="332"/>
                  <a:pt x="595" y="332"/>
                </a:cubicBezTo>
                <a:cubicBezTo>
                  <a:pt x="595" y="332"/>
                  <a:pt x="595" y="332"/>
                  <a:pt x="594" y="333"/>
                </a:cubicBezTo>
                <a:cubicBezTo>
                  <a:pt x="594" y="333"/>
                  <a:pt x="594" y="333"/>
                  <a:pt x="594" y="334"/>
                </a:cubicBezTo>
                <a:cubicBezTo>
                  <a:pt x="594" y="334"/>
                  <a:pt x="594" y="334"/>
                  <a:pt x="595" y="334"/>
                </a:cubicBezTo>
                <a:cubicBezTo>
                  <a:pt x="595" y="334"/>
                  <a:pt x="595" y="334"/>
                  <a:pt x="594" y="336"/>
                </a:cubicBezTo>
                <a:cubicBezTo>
                  <a:pt x="594" y="336"/>
                  <a:pt x="594" y="336"/>
                  <a:pt x="595" y="336"/>
                </a:cubicBezTo>
                <a:cubicBezTo>
                  <a:pt x="595" y="336"/>
                  <a:pt x="595" y="336"/>
                  <a:pt x="595" y="337"/>
                </a:cubicBezTo>
                <a:cubicBezTo>
                  <a:pt x="595" y="337"/>
                  <a:pt x="595" y="337"/>
                  <a:pt x="594" y="338"/>
                </a:cubicBezTo>
                <a:cubicBezTo>
                  <a:pt x="594" y="338"/>
                  <a:pt x="594" y="338"/>
                  <a:pt x="593" y="337"/>
                </a:cubicBezTo>
                <a:cubicBezTo>
                  <a:pt x="593" y="337"/>
                  <a:pt x="593" y="337"/>
                  <a:pt x="593" y="338"/>
                </a:cubicBezTo>
                <a:cubicBezTo>
                  <a:pt x="593" y="338"/>
                  <a:pt x="593" y="338"/>
                  <a:pt x="593" y="339"/>
                </a:cubicBezTo>
                <a:cubicBezTo>
                  <a:pt x="593" y="339"/>
                  <a:pt x="593" y="339"/>
                  <a:pt x="594" y="340"/>
                </a:cubicBezTo>
                <a:cubicBezTo>
                  <a:pt x="594" y="340"/>
                  <a:pt x="594" y="340"/>
                  <a:pt x="593" y="341"/>
                </a:cubicBezTo>
                <a:cubicBezTo>
                  <a:pt x="593" y="341"/>
                  <a:pt x="593" y="341"/>
                  <a:pt x="595" y="341"/>
                </a:cubicBezTo>
                <a:cubicBezTo>
                  <a:pt x="595" y="341"/>
                  <a:pt x="595" y="341"/>
                  <a:pt x="595" y="340"/>
                </a:cubicBezTo>
                <a:cubicBezTo>
                  <a:pt x="595" y="340"/>
                  <a:pt x="595" y="340"/>
                  <a:pt x="595" y="339"/>
                </a:cubicBezTo>
                <a:close/>
                <a:moveTo>
                  <a:pt x="465" y="310"/>
                </a:moveTo>
                <a:cubicBezTo>
                  <a:pt x="465" y="310"/>
                  <a:pt x="465" y="310"/>
                  <a:pt x="466" y="310"/>
                </a:cubicBezTo>
                <a:cubicBezTo>
                  <a:pt x="466" y="310"/>
                  <a:pt x="466" y="310"/>
                  <a:pt x="466" y="309"/>
                </a:cubicBezTo>
                <a:cubicBezTo>
                  <a:pt x="466" y="309"/>
                  <a:pt x="466" y="309"/>
                  <a:pt x="464" y="309"/>
                </a:cubicBezTo>
                <a:cubicBezTo>
                  <a:pt x="464" y="309"/>
                  <a:pt x="464" y="309"/>
                  <a:pt x="465" y="310"/>
                </a:cubicBezTo>
                <a:close/>
                <a:moveTo>
                  <a:pt x="592" y="340"/>
                </a:moveTo>
                <a:cubicBezTo>
                  <a:pt x="592" y="340"/>
                  <a:pt x="592" y="340"/>
                  <a:pt x="592" y="341"/>
                </a:cubicBezTo>
                <a:cubicBezTo>
                  <a:pt x="592" y="341"/>
                  <a:pt x="592" y="341"/>
                  <a:pt x="593" y="341"/>
                </a:cubicBezTo>
                <a:cubicBezTo>
                  <a:pt x="593" y="341"/>
                  <a:pt x="593" y="341"/>
                  <a:pt x="593" y="339"/>
                </a:cubicBezTo>
                <a:cubicBezTo>
                  <a:pt x="593" y="339"/>
                  <a:pt x="593" y="339"/>
                  <a:pt x="592" y="340"/>
                </a:cubicBezTo>
                <a:close/>
                <a:moveTo>
                  <a:pt x="601" y="331"/>
                </a:moveTo>
                <a:cubicBezTo>
                  <a:pt x="601" y="331"/>
                  <a:pt x="601" y="331"/>
                  <a:pt x="600" y="330"/>
                </a:cubicBezTo>
                <a:cubicBezTo>
                  <a:pt x="600" y="330"/>
                  <a:pt x="600" y="330"/>
                  <a:pt x="598" y="330"/>
                </a:cubicBezTo>
                <a:cubicBezTo>
                  <a:pt x="598" y="330"/>
                  <a:pt x="598" y="330"/>
                  <a:pt x="598" y="331"/>
                </a:cubicBezTo>
                <a:cubicBezTo>
                  <a:pt x="598" y="331"/>
                  <a:pt x="598" y="331"/>
                  <a:pt x="598" y="332"/>
                </a:cubicBezTo>
                <a:cubicBezTo>
                  <a:pt x="598" y="332"/>
                  <a:pt x="598" y="332"/>
                  <a:pt x="599" y="333"/>
                </a:cubicBezTo>
                <a:cubicBezTo>
                  <a:pt x="599" y="333"/>
                  <a:pt x="599" y="333"/>
                  <a:pt x="599" y="334"/>
                </a:cubicBezTo>
                <a:cubicBezTo>
                  <a:pt x="599" y="334"/>
                  <a:pt x="599" y="334"/>
                  <a:pt x="598" y="337"/>
                </a:cubicBezTo>
                <a:cubicBezTo>
                  <a:pt x="598" y="337"/>
                  <a:pt x="598" y="337"/>
                  <a:pt x="598" y="338"/>
                </a:cubicBezTo>
                <a:cubicBezTo>
                  <a:pt x="598" y="338"/>
                  <a:pt x="598" y="338"/>
                  <a:pt x="599" y="338"/>
                </a:cubicBezTo>
                <a:cubicBezTo>
                  <a:pt x="599" y="338"/>
                  <a:pt x="599" y="338"/>
                  <a:pt x="599" y="337"/>
                </a:cubicBezTo>
                <a:cubicBezTo>
                  <a:pt x="599" y="337"/>
                  <a:pt x="599" y="337"/>
                  <a:pt x="600" y="338"/>
                </a:cubicBezTo>
                <a:cubicBezTo>
                  <a:pt x="600" y="338"/>
                  <a:pt x="600" y="338"/>
                  <a:pt x="601" y="337"/>
                </a:cubicBezTo>
                <a:cubicBezTo>
                  <a:pt x="601" y="337"/>
                  <a:pt x="601" y="337"/>
                  <a:pt x="600" y="336"/>
                </a:cubicBezTo>
                <a:cubicBezTo>
                  <a:pt x="600" y="336"/>
                  <a:pt x="600" y="336"/>
                  <a:pt x="601" y="336"/>
                </a:cubicBezTo>
                <a:cubicBezTo>
                  <a:pt x="601" y="336"/>
                  <a:pt x="601" y="336"/>
                  <a:pt x="602" y="336"/>
                </a:cubicBezTo>
                <a:cubicBezTo>
                  <a:pt x="602" y="336"/>
                  <a:pt x="602" y="336"/>
                  <a:pt x="603" y="334"/>
                </a:cubicBezTo>
                <a:cubicBezTo>
                  <a:pt x="603" y="334"/>
                  <a:pt x="603" y="334"/>
                  <a:pt x="603" y="332"/>
                </a:cubicBezTo>
                <a:cubicBezTo>
                  <a:pt x="603" y="332"/>
                  <a:pt x="603" y="332"/>
                  <a:pt x="602" y="331"/>
                </a:cubicBezTo>
                <a:cubicBezTo>
                  <a:pt x="602" y="331"/>
                  <a:pt x="602" y="331"/>
                  <a:pt x="601" y="331"/>
                </a:cubicBezTo>
                <a:close/>
                <a:moveTo>
                  <a:pt x="605" y="336"/>
                </a:moveTo>
                <a:cubicBezTo>
                  <a:pt x="605" y="336"/>
                  <a:pt x="605" y="336"/>
                  <a:pt x="604" y="334"/>
                </a:cubicBezTo>
                <a:cubicBezTo>
                  <a:pt x="604" y="334"/>
                  <a:pt x="604" y="334"/>
                  <a:pt x="603" y="335"/>
                </a:cubicBezTo>
                <a:cubicBezTo>
                  <a:pt x="603" y="335"/>
                  <a:pt x="603" y="335"/>
                  <a:pt x="602" y="337"/>
                </a:cubicBezTo>
                <a:cubicBezTo>
                  <a:pt x="602" y="337"/>
                  <a:pt x="602" y="337"/>
                  <a:pt x="602" y="338"/>
                </a:cubicBezTo>
                <a:cubicBezTo>
                  <a:pt x="602" y="338"/>
                  <a:pt x="602" y="338"/>
                  <a:pt x="604" y="337"/>
                </a:cubicBezTo>
                <a:cubicBezTo>
                  <a:pt x="604" y="337"/>
                  <a:pt x="604" y="337"/>
                  <a:pt x="605" y="336"/>
                </a:cubicBezTo>
                <a:close/>
                <a:moveTo>
                  <a:pt x="603" y="340"/>
                </a:moveTo>
                <a:cubicBezTo>
                  <a:pt x="603" y="340"/>
                  <a:pt x="603" y="340"/>
                  <a:pt x="603" y="339"/>
                </a:cubicBezTo>
                <a:cubicBezTo>
                  <a:pt x="603" y="339"/>
                  <a:pt x="603" y="339"/>
                  <a:pt x="601" y="339"/>
                </a:cubicBezTo>
                <a:cubicBezTo>
                  <a:pt x="601" y="339"/>
                  <a:pt x="601" y="339"/>
                  <a:pt x="600" y="340"/>
                </a:cubicBezTo>
                <a:cubicBezTo>
                  <a:pt x="600" y="340"/>
                  <a:pt x="600" y="340"/>
                  <a:pt x="601" y="341"/>
                </a:cubicBezTo>
                <a:cubicBezTo>
                  <a:pt x="601" y="341"/>
                  <a:pt x="601" y="341"/>
                  <a:pt x="602" y="341"/>
                </a:cubicBezTo>
                <a:cubicBezTo>
                  <a:pt x="602" y="341"/>
                  <a:pt x="602" y="341"/>
                  <a:pt x="603" y="340"/>
                </a:cubicBezTo>
                <a:close/>
                <a:moveTo>
                  <a:pt x="604" y="356"/>
                </a:moveTo>
                <a:cubicBezTo>
                  <a:pt x="604" y="356"/>
                  <a:pt x="604" y="356"/>
                  <a:pt x="603" y="356"/>
                </a:cubicBezTo>
                <a:cubicBezTo>
                  <a:pt x="603" y="356"/>
                  <a:pt x="603" y="356"/>
                  <a:pt x="604" y="357"/>
                </a:cubicBezTo>
                <a:cubicBezTo>
                  <a:pt x="604" y="357"/>
                  <a:pt x="604" y="357"/>
                  <a:pt x="605" y="356"/>
                </a:cubicBezTo>
                <a:cubicBezTo>
                  <a:pt x="605" y="356"/>
                  <a:pt x="605" y="356"/>
                  <a:pt x="604" y="356"/>
                </a:cubicBezTo>
                <a:close/>
                <a:moveTo>
                  <a:pt x="592" y="349"/>
                </a:moveTo>
                <a:cubicBezTo>
                  <a:pt x="592" y="349"/>
                  <a:pt x="592" y="349"/>
                  <a:pt x="591" y="351"/>
                </a:cubicBezTo>
                <a:cubicBezTo>
                  <a:pt x="591" y="351"/>
                  <a:pt x="591" y="351"/>
                  <a:pt x="593" y="349"/>
                </a:cubicBezTo>
                <a:cubicBezTo>
                  <a:pt x="593" y="349"/>
                  <a:pt x="593" y="349"/>
                  <a:pt x="592" y="349"/>
                </a:cubicBezTo>
                <a:close/>
                <a:moveTo>
                  <a:pt x="595" y="345"/>
                </a:moveTo>
                <a:cubicBezTo>
                  <a:pt x="595" y="345"/>
                  <a:pt x="595" y="345"/>
                  <a:pt x="595" y="344"/>
                </a:cubicBezTo>
                <a:cubicBezTo>
                  <a:pt x="595" y="344"/>
                  <a:pt x="595" y="344"/>
                  <a:pt x="594" y="345"/>
                </a:cubicBezTo>
                <a:cubicBezTo>
                  <a:pt x="594" y="345"/>
                  <a:pt x="594" y="345"/>
                  <a:pt x="595" y="346"/>
                </a:cubicBezTo>
                <a:cubicBezTo>
                  <a:pt x="595" y="346"/>
                  <a:pt x="595" y="346"/>
                  <a:pt x="595" y="345"/>
                </a:cubicBezTo>
                <a:close/>
                <a:moveTo>
                  <a:pt x="593" y="352"/>
                </a:moveTo>
                <a:cubicBezTo>
                  <a:pt x="593" y="352"/>
                  <a:pt x="593" y="352"/>
                  <a:pt x="594" y="353"/>
                </a:cubicBezTo>
                <a:cubicBezTo>
                  <a:pt x="594" y="353"/>
                  <a:pt x="594" y="353"/>
                  <a:pt x="595" y="353"/>
                </a:cubicBezTo>
                <a:cubicBezTo>
                  <a:pt x="595" y="353"/>
                  <a:pt x="595" y="353"/>
                  <a:pt x="594" y="352"/>
                </a:cubicBezTo>
                <a:cubicBezTo>
                  <a:pt x="594" y="352"/>
                  <a:pt x="594" y="352"/>
                  <a:pt x="593" y="352"/>
                </a:cubicBezTo>
                <a:close/>
                <a:moveTo>
                  <a:pt x="591" y="343"/>
                </a:moveTo>
                <a:cubicBezTo>
                  <a:pt x="591" y="343"/>
                  <a:pt x="591" y="343"/>
                  <a:pt x="592" y="343"/>
                </a:cubicBezTo>
                <a:cubicBezTo>
                  <a:pt x="592" y="343"/>
                  <a:pt x="592" y="343"/>
                  <a:pt x="591" y="342"/>
                </a:cubicBezTo>
                <a:cubicBezTo>
                  <a:pt x="591" y="342"/>
                  <a:pt x="591" y="342"/>
                  <a:pt x="591" y="343"/>
                </a:cubicBezTo>
                <a:close/>
                <a:moveTo>
                  <a:pt x="590" y="339"/>
                </a:moveTo>
                <a:cubicBezTo>
                  <a:pt x="590" y="339"/>
                  <a:pt x="590" y="339"/>
                  <a:pt x="591" y="339"/>
                </a:cubicBezTo>
                <a:cubicBezTo>
                  <a:pt x="591" y="339"/>
                  <a:pt x="591" y="339"/>
                  <a:pt x="591" y="338"/>
                </a:cubicBezTo>
                <a:cubicBezTo>
                  <a:pt x="591" y="338"/>
                  <a:pt x="591" y="338"/>
                  <a:pt x="591" y="336"/>
                </a:cubicBezTo>
                <a:cubicBezTo>
                  <a:pt x="591" y="336"/>
                  <a:pt x="591" y="336"/>
                  <a:pt x="592" y="334"/>
                </a:cubicBezTo>
                <a:cubicBezTo>
                  <a:pt x="592" y="334"/>
                  <a:pt x="592" y="334"/>
                  <a:pt x="593" y="334"/>
                </a:cubicBezTo>
                <a:cubicBezTo>
                  <a:pt x="593" y="334"/>
                  <a:pt x="593" y="334"/>
                  <a:pt x="593" y="331"/>
                </a:cubicBezTo>
                <a:cubicBezTo>
                  <a:pt x="593" y="331"/>
                  <a:pt x="593" y="331"/>
                  <a:pt x="594" y="329"/>
                </a:cubicBezTo>
                <a:cubicBezTo>
                  <a:pt x="594" y="329"/>
                  <a:pt x="594" y="329"/>
                  <a:pt x="594" y="327"/>
                </a:cubicBezTo>
                <a:cubicBezTo>
                  <a:pt x="594" y="327"/>
                  <a:pt x="594" y="327"/>
                  <a:pt x="593" y="325"/>
                </a:cubicBezTo>
                <a:cubicBezTo>
                  <a:pt x="593" y="325"/>
                  <a:pt x="593" y="325"/>
                  <a:pt x="592" y="325"/>
                </a:cubicBezTo>
                <a:cubicBezTo>
                  <a:pt x="592" y="325"/>
                  <a:pt x="592" y="325"/>
                  <a:pt x="591" y="326"/>
                </a:cubicBezTo>
                <a:cubicBezTo>
                  <a:pt x="591" y="326"/>
                  <a:pt x="591" y="326"/>
                  <a:pt x="591" y="327"/>
                </a:cubicBezTo>
                <a:cubicBezTo>
                  <a:pt x="591" y="327"/>
                  <a:pt x="591" y="327"/>
                  <a:pt x="592" y="327"/>
                </a:cubicBezTo>
                <a:cubicBezTo>
                  <a:pt x="592" y="327"/>
                  <a:pt x="592" y="327"/>
                  <a:pt x="591" y="328"/>
                </a:cubicBezTo>
                <a:cubicBezTo>
                  <a:pt x="591" y="328"/>
                  <a:pt x="591" y="328"/>
                  <a:pt x="591" y="329"/>
                </a:cubicBezTo>
                <a:cubicBezTo>
                  <a:pt x="591" y="329"/>
                  <a:pt x="591" y="329"/>
                  <a:pt x="590" y="330"/>
                </a:cubicBezTo>
                <a:cubicBezTo>
                  <a:pt x="590" y="330"/>
                  <a:pt x="590" y="330"/>
                  <a:pt x="589" y="330"/>
                </a:cubicBezTo>
                <a:cubicBezTo>
                  <a:pt x="589" y="330"/>
                  <a:pt x="589" y="330"/>
                  <a:pt x="589" y="331"/>
                </a:cubicBezTo>
                <a:cubicBezTo>
                  <a:pt x="589" y="331"/>
                  <a:pt x="589" y="331"/>
                  <a:pt x="591" y="331"/>
                </a:cubicBezTo>
                <a:cubicBezTo>
                  <a:pt x="591" y="331"/>
                  <a:pt x="591" y="331"/>
                  <a:pt x="590" y="332"/>
                </a:cubicBezTo>
                <a:cubicBezTo>
                  <a:pt x="590" y="332"/>
                  <a:pt x="590" y="332"/>
                  <a:pt x="590" y="333"/>
                </a:cubicBezTo>
                <a:cubicBezTo>
                  <a:pt x="590" y="333"/>
                  <a:pt x="590" y="333"/>
                  <a:pt x="591" y="333"/>
                </a:cubicBezTo>
                <a:cubicBezTo>
                  <a:pt x="591" y="333"/>
                  <a:pt x="591" y="333"/>
                  <a:pt x="591" y="334"/>
                </a:cubicBezTo>
                <a:cubicBezTo>
                  <a:pt x="591" y="334"/>
                  <a:pt x="591" y="334"/>
                  <a:pt x="590" y="334"/>
                </a:cubicBezTo>
                <a:cubicBezTo>
                  <a:pt x="590" y="334"/>
                  <a:pt x="590" y="334"/>
                  <a:pt x="589" y="335"/>
                </a:cubicBezTo>
                <a:cubicBezTo>
                  <a:pt x="589" y="335"/>
                  <a:pt x="589" y="335"/>
                  <a:pt x="590" y="337"/>
                </a:cubicBezTo>
                <a:cubicBezTo>
                  <a:pt x="590" y="337"/>
                  <a:pt x="590" y="337"/>
                  <a:pt x="590" y="338"/>
                </a:cubicBezTo>
                <a:cubicBezTo>
                  <a:pt x="590" y="338"/>
                  <a:pt x="590" y="338"/>
                  <a:pt x="590" y="339"/>
                </a:cubicBezTo>
                <a:close/>
                <a:moveTo>
                  <a:pt x="596" y="353"/>
                </a:moveTo>
                <a:cubicBezTo>
                  <a:pt x="596" y="353"/>
                  <a:pt x="596" y="353"/>
                  <a:pt x="595" y="354"/>
                </a:cubicBezTo>
                <a:cubicBezTo>
                  <a:pt x="595" y="354"/>
                  <a:pt x="595" y="354"/>
                  <a:pt x="596" y="354"/>
                </a:cubicBezTo>
                <a:cubicBezTo>
                  <a:pt x="596" y="354"/>
                  <a:pt x="596" y="354"/>
                  <a:pt x="596" y="353"/>
                </a:cubicBezTo>
                <a:close/>
                <a:moveTo>
                  <a:pt x="602" y="344"/>
                </a:moveTo>
                <a:cubicBezTo>
                  <a:pt x="602" y="344"/>
                  <a:pt x="602" y="344"/>
                  <a:pt x="603" y="344"/>
                </a:cubicBezTo>
                <a:cubicBezTo>
                  <a:pt x="603" y="344"/>
                  <a:pt x="603" y="344"/>
                  <a:pt x="604" y="344"/>
                </a:cubicBezTo>
                <a:cubicBezTo>
                  <a:pt x="604" y="344"/>
                  <a:pt x="604" y="344"/>
                  <a:pt x="604" y="342"/>
                </a:cubicBezTo>
                <a:cubicBezTo>
                  <a:pt x="604" y="342"/>
                  <a:pt x="604" y="342"/>
                  <a:pt x="603" y="342"/>
                </a:cubicBezTo>
                <a:cubicBezTo>
                  <a:pt x="603" y="342"/>
                  <a:pt x="603" y="342"/>
                  <a:pt x="602" y="344"/>
                </a:cubicBezTo>
                <a:close/>
                <a:moveTo>
                  <a:pt x="371" y="339"/>
                </a:moveTo>
                <a:cubicBezTo>
                  <a:pt x="370" y="340"/>
                  <a:pt x="370" y="340"/>
                  <a:pt x="370" y="340"/>
                </a:cubicBezTo>
                <a:cubicBezTo>
                  <a:pt x="371" y="340"/>
                  <a:pt x="371" y="340"/>
                  <a:pt x="371" y="340"/>
                </a:cubicBezTo>
                <a:cubicBezTo>
                  <a:pt x="371" y="339"/>
                  <a:pt x="371" y="339"/>
                  <a:pt x="371" y="339"/>
                </a:cubicBezTo>
                <a:close/>
                <a:moveTo>
                  <a:pt x="437" y="320"/>
                </a:moveTo>
                <a:cubicBezTo>
                  <a:pt x="437" y="320"/>
                  <a:pt x="437" y="320"/>
                  <a:pt x="436" y="320"/>
                </a:cubicBezTo>
                <a:cubicBezTo>
                  <a:pt x="436" y="320"/>
                  <a:pt x="436" y="320"/>
                  <a:pt x="436" y="322"/>
                </a:cubicBezTo>
                <a:cubicBezTo>
                  <a:pt x="436" y="322"/>
                  <a:pt x="436" y="322"/>
                  <a:pt x="437" y="322"/>
                </a:cubicBezTo>
                <a:cubicBezTo>
                  <a:pt x="437" y="322"/>
                  <a:pt x="437" y="322"/>
                  <a:pt x="438" y="321"/>
                </a:cubicBezTo>
                <a:cubicBezTo>
                  <a:pt x="438" y="321"/>
                  <a:pt x="438" y="321"/>
                  <a:pt x="437" y="320"/>
                </a:cubicBezTo>
                <a:close/>
                <a:moveTo>
                  <a:pt x="404" y="235"/>
                </a:moveTo>
                <a:cubicBezTo>
                  <a:pt x="404" y="235"/>
                  <a:pt x="404" y="235"/>
                  <a:pt x="404" y="236"/>
                </a:cubicBezTo>
                <a:cubicBezTo>
                  <a:pt x="404" y="236"/>
                  <a:pt x="404" y="236"/>
                  <a:pt x="405" y="236"/>
                </a:cubicBezTo>
                <a:cubicBezTo>
                  <a:pt x="405" y="236"/>
                  <a:pt x="405" y="236"/>
                  <a:pt x="404" y="235"/>
                </a:cubicBezTo>
                <a:close/>
                <a:moveTo>
                  <a:pt x="405" y="328"/>
                </a:moveTo>
                <a:cubicBezTo>
                  <a:pt x="405" y="328"/>
                  <a:pt x="405" y="328"/>
                  <a:pt x="404" y="328"/>
                </a:cubicBezTo>
                <a:cubicBezTo>
                  <a:pt x="404" y="328"/>
                  <a:pt x="404" y="328"/>
                  <a:pt x="404" y="329"/>
                </a:cubicBezTo>
                <a:cubicBezTo>
                  <a:pt x="404" y="329"/>
                  <a:pt x="404" y="329"/>
                  <a:pt x="404" y="330"/>
                </a:cubicBezTo>
                <a:cubicBezTo>
                  <a:pt x="404" y="330"/>
                  <a:pt x="404" y="330"/>
                  <a:pt x="405" y="329"/>
                </a:cubicBezTo>
                <a:cubicBezTo>
                  <a:pt x="405" y="329"/>
                  <a:pt x="405" y="329"/>
                  <a:pt x="405" y="328"/>
                </a:cubicBezTo>
                <a:close/>
                <a:moveTo>
                  <a:pt x="372" y="341"/>
                </a:moveTo>
                <a:cubicBezTo>
                  <a:pt x="373" y="341"/>
                  <a:pt x="373" y="341"/>
                  <a:pt x="373" y="341"/>
                </a:cubicBezTo>
                <a:cubicBezTo>
                  <a:pt x="373" y="340"/>
                  <a:pt x="373" y="340"/>
                  <a:pt x="373" y="340"/>
                </a:cubicBezTo>
                <a:cubicBezTo>
                  <a:pt x="371" y="341"/>
                  <a:pt x="371" y="341"/>
                  <a:pt x="371" y="341"/>
                </a:cubicBezTo>
                <a:cubicBezTo>
                  <a:pt x="372" y="341"/>
                  <a:pt x="372" y="341"/>
                  <a:pt x="372" y="341"/>
                </a:cubicBezTo>
                <a:close/>
                <a:moveTo>
                  <a:pt x="444" y="324"/>
                </a:moveTo>
                <a:cubicBezTo>
                  <a:pt x="444" y="324"/>
                  <a:pt x="444" y="324"/>
                  <a:pt x="444" y="323"/>
                </a:cubicBezTo>
                <a:cubicBezTo>
                  <a:pt x="444" y="323"/>
                  <a:pt x="444" y="323"/>
                  <a:pt x="443" y="325"/>
                </a:cubicBezTo>
                <a:lnTo>
                  <a:pt x="444" y="324"/>
                </a:lnTo>
                <a:close/>
                <a:moveTo>
                  <a:pt x="435" y="254"/>
                </a:moveTo>
                <a:cubicBezTo>
                  <a:pt x="435" y="254"/>
                  <a:pt x="435" y="254"/>
                  <a:pt x="436" y="254"/>
                </a:cubicBezTo>
                <a:cubicBezTo>
                  <a:pt x="436" y="254"/>
                  <a:pt x="436" y="254"/>
                  <a:pt x="437" y="254"/>
                </a:cubicBezTo>
                <a:cubicBezTo>
                  <a:pt x="437" y="254"/>
                  <a:pt x="437" y="254"/>
                  <a:pt x="438" y="254"/>
                </a:cubicBezTo>
                <a:cubicBezTo>
                  <a:pt x="438" y="254"/>
                  <a:pt x="438" y="254"/>
                  <a:pt x="440" y="254"/>
                </a:cubicBezTo>
                <a:cubicBezTo>
                  <a:pt x="440" y="254"/>
                  <a:pt x="440" y="254"/>
                  <a:pt x="440" y="253"/>
                </a:cubicBezTo>
                <a:cubicBezTo>
                  <a:pt x="440" y="253"/>
                  <a:pt x="440" y="253"/>
                  <a:pt x="441" y="251"/>
                </a:cubicBezTo>
                <a:cubicBezTo>
                  <a:pt x="441" y="251"/>
                  <a:pt x="441" y="251"/>
                  <a:pt x="441" y="250"/>
                </a:cubicBezTo>
                <a:cubicBezTo>
                  <a:pt x="441" y="250"/>
                  <a:pt x="441" y="250"/>
                  <a:pt x="440" y="249"/>
                </a:cubicBezTo>
                <a:cubicBezTo>
                  <a:pt x="440" y="249"/>
                  <a:pt x="440" y="249"/>
                  <a:pt x="440" y="248"/>
                </a:cubicBezTo>
                <a:cubicBezTo>
                  <a:pt x="440" y="248"/>
                  <a:pt x="440" y="248"/>
                  <a:pt x="438" y="248"/>
                </a:cubicBezTo>
                <a:cubicBezTo>
                  <a:pt x="438" y="248"/>
                  <a:pt x="438" y="248"/>
                  <a:pt x="437" y="249"/>
                </a:cubicBezTo>
                <a:cubicBezTo>
                  <a:pt x="437" y="249"/>
                  <a:pt x="437" y="249"/>
                  <a:pt x="436" y="249"/>
                </a:cubicBezTo>
                <a:cubicBezTo>
                  <a:pt x="436" y="249"/>
                  <a:pt x="436" y="249"/>
                  <a:pt x="435" y="249"/>
                </a:cubicBezTo>
                <a:cubicBezTo>
                  <a:pt x="435" y="249"/>
                  <a:pt x="435" y="249"/>
                  <a:pt x="433" y="249"/>
                </a:cubicBezTo>
                <a:cubicBezTo>
                  <a:pt x="433" y="249"/>
                  <a:pt x="433" y="249"/>
                  <a:pt x="432" y="249"/>
                </a:cubicBezTo>
                <a:cubicBezTo>
                  <a:pt x="432" y="249"/>
                  <a:pt x="432" y="249"/>
                  <a:pt x="432" y="251"/>
                </a:cubicBezTo>
                <a:cubicBezTo>
                  <a:pt x="432" y="251"/>
                  <a:pt x="432" y="251"/>
                  <a:pt x="434" y="253"/>
                </a:cubicBezTo>
                <a:cubicBezTo>
                  <a:pt x="434" y="253"/>
                  <a:pt x="434" y="253"/>
                  <a:pt x="435" y="254"/>
                </a:cubicBezTo>
                <a:close/>
                <a:moveTo>
                  <a:pt x="439" y="324"/>
                </a:moveTo>
                <a:cubicBezTo>
                  <a:pt x="439" y="324"/>
                  <a:pt x="439" y="324"/>
                  <a:pt x="438" y="326"/>
                </a:cubicBezTo>
                <a:cubicBezTo>
                  <a:pt x="438" y="326"/>
                  <a:pt x="438" y="326"/>
                  <a:pt x="439" y="325"/>
                </a:cubicBezTo>
                <a:cubicBezTo>
                  <a:pt x="439" y="325"/>
                  <a:pt x="439" y="325"/>
                  <a:pt x="441" y="324"/>
                </a:cubicBezTo>
                <a:cubicBezTo>
                  <a:pt x="441" y="324"/>
                  <a:pt x="441" y="324"/>
                  <a:pt x="442" y="323"/>
                </a:cubicBezTo>
                <a:cubicBezTo>
                  <a:pt x="442" y="323"/>
                  <a:pt x="442" y="323"/>
                  <a:pt x="440" y="323"/>
                </a:cubicBezTo>
                <a:cubicBezTo>
                  <a:pt x="440" y="323"/>
                  <a:pt x="440" y="323"/>
                  <a:pt x="439" y="324"/>
                </a:cubicBezTo>
                <a:close/>
                <a:moveTo>
                  <a:pt x="399" y="331"/>
                </a:moveTo>
                <a:cubicBezTo>
                  <a:pt x="400" y="331"/>
                  <a:pt x="400" y="331"/>
                  <a:pt x="400" y="331"/>
                </a:cubicBezTo>
                <a:cubicBezTo>
                  <a:pt x="399" y="330"/>
                  <a:pt x="399" y="330"/>
                  <a:pt x="399" y="330"/>
                </a:cubicBezTo>
                <a:cubicBezTo>
                  <a:pt x="399" y="331"/>
                  <a:pt x="399" y="331"/>
                  <a:pt x="399" y="331"/>
                </a:cubicBezTo>
                <a:close/>
                <a:moveTo>
                  <a:pt x="402" y="328"/>
                </a:moveTo>
                <a:cubicBezTo>
                  <a:pt x="401" y="329"/>
                  <a:pt x="401" y="329"/>
                  <a:pt x="401" y="329"/>
                </a:cubicBezTo>
                <a:cubicBezTo>
                  <a:pt x="401" y="330"/>
                  <a:pt x="401" y="330"/>
                  <a:pt x="401" y="330"/>
                </a:cubicBezTo>
                <a:cubicBezTo>
                  <a:pt x="402" y="331"/>
                  <a:pt x="402" y="331"/>
                  <a:pt x="402" y="331"/>
                </a:cubicBezTo>
                <a:cubicBezTo>
                  <a:pt x="403" y="330"/>
                  <a:pt x="403" y="330"/>
                  <a:pt x="403" y="330"/>
                </a:cubicBezTo>
                <a:cubicBezTo>
                  <a:pt x="403" y="329"/>
                  <a:pt x="403" y="329"/>
                  <a:pt x="403" y="329"/>
                </a:cubicBezTo>
                <a:cubicBezTo>
                  <a:pt x="402" y="329"/>
                  <a:pt x="402" y="329"/>
                  <a:pt x="402" y="329"/>
                </a:cubicBezTo>
                <a:cubicBezTo>
                  <a:pt x="402" y="328"/>
                  <a:pt x="402" y="328"/>
                  <a:pt x="402" y="328"/>
                </a:cubicBezTo>
                <a:close/>
                <a:moveTo>
                  <a:pt x="405" y="331"/>
                </a:moveTo>
                <a:cubicBezTo>
                  <a:pt x="405" y="331"/>
                  <a:pt x="405" y="331"/>
                  <a:pt x="406" y="331"/>
                </a:cubicBezTo>
                <a:cubicBezTo>
                  <a:pt x="406" y="331"/>
                  <a:pt x="406" y="331"/>
                  <a:pt x="405" y="330"/>
                </a:cubicBezTo>
                <a:cubicBezTo>
                  <a:pt x="405" y="330"/>
                  <a:pt x="405" y="330"/>
                  <a:pt x="405" y="331"/>
                </a:cubicBezTo>
                <a:close/>
                <a:moveTo>
                  <a:pt x="314" y="344"/>
                </a:moveTo>
                <a:cubicBezTo>
                  <a:pt x="314" y="343"/>
                  <a:pt x="314" y="343"/>
                  <a:pt x="314" y="343"/>
                </a:cubicBezTo>
                <a:cubicBezTo>
                  <a:pt x="313" y="344"/>
                  <a:pt x="313" y="344"/>
                  <a:pt x="313" y="344"/>
                </a:cubicBezTo>
                <a:cubicBezTo>
                  <a:pt x="314" y="344"/>
                  <a:pt x="314" y="344"/>
                  <a:pt x="314" y="344"/>
                </a:cubicBezTo>
                <a:close/>
                <a:moveTo>
                  <a:pt x="311" y="347"/>
                </a:moveTo>
                <a:cubicBezTo>
                  <a:pt x="312" y="348"/>
                  <a:pt x="312" y="348"/>
                  <a:pt x="312" y="348"/>
                </a:cubicBezTo>
                <a:cubicBezTo>
                  <a:pt x="313" y="347"/>
                  <a:pt x="313" y="347"/>
                  <a:pt x="313" y="347"/>
                </a:cubicBezTo>
                <a:cubicBezTo>
                  <a:pt x="312" y="346"/>
                  <a:pt x="312" y="346"/>
                  <a:pt x="312" y="346"/>
                </a:cubicBezTo>
                <a:cubicBezTo>
                  <a:pt x="311" y="347"/>
                  <a:pt x="311" y="347"/>
                  <a:pt x="311" y="347"/>
                </a:cubicBezTo>
                <a:close/>
                <a:moveTo>
                  <a:pt x="426" y="325"/>
                </a:moveTo>
                <a:cubicBezTo>
                  <a:pt x="426" y="325"/>
                  <a:pt x="426" y="325"/>
                  <a:pt x="427" y="324"/>
                </a:cubicBezTo>
                <a:cubicBezTo>
                  <a:pt x="427" y="324"/>
                  <a:pt x="427" y="324"/>
                  <a:pt x="427" y="323"/>
                </a:cubicBezTo>
                <a:cubicBezTo>
                  <a:pt x="427" y="323"/>
                  <a:pt x="427" y="323"/>
                  <a:pt x="426" y="324"/>
                </a:cubicBezTo>
                <a:cubicBezTo>
                  <a:pt x="426" y="324"/>
                  <a:pt x="426" y="324"/>
                  <a:pt x="426" y="325"/>
                </a:cubicBezTo>
                <a:close/>
                <a:moveTo>
                  <a:pt x="404" y="237"/>
                </a:moveTo>
                <a:cubicBezTo>
                  <a:pt x="403" y="237"/>
                  <a:pt x="403" y="237"/>
                  <a:pt x="403" y="237"/>
                </a:cubicBezTo>
                <a:cubicBezTo>
                  <a:pt x="403" y="237"/>
                  <a:pt x="403" y="237"/>
                  <a:pt x="403" y="238"/>
                </a:cubicBezTo>
                <a:cubicBezTo>
                  <a:pt x="403" y="238"/>
                  <a:pt x="403" y="238"/>
                  <a:pt x="404" y="239"/>
                </a:cubicBezTo>
                <a:cubicBezTo>
                  <a:pt x="404" y="239"/>
                  <a:pt x="404" y="239"/>
                  <a:pt x="406" y="241"/>
                </a:cubicBezTo>
                <a:cubicBezTo>
                  <a:pt x="406" y="241"/>
                  <a:pt x="406" y="241"/>
                  <a:pt x="406" y="240"/>
                </a:cubicBezTo>
                <a:cubicBezTo>
                  <a:pt x="406" y="240"/>
                  <a:pt x="406" y="240"/>
                  <a:pt x="404" y="238"/>
                </a:cubicBezTo>
                <a:cubicBezTo>
                  <a:pt x="404" y="238"/>
                  <a:pt x="404" y="238"/>
                  <a:pt x="404" y="237"/>
                </a:cubicBezTo>
                <a:close/>
                <a:moveTo>
                  <a:pt x="319" y="343"/>
                </a:moveTo>
                <a:cubicBezTo>
                  <a:pt x="318" y="344"/>
                  <a:pt x="318" y="344"/>
                  <a:pt x="318" y="344"/>
                </a:cubicBezTo>
                <a:cubicBezTo>
                  <a:pt x="319" y="345"/>
                  <a:pt x="319" y="345"/>
                  <a:pt x="319" y="345"/>
                </a:cubicBezTo>
                <a:cubicBezTo>
                  <a:pt x="318" y="345"/>
                  <a:pt x="318" y="345"/>
                  <a:pt x="318" y="345"/>
                </a:cubicBezTo>
                <a:cubicBezTo>
                  <a:pt x="319" y="346"/>
                  <a:pt x="319" y="346"/>
                  <a:pt x="319" y="346"/>
                </a:cubicBezTo>
                <a:cubicBezTo>
                  <a:pt x="320" y="346"/>
                  <a:pt x="320" y="346"/>
                  <a:pt x="320" y="346"/>
                </a:cubicBezTo>
                <a:cubicBezTo>
                  <a:pt x="320" y="345"/>
                  <a:pt x="320" y="345"/>
                  <a:pt x="320" y="345"/>
                </a:cubicBezTo>
                <a:cubicBezTo>
                  <a:pt x="321" y="345"/>
                  <a:pt x="321" y="345"/>
                  <a:pt x="321" y="345"/>
                </a:cubicBezTo>
                <a:cubicBezTo>
                  <a:pt x="320" y="343"/>
                  <a:pt x="320" y="343"/>
                  <a:pt x="320" y="343"/>
                </a:cubicBezTo>
                <a:cubicBezTo>
                  <a:pt x="319" y="343"/>
                  <a:pt x="319" y="343"/>
                  <a:pt x="319" y="343"/>
                </a:cubicBezTo>
                <a:close/>
                <a:moveTo>
                  <a:pt x="327" y="346"/>
                </a:moveTo>
                <a:cubicBezTo>
                  <a:pt x="326" y="346"/>
                  <a:pt x="326" y="346"/>
                  <a:pt x="326" y="346"/>
                </a:cubicBezTo>
                <a:cubicBezTo>
                  <a:pt x="326" y="347"/>
                  <a:pt x="326" y="347"/>
                  <a:pt x="326" y="347"/>
                </a:cubicBezTo>
                <a:cubicBezTo>
                  <a:pt x="327" y="347"/>
                  <a:pt x="327" y="347"/>
                  <a:pt x="327" y="347"/>
                </a:cubicBezTo>
                <a:cubicBezTo>
                  <a:pt x="328" y="346"/>
                  <a:pt x="328" y="346"/>
                  <a:pt x="328" y="346"/>
                </a:cubicBezTo>
                <a:cubicBezTo>
                  <a:pt x="328" y="344"/>
                  <a:pt x="328" y="344"/>
                  <a:pt x="328" y="344"/>
                </a:cubicBezTo>
                <a:cubicBezTo>
                  <a:pt x="327" y="344"/>
                  <a:pt x="327" y="344"/>
                  <a:pt x="327" y="344"/>
                </a:cubicBezTo>
                <a:cubicBezTo>
                  <a:pt x="327" y="346"/>
                  <a:pt x="327" y="346"/>
                  <a:pt x="327" y="346"/>
                </a:cubicBezTo>
                <a:close/>
                <a:moveTo>
                  <a:pt x="422" y="324"/>
                </a:moveTo>
                <a:cubicBezTo>
                  <a:pt x="422" y="324"/>
                  <a:pt x="422" y="324"/>
                  <a:pt x="420" y="323"/>
                </a:cubicBezTo>
                <a:cubicBezTo>
                  <a:pt x="420" y="323"/>
                  <a:pt x="420" y="323"/>
                  <a:pt x="420" y="322"/>
                </a:cubicBezTo>
                <a:cubicBezTo>
                  <a:pt x="420" y="322"/>
                  <a:pt x="420" y="322"/>
                  <a:pt x="420" y="321"/>
                </a:cubicBezTo>
                <a:cubicBezTo>
                  <a:pt x="420" y="321"/>
                  <a:pt x="420" y="321"/>
                  <a:pt x="418" y="321"/>
                </a:cubicBezTo>
                <a:cubicBezTo>
                  <a:pt x="418" y="321"/>
                  <a:pt x="418" y="321"/>
                  <a:pt x="417" y="322"/>
                </a:cubicBezTo>
                <a:cubicBezTo>
                  <a:pt x="417" y="322"/>
                  <a:pt x="417" y="322"/>
                  <a:pt x="415" y="321"/>
                </a:cubicBezTo>
                <a:cubicBezTo>
                  <a:pt x="415" y="321"/>
                  <a:pt x="415" y="321"/>
                  <a:pt x="415" y="322"/>
                </a:cubicBezTo>
                <a:cubicBezTo>
                  <a:pt x="415" y="322"/>
                  <a:pt x="415" y="322"/>
                  <a:pt x="414" y="321"/>
                </a:cubicBezTo>
                <a:cubicBezTo>
                  <a:pt x="414" y="321"/>
                  <a:pt x="414" y="321"/>
                  <a:pt x="413" y="321"/>
                </a:cubicBezTo>
                <a:cubicBezTo>
                  <a:pt x="413" y="321"/>
                  <a:pt x="413" y="321"/>
                  <a:pt x="412" y="323"/>
                </a:cubicBezTo>
                <a:cubicBezTo>
                  <a:pt x="412" y="323"/>
                  <a:pt x="412" y="323"/>
                  <a:pt x="411" y="324"/>
                </a:cubicBezTo>
                <a:cubicBezTo>
                  <a:pt x="411" y="324"/>
                  <a:pt x="411" y="324"/>
                  <a:pt x="410" y="324"/>
                </a:cubicBezTo>
                <a:cubicBezTo>
                  <a:pt x="410" y="324"/>
                  <a:pt x="410" y="324"/>
                  <a:pt x="409" y="326"/>
                </a:cubicBezTo>
                <a:cubicBezTo>
                  <a:pt x="410" y="327"/>
                  <a:pt x="410" y="327"/>
                  <a:pt x="410" y="327"/>
                </a:cubicBezTo>
                <a:cubicBezTo>
                  <a:pt x="410" y="327"/>
                  <a:pt x="410" y="327"/>
                  <a:pt x="411" y="327"/>
                </a:cubicBezTo>
                <a:cubicBezTo>
                  <a:pt x="411" y="327"/>
                  <a:pt x="411" y="327"/>
                  <a:pt x="412" y="327"/>
                </a:cubicBezTo>
                <a:cubicBezTo>
                  <a:pt x="412" y="327"/>
                  <a:pt x="412" y="327"/>
                  <a:pt x="413" y="325"/>
                </a:cubicBezTo>
                <a:cubicBezTo>
                  <a:pt x="413" y="325"/>
                  <a:pt x="413" y="325"/>
                  <a:pt x="416" y="325"/>
                </a:cubicBezTo>
                <a:cubicBezTo>
                  <a:pt x="416" y="325"/>
                  <a:pt x="416" y="325"/>
                  <a:pt x="417" y="326"/>
                </a:cubicBezTo>
                <a:cubicBezTo>
                  <a:pt x="417" y="326"/>
                  <a:pt x="417" y="326"/>
                  <a:pt x="419" y="326"/>
                </a:cubicBezTo>
                <a:cubicBezTo>
                  <a:pt x="419" y="326"/>
                  <a:pt x="419" y="326"/>
                  <a:pt x="420" y="325"/>
                </a:cubicBezTo>
                <a:cubicBezTo>
                  <a:pt x="420" y="325"/>
                  <a:pt x="420" y="325"/>
                  <a:pt x="422" y="325"/>
                </a:cubicBezTo>
                <a:cubicBezTo>
                  <a:pt x="422" y="325"/>
                  <a:pt x="422" y="325"/>
                  <a:pt x="422" y="324"/>
                </a:cubicBezTo>
                <a:close/>
                <a:moveTo>
                  <a:pt x="407" y="331"/>
                </a:moveTo>
                <a:cubicBezTo>
                  <a:pt x="407" y="331"/>
                  <a:pt x="407" y="331"/>
                  <a:pt x="408" y="331"/>
                </a:cubicBezTo>
                <a:cubicBezTo>
                  <a:pt x="408" y="331"/>
                  <a:pt x="408" y="331"/>
                  <a:pt x="408" y="330"/>
                </a:cubicBezTo>
                <a:cubicBezTo>
                  <a:pt x="408" y="330"/>
                  <a:pt x="408" y="330"/>
                  <a:pt x="407" y="330"/>
                </a:cubicBezTo>
                <a:cubicBezTo>
                  <a:pt x="407" y="330"/>
                  <a:pt x="407" y="330"/>
                  <a:pt x="407" y="331"/>
                </a:cubicBezTo>
                <a:close/>
                <a:moveTo>
                  <a:pt x="311" y="350"/>
                </a:moveTo>
                <a:cubicBezTo>
                  <a:pt x="311" y="349"/>
                  <a:pt x="311" y="349"/>
                  <a:pt x="311" y="349"/>
                </a:cubicBezTo>
                <a:cubicBezTo>
                  <a:pt x="310" y="350"/>
                  <a:pt x="310" y="350"/>
                  <a:pt x="310" y="350"/>
                </a:cubicBezTo>
                <a:cubicBezTo>
                  <a:pt x="311" y="350"/>
                  <a:pt x="311" y="350"/>
                  <a:pt x="311" y="350"/>
                </a:cubicBezTo>
                <a:close/>
                <a:moveTo>
                  <a:pt x="421" y="328"/>
                </a:moveTo>
                <a:cubicBezTo>
                  <a:pt x="421" y="328"/>
                  <a:pt x="421" y="328"/>
                  <a:pt x="422" y="329"/>
                </a:cubicBezTo>
                <a:cubicBezTo>
                  <a:pt x="422" y="329"/>
                  <a:pt x="422" y="329"/>
                  <a:pt x="423" y="329"/>
                </a:cubicBezTo>
                <a:cubicBezTo>
                  <a:pt x="423" y="329"/>
                  <a:pt x="423" y="329"/>
                  <a:pt x="422" y="328"/>
                </a:cubicBezTo>
                <a:cubicBezTo>
                  <a:pt x="422" y="328"/>
                  <a:pt x="422" y="328"/>
                  <a:pt x="421" y="328"/>
                </a:cubicBezTo>
                <a:close/>
                <a:moveTo>
                  <a:pt x="323" y="345"/>
                </a:moveTo>
                <a:cubicBezTo>
                  <a:pt x="323" y="346"/>
                  <a:pt x="323" y="346"/>
                  <a:pt x="323" y="346"/>
                </a:cubicBezTo>
                <a:cubicBezTo>
                  <a:pt x="322" y="347"/>
                  <a:pt x="322" y="347"/>
                  <a:pt x="322" y="347"/>
                </a:cubicBezTo>
                <a:cubicBezTo>
                  <a:pt x="323" y="347"/>
                  <a:pt x="323" y="347"/>
                  <a:pt x="323" y="347"/>
                </a:cubicBezTo>
                <a:cubicBezTo>
                  <a:pt x="324" y="346"/>
                  <a:pt x="324" y="346"/>
                  <a:pt x="324" y="346"/>
                </a:cubicBezTo>
                <a:cubicBezTo>
                  <a:pt x="324" y="345"/>
                  <a:pt x="324" y="345"/>
                  <a:pt x="324" y="345"/>
                </a:cubicBezTo>
                <a:cubicBezTo>
                  <a:pt x="325" y="344"/>
                  <a:pt x="325" y="344"/>
                  <a:pt x="325" y="344"/>
                </a:cubicBezTo>
                <a:cubicBezTo>
                  <a:pt x="324" y="344"/>
                  <a:pt x="324" y="344"/>
                  <a:pt x="324" y="344"/>
                </a:cubicBezTo>
                <a:cubicBezTo>
                  <a:pt x="323" y="345"/>
                  <a:pt x="323" y="345"/>
                  <a:pt x="323" y="345"/>
                </a:cubicBezTo>
                <a:close/>
                <a:moveTo>
                  <a:pt x="349" y="346"/>
                </a:moveTo>
                <a:cubicBezTo>
                  <a:pt x="349" y="346"/>
                  <a:pt x="349" y="346"/>
                  <a:pt x="349" y="347"/>
                </a:cubicBezTo>
                <a:cubicBezTo>
                  <a:pt x="349" y="347"/>
                  <a:pt x="349" y="347"/>
                  <a:pt x="346" y="346"/>
                </a:cubicBezTo>
                <a:cubicBezTo>
                  <a:pt x="344" y="346"/>
                  <a:pt x="344" y="346"/>
                  <a:pt x="344" y="346"/>
                </a:cubicBezTo>
                <a:cubicBezTo>
                  <a:pt x="344" y="346"/>
                  <a:pt x="344" y="346"/>
                  <a:pt x="345" y="347"/>
                </a:cubicBezTo>
                <a:cubicBezTo>
                  <a:pt x="345" y="347"/>
                  <a:pt x="345" y="347"/>
                  <a:pt x="346" y="347"/>
                </a:cubicBezTo>
                <a:cubicBezTo>
                  <a:pt x="346" y="347"/>
                  <a:pt x="346" y="347"/>
                  <a:pt x="349" y="348"/>
                </a:cubicBezTo>
                <a:cubicBezTo>
                  <a:pt x="349" y="348"/>
                  <a:pt x="349" y="348"/>
                  <a:pt x="350" y="347"/>
                </a:cubicBezTo>
                <a:cubicBezTo>
                  <a:pt x="350" y="347"/>
                  <a:pt x="350" y="347"/>
                  <a:pt x="349" y="346"/>
                </a:cubicBezTo>
                <a:close/>
                <a:moveTo>
                  <a:pt x="398" y="331"/>
                </a:moveTo>
                <a:cubicBezTo>
                  <a:pt x="397" y="330"/>
                  <a:pt x="397" y="330"/>
                  <a:pt x="397" y="330"/>
                </a:cubicBezTo>
                <a:cubicBezTo>
                  <a:pt x="396" y="330"/>
                  <a:pt x="396" y="330"/>
                  <a:pt x="396" y="330"/>
                </a:cubicBezTo>
                <a:cubicBezTo>
                  <a:pt x="395" y="330"/>
                  <a:pt x="395" y="330"/>
                  <a:pt x="395" y="330"/>
                </a:cubicBezTo>
                <a:cubicBezTo>
                  <a:pt x="394" y="331"/>
                  <a:pt x="394" y="331"/>
                  <a:pt x="394" y="331"/>
                </a:cubicBezTo>
                <a:cubicBezTo>
                  <a:pt x="394" y="332"/>
                  <a:pt x="394" y="332"/>
                  <a:pt x="394" y="332"/>
                </a:cubicBezTo>
                <a:cubicBezTo>
                  <a:pt x="395" y="333"/>
                  <a:pt x="395" y="333"/>
                  <a:pt x="395" y="333"/>
                </a:cubicBezTo>
                <a:cubicBezTo>
                  <a:pt x="393" y="333"/>
                  <a:pt x="393" y="333"/>
                  <a:pt x="393" y="333"/>
                </a:cubicBezTo>
                <a:cubicBezTo>
                  <a:pt x="392" y="333"/>
                  <a:pt x="392" y="333"/>
                  <a:pt x="392" y="333"/>
                </a:cubicBezTo>
                <a:cubicBezTo>
                  <a:pt x="392" y="334"/>
                  <a:pt x="392" y="334"/>
                  <a:pt x="392" y="334"/>
                </a:cubicBezTo>
                <a:cubicBezTo>
                  <a:pt x="391" y="336"/>
                  <a:pt x="391" y="336"/>
                  <a:pt x="391" y="336"/>
                </a:cubicBezTo>
                <a:cubicBezTo>
                  <a:pt x="390" y="336"/>
                  <a:pt x="390" y="336"/>
                  <a:pt x="390" y="336"/>
                </a:cubicBezTo>
                <a:cubicBezTo>
                  <a:pt x="388" y="337"/>
                  <a:pt x="388" y="337"/>
                  <a:pt x="388" y="337"/>
                </a:cubicBezTo>
                <a:cubicBezTo>
                  <a:pt x="387" y="337"/>
                  <a:pt x="387" y="337"/>
                  <a:pt x="387" y="337"/>
                </a:cubicBezTo>
                <a:cubicBezTo>
                  <a:pt x="387" y="338"/>
                  <a:pt x="387" y="338"/>
                  <a:pt x="387" y="338"/>
                </a:cubicBezTo>
                <a:cubicBezTo>
                  <a:pt x="389" y="338"/>
                  <a:pt x="389" y="338"/>
                  <a:pt x="389" y="338"/>
                </a:cubicBezTo>
                <a:cubicBezTo>
                  <a:pt x="391" y="337"/>
                  <a:pt x="391" y="337"/>
                  <a:pt x="391" y="337"/>
                </a:cubicBezTo>
                <a:cubicBezTo>
                  <a:pt x="392" y="336"/>
                  <a:pt x="392" y="336"/>
                  <a:pt x="392" y="336"/>
                </a:cubicBezTo>
                <a:cubicBezTo>
                  <a:pt x="393" y="337"/>
                  <a:pt x="393" y="337"/>
                  <a:pt x="393" y="337"/>
                </a:cubicBezTo>
                <a:cubicBezTo>
                  <a:pt x="394" y="336"/>
                  <a:pt x="394" y="336"/>
                  <a:pt x="394" y="336"/>
                </a:cubicBezTo>
                <a:cubicBezTo>
                  <a:pt x="394" y="335"/>
                  <a:pt x="394" y="335"/>
                  <a:pt x="394" y="335"/>
                </a:cubicBezTo>
                <a:cubicBezTo>
                  <a:pt x="395" y="335"/>
                  <a:pt x="395" y="335"/>
                  <a:pt x="395" y="335"/>
                </a:cubicBezTo>
                <a:cubicBezTo>
                  <a:pt x="395" y="336"/>
                  <a:pt x="395" y="336"/>
                  <a:pt x="395" y="336"/>
                </a:cubicBezTo>
                <a:cubicBezTo>
                  <a:pt x="396" y="336"/>
                  <a:pt x="396" y="336"/>
                  <a:pt x="396" y="336"/>
                </a:cubicBezTo>
                <a:cubicBezTo>
                  <a:pt x="397" y="334"/>
                  <a:pt x="397" y="334"/>
                  <a:pt x="397" y="334"/>
                </a:cubicBezTo>
                <a:cubicBezTo>
                  <a:pt x="398" y="334"/>
                  <a:pt x="398" y="334"/>
                  <a:pt x="398" y="334"/>
                </a:cubicBezTo>
                <a:cubicBezTo>
                  <a:pt x="398" y="333"/>
                  <a:pt x="398" y="333"/>
                  <a:pt x="398" y="333"/>
                </a:cubicBezTo>
                <a:cubicBezTo>
                  <a:pt x="397" y="333"/>
                  <a:pt x="397" y="333"/>
                  <a:pt x="397" y="333"/>
                </a:cubicBezTo>
                <a:cubicBezTo>
                  <a:pt x="399" y="332"/>
                  <a:pt x="399" y="332"/>
                  <a:pt x="399" y="332"/>
                </a:cubicBezTo>
                <a:cubicBezTo>
                  <a:pt x="398" y="331"/>
                  <a:pt x="398" y="331"/>
                  <a:pt x="398" y="331"/>
                </a:cubicBezTo>
                <a:close/>
                <a:moveTo>
                  <a:pt x="356" y="345"/>
                </a:moveTo>
                <a:cubicBezTo>
                  <a:pt x="355" y="344"/>
                  <a:pt x="355" y="344"/>
                  <a:pt x="355" y="344"/>
                </a:cubicBezTo>
                <a:cubicBezTo>
                  <a:pt x="353" y="344"/>
                  <a:pt x="353" y="344"/>
                  <a:pt x="353" y="344"/>
                </a:cubicBezTo>
                <a:cubicBezTo>
                  <a:pt x="353" y="345"/>
                  <a:pt x="353" y="345"/>
                  <a:pt x="353" y="345"/>
                </a:cubicBezTo>
                <a:cubicBezTo>
                  <a:pt x="355" y="345"/>
                  <a:pt x="355" y="345"/>
                  <a:pt x="355" y="345"/>
                </a:cubicBezTo>
                <a:cubicBezTo>
                  <a:pt x="356" y="345"/>
                  <a:pt x="356" y="345"/>
                  <a:pt x="356" y="345"/>
                </a:cubicBezTo>
                <a:close/>
                <a:moveTo>
                  <a:pt x="435" y="199"/>
                </a:moveTo>
                <a:cubicBezTo>
                  <a:pt x="435" y="199"/>
                  <a:pt x="435" y="199"/>
                  <a:pt x="436" y="197"/>
                </a:cubicBezTo>
                <a:cubicBezTo>
                  <a:pt x="436" y="197"/>
                  <a:pt x="436" y="197"/>
                  <a:pt x="438" y="198"/>
                </a:cubicBezTo>
                <a:cubicBezTo>
                  <a:pt x="438" y="198"/>
                  <a:pt x="438" y="198"/>
                  <a:pt x="439" y="199"/>
                </a:cubicBezTo>
                <a:cubicBezTo>
                  <a:pt x="439" y="199"/>
                  <a:pt x="439" y="199"/>
                  <a:pt x="440" y="201"/>
                </a:cubicBezTo>
                <a:cubicBezTo>
                  <a:pt x="440" y="201"/>
                  <a:pt x="440" y="201"/>
                  <a:pt x="439" y="202"/>
                </a:cubicBezTo>
                <a:cubicBezTo>
                  <a:pt x="439" y="202"/>
                  <a:pt x="439" y="202"/>
                  <a:pt x="441" y="203"/>
                </a:cubicBezTo>
                <a:cubicBezTo>
                  <a:pt x="441" y="203"/>
                  <a:pt x="441" y="203"/>
                  <a:pt x="441" y="204"/>
                </a:cubicBezTo>
                <a:cubicBezTo>
                  <a:pt x="441" y="204"/>
                  <a:pt x="441" y="204"/>
                  <a:pt x="440" y="206"/>
                </a:cubicBezTo>
                <a:cubicBezTo>
                  <a:pt x="440" y="206"/>
                  <a:pt x="440" y="206"/>
                  <a:pt x="441" y="207"/>
                </a:cubicBezTo>
                <a:cubicBezTo>
                  <a:pt x="441" y="207"/>
                  <a:pt x="441" y="207"/>
                  <a:pt x="443" y="205"/>
                </a:cubicBezTo>
                <a:cubicBezTo>
                  <a:pt x="443" y="205"/>
                  <a:pt x="443" y="205"/>
                  <a:pt x="444" y="205"/>
                </a:cubicBezTo>
                <a:cubicBezTo>
                  <a:pt x="444" y="205"/>
                  <a:pt x="444" y="205"/>
                  <a:pt x="445" y="204"/>
                </a:cubicBezTo>
                <a:cubicBezTo>
                  <a:pt x="445" y="204"/>
                  <a:pt x="445" y="204"/>
                  <a:pt x="447" y="205"/>
                </a:cubicBezTo>
                <a:cubicBezTo>
                  <a:pt x="447" y="205"/>
                  <a:pt x="447" y="205"/>
                  <a:pt x="448" y="205"/>
                </a:cubicBezTo>
                <a:cubicBezTo>
                  <a:pt x="448" y="205"/>
                  <a:pt x="448" y="205"/>
                  <a:pt x="448" y="203"/>
                </a:cubicBezTo>
                <a:cubicBezTo>
                  <a:pt x="448" y="203"/>
                  <a:pt x="448" y="203"/>
                  <a:pt x="445" y="201"/>
                </a:cubicBezTo>
                <a:cubicBezTo>
                  <a:pt x="445" y="201"/>
                  <a:pt x="445" y="201"/>
                  <a:pt x="445" y="200"/>
                </a:cubicBezTo>
                <a:cubicBezTo>
                  <a:pt x="445" y="200"/>
                  <a:pt x="445" y="200"/>
                  <a:pt x="444" y="199"/>
                </a:cubicBezTo>
                <a:cubicBezTo>
                  <a:pt x="444" y="199"/>
                  <a:pt x="444" y="199"/>
                  <a:pt x="443" y="197"/>
                </a:cubicBezTo>
                <a:cubicBezTo>
                  <a:pt x="443" y="197"/>
                  <a:pt x="443" y="197"/>
                  <a:pt x="444" y="197"/>
                </a:cubicBezTo>
                <a:cubicBezTo>
                  <a:pt x="444" y="197"/>
                  <a:pt x="444" y="197"/>
                  <a:pt x="444" y="196"/>
                </a:cubicBezTo>
                <a:cubicBezTo>
                  <a:pt x="444" y="196"/>
                  <a:pt x="444" y="196"/>
                  <a:pt x="443" y="195"/>
                </a:cubicBezTo>
                <a:cubicBezTo>
                  <a:pt x="443" y="195"/>
                  <a:pt x="443" y="195"/>
                  <a:pt x="441" y="195"/>
                </a:cubicBezTo>
                <a:cubicBezTo>
                  <a:pt x="441" y="195"/>
                  <a:pt x="441" y="195"/>
                  <a:pt x="440" y="195"/>
                </a:cubicBezTo>
                <a:cubicBezTo>
                  <a:pt x="440" y="195"/>
                  <a:pt x="440" y="195"/>
                  <a:pt x="439" y="195"/>
                </a:cubicBezTo>
                <a:cubicBezTo>
                  <a:pt x="439" y="195"/>
                  <a:pt x="439" y="195"/>
                  <a:pt x="439" y="194"/>
                </a:cubicBezTo>
                <a:cubicBezTo>
                  <a:pt x="439" y="194"/>
                  <a:pt x="439" y="194"/>
                  <a:pt x="437" y="194"/>
                </a:cubicBezTo>
                <a:cubicBezTo>
                  <a:pt x="437" y="194"/>
                  <a:pt x="437" y="194"/>
                  <a:pt x="437" y="193"/>
                </a:cubicBezTo>
                <a:cubicBezTo>
                  <a:pt x="437" y="193"/>
                  <a:pt x="437" y="193"/>
                  <a:pt x="437" y="190"/>
                </a:cubicBezTo>
                <a:cubicBezTo>
                  <a:pt x="437" y="190"/>
                  <a:pt x="437" y="190"/>
                  <a:pt x="436" y="193"/>
                </a:cubicBezTo>
                <a:cubicBezTo>
                  <a:pt x="436" y="193"/>
                  <a:pt x="436" y="193"/>
                  <a:pt x="433" y="195"/>
                </a:cubicBezTo>
                <a:cubicBezTo>
                  <a:pt x="433" y="195"/>
                  <a:pt x="433" y="195"/>
                  <a:pt x="433" y="197"/>
                </a:cubicBezTo>
                <a:cubicBezTo>
                  <a:pt x="433" y="197"/>
                  <a:pt x="433" y="197"/>
                  <a:pt x="434" y="199"/>
                </a:cubicBezTo>
                <a:cubicBezTo>
                  <a:pt x="434" y="199"/>
                  <a:pt x="434" y="199"/>
                  <a:pt x="435" y="199"/>
                </a:cubicBezTo>
                <a:close/>
                <a:moveTo>
                  <a:pt x="466" y="180"/>
                </a:moveTo>
                <a:cubicBezTo>
                  <a:pt x="466" y="180"/>
                  <a:pt x="466" y="180"/>
                  <a:pt x="465" y="180"/>
                </a:cubicBezTo>
                <a:cubicBezTo>
                  <a:pt x="464" y="180"/>
                  <a:pt x="464" y="180"/>
                  <a:pt x="464" y="180"/>
                </a:cubicBezTo>
                <a:cubicBezTo>
                  <a:pt x="464" y="180"/>
                  <a:pt x="464" y="180"/>
                  <a:pt x="465" y="181"/>
                </a:cubicBezTo>
                <a:cubicBezTo>
                  <a:pt x="465" y="181"/>
                  <a:pt x="465" y="181"/>
                  <a:pt x="466" y="180"/>
                </a:cubicBezTo>
                <a:close/>
                <a:moveTo>
                  <a:pt x="362" y="344"/>
                </a:moveTo>
                <a:cubicBezTo>
                  <a:pt x="363" y="344"/>
                  <a:pt x="363" y="344"/>
                  <a:pt x="363" y="344"/>
                </a:cubicBezTo>
                <a:cubicBezTo>
                  <a:pt x="362" y="342"/>
                  <a:pt x="362" y="342"/>
                  <a:pt x="362" y="342"/>
                </a:cubicBezTo>
                <a:cubicBezTo>
                  <a:pt x="362" y="344"/>
                  <a:pt x="362" y="344"/>
                  <a:pt x="362" y="344"/>
                </a:cubicBezTo>
                <a:close/>
                <a:moveTo>
                  <a:pt x="386" y="335"/>
                </a:moveTo>
                <a:cubicBezTo>
                  <a:pt x="386" y="335"/>
                  <a:pt x="386" y="335"/>
                  <a:pt x="386" y="334"/>
                </a:cubicBezTo>
                <a:cubicBezTo>
                  <a:pt x="385" y="335"/>
                  <a:pt x="385" y="335"/>
                  <a:pt x="385" y="335"/>
                </a:cubicBezTo>
                <a:cubicBezTo>
                  <a:pt x="385" y="335"/>
                  <a:pt x="385" y="335"/>
                  <a:pt x="383" y="335"/>
                </a:cubicBezTo>
                <a:cubicBezTo>
                  <a:pt x="383" y="335"/>
                  <a:pt x="383" y="335"/>
                  <a:pt x="383" y="337"/>
                </a:cubicBezTo>
                <a:cubicBezTo>
                  <a:pt x="383" y="337"/>
                  <a:pt x="383" y="337"/>
                  <a:pt x="381" y="337"/>
                </a:cubicBezTo>
                <a:cubicBezTo>
                  <a:pt x="381" y="337"/>
                  <a:pt x="381" y="337"/>
                  <a:pt x="380" y="338"/>
                </a:cubicBezTo>
                <a:cubicBezTo>
                  <a:pt x="380" y="338"/>
                  <a:pt x="380" y="338"/>
                  <a:pt x="380" y="339"/>
                </a:cubicBezTo>
                <a:cubicBezTo>
                  <a:pt x="380" y="339"/>
                  <a:pt x="380" y="339"/>
                  <a:pt x="379" y="339"/>
                </a:cubicBezTo>
                <a:cubicBezTo>
                  <a:pt x="379" y="339"/>
                  <a:pt x="379" y="339"/>
                  <a:pt x="378" y="341"/>
                </a:cubicBezTo>
                <a:cubicBezTo>
                  <a:pt x="378" y="341"/>
                  <a:pt x="378" y="341"/>
                  <a:pt x="377" y="341"/>
                </a:cubicBezTo>
                <a:cubicBezTo>
                  <a:pt x="377" y="341"/>
                  <a:pt x="377" y="341"/>
                  <a:pt x="376" y="342"/>
                </a:cubicBezTo>
                <a:cubicBezTo>
                  <a:pt x="376" y="342"/>
                  <a:pt x="376" y="342"/>
                  <a:pt x="379" y="342"/>
                </a:cubicBezTo>
                <a:cubicBezTo>
                  <a:pt x="379" y="342"/>
                  <a:pt x="379" y="342"/>
                  <a:pt x="380" y="340"/>
                </a:cubicBezTo>
                <a:cubicBezTo>
                  <a:pt x="380" y="340"/>
                  <a:pt x="380" y="340"/>
                  <a:pt x="382" y="340"/>
                </a:cubicBezTo>
                <a:cubicBezTo>
                  <a:pt x="382" y="340"/>
                  <a:pt x="382" y="340"/>
                  <a:pt x="384" y="338"/>
                </a:cubicBezTo>
                <a:cubicBezTo>
                  <a:pt x="384" y="338"/>
                  <a:pt x="384" y="338"/>
                  <a:pt x="385" y="337"/>
                </a:cubicBezTo>
                <a:cubicBezTo>
                  <a:pt x="385" y="337"/>
                  <a:pt x="385" y="337"/>
                  <a:pt x="386" y="336"/>
                </a:cubicBezTo>
                <a:cubicBezTo>
                  <a:pt x="386" y="336"/>
                  <a:pt x="386" y="336"/>
                  <a:pt x="387" y="335"/>
                </a:cubicBezTo>
                <a:cubicBezTo>
                  <a:pt x="387" y="335"/>
                  <a:pt x="387" y="335"/>
                  <a:pt x="386" y="335"/>
                </a:cubicBezTo>
                <a:close/>
                <a:moveTo>
                  <a:pt x="370" y="341"/>
                </a:moveTo>
                <a:cubicBezTo>
                  <a:pt x="369" y="342"/>
                  <a:pt x="369" y="342"/>
                  <a:pt x="369" y="342"/>
                </a:cubicBezTo>
                <a:cubicBezTo>
                  <a:pt x="370" y="342"/>
                  <a:pt x="370" y="342"/>
                  <a:pt x="370" y="342"/>
                </a:cubicBezTo>
                <a:cubicBezTo>
                  <a:pt x="371" y="342"/>
                  <a:pt x="371" y="342"/>
                  <a:pt x="371" y="342"/>
                </a:cubicBezTo>
                <a:cubicBezTo>
                  <a:pt x="370" y="341"/>
                  <a:pt x="370" y="341"/>
                  <a:pt x="370" y="341"/>
                </a:cubicBezTo>
                <a:close/>
                <a:moveTo>
                  <a:pt x="365" y="342"/>
                </a:moveTo>
                <a:cubicBezTo>
                  <a:pt x="365" y="343"/>
                  <a:pt x="365" y="343"/>
                  <a:pt x="365" y="343"/>
                </a:cubicBezTo>
                <a:cubicBezTo>
                  <a:pt x="367" y="342"/>
                  <a:pt x="367" y="342"/>
                  <a:pt x="367" y="342"/>
                </a:cubicBezTo>
                <a:cubicBezTo>
                  <a:pt x="368" y="342"/>
                  <a:pt x="368" y="342"/>
                  <a:pt x="368" y="342"/>
                </a:cubicBezTo>
                <a:cubicBezTo>
                  <a:pt x="366" y="341"/>
                  <a:pt x="366" y="341"/>
                  <a:pt x="366" y="341"/>
                </a:cubicBezTo>
                <a:cubicBezTo>
                  <a:pt x="365" y="342"/>
                  <a:pt x="365" y="342"/>
                  <a:pt x="365" y="342"/>
                </a:cubicBezTo>
                <a:close/>
                <a:moveTo>
                  <a:pt x="842" y="675"/>
                </a:moveTo>
                <a:cubicBezTo>
                  <a:pt x="843" y="674"/>
                  <a:pt x="843" y="674"/>
                  <a:pt x="843" y="674"/>
                </a:cubicBezTo>
                <a:cubicBezTo>
                  <a:pt x="842" y="674"/>
                  <a:pt x="842" y="674"/>
                  <a:pt x="842" y="674"/>
                </a:cubicBezTo>
                <a:cubicBezTo>
                  <a:pt x="841" y="675"/>
                  <a:pt x="841" y="675"/>
                  <a:pt x="841" y="675"/>
                </a:cubicBezTo>
                <a:cubicBezTo>
                  <a:pt x="842" y="675"/>
                  <a:pt x="842" y="675"/>
                  <a:pt x="842" y="675"/>
                </a:cubicBezTo>
                <a:close/>
                <a:moveTo>
                  <a:pt x="864" y="685"/>
                </a:moveTo>
                <a:cubicBezTo>
                  <a:pt x="866" y="685"/>
                  <a:pt x="866" y="685"/>
                  <a:pt x="866" y="685"/>
                </a:cubicBezTo>
                <a:cubicBezTo>
                  <a:pt x="867" y="685"/>
                  <a:pt x="867" y="685"/>
                  <a:pt x="867" y="685"/>
                </a:cubicBezTo>
                <a:cubicBezTo>
                  <a:pt x="868" y="686"/>
                  <a:pt x="868" y="686"/>
                  <a:pt x="868" y="686"/>
                </a:cubicBezTo>
                <a:cubicBezTo>
                  <a:pt x="868" y="684"/>
                  <a:pt x="868" y="684"/>
                  <a:pt x="868" y="684"/>
                </a:cubicBezTo>
                <a:cubicBezTo>
                  <a:pt x="869" y="684"/>
                  <a:pt x="869" y="684"/>
                  <a:pt x="869" y="684"/>
                </a:cubicBezTo>
                <a:cubicBezTo>
                  <a:pt x="870" y="685"/>
                  <a:pt x="870" y="685"/>
                  <a:pt x="870" y="685"/>
                </a:cubicBezTo>
                <a:cubicBezTo>
                  <a:pt x="871" y="684"/>
                  <a:pt x="871" y="684"/>
                  <a:pt x="871" y="684"/>
                </a:cubicBezTo>
                <a:cubicBezTo>
                  <a:pt x="872" y="684"/>
                  <a:pt x="872" y="684"/>
                  <a:pt x="872" y="684"/>
                </a:cubicBezTo>
                <a:cubicBezTo>
                  <a:pt x="874" y="684"/>
                  <a:pt x="874" y="684"/>
                  <a:pt x="874" y="684"/>
                </a:cubicBezTo>
                <a:cubicBezTo>
                  <a:pt x="874" y="683"/>
                  <a:pt x="874" y="683"/>
                  <a:pt x="874" y="683"/>
                </a:cubicBezTo>
                <a:cubicBezTo>
                  <a:pt x="873" y="682"/>
                  <a:pt x="873" y="682"/>
                  <a:pt x="873" y="682"/>
                </a:cubicBezTo>
                <a:cubicBezTo>
                  <a:pt x="871" y="682"/>
                  <a:pt x="871" y="682"/>
                  <a:pt x="871" y="682"/>
                </a:cubicBezTo>
                <a:cubicBezTo>
                  <a:pt x="870" y="680"/>
                  <a:pt x="870" y="680"/>
                  <a:pt x="870" y="680"/>
                </a:cubicBezTo>
                <a:cubicBezTo>
                  <a:pt x="865" y="680"/>
                  <a:pt x="865" y="680"/>
                  <a:pt x="865" y="680"/>
                </a:cubicBezTo>
                <a:cubicBezTo>
                  <a:pt x="863" y="680"/>
                  <a:pt x="863" y="680"/>
                  <a:pt x="863" y="680"/>
                </a:cubicBezTo>
                <a:cubicBezTo>
                  <a:pt x="862" y="680"/>
                  <a:pt x="862" y="680"/>
                  <a:pt x="862" y="680"/>
                </a:cubicBezTo>
                <a:cubicBezTo>
                  <a:pt x="861" y="680"/>
                  <a:pt x="861" y="680"/>
                  <a:pt x="861" y="680"/>
                </a:cubicBezTo>
                <a:cubicBezTo>
                  <a:pt x="860" y="681"/>
                  <a:pt x="860" y="681"/>
                  <a:pt x="860" y="681"/>
                </a:cubicBezTo>
                <a:cubicBezTo>
                  <a:pt x="861" y="682"/>
                  <a:pt x="861" y="682"/>
                  <a:pt x="861" y="682"/>
                </a:cubicBezTo>
                <a:cubicBezTo>
                  <a:pt x="862" y="682"/>
                  <a:pt x="862" y="682"/>
                  <a:pt x="862" y="682"/>
                </a:cubicBezTo>
                <a:cubicBezTo>
                  <a:pt x="863" y="682"/>
                  <a:pt x="863" y="682"/>
                  <a:pt x="863" y="682"/>
                </a:cubicBezTo>
                <a:cubicBezTo>
                  <a:pt x="863" y="684"/>
                  <a:pt x="863" y="684"/>
                  <a:pt x="863" y="684"/>
                </a:cubicBezTo>
                <a:cubicBezTo>
                  <a:pt x="864" y="685"/>
                  <a:pt x="864" y="685"/>
                  <a:pt x="864" y="685"/>
                </a:cubicBezTo>
                <a:close/>
                <a:moveTo>
                  <a:pt x="895" y="669"/>
                </a:moveTo>
                <a:cubicBezTo>
                  <a:pt x="895" y="669"/>
                  <a:pt x="895" y="669"/>
                  <a:pt x="896" y="670"/>
                </a:cubicBezTo>
                <a:cubicBezTo>
                  <a:pt x="896" y="670"/>
                  <a:pt x="896" y="670"/>
                  <a:pt x="898" y="670"/>
                </a:cubicBezTo>
                <a:cubicBezTo>
                  <a:pt x="898" y="670"/>
                  <a:pt x="898" y="670"/>
                  <a:pt x="896" y="669"/>
                </a:cubicBezTo>
                <a:cubicBezTo>
                  <a:pt x="896" y="669"/>
                  <a:pt x="896" y="669"/>
                  <a:pt x="895" y="669"/>
                </a:cubicBezTo>
                <a:close/>
                <a:moveTo>
                  <a:pt x="895" y="678"/>
                </a:moveTo>
                <a:cubicBezTo>
                  <a:pt x="895" y="678"/>
                  <a:pt x="895" y="678"/>
                  <a:pt x="895" y="677"/>
                </a:cubicBezTo>
                <a:cubicBezTo>
                  <a:pt x="895" y="677"/>
                  <a:pt x="895" y="677"/>
                  <a:pt x="894" y="676"/>
                </a:cubicBezTo>
                <a:cubicBezTo>
                  <a:pt x="894" y="676"/>
                  <a:pt x="894" y="676"/>
                  <a:pt x="892" y="677"/>
                </a:cubicBezTo>
                <a:cubicBezTo>
                  <a:pt x="893" y="678"/>
                  <a:pt x="893" y="678"/>
                  <a:pt x="893" y="678"/>
                </a:cubicBezTo>
                <a:cubicBezTo>
                  <a:pt x="893" y="678"/>
                  <a:pt x="893" y="678"/>
                  <a:pt x="895" y="678"/>
                </a:cubicBezTo>
                <a:close/>
                <a:moveTo>
                  <a:pt x="877" y="672"/>
                </a:moveTo>
                <a:cubicBezTo>
                  <a:pt x="881" y="671"/>
                  <a:pt x="881" y="671"/>
                  <a:pt x="881" y="671"/>
                </a:cubicBezTo>
                <a:cubicBezTo>
                  <a:pt x="881" y="670"/>
                  <a:pt x="881" y="670"/>
                  <a:pt x="881" y="670"/>
                </a:cubicBezTo>
                <a:cubicBezTo>
                  <a:pt x="882" y="670"/>
                  <a:pt x="882" y="670"/>
                  <a:pt x="882" y="670"/>
                </a:cubicBezTo>
                <a:cubicBezTo>
                  <a:pt x="883" y="669"/>
                  <a:pt x="883" y="669"/>
                  <a:pt x="883" y="669"/>
                </a:cubicBezTo>
                <a:cubicBezTo>
                  <a:pt x="885" y="670"/>
                  <a:pt x="885" y="670"/>
                  <a:pt x="885" y="670"/>
                </a:cubicBezTo>
                <a:cubicBezTo>
                  <a:pt x="886" y="669"/>
                  <a:pt x="886" y="669"/>
                  <a:pt x="886" y="669"/>
                </a:cubicBezTo>
                <a:cubicBezTo>
                  <a:pt x="887" y="668"/>
                  <a:pt x="887" y="668"/>
                  <a:pt x="887" y="668"/>
                </a:cubicBezTo>
                <a:cubicBezTo>
                  <a:pt x="887" y="667"/>
                  <a:pt x="887" y="667"/>
                  <a:pt x="887" y="667"/>
                </a:cubicBezTo>
                <a:cubicBezTo>
                  <a:pt x="885" y="667"/>
                  <a:pt x="885" y="667"/>
                  <a:pt x="885" y="667"/>
                </a:cubicBezTo>
                <a:cubicBezTo>
                  <a:pt x="885" y="666"/>
                  <a:pt x="885" y="666"/>
                  <a:pt x="885" y="666"/>
                </a:cubicBezTo>
                <a:cubicBezTo>
                  <a:pt x="882" y="665"/>
                  <a:pt x="882" y="665"/>
                  <a:pt x="882" y="665"/>
                </a:cubicBezTo>
                <a:cubicBezTo>
                  <a:pt x="879" y="665"/>
                  <a:pt x="879" y="665"/>
                  <a:pt x="879" y="665"/>
                </a:cubicBezTo>
                <a:cubicBezTo>
                  <a:pt x="878" y="664"/>
                  <a:pt x="878" y="664"/>
                  <a:pt x="878" y="664"/>
                </a:cubicBezTo>
                <a:cubicBezTo>
                  <a:pt x="879" y="662"/>
                  <a:pt x="879" y="662"/>
                  <a:pt x="879" y="662"/>
                </a:cubicBezTo>
                <a:cubicBezTo>
                  <a:pt x="878" y="662"/>
                  <a:pt x="878" y="662"/>
                  <a:pt x="878" y="662"/>
                </a:cubicBezTo>
                <a:cubicBezTo>
                  <a:pt x="877" y="662"/>
                  <a:pt x="877" y="662"/>
                  <a:pt x="877" y="662"/>
                </a:cubicBezTo>
                <a:cubicBezTo>
                  <a:pt x="876" y="662"/>
                  <a:pt x="876" y="662"/>
                  <a:pt x="876" y="662"/>
                </a:cubicBezTo>
                <a:cubicBezTo>
                  <a:pt x="874" y="660"/>
                  <a:pt x="874" y="660"/>
                  <a:pt x="874" y="660"/>
                </a:cubicBezTo>
                <a:cubicBezTo>
                  <a:pt x="873" y="661"/>
                  <a:pt x="873" y="661"/>
                  <a:pt x="873" y="661"/>
                </a:cubicBezTo>
                <a:cubicBezTo>
                  <a:pt x="872" y="660"/>
                  <a:pt x="872" y="660"/>
                  <a:pt x="872" y="660"/>
                </a:cubicBezTo>
                <a:cubicBezTo>
                  <a:pt x="870" y="659"/>
                  <a:pt x="870" y="659"/>
                  <a:pt x="870" y="659"/>
                </a:cubicBezTo>
                <a:cubicBezTo>
                  <a:pt x="869" y="660"/>
                  <a:pt x="869" y="660"/>
                  <a:pt x="869" y="660"/>
                </a:cubicBezTo>
                <a:cubicBezTo>
                  <a:pt x="869" y="659"/>
                  <a:pt x="869" y="659"/>
                  <a:pt x="869" y="659"/>
                </a:cubicBezTo>
                <a:cubicBezTo>
                  <a:pt x="869" y="658"/>
                  <a:pt x="869" y="658"/>
                  <a:pt x="869" y="658"/>
                </a:cubicBezTo>
                <a:cubicBezTo>
                  <a:pt x="868" y="658"/>
                  <a:pt x="868" y="658"/>
                  <a:pt x="868" y="658"/>
                </a:cubicBezTo>
                <a:cubicBezTo>
                  <a:pt x="868" y="659"/>
                  <a:pt x="868" y="659"/>
                  <a:pt x="868" y="659"/>
                </a:cubicBezTo>
                <a:cubicBezTo>
                  <a:pt x="867" y="658"/>
                  <a:pt x="867" y="658"/>
                  <a:pt x="867" y="658"/>
                </a:cubicBezTo>
                <a:cubicBezTo>
                  <a:pt x="865" y="658"/>
                  <a:pt x="865" y="658"/>
                  <a:pt x="865" y="658"/>
                </a:cubicBezTo>
                <a:cubicBezTo>
                  <a:pt x="863" y="656"/>
                  <a:pt x="863" y="656"/>
                  <a:pt x="863" y="656"/>
                </a:cubicBezTo>
                <a:cubicBezTo>
                  <a:pt x="862" y="655"/>
                  <a:pt x="862" y="655"/>
                  <a:pt x="862" y="655"/>
                </a:cubicBezTo>
                <a:cubicBezTo>
                  <a:pt x="860" y="654"/>
                  <a:pt x="860" y="654"/>
                  <a:pt x="860" y="654"/>
                </a:cubicBezTo>
                <a:cubicBezTo>
                  <a:pt x="857" y="654"/>
                  <a:pt x="857" y="654"/>
                  <a:pt x="857" y="654"/>
                </a:cubicBezTo>
                <a:cubicBezTo>
                  <a:pt x="856" y="653"/>
                  <a:pt x="856" y="653"/>
                  <a:pt x="856" y="653"/>
                </a:cubicBezTo>
                <a:cubicBezTo>
                  <a:pt x="855" y="652"/>
                  <a:pt x="855" y="652"/>
                  <a:pt x="855" y="652"/>
                </a:cubicBezTo>
                <a:cubicBezTo>
                  <a:pt x="854" y="650"/>
                  <a:pt x="854" y="650"/>
                  <a:pt x="854" y="650"/>
                </a:cubicBezTo>
                <a:cubicBezTo>
                  <a:pt x="852" y="651"/>
                  <a:pt x="852" y="651"/>
                  <a:pt x="852" y="651"/>
                </a:cubicBezTo>
                <a:cubicBezTo>
                  <a:pt x="852" y="650"/>
                  <a:pt x="852" y="650"/>
                  <a:pt x="852" y="650"/>
                </a:cubicBezTo>
                <a:cubicBezTo>
                  <a:pt x="847" y="649"/>
                  <a:pt x="847" y="649"/>
                  <a:pt x="847" y="649"/>
                </a:cubicBezTo>
                <a:cubicBezTo>
                  <a:pt x="846" y="650"/>
                  <a:pt x="846" y="650"/>
                  <a:pt x="846" y="650"/>
                </a:cubicBezTo>
                <a:cubicBezTo>
                  <a:pt x="844" y="649"/>
                  <a:pt x="844" y="649"/>
                  <a:pt x="844" y="649"/>
                </a:cubicBezTo>
                <a:cubicBezTo>
                  <a:pt x="843" y="648"/>
                  <a:pt x="843" y="648"/>
                  <a:pt x="843" y="648"/>
                </a:cubicBezTo>
                <a:cubicBezTo>
                  <a:pt x="840" y="648"/>
                  <a:pt x="840" y="648"/>
                  <a:pt x="840" y="648"/>
                </a:cubicBezTo>
                <a:cubicBezTo>
                  <a:pt x="837" y="648"/>
                  <a:pt x="837" y="648"/>
                  <a:pt x="837" y="648"/>
                </a:cubicBezTo>
                <a:cubicBezTo>
                  <a:pt x="836" y="649"/>
                  <a:pt x="836" y="649"/>
                  <a:pt x="836" y="649"/>
                </a:cubicBezTo>
                <a:cubicBezTo>
                  <a:pt x="832" y="649"/>
                  <a:pt x="832" y="649"/>
                  <a:pt x="832" y="649"/>
                </a:cubicBezTo>
                <a:cubicBezTo>
                  <a:pt x="830" y="649"/>
                  <a:pt x="830" y="649"/>
                  <a:pt x="830" y="649"/>
                </a:cubicBezTo>
                <a:cubicBezTo>
                  <a:pt x="829" y="650"/>
                  <a:pt x="829" y="650"/>
                  <a:pt x="829" y="650"/>
                </a:cubicBezTo>
                <a:cubicBezTo>
                  <a:pt x="826" y="651"/>
                  <a:pt x="826" y="651"/>
                  <a:pt x="826" y="651"/>
                </a:cubicBezTo>
                <a:cubicBezTo>
                  <a:pt x="825" y="652"/>
                  <a:pt x="825" y="652"/>
                  <a:pt x="825" y="652"/>
                </a:cubicBezTo>
                <a:cubicBezTo>
                  <a:pt x="824" y="653"/>
                  <a:pt x="824" y="653"/>
                  <a:pt x="824" y="653"/>
                </a:cubicBezTo>
                <a:cubicBezTo>
                  <a:pt x="824" y="654"/>
                  <a:pt x="824" y="654"/>
                  <a:pt x="824" y="654"/>
                </a:cubicBezTo>
                <a:cubicBezTo>
                  <a:pt x="825" y="655"/>
                  <a:pt x="825" y="655"/>
                  <a:pt x="825" y="655"/>
                </a:cubicBezTo>
                <a:cubicBezTo>
                  <a:pt x="824" y="656"/>
                  <a:pt x="824" y="656"/>
                  <a:pt x="824" y="656"/>
                </a:cubicBezTo>
                <a:cubicBezTo>
                  <a:pt x="823" y="655"/>
                  <a:pt x="823" y="655"/>
                  <a:pt x="823" y="655"/>
                </a:cubicBezTo>
                <a:cubicBezTo>
                  <a:pt x="821" y="657"/>
                  <a:pt x="821" y="657"/>
                  <a:pt x="821" y="657"/>
                </a:cubicBezTo>
                <a:cubicBezTo>
                  <a:pt x="820" y="656"/>
                  <a:pt x="820" y="656"/>
                  <a:pt x="820" y="656"/>
                </a:cubicBezTo>
                <a:cubicBezTo>
                  <a:pt x="820" y="657"/>
                  <a:pt x="820" y="657"/>
                  <a:pt x="820" y="657"/>
                </a:cubicBezTo>
                <a:cubicBezTo>
                  <a:pt x="821" y="658"/>
                  <a:pt x="821" y="658"/>
                  <a:pt x="821" y="658"/>
                </a:cubicBezTo>
                <a:cubicBezTo>
                  <a:pt x="823" y="656"/>
                  <a:pt x="823" y="656"/>
                  <a:pt x="823" y="656"/>
                </a:cubicBezTo>
                <a:cubicBezTo>
                  <a:pt x="823" y="657"/>
                  <a:pt x="823" y="657"/>
                  <a:pt x="823" y="657"/>
                </a:cubicBezTo>
                <a:cubicBezTo>
                  <a:pt x="825" y="657"/>
                  <a:pt x="825" y="657"/>
                  <a:pt x="825" y="657"/>
                </a:cubicBezTo>
                <a:cubicBezTo>
                  <a:pt x="826" y="656"/>
                  <a:pt x="826" y="656"/>
                  <a:pt x="826" y="656"/>
                </a:cubicBezTo>
                <a:cubicBezTo>
                  <a:pt x="827" y="655"/>
                  <a:pt x="827" y="655"/>
                  <a:pt x="827" y="655"/>
                </a:cubicBezTo>
                <a:cubicBezTo>
                  <a:pt x="829" y="655"/>
                  <a:pt x="829" y="655"/>
                  <a:pt x="829" y="655"/>
                </a:cubicBezTo>
                <a:cubicBezTo>
                  <a:pt x="829" y="654"/>
                  <a:pt x="829" y="654"/>
                  <a:pt x="829" y="654"/>
                </a:cubicBezTo>
                <a:cubicBezTo>
                  <a:pt x="830" y="655"/>
                  <a:pt x="830" y="655"/>
                  <a:pt x="830" y="655"/>
                </a:cubicBezTo>
                <a:cubicBezTo>
                  <a:pt x="831" y="655"/>
                  <a:pt x="831" y="655"/>
                  <a:pt x="831" y="655"/>
                </a:cubicBezTo>
                <a:cubicBezTo>
                  <a:pt x="833" y="652"/>
                  <a:pt x="833" y="652"/>
                  <a:pt x="833" y="652"/>
                </a:cubicBezTo>
                <a:cubicBezTo>
                  <a:pt x="834" y="652"/>
                  <a:pt x="834" y="652"/>
                  <a:pt x="834" y="652"/>
                </a:cubicBezTo>
                <a:cubicBezTo>
                  <a:pt x="835" y="651"/>
                  <a:pt x="835" y="651"/>
                  <a:pt x="835" y="651"/>
                </a:cubicBezTo>
                <a:cubicBezTo>
                  <a:pt x="837" y="652"/>
                  <a:pt x="837" y="652"/>
                  <a:pt x="837" y="652"/>
                </a:cubicBezTo>
                <a:cubicBezTo>
                  <a:pt x="838" y="652"/>
                  <a:pt x="838" y="652"/>
                  <a:pt x="838" y="652"/>
                </a:cubicBezTo>
                <a:cubicBezTo>
                  <a:pt x="841" y="652"/>
                  <a:pt x="841" y="652"/>
                  <a:pt x="841" y="652"/>
                </a:cubicBezTo>
                <a:cubicBezTo>
                  <a:pt x="842" y="653"/>
                  <a:pt x="842" y="653"/>
                  <a:pt x="842" y="653"/>
                </a:cubicBezTo>
                <a:cubicBezTo>
                  <a:pt x="841" y="653"/>
                  <a:pt x="841" y="653"/>
                  <a:pt x="841" y="653"/>
                </a:cubicBezTo>
                <a:cubicBezTo>
                  <a:pt x="839" y="653"/>
                  <a:pt x="839" y="653"/>
                  <a:pt x="839" y="653"/>
                </a:cubicBezTo>
                <a:cubicBezTo>
                  <a:pt x="838" y="654"/>
                  <a:pt x="838" y="654"/>
                  <a:pt x="838" y="654"/>
                </a:cubicBezTo>
                <a:cubicBezTo>
                  <a:pt x="839" y="655"/>
                  <a:pt x="839" y="655"/>
                  <a:pt x="839" y="655"/>
                </a:cubicBezTo>
                <a:cubicBezTo>
                  <a:pt x="843" y="655"/>
                  <a:pt x="843" y="655"/>
                  <a:pt x="843" y="655"/>
                </a:cubicBezTo>
                <a:cubicBezTo>
                  <a:pt x="844" y="655"/>
                  <a:pt x="844" y="655"/>
                  <a:pt x="844" y="655"/>
                </a:cubicBezTo>
                <a:cubicBezTo>
                  <a:pt x="845" y="655"/>
                  <a:pt x="845" y="655"/>
                  <a:pt x="845" y="655"/>
                </a:cubicBezTo>
                <a:cubicBezTo>
                  <a:pt x="846" y="656"/>
                  <a:pt x="846" y="656"/>
                  <a:pt x="846" y="656"/>
                </a:cubicBezTo>
                <a:cubicBezTo>
                  <a:pt x="848" y="656"/>
                  <a:pt x="848" y="656"/>
                  <a:pt x="848" y="656"/>
                </a:cubicBezTo>
                <a:cubicBezTo>
                  <a:pt x="849" y="656"/>
                  <a:pt x="849" y="656"/>
                  <a:pt x="849" y="656"/>
                </a:cubicBezTo>
                <a:cubicBezTo>
                  <a:pt x="849" y="655"/>
                  <a:pt x="849" y="655"/>
                  <a:pt x="849" y="655"/>
                </a:cubicBezTo>
                <a:cubicBezTo>
                  <a:pt x="850" y="656"/>
                  <a:pt x="850" y="656"/>
                  <a:pt x="850" y="656"/>
                </a:cubicBezTo>
                <a:cubicBezTo>
                  <a:pt x="852" y="658"/>
                  <a:pt x="852" y="658"/>
                  <a:pt x="852" y="658"/>
                </a:cubicBezTo>
                <a:cubicBezTo>
                  <a:pt x="854" y="658"/>
                  <a:pt x="854" y="658"/>
                  <a:pt x="854" y="658"/>
                </a:cubicBezTo>
                <a:cubicBezTo>
                  <a:pt x="855" y="659"/>
                  <a:pt x="855" y="659"/>
                  <a:pt x="855" y="659"/>
                </a:cubicBezTo>
                <a:cubicBezTo>
                  <a:pt x="857" y="659"/>
                  <a:pt x="857" y="659"/>
                  <a:pt x="857" y="659"/>
                </a:cubicBezTo>
                <a:cubicBezTo>
                  <a:pt x="858" y="659"/>
                  <a:pt x="858" y="659"/>
                  <a:pt x="858" y="659"/>
                </a:cubicBezTo>
                <a:cubicBezTo>
                  <a:pt x="859" y="658"/>
                  <a:pt x="859" y="658"/>
                  <a:pt x="859" y="658"/>
                </a:cubicBezTo>
                <a:cubicBezTo>
                  <a:pt x="860" y="659"/>
                  <a:pt x="860" y="659"/>
                  <a:pt x="860" y="659"/>
                </a:cubicBezTo>
                <a:cubicBezTo>
                  <a:pt x="861" y="662"/>
                  <a:pt x="861" y="662"/>
                  <a:pt x="861" y="662"/>
                </a:cubicBezTo>
                <a:cubicBezTo>
                  <a:pt x="863" y="665"/>
                  <a:pt x="863" y="665"/>
                  <a:pt x="863" y="665"/>
                </a:cubicBezTo>
                <a:cubicBezTo>
                  <a:pt x="864" y="665"/>
                  <a:pt x="864" y="665"/>
                  <a:pt x="864" y="665"/>
                </a:cubicBezTo>
                <a:cubicBezTo>
                  <a:pt x="865" y="664"/>
                  <a:pt x="865" y="664"/>
                  <a:pt x="865" y="664"/>
                </a:cubicBezTo>
                <a:cubicBezTo>
                  <a:pt x="866" y="665"/>
                  <a:pt x="866" y="665"/>
                  <a:pt x="866" y="665"/>
                </a:cubicBezTo>
                <a:cubicBezTo>
                  <a:pt x="868" y="665"/>
                  <a:pt x="868" y="665"/>
                  <a:pt x="868" y="665"/>
                </a:cubicBezTo>
                <a:cubicBezTo>
                  <a:pt x="869" y="666"/>
                  <a:pt x="869" y="666"/>
                  <a:pt x="869" y="666"/>
                </a:cubicBezTo>
                <a:cubicBezTo>
                  <a:pt x="870" y="666"/>
                  <a:pt x="870" y="666"/>
                  <a:pt x="870" y="666"/>
                </a:cubicBezTo>
                <a:cubicBezTo>
                  <a:pt x="869" y="668"/>
                  <a:pt x="869" y="668"/>
                  <a:pt x="869" y="668"/>
                </a:cubicBezTo>
                <a:cubicBezTo>
                  <a:pt x="868" y="668"/>
                  <a:pt x="868" y="668"/>
                  <a:pt x="868" y="668"/>
                </a:cubicBezTo>
                <a:cubicBezTo>
                  <a:pt x="866" y="670"/>
                  <a:pt x="866" y="670"/>
                  <a:pt x="866" y="670"/>
                </a:cubicBezTo>
                <a:cubicBezTo>
                  <a:pt x="866" y="671"/>
                  <a:pt x="866" y="671"/>
                  <a:pt x="866" y="671"/>
                </a:cubicBezTo>
                <a:cubicBezTo>
                  <a:pt x="868" y="671"/>
                  <a:pt x="868" y="671"/>
                  <a:pt x="868" y="671"/>
                </a:cubicBezTo>
                <a:cubicBezTo>
                  <a:pt x="869" y="671"/>
                  <a:pt x="869" y="671"/>
                  <a:pt x="869" y="671"/>
                </a:cubicBezTo>
                <a:cubicBezTo>
                  <a:pt x="870" y="671"/>
                  <a:pt x="870" y="671"/>
                  <a:pt x="870" y="671"/>
                </a:cubicBezTo>
                <a:cubicBezTo>
                  <a:pt x="873" y="670"/>
                  <a:pt x="873" y="670"/>
                  <a:pt x="873" y="670"/>
                </a:cubicBezTo>
                <a:cubicBezTo>
                  <a:pt x="875" y="671"/>
                  <a:pt x="875" y="671"/>
                  <a:pt x="875" y="671"/>
                </a:cubicBezTo>
                <a:cubicBezTo>
                  <a:pt x="877" y="672"/>
                  <a:pt x="877" y="672"/>
                  <a:pt x="877" y="672"/>
                </a:cubicBezTo>
                <a:close/>
                <a:moveTo>
                  <a:pt x="832" y="658"/>
                </a:moveTo>
                <a:cubicBezTo>
                  <a:pt x="832" y="659"/>
                  <a:pt x="832" y="659"/>
                  <a:pt x="832" y="659"/>
                </a:cubicBezTo>
                <a:cubicBezTo>
                  <a:pt x="834" y="660"/>
                  <a:pt x="834" y="660"/>
                  <a:pt x="834" y="660"/>
                </a:cubicBezTo>
                <a:cubicBezTo>
                  <a:pt x="835" y="659"/>
                  <a:pt x="835" y="659"/>
                  <a:pt x="835" y="659"/>
                </a:cubicBezTo>
                <a:cubicBezTo>
                  <a:pt x="836" y="658"/>
                  <a:pt x="836" y="658"/>
                  <a:pt x="836" y="658"/>
                </a:cubicBezTo>
                <a:cubicBezTo>
                  <a:pt x="834" y="657"/>
                  <a:pt x="834" y="657"/>
                  <a:pt x="834" y="657"/>
                </a:cubicBezTo>
                <a:cubicBezTo>
                  <a:pt x="833" y="656"/>
                  <a:pt x="833" y="656"/>
                  <a:pt x="833" y="656"/>
                </a:cubicBezTo>
                <a:cubicBezTo>
                  <a:pt x="833" y="657"/>
                  <a:pt x="833" y="657"/>
                  <a:pt x="833" y="657"/>
                </a:cubicBezTo>
                <a:cubicBezTo>
                  <a:pt x="833" y="658"/>
                  <a:pt x="833" y="658"/>
                  <a:pt x="833" y="658"/>
                </a:cubicBezTo>
                <a:cubicBezTo>
                  <a:pt x="834" y="658"/>
                  <a:pt x="834" y="658"/>
                  <a:pt x="834" y="658"/>
                </a:cubicBezTo>
                <a:cubicBezTo>
                  <a:pt x="833" y="659"/>
                  <a:pt x="833" y="659"/>
                  <a:pt x="833" y="659"/>
                </a:cubicBezTo>
                <a:cubicBezTo>
                  <a:pt x="832" y="658"/>
                  <a:pt x="832" y="658"/>
                  <a:pt x="832" y="658"/>
                </a:cubicBezTo>
                <a:close/>
                <a:moveTo>
                  <a:pt x="894" y="662"/>
                </a:moveTo>
                <a:cubicBezTo>
                  <a:pt x="892" y="661"/>
                  <a:pt x="892" y="661"/>
                  <a:pt x="892" y="661"/>
                </a:cubicBezTo>
                <a:cubicBezTo>
                  <a:pt x="891" y="662"/>
                  <a:pt x="891" y="662"/>
                  <a:pt x="891" y="662"/>
                </a:cubicBezTo>
                <a:cubicBezTo>
                  <a:pt x="890" y="664"/>
                  <a:pt x="890" y="664"/>
                  <a:pt x="890" y="664"/>
                </a:cubicBezTo>
                <a:cubicBezTo>
                  <a:pt x="894" y="664"/>
                  <a:pt x="894" y="664"/>
                  <a:pt x="894" y="664"/>
                </a:cubicBezTo>
                <a:cubicBezTo>
                  <a:pt x="895" y="662"/>
                  <a:pt x="895" y="662"/>
                  <a:pt x="895" y="662"/>
                </a:cubicBezTo>
                <a:cubicBezTo>
                  <a:pt x="895" y="661"/>
                  <a:pt x="895" y="661"/>
                  <a:pt x="895" y="661"/>
                </a:cubicBezTo>
                <a:cubicBezTo>
                  <a:pt x="894" y="661"/>
                  <a:pt x="894" y="661"/>
                  <a:pt x="894" y="661"/>
                </a:cubicBezTo>
                <a:cubicBezTo>
                  <a:pt x="894" y="662"/>
                  <a:pt x="894" y="662"/>
                  <a:pt x="894" y="662"/>
                </a:cubicBezTo>
                <a:close/>
                <a:moveTo>
                  <a:pt x="894" y="654"/>
                </a:moveTo>
                <a:cubicBezTo>
                  <a:pt x="895" y="654"/>
                  <a:pt x="895" y="654"/>
                  <a:pt x="895" y="654"/>
                </a:cubicBezTo>
                <a:cubicBezTo>
                  <a:pt x="896" y="654"/>
                  <a:pt x="896" y="654"/>
                  <a:pt x="896" y="654"/>
                </a:cubicBezTo>
                <a:cubicBezTo>
                  <a:pt x="897" y="655"/>
                  <a:pt x="897" y="655"/>
                  <a:pt x="897" y="655"/>
                </a:cubicBezTo>
                <a:cubicBezTo>
                  <a:pt x="897" y="654"/>
                  <a:pt x="897" y="654"/>
                  <a:pt x="897" y="654"/>
                </a:cubicBezTo>
                <a:cubicBezTo>
                  <a:pt x="895" y="653"/>
                  <a:pt x="895" y="653"/>
                  <a:pt x="895" y="653"/>
                </a:cubicBezTo>
                <a:cubicBezTo>
                  <a:pt x="894" y="654"/>
                  <a:pt x="894" y="654"/>
                  <a:pt x="894" y="654"/>
                </a:cubicBezTo>
                <a:close/>
                <a:moveTo>
                  <a:pt x="867" y="645"/>
                </a:moveTo>
                <a:cubicBezTo>
                  <a:pt x="868" y="645"/>
                  <a:pt x="868" y="645"/>
                  <a:pt x="868" y="645"/>
                </a:cubicBezTo>
                <a:cubicBezTo>
                  <a:pt x="869" y="643"/>
                  <a:pt x="869" y="643"/>
                  <a:pt x="869" y="643"/>
                </a:cubicBezTo>
                <a:cubicBezTo>
                  <a:pt x="869" y="642"/>
                  <a:pt x="869" y="642"/>
                  <a:pt x="869" y="642"/>
                </a:cubicBezTo>
                <a:cubicBezTo>
                  <a:pt x="868" y="641"/>
                  <a:pt x="868" y="641"/>
                  <a:pt x="868" y="641"/>
                </a:cubicBezTo>
                <a:cubicBezTo>
                  <a:pt x="867" y="642"/>
                  <a:pt x="867" y="642"/>
                  <a:pt x="867" y="642"/>
                </a:cubicBezTo>
                <a:cubicBezTo>
                  <a:pt x="867" y="643"/>
                  <a:pt x="867" y="643"/>
                  <a:pt x="867" y="643"/>
                </a:cubicBezTo>
                <a:cubicBezTo>
                  <a:pt x="867" y="645"/>
                  <a:pt x="867" y="645"/>
                  <a:pt x="867" y="645"/>
                </a:cubicBezTo>
                <a:close/>
                <a:moveTo>
                  <a:pt x="869" y="635"/>
                </a:moveTo>
                <a:cubicBezTo>
                  <a:pt x="870" y="635"/>
                  <a:pt x="870" y="635"/>
                  <a:pt x="870" y="635"/>
                </a:cubicBezTo>
                <a:cubicBezTo>
                  <a:pt x="872" y="635"/>
                  <a:pt x="872" y="635"/>
                  <a:pt x="872" y="635"/>
                </a:cubicBezTo>
                <a:cubicBezTo>
                  <a:pt x="872" y="634"/>
                  <a:pt x="872" y="634"/>
                  <a:pt x="872" y="634"/>
                </a:cubicBezTo>
                <a:cubicBezTo>
                  <a:pt x="871" y="634"/>
                  <a:pt x="871" y="634"/>
                  <a:pt x="871" y="634"/>
                </a:cubicBezTo>
                <a:cubicBezTo>
                  <a:pt x="869" y="635"/>
                  <a:pt x="869" y="635"/>
                  <a:pt x="869" y="635"/>
                </a:cubicBezTo>
                <a:close/>
                <a:moveTo>
                  <a:pt x="871" y="622"/>
                </a:moveTo>
                <a:cubicBezTo>
                  <a:pt x="871" y="624"/>
                  <a:pt x="871" y="624"/>
                  <a:pt x="871" y="624"/>
                </a:cubicBezTo>
                <a:cubicBezTo>
                  <a:pt x="872" y="625"/>
                  <a:pt x="872" y="625"/>
                  <a:pt x="872" y="625"/>
                </a:cubicBezTo>
                <a:cubicBezTo>
                  <a:pt x="872" y="626"/>
                  <a:pt x="872" y="626"/>
                  <a:pt x="872" y="626"/>
                </a:cubicBezTo>
                <a:cubicBezTo>
                  <a:pt x="872" y="627"/>
                  <a:pt x="872" y="627"/>
                  <a:pt x="872" y="627"/>
                </a:cubicBezTo>
                <a:cubicBezTo>
                  <a:pt x="872" y="629"/>
                  <a:pt x="872" y="629"/>
                  <a:pt x="872" y="629"/>
                </a:cubicBezTo>
                <a:cubicBezTo>
                  <a:pt x="873" y="628"/>
                  <a:pt x="873" y="628"/>
                  <a:pt x="873" y="628"/>
                </a:cubicBezTo>
                <a:cubicBezTo>
                  <a:pt x="873" y="627"/>
                  <a:pt x="873" y="627"/>
                  <a:pt x="873" y="627"/>
                </a:cubicBezTo>
                <a:cubicBezTo>
                  <a:pt x="874" y="627"/>
                  <a:pt x="874" y="627"/>
                  <a:pt x="874" y="627"/>
                </a:cubicBezTo>
                <a:cubicBezTo>
                  <a:pt x="874" y="625"/>
                  <a:pt x="874" y="625"/>
                  <a:pt x="874" y="625"/>
                </a:cubicBezTo>
                <a:cubicBezTo>
                  <a:pt x="873" y="624"/>
                  <a:pt x="873" y="624"/>
                  <a:pt x="873" y="624"/>
                </a:cubicBezTo>
                <a:cubicBezTo>
                  <a:pt x="873" y="623"/>
                  <a:pt x="873" y="623"/>
                  <a:pt x="873" y="623"/>
                </a:cubicBezTo>
                <a:cubicBezTo>
                  <a:pt x="871" y="622"/>
                  <a:pt x="871" y="622"/>
                  <a:pt x="871" y="622"/>
                </a:cubicBezTo>
                <a:close/>
                <a:moveTo>
                  <a:pt x="887" y="641"/>
                </a:moveTo>
                <a:cubicBezTo>
                  <a:pt x="887" y="643"/>
                  <a:pt x="887" y="643"/>
                  <a:pt x="887" y="643"/>
                </a:cubicBezTo>
                <a:cubicBezTo>
                  <a:pt x="888" y="642"/>
                  <a:pt x="888" y="642"/>
                  <a:pt x="888" y="642"/>
                </a:cubicBezTo>
                <a:cubicBezTo>
                  <a:pt x="887" y="641"/>
                  <a:pt x="887" y="641"/>
                  <a:pt x="887" y="641"/>
                </a:cubicBezTo>
                <a:close/>
                <a:moveTo>
                  <a:pt x="867" y="640"/>
                </a:moveTo>
                <a:cubicBezTo>
                  <a:pt x="867" y="641"/>
                  <a:pt x="867" y="641"/>
                  <a:pt x="867" y="641"/>
                </a:cubicBezTo>
                <a:cubicBezTo>
                  <a:pt x="868" y="640"/>
                  <a:pt x="868" y="640"/>
                  <a:pt x="868" y="640"/>
                </a:cubicBezTo>
                <a:cubicBezTo>
                  <a:pt x="867" y="640"/>
                  <a:pt x="867" y="640"/>
                  <a:pt x="867" y="640"/>
                </a:cubicBezTo>
                <a:close/>
                <a:moveTo>
                  <a:pt x="866" y="641"/>
                </a:moveTo>
                <a:cubicBezTo>
                  <a:pt x="867" y="642"/>
                  <a:pt x="867" y="642"/>
                  <a:pt x="867" y="642"/>
                </a:cubicBezTo>
                <a:cubicBezTo>
                  <a:pt x="867" y="641"/>
                  <a:pt x="867" y="641"/>
                  <a:pt x="867" y="641"/>
                </a:cubicBezTo>
                <a:cubicBezTo>
                  <a:pt x="866" y="641"/>
                  <a:pt x="866" y="641"/>
                  <a:pt x="866" y="641"/>
                </a:cubicBezTo>
                <a:close/>
                <a:moveTo>
                  <a:pt x="866" y="635"/>
                </a:moveTo>
                <a:cubicBezTo>
                  <a:pt x="865" y="636"/>
                  <a:pt x="865" y="636"/>
                  <a:pt x="865" y="636"/>
                </a:cubicBezTo>
                <a:cubicBezTo>
                  <a:pt x="864" y="638"/>
                  <a:pt x="864" y="638"/>
                  <a:pt x="864" y="638"/>
                </a:cubicBezTo>
                <a:cubicBezTo>
                  <a:pt x="865" y="639"/>
                  <a:pt x="865" y="639"/>
                  <a:pt x="865" y="639"/>
                </a:cubicBezTo>
                <a:cubicBezTo>
                  <a:pt x="866" y="638"/>
                  <a:pt x="866" y="638"/>
                  <a:pt x="866" y="638"/>
                </a:cubicBezTo>
                <a:cubicBezTo>
                  <a:pt x="866" y="640"/>
                  <a:pt x="866" y="640"/>
                  <a:pt x="866" y="640"/>
                </a:cubicBezTo>
                <a:cubicBezTo>
                  <a:pt x="868" y="639"/>
                  <a:pt x="868" y="639"/>
                  <a:pt x="868" y="639"/>
                </a:cubicBezTo>
                <a:cubicBezTo>
                  <a:pt x="867" y="637"/>
                  <a:pt x="867" y="637"/>
                  <a:pt x="867" y="637"/>
                </a:cubicBezTo>
                <a:cubicBezTo>
                  <a:pt x="867" y="635"/>
                  <a:pt x="867" y="635"/>
                  <a:pt x="867" y="635"/>
                </a:cubicBezTo>
                <a:cubicBezTo>
                  <a:pt x="866" y="635"/>
                  <a:pt x="866" y="635"/>
                  <a:pt x="866" y="635"/>
                </a:cubicBezTo>
                <a:close/>
                <a:moveTo>
                  <a:pt x="866" y="622"/>
                </a:moveTo>
                <a:cubicBezTo>
                  <a:pt x="864" y="624"/>
                  <a:pt x="864" y="624"/>
                  <a:pt x="864" y="624"/>
                </a:cubicBezTo>
                <a:cubicBezTo>
                  <a:pt x="863" y="623"/>
                  <a:pt x="863" y="623"/>
                  <a:pt x="863" y="623"/>
                </a:cubicBezTo>
                <a:cubicBezTo>
                  <a:pt x="861" y="623"/>
                  <a:pt x="861" y="623"/>
                  <a:pt x="861" y="623"/>
                </a:cubicBezTo>
                <a:cubicBezTo>
                  <a:pt x="863" y="625"/>
                  <a:pt x="863" y="625"/>
                  <a:pt x="863" y="625"/>
                </a:cubicBezTo>
                <a:cubicBezTo>
                  <a:pt x="864" y="625"/>
                  <a:pt x="864" y="625"/>
                  <a:pt x="864" y="625"/>
                </a:cubicBezTo>
                <a:cubicBezTo>
                  <a:pt x="867" y="623"/>
                  <a:pt x="867" y="623"/>
                  <a:pt x="867" y="623"/>
                </a:cubicBezTo>
                <a:cubicBezTo>
                  <a:pt x="868" y="624"/>
                  <a:pt x="868" y="624"/>
                  <a:pt x="868" y="624"/>
                </a:cubicBezTo>
                <a:cubicBezTo>
                  <a:pt x="869" y="624"/>
                  <a:pt x="869" y="624"/>
                  <a:pt x="869" y="624"/>
                </a:cubicBezTo>
                <a:cubicBezTo>
                  <a:pt x="867" y="622"/>
                  <a:pt x="867" y="622"/>
                  <a:pt x="867" y="622"/>
                </a:cubicBezTo>
                <a:cubicBezTo>
                  <a:pt x="866" y="622"/>
                  <a:pt x="866" y="622"/>
                  <a:pt x="866" y="622"/>
                </a:cubicBezTo>
                <a:close/>
                <a:moveTo>
                  <a:pt x="878" y="645"/>
                </a:moveTo>
                <a:cubicBezTo>
                  <a:pt x="878" y="644"/>
                  <a:pt x="878" y="644"/>
                  <a:pt x="878" y="644"/>
                </a:cubicBezTo>
                <a:cubicBezTo>
                  <a:pt x="877" y="645"/>
                  <a:pt x="877" y="645"/>
                  <a:pt x="877" y="645"/>
                </a:cubicBezTo>
                <a:cubicBezTo>
                  <a:pt x="878" y="645"/>
                  <a:pt x="878" y="645"/>
                  <a:pt x="878" y="645"/>
                </a:cubicBezTo>
                <a:close/>
                <a:moveTo>
                  <a:pt x="882" y="647"/>
                </a:moveTo>
                <a:cubicBezTo>
                  <a:pt x="883" y="649"/>
                  <a:pt x="883" y="649"/>
                  <a:pt x="883" y="649"/>
                </a:cubicBezTo>
                <a:cubicBezTo>
                  <a:pt x="884" y="650"/>
                  <a:pt x="884" y="650"/>
                  <a:pt x="884" y="650"/>
                </a:cubicBezTo>
                <a:cubicBezTo>
                  <a:pt x="885" y="650"/>
                  <a:pt x="885" y="650"/>
                  <a:pt x="885" y="650"/>
                </a:cubicBezTo>
                <a:cubicBezTo>
                  <a:pt x="884" y="648"/>
                  <a:pt x="884" y="648"/>
                  <a:pt x="884" y="648"/>
                </a:cubicBezTo>
                <a:cubicBezTo>
                  <a:pt x="883" y="647"/>
                  <a:pt x="883" y="647"/>
                  <a:pt x="883" y="647"/>
                </a:cubicBezTo>
                <a:cubicBezTo>
                  <a:pt x="882" y="647"/>
                  <a:pt x="882" y="647"/>
                  <a:pt x="882" y="647"/>
                </a:cubicBezTo>
                <a:close/>
                <a:moveTo>
                  <a:pt x="888" y="651"/>
                </a:moveTo>
                <a:cubicBezTo>
                  <a:pt x="889" y="651"/>
                  <a:pt x="889" y="651"/>
                  <a:pt x="889" y="651"/>
                </a:cubicBezTo>
                <a:cubicBezTo>
                  <a:pt x="888" y="650"/>
                  <a:pt x="888" y="650"/>
                  <a:pt x="888" y="650"/>
                </a:cubicBezTo>
                <a:cubicBezTo>
                  <a:pt x="887" y="650"/>
                  <a:pt x="887" y="650"/>
                  <a:pt x="887" y="650"/>
                </a:cubicBezTo>
                <a:cubicBezTo>
                  <a:pt x="888" y="651"/>
                  <a:pt x="888" y="651"/>
                  <a:pt x="888" y="651"/>
                </a:cubicBezTo>
                <a:close/>
                <a:moveTo>
                  <a:pt x="888" y="653"/>
                </a:moveTo>
                <a:cubicBezTo>
                  <a:pt x="888" y="654"/>
                  <a:pt x="888" y="654"/>
                  <a:pt x="888" y="654"/>
                </a:cubicBezTo>
                <a:cubicBezTo>
                  <a:pt x="891" y="653"/>
                  <a:pt x="891" y="653"/>
                  <a:pt x="891" y="653"/>
                </a:cubicBezTo>
                <a:cubicBezTo>
                  <a:pt x="891" y="651"/>
                  <a:pt x="891" y="651"/>
                  <a:pt x="891" y="651"/>
                </a:cubicBezTo>
                <a:cubicBezTo>
                  <a:pt x="889" y="651"/>
                  <a:pt x="889" y="651"/>
                  <a:pt x="889" y="651"/>
                </a:cubicBezTo>
                <a:cubicBezTo>
                  <a:pt x="889" y="652"/>
                  <a:pt x="889" y="652"/>
                  <a:pt x="889" y="652"/>
                </a:cubicBezTo>
                <a:cubicBezTo>
                  <a:pt x="888" y="653"/>
                  <a:pt x="888" y="653"/>
                  <a:pt x="888" y="653"/>
                </a:cubicBezTo>
                <a:close/>
                <a:moveTo>
                  <a:pt x="881" y="638"/>
                </a:moveTo>
                <a:cubicBezTo>
                  <a:pt x="880" y="639"/>
                  <a:pt x="880" y="639"/>
                  <a:pt x="880" y="639"/>
                </a:cubicBezTo>
                <a:cubicBezTo>
                  <a:pt x="881" y="640"/>
                  <a:pt x="881" y="640"/>
                  <a:pt x="881" y="640"/>
                </a:cubicBezTo>
                <a:cubicBezTo>
                  <a:pt x="882" y="642"/>
                  <a:pt x="882" y="642"/>
                  <a:pt x="882" y="642"/>
                </a:cubicBezTo>
                <a:cubicBezTo>
                  <a:pt x="881" y="642"/>
                  <a:pt x="881" y="642"/>
                  <a:pt x="881" y="642"/>
                </a:cubicBezTo>
                <a:cubicBezTo>
                  <a:pt x="882" y="643"/>
                  <a:pt x="882" y="643"/>
                  <a:pt x="882" y="643"/>
                </a:cubicBezTo>
                <a:cubicBezTo>
                  <a:pt x="883" y="643"/>
                  <a:pt x="883" y="643"/>
                  <a:pt x="883" y="643"/>
                </a:cubicBezTo>
                <a:cubicBezTo>
                  <a:pt x="883" y="642"/>
                  <a:pt x="883" y="642"/>
                  <a:pt x="883" y="642"/>
                </a:cubicBezTo>
                <a:cubicBezTo>
                  <a:pt x="882" y="640"/>
                  <a:pt x="882" y="640"/>
                  <a:pt x="882" y="640"/>
                </a:cubicBezTo>
                <a:cubicBezTo>
                  <a:pt x="882" y="639"/>
                  <a:pt x="882" y="639"/>
                  <a:pt x="882" y="639"/>
                </a:cubicBezTo>
                <a:cubicBezTo>
                  <a:pt x="881" y="638"/>
                  <a:pt x="881" y="638"/>
                  <a:pt x="881" y="638"/>
                </a:cubicBezTo>
                <a:close/>
                <a:moveTo>
                  <a:pt x="875" y="634"/>
                </a:moveTo>
                <a:cubicBezTo>
                  <a:pt x="877" y="634"/>
                  <a:pt x="877" y="634"/>
                  <a:pt x="877" y="634"/>
                </a:cubicBezTo>
                <a:cubicBezTo>
                  <a:pt x="875" y="633"/>
                  <a:pt x="875" y="633"/>
                  <a:pt x="875" y="633"/>
                </a:cubicBezTo>
                <a:cubicBezTo>
                  <a:pt x="875" y="634"/>
                  <a:pt x="875" y="634"/>
                  <a:pt x="875" y="634"/>
                </a:cubicBezTo>
                <a:close/>
                <a:moveTo>
                  <a:pt x="878" y="635"/>
                </a:moveTo>
                <a:cubicBezTo>
                  <a:pt x="877" y="636"/>
                  <a:pt x="877" y="636"/>
                  <a:pt x="877" y="636"/>
                </a:cubicBezTo>
                <a:cubicBezTo>
                  <a:pt x="877" y="637"/>
                  <a:pt x="877" y="637"/>
                  <a:pt x="877" y="637"/>
                </a:cubicBezTo>
                <a:cubicBezTo>
                  <a:pt x="878" y="637"/>
                  <a:pt x="878" y="637"/>
                  <a:pt x="878" y="637"/>
                </a:cubicBezTo>
                <a:cubicBezTo>
                  <a:pt x="878" y="635"/>
                  <a:pt x="878" y="635"/>
                  <a:pt x="878" y="635"/>
                </a:cubicBezTo>
                <a:close/>
                <a:moveTo>
                  <a:pt x="890" y="166"/>
                </a:moveTo>
                <a:cubicBezTo>
                  <a:pt x="890" y="166"/>
                  <a:pt x="890" y="166"/>
                  <a:pt x="890" y="167"/>
                </a:cubicBezTo>
                <a:cubicBezTo>
                  <a:pt x="890" y="167"/>
                  <a:pt x="890" y="167"/>
                  <a:pt x="891" y="166"/>
                </a:cubicBezTo>
                <a:cubicBezTo>
                  <a:pt x="891" y="166"/>
                  <a:pt x="891" y="166"/>
                  <a:pt x="890" y="166"/>
                </a:cubicBezTo>
                <a:close/>
                <a:moveTo>
                  <a:pt x="975" y="35"/>
                </a:moveTo>
                <a:cubicBezTo>
                  <a:pt x="975" y="35"/>
                  <a:pt x="975" y="35"/>
                  <a:pt x="975" y="34"/>
                </a:cubicBezTo>
                <a:cubicBezTo>
                  <a:pt x="975" y="34"/>
                  <a:pt x="975" y="34"/>
                  <a:pt x="974" y="34"/>
                </a:cubicBezTo>
                <a:cubicBezTo>
                  <a:pt x="974" y="34"/>
                  <a:pt x="974" y="34"/>
                  <a:pt x="973" y="34"/>
                </a:cubicBezTo>
                <a:cubicBezTo>
                  <a:pt x="973" y="34"/>
                  <a:pt x="973" y="34"/>
                  <a:pt x="974" y="35"/>
                </a:cubicBezTo>
                <a:cubicBezTo>
                  <a:pt x="974" y="35"/>
                  <a:pt x="974" y="35"/>
                  <a:pt x="975" y="35"/>
                </a:cubicBezTo>
                <a:close/>
                <a:moveTo>
                  <a:pt x="890" y="164"/>
                </a:moveTo>
                <a:cubicBezTo>
                  <a:pt x="889" y="165"/>
                  <a:pt x="889" y="165"/>
                  <a:pt x="889" y="165"/>
                </a:cubicBezTo>
                <a:cubicBezTo>
                  <a:pt x="889" y="166"/>
                  <a:pt x="889" y="166"/>
                  <a:pt x="889" y="166"/>
                </a:cubicBezTo>
                <a:cubicBezTo>
                  <a:pt x="890" y="166"/>
                  <a:pt x="890" y="166"/>
                  <a:pt x="890" y="166"/>
                </a:cubicBezTo>
                <a:cubicBezTo>
                  <a:pt x="891" y="164"/>
                  <a:pt x="891" y="164"/>
                  <a:pt x="891" y="164"/>
                </a:cubicBezTo>
                <a:cubicBezTo>
                  <a:pt x="890" y="164"/>
                  <a:pt x="890" y="164"/>
                  <a:pt x="890" y="164"/>
                </a:cubicBezTo>
                <a:close/>
                <a:moveTo>
                  <a:pt x="906" y="241"/>
                </a:moveTo>
                <a:cubicBezTo>
                  <a:pt x="906" y="241"/>
                  <a:pt x="906" y="241"/>
                  <a:pt x="906" y="243"/>
                </a:cubicBezTo>
                <a:cubicBezTo>
                  <a:pt x="906" y="243"/>
                  <a:pt x="906" y="243"/>
                  <a:pt x="906" y="244"/>
                </a:cubicBezTo>
                <a:cubicBezTo>
                  <a:pt x="906" y="245"/>
                  <a:pt x="906" y="245"/>
                  <a:pt x="906" y="245"/>
                </a:cubicBezTo>
                <a:cubicBezTo>
                  <a:pt x="906" y="246"/>
                  <a:pt x="906" y="246"/>
                  <a:pt x="906" y="246"/>
                </a:cubicBezTo>
                <a:cubicBezTo>
                  <a:pt x="907" y="246"/>
                  <a:pt x="907" y="246"/>
                  <a:pt x="907" y="246"/>
                </a:cubicBezTo>
                <a:cubicBezTo>
                  <a:pt x="908" y="245"/>
                  <a:pt x="908" y="245"/>
                  <a:pt x="908" y="245"/>
                </a:cubicBezTo>
                <a:cubicBezTo>
                  <a:pt x="908" y="244"/>
                  <a:pt x="908" y="244"/>
                  <a:pt x="908" y="244"/>
                </a:cubicBezTo>
                <a:cubicBezTo>
                  <a:pt x="908" y="244"/>
                  <a:pt x="908" y="244"/>
                  <a:pt x="909" y="244"/>
                </a:cubicBezTo>
                <a:cubicBezTo>
                  <a:pt x="909" y="244"/>
                  <a:pt x="909" y="244"/>
                  <a:pt x="909" y="242"/>
                </a:cubicBezTo>
                <a:cubicBezTo>
                  <a:pt x="909" y="242"/>
                  <a:pt x="909" y="242"/>
                  <a:pt x="909" y="241"/>
                </a:cubicBezTo>
                <a:cubicBezTo>
                  <a:pt x="909" y="241"/>
                  <a:pt x="909" y="241"/>
                  <a:pt x="909" y="240"/>
                </a:cubicBezTo>
                <a:cubicBezTo>
                  <a:pt x="909" y="240"/>
                  <a:pt x="909" y="240"/>
                  <a:pt x="909" y="239"/>
                </a:cubicBezTo>
                <a:cubicBezTo>
                  <a:pt x="909" y="239"/>
                  <a:pt x="909" y="239"/>
                  <a:pt x="908" y="240"/>
                </a:cubicBezTo>
                <a:cubicBezTo>
                  <a:pt x="908" y="240"/>
                  <a:pt x="908" y="240"/>
                  <a:pt x="906" y="241"/>
                </a:cubicBezTo>
                <a:close/>
                <a:moveTo>
                  <a:pt x="911" y="172"/>
                </a:moveTo>
                <a:cubicBezTo>
                  <a:pt x="911" y="172"/>
                  <a:pt x="911" y="172"/>
                  <a:pt x="913" y="170"/>
                </a:cubicBezTo>
                <a:cubicBezTo>
                  <a:pt x="913" y="170"/>
                  <a:pt x="913" y="170"/>
                  <a:pt x="914" y="169"/>
                </a:cubicBezTo>
                <a:cubicBezTo>
                  <a:pt x="914" y="169"/>
                  <a:pt x="914" y="169"/>
                  <a:pt x="916" y="167"/>
                </a:cubicBezTo>
                <a:cubicBezTo>
                  <a:pt x="916" y="167"/>
                  <a:pt x="916" y="167"/>
                  <a:pt x="917" y="166"/>
                </a:cubicBezTo>
                <a:cubicBezTo>
                  <a:pt x="917" y="166"/>
                  <a:pt x="917" y="166"/>
                  <a:pt x="916" y="166"/>
                </a:cubicBezTo>
                <a:cubicBezTo>
                  <a:pt x="916" y="166"/>
                  <a:pt x="916" y="166"/>
                  <a:pt x="917" y="165"/>
                </a:cubicBezTo>
                <a:cubicBezTo>
                  <a:pt x="917" y="165"/>
                  <a:pt x="917" y="165"/>
                  <a:pt x="918" y="165"/>
                </a:cubicBezTo>
                <a:cubicBezTo>
                  <a:pt x="918" y="165"/>
                  <a:pt x="918" y="165"/>
                  <a:pt x="919" y="164"/>
                </a:cubicBezTo>
                <a:cubicBezTo>
                  <a:pt x="919" y="164"/>
                  <a:pt x="919" y="164"/>
                  <a:pt x="922" y="162"/>
                </a:cubicBezTo>
                <a:cubicBezTo>
                  <a:pt x="922" y="162"/>
                  <a:pt x="922" y="162"/>
                  <a:pt x="922" y="161"/>
                </a:cubicBezTo>
                <a:cubicBezTo>
                  <a:pt x="922" y="161"/>
                  <a:pt x="922" y="161"/>
                  <a:pt x="923" y="161"/>
                </a:cubicBezTo>
                <a:cubicBezTo>
                  <a:pt x="923" y="161"/>
                  <a:pt x="923" y="161"/>
                  <a:pt x="924" y="159"/>
                </a:cubicBezTo>
                <a:cubicBezTo>
                  <a:pt x="924" y="159"/>
                  <a:pt x="924" y="159"/>
                  <a:pt x="926" y="158"/>
                </a:cubicBezTo>
                <a:cubicBezTo>
                  <a:pt x="926" y="158"/>
                  <a:pt x="926" y="158"/>
                  <a:pt x="926" y="156"/>
                </a:cubicBezTo>
                <a:cubicBezTo>
                  <a:pt x="926" y="156"/>
                  <a:pt x="926" y="156"/>
                  <a:pt x="927" y="156"/>
                </a:cubicBezTo>
                <a:cubicBezTo>
                  <a:pt x="927" y="156"/>
                  <a:pt x="927" y="156"/>
                  <a:pt x="926" y="155"/>
                </a:cubicBezTo>
                <a:cubicBezTo>
                  <a:pt x="926" y="155"/>
                  <a:pt x="926" y="155"/>
                  <a:pt x="926" y="154"/>
                </a:cubicBezTo>
                <a:cubicBezTo>
                  <a:pt x="926" y="154"/>
                  <a:pt x="926" y="154"/>
                  <a:pt x="925" y="153"/>
                </a:cubicBezTo>
                <a:cubicBezTo>
                  <a:pt x="925" y="153"/>
                  <a:pt x="925" y="153"/>
                  <a:pt x="922" y="153"/>
                </a:cubicBezTo>
                <a:cubicBezTo>
                  <a:pt x="922" y="153"/>
                  <a:pt x="922" y="153"/>
                  <a:pt x="920" y="153"/>
                </a:cubicBezTo>
                <a:cubicBezTo>
                  <a:pt x="920" y="153"/>
                  <a:pt x="920" y="153"/>
                  <a:pt x="919" y="153"/>
                </a:cubicBezTo>
                <a:cubicBezTo>
                  <a:pt x="919" y="153"/>
                  <a:pt x="919" y="153"/>
                  <a:pt x="919" y="152"/>
                </a:cubicBezTo>
                <a:cubicBezTo>
                  <a:pt x="919" y="152"/>
                  <a:pt x="919" y="152"/>
                  <a:pt x="918" y="150"/>
                </a:cubicBezTo>
                <a:cubicBezTo>
                  <a:pt x="918" y="150"/>
                  <a:pt x="918" y="150"/>
                  <a:pt x="917" y="150"/>
                </a:cubicBezTo>
                <a:cubicBezTo>
                  <a:pt x="917" y="150"/>
                  <a:pt x="917" y="150"/>
                  <a:pt x="916" y="150"/>
                </a:cubicBezTo>
                <a:cubicBezTo>
                  <a:pt x="916" y="150"/>
                  <a:pt x="916" y="150"/>
                  <a:pt x="915" y="148"/>
                </a:cubicBezTo>
                <a:cubicBezTo>
                  <a:pt x="915" y="148"/>
                  <a:pt x="915" y="148"/>
                  <a:pt x="914" y="148"/>
                </a:cubicBezTo>
                <a:cubicBezTo>
                  <a:pt x="914" y="148"/>
                  <a:pt x="914" y="148"/>
                  <a:pt x="913" y="149"/>
                </a:cubicBezTo>
                <a:cubicBezTo>
                  <a:pt x="913" y="149"/>
                  <a:pt x="913" y="149"/>
                  <a:pt x="912" y="148"/>
                </a:cubicBezTo>
                <a:cubicBezTo>
                  <a:pt x="912" y="148"/>
                  <a:pt x="912" y="148"/>
                  <a:pt x="911" y="148"/>
                </a:cubicBezTo>
                <a:cubicBezTo>
                  <a:pt x="911" y="148"/>
                  <a:pt x="911" y="148"/>
                  <a:pt x="910" y="148"/>
                </a:cubicBezTo>
                <a:cubicBezTo>
                  <a:pt x="910" y="148"/>
                  <a:pt x="910" y="148"/>
                  <a:pt x="908" y="148"/>
                </a:cubicBezTo>
                <a:cubicBezTo>
                  <a:pt x="908" y="148"/>
                  <a:pt x="908" y="148"/>
                  <a:pt x="905" y="149"/>
                </a:cubicBezTo>
                <a:cubicBezTo>
                  <a:pt x="905" y="149"/>
                  <a:pt x="905" y="149"/>
                  <a:pt x="904" y="150"/>
                </a:cubicBezTo>
                <a:cubicBezTo>
                  <a:pt x="904" y="150"/>
                  <a:pt x="904" y="150"/>
                  <a:pt x="905" y="152"/>
                </a:cubicBezTo>
                <a:cubicBezTo>
                  <a:pt x="905" y="152"/>
                  <a:pt x="905" y="152"/>
                  <a:pt x="904" y="152"/>
                </a:cubicBezTo>
                <a:cubicBezTo>
                  <a:pt x="904" y="152"/>
                  <a:pt x="904" y="152"/>
                  <a:pt x="905" y="154"/>
                </a:cubicBezTo>
                <a:cubicBezTo>
                  <a:pt x="905" y="154"/>
                  <a:pt x="905" y="154"/>
                  <a:pt x="905" y="155"/>
                </a:cubicBezTo>
                <a:cubicBezTo>
                  <a:pt x="905" y="155"/>
                  <a:pt x="905" y="155"/>
                  <a:pt x="904" y="155"/>
                </a:cubicBezTo>
                <a:cubicBezTo>
                  <a:pt x="904" y="155"/>
                  <a:pt x="904" y="155"/>
                  <a:pt x="903" y="154"/>
                </a:cubicBezTo>
                <a:cubicBezTo>
                  <a:pt x="903" y="154"/>
                  <a:pt x="903" y="154"/>
                  <a:pt x="902" y="152"/>
                </a:cubicBezTo>
                <a:cubicBezTo>
                  <a:pt x="902" y="152"/>
                  <a:pt x="902" y="152"/>
                  <a:pt x="901" y="153"/>
                </a:cubicBezTo>
                <a:cubicBezTo>
                  <a:pt x="901" y="153"/>
                  <a:pt x="901" y="153"/>
                  <a:pt x="901" y="154"/>
                </a:cubicBezTo>
                <a:cubicBezTo>
                  <a:pt x="901" y="154"/>
                  <a:pt x="901" y="154"/>
                  <a:pt x="901" y="155"/>
                </a:cubicBezTo>
                <a:cubicBezTo>
                  <a:pt x="901" y="155"/>
                  <a:pt x="901" y="155"/>
                  <a:pt x="900" y="155"/>
                </a:cubicBezTo>
                <a:cubicBezTo>
                  <a:pt x="900" y="155"/>
                  <a:pt x="900" y="155"/>
                  <a:pt x="900" y="157"/>
                </a:cubicBezTo>
                <a:cubicBezTo>
                  <a:pt x="900" y="157"/>
                  <a:pt x="900" y="157"/>
                  <a:pt x="898" y="158"/>
                </a:cubicBezTo>
                <a:cubicBezTo>
                  <a:pt x="898" y="158"/>
                  <a:pt x="898" y="158"/>
                  <a:pt x="898" y="160"/>
                </a:cubicBezTo>
                <a:cubicBezTo>
                  <a:pt x="898" y="160"/>
                  <a:pt x="898" y="160"/>
                  <a:pt x="897" y="160"/>
                </a:cubicBezTo>
                <a:cubicBezTo>
                  <a:pt x="897" y="160"/>
                  <a:pt x="897" y="160"/>
                  <a:pt x="897" y="162"/>
                </a:cubicBezTo>
                <a:cubicBezTo>
                  <a:pt x="897" y="162"/>
                  <a:pt x="897" y="162"/>
                  <a:pt x="896" y="163"/>
                </a:cubicBezTo>
                <a:cubicBezTo>
                  <a:pt x="896" y="163"/>
                  <a:pt x="896" y="163"/>
                  <a:pt x="896" y="164"/>
                </a:cubicBezTo>
                <a:cubicBezTo>
                  <a:pt x="896" y="164"/>
                  <a:pt x="896" y="164"/>
                  <a:pt x="895" y="164"/>
                </a:cubicBezTo>
                <a:cubicBezTo>
                  <a:pt x="895" y="164"/>
                  <a:pt x="895" y="164"/>
                  <a:pt x="894" y="167"/>
                </a:cubicBezTo>
                <a:cubicBezTo>
                  <a:pt x="894" y="167"/>
                  <a:pt x="894" y="167"/>
                  <a:pt x="894" y="168"/>
                </a:cubicBezTo>
                <a:cubicBezTo>
                  <a:pt x="894" y="168"/>
                  <a:pt x="894" y="168"/>
                  <a:pt x="893" y="169"/>
                </a:cubicBezTo>
                <a:cubicBezTo>
                  <a:pt x="893" y="169"/>
                  <a:pt x="893" y="169"/>
                  <a:pt x="894" y="170"/>
                </a:cubicBezTo>
                <a:cubicBezTo>
                  <a:pt x="894" y="170"/>
                  <a:pt x="894" y="170"/>
                  <a:pt x="894" y="171"/>
                </a:cubicBezTo>
                <a:cubicBezTo>
                  <a:pt x="894" y="171"/>
                  <a:pt x="894" y="171"/>
                  <a:pt x="893" y="171"/>
                </a:cubicBezTo>
                <a:cubicBezTo>
                  <a:pt x="893" y="171"/>
                  <a:pt x="893" y="171"/>
                  <a:pt x="893" y="172"/>
                </a:cubicBezTo>
                <a:cubicBezTo>
                  <a:pt x="893" y="172"/>
                  <a:pt x="893" y="172"/>
                  <a:pt x="893" y="174"/>
                </a:cubicBezTo>
                <a:cubicBezTo>
                  <a:pt x="893" y="174"/>
                  <a:pt x="893" y="174"/>
                  <a:pt x="891" y="176"/>
                </a:cubicBezTo>
                <a:cubicBezTo>
                  <a:pt x="891" y="176"/>
                  <a:pt x="891" y="176"/>
                  <a:pt x="892" y="177"/>
                </a:cubicBezTo>
                <a:cubicBezTo>
                  <a:pt x="892" y="177"/>
                  <a:pt x="892" y="177"/>
                  <a:pt x="893" y="177"/>
                </a:cubicBezTo>
                <a:cubicBezTo>
                  <a:pt x="893" y="177"/>
                  <a:pt x="893" y="177"/>
                  <a:pt x="892" y="178"/>
                </a:cubicBezTo>
                <a:cubicBezTo>
                  <a:pt x="892" y="178"/>
                  <a:pt x="892" y="178"/>
                  <a:pt x="892" y="177"/>
                </a:cubicBezTo>
                <a:cubicBezTo>
                  <a:pt x="892" y="177"/>
                  <a:pt x="892" y="177"/>
                  <a:pt x="891" y="178"/>
                </a:cubicBezTo>
                <a:cubicBezTo>
                  <a:pt x="891" y="178"/>
                  <a:pt x="891" y="178"/>
                  <a:pt x="890" y="179"/>
                </a:cubicBezTo>
                <a:cubicBezTo>
                  <a:pt x="890" y="179"/>
                  <a:pt x="890" y="179"/>
                  <a:pt x="892" y="179"/>
                </a:cubicBezTo>
                <a:cubicBezTo>
                  <a:pt x="892" y="179"/>
                  <a:pt x="892" y="179"/>
                  <a:pt x="893" y="179"/>
                </a:cubicBezTo>
                <a:cubicBezTo>
                  <a:pt x="893" y="179"/>
                  <a:pt x="893" y="179"/>
                  <a:pt x="895" y="181"/>
                </a:cubicBezTo>
                <a:cubicBezTo>
                  <a:pt x="895" y="180"/>
                  <a:pt x="895" y="180"/>
                  <a:pt x="895" y="180"/>
                </a:cubicBezTo>
                <a:cubicBezTo>
                  <a:pt x="895" y="180"/>
                  <a:pt x="895" y="180"/>
                  <a:pt x="895" y="179"/>
                </a:cubicBezTo>
                <a:cubicBezTo>
                  <a:pt x="895" y="179"/>
                  <a:pt x="895" y="179"/>
                  <a:pt x="896" y="179"/>
                </a:cubicBezTo>
                <a:cubicBezTo>
                  <a:pt x="896" y="179"/>
                  <a:pt x="896" y="179"/>
                  <a:pt x="897" y="178"/>
                </a:cubicBezTo>
                <a:cubicBezTo>
                  <a:pt x="897" y="178"/>
                  <a:pt x="897" y="178"/>
                  <a:pt x="898" y="177"/>
                </a:cubicBezTo>
                <a:cubicBezTo>
                  <a:pt x="898" y="177"/>
                  <a:pt x="898" y="177"/>
                  <a:pt x="898" y="176"/>
                </a:cubicBezTo>
                <a:cubicBezTo>
                  <a:pt x="898" y="176"/>
                  <a:pt x="898" y="176"/>
                  <a:pt x="900" y="176"/>
                </a:cubicBezTo>
                <a:cubicBezTo>
                  <a:pt x="900" y="176"/>
                  <a:pt x="900" y="176"/>
                  <a:pt x="901" y="175"/>
                </a:cubicBezTo>
                <a:cubicBezTo>
                  <a:pt x="901" y="175"/>
                  <a:pt x="901" y="175"/>
                  <a:pt x="902" y="174"/>
                </a:cubicBezTo>
                <a:cubicBezTo>
                  <a:pt x="902" y="174"/>
                  <a:pt x="902" y="174"/>
                  <a:pt x="902" y="173"/>
                </a:cubicBezTo>
                <a:cubicBezTo>
                  <a:pt x="902" y="173"/>
                  <a:pt x="902" y="173"/>
                  <a:pt x="901" y="172"/>
                </a:cubicBezTo>
                <a:cubicBezTo>
                  <a:pt x="901" y="172"/>
                  <a:pt x="901" y="172"/>
                  <a:pt x="902" y="171"/>
                </a:cubicBezTo>
                <a:cubicBezTo>
                  <a:pt x="902" y="171"/>
                  <a:pt x="902" y="171"/>
                  <a:pt x="902" y="170"/>
                </a:cubicBezTo>
                <a:cubicBezTo>
                  <a:pt x="902" y="170"/>
                  <a:pt x="902" y="170"/>
                  <a:pt x="900" y="170"/>
                </a:cubicBezTo>
                <a:cubicBezTo>
                  <a:pt x="900" y="170"/>
                  <a:pt x="900" y="170"/>
                  <a:pt x="899" y="169"/>
                </a:cubicBezTo>
                <a:cubicBezTo>
                  <a:pt x="899" y="169"/>
                  <a:pt x="899" y="169"/>
                  <a:pt x="900" y="169"/>
                </a:cubicBezTo>
                <a:cubicBezTo>
                  <a:pt x="900" y="169"/>
                  <a:pt x="900" y="169"/>
                  <a:pt x="901" y="169"/>
                </a:cubicBezTo>
                <a:cubicBezTo>
                  <a:pt x="901" y="169"/>
                  <a:pt x="901" y="169"/>
                  <a:pt x="903" y="169"/>
                </a:cubicBezTo>
                <a:cubicBezTo>
                  <a:pt x="903" y="169"/>
                  <a:pt x="903" y="169"/>
                  <a:pt x="904" y="169"/>
                </a:cubicBezTo>
                <a:cubicBezTo>
                  <a:pt x="904" y="169"/>
                  <a:pt x="904" y="169"/>
                  <a:pt x="905" y="169"/>
                </a:cubicBezTo>
                <a:cubicBezTo>
                  <a:pt x="905" y="169"/>
                  <a:pt x="905" y="169"/>
                  <a:pt x="906" y="170"/>
                </a:cubicBezTo>
                <a:cubicBezTo>
                  <a:pt x="906" y="170"/>
                  <a:pt x="906" y="170"/>
                  <a:pt x="907" y="172"/>
                </a:cubicBezTo>
                <a:cubicBezTo>
                  <a:pt x="907" y="172"/>
                  <a:pt x="907" y="172"/>
                  <a:pt x="908" y="172"/>
                </a:cubicBezTo>
                <a:cubicBezTo>
                  <a:pt x="908" y="172"/>
                  <a:pt x="908" y="172"/>
                  <a:pt x="909" y="173"/>
                </a:cubicBezTo>
                <a:cubicBezTo>
                  <a:pt x="909" y="173"/>
                  <a:pt x="909" y="173"/>
                  <a:pt x="911" y="172"/>
                </a:cubicBezTo>
                <a:close/>
                <a:moveTo>
                  <a:pt x="951" y="226"/>
                </a:moveTo>
                <a:cubicBezTo>
                  <a:pt x="950" y="225"/>
                  <a:pt x="950" y="225"/>
                  <a:pt x="950" y="225"/>
                </a:cubicBezTo>
                <a:cubicBezTo>
                  <a:pt x="948" y="225"/>
                  <a:pt x="948" y="225"/>
                  <a:pt x="948" y="225"/>
                </a:cubicBezTo>
                <a:cubicBezTo>
                  <a:pt x="947" y="226"/>
                  <a:pt x="947" y="226"/>
                  <a:pt x="947" y="226"/>
                </a:cubicBezTo>
                <a:cubicBezTo>
                  <a:pt x="948" y="226"/>
                  <a:pt x="948" y="226"/>
                  <a:pt x="948" y="226"/>
                </a:cubicBezTo>
                <a:cubicBezTo>
                  <a:pt x="949" y="227"/>
                  <a:pt x="949" y="227"/>
                  <a:pt x="949" y="227"/>
                </a:cubicBezTo>
                <a:cubicBezTo>
                  <a:pt x="949" y="228"/>
                  <a:pt x="949" y="228"/>
                  <a:pt x="949" y="228"/>
                </a:cubicBezTo>
                <a:cubicBezTo>
                  <a:pt x="949" y="229"/>
                  <a:pt x="949" y="229"/>
                  <a:pt x="949" y="229"/>
                </a:cubicBezTo>
                <a:cubicBezTo>
                  <a:pt x="950" y="228"/>
                  <a:pt x="950" y="228"/>
                  <a:pt x="950" y="228"/>
                </a:cubicBezTo>
                <a:cubicBezTo>
                  <a:pt x="950" y="227"/>
                  <a:pt x="950" y="227"/>
                  <a:pt x="950" y="227"/>
                </a:cubicBezTo>
                <a:cubicBezTo>
                  <a:pt x="951" y="228"/>
                  <a:pt x="951" y="228"/>
                  <a:pt x="951" y="228"/>
                </a:cubicBezTo>
                <a:cubicBezTo>
                  <a:pt x="952" y="227"/>
                  <a:pt x="952" y="227"/>
                  <a:pt x="952" y="227"/>
                </a:cubicBezTo>
                <a:cubicBezTo>
                  <a:pt x="952" y="228"/>
                  <a:pt x="952" y="228"/>
                  <a:pt x="952" y="228"/>
                </a:cubicBezTo>
                <a:cubicBezTo>
                  <a:pt x="953" y="227"/>
                  <a:pt x="953" y="227"/>
                  <a:pt x="953" y="227"/>
                </a:cubicBezTo>
                <a:cubicBezTo>
                  <a:pt x="952" y="226"/>
                  <a:pt x="952" y="226"/>
                  <a:pt x="952" y="226"/>
                </a:cubicBezTo>
                <a:cubicBezTo>
                  <a:pt x="951" y="226"/>
                  <a:pt x="951" y="226"/>
                  <a:pt x="951" y="226"/>
                </a:cubicBezTo>
                <a:close/>
                <a:moveTo>
                  <a:pt x="920" y="217"/>
                </a:moveTo>
                <a:cubicBezTo>
                  <a:pt x="920" y="217"/>
                  <a:pt x="920" y="217"/>
                  <a:pt x="920" y="216"/>
                </a:cubicBezTo>
                <a:cubicBezTo>
                  <a:pt x="920" y="216"/>
                  <a:pt x="920" y="216"/>
                  <a:pt x="919" y="215"/>
                </a:cubicBezTo>
                <a:cubicBezTo>
                  <a:pt x="919" y="215"/>
                  <a:pt x="919" y="215"/>
                  <a:pt x="918" y="215"/>
                </a:cubicBezTo>
                <a:cubicBezTo>
                  <a:pt x="918" y="215"/>
                  <a:pt x="918" y="215"/>
                  <a:pt x="917" y="214"/>
                </a:cubicBezTo>
                <a:cubicBezTo>
                  <a:pt x="917" y="214"/>
                  <a:pt x="917" y="214"/>
                  <a:pt x="917" y="215"/>
                </a:cubicBezTo>
                <a:cubicBezTo>
                  <a:pt x="917" y="215"/>
                  <a:pt x="917" y="215"/>
                  <a:pt x="915" y="215"/>
                </a:cubicBezTo>
                <a:cubicBezTo>
                  <a:pt x="915" y="215"/>
                  <a:pt x="915" y="215"/>
                  <a:pt x="916" y="216"/>
                </a:cubicBezTo>
                <a:cubicBezTo>
                  <a:pt x="916" y="216"/>
                  <a:pt x="916" y="216"/>
                  <a:pt x="916" y="217"/>
                </a:cubicBezTo>
                <a:cubicBezTo>
                  <a:pt x="916" y="217"/>
                  <a:pt x="916" y="217"/>
                  <a:pt x="917" y="217"/>
                </a:cubicBezTo>
                <a:cubicBezTo>
                  <a:pt x="917" y="217"/>
                  <a:pt x="917" y="217"/>
                  <a:pt x="917" y="216"/>
                </a:cubicBezTo>
                <a:cubicBezTo>
                  <a:pt x="917" y="216"/>
                  <a:pt x="917" y="216"/>
                  <a:pt x="918" y="217"/>
                </a:cubicBezTo>
                <a:cubicBezTo>
                  <a:pt x="918" y="217"/>
                  <a:pt x="918" y="217"/>
                  <a:pt x="919" y="217"/>
                </a:cubicBezTo>
                <a:cubicBezTo>
                  <a:pt x="919" y="217"/>
                  <a:pt x="919" y="217"/>
                  <a:pt x="919" y="218"/>
                </a:cubicBezTo>
                <a:lnTo>
                  <a:pt x="920" y="217"/>
                </a:lnTo>
                <a:close/>
                <a:moveTo>
                  <a:pt x="951" y="242"/>
                </a:moveTo>
                <a:cubicBezTo>
                  <a:pt x="951" y="242"/>
                  <a:pt x="951" y="242"/>
                  <a:pt x="951" y="243"/>
                </a:cubicBezTo>
                <a:cubicBezTo>
                  <a:pt x="951" y="243"/>
                  <a:pt x="951" y="243"/>
                  <a:pt x="951" y="244"/>
                </a:cubicBezTo>
                <a:cubicBezTo>
                  <a:pt x="951" y="244"/>
                  <a:pt x="951" y="244"/>
                  <a:pt x="952" y="243"/>
                </a:cubicBezTo>
                <a:cubicBezTo>
                  <a:pt x="952" y="243"/>
                  <a:pt x="952" y="243"/>
                  <a:pt x="952" y="242"/>
                </a:cubicBezTo>
                <a:cubicBezTo>
                  <a:pt x="952" y="242"/>
                  <a:pt x="952" y="242"/>
                  <a:pt x="951" y="241"/>
                </a:cubicBezTo>
                <a:cubicBezTo>
                  <a:pt x="951" y="241"/>
                  <a:pt x="951" y="241"/>
                  <a:pt x="951" y="242"/>
                </a:cubicBezTo>
                <a:close/>
                <a:moveTo>
                  <a:pt x="964" y="237"/>
                </a:moveTo>
                <a:cubicBezTo>
                  <a:pt x="964" y="237"/>
                  <a:pt x="964" y="237"/>
                  <a:pt x="965" y="236"/>
                </a:cubicBezTo>
                <a:cubicBezTo>
                  <a:pt x="965" y="236"/>
                  <a:pt x="965" y="236"/>
                  <a:pt x="965" y="235"/>
                </a:cubicBezTo>
                <a:cubicBezTo>
                  <a:pt x="965" y="235"/>
                  <a:pt x="965" y="235"/>
                  <a:pt x="965" y="234"/>
                </a:cubicBezTo>
                <a:cubicBezTo>
                  <a:pt x="965" y="234"/>
                  <a:pt x="965" y="234"/>
                  <a:pt x="964" y="234"/>
                </a:cubicBezTo>
                <a:cubicBezTo>
                  <a:pt x="964" y="234"/>
                  <a:pt x="964" y="234"/>
                  <a:pt x="963" y="234"/>
                </a:cubicBezTo>
                <a:cubicBezTo>
                  <a:pt x="963" y="234"/>
                  <a:pt x="963" y="234"/>
                  <a:pt x="962" y="235"/>
                </a:cubicBezTo>
                <a:cubicBezTo>
                  <a:pt x="962" y="235"/>
                  <a:pt x="962" y="235"/>
                  <a:pt x="962" y="236"/>
                </a:cubicBezTo>
                <a:cubicBezTo>
                  <a:pt x="962" y="236"/>
                  <a:pt x="962" y="236"/>
                  <a:pt x="962" y="237"/>
                </a:cubicBezTo>
                <a:cubicBezTo>
                  <a:pt x="962" y="237"/>
                  <a:pt x="962" y="237"/>
                  <a:pt x="963" y="238"/>
                </a:cubicBezTo>
                <a:cubicBezTo>
                  <a:pt x="963" y="238"/>
                  <a:pt x="963" y="238"/>
                  <a:pt x="964" y="237"/>
                </a:cubicBezTo>
                <a:close/>
                <a:moveTo>
                  <a:pt x="951" y="42"/>
                </a:moveTo>
                <a:cubicBezTo>
                  <a:pt x="951" y="44"/>
                  <a:pt x="951" y="44"/>
                  <a:pt x="951" y="44"/>
                </a:cubicBezTo>
                <a:cubicBezTo>
                  <a:pt x="950" y="45"/>
                  <a:pt x="950" y="45"/>
                  <a:pt x="950" y="45"/>
                </a:cubicBezTo>
                <a:cubicBezTo>
                  <a:pt x="950" y="46"/>
                  <a:pt x="950" y="46"/>
                  <a:pt x="950" y="46"/>
                </a:cubicBezTo>
                <a:cubicBezTo>
                  <a:pt x="950" y="47"/>
                  <a:pt x="950" y="47"/>
                  <a:pt x="950" y="47"/>
                </a:cubicBezTo>
                <a:cubicBezTo>
                  <a:pt x="952" y="46"/>
                  <a:pt x="952" y="46"/>
                  <a:pt x="952" y="46"/>
                </a:cubicBezTo>
                <a:cubicBezTo>
                  <a:pt x="953" y="44"/>
                  <a:pt x="953" y="44"/>
                  <a:pt x="953" y="44"/>
                </a:cubicBezTo>
                <a:cubicBezTo>
                  <a:pt x="953" y="43"/>
                  <a:pt x="953" y="43"/>
                  <a:pt x="953" y="43"/>
                </a:cubicBezTo>
                <a:cubicBezTo>
                  <a:pt x="954" y="42"/>
                  <a:pt x="954" y="42"/>
                  <a:pt x="954" y="42"/>
                </a:cubicBezTo>
                <a:cubicBezTo>
                  <a:pt x="955" y="40"/>
                  <a:pt x="955" y="40"/>
                  <a:pt x="955" y="40"/>
                </a:cubicBezTo>
                <a:cubicBezTo>
                  <a:pt x="955" y="39"/>
                  <a:pt x="955" y="39"/>
                  <a:pt x="955" y="39"/>
                </a:cubicBezTo>
                <a:cubicBezTo>
                  <a:pt x="953" y="39"/>
                  <a:pt x="953" y="39"/>
                  <a:pt x="953" y="39"/>
                </a:cubicBezTo>
                <a:cubicBezTo>
                  <a:pt x="952" y="39"/>
                  <a:pt x="952" y="39"/>
                  <a:pt x="952" y="39"/>
                </a:cubicBezTo>
                <a:cubicBezTo>
                  <a:pt x="953" y="38"/>
                  <a:pt x="953" y="38"/>
                  <a:pt x="953" y="38"/>
                </a:cubicBezTo>
                <a:cubicBezTo>
                  <a:pt x="952" y="38"/>
                  <a:pt x="952" y="38"/>
                  <a:pt x="952" y="38"/>
                </a:cubicBezTo>
                <a:cubicBezTo>
                  <a:pt x="951" y="39"/>
                  <a:pt x="951" y="39"/>
                  <a:pt x="951" y="39"/>
                </a:cubicBezTo>
                <a:cubicBezTo>
                  <a:pt x="949" y="40"/>
                  <a:pt x="949" y="40"/>
                  <a:pt x="949" y="40"/>
                </a:cubicBezTo>
                <a:cubicBezTo>
                  <a:pt x="949" y="41"/>
                  <a:pt x="949" y="41"/>
                  <a:pt x="949" y="41"/>
                </a:cubicBezTo>
                <a:cubicBezTo>
                  <a:pt x="948" y="41"/>
                  <a:pt x="948" y="41"/>
                  <a:pt x="948" y="41"/>
                </a:cubicBezTo>
                <a:cubicBezTo>
                  <a:pt x="948" y="42"/>
                  <a:pt x="948" y="42"/>
                  <a:pt x="948" y="42"/>
                </a:cubicBezTo>
                <a:cubicBezTo>
                  <a:pt x="950" y="43"/>
                  <a:pt x="950" y="43"/>
                  <a:pt x="950" y="43"/>
                </a:cubicBezTo>
                <a:cubicBezTo>
                  <a:pt x="951" y="42"/>
                  <a:pt x="951" y="42"/>
                  <a:pt x="951" y="42"/>
                </a:cubicBezTo>
                <a:close/>
                <a:moveTo>
                  <a:pt x="961" y="248"/>
                </a:moveTo>
                <a:cubicBezTo>
                  <a:pt x="961" y="248"/>
                  <a:pt x="961" y="248"/>
                  <a:pt x="960" y="248"/>
                </a:cubicBezTo>
                <a:cubicBezTo>
                  <a:pt x="960" y="248"/>
                  <a:pt x="960" y="248"/>
                  <a:pt x="958" y="251"/>
                </a:cubicBezTo>
                <a:cubicBezTo>
                  <a:pt x="958" y="251"/>
                  <a:pt x="958" y="251"/>
                  <a:pt x="957" y="252"/>
                </a:cubicBezTo>
                <a:cubicBezTo>
                  <a:pt x="957" y="252"/>
                  <a:pt x="957" y="252"/>
                  <a:pt x="956" y="253"/>
                </a:cubicBezTo>
                <a:cubicBezTo>
                  <a:pt x="956" y="253"/>
                  <a:pt x="956" y="253"/>
                  <a:pt x="954" y="255"/>
                </a:cubicBezTo>
                <a:cubicBezTo>
                  <a:pt x="954" y="255"/>
                  <a:pt x="954" y="255"/>
                  <a:pt x="954" y="256"/>
                </a:cubicBezTo>
                <a:cubicBezTo>
                  <a:pt x="954" y="256"/>
                  <a:pt x="954" y="256"/>
                  <a:pt x="954" y="257"/>
                </a:cubicBezTo>
                <a:cubicBezTo>
                  <a:pt x="954" y="257"/>
                  <a:pt x="954" y="257"/>
                  <a:pt x="955" y="258"/>
                </a:cubicBezTo>
                <a:cubicBezTo>
                  <a:pt x="955" y="258"/>
                  <a:pt x="955" y="258"/>
                  <a:pt x="954" y="259"/>
                </a:cubicBezTo>
                <a:cubicBezTo>
                  <a:pt x="954" y="259"/>
                  <a:pt x="954" y="259"/>
                  <a:pt x="954" y="260"/>
                </a:cubicBezTo>
                <a:cubicBezTo>
                  <a:pt x="954" y="260"/>
                  <a:pt x="954" y="260"/>
                  <a:pt x="955" y="260"/>
                </a:cubicBezTo>
                <a:cubicBezTo>
                  <a:pt x="955" y="260"/>
                  <a:pt x="955" y="260"/>
                  <a:pt x="956" y="260"/>
                </a:cubicBezTo>
                <a:cubicBezTo>
                  <a:pt x="956" y="260"/>
                  <a:pt x="956" y="260"/>
                  <a:pt x="958" y="260"/>
                </a:cubicBezTo>
                <a:cubicBezTo>
                  <a:pt x="958" y="260"/>
                  <a:pt x="958" y="260"/>
                  <a:pt x="959" y="260"/>
                </a:cubicBezTo>
                <a:cubicBezTo>
                  <a:pt x="959" y="260"/>
                  <a:pt x="959" y="260"/>
                  <a:pt x="960" y="260"/>
                </a:cubicBezTo>
                <a:cubicBezTo>
                  <a:pt x="960" y="260"/>
                  <a:pt x="960" y="260"/>
                  <a:pt x="961" y="259"/>
                </a:cubicBezTo>
                <a:cubicBezTo>
                  <a:pt x="961" y="259"/>
                  <a:pt x="961" y="259"/>
                  <a:pt x="963" y="258"/>
                </a:cubicBezTo>
                <a:cubicBezTo>
                  <a:pt x="963" y="258"/>
                  <a:pt x="963" y="258"/>
                  <a:pt x="964" y="258"/>
                </a:cubicBezTo>
                <a:cubicBezTo>
                  <a:pt x="964" y="258"/>
                  <a:pt x="964" y="258"/>
                  <a:pt x="964" y="257"/>
                </a:cubicBezTo>
                <a:cubicBezTo>
                  <a:pt x="964" y="257"/>
                  <a:pt x="964" y="257"/>
                  <a:pt x="966" y="254"/>
                </a:cubicBezTo>
                <a:cubicBezTo>
                  <a:pt x="966" y="254"/>
                  <a:pt x="966" y="254"/>
                  <a:pt x="966" y="253"/>
                </a:cubicBezTo>
                <a:cubicBezTo>
                  <a:pt x="966" y="253"/>
                  <a:pt x="966" y="253"/>
                  <a:pt x="967" y="252"/>
                </a:cubicBezTo>
                <a:cubicBezTo>
                  <a:pt x="967" y="252"/>
                  <a:pt x="967" y="252"/>
                  <a:pt x="968" y="251"/>
                </a:cubicBezTo>
                <a:cubicBezTo>
                  <a:pt x="968" y="251"/>
                  <a:pt x="968" y="251"/>
                  <a:pt x="968" y="250"/>
                </a:cubicBezTo>
                <a:cubicBezTo>
                  <a:pt x="968" y="250"/>
                  <a:pt x="968" y="250"/>
                  <a:pt x="967" y="249"/>
                </a:cubicBezTo>
                <a:cubicBezTo>
                  <a:pt x="967" y="249"/>
                  <a:pt x="967" y="249"/>
                  <a:pt x="966" y="248"/>
                </a:cubicBezTo>
                <a:cubicBezTo>
                  <a:pt x="966" y="248"/>
                  <a:pt x="966" y="248"/>
                  <a:pt x="965" y="247"/>
                </a:cubicBezTo>
                <a:cubicBezTo>
                  <a:pt x="965" y="247"/>
                  <a:pt x="965" y="247"/>
                  <a:pt x="964" y="247"/>
                </a:cubicBezTo>
                <a:cubicBezTo>
                  <a:pt x="964" y="247"/>
                  <a:pt x="964" y="247"/>
                  <a:pt x="963" y="247"/>
                </a:cubicBezTo>
                <a:cubicBezTo>
                  <a:pt x="963" y="247"/>
                  <a:pt x="963" y="247"/>
                  <a:pt x="962" y="247"/>
                </a:cubicBezTo>
                <a:cubicBezTo>
                  <a:pt x="962" y="247"/>
                  <a:pt x="962" y="247"/>
                  <a:pt x="961" y="248"/>
                </a:cubicBezTo>
                <a:close/>
                <a:moveTo>
                  <a:pt x="949" y="245"/>
                </a:moveTo>
                <a:cubicBezTo>
                  <a:pt x="949" y="245"/>
                  <a:pt x="949" y="245"/>
                  <a:pt x="949" y="246"/>
                </a:cubicBezTo>
                <a:cubicBezTo>
                  <a:pt x="949" y="246"/>
                  <a:pt x="949" y="246"/>
                  <a:pt x="949" y="247"/>
                </a:cubicBezTo>
                <a:cubicBezTo>
                  <a:pt x="949" y="247"/>
                  <a:pt x="949" y="247"/>
                  <a:pt x="950" y="247"/>
                </a:cubicBezTo>
                <a:cubicBezTo>
                  <a:pt x="950" y="247"/>
                  <a:pt x="950" y="247"/>
                  <a:pt x="950" y="246"/>
                </a:cubicBezTo>
                <a:cubicBezTo>
                  <a:pt x="950" y="246"/>
                  <a:pt x="950" y="246"/>
                  <a:pt x="951" y="246"/>
                </a:cubicBezTo>
                <a:cubicBezTo>
                  <a:pt x="951" y="246"/>
                  <a:pt x="951" y="246"/>
                  <a:pt x="951" y="245"/>
                </a:cubicBezTo>
                <a:cubicBezTo>
                  <a:pt x="951" y="245"/>
                  <a:pt x="951" y="245"/>
                  <a:pt x="950" y="245"/>
                </a:cubicBezTo>
                <a:cubicBezTo>
                  <a:pt x="950" y="245"/>
                  <a:pt x="950" y="245"/>
                  <a:pt x="949" y="245"/>
                </a:cubicBezTo>
                <a:close/>
                <a:moveTo>
                  <a:pt x="931" y="222"/>
                </a:moveTo>
                <a:cubicBezTo>
                  <a:pt x="931" y="222"/>
                  <a:pt x="931" y="222"/>
                  <a:pt x="932" y="223"/>
                </a:cubicBezTo>
                <a:cubicBezTo>
                  <a:pt x="932" y="223"/>
                  <a:pt x="932" y="223"/>
                  <a:pt x="933" y="223"/>
                </a:cubicBezTo>
                <a:cubicBezTo>
                  <a:pt x="933" y="223"/>
                  <a:pt x="933" y="223"/>
                  <a:pt x="933" y="222"/>
                </a:cubicBezTo>
                <a:cubicBezTo>
                  <a:pt x="933" y="222"/>
                  <a:pt x="933" y="222"/>
                  <a:pt x="932" y="222"/>
                </a:cubicBezTo>
                <a:cubicBezTo>
                  <a:pt x="932" y="222"/>
                  <a:pt x="932" y="222"/>
                  <a:pt x="931" y="222"/>
                </a:cubicBezTo>
                <a:close/>
                <a:moveTo>
                  <a:pt x="935" y="224"/>
                </a:moveTo>
                <a:cubicBezTo>
                  <a:pt x="935" y="223"/>
                  <a:pt x="935" y="223"/>
                  <a:pt x="935" y="223"/>
                </a:cubicBezTo>
                <a:cubicBezTo>
                  <a:pt x="934" y="223"/>
                  <a:pt x="934" y="223"/>
                  <a:pt x="934" y="223"/>
                </a:cubicBezTo>
                <a:cubicBezTo>
                  <a:pt x="935" y="224"/>
                  <a:pt x="935" y="224"/>
                  <a:pt x="935" y="224"/>
                </a:cubicBezTo>
                <a:close/>
                <a:moveTo>
                  <a:pt x="969" y="244"/>
                </a:moveTo>
                <a:cubicBezTo>
                  <a:pt x="968" y="246"/>
                  <a:pt x="968" y="246"/>
                  <a:pt x="968" y="246"/>
                </a:cubicBezTo>
                <a:cubicBezTo>
                  <a:pt x="969" y="247"/>
                  <a:pt x="969" y="247"/>
                  <a:pt x="969" y="247"/>
                </a:cubicBezTo>
                <a:cubicBezTo>
                  <a:pt x="969" y="248"/>
                  <a:pt x="969" y="248"/>
                  <a:pt x="969" y="248"/>
                </a:cubicBezTo>
                <a:cubicBezTo>
                  <a:pt x="970" y="248"/>
                  <a:pt x="970" y="248"/>
                  <a:pt x="970" y="248"/>
                </a:cubicBezTo>
                <a:cubicBezTo>
                  <a:pt x="970" y="246"/>
                  <a:pt x="970" y="246"/>
                  <a:pt x="970" y="246"/>
                </a:cubicBezTo>
                <a:cubicBezTo>
                  <a:pt x="970" y="244"/>
                  <a:pt x="970" y="244"/>
                  <a:pt x="970" y="244"/>
                </a:cubicBezTo>
                <a:cubicBezTo>
                  <a:pt x="970" y="243"/>
                  <a:pt x="970" y="243"/>
                  <a:pt x="970" y="243"/>
                </a:cubicBezTo>
                <a:cubicBezTo>
                  <a:pt x="969" y="243"/>
                  <a:pt x="969" y="243"/>
                  <a:pt x="969" y="243"/>
                </a:cubicBezTo>
                <a:cubicBezTo>
                  <a:pt x="969" y="244"/>
                  <a:pt x="969" y="244"/>
                  <a:pt x="969" y="244"/>
                </a:cubicBezTo>
                <a:close/>
                <a:moveTo>
                  <a:pt x="972" y="246"/>
                </a:moveTo>
                <a:cubicBezTo>
                  <a:pt x="972" y="246"/>
                  <a:pt x="972" y="246"/>
                  <a:pt x="971" y="244"/>
                </a:cubicBezTo>
                <a:cubicBezTo>
                  <a:pt x="971" y="244"/>
                  <a:pt x="971" y="244"/>
                  <a:pt x="971" y="246"/>
                </a:cubicBezTo>
                <a:cubicBezTo>
                  <a:pt x="971" y="246"/>
                  <a:pt x="971" y="246"/>
                  <a:pt x="971" y="247"/>
                </a:cubicBezTo>
                <a:cubicBezTo>
                  <a:pt x="971" y="247"/>
                  <a:pt x="971" y="247"/>
                  <a:pt x="972" y="247"/>
                </a:cubicBezTo>
                <a:cubicBezTo>
                  <a:pt x="972" y="247"/>
                  <a:pt x="972" y="247"/>
                  <a:pt x="972" y="246"/>
                </a:cubicBezTo>
                <a:close/>
                <a:moveTo>
                  <a:pt x="970" y="252"/>
                </a:moveTo>
                <a:cubicBezTo>
                  <a:pt x="969" y="252"/>
                  <a:pt x="969" y="252"/>
                  <a:pt x="969" y="252"/>
                </a:cubicBezTo>
                <a:cubicBezTo>
                  <a:pt x="969" y="254"/>
                  <a:pt x="969" y="254"/>
                  <a:pt x="969" y="254"/>
                </a:cubicBezTo>
                <a:cubicBezTo>
                  <a:pt x="969" y="255"/>
                  <a:pt x="969" y="255"/>
                  <a:pt x="969" y="255"/>
                </a:cubicBezTo>
                <a:cubicBezTo>
                  <a:pt x="970" y="255"/>
                  <a:pt x="970" y="255"/>
                  <a:pt x="970" y="255"/>
                </a:cubicBezTo>
                <a:cubicBezTo>
                  <a:pt x="972" y="255"/>
                  <a:pt x="972" y="255"/>
                  <a:pt x="972" y="255"/>
                </a:cubicBezTo>
                <a:cubicBezTo>
                  <a:pt x="972" y="256"/>
                  <a:pt x="972" y="256"/>
                  <a:pt x="972" y="256"/>
                </a:cubicBezTo>
                <a:cubicBezTo>
                  <a:pt x="973" y="256"/>
                  <a:pt x="973" y="256"/>
                  <a:pt x="973" y="256"/>
                </a:cubicBezTo>
                <a:cubicBezTo>
                  <a:pt x="974" y="256"/>
                  <a:pt x="974" y="256"/>
                  <a:pt x="974" y="256"/>
                </a:cubicBezTo>
                <a:cubicBezTo>
                  <a:pt x="975" y="255"/>
                  <a:pt x="975" y="255"/>
                  <a:pt x="975" y="255"/>
                </a:cubicBezTo>
                <a:cubicBezTo>
                  <a:pt x="974" y="254"/>
                  <a:pt x="974" y="254"/>
                  <a:pt x="974" y="254"/>
                </a:cubicBezTo>
                <a:cubicBezTo>
                  <a:pt x="974" y="253"/>
                  <a:pt x="974" y="253"/>
                  <a:pt x="974" y="253"/>
                </a:cubicBezTo>
                <a:cubicBezTo>
                  <a:pt x="973" y="253"/>
                  <a:pt x="973" y="253"/>
                  <a:pt x="973" y="253"/>
                </a:cubicBezTo>
                <a:cubicBezTo>
                  <a:pt x="973" y="252"/>
                  <a:pt x="973" y="252"/>
                  <a:pt x="973" y="252"/>
                </a:cubicBezTo>
                <a:cubicBezTo>
                  <a:pt x="972" y="252"/>
                  <a:pt x="972" y="252"/>
                  <a:pt x="972" y="252"/>
                </a:cubicBezTo>
                <a:cubicBezTo>
                  <a:pt x="971" y="252"/>
                  <a:pt x="971" y="252"/>
                  <a:pt x="971" y="252"/>
                </a:cubicBezTo>
                <a:cubicBezTo>
                  <a:pt x="971" y="251"/>
                  <a:pt x="971" y="251"/>
                  <a:pt x="971" y="251"/>
                </a:cubicBezTo>
                <a:cubicBezTo>
                  <a:pt x="970" y="252"/>
                  <a:pt x="970" y="252"/>
                  <a:pt x="970" y="252"/>
                </a:cubicBezTo>
                <a:close/>
                <a:moveTo>
                  <a:pt x="885" y="176"/>
                </a:moveTo>
                <a:cubicBezTo>
                  <a:pt x="885" y="176"/>
                  <a:pt x="885" y="176"/>
                  <a:pt x="886" y="176"/>
                </a:cubicBezTo>
                <a:cubicBezTo>
                  <a:pt x="886" y="176"/>
                  <a:pt x="886" y="176"/>
                  <a:pt x="886" y="174"/>
                </a:cubicBezTo>
                <a:cubicBezTo>
                  <a:pt x="886" y="174"/>
                  <a:pt x="886" y="174"/>
                  <a:pt x="886" y="173"/>
                </a:cubicBezTo>
                <a:cubicBezTo>
                  <a:pt x="886" y="173"/>
                  <a:pt x="886" y="173"/>
                  <a:pt x="887" y="173"/>
                </a:cubicBezTo>
                <a:cubicBezTo>
                  <a:pt x="887" y="173"/>
                  <a:pt x="887" y="173"/>
                  <a:pt x="889" y="172"/>
                </a:cubicBezTo>
                <a:cubicBezTo>
                  <a:pt x="889" y="172"/>
                  <a:pt x="889" y="172"/>
                  <a:pt x="889" y="171"/>
                </a:cubicBezTo>
                <a:cubicBezTo>
                  <a:pt x="889" y="171"/>
                  <a:pt x="889" y="171"/>
                  <a:pt x="890" y="169"/>
                </a:cubicBezTo>
                <a:cubicBezTo>
                  <a:pt x="890" y="169"/>
                  <a:pt x="890" y="169"/>
                  <a:pt x="890" y="167"/>
                </a:cubicBezTo>
                <a:cubicBezTo>
                  <a:pt x="890" y="167"/>
                  <a:pt x="890" y="167"/>
                  <a:pt x="888" y="167"/>
                </a:cubicBezTo>
                <a:cubicBezTo>
                  <a:pt x="888" y="167"/>
                  <a:pt x="888" y="167"/>
                  <a:pt x="887" y="169"/>
                </a:cubicBezTo>
                <a:cubicBezTo>
                  <a:pt x="887" y="169"/>
                  <a:pt x="887" y="169"/>
                  <a:pt x="887" y="168"/>
                </a:cubicBezTo>
                <a:cubicBezTo>
                  <a:pt x="887" y="168"/>
                  <a:pt x="887" y="168"/>
                  <a:pt x="887" y="167"/>
                </a:cubicBezTo>
                <a:cubicBezTo>
                  <a:pt x="887" y="167"/>
                  <a:pt x="887" y="167"/>
                  <a:pt x="888" y="166"/>
                </a:cubicBezTo>
                <a:cubicBezTo>
                  <a:pt x="888" y="166"/>
                  <a:pt x="888" y="166"/>
                  <a:pt x="888" y="165"/>
                </a:cubicBezTo>
                <a:cubicBezTo>
                  <a:pt x="888" y="165"/>
                  <a:pt x="888" y="165"/>
                  <a:pt x="888" y="164"/>
                </a:cubicBezTo>
                <a:cubicBezTo>
                  <a:pt x="888" y="164"/>
                  <a:pt x="888" y="164"/>
                  <a:pt x="888" y="163"/>
                </a:cubicBezTo>
                <a:cubicBezTo>
                  <a:pt x="888" y="163"/>
                  <a:pt x="888" y="163"/>
                  <a:pt x="888" y="162"/>
                </a:cubicBezTo>
                <a:cubicBezTo>
                  <a:pt x="888" y="162"/>
                  <a:pt x="888" y="162"/>
                  <a:pt x="886" y="161"/>
                </a:cubicBezTo>
                <a:cubicBezTo>
                  <a:pt x="886" y="161"/>
                  <a:pt x="886" y="161"/>
                  <a:pt x="885" y="161"/>
                </a:cubicBezTo>
                <a:cubicBezTo>
                  <a:pt x="885" y="161"/>
                  <a:pt x="885" y="161"/>
                  <a:pt x="884" y="161"/>
                </a:cubicBezTo>
                <a:cubicBezTo>
                  <a:pt x="884" y="161"/>
                  <a:pt x="884" y="161"/>
                  <a:pt x="883" y="162"/>
                </a:cubicBezTo>
                <a:cubicBezTo>
                  <a:pt x="883" y="162"/>
                  <a:pt x="883" y="162"/>
                  <a:pt x="882" y="162"/>
                </a:cubicBezTo>
                <a:cubicBezTo>
                  <a:pt x="882" y="162"/>
                  <a:pt x="882" y="162"/>
                  <a:pt x="882" y="161"/>
                </a:cubicBezTo>
                <a:cubicBezTo>
                  <a:pt x="882" y="161"/>
                  <a:pt x="882" y="161"/>
                  <a:pt x="883" y="160"/>
                </a:cubicBezTo>
                <a:cubicBezTo>
                  <a:pt x="883" y="160"/>
                  <a:pt x="883" y="160"/>
                  <a:pt x="884" y="160"/>
                </a:cubicBezTo>
                <a:cubicBezTo>
                  <a:pt x="884" y="160"/>
                  <a:pt x="884" y="160"/>
                  <a:pt x="886" y="159"/>
                </a:cubicBezTo>
                <a:cubicBezTo>
                  <a:pt x="886" y="159"/>
                  <a:pt x="886" y="159"/>
                  <a:pt x="888" y="158"/>
                </a:cubicBezTo>
                <a:cubicBezTo>
                  <a:pt x="888" y="158"/>
                  <a:pt x="888" y="158"/>
                  <a:pt x="888" y="157"/>
                </a:cubicBezTo>
                <a:cubicBezTo>
                  <a:pt x="888" y="157"/>
                  <a:pt x="888" y="157"/>
                  <a:pt x="890" y="157"/>
                </a:cubicBezTo>
                <a:cubicBezTo>
                  <a:pt x="890" y="157"/>
                  <a:pt x="890" y="157"/>
                  <a:pt x="891" y="157"/>
                </a:cubicBezTo>
                <a:cubicBezTo>
                  <a:pt x="891" y="157"/>
                  <a:pt x="891" y="157"/>
                  <a:pt x="892" y="157"/>
                </a:cubicBezTo>
                <a:cubicBezTo>
                  <a:pt x="892" y="157"/>
                  <a:pt x="892" y="157"/>
                  <a:pt x="892" y="155"/>
                </a:cubicBezTo>
                <a:cubicBezTo>
                  <a:pt x="892" y="155"/>
                  <a:pt x="892" y="155"/>
                  <a:pt x="891" y="154"/>
                </a:cubicBezTo>
                <a:cubicBezTo>
                  <a:pt x="891" y="154"/>
                  <a:pt x="891" y="154"/>
                  <a:pt x="891" y="153"/>
                </a:cubicBezTo>
                <a:cubicBezTo>
                  <a:pt x="891" y="153"/>
                  <a:pt x="891" y="153"/>
                  <a:pt x="892" y="153"/>
                </a:cubicBezTo>
                <a:cubicBezTo>
                  <a:pt x="892" y="153"/>
                  <a:pt x="892" y="153"/>
                  <a:pt x="893" y="153"/>
                </a:cubicBezTo>
                <a:cubicBezTo>
                  <a:pt x="893" y="153"/>
                  <a:pt x="893" y="153"/>
                  <a:pt x="895" y="152"/>
                </a:cubicBezTo>
                <a:cubicBezTo>
                  <a:pt x="895" y="152"/>
                  <a:pt x="895" y="152"/>
                  <a:pt x="896" y="151"/>
                </a:cubicBezTo>
                <a:cubicBezTo>
                  <a:pt x="896" y="151"/>
                  <a:pt x="896" y="151"/>
                  <a:pt x="895" y="150"/>
                </a:cubicBezTo>
                <a:cubicBezTo>
                  <a:pt x="895" y="150"/>
                  <a:pt x="895" y="150"/>
                  <a:pt x="895" y="149"/>
                </a:cubicBezTo>
                <a:cubicBezTo>
                  <a:pt x="895" y="149"/>
                  <a:pt x="895" y="149"/>
                  <a:pt x="894" y="149"/>
                </a:cubicBezTo>
                <a:cubicBezTo>
                  <a:pt x="894" y="149"/>
                  <a:pt x="894" y="149"/>
                  <a:pt x="893" y="148"/>
                </a:cubicBezTo>
                <a:cubicBezTo>
                  <a:pt x="893" y="148"/>
                  <a:pt x="893" y="148"/>
                  <a:pt x="890" y="148"/>
                </a:cubicBezTo>
                <a:cubicBezTo>
                  <a:pt x="890" y="148"/>
                  <a:pt x="890" y="148"/>
                  <a:pt x="889" y="148"/>
                </a:cubicBezTo>
                <a:cubicBezTo>
                  <a:pt x="889" y="148"/>
                  <a:pt x="889" y="148"/>
                  <a:pt x="887" y="148"/>
                </a:cubicBezTo>
                <a:cubicBezTo>
                  <a:pt x="887" y="148"/>
                  <a:pt x="887" y="148"/>
                  <a:pt x="886" y="148"/>
                </a:cubicBezTo>
                <a:cubicBezTo>
                  <a:pt x="886" y="148"/>
                  <a:pt x="886" y="148"/>
                  <a:pt x="885" y="148"/>
                </a:cubicBezTo>
                <a:cubicBezTo>
                  <a:pt x="885" y="148"/>
                  <a:pt x="885" y="148"/>
                  <a:pt x="884" y="147"/>
                </a:cubicBezTo>
                <a:cubicBezTo>
                  <a:pt x="884" y="147"/>
                  <a:pt x="884" y="147"/>
                  <a:pt x="883" y="146"/>
                </a:cubicBezTo>
                <a:cubicBezTo>
                  <a:pt x="883" y="146"/>
                  <a:pt x="883" y="146"/>
                  <a:pt x="884" y="145"/>
                </a:cubicBezTo>
                <a:cubicBezTo>
                  <a:pt x="884" y="145"/>
                  <a:pt x="884" y="145"/>
                  <a:pt x="882" y="144"/>
                </a:cubicBezTo>
                <a:cubicBezTo>
                  <a:pt x="882" y="144"/>
                  <a:pt x="882" y="144"/>
                  <a:pt x="881" y="145"/>
                </a:cubicBezTo>
                <a:cubicBezTo>
                  <a:pt x="881" y="145"/>
                  <a:pt x="881" y="145"/>
                  <a:pt x="880" y="145"/>
                </a:cubicBezTo>
                <a:cubicBezTo>
                  <a:pt x="880" y="145"/>
                  <a:pt x="880" y="145"/>
                  <a:pt x="881" y="146"/>
                </a:cubicBezTo>
                <a:cubicBezTo>
                  <a:pt x="881" y="146"/>
                  <a:pt x="881" y="146"/>
                  <a:pt x="882" y="146"/>
                </a:cubicBezTo>
                <a:cubicBezTo>
                  <a:pt x="882" y="146"/>
                  <a:pt x="882" y="146"/>
                  <a:pt x="882" y="147"/>
                </a:cubicBezTo>
                <a:cubicBezTo>
                  <a:pt x="882" y="147"/>
                  <a:pt x="882" y="147"/>
                  <a:pt x="880" y="147"/>
                </a:cubicBezTo>
                <a:cubicBezTo>
                  <a:pt x="880" y="147"/>
                  <a:pt x="880" y="147"/>
                  <a:pt x="879" y="145"/>
                </a:cubicBezTo>
                <a:cubicBezTo>
                  <a:pt x="879" y="145"/>
                  <a:pt x="879" y="145"/>
                  <a:pt x="878" y="145"/>
                </a:cubicBezTo>
                <a:cubicBezTo>
                  <a:pt x="878" y="145"/>
                  <a:pt x="878" y="145"/>
                  <a:pt x="877" y="146"/>
                </a:cubicBezTo>
                <a:cubicBezTo>
                  <a:pt x="877" y="146"/>
                  <a:pt x="877" y="146"/>
                  <a:pt x="876" y="147"/>
                </a:cubicBezTo>
                <a:cubicBezTo>
                  <a:pt x="876" y="147"/>
                  <a:pt x="876" y="147"/>
                  <a:pt x="876" y="148"/>
                </a:cubicBezTo>
                <a:cubicBezTo>
                  <a:pt x="876" y="148"/>
                  <a:pt x="876" y="148"/>
                  <a:pt x="876" y="150"/>
                </a:cubicBezTo>
                <a:cubicBezTo>
                  <a:pt x="876" y="150"/>
                  <a:pt x="876" y="150"/>
                  <a:pt x="877" y="150"/>
                </a:cubicBezTo>
                <a:cubicBezTo>
                  <a:pt x="877" y="150"/>
                  <a:pt x="877" y="150"/>
                  <a:pt x="877" y="151"/>
                </a:cubicBezTo>
                <a:cubicBezTo>
                  <a:pt x="877" y="151"/>
                  <a:pt x="877" y="151"/>
                  <a:pt x="877" y="152"/>
                </a:cubicBezTo>
                <a:cubicBezTo>
                  <a:pt x="877" y="152"/>
                  <a:pt x="877" y="152"/>
                  <a:pt x="877" y="153"/>
                </a:cubicBezTo>
                <a:cubicBezTo>
                  <a:pt x="877" y="153"/>
                  <a:pt x="877" y="153"/>
                  <a:pt x="876" y="153"/>
                </a:cubicBezTo>
                <a:cubicBezTo>
                  <a:pt x="876" y="153"/>
                  <a:pt x="876" y="153"/>
                  <a:pt x="876" y="151"/>
                </a:cubicBezTo>
                <a:cubicBezTo>
                  <a:pt x="876" y="151"/>
                  <a:pt x="876" y="151"/>
                  <a:pt x="875" y="150"/>
                </a:cubicBezTo>
                <a:cubicBezTo>
                  <a:pt x="875" y="150"/>
                  <a:pt x="875" y="150"/>
                  <a:pt x="874" y="149"/>
                </a:cubicBezTo>
                <a:cubicBezTo>
                  <a:pt x="874" y="149"/>
                  <a:pt x="874" y="149"/>
                  <a:pt x="874" y="150"/>
                </a:cubicBezTo>
                <a:cubicBezTo>
                  <a:pt x="874" y="150"/>
                  <a:pt x="874" y="150"/>
                  <a:pt x="873" y="150"/>
                </a:cubicBezTo>
                <a:cubicBezTo>
                  <a:pt x="873" y="150"/>
                  <a:pt x="873" y="150"/>
                  <a:pt x="872" y="151"/>
                </a:cubicBezTo>
                <a:cubicBezTo>
                  <a:pt x="872" y="151"/>
                  <a:pt x="872" y="151"/>
                  <a:pt x="872" y="152"/>
                </a:cubicBezTo>
                <a:cubicBezTo>
                  <a:pt x="872" y="152"/>
                  <a:pt x="872" y="152"/>
                  <a:pt x="873" y="154"/>
                </a:cubicBezTo>
                <a:cubicBezTo>
                  <a:pt x="873" y="154"/>
                  <a:pt x="873" y="154"/>
                  <a:pt x="874" y="156"/>
                </a:cubicBezTo>
                <a:cubicBezTo>
                  <a:pt x="874" y="156"/>
                  <a:pt x="874" y="156"/>
                  <a:pt x="876" y="156"/>
                </a:cubicBezTo>
                <a:cubicBezTo>
                  <a:pt x="876" y="156"/>
                  <a:pt x="876" y="156"/>
                  <a:pt x="876" y="155"/>
                </a:cubicBezTo>
                <a:cubicBezTo>
                  <a:pt x="876" y="155"/>
                  <a:pt x="876" y="155"/>
                  <a:pt x="877" y="155"/>
                </a:cubicBezTo>
                <a:cubicBezTo>
                  <a:pt x="877" y="155"/>
                  <a:pt x="877" y="155"/>
                  <a:pt x="877" y="156"/>
                </a:cubicBezTo>
                <a:cubicBezTo>
                  <a:pt x="877" y="156"/>
                  <a:pt x="877" y="156"/>
                  <a:pt x="878" y="157"/>
                </a:cubicBezTo>
                <a:cubicBezTo>
                  <a:pt x="878" y="157"/>
                  <a:pt x="878" y="157"/>
                  <a:pt x="878" y="158"/>
                </a:cubicBezTo>
                <a:cubicBezTo>
                  <a:pt x="878" y="158"/>
                  <a:pt x="878" y="158"/>
                  <a:pt x="877" y="158"/>
                </a:cubicBezTo>
                <a:cubicBezTo>
                  <a:pt x="877" y="158"/>
                  <a:pt x="877" y="158"/>
                  <a:pt x="877" y="157"/>
                </a:cubicBezTo>
                <a:cubicBezTo>
                  <a:pt x="877" y="157"/>
                  <a:pt x="877" y="157"/>
                  <a:pt x="876" y="156"/>
                </a:cubicBezTo>
                <a:cubicBezTo>
                  <a:pt x="876" y="156"/>
                  <a:pt x="876" y="156"/>
                  <a:pt x="875" y="157"/>
                </a:cubicBezTo>
                <a:cubicBezTo>
                  <a:pt x="875" y="157"/>
                  <a:pt x="875" y="157"/>
                  <a:pt x="874" y="157"/>
                </a:cubicBezTo>
                <a:cubicBezTo>
                  <a:pt x="874" y="157"/>
                  <a:pt x="874" y="157"/>
                  <a:pt x="875" y="158"/>
                </a:cubicBezTo>
                <a:cubicBezTo>
                  <a:pt x="875" y="158"/>
                  <a:pt x="875" y="158"/>
                  <a:pt x="875" y="159"/>
                </a:cubicBezTo>
                <a:cubicBezTo>
                  <a:pt x="875" y="159"/>
                  <a:pt x="875" y="159"/>
                  <a:pt x="874" y="160"/>
                </a:cubicBezTo>
                <a:cubicBezTo>
                  <a:pt x="874" y="160"/>
                  <a:pt x="874" y="160"/>
                  <a:pt x="874" y="161"/>
                </a:cubicBezTo>
                <a:cubicBezTo>
                  <a:pt x="874" y="161"/>
                  <a:pt x="874" y="161"/>
                  <a:pt x="873" y="162"/>
                </a:cubicBezTo>
                <a:cubicBezTo>
                  <a:pt x="873" y="162"/>
                  <a:pt x="873" y="162"/>
                  <a:pt x="872" y="163"/>
                </a:cubicBezTo>
                <a:cubicBezTo>
                  <a:pt x="872" y="163"/>
                  <a:pt x="872" y="163"/>
                  <a:pt x="873" y="164"/>
                </a:cubicBezTo>
                <a:cubicBezTo>
                  <a:pt x="873" y="164"/>
                  <a:pt x="873" y="164"/>
                  <a:pt x="872" y="164"/>
                </a:cubicBezTo>
                <a:cubicBezTo>
                  <a:pt x="872" y="164"/>
                  <a:pt x="872" y="164"/>
                  <a:pt x="871" y="164"/>
                </a:cubicBezTo>
                <a:cubicBezTo>
                  <a:pt x="871" y="164"/>
                  <a:pt x="871" y="164"/>
                  <a:pt x="870" y="163"/>
                </a:cubicBezTo>
                <a:cubicBezTo>
                  <a:pt x="870" y="163"/>
                  <a:pt x="870" y="163"/>
                  <a:pt x="870" y="162"/>
                </a:cubicBezTo>
                <a:cubicBezTo>
                  <a:pt x="870" y="162"/>
                  <a:pt x="870" y="162"/>
                  <a:pt x="869" y="160"/>
                </a:cubicBezTo>
                <a:cubicBezTo>
                  <a:pt x="869" y="160"/>
                  <a:pt x="869" y="160"/>
                  <a:pt x="869" y="159"/>
                </a:cubicBezTo>
                <a:cubicBezTo>
                  <a:pt x="869" y="159"/>
                  <a:pt x="869" y="159"/>
                  <a:pt x="868" y="158"/>
                </a:cubicBezTo>
                <a:cubicBezTo>
                  <a:pt x="868" y="158"/>
                  <a:pt x="868" y="158"/>
                  <a:pt x="868" y="157"/>
                </a:cubicBezTo>
                <a:cubicBezTo>
                  <a:pt x="868" y="157"/>
                  <a:pt x="868" y="157"/>
                  <a:pt x="869" y="157"/>
                </a:cubicBezTo>
                <a:cubicBezTo>
                  <a:pt x="869" y="157"/>
                  <a:pt x="869" y="157"/>
                  <a:pt x="868" y="156"/>
                </a:cubicBezTo>
                <a:cubicBezTo>
                  <a:pt x="868" y="156"/>
                  <a:pt x="868" y="156"/>
                  <a:pt x="867" y="156"/>
                </a:cubicBezTo>
                <a:cubicBezTo>
                  <a:pt x="867" y="156"/>
                  <a:pt x="867" y="156"/>
                  <a:pt x="865" y="156"/>
                </a:cubicBezTo>
                <a:cubicBezTo>
                  <a:pt x="865" y="156"/>
                  <a:pt x="865" y="156"/>
                  <a:pt x="864" y="156"/>
                </a:cubicBezTo>
                <a:cubicBezTo>
                  <a:pt x="864" y="156"/>
                  <a:pt x="864" y="156"/>
                  <a:pt x="864" y="157"/>
                </a:cubicBezTo>
                <a:cubicBezTo>
                  <a:pt x="864" y="157"/>
                  <a:pt x="864" y="157"/>
                  <a:pt x="862" y="157"/>
                </a:cubicBezTo>
                <a:cubicBezTo>
                  <a:pt x="862" y="157"/>
                  <a:pt x="862" y="157"/>
                  <a:pt x="861" y="159"/>
                </a:cubicBezTo>
                <a:cubicBezTo>
                  <a:pt x="861" y="159"/>
                  <a:pt x="861" y="159"/>
                  <a:pt x="861" y="160"/>
                </a:cubicBezTo>
                <a:cubicBezTo>
                  <a:pt x="861" y="160"/>
                  <a:pt x="861" y="160"/>
                  <a:pt x="861" y="162"/>
                </a:cubicBezTo>
                <a:cubicBezTo>
                  <a:pt x="861" y="162"/>
                  <a:pt x="861" y="162"/>
                  <a:pt x="861" y="163"/>
                </a:cubicBezTo>
                <a:cubicBezTo>
                  <a:pt x="861" y="163"/>
                  <a:pt x="861" y="163"/>
                  <a:pt x="862" y="164"/>
                </a:cubicBezTo>
                <a:cubicBezTo>
                  <a:pt x="862" y="164"/>
                  <a:pt x="862" y="164"/>
                  <a:pt x="861" y="165"/>
                </a:cubicBezTo>
                <a:cubicBezTo>
                  <a:pt x="861" y="165"/>
                  <a:pt x="861" y="165"/>
                  <a:pt x="860" y="166"/>
                </a:cubicBezTo>
                <a:cubicBezTo>
                  <a:pt x="860" y="166"/>
                  <a:pt x="860" y="166"/>
                  <a:pt x="860" y="168"/>
                </a:cubicBezTo>
                <a:cubicBezTo>
                  <a:pt x="860" y="168"/>
                  <a:pt x="860" y="168"/>
                  <a:pt x="861" y="168"/>
                </a:cubicBezTo>
                <a:cubicBezTo>
                  <a:pt x="861" y="168"/>
                  <a:pt x="861" y="168"/>
                  <a:pt x="862" y="168"/>
                </a:cubicBezTo>
                <a:cubicBezTo>
                  <a:pt x="862" y="168"/>
                  <a:pt x="862" y="168"/>
                  <a:pt x="863" y="168"/>
                </a:cubicBezTo>
                <a:cubicBezTo>
                  <a:pt x="863" y="168"/>
                  <a:pt x="863" y="168"/>
                  <a:pt x="864" y="168"/>
                </a:cubicBezTo>
                <a:cubicBezTo>
                  <a:pt x="864" y="168"/>
                  <a:pt x="864" y="168"/>
                  <a:pt x="864" y="170"/>
                </a:cubicBezTo>
                <a:cubicBezTo>
                  <a:pt x="864" y="170"/>
                  <a:pt x="864" y="170"/>
                  <a:pt x="865" y="170"/>
                </a:cubicBezTo>
                <a:cubicBezTo>
                  <a:pt x="865" y="170"/>
                  <a:pt x="865" y="170"/>
                  <a:pt x="866" y="172"/>
                </a:cubicBezTo>
                <a:cubicBezTo>
                  <a:pt x="866" y="172"/>
                  <a:pt x="866" y="172"/>
                  <a:pt x="865" y="174"/>
                </a:cubicBezTo>
                <a:cubicBezTo>
                  <a:pt x="865" y="174"/>
                  <a:pt x="865" y="174"/>
                  <a:pt x="867" y="175"/>
                </a:cubicBezTo>
                <a:cubicBezTo>
                  <a:pt x="867" y="175"/>
                  <a:pt x="867" y="175"/>
                  <a:pt x="867" y="176"/>
                </a:cubicBezTo>
                <a:cubicBezTo>
                  <a:pt x="867" y="176"/>
                  <a:pt x="867" y="176"/>
                  <a:pt x="867" y="177"/>
                </a:cubicBezTo>
                <a:cubicBezTo>
                  <a:pt x="867" y="177"/>
                  <a:pt x="867" y="177"/>
                  <a:pt x="868" y="177"/>
                </a:cubicBezTo>
                <a:cubicBezTo>
                  <a:pt x="868" y="177"/>
                  <a:pt x="868" y="177"/>
                  <a:pt x="868" y="178"/>
                </a:cubicBezTo>
                <a:cubicBezTo>
                  <a:pt x="868" y="178"/>
                  <a:pt x="868" y="178"/>
                  <a:pt x="868" y="180"/>
                </a:cubicBezTo>
                <a:cubicBezTo>
                  <a:pt x="868" y="180"/>
                  <a:pt x="868" y="180"/>
                  <a:pt x="867" y="181"/>
                </a:cubicBezTo>
                <a:cubicBezTo>
                  <a:pt x="867" y="181"/>
                  <a:pt x="867" y="181"/>
                  <a:pt x="868" y="182"/>
                </a:cubicBezTo>
                <a:cubicBezTo>
                  <a:pt x="868" y="182"/>
                  <a:pt x="868" y="182"/>
                  <a:pt x="868" y="184"/>
                </a:cubicBezTo>
                <a:cubicBezTo>
                  <a:pt x="868" y="184"/>
                  <a:pt x="868" y="184"/>
                  <a:pt x="868" y="185"/>
                </a:cubicBezTo>
                <a:cubicBezTo>
                  <a:pt x="868" y="185"/>
                  <a:pt x="868" y="185"/>
                  <a:pt x="868" y="186"/>
                </a:cubicBezTo>
                <a:cubicBezTo>
                  <a:pt x="868" y="186"/>
                  <a:pt x="868" y="186"/>
                  <a:pt x="869" y="185"/>
                </a:cubicBezTo>
                <a:cubicBezTo>
                  <a:pt x="869" y="185"/>
                  <a:pt x="869" y="185"/>
                  <a:pt x="869" y="187"/>
                </a:cubicBezTo>
                <a:cubicBezTo>
                  <a:pt x="869" y="187"/>
                  <a:pt x="869" y="187"/>
                  <a:pt x="870" y="187"/>
                </a:cubicBezTo>
                <a:cubicBezTo>
                  <a:pt x="872" y="187"/>
                  <a:pt x="872" y="187"/>
                  <a:pt x="872" y="187"/>
                </a:cubicBezTo>
                <a:cubicBezTo>
                  <a:pt x="872" y="187"/>
                  <a:pt x="872" y="187"/>
                  <a:pt x="873" y="186"/>
                </a:cubicBezTo>
                <a:cubicBezTo>
                  <a:pt x="873" y="186"/>
                  <a:pt x="873" y="186"/>
                  <a:pt x="874" y="185"/>
                </a:cubicBezTo>
                <a:cubicBezTo>
                  <a:pt x="874" y="185"/>
                  <a:pt x="874" y="185"/>
                  <a:pt x="874" y="184"/>
                </a:cubicBezTo>
                <a:cubicBezTo>
                  <a:pt x="874" y="184"/>
                  <a:pt x="874" y="184"/>
                  <a:pt x="874" y="183"/>
                </a:cubicBezTo>
                <a:cubicBezTo>
                  <a:pt x="874" y="183"/>
                  <a:pt x="874" y="183"/>
                  <a:pt x="873" y="181"/>
                </a:cubicBezTo>
                <a:cubicBezTo>
                  <a:pt x="873" y="181"/>
                  <a:pt x="873" y="181"/>
                  <a:pt x="873" y="179"/>
                </a:cubicBezTo>
                <a:cubicBezTo>
                  <a:pt x="873" y="179"/>
                  <a:pt x="873" y="179"/>
                  <a:pt x="875" y="177"/>
                </a:cubicBezTo>
                <a:cubicBezTo>
                  <a:pt x="875" y="177"/>
                  <a:pt x="875" y="177"/>
                  <a:pt x="875" y="178"/>
                </a:cubicBezTo>
                <a:cubicBezTo>
                  <a:pt x="875" y="178"/>
                  <a:pt x="875" y="178"/>
                  <a:pt x="874" y="180"/>
                </a:cubicBezTo>
                <a:cubicBezTo>
                  <a:pt x="874" y="180"/>
                  <a:pt x="874" y="180"/>
                  <a:pt x="874" y="182"/>
                </a:cubicBezTo>
                <a:cubicBezTo>
                  <a:pt x="874" y="182"/>
                  <a:pt x="874" y="182"/>
                  <a:pt x="875" y="183"/>
                </a:cubicBezTo>
                <a:cubicBezTo>
                  <a:pt x="875" y="183"/>
                  <a:pt x="875" y="183"/>
                  <a:pt x="876" y="182"/>
                </a:cubicBezTo>
                <a:cubicBezTo>
                  <a:pt x="876" y="182"/>
                  <a:pt x="876" y="182"/>
                  <a:pt x="878" y="183"/>
                </a:cubicBezTo>
                <a:cubicBezTo>
                  <a:pt x="878" y="183"/>
                  <a:pt x="878" y="183"/>
                  <a:pt x="880" y="182"/>
                </a:cubicBezTo>
                <a:cubicBezTo>
                  <a:pt x="880" y="182"/>
                  <a:pt x="880" y="182"/>
                  <a:pt x="880" y="181"/>
                </a:cubicBezTo>
                <a:cubicBezTo>
                  <a:pt x="880" y="181"/>
                  <a:pt x="880" y="181"/>
                  <a:pt x="881" y="181"/>
                </a:cubicBezTo>
                <a:cubicBezTo>
                  <a:pt x="881" y="181"/>
                  <a:pt x="881" y="181"/>
                  <a:pt x="882" y="181"/>
                </a:cubicBezTo>
                <a:cubicBezTo>
                  <a:pt x="882" y="181"/>
                  <a:pt x="882" y="181"/>
                  <a:pt x="883" y="180"/>
                </a:cubicBezTo>
                <a:cubicBezTo>
                  <a:pt x="883" y="180"/>
                  <a:pt x="883" y="180"/>
                  <a:pt x="884" y="181"/>
                </a:cubicBezTo>
                <a:cubicBezTo>
                  <a:pt x="884" y="181"/>
                  <a:pt x="884" y="181"/>
                  <a:pt x="885" y="179"/>
                </a:cubicBezTo>
                <a:cubicBezTo>
                  <a:pt x="885" y="179"/>
                  <a:pt x="885" y="179"/>
                  <a:pt x="884" y="178"/>
                </a:cubicBezTo>
                <a:cubicBezTo>
                  <a:pt x="884" y="178"/>
                  <a:pt x="884" y="178"/>
                  <a:pt x="885" y="178"/>
                </a:cubicBezTo>
                <a:cubicBezTo>
                  <a:pt x="885" y="178"/>
                  <a:pt x="885" y="178"/>
                  <a:pt x="886" y="178"/>
                </a:cubicBezTo>
                <a:cubicBezTo>
                  <a:pt x="886" y="178"/>
                  <a:pt x="886" y="178"/>
                  <a:pt x="884" y="177"/>
                </a:cubicBezTo>
                <a:cubicBezTo>
                  <a:pt x="884" y="177"/>
                  <a:pt x="884" y="177"/>
                  <a:pt x="884" y="176"/>
                </a:cubicBezTo>
                <a:cubicBezTo>
                  <a:pt x="884" y="176"/>
                  <a:pt x="884" y="176"/>
                  <a:pt x="885" y="176"/>
                </a:cubicBezTo>
                <a:close/>
                <a:moveTo>
                  <a:pt x="793" y="229"/>
                </a:moveTo>
                <a:cubicBezTo>
                  <a:pt x="793" y="229"/>
                  <a:pt x="793" y="229"/>
                  <a:pt x="792" y="231"/>
                </a:cubicBezTo>
                <a:cubicBezTo>
                  <a:pt x="792" y="231"/>
                  <a:pt x="792" y="231"/>
                  <a:pt x="792" y="232"/>
                </a:cubicBezTo>
                <a:cubicBezTo>
                  <a:pt x="792" y="232"/>
                  <a:pt x="792" y="232"/>
                  <a:pt x="792" y="234"/>
                </a:cubicBezTo>
                <a:cubicBezTo>
                  <a:pt x="792" y="234"/>
                  <a:pt x="792" y="234"/>
                  <a:pt x="793" y="234"/>
                </a:cubicBezTo>
                <a:cubicBezTo>
                  <a:pt x="793" y="234"/>
                  <a:pt x="793" y="234"/>
                  <a:pt x="793" y="233"/>
                </a:cubicBezTo>
                <a:cubicBezTo>
                  <a:pt x="793" y="233"/>
                  <a:pt x="793" y="233"/>
                  <a:pt x="794" y="233"/>
                </a:cubicBezTo>
                <a:cubicBezTo>
                  <a:pt x="794" y="233"/>
                  <a:pt x="794" y="233"/>
                  <a:pt x="794" y="232"/>
                </a:cubicBezTo>
                <a:cubicBezTo>
                  <a:pt x="794" y="232"/>
                  <a:pt x="794" y="232"/>
                  <a:pt x="794" y="231"/>
                </a:cubicBezTo>
                <a:cubicBezTo>
                  <a:pt x="794" y="231"/>
                  <a:pt x="794" y="231"/>
                  <a:pt x="793" y="231"/>
                </a:cubicBezTo>
                <a:cubicBezTo>
                  <a:pt x="793" y="231"/>
                  <a:pt x="793" y="231"/>
                  <a:pt x="794" y="230"/>
                </a:cubicBezTo>
                <a:cubicBezTo>
                  <a:pt x="794" y="230"/>
                  <a:pt x="794" y="230"/>
                  <a:pt x="793" y="229"/>
                </a:cubicBezTo>
                <a:close/>
                <a:moveTo>
                  <a:pt x="791" y="222"/>
                </a:moveTo>
                <a:cubicBezTo>
                  <a:pt x="791" y="223"/>
                  <a:pt x="791" y="223"/>
                  <a:pt x="791" y="223"/>
                </a:cubicBezTo>
                <a:cubicBezTo>
                  <a:pt x="792" y="224"/>
                  <a:pt x="792" y="224"/>
                  <a:pt x="792" y="224"/>
                </a:cubicBezTo>
                <a:cubicBezTo>
                  <a:pt x="791" y="222"/>
                  <a:pt x="791" y="222"/>
                  <a:pt x="791" y="222"/>
                </a:cubicBezTo>
                <a:close/>
                <a:moveTo>
                  <a:pt x="832" y="219"/>
                </a:moveTo>
                <a:cubicBezTo>
                  <a:pt x="831" y="219"/>
                  <a:pt x="831" y="219"/>
                  <a:pt x="831" y="219"/>
                </a:cubicBezTo>
                <a:cubicBezTo>
                  <a:pt x="832" y="221"/>
                  <a:pt x="832" y="221"/>
                  <a:pt x="832" y="221"/>
                </a:cubicBezTo>
                <a:cubicBezTo>
                  <a:pt x="833" y="220"/>
                  <a:pt x="833" y="220"/>
                  <a:pt x="833" y="220"/>
                </a:cubicBezTo>
                <a:cubicBezTo>
                  <a:pt x="833" y="219"/>
                  <a:pt x="833" y="219"/>
                  <a:pt x="833" y="219"/>
                </a:cubicBezTo>
                <a:cubicBezTo>
                  <a:pt x="834" y="218"/>
                  <a:pt x="834" y="218"/>
                  <a:pt x="834" y="218"/>
                </a:cubicBezTo>
                <a:cubicBezTo>
                  <a:pt x="833" y="218"/>
                  <a:pt x="833" y="218"/>
                  <a:pt x="833" y="218"/>
                </a:cubicBezTo>
                <a:cubicBezTo>
                  <a:pt x="832" y="219"/>
                  <a:pt x="832" y="219"/>
                  <a:pt x="832" y="219"/>
                </a:cubicBezTo>
                <a:close/>
                <a:moveTo>
                  <a:pt x="795" y="216"/>
                </a:moveTo>
                <a:cubicBezTo>
                  <a:pt x="795" y="216"/>
                  <a:pt x="795" y="216"/>
                  <a:pt x="794" y="217"/>
                </a:cubicBezTo>
                <a:cubicBezTo>
                  <a:pt x="795" y="217"/>
                  <a:pt x="795" y="217"/>
                  <a:pt x="795" y="217"/>
                </a:cubicBezTo>
                <a:cubicBezTo>
                  <a:pt x="795" y="217"/>
                  <a:pt x="795" y="217"/>
                  <a:pt x="796" y="216"/>
                </a:cubicBezTo>
                <a:cubicBezTo>
                  <a:pt x="796" y="216"/>
                  <a:pt x="796" y="216"/>
                  <a:pt x="795" y="216"/>
                </a:cubicBezTo>
                <a:close/>
                <a:moveTo>
                  <a:pt x="795" y="226"/>
                </a:moveTo>
                <a:cubicBezTo>
                  <a:pt x="794" y="227"/>
                  <a:pt x="794" y="227"/>
                  <a:pt x="794" y="227"/>
                </a:cubicBezTo>
                <a:cubicBezTo>
                  <a:pt x="794" y="228"/>
                  <a:pt x="794" y="228"/>
                  <a:pt x="794" y="228"/>
                </a:cubicBezTo>
                <a:cubicBezTo>
                  <a:pt x="795" y="228"/>
                  <a:pt x="795" y="228"/>
                  <a:pt x="795" y="228"/>
                </a:cubicBezTo>
                <a:cubicBezTo>
                  <a:pt x="796" y="227"/>
                  <a:pt x="796" y="227"/>
                  <a:pt x="796" y="227"/>
                </a:cubicBezTo>
                <a:cubicBezTo>
                  <a:pt x="795" y="227"/>
                  <a:pt x="795" y="227"/>
                  <a:pt x="795" y="227"/>
                </a:cubicBezTo>
                <a:cubicBezTo>
                  <a:pt x="796" y="226"/>
                  <a:pt x="796" y="226"/>
                  <a:pt x="796" y="226"/>
                </a:cubicBezTo>
                <a:cubicBezTo>
                  <a:pt x="795" y="226"/>
                  <a:pt x="795" y="226"/>
                  <a:pt x="795" y="226"/>
                </a:cubicBezTo>
                <a:close/>
                <a:moveTo>
                  <a:pt x="791" y="218"/>
                </a:moveTo>
                <a:cubicBezTo>
                  <a:pt x="790" y="218"/>
                  <a:pt x="790" y="218"/>
                  <a:pt x="790" y="218"/>
                </a:cubicBezTo>
                <a:cubicBezTo>
                  <a:pt x="790" y="219"/>
                  <a:pt x="790" y="219"/>
                  <a:pt x="790" y="219"/>
                </a:cubicBezTo>
                <a:cubicBezTo>
                  <a:pt x="791" y="219"/>
                  <a:pt x="791" y="219"/>
                  <a:pt x="791" y="219"/>
                </a:cubicBezTo>
                <a:cubicBezTo>
                  <a:pt x="791" y="218"/>
                  <a:pt x="791" y="218"/>
                  <a:pt x="791" y="218"/>
                </a:cubicBezTo>
                <a:close/>
                <a:moveTo>
                  <a:pt x="859" y="142"/>
                </a:moveTo>
                <a:cubicBezTo>
                  <a:pt x="859" y="142"/>
                  <a:pt x="859" y="142"/>
                  <a:pt x="858" y="141"/>
                </a:cubicBezTo>
                <a:cubicBezTo>
                  <a:pt x="858" y="141"/>
                  <a:pt x="858" y="141"/>
                  <a:pt x="857" y="141"/>
                </a:cubicBezTo>
                <a:cubicBezTo>
                  <a:pt x="857" y="141"/>
                  <a:pt x="857" y="141"/>
                  <a:pt x="856" y="141"/>
                </a:cubicBezTo>
                <a:cubicBezTo>
                  <a:pt x="856" y="141"/>
                  <a:pt x="856" y="141"/>
                  <a:pt x="855" y="140"/>
                </a:cubicBezTo>
                <a:cubicBezTo>
                  <a:pt x="855" y="140"/>
                  <a:pt x="855" y="140"/>
                  <a:pt x="854" y="141"/>
                </a:cubicBezTo>
                <a:cubicBezTo>
                  <a:pt x="854" y="141"/>
                  <a:pt x="854" y="141"/>
                  <a:pt x="853" y="140"/>
                </a:cubicBezTo>
                <a:cubicBezTo>
                  <a:pt x="853" y="140"/>
                  <a:pt x="853" y="140"/>
                  <a:pt x="852" y="139"/>
                </a:cubicBezTo>
                <a:cubicBezTo>
                  <a:pt x="852" y="139"/>
                  <a:pt x="852" y="139"/>
                  <a:pt x="850" y="139"/>
                </a:cubicBezTo>
                <a:cubicBezTo>
                  <a:pt x="850" y="139"/>
                  <a:pt x="850" y="139"/>
                  <a:pt x="849" y="140"/>
                </a:cubicBezTo>
                <a:cubicBezTo>
                  <a:pt x="849" y="140"/>
                  <a:pt x="849" y="140"/>
                  <a:pt x="848" y="141"/>
                </a:cubicBezTo>
                <a:cubicBezTo>
                  <a:pt x="848" y="141"/>
                  <a:pt x="848" y="141"/>
                  <a:pt x="846" y="142"/>
                </a:cubicBezTo>
                <a:cubicBezTo>
                  <a:pt x="846" y="142"/>
                  <a:pt x="846" y="142"/>
                  <a:pt x="846" y="143"/>
                </a:cubicBezTo>
                <a:cubicBezTo>
                  <a:pt x="846" y="143"/>
                  <a:pt x="846" y="143"/>
                  <a:pt x="847" y="144"/>
                </a:cubicBezTo>
                <a:cubicBezTo>
                  <a:pt x="847" y="144"/>
                  <a:pt x="847" y="144"/>
                  <a:pt x="848" y="145"/>
                </a:cubicBezTo>
                <a:cubicBezTo>
                  <a:pt x="848" y="145"/>
                  <a:pt x="848" y="145"/>
                  <a:pt x="848" y="147"/>
                </a:cubicBezTo>
                <a:cubicBezTo>
                  <a:pt x="848" y="147"/>
                  <a:pt x="848" y="147"/>
                  <a:pt x="848" y="148"/>
                </a:cubicBezTo>
                <a:cubicBezTo>
                  <a:pt x="848" y="148"/>
                  <a:pt x="848" y="148"/>
                  <a:pt x="848" y="149"/>
                </a:cubicBezTo>
                <a:cubicBezTo>
                  <a:pt x="848" y="149"/>
                  <a:pt x="848" y="149"/>
                  <a:pt x="848" y="150"/>
                </a:cubicBezTo>
                <a:cubicBezTo>
                  <a:pt x="848" y="150"/>
                  <a:pt x="848" y="150"/>
                  <a:pt x="849" y="151"/>
                </a:cubicBezTo>
                <a:cubicBezTo>
                  <a:pt x="849" y="151"/>
                  <a:pt x="849" y="151"/>
                  <a:pt x="849" y="154"/>
                </a:cubicBezTo>
                <a:cubicBezTo>
                  <a:pt x="849" y="154"/>
                  <a:pt x="849" y="154"/>
                  <a:pt x="850" y="155"/>
                </a:cubicBezTo>
                <a:cubicBezTo>
                  <a:pt x="850" y="155"/>
                  <a:pt x="850" y="155"/>
                  <a:pt x="850" y="154"/>
                </a:cubicBezTo>
                <a:cubicBezTo>
                  <a:pt x="850" y="154"/>
                  <a:pt x="850" y="154"/>
                  <a:pt x="851" y="153"/>
                </a:cubicBezTo>
                <a:cubicBezTo>
                  <a:pt x="851" y="153"/>
                  <a:pt x="851" y="153"/>
                  <a:pt x="852" y="153"/>
                </a:cubicBezTo>
                <a:cubicBezTo>
                  <a:pt x="852" y="153"/>
                  <a:pt x="852" y="153"/>
                  <a:pt x="854" y="151"/>
                </a:cubicBezTo>
                <a:cubicBezTo>
                  <a:pt x="854" y="151"/>
                  <a:pt x="854" y="151"/>
                  <a:pt x="855" y="150"/>
                </a:cubicBezTo>
                <a:cubicBezTo>
                  <a:pt x="855" y="150"/>
                  <a:pt x="855" y="150"/>
                  <a:pt x="857" y="149"/>
                </a:cubicBezTo>
                <a:cubicBezTo>
                  <a:pt x="857" y="149"/>
                  <a:pt x="857" y="149"/>
                  <a:pt x="858" y="149"/>
                </a:cubicBezTo>
                <a:cubicBezTo>
                  <a:pt x="858" y="149"/>
                  <a:pt x="858" y="149"/>
                  <a:pt x="859" y="147"/>
                </a:cubicBezTo>
                <a:cubicBezTo>
                  <a:pt x="859" y="147"/>
                  <a:pt x="859" y="147"/>
                  <a:pt x="859" y="146"/>
                </a:cubicBezTo>
                <a:cubicBezTo>
                  <a:pt x="859" y="146"/>
                  <a:pt x="859" y="146"/>
                  <a:pt x="860" y="146"/>
                </a:cubicBezTo>
                <a:cubicBezTo>
                  <a:pt x="860" y="146"/>
                  <a:pt x="860" y="146"/>
                  <a:pt x="860" y="145"/>
                </a:cubicBezTo>
                <a:cubicBezTo>
                  <a:pt x="860" y="145"/>
                  <a:pt x="860" y="145"/>
                  <a:pt x="859" y="144"/>
                </a:cubicBezTo>
                <a:cubicBezTo>
                  <a:pt x="859" y="144"/>
                  <a:pt x="859" y="144"/>
                  <a:pt x="859" y="143"/>
                </a:cubicBezTo>
                <a:cubicBezTo>
                  <a:pt x="859" y="143"/>
                  <a:pt x="859" y="143"/>
                  <a:pt x="859" y="142"/>
                </a:cubicBezTo>
                <a:close/>
                <a:moveTo>
                  <a:pt x="807" y="86"/>
                </a:moveTo>
                <a:cubicBezTo>
                  <a:pt x="807" y="86"/>
                  <a:pt x="807" y="86"/>
                  <a:pt x="808" y="85"/>
                </a:cubicBezTo>
                <a:cubicBezTo>
                  <a:pt x="808" y="85"/>
                  <a:pt x="808" y="85"/>
                  <a:pt x="808" y="84"/>
                </a:cubicBezTo>
                <a:cubicBezTo>
                  <a:pt x="808" y="84"/>
                  <a:pt x="808" y="84"/>
                  <a:pt x="807" y="85"/>
                </a:cubicBezTo>
                <a:lnTo>
                  <a:pt x="807" y="86"/>
                </a:lnTo>
                <a:close/>
                <a:moveTo>
                  <a:pt x="844" y="140"/>
                </a:moveTo>
                <a:cubicBezTo>
                  <a:pt x="844" y="139"/>
                  <a:pt x="844" y="139"/>
                  <a:pt x="844" y="139"/>
                </a:cubicBezTo>
                <a:cubicBezTo>
                  <a:pt x="842" y="139"/>
                  <a:pt x="842" y="139"/>
                  <a:pt x="842" y="139"/>
                </a:cubicBezTo>
                <a:cubicBezTo>
                  <a:pt x="842" y="140"/>
                  <a:pt x="842" y="140"/>
                  <a:pt x="842" y="140"/>
                </a:cubicBezTo>
                <a:cubicBezTo>
                  <a:pt x="843" y="140"/>
                  <a:pt x="843" y="140"/>
                  <a:pt x="843" y="140"/>
                </a:cubicBezTo>
                <a:cubicBezTo>
                  <a:pt x="844" y="140"/>
                  <a:pt x="844" y="140"/>
                  <a:pt x="844" y="140"/>
                </a:cubicBezTo>
                <a:close/>
                <a:moveTo>
                  <a:pt x="814" y="95"/>
                </a:moveTo>
                <a:cubicBezTo>
                  <a:pt x="814" y="95"/>
                  <a:pt x="814" y="95"/>
                  <a:pt x="815" y="94"/>
                </a:cubicBezTo>
                <a:cubicBezTo>
                  <a:pt x="815" y="94"/>
                  <a:pt x="815" y="94"/>
                  <a:pt x="816" y="94"/>
                </a:cubicBezTo>
                <a:cubicBezTo>
                  <a:pt x="816" y="94"/>
                  <a:pt x="816" y="94"/>
                  <a:pt x="817" y="94"/>
                </a:cubicBezTo>
                <a:cubicBezTo>
                  <a:pt x="817" y="94"/>
                  <a:pt x="817" y="94"/>
                  <a:pt x="818" y="92"/>
                </a:cubicBezTo>
                <a:cubicBezTo>
                  <a:pt x="818" y="92"/>
                  <a:pt x="818" y="92"/>
                  <a:pt x="822" y="89"/>
                </a:cubicBezTo>
                <a:cubicBezTo>
                  <a:pt x="822" y="89"/>
                  <a:pt x="822" y="89"/>
                  <a:pt x="824" y="88"/>
                </a:cubicBezTo>
                <a:cubicBezTo>
                  <a:pt x="824" y="88"/>
                  <a:pt x="824" y="88"/>
                  <a:pt x="825" y="87"/>
                </a:cubicBezTo>
                <a:cubicBezTo>
                  <a:pt x="825" y="87"/>
                  <a:pt x="825" y="87"/>
                  <a:pt x="826" y="86"/>
                </a:cubicBezTo>
                <a:cubicBezTo>
                  <a:pt x="826" y="86"/>
                  <a:pt x="826" y="86"/>
                  <a:pt x="825" y="86"/>
                </a:cubicBezTo>
                <a:cubicBezTo>
                  <a:pt x="825" y="86"/>
                  <a:pt x="825" y="86"/>
                  <a:pt x="823" y="86"/>
                </a:cubicBezTo>
                <a:cubicBezTo>
                  <a:pt x="823" y="86"/>
                  <a:pt x="823" y="86"/>
                  <a:pt x="822" y="87"/>
                </a:cubicBezTo>
                <a:cubicBezTo>
                  <a:pt x="822" y="87"/>
                  <a:pt x="822" y="87"/>
                  <a:pt x="820" y="87"/>
                </a:cubicBezTo>
                <a:cubicBezTo>
                  <a:pt x="820" y="87"/>
                  <a:pt x="820" y="87"/>
                  <a:pt x="818" y="88"/>
                </a:cubicBezTo>
                <a:cubicBezTo>
                  <a:pt x="818" y="88"/>
                  <a:pt x="818" y="88"/>
                  <a:pt x="817" y="88"/>
                </a:cubicBezTo>
                <a:cubicBezTo>
                  <a:pt x="817" y="88"/>
                  <a:pt x="817" y="88"/>
                  <a:pt x="816" y="89"/>
                </a:cubicBezTo>
                <a:cubicBezTo>
                  <a:pt x="816" y="89"/>
                  <a:pt x="816" y="89"/>
                  <a:pt x="815" y="90"/>
                </a:cubicBezTo>
                <a:cubicBezTo>
                  <a:pt x="815" y="90"/>
                  <a:pt x="815" y="90"/>
                  <a:pt x="812" y="92"/>
                </a:cubicBezTo>
                <a:cubicBezTo>
                  <a:pt x="812" y="92"/>
                  <a:pt x="812" y="92"/>
                  <a:pt x="811" y="93"/>
                </a:cubicBezTo>
                <a:cubicBezTo>
                  <a:pt x="811" y="93"/>
                  <a:pt x="811" y="93"/>
                  <a:pt x="812" y="93"/>
                </a:cubicBezTo>
                <a:cubicBezTo>
                  <a:pt x="812" y="93"/>
                  <a:pt x="812" y="93"/>
                  <a:pt x="813" y="93"/>
                </a:cubicBezTo>
                <a:cubicBezTo>
                  <a:pt x="813" y="93"/>
                  <a:pt x="813" y="93"/>
                  <a:pt x="813" y="94"/>
                </a:cubicBezTo>
                <a:cubicBezTo>
                  <a:pt x="813" y="94"/>
                  <a:pt x="813" y="94"/>
                  <a:pt x="814" y="95"/>
                </a:cubicBezTo>
                <a:close/>
                <a:moveTo>
                  <a:pt x="848" y="203"/>
                </a:moveTo>
                <a:cubicBezTo>
                  <a:pt x="849" y="202"/>
                  <a:pt x="849" y="202"/>
                  <a:pt x="849" y="202"/>
                </a:cubicBezTo>
                <a:cubicBezTo>
                  <a:pt x="848" y="201"/>
                  <a:pt x="848" y="201"/>
                  <a:pt x="848" y="201"/>
                </a:cubicBezTo>
                <a:cubicBezTo>
                  <a:pt x="849" y="200"/>
                  <a:pt x="849" y="200"/>
                  <a:pt x="849" y="200"/>
                </a:cubicBezTo>
                <a:cubicBezTo>
                  <a:pt x="849" y="199"/>
                  <a:pt x="849" y="199"/>
                  <a:pt x="849" y="199"/>
                </a:cubicBezTo>
                <a:cubicBezTo>
                  <a:pt x="848" y="200"/>
                  <a:pt x="848" y="200"/>
                  <a:pt x="848" y="200"/>
                </a:cubicBezTo>
                <a:cubicBezTo>
                  <a:pt x="847" y="199"/>
                  <a:pt x="847" y="199"/>
                  <a:pt x="847" y="199"/>
                </a:cubicBezTo>
                <a:cubicBezTo>
                  <a:pt x="846" y="200"/>
                  <a:pt x="846" y="200"/>
                  <a:pt x="846" y="200"/>
                </a:cubicBezTo>
                <a:cubicBezTo>
                  <a:pt x="846" y="198"/>
                  <a:pt x="846" y="198"/>
                  <a:pt x="846" y="198"/>
                </a:cubicBezTo>
                <a:cubicBezTo>
                  <a:pt x="847" y="198"/>
                  <a:pt x="847" y="198"/>
                  <a:pt x="847" y="198"/>
                </a:cubicBezTo>
                <a:cubicBezTo>
                  <a:pt x="847" y="197"/>
                  <a:pt x="847" y="197"/>
                  <a:pt x="847" y="197"/>
                </a:cubicBezTo>
                <a:cubicBezTo>
                  <a:pt x="845" y="198"/>
                  <a:pt x="845" y="198"/>
                  <a:pt x="845" y="198"/>
                </a:cubicBezTo>
                <a:cubicBezTo>
                  <a:pt x="845" y="197"/>
                  <a:pt x="845" y="197"/>
                  <a:pt x="845" y="197"/>
                </a:cubicBezTo>
                <a:cubicBezTo>
                  <a:pt x="844" y="196"/>
                  <a:pt x="844" y="196"/>
                  <a:pt x="844" y="196"/>
                </a:cubicBezTo>
                <a:cubicBezTo>
                  <a:pt x="844" y="195"/>
                  <a:pt x="844" y="195"/>
                  <a:pt x="844" y="195"/>
                </a:cubicBezTo>
                <a:cubicBezTo>
                  <a:pt x="843" y="193"/>
                  <a:pt x="843" y="193"/>
                  <a:pt x="843" y="193"/>
                </a:cubicBezTo>
                <a:cubicBezTo>
                  <a:pt x="843" y="192"/>
                  <a:pt x="843" y="192"/>
                  <a:pt x="843" y="192"/>
                </a:cubicBezTo>
                <a:cubicBezTo>
                  <a:pt x="844" y="190"/>
                  <a:pt x="844" y="190"/>
                  <a:pt x="844" y="190"/>
                </a:cubicBezTo>
                <a:cubicBezTo>
                  <a:pt x="843" y="189"/>
                  <a:pt x="843" y="189"/>
                  <a:pt x="843" y="189"/>
                </a:cubicBezTo>
                <a:cubicBezTo>
                  <a:pt x="842" y="190"/>
                  <a:pt x="842" y="190"/>
                  <a:pt x="842" y="190"/>
                </a:cubicBezTo>
                <a:cubicBezTo>
                  <a:pt x="840" y="189"/>
                  <a:pt x="840" y="189"/>
                  <a:pt x="840" y="189"/>
                </a:cubicBezTo>
                <a:cubicBezTo>
                  <a:pt x="840" y="187"/>
                  <a:pt x="840" y="187"/>
                  <a:pt x="840" y="187"/>
                </a:cubicBezTo>
                <a:cubicBezTo>
                  <a:pt x="839" y="186"/>
                  <a:pt x="839" y="186"/>
                  <a:pt x="839" y="186"/>
                </a:cubicBezTo>
                <a:cubicBezTo>
                  <a:pt x="839" y="184"/>
                  <a:pt x="839" y="184"/>
                  <a:pt x="839" y="184"/>
                </a:cubicBezTo>
                <a:cubicBezTo>
                  <a:pt x="838" y="183"/>
                  <a:pt x="838" y="183"/>
                  <a:pt x="838" y="183"/>
                </a:cubicBezTo>
                <a:cubicBezTo>
                  <a:pt x="838" y="182"/>
                  <a:pt x="838" y="182"/>
                  <a:pt x="838" y="182"/>
                </a:cubicBezTo>
                <a:cubicBezTo>
                  <a:pt x="838" y="181"/>
                  <a:pt x="838" y="181"/>
                  <a:pt x="838" y="181"/>
                </a:cubicBezTo>
                <a:cubicBezTo>
                  <a:pt x="838" y="180"/>
                  <a:pt x="838" y="180"/>
                  <a:pt x="838" y="180"/>
                </a:cubicBezTo>
                <a:cubicBezTo>
                  <a:pt x="839" y="180"/>
                  <a:pt x="839" y="180"/>
                  <a:pt x="839" y="180"/>
                </a:cubicBezTo>
                <a:cubicBezTo>
                  <a:pt x="839" y="179"/>
                  <a:pt x="839" y="179"/>
                  <a:pt x="839" y="179"/>
                </a:cubicBezTo>
                <a:cubicBezTo>
                  <a:pt x="840" y="179"/>
                  <a:pt x="840" y="179"/>
                  <a:pt x="840" y="179"/>
                </a:cubicBezTo>
                <a:cubicBezTo>
                  <a:pt x="841" y="178"/>
                  <a:pt x="841" y="178"/>
                  <a:pt x="841" y="178"/>
                </a:cubicBezTo>
                <a:cubicBezTo>
                  <a:pt x="841" y="177"/>
                  <a:pt x="841" y="177"/>
                  <a:pt x="841" y="177"/>
                </a:cubicBezTo>
                <a:cubicBezTo>
                  <a:pt x="842" y="175"/>
                  <a:pt x="842" y="175"/>
                  <a:pt x="842" y="175"/>
                </a:cubicBezTo>
                <a:cubicBezTo>
                  <a:pt x="842" y="173"/>
                  <a:pt x="842" y="173"/>
                  <a:pt x="842" y="173"/>
                </a:cubicBezTo>
                <a:cubicBezTo>
                  <a:pt x="842" y="171"/>
                  <a:pt x="842" y="171"/>
                  <a:pt x="842" y="171"/>
                </a:cubicBezTo>
                <a:cubicBezTo>
                  <a:pt x="842" y="169"/>
                  <a:pt x="842" y="169"/>
                  <a:pt x="842" y="169"/>
                </a:cubicBezTo>
                <a:cubicBezTo>
                  <a:pt x="843" y="169"/>
                  <a:pt x="843" y="169"/>
                  <a:pt x="843" y="169"/>
                </a:cubicBezTo>
                <a:cubicBezTo>
                  <a:pt x="843" y="167"/>
                  <a:pt x="843" y="167"/>
                  <a:pt x="843" y="167"/>
                </a:cubicBezTo>
                <a:cubicBezTo>
                  <a:pt x="844" y="166"/>
                  <a:pt x="844" y="166"/>
                  <a:pt x="844" y="166"/>
                </a:cubicBezTo>
                <a:cubicBezTo>
                  <a:pt x="844" y="164"/>
                  <a:pt x="844" y="164"/>
                  <a:pt x="844" y="164"/>
                </a:cubicBezTo>
                <a:cubicBezTo>
                  <a:pt x="845" y="164"/>
                  <a:pt x="845" y="164"/>
                  <a:pt x="845" y="164"/>
                </a:cubicBezTo>
                <a:cubicBezTo>
                  <a:pt x="845" y="161"/>
                  <a:pt x="845" y="161"/>
                  <a:pt x="845" y="161"/>
                </a:cubicBezTo>
                <a:cubicBezTo>
                  <a:pt x="846" y="161"/>
                  <a:pt x="846" y="161"/>
                  <a:pt x="846" y="161"/>
                </a:cubicBezTo>
                <a:cubicBezTo>
                  <a:pt x="846" y="160"/>
                  <a:pt x="846" y="160"/>
                  <a:pt x="846" y="160"/>
                </a:cubicBezTo>
                <a:cubicBezTo>
                  <a:pt x="847" y="158"/>
                  <a:pt x="847" y="158"/>
                  <a:pt x="847" y="158"/>
                </a:cubicBezTo>
                <a:cubicBezTo>
                  <a:pt x="847" y="157"/>
                  <a:pt x="847" y="157"/>
                  <a:pt x="847" y="157"/>
                </a:cubicBezTo>
                <a:cubicBezTo>
                  <a:pt x="847" y="156"/>
                  <a:pt x="847" y="156"/>
                  <a:pt x="847" y="156"/>
                </a:cubicBezTo>
                <a:cubicBezTo>
                  <a:pt x="848" y="156"/>
                  <a:pt x="848" y="156"/>
                  <a:pt x="848" y="156"/>
                </a:cubicBezTo>
                <a:cubicBezTo>
                  <a:pt x="848" y="155"/>
                  <a:pt x="848" y="155"/>
                  <a:pt x="848" y="155"/>
                </a:cubicBezTo>
                <a:cubicBezTo>
                  <a:pt x="847" y="153"/>
                  <a:pt x="847" y="153"/>
                  <a:pt x="847" y="153"/>
                </a:cubicBezTo>
                <a:cubicBezTo>
                  <a:pt x="848" y="152"/>
                  <a:pt x="848" y="152"/>
                  <a:pt x="848" y="152"/>
                </a:cubicBezTo>
                <a:cubicBezTo>
                  <a:pt x="846" y="151"/>
                  <a:pt x="846" y="151"/>
                  <a:pt x="846" y="151"/>
                </a:cubicBezTo>
                <a:cubicBezTo>
                  <a:pt x="846" y="149"/>
                  <a:pt x="846" y="149"/>
                  <a:pt x="846" y="149"/>
                </a:cubicBezTo>
                <a:cubicBezTo>
                  <a:pt x="845" y="146"/>
                  <a:pt x="845" y="146"/>
                  <a:pt x="845" y="146"/>
                </a:cubicBezTo>
                <a:cubicBezTo>
                  <a:pt x="844" y="146"/>
                  <a:pt x="844" y="146"/>
                  <a:pt x="844" y="146"/>
                </a:cubicBezTo>
                <a:cubicBezTo>
                  <a:pt x="843" y="146"/>
                  <a:pt x="843" y="146"/>
                  <a:pt x="843" y="146"/>
                </a:cubicBezTo>
                <a:cubicBezTo>
                  <a:pt x="843" y="147"/>
                  <a:pt x="843" y="147"/>
                  <a:pt x="843" y="147"/>
                </a:cubicBezTo>
                <a:cubicBezTo>
                  <a:pt x="841" y="145"/>
                  <a:pt x="841" y="145"/>
                  <a:pt x="841" y="145"/>
                </a:cubicBezTo>
                <a:cubicBezTo>
                  <a:pt x="840" y="145"/>
                  <a:pt x="840" y="145"/>
                  <a:pt x="840" y="145"/>
                </a:cubicBezTo>
                <a:cubicBezTo>
                  <a:pt x="840" y="144"/>
                  <a:pt x="840" y="144"/>
                  <a:pt x="840" y="144"/>
                </a:cubicBezTo>
                <a:cubicBezTo>
                  <a:pt x="839" y="144"/>
                  <a:pt x="839" y="144"/>
                  <a:pt x="839" y="144"/>
                </a:cubicBezTo>
                <a:cubicBezTo>
                  <a:pt x="839" y="146"/>
                  <a:pt x="839" y="146"/>
                  <a:pt x="839" y="146"/>
                </a:cubicBezTo>
                <a:cubicBezTo>
                  <a:pt x="838" y="146"/>
                  <a:pt x="838" y="146"/>
                  <a:pt x="838" y="146"/>
                </a:cubicBezTo>
                <a:cubicBezTo>
                  <a:pt x="837" y="147"/>
                  <a:pt x="837" y="147"/>
                  <a:pt x="837" y="147"/>
                </a:cubicBezTo>
                <a:cubicBezTo>
                  <a:pt x="837" y="148"/>
                  <a:pt x="837" y="148"/>
                  <a:pt x="837" y="148"/>
                </a:cubicBezTo>
                <a:cubicBezTo>
                  <a:pt x="836" y="149"/>
                  <a:pt x="836" y="149"/>
                  <a:pt x="836" y="149"/>
                </a:cubicBezTo>
                <a:cubicBezTo>
                  <a:pt x="835" y="152"/>
                  <a:pt x="835" y="152"/>
                  <a:pt x="835" y="152"/>
                </a:cubicBezTo>
                <a:cubicBezTo>
                  <a:pt x="835" y="153"/>
                  <a:pt x="835" y="153"/>
                  <a:pt x="835" y="153"/>
                </a:cubicBezTo>
                <a:cubicBezTo>
                  <a:pt x="835" y="154"/>
                  <a:pt x="835" y="154"/>
                  <a:pt x="835" y="154"/>
                </a:cubicBezTo>
                <a:cubicBezTo>
                  <a:pt x="834" y="155"/>
                  <a:pt x="834" y="155"/>
                  <a:pt x="834" y="155"/>
                </a:cubicBezTo>
                <a:cubicBezTo>
                  <a:pt x="834" y="156"/>
                  <a:pt x="834" y="156"/>
                  <a:pt x="834" y="156"/>
                </a:cubicBezTo>
                <a:cubicBezTo>
                  <a:pt x="834" y="157"/>
                  <a:pt x="834" y="157"/>
                  <a:pt x="834" y="157"/>
                </a:cubicBezTo>
                <a:cubicBezTo>
                  <a:pt x="833" y="157"/>
                  <a:pt x="833" y="157"/>
                  <a:pt x="833" y="157"/>
                </a:cubicBezTo>
                <a:cubicBezTo>
                  <a:pt x="833" y="160"/>
                  <a:pt x="833" y="160"/>
                  <a:pt x="833" y="160"/>
                </a:cubicBezTo>
                <a:cubicBezTo>
                  <a:pt x="832" y="161"/>
                  <a:pt x="832" y="161"/>
                  <a:pt x="832" y="161"/>
                </a:cubicBezTo>
                <a:cubicBezTo>
                  <a:pt x="831" y="160"/>
                  <a:pt x="831" y="160"/>
                  <a:pt x="831" y="160"/>
                </a:cubicBezTo>
                <a:cubicBezTo>
                  <a:pt x="831" y="162"/>
                  <a:pt x="831" y="162"/>
                  <a:pt x="831" y="162"/>
                </a:cubicBezTo>
                <a:cubicBezTo>
                  <a:pt x="831" y="163"/>
                  <a:pt x="831" y="163"/>
                  <a:pt x="831" y="163"/>
                </a:cubicBezTo>
                <a:cubicBezTo>
                  <a:pt x="831" y="164"/>
                  <a:pt x="831" y="164"/>
                  <a:pt x="831" y="164"/>
                </a:cubicBezTo>
                <a:cubicBezTo>
                  <a:pt x="830" y="166"/>
                  <a:pt x="830" y="166"/>
                  <a:pt x="830" y="166"/>
                </a:cubicBezTo>
                <a:cubicBezTo>
                  <a:pt x="830" y="167"/>
                  <a:pt x="830" y="167"/>
                  <a:pt x="830" y="167"/>
                </a:cubicBezTo>
                <a:cubicBezTo>
                  <a:pt x="830" y="168"/>
                  <a:pt x="830" y="168"/>
                  <a:pt x="830" y="168"/>
                </a:cubicBezTo>
                <a:cubicBezTo>
                  <a:pt x="830" y="169"/>
                  <a:pt x="830" y="169"/>
                  <a:pt x="830" y="169"/>
                </a:cubicBezTo>
                <a:cubicBezTo>
                  <a:pt x="829" y="169"/>
                  <a:pt x="829" y="169"/>
                  <a:pt x="829" y="169"/>
                </a:cubicBezTo>
                <a:cubicBezTo>
                  <a:pt x="830" y="170"/>
                  <a:pt x="830" y="170"/>
                  <a:pt x="830" y="170"/>
                </a:cubicBezTo>
                <a:cubicBezTo>
                  <a:pt x="829" y="171"/>
                  <a:pt x="829" y="171"/>
                  <a:pt x="829" y="171"/>
                </a:cubicBezTo>
                <a:cubicBezTo>
                  <a:pt x="828" y="171"/>
                  <a:pt x="828" y="171"/>
                  <a:pt x="828" y="171"/>
                </a:cubicBezTo>
                <a:cubicBezTo>
                  <a:pt x="827" y="171"/>
                  <a:pt x="827" y="171"/>
                  <a:pt x="827" y="171"/>
                </a:cubicBezTo>
                <a:cubicBezTo>
                  <a:pt x="826" y="172"/>
                  <a:pt x="826" y="172"/>
                  <a:pt x="826" y="172"/>
                </a:cubicBezTo>
                <a:cubicBezTo>
                  <a:pt x="827" y="173"/>
                  <a:pt x="827" y="173"/>
                  <a:pt x="827" y="173"/>
                </a:cubicBezTo>
                <a:cubicBezTo>
                  <a:pt x="826" y="173"/>
                  <a:pt x="826" y="173"/>
                  <a:pt x="826" y="173"/>
                </a:cubicBezTo>
                <a:cubicBezTo>
                  <a:pt x="825" y="173"/>
                  <a:pt x="825" y="173"/>
                  <a:pt x="825" y="173"/>
                </a:cubicBezTo>
                <a:cubicBezTo>
                  <a:pt x="825" y="172"/>
                  <a:pt x="825" y="172"/>
                  <a:pt x="825" y="172"/>
                </a:cubicBezTo>
                <a:cubicBezTo>
                  <a:pt x="825" y="171"/>
                  <a:pt x="825" y="171"/>
                  <a:pt x="825" y="171"/>
                </a:cubicBezTo>
                <a:cubicBezTo>
                  <a:pt x="825" y="170"/>
                  <a:pt x="825" y="170"/>
                  <a:pt x="825" y="170"/>
                </a:cubicBezTo>
                <a:cubicBezTo>
                  <a:pt x="825" y="168"/>
                  <a:pt x="825" y="168"/>
                  <a:pt x="825" y="168"/>
                </a:cubicBezTo>
                <a:cubicBezTo>
                  <a:pt x="826" y="166"/>
                  <a:pt x="826" y="166"/>
                  <a:pt x="826" y="166"/>
                </a:cubicBezTo>
                <a:cubicBezTo>
                  <a:pt x="826" y="165"/>
                  <a:pt x="826" y="165"/>
                  <a:pt x="826" y="165"/>
                </a:cubicBezTo>
                <a:cubicBezTo>
                  <a:pt x="827" y="164"/>
                  <a:pt x="827" y="164"/>
                  <a:pt x="827" y="164"/>
                </a:cubicBezTo>
                <a:cubicBezTo>
                  <a:pt x="827" y="163"/>
                  <a:pt x="827" y="163"/>
                  <a:pt x="827" y="163"/>
                </a:cubicBezTo>
                <a:cubicBezTo>
                  <a:pt x="827" y="162"/>
                  <a:pt x="827" y="162"/>
                  <a:pt x="827" y="162"/>
                </a:cubicBezTo>
                <a:cubicBezTo>
                  <a:pt x="828" y="159"/>
                  <a:pt x="828" y="159"/>
                  <a:pt x="828" y="159"/>
                </a:cubicBezTo>
                <a:cubicBezTo>
                  <a:pt x="829" y="158"/>
                  <a:pt x="829" y="158"/>
                  <a:pt x="829" y="158"/>
                </a:cubicBezTo>
                <a:cubicBezTo>
                  <a:pt x="829" y="157"/>
                  <a:pt x="829" y="157"/>
                  <a:pt x="829" y="157"/>
                </a:cubicBezTo>
                <a:cubicBezTo>
                  <a:pt x="828" y="157"/>
                  <a:pt x="828" y="157"/>
                  <a:pt x="828" y="157"/>
                </a:cubicBezTo>
                <a:cubicBezTo>
                  <a:pt x="828" y="156"/>
                  <a:pt x="828" y="156"/>
                  <a:pt x="828" y="156"/>
                </a:cubicBezTo>
                <a:cubicBezTo>
                  <a:pt x="829" y="155"/>
                  <a:pt x="829" y="155"/>
                  <a:pt x="829" y="155"/>
                </a:cubicBezTo>
                <a:cubicBezTo>
                  <a:pt x="829" y="153"/>
                  <a:pt x="829" y="153"/>
                  <a:pt x="829" y="153"/>
                </a:cubicBezTo>
                <a:cubicBezTo>
                  <a:pt x="828" y="152"/>
                  <a:pt x="828" y="152"/>
                  <a:pt x="828" y="152"/>
                </a:cubicBezTo>
                <a:cubicBezTo>
                  <a:pt x="828" y="151"/>
                  <a:pt x="828" y="151"/>
                  <a:pt x="828" y="151"/>
                </a:cubicBezTo>
                <a:cubicBezTo>
                  <a:pt x="828" y="150"/>
                  <a:pt x="828" y="150"/>
                  <a:pt x="828" y="150"/>
                </a:cubicBezTo>
                <a:cubicBezTo>
                  <a:pt x="828" y="149"/>
                  <a:pt x="828" y="149"/>
                  <a:pt x="828" y="149"/>
                </a:cubicBezTo>
                <a:cubicBezTo>
                  <a:pt x="827" y="149"/>
                  <a:pt x="827" y="149"/>
                  <a:pt x="827" y="149"/>
                </a:cubicBezTo>
                <a:cubicBezTo>
                  <a:pt x="826" y="147"/>
                  <a:pt x="826" y="147"/>
                  <a:pt x="826" y="147"/>
                </a:cubicBezTo>
                <a:cubicBezTo>
                  <a:pt x="825" y="148"/>
                  <a:pt x="825" y="148"/>
                  <a:pt x="825" y="148"/>
                </a:cubicBezTo>
                <a:cubicBezTo>
                  <a:pt x="824" y="149"/>
                  <a:pt x="824" y="149"/>
                  <a:pt x="824" y="149"/>
                </a:cubicBezTo>
                <a:cubicBezTo>
                  <a:pt x="825" y="150"/>
                  <a:pt x="825" y="150"/>
                  <a:pt x="825" y="150"/>
                </a:cubicBezTo>
                <a:cubicBezTo>
                  <a:pt x="825" y="151"/>
                  <a:pt x="825" y="151"/>
                  <a:pt x="825" y="151"/>
                </a:cubicBezTo>
                <a:cubicBezTo>
                  <a:pt x="826" y="152"/>
                  <a:pt x="826" y="152"/>
                  <a:pt x="826" y="152"/>
                </a:cubicBezTo>
                <a:cubicBezTo>
                  <a:pt x="826" y="153"/>
                  <a:pt x="826" y="153"/>
                  <a:pt x="826" y="153"/>
                </a:cubicBezTo>
                <a:cubicBezTo>
                  <a:pt x="825" y="153"/>
                  <a:pt x="825" y="153"/>
                  <a:pt x="825" y="153"/>
                </a:cubicBezTo>
                <a:cubicBezTo>
                  <a:pt x="825" y="151"/>
                  <a:pt x="825" y="151"/>
                  <a:pt x="825" y="151"/>
                </a:cubicBezTo>
                <a:cubicBezTo>
                  <a:pt x="824" y="151"/>
                  <a:pt x="824" y="151"/>
                  <a:pt x="824" y="151"/>
                </a:cubicBezTo>
                <a:cubicBezTo>
                  <a:pt x="823" y="153"/>
                  <a:pt x="823" y="153"/>
                  <a:pt x="823" y="153"/>
                </a:cubicBezTo>
                <a:cubicBezTo>
                  <a:pt x="824" y="153"/>
                  <a:pt x="824" y="153"/>
                  <a:pt x="824" y="153"/>
                </a:cubicBezTo>
                <a:cubicBezTo>
                  <a:pt x="824" y="154"/>
                  <a:pt x="824" y="154"/>
                  <a:pt x="824" y="154"/>
                </a:cubicBezTo>
                <a:cubicBezTo>
                  <a:pt x="825" y="156"/>
                  <a:pt x="825" y="156"/>
                  <a:pt x="825" y="156"/>
                </a:cubicBezTo>
                <a:cubicBezTo>
                  <a:pt x="824" y="156"/>
                  <a:pt x="824" y="156"/>
                  <a:pt x="824" y="156"/>
                </a:cubicBezTo>
                <a:cubicBezTo>
                  <a:pt x="823" y="155"/>
                  <a:pt x="823" y="155"/>
                  <a:pt x="823" y="155"/>
                </a:cubicBezTo>
                <a:cubicBezTo>
                  <a:pt x="823" y="157"/>
                  <a:pt x="823" y="157"/>
                  <a:pt x="823" y="157"/>
                </a:cubicBezTo>
                <a:cubicBezTo>
                  <a:pt x="822" y="156"/>
                  <a:pt x="822" y="156"/>
                  <a:pt x="822" y="156"/>
                </a:cubicBezTo>
                <a:cubicBezTo>
                  <a:pt x="822" y="155"/>
                  <a:pt x="822" y="155"/>
                  <a:pt x="822" y="155"/>
                </a:cubicBezTo>
                <a:cubicBezTo>
                  <a:pt x="821" y="155"/>
                  <a:pt x="821" y="155"/>
                  <a:pt x="821" y="155"/>
                </a:cubicBezTo>
                <a:cubicBezTo>
                  <a:pt x="821" y="156"/>
                  <a:pt x="821" y="156"/>
                  <a:pt x="821" y="156"/>
                </a:cubicBezTo>
                <a:cubicBezTo>
                  <a:pt x="820" y="156"/>
                  <a:pt x="820" y="156"/>
                  <a:pt x="820" y="156"/>
                </a:cubicBezTo>
                <a:cubicBezTo>
                  <a:pt x="820" y="155"/>
                  <a:pt x="820" y="155"/>
                  <a:pt x="820" y="155"/>
                </a:cubicBezTo>
                <a:cubicBezTo>
                  <a:pt x="821" y="154"/>
                  <a:pt x="821" y="154"/>
                  <a:pt x="821" y="154"/>
                </a:cubicBezTo>
                <a:cubicBezTo>
                  <a:pt x="820" y="154"/>
                  <a:pt x="820" y="154"/>
                  <a:pt x="820" y="154"/>
                </a:cubicBezTo>
                <a:cubicBezTo>
                  <a:pt x="819" y="154"/>
                  <a:pt x="819" y="154"/>
                  <a:pt x="819" y="154"/>
                </a:cubicBezTo>
                <a:cubicBezTo>
                  <a:pt x="817" y="156"/>
                  <a:pt x="817" y="156"/>
                  <a:pt x="817" y="156"/>
                </a:cubicBezTo>
                <a:cubicBezTo>
                  <a:pt x="817" y="154"/>
                  <a:pt x="817" y="154"/>
                  <a:pt x="817" y="154"/>
                </a:cubicBezTo>
                <a:cubicBezTo>
                  <a:pt x="816" y="154"/>
                  <a:pt x="816" y="154"/>
                  <a:pt x="816" y="154"/>
                </a:cubicBezTo>
                <a:cubicBezTo>
                  <a:pt x="815" y="155"/>
                  <a:pt x="815" y="155"/>
                  <a:pt x="815" y="155"/>
                </a:cubicBezTo>
                <a:cubicBezTo>
                  <a:pt x="814" y="155"/>
                  <a:pt x="814" y="155"/>
                  <a:pt x="814" y="155"/>
                </a:cubicBezTo>
                <a:cubicBezTo>
                  <a:pt x="813" y="154"/>
                  <a:pt x="813" y="154"/>
                  <a:pt x="813" y="154"/>
                </a:cubicBezTo>
                <a:cubicBezTo>
                  <a:pt x="812" y="154"/>
                  <a:pt x="812" y="154"/>
                  <a:pt x="812" y="154"/>
                </a:cubicBezTo>
                <a:cubicBezTo>
                  <a:pt x="811" y="154"/>
                  <a:pt x="811" y="154"/>
                  <a:pt x="811" y="154"/>
                </a:cubicBezTo>
                <a:cubicBezTo>
                  <a:pt x="812" y="153"/>
                  <a:pt x="812" y="153"/>
                  <a:pt x="812" y="153"/>
                </a:cubicBezTo>
                <a:cubicBezTo>
                  <a:pt x="814" y="153"/>
                  <a:pt x="814" y="153"/>
                  <a:pt x="814" y="153"/>
                </a:cubicBezTo>
                <a:cubicBezTo>
                  <a:pt x="815" y="153"/>
                  <a:pt x="815" y="153"/>
                  <a:pt x="815" y="153"/>
                </a:cubicBezTo>
                <a:cubicBezTo>
                  <a:pt x="816" y="153"/>
                  <a:pt x="816" y="153"/>
                  <a:pt x="816" y="153"/>
                </a:cubicBezTo>
                <a:cubicBezTo>
                  <a:pt x="816" y="152"/>
                  <a:pt x="816" y="152"/>
                  <a:pt x="816" y="152"/>
                </a:cubicBezTo>
                <a:cubicBezTo>
                  <a:pt x="817" y="152"/>
                  <a:pt x="817" y="152"/>
                  <a:pt x="817" y="152"/>
                </a:cubicBezTo>
                <a:cubicBezTo>
                  <a:pt x="818" y="152"/>
                  <a:pt x="818" y="152"/>
                  <a:pt x="818" y="152"/>
                </a:cubicBezTo>
                <a:cubicBezTo>
                  <a:pt x="819" y="151"/>
                  <a:pt x="819" y="151"/>
                  <a:pt x="819" y="151"/>
                </a:cubicBezTo>
                <a:cubicBezTo>
                  <a:pt x="819" y="150"/>
                  <a:pt x="819" y="150"/>
                  <a:pt x="819" y="150"/>
                </a:cubicBezTo>
                <a:cubicBezTo>
                  <a:pt x="819" y="149"/>
                  <a:pt x="819" y="149"/>
                  <a:pt x="819" y="149"/>
                </a:cubicBezTo>
                <a:cubicBezTo>
                  <a:pt x="819" y="148"/>
                  <a:pt x="819" y="148"/>
                  <a:pt x="819" y="148"/>
                </a:cubicBezTo>
                <a:cubicBezTo>
                  <a:pt x="817" y="146"/>
                  <a:pt x="817" y="146"/>
                  <a:pt x="817" y="146"/>
                </a:cubicBezTo>
                <a:cubicBezTo>
                  <a:pt x="816" y="146"/>
                  <a:pt x="816" y="146"/>
                  <a:pt x="816" y="146"/>
                </a:cubicBezTo>
                <a:cubicBezTo>
                  <a:pt x="816" y="145"/>
                  <a:pt x="816" y="145"/>
                  <a:pt x="816" y="145"/>
                </a:cubicBezTo>
                <a:cubicBezTo>
                  <a:pt x="814" y="143"/>
                  <a:pt x="814" y="143"/>
                  <a:pt x="814" y="143"/>
                </a:cubicBezTo>
                <a:cubicBezTo>
                  <a:pt x="813" y="143"/>
                  <a:pt x="813" y="143"/>
                  <a:pt x="813" y="143"/>
                </a:cubicBezTo>
                <a:cubicBezTo>
                  <a:pt x="811" y="144"/>
                  <a:pt x="811" y="144"/>
                  <a:pt x="811" y="144"/>
                </a:cubicBezTo>
                <a:cubicBezTo>
                  <a:pt x="809" y="146"/>
                  <a:pt x="809" y="146"/>
                  <a:pt x="809" y="146"/>
                </a:cubicBezTo>
                <a:cubicBezTo>
                  <a:pt x="809" y="147"/>
                  <a:pt x="809" y="147"/>
                  <a:pt x="809" y="147"/>
                </a:cubicBezTo>
                <a:cubicBezTo>
                  <a:pt x="808" y="147"/>
                  <a:pt x="808" y="147"/>
                  <a:pt x="808" y="147"/>
                </a:cubicBezTo>
                <a:cubicBezTo>
                  <a:pt x="807" y="148"/>
                  <a:pt x="807" y="148"/>
                  <a:pt x="807" y="148"/>
                </a:cubicBezTo>
                <a:cubicBezTo>
                  <a:pt x="807" y="147"/>
                  <a:pt x="807" y="147"/>
                  <a:pt x="807" y="147"/>
                </a:cubicBezTo>
                <a:cubicBezTo>
                  <a:pt x="806" y="147"/>
                  <a:pt x="806" y="147"/>
                  <a:pt x="806" y="147"/>
                </a:cubicBezTo>
                <a:cubicBezTo>
                  <a:pt x="805" y="147"/>
                  <a:pt x="805" y="147"/>
                  <a:pt x="805" y="147"/>
                </a:cubicBezTo>
                <a:cubicBezTo>
                  <a:pt x="804" y="147"/>
                  <a:pt x="804" y="147"/>
                  <a:pt x="804" y="147"/>
                </a:cubicBezTo>
                <a:cubicBezTo>
                  <a:pt x="802" y="147"/>
                  <a:pt x="802" y="147"/>
                  <a:pt x="802" y="147"/>
                </a:cubicBezTo>
                <a:cubicBezTo>
                  <a:pt x="802" y="146"/>
                  <a:pt x="802" y="146"/>
                  <a:pt x="802" y="146"/>
                </a:cubicBezTo>
                <a:cubicBezTo>
                  <a:pt x="804" y="146"/>
                  <a:pt x="804" y="146"/>
                  <a:pt x="804" y="146"/>
                </a:cubicBezTo>
                <a:cubicBezTo>
                  <a:pt x="805" y="145"/>
                  <a:pt x="805" y="145"/>
                  <a:pt x="805" y="145"/>
                </a:cubicBezTo>
                <a:cubicBezTo>
                  <a:pt x="806" y="144"/>
                  <a:pt x="806" y="144"/>
                  <a:pt x="806" y="144"/>
                </a:cubicBezTo>
                <a:cubicBezTo>
                  <a:pt x="806" y="145"/>
                  <a:pt x="806" y="145"/>
                  <a:pt x="806" y="145"/>
                </a:cubicBezTo>
                <a:cubicBezTo>
                  <a:pt x="807" y="143"/>
                  <a:pt x="807" y="143"/>
                  <a:pt x="807" y="143"/>
                </a:cubicBezTo>
                <a:cubicBezTo>
                  <a:pt x="807" y="142"/>
                  <a:pt x="807" y="142"/>
                  <a:pt x="807" y="142"/>
                </a:cubicBezTo>
                <a:cubicBezTo>
                  <a:pt x="808" y="141"/>
                  <a:pt x="808" y="141"/>
                  <a:pt x="808" y="141"/>
                </a:cubicBezTo>
                <a:cubicBezTo>
                  <a:pt x="809" y="141"/>
                  <a:pt x="809" y="141"/>
                  <a:pt x="809" y="141"/>
                </a:cubicBezTo>
                <a:cubicBezTo>
                  <a:pt x="810" y="139"/>
                  <a:pt x="810" y="139"/>
                  <a:pt x="810" y="139"/>
                </a:cubicBezTo>
                <a:cubicBezTo>
                  <a:pt x="810" y="138"/>
                  <a:pt x="810" y="138"/>
                  <a:pt x="810" y="138"/>
                </a:cubicBezTo>
                <a:cubicBezTo>
                  <a:pt x="810" y="137"/>
                  <a:pt x="810" y="137"/>
                  <a:pt x="810" y="137"/>
                </a:cubicBezTo>
                <a:cubicBezTo>
                  <a:pt x="810" y="135"/>
                  <a:pt x="810" y="135"/>
                  <a:pt x="810" y="135"/>
                </a:cubicBezTo>
                <a:cubicBezTo>
                  <a:pt x="809" y="135"/>
                  <a:pt x="809" y="135"/>
                  <a:pt x="809" y="135"/>
                </a:cubicBezTo>
                <a:cubicBezTo>
                  <a:pt x="807" y="136"/>
                  <a:pt x="807" y="136"/>
                  <a:pt x="807" y="136"/>
                </a:cubicBezTo>
                <a:cubicBezTo>
                  <a:pt x="804" y="137"/>
                  <a:pt x="804" y="137"/>
                  <a:pt x="804" y="137"/>
                </a:cubicBezTo>
                <a:cubicBezTo>
                  <a:pt x="802" y="137"/>
                  <a:pt x="802" y="137"/>
                  <a:pt x="802" y="137"/>
                </a:cubicBezTo>
                <a:cubicBezTo>
                  <a:pt x="797" y="138"/>
                  <a:pt x="797" y="138"/>
                  <a:pt x="797" y="138"/>
                </a:cubicBezTo>
                <a:cubicBezTo>
                  <a:pt x="792" y="140"/>
                  <a:pt x="792" y="140"/>
                  <a:pt x="792" y="140"/>
                </a:cubicBezTo>
                <a:cubicBezTo>
                  <a:pt x="790" y="142"/>
                  <a:pt x="790" y="142"/>
                  <a:pt x="790" y="142"/>
                </a:cubicBezTo>
                <a:cubicBezTo>
                  <a:pt x="787" y="142"/>
                  <a:pt x="787" y="142"/>
                  <a:pt x="787" y="142"/>
                </a:cubicBezTo>
                <a:cubicBezTo>
                  <a:pt x="782" y="145"/>
                  <a:pt x="782" y="145"/>
                  <a:pt x="782" y="145"/>
                </a:cubicBezTo>
                <a:cubicBezTo>
                  <a:pt x="781" y="146"/>
                  <a:pt x="781" y="146"/>
                  <a:pt x="781" y="146"/>
                </a:cubicBezTo>
                <a:cubicBezTo>
                  <a:pt x="781" y="147"/>
                  <a:pt x="781" y="147"/>
                  <a:pt x="781" y="147"/>
                </a:cubicBezTo>
                <a:cubicBezTo>
                  <a:pt x="782" y="147"/>
                  <a:pt x="782" y="147"/>
                  <a:pt x="782" y="147"/>
                </a:cubicBezTo>
                <a:cubicBezTo>
                  <a:pt x="782" y="148"/>
                  <a:pt x="782" y="148"/>
                  <a:pt x="782" y="148"/>
                </a:cubicBezTo>
                <a:cubicBezTo>
                  <a:pt x="781" y="148"/>
                  <a:pt x="781" y="148"/>
                  <a:pt x="781" y="148"/>
                </a:cubicBezTo>
                <a:cubicBezTo>
                  <a:pt x="780" y="148"/>
                  <a:pt x="780" y="148"/>
                  <a:pt x="780" y="148"/>
                </a:cubicBezTo>
                <a:cubicBezTo>
                  <a:pt x="778" y="150"/>
                  <a:pt x="778" y="150"/>
                  <a:pt x="778" y="150"/>
                </a:cubicBezTo>
                <a:cubicBezTo>
                  <a:pt x="776" y="150"/>
                  <a:pt x="776" y="150"/>
                  <a:pt x="776" y="150"/>
                </a:cubicBezTo>
                <a:cubicBezTo>
                  <a:pt x="775" y="151"/>
                  <a:pt x="775" y="151"/>
                  <a:pt x="775" y="151"/>
                </a:cubicBezTo>
                <a:cubicBezTo>
                  <a:pt x="775" y="152"/>
                  <a:pt x="775" y="152"/>
                  <a:pt x="775" y="152"/>
                </a:cubicBezTo>
                <a:cubicBezTo>
                  <a:pt x="773" y="153"/>
                  <a:pt x="773" y="153"/>
                  <a:pt x="773" y="153"/>
                </a:cubicBezTo>
                <a:cubicBezTo>
                  <a:pt x="773" y="154"/>
                  <a:pt x="773" y="154"/>
                  <a:pt x="773" y="154"/>
                </a:cubicBezTo>
                <a:cubicBezTo>
                  <a:pt x="773" y="156"/>
                  <a:pt x="773" y="156"/>
                  <a:pt x="773" y="156"/>
                </a:cubicBezTo>
                <a:cubicBezTo>
                  <a:pt x="774" y="156"/>
                  <a:pt x="774" y="156"/>
                  <a:pt x="774" y="156"/>
                </a:cubicBezTo>
                <a:cubicBezTo>
                  <a:pt x="774" y="157"/>
                  <a:pt x="774" y="157"/>
                  <a:pt x="774" y="157"/>
                </a:cubicBezTo>
                <a:cubicBezTo>
                  <a:pt x="775" y="157"/>
                  <a:pt x="775" y="157"/>
                  <a:pt x="775" y="157"/>
                </a:cubicBezTo>
                <a:cubicBezTo>
                  <a:pt x="776" y="157"/>
                  <a:pt x="776" y="157"/>
                  <a:pt x="776" y="157"/>
                </a:cubicBezTo>
                <a:cubicBezTo>
                  <a:pt x="777" y="157"/>
                  <a:pt x="777" y="157"/>
                  <a:pt x="777" y="157"/>
                </a:cubicBezTo>
                <a:cubicBezTo>
                  <a:pt x="778" y="157"/>
                  <a:pt x="778" y="157"/>
                  <a:pt x="778" y="157"/>
                </a:cubicBezTo>
                <a:cubicBezTo>
                  <a:pt x="778" y="158"/>
                  <a:pt x="778" y="158"/>
                  <a:pt x="778" y="158"/>
                </a:cubicBezTo>
                <a:cubicBezTo>
                  <a:pt x="776" y="159"/>
                  <a:pt x="776" y="159"/>
                  <a:pt x="776" y="159"/>
                </a:cubicBezTo>
                <a:cubicBezTo>
                  <a:pt x="775" y="158"/>
                  <a:pt x="775" y="158"/>
                  <a:pt x="775" y="158"/>
                </a:cubicBezTo>
                <a:cubicBezTo>
                  <a:pt x="774" y="159"/>
                  <a:pt x="774" y="159"/>
                  <a:pt x="774" y="159"/>
                </a:cubicBezTo>
                <a:cubicBezTo>
                  <a:pt x="774" y="160"/>
                  <a:pt x="774" y="160"/>
                  <a:pt x="774" y="160"/>
                </a:cubicBezTo>
                <a:cubicBezTo>
                  <a:pt x="776" y="161"/>
                  <a:pt x="776" y="161"/>
                  <a:pt x="776" y="161"/>
                </a:cubicBezTo>
                <a:cubicBezTo>
                  <a:pt x="777" y="160"/>
                  <a:pt x="777" y="160"/>
                  <a:pt x="777" y="160"/>
                </a:cubicBezTo>
                <a:cubicBezTo>
                  <a:pt x="777" y="159"/>
                  <a:pt x="777" y="159"/>
                  <a:pt x="777" y="159"/>
                </a:cubicBezTo>
                <a:cubicBezTo>
                  <a:pt x="778" y="159"/>
                  <a:pt x="778" y="159"/>
                  <a:pt x="778" y="159"/>
                </a:cubicBezTo>
                <a:cubicBezTo>
                  <a:pt x="779" y="160"/>
                  <a:pt x="779" y="160"/>
                  <a:pt x="779" y="160"/>
                </a:cubicBezTo>
                <a:cubicBezTo>
                  <a:pt x="778" y="161"/>
                  <a:pt x="778" y="161"/>
                  <a:pt x="778" y="161"/>
                </a:cubicBezTo>
                <a:cubicBezTo>
                  <a:pt x="779" y="161"/>
                  <a:pt x="779" y="161"/>
                  <a:pt x="779" y="161"/>
                </a:cubicBezTo>
                <a:cubicBezTo>
                  <a:pt x="781" y="161"/>
                  <a:pt x="781" y="161"/>
                  <a:pt x="781" y="161"/>
                </a:cubicBezTo>
                <a:cubicBezTo>
                  <a:pt x="783" y="161"/>
                  <a:pt x="783" y="161"/>
                  <a:pt x="783" y="161"/>
                </a:cubicBezTo>
                <a:cubicBezTo>
                  <a:pt x="784" y="161"/>
                  <a:pt x="784" y="161"/>
                  <a:pt x="784" y="161"/>
                </a:cubicBezTo>
                <a:cubicBezTo>
                  <a:pt x="786" y="161"/>
                  <a:pt x="786" y="161"/>
                  <a:pt x="786" y="161"/>
                </a:cubicBezTo>
                <a:cubicBezTo>
                  <a:pt x="787" y="161"/>
                  <a:pt x="787" y="161"/>
                  <a:pt x="787" y="161"/>
                </a:cubicBezTo>
                <a:cubicBezTo>
                  <a:pt x="789" y="162"/>
                  <a:pt x="789" y="162"/>
                  <a:pt x="789" y="162"/>
                </a:cubicBezTo>
                <a:cubicBezTo>
                  <a:pt x="789" y="163"/>
                  <a:pt x="789" y="163"/>
                  <a:pt x="789" y="163"/>
                </a:cubicBezTo>
                <a:cubicBezTo>
                  <a:pt x="787" y="162"/>
                  <a:pt x="787" y="162"/>
                  <a:pt x="787" y="162"/>
                </a:cubicBezTo>
                <a:cubicBezTo>
                  <a:pt x="785" y="162"/>
                  <a:pt x="785" y="162"/>
                  <a:pt x="785" y="162"/>
                </a:cubicBezTo>
                <a:cubicBezTo>
                  <a:pt x="784" y="163"/>
                  <a:pt x="784" y="163"/>
                  <a:pt x="784" y="163"/>
                </a:cubicBezTo>
                <a:cubicBezTo>
                  <a:pt x="786" y="163"/>
                  <a:pt x="786" y="163"/>
                  <a:pt x="786" y="163"/>
                </a:cubicBezTo>
                <a:cubicBezTo>
                  <a:pt x="786" y="164"/>
                  <a:pt x="786" y="164"/>
                  <a:pt x="786" y="164"/>
                </a:cubicBezTo>
                <a:cubicBezTo>
                  <a:pt x="784" y="164"/>
                  <a:pt x="784" y="164"/>
                  <a:pt x="784" y="164"/>
                </a:cubicBezTo>
                <a:cubicBezTo>
                  <a:pt x="783" y="163"/>
                  <a:pt x="783" y="163"/>
                  <a:pt x="783" y="163"/>
                </a:cubicBezTo>
                <a:cubicBezTo>
                  <a:pt x="781" y="164"/>
                  <a:pt x="781" y="164"/>
                  <a:pt x="781" y="164"/>
                </a:cubicBezTo>
                <a:cubicBezTo>
                  <a:pt x="780" y="164"/>
                  <a:pt x="780" y="164"/>
                  <a:pt x="780" y="164"/>
                </a:cubicBezTo>
                <a:cubicBezTo>
                  <a:pt x="779" y="164"/>
                  <a:pt x="779" y="164"/>
                  <a:pt x="779" y="164"/>
                </a:cubicBezTo>
                <a:cubicBezTo>
                  <a:pt x="778" y="164"/>
                  <a:pt x="778" y="164"/>
                  <a:pt x="778" y="164"/>
                </a:cubicBezTo>
                <a:cubicBezTo>
                  <a:pt x="777" y="164"/>
                  <a:pt x="777" y="164"/>
                  <a:pt x="777" y="164"/>
                </a:cubicBezTo>
                <a:cubicBezTo>
                  <a:pt x="776" y="164"/>
                  <a:pt x="776" y="164"/>
                  <a:pt x="776" y="164"/>
                </a:cubicBezTo>
                <a:cubicBezTo>
                  <a:pt x="773" y="164"/>
                  <a:pt x="773" y="164"/>
                  <a:pt x="773" y="164"/>
                </a:cubicBezTo>
                <a:cubicBezTo>
                  <a:pt x="771" y="165"/>
                  <a:pt x="771" y="165"/>
                  <a:pt x="771" y="165"/>
                </a:cubicBezTo>
                <a:cubicBezTo>
                  <a:pt x="770" y="166"/>
                  <a:pt x="770" y="166"/>
                  <a:pt x="770" y="166"/>
                </a:cubicBezTo>
                <a:cubicBezTo>
                  <a:pt x="771" y="170"/>
                  <a:pt x="771" y="170"/>
                  <a:pt x="771" y="170"/>
                </a:cubicBezTo>
                <a:cubicBezTo>
                  <a:pt x="771" y="172"/>
                  <a:pt x="771" y="172"/>
                  <a:pt x="771" y="172"/>
                </a:cubicBezTo>
                <a:cubicBezTo>
                  <a:pt x="770" y="172"/>
                  <a:pt x="770" y="172"/>
                  <a:pt x="770" y="172"/>
                </a:cubicBezTo>
                <a:cubicBezTo>
                  <a:pt x="770" y="173"/>
                  <a:pt x="770" y="173"/>
                  <a:pt x="770" y="173"/>
                </a:cubicBezTo>
                <a:cubicBezTo>
                  <a:pt x="771" y="173"/>
                  <a:pt x="771" y="173"/>
                  <a:pt x="771" y="173"/>
                </a:cubicBezTo>
                <a:cubicBezTo>
                  <a:pt x="772" y="173"/>
                  <a:pt x="772" y="173"/>
                  <a:pt x="772" y="173"/>
                </a:cubicBezTo>
                <a:cubicBezTo>
                  <a:pt x="773" y="173"/>
                  <a:pt x="773" y="173"/>
                  <a:pt x="773" y="173"/>
                </a:cubicBezTo>
                <a:cubicBezTo>
                  <a:pt x="773" y="174"/>
                  <a:pt x="773" y="174"/>
                  <a:pt x="773" y="174"/>
                </a:cubicBezTo>
                <a:cubicBezTo>
                  <a:pt x="775" y="174"/>
                  <a:pt x="775" y="174"/>
                  <a:pt x="775" y="174"/>
                </a:cubicBezTo>
                <a:cubicBezTo>
                  <a:pt x="775" y="173"/>
                  <a:pt x="775" y="173"/>
                  <a:pt x="775" y="173"/>
                </a:cubicBezTo>
                <a:cubicBezTo>
                  <a:pt x="776" y="174"/>
                  <a:pt x="776" y="174"/>
                  <a:pt x="776" y="174"/>
                </a:cubicBezTo>
                <a:cubicBezTo>
                  <a:pt x="777" y="174"/>
                  <a:pt x="777" y="174"/>
                  <a:pt x="777" y="174"/>
                </a:cubicBezTo>
                <a:cubicBezTo>
                  <a:pt x="778" y="174"/>
                  <a:pt x="778" y="174"/>
                  <a:pt x="778" y="174"/>
                </a:cubicBezTo>
                <a:cubicBezTo>
                  <a:pt x="778" y="175"/>
                  <a:pt x="778" y="175"/>
                  <a:pt x="778" y="175"/>
                </a:cubicBezTo>
                <a:cubicBezTo>
                  <a:pt x="779" y="175"/>
                  <a:pt x="779" y="175"/>
                  <a:pt x="779" y="175"/>
                </a:cubicBezTo>
                <a:cubicBezTo>
                  <a:pt x="780" y="175"/>
                  <a:pt x="780" y="175"/>
                  <a:pt x="780" y="175"/>
                </a:cubicBezTo>
                <a:cubicBezTo>
                  <a:pt x="781" y="176"/>
                  <a:pt x="781" y="176"/>
                  <a:pt x="781" y="176"/>
                </a:cubicBezTo>
                <a:cubicBezTo>
                  <a:pt x="782" y="176"/>
                  <a:pt x="782" y="176"/>
                  <a:pt x="782" y="176"/>
                </a:cubicBezTo>
                <a:cubicBezTo>
                  <a:pt x="783" y="176"/>
                  <a:pt x="783" y="176"/>
                  <a:pt x="783" y="176"/>
                </a:cubicBezTo>
                <a:cubicBezTo>
                  <a:pt x="784" y="176"/>
                  <a:pt x="784" y="176"/>
                  <a:pt x="784" y="176"/>
                </a:cubicBezTo>
                <a:cubicBezTo>
                  <a:pt x="785" y="175"/>
                  <a:pt x="785" y="175"/>
                  <a:pt x="785" y="175"/>
                </a:cubicBezTo>
                <a:cubicBezTo>
                  <a:pt x="786" y="176"/>
                  <a:pt x="786" y="176"/>
                  <a:pt x="786" y="176"/>
                </a:cubicBezTo>
                <a:cubicBezTo>
                  <a:pt x="788" y="176"/>
                  <a:pt x="788" y="176"/>
                  <a:pt x="788" y="176"/>
                </a:cubicBezTo>
                <a:cubicBezTo>
                  <a:pt x="789" y="176"/>
                  <a:pt x="789" y="176"/>
                  <a:pt x="789" y="176"/>
                </a:cubicBezTo>
                <a:cubicBezTo>
                  <a:pt x="790" y="176"/>
                  <a:pt x="790" y="176"/>
                  <a:pt x="790" y="176"/>
                </a:cubicBezTo>
                <a:cubicBezTo>
                  <a:pt x="790" y="177"/>
                  <a:pt x="790" y="177"/>
                  <a:pt x="790" y="177"/>
                </a:cubicBezTo>
                <a:cubicBezTo>
                  <a:pt x="791" y="176"/>
                  <a:pt x="791" y="176"/>
                  <a:pt x="791" y="176"/>
                </a:cubicBezTo>
                <a:cubicBezTo>
                  <a:pt x="791" y="177"/>
                  <a:pt x="791" y="177"/>
                  <a:pt x="791" y="177"/>
                </a:cubicBezTo>
                <a:cubicBezTo>
                  <a:pt x="792" y="178"/>
                  <a:pt x="792" y="178"/>
                  <a:pt x="792" y="178"/>
                </a:cubicBezTo>
                <a:cubicBezTo>
                  <a:pt x="792" y="179"/>
                  <a:pt x="792" y="179"/>
                  <a:pt x="792" y="179"/>
                </a:cubicBezTo>
                <a:cubicBezTo>
                  <a:pt x="793" y="179"/>
                  <a:pt x="793" y="179"/>
                  <a:pt x="793" y="179"/>
                </a:cubicBezTo>
                <a:cubicBezTo>
                  <a:pt x="794" y="179"/>
                  <a:pt x="794" y="179"/>
                  <a:pt x="794" y="179"/>
                </a:cubicBezTo>
                <a:cubicBezTo>
                  <a:pt x="795" y="180"/>
                  <a:pt x="795" y="180"/>
                  <a:pt x="795" y="180"/>
                </a:cubicBezTo>
                <a:cubicBezTo>
                  <a:pt x="795" y="181"/>
                  <a:pt x="795" y="181"/>
                  <a:pt x="795" y="181"/>
                </a:cubicBezTo>
                <a:cubicBezTo>
                  <a:pt x="796" y="181"/>
                  <a:pt x="796" y="181"/>
                  <a:pt x="796" y="181"/>
                </a:cubicBezTo>
                <a:cubicBezTo>
                  <a:pt x="796" y="182"/>
                  <a:pt x="796" y="182"/>
                  <a:pt x="796" y="182"/>
                </a:cubicBezTo>
                <a:cubicBezTo>
                  <a:pt x="796" y="183"/>
                  <a:pt x="796" y="183"/>
                  <a:pt x="796" y="183"/>
                </a:cubicBezTo>
                <a:cubicBezTo>
                  <a:pt x="797" y="184"/>
                  <a:pt x="797" y="184"/>
                  <a:pt x="797" y="184"/>
                </a:cubicBezTo>
                <a:cubicBezTo>
                  <a:pt x="799" y="185"/>
                  <a:pt x="799" y="185"/>
                  <a:pt x="799" y="185"/>
                </a:cubicBezTo>
                <a:cubicBezTo>
                  <a:pt x="799" y="186"/>
                  <a:pt x="799" y="186"/>
                  <a:pt x="799" y="186"/>
                </a:cubicBezTo>
                <a:cubicBezTo>
                  <a:pt x="798" y="186"/>
                  <a:pt x="798" y="186"/>
                  <a:pt x="798" y="186"/>
                </a:cubicBezTo>
                <a:cubicBezTo>
                  <a:pt x="799" y="187"/>
                  <a:pt x="799" y="187"/>
                  <a:pt x="799" y="187"/>
                </a:cubicBezTo>
                <a:cubicBezTo>
                  <a:pt x="798" y="187"/>
                  <a:pt x="798" y="187"/>
                  <a:pt x="798" y="187"/>
                </a:cubicBezTo>
                <a:cubicBezTo>
                  <a:pt x="796" y="186"/>
                  <a:pt x="796" y="186"/>
                  <a:pt x="796" y="186"/>
                </a:cubicBezTo>
                <a:cubicBezTo>
                  <a:pt x="794" y="185"/>
                  <a:pt x="794" y="185"/>
                  <a:pt x="794" y="185"/>
                </a:cubicBezTo>
                <a:cubicBezTo>
                  <a:pt x="793" y="186"/>
                  <a:pt x="793" y="186"/>
                  <a:pt x="793" y="186"/>
                </a:cubicBezTo>
                <a:cubicBezTo>
                  <a:pt x="792" y="185"/>
                  <a:pt x="792" y="185"/>
                  <a:pt x="792" y="185"/>
                </a:cubicBezTo>
                <a:cubicBezTo>
                  <a:pt x="792" y="186"/>
                  <a:pt x="792" y="186"/>
                  <a:pt x="792" y="186"/>
                </a:cubicBezTo>
                <a:cubicBezTo>
                  <a:pt x="791" y="186"/>
                  <a:pt x="791" y="186"/>
                  <a:pt x="791" y="186"/>
                </a:cubicBezTo>
                <a:cubicBezTo>
                  <a:pt x="790" y="185"/>
                  <a:pt x="790" y="185"/>
                  <a:pt x="790" y="185"/>
                </a:cubicBezTo>
                <a:cubicBezTo>
                  <a:pt x="789" y="185"/>
                  <a:pt x="789" y="185"/>
                  <a:pt x="789" y="185"/>
                </a:cubicBezTo>
                <a:cubicBezTo>
                  <a:pt x="789" y="184"/>
                  <a:pt x="789" y="184"/>
                  <a:pt x="789" y="184"/>
                </a:cubicBezTo>
                <a:cubicBezTo>
                  <a:pt x="788" y="183"/>
                  <a:pt x="788" y="183"/>
                  <a:pt x="788" y="183"/>
                </a:cubicBezTo>
                <a:cubicBezTo>
                  <a:pt x="787" y="184"/>
                  <a:pt x="787" y="184"/>
                  <a:pt x="787" y="184"/>
                </a:cubicBezTo>
                <a:cubicBezTo>
                  <a:pt x="786" y="183"/>
                  <a:pt x="786" y="183"/>
                  <a:pt x="786" y="183"/>
                </a:cubicBezTo>
                <a:cubicBezTo>
                  <a:pt x="785" y="183"/>
                  <a:pt x="785" y="183"/>
                  <a:pt x="785" y="183"/>
                </a:cubicBezTo>
                <a:cubicBezTo>
                  <a:pt x="784" y="182"/>
                  <a:pt x="784" y="182"/>
                  <a:pt x="784" y="182"/>
                </a:cubicBezTo>
                <a:cubicBezTo>
                  <a:pt x="784" y="181"/>
                  <a:pt x="784" y="181"/>
                  <a:pt x="784" y="181"/>
                </a:cubicBezTo>
                <a:cubicBezTo>
                  <a:pt x="783" y="181"/>
                  <a:pt x="783" y="181"/>
                  <a:pt x="783" y="181"/>
                </a:cubicBezTo>
                <a:cubicBezTo>
                  <a:pt x="781" y="181"/>
                  <a:pt x="781" y="181"/>
                  <a:pt x="781" y="181"/>
                </a:cubicBezTo>
                <a:cubicBezTo>
                  <a:pt x="778" y="181"/>
                  <a:pt x="778" y="181"/>
                  <a:pt x="778" y="181"/>
                </a:cubicBezTo>
                <a:cubicBezTo>
                  <a:pt x="776" y="181"/>
                  <a:pt x="776" y="181"/>
                  <a:pt x="776" y="181"/>
                </a:cubicBezTo>
                <a:cubicBezTo>
                  <a:pt x="775" y="180"/>
                  <a:pt x="775" y="180"/>
                  <a:pt x="775" y="180"/>
                </a:cubicBezTo>
                <a:cubicBezTo>
                  <a:pt x="770" y="180"/>
                  <a:pt x="770" y="180"/>
                  <a:pt x="770" y="180"/>
                </a:cubicBezTo>
                <a:cubicBezTo>
                  <a:pt x="769" y="181"/>
                  <a:pt x="769" y="181"/>
                  <a:pt x="769" y="181"/>
                </a:cubicBezTo>
                <a:cubicBezTo>
                  <a:pt x="768" y="181"/>
                  <a:pt x="768" y="181"/>
                  <a:pt x="768" y="181"/>
                </a:cubicBezTo>
                <a:cubicBezTo>
                  <a:pt x="767" y="182"/>
                  <a:pt x="767" y="182"/>
                  <a:pt x="767" y="182"/>
                </a:cubicBezTo>
                <a:cubicBezTo>
                  <a:pt x="767" y="184"/>
                  <a:pt x="767" y="184"/>
                  <a:pt x="767" y="184"/>
                </a:cubicBezTo>
                <a:cubicBezTo>
                  <a:pt x="766" y="186"/>
                  <a:pt x="766" y="186"/>
                  <a:pt x="766" y="186"/>
                </a:cubicBezTo>
                <a:cubicBezTo>
                  <a:pt x="766" y="188"/>
                  <a:pt x="766" y="188"/>
                  <a:pt x="766" y="188"/>
                </a:cubicBezTo>
                <a:cubicBezTo>
                  <a:pt x="766" y="189"/>
                  <a:pt x="766" y="189"/>
                  <a:pt x="766" y="189"/>
                </a:cubicBezTo>
                <a:cubicBezTo>
                  <a:pt x="767" y="189"/>
                  <a:pt x="767" y="189"/>
                  <a:pt x="767" y="189"/>
                </a:cubicBezTo>
                <a:cubicBezTo>
                  <a:pt x="767" y="190"/>
                  <a:pt x="767" y="190"/>
                  <a:pt x="767" y="190"/>
                </a:cubicBezTo>
                <a:cubicBezTo>
                  <a:pt x="766" y="190"/>
                  <a:pt x="766" y="190"/>
                  <a:pt x="766" y="190"/>
                </a:cubicBezTo>
                <a:cubicBezTo>
                  <a:pt x="767" y="193"/>
                  <a:pt x="767" y="193"/>
                  <a:pt x="767" y="193"/>
                </a:cubicBezTo>
                <a:cubicBezTo>
                  <a:pt x="768" y="194"/>
                  <a:pt x="768" y="194"/>
                  <a:pt x="768" y="194"/>
                </a:cubicBezTo>
                <a:cubicBezTo>
                  <a:pt x="769" y="194"/>
                  <a:pt x="769" y="194"/>
                  <a:pt x="769" y="194"/>
                </a:cubicBezTo>
                <a:cubicBezTo>
                  <a:pt x="770" y="195"/>
                  <a:pt x="770" y="195"/>
                  <a:pt x="770" y="195"/>
                </a:cubicBezTo>
                <a:cubicBezTo>
                  <a:pt x="771" y="196"/>
                  <a:pt x="771" y="196"/>
                  <a:pt x="771" y="196"/>
                </a:cubicBezTo>
                <a:cubicBezTo>
                  <a:pt x="772" y="196"/>
                  <a:pt x="772" y="196"/>
                  <a:pt x="772" y="196"/>
                </a:cubicBezTo>
                <a:cubicBezTo>
                  <a:pt x="773" y="196"/>
                  <a:pt x="773" y="196"/>
                  <a:pt x="773" y="196"/>
                </a:cubicBezTo>
                <a:cubicBezTo>
                  <a:pt x="773" y="197"/>
                  <a:pt x="773" y="197"/>
                  <a:pt x="773" y="197"/>
                </a:cubicBezTo>
                <a:cubicBezTo>
                  <a:pt x="775" y="196"/>
                  <a:pt x="775" y="196"/>
                  <a:pt x="775" y="196"/>
                </a:cubicBezTo>
                <a:cubicBezTo>
                  <a:pt x="776" y="197"/>
                  <a:pt x="776" y="197"/>
                  <a:pt x="776" y="197"/>
                </a:cubicBezTo>
                <a:cubicBezTo>
                  <a:pt x="778" y="197"/>
                  <a:pt x="778" y="197"/>
                  <a:pt x="778" y="197"/>
                </a:cubicBezTo>
                <a:cubicBezTo>
                  <a:pt x="778" y="198"/>
                  <a:pt x="778" y="198"/>
                  <a:pt x="778" y="198"/>
                </a:cubicBezTo>
                <a:cubicBezTo>
                  <a:pt x="779" y="199"/>
                  <a:pt x="779" y="199"/>
                  <a:pt x="779" y="199"/>
                </a:cubicBezTo>
                <a:cubicBezTo>
                  <a:pt x="778" y="200"/>
                  <a:pt x="778" y="200"/>
                  <a:pt x="778" y="200"/>
                </a:cubicBezTo>
                <a:cubicBezTo>
                  <a:pt x="778" y="201"/>
                  <a:pt x="778" y="201"/>
                  <a:pt x="778" y="201"/>
                </a:cubicBezTo>
                <a:cubicBezTo>
                  <a:pt x="778" y="202"/>
                  <a:pt x="778" y="202"/>
                  <a:pt x="778" y="202"/>
                </a:cubicBezTo>
                <a:cubicBezTo>
                  <a:pt x="777" y="203"/>
                  <a:pt x="777" y="203"/>
                  <a:pt x="777" y="203"/>
                </a:cubicBezTo>
                <a:cubicBezTo>
                  <a:pt x="776" y="203"/>
                  <a:pt x="776" y="203"/>
                  <a:pt x="776" y="203"/>
                </a:cubicBezTo>
                <a:cubicBezTo>
                  <a:pt x="776" y="204"/>
                  <a:pt x="776" y="204"/>
                  <a:pt x="776" y="204"/>
                </a:cubicBezTo>
                <a:cubicBezTo>
                  <a:pt x="775" y="205"/>
                  <a:pt x="775" y="205"/>
                  <a:pt x="775" y="205"/>
                </a:cubicBezTo>
                <a:cubicBezTo>
                  <a:pt x="776" y="205"/>
                  <a:pt x="776" y="205"/>
                  <a:pt x="776" y="205"/>
                </a:cubicBezTo>
                <a:cubicBezTo>
                  <a:pt x="776" y="207"/>
                  <a:pt x="776" y="207"/>
                  <a:pt x="776" y="207"/>
                </a:cubicBezTo>
                <a:cubicBezTo>
                  <a:pt x="777" y="208"/>
                  <a:pt x="777" y="208"/>
                  <a:pt x="777" y="208"/>
                </a:cubicBezTo>
                <a:cubicBezTo>
                  <a:pt x="777" y="209"/>
                  <a:pt x="777" y="209"/>
                  <a:pt x="777" y="209"/>
                </a:cubicBezTo>
                <a:cubicBezTo>
                  <a:pt x="775" y="209"/>
                  <a:pt x="775" y="209"/>
                  <a:pt x="775" y="209"/>
                </a:cubicBezTo>
                <a:cubicBezTo>
                  <a:pt x="776" y="210"/>
                  <a:pt x="776" y="210"/>
                  <a:pt x="776" y="210"/>
                </a:cubicBezTo>
                <a:cubicBezTo>
                  <a:pt x="778" y="210"/>
                  <a:pt x="778" y="210"/>
                  <a:pt x="778" y="210"/>
                </a:cubicBezTo>
                <a:cubicBezTo>
                  <a:pt x="779" y="210"/>
                  <a:pt x="779" y="210"/>
                  <a:pt x="779" y="210"/>
                </a:cubicBezTo>
                <a:cubicBezTo>
                  <a:pt x="780" y="211"/>
                  <a:pt x="780" y="211"/>
                  <a:pt x="780" y="211"/>
                </a:cubicBezTo>
                <a:cubicBezTo>
                  <a:pt x="780" y="210"/>
                  <a:pt x="780" y="210"/>
                  <a:pt x="780" y="210"/>
                </a:cubicBezTo>
                <a:cubicBezTo>
                  <a:pt x="781" y="210"/>
                  <a:pt x="781" y="210"/>
                  <a:pt x="781" y="210"/>
                </a:cubicBezTo>
                <a:cubicBezTo>
                  <a:pt x="783" y="210"/>
                  <a:pt x="783" y="210"/>
                  <a:pt x="783" y="210"/>
                </a:cubicBezTo>
                <a:cubicBezTo>
                  <a:pt x="785" y="211"/>
                  <a:pt x="785" y="211"/>
                  <a:pt x="785" y="211"/>
                </a:cubicBezTo>
                <a:cubicBezTo>
                  <a:pt x="786" y="210"/>
                  <a:pt x="786" y="210"/>
                  <a:pt x="786" y="210"/>
                </a:cubicBezTo>
                <a:cubicBezTo>
                  <a:pt x="787" y="210"/>
                  <a:pt x="787" y="210"/>
                  <a:pt x="787" y="210"/>
                </a:cubicBezTo>
                <a:cubicBezTo>
                  <a:pt x="788" y="211"/>
                  <a:pt x="788" y="211"/>
                  <a:pt x="788" y="211"/>
                </a:cubicBezTo>
                <a:cubicBezTo>
                  <a:pt x="789" y="210"/>
                  <a:pt x="789" y="210"/>
                  <a:pt x="789" y="210"/>
                </a:cubicBezTo>
                <a:cubicBezTo>
                  <a:pt x="790" y="211"/>
                  <a:pt x="790" y="211"/>
                  <a:pt x="790" y="211"/>
                </a:cubicBezTo>
                <a:cubicBezTo>
                  <a:pt x="791" y="211"/>
                  <a:pt x="791" y="211"/>
                  <a:pt x="791" y="211"/>
                </a:cubicBezTo>
                <a:cubicBezTo>
                  <a:pt x="792" y="211"/>
                  <a:pt x="792" y="211"/>
                  <a:pt x="792" y="211"/>
                </a:cubicBezTo>
                <a:cubicBezTo>
                  <a:pt x="792" y="212"/>
                  <a:pt x="792" y="212"/>
                  <a:pt x="792" y="212"/>
                </a:cubicBezTo>
                <a:cubicBezTo>
                  <a:pt x="793" y="212"/>
                  <a:pt x="793" y="212"/>
                  <a:pt x="793" y="212"/>
                </a:cubicBezTo>
                <a:cubicBezTo>
                  <a:pt x="795" y="212"/>
                  <a:pt x="795" y="212"/>
                  <a:pt x="795" y="212"/>
                </a:cubicBezTo>
                <a:cubicBezTo>
                  <a:pt x="795" y="211"/>
                  <a:pt x="795" y="211"/>
                  <a:pt x="795" y="211"/>
                </a:cubicBezTo>
                <a:cubicBezTo>
                  <a:pt x="797" y="210"/>
                  <a:pt x="797" y="210"/>
                  <a:pt x="797" y="210"/>
                </a:cubicBezTo>
                <a:cubicBezTo>
                  <a:pt x="799" y="209"/>
                  <a:pt x="799" y="209"/>
                  <a:pt x="799" y="209"/>
                </a:cubicBezTo>
                <a:cubicBezTo>
                  <a:pt x="800" y="209"/>
                  <a:pt x="800" y="209"/>
                  <a:pt x="800" y="209"/>
                </a:cubicBezTo>
                <a:cubicBezTo>
                  <a:pt x="801" y="208"/>
                  <a:pt x="801" y="208"/>
                  <a:pt x="801" y="208"/>
                </a:cubicBezTo>
                <a:cubicBezTo>
                  <a:pt x="802" y="208"/>
                  <a:pt x="802" y="208"/>
                  <a:pt x="802" y="208"/>
                </a:cubicBezTo>
                <a:cubicBezTo>
                  <a:pt x="804" y="208"/>
                  <a:pt x="804" y="208"/>
                  <a:pt x="804" y="208"/>
                </a:cubicBezTo>
                <a:cubicBezTo>
                  <a:pt x="805" y="208"/>
                  <a:pt x="805" y="208"/>
                  <a:pt x="805" y="208"/>
                </a:cubicBezTo>
                <a:cubicBezTo>
                  <a:pt x="808" y="208"/>
                  <a:pt x="808" y="208"/>
                  <a:pt x="808" y="208"/>
                </a:cubicBezTo>
                <a:cubicBezTo>
                  <a:pt x="810" y="207"/>
                  <a:pt x="810" y="207"/>
                  <a:pt x="810" y="207"/>
                </a:cubicBezTo>
                <a:cubicBezTo>
                  <a:pt x="811" y="206"/>
                  <a:pt x="811" y="206"/>
                  <a:pt x="811" y="206"/>
                </a:cubicBezTo>
                <a:cubicBezTo>
                  <a:pt x="812" y="206"/>
                  <a:pt x="812" y="206"/>
                  <a:pt x="812" y="206"/>
                </a:cubicBezTo>
                <a:cubicBezTo>
                  <a:pt x="813" y="205"/>
                  <a:pt x="813" y="205"/>
                  <a:pt x="813" y="205"/>
                </a:cubicBezTo>
                <a:cubicBezTo>
                  <a:pt x="813" y="204"/>
                  <a:pt x="813" y="204"/>
                  <a:pt x="813" y="204"/>
                </a:cubicBezTo>
                <a:cubicBezTo>
                  <a:pt x="814" y="204"/>
                  <a:pt x="814" y="204"/>
                  <a:pt x="814" y="204"/>
                </a:cubicBezTo>
                <a:cubicBezTo>
                  <a:pt x="815" y="203"/>
                  <a:pt x="815" y="203"/>
                  <a:pt x="815" y="203"/>
                </a:cubicBezTo>
                <a:cubicBezTo>
                  <a:pt x="816" y="203"/>
                  <a:pt x="816" y="203"/>
                  <a:pt x="816" y="203"/>
                </a:cubicBezTo>
                <a:cubicBezTo>
                  <a:pt x="816" y="204"/>
                  <a:pt x="816" y="204"/>
                  <a:pt x="816" y="204"/>
                </a:cubicBezTo>
                <a:cubicBezTo>
                  <a:pt x="817" y="205"/>
                  <a:pt x="817" y="205"/>
                  <a:pt x="817" y="205"/>
                </a:cubicBezTo>
                <a:cubicBezTo>
                  <a:pt x="816" y="205"/>
                  <a:pt x="816" y="205"/>
                  <a:pt x="816" y="205"/>
                </a:cubicBezTo>
                <a:cubicBezTo>
                  <a:pt x="816" y="206"/>
                  <a:pt x="816" y="206"/>
                  <a:pt x="816" y="206"/>
                </a:cubicBezTo>
                <a:cubicBezTo>
                  <a:pt x="815" y="207"/>
                  <a:pt x="815" y="207"/>
                  <a:pt x="815" y="207"/>
                </a:cubicBezTo>
                <a:cubicBezTo>
                  <a:pt x="815" y="208"/>
                  <a:pt x="815" y="208"/>
                  <a:pt x="815" y="208"/>
                </a:cubicBezTo>
                <a:cubicBezTo>
                  <a:pt x="816" y="209"/>
                  <a:pt x="816" y="209"/>
                  <a:pt x="816" y="209"/>
                </a:cubicBezTo>
                <a:cubicBezTo>
                  <a:pt x="817" y="208"/>
                  <a:pt x="817" y="208"/>
                  <a:pt x="817" y="208"/>
                </a:cubicBezTo>
                <a:cubicBezTo>
                  <a:pt x="818" y="208"/>
                  <a:pt x="818" y="208"/>
                  <a:pt x="818" y="208"/>
                </a:cubicBezTo>
                <a:cubicBezTo>
                  <a:pt x="819" y="209"/>
                  <a:pt x="819" y="209"/>
                  <a:pt x="819" y="209"/>
                </a:cubicBezTo>
                <a:cubicBezTo>
                  <a:pt x="819" y="210"/>
                  <a:pt x="819" y="210"/>
                  <a:pt x="819" y="210"/>
                </a:cubicBezTo>
                <a:cubicBezTo>
                  <a:pt x="820" y="210"/>
                  <a:pt x="820" y="210"/>
                  <a:pt x="820" y="210"/>
                </a:cubicBezTo>
                <a:cubicBezTo>
                  <a:pt x="820" y="209"/>
                  <a:pt x="820" y="209"/>
                  <a:pt x="820" y="209"/>
                </a:cubicBezTo>
                <a:cubicBezTo>
                  <a:pt x="821" y="210"/>
                  <a:pt x="821" y="210"/>
                  <a:pt x="821" y="210"/>
                </a:cubicBezTo>
                <a:cubicBezTo>
                  <a:pt x="821" y="211"/>
                  <a:pt x="821" y="211"/>
                  <a:pt x="821" y="211"/>
                </a:cubicBezTo>
                <a:cubicBezTo>
                  <a:pt x="820" y="211"/>
                  <a:pt x="820" y="211"/>
                  <a:pt x="820" y="211"/>
                </a:cubicBezTo>
                <a:cubicBezTo>
                  <a:pt x="819" y="211"/>
                  <a:pt x="819" y="211"/>
                  <a:pt x="819" y="211"/>
                </a:cubicBezTo>
                <a:cubicBezTo>
                  <a:pt x="818" y="212"/>
                  <a:pt x="818" y="212"/>
                  <a:pt x="818" y="212"/>
                </a:cubicBezTo>
                <a:cubicBezTo>
                  <a:pt x="818" y="213"/>
                  <a:pt x="818" y="213"/>
                  <a:pt x="818" y="213"/>
                </a:cubicBezTo>
                <a:cubicBezTo>
                  <a:pt x="819" y="213"/>
                  <a:pt x="819" y="213"/>
                  <a:pt x="819" y="213"/>
                </a:cubicBezTo>
                <a:cubicBezTo>
                  <a:pt x="820" y="213"/>
                  <a:pt x="820" y="213"/>
                  <a:pt x="820" y="213"/>
                </a:cubicBezTo>
                <a:cubicBezTo>
                  <a:pt x="821" y="214"/>
                  <a:pt x="821" y="214"/>
                  <a:pt x="821" y="214"/>
                </a:cubicBezTo>
                <a:cubicBezTo>
                  <a:pt x="822" y="213"/>
                  <a:pt x="822" y="213"/>
                  <a:pt x="822" y="213"/>
                </a:cubicBezTo>
                <a:cubicBezTo>
                  <a:pt x="823" y="212"/>
                  <a:pt x="823" y="212"/>
                  <a:pt x="823" y="212"/>
                </a:cubicBezTo>
                <a:cubicBezTo>
                  <a:pt x="823" y="213"/>
                  <a:pt x="823" y="213"/>
                  <a:pt x="823" y="213"/>
                </a:cubicBezTo>
                <a:cubicBezTo>
                  <a:pt x="824" y="214"/>
                  <a:pt x="824" y="214"/>
                  <a:pt x="824" y="214"/>
                </a:cubicBezTo>
                <a:cubicBezTo>
                  <a:pt x="824" y="215"/>
                  <a:pt x="824" y="215"/>
                  <a:pt x="824" y="215"/>
                </a:cubicBezTo>
                <a:cubicBezTo>
                  <a:pt x="825" y="214"/>
                  <a:pt x="825" y="214"/>
                  <a:pt x="825" y="214"/>
                </a:cubicBezTo>
                <a:cubicBezTo>
                  <a:pt x="826" y="214"/>
                  <a:pt x="826" y="214"/>
                  <a:pt x="826" y="214"/>
                </a:cubicBezTo>
                <a:cubicBezTo>
                  <a:pt x="826" y="215"/>
                  <a:pt x="826" y="215"/>
                  <a:pt x="826" y="215"/>
                </a:cubicBezTo>
                <a:cubicBezTo>
                  <a:pt x="827" y="215"/>
                  <a:pt x="827" y="215"/>
                  <a:pt x="827" y="215"/>
                </a:cubicBezTo>
                <a:cubicBezTo>
                  <a:pt x="828" y="216"/>
                  <a:pt x="828" y="216"/>
                  <a:pt x="828" y="216"/>
                </a:cubicBezTo>
                <a:cubicBezTo>
                  <a:pt x="828" y="215"/>
                  <a:pt x="828" y="215"/>
                  <a:pt x="828" y="215"/>
                </a:cubicBezTo>
                <a:cubicBezTo>
                  <a:pt x="829" y="215"/>
                  <a:pt x="829" y="215"/>
                  <a:pt x="829" y="215"/>
                </a:cubicBezTo>
                <a:cubicBezTo>
                  <a:pt x="830" y="215"/>
                  <a:pt x="830" y="215"/>
                  <a:pt x="830" y="215"/>
                </a:cubicBezTo>
                <a:cubicBezTo>
                  <a:pt x="830" y="216"/>
                  <a:pt x="830" y="216"/>
                  <a:pt x="830" y="216"/>
                </a:cubicBezTo>
                <a:cubicBezTo>
                  <a:pt x="831" y="216"/>
                  <a:pt x="831" y="216"/>
                  <a:pt x="831" y="216"/>
                </a:cubicBezTo>
                <a:cubicBezTo>
                  <a:pt x="832" y="216"/>
                  <a:pt x="832" y="216"/>
                  <a:pt x="832" y="216"/>
                </a:cubicBezTo>
                <a:cubicBezTo>
                  <a:pt x="832" y="215"/>
                  <a:pt x="832" y="215"/>
                  <a:pt x="832" y="215"/>
                </a:cubicBezTo>
                <a:cubicBezTo>
                  <a:pt x="833" y="215"/>
                  <a:pt x="833" y="215"/>
                  <a:pt x="833" y="215"/>
                </a:cubicBezTo>
                <a:cubicBezTo>
                  <a:pt x="833" y="216"/>
                  <a:pt x="833" y="216"/>
                  <a:pt x="833" y="216"/>
                </a:cubicBezTo>
                <a:cubicBezTo>
                  <a:pt x="834" y="215"/>
                  <a:pt x="834" y="215"/>
                  <a:pt x="834" y="215"/>
                </a:cubicBezTo>
                <a:cubicBezTo>
                  <a:pt x="835" y="215"/>
                  <a:pt x="835" y="215"/>
                  <a:pt x="835" y="215"/>
                </a:cubicBezTo>
                <a:cubicBezTo>
                  <a:pt x="836" y="215"/>
                  <a:pt x="836" y="215"/>
                  <a:pt x="836" y="215"/>
                </a:cubicBezTo>
                <a:cubicBezTo>
                  <a:pt x="837" y="215"/>
                  <a:pt x="837" y="215"/>
                  <a:pt x="837" y="215"/>
                </a:cubicBezTo>
                <a:cubicBezTo>
                  <a:pt x="837" y="214"/>
                  <a:pt x="837" y="214"/>
                  <a:pt x="837" y="214"/>
                </a:cubicBezTo>
                <a:cubicBezTo>
                  <a:pt x="838" y="213"/>
                  <a:pt x="838" y="213"/>
                  <a:pt x="838" y="213"/>
                </a:cubicBezTo>
                <a:cubicBezTo>
                  <a:pt x="838" y="212"/>
                  <a:pt x="838" y="212"/>
                  <a:pt x="838" y="212"/>
                </a:cubicBezTo>
                <a:cubicBezTo>
                  <a:pt x="838" y="211"/>
                  <a:pt x="838" y="211"/>
                  <a:pt x="838" y="211"/>
                </a:cubicBezTo>
                <a:cubicBezTo>
                  <a:pt x="837" y="211"/>
                  <a:pt x="837" y="211"/>
                  <a:pt x="837" y="211"/>
                </a:cubicBezTo>
                <a:cubicBezTo>
                  <a:pt x="837" y="210"/>
                  <a:pt x="837" y="210"/>
                  <a:pt x="837" y="210"/>
                </a:cubicBezTo>
                <a:cubicBezTo>
                  <a:pt x="837" y="209"/>
                  <a:pt x="837" y="209"/>
                  <a:pt x="837" y="209"/>
                </a:cubicBezTo>
                <a:cubicBezTo>
                  <a:pt x="838" y="209"/>
                  <a:pt x="838" y="209"/>
                  <a:pt x="838" y="209"/>
                </a:cubicBezTo>
                <a:cubicBezTo>
                  <a:pt x="838" y="208"/>
                  <a:pt x="838" y="208"/>
                  <a:pt x="838" y="208"/>
                </a:cubicBezTo>
                <a:cubicBezTo>
                  <a:pt x="837" y="207"/>
                  <a:pt x="837" y="207"/>
                  <a:pt x="837" y="207"/>
                </a:cubicBezTo>
                <a:cubicBezTo>
                  <a:pt x="836" y="207"/>
                  <a:pt x="836" y="207"/>
                  <a:pt x="836" y="207"/>
                </a:cubicBezTo>
                <a:cubicBezTo>
                  <a:pt x="836" y="208"/>
                  <a:pt x="836" y="208"/>
                  <a:pt x="836" y="208"/>
                </a:cubicBezTo>
                <a:cubicBezTo>
                  <a:pt x="836" y="209"/>
                  <a:pt x="836" y="209"/>
                  <a:pt x="836" y="209"/>
                </a:cubicBezTo>
                <a:cubicBezTo>
                  <a:pt x="835" y="208"/>
                  <a:pt x="835" y="208"/>
                  <a:pt x="835" y="208"/>
                </a:cubicBezTo>
                <a:cubicBezTo>
                  <a:pt x="834" y="208"/>
                  <a:pt x="834" y="208"/>
                  <a:pt x="834" y="208"/>
                </a:cubicBezTo>
                <a:cubicBezTo>
                  <a:pt x="832" y="210"/>
                  <a:pt x="832" y="210"/>
                  <a:pt x="832" y="210"/>
                </a:cubicBezTo>
                <a:cubicBezTo>
                  <a:pt x="831" y="210"/>
                  <a:pt x="831" y="210"/>
                  <a:pt x="831" y="210"/>
                </a:cubicBezTo>
                <a:cubicBezTo>
                  <a:pt x="832" y="209"/>
                  <a:pt x="832" y="209"/>
                  <a:pt x="832" y="209"/>
                </a:cubicBezTo>
                <a:cubicBezTo>
                  <a:pt x="833" y="208"/>
                  <a:pt x="833" y="208"/>
                  <a:pt x="833" y="208"/>
                </a:cubicBezTo>
                <a:cubicBezTo>
                  <a:pt x="833" y="207"/>
                  <a:pt x="833" y="207"/>
                  <a:pt x="833" y="207"/>
                </a:cubicBezTo>
                <a:cubicBezTo>
                  <a:pt x="832" y="208"/>
                  <a:pt x="832" y="208"/>
                  <a:pt x="832" y="208"/>
                </a:cubicBezTo>
                <a:cubicBezTo>
                  <a:pt x="832" y="207"/>
                  <a:pt x="832" y="207"/>
                  <a:pt x="832" y="207"/>
                </a:cubicBezTo>
                <a:cubicBezTo>
                  <a:pt x="832" y="206"/>
                  <a:pt x="832" y="206"/>
                  <a:pt x="832" y="206"/>
                </a:cubicBezTo>
                <a:cubicBezTo>
                  <a:pt x="833" y="206"/>
                  <a:pt x="833" y="206"/>
                  <a:pt x="833" y="206"/>
                </a:cubicBezTo>
                <a:cubicBezTo>
                  <a:pt x="832" y="204"/>
                  <a:pt x="832" y="204"/>
                  <a:pt x="832" y="204"/>
                </a:cubicBezTo>
                <a:cubicBezTo>
                  <a:pt x="833" y="203"/>
                  <a:pt x="833" y="203"/>
                  <a:pt x="833" y="203"/>
                </a:cubicBezTo>
                <a:cubicBezTo>
                  <a:pt x="834" y="203"/>
                  <a:pt x="834" y="203"/>
                  <a:pt x="834" y="203"/>
                </a:cubicBezTo>
                <a:cubicBezTo>
                  <a:pt x="833" y="204"/>
                  <a:pt x="833" y="204"/>
                  <a:pt x="833" y="204"/>
                </a:cubicBezTo>
                <a:cubicBezTo>
                  <a:pt x="834" y="205"/>
                  <a:pt x="834" y="205"/>
                  <a:pt x="834" y="205"/>
                </a:cubicBezTo>
                <a:cubicBezTo>
                  <a:pt x="835" y="206"/>
                  <a:pt x="835" y="206"/>
                  <a:pt x="835" y="206"/>
                </a:cubicBezTo>
                <a:cubicBezTo>
                  <a:pt x="837" y="206"/>
                  <a:pt x="837" y="206"/>
                  <a:pt x="837" y="206"/>
                </a:cubicBezTo>
                <a:cubicBezTo>
                  <a:pt x="837" y="205"/>
                  <a:pt x="837" y="205"/>
                  <a:pt x="837" y="205"/>
                </a:cubicBezTo>
                <a:cubicBezTo>
                  <a:pt x="837" y="204"/>
                  <a:pt x="837" y="204"/>
                  <a:pt x="837" y="204"/>
                </a:cubicBezTo>
                <a:cubicBezTo>
                  <a:pt x="837" y="203"/>
                  <a:pt x="837" y="203"/>
                  <a:pt x="837" y="203"/>
                </a:cubicBezTo>
                <a:cubicBezTo>
                  <a:pt x="838" y="204"/>
                  <a:pt x="838" y="204"/>
                  <a:pt x="838" y="204"/>
                </a:cubicBezTo>
                <a:cubicBezTo>
                  <a:pt x="839" y="204"/>
                  <a:pt x="839" y="204"/>
                  <a:pt x="839" y="204"/>
                </a:cubicBezTo>
                <a:cubicBezTo>
                  <a:pt x="839" y="203"/>
                  <a:pt x="839" y="203"/>
                  <a:pt x="839" y="203"/>
                </a:cubicBezTo>
                <a:cubicBezTo>
                  <a:pt x="840" y="201"/>
                  <a:pt x="840" y="201"/>
                  <a:pt x="840" y="201"/>
                </a:cubicBezTo>
                <a:cubicBezTo>
                  <a:pt x="840" y="203"/>
                  <a:pt x="840" y="203"/>
                  <a:pt x="840" y="203"/>
                </a:cubicBezTo>
                <a:cubicBezTo>
                  <a:pt x="841" y="203"/>
                  <a:pt x="841" y="203"/>
                  <a:pt x="841" y="203"/>
                </a:cubicBezTo>
                <a:cubicBezTo>
                  <a:pt x="842" y="202"/>
                  <a:pt x="842" y="202"/>
                  <a:pt x="842" y="202"/>
                </a:cubicBezTo>
                <a:cubicBezTo>
                  <a:pt x="841" y="204"/>
                  <a:pt x="841" y="204"/>
                  <a:pt x="841" y="204"/>
                </a:cubicBezTo>
                <a:cubicBezTo>
                  <a:pt x="841" y="205"/>
                  <a:pt x="841" y="205"/>
                  <a:pt x="841" y="205"/>
                </a:cubicBezTo>
                <a:cubicBezTo>
                  <a:pt x="842" y="205"/>
                  <a:pt x="842" y="205"/>
                  <a:pt x="842" y="205"/>
                </a:cubicBezTo>
                <a:cubicBezTo>
                  <a:pt x="841" y="206"/>
                  <a:pt x="841" y="206"/>
                  <a:pt x="841" y="206"/>
                </a:cubicBezTo>
                <a:cubicBezTo>
                  <a:pt x="842" y="206"/>
                  <a:pt x="842" y="206"/>
                  <a:pt x="842" y="206"/>
                </a:cubicBezTo>
                <a:cubicBezTo>
                  <a:pt x="843" y="205"/>
                  <a:pt x="843" y="205"/>
                  <a:pt x="843" y="205"/>
                </a:cubicBezTo>
                <a:cubicBezTo>
                  <a:pt x="843" y="204"/>
                  <a:pt x="843" y="204"/>
                  <a:pt x="843" y="204"/>
                </a:cubicBezTo>
                <a:cubicBezTo>
                  <a:pt x="844" y="203"/>
                  <a:pt x="844" y="203"/>
                  <a:pt x="844" y="203"/>
                </a:cubicBezTo>
                <a:cubicBezTo>
                  <a:pt x="845" y="202"/>
                  <a:pt x="845" y="202"/>
                  <a:pt x="845" y="202"/>
                </a:cubicBezTo>
                <a:cubicBezTo>
                  <a:pt x="845" y="204"/>
                  <a:pt x="845" y="204"/>
                  <a:pt x="845" y="204"/>
                </a:cubicBezTo>
                <a:cubicBezTo>
                  <a:pt x="844" y="205"/>
                  <a:pt x="844" y="205"/>
                  <a:pt x="844" y="205"/>
                </a:cubicBezTo>
                <a:cubicBezTo>
                  <a:pt x="844" y="207"/>
                  <a:pt x="844" y="207"/>
                  <a:pt x="844" y="207"/>
                </a:cubicBezTo>
                <a:cubicBezTo>
                  <a:pt x="845" y="207"/>
                  <a:pt x="845" y="207"/>
                  <a:pt x="845" y="207"/>
                </a:cubicBezTo>
                <a:cubicBezTo>
                  <a:pt x="846" y="207"/>
                  <a:pt x="846" y="207"/>
                  <a:pt x="846" y="207"/>
                </a:cubicBezTo>
                <a:cubicBezTo>
                  <a:pt x="846" y="206"/>
                  <a:pt x="846" y="206"/>
                  <a:pt x="846" y="206"/>
                </a:cubicBezTo>
                <a:cubicBezTo>
                  <a:pt x="848" y="205"/>
                  <a:pt x="848" y="205"/>
                  <a:pt x="848" y="205"/>
                </a:cubicBezTo>
                <a:cubicBezTo>
                  <a:pt x="848" y="203"/>
                  <a:pt x="848" y="203"/>
                  <a:pt x="848" y="203"/>
                </a:cubicBezTo>
                <a:close/>
                <a:moveTo>
                  <a:pt x="871" y="218"/>
                </a:moveTo>
                <a:cubicBezTo>
                  <a:pt x="871" y="218"/>
                  <a:pt x="871" y="218"/>
                  <a:pt x="872" y="218"/>
                </a:cubicBezTo>
                <a:cubicBezTo>
                  <a:pt x="872" y="218"/>
                  <a:pt x="872" y="218"/>
                  <a:pt x="873" y="216"/>
                </a:cubicBezTo>
                <a:cubicBezTo>
                  <a:pt x="873" y="216"/>
                  <a:pt x="873" y="216"/>
                  <a:pt x="873" y="215"/>
                </a:cubicBezTo>
                <a:cubicBezTo>
                  <a:pt x="873" y="215"/>
                  <a:pt x="873" y="215"/>
                  <a:pt x="871" y="214"/>
                </a:cubicBezTo>
                <a:cubicBezTo>
                  <a:pt x="871" y="214"/>
                  <a:pt x="871" y="214"/>
                  <a:pt x="870" y="215"/>
                </a:cubicBezTo>
                <a:cubicBezTo>
                  <a:pt x="870" y="215"/>
                  <a:pt x="870" y="215"/>
                  <a:pt x="869" y="217"/>
                </a:cubicBezTo>
                <a:cubicBezTo>
                  <a:pt x="870" y="217"/>
                  <a:pt x="870" y="217"/>
                  <a:pt x="870" y="217"/>
                </a:cubicBezTo>
                <a:cubicBezTo>
                  <a:pt x="870" y="217"/>
                  <a:pt x="870" y="217"/>
                  <a:pt x="871" y="216"/>
                </a:cubicBezTo>
                <a:cubicBezTo>
                  <a:pt x="871" y="216"/>
                  <a:pt x="871" y="216"/>
                  <a:pt x="871" y="217"/>
                </a:cubicBezTo>
                <a:cubicBezTo>
                  <a:pt x="871" y="217"/>
                  <a:pt x="871" y="217"/>
                  <a:pt x="871" y="218"/>
                </a:cubicBezTo>
                <a:close/>
                <a:moveTo>
                  <a:pt x="1083" y="3"/>
                </a:moveTo>
                <a:cubicBezTo>
                  <a:pt x="1083" y="3"/>
                  <a:pt x="1083" y="3"/>
                  <a:pt x="1082" y="2"/>
                </a:cubicBezTo>
                <a:cubicBezTo>
                  <a:pt x="1082" y="2"/>
                  <a:pt x="1082" y="2"/>
                  <a:pt x="1081" y="3"/>
                </a:cubicBezTo>
                <a:cubicBezTo>
                  <a:pt x="1081" y="3"/>
                  <a:pt x="1081" y="3"/>
                  <a:pt x="1082" y="3"/>
                </a:cubicBezTo>
                <a:cubicBezTo>
                  <a:pt x="1082" y="3"/>
                  <a:pt x="1082" y="3"/>
                  <a:pt x="1083" y="3"/>
                </a:cubicBezTo>
                <a:close/>
                <a:moveTo>
                  <a:pt x="861" y="228"/>
                </a:moveTo>
                <a:cubicBezTo>
                  <a:pt x="862" y="228"/>
                  <a:pt x="862" y="228"/>
                  <a:pt x="862" y="228"/>
                </a:cubicBezTo>
                <a:cubicBezTo>
                  <a:pt x="863" y="228"/>
                  <a:pt x="863" y="228"/>
                  <a:pt x="863" y="228"/>
                </a:cubicBezTo>
                <a:cubicBezTo>
                  <a:pt x="865" y="227"/>
                  <a:pt x="865" y="227"/>
                  <a:pt x="865" y="227"/>
                </a:cubicBezTo>
                <a:cubicBezTo>
                  <a:pt x="866" y="227"/>
                  <a:pt x="866" y="227"/>
                  <a:pt x="866" y="227"/>
                </a:cubicBezTo>
                <a:cubicBezTo>
                  <a:pt x="867" y="226"/>
                  <a:pt x="867" y="226"/>
                  <a:pt x="867" y="226"/>
                </a:cubicBezTo>
                <a:cubicBezTo>
                  <a:pt x="868" y="227"/>
                  <a:pt x="868" y="227"/>
                  <a:pt x="868" y="227"/>
                </a:cubicBezTo>
                <a:cubicBezTo>
                  <a:pt x="868" y="226"/>
                  <a:pt x="868" y="226"/>
                  <a:pt x="868" y="226"/>
                </a:cubicBezTo>
                <a:cubicBezTo>
                  <a:pt x="870" y="225"/>
                  <a:pt x="870" y="225"/>
                  <a:pt x="870" y="225"/>
                </a:cubicBezTo>
                <a:cubicBezTo>
                  <a:pt x="870" y="224"/>
                  <a:pt x="870" y="224"/>
                  <a:pt x="870" y="224"/>
                </a:cubicBezTo>
                <a:cubicBezTo>
                  <a:pt x="868" y="225"/>
                  <a:pt x="868" y="225"/>
                  <a:pt x="868" y="225"/>
                </a:cubicBezTo>
                <a:cubicBezTo>
                  <a:pt x="868" y="224"/>
                  <a:pt x="868" y="224"/>
                  <a:pt x="868" y="224"/>
                </a:cubicBezTo>
                <a:cubicBezTo>
                  <a:pt x="869" y="221"/>
                  <a:pt x="869" y="221"/>
                  <a:pt x="869" y="221"/>
                </a:cubicBezTo>
                <a:cubicBezTo>
                  <a:pt x="869" y="220"/>
                  <a:pt x="869" y="220"/>
                  <a:pt x="869" y="220"/>
                </a:cubicBezTo>
                <a:cubicBezTo>
                  <a:pt x="868" y="221"/>
                  <a:pt x="868" y="221"/>
                  <a:pt x="868" y="221"/>
                </a:cubicBezTo>
                <a:cubicBezTo>
                  <a:pt x="867" y="222"/>
                  <a:pt x="867" y="222"/>
                  <a:pt x="867" y="222"/>
                </a:cubicBezTo>
                <a:cubicBezTo>
                  <a:pt x="867" y="221"/>
                  <a:pt x="867" y="221"/>
                  <a:pt x="867" y="221"/>
                </a:cubicBezTo>
                <a:cubicBezTo>
                  <a:pt x="868" y="218"/>
                  <a:pt x="868" y="218"/>
                  <a:pt x="868" y="218"/>
                </a:cubicBezTo>
                <a:cubicBezTo>
                  <a:pt x="867" y="214"/>
                  <a:pt x="867" y="214"/>
                  <a:pt x="867" y="214"/>
                </a:cubicBezTo>
                <a:cubicBezTo>
                  <a:pt x="866" y="213"/>
                  <a:pt x="866" y="213"/>
                  <a:pt x="866" y="213"/>
                </a:cubicBezTo>
                <a:cubicBezTo>
                  <a:pt x="866" y="212"/>
                  <a:pt x="866" y="212"/>
                  <a:pt x="866" y="212"/>
                </a:cubicBezTo>
                <a:cubicBezTo>
                  <a:pt x="865" y="212"/>
                  <a:pt x="865" y="212"/>
                  <a:pt x="865" y="212"/>
                </a:cubicBezTo>
                <a:cubicBezTo>
                  <a:pt x="864" y="213"/>
                  <a:pt x="864" y="213"/>
                  <a:pt x="864" y="213"/>
                </a:cubicBezTo>
                <a:cubicBezTo>
                  <a:pt x="864" y="211"/>
                  <a:pt x="864" y="211"/>
                  <a:pt x="864" y="211"/>
                </a:cubicBezTo>
                <a:cubicBezTo>
                  <a:pt x="865" y="211"/>
                  <a:pt x="865" y="211"/>
                  <a:pt x="865" y="211"/>
                </a:cubicBezTo>
                <a:cubicBezTo>
                  <a:pt x="864" y="209"/>
                  <a:pt x="864" y="209"/>
                  <a:pt x="864" y="209"/>
                </a:cubicBezTo>
                <a:cubicBezTo>
                  <a:pt x="864" y="208"/>
                  <a:pt x="864" y="208"/>
                  <a:pt x="864" y="208"/>
                </a:cubicBezTo>
                <a:cubicBezTo>
                  <a:pt x="864" y="207"/>
                  <a:pt x="864" y="207"/>
                  <a:pt x="864" y="207"/>
                </a:cubicBezTo>
                <a:cubicBezTo>
                  <a:pt x="863" y="208"/>
                  <a:pt x="863" y="208"/>
                  <a:pt x="863" y="208"/>
                </a:cubicBezTo>
                <a:cubicBezTo>
                  <a:pt x="861" y="209"/>
                  <a:pt x="861" y="209"/>
                  <a:pt x="861" y="209"/>
                </a:cubicBezTo>
                <a:cubicBezTo>
                  <a:pt x="860" y="211"/>
                  <a:pt x="860" y="211"/>
                  <a:pt x="860" y="211"/>
                </a:cubicBezTo>
                <a:cubicBezTo>
                  <a:pt x="860" y="213"/>
                  <a:pt x="860" y="213"/>
                  <a:pt x="860" y="213"/>
                </a:cubicBezTo>
                <a:cubicBezTo>
                  <a:pt x="859" y="213"/>
                  <a:pt x="859" y="213"/>
                  <a:pt x="859" y="213"/>
                </a:cubicBezTo>
                <a:cubicBezTo>
                  <a:pt x="859" y="211"/>
                  <a:pt x="859" y="211"/>
                  <a:pt x="859" y="211"/>
                </a:cubicBezTo>
                <a:cubicBezTo>
                  <a:pt x="858" y="211"/>
                  <a:pt x="858" y="211"/>
                  <a:pt x="858" y="211"/>
                </a:cubicBezTo>
                <a:cubicBezTo>
                  <a:pt x="858" y="213"/>
                  <a:pt x="858" y="213"/>
                  <a:pt x="858" y="213"/>
                </a:cubicBezTo>
                <a:cubicBezTo>
                  <a:pt x="857" y="213"/>
                  <a:pt x="857" y="213"/>
                  <a:pt x="857" y="213"/>
                </a:cubicBezTo>
                <a:cubicBezTo>
                  <a:pt x="858" y="214"/>
                  <a:pt x="858" y="214"/>
                  <a:pt x="858" y="214"/>
                </a:cubicBezTo>
                <a:cubicBezTo>
                  <a:pt x="857" y="215"/>
                  <a:pt x="857" y="215"/>
                  <a:pt x="857" y="215"/>
                </a:cubicBezTo>
                <a:cubicBezTo>
                  <a:pt x="856" y="215"/>
                  <a:pt x="856" y="215"/>
                  <a:pt x="856" y="215"/>
                </a:cubicBezTo>
                <a:cubicBezTo>
                  <a:pt x="855" y="216"/>
                  <a:pt x="855" y="216"/>
                  <a:pt x="855" y="216"/>
                </a:cubicBezTo>
                <a:cubicBezTo>
                  <a:pt x="853" y="216"/>
                  <a:pt x="853" y="216"/>
                  <a:pt x="853" y="216"/>
                </a:cubicBezTo>
                <a:cubicBezTo>
                  <a:pt x="852" y="216"/>
                  <a:pt x="852" y="216"/>
                  <a:pt x="852" y="216"/>
                </a:cubicBezTo>
                <a:cubicBezTo>
                  <a:pt x="849" y="218"/>
                  <a:pt x="849" y="218"/>
                  <a:pt x="849" y="218"/>
                </a:cubicBezTo>
                <a:cubicBezTo>
                  <a:pt x="849" y="219"/>
                  <a:pt x="849" y="219"/>
                  <a:pt x="849" y="219"/>
                </a:cubicBezTo>
                <a:cubicBezTo>
                  <a:pt x="851" y="221"/>
                  <a:pt x="851" y="221"/>
                  <a:pt x="851" y="221"/>
                </a:cubicBezTo>
                <a:cubicBezTo>
                  <a:pt x="852" y="220"/>
                  <a:pt x="852" y="220"/>
                  <a:pt x="852" y="220"/>
                </a:cubicBezTo>
                <a:cubicBezTo>
                  <a:pt x="851" y="219"/>
                  <a:pt x="851" y="219"/>
                  <a:pt x="851" y="219"/>
                </a:cubicBezTo>
                <a:cubicBezTo>
                  <a:pt x="852" y="218"/>
                  <a:pt x="852" y="218"/>
                  <a:pt x="852" y="218"/>
                </a:cubicBezTo>
                <a:cubicBezTo>
                  <a:pt x="853" y="219"/>
                  <a:pt x="853" y="219"/>
                  <a:pt x="853" y="219"/>
                </a:cubicBezTo>
                <a:cubicBezTo>
                  <a:pt x="852" y="221"/>
                  <a:pt x="852" y="221"/>
                  <a:pt x="852" y="221"/>
                </a:cubicBezTo>
                <a:cubicBezTo>
                  <a:pt x="854" y="222"/>
                  <a:pt x="854" y="222"/>
                  <a:pt x="854" y="222"/>
                </a:cubicBezTo>
                <a:cubicBezTo>
                  <a:pt x="855" y="221"/>
                  <a:pt x="855" y="221"/>
                  <a:pt x="855" y="221"/>
                </a:cubicBezTo>
                <a:cubicBezTo>
                  <a:pt x="855" y="222"/>
                  <a:pt x="855" y="222"/>
                  <a:pt x="855" y="222"/>
                </a:cubicBezTo>
                <a:cubicBezTo>
                  <a:pt x="855" y="223"/>
                  <a:pt x="855" y="223"/>
                  <a:pt x="855" y="223"/>
                </a:cubicBezTo>
                <a:cubicBezTo>
                  <a:pt x="856" y="224"/>
                  <a:pt x="856" y="224"/>
                  <a:pt x="856" y="224"/>
                </a:cubicBezTo>
                <a:cubicBezTo>
                  <a:pt x="857" y="225"/>
                  <a:pt x="857" y="225"/>
                  <a:pt x="857" y="225"/>
                </a:cubicBezTo>
                <a:cubicBezTo>
                  <a:pt x="858" y="226"/>
                  <a:pt x="858" y="226"/>
                  <a:pt x="858" y="226"/>
                </a:cubicBezTo>
                <a:cubicBezTo>
                  <a:pt x="859" y="227"/>
                  <a:pt x="859" y="227"/>
                  <a:pt x="859" y="227"/>
                </a:cubicBezTo>
                <a:cubicBezTo>
                  <a:pt x="860" y="226"/>
                  <a:pt x="860" y="226"/>
                  <a:pt x="860" y="226"/>
                </a:cubicBezTo>
                <a:cubicBezTo>
                  <a:pt x="860" y="227"/>
                  <a:pt x="860" y="227"/>
                  <a:pt x="860" y="227"/>
                </a:cubicBezTo>
                <a:cubicBezTo>
                  <a:pt x="861" y="228"/>
                  <a:pt x="861" y="228"/>
                  <a:pt x="861" y="228"/>
                </a:cubicBezTo>
                <a:close/>
                <a:moveTo>
                  <a:pt x="868" y="214"/>
                </a:moveTo>
                <a:cubicBezTo>
                  <a:pt x="868" y="216"/>
                  <a:pt x="868" y="216"/>
                  <a:pt x="868" y="216"/>
                </a:cubicBezTo>
                <a:cubicBezTo>
                  <a:pt x="869" y="216"/>
                  <a:pt x="869" y="216"/>
                  <a:pt x="869" y="216"/>
                </a:cubicBezTo>
                <a:cubicBezTo>
                  <a:pt x="870" y="215"/>
                  <a:pt x="870" y="215"/>
                  <a:pt x="870" y="215"/>
                </a:cubicBezTo>
                <a:cubicBezTo>
                  <a:pt x="869" y="213"/>
                  <a:pt x="869" y="213"/>
                  <a:pt x="869" y="213"/>
                </a:cubicBezTo>
                <a:cubicBezTo>
                  <a:pt x="868" y="214"/>
                  <a:pt x="868" y="214"/>
                  <a:pt x="868" y="214"/>
                </a:cubicBezTo>
                <a:close/>
                <a:moveTo>
                  <a:pt x="846" y="216"/>
                </a:moveTo>
                <a:cubicBezTo>
                  <a:pt x="846" y="216"/>
                  <a:pt x="846" y="216"/>
                  <a:pt x="846" y="217"/>
                </a:cubicBezTo>
                <a:cubicBezTo>
                  <a:pt x="847" y="217"/>
                  <a:pt x="847" y="217"/>
                  <a:pt x="847" y="217"/>
                </a:cubicBezTo>
                <a:cubicBezTo>
                  <a:pt x="847" y="217"/>
                  <a:pt x="847" y="217"/>
                  <a:pt x="847" y="216"/>
                </a:cubicBezTo>
                <a:cubicBezTo>
                  <a:pt x="847" y="216"/>
                  <a:pt x="847" y="216"/>
                  <a:pt x="848" y="215"/>
                </a:cubicBezTo>
                <a:cubicBezTo>
                  <a:pt x="848" y="215"/>
                  <a:pt x="848" y="215"/>
                  <a:pt x="847" y="214"/>
                </a:cubicBezTo>
                <a:cubicBezTo>
                  <a:pt x="847" y="214"/>
                  <a:pt x="847" y="214"/>
                  <a:pt x="846" y="214"/>
                </a:cubicBezTo>
                <a:cubicBezTo>
                  <a:pt x="846" y="214"/>
                  <a:pt x="846" y="214"/>
                  <a:pt x="846" y="216"/>
                </a:cubicBezTo>
                <a:close/>
                <a:moveTo>
                  <a:pt x="843" y="217"/>
                </a:moveTo>
                <a:cubicBezTo>
                  <a:pt x="843" y="217"/>
                  <a:pt x="843" y="217"/>
                  <a:pt x="842" y="219"/>
                </a:cubicBezTo>
                <a:cubicBezTo>
                  <a:pt x="842" y="219"/>
                  <a:pt x="842" y="219"/>
                  <a:pt x="842" y="220"/>
                </a:cubicBezTo>
                <a:cubicBezTo>
                  <a:pt x="842" y="220"/>
                  <a:pt x="842" y="220"/>
                  <a:pt x="843" y="221"/>
                </a:cubicBezTo>
                <a:cubicBezTo>
                  <a:pt x="843" y="221"/>
                  <a:pt x="843" y="221"/>
                  <a:pt x="843" y="220"/>
                </a:cubicBezTo>
                <a:cubicBezTo>
                  <a:pt x="843" y="220"/>
                  <a:pt x="843" y="220"/>
                  <a:pt x="844" y="219"/>
                </a:cubicBezTo>
                <a:cubicBezTo>
                  <a:pt x="844" y="219"/>
                  <a:pt x="844" y="219"/>
                  <a:pt x="845" y="219"/>
                </a:cubicBezTo>
                <a:cubicBezTo>
                  <a:pt x="845" y="219"/>
                  <a:pt x="845" y="219"/>
                  <a:pt x="845" y="217"/>
                </a:cubicBezTo>
                <a:cubicBezTo>
                  <a:pt x="845" y="217"/>
                  <a:pt x="845" y="217"/>
                  <a:pt x="845" y="216"/>
                </a:cubicBezTo>
                <a:cubicBezTo>
                  <a:pt x="845" y="216"/>
                  <a:pt x="845" y="216"/>
                  <a:pt x="844" y="216"/>
                </a:cubicBezTo>
                <a:cubicBezTo>
                  <a:pt x="844" y="216"/>
                  <a:pt x="844" y="216"/>
                  <a:pt x="843" y="216"/>
                </a:cubicBezTo>
                <a:cubicBezTo>
                  <a:pt x="843" y="216"/>
                  <a:pt x="843" y="216"/>
                  <a:pt x="843" y="217"/>
                </a:cubicBezTo>
                <a:close/>
                <a:moveTo>
                  <a:pt x="878" y="188"/>
                </a:moveTo>
                <a:cubicBezTo>
                  <a:pt x="878" y="188"/>
                  <a:pt x="878" y="188"/>
                  <a:pt x="877" y="188"/>
                </a:cubicBezTo>
                <a:cubicBezTo>
                  <a:pt x="877" y="188"/>
                  <a:pt x="877" y="188"/>
                  <a:pt x="878" y="189"/>
                </a:cubicBezTo>
                <a:cubicBezTo>
                  <a:pt x="878" y="189"/>
                  <a:pt x="878" y="189"/>
                  <a:pt x="878" y="188"/>
                </a:cubicBezTo>
                <a:close/>
                <a:moveTo>
                  <a:pt x="843" y="211"/>
                </a:moveTo>
                <a:cubicBezTo>
                  <a:pt x="843" y="211"/>
                  <a:pt x="843" y="211"/>
                  <a:pt x="844" y="211"/>
                </a:cubicBezTo>
                <a:cubicBezTo>
                  <a:pt x="844" y="211"/>
                  <a:pt x="844" y="211"/>
                  <a:pt x="845" y="210"/>
                </a:cubicBezTo>
                <a:cubicBezTo>
                  <a:pt x="845" y="210"/>
                  <a:pt x="845" y="210"/>
                  <a:pt x="845" y="209"/>
                </a:cubicBezTo>
                <a:cubicBezTo>
                  <a:pt x="845" y="209"/>
                  <a:pt x="845" y="209"/>
                  <a:pt x="844" y="209"/>
                </a:cubicBezTo>
                <a:cubicBezTo>
                  <a:pt x="844" y="209"/>
                  <a:pt x="844" y="209"/>
                  <a:pt x="844" y="208"/>
                </a:cubicBezTo>
                <a:cubicBezTo>
                  <a:pt x="844" y="208"/>
                  <a:pt x="844" y="208"/>
                  <a:pt x="843" y="208"/>
                </a:cubicBezTo>
                <a:cubicBezTo>
                  <a:pt x="843" y="208"/>
                  <a:pt x="843" y="208"/>
                  <a:pt x="843" y="209"/>
                </a:cubicBezTo>
                <a:cubicBezTo>
                  <a:pt x="843" y="209"/>
                  <a:pt x="843" y="209"/>
                  <a:pt x="844" y="210"/>
                </a:cubicBezTo>
                <a:cubicBezTo>
                  <a:pt x="844" y="210"/>
                  <a:pt x="844" y="210"/>
                  <a:pt x="843" y="210"/>
                </a:cubicBezTo>
                <a:cubicBezTo>
                  <a:pt x="843" y="210"/>
                  <a:pt x="843" y="210"/>
                  <a:pt x="843" y="211"/>
                </a:cubicBezTo>
                <a:close/>
                <a:moveTo>
                  <a:pt x="846" y="230"/>
                </a:moveTo>
                <a:cubicBezTo>
                  <a:pt x="845" y="230"/>
                  <a:pt x="845" y="230"/>
                  <a:pt x="845" y="230"/>
                </a:cubicBezTo>
                <a:cubicBezTo>
                  <a:pt x="845" y="231"/>
                  <a:pt x="845" y="231"/>
                  <a:pt x="845" y="231"/>
                </a:cubicBezTo>
                <a:cubicBezTo>
                  <a:pt x="846" y="231"/>
                  <a:pt x="846" y="231"/>
                  <a:pt x="846" y="231"/>
                </a:cubicBezTo>
                <a:cubicBezTo>
                  <a:pt x="846" y="230"/>
                  <a:pt x="846" y="230"/>
                  <a:pt x="846" y="230"/>
                </a:cubicBezTo>
                <a:close/>
                <a:moveTo>
                  <a:pt x="959" y="229"/>
                </a:moveTo>
                <a:cubicBezTo>
                  <a:pt x="959" y="229"/>
                  <a:pt x="959" y="229"/>
                  <a:pt x="958" y="229"/>
                </a:cubicBezTo>
                <a:cubicBezTo>
                  <a:pt x="958" y="229"/>
                  <a:pt x="958" y="229"/>
                  <a:pt x="957" y="230"/>
                </a:cubicBezTo>
                <a:cubicBezTo>
                  <a:pt x="957" y="230"/>
                  <a:pt x="957" y="230"/>
                  <a:pt x="957" y="231"/>
                </a:cubicBezTo>
                <a:cubicBezTo>
                  <a:pt x="957" y="231"/>
                  <a:pt x="957" y="231"/>
                  <a:pt x="958" y="231"/>
                </a:cubicBezTo>
                <a:cubicBezTo>
                  <a:pt x="958" y="231"/>
                  <a:pt x="958" y="231"/>
                  <a:pt x="959" y="230"/>
                </a:cubicBezTo>
                <a:cubicBezTo>
                  <a:pt x="959" y="230"/>
                  <a:pt x="959" y="230"/>
                  <a:pt x="960" y="229"/>
                </a:cubicBezTo>
                <a:cubicBezTo>
                  <a:pt x="960" y="229"/>
                  <a:pt x="960" y="229"/>
                  <a:pt x="960" y="228"/>
                </a:cubicBezTo>
                <a:cubicBezTo>
                  <a:pt x="960" y="228"/>
                  <a:pt x="960" y="228"/>
                  <a:pt x="959" y="228"/>
                </a:cubicBezTo>
                <a:cubicBezTo>
                  <a:pt x="959" y="228"/>
                  <a:pt x="959" y="228"/>
                  <a:pt x="959" y="229"/>
                </a:cubicBezTo>
                <a:close/>
                <a:moveTo>
                  <a:pt x="1003" y="280"/>
                </a:moveTo>
                <a:cubicBezTo>
                  <a:pt x="1003" y="280"/>
                  <a:pt x="1003" y="280"/>
                  <a:pt x="1004" y="279"/>
                </a:cubicBezTo>
                <a:cubicBezTo>
                  <a:pt x="1004" y="279"/>
                  <a:pt x="1004" y="279"/>
                  <a:pt x="1003" y="279"/>
                </a:cubicBezTo>
                <a:cubicBezTo>
                  <a:pt x="1003" y="279"/>
                  <a:pt x="1003" y="279"/>
                  <a:pt x="1003" y="280"/>
                </a:cubicBezTo>
                <a:close/>
                <a:moveTo>
                  <a:pt x="1007" y="314"/>
                </a:moveTo>
                <a:cubicBezTo>
                  <a:pt x="1006" y="313"/>
                  <a:pt x="1006" y="313"/>
                  <a:pt x="1006" y="313"/>
                </a:cubicBezTo>
                <a:cubicBezTo>
                  <a:pt x="1006" y="314"/>
                  <a:pt x="1006" y="314"/>
                  <a:pt x="1006" y="314"/>
                </a:cubicBezTo>
                <a:cubicBezTo>
                  <a:pt x="1007" y="314"/>
                  <a:pt x="1007" y="314"/>
                  <a:pt x="1007" y="314"/>
                </a:cubicBezTo>
                <a:close/>
                <a:moveTo>
                  <a:pt x="1018" y="260"/>
                </a:moveTo>
                <a:cubicBezTo>
                  <a:pt x="1018" y="260"/>
                  <a:pt x="1018" y="260"/>
                  <a:pt x="1018" y="259"/>
                </a:cubicBezTo>
                <a:cubicBezTo>
                  <a:pt x="1018" y="259"/>
                  <a:pt x="1018" y="259"/>
                  <a:pt x="1017" y="259"/>
                </a:cubicBezTo>
                <a:cubicBezTo>
                  <a:pt x="1017" y="259"/>
                  <a:pt x="1017" y="259"/>
                  <a:pt x="1016" y="261"/>
                </a:cubicBezTo>
                <a:cubicBezTo>
                  <a:pt x="1016" y="261"/>
                  <a:pt x="1016" y="261"/>
                  <a:pt x="1018" y="261"/>
                </a:cubicBezTo>
                <a:cubicBezTo>
                  <a:pt x="1018" y="261"/>
                  <a:pt x="1018" y="261"/>
                  <a:pt x="1018" y="260"/>
                </a:cubicBezTo>
                <a:close/>
                <a:moveTo>
                  <a:pt x="1029" y="280"/>
                </a:moveTo>
                <a:cubicBezTo>
                  <a:pt x="1028" y="280"/>
                  <a:pt x="1028" y="280"/>
                  <a:pt x="1028" y="280"/>
                </a:cubicBezTo>
                <a:cubicBezTo>
                  <a:pt x="1028" y="281"/>
                  <a:pt x="1028" y="281"/>
                  <a:pt x="1028" y="281"/>
                </a:cubicBezTo>
                <a:cubicBezTo>
                  <a:pt x="1030" y="281"/>
                  <a:pt x="1030" y="281"/>
                  <a:pt x="1030" y="281"/>
                </a:cubicBezTo>
                <a:cubicBezTo>
                  <a:pt x="1030" y="282"/>
                  <a:pt x="1030" y="282"/>
                  <a:pt x="1030" y="282"/>
                </a:cubicBezTo>
                <a:cubicBezTo>
                  <a:pt x="1029" y="282"/>
                  <a:pt x="1029" y="282"/>
                  <a:pt x="1029" y="282"/>
                </a:cubicBezTo>
                <a:cubicBezTo>
                  <a:pt x="1028" y="282"/>
                  <a:pt x="1028" y="282"/>
                  <a:pt x="1028" y="282"/>
                </a:cubicBezTo>
                <a:cubicBezTo>
                  <a:pt x="1027" y="282"/>
                  <a:pt x="1027" y="282"/>
                  <a:pt x="1027" y="282"/>
                </a:cubicBezTo>
                <a:cubicBezTo>
                  <a:pt x="1026" y="282"/>
                  <a:pt x="1026" y="282"/>
                  <a:pt x="1026" y="282"/>
                </a:cubicBezTo>
                <a:cubicBezTo>
                  <a:pt x="1026" y="281"/>
                  <a:pt x="1026" y="281"/>
                  <a:pt x="1026" y="281"/>
                </a:cubicBezTo>
                <a:cubicBezTo>
                  <a:pt x="1026" y="280"/>
                  <a:pt x="1026" y="280"/>
                  <a:pt x="1026" y="280"/>
                </a:cubicBezTo>
                <a:cubicBezTo>
                  <a:pt x="1025" y="280"/>
                  <a:pt x="1025" y="280"/>
                  <a:pt x="1025" y="280"/>
                </a:cubicBezTo>
                <a:cubicBezTo>
                  <a:pt x="1025" y="279"/>
                  <a:pt x="1025" y="279"/>
                  <a:pt x="1025" y="279"/>
                </a:cubicBezTo>
                <a:cubicBezTo>
                  <a:pt x="1024" y="279"/>
                  <a:pt x="1024" y="279"/>
                  <a:pt x="1024" y="279"/>
                </a:cubicBezTo>
                <a:cubicBezTo>
                  <a:pt x="1024" y="280"/>
                  <a:pt x="1024" y="280"/>
                  <a:pt x="1024" y="280"/>
                </a:cubicBezTo>
                <a:cubicBezTo>
                  <a:pt x="1025" y="281"/>
                  <a:pt x="1025" y="281"/>
                  <a:pt x="1025" y="281"/>
                </a:cubicBezTo>
                <a:cubicBezTo>
                  <a:pt x="1025" y="282"/>
                  <a:pt x="1025" y="282"/>
                  <a:pt x="1025" y="282"/>
                </a:cubicBezTo>
                <a:cubicBezTo>
                  <a:pt x="1024" y="282"/>
                  <a:pt x="1024" y="282"/>
                  <a:pt x="1024" y="282"/>
                </a:cubicBezTo>
                <a:cubicBezTo>
                  <a:pt x="1023" y="281"/>
                  <a:pt x="1023" y="281"/>
                  <a:pt x="1023" y="281"/>
                </a:cubicBezTo>
                <a:cubicBezTo>
                  <a:pt x="1023" y="282"/>
                  <a:pt x="1023" y="282"/>
                  <a:pt x="1023" y="282"/>
                </a:cubicBezTo>
                <a:cubicBezTo>
                  <a:pt x="1024" y="283"/>
                  <a:pt x="1024" y="283"/>
                  <a:pt x="1024" y="283"/>
                </a:cubicBezTo>
                <a:cubicBezTo>
                  <a:pt x="1025" y="283"/>
                  <a:pt x="1025" y="283"/>
                  <a:pt x="1025" y="283"/>
                </a:cubicBezTo>
                <a:cubicBezTo>
                  <a:pt x="1026" y="283"/>
                  <a:pt x="1026" y="283"/>
                  <a:pt x="1026" y="283"/>
                </a:cubicBezTo>
                <a:cubicBezTo>
                  <a:pt x="1026" y="284"/>
                  <a:pt x="1026" y="284"/>
                  <a:pt x="1026" y="284"/>
                </a:cubicBezTo>
                <a:cubicBezTo>
                  <a:pt x="1026" y="285"/>
                  <a:pt x="1026" y="285"/>
                  <a:pt x="1026" y="285"/>
                </a:cubicBezTo>
                <a:cubicBezTo>
                  <a:pt x="1024" y="285"/>
                  <a:pt x="1024" y="285"/>
                  <a:pt x="1024" y="285"/>
                </a:cubicBezTo>
                <a:cubicBezTo>
                  <a:pt x="1024" y="284"/>
                  <a:pt x="1024" y="284"/>
                  <a:pt x="1024" y="284"/>
                </a:cubicBezTo>
                <a:cubicBezTo>
                  <a:pt x="1023" y="283"/>
                  <a:pt x="1023" y="283"/>
                  <a:pt x="1023" y="283"/>
                </a:cubicBezTo>
                <a:cubicBezTo>
                  <a:pt x="1022" y="283"/>
                  <a:pt x="1022" y="283"/>
                  <a:pt x="1022" y="283"/>
                </a:cubicBezTo>
                <a:cubicBezTo>
                  <a:pt x="1023" y="284"/>
                  <a:pt x="1023" y="284"/>
                  <a:pt x="1023" y="284"/>
                </a:cubicBezTo>
                <a:cubicBezTo>
                  <a:pt x="1024" y="285"/>
                  <a:pt x="1024" y="285"/>
                  <a:pt x="1024" y="285"/>
                </a:cubicBezTo>
                <a:cubicBezTo>
                  <a:pt x="1024" y="287"/>
                  <a:pt x="1024" y="287"/>
                  <a:pt x="1024" y="287"/>
                </a:cubicBezTo>
                <a:cubicBezTo>
                  <a:pt x="1023" y="287"/>
                  <a:pt x="1023" y="287"/>
                  <a:pt x="1023" y="287"/>
                </a:cubicBezTo>
                <a:cubicBezTo>
                  <a:pt x="1022" y="286"/>
                  <a:pt x="1022" y="286"/>
                  <a:pt x="1022" y="286"/>
                </a:cubicBezTo>
                <a:cubicBezTo>
                  <a:pt x="1021" y="286"/>
                  <a:pt x="1021" y="286"/>
                  <a:pt x="1021" y="286"/>
                </a:cubicBezTo>
                <a:cubicBezTo>
                  <a:pt x="1021" y="287"/>
                  <a:pt x="1021" y="287"/>
                  <a:pt x="1021" y="287"/>
                </a:cubicBezTo>
                <a:cubicBezTo>
                  <a:pt x="1021" y="289"/>
                  <a:pt x="1021" y="289"/>
                  <a:pt x="1021" y="289"/>
                </a:cubicBezTo>
                <a:cubicBezTo>
                  <a:pt x="1020" y="289"/>
                  <a:pt x="1020" y="289"/>
                  <a:pt x="1020" y="289"/>
                </a:cubicBezTo>
                <a:cubicBezTo>
                  <a:pt x="1020" y="288"/>
                  <a:pt x="1020" y="288"/>
                  <a:pt x="1020" y="288"/>
                </a:cubicBezTo>
                <a:cubicBezTo>
                  <a:pt x="1019" y="288"/>
                  <a:pt x="1019" y="288"/>
                  <a:pt x="1019" y="288"/>
                </a:cubicBezTo>
                <a:cubicBezTo>
                  <a:pt x="1019" y="289"/>
                  <a:pt x="1019" y="289"/>
                  <a:pt x="1019" y="289"/>
                </a:cubicBezTo>
                <a:cubicBezTo>
                  <a:pt x="1018" y="288"/>
                  <a:pt x="1018" y="288"/>
                  <a:pt x="1018" y="288"/>
                </a:cubicBezTo>
                <a:cubicBezTo>
                  <a:pt x="1018" y="287"/>
                  <a:pt x="1018" y="287"/>
                  <a:pt x="1018" y="287"/>
                </a:cubicBezTo>
                <a:cubicBezTo>
                  <a:pt x="1018" y="286"/>
                  <a:pt x="1018" y="286"/>
                  <a:pt x="1018" y="286"/>
                </a:cubicBezTo>
                <a:cubicBezTo>
                  <a:pt x="1018" y="285"/>
                  <a:pt x="1018" y="285"/>
                  <a:pt x="1018" y="285"/>
                </a:cubicBezTo>
                <a:cubicBezTo>
                  <a:pt x="1017" y="286"/>
                  <a:pt x="1017" y="286"/>
                  <a:pt x="1017" y="286"/>
                </a:cubicBezTo>
                <a:cubicBezTo>
                  <a:pt x="1017" y="288"/>
                  <a:pt x="1017" y="288"/>
                  <a:pt x="1017" y="288"/>
                </a:cubicBezTo>
                <a:cubicBezTo>
                  <a:pt x="1016" y="288"/>
                  <a:pt x="1016" y="288"/>
                  <a:pt x="1016" y="288"/>
                </a:cubicBezTo>
                <a:cubicBezTo>
                  <a:pt x="1017" y="289"/>
                  <a:pt x="1017" y="289"/>
                  <a:pt x="1017" y="289"/>
                </a:cubicBezTo>
                <a:cubicBezTo>
                  <a:pt x="1017" y="290"/>
                  <a:pt x="1017" y="290"/>
                  <a:pt x="1017" y="290"/>
                </a:cubicBezTo>
                <a:cubicBezTo>
                  <a:pt x="1017" y="291"/>
                  <a:pt x="1017" y="291"/>
                  <a:pt x="1017" y="291"/>
                </a:cubicBezTo>
                <a:cubicBezTo>
                  <a:pt x="1017" y="292"/>
                  <a:pt x="1017" y="292"/>
                  <a:pt x="1017" y="292"/>
                </a:cubicBezTo>
                <a:cubicBezTo>
                  <a:pt x="1016" y="292"/>
                  <a:pt x="1016" y="292"/>
                  <a:pt x="1016" y="292"/>
                </a:cubicBezTo>
                <a:cubicBezTo>
                  <a:pt x="1016" y="293"/>
                  <a:pt x="1016" y="293"/>
                  <a:pt x="1016" y="293"/>
                </a:cubicBezTo>
                <a:cubicBezTo>
                  <a:pt x="1015" y="294"/>
                  <a:pt x="1015" y="294"/>
                  <a:pt x="1015" y="294"/>
                </a:cubicBezTo>
                <a:cubicBezTo>
                  <a:pt x="1016" y="294"/>
                  <a:pt x="1016" y="294"/>
                  <a:pt x="1016" y="294"/>
                </a:cubicBezTo>
                <a:cubicBezTo>
                  <a:pt x="1016" y="295"/>
                  <a:pt x="1016" y="295"/>
                  <a:pt x="1016" y="295"/>
                </a:cubicBezTo>
                <a:cubicBezTo>
                  <a:pt x="1016" y="296"/>
                  <a:pt x="1016" y="296"/>
                  <a:pt x="1016" y="296"/>
                </a:cubicBezTo>
                <a:cubicBezTo>
                  <a:pt x="1015" y="296"/>
                  <a:pt x="1015" y="296"/>
                  <a:pt x="1015" y="296"/>
                </a:cubicBezTo>
                <a:cubicBezTo>
                  <a:pt x="1015" y="297"/>
                  <a:pt x="1015" y="297"/>
                  <a:pt x="1015" y="297"/>
                </a:cubicBezTo>
                <a:cubicBezTo>
                  <a:pt x="1014" y="297"/>
                  <a:pt x="1014" y="297"/>
                  <a:pt x="1014" y="297"/>
                </a:cubicBezTo>
                <a:cubicBezTo>
                  <a:pt x="1014" y="296"/>
                  <a:pt x="1014" y="296"/>
                  <a:pt x="1014" y="296"/>
                </a:cubicBezTo>
                <a:cubicBezTo>
                  <a:pt x="1014" y="295"/>
                  <a:pt x="1014" y="295"/>
                  <a:pt x="1014" y="295"/>
                </a:cubicBezTo>
                <a:cubicBezTo>
                  <a:pt x="1013" y="295"/>
                  <a:pt x="1013" y="295"/>
                  <a:pt x="1013" y="295"/>
                </a:cubicBezTo>
                <a:cubicBezTo>
                  <a:pt x="1013" y="294"/>
                  <a:pt x="1013" y="294"/>
                  <a:pt x="1013" y="294"/>
                </a:cubicBezTo>
                <a:cubicBezTo>
                  <a:pt x="1012" y="294"/>
                  <a:pt x="1012" y="294"/>
                  <a:pt x="1012" y="294"/>
                </a:cubicBezTo>
                <a:cubicBezTo>
                  <a:pt x="1012" y="295"/>
                  <a:pt x="1012" y="295"/>
                  <a:pt x="1012" y="295"/>
                </a:cubicBezTo>
                <a:cubicBezTo>
                  <a:pt x="1011" y="295"/>
                  <a:pt x="1011" y="295"/>
                  <a:pt x="1011" y="295"/>
                </a:cubicBezTo>
                <a:cubicBezTo>
                  <a:pt x="1011" y="294"/>
                  <a:pt x="1011" y="294"/>
                  <a:pt x="1011" y="294"/>
                </a:cubicBezTo>
                <a:cubicBezTo>
                  <a:pt x="1011" y="293"/>
                  <a:pt x="1011" y="293"/>
                  <a:pt x="1011" y="293"/>
                </a:cubicBezTo>
                <a:cubicBezTo>
                  <a:pt x="1011" y="292"/>
                  <a:pt x="1011" y="292"/>
                  <a:pt x="1011" y="292"/>
                </a:cubicBezTo>
                <a:cubicBezTo>
                  <a:pt x="1010" y="293"/>
                  <a:pt x="1010" y="293"/>
                  <a:pt x="1010" y="293"/>
                </a:cubicBezTo>
                <a:cubicBezTo>
                  <a:pt x="1009" y="294"/>
                  <a:pt x="1009" y="294"/>
                  <a:pt x="1009" y="294"/>
                </a:cubicBezTo>
                <a:cubicBezTo>
                  <a:pt x="1009" y="293"/>
                  <a:pt x="1009" y="293"/>
                  <a:pt x="1009" y="293"/>
                </a:cubicBezTo>
                <a:cubicBezTo>
                  <a:pt x="1009" y="292"/>
                  <a:pt x="1009" y="292"/>
                  <a:pt x="1009" y="292"/>
                </a:cubicBezTo>
                <a:cubicBezTo>
                  <a:pt x="1009" y="291"/>
                  <a:pt x="1009" y="291"/>
                  <a:pt x="1009" y="291"/>
                </a:cubicBezTo>
                <a:cubicBezTo>
                  <a:pt x="1010" y="290"/>
                  <a:pt x="1010" y="290"/>
                  <a:pt x="1010" y="290"/>
                </a:cubicBezTo>
                <a:cubicBezTo>
                  <a:pt x="1011" y="290"/>
                  <a:pt x="1011" y="290"/>
                  <a:pt x="1011" y="290"/>
                </a:cubicBezTo>
                <a:cubicBezTo>
                  <a:pt x="1010" y="289"/>
                  <a:pt x="1010" y="289"/>
                  <a:pt x="1010" y="289"/>
                </a:cubicBezTo>
                <a:cubicBezTo>
                  <a:pt x="1009" y="289"/>
                  <a:pt x="1009" y="289"/>
                  <a:pt x="1009" y="289"/>
                </a:cubicBezTo>
                <a:cubicBezTo>
                  <a:pt x="1008" y="289"/>
                  <a:pt x="1008" y="289"/>
                  <a:pt x="1008" y="289"/>
                </a:cubicBezTo>
                <a:cubicBezTo>
                  <a:pt x="1008" y="288"/>
                  <a:pt x="1008" y="288"/>
                  <a:pt x="1008" y="288"/>
                </a:cubicBezTo>
                <a:cubicBezTo>
                  <a:pt x="1009" y="288"/>
                  <a:pt x="1009" y="288"/>
                  <a:pt x="1009" y="288"/>
                </a:cubicBezTo>
                <a:cubicBezTo>
                  <a:pt x="1010" y="287"/>
                  <a:pt x="1010" y="287"/>
                  <a:pt x="1010" y="287"/>
                </a:cubicBezTo>
                <a:cubicBezTo>
                  <a:pt x="1009" y="287"/>
                  <a:pt x="1009" y="287"/>
                  <a:pt x="1009" y="287"/>
                </a:cubicBezTo>
                <a:cubicBezTo>
                  <a:pt x="1008" y="287"/>
                  <a:pt x="1008" y="287"/>
                  <a:pt x="1008" y="287"/>
                </a:cubicBezTo>
                <a:cubicBezTo>
                  <a:pt x="1009" y="286"/>
                  <a:pt x="1009" y="286"/>
                  <a:pt x="1009" y="286"/>
                </a:cubicBezTo>
                <a:cubicBezTo>
                  <a:pt x="1010" y="286"/>
                  <a:pt x="1010" y="286"/>
                  <a:pt x="1010" y="286"/>
                </a:cubicBezTo>
                <a:cubicBezTo>
                  <a:pt x="1009" y="285"/>
                  <a:pt x="1009" y="285"/>
                  <a:pt x="1009" y="285"/>
                </a:cubicBezTo>
                <a:cubicBezTo>
                  <a:pt x="1008" y="286"/>
                  <a:pt x="1008" y="286"/>
                  <a:pt x="1008" y="286"/>
                </a:cubicBezTo>
                <a:cubicBezTo>
                  <a:pt x="1008" y="285"/>
                  <a:pt x="1008" y="285"/>
                  <a:pt x="1008" y="285"/>
                </a:cubicBezTo>
                <a:cubicBezTo>
                  <a:pt x="1009" y="284"/>
                  <a:pt x="1009" y="284"/>
                  <a:pt x="1009" y="284"/>
                </a:cubicBezTo>
                <a:cubicBezTo>
                  <a:pt x="1009" y="283"/>
                  <a:pt x="1009" y="283"/>
                  <a:pt x="1009" y="283"/>
                </a:cubicBezTo>
                <a:cubicBezTo>
                  <a:pt x="1010" y="283"/>
                  <a:pt x="1010" y="283"/>
                  <a:pt x="1010" y="283"/>
                </a:cubicBezTo>
                <a:cubicBezTo>
                  <a:pt x="1011" y="282"/>
                  <a:pt x="1011" y="282"/>
                  <a:pt x="1011" y="282"/>
                </a:cubicBezTo>
                <a:cubicBezTo>
                  <a:pt x="1012" y="282"/>
                  <a:pt x="1012" y="282"/>
                  <a:pt x="1012" y="282"/>
                </a:cubicBezTo>
                <a:cubicBezTo>
                  <a:pt x="1013" y="281"/>
                  <a:pt x="1013" y="281"/>
                  <a:pt x="1013" y="281"/>
                </a:cubicBezTo>
                <a:cubicBezTo>
                  <a:pt x="1014" y="280"/>
                  <a:pt x="1014" y="280"/>
                  <a:pt x="1014" y="280"/>
                </a:cubicBezTo>
                <a:cubicBezTo>
                  <a:pt x="1014" y="279"/>
                  <a:pt x="1014" y="279"/>
                  <a:pt x="1014" y="279"/>
                </a:cubicBezTo>
                <a:cubicBezTo>
                  <a:pt x="1013" y="279"/>
                  <a:pt x="1013" y="279"/>
                  <a:pt x="1013" y="279"/>
                </a:cubicBezTo>
                <a:cubicBezTo>
                  <a:pt x="1012" y="280"/>
                  <a:pt x="1012" y="280"/>
                  <a:pt x="1012" y="280"/>
                </a:cubicBezTo>
                <a:cubicBezTo>
                  <a:pt x="1011" y="281"/>
                  <a:pt x="1011" y="281"/>
                  <a:pt x="1011" y="281"/>
                </a:cubicBezTo>
                <a:cubicBezTo>
                  <a:pt x="1010" y="282"/>
                  <a:pt x="1010" y="282"/>
                  <a:pt x="1010" y="282"/>
                </a:cubicBezTo>
                <a:cubicBezTo>
                  <a:pt x="1009" y="282"/>
                  <a:pt x="1009" y="282"/>
                  <a:pt x="1009" y="282"/>
                </a:cubicBezTo>
                <a:cubicBezTo>
                  <a:pt x="1007" y="283"/>
                  <a:pt x="1007" y="283"/>
                  <a:pt x="1007" y="283"/>
                </a:cubicBezTo>
                <a:cubicBezTo>
                  <a:pt x="1006" y="283"/>
                  <a:pt x="1006" y="283"/>
                  <a:pt x="1006" y="283"/>
                </a:cubicBezTo>
                <a:cubicBezTo>
                  <a:pt x="1005" y="283"/>
                  <a:pt x="1005" y="283"/>
                  <a:pt x="1005" y="283"/>
                </a:cubicBezTo>
                <a:cubicBezTo>
                  <a:pt x="1007" y="281"/>
                  <a:pt x="1007" y="281"/>
                  <a:pt x="1007" y="281"/>
                </a:cubicBezTo>
                <a:cubicBezTo>
                  <a:pt x="1008" y="280"/>
                  <a:pt x="1008" y="280"/>
                  <a:pt x="1008" y="280"/>
                </a:cubicBezTo>
                <a:cubicBezTo>
                  <a:pt x="1009" y="280"/>
                  <a:pt x="1009" y="280"/>
                  <a:pt x="1009" y="280"/>
                </a:cubicBezTo>
                <a:cubicBezTo>
                  <a:pt x="1009" y="279"/>
                  <a:pt x="1009" y="279"/>
                  <a:pt x="1009" y="279"/>
                </a:cubicBezTo>
                <a:cubicBezTo>
                  <a:pt x="1009" y="278"/>
                  <a:pt x="1009" y="278"/>
                  <a:pt x="1009" y="278"/>
                </a:cubicBezTo>
                <a:cubicBezTo>
                  <a:pt x="1008" y="279"/>
                  <a:pt x="1008" y="279"/>
                  <a:pt x="1008" y="279"/>
                </a:cubicBezTo>
                <a:cubicBezTo>
                  <a:pt x="1006" y="281"/>
                  <a:pt x="1006" y="281"/>
                  <a:pt x="1006" y="281"/>
                </a:cubicBezTo>
                <a:cubicBezTo>
                  <a:pt x="1005" y="281"/>
                  <a:pt x="1005" y="281"/>
                  <a:pt x="1005" y="281"/>
                </a:cubicBezTo>
                <a:cubicBezTo>
                  <a:pt x="1004" y="281"/>
                  <a:pt x="1004" y="281"/>
                  <a:pt x="1004" y="281"/>
                </a:cubicBezTo>
                <a:cubicBezTo>
                  <a:pt x="1004" y="280"/>
                  <a:pt x="1004" y="280"/>
                  <a:pt x="1004" y="280"/>
                </a:cubicBezTo>
                <a:cubicBezTo>
                  <a:pt x="1004" y="279"/>
                  <a:pt x="1004" y="279"/>
                  <a:pt x="1004" y="279"/>
                </a:cubicBezTo>
                <a:cubicBezTo>
                  <a:pt x="1004" y="278"/>
                  <a:pt x="1004" y="278"/>
                  <a:pt x="1004" y="278"/>
                </a:cubicBezTo>
                <a:cubicBezTo>
                  <a:pt x="1003" y="278"/>
                  <a:pt x="1003" y="278"/>
                  <a:pt x="1003" y="278"/>
                </a:cubicBezTo>
                <a:cubicBezTo>
                  <a:pt x="1002" y="277"/>
                  <a:pt x="1002" y="277"/>
                  <a:pt x="1002" y="277"/>
                </a:cubicBezTo>
                <a:cubicBezTo>
                  <a:pt x="1003" y="276"/>
                  <a:pt x="1003" y="276"/>
                  <a:pt x="1003" y="276"/>
                </a:cubicBezTo>
                <a:cubicBezTo>
                  <a:pt x="1003" y="275"/>
                  <a:pt x="1003" y="275"/>
                  <a:pt x="1003" y="275"/>
                </a:cubicBezTo>
                <a:cubicBezTo>
                  <a:pt x="1002" y="275"/>
                  <a:pt x="1002" y="275"/>
                  <a:pt x="1002" y="275"/>
                </a:cubicBezTo>
                <a:cubicBezTo>
                  <a:pt x="1002" y="276"/>
                  <a:pt x="1002" y="276"/>
                  <a:pt x="1002" y="276"/>
                </a:cubicBezTo>
                <a:cubicBezTo>
                  <a:pt x="1001" y="276"/>
                  <a:pt x="1001" y="276"/>
                  <a:pt x="1001" y="276"/>
                </a:cubicBezTo>
                <a:cubicBezTo>
                  <a:pt x="1000" y="276"/>
                  <a:pt x="1000" y="276"/>
                  <a:pt x="1000" y="276"/>
                </a:cubicBezTo>
                <a:cubicBezTo>
                  <a:pt x="1000" y="275"/>
                  <a:pt x="1000" y="275"/>
                  <a:pt x="1000" y="275"/>
                </a:cubicBezTo>
                <a:cubicBezTo>
                  <a:pt x="999" y="275"/>
                  <a:pt x="999" y="275"/>
                  <a:pt x="999" y="275"/>
                </a:cubicBezTo>
                <a:cubicBezTo>
                  <a:pt x="1000" y="276"/>
                  <a:pt x="1000" y="276"/>
                  <a:pt x="1000" y="276"/>
                </a:cubicBezTo>
                <a:cubicBezTo>
                  <a:pt x="1001" y="277"/>
                  <a:pt x="1001" y="277"/>
                  <a:pt x="1001" y="277"/>
                </a:cubicBezTo>
                <a:cubicBezTo>
                  <a:pt x="1001" y="278"/>
                  <a:pt x="1001" y="278"/>
                  <a:pt x="1001" y="278"/>
                </a:cubicBezTo>
                <a:cubicBezTo>
                  <a:pt x="1000" y="278"/>
                  <a:pt x="1000" y="278"/>
                  <a:pt x="1000" y="278"/>
                </a:cubicBezTo>
                <a:cubicBezTo>
                  <a:pt x="999" y="279"/>
                  <a:pt x="999" y="279"/>
                  <a:pt x="999" y="279"/>
                </a:cubicBezTo>
                <a:cubicBezTo>
                  <a:pt x="998" y="278"/>
                  <a:pt x="998" y="278"/>
                  <a:pt x="998" y="278"/>
                </a:cubicBezTo>
                <a:cubicBezTo>
                  <a:pt x="998" y="279"/>
                  <a:pt x="998" y="279"/>
                  <a:pt x="998" y="279"/>
                </a:cubicBezTo>
                <a:cubicBezTo>
                  <a:pt x="999" y="280"/>
                  <a:pt x="999" y="280"/>
                  <a:pt x="999" y="280"/>
                </a:cubicBezTo>
                <a:cubicBezTo>
                  <a:pt x="1000" y="281"/>
                  <a:pt x="1000" y="281"/>
                  <a:pt x="1000" y="281"/>
                </a:cubicBezTo>
                <a:cubicBezTo>
                  <a:pt x="999" y="282"/>
                  <a:pt x="999" y="282"/>
                  <a:pt x="999" y="282"/>
                </a:cubicBezTo>
                <a:cubicBezTo>
                  <a:pt x="1000" y="282"/>
                  <a:pt x="1000" y="282"/>
                  <a:pt x="1000" y="282"/>
                </a:cubicBezTo>
                <a:cubicBezTo>
                  <a:pt x="1000" y="283"/>
                  <a:pt x="1000" y="283"/>
                  <a:pt x="1000" y="283"/>
                </a:cubicBezTo>
                <a:cubicBezTo>
                  <a:pt x="999" y="283"/>
                  <a:pt x="999" y="283"/>
                  <a:pt x="999" y="283"/>
                </a:cubicBezTo>
                <a:cubicBezTo>
                  <a:pt x="998" y="283"/>
                  <a:pt x="998" y="283"/>
                  <a:pt x="998" y="283"/>
                </a:cubicBezTo>
                <a:cubicBezTo>
                  <a:pt x="997" y="282"/>
                  <a:pt x="997" y="282"/>
                  <a:pt x="997" y="282"/>
                </a:cubicBezTo>
                <a:cubicBezTo>
                  <a:pt x="997" y="283"/>
                  <a:pt x="997" y="283"/>
                  <a:pt x="997" y="283"/>
                </a:cubicBezTo>
                <a:cubicBezTo>
                  <a:pt x="995" y="282"/>
                  <a:pt x="995" y="282"/>
                  <a:pt x="995" y="282"/>
                </a:cubicBezTo>
                <a:cubicBezTo>
                  <a:pt x="995" y="281"/>
                  <a:pt x="995" y="281"/>
                  <a:pt x="995" y="281"/>
                </a:cubicBezTo>
                <a:cubicBezTo>
                  <a:pt x="996" y="280"/>
                  <a:pt x="996" y="280"/>
                  <a:pt x="996" y="280"/>
                </a:cubicBezTo>
                <a:cubicBezTo>
                  <a:pt x="995" y="279"/>
                  <a:pt x="995" y="279"/>
                  <a:pt x="995" y="279"/>
                </a:cubicBezTo>
                <a:cubicBezTo>
                  <a:pt x="994" y="279"/>
                  <a:pt x="994" y="279"/>
                  <a:pt x="994" y="279"/>
                </a:cubicBezTo>
                <a:cubicBezTo>
                  <a:pt x="993" y="279"/>
                  <a:pt x="993" y="279"/>
                  <a:pt x="993" y="279"/>
                </a:cubicBezTo>
                <a:cubicBezTo>
                  <a:pt x="993" y="278"/>
                  <a:pt x="993" y="278"/>
                  <a:pt x="993" y="278"/>
                </a:cubicBezTo>
                <a:cubicBezTo>
                  <a:pt x="993" y="277"/>
                  <a:pt x="993" y="277"/>
                  <a:pt x="993" y="277"/>
                </a:cubicBezTo>
                <a:cubicBezTo>
                  <a:pt x="992" y="278"/>
                  <a:pt x="992" y="278"/>
                  <a:pt x="992" y="278"/>
                </a:cubicBezTo>
                <a:cubicBezTo>
                  <a:pt x="991" y="278"/>
                  <a:pt x="991" y="278"/>
                  <a:pt x="991" y="278"/>
                </a:cubicBezTo>
                <a:cubicBezTo>
                  <a:pt x="990" y="278"/>
                  <a:pt x="990" y="278"/>
                  <a:pt x="990" y="278"/>
                </a:cubicBezTo>
                <a:cubicBezTo>
                  <a:pt x="990" y="279"/>
                  <a:pt x="990" y="279"/>
                  <a:pt x="990" y="279"/>
                </a:cubicBezTo>
                <a:cubicBezTo>
                  <a:pt x="992" y="279"/>
                  <a:pt x="992" y="279"/>
                  <a:pt x="992" y="279"/>
                </a:cubicBezTo>
                <a:cubicBezTo>
                  <a:pt x="993" y="279"/>
                  <a:pt x="993" y="279"/>
                  <a:pt x="993" y="279"/>
                </a:cubicBezTo>
                <a:cubicBezTo>
                  <a:pt x="994" y="280"/>
                  <a:pt x="994" y="280"/>
                  <a:pt x="994" y="280"/>
                </a:cubicBezTo>
                <a:cubicBezTo>
                  <a:pt x="994" y="281"/>
                  <a:pt x="994" y="281"/>
                  <a:pt x="994" y="281"/>
                </a:cubicBezTo>
                <a:cubicBezTo>
                  <a:pt x="993" y="282"/>
                  <a:pt x="993" y="282"/>
                  <a:pt x="993" y="282"/>
                </a:cubicBezTo>
                <a:cubicBezTo>
                  <a:pt x="994" y="282"/>
                  <a:pt x="994" y="282"/>
                  <a:pt x="994" y="282"/>
                </a:cubicBezTo>
                <a:cubicBezTo>
                  <a:pt x="994" y="283"/>
                  <a:pt x="994" y="283"/>
                  <a:pt x="994" y="283"/>
                </a:cubicBezTo>
                <a:cubicBezTo>
                  <a:pt x="994" y="284"/>
                  <a:pt x="994" y="284"/>
                  <a:pt x="994" y="284"/>
                </a:cubicBezTo>
                <a:cubicBezTo>
                  <a:pt x="996" y="284"/>
                  <a:pt x="996" y="284"/>
                  <a:pt x="996" y="284"/>
                </a:cubicBezTo>
                <a:cubicBezTo>
                  <a:pt x="995" y="285"/>
                  <a:pt x="995" y="285"/>
                  <a:pt x="995" y="285"/>
                </a:cubicBezTo>
                <a:cubicBezTo>
                  <a:pt x="993" y="287"/>
                  <a:pt x="993" y="287"/>
                  <a:pt x="993" y="287"/>
                </a:cubicBezTo>
                <a:cubicBezTo>
                  <a:pt x="992" y="288"/>
                  <a:pt x="992" y="288"/>
                  <a:pt x="992" y="288"/>
                </a:cubicBezTo>
                <a:cubicBezTo>
                  <a:pt x="994" y="287"/>
                  <a:pt x="994" y="287"/>
                  <a:pt x="994" y="287"/>
                </a:cubicBezTo>
                <a:cubicBezTo>
                  <a:pt x="995" y="286"/>
                  <a:pt x="995" y="286"/>
                  <a:pt x="995" y="286"/>
                </a:cubicBezTo>
                <a:cubicBezTo>
                  <a:pt x="997" y="286"/>
                  <a:pt x="997" y="286"/>
                  <a:pt x="997" y="286"/>
                </a:cubicBezTo>
                <a:cubicBezTo>
                  <a:pt x="998" y="286"/>
                  <a:pt x="998" y="286"/>
                  <a:pt x="998" y="286"/>
                </a:cubicBezTo>
                <a:cubicBezTo>
                  <a:pt x="998" y="287"/>
                  <a:pt x="998" y="287"/>
                  <a:pt x="998" y="287"/>
                </a:cubicBezTo>
                <a:cubicBezTo>
                  <a:pt x="997" y="287"/>
                  <a:pt x="997" y="287"/>
                  <a:pt x="997" y="287"/>
                </a:cubicBezTo>
                <a:cubicBezTo>
                  <a:pt x="996" y="288"/>
                  <a:pt x="996" y="288"/>
                  <a:pt x="996" y="288"/>
                </a:cubicBezTo>
                <a:cubicBezTo>
                  <a:pt x="997" y="289"/>
                  <a:pt x="997" y="289"/>
                  <a:pt x="997" y="289"/>
                </a:cubicBezTo>
                <a:cubicBezTo>
                  <a:pt x="998" y="289"/>
                  <a:pt x="998" y="289"/>
                  <a:pt x="998" y="289"/>
                </a:cubicBezTo>
                <a:cubicBezTo>
                  <a:pt x="998" y="290"/>
                  <a:pt x="998" y="290"/>
                  <a:pt x="998" y="290"/>
                </a:cubicBezTo>
                <a:cubicBezTo>
                  <a:pt x="996" y="290"/>
                  <a:pt x="996" y="290"/>
                  <a:pt x="996" y="290"/>
                </a:cubicBezTo>
                <a:cubicBezTo>
                  <a:pt x="997" y="291"/>
                  <a:pt x="997" y="291"/>
                  <a:pt x="997" y="291"/>
                </a:cubicBezTo>
                <a:cubicBezTo>
                  <a:pt x="997" y="292"/>
                  <a:pt x="997" y="292"/>
                  <a:pt x="997" y="292"/>
                </a:cubicBezTo>
                <a:cubicBezTo>
                  <a:pt x="997" y="293"/>
                  <a:pt x="997" y="293"/>
                  <a:pt x="997" y="293"/>
                </a:cubicBezTo>
                <a:cubicBezTo>
                  <a:pt x="998" y="293"/>
                  <a:pt x="998" y="293"/>
                  <a:pt x="998" y="293"/>
                </a:cubicBezTo>
                <a:cubicBezTo>
                  <a:pt x="998" y="294"/>
                  <a:pt x="998" y="294"/>
                  <a:pt x="998" y="294"/>
                </a:cubicBezTo>
                <a:cubicBezTo>
                  <a:pt x="998" y="295"/>
                  <a:pt x="998" y="295"/>
                  <a:pt x="998" y="295"/>
                </a:cubicBezTo>
                <a:cubicBezTo>
                  <a:pt x="999" y="295"/>
                  <a:pt x="999" y="295"/>
                  <a:pt x="999" y="295"/>
                </a:cubicBezTo>
                <a:cubicBezTo>
                  <a:pt x="999" y="294"/>
                  <a:pt x="999" y="294"/>
                  <a:pt x="999" y="294"/>
                </a:cubicBezTo>
                <a:cubicBezTo>
                  <a:pt x="999" y="293"/>
                  <a:pt x="999" y="293"/>
                  <a:pt x="999" y="293"/>
                </a:cubicBezTo>
                <a:cubicBezTo>
                  <a:pt x="1000" y="294"/>
                  <a:pt x="1000" y="294"/>
                  <a:pt x="1000" y="294"/>
                </a:cubicBezTo>
                <a:cubicBezTo>
                  <a:pt x="1000" y="295"/>
                  <a:pt x="1000" y="295"/>
                  <a:pt x="1000" y="295"/>
                </a:cubicBezTo>
                <a:cubicBezTo>
                  <a:pt x="1001" y="296"/>
                  <a:pt x="1001" y="296"/>
                  <a:pt x="1001" y="296"/>
                </a:cubicBezTo>
                <a:cubicBezTo>
                  <a:pt x="1000" y="296"/>
                  <a:pt x="1000" y="296"/>
                  <a:pt x="1000" y="296"/>
                </a:cubicBezTo>
                <a:cubicBezTo>
                  <a:pt x="1000" y="297"/>
                  <a:pt x="1000" y="297"/>
                  <a:pt x="1000" y="297"/>
                </a:cubicBezTo>
                <a:cubicBezTo>
                  <a:pt x="1001" y="297"/>
                  <a:pt x="1001" y="297"/>
                  <a:pt x="1001" y="297"/>
                </a:cubicBezTo>
                <a:cubicBezTo>
                  <a:pt x="1002" y="297"/>
                  <a:pt x="1002" y="297"/>
                  <a:pt x="1002" y="297"/>
                </a:cubicBezTo>
                <a:cubicBezTo>
                  <a:pt x="1002" y="296"/>
                  <a:pt x="1002" y="296"/>
                  <a:pt x="1002" y="296"/>
                </a:cubicBezTo>
                <a:cubicBezTo>
                  <a:pt x="1003" y="296"/>
                  <a:pt x="1003" y="296"/>
                  <a:pt x="1003" y="296"/>
                </a:cubicBezTo>
                <a:cubicBezTo>
                  <a:pt x="1003" y="297"/>
                  <a:pt x="1003" y="297"/>
                  <a:pt x="1003" y="297"/>
                </a:cubicBezTo>
                <a:cubicBezTo>
                  <a:pt x="1003" y="298"/>
                  <a:pt x="1003" y="298"/>
                  <a:pt x="1003" y="298"/>
                </a:cubicBezTo>
                <a:cubicBezTo>
                  <a:pt x="1002" y="299"/>
                  <a:pt x="1002" y="299"/>
                  <a:pt x="1002" y="299"/>
                </a:cubicBezTo>
                <a:cubicBezTo>
                  <a:pt x="1002" y="300"/>
                  <a:pt x="1002" y="300"/>
                  <a:pt x="1002" y="300"/>
                </a:cubicBezTo>
                <a:cubicBezTo>
                  <a:pt x="1003" y="301"/>
                  <a:pt x="1003" y="301"/>
                  <a:pt x="1003" y="301"/>
                </a:cubicBezTo>
                <a:cubicBezTo>
                  <a:pt x="1004" y="300"/>
                  <a:pt x="1004" y="300"/>
                  <a:pt x="1004" y="300"/>
                </a:cubicBezTo>
                <a:cubicBezTo>
                  <a:pt x="1005" y="300"/>
                  <a:pt x="1005" y="300"/>
                  <a:pt x="1005" y="300"/>
                </a:cubicBezTo>
                <a:cubicBezTo>
                  <a:pt x="1004" y="301"/>
                  <a:pt x="1004" y="301"/>
                  <a:pt x="1004" y="301"/>
                </a:cubicBezTo>
                <a:cubicBezTo>
                  <a:pt x="1004" y="302"/>
                  <a:pt x="1004" y="302"/>
                  <a:pt x="1004" y="302"/>
                </a:cubicBezTo>
                <a:cubicBezTo>
                  <a:pt x="1003" y="302"/>
                  <a:pt x="1003" y="302"/>
                  <a:pt x="1003" y="302"/>
                </a:cubicBezTo>
                <a:cubicBezTo>
                  <a:pt x="1003" y="303"/>
                  <a:pt x="1003" y="303"/>
                  <a:pt x="1003" y="303"/>
                </a:cubicBezTo>
                <a:cubicBezTo>
                  <a:pt x="1004" y="304"/>
                  <a:pt x="1004" y="304"/>
                  <a:pt x="1004" y="304"/>
                </a:cubicBezTo>
                <a:cubicBezTo>
                  <a:pt x="1004" y="305"/>
                  <a:pt x="1004" y="305"/>
                  <a:pt x="1004" y="305"/>
                </a:cubicBezTo>
                <a:cubicBezTo>
                  <a:pt x="1005" y="305"/>
                  <a:pt x="1005" y="305"/>
                  <a:pt x="1005" y="305"/>
                </a:cubicBezTo>
                <a:cubicBezTo>
                  <a:pt x="1005" y="307"/>
                  <a:pt x="1005" y="307"/>
                  <a:pt x="1005" y="307"/>
                </a:cubicBezTo>
                <a:cubicBezTo>
                  <a:pt x="1006" y="309"/>
                  <a:pt x="1006" y="309"/>
                  <a:pt x="1006" y="309"/>
                </a:cubicBezTo>
                <a:cubicBezTo>
                  <a:pt x="1007" y="309"/>
                  <a:pt x="1007" y="309"/>
                  <a:pt x="1007" y="309"/>
                </a:cubicBezTo>
                <a:cubicBezTo>
                  <a:pt x="1006" y="310"/>
                  <a:pt x="1006" y="310"/>
                  <a:pt x="1006" y="310"/>
                </a:cubicBezTo>
                <a:cubicBezTo>
                  <a:pt x="1006" y="310"/>
                  <a:pt x="1006" y="310"/>
                  <a:pt x="1007" y="310"/>
                </a:cubicBezTo>
                <a:cubicBezTo>
                  <a:pt x="1007" y="310"/>
                  <a:pt x="1007" y="310"/>
                  <a:pt x="1007" y="312"/>
                </a:cubicBezTo>
                <a:cubicBezTo>
                  <a:pt x="1007" y="312"/>
                  <a:pt x="1007" y="312"/>
                  <a:pt x="1006" y="313"/>
                </a:cubicBezTo>
                <a:cubicBezTo>
                  <a:pt x="1006" y="313"/>
                  <a:pt x="1006" y="313"/>
                  <a:pt x="1006" y="312"/>
                </a:cubicBezTo>
                <a:cubicBezTo>
                  <a:pt x="1006" y="312"/>
                  <a:pt x="1006" y="312"/>
                  <a:pt x="1006" y="311"/>
                </a:cubicBezTo>
                <a:cubicBezTo>
                  <a:pt x="1005" y="313"/>
                  <a:pt x="1005" y="313"/>
                  <a:pt x="1005" y="313"/>
                </a:cubicBezTo>
                <a:cubicBezTo>
                  <a:pt x="1005" y="314"/>
                  <a:pt x="1005" y="314"/>
                  <a:pt x="1005" y="314"/>
                </a:cubicBezTo>
                <a:cubicBezTo>
                  <a:pt x="1003" y="312"/>
                  <a:pt x="1003" y="312"/>
                  <a:pt x="1003" y="312"/>
                </a:cubicBezTo>
                <a:cubicBezTo>
                  <a:pt x="1003" y="311"/>
                  <a:pt x="1003" y="311"/>
                  <a:pt x="1003" y="311"/>
                </a:cubicBezTo>
                <a:cubicBezTo>
                  <a:pt x="1003" y="310"/>
                  <a:pt x="1003" y="310"/>
                  <a:pt x="1003" y="310"/>
                </a:cubicBezTo>
                <a:cubicBezTo>
                  <a:pt x="1002" y="311"/>
                  <a:pt x="1002" y="311"/>
                  <a:pt x="1002" y="311"/>
                </a:cubicBezTo>
                <a:cubicBezTo>
                  <a:pt x="1003" y="313"/>
                  <a:pt x="1003" y="313"/>
                  <a:pt x="1003" y="313"/>
                </a:cubicBezTo>
                <a:cubicBezTo>
                  <a:pt x="1003" y="315"/>
                  <a:pt x="1003" y="315"/>
                  <a:pt x="1003" y="315"/>
                </a:cubicBezTo>
                <a:cubicBezTo>
                  <a:pt x="1003" y="316"/>
                  <a:pt x="1003" y="316"/>
                  <a:pt x="1003" y="316"/>
                </a:cubicBezTo>
                <a:cubicBezTo>
                  <a:pt x="1003" y="318"/>
                  <a:pt x="1003" y="318"/>
                  <a:pt x="1003" y="318"/>
                </a:cubicBezTo>
                <a:cubicBezTo>
                  <a:pt x="1002" y="318"/>
                  <a:pt x="1002" y="318"/>
                  <a:pt x="1002" y="318"/>
                </a:cubicBezTo>
                <a:cubicBezTo>
                  <a:pt x="1001" y="317"/>
                  <a:pt x="1001" y="317"/>
                  <a:pt x="1001" y="317"/>
                </a:cubicBezTo>
                <a:cubicBezTo>
                  <a:pt x="1000" y="317"/>
                  <a:pt x="1000" y="317"/>
                  <a:pt x="1000" y="317"/>
                </a:cubicBezTo>
                <a:cubicBezTo>
                  <a:pt x="1001" y="319"/>
                  <a:pt x="1001" y="319"/>
                  <a:pt x="1001" y="319"/>
                </a:cubicBezTo>
                <a:cubicBezTo>
                  <a:pt x="1001" y="321"/>
                  <a:pt x="1001" y="321"/>
                  <a:pt x="1001" y="321"/>
                </a:cubicBezTo>
                <a:cubicBezTo>
                  <a:pt x="1001" y="322"/>
                  <a:pt x="1001" y="322"/>
                  <a:pt x="1001" y="322"/>
                </a:cubicBezTo>
                <a:cubicBezTo>
                  <a:pt x="1000" y="322"/>
                  <a:pt x="1000" y="322"/>
                  <a:pt x="1000" y="322"/>
                </a:cubicBezTo>
                <a:cubicBezTo>
                  <a:pt x="999" y="321"/>
                  <a:pt x="999" y="321"/>
                  <a:pt x="999" y="321"/>
                </a:cubicBezTo>
                <a:cubicBezTo>
                  <a:pt x="999" y="319"/>
                  <a:pt x="999" y="319"/>
                  <a:pt x="999" y="319"/>
                </a:cubicBezTo>
                <a:cubicBezTo>
                  <a:pt x="999" y="318"/>
                  <a:pt x="999" y="318"/>
                  <a:pt x="999" y="318"/>
                </a:cubicBezTo>
                <a:cubicBezTo>
                  <a:pt x="998" y="318"/>
                  <a:pt x="998" y="318"/>
                  <a:pt x="998" y="318"/>
                </a:cubicBezTo>
                <a:cubicBezTo>
                  <a:pt x="997" y="317"/>
                  <a:pt x="997" y="317"/>
                  <a:pt x="997" y="317"/>
                </a:cubicBezTo>
                <a:cubicBezTo>
                  <a:pt x="996" y="316"/>
                  <a:pt x="996" y="316"/>
                  <a:pt x="996" y="316"/>
                </a:cubicBezTo>
                <a:cubicBezTo>
                  <a:pt x="996" y="315"/>
                  <a:pt x="996" y="315"/>
                  <a:pt x="996" y="315"/>
                </a:cubicBezTo>
                <a:cubicBezTo>
                  <a:pt x="996" y="314"/>
                  <a:pt x="996" y="314"/>
                  <a:pt x="996" y="314"/>
                </a:cubicBezTo>
                <a:cubicBezTo>
                  <a:pt x="995" y="314"/>
                  <a:pt x="995" y="314"/>
                  <a:pt x="995" y="314"/>
                </a:cubicBezTo>
                <a:cubicBezTo>
                  <a:pt x="995" y="315"/>
                  <a:pt x="995" y="315"/>
                  <a:pt x="995" y="315"/>
                </a:cubicBezTo>
                <a:cubicBezTo>
                  <a:pt x="996" y="315"/>
                  <a:pt x="996" y="315"/>
                  <a:pt x="996" y="315"/>
                </a:cubicBezTo>
                <a:cubicBezTo>
                  <a:pt x="995" y="316"/>
                  <a:pt x="995" y="316"/>
                  <a:pt x="995" y="316"/>
                </a:cubicBezTo>
                <a:cubicBezTo>
                  <a:pt x="994" y="315"/>
                  <a:pt x="994" y="315"/>
                  <a:pt x="994" y="315"/>
                </a:cubicBezTo>
                <a:cubicBezTo>
                  <a:pt x="994" y="314"/>
                  <a:pt x="994" y="314"/>
                  <a:pt x="994" y="314"/>
                </a:cubicBezTo>
                <a:cubicBezTo>
                  <a:pt x="994" y="313"/>
                  <a:pt x="994" y="313"/>
                  <a:pt x="994" y="313"/>
                </a:cubicBezTo>
                <a:cubicBezTo>
                  <a:pt x="993" y="311"/>
                  <a:pt x="993" y="311"/>
                  <a:pt x="993" y="311"/>
                </a:cubicBezTo>
                <a:cubicBezTo>
                  <a:pt x="993" y="312"/>
                  <a:pt x="993" y="312"/>
                  <a:pt x="993" y="312"/>
                </a:cubicBezTo>
                <a:cubicBezTo>
                  <a:pt x="993" y="314"/>
                  <a:pt x="993" y="314"/>
                  <a:pt x="993" y="314"/>
                </a:cubicBezTo>
                <a:cubicBezTo>
                  <a:pt x="993" y="315"/>
                  <a:pt x="993" y="315"/>
                  <a:pt x="993" y="315"/>
                </a:cubicBezTo>
                <a:cubicBezTo>
                  <a:pt x="992" y="313"/>
                  <a:pt x="992" y="313"/>
                  <a:pt x="992" y="313"/>
                </a:cubicBezTo>
                <a:cubicBezTo>
                  <a:pt x="991" y="313"/>
                  <a:pt x="991" y="313"/>
                  <a:pt x="991" y="313"/>
                </a:cubicBezTo>
                <a:cubicBezTo>
                  <a:pt x="991" y="312"/>
                  <a:pt x="991" y="312"/>
                  <a:pt x="991" y="312"/>
                </a:cubicBezTo>
                <a:cubicBezTo>
                  <a:pt x="990" y="312"/>
                  <a:pt x="990" y="312"/>
                  <a:pt x="990" y="312"/>
                </a:cubicBezTo>
                <a:cubicBezTo>
                  <a:pt x="990" y="310"/>
                  <a:pt x="990" y="310"/>
                  <a:pt x="990" y="310"/>
                </a:cubicBezTo>
                <a:cubicBezTo>
                  <a:pt x="989" y="309"/>
                  <a:pt x="989" y="309"/>
                  <a:pt x="989" y="309"/>
                </a:cubicBezTo>
                <a:cubicBezTo>
                  <a:pt x="989" y="308"/>
                  <a:pt x="989" y="308"/>
                  <a:pt x="989" y="308"/>
                </a:cubicBezTo>
                <a:cubicBezTo>
                  <a:pt x="988" y="308"/>
                  <a:pt x="988" y="308"/>
                  <a:pt x="988" y="308"/>
                </a:cubicBezTo>
                <a:cubicBezTo>
                  <a:pt x="988" y="309"/>
                  <a:pt x="988" y="309"/>
                  <a:pt x="988" y="309"/>
                </a:cubicBezTo>
                <a:cubicBezTo>
                  <a:pt x="988" y="310"/>
                  <a:pt x="988" y="310"/>
                  <a:pt x="988" y="310"/>
                </a:cubicBezTo>
                <a:cubicBezTo>
                  <a:pt x="987" y="309"/>
                  <a:pt x="987" y="309"/>
                  <a:pt x="987" y="309"/>
                </a:cubicBezTo>
                <a:cubicBezTo>
                  <a:pt x="986" y="309"/>
                  <a:pt x="986" y="309"/>
                  <a:pt x="986" y="309"/>
                </a:cubicBezTo>
                <a:cubicBezTo>
                  <a:pt x="985" y="307"/>
                  <a:pt x="985" y="307"/>
                  <a:pt x="985" y="307"/>
                </a:cubicBezTo>
                <a:cubicBezTo>
                  <a:pt x="985" y="306"/>
                  <a:pt x="985" y="306"/>
                  <a:pt x="985" y="306"/>
                </a:cubicBezTo>
                <a:cubicBezTo>
                  <a:pt x="984" y="306"/>
                  <a:pt x="984" y="306"/>
                  <a:pt x="984" y="306"/>
                </a:cubicBezTo>
                <a:cubicBezTo>
                  <a:pt x="983" y="306"/>
                  <a:pt x="983" y="306"/>
                  <a:pt x="983" y="306"/>
                </a:cubicBezTo>
                <a:cubicBezTo>
                  <a:pt x="982" y="306"/>
                  <a:pt x="982" y="306"/>
                  <a:pt x="982" y="306"/>
                </a:cubicBezTo>
                <a:cubicBezTo>
                  <a:pt x="982" y="307"/>
                  <a:pt x="982" y="307"/>
                  <a:pt x="982" y="307"/>
                </a:cubicBezTo>
                <a:cubicBezTo>
                  <a:pt x="983" y="309"/>
                  <a:pt x="983" y="309"/>
                  <a:pt x="983" y="309"/>
                </a:cubicBezTo>
                <a:cubicBezTo>
                  <a:pt x="984" y="310"/>
                  <a:pt x="984" y="310"/>
                  <a:pt x="984" y="310"/>
                </a:cubicBezTo>
                <a:cubicBezTo>
                  <a:pt x="984" y="311"/>
                  <a:pt x="984" y="311"/>
                  <a:pt x="984" y="311"/>
                </a:cubicBezTo>
                <a:cubicBezTo>
                  <a:pt x="985" y="313"/>
                  <a:pt x="985" y="313"/>
                  <a:pt x="985" y="313"/>
                </a:cubicBezTo>
                <a:cubicBezTo>
                  <a:pt x="987" y="313"/>
                  <a:pt x="987" y="313"/>
                  <a:pt x="987" y="313"/>
                </a:cubicBezTo>
                <a:cubicBezTo>
                  <a:pt x="987" y="314"/>
                  <a:pt x="987" y="314"/>
                  <a:pt x="987" y="314"/>
                </a:cubicBezTo>
                <a:cubicBezTo>
                  <a:pt x="987" y="315"/>
                  <a:pt x="987" y="315"/>
                  <a:pt x="987" y="315"/>
                </a:cubicBezTo>
                <a:cubicBezTo>
                  <a:pt x="988" y="315"/>
                  <a:pt x="988" y="315"/>
                  <a:pt x="988" y="315"/>
                </a:cubicBezTo>
                <a:cubicBezTo>
                  <a:pt x="988" y="316"/>
                  <a:pt x="988" y="316"/>
                  <a:pt x="988" y="316"/>
                </a:cubicBezTo>
                <a:cubicBezTo>
                  <a:pt x="989" y="316"/>
                  <a:pt x="989" y="316"/>
                  <a:pt x="989" y="316"/>
                </a:cubicBezTo>
                <a:cubicBezTo>
                  <a:pt x="989" y="317"/>
                  <a:pt x="989" y="317"/>
                  <a:pt x="989" y="317"/>
                </a:cubicBezTo>
                <a:cubicBezTo>
                  <a:pt x="990" y="318"/>
                  <a:pt x="990" y="318"/>
                  <a:pt x="990" y="318"/>
                </a:cubicBezTo>
                <a:cubicBezTo>
                  <a:pt x="990" y="319"/>
                  <a:pt x="990" y="319"/>
                  <a:pt x="990" y="319"/>
                </a:cubicBezTo>
                <a:cubicBezTo>
                  <a:pt x="991" y="319"/>
                  <a:pt x="991" y="319"/>
                  <a:pt x="991" y="319"/>
                </a:cubicBezTo>
                <a:cubicBezTo>
                  <a:pt x="992" y="320"/>
                  <a:pt x="992" y="320"/>
                  <a:pt x="992" y="320"/>
                </a:cubicBezTo>
                <a:cubicBezTo>
                  <a:pt x="991" y="322"/>
                  <a:pt x="991" y="322"/>
                  <a:pt x="991" y="322"/>
                </a:cubicBezTo>
                <a:cubicBezTo>
                  <a:pt x="992" y="322"/>
                  <a:pt x="992" y="322"/>
                  <a:pt x="992" y="322"/>
                </a:cubicBezTo>
                <a:cubicBezTo>
                  <a:pt x="992" y="323"/>
                  <a:pt x="992" y="323"/>
                  <a:pt x="992" y="323"/>
                </a:cubicBezTo>
                <a:cubicBezTo>
                  <a:pt x="993" y="322"/>
                  <a:pt x="993" y="322"/>
                  <a:pt x="993" y="322"/>
                </a:cubicBezTo>
                <a:cubicBezTo>
                  <a:pt x="993" y="324"/>
                  <a:pt x="993" y="324"/>
                  <a:pt x="993" y="324"/>
                </a:cubicBezTo>
                <a:cubicBezTo>
                  <a:pt x="994" y="324"/>
                  <a:pt x="994" y="324"/>
                  <a:pt x="994" y="324"/>
                </a:cubicBezTo>
                <a:cubicBezTo>
                  <a:pt x="994" y="325"/>
                  <a:pt x="994" y="325"/>
                  <a:pt x="994" y="325"/>
                </a:cubicBezTo>
                <a:cubicBezTo>
                  <a:pt x="993" y="325"/>
                  <a:pt x="993" y="325"/>
                  <a:pt x="993" y="325"/>
                </a:cubicBezTo>
                <a:cubicBezTo>
                  <a:pt x="992" y="325"/>
                  <a:pt x="992" y="325"/>
                  <a:pt x="992" y="325"/>
                </a:cubicBezTo>
                <a:cubicBezTo>
                  <a:pt x="993" y="326"/>
                  <a:pt x="993" y="326"/>
                  <a:pt x="993" y="326"/>
                </a:cubicBezTo>
                <a:cubicBezTo>
                  <a:pt x="993" y="327"/>
                  <a:pt x="993" y="327"/>
                  <a:pt x="993" y="327"/>
                </a:cubicBezTo>
                <a:cubicBezTo>
                  <a:pt x="993" y="328"/>
                  <a:pt x="993" y="328"/>
                  <a:pt x="993" y="328"/>
                </a:cubicBezTo>
                <a:cubicBezTo>
                  <a:pt x="992" y="328"/>
                  <a:pt x="992" y="328"/>
                  <a:pt x="992" y="328"/>
                </a:cubicBezTo>
                <a:cubicBezTo>
                  <a:pt x="991" y="327"/>
                  <a:pt x="991" y="327"/>
                  <a:pt x="991" y="327"/>
                </a:cubicBezTo>
                <a:cubicBezTo>
                  <a:pt x="989" y="327"/>
                  <a:pt x="989" y="327"/>
                  <a:pt x="989" y="327"/>
                </a:cubicBezTo>
                <a:cubicBezTo>
                  <a:pt x="988" y="326"/>
                  <a:pt x="988" y="326"/>
                  <a:pt x="988" y="326"/>
                </a:cubicBezTo>
                <a:cubicBezTo>
                  <a:pt x="987" y="326"/>
                  <a:pt x="987" y="326"/>
                  <a:pt x="987" y="326"/>
                </a:cubicBezTo>
                <a:cubicBezTo>
                  <a:pt x="986" y="325"/>
                  <a:pt x="986" y="325"/>
                  <a:pt x="986" y="325"/>
                </a:cubicBezTo>
                <a:cubicBezTo>
                  <a:pt x="985" y="324"/>
                  <a:pt x="985" y="324"/>
                  <a:pt x="985" y="324"/>
                </a:cubicBezTo>
                <a:cubicBezTo>
                  <a:pt x="984" y="323"/>
                  <a:pt x="984" y="323"/>
                  <a:pt x="984" y="323"/>
                </a:cubicBezTo>
                <a:cubicBezTo>
                  <a:pt x="983" y="323"/>
                  <a:pt x="983" y="323"/>
                  <a:pt x="983" y="323"/>
                </a:cubicBezTo>
                <a:cubicBezTo>
                  <a:pt x="982" y="323"/>
                  <a:pt x="982" y="323"/>
                  <a:pt x="982" y="323"/>
                </a:cubicBezTo>
                <a:cubicBezTo>
                  <a:pt x="981" y="323"/>
                  <a:pt x="981" y="323"/>
                  <a:pt x="981" y="323"/>
                </a:cubicBezTo>
                <a:cubicBezTo>
                  <a:pt x="980" y="322"/>
                  <a:pt x="980" y="322"/>
                  <a:pt x="980" y="322"/>
                </a:cubicBezTo>
                <a:cubicBezTo>
                  <a:pt x="980" y="321"/>
                  <a:pt x="980" y="321"/>
                  <a:pt x="980" y="321"/>
                </a:cubicBezTo>
                <a:cubicBezTo>
                  <a:pt x="979" y="321"/>
                  <a:pt x="979" y="321"/>
                  <a:pt x="979" y="321"/>
                </a:cubicBezTo>
                <a:cubicBezTo>
                  <a:pt x="977" y="320"/>
                  <a:pt x="977" y="320"/>
                  <a:pt x="977" y="320"/>
                </a:cubicBezTo>
                <a:cubicBezTo>
                  <a:pt x="978" y="319"/>
                  <a:pt x="978" y="319"/>
                  <a:pt x="978" y="319"/>
                </a:cubicBezTo>
                <a:cubicBezTo>
                  <a:pt x="977" y="319"/>
                  <a:pt x="977" y="319"/>
                  <a:pt x="977" y="319"/>
                </a:cubicBezTo>
                <a:cubicBezTo>
                  <a:pt x="976" y="319"/>
                  <a:pt x="976" y="319"/>
                  <a:pt x="976" y="319"/>
                </a:cubicBezTo>
                <a:cubicBezTo>
                  <a:pt x="976" y="318"/>
                  <a:pt x="976" y="318"/>
                  <a:pt x="976" y="318"/>
                </a:cubicBezTo>
                <a:cubicBezTo>
                  <a:pt x="976" y="317"/>
                  <a:pt x="976" y="317"/>
                  <a:pt x="976" y="317"/>
                </a:cubicBezTo>
                <a:cubicBezTo>
                  <a:pt x="977" y="317"/>
                  <a:pt x="977" y="317"/>
                  <a:pt x="977" y="317"/>
                </a:cubicBezTo>
                <a:cubicBezTo>
                  <a:pt x="976" y="316"/>
                  <a:pt x="976" y="316"/>
                  <a:pt x="976" y="316"/>
                </a:cubicBezTo>
                <a:cubicBezTo>
                  <a:pt x="975" y="316"/>
                  <a:pt x="975" y="316"/>
                  <a:pt x="975" y="316"/>
                </a:cubicBezTo>
                <a:cubicBezTo>
                  <a:pt x="975" y="317"/>
                  <a:pt x="975" y="317"/>
                  <a:pt x="975" y="317"/>
                </a:cubicBezTo>
                <a:cubicBezTo>
                  <a:pt x="974" y="316"/>
                  <a:pt x="974" y="316"/>
                  <a:pt x="974" y="316"/>
                </a:cubicBezTo>
                <a:cubicBezTo>
                  <a:pt x="973" y="316"/>
                  <a:pt x="973" y="316"/>
                  <a:pt x="973" y="316"/>
                </a:cubicBezTo>
                <a:cubicBezTo>
                  <a:pt x="971" y="315"/>
                  <a:pt x="971" y="315"/>
                  <a:pt x="971" y="315"/>
                </a:cubicBezTo>
                <a:cubicBezTo>
                  <a:pt x="970" y="314"/>
                  <a:pt x="970" y="314"/>
                  <a:pt x="970" y="314"/>
                </a:cubicBezTo>
                <a:cubicBezTo>
                  <a:pt x="969" y="313"/>
                  <a:pt x="969" y="313"/>
                  <a:pt x="969" y="313"/>
                </a:cubicBezTo>
                <a:cubicBezTo>
                  <a:pt x="969" y="312"/>
                  <a:pt x="969" y="312"/>
                  <a:pt x="969" y="312"/>
                </a:cubicBezTo>
                <a:cubicBezTo>
                  <a:pt x="968" y="312"/>
                  <a:pt x="968" y="312"/>
                  <a:pt x="968" y="312"/>
                </a:cubicBezTo>
                <a:cubicBezTo>
                  <a:pt x="967" y="311"/>
                  <a:pt x="967" y="311"/>
                  <a:pt x="967" y="311"/>
                </a:cubicBezTo>
                <a:cubicBezTo>
                  <a:pt x="967" y="310"/>
                  <a:pt x="967" y="310"/>
                  <a:pt x="967" y="310"/>
                </a:cubicBezTo>
                <a:cubicBezTo>
                  <a:pt x="966" y="309"/>
                  <a:pt x="966" y="309"/>
                  <a:pt x="966" y="309"/>
                </a:cubicBezTo>
                <a:cubicBezTo>
                  <a:pt x="965" y="308"/>
                  <a:pt x="965" y="308"/>
                  <a:pt x="965" y="308"/>
                </a:cubicBezTo>
                <a:cubicBezTo>
                  <a:pt x="966" y="308"/>
                  <a:pt x="966" y="308"/>
                  <a:pt x="966" y="308"/>
                </a:cubicBezTo>
                <a:cubicBezTo>
                  <a:pt x="967" y="308"/>
                  <a:pt x="967" y="308"/>
                  <a:pt x="967" y="308"/>
                </a:cubicBezTo>
                <a:cubicBezTo>
                  <a:pt x="970" y="306"/>
                  <a:pt x="970" y="306"/>
                  <a:pt x="970" y="306"/>
                </a:cubicBezTo>
                <a:cubicBezTo>
                  <a:pt x="968" y="306"/>
                  <a:pt x="968" y="306"/>
                  <a:pt x="968" y="306"/>
                </a:cubicBezTo>
                <a:cubicBezTo>
                  <a:pt x="967" y="305"/>
                  <a:pt x="967" y="305"/>
                  <a:pt x="967" y="305"/>
                </a:cubicBezTo>
                <a:cubicBezTo>
                  <a:pt x="967" y="303"/>
                  <a:pt x="967" y="303"/>
                  <a:pt x="967" y="303"/>
                </a:cubicBezTo>
                <a:cubicBezTo>
                  <a:pt x="966" y="304"/>
                  <a:pt x="966" y="304"/>
                  <a:pt x="966" y="304"/>
                </a:cubicBezTo>
                <a:cubicBezTo>
                  <a:pt x="966" y="305"/>
                  <a:pt x="966" y="305"/>
                  <a:pt x="966" y="305"/>
                </a:cubicBezTo>
                <a:cubicBezTo>
                  <a:pt x="965" y="304"/>
                  <a:pt x="965" y="304"/>
                  <a:pt x="965" y="304"/>
                </a:cubicBezTo>
                <a:cubicBezTo>
                  <a:pt x="966" y="303"/>
                  <a:pt x="966" y="303"/>
                  <a:pt x="966" y="303"/>
                </a:cubicBezTo>
                <a:cubicBezTo>
                  <a:pt x="966" y="301"/>
                  <a:pt x="966" y="301"/>
                  <a:pt x="966" y="301"/>
                </a:cubicBezTo>
                <a:cubicBezTo>
                  <a:pt x="965" y="303"/>
                  <a:pt x="965" y="303"/>
                  <a:pt x="965" y="303"/>
                </a:cubicBezTo>
                <a:cubicBezTo>
                  <a:pt x="964" y="302"/>
                  <a:pt x="964" y="302"/>
                  <a:pt x="964" y="302"/>
                </a:cubicBezTo>
                <a:cubicBezTo>
                  <a:pt x="964" y="301"/>
                  <a:pt x="964" y="301"/>
                  <a:pt x="964" y="301"/>
                </a:cubicBezTo>
                <a:cubicBezTo>
                  <a:pt x="963" y="301"/>
                  <a:pt x="963" y="301"/>
                  <a:pt x="963" y="301"/>
                </a:cubicBezTo>
                <a:cubicBezTo>
                  <a:pt x="963" y="300"/>
                  <a:pt x="963" y="300"/>
                  <a:pt x="963" y="300"/>
                </a:cubicBezTo>
                <a:cubicBezTo>
                  <a:pt x="963" y="299"/>
                  <a:pt x="963" y="299"/>
                  <a:pt x="963" y="299"/>
                </a:cubicBezTo>
                <a:cubicBezTo>
                  <a:pt x="963" y="297"/>
                  <a:pt x="963" y="297"/>
                  <a:pt x="963" y="297"/>
                </a:cubicBezTo>
                <a:cubicBezTo>
                  <a:pt x="962" y="297"/>
                  <a:pt x="962" y="297"/>
                  <a:pt x="962" y="297"/>
                </a:cubicBezTo>
                <a:cubicBezTo>
                  <a:pt x="962" y="296"/>
                  <a:pt x="962" y="296"/>
                  <a:pt x="962" y="296"/>
                </a:cubicBezTo>
                <a:cubicBezTo>
                  <a:pt x="963" y="294"/>
                  <a:pt x="963" y="294"/>
                  <a:pt x="963" y="294"/>
                </a:cubicBezTo>
                <a:cubicBezTo>
                  <a:pt x="961" y="296"/>
                  <a:pt x="961" y="296"/>
                  <a:pt x="961" y="296"/>
                </a:cubicBezTo>
                <a:cubicBezTo>
                  <a:pt x="961" y="297"/>
                  <a:pt x="961" y="297"/>
                  <a:pt x="961" y="297"/>
                </a:cubicBezTo>
                <a:cubicBezTo>
                  <a:pt x="960" y="296"/>
                  <a:pt x="960" y="296"/>
                  <a:pt x="960" y="296"/>
                </a:cubicBezTo>
                <a:cubicBezTo>
                  <a:pt x="961" y="294"/>
                  <a:pt x="961" y="294"/>
                  <a:pt x="961" y="294"/>
                </a:cubicBezTo>
                <a:cubicBezTo>
                  <a:pt x="960" y="294"/>
                  <a:pt x="960" y="294"/>
                  <a:pt x="960" y="294"/>
                </a:cubicBezTo>
                <a:cubicBezTo>
                  <a:pt x="959" y="294"/>
                  <a:pt x="959" y="294"/>
                  <a:pt x="959" y="294"/>
                </a:cubicBezTo>
                <a:cubicBezTo>
                  <a:pt x="958" y="296"/>
                  <a:pt x="958" y="296"/>
                  <a:pt x="958" y="296"/>
                </a:cubicBezTo>
                <a:cubicBezTo>
                  <a:pt x="957" y="297"/>
                  <a:pt x="957" y="297"/>
                  <a:pt x="957" y="297"/>
                </a:cubicBezTo>
                <a:cubicBezTo>
                  <a:pt x="957" y="295"/>
                  <a:pt x="957" y="295"/>
                  <a:pt x="957" y="295"/>
                </a:cubicBezTo>
                <a:cubicBezTo>
                  <a:pt x="958" y="294"/>
                  <a:pt x="958" y="294"/>
                  <a:pt x="958" y="294"/>
                </a:cubicBezTo>
                <a:cubicBezTo>
                  <a:pt x="958" y="293"/>
                  <a:pt x="958" y="293"/>
                  <a:pt x="958" y="293"/>
                </a:cubicBezTo>
                <a:cubicBezTo>
                  <a:pt x="958" y="292"/>
                  <a:pt x="958" y="292"/>
                  <a:pt x="958" y="292"/>
                </a:cubicBezTo>
                <a:cubicBezTo>
                  <a:pt x="957" y="293"/>
                  <a:pt x="957" y="293"/>
                  <a:pt x="957" y="293"/>
                </a:cubicBezTo>
                <a:cubicBezTo>
                  <a:pt x="956" y="294"/>
                  <a:pt x="956" y="294"/>
                  <a:pt x="956" y="294"/>
                </a:cubicBezTo>
                <a:cubicBezTo>
                  <a:pt x="955" y="295"/>
                  <a:pt x="955" y="295"/>
                  <a:pt x="955" y="295"/>
                </a:cubicBezTo>
                <a:cubicBezTo>
                  <a:pt x="955" y="296"/>
                  <a:pt x="955" y="296"/>
                  <a:pt x="955" y="296"/>
                </a:cubicBezTo>
                <a:cubicBezTo>
                  <a:pt x="953" y="295"/>
                  <a:pt x="953" y="295"/>
                  <a:pt x="953" y="295"/>
                </a:cubicBezTo>
                <a:cubicBezTo>
                  <a:pt x="952" y="294"/>
                  <a:pt x="952" y="294"/>
                  <a:pt x="952" y="294"/>
                </a:cubicBezTo>
                <a:cubicBezTo>
                  <a:pt x="951" y="294"/>
                  <a:pt x="951" y="294"/>
                  <a:pt x="951" y="294"/>
                </a:cubicBezTo>
                <a:cubicBezTo>
                  <a:pt x="950" y="292"/>
                  <a:pt x="950" y="292"/>
                  <a:pt x="950" y="292"/>
                </a:cubicBezTo>
                <a:cubicBezTo>
                  <a:pt x="949" y="293"/>
                  <a:pt x="949" y="293"/>
                  <a:pt x="949" y="293"/>
                </a:cubicBezTo>
                <a:cubicBezTo>
                  <a:pt x="949" y="294"/>
                  <a:pt x="949" y="294"/>
                  <a:pt x="949" y="294"/>
                </a:cubicBezTo>
                <a:cubicBezTo>
                  <a:pt x="949" y="295"/>
                  <a:pt x="949" y="295"/>
                  <a:pt x="949" y="295"/>
                </a:cubicBezTo>
                <a:cubicBezTo>
                  <a:pt x="948" y="295"/>
                  <a:pt x="948" y="295"/>
                  <a:pt x="948" y="295"/>
                </a:cubicBezTo>
                <a:cubicBezTo>
                  <a:pt x="947" y="295"/>
                  <a:pt x="947" y="295"/>
                  <a:pt x="947" y="295"/>
                </a:cubicBezTo>
                <a:cubicBezTo>
                  <a:pt x="946" y="295"/>
                  <a:pt x="946" y="295"/>
                  <a:pt x="946" y="295"/>
                </a:cubicBezTo>
                <a:cubicBezTo>
                  <a:pt x="945" y="296"/>
                  <a:pt x="945" y="296"/>
                  <a:pt x="945" y="296"/>
                </a:cubicBezTo>
                <a:cubicBezTo>
                  <a:pt x="944" y="295"/>
                  <a:pt x="944" y="295"/>
                  <a:pt x="944" y="295"/>
                </a:cubicBezTo>
                <a:cubicBezTo>
                  <a:pt x="943" y="296"/>
                  <a:pt x="943" y="296"/>
                  <a:pt x="943" y="296"/>
                </a:cubicBezTo>
                <a:cubicBezTo>
                  <a:pt x="942" y="296"/>
                  <a:pt x="942" y="296"/>
                  <a:pt x="942" y="296"/>
                </a:cubicBezTo>
                <a:cubicBezTo>
                  <a:pt x="940" y="296"/>
                  <a:pt x="940" y="296"/>
                  <a:pt x="940" y="296"/>
                </a:cubicBezTo>
                <a:cubicBezTo>
                  <a:pt x="941" y="295"/>
                  <a:pt x="941" y="295"/>
                  <a:pt x="941" y="295"/>
                </a:cubicBezTo>
                <a:cubicBezTo>
                  <a:pt x="939" y="293"/>
                  <a:pt x="939" y="293"/>
                  <a:pt x="939" y="293"/>
                </a:cubicBezTo>
                <a:cubicBezTo>
                  <a:pt x="939" y="294"/>
                  <a:pt x="939" y="294"/>
                  <a:pt x="939" y="294"/>
                </a:cubicBezTo>
                <a:cubicBezTo>
                  <a:pt x="938" y="293"/>
                  <a:pt x="938" y="293"/>
                  <a:pt x="938" y="293"/>
                </a:cubicBezTo>
                <a:cubicBezTo>
                  <a:pt x="937" y="290"/>
                  <a:pt x="937" y="290"/>
                  <a:pt x="937" y="290"/>
                </a:cubicBezTo>
                <a:cubicBezTo>
                  <a:pt x="937" y="289"/>
                  <a:pt x="937" y="289"/>
                  <a:pt x="937" y="289"/>
                </a:cubicBezTo>
                <a:cubicBezTo>
                  <a:pt x="938" y="288"/>
                  <a:pt x="938" y="288"/>
                  <a:pt x="938" y="288"/>
                </a:cubicBezTo>
                <a:cubicBezTo>
                  <a:pt x="938" y="287"/>
                  <a:pt x="938" y="287"/>
                  <a:pt x="938" y="287"/>
                </a:cubicBezTo>
                <a:cubicBezTo>
                  <a:pt x="939" y="286"/>
                  <a:pt x="939" y="286"/>
                  <a:pt x="939" y="286"/>
                </a:cubicBezTo>
                <a:cubicBezTo>
                  <a:pt x="941" y="286"/>
                  <a:pt x="941" y="286"/>
                  <a:pt x="941" y="286"/>
                </a:cubicBezTo>
                <a:cubicBezTo>
                  <a:pt x="941" y="285"/>
                  <a:pt x="941" y="285"/>
                  <a:pt x="941" y="285"/>
                </a:cubicBezTo>
                <a:cubicBezTo>
                  <a:pt x="942" y="285"/>
                  <a:pt x="942" y="285"/>
                  <a:pt x="942" y="285"/>
                </a:cubicBezTo>
                <a:cubicBezTo>
                  <a:pt x="943" y="285"/>
                  <a:pt x="943" y="285"/>
                  <a:pt x="943" y="285"/>
                </a:cubicBezTo>
                <a:cubicBezTo>
                  <a:pt x="943" y="284"/>
                  <a:pt x="943" y="284"/>
                  <a:pt x="943" y="284"/>
                </a:cubicBezTo>
                <a:cubicBezTo>
                  <a:pt x="943" y="283"/>
                  <a:pt x="943" y="283"/>
                  <a:pt x="943" y="283"/>
                </a:cubicBezTo>
                <a:cubicBezTo>
                  <a:pt x="943" y="282"/>
                  <a:pt x="943" y="282"/>
                  <a:pt x="943" y="282"/>
                </a:cubicBezTo>
                <a:cubicBezTo>
                  <a:pt x="944" y="282"/>
                  <a:pt x="944" y="282"/>
                  <a:pt x="944" y="282"/>
                </a:cubicBezTo>
                <a:cubicBezTo>
                  <a:pt x="944" y="281"/>
                  <a:pt x="944" y="281"/>
                  <a:pt x="944" y="281"/>
                </a:cubicBezTo>
                <a:cubicBezTo>
                  <a:pt x="945" y="283"/>
                  <a:pt x="945" y="283"/>
                  <a:pt x="945" y="283"/>
                </a:cubicBezTo>
                <a:cubicBezTo>
                  <a:pt x="947" y="283"/>
                  <a:pt x="947" y="283"/>
                  <a:pt x="947" y="283"/>
                </a:cubicBezTo>
                <a:cubicBezTo>
                  <a:pt x="948" y="284"/>
                  <a:pt x="948" y="284"/>
                  <a:pt x="948" y="284"/>
                </a:cubicBezTo>
                <a:cubicBezTo>
                  <a:pt x="949" y="285"/>
                  <a:pt x="949" y="285"/>
                  <a:pt x="949" y="285"/>
                </a:cubicBezTo>
                <a:cubicBezTo>
                  <a:pt x="950" y="285"/>
                  <a:pt x="950" y="285"/>
                  <a:pt x="950" y="285"/>
                </a:cubicBezTo>
                <a:cubicBezTo>
                  <a:pt x="951" y="286"/>
                  <a:pt x="951" y="286"/>
                  <a:pt x="951" y="286"/>
                </a:cubicBezTo>
                <a:cubicBezTo>
                  <a:pt x="952" y="285"/>
                  <a:pt x="952" y="285"/>
                  <a:pt x="952" y="285"/>
                </a:cubicBezTo>
                <a:cubicBezTo>
                  <a:pt x="953" y="285"/>
                  <a:pt x="953" y="285"/>
                  <a:pt x="953" y="285"/>
                </a:cubicBezTo>
                <a:cubicBezTo>
                  <a:pt x="953" y="286"/>
                  <a:pt x="953" y="286"/>
                  <a:pt x="953" y="286"/>
                </a:cubicBezTo>
                <a:cubicBezTo>
                  <a:pt x="954" y="286"/>
                  <a:pt x="954" y="286"/>
                  <a:pt x="954" y="286"/>
                </a:cubicBezTo>
                <a:cubicBezTo>
                  <a:pt x="955" y="286"/>
                  <a:pt x="955" y="286"/>
                  <a:pt x="955" y="286"/>
                </a:cubicBezTo>
                <a:cubicBezTo>
                  <a:pt x="956" y="285"/>
                  <a:pt x="956" y="285"/>
                  <a:pt x="956" y="285"/>
                </a:cubicBezTo>
                <a:cubicBezTo>
                  <a:pt x="957" y="284"/>
                  <a:pt x="957" y="284"/>
                  <a:pt x="957" y="284"/>
                </a:cubicBezTo>
                <a:cubicBezTo>
                  <a:pt x="958" y="284"/>
                  <a:pt x="958" y="284"/>
                  <a:pt x="958" y="284"/>
                </a:cubicBezTo>
                <a:cubicBezTo>
                  <a:pt x="958" y="285"/>
                  <a:pt x="958" y="285"/>
                  <a:pt x="958" y="285"/>
                </a:cubicBezTo>
                <a:cubicBezTo>
                  <a:pt x="959" y="285"/>
                  <a:pt x="959" y="285"/>
                  <a:pt x="959" y="285"/>
                </a:cubicBezTo>
                <a:cubicBezTo>
                  <a:pt x="960" y="284"/>
                  <a:pt x="960" y="284"/>
                  <a:pt x="960" y="284"/>
                </a:cubicBezTo>
                <a:cubicBezTo>
                  <a:pt x="961" y="283"/>
                  <a:pt x="961" y="283"/>
                  <a:pt x="961" y="283"/>
                </a:cubicBezTo>
                <a:cubicBezTo>
                  <a:pt x="962" y="283"/>
                  <a:pt x="962" y="283"/>
                  <a:pt x="962" y="283"/>
                </a:cubicBezTo>
                <a:cubicBezTo>
                  <a:pt x="962" y="285"/>
                  <a:pt x="962" y="285"/>
                  <a:pt x="962" y="285"/>
                </a:cubicBezTo>
                <a:cubicBezTo>
                  <a:pt x="963" y="286"/>
                  <a:pt x="963" y="286"/>
                  <a:pt x="963" y="286"/>
                </a:cubicBezTo>
                <a:cubicBezTo>
                  <a:pt x="963" y="285"/>
                  <a:pt x="963" y="285"/>
                  <a:pt x="963" y="285"/>
                </a:cubicBezTo>
                <a:cubicBezTo>
                  <a:pt x="963" y="284"/>
                  <a:pt x="963" y="284"/>
                  <a:pt x="963" y="284"/>
                </a:cubicBezTo>
                <a:cubicBezTo>
                  <a:pt x="964" y="284"/>
                  <a:pt x="964" y="284"/>
                  <a:pt x="964" y="284"/>
                </a:cubicBezTo>
                <a:cubicBezTo>
                  <a:pt x="965" y="284"/>
                  <a:pt x="965" y="284"/>
                  <a:pt x="965" y="284"/>
                </a:cubicBezTo>
                <a:cubicBezTo>
                  <a:pt x="964" y="281"/>
                  <a:pt x="964" y="281"/>
                  <a:pt x="964" y="281"/>
                </a:cubicBezTo>
                <a:cubicBezTo>
                  <a:pt x="963" y="279"/>
                  <a:pt x="963" y="279"/>
                  <a:pt x="963" y="279"/>
                </a:cubicBezTo>
                <a:cubicBezTo>
                  <a:pt x="963" y="278"/>
                  <a:pt x="963" y="278"/>
                  <a:pt x="963" y="278"/>
                </a:cubicBezTo>
                <a:cubicBezTo>
                  <a:pt x="962" y="277"/>
                  <a:pt x="962" y="277"/>
                  <a:pt x="962" y="277"/>
                </a:cubicBezTo>
                <a:cubicBezTo>
                  <a:pt x="963" y="276"/>
                  <a:pt x="963" y="276"/>
                  <a:pt x="963" y="276"/>
                </a:cubicBezTo>
                <a:cubicBezTo>
                  <a:pt x="963" y="275"/>
                  <a:pt x="963" y="275"/>
                  <a:pt x="963" y="275"/>
                </a:cubicBezTo>
                <a:cubicBezTo>
                  <a:pt x="964" y="275"/>
                  <a:pt x="964" y="275"/>
                  <a:pt x="964" y="275"/>
                </a:cubicBezTo>
                <a:cubicBezTo>
                  <a:pt x="966" y="273"/>
                  <a:pt x="966" y="273"/>
                  <a:pt x="966" y="273"/>
                </a:cubicBezTo>
                <a:cubicBezTo>
                  <a:pt x="968" y="272"/>
                  <a:pt x="968" y="272"/>
                  <a:pt x="968" y="272"/>
                </a:cubicBezTo>
                <a:cubicBezTo>
                  <a:pt x="969" y="272"/>
                  <a:pt x="969" y="272"/>
                  <a:pt x="969" y="272"/>
                </a:cubicBezTo>
                <a:cubicBezTo>
                  <a:pt x="970" y="270"/>
                  <a:pt x="970" y="270"/>
                  <a:pt x="970" y="270"/>
                </a:cubicBezTo>
                <a:cubicBezTo>
                  <a:pt x="971" y="270"/>
                  <a:pt x="971" y="270"/>
                  <a:pt x="971" y="270"/>
                </a:cubicBezTo>
                <a:cubicBezTo>
                  <a:pt x="972" y="271"/>
                  <a:pt x="972" y="271"/>
                  <a:pt x="972" y="271"/>
                </a:cubicBezTo>
                <a:cubicBezTo>
                  <a:pt x="973" y="270"/>
                  <a:pt x="973" y="270"/>
                  <a:pt x="973" y="270"/>
                </a:cubicBezTo>
                <a:cubicBezTo>
                  <a:pt x="972" y="269"/>
                  <a:pt x="972" y="269"/>
                  <a:pt x="972" y="269"/>
                </a:cubicBezTo>
                <a:cubicBezTo>
                  <a:pt x="972" y="268"/>
                  <a:pt x="972" y="268"/>
                  <a:pt x="972" y="268"/>
                </a:cubicBezTo>
                <a:cubicBezTo>
                  <a:pt x="974" y="267"/>
                  <a:pt x="974" y="267"/>
                  <a:pt x="974" y="267"/>
                </a:cubicBezTo>
                <a:cubicBezTo>
                  <a:pt x="974" y="266"/>
                  <a:pt x="974" y="266"/>
                  <a:pt x="974" y="266"/>
                </a:cubicBezTo>
                <a:cubicBezTo>
                  <a:pt x="975" y="265"/>
                  <a:pt x="975" y="265"/>
                  <a:pt x="975" y="265"/>
                </a:cubicBezTo>
                <a:cubicBezTo>
                  <a:pt x="977" y="266"/>
                  <a:pt x="977" y="266"/>
                  <a:pt x="977" y="266"/>
                </a:cubicBezTo>
                <a:cubicBezTo>
                  <a:pt x="978" y="265"/>
                  <a:pt x="978" y="265"/>
                  <a:pt x="978" y="265"/>
                </a:cubicBezTo>
                <a:cubicBezTo>
                  <a:pt x="979" y="264"/>
                  <a:pt x="979" y="264"/>
                  <a:pt x="979" y="264"/>
                </a:cubicBezTo>
                <a:cubicBezTo>
                  <a:pt x="978" y="263"/>
                  <a:pt x="978" y="263"/>
                  <a:pt x="978" y="263"/>
                </a:cubicBezTo>
                <a:cubicBezTo>
                  <a:pt x="979" y="262"/>
                  <a:pt x="979" y="262"/>
                  <a:pt x="979" y="262"/>
                </a:cubicBezTo>
                <a:cubicBezTo>
                  <a:pt x="979" y="260"/>
                  <a:pt x="979" y="260"/>
                  <a:pt x="979" y="260"/>
                </a:cubicBezTo>
                <a:cubicBezTo>
                  <a:pt x="979" y="259"/>
                  <a:pt x="979" y="259"/>
                  <a:pt x="979" y="259"/>
                </a:cubicBezTo>
                <a:cubicBezTo>
                  <a:pt x="979" y="258"/>
                  <a:pt x="979" y="258"/>
                  <a:pt x="979" y="258"/>
                </a:cubicBezTo>
                <a:cubicBezTo>
                  <a:pt x="979" y="257"/>
                  <a:pt x="979" y="257"/>
                  <a:pt x="979" y="257"/>
                </a:cubicBezTo>
                <a:cubicBezTo>
                  <a:pt x="979" y="256"/>
                  <a:pt x="979" y="256"/>
                  <a:pt x="979" y="256"/>
                </a:cubicBezTo>
                <a:cubicBezTo>
                  <a:pt x="978" y="256"/>
                  <a:pt x="978" y="256"/>
                  <a:pt x="978" y="256"/>
                </a:cubicBezTo>
                <a:cubicBezTo>
                  <a:pt x="978" y="255"/>
                  <a:pt x="978" y="255"/>
                  <a:pt x="978" y="255"/>
                </a:cubicBezTo>
                <a:cubicBezTo>
                  <a:pt x="979" y="253"/>
                  <a:pt x="979" y="253"/>
                  <a:pt x="979" y="253"/>
                </a:cubicBezTo>
                <a:cubicBezTo>
                  <a:pt x="980" y="253"/>
                  <a:pt x="980" y="253"/>
                  <a:pt x="980" y="253"/>
                </a:cubicBezTo>
                <a:cubicBezTo>
                  <a:pt x="980" y="252"/>
                  <a:pt x="980" y="252"/>
                  <a:pt x="980" y="252"/>
                </a:cubicBezTo>
                <a:cubicBezTo>
                  <a:pt x="981" y="251"/>
                  <a:pt x="981" y="251"/>
                  <a:pt x="981" y="251"/>
                </a:cubicBezTo>
                <a:cubicBezTo>
                  <a:pt x="980" y="251"/>
                  <a:pt x="980" y="251"/>
                  <a:pt x="980" y="251"/>
                </a:cubicBezTo>
                <a:cubicBezTo>
                  <a:pt x="979" y="251"/>
                  <a:pt x="979" y="251"/>
                  <a:pt x="979" y="251"/>
                </a:cubicBezTo>
                <a:cubicBezTo>
                  <a:pt x="979" y="250"/>
                  <a:pt x="979" y="250"/>
                  <a:pt x="979" y="250"/>
                </a:cubicBezTo>
                <a:cubicBezTo>
                  <a:pt x="978" y="250"/>
                  <a:pt x="978" y="250"/>
                  <a:pt x="978" y="250"/>
                </a:cubicBezTo>
                <a:cubicBezTo>
                  <a:pt x="976" y="250"/>
                  <a:pt x="976" y="250"/>
                  <a:pt x="976" y="250"/>
                </a:cubicBezTo>
                <a:cubicBezTo>
                  <a:pt x="975" y="249"/>
                  <a:pt x="975" y="249"/>
                  <a:pt x="975" y="249"/>
                </a:cubicBezTo>
                <a:cubicBezTo>
                  <a:pt x="977" y="248"/>
                  <a:pt x="977" y="248"/>
                  <a:pt x="977" y="248"/>
                </a:cubicBezTo>
                <a:cubicBezTo>
                  <a:pt x="977" y="247"/>
                  <a:pt x="977" y="247"/>
                  <a:pt x="977" y="247"/>
                </a:cubicBezTo>
                <a:cubicBezTo>
                  <a:pt x="976" y="247"/>
                  <a:pt x="976" y="247"/>
                  <a:pt x="976" y="247"/>
                </a:cubicBezTo>
                <a:cubicBezTo>
                  <a:pt x="976" y="246"/>
                  <a:pt x="976" y="246"/>
                  <a:pt x="976" y="246"/>
                </a:cubicBezTo>
                <a:cubicBezTo>
                  <a:pt x="976" y="245"/>
                  <a:pt x="976" y="245"/>
                  <a:pt x="976" y="245"/>
                </a:cubicBezTo>
                <a:cubicBezTo>
                  <a:pt x="975" y="244"/>
                  <a:pt x="975" y="244"/>
                  <a:pt x="975" y="244"/>
                </a:cubicBezTo>
                <a:cubicBezTo>
                  <a:pt x="975" y="245"/>
                  <a:pt x="975" y="245"/>
                  <a:pt x="975" y="245"/>
                </a:cubicBezTo>
                <a:cubicBezTo>
                  <a:pt x="975" y="246"/>
                  <a:pt x="975" y="246"/>
                  <a:pt x="975" y="246"/>
                </a:cubicBezTo>
                <a:cubicBezTo>
                  <a:pt x="973" y="247"/>
                  <a:pt x="973" y="247"/>
                  <a:pt x="973" y="247"/>
                </a:cubicBezTo>
                <a:cubicBezTo>
                  <a:pt x="973" y="246"/>
                  <a:pt x="973" y="246"/>
                  <a:pt x="973" y="246"/>
                </a:cubicBezTo>
                <a:cubicBezTo>
                  <a:pt x="972" y="245"/>
                  <a:pt x="972" y="245"/>
                  <a:pt x="972" y="245"/>
                </a:cubicBezTo>
                <a:cubicBezTo>
                  <a:pt x="972" y="244"/>
                  <a:pt x="972" y="244"/>
                  <a:pt x="972" y="244"/>
                </a:cubicBezTo>
                <a:cubicBezTo>
                  <a:pt x="973" y="243"/>
                  <a:pt x="973" y="243"/>
                  <a:pt x="973" y="243"/>
                </a:cubicBezTo>
                <a:cubicBezTo>
                  <a:pt x="973" y="242"/>
                  <a:pt x="973" y="242"/>
                  <a:pt x="973" y="242"/>
                </a:cubicBezTo>
                <a:cubicBezTo>
                  <a:pt x="972" y="242"/>
                  <a:pt x="972" y="242"/>
                  <a:pt x="972" y="242"/>
                </a:cubicBezTo>
                <a:cubicBezTo>
                  <a:pt x="973" y="241"/>
                  <a:pt x="973" y="241"/>
                  <a:pt x="973" y="241"/>
                </a:cubicBezTo>
                <a:cubicBezTo>
                  <a:pt x="972" y="241"/>
                  <a:pt x="972" y="241"/>
                  <a:pt x="972" y="241"/>
                </a:cubicBezTo>
                <a:cubicBezTo>
                  <a:pt x="972" y="240"/>
                  <a:pt x="972" y="240"/>
                  <a:pt x="972" y="240"/>
                </a:cubicBezTo>
                <a:cubicBezTo>
                  <a:pt x="973" y="240"/>
                  <a:pt x="973" y="240"/>
                  <a:pt x="973" y="240"/>
                </a:cubicBezTo>
                <a:cubicBezTo>
                  <a:pt x="973" y="239"/>
                  <a:pt x="973" y="239"/>
                  <a:pt x="973" y="239"/>
                </a:cubicBezTo>
                <a:cubicBezTo>
                  <a:pt x="972" y="240"/>
                  <a:pt x="972" y="240"/>
                  <a:pt x="972" y="240"/>
                </a:cubicBezTo>
                <a:cubicBezTo>
                  <a:pt x="971" y="241"/>
                  <a:pt x="971" y="241"/>
                  <a:pt x="971" y="241"/>
                </a:cubicBezTo>
                <a:cubicBezTo>
                  <a:pt x="970" y="241"/>
                  <a:pt x="970" y="241"/>
                  <a:pt x="970" y="241"/>
                </a:cubicBezTo>
                <a:cubicBezTo>
                  <a:pt x="969" y="240"/>
                  <a:pt x="969" y="240"/>
                  <a:pt x="969" y="240"/>
                </a:cubicBezTo>
                <a:cubicBezTo>
                  <a:pt x="968" y="241"/>
                  <a:pt x="968" y="241"/>
                  <a:pt x="968" y="241"/>
                </a:cubicBezTo>
                <a:cubicBezTo>
                  <a:pt x="967" y="241"/>
                  <a:pt x="967" y="241"/>
                  <a:pt x="967" y="241"/>
                </a:cubicBezTo>
                <a:cubicBezTo>
                  <a:pt x="966" y="242"/>
                  <a:pt x="966" y="242"/>
                  <a:pt x="966" y="242"/>
                </a:cubicBezTo>
                <a:cubicBezTo>
                  <a:pt x="965" y="242"/>
                  <a:pt x="965" y="242"/>
                  <a:pt x="965" y="242"/>
                </a:cubicBezTo>
                <a:cubicBezTo>
                  <a:pt x="964" y="242"/>
                  <a:pt x="964" y="242"/>
                  <a:pt x="964" y="242"/>
                </a:cubicBezTo>
                <a:cubicBezTo>
                  <a:pt x="964" y="241"/>
                  <a:pt x="964" y="241"/>
                  <a:pt x="964" y="241"/>
                </a:cubicBezTo>
                <a:cubicBezTo>
                  <a:pt x="964" y="240"/>
                  <a:pt x="964" y="240"/>
                  <a:pt x="964" y="240"/>
                </a:cubicBezTo>
                <a:cubicBezTo>
                  <a:pt x="965" y="239"/>
                  <a:pt x="965" y="239"/>
                  <a:pt x="965" y="239"/>
                </a:cubicBezTo>
                <a:cubicBezTo>
                  <a:pt x="966" y="239"/>
                  <a:pt x="966" y="239"/>
                  <a:pt x="966" y="239"/>
                </a:cubicBezTo>
                <a:cubicBezTo>
                  <a:pt x="967" y="239"/>
                  <a:pt x="967" y="239"/>
                  <a:pt x="967" y="239"/>
                </a:cubicBezTo>
                <a:cubicBezTo>
                  <a:pt x="968" y="239"/>
                  <a:pt x="968" y="239"/>
                  <a:pt x="968" y="239"/>
                </a:cubicBezTo>
                <a:cubicBezTo>
                  <a:pt x="969" y="238"/>
                  <a:pt x="969" y="238"/>
                  <a:pt x="969" y="238"/>
                </a:cubicBezTo>
                <a:cubicBezTo>
                  <a:pt x="969" y="237"/>
                  <a:pt x="969" y="237"/>
                  <a:pt x="969" y="237"/>
                </a:cubicBezTo>
                <a:cubicBezTo>
                  <a:pt x="969" y="236"/>
                  <a:pt x="969" y="236"/>
                  <a:pt x="969" y="236"/>
                </a:cubicBezTo>
                <a:cubicBezTo>
                  <a:pt x="968" y="235"/>
                  <a:pt x="968" y="235"/>
                  <a:pt x="968" y="235"/>
                </a:cubicBezTo>
                <a:cubicBezTo>
                  <a:pt x="967" y="235"/>
                  <a:pt x="967" y="235"/>
                  <a:pt x="967" y="235"/>
                </a:cubicBezTo>
                <a:cubicBezTo>
                  <a:pt x="966" y="234"/>
                  <a:pt x="966" y="234"/>
                  <a:pt x="966" y="234"/>
                </a:cubicBezTo>
                <a:cubicBezTo>
                  <a:pt x="966" y="233"/>
                  <a:pt x="966" y="233"/>
                  <a:pt x="966" y="233"/>
                </a:cubicBezTo>
                <a:cubicBezTo>
                  <a:pt x="966" y="232"/>
                  <a:pt x="966" y="232"/>
                  <a:pt x="966" y="232"/>
                </a:cubicBezTo>
                <a:cubicBezTo>
                  <a:pt x="965" y="232"/>
                  <a:pt x="965" y="232"/>
                  <a:pt x="965" y="232"/>
                </a:cubicBezTo>
                <a:cubicBezTo>
                  <a:pt x="964" y="231"/>
                  <a:pt x="964" y="231"/>
                  <a:pt x="964" y="231"/>
                </a:cubicBezTo>
                <a:cubicBezTo>
                  <a:pt x="964" y="230"/>
                  <a:pt x="964" y="230"/>
                  <a:pt x="964" y="230"/>
                </a:cubicBezTo>
                <a:cubicBezTo>
                  <a:pt x="965" y="230"/>
                  <a:pt x="965" y="230"/>
                  <a:pt x="965" y="230"/>
                </a:cubicBezTo>
                <a:cubicBezTo>
                  <a:pt x="965" y="231"/>
                  <a:pt x="965" y="231"/>
                  <a:pt x="965" y="231"/>
                </a:cubicBezTo>
                <a:cubicBezTo>
                  <a:pt x="966" y="230"/>
                  <a:pt x="966" y="230"/>
                  <a:pt x="966" y="230"/>
                </a:cubicBezTo>
                <a:cubicBezTo>
                  <a:pt x="967" y="229"/>
                  <a:pt x="967" y="229"/>
                  <a:pt x="967" y="229"/>
                </a:cubicBezTo>
                <a:cubicBezTo>
                  <a:pt x="965" y="229"/>
                  <a:pt x="965" y="229"/>
                  <a:pt x="965" y="229"/>
                </a:cubicBezTo>
                <a:cubicBezTo>
                  <a:pt x="965" y="228"/>
                  <a:pt x="965" y="228"/>
                  <a:pt x="965" y="228"/>
                </a:cubicBezTo>
                <a:cubicBezTo>
                  <a:pt x="964" y="228"/>
                  <a:pt x="964" y="228"/>
                  <a:pt x="964" y="228"/>
                </a:cubicBezTo>
                <a:cubicBezTo>
                  <a:pt x="963" y="227"/>
                  <a:pt x="963" y="227"/>
                  <a:pt x="963" y="227"/>
                </a:cubicBezTo>
                <a:cubicBezTo>
                  <a:pt x="962" y="228"/>
                  <a:pt x="962" y="228"/>
                  <a:pt x="962" y="228"/>
                </a:cubicBezTo>
                <a:cubicBezTo>
                  <a:pt x="963" y="226"/>
                  <a:pt x="963" y="226"/>
                  <a:pt x="963" y="226"/>
                </a:cubicBezTo>
                <a:cubicBezTo>
                  <a:pt x="964" y="224"/>
                  <a:pt x="964" y="224"/>
                  <a:pt x="964" y="224"/>
                </a:cubicBezTo>
                <a:cubicBezTo>
                  <a:pt x="964" y="222"/>
                  <a:pt x="964" y="222"/>
                  <a:pt x="964" y="222"/>
                </a:cubicBezTo>
                <a:cubicBezTo>
                  <a:pt x="964" y="221"/>
                  <a:pt x="964" y="221"/>
                  <a:pt x="964" y="221"/>
                </a:cubicBezTo>
                <a:cubicBezTo>
                  <a:pt x="965" y="220"/>
                  <a:pt x="965" y="220"/>
                  <a:pt x="965" y="220"/>
                </a:cubicBezTo>
                <a:cubicBezTo>
                  <a:pt x="964" y="219"/>
                  <a:pt x="964" y="219"/>
                  <a:pt x="964" y="219"/>
                </a:cubicBezTo>
                <a:cubicBezTo>
                  <a:pt x="963" y="220"/>
                  <a:pt x="963" y="220"/>
                  <a:pt x="963" y="220"/>
                </a:cubicBezTo>
                <a:cubicBezTo>
                  <a:pt x="962" y="220"/>
                  <a:pt x="962" y="220"/>
                  <a:pt x="962" y="220"/>
                </a:cubicBezTo>
                <a:cubicBezTo>
                  <a:pt x="962" y="221"/>
                  <a:pt x="962" y="221"/>
                  <a:pt x="962" y="221"/>
                </a:cubicBezTo>
                <a:cubicBezTo>
                  <a:pt x="961" y="220"/>
                  <a:pt x="961" y="220"/>
                  <a:pt x="961" y="220"/>
                </a:cubicBezTo>
                <a:cubicBezTo>
                  <a:pt x="960" y="219"/>
                  <a:pt x="960" y="219"/>
                  <a:pt x="960" y="219"/>
                </a:cubicBezTo>
                <a:cubicBezTo>
                  <a:pt x="960" y="218"/>
                  <a:pt x="960" y="218"/>
                  <a:pt x="960" y="218"/>
                </a:cubicBezTo>
                <a:cubicBezTo>
                  <a:pt x="959" y="217"/>
                  <a:pt x="959" y="217"/>
                  <a:pt x="959" y="217"/>
                </a:cubicBezTo>
                <a:cubicBezTo>
                  <a:pt x="959" y="215"/>
                  <a:pt x="959" y="215"/>
                  <a:pt x="959" y="215"/>
                </a:cubicBezTo>
                <a:cubicBezTo>
                  <a:pt x="960" y="215"/>
                  <a:pt x="960" y="215"/>
                  <a:pt x="960" y="215"/>
                </a:cubicBezTo>
                <a:cubicBezTo>
                  <a:pt x="960" y="214"/>
                  <a:pt x="960" y="214"/>
                  <a:pt x="960" y="214"/>
                </a:cubicBezTo>
                <a:cubicBezTo>
                  <a:pt x="960" y="212"/>
                  <a:pt x="960" y="212"/>
                  <a:pt x="960" y="212"/>
                </a:cubicBezTo>
                <a:cubicBezTo>
                  <a:pt x="959" y="213"/>
                  <a:pt x="959" y="213"/>
                  <a:pt x="959" y="213"/>
                </a:cubicBezTo>
                <a:cubicBezTo>
                  <a:pt x="958" y="215"/>
                  <a:pt x="958" y="215"/>
                  <a:pt x="958" y="215"/>
                </a:cubicBezTo>
                <a:cubicBezTo>
                  <a:pt x="958" y="216"/>
                  <a:pt x="958" y="216"/>
                  <a:pt x="958" y="216"/>
                </a:cubicBezTo>
                <a:cubicBezTo>
                  <a:pt x="957" y="215"/>
                  <a:pt x="957" y="215"/>
                  <a:pt x="957" y="215"/>
                </a:cubicBezTo>
                <a:cubicBezTo>
                  <a:pt x="956" y="216"/>
                  <a:pt x="956" y="216"/>
                  <a:pt x="956" y="216"/>
                </a:cubicBezTo>
                <a:cubicBezTo>
                  <a:pt x="956" y="217"/>
                  <a:pt x="956" y="217"/>
                  <a:pt x="956" y="217"/>
                </a:cubicBezTo>
                <a:cubicBezTo>
                  <a:pt x="957" y="218"/>
                  <a:pt x="957" y="218"/>
                  <a:pt x="957" y="218"/>
                </a:cubicBezTo>
                <a:cubicBezTo>
                  <a:pt x="958" y="221"/>
                  <a:pt x="958" y="221"/>
                  <a:pt x="958" y="221"/>
                </a:cubicBezTo>
                <a:cubicBezTo>
                  <a:pt x="959" y="221"/>
                  <a:pt x="959" y="221"/>
                  <a:pt x="959" y="221"/>
                </a:cubicBezTo>
                <a:cubicBezTo>
                  <a:pt x="959" y="222"/>
                  <a:pt x="959" y="222"/>
                  <a:pt x="959" y="222"/>
                </a:cubicBezTo>
                <a:cubicBezTo>
                  <a:pt x="959" y="223"/>
                  <a:pt x="959" y="223"/>
                  <a:pt x="959" y="223"/>
                </a:cubicBezTo>
                <a:cubicBezTo>
                  <a:pt x="958" y="225"/>
                  <a:pt x="958" y="225"/>
                  <a:pt x="958" y="225"/>
                </a:cubicBezTo>
                <a:cubicBezTo>
                  <a:pt x="957" y="225"/>
                  <a:pt x="957" y="225"/>
                  <a:pt x="957" y="225"/>
                </a:cubicBezTo>
                <a:cubicBezTo>
                  <a:pt x="954" y="225"/>
                  <a:pt x="954" y="225"/>
                  <a:pt x="954" y="225"/>
                </a:cubicBezTo>
                <a:cubicBezTo>
                  <a:pt x="953" y="225"/>
                  <a:pt x="953" y="225"/>
                  <a:pt x="953" y="225"/>
                </a:cubicBezTo>
                <a:cubicBezTo>
                  <a:pt x="951" y="224"/>
                  <a:pt x="951" y="224"/>
                  <a:pt x="951" y="224"/>
                </a:cubicBezTo>
                <a:cubicBezTo>
                  <a:pt x="952" y="224"/>
                  <a:pt x="952" y="224"/>
                  <a:pt x="952" y="224"/>
                </a:cubicBezTo>
                <a:cubicBezTo>
                  <a:pt x="952" y="223"/>
                  <a:pt x="952" y="223"/>
                  <a:pt x="952" y="223"/>
                </a:cubicBezTo>
                <a:cubicBezTo>
                  <a:pt x="950" y="223"/>
                  <a:pt x="950" y="223"/>
                  <a:pt x="950" y="223"/>
                </a:cubicBezTo>
                <a:cubicBezTo>
                  <a:pt x="948" y="222"/>
                  <a:pt x="948" y="222"/>
                  <a:pt x="948" y="222"/>
                </a:cubicBezTo>
                <a:cubicBezTo>
                  <a:pt x="946" y="221"/>
                  <a:pt x="946" y="221"/>
                  <a:pt x="946" y="221"/>
                </a:cubicBezTo>
                <a:cubicBezTo>
                  <a:pt x="947" y="224"/>
                  <a:pt x="947" y="224"/>
                  <a:pt x="947" y="224"/>
                </a:cubicBezTo>
                <a:cubicBezTo>
                  <a:pt x="947" y="225"/>
                  <a:pt x="947" y="225"/>
                  <a:pt x="947" y="225"/>
                </a:cubicBezTo>
                <a:cubicBezTo>
                  <a:pt x="946" y="225"/>
                  <a:pt x="946" y="225"/>
                  <a:pt x="946" y="225"/>
                </a:cubicBezTo>
                <a:cubicBezTo>
                  <a:pt x="945" y="224"/>
                  <a:pt x="945" y="224"/>
                  <a:pt x="945" y="224"/>
                </a:cubicBezTo>
                <a:cubicBezTo>
                  <a:pt x="944" y="223"/>
                  <a:pt x="944" y="223"/>
                  <a:pt x="944" y="223"/>
                </a:cubicBezTo>
                <a:cubicBezTo>
                  <a:pt x="944" y="222"/>
                  <a:pt x="944" y="222"/>
                  <a:pt x="944" y="222"/>
                </a:cubicBezTo>
                <a:cubicBezTo>
                  <a:pt x="943" y="221"/>
                  <a:pt x="943" y="221"/>
                  <a:pt x="943" y="221"/>
                </a:cubicBezTo>
                <a:cubicBezTo>
                  <a:pt x="942" y="220"/>
                  <a:pt x="942" y="220"/>
                  <a:pt x="942" y="220"/>
                </a:cubicBezTo>
                <a:cubicBezTo>
                  <a:pt x="941" y="219"/>
                  <a:pt x="941" y="219"/>
                  <a:pt x="941" y="219"/>
                </a:cubicBezTo>
                <a:cubicBezTo>
                  <a:pt x="940" y="217"/>
                  <a:pt x="940" y="217"/>
                  <a:pt x="940" y="217"/>
                </a:cubicBezTo>
                <a:cubicBezTo>
                  <a:pt x="939" y="217"/>
                  <a:pt x="939" y="217"/>
                  <a:pt x="939" y="217"/>
                </a:cubicBezTo>
                <a:cubicBezTo>
                  <a:pt x="938" y="217"/>
                  <a:pt x="938" y="217"/>
                  <a:pt x="938" y="217"/>
                </a:cubicBezTo>
                <a:cubicBezTo>
                  <a:pt x="940" y="219"/>
                  <a:pt x="940" y="219"/>
                  <a:pt x="940" y="219"/>
                </a:cubicBezTo>
                <a:cubicBezTo>
                  <a:pt x="941" y="220"/>
                  <a:pt x="941" y="220"/>
                  <a:pt x="941" y="220"/>
                </a:cubicBezTo>
                <a:cubicBezTo>
                  <a:pt x="941" y="221"/>
                  <a:pt x="941" y="221"/>
                  <a:pt x="941" y="221"/>
                </a:cubicBezTo>
                <a:cubicBezTo>
                  <a:pt x="942" y="222"/>
                  <a:pt x="942" y="222"/>
                  <a:pt x="942" y="222"/>
                </a:cubicBezTo>
                <a:cubicBezTo>
                  <a:pt x="943" y="222"/>
                  <a:pt x="943" y="222"/>
                  <a:pt x="943" y="222"/>
                </a:cubicBezTo>
                <a:cubicBezTo>
                  <a:pt x="942" y="223"/>
                  <a:pt x="942" y="223"/>
                  <a:pt x="942" y="223"/>
                </a:cubicBezTo>
                <a:cubicBezTo>
                  <a:pt x="941" y="223"/>
                  <a:pt x="941" y="223"/>
                  <a:pt x="941" y="223"/>
                </a:cubicBezTo>
                <a:cubicBezTo>
                  <a:pt x="939" y="222"/>
                  <a:pt x="939" y="222"/>
                  <a:pt x="939" y="222"/>
                </a:cubicBezTo>
                <a:cubicBezTo>
                  <a:pt x="939" y="223"/>
                  <a:pt x="939" y="223"/>
                  <a:pt x="939" y="223"/>
                </a:cubicBezTo>
                <a:cubicBezTo>
                  <a:pt x="938" y="222"/>
                  <a:pt x="938" y="222"/>
                  <a:pt x="938" y="222"/>
                </a:cubicBezTo>
                <a:cubicBezTo>
                  <a:pt x="937" y="221"/>
                  <a:pt x="937" y="221"/>
                  <a:pt x="937" y="221"/>
                </a:cubicBezTo>
                <a:cubicBezTo>
                  <a:pt x="936" y="220"/>
                  <a:pt x="936" y="220"/>
                  <a:pt x="936" y="220"/>
                </a:cubicBezTo>
                <a:cubicBezTo>
                  <a:pt x="934" y="220"/>
                  <a:pt x="934" y="220"/>
                  <a:pt x="934" y="220"/>
                </a:cubicBezTo>
                <a:cubicBezTo>
                  <a:pt x="933" y="221"/>
                  <a:pt x="933" y="221"/>
                  <a:pt x="933" y="221"/>
                </a:cubicBezTo>
                <a:cubicBezTo>
                  <a:pt x="932" y="220"/>
                  <a:pt x="932" y="220"/>
                  <a:pt x="932" y="220"/>
                </a:cubicBezTo>
                <a:cubicBezTo>
                  <a:pt x="931" y="220"/>
                  <a:pt x="931" y="220"/>
                  <a:pt x="931" y="220"/>
                </a:cubicBezTo>
                <a:cubicBezTo>
                  <a:pt x="930" y="220"/>
                  <a:pt x="930" y="220"/>
                  <a:pt x="930" y="220"/>
                </a:cubicBezTo>
                <a:cubicBezTo>
                  <a:pt x="929" y="219"/>
                  <a:pt x="929" y="219"/>
                  <a:pt x="929" y="219"/>
                </a:cubicBezTo>
                <a:cubicBezTo>
                  <a:pt x="928" y="218"/>
                  <a:pt x="928" y="218"/>
                  <a:pt x="928" y="218"/>
                </a:cubicBezTo>
                <a:cubicBezTo>
                  <a:pt x="928" y="217"/>
                  <a:pt x="928" y="217"/>
                  <a:pt x="928" y="217"/>
                </a:cubicBezTo>
                <a:cubicBezTo>
                  <a:pt x="930" y="216"/>
                  <a:pt x="930" y="216"/>
                  <a:pt x="930" y="216"/>
                </a:cubicBezTo>
                <a:cubicBezTo>
                  <a:pt x="930" y="215"/>
                  <a:pt x="930" y="215"/>
                  <a:pt x="930" y="215"/>
                </a:cubicBezTo>
                <a:cubicBezTo>
                  <a:pt x="929" y="215"/>
                  <a:pt x="929" y="215"/>
                  <a:pt x="929" y="215"/>
                </a:cubicBezTo>
                <a:cubicBezTo>
                  <a:pt x="928" y="216"/>
                  <a:pt x="928" y="216"/>
                  <a:pt x="928" y="216"/>
                </a:cubicBezTo>
                <a:cubicBezTo>
                  <a:pt x="927" y="217"/>
                  <a:pt x="927" y="217"/>
                  <a:pt x="927" y="217"/>
                </a:cubicBezTo>
                <a:cubicBezTo>
                  <a:pt x="926" y="217"/>
                  <a:pt x="926" y="217"/>
                  <a:pt x="926" y="217"/>
                </a:cubicBezTo>
                <a:cubicBezTo>
                  <a:pt x="925" y="216"/>
                  <a:pt x="925" y="216"/>
                  <a:pt x="925" y="216"/>
                </a:cubicBezTo>
                <a:cubicBezTo>
                  <a:pt x="924" y="216"/>
                  <a:pt x="924" y="216"/>
                  <a:pt x="924" y="216"/>
                </a:cubicBezTo>
                <a:cubicBezTo>
                  <a:pt x="925" y="217"/>
                  <a:pt x="925" y="217"/>
                  <a:pt x="925" y="217"/>
                </a:cubicBezTo>
                <a:cubicBezTo>
                  <a:pt x="925" y="218"/>
                  <a:pt x="925" y="218"/>
                  <a:pt x="925" y="218"/>
                </a:cubicBezTo>
                <a:cubicBezTo>
                  <a:pt x="923" y="218"/>
                  <a:pt x="923" y="218"/>
                  <a:pt x="923" y="218"/>
                </a:cubicBezTo>
                <a:cubicBezTo>
                  <a:pt x="921" y="216"/>
                  <a:pt x="921" y="216"/>
                  <a:pt x="921" y="216"/>
                </a:cubicBezTo>
                <a:cubicBezTo>
                  <a:pt x="921" y="215"/>
                  <a:pt x="921" y="215"/>
                  <a:pt x="921" y="215"/>
                </a:cubicBezTo>
                <a:cubicBezTo>
                  <a:pt x="920" y="214"/>
                  <a:pt x="920" y="214"/>
                  <a:pt x="920" y="214"/>
                </a:cubicBezTo>
                <a:cubicBezTo>
                  <a:pt x="920" y="213"/>
                  <a:pt x="920" y="213"/>
                  <a:pt x="920" y="213"/>
                </a:cubicBezTo>
                <a:cubicBezTo>
                  <a:pt x="922" y="212"/>
                  <a:pt x="922" y="212"/>
                  <a:pt x="922" y="212"/>
                </a:cubicBezTo>
                <a:cubicBezTo>
                  <a:pt x="923" y="211"/>
                  <a:pt x="923" y="211"/>
                  <a:pt x="923" y="211"/>
                </a:cubicBezTo>
                <a:cubicBezTo>
                  <a:pt x="922" y="211"/>
                  <a:pt x="922" y="211"/>
                  <a:pt x="922" y="211"/>
                </a:cubicBezTo>
                <a:cubicBezTo>
                  <a:pt x="920" y="212"/>
                  <a:pt x="920" y="212"/>
                  <a:pt x="920" y="212"/>
                </a:cubicBezTo>
                <a:cubicBezTo>
                  <a:pt x="920" y="213"/>
                  <a:pt x="920" y="213"/>
                  <a:pt x="920" y="213"/>
                </a:cubicBezTo>
                <a:cubicBezTo>
                  <a:pt x="919" y="213"/>
                  <a:pt x="919" y="213"/>
                  <a:pt x="919" y="213"/>
                </a:cubicBezTo>
                <a:cubicBezTo>
                  <a:pt x="919" y="212"/>
                  <a:pt x="919" y="212"/>
                  <a:pt x="919" y="212"/>
                </a:cubicBezTo>
                <a:cubicBezTo>
                  <a:pt x="919" y="211"/>
                  <a:pt x="919" y="211"/>
                  <a:pt x="919" y="211"/>
                </a:cubicBezTo>
                <a:cubicBezTo>
                  <a:pt x="918" y="211"/>
                  <a:pt x="918" y="211"/>
                  <a:pt x="918" y="211"/>
                </a:cubicBezTo>
                <a:cubicBezTo>
                  <a:pt x="918" y="212"/>
                  <a:pt x="918" y="212"/>
                  <a:pt x="918" y="212"/>
                </a:cubicBezTo>
                <a:cubicBezTo>
                  <a:pt x="918" y="213"/>
                  <a:pt x="918" y="213"/>
                  <a:pt x="918" y="213"/>
                </a:cubicBezTo>
                <a:cubicBezTo>
                  <a:pt x="917" y="213"/>
                  <a:pt x="917" y="213"/>
                  <a:pt x="917" y="213"/>
                </a:cubicBezTo>
                <a:cubicBezTo>
                  <a:pt x="916" y="212"/>
                  <a:pt x="916" y="212"/>
                  <a:pt x="916" y="212"/>
                </a:cubicBezTo>
                <a:cubicBezTo>
                  <a:pt x="915" y="212"/>
                  <a:pt x="915" y="212"/>
                  <a:pt x="915" y="212"/>
                </a:cubicBezTo>
                <a:cubicBezTo>
                  <a:pt x="914" y="212"/>
                  <a:pt x="914" y="212"/>
                  <a:pt x="914" y="212"/>
                </a:cubicBezTo>
                <a:cubicBezTo>
                  <a:pt x="914" y="213"/>
                  <a:pt x="914" y="213"/>
                  <a:pt x="914" y="213"/>
                </a:cubicBezTo>
                <a:cubicBezTo>
                  <a:pt x="913" y="213"/>
                  <a:pt x="913" y="213"/>
                  <a:pt x="913" y="213"/>
                </a:cubicBezTo>
                <a:cubicBezTo>
                  <a:pt x="912" y="212"/>
                  <a:pt x="912" y="212"/>
                  <a:pt x="912" y="212"/>
                </a:cubicBezTo>
                <a:cubicBezTo>
                  <a:pt x="912" y="211"/>
                  <a:pt x="912" y="211"/>
                  <a:pt x="912" y="211"/>
                </a:cubicBezTo>
                <a:cubicBezTo>
                  <a:pt x="913" y="211"/>
                  <a:pt x="913" y="211"/>
                  <a:pt x="913" y="211"/>
                </a:cubicBezTo>
                <a:cubicBezTo>
                  <a:pt x="912" y="210"/>
                  <a:pt x="912" y="210"/>
                  <a:pt x="912" y="210"/>
                </a:cubicBezTo>
                <a:cubicBezTo>
                  <a:pt x="910" y="209"/>
                  <a:pt x="910" y="209"/>
                  <a:pt x="910" y="209"/>
                </a:cubicBezTo>
                <a:cubicBezTo>
                  <a:pt x="910" y="208"/>
                  <a:pt x="910" y="208"/>
                  <a:pt x="910" y="208"/>
                </a:cubicBezTo>
                <a:cubicBezTo>
                  <a:pt x="910" y="206"/>
                  <a:pt x="910" y="206"/>
                  <a:pt x="910" y="206"/>
                </a:cubicBezTo>
                <a:cubicBezTo>
                  <a:pt x="910" y="205"/>
                  <a:pt x="910" y="205"/>
                  <a:pt x="910" y="205"/>
                </a:cubicBezTo>
                <a:cubicBezTo>
                  <a:pt x="910" y="203"/>
                  <a:pt x="910" y="203"/>
                  <a:pt x="910" y="203"/>
                </a:cubicBezTo>
                <a:cubicBezTo>
                  <a:pt x="910" y="202"/>
                  <a:pt x="910" y="202"/>
                  <a:pt x="910" y="202"/>
                </a:cubicBezTo>
                <a:cubicBezTo>
                  <a:pt x="911" y="202"/>
                  <a:pt x="911" y="202"/>
                  <a:pt x="911" y="202"/>
                </a:cubicBezTo>
                <a:cubicBezTo>
                  <a:pt x="911" y="201"/>
                  <a:pt x="911" y="201"/>
                  <a:pt x="911" y="201"/>
                </a:cubicBezTo>
                <a:cubicBezTo>
                  <a:pt x="910" y="200"/>
                  <a:pt x="910" y="200"/>
                  <a:pt x="910" y="200"/>
                </a:cubicBezTo>
                <a:cubicBezTo>
                  <a:pt x="911" y="199"/>
                  <a:pt x="911" y="199"/>
                  <a:pt x="911" y="199"/>
                </a:cubicBezTo>
                <a:cubicBezTo>
                  <a:pt x="912" y="200"/>
                  <a:pt x="912" y="200"/>
                  <a:pt x="912" y="200"/>
                </a:cubicBezTo>
                <a:cubicBezTo>
                  <a:pt x="914" y="200"/>
                  <a:pt x="914" y="200"/>
                  <a:pt x="914" y="200"/>
                </a:cubicBezTo>
                <a:cubicBezTo>
                  <a:pt x="915" y="201"/>
                  <a:pt x="915" y="201"/>
                  <a:pt x="915" y="201"/>
                </a:cubicBezTo>
                <a:cubicBezTo>
                  <a:pt x="916" y="202"/>
                  <a:pt x="916" y="202"/>
                  <a:pt x="916" y="202"/>
                </a:cubicBezTo>
                <a:cubicBezTo>
                  <a:pt x="918" y="203"/>
                  <a:pt x="918" y="203"/>
                  <a:pt x="918" y="203"/>
                </a:cubicBezTo>
                <a:cubicBezTo>
                  <a:pt x="920" y="203"/>
                  <a:pt x="920" y="203"/>
                  <a:pt x="920" y="203"/>
                </a:cubicBezTo>
                <a:cubicBezTo>
                  <a:pt x="922" y="203"/>
                  <a:pt x="922" y="203"/>
                  <a:pt x="922" y="203"/>
                </a:cubicBezTo>
                <a:cubicBezTo>
                  <a:pt x="921" y="202"/>
                  <a:pt x="921" y="202"/>
                  <a:pt x="921" y="202"/>
                </a:cubicBezTo>
                <a:cubicBezTo>
                  <a:pt x="921" y="201"/>
                  <a:pt x="921" y="201"/>
                  <a:pt x="921" y="201"/>
                </a:cubicBezTo>
                <a:cubicBezTo>
                  <a:pt x="920" y="200"/>
                  <a:pt x="920" y="200"/>
                  <a:pt x="920" y="200"/>
                </a:cubicBezTo>
                <a:cubicBezTo>
                  <a:pt x="919" y="199"/>
                  <a:pt x="919" y="199"/>
                  <a:pt x="919" y="199"/>
                </a:cubicBezTo>
                <a:cubicBezTo>
                  <a:pt x="918" y="199"/>
                  <a:pt x="918" y="199"/>
                  <a:pt x="918" y="199"/>
                </a:cubicBezTo>
                <a:cubicBezTo>
                  <a:pt x="916" y="198"/>
                  <a:pt x="916" y="198"/>
                  <a:pt x="916" y="198"/>
                </a:cubicBezTo>
                <a:cubicBezTo>
                  <a:pt x="914" y="197"/>
                  <a:pt x="914" y="197"/>
                  <a:pt x="914" y="197"/>
                </a:cubicBezTo>
                <a:cubicBezTo>
                  <a:pt x="913" y="197"/>
                  <a:pt x="913" y="197"/>
                  <a:pt x="913" y="197"/>
                </a:cubicBezTo>
                <a:cubicBezTo>
                  <a:pt x="911" y="196"/>
                  <a:pt x="911" y="196"/>
                  <a:pt x="911" y="196"/>
                </a:cubicBezTo>
                <a:cubicBezTo>
                  <a:pt x="910" y="195"/>
                  <a:pt x="910" y="195"/>
                  <a:pt x="910" y="195"/>
                </a:cubicBezTo>
                <a:cubicBezTo>
                  <a:pt x="910" y="193"/>
                  <a:pt x="910" y="193"/>
                  <a:pt x="910" y="193"/>
                </a:cubicBezTo>
                <a:cubicBezTo>
                  <a:pt x="912" y="192"/>
                  <a:pt x="912" y="192"/>
                  <a:pt x="912" y="192"/>
                </a:cubicBezTo>
                <a:cubicBezTo>
                  <a:pt x="911" y="191"/>
                  <a:pt x="911" y="191"/>
                  <a:pt x="911" y="191"/>
                </a:cubicBezTo>
                <a:cubicBezTo>
                  <a:pt x="912" y="190"/>
                  <a:pt x="912" y="190"/>
                  <a:pt x="912" y="190"/>
                </a:cubicBezTo>
                <a:cubicBezTo>
                  <a:pt x="913" y="190"/>
                  <a:pt x="913" y="190"/>
                  <a:pt x="913" y="190"/>
                </a:cubicBezTo>
                <a:cubicBezTo>
                  <a:pt x="913" y="188"/>
                  <a:pt x="913" y="188"/>
                  <a:pt x="913" y="188"/>
                </a:cubicBezTo>
                <a:cubicBezTo>
                  <a:pt x="913" y="186"/>
                  <a:pt x="913" y="186"/>
                  <a:pt x="913" y="186"/>
                </a:cubicBezTo>
                <a:cubicBezTo>
                  <a:pt x="914" y="185"/>
                  <a:pt x="914" y="185"/>
                  <a:pt x="914" y="185"/>
                </a:cubicBezTo>
                <a:cubicBezTo>
                  <a:pt x="915" y="185"/>
                  <a:pt x="915" y="185"/>
                  <a:pt x="915" y="185"/>
                </a:cubicBezTo>
                <a:cubicBezTo>
                  <a:pt x="915" y="184"/>
                  <a:pt x="915" y="184"/>
                  <a:pt x="915" y="184"/>
                </a:cubicBezTo>
                <a:cubicBezTo>
                  <a:pt x="917" y="183"/>
                  <a:pt x="917" y="183"/>
                  <a:pt x="917" y="183"/>
                </a:cubicBezTo>
                <a:cubicBezTo>
                  <a:pt x="918" y="183"/>
                  <a:pt x="918" y="183"/>
                  <a:pt x="918" y="183"/>
                </a:cubicBezTo>
                <a:cubicBezTo>
                  <a:pt x="918" y="182"/>
                  <a:pt x="918" y="182"/>
                  <a:pt x="918" y="182"/>
                </a:cubicBezTo>
                <a:cubicBezTo>
                  <a:pt x="917" y="182"/>
                  <a:pt x="917" y="182"/>
                  <a:pt x="917" y="182"/>
                </a:cubicBezTo>
                <a:cubicBezTo>
                  <a:pt x="917" y="181"/>
                  <a:pt x="917" y="181"/>
                  <a:pt x="917" y="181"/>
                </a:cubicBezTo>
                <a:cubicBezTo>
                  <a:pt x="918" y="179"/>
                  <a:pt x="918" y="179"/>
                  <a:pt x="918" y="179"/>
                </a:cubicBezTo>
                <a:cubicBezTo>
                  <a:pt x="919" y="178"/>
                  <a:pt x="919" y="178"/>
                  <a:pt x="919" y="178"/>
                </a:cubicBezTo>
                <a:cubicBezTo>
                  <a:pt x="920" y="177"/>
                  <a:pt x="920" y="177"/>
                  <a:pt x="920" y="177"/>
                </a:cubicBezTo>
                <a:cubicBezTo>
                  <a:pt x="921" y="176"/>
                  <a:pt x="921" y="176"/>
                  <a:pt x="921" y="176"/>
                </a:cubicBezTo>
                <a:cubicBezTo>
                  <a:pt x="922" y="176"/>
                  <a:pt x="922" y="176"/>
                  <a:pt x="922" y="176"/>
                </a:cubicBezTo>
                <a:cubicBezTo>
                  <a:pt x="922" y="174"/>
                  <a:pt x="922" y="174"/>
                  <a:pt x="922" y="174"/>
                </a:cubicBezTo>
                <a:cubicBezTo>
                  <a:pt x="923" y="174"/>
                  <a:pt x="923" y="174"/>
                  <a:pt x="923" y="174"/>
                </a:cubicBezTo>
                <a:cubicBezTo>
                  <a:pt x="923" y="175"/>
                  <a:pt x="923" y="175"/>
                  <a:pt x="923" y="175"/>
                </a:cubicBezTo>
                <a:cubicBezTo>
                  <a:pt x="924" y="174"/>
                  <a:pt x="924" y="174"/>
                  <a:pt x="924" y="174"/>
                </a:cubicBezTo>
                <a:cubicBezTo>
                  <a:pt x="924" y="173"/>
                  <a:pt x="924" y="173"/>
                  <a:pt x="924" y="173"/>
                </a:cubicBezTo>
                <a:cubicBezTo>
                  <a:pt x="925" y="171"/>
                  <a:pt x="925" y="171"/>
                  <a:pt x="925" y="171"/>
                </a:cubicBezTo>
                <a:cubicBezTo>
                  <a:pt x="926" y="171"/>
                  <a:pt x="926" y="171"/>
                  <a:pt x="926" y="171"/>
                </a:cubicBezTo>
                <a:cubicBezTo>
                  <a:pt x="926" y="170"/>
                  <a:pt x="926" y="170"/>
                  <a:pt x="926" y="170"/>
                </a:cubicBezTo>
                <a:cubicBezTo>
                  <a:pt x="927" y="169"/>
                  <a:pt x="927" y="169"/>
                  <a:pt x="927" y="169"/>
                </a:cubicBezTo>
                <a:cubicBezTo>
                  <a:pt x="928" y="169"/>
                  <a:pt x="928" y="169"/>
                  <a:pt x="928" y="169"/>
                </a:cubicBezTo>
                <a:cubicBezTo>
                  <a:pt x="929" y="168"/>
                  <a:pt x="929" y="168"/>
                  <a:pt x="929" y="168"/>
                </a:cubicBezTo>
                <a:cubicBezTo>
                  <a:pt x="930" y="168"/>
                  <a:pt x="930" y="168"/>
                  <a:pt x="930" y="168"/>
                </a:cubicBezTo>
                <a:cubicBezTo>
                  <a:pt x="931" y="168"/>
                  <a:pt x="931" y="168"/>
                  <a:pt x="931" y="168"/>
                </a:cubicBezTo>
                <a:cubicBezTo>
                  <a:pt x="930" y="167"/>
                  <a:pt x="930" y="167"/>
                  <a:pt x="930" y="167"/>
                </a:cubicBezTo>
                <a:cubicBezTo>
                  <a:pt x="931" y="166"/>
                  <a:pt x="931" y="166"/>
                  <a:pt x="931" y="166"/>
                </a:cubicBezTo>
                <a:cubicBezTo>
                  <a:pt x="933" y="165"/>
                  <a:pt x="933" y="165"/>
                  <a:pt x="933" y="165"/>
                </a:cubicBezTo>
                <a:cubicBezTo>
                  <a:pt x="935" y="163"/>
                  <a:pt x="935" y="163"/>
                  <a:pt x="935" y="163"/>
                </a:cubicBezTo>
                <a:cubicBezTo>
                  <a:pt x="938" y="162"/>
                  <a:pt x="938" y="162"/>
                  <a:pt x="938" y="162"/>
                </a:cubicBezTo>
                <a:cubicBezTo>
                  <a:pt x="941" y="162"/>
                  <a:pt x="941" y="162"/>
                  <a:pt x="941" y="162"/>
                </a:cubicBezTo>
                <a:cubicBezTo>
                  <a:pt x="942" y="161"/>
                  <a:pt x="942" y="161"/>
                  <a:pt x="942" y="161"/>
                </a:cubicBezTo>
                <a:cubicBezTo>
                  <a:pt x="943" y="161"/>
                  <a:pt x="943" y="161"/>
                  <a:pt x="943" y="161"/>
                </a:cubicBezTo>
                <a:cubicBezTo>
                  <a:pt x="944" y="161"/>
                  <a:pt x="944" y="161"/>
                  <a:pt x="944" y="161"/>
                </a:cubicBezTo>
                <a:cubicBezTo>
                  <a:pt x="945" y="161"/>
                  <a:pt x="945" y="161"/>
                  <a:pt x="945" y="161"/>
                </a:cubicBezTo>
                <a:cubicBezTo>
                  <a:pt x="947" y="161"/>
                  <a:pt x="947" y="161"/>
                  <a:pt x="947" y="161"/>
                </a:cubicBezTo>
                <a:cubicBezTo>
                  <a:pt x="948" y="162"/>
                  <a:pt x="948" y="162"/>
                  <a:pt x="948" y="162"/>
                </a:cubicBezTo>
                <a:cubicBezTo>
                  <a:pt x="951" y="164"/>
                  <a:pt x="951" y="164"/>
                  <a:pt x="951" y="164"/>
                </a:cubicBezTo>
                <a:cubicBezTo>
                  <a:pt x="951" y="165"/>
                  <a:pt x="951" y="165"/>
                  <a:pt x="951" y="165"/>
                </a:cubicBezTo>
                <a:cubicBezTo>
                  <a:pt x="949" y="166"/>
                  <a:pt x="949" y="166"/>
                  <a:pt x="949" y="166"/>
                </a:cubicBezTo>
                <a:cubicBezTo>
                  <a:pt x="947" y="167"/>
                  <a:pt x="947" y="167"/>
                  <a:pt x="947" y="167"/>
                </a:cubicBezTo>
                <a:cubicBezTo>
                  <a:pt x="946" y="167"/>
                  <a:pt x="946" y="167"/>
                  <a:pt x="946" y="167"/>
                </a:cubicBezTo>
                <a:cubicBezTo>
                  <a:pt x="945" y="168"/>
                  <a:pt x="945" y="168"/>
                  <a:pt x="945" y="168"/>
                </a:cubicBezTo>
                <a:cubicBezTo>
                  <a:pt x="944" y="169"/>
                  <a:pt x="944" y="169"/>
                  <a:pt x="944" y="169"/>
                </a:cubicBezTo>
                <a:cubicBezTo>
                  <a:pt x="943" y="169"/>
                  <a:pt x="943" y="169"/>
                  <a:pt x="943" y="169"/>
                </a:cubicBezTo>
                <a:cubicBezTo>
                  <a:pt x="941" y="172"/>
                  <a:pt x="941" y="172"/>
                  <a:pt x="941" y="172"/>
                </a:cubicBezTo>
                <a:cubicBezTo>
                  <a:pt x="938" y="174"/>
                  <a:pt x="938" y="174"/>
                  <a:pt x="938" y="174"/>
                </a:cubicBezTo>
                <a:cubicBezTo>
                  <a:pt x="937" y="176"/>
                  <a:pt x="937" y="176"/>
                  <a:pt x="937" y="176"/>
                </a:cubicBezTo>
                <a:cubicBezTo>
                  <a:pt x="936" y="176"/>
                  <a:pt x="936" y="176"/>
                  <a:pt x="936" y="176"/>
                </a:cubicBezTo>
                <a:cubicBezTo>
                  <a:pt x="935" y="178"/>
                  <a:pt x="935" y="178"/>
                  <a:pt x="935" y="178"/>
                </a:cubicBezTo>
                <a:cubicBezTo>
                  <a:pt x="934" y="180"/>
                  <a:pt x="934" y="180"/>
                  <a:pt x="934" y="180"/>
                </a:cubicBezTo>
                <a:cubicBezTo>
                  <a:pt x="935" y="181"/>
                  <a:pt x="935" y="181"/>
                  <a:pt x="935" y="181"/>
                </a:cubicBezTo>
                <a:cubicBezTo>
                  <a:pt x="936" y="182"/>
                  <a:pt x="936" y="182"/>
                  <a:pt x="936" y="182"/>
                </a:cubicBezTo>
                <a:cubicBezTo>
                  <a:pt x="936" y="183"/>
                  <a:pt x="936" y="183"/>
                  <a:pt x="936" y="183"/>
                </a:cubicBezTo>
                <a:cubicBezTo>
                  <a:pt x="935" y="184"/>
                  <a:pt x="935" y="184"/>
                  <a:pt x="935" y="184"/>
                </a:cubicBezTo>
                <a:cubicBezTo>
                  <a:pt x="934" y="185"/>
                  <a:pt x="934" y="185"/>
                  <a:pt x="934" y="185"/>
                </a:cubicBezTo>
                <a:cubicBezTo>
                  <a:pt x="933" y="186"/>
                  <a:pt x="933" y="186"/>
                  <a:pt x="933" y="186"/>
                </a:cubicBezTo>
                <a:cubicBezTo>
                  <a:pt x="932" y="187"/>
                  <a:pt x="932" y="187"/>
                  <a:pt x="932" y="187"/>
                </a:cubicBezTo>
                <a:cubicBezTo>
                  <a:pt x="932" y="189"/>
                  <a:pt x="932" y="189"/>
                  <a:pt x="932" y="189"/>
                </a:cubicBezTo>
                <a:cubicBezTo>
                  <a:pt x="931" y="189"/>
                  <a:pt x="931" y="189"/>
                  <a:pt x="931" y="189"/>
                </a:cubicBezTo>
                <a:cubicBezTo>
                  <a:pt x="931" y="190"/>
                  <a:pt x="931" y="190"/>
                  <a:pt x="931" y="190"/>
                </a:cubicBezTo>
                <a:cubicBezTo>
                  <a:pt x="932" y="191"/>
                  <a:pt x="932" y="191"/>
                  <a:pt x="932" y="191"/>
                </a:cubicBezTo>
                <a:cubicBezTo>
                  <a:pt x="932" y="193"/>
                  <a:pt x="932" y="193"/>
                  <a:pt x="932" y="193"/>
                </a:cubicBezTo>
                <a:cubicBezTo>
                  <a:pt x="932" y="194"/>
                  <a:pt x="932" y="194"/>
                  <a:pt x="932" y="194"/>
                </a:cubicBezTo>
                <a:cubicBezTo>
                  <a:pt x="932" y="196"/>
                  <a:pt x="932" y="196"/>
                  <a:pt x="932" y="196"/>
                </a:cubicBezTo>
                <a:cubicBezTo>
                  <a:pt x="933" y="197"/>
                  <a:pt x="933" y="197"/>
                  <a:pt x="933" y="197"/>
                </a:cubicBezTo>
                <a:cubicBezTo>
                  <a:pt x="934" y="198"/>
                  <a:pt x="934" y="198"/>
                  <a:pt x="934" y="198"/>
                </a:cubicBezTo>
                <a:cubicBezTo>
                  <a:pt x="935" y="198"/>
                  <a:pt x="935" y="198"/>
                  <a:pt x="935" y="198"/>
                </a:cubicBezTo>
                <a:cubicBezTo>
                  <a:pt x="935" y="200"/>
                  <a:pt x="935" y="200"/>
                  <a:pt x="935" y="200"/>
                </a:cubicBezTo>
                <a:cubicBezTo>
                  <a:pt x="934" y="201"/>
                  <a:pt x="934" y="201"/>
                  <a:pt x="934" y="201"/>
                </a:cubicBezTo>
                <a:cubicBezTo>
                  <a:pt x="934" y="200"/>
                  <a:pt x="934" y="200"/>
                  <a:pt x="934" y="200"/>
                </a:cubicBezTo>
                <a:cubicBezTo>
                  <a:pt x="933" y="200"/>
                  <a:pt x="933" y="200"/>
                  <a:pt x="933" y="200"/>
                </a:cubicBezTo>
                <a:cubicBezTo>
                  <a:pt x="932" y="200"/>
                  <a:pt x="932" y="200"/>
                  <a:pt x="932" y="200"/>
                </a:cubicBezTo>
                <a:cubicBezTo>
                  <a:pt x="932" y="201"/>
                  <a:pt x="932" y="201"/>
                  <a:pt x="932" y="201"/>
                </a:cubicBezTo>
                <a:cubicBezTo>
                  <a:pt x="931" y="201"/>
                  <a:pt x="931" y="201"/>
                  <a:pt x="931" y="201"/>
                </a:cubicBezTo>
                <a:cubicBezTo>
                  <a:pt x="932" y="202"/>
                  <a:pt x="932" y="202"/>
                  <a:pt x="932" y="202"/>
                </a:cubicBezTo>
                <a:cubicBezTo>
                  <a:pt x="933" y="202"/>
                  <a:pt x="933" y="202"/>
                  <a:pt x="933" y="202"/>
                </a:cubicBezTo>
                <a:cubicBezTo>
                  <a:pt x="934" y="202"/>
                  <a:pt x="934" y="202"/>
                  <a:pt x="934" y="202"/>
                </a:cubicBezTo>
                <a:cubicBezTo>
                  <a:pt x="933" y="203"/>
                  <a:pt x="933" y="203"/>
                  <a:pt x="933" y="203"/>
                </a:cubicBezTo>
                <a:cubicBezTo>
                  <a:pt x="932" y="205"/>
                  <a:pt x="932" y="205"/>
                  <a:pt x="932" y="205"/>
                </a:cubicBezTo>
                <a:cubicBezTo>
                  <a:pt x="932" y="206"/>
                  <a:pt x="932" y="206"/>
                  <a:pt x="932" y="206"/>
                </a:cubicBezTo>
                <a:cubicBezTo>
                  <a:pt x="932" y="207"/>
                  <a:pt x="932" y="207"/>
                  <a:pt x="932" y="207"/>
                </a:cubicBezTo>
                <a:cubicBezTo>
                  <a:pt x="934" y="205"/>
                  <a:pt x="934" y="205"/>
                  <a:pt x="934" y="205"/>
                </a:cubicBezTo>
                <a:cubicBezTo>
                  <a:pt x="935" y="202"/>
                  <a:pt x="935" y="202"/>
                  <a:pt x="935" y="202"/>
                </a:cubicBezTo>
                <a:cubicBezTo>
                  <a:pt x="936" y="199"/>
                  <a:pt x="936" y="199"/>
                  <a:pt x="936" y="199"/>
                </a:cubicBezTo>
                <a:cubicBezTo>
                  <a:pt x="937" y="198"/>
                  <a:pt x="937" y="198"/>
                  <a:pt x="937" y="198"/>
                </a:cubicBezTo>
                <a:cubicBezTo>
                  <a:pt x="937" y="197"/>
                  <a:pt x="937" y="197"/>
                  <a:pt x="937" y="197"/>
                </a:cubicBezTo>
                <a:cubicBezTo>
                  <a:pt x="937" y="196"/>
                  <a:pt x="937" y="196"/>
                  <a:pt x="937" y="196"/>
                </a:cubicBezTo>
                <a:cubicBezTo>
                  <a:pt x="937" y="195"/>
                  <a:pt x="937" y="195"/>
                  <a:pt x="937" y="195"/>
                </a:cubicBezTo>
                <a:cubicBezTo>
                  <a:pt x="936" y="195"/>
                  <a:pt x="936" y="195"/>
                  <a:pt x="936" y="195"/>
                </a:cubicBezTo>
                <a:cubicBezTo>
                  <a:pt x="936" y="194"/>
                  <a:pt x="936" y="194"/>
                  <a:pt x="936" y="194"/>
                </a:cubicBezTo>
                <a:cubicBezTo>
                  <a:pt x="936" y="193"/>
                  <a:pt x="936" y="193"/>
                  <a:pt x="936" y="193"/>
                </a:cubicBezTo>
                <a:cubicBezTo>
                  <a:pt x="935" y="193"/>
                  <a:pt x="935" y="193"/>
                  <a:pt x="935" y="193"/>
                </a:cubicBezTo>
                <a:cubicBezTo>
                  <a:pt x="935" y="191"/>
                  <a:pt x="935" y="191"/>
                  <a:pt x="935" y="191"/>
                </a:cubicBezTo>
                <a:cubicBezTo>
                  <a:pt x="935" y="190"/>
                  <a:pt x="935" y="190"/>
                  <a:pt x="935" y="190"/>
                </a:cubicBezTo>
                <a:cubicBezTo>
                  <a:pt x="934" y="188"/>
                  <a:pt x="934" y="188"/>
                  <a:pt x="934" y="188"/>
                </a:cubicBezTo>
                <a:cubicBezTo>
                  <a:pt x="935" y="188"/>
                  <a:pt x="935" y="188"/>
                  <a:pt x="935" y="188"/>
                </a:cubicBezTo>
                <a:cubicBezTo>
                  <a:pt x="935" y="189"/>
                  <a:pt x="935" y="189"/>
                  <a:pt x="935" y="189"/>
                </a:cubicBezTo>
                <a:cubicBezTo>
                  <a:pt x="936" y="189"/>
                  <a:pt x="936" y="189"/>
                  <a:pt x="936" y="189"/>
                </a:cubicBezTo>
                <a:cubicBezTo>
                  <a:pt x="937" y="188"/>
                  <a:pt x="937" y="188"/>
                  <a:pt x="937" y="188"/>
                </a:cubicBezTo>
                <a:cubicBezTo>
                  <a:pt x="938" y="187"/>
                  <a:pt x="938" y="187"/>
                  <a:pt x="938" y="187"/>
                </a:cubicBezTo>
                <a:cubicBezTo>
                  <a:pt x="938" y="186"/>
                  <a:pt x="938" y="186"/>
                  <a:pt x="938" y="186"/>
                </a:cubicBezTo>
                <a:cubicBezTo>
                  <a:pt x="938" y="185"/>
                  <a:pt x="938" y="185"/>
                  <a:pt x="938" y="185"/>
                </a:cubicBezTo>
                <a:cubicBezTo>
                  <a:pt x="939" y="186"/>
                  <a:pt x="939" y="186"/>
                  <a:pt x="939" y="186"/>
                </a:cubicBezTo>
                <a:cubicBezTo>
                  <a:pt x="940" y="187"/>
                  <a:pt x="940" y="187"/>
                  <a:pt x="940" y="187"/>
                </a:cubicBezTo>
                <a:cubicBezTo>
                  <a:pt x="940" y="188"/>
                  <a:pt x="940" y="188"/>
                  <a:pt x="940" y="188"/>
                </a:cubicBezTo>
                <a:cubicBezTo>
                  <a:pt x="940" y="189"/>
                  <a:pt x="940" y="189"/>
                  <a:pt x="940" y="189"/>
                </a:cubicBezTo>
                <a:cubicBezTo>
                  <a:pt x="941" y="188"/>
                  <a:pt x="941" y="188"/>
                  <a:pt x="941" y="188"/>
                </a:cubicBezTo>
                <a:cubicBezTo>
                  <a:pt x="941" y="186"/>
                  <a:pt x="941" y="186"/>
                  <a:pt x="941" y="186"/>
                </a:cubicBezTo>
                <a:cubicBezTo>
                  <a:pt x="942" y="185"/>
                  <a:pt x="942" y="185"/>
                  <a:pt x="942" y="185"/>
                </a:cubicBezTo>
                <a:cubicBezTo>
                  <a:pt x="943" y="185"/>
                  <a:pt x="943" y="185"/>
                  <a:pt x="943" y="185"/>
                </a:cubicBezTo>
                <a:cubicBezTo>
                  <a:pt x="943" y="184"/>
                  <a:pt x="943" y="184"/>
                  <a:pt x="943" y="184"/>
                </a:cubicBezTo>
                <a:cubicBezTo>
                  <a:pt x="944" y="184"/>
                  <a:pt x="944" y="184"/>
                  <a:pt x="944" y="184"/>
                </a:cubicBezTo>
                <a:cubicBezTo>
                  <a:pt x="944" y="183"/>
                  <a:pt x="944" y="183"/>
                  <a:pt x="944" y="183"/>
                </a:cubicBezTo>
                <a:cubicBezTo>
                  <a:pt x="943" y="183"/>
                  <a:pt x="943" y="183"/>
                  <a:pt x="943" y="183"/>
                </a:cubicBezTo>
                <a:cubicBezTo>
                  <a:pt x="941" y="185"/>
                  <a:pt x="941" y="185"/>
                  <a:pt x="941" y="185"/>
                </a:cubicBezTo>
                <a:cubicBezTo>
                  <a:pt x="940" y="185"/>
                  <a:pt x="940" y="185"/>
                  <a:pt x="940" y="185"/>
                </a:cubicBezTo>
                <a:cubicBezTo>
                  <a:pt x="940" y="183"/>
                  <a:pt x="940" y="183"/>
                  <a:pt x="940" y="183"/>
                </a:cubicBezTo>
                <a:cubicBezTo>
                  <a:pt x="939" y="183"/>
                  <a:pt x="939" y="183"/>
                  <a:pt x="939" y="183"/>
                </a:cubicBezTo>
                <a:cubicBezTo>
                  <a:pt x="939" y="182"/>
                  <a:pt x="939" y="182"/>
                  <a:pt x="939" y="182"/>
                </a:cubicBezTo>
                <a:cubicBezTo>
                  <a:pt x="941" y="181"/>
                  <a:pt x="941" y="181"/>
                  <a:pt x="941" y="181"/>
                </a:cubicBezTo>
                <a:cubicBezTo>
                  <a:pt x="940" y="180"/>
                  <a:pt x="940" y="180"/>
                  <a:pt x="940" y="180"/>
                </a:cubicBezTo>
                <a:cubicBezTo>
                  <a:pt x="940" y="179"/>
                  <a:pt x="940" y="179"/>
                  <a:pt x="940" y="179"/>
                </a:cubicBezTo>
                <a:cubicBezTo>
                  <a:pt x="941" y="177"/>
                  <a:pt x="941" y="177"/>
                  <a:pt x="941" y="177"/>
                </a:cubicBezTo>
                <a:cubicBezTo>
                  <a:pt x="941" y="176"/>
                  <a:pt x="941" y="176"/>
                  <a:pt x="941" y="176"/>
                </a:cubicBezTo>
                <a:cubicBezTo>
                  <a:pt x="942" y="175"/>
                  <a:pt x="942" y="175"/>
                  <a:pt x="942" y="175"/>
                </a:cubicBezTo>
                <a:cubicBezTo>
                  <a:pt x="944" y="175"/>
                  <a:pt x="944" y="175"/>
                  <a:pt x="944" y="175"/>
                </a:cubicBezTo>
                <a:cubicBezTo>
                  <a:pt x="945" y="176"/>
                  <a:pt x="945" y="176"/>
                  <a:pt x="945" y="176"/>
                </a:cubicBezTo>
                <a:cubicBezTo>
                  <a:pt x="945" y="177"/>
                  <a:pt x="945" y="177"/>
                  <a:pt x="945" y="177"/>
                </a:cubicBezTo>
                <a:cubicBezTo>
                  <a:pt x="947" y="178"/>
                  <a:pt x="947" y="178"/>
                  <a:pt x="947" y="178"/>
                </a:cubicBezTo>
                <a:cubicBezTo>
                  <a:pt x="947" y="179"/>
                  <a:pt x="947" y="179"/>
                  <a:pt x="947" y="179"/>
                </a:cubicBezTo>
                <a:cubicBezTo>
                  <a:pt x="948" y="179"/>
                  <a:pt x="948" y="179"/>
                  <a:pt x="948" y="179"/>
                </a:cubicBezTo>
                <a:cubicBezTo>
                  <a:pt x="947" y="178"/>
                  <a:pt x="947" y="178"/>
                  <a:pt x="947" y="178"/>
                </a:cubicBezTo>
                <a:cubicBezTo>
                  <a:pt x="946" y="177"/>
                  <a:pt x="946" y="177"/>
                  <a:pt x="946" y="177"/>
                </a:cubicBezTo>
                <a:cubicBezTo>
                  <a:pt x="945" y="175"/>
                  <a:pt x="945" y="175"/>
                  <a:pt x="945" y="175"/>
                </a:cubicBezTo>
                <a:cubicBezTo>
                  <a:pt x="944" y="175"/>
                  <a:pt x="944" y="175"/>
                  <a:pt x="944" y="175"/>
                </a:cubicBezTo>
                <a:cubicBezTo>
                  <a:pt x="943" y="174"/>
                  <a:pt x="943" y="174"/>
                  <a:pt x="943" y="174"/>
                </a:cubicBezTo>
                <a:cubicBezTo>
                  <a:pt x="946" y="174"/>
                  <a:pt x="946" y="174"/>
                  <a:pt x="946" y="174"/>
                </a:cubicBezTo>
                <a:cubicBezTo>
                  <a:pt x="946" y="173"/>
                  <a:pt x="946" y="173"/>
                  <a:pt x="946" y="173"/>
                </a:cubicBezTo>
                <a:cubicBezTo>
                  <a:pt x="948" y="175"/>
                  <a:pt x="948" y="175"/>
                  <a:pt x="948" y="175"/>
                </a:cubicBezTo>
                <a:cubicBezTo>
                  <a:pt x="950" y="176"/>
                  <a:pt x="950" y="176"/>
                  <a:pt x="950" y="176"/>
                </a:cubicBezTo>
                <a:cubicBezTo>
                  <a:pt x="951" y="176"/>
                  <a:pt x="951" y="176"/>
                  <a:pt x="951" y="176"/>
                </a:cubicBezTo>
                <a:cubicBezTo>
                  <a:pt x="949" y="175"/>
                  <a:pt x="949" y="175"/>
                  <a:pt x="949" y="175"/>
                </a:cubicBezTo>
                <a:cubicBezTo>
                  <a:pt x="948" y="173"/>
                  <a:pt x="948" y="173"/>
                  <a:pt x="948" y="173"/>
                </a:cubicBezTo>
                <a:cubicBezTo>
                  <a:pt x="947" y="172"/>
                  <a:pt x="947" y="172"/>
                  <a:pt x="947" y="172"/>
                </a:cubicBezTo>
                <a:cubicBezTo>
                  <a:pt x="947" y="170"/>
                  <a:pt x="947" y="170"/>
                  <a:pt x="947" y="170"/>
                </a:cubicBezTo>
                <a:cubicBezTo>
                  <a:pt x="949" y="170"/>
                  <a:pt x="949" y="170"/>
                  <a:pt x="949" y="170"/>
                </a:cubicBezTo>
                <a:cubicBezTo>
                  <a:pt x="950" y="170"/>
                  <a:pt x="950" y="170"/>
                  <a:pt x="950" y="170"/>
                </a:cubicBezTo>
                <a:cubicBezTo>
                  <a:pt x="949" y="171"/>
                  <a:pt x="949" y="171"/>
                  <a:pt x="949" y="171"/>
                </a:cubicBezTo>
                <a:cubicBezTo>
                  <a:pt x="950" y="172"/>
                  <a:pt x="950" y="172"/>
                  <a:pt x="950" y="172"/>
                </a:cubicBezTo>
                <a:cubicBezTo>
                  <a:pt x="950" y="171"/>
                  <a:pt x="950" y="171"/>
                  <a:pt x="950" y="171"/>
                </a:cubicBezTo>
                <a:cubicBezTo>
                  <a:pt x="951" y="170"/>
                  <a:pt x="951" y="170"/>
                  <a:pt x="951" y="170"/>
                </a:cubicBezTo>
                <a:cubicBezTo>
                  <a:pt x="952" y="170"/>
                  <a:pt x="952" y="170"/>
                  <a:pt x="952" y="170"/>
                </a:cubicBezTo>
                <a:cubicBezTo>
                  <a:pt x="953" y="171"/>
                  <a:pt x="953" y="171"/>
                  <a:pt x="953" y="171"/>
                </a:cubicBezTo>
                <a:cubicBezTo>
                  <a:pt x="953" y="172"/>
                  <a:pt x="953" y="172"/>
                  <a:pt x="953" y="172"/>
                </a:cubicBezTo>
                <a:cubicBezTo>
                  <a:pt x="954" y="173"/>
                  <a:pt x="954" y="173"/>
                  <a:pt x="954" y="173"/>
                </a:cubicBezTo>
                <a:cubicBezTo>
                  <a:pt x="954" y="172"/>
                  <a:pt x="954" y="172"/>
                  <a:pt x="954" y="172"/>
                </a:cubicBezTo>
                <a:cubicBezTo>
                  <a:pt x="953" y="170"/>
                  <a:pt x="953" y="170"/>
                  <a:pt x="953" y="170"/>
                </a:cubicBezTo>
                <a:cubicBezTo>
                  <a:pt x="954" y="170"/>
                  <a:pt x="954" y="170"/>
                  <a:pt x="954" y="170"/>
                </a:cubicBezTo>
                <a:cubicBezTo>
                  <a:pt x="957" y="169"/>
                  <a:pt x="957" y="169"/>
                  <a:pt x="957" y="169"/>
                </a:cubicBezTo>
                <a:cubicBezTo>
                  <a:pt x="959" y="168"/>
                  <a:pt x="959" y="168"/>
                  <a:pt x="959" y="168"/>
                </a:cubicBezTo>
                <a:cubicBezTo>
                  <a:pt x="960" y="168"/>
                  <a:pt x="960" y="168"/>
                  <a:pt x="960" y="168"/>
                </a:cubicBezTo>
                <a:cubicBezTo>
                  <a:pt x="961" y="167"/>
                  <a:pt x="961" y="167"/>
                  <a:pt x="961" y="167"/>
                </a:cubicBezTo>
                <a:cubicBezTo>
                  <a:pt x="963" y="168"/>
                  <a:pt x="963" y="168"/>
                  <a:pt x="963" y="168"/>
                </a:cubicBezTo>
                <a:cubicBezTo>
                  <a:pt x="965" y="168"/>
                  <a:pt x="965" y="168"/>
                  <a:pt x="965" y="168"/>
                </a:cubicBezTo>
                <a:cubicBezTo>
                  <a:pt x="967" y="168"/>
                  <a:pt x="967" y="168"/>
                  <a:pt x="967" y="168"/>
                </a:cubicBezTo>
                <a:cubicBezTo>
                  <a:pt x="967" y="169"/>
                  <a:pt x="967" y="169"/>
                  <a:pt x="967" y="169"/>
                </a:cubicBezTo>
                <a:cubicBezTo>
                  <a:pt x="967" y="172"/>
                  <a:pt x="967" y="172"/>
                  <a:pt x="967" y="172"/>
                </a:cubicBezTo>
                <a:cubicBezTo>
                  <a:pt x="966" y="173"/>
                  <a:pt x="966" y="173"/>
                  <a:pt x="966" y="173"/>
                </a:cubicBezTo>
                <a:cubicBezTo>
                  <a:pt x="966" y="174"/>
                  <a:pt x="966" y="174"/>
                  <a:pt x="966" y="174"/>
                </a:cubicBezTo>
                <a:cubicBezTo>
                  <a:pt x="965" y="175"/>
                  <a:pt x="965" y="175"/>
                  <a:pt x="965" y="175"/>
                </a:cubicBezTo>
                <a:cubicBezTo>
                  <a:pt x="965" y="176"/>
                  <a:pt x="965" y="176"/>
                  <a:pt x="965" y="176"/>
                </a:cubicBezTo>
                <a:cubicBezTo>
                  <a:pt x="966" y="177"/>
                  <a:pt x="966" y="177"/>
                  <a:pt x="966" y="177"/>
                </a:cubicBezTo>
                <a:cubicBezTo>
                  <a:pt x="967" y="178"/>
                  <a:pt x="967" y="178"/>
                  <a:pt x="967" y="178"/>
                </a:cubicBezTo>
                <a:cubicBezTo>
                  <a:pt x="966" y="178"/>
                  <a:pt x="966" y="178"/>
                  <a:pt x="966" y="178"/>
                </a:cubicBezTo>
                <a:cubicBezTo>
                  <a:pt x="965" y="180"/>
                  <a:pt x="965" y="180"/>
                  <a:pt x="965" y="180"/>
                </a:cubicBezTo>
                <a:cubicBezTo>
                  <a:pt x="964" y="181"/>
                  <a:pt x="964" y="181"/>
                  <a:pt x="964" y="181"/>
                </a:cubicBezTo>
                <a:cubicBezTo>
                  <a:pt x="964" y="182"/>
                  <a:pt x="964" y="182"/>
                  <a:pt x="964" y="182"/>
                </a:cubicBezTo>
                <a:cubicBezTo>
                  <a:pt x="965" y="183"/>
                  <a:pt x="965" y="183"/>
                  <a:pt x="965" y="183"/>
                </a:cubicBezTo>
                <a:cubicBezTo>
                  <a:pt x="965" y="184"/>
                  <a:pt x="965" y="184"/>
                  <a:pt x="965" y="184"/>
                </a:cubicBezTo>
                <a:cubicBezTo>
                  <a:pt x="964" y="185"/>
                  <a:pt x="964" y="185"/>
                  <a:pt x="964" y="185"/>
                </a:cubicBezTo>
                <a:cubicBezTo>
                  <a:pt x="963" y="185"/>
                  <a:pt x="963" y="185"/>
                  <a:pt x="963" y="185"/>
                </a:cubicBezTo>
                <a:cubicBezTo>
                  <a:pt x="963" y="186"/>
                  <a:pt x="963" y="186"/>
                  <a:pt x="963" y="186"/>
                </a:cubicBezTo>
                <a:cubicBezTo>
                  <a:pt x="962" y="186"/>
                  <a:pt x="962" y="186"/>
                  <a:pt x="962" y="186"/>
                </a:cubicBezTo>
                <a:cubicBezTo>
                  <a:pt x="961" y="187"/>
                  <a:pt x="961" y="187"/>
                  <a:pt x="961" y="187"/>
                </a:cubicBezTo>
                <a:cubicBezTo>
                  <a:pt x="960" y="188"/>
                  <a:pt x="960" y="188"/>
                  <a:pt x="960" y="188"/>
                </a:cubicBezTo>
                <a:cubicBezTo>
                  <a:pt x="959" y="189"/>
                  <a:pt x="959" y="189"/>
                  <a:pt x="959" y="189"/>
                </a:cubicBezTo>
                <a:cubicBezTo>
                  <a:pt x="960" y="189"/>
                  <a:pt x="960" y="189"/>
                  <a:pt x="960" y="189"/>
                </a:cubicBezTo>
                <a:cubicBezTo>
                  <a:pt x="961" y="188"/>
                  <a:pt x="961" y="188"/>
                  <a:pt x="961" y="188"/>
                </a:cubicBezTo>
                <a:cubicBezTo>
                  <a:pt x="963" y="187"/>
                  <a:pt x="963" y="187"/>
                  <a:pt x="963" y="187"/>
                </a:cubicBezTo>
                <a:cubicBezTo>
                  <a:pt x="963" y="188"/>
                  <a:pt x="963" y="188"/>
                  <a:pt x="963" y="188"/>
                </a:cubicBezTo>
                <a:cubicBezTo>
                  <a:pt x="961" y="190"/>
                  <a:pt x="961" y="190"/>
                  <a:pt x="961" y="190"/>
                </a:cubicBezTo>
                <a:cubicBezTo>
                  <a:pt x="960" y="190"/>
                  <a:pt x="960" y="190"/>
                  <a:pt x="960" y="190"/>
                </a:cubicBezTo>
                <a:cubicBezTo>
                  <a:pt x="960" y="191"/>
                  <a:pt x="960" y="191"/>
                  <a:pt x="960" y="191"/>
                </a:cubicBezTo>
                <a:cubicBezTo>
                  <a:pt x="960" y="192"/>
                  <a:pt x="960" y="192"/>
                  <a:pt x="960" y="192"/>
                </a:cubicBezTo>
                <a:cubicBezTo>
                  <a:pt x="959" y="192"/>
                  <a:pt x="959" y="192"/>
                  <a:pt x="959" y="192"/>
                </a:cubicBezTo>
                <a:cubicBezTo>
                  <a:pt x="958" y="192"/>
                  <a:pt x="958" y="192"/>
                  <a:pt x="958" y="192"/>
                </a:cubicBezTo>
                <a:cubicBezTo>
                  <a:pt x="958" y="193"/>
                  <a:pt x="958" y="193"/>
                  <a:pt x="958" y="193"/>
                </a:cubicBezTo>
                <a:cubicBezTo>
                  <a:pt x="959" y="193"/>
                  <a:pt x="959" y="193"/>
                  <a:pt x="959" y="193"/>
                </a:cubicBezTo>
                <a:cubicBezTo>
                  <a:pt x="959" y="194"/>
                  <a:pt x="959" y="194"/>
                  <a:pt x="959" y="194"/>
                </a:cubicBezTo>
                <a:cubicBezTo>
                  <a:pt x="958" y="195"/>
                  <a:pt x="958" y="195"/>
                  <a:pt x="958" y="195"/>
                </a:cubicBezTo>
                <a:cubicBezTo>
                  <a:pt x="959" y="195"/>
                  <a:pt x="959" y="195"/>
                  <a:pt x="959" y="195"/>
                </a:cubicBezTo>
                <a:cubicBezTo>
                  <a:pt x="960" y="194"/>
                  <a:pt x="960" y="194"/>
                  <a:pt x="960" y="194"/>
                </a:cubicBezTo>
                <a:cubicBezTo>
                  <a:pt x="961" y="194"/>
                  <a:pt x="961" y="194"/>
                  <a:pt x="961" y="194"/>
                </a:cubicBezTo>
                <a:cubicBezTo>
                  <a:pt x="962" y="193"/>
                  <a:pt x="962" y="193"/>
                  <a:pt x="962" y="193"/>
                </a:cubicBezTo>
                <a:cubicBezTo>
                  <a:pt x="962" y="192"/>
                  <a:pt x="962" y="192"/>
                  <a:pt x="962" y="192"/>
                </a:cubicBezTo>
                <a:cubicBezTo>
                  <a:pt x="963" y="191"/>
                  <a:pt x="963" y="191"/>
                  <a:pt x="963" y="191"/>
                </a:cubicBezTo>
                <a:cubicBezTo>
                  <a:pt x="963" y="190"/>
                  <a:pt x="963" y="190"/>
                  <a:pt x="963" y="190"/>
                </a:cubicBezTo>
                <a:cubicBezTo>
                  <a:pt x="964" y="191"/>
                  <a:pt x="964" y="191"/>
                  <a:pt x="964" y="191"/>
                </a:cubicBezTo>
                <a:cubicBezTo>
                  <a:pt x="964" y="190"/>
                  <a:pt x="964" y="190"/>
                  <a:pt x="964" y="190"/>
                </a:cubicBezTo>
                <a:cubicBezTo>
                  <a:pt x="964" y="189"/>
                  <a:pt x="964" y="189"/>
                  <a:pt x="964" y="189"/>
                </a:cubicBezTo>
                <a:cubicBezTo>
                  <a:pt x="965" y="189"/>
                  <a:pt x="965" y="189"/>
                  <a:pt x="965" y="189"/>
                </a:cubicBezTo>
                <a:cubicBezTo>
                  <a:pt x="966" y="189"/>
                  <a:pt x="966" y="189"/>
                  <a:pt x="966" y="189"/>
                </a:cubicBezTo>
                <a:cubicBezTo>
                  <a:pt x="966" y="190"/>
                  <a:pt x="966" y="190"/>
                  <a:pt x="966" y="190"/>
                </a:cubicBezTo>
                <a:cubicBezTo>
                  <a:pt x="966" y="191"/>
                  <a:pt x="966" y="191"/>
                  <a:pt x="966" y="191"/>
                </a:cubicBezTo>
                <a:cubicBezTo>
                  <a:pt x="967" y="190"/>
                  <a:pt x="967" y="190"/>
                  <a:pt x="967" y="190"/>
                </a:cubicBezTo>
                <a:cubicBezTo>
                  <a:pt x="968" y="189"/>
                  <a:pt x="968" y="189"/>
                  <a:pt x="968" y="189"/>
                </a:cubicBezTo>
                <a:cubicBezTo>
                  <a:pt x="968" y="190"/>
                  <a:pt x="968" y="190"/>
                  <a:pt x="968" y="190"/>
                </a:cubicBezTo>
                <a:cubicBezTo>
                  <a:pt x="969" y="191"/>
                  <a:pt x="969" y="191"/>
                  <a:pt x="969" y="191"/>
                </a:cubicBezTo>
                <a:cubicBezTo>
                  <a:pt x="969" y="192"/>
                  <a:pt x="969" y="192"/>
                  <a:pt x="969" y="192"/>
                </a:cubicBezTo>
                <a:cubicBezTo>
                  <a:pt x="967" y="194"/>
                  <a:pt x="967" y="194"/>
                  <a:pt x="967" y="194"/>
                </a:cubicBezTo>
                <a:cubicBezTo>
                  <a:pt x="966" y="195"/>
                  <a:pt x="966" y="195"/>
                  <a:pt x="966" y="195"/>
                </a:cubicBezTo>
                <a:cubicBezTo>
                  <a:pt x="966" y="196"/>
                  <a:pt x="966" y="196"/>
                  <a:pt x="966" y="196"/>
                </a:cubicBezTo>
                <a:cubicBezTo>
                  <a:pt x="967" y="196"/>
                  <a:pt x="967" y="196"/>
                  <a:pt x="967" y="196"/>
                </a:cubicBezTo>
                <a:cubicBezTo>
                  <a:pt x="968" y="197"/>
                  <a:pt x="968" y="197"/>
                  <a:pt x="968" y="197"/>
                </a:cubicBezTo>
                <a:cubicBezTo>
                  <a:pt x="969" y="196"/>
                  <a:pt x="969" y="196"/>
                  <a:pt x="969" y="196"/>
                </a:cubicBezTo>
                <a:cubicBezTo>
                  <a:pt x="968" y="195"/>
                  <a:pt x="968" y="195"/>
                  <a:pt x="968" y="195"/>
                </a:cubicBezTo>
                <a:cubicBezTo>
                  <a:pt x="969" y="194"/>
                  <a:pt x="969" y="194"/>
                  <a:pt x="969" y="194"/>
                </a:cubicBezTo>
                <a:cubicBezTo>
                  <a:pt x="970" y="193"/>
                  <a:pt x="970" y="193"/>
                  <a:pt x="970" y="193"/>
                </a:cubicBezTo>
                <a:cubicBezTo>
                  <a:pt x="970" y="195"/>
                  <a:pt x="970" y="195"/>
                  <a:pt x="970" y="195"/>
                </a:cubicBezTo>
                <a:cubicBezTo>
                  <a:pt x="970" y="196"/>
                  <a:pt x="970" y="196"/>
                  <a:pt x="970" y="196"/>
                </a:cubicBezTo>
                <a:cubicBezTo>
                  <a:pt x="971" y="195"/>
                  <a:pt x="971" y="195"/>
                  <a:pt x="971" y="195"/>
                </a:cubicBezTo>
                <a:cubicBezTo>
                  <a:pt x="971" y="193"/>
                  <a:pt x="971" y="193"/>
                  <a:pt x="971" y="193"/>
                </a:cubicBezTo>
                <a:cubicBezTo>
                  <a:pt x="970" y="192"/>
                  <a:pt x="970" y="192"/>
                  <a:pt x="970" y="192"/>
                </a:cubicBezTo>
                <a:cubicBezTo>
                  <a:pt x="970" y="190"/>
                  <a:pt x="970" y="190"/>
                  <a:pt x="970" y="190"/>
                </a:cubicBezTo>
                <a:cubicBezTo>
                  <a:pt x="972" y="190"/>
                  <a:pt x="972" y="190"/>
                  <a:pt x="972" y="190"/>
                </a:cubicBezTo>
                <a:cubicBezTo>
                  <a:pt x="971" y="191"/>
                  <a:pt x="971" y="191"/>
                  <a:pt x="971" y="191"/>
                </a:cubicBezTo>
                <a:cubicBezTo>
                  <a:pt x="971" y="192"/>
                  <a:pt x="971" y="192"/>
                  <a:pt x="971" y="192"/>
                </a:cubicBezTo>
                <a:cubicBezTo>
                  <a:pt x="972" y="192"/>
                  <a:pt x="972" y="192"/>
                  <a:pt x="972" y="192"/>
                </a:cubicBezTo>
                <a:cubicBezTo>
                  <a:pt x="973" y="192"/>
                  <a:pt x="973" y="192"/>
                  <a:pt x="973" y="192"/>
                </a:cubicBezTo>
                <a:cubicBezTo>
                  <a:pt x="975" y="194"/>
                  <a:pt x="975" y="194"/>
                  <a:pt x="975" y="194"/>
                </a:cubicBezTo>
                <a:cubicBezTo>
                  <a:pt x="975" y="195"/>
                  <a:pt x="975" y="195"/>
                  <a:pt x="975" y="195"/>
                </a:cubicBezTo>
                <a:cubicBezTo>
                  <a:pt x="976" y="195"/>
                  <a:pt x="976" y="195"/>
                  <a:pt x="976" y="195"/>
                </a:cubicBezTo>
                <a:cubicBezTo>
                  <a:pt x="977" y="195"/>
                  <a:pt x="977" y="195"/>
                  <a:pt x="977" y="195"/>
                </a:cubicBezTo>
                <a:cubicBezTo>
                  <a:pt x="978" y="195"/>
                  <a:pt x="978" y="195"/>
                  <a:pt x="978" y="195"/>
                </a:cubicBezTo>
                <a:cubicBezTo>
                  <a:pt x="977" y="194"/>
                  <a:pt x="977" y="194"/>
                  <a:pt x="977" y="194"/>
                </a:cubicBezTo>
                <a:cubicBezTo>
                  <a:pt x="976" y="194"/>
                  <a:pt x="976" y="194"/>
                  <a:pt x="976" y="194"/>
                </a:cubicBezTo>
                <a:cubicBezTo>
                  <a:pt x="976" y="193"/>
                  <a:pt x="976" y="193"/>
                  <a:pt x="976" y="193"/>
                </a:cubicBezTo>
                <a:cubicBezTo>
                  <a:pt x="974" y="191"/>
                  <a:pt x="974" y="191"/>
                  <a:pt x="974" y="191"/>
                </a:cubicBezTo>
                <a:cubicBezTo>
                  <a:pt x="973" y="191"/>
                  <a:pt x="973" y="191"/>
                  <a:pt x="973" y="191"/>
                </a:cubicBezTo>
                <a:cubicBezTo>
                  <a:pt x="972" y="190"/>
                  <a:pt x="972" y="190"/>
                  <a:pt x="972" y="190"/>
                </a:cubicBezTo>
                <a:cubicBezTo>
                  <a:pt x="974" y="188"/>
                  <a:pt x="974" y="188"/>
                  <a:pt x="974" y="188"/>
                </a:cubicBezTo>
                <a:cubicBezTo>
                  <a:pt x="975" y="188"/>
                  <a:pt x="975" y="188"/>
                  <a:pt x="975" y="188"/>
                </a:cubicBezTo>
                <a:cubicBezTo>
                  <a:pt x="976" y="187"/>
                  <a:pt x="976" y="187"/>
                  <a:pt x="976" y="187"/>
                </a:cubicBezTo>
                <a:cubicBezTo>
                  <a:pt x="978" y="187"/>
                  <a:pt x="978" y="187"/>
                  <a:pt x="978" y="187"/>
                </a:cubicBezTo>
                <a:cubicBezTo>
                  <a:pt x="980" y="187"/>
                  <a:pt x="980" y="187"/>
                  <a:pt x="980" y="187"/>
                </a:cubicBezTo>
                <a:cubicBezTo>
                  <a:pt x="980" y="188"/>
                  <a:pt x="980" y="188"/>
                  <a:pt x="980" y="188"/>
                </a:cubicBezTo>
                <a:cubicBezTo>
                  <a:pt x="981" y="188"/>
                  <a:pt x="981" y="188"/>
                  <a:pt x="981" y="188"/>
                </a:cubicBezTo>
                <a:cubicBezTo>
                  <a:pt x="982" y="188"/>
                  <a:pt x="982" y="188"/>
                  <a:pt x="982" y="188"/>
                </a:cubicBezTo>
                <a:cubicBezTo>
                  <a:pt x="982" y="189"/>
                  <a:pt x="982" y="189"/>
                  <a:pt x="982" y="189"/>
                </a:cubicBezTo>
                <a:cubicBezTo>
                  <a:pt x="983" y="190"/>
                  <a:pt x="983" y="190"/>
                  <a:pt x="983" y="190"/>
                </a:cubicBezTo>
                <a:cubicBezTo>
                  <a:pt x="984" y="190"/>
                  <a:pt x="984" y="190"/>
                  <a:pt x="984" y="190"/>
                </a:cubicBezTo>
                <a:cubicBezTo>
                  <a:pt x="984" y="191"/>
                  <a:pt x="984" y="191"/>
                  <a:pt x="984" y="191"/>
                </a:cubicBezTo>
                <a:cubicBezTo>
                  <a:pt x="985" y="191"/>
                  <a:pt x="985" y="191"/>
                  <a:pt x="985" y="191"/>
                </a:cubicBezTo>
                <a:cubicBezTo>
                  <a:pt x="986" y="191"/>
                  <a:pt x="986" y="191"/>
                  <a:pt x="986" y="191"/>
                </a:cubicBezTo>
                <a:cubicBezTo>
                  <a:pt x="987" y="192"/>
                  <a:pt x="987" y="192"/>
                  <a:pt x="987" y="192"/>
                </a:cubicBezTo>
                <a:cubicBezTo>
                  <a:pt x="988" y="193"/>
                  <a:pt x="988" y="193"/>
                  <a:pt x="988" y="193"/>
                </a:cubicBezTo>
                <a:cubicBezTo>
                  <a:pt x="988" y="194"/>
                  <a:pt x="988" y="194"/>
                  <a:pt x="988" y="194"/>
                </a:cubicBezTo>
                <a:cubicBezTo>
                  <a:pt x="988" y="195"/>
                  <a:pt x="988" y="195"/>
                  <a:pt x="988" y="195"/>
                </a:cubicBezTo>
                <a:cubicBezTo>
                  <a:pt x="988" y="196"/>
                  <a:pt x="988" y="196"/>
                  <a:pt x="988" y="196"/>
                </a:cubicBezTo>
                <a:cubicBezTo>
                  <a:pt x="987" y="197"/>
                  <a:pt x="987" y="197"/>
                  <a:pt x="987" y="197"/>
                </a:cubicBezTo>
                <a:cubicBezTo>
                  <a:pt x="986" y="197"/>
                  <a:pt x="986" y="197"/>
                  <a:pt x="986" y="197"/>
                </a:cubicBezTo>
                <a:cubicBezTo>
                  <a:pt x="986" y="198"/>
                  <a:pt x="986" y="198"/>
                  <a:pt x="986" y="198"/>
                </a:cubicBezTo>
                <a:cubicBezTo>
                  <a:pt x="985" y="199"/>
                  <a:pt x="985" y="199"/>
                  <a:pt x="985" y="199"/>
                </a:cubicBezTo>
                <a:cubicBezTo>
                  <a:pt x="984" y="200"/>
                  <a:pt x="984" y="200"/>
                  <a:pt x="984" y="200"/>
                </a:cubicBezTo>
                <a:cubicBezTo>
                  <a:pt x="983" y="202"/>
                  <a:pt x="983" y="202"/>
                  <a:pt x="983" y="202"/>
                </a:cubicBezTo>
                <a:cubicBezTo>
                  <a:pt x="982" y="202"/>
                  <a:pt x="982" y="202"/>
                  <a:pt x="982" y="202"/>
                </a:cubicBezTo>
                <a:cubicBezTo>
                  <a:pt x="981" y="203"/>
                  <a:pt x="981" y="203"/>
                  <a:pt x="981" y="203"/>
                </a:cubicBezTo>
                <a:cubicBezTo>
                  <a:pt x="981" y="204"/>
                  <a:pt x="981" y="204"/>
                  <a:pt x="981" y="204"/>
                </a:cubicBezTo>
                <a:cubicBezTo>
                  <a:pt x="982" y="203"/>
                  <a:pt x="983" y="202"/>
                  <a:pt x="983" y="202"/>
                </a:cubicBezTo>
                <a:cubicBezTo>
                  <a:pt x="984" y="201"/>
                  <a:pt x="984" y="201"/>
                  <a:pt x="984" y="201"/>
                </a:cubicBezTo>
                <a:cubicBezTo>
                  <a:pt x="985" y="200"/>
                  <a:pt x="985" y="200"/>
                  <a:pt x="985" y="200"/>
                </a:cubicBezTo>
                <a:cubicBezTo>
                  <a:pt x="986" y="199"/>
                  <a:pt x="986" y="199"/>
                  <a:pt x="986" y="199"/>
                </a:cubicBezTo>
                <a:cubicBezTo>
                  <a:pt x="987" y="198"/>
                  <a:pt x="987" y="198"/>
                  <a:pt x="987" y="198"/>
                </a:cubicBezTo>
                <a:cubicBezTo>
                  <a:pt x="989" y="198"/>
                  <a:pt x="989" y="198"/>
                  <a:pt x="989" y="198"/>
                </a:cubicBezTo>
                <a:cubicBezTo>
                  <a:pt x="989" y="199"/>
                  <a:pt x="989" y="199"/>
                  <a:pt x="989" y="199"/>
                </a:cubicBezTo>
                <a:cubicBezTo>
                  <a:pt x="990" y="199"/>
                  <a:pt x="990" y="199"/>
                  <a:pt x="990" y="199"/>
                </a:cubicBezTo>
                <a:cubicBezTo>
                  <a:pt x="990" y="200"/>
                  <a:pt x="990" y="200"/>
                  <a:pt x="990" y="200"/>
                </a:cubicBezTo>
                <a:cubicBezTo>
                  <a:pt x="990" y="201"/>
                  <a:pt x="990" y="201"/>
                  <a:pt x="990" y="201"/>
                </a:cubicBezTo>
                <a:cubicBezTo>
                  <a:pt x="990" y="202"/>
                  <a:pt x="990" y="202"/>
                  <a:pt x="990" y="202"/>
                </a:cubicBezTo>
                <a:cubicBezTo>
                  <a:pt x="988" y="202"/>
                  <a:pt x="988" y="202"/>
                  <a:pt x="988" y="202"/>
                </a:cubicBezTo>
                <a:cubicBezTo>
                  <a:pt x="988" y="203"/>
                  <a:pt x="988" y="203"/>
                  <a:pt x="988" y="203"/>
                </a:cubicBezTo>
                <a:cubicBezTo>
                  <a:pt x="986" y="204"/>
                  <a:pt x="986" y="204"/>
                  <a:pt x="986" y="204"/>
                </a:cubicBezTo>
                <a:cubicBezTo>
                  <a:pt x="986" y="203"/>
                  <a:pt x="986" y="203"/>
                  <a:pt x="986" y="203"/>
                </a:cubicBezTo>
                <a:cubicBezTo>
                  <a:pt x="985" y="203"/>
                  <a:pt x="985" y="203"/>
                  <a:pt x="985" y="203"/>
                </a:cubicBezTo>
                <a:cubicBezTo>
                  <a:pt x="984" y="204"/>
                  <a:pt x="984" y="204"/>
                  <a:pt x="984" y="204"/>
                </a:cubicBezTo>
                <a:cubicBezTo>
                  <a:pt x="985" y="204"/>
                  <a:pt x="985" y="204"/>
                  <a:pt x="985" y="204"/>
                </a:cubicBezTo>
                <a:cubicBezTo>
                  <a:pt x="986" y="205"/>
                  <a:pt x="986" y="205"/>
                  <a:pt x="986" y="205"/>
                </a:cubicBezTo>
                <a:cubicBezTo>
                  <a:pt x="986" y="205"/>
                  <a:pt x="986" y="205"/>
                  <a:pt x="985" y="205"/>
                </a:cubicBezTo>
                <a:cubicBezTo>
                  <a:pt x="985" y="205"/>
                  <a:pt x="985" y="205"/>
                  <a:pt x="985" y="205"/>
                </a:cubicBezTo>
                <a:cubicBezTo>
                  <a:pt x="983" y="206"/>
                  <a:pt x="983" y="206"/>
                  <a:pt x="983" y="206"/>
                </a:cubicBezTo>
                <a:cubicBezTo>
                  <a:pt x="984" y="206"/>
                  <a:pt x="984" y="206"/>
                  <a:pt x="984" y="206"/>
                </a:cubicBezTo>
                <a:cubicBezTo>
                  <a:pt x="984" y="206"/>
                  <a:pt x="984" y="206"/>
                  <a:pt x="985" y="205"/>
                </a:cubicBezTo>
                <a:cubicBezTo>
                  <a:pt x="985" y="205"/>
                  <a:pt x="985" y="205"/>
                  <a:pt x="986" y="205"/>
                </a:cubicBezTo>
                <a:cubicBezTo>
                  <a:pt x="987" y="204"/>
                  <a:pt x="987" y="204"/>
                  <a:pt x="987" y="204"/>
                </a:cubicBezTo>
                <a:cubicBezTo>
                  <a:pt x="987" y="205"/>
                  <a:pt x="987" y="205"/>
                  <a:pt x="987" y="205"/>
                </a:cubicBezTo>
                <a:cubicBezTo>
                  <a:pt x="987" y="206"/>
                  <a:pt x="987" y="206"/>
                  <a:pt x="987" y="206"/>
                </a:cubicBezTo>
                <a:cubicBezTo>
                  <a:pt x="985" y="206"/>
                  <a:pt x="985" y="206"/>
                  <a:pt x="985" y="206"/>
                </a:cubicBezTo>
                <a:cubicBezTo>
                  <a:pt x="984" y="207"/>
                  <a:pt x="984" y="207"/>
                  <a:pt x="984" y="207"/>
                </a:cubicBezTo>
                <a:cubicBezTo>
                  <a:pt x="985" y="207"/>
                  <a:pt x="985" y="207"/>
                  <a:pt x="985" y="207"/>
                </a:cubicBezTo>
                <a:cubicBezTo>
                  <a:pt x="986" y="207"/>
                  <a:pt x="986" y="207"/>
                  <a:pt x="986" y="207"/>
                </a:cubicBezTo>
                <a:cubicBezTo>
                  <a:pt x="985" y="208"/>
                  <a:pt x="985" y="208"/>
                  <a:pt x="985" y="208"/>
                </a:cubicBezTo>
                <a:cubicBezTo>
                  <a:pt x="984" y="209"/>
                  <a:pt x="984" y="209"/>
                  <a:pt x="984" y="209"/>
                </a:cubicBezTo>
                <a:cubicBezTo>
                  <a:pt x="983" y="210"/>
                  <a:pt x="983" y="210"/>
                  <a:pt x="983" y="210"/>
                </a:cubicBezTo>
                <a:cubicBezTo>
                  <a:pt x="985" y="209"/>
                  <a:pt x="985" y="209"/>
                  <a:pt x="985" y="209"/>
                </a:cubicBezTo>
                <a:cubicBezTo>
                  <a:pt x="986" y="207"/>
                  <a:pt x="986" y="207"/>
                  <a:pt x="986" y="207"/>
                </a:cubicBezTo>
                <a:cubicBezTo>
                  <a:pt x="987" y="206"/>
                  <a:pt x="987" y="206"/>
                  <a:pt x="987" y="206"/>
                </a:cubicBezTo>
                <a:cubicBezTo>
                  <a:pt x="989" y="205"/>
                  <a:pt x="989" y="205"/>
                  <a:pt x="989" y="205"/>
                </a:cubicBezTo>
                <a:cubicBezTo>
                  <a:pt x="989" y="206"/>
                  <a:pt x="989" y="206"/>
                  <a:pt x="989" y="206"/>
                </a:cubicBezTo>
                <a:cubicBezTo>
                  <a:pt x="990" y="205"/>
                  <a:pt x="990" y="205"/>
                  <a:pt x="990" y="205"/>
                </a:cubicBezTo>
                <a:cubicBezTo>
                  <a:pt x="992" y="204"/>
                  <a:pt x="992" y="204"/>
                  <a:pt x="992" y="204"/>
                </a:cubicBezTo>
                <a:cubicBezTo>
                  <a:pt x="991" y="206"/>
                  <a:pt x="991" y="206"/>
                  <a:pt x="991" y="206"/>
                </a:cubicBezTo>
                <a:cubicBezTo>
                  <a:pt x="988" y="207"/>
                  <a:pt x="988" y="207"/>
                  <a:pt x="988" y="207"/>
                </a:cubicBezTo>
                <a:cubicBezTo>
                  <a:pt x="988" y="208"/>
                  <a:pt x="988" y="208"/>
                  <a:pt x="988" y="208"/>
                </a:cubicBezTo>
                <a:cubicBezTo>
                  <a:pt x="988" y="209"/>
                  <a:pt x="988" y="209"/>
                  <a:pt x="988" y="209"/>
                </a:cubicBezTo>
                <a:cubicBezTo>
                  <a:pt x="987" y="210"/>
                  <a:pt x="987" y="210"/>
                  <a:pt x="987" y="210"/>
                </a:cubicBezTo>
                <a:cubicBezTo>
                  <a:pt x="987" y="211"/>
                  <a:pt x="987" y="211"/>
                  <a:pt x="987" y="211"/>
                </a:cubicBezTo>
                <a:cubicBezTo>
                  <a:pt x="988" y="211"/>
                  <a:pt x="988" y="211"/>
                  <a:pt x="988" y="211"/>
                </a:cubicBezTo>
                <a:cubicBezTo>
                  <a:pt x="988" y="210"/>
                  <a:pt x="988" y="210"/>
                  <a:pt x="988" y="210"/>
                </a:cubicBezTo>
                <a:cubicBezTo>
                  <a:pt x="989" y="209"/>
                  <a:pt x="989" y="209"/>
                  <a:pt x="989" y="209"/>
                </a:cubicBezTo>
                <a:cubicBezTo>
                  <a:pt x="990" y="207"/>
                  <a:pt x="990" y="207"/>
                  <a:pt x="990" y="207"/>
                </a:cubicBezTo>
                <a:cubicBezTo>
                  <a:pt x="992" y="207"/>
                  <a:pt x="992" y="207"/>
                  <a:pt x="992" y="207"/>
                </a:cubicBezTo>
                <a:cubicBezTo>
                  <a:pt x="992" y="208"/>
                  <a:pt x="992" y="208"/>
                  <a:pt x="992" y="208"/>
                </a:cubicBezTo>
                <a:cubicBezTo>
                  <a:pt x="991" y="209"/>
                  <a:pt x="991" y="209"/>
                  <a:pt x="991" y="209"/>
                </a:cubicBezTo>
                <a:cubicBezTo>
                  <a:pt x="990" y="210"/>
                  <a:pt x="990" y="210"/>
                  <a:pt x="990" y="210"/>
                </a:cubicBezTo>
                <a:cubicBezTo>
                  <a:pt x="989" y="211"/>
                  <a:pt x="989" y="211"/>
                  <a:pt x="989" y="211"/>
                </a:cubicBezTo>
                <a:cubicBezTo>
                  <a:pt x="988" y="213"/>
                  <a:pt x="988" y="213"/>
                  <a:pt x="988" y="213"/>
                </a:cubicBezTo>
                <a:cubicBezTo>
                  <a:pt x="988" y="214"/>
                  <a:pt x="988" y="214"/>
                  <a:pt x="988" y="214"/>
                </a:cubicBezTo>
                <a:cubicBezTo>
                  <a:pt x="989" y="213"/>
                  <a:pt x="989" y="213"/>
                  <a:pt x="989" y="213"/>
                </a:cubicBezTo>
                <a:cubicBezTo>
                  <a:pt x="989" y="212"/>
                  <a:pt x="989" y="212"/>
                  <a:pt x="989" y="212"/>
                </a:cubicBezTo>
                <a:cubicBezTo>
                  <a:pt x="991" y="210"/>
                  <a:pt x="991" y="210"/>
                  <a:pt x="991" y="210"/>
                </a:cubicBezTo>
                <a:cubicBezTo>
                  <a:pt x="992" y="210"/>
                  <a:pt x="992" y="210"/>
                  <a:pt x="992" y="210"/>
                </a:cubicBezTo>
                <a:cubicBezTo>
                  <a:pt x="992" y="211"/>
                  <a:pt x="992" y="211"/>
                  <a:pt x="992" y="211"/>
                </a:cubicBezTo>
                <a:cubicBezTo>
                  <a:pt x="993" y="211"/>
                  <a:pt x="993" y="211"/>
                  <a:pt x="993" y="211"/>
                </a:cubicBezTo>
                <a:cubicBezTo>
                  <a:pt x="993" y="212"/>
                  <a:pt x="993" y="212"/>
                  <a:pt x="993" y="212"/>
                </a:cubicBezTo>
                <a:cubicBezTo>
                  <a:pt x="994" y="212"/>
                  <a:pt x="994" y="212"/>
                  <a:pt x="994" y="212"/>
                </a:cubicBezTo>
                <a:cubicBezTo>
                  <a:pt x="994" y="210"/>
                  <a:pt x="994" y="210"/>
                  <a:pt x="994" y="210"/>
                </a:cubicBezTo>
                <a:cubicBezTo>
                  <a:pt x="995" y="209"/>
                  <a:pt x="995" y="209"/>
                  <a:pt x="995" y="209"/>
                </a:cubicBezTo>
                <a:cubicBezTo>
                  <a:pt x="995" y="208"/>
                  <a:pt x="995" y="208"/>
                  <a:pt x="995" y="208"/>
                </a:cubicBezTo>
                <a:cubicBezTo>
                  <a:pt x="996" y="207"/>
                  <a:pt x="996" y="207"/>
                  <a:pt x="996" y="207"/>
                </a:cubicBezTo>
                <a:cubicBezTo>
                  <a:pt x="997" y="206"/>
                  <a:pt x="997" y="206"/>
                  <a:pt x="997" y="206"/>
                </a:cubicBezTo>
                <a:cubicBezTo>
                  <a:pt x="997" y="205"/>
                  <a:pt x="997" y="205"/>
                  <a:pt x="997" y="205"/>
                </a:cubicBezTo>
                <a:cubicBezTo>
                  <a:pt x="998" y="207"/>
                  <a:pt x="998" y="207"/>
                  <a:pt x="998" y="207"/>
                </a:cubicBezTo>
                <a:cubicBezTo>
                  <a:pt x="999" y="208"/>
                  <a:pt x="999" y="208"/>
                  <a:pt x="999" y="208"/>
                </a:cubicBezTo>
                <a:cubicBezTo>
                  <a:pt x="1000" y="209"/>
                  <a:pt x="1000" y="209"/>
                  <a:pt x="1000" y="209"/>
                </a:cubicBezTo>
                <a:cubicBezTo>
                  <a:pt x="1001" y="210"/>
                  <a:pt x="1001" y="210"/>
                  <a:pt x="1001" y="210"/>
                </a:cubicBezTo>
                <a:cubicBezTo>
                  <a:pt x="1001" y="211"/>
                  <a:pt x="1001" y="211"/>
                  <a:pt x="1001" y="211"/>
                </a:cubicBezTo>
                <a:cubicBezTo>
                  <a:pt x="1002" y="212"/>
                  <a:pt x="1002" y="212"/>
                  <a:pt x="1002" y="212"/>
                </a:cubicBezTo>
                <a:cubicBezTo>
                  <a:pt x="1002" y="213"/>
                  <a:pt x="1002" y="213"/>
                  <a:pt x="1002" y="213"/>
                </a:cubicBezTo>
                <a:cubicBezTo>
                  <a:pt x="1001" y="214"/>
                  <a:pt x="1001" y="214"/>
                  <a:pt x="1001" y="214"/>
                </a:cubicBezTo>
                <a:cubicBezTo>
                  <a:pt x="1000" y="215"/>
                  <a:pt x="1000" y="215"/>
                  <a:pt x="1000" y="215"/>
                </a:cubicBezTo>
                <a:cubicBezTo>
                  <a:pt x="999" y="215"/>
                  <a:pt x="999" y="215"/>
                  <a:pt x="999" y="215"/>
                </a:cubicBezTo>
                <a:cubicBezTo>
                  <a:pt x="997" y="214"/>
                  <a:pt x="997" y="214"/>
                  <a:pt x="997" y="214"/>
                </a:cubicBezTo>
                <a:cubicBezTo>
                  <a:pt x="996" y="214"/>
                  <a:pt x="996" y="214"/>
                  <a:pt x="996" y="214"/>
                </a:cubicBezTo>
                <a:cubicBezTo>
                  <a:pt x="996" y="215"/>
                  <a:pt x="996" y="215"/>
                  <a:pt x="996" y="215"/>
                </a:cubicBezTo>
                <a:cubicBezTo>
                  <a:pt x="997" y="215"/>
                  <a:pt x="997" y="215"/>
                  <a:pt x="997" y="215"/>
                </a:cubicBezTo>
                <a:cubicBezTo>
                  <a:pt x="998" y="215"/>
                  <a:pt x="998" y="215"/>
                  <a:pt x="998" y="215"/>
                </a:cubicBezTo>
                <a:cubicBezTo>
                  <a:pt x="998" y="216"/>
                  <a:pt x="998" y="216"/>
                  <a:pt x="998" y="216"/>
                </a:cubicBezTo>
                <a:cubicBezTo>
                  <a:pt x="999" y="216"/>
                  <a:pt x="999" y="216"/>
                  <a:pt x="999" y="216"/>
                </a:cubicBezTo>
                <a:cubicBezTo>
                  <a:pt x="1000" y="216"/>
                  <a:pt x="1000" y="216"/>
                  <a:pt x="1000" y="216"/>
                </a:cubicBezTo>
                <a:cubicBezTo>
                  <a:pt x="999" y="217"/>
                  <a:pt x="999" y="217"/>
                  <a:pt x="999" y="217"/>
                </a:cubicBezTo>
                <a:cubicBezTo>
                  <a:pt x="998" y="218"/>
                  <a:pt x="998" y="218"/>
                  <a:pt x="998" y="218"/>
                </a:cubicBezTo>
                <a:cubicBezTo>
                  <a:pt x="997" y="217"/>
                  <a:pt x="997" y="217"/>
                  <a:pt x="997" y="217"/>
                </a:cubicBezTo>
                <a:cubicBezTo>
                  <a:pt x="997" y="218"/>
                  <a:pt x="997" y="218"/>
                  <a:pt x="997" y="218"/>
                </a:cubicBezTo>
                <a:cubicBezTo>
                  <a:pt x="996" y="218"/>
                  <a:pt x="996" y="218"/>
                  <a:pt x="996" y="218"/>
                </a:cubicBezTo>
                <a:cubicBezTo>
                  <a:pt x="996" y="217"/>
                  <a:pt x="996" y="217"/>
                  <a:pt x="996" y="217"/>
                </a:cubicBezTo>
                <a:cubicBezTo>
                  <a:pt x="995" y="216"/>
                  <a:pt x="995" y="216"/>
                  <a:pt x="995" y="216"/>
                </a:cubicBezTo>
                <a:cubicBezTo>
                  <a:pt x="994" y="216"/>
                  <a:pt x="994" y="216"/>
                  <a:pt x="994" y="216"/>
                </a:cubicBezTo>
                <a:cubicBezTo>
                  <a:pt x="993" y="216"/>
                  <a:pt x="993" y="216"/>
                  <a:pt x="993" y="216"/>
                </a:cubicBezTo>
                <a:cubicBezTo>
                  <a:pt x="993" y="217"/>
                  <a:pt x="993" y="217"/>
                  <a:pt x="993" y="217"/>
                </a:cubicBezTo>
                <a:cubicBezTo>
                  <a:pt x="994" y="217"/>
                  <a:pt x="994" y="217"/>
                  <a:pt x="994" y="217"/>
                </a:cubicBezTo>
                <a:cubicBezTo>
                  <a:pt x="995" y="217"/>
                  <a:pt x="995" y="217"/>
                  <a:pt x="995" y="217"/>
                </a:cubicBezTo>
                <a:cubicBezTo>
                  <a:pt x="995" y="218"/>
                  <a:pt x="995" y="218"/>
                  <a:pt x="995" y="218"/>
                </a:cubicBezTo>
                <a:cubicBezTo>
                  <a:pt x="994" y="219"/>
                  <a:pt x="994" y="219"/>
                  <a:pt x="994" y="219"/>
                </a:cubicBezTo>
                <a:cubicBezTo>
                  <a:pt x="993" y="219"/>
                  <a:pt x="993" y="219"/>
                  <a:pt x="993" y="219"/>
                </a:cubicBezTo>
                <a:cubicBezTo>
                  <a:pt x="992" y="220"/>
                  <a:pt x="992" y="220"/>
                  <a:pt x="992" y="220"/>
                </a:cubicBezTo>
                <a:cubicBezTo>
                  <a:pt x="993" y="220"/>
                  <a:pt x="993" y="220"/>
                  <a:pt x="993" y="220"/>
                </a:cubicBezTo>
                <a:cubicBezTo>
                  <a:pt x="994" y="219"/>
                  <a:pt x="994" y="219"/>
                  <a:pt x="994" y="219"/>
                </a:cubicBezTo>
                <a:cubicBezTo>
                  <a:pt x="996" y="219"/>
                  <a:pt x="996" y="219"/>
                  <a:pt x="996" y="219"/>
                </a:cubicBezTo>
                <a:cubicBezTo>
                  <a:pt x="997" y="219"/>
                  <a:pt x="997" y="219"/>
                  <a:pt x="997" y="219"/>
                </a:cubicBezTo>
                <a:cubicBezTo>
                  <a:pt x="998" y="218"/>
                  <a:pt x="998" y="218"/>
                  <a:pt x="998" y="218"/>
                </a:cubicBezTo>
                <a:cubicBezTo>
                  <a:pt x="999" y="218"/>
                  <a:pt x="999" y="218"/>
                  <a:pt x="999" y="218"/>
                </a:cubicBezTo>
                <a:cubicBezTo>
                  <a:pt x="1000" y="219"/>
                  <a:pt x="1000" y="219"/>
                  <a:pt x="1000" y="219"/>
                </a:cubicBezTo>
                <a:cubicBezTo>
                  <a:pt x="1000" y="218"/>
                  <a:pt x="1000" y="218"/>
                  <a:pt x="1000" y="218"/>
                </a:cubicBezTo>
                <a:cubicBezTo>
                  <a:pt x="1000" y="217"/>
                  <a:pt x="1000" y="217"/>
                  <a:pt x="1000" y="217"/>
                </a:cubicBezTo>
                <a:cubicBezTo>
                  <a:pt x="1001" y="216"/>
                  <a:pt x="1001" y="216"/>
                  <a:pt x="1001" y="216"/>
                </a:cubicBezTo>
                <a:cubicBezTo>
                  <a:pt x="1003" y="215"/>
                  <a:pt x="1003" y="215"/>
                  <a:pt x="1003" y="215"/>
                </a:cubicBezTo>
                <a:cubicBezTo>
                  <a:pt x="1003" y="216"/>
                  <a:pt x="1003" y="216"/>
                  <a:pt x="1003" y="216"/>
                </a:cubicBezTo>
                <a:cubicBezTo>
                  <a:pt x="1003" y="217"/>
                  <a:pt x="1003" y="217"/>
                  <a:pt x="1003" y="217"/>
                </a:cubicBezTo>
                <a:cubicBezTo>
                  <a:pt x="1003" y="218"/>
                  <a:pt x="1003" y="218"/>
                  <a:pt x="1003" y="218"/>
                </a:cubicBezTo>
                <a:cubicBezTo>
                  <a:pt x="1002" y="220"/>
                  <a:pt x="1002" y="220"/>
                  <a:pt x="1002" y="220"/>
                </a:cubicBezTo>
                <a:cubicBezTo>
                  <a:pt x="1000" y="220"/>
                  <a:pt x="1000" y="220"/>
                  <a:pt x="1000" y="220"/>
                </a:cubicBezTo>
                <a:cubicBezTo>
                  <a:pt x="1000" y="221"/>
                  <a:pt x="1000" y="221"/>
                  <a:pt x="1000" y="221"/>
                </a:cubicBezTo>
                <a:cubicBezTo>
                  <a:pt x="999" y="222"/>
                  <a:pt x="999" y="222"/>
                  <a:pt x="999" y="222"/>
                </a:cubicBezTo>
                <a:cubicBezTo>
                  <a:pt x="998" y="222"/>
                  <a:pt x="998" y="222"/>
                  <a:pt x="998" y="222"/>
                </a:cubicBezTo>
                <a:cubicBezTo>
                  <a:pt x="997" y="221"/>
                  <a:pt x="997" y="221"/>
                  <a:pt x="997" y="221"/>
                </a:cubicBezTo>
                <a:cubicBezTo>
                  <a:pt x="996" y="222"/>
                  <a:pt x="996" y="222"/>
                  <a:pt x="996" y="222"/>
                </a:cubicBezTo>
                <a:cubicBezTo>
                  <a:pt x="996" y="223"/>
                  <a:pt x="996" y="223"/>
                  <a:pt x="996" y="223"/>
                </a:cubicBezTo>
                <a:cubicBezTo>
                  <a:pt x="995" y="224"/>
                  <a:pt x="995" y="224"/>
                  <a:pt x="995" y="224"/>
                </a:cubicBezTo>
                <a:cubicBezTo>
                  <a:pt x="995" y="225"/>
                  <a:pt x="995" y="225"/>
                  <a:pt x="995" y="225"/>
                </a:cubicBezTo>
                <a:cubicBezTo>
                  <a:pt x="994" y="226"/>
                  <a:pt x="994" y="226"/>
                  <a:pt x="994" y="226"/>
                </a:cubicBezTo>
                <a:cubicBezTo>
                  <a:pt x="995" y="226"/>
                  <a:pt x="995" y="226"/>
                  <a:pt x="995" y="226"/>
                </a:cubicBezTo>
                <a:cubicBezTo>
                  <a:pt x="996" y="224"/>
                  <a:pt x="996" y="224"/>
                  <a:pt x="996" y="224"/>
                </a:cubicBezTo>
                <a:cubicBezTo>
                  <a:pt x="997" y="222"/>
                  <a:pt x="997" y="222"/>
                  <a:pt x="997" y="222"/>
                </a:cubicBezTo>
                <a:cubicBezTo>
                  <a:pt x="998" y="222"/>
                  <a:pt x="998" y="222"/>
                  <a:pt x="998" y="222"/>
                </a:cubicBezTo>
                <a:cubicBezTo>
                  <a:pt x="999" y="223"/>
                  <a:pt x="999" y="223"/>
                  <a:pt x="999" y="223"/>
                </a:cubicBezTo>
                <a:cubicBezTo>
                  <a:pt x="998" y="224"/>
                  <a:pt x="998" y="224"/>
                  <a:pt x="998" y="224"/>
                </a:cubicBezTo>
                <a:cubicBezTo>
                  <a:pt x="998" y="225"/>
                  <a:pt x="998" y="225"/>
                  <a:pt x="998" y="225"/>
                </a:cubicBezTo>
                <a:cubicBezTo>
                  <a:pt x="996" y="227"/>
                  <a:pt x="996" y="227"/>
                  <a:pt x="996" y="227"/>
                </a:cubicBezTo>
                <a:cubicBezTo>
                  <a:pt x="995" y="227"/>
                  <a:pt x="995" y="227"/>
                  <a:pt x="995" y="227"/>
                </a:cubicBezTo>
                <a:cubicBezTo>
                  <a:pt x="995" y="228"/>
                  <a:pt x="995" y="228"/>
                  <a:pt x="995" y="228"/>
                </a:cubicBezTo>
                <a:cubicBezTo>
                  <a:pt x="997" y="227"/>
                  <a:pt x="997" y="227"/>
                  <a:pt x="997" y="227"/>
                </a:cubicBezTo>
                <a:cubicBezTo>
                  <a:pt x="999" y="224"/>
                  <a:pt x="999" y="224"/>
                  <a:pt x="999" y="224"/>
                </a:cubicBezTo>
                <a:cubicBezTo>
                  <a:pt x="1000" y="222"/>
                  <a:pt x="1000" y="222"/>
                  <a:pt x="1000" y="222"/>
                </a:cubicBezTo>
                <a:cubicBezTo>
                  <a:pt x="1001" y="221"/>
                  <a:pt x="1001" y="221"/>
                  <a:pt x="1001" y="221"/>
                </a:cubicBezTo>
                <a:cubicBezTo>
                  <a:pt x="1003" y="220"/>
                  <a:pt x="1003" y="220"/>
                  <a:pt x="1003" y="220"/>
                </a:cubicBezTo>
                <a:cubicBezTo>
                  <a:pt x="1005" y="219"/>
                  <a:pt x="1005" y="219"/>
                  <a:pt x="1005" y="219"/>
                </a:cubicBezTo>
                <a:cubicBezTo>
                  <a:pt x="1006" y="219"/>
                  <a:pt x="1006" y="219"/>
                  <a:pt x="1006" y="219"/>
                </a:cubicBezTo>
                <a:cubicBezTo>
                  <a:pt x="1005" y="220"/>
                  <a:pt x="1005" y="220"/>
                  <a:pt x="1005" y="220"/>
                </a:cubicBezTo>
                <a:cubicBezTo>
                  <a:pt x="1004" y="221"/>
                  <a:pt x="1004" y="221"/>
                  <a:pt x="1004" y="221"/>
                </a:cubicBezTo>
                <a:cubicBezTo>
                  <a:pt x="1003" y="221"/>
                  <a:pt x="1003" y="221"/>
                  <a:pt x="1003" y="221"/>
                </a:cubicBezTo>
                <a:cubicBezTo>
                  <a:pt x="1002" y="222"/>
                  <a:pt x="1002" y="222"/>
                  <a:pt x="1002" y="222"/>
                </a:cubicBezTo>
                <a:cubicBezTo>
                  <a:pt x="1002" y="223"/>
                  <a:pt x="1002" y="223"/>
                  <a:pt x="1002" y="223"/>
                </a:cubicBezTo>
                <a:cubicBezTo>
                  <a:pt x="1003" y="222"/>
                  <a:pt x="1003" y="222"/>
                  <a:pt x="1003" y="222"/>
                </a:cubicBezTo>
                <a:cubicBezTo>
                  <a:pt x="1004" y="222"/>
                  <a:pt x="1004" y="222"/>
                  <a:pt x="1004" y="222"/>
                </a:cubicBezTo>
                <a:cubicBezTo>
                  <a:pt x="1005" y="221"/>
                  <a:pt x="1005" y="221"/>
                  <a:pt x="1005" y="221"/>
                </a:cubicBezTo>
                <a:cubicBezTo>
                  <a:pt x="1006" y="221"/>
                  <a:pt x="1006" y="221"/>
                  <a:pt x="1006" y="221"/>
                </a:cubicBezTo>
                <a:cubicBezTo>
                  <a:pt x="1007" y="220"/>
                  <a:pt x="1007" y="220"/>
                  <a:pt x="1007" y="220"/>
                </a:cubicBezTo>
                <a:cubicBezTo>
                  <a:pt x="1008" y="220"/>
                  <a:pt x="1008" y="220"/>
                  <a:pt x="1008" y="220"/>
                </a:cubicBezTo>
                <a:cubicBezTo>
                  <a:pt x="1009" y="220"/>
                  <a:pt x="1009" y="220"/>
                  <a:pt x="1009" y="220"/>
                </a:cubicBezTo>
                <a:cubicBezTo>
                  <a:pt x="1009" y="221"/>
                  <a:pt x="1009" y="221"/>
                  <a:pt x="1009" y="221"/>
                </a:cubicBezTo>
                <a:cubicBezTo>
                  <a:pt x="1010" y="223"/>
                  <a:pt x="1010" y="223"/>
                  <a:pt x="1010" y="223"/>
                </a:cubicBezTo>
                <a:cubicBezTo>
                  <a:pt x="1011" y="224"/>
                  <a:pt x="1011" y="224"/>
                  <a:pt x="1011" y="224"/>
                </a:cubicBezTo>
                <a:cubicBezTo>
                  <a:pt x="1012" y="224"/>
                  <a:pt x="1012" y="224"/>
                  <a:pt x="1012" y="224"/>
                </a:cubicBezTo>
                <a:cubicBezTo>
                  <a:pt x="1012" y="225"/>
                  <a:pt x="1012" y="225"/>
                  <a:pt x="1012" y="225"/>
                </a:cubicBezTo>
                <a:cubicBezTo>
                  <a:pt x="1012" y="226"/>
                  <a:pt x="1012" y="226"/>
                  <a:pt x="1012" y="226"/>
                </a:cubicBezTo>
                <a:cubicBezTo>
                  <a:pt x="1011" y="227"/>
                  <a:pt x="1011" y="227"/>
                  <a:pt x="1011" y="227"/>
                </a:cubicBezTo>
                <a:cubicBezTo>
                  <a:pt x="1010" y="227"/>
                  <a:pt x="1010" y="227"/>
                  <a:pt x="1010" y="227"/>
                </a:cubicBezTo>
                <a:cubicBezTo>
                  <a:pt x="1011" y="226"/>
                  <a:pt x="1011" y="226"/>
                  <a:pt x="1011" y="226"/>
                </a:cubicBezTo>
                <a:cubicBezTo>
                  <a:pt x="1010" y="226"/>
                  <a:pt x="1010" y="226"/>
                  <a:pt x="1010" y="226"/>
                </a:cubicBezTo>
                <a:cubicBezTo>
                  <a:pt x="1009" y="227"/>
                  <a:pt x="1009" y="227"/>
                  <a:pt x="1009" y="227"/>
                </a:cubicBezTo>
                <a:cubicBezTo>
                  <a:pt x="1008" y="228"/>
                  <a:pt x="1008" y="228"/>
                  <a:pt x="1008" y="228"/>
                </a:cubicBezTo>
                <a:cubicBezTo>
                  <a:pt x="1006" y="228"/>
                  <a:pt x="1006" y="228"/>
                  <a:pt x="1006" y="228"/>
                </a:cubicBezTo>
                <a:cubicBezTo>
                  <a:pt x="1005" y="228"/>
                  <a:pt x="1005" y="228"/>
                  <a:pt x="1005" y="228"/>
                </a:cubicBezTo>
                <a:cubicBezTo>
                  <a:pt x="1004" y="228"/>
                  <a:pt x="1004" y="228"/>
                  <a:pt x="1004" y="228"/>
                </a:cubicBezTo>
                <a:cubicBezTo>
                  <a:pt x="1002" y="229"/>
                  <a:pt x="1002" y="229"/>
                  <a:pt x="1002" y="229"/>
                </a:cubicBezTo>
                <a:cubicBezTo>
                  <a:pt x="1001" y="230"/>
                  <a:pt x="1001" y="230"/>
                  <a:pt x="1001" y="230"/>
                </a:cubicBezTo>
                <a:cubicBezTo>
                  <a:pt x="1001" y="231"/>
                  <a:pt x="1001" y="231"/>
                  <a:pt x="1001" y="231"/>
                </a:cubicBezTo>
                <a:cubicBezTo>
                  <a:pt x="999" y="232"/>
                  <a:pt x="999" y="232"/>
                  <a:pt x="999" y="232"/>
                </a:cubicBezTo>
                <a:cubicBezTo>
                  <a:pt x="1001" y="232"/>
                  <a:pt x="1001" y="232"/>
                  <a:pt x="1001" y="232"/>
                </a:cubicBezTo>
                <a:cubicBezTo>
                  <a:pt x="1002" y="231"/>
                  <a:pt x="1002" y="231"/>
                  <a:pt x="1002" y="231"/>
                </a:cubicBezTo>
                <a:cubicBezTo>
                  <a:pt x="1004" y="229"/>
                  <a:pt x="1004" y="229"/>
                  <a:pt x="1004" y="229"/>
                </a:cubicBezTo>
                <a:cubicBezTo>
                  <a:pt x="1005" y="229"/>
                  <a:pt x="1005" y="229"/>
                  <a:pt x="1005" y="229"/>
                </a:cubicBezTo>
                <a:cubicBezTo>
                  <a:pt x="1006" y="229"/>
                  <a:pt x="1006" y="229"/>
                  <a:pt x="1006" y="229"/>
                </a:cubicBezTo>
                <a:cubicBezTo>
                  <a:pt x="1007" y="229"/>
                  <a:pt x="1007" y="229"/>
                  <a:pt x="1007" y="229"/>
                </a:cubicBezTo>
                <a:cubicBezTo>
                  <a:pt x="1008" y="229"/>
                  <a:pt x="1008" y="229"/>
                  <a:pt x="1008" y="229"/>
                </a:cubicBezTo>
                <a:cubicBezTo>
                  <a:pt x="1008" y="230"/>
                  <a:pt x="1008" y="230"/>
                  <a:pt x="1008" y="230"/>
                </a:cubicBezTo>
                <a:cubicBezTo>
                  <a:pt x="1008" y="231"/>
                  <a:pt x="1008" y="231"/>
                  <a:pt x="1008" y="231"/>
                </a:cubicBezTo>
                <a:cubicBezTo>
                  <a:pt x="1007" y="231"/>
                  <a:pt x="1007" y="231"/>
                  <a:pt x="1007" y="231"/>
                </a:cubicBezTo>
                <a:cubicBezTo>
                  <a:pt x="1006" y="232"/>
                  <a:pt x="1006" y="232"/>
                  <a:pt x="1006" y="232"/>
                </a:cubicBezTo>
                <a:cubicBezTo>
                  <a:pt x="1005" y="232"/>
                  <a:pt x="1005" y="232"/>
                  <a:pt x="1005" y="232"/>
                </a:cubicBezTo>
                <a:cubicBezTo>
                  <a:pt x="1004" y="232"/>
                  <a:pt x="1004" y="232"/>
                  <a:pt x="1004" y="232"/>
                </a:cubicBezTo>
                <a:cubicBezTo>
                  <a:pt x="1004" y="234"/>
                  <a:pt x="1004" y="234"/>
                  <a:pt x="1004" y="234"/>
                </a:cubicBezTo>
                <a:cubicBezTo>
                  <a:pt x="1003" y="234"/>
                  <a:pt x="1003" y="234"/>
                  <a:pt x="1003" y="234"/>
                </a:cubicBezTo>
                <a:cubicBezTo>
                  <a:pt x="1002" y="233"/>
                  <a:pt x="1002" y="233"/>
                  <a:pt x="1002" y="233"/>
                </a:cubicBezTo>
                <a:cubicBezTo>
                  <a:pt x="1001" y="234"/>
                  <a:pt x="1001" y="234"/>
                  <a:pt x="1001" y="234"/>
                </a:cubicBezTo>
                <a:cubicBezTo>
                  <a:pt x="1000" y="235"/>
                  <a:pt x="1000" y="235"/>
                  <a:pt x="1000" y="235"/>
                </a:cubicBezTo>
                <a:cubicBezTo>
                  <a:pt x="1001" y="235"/>
                  <a:pt x="1001" y="235"/>
                  <a:pt x="1001" y="235"/>
                </a:cubicBezTo>
                <a:cubicBezTo>
                  <a:pt x="1002" y="234"/>
                  <a:pt x="1002" y="234"/>
                  <a:pt x="1002" y="234"/>
                </a:cubicBezTo>
                <a:cubicBezTo>
                  <a:pt x="1003" y="234"/>
                  <a:pt x="1003" y="234"/>
                  <a:pt x="1003" y="234"/>
                </a:cubicBezTo>
                <a:cubicBezTo>
                  <a:pt x="1003" y="235"/>
                  <a:pt x="1003" y="235"/>
                  <a:pt x="1003" y="235"/>
                </a:cubicBezTo>
                <a:cubicBezTo>
                  <a:pt x="1004" y="234"/>
                  <a:pt x="1004" y="234"/>
                  <a:pt x="1004" y="234"/>
                </a:cubicBezTo>
                <a:cubicBezTo>
                  <a:pt x="1005" y="233"/>
                  <a:pt x="1005" y="233"/>
                  <a:pt x="1005" y="233"/>
                </a:cubicBezTo>
                <a:cubicBezTo>
                  <a:pt x="1006" y="232"/>
                  <a:pt x="1006" y="232"/>
                  <a:pt x="1006" y="232"/>
                </a:cubicBezTo>
                <a:cubicBezTo>
                  <a:pt x="1007" y="233"/>
                  <a:pt x="1007" y="233"/>
                  <a:pt x="1007" y="233"/>
                </a:cubicBezTo>
                <a:cubicBezTo>
                  <a:pt x="1008" y="233"/>
                  <a:pt x="1008" y="233"/>
                  <a:pt x="1008" y="233"/>
                </a:cubicBezTo>
                <a:cubicBezTo>
                  <a:pt x="1009" y="232"/>
                  <a:pt x="1009" y="232"/>
                  <a:pt x="1009" y="232"/>
                </a:cubicBezTo>
                <a:cubicBezTo>
                  <a:pt x="1010" y="231"/>
                  <a:pt x="1010" y="231"/>
                  <a:pt x="1010" y="231"/>
                </a:cubicBezTo>
                <a:cubicBezTo>
                  <a:pt x="1011" y="231"/>
                  <a:pt x="1011" y="231"/>
                  <a:pt x="1011" y="231"/>
                </a:cubicBezTo>
                <a:cubicBezTo>
                  <a:pt x="1011" y="230"/>
                  <a:pt x="1011" y="230"/>
                  <a:pt x="1011" y="230"/>
                </a:cubicBezTo>
                <a:cubicBezTo>
                  <a:pt x="1010" y="230"/>
                  <a:pt x="1010" y="230"/>
                  <a:pt x="1010" y="230"/>
                </a:cubicBezTo>
                <a:cubicBezTo>
                  <a:pt x="1011" y="229"/>
                  <a:pt x="1011" y="229"/>
                  <a:pt x="1011" y="229"/>
                </a:cubicBezTo>
                <a:cubicBezTo>
                  <a:pt x="1011" y="228"/>
                  <a:pt x="1011" y="228"/>
                  <a:pt x="1011" y="228"/>
                </a:cubicBezTo>
                <a:cubicBezTo>
                  <a:pt x="1012" y="228"/>
                  <a:pt x="1012" y="228"/>
                  <a:pt x="1012" y="228"/>
                </a:cubicBezTo>
                <a:cubicBezTo>
                  <a:pt x="1013" y="228"/>
                  <a:pt x="1013" y="228"/>
                  <a:pt x="1013" y="228"/>
                </a:cubicBezTo>
                <a:cubicBezTo>
                  <a:pt x="1013" y="229"/>
                  <a:pt x="1013" y="229"/>
                  <a:pt x="1013" y="229"/>
                </a:cubicBezTo>
                <a:cubicBezTo>
                  <a:pt x="1014" y="232"/>
                  <a:pt x="1014" y="232"/>
                  <a:pt x="1014" y="232"/>
                </a:cubicBezTo>
                <a:cubicBezTo>
                  <a:pt x="1014" y="233"/>
                  <a:pt x="1014" y="233"/>
                  <a:pt x="1014" y="233"/>
                </a:cubicBezTo>
                <a:cubicBezTo>
                  <a:pt x="1015" y="234"/>
                  <a:pt x="1015" y="234"/>
                  <a:pt x="1015" y="234"/>
                </a:cubicBezTo>
                <a:cubicBezTo>
                  <a:pt x="1015" y="235"/>
                  <a:pt x="1015" y="235"/>
                  <a:pt x="1015" y="235"/>
                </a:cubicBezTo>
                <a:cubicBezTo>
                  <a:pt x="1014" y="236"/>
                  <a:pt x="1014" y="236"/>
                  <a:pt x="1014" y="236"/>
                </a:cubicBezTo>
                <a:cubicBezTo>
                  <a:pt x="1013" y="236"/>
                  <a:pt x="1013" y="236"/>
                  <a:pt x="1013" y="236"/>
                </a:cubicBezTo>
                <a:cubicBezTo>
                  <a:pt x="1012" y="235"/>
                  <a:pt x="1012" y="235"/>
                  <a:pt x="1012" y="235"/>
                </a:cubicBezTo>
                <a:cubicBezTo>
                  <a:pt x="1010" y="235"/>
                  <a:pt x="1010" y="235"/>
                  <a:pt x="1010" y="235"/>
                </a:cubicBezTo>
                <a:cubicBezTo>
                  <a:pt x="1009" y="236"/>
                  <a:pt x="1009" y="236"/>
                  <a:pt x="1009" y="236"/>
                </a:cubicBezTo>
                <a:cubicBezTo>
                  <a:pt x="1008" y="236"/>
                  <a:pt x="1008" y="236"/>
                  <a:pt x="1008" y="236"/>
                </a:cubicBezTo>
                <a:cubicBezTo>
                  <a:pt x="1007" y="236"/>
                  <a:pt x="1007" y="236"/>
                  <a:pt x="1007" y="236"/>
                </a:cubicBezTo>
                <a:cubicBezTo>
                  <a:pt x="1006" y="236"/>
                  <a:pt x="1006" y="236"/>
                  <a:pt x="1006" y="236"/>
                </a:cubicBezTo>
                <a:cubicBezTo>
                  <a:pt x="1006" y="237"/>
                  <a:pt x="1006" y="237"/>
                  <a:pt x="1006" y="237"/>
                </a:cubicBezTo>
                <a:cubicBezTo>
                  <a:pt x="1004" y="237"/>
                  <a:pt x="1004" y="237"/>
                  <a:pt x="1004" y="237"/>
                </a:cubicBezTo>
                <a:cubicBezTo>
                  <a:pt x="1005" y="238"/>
                  <a:pt x="1005" y="238"/>
                  <a:pt x="1005" y="238"/>
                </a:cubicBezTo>
                <a:cubicBezTo>
                  <a:pt x="1007" y="237"/>
                  <a:pt x="1007" y="237"/>
                  <a:pt x="1007" y="237"/>
                </a:cubicBezTo>
                <a:cubicBezTo>
                  <a:pt x="1008" y="238"/>
                  <a:pt x="1008" y="238"/>
                  <a:pt x="1008" y="238"/>
                </a:cubicBezTo>
                <a:cubicBezTo>
                  <a:pt x="1010" y="239"/>
                  <a:pt x="1010" y="239"/>
                  <a:pt x="1010" y="239"/>
                </a:cubicBezTo>
                <a:cubicBezTo>
                  <a:pt x="1010" y="240"/>
                  <a:pt x="1010" y="240"/>
                  <a:pt x="1010" y="240"/>
                </a:cubicBezTo>
                <a:cubicBezTo>
                  <a:pt x="1011" y="239"/>
                  <a:pt x="1011" y="239"/>
                  <a:pt x="1011" y="239"/>
                </a:cubicBezTo>
                <a:cubicBezTo>
                  <a:pt x="1012" y="239"/>
                  <a:pt x="1012" y="239"/>
                  <a:pt x="1012" y="239"/>
                </a:cubicBezTo>
                <a:cubicBezTo>
                  <a:pt x="1012" y="240"/>
                  <a:pt x="1012" y="240"/>
                  <a:pt x="1012" y="240"/>
                </a:cubicBezTo>
                <a:cubicBezTo>
                  <a:pt x="1013" y="240"/>
                  <a:pt x="1013" y="240"/>
                  <a:pt x="1013" y="240"/>
                </a:cubicBezTo>
                <a:cubicBezTo>
                  <a:pt x="1015" y="241"/>
                  <a:pt x="1015" y="241"/>
                  <a:pt x="1015" y="241"/>
                </a:cubicBezTo>
                <a:cubicBezTo>
                  <a:pt x="1015" y="242"/>
                  <a:pt x="1015" y="242"/>
                  <a:pt x="1015" y="242"/>
                </a:cubicBezTo>
                <a:cubicBezTo>
                  <a:pt x="1015" y="243"/>
                  <a:pt x="1015" y="243"/>
                  <a:pt x="1015" y="243"/>
                </a:cubicBezTo>
                <a:cubicBezTo>
                  <a:pt x="1015" y="244"/>
                  <a:pt x="1015" y="244"/>
                  <a:pt x="1015" y="244"/>
                </a:cubicBezTo>
                <a:cubicBezTo>
                  <a:pt x="1014" y="244"/>
                  <a:pt x="1014" y="244"/>
                  <a:pt x="1014" y="244"/>
                </a:cubicBezTo>
                <a:cubicBezTo>
                  <a:pt x="1013" y="243"/>
                  <a:pt x="1013" y="243"/>
                  <a:pt x="1013" y="243"/>
                </a:cubicBezTo>
                <a:cubicBezTo>
                  <a:pt x="1012" y="244"/>
                  <a:pt x="1012" y="244"/>
                  <a:pt x="1012" y="244"/>
                </a:cubicBezTo>
                <a:cubicBezTo>
                  <a:pt x="1011" y="243"/>
                  <a:pt x="1011" y="243"/>
                  <a:pt x="1011" y="243"/>
                </a:cubicBezTo>
                <a:cubicBezTo>
                  <a:pt x="1010" y="243"/>
                  <a:pt x="1010" y="243"/>
                  <a:pt x="1010" y="243"/>
                </a:cubicBezTo>
                <a:cubicBezTo>
                  <a:pt x="1009" y="242"/>
                  <a:pt x="1009" y="242"/>
                  <a:pt x="1009" y="242"/>
                </a:cubicBezTo>
                <a:cubicBezTo>
                  <a:pt x="1008" y="241"/>
                  <a:pt x="1008" y="241"/>
                  <a:pt x="1008" y="241"/>
                </a:cubicBezTo>
                <a:cubicBezTo>
                  <a:pt x="1007" y="241"/>
                  <a:pt x="1007" y="241"/>
                  <a:pt x="1007" y="241"/>
                </a:cubicBezTo>
                <a:cubicBezTo>
                  <a:pt x="1006" y="242"/>
                  <a:pt x="1006" y="242"/>
                  <a:pt x="1006" y="242"/>
                </a:cubicBezTo>
                <a:cubicBezTo>
                  <a:pt x="1007" y="242"/>
                  <a:pt x="1007" y="242"/>
                  <a:pt x="1007" y="242"/>
                </a:cubicBezTo>
                <a:cubicBezTo>
                  <a:pt x="1008" y="242"/>
                  <a:pt x="1008" y="242"/>
                  <a:pt x="1008" y="242"/>
                </a:cubicBezTo>
                <a:cubicBezTo>
                  <a:pt x="1007" y="243"/>
                  <a:pt x="1007" y="243"/>
                  <a:pt x="1007" y="243"/>
                </a:cubicBezTo>
                <a:cubicBezTo>
                  <a:pt x="1006" y="243"/>
                  <a:pt x="1006" y="243"/>
                  <a:pt x="1006" y="243"/>
                </a:cubicBezTo>
                <a:cubicBezTo>
                  <a:pt x="1005" y="243"/>
                  <a:pt x="1005" y="243"/>
                  <a:pt x="1005" y="243"/>
                </a:cubicBezTo>
                <a:cubicBezTo>
                  <a:pt x="1004" y="243"/>
                  <a:pt x="1004" y="243"/>
                  <a:pt x="1004" y="243"/>
                </a:cubicBezTo>
                <a:cubicBezTo>
                  <a:pt x="1003" y="244"/>
                  <a:pt x="1003" y="244"/>
                  <a:pt x="1003" y="244"/>
                </a:cubicBezTo>
                <a:cubicBezTo>
                  <a:pt x="1003" y="245"/>
                  <a:pt x="1003" y="245"/>
                  <a:pt x="1003" y="245"/>
                </a:cubicBezTo>
                <a:cubicBezTo>
                  <a:pt x="1004" y="245"/>
                  <a:pt x="1004" y="245"/>
                  <a:pt x="1004" y="245"/>
                </a:cubicBezTo>
                <a:cubicBezTo>
                  <a:pt x="1004" y="244"/>
                  <a:pt x="1004" y="244"/>
                  <a:pt x="1004" y="244"/>
                </a:cubicBezTo>
                <a:cubicBezTo>
                  <a:pt x="1006" y="244"/>
                  <a:pt x="1006" y="244"/>
                  <a:pt x="1006" y="244"/>
                </a:cubicBezTo>
                <a:cubicBezTo>
                  <a:pt x="1007" y="243"/>
                  <a:pt x="1007" y="243"/>
                  <a:pt x="1007" y="243"/>
                </a:cubicBezTo>
                <a:cubicBezTo>
                  <a:pt x="1008" y="244"/>
                  <a:pt x="1008" y="244"/>
                  <a:pt x="1008" y="244"/>
                </a:cubicBezTo>
                <a:cubicBezTo>
                  <a:pt x="1008" y="245"/>
                  <a:pt x="1008" y="245"/>
                  <a:pt x="1008" y="245"/>
                </a:cubicBezTo>
                <a:cubicBezTo>
                  <a:pt x="1009" y="245"/>
                  <a:pt x="1009" y="245"/>
                  <a:pt x="1009" y="245"/>
                </a:cubicBezTo>
                <a:cubicBezTo>
                  <a:pt x="1009" y="246"/>
                  <a:pt x="1009" y="246"/>
                  <a:pt x="1009" y="246"/>
                </a:cubicBezTo>
                <a:cubicBezTo>
                  <a:pt x="1008" y="246"/>
                  <a:pt x="1008" y="246"/>
                  <a:pt x="1008" y="246"/>
                </a:cubicBezTo>
                <a:cubicBezTo>
                  <a:pt x="1007" y="246"/>
                  <a:pt x="1007" y="246"/>
                  <a:pt x="1007" y="246"/>
                </a:cubicBezTo>
                <a:cubicBezTo>
                  <a:pt x="1006" y="246"/>
                  <a:pt x="1006" y="246"/>
                  <a:pt x="1006" y="246"/>
                </a:cubicBezTo>
                <a:cubicBezTo>
                  <a:pt x="1006" y="245"/>
                  <a:pt x="1006" y="245"/>
                  <a:pt x="1006" y="245"/>
                </a:cubicBezTo>
                <a:cubicBezTo>
                  <a:pt x="1005" y="245"/>
                  <a:pt x="1005" y="245"/>
                  <a:pt x="1005" y="245"/>
                </a:cubicBezTo>
                <a:cubicBezTo>
                  <a:pt x="1005" y="246"/>
                  <a:pt x="1005" y="246"/>
                  <a:pt x="1005" y="246"/>
                </a:cubicBezTo>
                <a:cubicBezTo>
                  <a:pt x="1006" y="246"/>
                  <a:pt x="1006" y="246"/>
                  <a:pt x="1006" y="246"/>
                </a:cubicBezTo>
                <a:cubicBezTo>
                  <a:pt x="1007" y="247"/>
                  <a:pt x="1007" y="247"/>
                  <a:pt x="1007" y="247"/>
                </a:cubicBezTo>
                <a:cubicBezTo>
                  <a:pt x="1007" y="248"/>
                  <a:pt x="1007" y="248"/>
                  <a:pt x="1007" y="248"/>
                </a:cubicBezTo>
                <a:cubicBezTo>
                  <a:pt x="1008" y="248"/>
                  <a:pt x="1008" y="248"/>
                  <a:pt x="1008" y="248"/>
                </a:cubicBezTo>
                <a:cubicBezTo>
                  <a:pt x="1007" y="249"/>
                  <a:pt x="1007" y="249"/>
                  <a:pt x="1007" y="249"/>
                </a:cubicBezTo>
                <a:cubicBezTo>
                  <a:pt x="1005" y="248"/>
                  <a:pt x="1005" y="248"/>
                  <a:pt x="1005" y="248"/>
                </a:cubicBezTo>
                <a:cubicBezTo>
                  <a:pt x="1003" y="248"/>
                  <a:pt x="1003" y="248"/>
                  <a:pt x="1003" y="248"/>
                </a:cubicBezTo>
                <a:cubicBezTo>
                  <a:pt x="1001" y="247"/>
                  <a:pt x="1001" y="247"/>
                  <a:pt x="1001" y="247"/>
                </a:cubicBezTo>
                <a:cubicBezTo>
                  <a:pt x="1000" y="247"/>
                  <a:pt x="1000" y="247"/>
                  <a:pt x="1000" y="247"/>
                </a:cubicBezTo>
                <a:cubicBezTo>
                  <a:pt x="1002" y="248"/>
                  <a:pt x="1002" y="248"/>
                  <a:pt x="1002" y="248"/>
                </a:cubicBezTo>
                <a:cubicBezTo>
                  <a:pt x="1005" y="249"/>
                  <a:pt x="1005" y="249"/>
                  <a:pt x="1005" y="249"/>
                </a:cubicBezTo>
                <a:cubicBezTo>
                  <a:pt x="1005" y="250"/>
                  <a:pt x="1005" y="250"/>
                  <a:pt x="1005" y="250"/>
                </a:cubicBezTo>
                <a:cubicBezTo>
                  <a:pt x="1003" y="249"/>
                  <a:pt x="1003" y="249"/>
                  <a:pt x="1003" y="249"/>
                </a:cubicBezTo>
                <a:cubicBezTo>
                  <a:pt x="1002" y="249"/>
                  <a:pt x="1002" y="249"/>
                  <a:pt x="1002" y="249"/>
                </a:cubicBezTo>
                <a:cubicBezTo>
                  <a:pt x="1001" y="250"/>
                  <a:pt x="1001" y="250"/>
                  <a:pt x="1001" y="250"/>
                </a:cubicBezTo>
                <a:cubicBezTo>
                  <a:pt x="1002" y="250"/>
                  <a:pt x="1002" y="250"/>
                  <a:pt x="1002" y="250"/>
                </a:cubicBezTo>
                <a:cubicBezTo>
                  <a:pt x="1003" y="250"/>
                  <a:pt x="1003" y="250"/>
                  <a:pt x="1003" y="250"/>
                </a:cubicBezTo>
                <a:cubicBezTo>
                  <a:pt x="1003" y="251"/>
                  <a:pt x="1003" y="251"/>
                  <a:pt x="1003" y="251"/>
                </a:cubicBezTo>
                <a:cubicBezTo>
                  <a:pt x="1004" y="251"/>
                  <a:pt x="1004" y="251"/>
                  <a:pt x="1004" y="251"/>
                </a:cubicBezTo>
                <a:cubicBezTo>
                  <a:pt x="1004" y="252"/>
                  <a:pt x="1004" y="252"/>
                  <a:pt x="1004" y="252"/>
                </a:cubicBezTo>
                <a:cubicBezTo>
                  <a:pt x="1005" y="253"/>
                  <a:pt x="1005" y="253"/>
                  <a:pt x="1005" y="253"/>
                </a:cubicBezTo>
                <a:cubicBezTo>
                  <a:pt x="1005" y="252"/>
                  <a:pt x="1005" y="252"/>
                  <a:pt x="1005" y="252"/>
                </a:cubicBezTo>
                <a:cubicBezTo>
                  <a:pt x="1006" y="252"/>
                  <a:pt x="1006" y="252"/>
                  <a:pt x="1006" y="252"/>
                </a:cubicBezTo>
                <a:cubicBezTo>
                  <a:pt x="1006" y="253"/>
                  <a:pt x="1006" y="253"/>
                  <a:pt x="1006" y="253"/>
                </a:cubicBezTo>
                <a:cubicBezTo>
                  <a:pt x="1007" y="253"/>
                  <a:pt x="1007" y="253"/>
                  <a:pt x="1007" y="253"/>
                </a:cubicBezTo>
                <a:cubicBezTo>
                  <a:pt x="1007" y="252"/>
                  <a:pt x="1007" y="252"/>
                  <a:pt x="1007" y="252"/>
                </a:cubicBezTo>
                <a:cubicBezTo>
                  <a:pt x="1008" y="252"/>
                  <a:pt x="1008" y="252"/>
                  <a:pt x="1008" y="252"/>
                </a:cubicBezTo>
                <a:cubicBezTo>
                  <a:pt x="1009" y="253"/>
                  <a:pt x="1009" y="253"/>
                  <a:pt x="1009" y="253"/>
                </a:cubicBezTo>
                <a:cubicBezTo>
                  <a:pt x="1010" y="253"/>
                  <a:pt x="1010" y="253"/>
                  <a:pt x="1010" y="253"/>
                </a:cubicBezTo>
                <a:cubicBezTo>
                  <a:pt x="1011" y="253"/>
                  <a:pt x="1011" y="253"/>
                  <a:pt x="1011" y="253"/>
                </a:cubicBezTo>
                <a:cubicBezTo>
                  <a:pt x="1010" y="254"/>
                  <a:pt x="1010" y="254"/>
                  <a:pt x="1010" y="254"/>
                </a:cubicBezTo>
                <a:cubicBezTo>
                  <a:pt x="1010" y="255"/>
                  <a:pt x="1010" y="255"/>
                  <a:pt x="1010" y="255"/>
                </a:cubicBezTo>
                <a:cubicBezTo>
                  <a:pt x="1009" y="254"/>
                  <a:pt x="1009" y="254"/>
                  <a:pt x="1009" y="254"/>
                </a:cubicBezTo>
                <a:cubicBezTo>
                  <a:pt x="1007" y="254"/>
                  <a:pt x="1007" y="254"/>
                  <a:pt x="1007" y="254"/>
                </a:cubicBezTo>
                <a:cubicBezTo>
                  <a:pt x="1005" y="255"/>
                  <a:pt x="1005" y="255"/>
                  <a:pt x="1005" y="255"/>
                </a:cubicBezTo>
                <a:cubicBezTo>
                  <a:pt x="1005" y="256"/>
                  <a:pt x="1005" y="256"/>
                  <a:pt x="1005" y="256"/>
                </a:cubicBezTo>
                <a:cubicBezTo>
                  <a:pt x="1006" y="255"/>
                  <a:pt x="1006" y="255"/>
                  <a:pt x="1006" y="255"/>
                </a:cubicBezTo>
                <a:cubicBezTo>
                  <a:pt x="1007" y="255"/>
                  <a:pt x="1007" y="255"/>
                  <a:pt x="1007" y="255"/>
                </a:cubicBezTo>
                <a:cubicBezTo>
                  <a:pt x="1008" y="255"/>
                  <a:pt x="1008" y="255"/>
                  <a:pt x="1008" y="255"/>
                </a:cubicBezTo>
                <a:cubicBezTo>
                  <a:pt x="1007" y="256"/>
                  <a:pt x="1007" y="256"/>
                  <a:pt x="1007" y="256"/>
                </a:cubicBezTo>
                <a:cubicBezTo>
                  <a:pt x="1008" y="256"/>
                  <a:pt x="1008" y="256"/>
                  <a:pt x="1008" y="256"/>
                </a:cubicBezTo>
                <a:cubicBezTo>
                  <a:pt x="1010" y="256"/>
                  <a:pt x="1010" y="256"/>
                  <a:pt x="1010" y="256"/>
                </a:cubicBezTo>
                <a:cubicBezTo>
                  <a:pt x="1010" y="257"/>
                  <a:pt x="1010" y="257"/>
                  <a:pt x="1010" y="257"/>
                </a:cubicBezTo>
                <a:cubicBezTo>
                  <a:pt x="1011" y="257"/>
                  <a:pt x="1011" y="257"/>
                  <a:pt x="1011" y="257"/>
                </a:cubicBezTo>
                <a:cubicBezTo>
                  <a:pt x="1011" y="258"/>
                  <a:pt x="1011" y="258"/>
                  <a:pt x="1011" y="258"/>
                </a:cubicBezTo>
                <a:cubicBezTo>
                  <a:pt x="1011" y="259"/>
                  <a:pt x="1011" y="259"/>
                  <a:pt x="1011" y="259"/>
                </a:cubicBezTo>
                <a:cubicBezTo>
                  <a:pt x="1010" y="260"/>
                  <a:pt x="1010" y="260"/>
                  <a:pt x="1010" y="260"/>
                </a:cubicBezTo>
                <a:cubicBezTo>
                  <a:pt x="1010" y="261"/>
                  <a:pt x="1010" y="261"/>
                  <a:pt x="1010" y="261"/>
                </a:cubicBezTo>
                <a:cubicBezTo>
                  <a:pt x="1011" y="260"/>
                  <a:pt x="1011" y="260"/>
                  <a:pt x="1011" y="260"/>
                </a:cubicBezTo>
                <a:cubicBezTo>
                  <a:pt x="1012" y="259"/>
                  <a:pt x="1012" y="259"/>
                  <a:pt x="1012" y="259"/>
                </a:cubicBezTo>
                <a:cubicBezTo>
                  <a:pt x="1013" y="259"/>
                  <a:pt x="1013" y="259"/>
                  <a:pt x="1013" y="259"/>
                </a:cubicBezTo>
                <a:cubicBezTo>
                  <a:pt x="1013" y="260"/>
                  <a:pt x="1013" y="260"/>
                  <a:pt x="1013" y="260"/>
                </a:cubicBezTo>
                <a:cubicBezTo>
                  <a:pt x="1012" y="260"/>
                  <a:pt x="1012" y="260"/>
                  <a:pt x="1012" y="260"/>
                </a:cubicBezTo>
                <a:cubicBezTo>
                  <a:pt x="1011" y="262"/>
                  <a:pt x="1011" y="262"/>
                  <a:pt x="1011" y="262"/>
                </a:cubicBezTo>
                <a:cubicBezTo>
                  <a:pt x="1011" y="263"/>
                  <a:pt x="1011" y="263"/>
                  <a:pt x="1011" y="263"/>
                </a:cubicBezTo>
                <a:cubicBezTo>
                  <a:pt x="1011" y="264"/>
                  <a:pt x="1011" y="264"/>
                  <a:pt x="1011" y="264"/>
                </a:cubicBezTo>
                <a:cubicBezTo>
                  <a:pt x="1012" y="262"/>
                  <a:pt x="1012" y="262"/>
                  <a:pt x="1012" y="262"/>
                </a:cubicBezTo>
                <a:cubicBezTo>
                  <a:pt x="1013" y="261"/>
                  <a:pt x="1013" y="261"/>
                  <a:pt x="1013" y="261"/>
                </a:cubicBezTo>
                <a:cubicBezTo>
                  <a:pt x="1014" y="260"/>
                  <a:pt x="1014" y="260"/>
                  <a:pt x="1014" y="260"/>
                </a:cubicBezTo>
                <a:cubicBezTo>
                  <a:pt x="1014" y="259"/>
                  <a:pt x="1014" y="259"/>
                  <a:pt x="1014" y="259"/>
                </a:cubicBezTo>
                <a:cubicBezTo>
                  <a:pt x="1015" y="259"/>
                  <a:pt x="1015" y="259"/>
                  <a:pt x="1015" y="259"/>
                </a:cubicBezTo>
                <a:cubicBezTo>
                  <a:pt x="1015" y="260"/>
                  <a:pt x="1015" y="260"/>
                  <a:pt x="1015" y="260"/>
                </a:cubicBezTo>
                <a:cubicBezTo>
                  <a:pt x="1014" y="261"/>
                  <a:pt x="1014" y="261"/>
                  <a:pt x="1014" y="261"/>
                </a:cubicBezTo>
                <a:cubicBezTo>
                  <a:pt x="1013" y="262"/>
                  <a:pt x="1013" y="262"/>
                  <a:pt x="1013" y="262"/>
                </a:cubicBezTo>
                <a:cubicBezTo>
                  <a:pt x="1013" y="263"/>
                  <a:pt x="1013" y="263"/>
                  <a:pt x="1013" y="263"/>
                </a:cubicBezTo>
                <a:cubicBezTo>
                  <a:pt x="1014" y="264"/>
                  <a:pt x="1014" y="264"/>
                  <a:pt x="1014" y="264"/>
                </a:cubicBezTo>
                <a:cubicBezTo>
                  <a:pt x="1014" y="263"/>
                  <a:pt x="1014" y="263"/>
                  <a:pt x="1014" y="263"/>
                </a:cubicBezTo>
                <a:cubicBezTo>
                  <a:pt x="1014" y="262"/>
                  <a:pt x="1014" y="262"/>
                  <a:pt x="1014" y="262"/>
                </a:cubicBezTo>
                <a:cubicBezTo>
                  <a:pt x="1015" y="261"/>
                  <a:pt x="1015" y="261"/>
                  <a:pt x="1015" y="261"/>
                </a:cubicBezTo>
                <a:cubicBezTo>
                  <a:pt x="1016" y="261"/>
                  <a:pt x="1016" y="261"/>
                  <a:pt x="1016" y="261"/>
                </a:cubicBezTo>
                <a:cubicBezTo>
                  <a:pt x="1016" y="262"/>
                  <a:pt x="1016" y="262"/>
                  <a:pt x="1016" y="262"/>
                </a:cubicBezTo>
                <a:cubicBezTo>
                  <a:pt x="1016" y="263"/>
                  <a:pt x="1016" y="263"/>
                  <a:pt x="1016" y="263"/>
                </a:cubicBezTo>
                <a:cubicBezTo>
                  <a:pt x="1017" y="264"/>
                  <a:pt x="1017" y="264"/>
                  <a:pt x="1017" y="264"/>
                </a:cubicBezTo>
                <a:cubicBezTo>
                  <a:pt x="1018" y="263"/>
                  <a:pt x="1018" y="263"/>
                  <a:pt x="1018" y="263"/>
                </a:cubicBezTo>
                <a:cubicBezTo>
                  <a:pt x="1019" y="263"/>
                  <a:pt x="1019" y="263"/>
                  <a:pt x="1019" y="263"/>
                </a:cubicBezTo>
                <a:cubicBezTo>
                  <a:pt x="1020" y="265"/>
                  <a:pt x="1020" y="265"/>
                  <a:pt x="1020" y="265"/>
                </a:cubicBezTo>
                <a:cubicBezTo>
                  <a:pt x="1019" y="266"/>
                  <a:pt x="1019" y="266"/>
                  <a:pt x="1019" y="266"/>
                </a:cubicBezTo>
                <a:cubicBezTo>
                  <a:pt x="1020" y="267"/>
                  <a:pt x="1020" y="267"/>
                  <a:pt x="1020" y="267"/>
                </a:cubicBezTo>
                <a:cubicBezTo>
                  <a:pt x="1019" y="268"/>
                  <a:pt x="1019" y="268"/>
                  <a:pt x="1019" y="268"/>
                </a:cubicBezTo>
                <a:cubicBezTo>
                  <a:pt x="1020" y="269"/>
                  <a:pt x="1020" y="269"/>
                  <a:pt x="1020" y="269"/>
                </a:cubicBezTo>
                <a:cubicBezTo>
                  <a:pt x="1018" y="269"/>
                  <a:pt x="1018" y="269"/>
                  <a:pt x="1018" y="269"/>
                </a:cubicBezTo>
                <a:cubicBezTo>
                  <a:pt x="1017" y="269"/>
                  <a:pt x="1017" y="269"/>
                  <a:pt x="1017" y="269"/>
                </a:cubicBezTo>
                <a:cubicBezTo>
                  <a:pt x="1017" y="270"/>
                  <a:pt x="1017" y="270"/>
                  <a:pt x="1017" y="270"/>
                </a:cubicBezTo>
                <a:cubicBezTo>
                  <a:pt x="1018" y="269"/>
                  <a:pt x="1018" y="269"/>
                  <a:pt x="1018" y="269"/>
                </a:cubicBezTo>
                <a:cubicBezTo>
                  <a:pt x="1020" y="270"/>
                  <a:pt x="1020" y="270"/>
                  <a:pt x="1020" y="270"/>
                </a:cubicBezTo>
                <a:cubicBezTo>
                  <a:pt x="1020" y="269"/>
                  <a:pt x="1020" y="269"/>
                  <a:pt x="1020" y="269"/>
                </a:cubicBezTo>
                <a:cubicBezTo>
                  <a:pt x="1022" y="269"/>
                  <a:pt x="1022" y="269"/>
                  <a:pt x="1022" y="269"/>
                </a:cubicBezTo>
                <a:cubicBezTo>
                  <a:pt x="1021" y="270"/>
                  <a:pt x="1021" y="270"/>
                  <a:pt x="1021" y="270"/>
                </a:cubicBezTo>
                <a:cubicBezTo>
                  <a:pt x="1020" y="272"/>
                  <a:pt x="1020" y="272"/>
                  <a:pt x="1020" y="272"/>
                </a:cubicBezTo>
                <a:cubicBezTo>
                  <a:pt x="1022" y="271"/>
                  <a:pt x="1022" y="271"/>
                  <a:pt x="1022" y="271"/>
                </a:cubicBezTo>
                <a:cubicBezTo>
                  <a:pt x="1022" y="270"/>
                  <a:pt x="1022" y="270"/>
                  <a:pt x="1022" y="270"/>
                </a:cubicBezTo>
                <a:cubicBezTo>
                  <a:pt x="1023" y="269"/>
                  <a:pt x="1023" y="269"/>
                  <a:pt x="1023" y="269"/>
                </a:cubicBezTo>
                <a:cubicBezTo>
                  <a:pt x="1024" y="269"/>
                  <a:pt x="1024" y="269"/>
                  <a:pt x="1024" y="269"/>
                </a:cubicBezTo>
                <a:cubicBezTo>
                  <a:pt x="1025" y="269"/>
                  <a:pt x="1025" y="269"/>
                  <a:pt x="1025" y="269"/>
                </a:cubicBezTo>
                <a:cubicBezTo>
                  <a:pt x="1024" y="270"/>
                  <a:pt x="1024" y="270"/>
                  <a:pt x="1024" y="270"/>
                </a:cubicBezTo>
                <a:cubicBezTo>
                  <a:pt x="1023" y="271"/>
                  <a:pt x="1023" y="271"/>
                  <a:pt x="1023" y="271"/>
                </a:cubicBezTo>
                <a:cubicBezTo>
                  <a:pt x="1023" y="272"/>
                  <a:pt x="1023" y="272"/>
                  <a:pt x="1023" y="272"/>
                </a:cubicBezTo>
                <a:cubicBezTo>
                  <a:pt x="1021" y="273"/>
                  <a:pt x="1021" y="273"/>
                  <a:pt x="1021" y="273"/>
                </a:cubicBezTo>
                <a:cubicBezTo>
                  <a:pt x="1021" y="274"/>
                  <a:pt x="1021" y="274"/>
                  <a:pt x="1021" y="274"/>
                </a:cubicBezTo>
                <a:cubicBezTo>
                  <a:pt x="1021" y="275"/>
                  <a:pt x="1021" y="275"/>
                  <a:pt x="1021" y="275"/>
                </a:cubicBezTo>
                <a:cubicBezTo>
                  <a:pt x="1022" y="275"/>
                  <a:pt x="1022" y="275"/>
                  <a:pt x="1022" y="275"/>
                </a:cubicBezTo>
                <a:cubicBezTo>
                  <a:pt x="1022" y="274"/>
                  <a:pt x="1022" y="274"/>
                  <a:pt x="1022" y="274"/>
                </a:cubicBezTo>
                <a:cubicBezTo>
                  <a:pt x="1022" y="273"/>
                  <a:pt x="1022" y="273"/>
                  <a:pt x="1022" y="273"/>
                </a:cubicBezTo>
                <a:cubicBezTo>
                  <a:pt x="1024" y="272"/>
                  <a:pt x="1024" y="272"/>
                  <a:pt x="1024" y="272"/>
                </a:cubicBezTo>
                <a:cubicBezTo>
                  <a:pt x="1025" y="272"/>
                  <a:pt x="1025" y="272"/>
                  <a:pt x="1025" y="272"/>
                </a:cubicBezTo>
                <a:cubicBezTo>
                  <a:pt x="1024" y="274"/>
                  <a:pt x="1024" y="274"/>
                  <a:pt x="1024" y="274"/>
                </a:cubicBezTo>
                <a:cubicBezTo>
                  <a:pt x="1024" y="275"/>
                  <a:pt x="1024" y="275"/>
                  <a:pt x="1024" y="275"/>
                </a:cubicBezTo>
                <a:cubicBezTo>
                  <a:pt x="1025" y="274"/>
                  <a:pt x="1025" y="274"/>
                  <a:pt x="1025" y="274"/>
                </a:cubicBezTo>
                <a:cubicBezTo>
                  <a:pt x="1025" y="273"/>
                  <a:pt x="1025" y="273"/>
                  <a:pt x="1025" y="273"/>
                </a:cubicBezTo>
                <a:cubicBezTo>
                  <a:pt x="1026" y="273"/>
                  <a:pt x="1026" y="273"/>
                  <a:pt x="1026" y="273"/>
                </a:cubicBezTo>
                <a:cubicBezTo>
                  <a:pt x="1026" y="275"/>
                  <a:pt x="1026" y="275"/>
                  <a:pt x="1026" y="275"/>
                </a:cubicBezTo>
                <a:cubicBezTo>
                  <a:pt x="1027" y="275"/>
                  <a:pt x="1027" y="275"/>
                  <a:pt x="1027" y="275"/>
                </a:cubicBezTo>
                <a:cubicBezTo>
                  <a:pt x="1027" y="274"/>
                  <a:pt x="1027" y="274"/>
                  <a:pt x="1027" y="274"/>
                </a:cubicBezTo>
                <a:cubicBezTo>
                  <a:pt x="1027" y="273"/>
                  <a:pt x="1027" y="273"/>
                  <a:pt x="1027" y="273"/>
                </a:cubicBezTo>
                <a:cubicBezTo>
                  <a:pt x="1029" y="273"/>
                  <a:pt x="1029" y="273"/>
                  <a:pt x="1029" y="273"/>
                </a:cubicBezTo>
                <a:cubicBezTo>
                  <a:pt x="1029" y="274"/>
                  <a:pt x="1029" y="274"/>
                  <a:pt x="1029" y="274"/>
                </a:cubicBezTo>
                <a:cubicBezTo>
                  <a:pt x="1030" y="274"/>
                  <a:pt x="1030" y="274"/>
                  <a:pt x="1030" y="274"/>
                </a:cubicBezTo>
                <a:cubicBezTo>
                  <a:pt x="1030" y="276"/>
                  <a:pt x="1030" y="276"/>
                  <a:pt x="1030" y="276"/>
                </a:cubicBezTo>
                <a:cubicBezTo>
                  <a:pt x="1031" y="276"/>
                  <a:pt x="1031" y="276"/>
                  <a:pt x="1031" y="276"/>
                </a:cubicBezTo>
                <a:cubicBezTo>
                  <a:pt x="1032" y="277"/>
                  <a:pt x="1032" y="277"/>
                  <a:pt x="1032" y="277"/>
                </a:cubicBezTo>
                <a:cubicBezTo>
                  <a:pt x="1032" y="278"/>
                  <a:pt x="1032" y="278"/>
                  <a:pt x="1032" y="278"/>
                </a:cubicBezTo>
                <a:cubicBezTo>
                  <a:pt x="1032" y="279"/>
                  <a:pt x="1032" y="279"/>
                  <a:pt x="1032" y="279"/>
                </a:cubicBezTo>
                <a:cubicBezTo>
                  <a:pt x="1030" y="279"/>
                  <a:pt x="1030" y="279"/>
                  <a:pt x="1030" y="279"/>
                </a:cubicBezTo>
                <a:cubicBezTo>
                  <a:pt x="1030" y="278"/>
                  <a:pt x="1030" y="278"/>
                  <a:pt x="1030" y="278"/>
                </a:cubicBezTo>
                <a:cubicBezTo>
                  <a:pt x="1029" y="277"/>
                  <a:pt x="1029" y="277"/>
                  <a:pt x="1029" y="277"/>
                </a:cubicBezTo>
                <a:cubicBezTo>
                  <a:pt x="1028" y="277"/>
                  <a:pt x="1028" y="277"/>
                  <a:pt x="1028" y="277"/>
                </a:cubicBezTo>
                <a:cubicBezTo>
                  <a:pt x="1028" y="278"/>
                  <a:pt x="1028" y="278"/>
                  <a:pt x="1028" y="278"/>
                </a:cubicBezTo>
                <a:cubicBezTo>
                  <a:pt x="1029" y="278"/>
                  <a:pt x="1029" y="278"/>
                  <a:pt x="1029" y="278"/>
                </a:cubicBezTo>
                <a:cubicBezTo>
                  <a:pt x="1029" y="279"/>
                  <a:pt x="1029" y="279"/>
                  <a:pt x="1029" y="279"/>
                </a:cubicBezTo>
                <a:cubicBezTo>
                  <a:pt x="1030" y="279"/>
                  <a:pt x="1030" y="279"/>
                  <a:pt x="1030" y="279"/>
                </a:cubicBezTo>
                <a:cubicBezTo>
                  <a:pt x="1030" y="280"/>
                  <a:pt x="1030" y="280"/>
                  <a:pt x="1030" y="280"/>
                </a:cubicBezTo>
                <a:cubicBezTo>
                  <a:pt x="1029" y="280"/>
                  <a:pt x="1029" y="280"/>
                  <a:pt x="1029" y="280"/>
                </a:cubicBezTo>
                <a:close/>
                <a:moveTo>
                  <a:pt x="983" y="197"/>
                </a:moveTo>
                <a:cubicBezTo>
                  <a:pt x="982" y="199"/>
                  <a:pt x="982" y="199"/>
                  <a:pt x="982" y="199"/>
                </a:cubicBezTo>
                <a:cubicBezTo>
                  <a:pt x="984" y="197"/>
                  <a:pt x="984" y="197"/>
                  <a:pt x="984" y="197"/>
                </a:cubicBezTo>
                <a:cubicBezTo>
                  <a:pt x="983" y="197"/>
                  <a:pt x="983" y="197"/>
                  <a:pt x="983" y="197"/>
                </a:cubicBezTo>
                <a:close/>
                <a:moveTo>
                  <a:pt x="991" y="214"/>
                </a:moveTo>
                <a:cubicBezTo>
                  <a:pt x="992" y="213"/>
                  <a:pt x="992" y="213"/>
                  <a:pt x="992" y="213"/>
                </a:cubicBezTo>
                <a:cubicBezTo>
                  <a:pt x="992" y="212"/>
                  <a:pt x="992" y="212"/>
                  <a:pt x="992" y="212"/>
                </a:cubicBezTo>
                <a:cubicBezTo>
                  <a:pt x="991" y="214"/>
                  <a:pt x="991" y="214"/>
                  <a:pt x="991" y="214"/>
                </a:cubicBezTo>
                <a:cubicBezTo>
                  <a:pt x="990" y="215"/>
                  <a:pt x="990" y="215"/>
                  <a:pt x="990" y="215"/>
                </a:cubicBezTo>
                <a:cubicBezTo>
                  <a:pt x="991" y="215"/>
                  <a:pt x="991" y="215"/>
                  <a:pt x="991" y="215"/>
                </a:cubicBezTo>
                <a:cubicBezTo>
                  <a:pt x="991" y="214"/>
                  <a:pt x="991" y="214"/>
                  <a:pt x="991" y="214"/>
                </a:cubicBezTo>
                <a:close/>
                <a:moveTo>
                  <a:pt x="998" y="277"/>
                </a:moveTo>
                <a:cubicBezTo>
                  <a:pt x="998" y="276"/>
                  <a:pt x="998" y="276"/>
                  <a:pt x="998" y="276"/>
                </a:cubicBezTo>
                <a:cubicBezTo>
                  <a:pt x="997" y="277"/>
                  <a:pt x="997" y="277"/>
                  <a:pt x="997" y="277"/>
                </a:cubicBezTo>
                <a:cubicBezTo>
                  <a:pt x="998" y="277"/>
                  <a:pt x="998" y="277"/>
                  <a:pt x="998" y="277"/>
                </a:cubicBezTo>
                <a:close/>
                <a:moveTo>
                  <a:pt x="1016" y="290"/>
                </a:moveTo>
                <a:cubicBezTo>
                  <a:pt x="1016" y="289"/>
                  <a:pt x="1016" y="289"/>
                  <a:pt x="1016" y="289"/>
                </a:cubicBezTo>
                <a:cubicBezTo>
                  <a:pt x="1015" y="290"/>
                  <a:pt x="1015" y="290"/>
                  <a:pt x="1015" y="290"/>
                </a:cubicBezTo>
                <a:cubicBezTo>
                  <a:pt x="1016" y="290"/>
                  <a:pt x="1016" y="290"/>
                  <a:pt x="1016" y="290"/>
                </a:cubicBezTo>
                <a:close/>
                <a:moveTo>
                  <a:pt x="995" y="205"/>
                </a:moveTo>
                <a:cubicBezTo>
                  <a:pt x="995" y="205"/>
                  <a:pt x="995" y="205"/>
                  <a:pt x="995" y="206"/>
                </a:cubicBezTo>
                <a:cubicBezTo>
                  <a:pt x="995" y="206"/>
                  <a:pt x="995" y="206"/>
                  <a:pt x="995" y="207"/>
                </a:cubicBezTo>
                <a:cubicBezTo>
                  <a:pt x="995" y="207"/>
                  <a:pt x="995" y="207"/>
                  <a:pt x="996" y="207"/>
                </a:cubicBezTo>
                <a:cubicBezTo>
                  <a:pt x="996" y="207"/>
                  <a:pt x="996" y="207"/>
                  <a:pt x="996" y="206"/>
                </a:cubicBezTo>
                <a:cubicBezTo>
                  <a:pt x="996" y="206"/>
                  <a:pt x="996" y="206"/>
                  <a:pt x="995" y="205"/>
                </a:cubicBezTo>
                <a:close/>
                <a:moveTo>
                  <a:pt x="995" y="134"/>
                </a:moveTo>
                <a:cubicBezTo>
                  <a:pt x="995" y="134"/>
                  <a:pt x="995" y="134"/>
                  <a:pt x="996" y="133"/>
                </a:cubicBezTo>
                <a:cubicBezTo>
                  <a:pt x="996" y="133"/>
                  <a:pt x="996" y="133"/>
                  <a:pt x="995" y="133"/>
                </a:cubicBezTo>
                <a:cubicBezTo>
                  <a:pt x="995" y="133"/>
                  <a:pt x="995" y="133"/>
                  <a:pt x="992" y="135"/>
                </a:cubicBezTo>
                <a:cubicBezTo>
                  <a:pt x="992" y="135"/>
                  <a:pt x="992" y="135"/>
                  <a:pt x="991" y="136"/>
                </a:cubicBezTo>
                <a:cubicBezTo>
                  <a:pt x="991" y="136"/>
                  <a:pt x="991" y="136"/>
                  <a:pt x="991" y="138"/>
                </a:cubicBezTo>
                <a:cubicBezTo>
                  <a:pt x="991" y="138"/>
                  <a:pt x="991" y="138"/>
                  <a:pt x="992" y="137"/>
                </a:cubicBezTo>
                <a:cubicBezTo>
                  <a:pt x="992" y="137"/>
                  <a:pt x="992" y="137"/>
                  <a:pt x="993" y="137"/>
                </a:cubicBezTo>
                <a:cubicBezTo>
                  <a:pt x="993" y="137"/>
                  <a:pt x="993" y="137"/>
                  <a:pt x="994" y="138"/>
                </a:cubicBezTo>
                <a:cubicBezTo>
                  <a:pt x="994" y="138"/>
                  <a:pt x="994" y="138"/>
                  <a:pt x="994" y="137"/>
                </a:cubicBezTo>
                <a:cubicBezTo>
                  <a:pt x="994" y="137"/>
                  <a:pt x="994" y="137"/>
                  <a:pt x="993" y="136"/>
                </a:cubicBezTo>
                <a:cubicBezTo>
                  <a:pt x="993" y="136"/>
                  <a:pt x="993" y="136"/>
                  <a:pt x="994" y="135"/>
                </a:cubicBezTo>
                <a:cubicBezTo>
                  <a:pt x="994" y="135"/>
                  <a:pt x="994" y="135"/>
                  <a:pt x="995" y="134"/>
                </a:cubicBezTo>
                <a:close/>
                <a:moveTo>
                  <a:pt x="1011" y="256"/>
                </a:moveTo>
                <a:cubicBezTo>
                  <a:pt x="1012" y="257"/>
                  <a:pt x="1012" y="257"/>
                  <a:pt x="1012" y="257"/>
                </a:cubicBezTo>
                <a:cubicBezTo>
                  <a:pt x="1013" y="256"/>
                  <a:pt x="1013" y="256"/>
                  <a:pt x="1013" y="256"/>
                </a:cubicBezTo>
                <a:cubicBezTo>
                  <a:pt x="1012" y="256"/>
                  <a:pt x="1012" y="256"/>
                  <a:pt x="1012" y="256"/>
                </a:cubicBezTo>
                <a:lnTo>
                  <a:pt x="1011" y="256"/>
                </a:lnTo>
                <a:close/>
                <a:moveTo>
                  <a:pt x="1013" y="238"/>
                </a:moveTo>
                <a:cubicBezTo>
                  <a:pt x="1013" y="238"/>
                  <a:pt x="1013" y="238"/>
                  <a:pt x="1013" y="237"/>
                </a:cubicBezTo>
                <a:cubicBezTo>
                  <a:pt x="1013" y="237"/>
                  <a:pt x="1013" y="237"/>
                  <a:pt x="1012" y="237"/>
                </a:cubicBezTo>
                <a:cubicBezTo>
                  <a:pt x="1012" y="237"/>
                  <a:pt x="1012" y="237"/>
                  <a:pt x="1012" y="238"/>
                </a:cubicBezTo>
                <a:cubicBezTo>
                  <a:pt x="1012" y="238"/>
                  <a:pt x="1012" y="238"/>
                  <a:pt x="1013" y="238"/>
                </a:cubicBezTo>
                <a:close/>
                <a:moveTo>
                  <a:pt x="1010" y="237"/>
                </a:moveTo>
                <a:cubicBezTo>
                  <a:pt x="1010" y="237"/>
                  <a:pt x="1010" y="237"/>
                  <a:pt x="1010" y="238"/>
                </a:cubicBezTo>
                <a:cubicBezTo>
                  <a:pt x="1010" y="238"/>
                  <a:pt x="1010" y="238"/>
                  <a:pt x="1011" y="238"/>
                </a:cubicBezTo>
                <a:cubicBezTo>
                  <a:pt x="1011" y="238"/>
                  <a:pt x="1011" y="238"/>
                  <a:pt x="1012" y="237"/>
                </a:cubicBezTo>
                <a:cubicBezTo>
                  <a:pt x="1012" y="237"/>
                  <a:pt x="1012" y="237"/>
                  <a:pt x="1011" y="236"/>
                </a:cubicBezTo>
                <a:cubicBezTo>
                  <a:pt x="1011" y="236"/>
                  <a:pt x="1011" y="236"/>
                  <a:pt x="1010" y="237"/>
                </a:cubicBezTo>
                <a:close/>
                <a:moveTo>
                  <a:pt x="993" y="206"/>
                </a:moveTo>
                <a:cubicBezTo>
                  <a:pt x="993" y="206"/>
                  <a:pt x="993" y="206"/>
                  <a:pt x="994" y="205"/>
                </a:cubicBezTo>
                <a:cubicBezTo>
                  <a:pt x="994" y="205"/>
                  <a:pt x="994" y="205"/>
                  <a:pt x="994" y="204"/>
                </a:cubicBezTo>
                <a:cubicBezTo>
                  <a:pt x="994" y="204"/>
                  <a:pt x="994" y="204"/>
                  <a:pt x="993" y="205"/>
                </a:cubicBezTo>
                <a:cubicBezTo>
                  <a:pt x="993" y="205"/>
                  <a:pt x="993" y="205"/>
                  <a:pt x="993" y="206"/>
                </a:cubicBezTo>
                <a:close/>
                <a:moveTo>
                  <a:pt x="994" y="208"/>
                </a:moveTo>
                <a:cubicBezTo>
                  <a:pt x="994" y="208"/>
                  <a:pt x="994" y="208"/>
                  <a:pt x="993" y="207"/>
                </a:cubicBezTo>
                <a:cubicBezTo>
                  <a:pt x="993" y="207"/>
                  <a:pt x="993" y="207"/>
                  <a:pt x="993" y="208"/>
                </a:cubicBezTo>
                <a:cubicBezTo>
                  <a:pt x="993" y="208"/>
                  <a:pt x="993" y="208"/>
                  <a:pt x="992" y="209"/>
                </a:cubicBezTo>
                <a:cubicBezTo>
                  <a:pt x="992" y="209"/>
                  <a:pt x="992" y="209"/>
                  <a:pt x="993" y="210"/>
                </a:cubicBezTo>
                <a:cubicBezTo>
                  <a:pt x="993" y="210"/>
                  <a:pt x="993" y="210"/>
                  <a:pt x="994" y="209"/>
                </a:cubicBezTo>
                <a:cubicBezTo>
                  <a:pt x="994" y="209"/>
                  <a:pt x="994" y="209"/>
                  <a:pt x="995" y="208"/>
                </a:cubicBezTo>
                <a:cubicBezTo>
                  <a:pt x="995" y="208"/>
                  <a:pt x="995" y="208"/>
                  <a:pt x="994" y="207"/>
                </a:cubicBezTo>
                <a:cubicBezTo>
                  <a:pt x="994" y="207"/>
                  <a:pt x="994" y="207"/>
                  <a:pt x="994" y="208"/>
                </a:cubicBezTo>
                <a:close/>
                <a:moveTo>
                  <a:pt x="974" y="88"/>
                </a:moveTo>
                <a:cubicBezTo>
                  <a:pt x="974" y="88"/>
                  <a:pt x="974" y="88"/>
                  <a:pt x="974" y="89"/>
                </a:cubicBezTo>
                <a:cubicBezTo>
                  <a:pt x="974" y="89"/>
                  <a:pt x="974" y="89"/>
                  <a:pt x="975" y="87"/>
                </a:cubicBezTo>
                <a:cubicBezTo>
                  <a:pt x="975" y="87"/>
                  <a:pt x="975" y="87"/>
                  <a:pt x="974" y="88"/>
                </a:cubicBezTo>
                <a:close/>
                <a:moveTo>
                  <a:pt x="976" y="86"/>
                </a:moveTo>
                <a:cubicBezTo>
                  <a:pt x="976" y="86"/>
                  <a:pt x="976" y="86"/>
                  <a:pt x="975" y="86"/>
                </a:cubicBezTo>
                <a:cubicBezTo>
                  <a:pt x="975" y="86"/>
                  <a:pt x="975" y="86"/>
                  <a:pt x="975" y="87"/>
                </a:cubicBezTo>
                <a:cubicBezTo>
                  <a:pt x="975" y="87"/>
                  <a:pt x="975" y="87"/>
                  <a:pt x="976" y="87"/>
                </a:cubicBezTo>
                <a:cubicBezTo>
                  <a:pt x="976" y="87"/>
                  <a:pt x="976" y="87"/>
                  <a:pt x="976" y="86"/>
                </a:cubicBezTo>
                <a:close/>
                <a:moveTo>
                  <a:pt x="985" y="132"/>
                </a:moveTo>
                <a:cubicBezTo>
                  <a:pt x="986" y="132"/>
                  <a:pt x="986" y="132"/>
                  <a:pt x="986" y="132"/>
                </a:cubicBezTo>
                <a:cubicBezTo>
                  <a:pt x="986" y="131"/>
                  <a:pt x="986" y="131"/>
                  <a:pt x="986" y="131"/>
                </a:cubicBezTo>
                <a:cubicBezTo>
                  <a:pt x="985" y="132"/>
                  <a:pt x="985" y="132"/>
                  <a:pt x="985" y="132"/>
                </a:cubicBezTo>
                <a:close/>
                <a:moveTo>
                  <a:pt x="955" y="97"/>
                </a:moveTo>
                <a:cubicBezTo>
                  <a:pt x="954" y="98"/>
                  <a:pt x="954" y="98"/>
                  <a:pt x="954" y="98"/>
                </a:cubicBezTo>
                <a:cubicBezTo>
                  <a:pt x="953" y="99"/>
                  <a:pt x="953" y="99"/>
                  <a:pt x="953" y="99"/>
                </a:cubicBezTo>
                <a:cubicBezTo>
                  <a:pt x="953" y="101"/>
                  <a:pt x="953" y="101"/>
                  <a:pt x="953" y="101"/>
                </a:cubicBezTo>
                <a:cubicBezTo>
                  <a:pt x="953" y="102"/>
                  <a:pt x="953" y="102"/>
                  <a:pt x="953" y="102"/>
                </a:cubicBezTo>
                <a:cubicBezTo>
                  <a:pt x="953" y="103"/>
                  <a:pt x="953" y="103"/>
                  <a:pt x="953" y="103"/>
                </a:cubicBezTo>
                <a:cubicBezTo>
                  <a:pt x="954" y="104"/>
                  <a:pt x="954" y="104"/>
                  <a:pt x="954" y="104"/>
                </a:cubicBezTo>
                <a:cubicBezTo>
                  <a:pt x="956" y="104"/>
                  <a:pt x="956" y="104"/>
                  <a:pt x="956" y="104"/>
                </a:cubicBezTo>
                <a:cubicBezTo>
                  <a:pt x="957" y="103"/>
                  <a:pt x="957" y="103"/>
                  <a:pt x="957" y="103"/>
                </a:cubicBezTo>
                <a:cubicBezTo>
                  <a:pt x="958" y="101"/>
                  <a:pt x="958" y="101"/>
                  <a:pt x="958" y="101"/>
                </a:cubicBezTo>
                <a:cubicBezTo>
                  <a:pt x="958" y="100"/>
                  <a:pt x="958" y="100"/>
                  <a:pt x="958" y="100"/>
                </a:cubicBezTo>
                <a:cubicBezTo>
                  <a:pt x="958" y="99"/>
                  <a:pt x="958" y="99"/>
                  <a:pt x="958" y="99"/>
                </a:cubicBezTo>
                <a:cubicBezTo>
                  <a:pt x="957" y="98"/>
                  <a:pt x="957" y="98"/>
                  <a:pt x="957" y="98"/>
                </a:cubicBezTo>
                <a:cubicBezTo>
                  <a:pt x="956" y="98"/>
                  <a:pt x="956" y="98"/>
                  <a:pt x="956" y="98"/>
                </a:cubicBezTo>
                <a:cubicBezTo>
                  <a:pt x="956" y="97"/>
                  <a:pt x="956" y="97"/>
                  <a:pt x="956" y="97"/>
                </a:cubicBezTo>
                <a:cubicBezTo>
                  <a:pt x="955" y="97"/>
                  <a:pt x="955" y="97"/>
                  <a:pt x="955" y="97"/>
                </a:cubicBezTo>
                <a:close/>
                <a:moveTo>
                  <a:pt x="952" y="104"/>
                </a:moveTo>
                <a:cubicBezTo>
                  <a:pt x="952" y="105"/>
                  <a:pt x="952" y="105"/>
                  <a:pt x="952" y="105"/>
                </a:cubicBezTo>
                <a:cubicBezTo>
                  <a:pt x="953" y="104"/>
                  <a:pt x="953" y="104"/>
                  <a:pt x="953" y="104"/>
                </a:cubicBezTo>
                <a:cubicBezTo>
                  <a:pt x="953" y="103"/>
                  <a:pt x="953" y="103"/>
                  <a:pt x="953" y="103"/>
                </a:cubicBezTo>
                <a:cubicBezTo>
                  <a:pt x="952" y="103"/>
                  <a:pt x="952" y="103"/>
                  <a:pt x="952" y="103"/>
                </a:cubicBezTo>
                <a:cubicBezTo>
                  <a:pt x="952" y="104"/>
                  <a:pt x="952" y="104"/>
                  <a:pt x="952" y="104"/>
                </a:cubicBezTo>
                <a:close/>
                <a:moveTo>
                  <a:pt x="854" y="193"/>
                </a:moveTo>
                <a:cubicBezTo>
                  <a:pt x="854" y="193"/>
                  <a:pt x="854" y="193"/>
                  <a:pt x="854" y="194"/>
                </a:cubicBezTo>
                <a:cubicBezTo>
                  <a:pt x="854" y="194"/>
                  <a:pt x="854" y="194"/>
                  <a:pt x="854" y="195"/>
                </a:cubicBezTo>
                <a:cubicBezTo>
                  <a:pt x="854" y="195"/>
                  <a:pt x="854" y="195"/>
                  <a:pt x="854" y="196"/>
                </a:cubicBezTo>
                <a:cubicBezTo>
                  <a:pt x="854" y="196"/>
                  <a:pt x="854" y="196"/>
                  <a:pt x="855" y="196"/>
                </a:cubicBezTo>
                <a:cubicBezTo>
                  <a:pt x="855" y="196"/>
                  <a:pt x="855" y="196"/>
                  <a:pt x="855" y="195"/>
                </a:cubicBezTo>
                <a:cubicBezTo>
                  <a:pt x="855" y="195"/>
                  <a:pt x="855" y="195"/>
                  <a:pt x="856" y="194"/>
                </a:cubicBezTo>
                <a:cubicBezTo>
                  <a:pt x="856" y="194"/>
                  <a:pt x="856" y="194"/>
                  <a:pt x="855" y="193"/>
                </a:cubicBezTo>
                <a:cubicBezTo>
                  <a:pt x="855" y="193"/>
                  <a:pt x="855" y="193"/>
                  <a:pt x="855" y="192"/>
                </a:cubicBezTo>
                <a:cubicBezTo>
                  <a:pt x="855" y="192"/>
                  <a:pt x="855" y="192"/>
                  <a:pt x="854" y="193"/>
                </a:cubicBezTo>
                <a:close/>
                <a:moveTo>
                  <a:pt x="956" y="233"/>
                </a:moveTo>
                <a:cubicBezTo>
                  <a:pt x="956" y="234"/>
                  <a:pt x="956" y="234"/>
                  <a:pt x="956" y="234"/>
                </a:cubicBezTo>
                <a:cubicBezTo>
                  <a:pt x="955" y="234"/>
                  <a:pt x="955" y="234"/>
                  <a:pt x="955" y="234"/>
                </a:cubicBezTo>
                <a:cubicBezTo>
                  <a:pt x="954" y="235"/>
                  <a:pt x="954" y="235"/>
                  <a:pt x="954" y="235"/>
                </a:cubicBezTo>
                <a:cubicBezTo>
                  <a:pt x="953" y="235"/>
                  <a:pt x="953" y="235"/>
                  <a:pt x="953" y="235"/>
                </a:cubicBezTo>
                <a:cubicBezTo>
                  <a:pt x="951" y="235"/>
                  <a:pt x="951" y="235"/>
                  <a:pt x="951" y="235"/>
                </a:cubicBezTo>
                <a:cubicBezTo>
                  <a:pt x="951" y="236"/>
                  <a:pt x="951" y="236"/>
                  <a:pt x="951" y="236"/>
                </a:cubicBezTo>
                <a:cubicBezTo>
                  <a:pt x="950" y="237"/>
                  <a:pt x="950" y="237"/>
                  <a:pt x="950" y="237"/>
                </a:cubicBezTo>
                <a:cubicBezTo>
                  <a:pt x="949" y="237"/>
                  <a:pt x="949" y="237"/>
                  <a:pt x="949" y="237"/>
                </a:cubicBezTo>
                <a:cubicBezTo>
                  <a:pt x="950" y="239"/>
                  <a:pt x="950" y="239"/>
                  <a:pt x="950" y="239"/>
                </a:cubicBezTo>
                <a:cubicBezTo>
                  <a:pt x="950" y="238"/>
                  <a:pt x="950" y="238"/>
                  <a:pt x="950" y="238"/>
                </a:cubicBezTo>
                <a:cubicBezTo>
                  <a:pt x="951" y="239"/>
                  <a:pt x="951" y="239"/>
                  <a:pt x="951" y="239"/>
                </a:cubicBezTo>
                <a:cubicBezTo>
                  <a:pt x="952" y="239"/>
                  <a:pt x="952" y="239"/>
                  <a:pt x="952" y="239"/>
                </a:cubicBezTo>
                <a:cubicBezTo>
                  <a:pt x="954" y="237"/>
                  <a:pt x="954" y="237"/>
                  <a:pt x="954" y="237"/>
                </a:cubicBezTo>
                <a:cubicBezTo>
                  <a:pt x="955" y="236"/>
                  <a:pt x="955" y="236"/>
                  <a:pt x="955" y="236"/>
                </a:cubicBezTo>
                <a:cubicBezTo>
                  <a:pt x="957" y="235"/>
                  <a:pt x="957" y="235"/>
                  <a:pt x="957" y="235"/>
                </a:cubicBezTo>
                <a:cubicBezTo>
                  <a:pt x="958" y="234"/>
                  <a:pt x="958" y="234"/>
                  <a:pt x="958" y="234"/>
                </a:cubicBezTo>
                <a:cubicBezTo>
                  <a:pt x="957" y="233"/>
                  <a:pt x="957" y="233"/>
                  <a:pt x="957" y="233"/>
                </a:cubicBezTo>
                <a:cubicBezTo>
                  <a:pt x="957" y="232"/>
                  <a:pt x="957" y="232"/>
                  <a:pt x="957" y="232"/>
                </a:cubicBezTo>
                <a:cubicBezTo>
                  <a:pt x="956" y="233"/>
                  <a:pt x="956" y="233"/>
                  <a:pt x="956" y="233"/>
                </a:cubicBezTo>
                <a:close/>
                <a:moveTo>
                  <a:pt x="989" y="77"/>
                </a:moveTo>
                <a:cubicBezTo>
                  <a:pt x="989" y="77"/>
                  <a:pt x="989" y="77"/>
                  <a:pt x="990" y="76"/>
                </a:cubicBezTo>
                <a:cubicBezTo>
                  <a:pt x="990" y="76"/>
                  <a:pt x="990" y="76"/>
                  <a:pt x="992" y="77"/>
                </a:cubicBezTo>
                <a:cubicBezTo>
                  <a:pt x="992" y="77"/>
                  <a:pt x="992" y="77"/>
                  <a:pt x="993" y="76"/>
                </a:cubicBezTo>
                <a:cubicBezTo>
                  <a:pt x="993" y="76"/>
                  <a:pt x="993" y="76"/>
                  <a:pt x="991" y="75"/>
                </a:cubicBezTo>
                <a:cubicBezTo>
                  <a:pt x="991" y="75"/>
                  <a:pt x="991" y="75"/>
                  <a:pt x="990" y="74"/>
                </a:cubicBezTo>
                <a:cubicBezTo>
                  <a:pt x="990" y="74"/>
                  <a:pt x="990" y="74"/>
                  <a:pt x="989" y="75"/>
                </a:cubicBezTo>
                <a:cubicBezTo>
                  <a:pt x="989" y="75"/>
                  <a:pt x="989" y="75"/>
                  <a:pt x="988" y="75"/>
                </a:cubicBezTo>
                <a:cubicBezTo>
                  <a:pt x="988" y="75"/>
                  <a:pt x="988" y="75"/>
                  <a:pt x="987" y="77"/>
                </a:cubicBezTo>
                <a:cubicBezTo>
                  <a:pt x="987" y="77"/>
                  <a:pt x="987" y="77"/>
                  <a:pt x="988" y="78"/>
                </a:cubicBezTo>
                <a:cubicBezTo>
                  <a:pt x="988" y="78"/>
                  <a:pt x="988" y="78"/>
                  <a:pt x="989" y="77"/>
                </a:cubicBezTo>
                <a:close/>
                <a:moveTo>
                  <a:pt x="958" y="81"/>
                </a:moveTo>
                <a:cubicBezTo>
                  <a:pt x="958" y="83"/>
                  <a:pt x="958" y="83"/>
                  <a:pt x="958" y="83"/>
                </a:cubicBezTo>
                <a:cubicBezTo>
                  <a:pt x="959" y="83"/>
                  <a:pt x="959" y="83"/>
                  <a:pt x="959" y="83"/>
                </a:cubicBezTo>
                <a:cubicBezTo>
                  <a:pt x="959" y="85"/>
                  <a:pt x="959" y="85"/>
                  <a:pt x="959" y="85"/>
                </a:cubicBezTo>
                <a:cubicBezTo>
                  <a:pt x="961" y="85"/>
                  <a:pt x="961" y="85"/>
                  <a:pt x="961" y="85"/>
                </a:cubicBezTo>
                <a:cubicBezTo>
                  <a:pt x="964" y="87"/>
                  <a:pt x="964" y="87"/>
                  <a:pt x="964" y="87"/>
                </a:cubicBezTo>
                <a:cubicBezTo>
                  <a:pt x="965" y="87"/>
                  <a:pt x="965" y="87"/>
                  <a:pt x="965" y="87"/>
                </a:cubicBezTo>
                <a:cubicBezTo>
                  <a:pt x="965" y="86"/>
                  <a:pt x="965" y="86"/>
                  <a:pt x="965" y="86"/>
                </a:cubicBezTo>
                <a:cubicBezTo>
                  <a:pt x="965" y="84"/>
                  <a:pt x="965" y="84"/>
                  <a:pt x="965" y="84"/>
                </a:cubicBezTo>
                <a:cubicBezTo>
                  <a:pt x="967" y="85"/>
                  <a:pt x="967" y="85"/>
                  <a:pt x="967" y="85"/>
                </a:cubicBezTo>
                <a:cubicBezTo>
                  <a:pt x="967" y="86"/>
                  <a:pt x="967" y="86"/>
                  <a:pt x="967" y="86"/>
                </a:cubicBezTo>
                <a:cubicBezTo>
                  <a:pt x="967" y="87"/>
                  <a:pt x="967" y="87"/>
                  <a:pt x="967" y="87"/>
                </a:cubicBezTo>
                <a:cubicBezTo>
                  <a:pt x="967" y="88"/>
                  <a:pt x="967" y="88"/>
                  <a:pt x="967" y="88"/>
                </a:cubicBezTo>
                <a:cubicBezTo>
                  <a:pt x="968" y="85"/>
                  <a:pt x="968" y="85"/>
                  <a:pt x="968" y="85"/>
                </a:cubicBezTo>
                <a:cubicBezTo>
                  <a:pt x="968" y="82"/>
                  <a:pt x="968" y="82"/>
                  <a:pt x="968" y="82"/>
                </a:cubicBezTo>
                <a:cubicBezTo>
                  <a:pt x="969" y="81"/>
                  <a:pt x="969" y="81"/>
                  <a:pt x="969" y="81"/>
                </a:cubicBezTo>
                <a:cubicBezTo>
                  <a:pt x="970" y="79"/>
                  <a:pt x="970" y="79"/>
                  <a:pt x="970" y="79"/>
                </a:cubicBezTo>
                <a:cubicBezTo>
                  <a:pt x="971" y="78"/>
                  <a:pt x="971" y="78"/>
                  <a:pt x="971" y="78"/>
                </a:cubicBezTo>
                <a:cubicBezTo>
                  <a:pt x="971" y="79"/>
                  <a:pt x="971" y="79"/>
                  <a:pt x="971" y="79"/>
                </a:cubicBezTo>
                <a:cubicBezTo>
                  <a:pt x="969" y="82"/>
                  <a:pt x="969" y="82"/>
                  <a:pt x="969" y="82"/>
                </a:cubicBezTo>
                <a:cubicBezTo>
                  <a:pt x="969" y="83"/>
                  <a:pt x="969" y="83"/>
                  <a:pt x="969" y="83"/>
                </a:cubicBezTo>
                <a:cubicBezTo>
                  <a:pt x="969" y="85"/>
                  <a:pt x="969" y="85"/>
                  <a:pt x="969" y="85"/>
                </a:cubicBezTo>
                <a:cubicBezTo>
                  <a:pt x="969" y="87"/>
                  <a:pt x="969" y="87"/>
                  <a:pt x="969" y="87"/>
                </a:cubicBezTo>
                <a:cubicBezTo>
                  <a:pt x="970" y="88"/>
                  <a:pt x="970" y="88"/>
                  <a:pt x="970" y="88"/>
                </a:cubicBezTo>
                <a:cubicBezTo>
                  <a:pt x="969" y="89"/>
                  <a:pt x="969" y="89"/>
                  <a:pt x="969" y="89"/>
                </a:cubicBezTo>
                <a:cubicBezTo>
                  <a:pt x="970" y="89"/>
                  <a:pt x="970" y="89"/>
                  <a:pt x="970" y="89"/>
                </a:cubicBezTo>
                <a:cubicBezTo>
                  <a:pt x="971" y="87"/>
                  <a:pt x="971" y="87"/>
                  <a:pt x="971" y="87"/>
                </a:cubicBezTo>
                <a:cubicBezTo>
                  <a:pt x="973" y="85"/>
                  <a:pt x="973" y="85"/>
                  <a:pt x="973" y="85"/>
                </a:cubicBezTo>
                <a:cubicBezTo>
                  <a:pt x="974" y="82"/>
                  <a:pt x="974" y="82"/>
                  <a:pt x="974" y="82"/>
                </a:cubicBezTo>
                <a:cubicBezTo>
                  <a:pt x="975" y="82"/>
                  <a:pt x="975" y="82"/>
                  <a:pt x="975" y="82"/>
                </a:cubicBezTo>
                <a:cubicBezTo>
                  <a:pt x="975" y="83"/>
                  <a:pt x="975" y="83"/>
                  <a:pt x="975" y="83"/>
                </a:cubicBezTo>
                <a:cubicBezTo>
                  <a:pt x="974" y="84"/>
                  <a:pt x="974" y="84"/>
                  <a:pt x="974" y="84"/>
                </a:cubicBezTo>
                <a:cubicBezTo>
                  <a:pt x="974" y="85"/>
                  <a:pt x="974" y="85"/>
                  <a:pt x="974" y="85"/>
                </a:cubicBezTo>
                <a:cubicBezTo>
                  <a:pt x="975" y="85"/>
                  <a:pt x="975" y="85"/>
                  <a:pt x="975" y="85"/>
                </a:cubicBezTo>
                <a:cubicBezTo>
                  <a:pt x="977" y="84"/>
                  <a:pt x="977" y="84"/>
                  <a:pt x="977" y="84"/>
                </a:cubicBezTo>
                <a:cubicBezTo>
                  <a:pt x="978" y="83"/>
                  <a:pt x="978" y="83"/>
                  <a:pt x="978" y="83"/>
                </a:cubicBezTo>
                <a:cubicBezTo>
                  <a:pt x="978" y="82"/>
                  <a:pt x="978" y="82"/>
                  <a:pt x="978" y="82"/>
                </a:cubicBezTo>
                <a:cubicBezTo>
                  <a:pt x="977" y="82"/>
                  <a:pt x="977" y="82"/>
                  <a:pt x="977" y="82"/>
                </a:cubicBezTo>
                <a:cubicBezTo>
                  <a:pt x="977" y="81"/>
                  <a:pt x="977" y="81"/>
                  <a:pt x="977" y="81"/>
                </a:cubicBezTo>
                <a:cubicBezTo>
                  <a:pt x="978" y="81"/>
                  <a:pt x="978" y="81"/>
                  <a:pt x="978" y="81"/>
                </a:cubicBezTo>
                <a:cubicBezTo>
                  <a:pt x="978" y="79"/>
                  <a:pt x="978" y="79"/>
                  <a:pt x="978" y="79"/>
                </a:cubicBezTo>
                <a:cubicBezTo>
                  <a:pt x="977" y="78"/>
                  <a:pt x="977" y="78"/>
                  <a:pt x="977" y="78"/>
                </a:cubicBezTo>
                <a:cubicBezTo>
                  <a:pt x="977" y="77"/>
                  <a:pt x="977" y="77"/>
                  <a:pt x="977" y="77"/>
                </a:cubicBezTo>
                <a:cubicBezTo>
                  <a:pt x="979" y="76"/>
                  <a:pt x="979" y="76"/>
                  <a:pt x="979" y="76"/>
                </a:cubicBezTo>
                <a:cubicBezTo>
                  <a:pt x="980" y="74"/>
                  <a:pt x="980" y="74"/>
                  <a:pt x="980" y="74"/>
                </a:cubicBezTo>
                <a:cubicBezTo>
                  <a:pt x="981" y="73"/>
                  <a:pt x="981" y="73"/>
                  <a:pt x="981" y="73"/>
                </a:cubicBezTo>
                <a:cubicBezTo>
                  <a:pt x="982" y="74"/>
                  <a:pt x="982" y="74"/>
                  <a:pt x="982" y="74"/>
                </a:cubicBezTo>
                <a:cubicBezTo>
                  <a:pt x="981" y="74"/>
                  <a:pt x="981" y="74"/>
                  <a:pt x="981" y="74"/>
                </a:cubicBezTo>
                <a:cubicBezTo>
                  <a:pt x="980" y="76"/>
                  <a:pt x="980" y="76"/>
                  <a:pt x="980" y="76"/>
                </a:cubicBezTo>
                <a:cubicBezTo>
                  <a:pt x="979" y="78"/>
                  <a:pt x="979" y="78"/>
                  <a:pt x="979" y="78"/>
                </a:cubicBezTo>
                <a:cubicBezTo>
                  <a:pt x="979" y="80"/>
                  <a:pt x="979" y="80"/>
                  <a:pt x="979" y="80"/>
                </a:cubicBezTo>
                <a:cubicBezTo>
                  <a:pt x="979" y="81"/>
                  <a:pt x="979" y="81"/>
                  <a:pt x="979" y="81"/>
                </a:cubicBezTo>
                <a:cubicBezTo>
                  <a:pt x="979" y="82"/>
                  <a:pt x="979" y="82"/>
                  <a:pt x="979" y="82"/>
                </a:cubicBezTo>
                <a:cubicBezTo>
                  <a:pt x="980" y="81"/>
                  <a:pt x="980" y="81"/>
                  <a:pt x="980" y="81"/>
                </a:cubicBezTo>
                <a:cubicBezTo>
                  <a:pt x="981" y="79"/>
                  <a:pt x="981" y="79"/>
                  <a:pt x="981" y="79"/>
                </a:cubicBezTo>
                <a:cubicBezTo>
                  <a:pt x="983" y="77"/>
                  <a:pt x="983" y="77"/>
                  <a:pt x="983" y="77"/>
                </a:cubicBezTo>
                <a:cubicBezTo>
                  <a:pt x="984" y="76"/>
                  <a:pt x="984" y="76"/>
                  <a:pt x="984" y="76"/>
                </a:cubicBezTo>
                <a:cubicBezTo>
                  <a:pt x="984" y="74"/>
                  <a:pt x="984" y="74"/>
                  <a:pt x="984" y="74"/>
                </a:cubicBezTo>
                <a:cubicBezTo>
                  <a:pt x="985" y="73"/>
                  <a:pt x="985" y="73"/>
                  <a:pt x="985" y="73"/>
                </a:cubicBezTo>
                <a:cubicBezTo>
                  <a:pt x="986" y="73"/>
                  <a:pt x="986" y="73"/>
                  <a:pt x="986" y="73"/>
                </a:cubicBezTo>
                <a:cubicBezTo>
                  <a:pt x="986" y="74"/>
                  <a:pt x="986" y="74"/>
                  <a:pt x="986" y="74"/>
                </a:cubicBezTo>
                <a:cubicBezTo>
                  <a:pt x="986" y="75"/>
                  <a:pt x="986" y="75"/>
                  <a:pt x="986" y="75"/>
                </a:cubicBezTo>
                <a:cubicBezTo>
                  <a:pt x="987" y="75"/>
                  <a:pt x="987" y="75"/>
                  <a:pt x="987" y="75"/>
                </a:cubicBezTo>
                <a:cubicBezTo>
                  <a:pt x="988" y="73"/>
                  <a:pt x="988" y="73"/>
                  <a:pt x="988" y="73"/>
                </a:cubicBezTo>
                <a:cubicBezTo>
                  <a:pt x="989" y="73"/>
                  <a:pt x="989" y="73"/>
                  <a:pt x="989" y="73"/>
                </a:cubicBezTo>
                <a:cubicBezTo>
                  <a:pt x="991" y="73"/>
                  <a:pt x="991" y="73"/>
                  <a:pt x="991" y="73"/>
                </a:cubicBezTo>
                <a:cubicBezTo>
                  <a:pt x="993" y="73"/>
                  <a:pt x="993" y="73"/>
                  <a:pt x="993" y="73"/>
                </a:cubicBezTo>
                <a:cubicBezTo>
                  <a:pt x="994" y="73"/>
                  <a:pt x="994" y="73"/>
                  <a:pt x="994" y="73"/>
                </a:cubicBezTo>
                <a:cubicBezTo>
                  <a:pt x="995" y="72"/>
                  <a:pt x="995" y="72"/>
                  <a:pt x="995" y="72"/>
                </a:cubicBezTo>
                <a:cubicBezTo>
                  <a:pt x="996" y="71"/>
                  <a:pt x="996" y="71"/>
                  <a:pt x="996" y="71"/>
                </a:cubicBezTo>
                <a:cubicBezTo>
                  <a:pt x="997" y="70"/>
                  <a:pt x="997" y="70"/>
                  <a:pt x="997" y="70"/>
                </a:cubicBezTo>
                <a:cubicBezTo>
                  <a:pt x="997" y="69"/>
                  <a:pt x="997" y="69"/>
                  <a:pt x="997" y="69"/>
                </a:cubicBezTo>
                <a:cubicBezTo>
                  <a:pt x="996" y="68"/>
                  <a:pt x="996" y="68"/>
                  <a:pt x="996" y="68"/>
                </a:cubicBezTo>
                <a:cubicBezTo>
                  <a:pt x="997" y="66"/>
                  <a:pt x="997" y="66"/>
                  <a:pt x="997" y="66"/>
                </a:cubicBezTo>
                <a:cubicBezTo>
                  <a:pt x="996" y="63"/>
                  <a:pt x="996" y="63"/>
                  <a:pt x="996" y="63"/>
                </a:cubicBezTo>
                <a:cubicBezTo>
                  <a:pt x="995" y="65"/>
                  <a:pt x="995" y="65"/>
                  <a:pt x="995" y="65"/>
                </a:cubicBezTo>
                <a:cubicBezTo>
                  <a:pt x="994" y="67"/>
                  <a:pt x="994" y="67"/>
                  <a:pt x="994" y="67"/>
                </a:cubicBezTo>
                <a:cubicBezTo>
                  <a:pt x="993" y="67"/>
                  <a:pt x="993" y="67"/>
                  <a:pt x="993" y="67"/>
                </a:cubicBezTo>
                <a:cubicBezTo>
                  <a:pt x="993" y="66"/>
                  <a:pt x="993" y="66"/>
                  <a:pt x="993" y="66"/>
                </a:cubicBezTo>
                <a:cubicBezTo>
                  <a:pt x="994" y="65"/>
                  <a:pt x="994" y="65"/>
                  <a:pt x="994" y="65"/>
                </a:cubicBezTo>
                <a:cubicBezTo>
                  <a:pt x="995" y="64"/>
                  <a:pt x="995" y="64"/>
                  <a:pt x="995" y="64"/>
                </a:cubicBezTo>
                <a:cubicBezTo>
                  <a:pt x="995" y="63"/>
                  <a:pt x="995" y="63"/>
                  <a:pt x="995" y="63"/>
                </a:cubicBezTo>
                <a:cubicBezTo>
                  <a:pt x="994" y="62"/>
                  <a:pt x="994" y="62"/>
                  <a:pt x="994" y="62"/>
                </a:cubicBezTo>
                <a:cubicBezTo>
                  <a:pt x="994" y="61"/>
                  <a:pt x="994" y="61"/>
                  <a:pt x="994" y="61"/>
                </a:cubicBezTo>
                <a:cubicBezTo>
                  <a:pt x="993" y="61"/>
                  <a:pt x="993" y="61"/>
                  <a:pt x="993" y="61"/>
                </a:cubicBezTo>
                <a:cubicBezTo>
                  <a:pt x="992" y="61"/>
                  <a:pt x="992" y="61"/>
                  <a:pt x="992" y="61"/>
                </a:cubicBezTo>
                <a:cubicBezTo>
                  <a:pt x="992" y="62"/>
                  <a:pt x="992" y="62"/>
                  <a:pt x="992" y="62"/>
                </a:cubicBezTo>
                <a:cubicBezTo>
                  <a:pt x="991" y="61"/>
                  <a:pt x="991" y="61"/>
                  <a:pt x="991" y="61"/>
                </a:cubicBezTo>
                <a:cubicBezTo>
                  <a:pt x="990" y="61"/>
                  <a:pt x="990" y="61"/>
                  <a:pt x="990" y="61"/>
                </a:cubicBezTo>
                <a:cubicBezTo>
                  <a:pt x="989" y="62"/>
                  <a:pt x="989" y="62"/>
                  <a:pt x="989" y="62"/>
                </a:cubicBezTo>
                <a:cubicBezTo>
                  <a:pt x="988" y="62"/>
                  <a:pt x="988" y="62"/>
                  <a:pt x="988" y="62"/>
                </a:cubicBezTo>
                <a:cubicBezTo>
                  <a:pt x="989" y="61"/>
                  <a:pt x="989" y="61"/>
                  <a:pt x="989" y="61"/>
                </a:cubicBezTo>
                <a:cubicBezTo>
                  <a:pt x="992" y="60"/>
                  <a:pt x="992" y="60"/>
                  <a:pt x="992" y="60"/>
                </a:cubicBezTo>
                <a:cubicBezTo>
                  <a:pt x="993" y="60"/>
                  <a:pt x="993" y="60"/>
                  <a:pt x="993" y="60"/>
                </a:cubicBezTo>
                <a:cubicBezTo>
                  <a:pt x="995" y="58"/>
                  <a:pt x="995" y="58"/>
                  <a:pt x="995" y="58"/>
                </a:cubicBezTo>
                <a:cubicBezTo>
                  <a:pt x="996" y="57"/>
                  <a:pt x="996" y="57"/>
                  <a:pt x="996" y="57"/>
                </a:cubicBezTo>
                <a:cubicBezTo>
                  <a:pt x="997" y="55"/>
                  <a:pt x="997" y="55"/>
                  <a:pt x="997" y="55"/>
                </a:cubicBezTo>
                <a:cubicBezTo>
                  <a:pt x="998" y="53"/>
                  <a:pt x="998" y="53"/>
                  <a:pt x="998" y="53"/>
                </a:cubicBezTo>
                <a:cubicBezTo>
                  <a:pt x="997" y="52"/>
                  <a:pt x="997" y="52"/>
                  <a:pt x="997" y="52"/>
                </a:cubicBezTo>
                <a:cubicBezTo>
                  <a:pt x="996" y="52"/>
                  <a:pt x="996" y="52"/>
                  <a:pt x="996" y="52"/>
                </a:cubicBezTo>
                <a:cubicBezTo>
                  <a:pt x="996" y="53"/>
                  <a:pt x="996" y="53"/>
                  <a:pt x="996" y="53"/>
                </a:cubicBezTo>
                <a:cubicBezTo>
                  <a:pt x="995" y="52"/>
                  <a:pt x="995" y="52"/>
                  <a:pt x="995" y="52"/>
                </a:cubicBezTo>
                <a:cubicBezTo>
                  <a:pt x="996" y="52"/>
                  <a:pt x="996" y="52"/>
                  <a:pt x="996" y="52"/>
                </a:cubicBezTo>
                <a:cubicBezTo>
                  <a:pt x="996" y="51"/>
                  <a:pt x="996" y="51"/>
                  <a:pt x="996" y="51"/>
                </a:cubicBezTo>
                <a:cubicBezTo>
                  <a:pt x="997" y="51"/>
                  <a:pt x="997" y="51"/>
                  <a:pt x="997" y="51"/>
                </a:cubicBezTo>
                <a:cubicBezTo>
                  <a:pt x="998" y="50"/>
                  <a:pt x="998" y="50"/>
                  <a:pt x="998" y="50"/>
                </a:cubicBezTo>
                <a:cubicBezTo>
                  <a:pt x="998" y="49"/>
                  <a:pt x="998" y="49"/>
                  <a:pt x="998" y="49"/>
                </a:cubicBezTo>
                <a:cubicBezTo>
                  <a:pt x="999" y="48"/>
                  <a:pt x="999" y="48"/>
                  <a:pt x="999" y="48"/>
                </a:cubicBezTo>
                <a:cubicBezTo>
                  <a:pt x="999" y="46"/>
                  <a:pt x="999" y="46"/>
                  <a:pt x="999" y="46"/>
                </a:cubicBezTo>
                <a:cubicBezTo>
                  <a:pt x="999" y="45"/>
                  <a:pt x="999" y="45"/>
                  <a:pt x="999" y="45"/>
                </a:cubicBezTo>
                <a:cubicBezTo>
                  <a:pt x="997" y="45"/>
                  <a:pt x="997" y="45"/>
                  <a:pt x="997" y="45"/>
                </a:cubicBezTo>
                <a:cubicBezTo>
                  <a:pt x="996" y="45"/>
                  <a:pt x="996" y="45"/>
                  <a:pt x="996" y="45"/>
                </a:cubicBezTo>
                <a:cubicBezTo>
                  <a:pt x="995" y="48"/>
                  <a:pt x="995" y="48"/>
                  <a:pt x="995" y="48"/>
                </a:cubicBezTo>
                <a:cubicBezTo>
                  <a:pt x="995" y="49"/>
                  <a:pt x="995" y="49"/>
                  <a:pt x="995" y="49"/>
                </a:cubicBezTo>
                <a:cubicBezTo>
                  <a:pt x="995" y="50"/>
                  <a:pt x="995" y="50"/>
                  <a:pt x="995" y="50"/>
                </a:cubicBezTo>
                <a:cubicBezTo>
                  <a:pt x="995" y="51"/>
                  <a:pt x="995" y="51"/>
                  <a:pt x="995" y="51"/>
                </a:cubicBezTo>
                <a:cubicBezTo>
                  <a:pt x="994" y="52"/>
                  <a:pt x="994" y="52"/>
                  <a:pt x="994" y="52"/>
                </a:cubicBezTo>
                <a:cubicBezTo>
                  <a:pt x="994" y="51"/>
                  <a:pt x="994" y="51"/>
                  <a:pt x="994" y="51"/>
                </a:cubicBezTo>
                <a:cubicBezTo>
                  <a:pt x="993" y="50"/>
                  <a:pt x="993" y="50"/>
                  <a:pt x="993" y="50"/>
                </a:cubicBezTo>
                <a:cubicBezTo>
                  <a:pt x="993" y="49"/>
                  <a:pt x="993" y="49"/>
                  <a:pt x="993" y="49"/>
                </a:cubicBezTo>
                <a:cubicBezTo>
                  <a:pt x="994" y="47"/>
                  <a:pt x="994" y="47"/>
                  <a:pt x="994" y="47"/>
                </a:cubicBezTo>
                <a:cubicBezTo>
                  <a:pt x="994" y="46"/>
                  <a:pt x="994" y="46"/>
                  <a:pt x="994" y="46"/>
                </a:cubicBezTo>
                <a:cubicBezTo>
                  <a:pt x="994" y="45"/>
                  <a:pt x="994" y="45"/>
                  <a:pt x="994" y="45"/>
                </a:cubicBezTo>
                <a:cubicBezTo>
                  <a:pt x="995" y="45"/>
                  <a:pt x="995" y="45"/>
                  <a:pt x="995" y="45"/>
                </a:cubicBezTo>
                <a:cubicBezTo>
                  <a:pt x="995" y="43"/>
                  <a:pt x="995" y="43"/>
                  <a:pt x="995" y="43"/>
                </a:cubicBezTo>
                <a:cubicBezTo>
                  <a:pt x="994" y="42"/>
                  <a:pt x="994" y="42"/>
                  <a:pt x="994" y="42"/>
                </a:cubicBezTo>
                <a:cubicBezTo>
                  <a:pt x="993" y="42"/>
                  <a:pt x="993" y="42"/>
                  <a:pt x="993" y="42"/>
                </a:cubicBezTo>
                <a:cubicBezTo>
                  <a:pt x="992" y="43"/>
                  <a:pt x="992" y="43"/>
                  <a:pt x="992" y="43"/>
                </a:cubicBezTo>
                <a:cubicBezTo>
                  <a:pt x="991" y="44"/>
                  <a:pt x="991" y="44"/>
                  <a:pt x="991" y="44"/>
                </a:cubicBezTo>
                <a:cubicBezTo>
                  <a:pt x="991" y="43"/>
                  <a:pt x="991" y="43"/>
                  <a:pt x="991" y="43"/>
                </a:cubicBezTo>
                <a:cubicBezTo>
                  <a:pt x="991" y="41"/>
                  <a:pt x="991" y="41"/>
                  <a:pt x="991" y="41"/>
                </a:cubicBezTo>
                <a:cubicBezTo>
                  <a:pt x="990" y="39"/>
                  <a:pt x="990" y="39"/>
                  <a:pt x="990" y="39"/>
                </a:cubicBezTo>
                <a:cubicBezTo>
                  <a:pt x="990" y="36"/>
                  <a:pt x="990" y="36"/>
                  <a:pt x="990" y="36"/>
                </a:cubicBezTo>
                <a:cubicBezTo>
                  <a:pt x="990" y="34"/>
                  <a:pt x="990" y="34"/>
                  <a:pt x="990" y="34"/>
                </a:cubicBezTo>
                <a:cubicBezTo>
                  <a:pt x="991" y="33"/>
                  <a:pt x="991" y="33"/>
                  <a:pt x="991" y="33"/>
                </a:cubicBezTo>
                <a:cubicBezTo>
                  <a:pt x="991" y="31"/>
                  <a:pt x="991" y="31"/>
                  <a:pt x="991" y="31"/>
                </a:cubicBezTo>
                <a:cubicBezTo>
                  <a:pt x="991" y="29"/>
                  <a:pt x="991" y="29"/>
                  <a:pt x="991" y="29"/>
                </a:cubicBezTo>
                <a:cubicBezTo>
                  <a:pt x="992" y="27"/>
                  <a:pt x="992" y="27"/>
                  <a:pt x="992" y="27"/>
                </a:cubicBezTo>
                <a:cubicBezTo>
                  <a:pt x="992" y="26"/>
                  <a:pt x="992" y="26"/>
                  <a:pt x="992" y="26"/>
                </a:cubicBezTo>
                <a:cubicBezTo>
                  <a:pt x="991" y="24"/>
                  <a:pt x="991" y="24"/>
                  <a:pt x="991" y="24"/>
                </a:cubicBezTo>
                <a:cubicBezTo>
                  <a:pt x="991" y="23"/>
                  <a:pt x="991" y="23"/>
                  <a:pt x="991" y="23"/>
                </a:cubicBezTo>
                <a:cubicBezTo>
                  <a:pt x="989" y="22"/>
                  <a:pt x="989" y="22"/>
                  <a:pt x="989" y="22"/>
                </a:cubicBezTo>
                <a:cubicBezTo>
                  <a:pt x="988" y="21"/>
                  <a:pt x="988" y="21"/>
                  <a:pt x="988" y="21"/>
                </a:cubicBezTo>
                <a:cubicBezTo>
                  <a:pt x="987" y="20"/>
                  <a:pt x="987" y="20"/>
                  <a:pt x="987" y="20"/>
                </a:cubicBezTo>
                <a:cubicBezTo>
                  <a:pt x="986" y="20"/>
                  <a:pt x="986" y="20"/>
                  <a:pt x="986" y="20"/>
                </a:cubicBezTo>
                <a:cubicBezTo>
                  <a:pt x="986" y="21"/>
                  <a:pt x="986" y="21"/>
                  <a:pt x="986" y="21"/>
                </a:cubicBezTo>
                <a:cubicBezTo>
                  <a:pt x="984" y="20"/>
                  <a:pt x="984" y="20"/>
                  <a:pt x="984" y="20"/>
                </a:cubicBezTo>
                <a:cubicBezTo>
                  <a:pt x="983" y="20"/>
                  <a:pt x="983" y="20"/>
                  <a:pt x="983" y="20"/>
                </a:cubicBezTo>
                <a:cubicBezTo>
                  <a:pt x="983" y="21"/>
                  <a:pt x="983" y="21"/>
                  <a:pt x="983" y="21"/>
                </a:cubicBezTo>
                <a:cubicBezTo>
                  <a:pt x="982" y="23"/>
                  <a:pt x="982" y="23"/>
                  <a:pt x="982" y="23"/>
                </a:cubicBezTo>
                <a:cubicBezTo>
                  <a:pt x="983" y="24"/>
                  <a:pt x="983" y="24"/>
                  <a:pt x="983" y="24"/>
                </a:cubicBezTo>
                <a:cubicBezTo>
                  <a:pt x="984" y="24"/>
                  <a:pt x="984" y="24"/>
                  <a:pt x="984" y="24"/>
                </a:cubicBezTo>
                <a:cubicBezTo>
                  <a:pt x="985" y="23"/>
                  <a:pt x="985" y="23"/>
                  <a:pt x="985" y="23"/>
                </a:cubicBezTo>
                <a:cubicBezTo>
                  <a:pt x="986" y="24"/>
                  <a:pt x="986" y="24"/>
                  <a:pt x="986" y="24"/>
                </a:cubicBezTo>
                <a:cubicBezTo>
                  <a:pt x="987" y="25"/>
                  <a:pt x="987" y="25"/>
                  <a:pt x="987" y="25"/>
                </a:cubicBezTo>
                <a:cubicBezTo>
                  <a:pt x="988" y="25"/>
                  <a:pt x="988" y="25"/>
                  <a:pt x="988" y="25"/>
                </a:cubicBezTo>
                <a:cubicBezTo>
                  <a:pt x="988" y="26"/>
                  <a:pt x="988" y="26"/>
                  <a:pt x="988" y="26"/>
                </a:cubicBezTo>
                <a:cubicBezTo>
                  <a:pt x="986" y="28"/>
                  <a:pt x="986" y="28"/>
                  <a:pt x="986" y="28"/>
                </a:cubicBezTo>
                <a:cubicBezTo>
                  <a:pt x="985" y="28"/>
                  <a:pt x="985" y="28"/>
                  <a:pt x="985" y="28"/>
                </a:cubicBezTo>
                <a:cubicBezTo>
                  <a:pt x="984" y="27"/>
                  <a:pt x="984" y="27"/>
                  <a:pt x="984" y="27"/>
                </a:cubicBezTo>
                <a:cubicBezTo>
                  <a:pt x="983" y="27"/>
                  <a:pt x="983" y="27"/>
                  <a:pt x="983" y="27"/>
                </a:cubicBezTo>
                <a:cubicBezTo>
                  <a:pt x="981" y="27"/>
                  <a:pt x="981" y="27"/>
                  <a:pt x="981" y="27"/>
                </a:cubicBezTo>
                <a:cubicBezTo>
                  <a:pt x="982" y="28"/>
                  <a:pt x="982" y="28"/>
                  <a:pt x="982" y="28"/>
                </a:cubicBezTo>
                <a:cubicBezTo>
                  <a:pt x="983" y="28"/>
                  <a:pt x="983" y="28"/>
                  <a:pt x="983" y="28"/>
                </a:cubicBezTo>
                <a:cubicBezTo>
                  <a:pt x="982" y="29"/>
                  <a:pt x="982" y="29"/>
                  <a:pt x="982" y="29"/>
                </a:cubicBezTo>
                <a:cubicBezTo>
                  <a:pt x="981" y="29"/>
                  <a:pt x="981" y="29"/>
                  <a:pt x="981" y="29"/>
                </a:cubicBezTo>
                <a:cubicBezTo>
                  <a:pt x="979" y="28"/>
                  <a:pt x="979" y="28"/>
                  <a:pt x="979" y="28"/>
                </a:cubicBezTo>
                <a:cubicBezTo>
                  <a:pt x="977" y="29"/>
                  <a:pt x="977" y="29"/>
                  <a:pt x="977" y="29"/>
                </a:cubicBezTo>
                <a:cubicBezTo>
                  <a:pt x="977" y="30"/>
                  <a:pt x="977" y="30"/>
                  <a:pt x="977" y="30"/>
                </a:cubicBezTo>
                <a:cubicBezTo>
                  <a:pt x="976" y="31"/>
                  <a:pt x="976" y="31"/>
                  <a:pt x="976" y="31"/>
                </a:cubicBezTo>
                <a:cubicBezTo>
                  <a:pt x="976" y="32"/>
                  <a:pt x="976" y="32"/>
                  <a:pt x="976" y="32"/>
                </a:cubicBezTo>
                <a:cubicBezTo>
                  <a:pt x="977" y="32"/>
                  <a:pt x="977" y="32"/>
                  <a:pt x="977" y="32"/>
                </a:cubicBezTo>
                <a:cubicBezTo>
                  <a:pt x="977" y="34"/>
                  <a:pt x="977" y="34"/>
                  <a:pt x="977" y="34"/>
                </a:cubicBezTo>
                <a:cubicBezTo>
                  <a:pt x="979" y="34"/>
                  <a:pt x="979" y="34"/>
                  <a:pt x="979" y="34"/>
                </a:cubicBezTo>
                <a:cubicBezTo>
                  <a:pt x="979" y="35"/>
                  <a:pt x="979" y="35"/>
                  <a:pt x="979" y="35"/>
                </a:cubicBezTo>
                <a:cubicBezTo>
                  <a:pt x="978" y="35"/>
                  <a:pt x="978" y="35"/>
                  <a:pt x="978" y="35"/>
                </a:cubicBezTo>
                <a:cubicBezTo>
                  <a:pt x="978" y="36"/>
                  <a:pt x="978" y="36"/>
                  <a:pt x="978" y="36"/>
                </a:cubicBezTo>
                <a:cubicBezTo>
                  <a:pt x="978" y="37"/>
                  <a:pt x="978" y="37"/>
                  <a:pt x="978" y="37"/>
                </a:cubicBezTo>
                <a:cubicBezTo>
                  <a:pt x="977" y="37"/>
                  <a:pt x="977" y="37"/>
                  <a:pt x="977" y="37"/>
                </a:cubicBezTo>
                <a:cubicBezTo>
                  <a:pt x="975" y="37"/>
                  <a:pt x="975" y="37"/>
                  <a:pt x="975" y="37"/>
                </a:cubicBezTo>
                <a:cubicBezTo>
                  <a:pt x="974" y="36"/>
                  <a:pt x="974" y="36"/>
                  <a:pt x="974" y="36"/>
                </a:cubicBezTo>
                <a:cubicBezTo>
                  <a:pt x="973" y="35"/>
                  <a:pt x="973" y="35"/>
                  <a:pt x="973" y="35"/>
                </a:cubicBezTo>
                <a:cubicBezTo>
                  <a:pt x="972" y="36"/>
                  <a:pt x="972" y="36"/>
                  <a:pt x="972" y="36"/>
                </a:cubicBezTo>
                <a:cubicBezTo>
                  <a:pt x="972" y="37"/>
                  <a:pt x="972" y="37"/>
                  <a:pt x="972" y="37"/>
                </a:cubicBezTo>
                <a:cubicBezTo>
                  <a:pt x="973" y="38"/>
                  <a:pt x="973" y="38"/>
                  <a:pt x="973" y="38"/>
                </a:cubicBezTo>
                <a:cubicBezTo>
                  <a:pt x="972" y="39"/>
                  <a:pt x="972" y="39"/>
                  <a:pt x="972" y="39"/>
                </a:cubicBezTo>
                <a:cubicBezTo>
                  <a:pt x="971" y="39"/>
                  <a:pt x="971" y="39"/>
                  <a:pt x="971" y="39"/>
                </a:cubicBezTo>
                <a:cubicBezTo>
                  <a:pt x="971" y="38"/>
                  <a:pt x="971" y="38"/>
                  <a:pt x="971" y="38"/>
                </a:cubicBezTo>
                <a:cubicBezTo>
                  <a:pt x="971" y="37"/>
                  <a:pt x="971" y="37"/>
                  <a:pt x="971" y="37"/>
                </a:cubicBezTo>
                <a:cubicBezTo>
                  <a:pt x="969" y="37"/>
                  <a:pt x="969" y="37"/>
                  <a:pt x="969" y="37"/>
                </a:cubicBezTo>
                <a:cubicBezTo>
                  <a:pt x="968" y="36"/>
                  <a:pt x="968" y="36"/>
                  <a:pt x="968" y="36"/>
                </a:cubicBezTo>
                <a:cubicBezTo>
                  <a:pt x="967" y="36"/>
                  <a:pt x="967" y="36"/>
                  <a:pt x="967" y="36"/>
                </a:cubicBezTo>
                <a:cubicBezTo>
                  <a:pt x="967" y="37"/>
                  <a:pt x="967" y="37"/>
                  <a:pt x="967" y="37"/>
                </a:cubicBezTo>
                <a:cubicBezTo>
                  <a:pt x="967" y="38"/>
                  <a:pt x="967" y="38"/>
                  <a:pt x="967" y="38"/>
                </a:cubicBezTo>
                <a:cubicBezTo>
                  <a:pt x="967" y="40"/>
                  <a:pt x="967" y="40"/>
                  <a:pt x="967" y="40"/>
                </a:cubicBezTo>
                <a:cubicBezTo>
                  <a:pt x="968" y="41"/>
                  <a:pt x="968" y="41"/>
                  <a:pt x="968" y="41"/>
                </a:cubicBezTo>
                <a:cubicBezTo>
                  <a:pt x="969" y="42"/>
                  <a:pt x="969" y="42"/>
                  <a:pt x="969" y="42"/>
                </a:cubicBezTo>
                <a:cubicBezTo>
                  <a:pt x="970" y="42"/>
                  <a:pt x="970" y="42"/>
                  <a:pt x="970" y="42"/>
                </a:cubicBezTo>
                <a:cubicBezTo>
                  <a:pt x="971" y="43"/>
                  <a:pt x="971" y="43"/>
                  <a:pt x="971" y="43"/>
                </a:cubicBezTo>
                <a:cubicBezTo>
                  <a:pt x="970" y="43"/>
                  <a:pt x="970" y="43"/>
                  <a:pt x="970" y="43"/>
                </a:cubicBezTo>
                <a:cubicBezTo>
                  <a:pt x="969" y="43"/>
                  <a:pt x="969" y="43"/>
                  <a:pt x="969" y="43"/>
                </a:cubicBezTo>
                <a:cubicBezTo>
                  <a:pt x="970" y="44"/>
                  <a:pt x="970" y="44"/>
                  <a:pt x="970" y="44"/>
                </a:cubicBezTo>
                <a:cubicBezTo>
                  <a:pt x="971" y="45"/>
                  <a:pt x="971" y="45"/>
                  <a:pt x="971" y="45"/>
                </a:cubicBezTo>
                <a:cubicBezTo>
                  <a:pt x="972" y="46"/>
                  <a:pt x="972" y="46"/>
                  <a:pt x="972" y="46"/>
                </a:cubicBezTo>
                <a:cubicBezTo>
                  <a:pt x="974" y="46"/>
                  <a:pt x="974" y="46"/>
                  <a:pt x="974" y="46"/>
                </a:cubicBezTo>
                <a:cubicBezTo>
                  <a:pt x="974" y="45"/>
                  <a:pt x="974" y="45"/>
                  <a:pt x="974" y="45"/>
                </a:cubicBezTo>
                <a:cubicBezTo>
                  <a:pt x="975" y="45"/>
                  <a:pt x="975" y="45"/>
                  <a:pt x="975" y="45"/>
                </a:cubicBezTo>
                <a:cubicBezTo>
                  <a:pt x="975" y="46"/>
                  <a:pt x="975" y="46"/>
                  <a:pt x="975" y="46"/>
                </a:cubicBezTo>
                <a:cubicBezTo>
                  <a:pt x="974" y="46"/>
                  <a:pt x="974" y="46"/>
                  <a:pt x="974" y="46"/>
                </a:cubicBezTo>
                <a:cubicBezTo>
                  <a:pt x="974" y="48"/>
                  <a:pt x="974" y="48"/>
                  <a:pt x="974" y="48"/>
                </a:cubicBezTo>
                <a:cubicBezTo>
                  <a:pt x="973" y="48"/>
                  <a:pt x="973" y="48"/>
                  <a:pt x="973" y="48"/>
                </a:cubicBezTo>
                <a:cubicBezTo>
                  <a:pt x="971" y="47"/>
                  <a:pt x="971" y="47"/>
                  <a:pt x="971" y="47"/>
                </a:cubicBezTo>
                <a:cubicBezTo>
                  <a:pt x="968" y="46"/>
                  <a:pt x="968" y="46"/>
                  <a:pt x="968" y="46"/>
                </a:cubicBezTo>
                <a:cubicBezTo>
                  <a:pt x="967" y="45"/>
                  <a:pt x="967" y="45"/>
                  <a:pt x="967" y="45"/>
                </a:cubicBezTo>
                <a:cubicBezTo>
                  <a:pt x="966" y="44"/>
                  <a:pt x="966" y="44"/>
                  <a:pt x="966" y="44"/>
                </a:cubicBezTo>
                <a:cubicBezTo>
                  <a:pt x="965" y="44"/>
                  <a:pt x="965" y="44"/>
                  <a:pt x="965" y="44"/>
                </a:cubicBezTo>
                <a:cubicBezTo>
                  <a:pt x="964" y="45"/>
                  <a:pt x="964" y="45"/>
                  <a:pt x="964" y="45"/>
                </a:cubicBezTo>
                <a:cubicBezTo>
                  <a:pt x="964" y="46"/>
                  <a:pt x="964" y="46"/>
                  <a:pt x="964" y="46"/>
                </a:cubicBezTo>
                <a:cubicBezTo>
                  <a:pt x="964" y="48"/>
                  <a:pt x="964" y="48"/>
                  <a:pt x="964" y="48"/>
                </a:cubicBezTo>
                <a:cubicBezTo>
                  <a:pt x="963" y="49"/>
                  <a:pt x="963" y="49"/>
                  <a:pt x="963" y="49"/>
                </a:cubicBezTo>
                <a:cubicBezTo>
                  <a:pt x="963" y="50"/>
                  <a:pt x="963" y="50"/>
                  <a:pt x="963" y="50"/>
                </a:cubicBezTo>
                <a:cubicBezTo>
                  <a:pt x="962" y="50"/>
                  <a:pt x="962" y="50"/>
                  <a:pt x="962" y="50"/>
                </a:cubicBezTo>
                <a:cubicBezTo>
                  <a:pt x="962" y="53"/>
                  <a:pt x="962" y="53"/>
                  <a:pt x="962" y="53"/>
                </a:cubicBezTo>
                <a:cubicBezTo>
                  <a:pt x="963" y="54"/>
                  <a:pt x="963" y="54"/>
                  <a:pt x="963" y="54"/>
                </a:cubicBezTo>
                <a:cubicBezTo>
                  <a:pt x="965" y="54"/>
                  <a:pt x="965" y="54"/>
                  <a:pt x="965" y="54"/>
                </a:cubicBezTo>
                <a:cubicBezTo>
                  <a:pt x="966" y="55"/>
                  <a:pt x="966" y="55"/>
                  <a:pt x="966" y="55"/>
                </a:cubicBezTo>
                <a:cubicBezTo>
                  <a:pt x="967" y="54"/>
                  <a:pt x="967" y="54"/>
                  <a:pt x="967" y="54"/>
                </a:cubicBezTo>
                <a:cubicBezTo>
                  <a:pt x="967" y="55"/>
                  <a:pt x="967" y="55"/>
                  <a:pt x="967" y="55"/>
                </a:cubicBezTo>
                <a:cubicBezTo>
                  <a:pt x="966" y="55"/>
                  <a:pt x="966" y="55"/>
                  <a:pt x="966" y="55"/>
                </a:cubicBezTo>
                <a:cubicBezTo>
                  <a:pt x="965" y="55"/>
                  <a:pt x="965" y="55"/>
                  <a:pt x="965" y="55"/>
                </a:cubicBezTo>
                <a:cubicBezTo>
                  <a:pt x="963" y="55"/>
                  <a:pt x="963" y="55"/>
                  <a:pt x="963" y="55"/>
                </a:cubicBezTo>
                <a:cubicBezTo>
                  <a:pt x="962" y="54"/>
                  <a:pt x="962" y="54"/>
                  <a:pt x="962" y="54"/>
                </a:cubicBezTo>
                <a:cubicBezTo>
                  <a:pt x="961" y="55"/>
                  <a:pt x="961" y="55"/>
                  <a:pt x="961" y="55"/>
                </a:cubicBezTo>
                <a:cubicBezTo>
                  <a:pt x="959" y="57"/>
                  <a:pt x="959" y="57"/>
                  <a:pt x="959" y="57"/>
                </a:cubicBezTo>
                <a:cubicBezTo>
                  <a:pt x="959" y="58"/>
                  <a:pt x="959" y="58"/>
                  <a:pt x="959" y="58"/>
                </a:cubicBezTo>
                <a:cubicBezTo>
                  <a:pt x="960" y="59"/>
                  <a:pt x="960" y="59"/>
                  <a:pt x="960" y="59"/>
                </a:cubicBezTo>
                <a:cubicBezTo>
                  <a:pt x="959" y="60"/>
                  <a:pt x="959" y="60"/>
                  <a:pt x="959" y="60"/>
                </a:cubicBezTo>
                <a:cubicBezTo>
                  <a:pt x="959" y="61"/>
                  <a:pt x="959" y="61"/>
                  <a:pt x="959" y="61"/>
                </a:cubicBezTo>
                <a:cubicBezTo>
                  <a:pt x="960" y="61"/>
                  <a:pt x="960" y="61"/>
                  <a:pt x="960" y="61"/>
                </a:cubicBezTo>
                <a:cubicBezTo>
                  <a:pt x="962" y="61"/>
                  <a:pt x="962" y="61"/>
                  <a:pt x="962" y="61"/>
                </a:cubicBezTo>
                <a:cubicBezTo>
                  <a:pt x="963" y="60"/>
                  <a:pt x="963" y="60"/>
                  <a:pt x="963" y="60"/>
                </a:cubicBezTo>
                <a:cubicBezTo>
                  <a:pt x="964" y="60"/>
                  <a:pt x="964" y="60"/>
                  <a:pt x="964" y="60"/>
                </a:cubicBezTo>
                <a:cubicBezTo>
                  <a:pt x="963" y="61"/>
                  <a:pt x="963" y="61"/>
                  <a:pt x="963" y="61"/>
                </a:cubicBezTo>
                <a:cubicBezTo>
                  <a:pt x="962" y="61"/>
                  <a:pt x="962" y="61"/>
                  <a:pt x="962" y="61"/>
                </a:cubicBezTo>
                <a:cubicBezTo>
                  <a:pt x="962" y="63"/>
                  <a:pt x="962" y="63"/>
                  <a:pt x="962" y="63"/>
                </a:cubicBezTo>
                <a:cubicBezTo>
                  <a:pt x="963" y="63"/>
                  <a:pt x="963" y="63"/>
                  <a:pt x="963" y="63"/>
                </a:cubicBezTo>
                <a:cubicBezTo>
                  <a:pt x="964" y="62"/>
                  <a:pt x="964" y="62"/>
                  <a:pt x="964" y="62"/>
                </a:cubicBezTo>
                <a:cubicBezTo>
                  <a:pt x="965" y="62"/>
                  <a:pt x="965" y="62"/>
                  <a:pt x="965" y="62"/>
                </a:cubicBezTo>
                <a:cubicBezTo>
                  <a:pt x="966" y="61"/>
                  <a:pt x="966" y="61"/>
                  <a:pt x="966" y="61"/>
                </a:cubicBezTo>
                <a:cubicBezTo>
                  <a:pt x="966" y="62"/>
                  <a:pt x="966" y="62"/>
                  <a:pt x="966" y="62"/>
                </a:cubicBezTo>
                <a:cubicBezTo>
                  <a:pt x="965" y="63"/>
                  <a:pt x="965" y="63"/>
                  <a:pt x="965" y="63"/>
                </a:cubicBezTo>
                <a:cubicBezTo>
                  <a:pt x="966" y="63"/>
                  <a:pt x="966" y="63"/>
                  <a:pt x="966" y="63"/>
                </a:cubicBezTo>
                <a:cubicBezTo>
                  <a:pt x="968" y="63"/>
                  <a:pt x="968" y="63"/>
                  <a:pt x="968" y="63"/>
                </a:cubicBezTo>
                <a:cubicBezTo>
                  <a:pt x="968" y="64"/>
                  <a:pt x="968" y="64"/>
                  <a:pt x="968" y="64"/>
                </a:cubicBezTo>
                <a:cubicBezTo>
                  <a:pt x="967" y="64"/>
                  <a:pt x="967" y="64"/>
                  <a:pt x="967" y="64"/>
                </a:cubicBezTo>
                <a:cubicBezTo>
                  <a:pt x="967" y="65"/>
                  <a:pt x="967" y="65"/>
                  <a:pt x="967" y="65"/>
                </a:cubicBezTo>
                <a:cubicBezTo>
                  <a:pt x="968" y="65"/>
                  <a:pt x="968" y="65"/>
                  <a:pt x="968" y="65"/>
                </a:cubicBezTo>
                <a:cubicBezTo>
                  <a:pt x="970" y="65"/>
                  <a:pt x="970" y="65"/>
                  <a:pt x="970" y="65"/>
                </a:cubicBezTo>
                <a:cubicBezTo>
                  <a:pt x="971" y="66"/>
                  <a:pt x="971" y="66"/>
                  <a:pt x="971" y="66"/>
                </a:cubicBezTo>
                <a:cubicBezTo>
                  <a:pt x="974" y="67"/>
                  <a:pt x="974" y="67"/>
                  <a:pt x="974" y="67"/>
                </a:cubicBezTo>
                <a:cubicBezTo>
                  <a:pt x="972" y="67"/>
                  <a:pt x="972" y="67"/>
                  <a:pt x="972" y="67"/>
                </a:cubicBezTo>
                <a:cubicBezTo>
                  <a:pt x="971" y="67"/>
                  <a:pt x="971" y="67"/>
                  <a:pt x="971" y="67"/>
                </a:cubicBezTo>
                <a:cubicBezTo>
                  <a:pt x="969" y="66"/>
                  <a:pt x="969" y="66"/>
                  <a:pt x="969" y="66"/>
                </a:cubicBezTo>
                <a:cubicBezTo>
                  <a:pt x="967" y="67"/>
                  <a:pt x="967" y="67"/>
                  <a:pt x="967" y="67"/>
                </a:cubicBezTo>
                <a:cubicBezTo>
                  <a:pt x="969" y="68"/>
                  <a:pt x="969" y="68"/>
                  <a:pt x="969" y="68"/>
                </a:cubicBezTo>
                <a:cubicBezTo>
                  <a:pt x="971" y="68"/>
                  <a:pt x="971" y="68"/>
                  <a:pt x="971" y="68"/>
                </a:cubicBezTo>
                <a:cubicBezTo>
                  <a:pt x="974" y="68"/>
                  <a:pt x="974" y="68"/>
                  <a:pt x="974" y="68"/>
                </a:cubicBezTo>
                <a:cubicBezTo>
                  <a:pt x="975" y="69"/>
                  <a:pt x="975" y="69"/>
                  <a:pt x="975" y="69"/>
                </a:cubicBezTo>
                <a:cubicBezTo>
                  <a:pt x="972" y="70"/>
                  <a:pt x="972" y="70"/>
                  <a:pt x="972" y="70"/>
                </a:cubicBezTo>
                <a:cubicBezTo>
                  <a:pt x="971" y="69"/>
                  <a:pt x="971" y="69"/>
                  <a:pt x="971" y="69"/>
                </a:cubicBezTo>
                <a:cubicBezTo>
                  <a:pt x="969" y="69"/>
                  <a:pt x="969" y="69"/>
                  <a:pt x="969" y="69"/>
                </a:cubicBezTo>
                <a:cubicBezTo>
                  <a:pt x="967" y="69"/>
                  <a:pt x="967" y="69"/>
                  <a:pt x="967" y="69"/>
                </a:cubicBezTo>
                <a:cubicBezTo>
                  <a:pt x="966" y="68"/>
                  <a:pt x="966" y="68"/>
                  <a:pt x="966" y="68"/>
                </a:cubicBezTo>
                <a:cubicBezTo>
                  <a:pt x="965" y="67"/>
                  <a:pt x="965" y="67"/>
                  <a:pt x="965" y="67"/>
                </a:cubicBezTo>
                <a:cubicBezTo>
                  <a:pt x="963" y="66"/>
                  <a:pt x="963" y="66"/>
                  <a:pt x="963" y="66"/>
                </a:cubicBezTo>
                <a:cubicBezTo>
                  <a:pt x="962" y="67"/>
                  <a:pt x="962" y="67"/>
                  <a:pt x="962" y="67"/>
                </a:cubicBezTo>
                <a:cubicBezTo>
                  <a:pt x="960" y="67"/>
                  <a:pt x="960" y="67"/>
                  <a:pt x="960" y="67"/>
                </a:cubicBezTo>
                <a:cubicBezTo>
                  <a:pt x="959" y="68"/>
                  <a:pt x="959" y="68"/>
                  <a:pt x="959" y="68"/>
                </a:cubicBezTo>
                <a:cubicBezTo>
                  <a:pt x="959" y="70"/>
                  <a:pt x="959" y="70"/>
                  <a:pt x="959" y="70"/>
                </a:cubicBezTo>
                <a:cubicBezTo>
                  <a:pt x="960" y="72"/>
                  <a:pt x="960" y="72"/>
                  <a:pt x="960" y="72"/>
                </a:cubicBezTo>
                <a:cubicBezTo>
                  <a:pt x="960" y="73"/>
                  <a:pt x="960" y="73"/>
                  <a:pt x="960" y="73"/>
                </a:cubicBezTo>
                <a:cubicBezTo>
                  <a:pt x="960" y="74"/>
                  <a:pt x="960" y="74"/>
                  <a:pt x="960" y="74"/>
                </a:cubicBezTo>
                <a:cubicBezTo>
                  <a:pt x="959" y="72"/>
                  <a:pt x="959" y="72"/>
                  <a:pt x="959" y="72"/>
                </a:cubicBezTo>
                <a:cubicBezTo>
                  <a:pt x="958" y="72"/>
                  <a:pt x="958" y="72"/>
                  <a:pt x="958" y="72"/>
                </a:cubicBezTo>
                <a:cubicBezTo>
                  <a:pt x="957" y="74"/>
                  <a:pt x="957" y="74"/>
                  <a:pt x="957" y="74"/>
                </a:cubicBezTo>
                <a:cubicBezTo>
                  <a:pt x="957" y="76"/>
                  <a:pt x="957" y="76"/>
                  <a:pt x="957" y="76"/>
                </a:cubicBezTo>
                <a:cubicBezTo>
                  <a:pt x="958" y="76"/>
                  <a:pt x="958" y="76"/>
                  <a:pt x="958" y="76"/>
                </a:cubicBezTo>
                <a:cubicBezTo>
                  <a:pt x="959" y="76"/>
                  <a:pt x="959" y="76"/>
                  <a:pt x="959" y="76"/>
                </a:cubicBezTo>
                <a:cubicBezTo>
                  <a:pt x="960" y="76"/>
                  <a:pt x="960" y="76"/>
                  <a:pt x="960" y="76"/>
                </a:cubicBezTo>
                <a:cubicBezTo>
                  <a:pt x="960" y="77"/>
                  <a:pt x="960" y="77"/>
                  <a:pt x="960" y="77"/>
                </a:cubicBezTo>
                <a:cubicBezTo>
                  <a:pt x="961" y="77"/>
                  <a:pt x="961" y="77"/>
                  <a:pt x="961" y="77"/>
                </a:cubicBezTo>
                <a:cubicBezTo>
                  <a:pt x="960" y="78"/>
                  <a:pt x="960" y="78"/>
                  <a:pt x="960" y="78"/>
                </a:cubicBezTo>
                <a:cubicBezTo>
                  <a:pt x="959" y="77"/>
                  <a:pt x="959" y="77"/>
                  <a:pt x="959" y="77"/>
                </a:cubicBezTo>
                <a:cubicBezTo>
                  <a:pt x="957" y="77"/>
                  <a:pt x="957" y="77"/>
                  <a:pt x="957" y="77"/>
                </a:cubicBezTo>
                <a:cubicBezTo>
                  <a:pt x="957" y="79"/>
                  <a:pt x="957" y="79"/>
                  <a:pt x="957" y="79"/>
                </a:cubicBezTo>
                <a:cubicBezTo>
                  <a:pt x="957" y="80"/>
                  <a:pt x="957" y="80"/>
                  <a:pt x="957" y="80"/>
                </a:cubicBezTo>
                <a:cubicBezTo>
                  <a:pt x="958" y="80"/>
                  <a:pt x="958" y="80"/>
                  <a:pt x="958" y="80"/>
                </a:cubicBezTo>
                <a:cubicBezTo>
                  <a:pt x="958" y="81"/>
                  <a:pt x="958" y="81"/>
                  <a:pt x="958" y="81"/>
                </a:cubicBezTo>
                <a:close/>
                <a:moveTo>
                  <a:pt x="931" y="99"/>
                </a:moveTo>
                <a:cubicBezTo>
                  <a:pt x="930" y="99"/>
                  <a:pt x="930" y="99"/>
                  <a:pt x="930" y="99"/>
                </a:cubicBezTo>
                <a:cubicBezTo>
                  <a:pt x="929" y="98"/>
                  <a:pt x="929" y="98"/>
                  <a:pt x="929" y="98"/>
                </a:cubicBezTo>
                <a:cubicBezTo>
                  <a:pt x="928" y="99"/>
                  <a:pt x="928" y="99"/>
                  <a:pt x="928" y="99"/>
                </a:cubicBezTo>
                <a:cubicBezTo>
                  <a:pt x="926" y="99"/>
                  <a:pt x="926" y="99"/>
                  <a:pt x="926" y="99"/>
                </a:cubicBezTo>
                <a:cubicBezTo>
                  <a:pt x="925" y="100"/>
                  <a:pt x="925" y="100"/>
                  <a:pt x="925" y="100"/>
                </a:cubicBezTo>
                <a:cubicBezTo>
                  <a:pt x="924" y="101"/>
                  <a:pt x="924" y="101"/>
                  <a:pt x="924" y="101"/>
                </a:cubicBezTo>
                <a:cubicBezTo>
                  <a:pt x="925" y="102"/>
                  <a:pt x="925" y="102"/>
                  <a:pt x="925" y="102"/>
                </a:cubicBezTo>
                <a:cubicBezTo>
                  <a:pt x="926" y="103"/>
                  <a:pt x="926" y="103"/>
                  <a:pt x="926" y="103"/>
                </a:cubicBezTo>
                <a:cubicBezTo>
                  <a:pt x="925" y="103"/>
                  <a:pt x="925" y="103"/>
                  <a:pt x="925" y="103"/>
                </a:cubicBezTo>
                <a:cubicBezTo>
                  <a:pt x="924" y="101"/>
                  <a:pt x="924" y="101"/>
                  <a:pt x="924" y="101"/>
                </a:cubicBezTo>
                <a:cubicBezTo>
                  <a:pt x="923" y="102"/>
                  <a:pt x="923" y="102"/>
                  <a:pt x="923" y="102"/>
                </a:cubicBezTo>
                <a:cubicBezTo>
                  <a:pt x="924" y="103"/>
                  <a:pt x="924" y="103"/>
                  <a:pt x="924" y="103"/>
                </a:cubicBezTo>
                <a:cubicBezTo>
                  <a:pt x="925" y="104"/>
                  <a:pt x="925" y="104"/>
                  <a:pt x="925" y="104"/>
                </a:cubicBezTo>
                <a:cubicBezTo>
                  <a:pt x="926" y="106"/>
                  <a:pt x="926" y="106"/>
                  <a:pt x="926" y="106"/>
                </a:cubicBezTo>
                <a:cubicBezTo>
                  <a:pt x="927" y="106"/>
                  <a:pt x="927" y="106"/>
                  <a:pt x="927" y="106"/>
                </a:cubicBezTo>
                <a:cubicBezTo>
                  <a:pt x="927" y="107"/>
                  <a:pt x="927" y="107"/>
                  <a:pt x="927" y="107"/>
                </a:cubicBezTo>
                <a:cubicBezTo>
                  <a:pt x="925" y="107"/>
                  <a:pt x="925" y="107"/>
                  <a:pt x="925" y="107"/>
                </a:cubicBezTo>
                <a:cubicBezTo>
                  <a:pt x="925" y="108"/>
                  <a:pt x="925" y="108"/>
                  <a:pt x="925" y="108"/>
                </a:cubicBezTo>
                <a:cubicBezTo>
                  <a:pt x="927" y="110"/>
                  <a:pt x="927" y="110"/>
                  <a:pt x="927" y="110"/>
                </a:cubicBezTo>
                <a:cubicBezTo>
                  <a:pt x="928" y="110"/>
                  <a:pt x="928" y="110"/>
                  <a:pt x="928" y="110"/>
                </a:cubicBezTo>
                <a:cubicBezTo>
                  <a:pt x="928" y="111"/>
                  <a:pt x="928" y="111"/>
                  <a:pt x="928" y="111"/>
                </a:cubicBezTo>
                <a:cubicBezTo>
                  <a:pt x="926" y="111"/>
                  <a:pt x="926" y="111"/>
                  <a:pt x="926" y="111"/>
                </a:cubicBezTo>
                <a:cubicBezTo>
                  <a:pt x="925" y="112"/>
                  <a:pt x="925" y="112"/>
                  <a:pt x="925" y="112"/>
                </a:cubicBezTo>
                <a:cubicBezTo>
                  <a:pt x="925" y="113"/>
                  <a:pt x="925" y="113"/>
                  <a:pt x="925" y="113"/>
                </a:cubicBezTo>
                <a:cubicBezTo>
                  <a:pt x="926" y="112"/>
                  <a:pt x="926" y="112"/>
                  <a:pt x="926" y="112"/>
                </a:cubicBezTo>
                <a:cubicBezTo>
                  <a:pt x="927" y="113"/>
                  <a:pt x="927" y="113"/>
                  <a:pt x="927" y="113"/>
                </a:cubicBezTo>
                <a:cubicBezTo>
                  <a:pt x="929" y="112"/>
                  <a:pt x="929" y="112"/>
                  <a:pt x="929" y="112"/>
                </a:cubicBezTo>
                <a:cubicBezTo>
                  <a:pt x="929" y="113"/>
                  <a:pt x="929" y="113"/>
                  <a:pt x="929" y="113"/>
                </a:cubicBezTo>
                <a:cubicBezTo>
                  <a:pt x="931" y="113"/>
                  <a:pt x="931" y="113"/>
                  <a:pt x="931" y="113"/>
                </a:cubicBezTo>
                <a:cubicBezTo>
                  <a:pt x="931" y="114"/>
                  <a:pt x="931" y="114"/>
                  <a:pt x="931" y="114"/>
                </a:cubicBezTo>
                <a:cubicBezTo>
                  <a:pt x="932" y="115"/>
                  <a:pt x="932" y="115"/>
                  <a:pt x="932" y="115"/>
                </a:cubicBezTo>
                <a:cubicBezTo>
                  <a:pt x="933" y="115"/>
                  <a:pt x="933" y="115"/>
                  <a:pt x="933" y="115"/>
                </a:cubicBezTo>
                <a:cubicBezTo>
                  <a:pt x="933" y="114"/>
                  <a:pt x="933" y="114"/>
                  <a:pt x="933" y="114"/>
                </a:cubicBezTo>
                <a:cubicBezTo>
                  <a:pt x="934" y="115"/>
                  <a:pt x="934" y="115"/>
                  <a:pt x="934" y="115"/>
                </a:cubicBezTo>
                <a:cubicBezTo>
                  <a:pt x="935" y="114"/>
                  <a:pt x="935" y="114"/>
                  <a:pt x="935" y="114"/>
                </a:cubicBezTo>
                <a:cubicBezTo>
                  <a:pt x="936" y="114"/>
                  <a:pt x="936" y="114"/>
                  <a:pt x="936" y="114"/>
                </a:cubicBezTo>
                <a:cubicBezTo>
                  <a:pt x="936" y="115"/>
                  <a:pt x="936" y="115"/>
                  <a:pt x="936" y="115"/>
                </a:cubicBezTo>
                <a:cubicBezTo>
                  <a:pt x="935" y="116"/>
                  <a:pt x="935" y="116"/>
                  <a:pt x="935" y="116"/>
                </a:cubicBezTo>
                <a:cubicBezTo>
                  <a:pt x="935" y="119"/>
                  <a:pt x="935" y="119"/>
                  <a:pt x="935" y="119"/>
                </a:cubicBezTo>
                <a:cubicBezTo>
                  <a:pt x="935" y="120"/>
                  <a:pt x="935" y="120"/>
                  <a:pt x="935" y="120"/>
                </a:cubicBezTo>
                <a:cubicBezTo>
                  <a:pt x="935" y="121"/>
                  <a:pt x="935" y="121"/>
                  <a:pt x="935" y="121"/>
                </a:cubicBezTo>
                <a:cubicBezTo>
                  <a:pt x="936" y="122"/>
                  <a:pt x="936" y="122"/>
                  <a:pt x="936" y="122"/>
                </a:cubicBezTo>
                <a:cubicBezTo>
                  <a:pt x="935" y="124"/>
                  <a:pt x="935" y="124"/>
                  <a:pt x="935" y="124"/>
                </a:cubicBezTo>
                <a:cubicBezTo>
                  <a:pt x="935" y="125"/>
                  <a:pt x="935" y="125"/>
                  <a:pt x="935" y="125"/>
                </a:cubicBezTo>
                <a:cubicBezTo>
                  <a:pt x="935" y="126"/>
                  <a:pt x="935" y="126"/>
                  <a:pt x="935" y="126"/>
                </a:cubicBezTo>
                <a:cubicBezTo>
                  <a:pt x="933" y="127"/>
                  <a:pt x="933" y="127"/>
                  <a:pt x="933" y="127"/>
                </a:cubicBezTo>
                <a:cubicBezTo>
                  <a:pt x="932" y="128"/>
                  <a:pt x="932" y="128"/>
                  <a:pt x="932" y="128"/>
                </a:cubicBezTo>
                <a:cubicBezTo>
                  <a:pt x="931" y="129"/>
                  <a:pt x="931" y="129"/>
                  <a:pt x="931" y="129"/>
                </a:cubicBezTo>
                <a:cubicBezTo>
                  <a:pt x="930" y="130"/>
                  <a:pt x="930" y="130"/>
                  <a:pt x="930" y="130"/>
                </a:cubicBezTo>
                <a:cubicBezTo>
                  <a:pt x="930" y="131"/>
                  <a:pt x="930" y="131"/>
                  <a:pt x="930" y="131"/>
                </a:cubicBezTo>
                <a:cubicBezTo>
                  <a:pt x="929" y="132"/>
                  <a:pt x="929" y="132"/>
                  <a:pt x="929" y="132"/>
                </a:cubicBezTo>
                <a:cubicBezTo>
                  <a:pt x="928" y="133"/>
                  <a:pt x="928" y="133"/>
                  <a:pt x="928" y="133"/>
                </a:cubicBezTo>
                <a:cubicBezTo>
                  <a:pt x="928" y="134"/>
                  <a:pt x="928" y="134"/>
                  <a:pt x="928" y="134"/>
                </a:cubicBezTo>
                <a:cubicBezTo>
                  <a:pt x="929" y="135"/>
                  <a:pt x="929" y="135"/>
                  <a:pt x="929" y="135"/>
                </a:cubicBezTo>
                <a:cubicBezTo>
                  <a:pt x="929" y="136"/>
                  <a:pt x="929" y="136"/>
                  <a:pt x="929" y="136"/>
                </a:cubicBezTo>
                <a:cubicBezTo>
                  <a:pt x="928" y="136"/>
                  <a:pt x="928" y="136"/>
                  <a:pt x="928" y="136"/>
                </a:cubicBezTo>
                <a:cubicBezTo>
                  <a:pt x="928" y="137"/>
                  <a:pt x="928" y="137"/>
                  <a:pt x="928" y="137"/>
                </a:cubicBezTo>
                <a:cubicBezTo>
                  <a:pt x="929" y="138"/>
                  <a:pt x="929" y="138"/>
                  <a:pt x="929" y="138"/>
                </a:cubicBezTo>
                <a:cubicBezTo>
                  <a:pt x="928" y="139"/>
                  <a:pt x="928" y="139"/>
                  <a:pt x="928" y="139"/>
                </a:cubicBezTo>
                <a:cubicBezTo>
                  <a:pt x="927" y="140"/>
                  <a:pt x="927" y="140"/>
                  <a:pt x="927" y="140"/>
                </a:cubicBezTo>
                <a:cubicBezTo>
                  <a:pt x="928" y="141"/>
                  <a:pt x="928" y="141"/>
                  <a:pt x="928" y="141"/>
                </a:cubicBezTo>
                <a:cubicBezTo>
                  <a:pt x="929" y="141"/>
                  <a:pt x="929" y="141"/>
                  <a:pt x="929" y="141"/>
                </a:cubicBezTo>
                <a:cubicBezTo>
                  <a:pt x="929" y="142"/>
                  <a:pt x="929" y="142"/>
                  <a:pt x="929" y="142"/>
                </a:cubicBezTo>
                <a:cubicBezTo>
                  <a:pt x="930" y="143"/>
                  <a:pt x="930" y="143"/>
                  <a:pt x="930" y="143"/>
                </a:cubicBezTo>
                <a:cubicBezTo>
                  <a:pt x="930" y="142"/>
                  <a:pt x="930" y="142"/>
                  <a:pt x="930" y="142"/>
                </a:cubicBezTo>
                <a:cubicBezTo>
                  <a:pt x="931" y="141"/>
                  <a:pt x="931" y="141"/>
                  <a:pt x="931" y="141"/>
                </a:cubicBezTo>
                <a:cubicBezTo>
                  <a:pt x="931" y="142"/>
                  <a:pt x="931" y="142"/>
                  <a:pt x="931" y="142"/>
                </a:cubicBezTo>
                <a:cubicBezTo>
                  <a:pt x="932" y="142"/>
                  <a:pt x="932" y="142"/>
                  <a:pt x="932" y="142"/>
                </a:cubicBezTo>
                <a:cubicBezTo>
                  <a:pt x="933" y="140"/>
                  <a:pt x="933" y="140"/>
                  <a:pt x="933" y="140"/>
                </a:cubicBezTo>
                <a:cubicBezTo>
                  <a:pt x="934" y="141"/>
                  <a:pt x="934" y="141"/>
                  <a:pt x="934" y="141"/>
                </a:cubicBezTo>
                <a:cubicBezTo>
                  <a:pt x="933" y="142"/>
                  <a:pt x="933" y="142"/>
                  <a:pt x="933" y="142"/>
                </a:cubicBezTo>
                <a:cubicBezTo>
                  <a:pt x="932" y="142"/>
                  <a:pt x="932" y="142"/>
                  <a:pt x="932" y="142"/>
                </a:cubicBezTo>
                <a:cubicBezTo>
                  <a:pt x="932" y="143"/>
                  <a:pt x="932" y="143"/>
                  <a:pt x="932" y="143"/>
                </a:cubicBezTo>
                <a:cubicBezTo>
                  <a:pt x="932" y="144"/>
                  <a:pt x="932" y="144"/>
                  <a:pt x="932" y="144"/>
                </a:cubicBezTo>
                <a:cubicBezTo>
                  <a:pt x="933" y="146"/>
                  <a:pt x="933" y="146"/>
                  <a:pt x="933" y="146"/>
                </a:cubicBezTo>
                <a:cubicBezTo>
                  <a:pt x="935" y="145"/>
                  <a:pt x="935" y="145"/>
                  <a:pt x="935" y="145"/>
                </a:cubicBezTo>
                <a:cubicBezTo>
                  <a:pt x="935" y="146"/>
                  <a:pt x="935" y="146"/>
                  <a:pt x="935" y="146"/>
                </a:cubicBezTo>
                <a:cubicBezTo>
                  <a:pt x="936" y="146"/>
                  <a:pt x="936" y="146"/>
                  <a:pt x="936" y="146"/>
                </a:cubicBezTo>
                <a:cubicBezTo>
                  <a:pt x="937" y="145"/>
                  <a:pt x="937" y="145"/>
                  <a:pt x="937" y="145"/>
                </a:cubicBezTo>
                <a:cubicBezTo>
                  <a:pt x="939" y="145"/>
                  <a:pt x="939" y="145"/>
                  <a:pt x="939" y="145"/>
                </a:cubicBezTo>
                <a:cubicBezTo>
                  <a:pt x="938" y="143"/>
                  <a:pt x="938" y="143"/>
                  <a:pt x="938" y="143"/>
                </a:cubicBezTo>
                <a:cubicBezTo>
                  <a:pt x="939" y="143"/>
                  <a:pt x="939" y="143"/>
                  <a:pt x="939" y="143"/>
                </a:cubicBezTo>
                <a:cubicBezTo>
                  <a:pt x="940" y="143"/>
                  <a:pt x="940" y="143"/>
                  <a:pt x="940" y="143"/>
                </a:cubicBezTo>
                <a:cubicBezTo>
                  <a:pt x="940" y="144"/>
                  <a:pt x="940" y="144"/>
                  <a:pt x="940" y="144"/>
                </a:cubicBezTo>
                <a:cubicBezTo>
                  <a:pt x="940" y="145"/>
                  <a:pt x="940" y="145"/>
                  <a:pt x="940" y="145"/>
                </a:cubicBezTo>
                <a:cubicBezTo>
                  <a:pt x="941" y="143"/>
                  <a:pt x="941" y="143"/>
                  <a:pt x="941" y="143"/>
                </a:cubicBezTo>
                <a:cubicBezTo>
                  <a:pt x="942" y="143"/>
                  <a:pt x="942" y="143"/>
                  <a:pt x="942" y="143"/>
                </a:cubicBezTo>
                <a:cubicBezTo>
                  <a:pt x="942" y="145"/>
                  <a:pt x="942" y="145"/>
                  <a:pt x="942" y="145"/>
                </a:cubicBezTo>
                <a:cubicBezTo>
                  <a:pt x="940" y="147"/>
                  <a:pt x="940" y="147"/>
                  <a:pt x="940" y="147"/>
                </a:cubicBezTo>
                <a:cubicBezTo>
                  <a:pt x="940" y="148"/>
                  <a:pt x="940" y="148"/>
                  <a:pt x="940" y="148"/>
                </a:cubicBezTo>
                <a:cubicBezTo>
                  <a:pt x="941" y="149"/>
                  <a:pt x="941" y="149"/>
                  <a:pt x="941" y="149"/>
                </a:cubicBezTo>
                <a:cubicBezTo>
                  <a:pt x="942" y="150"/>
                  <a:pt x="942" y="150"/>
                  <a:pt x="942" y="150"/>
                </a:cubicBezTo>
                <a:cubicBezTo>
                  <a:pt x="943" y="150"/>
                  <a:pt x="943" y="150"/>
                  <a:pt x="943" y="150"/>
                </a:cubicBezTo>
                <a:cubicBezTo>
                  <a:pt x="945" y="150"/>
                  <a:pt x="945" y="150"/>
                  <a:pt x="945" y="150"/>
                </a:cubicBezTo>
                <a:cubicBezTo>
                  <a:pt x="945" y="149"/>
                  <a:pt x="945" y="149"/>
                  <a:pt x="945" y="149"/>
                </a:cubicBezTo>
                <a:cubicBezTo>
                  <a:pt x="946" y="149"/>
                  <a:pt x="946" y="149"/>
                  <a:pt x="946" y="149"/>
                </a:cubicBezTo>
                <a:cubicBezTo>
                  <a:pt x="946" y="150"/>
                  <a:pt x="946" y="150"/>
                  <a:pt x="946" y="150"/>
                </a:cubicBezTo>
                <a:cubicBezTo>
                  <a:pt x="946" y="151"/>
                  <a:pt x="946" y="151"/>
                  <a:pt x="946" y="151"/>
                </a:cubicBezTo>
                <a:cubicBezTo>
                  <a:pt x="947" y="151"/>
                  <a:pt x="947" y="151"/>
                  <a:pt x="947" y="151"/>
                </a:cubicBezTo>
                <a:cubicBezTo>
                  <a:pt x="948" y="151"/>
                  <a:pt x="948" y="151"/>
                  <a:pt x="948" y="151"/>
                </a:cubicBezTo>
                <a:cubicBezTo>
                  <a:pt x="949" y="151"/>
                  <a:pt x="949" y="151"/>
                  <a:pt x="949" y="151"/>
                </a:cubicBezTo>
                <a:cubicBezTo>
                  <a:pt x="948" y="150"/>
                  <a:pt x="948" y="150"/>
                  <a:pt x="948" y="150"/>
                </a:cubicBezTo>
                <a:cubicBezTo>
                  <a:pt x="948" y="149"/>
                  <a:pt x="948" y="149"/>
                  <a:pt x="948" y="149"/>
                </a:cubicBezTo>
                <a:cubicBezTo>
                  <a:pt x="949" y="148"/>
                  <a:pt x="949" y="148"/>
                  <a:pt x="949" y="148"/>
                </a:cubicBezTo>
                <a:cubicBezTo>
                  <a:pt x="949" y="149"/>
                  <a:pt x="949" y="149"/>
                  <a:pt x="949" y="149"/>
                </a:cubicBezTo>
                <a:cubicBezTo>
                  <a:pt x="949" y="150"/>
                  <a:pt x="949" y="150"/>
                  <a:pt x="949" y="150"/>
                </a:cubicBezTo>
                <a:cubicBezTo>
                  <a:pt x="949" y="151"/>
                  <a:pt x="949" y="151"/>
                  <a:pt x="949" y="151"/>
                </a:cubicBezTo>
                <a:cubicBezTo>
                  <a:pt x="950" y="151"/>
                  <a:pt x="950" y="151"/>
                  <a:pt x="950" y="151"/>
                </a:cubicBezTo>
                <a:cubicBezTo>
                  <a:pt x="950" y="150"/>
                  <a:pt x="950" y="150"/>
                  <a:pt x="950" y="150"/>
                </a:cubicBezTo>
                <a:cubicBezTo>
                  <a:pt x="951" y="150"/>
                  <a:pt x="951" y="150"/>
                  <a:pt x="951" y="150"/>
                </a:cubicBezTo>
                <a:cubicBezTo>
                  <a:pt x="952" y="149"/>
                  <a:pt x="952" y="149"/>
                  <a:pt x="952" y="149"/>
                </a:cubicBezTo>
                <a:cubicBezTo>
                  <a:pt x="952" y="150"/>
                  <a:pt x="952" y="150"/>
                  <a:pt x="952" y="150"/>
                </a:cubicBezTo>
                <a:cubicBezTo>
                  <a:pt x="951" y="151"/>
                  <a:pt x="951" y="151"/>
                  <a:pt x="951" y="151"/>
                </a:cubicBezTo>
                <a:cubicBezTo>
                  <a:pt x="951" y="152"/>
                  <a:pt x="951" y="152"/>
                  <a:pt x="951" y="152"/>
                </a:cubicBezTo>
                <a:cubicBezTo>
                  <a:pt x="953" y="152"/>
                  <a:pt x="953" y="152"/>
                  <a:pt x="953" y="152"/>
                </a:cubicBezTo>
                <a:cubicBezTo>
                  <a:pt x="954" y="151"/>
                  <a:pt x="954" y="151"/>
                  <a:pt x="954" y="151"/>
                </a:cubicBezTo>
                <a:cubicBezTo>
                  <a:pt x="955" y="149"/>
                  <a:pt x="955" y="149"/>
                  <a:pt x="955" y="149"/>
                </a:cubicBezTo>
                <a:cubicBezTo>
                  <a:pt x="955" y="150"/>
                  <a:pt x="955" y="150"/>
                  <a:pt x="955" y="150"/>
                </a:cubicBezTo>
                <a:cubicBezTo>
                  <a:pt x="954" y="151"/>
                  <a:pt x="954" y="151"/>
                  <a:pt x="954" y="151"/>
                </a:cubicBezTo>
                <a:cubicBezTo>
                  <a:pt x="954" y="152"/>
                  <a:pt x="954" y="152"/>
                  <a:pt x="954" y="152"/>
                </a:cubicBezTo>
                <a:cubicBezTo>
                  <a:pt x="956" y="151"/>
                  <a:pt x="956" y="151"/>
                  <a:pt x="956" y="151"/>
                </a:cubicBezTo>
                <a:cubicBezTo>
                  <a:pt x="956" y="150"/>
                  <a:pt x="956" y="150"/>
                  <a:pt x="956" y="150"/>
                </a:cubicBezTo>
                <a:cubicBezTo>
                  <a:pt x="957" y="149"/>
                  <a:pt x="957" y="149"/>
                  <a:pt x="957" y="149"/>
                </a:cubicBezTo>
                <a:cubicBezTo>
                  <a:pt x="956" y="152"/>
                  <a:pt x="956" y="152"/>
                  <a:pt x="956" y="152"/>
                </a:cubicBezTo>
                <a:cubicBezTo>
                  <a:pt x="957" y="152"/>
                  <a:pt x="957" y="152"/>
                  <a:pt x="957" y="152"/>
                </a:cubicBezTo>
                <a:cubicBezTo>
                  <a:pt x="958" y="153"/>
                  <a:pt x="958" y="153"/>
                  <a:pt x="958" y="153"/>
                </a:cubicBezTo>
                <a:cubicBezTo>
                  <a:pt x="960" y="154"/>
                  <a:pt x="960" y="154"/>
                  <a:pt x="960" y="154"/>
                </a:cubicBezTo>
                <a:cubicBezTo>
                  <a:pt x="961" y="153"/>
                  <a:pt x="961" y="153"/>
                  <a:pt x="961" y="153"/>
                </a:cubicBezTo>
                <a:cubicBezTo>
                  <a:pt x="962" y="154"/>
                  <a:pt x="962" y="154"/>
                  <a:pt x="962" y="154"/>
                </a:cubicBezTo>
                <a:cubicBezTo>
                  <a:pt x="963" y="153"/>
                  <a:pt x="963" y="153"/>
                  <a:pt x="963" y="153"/>
                </a:cubicBezTo>
                <a:cubicBezTo>
                  <a:pt x="964" y="153"/>
                  <a:pt x="964" y="153"/>
                  <a:pt x="964" y="153"/>
                </a:cubicBezTo>
                <a:cubicBezTo>
                  <a:pt x="964" y="151"/>
                  <a:pt x="964" y="151"/>
                  <a:pt x="964" y="151"/>
                </a:cubicBezTo>
                <a:cubicBezTo>
                  <a:pt x="965" y="150"/>
                  <a:pt x="965" y="150"/>
                  <a:pt x="965" y="150"/>
                </a:cubicBezTo>
                <a:cubicBezTo>
                  <a:pt x="966" y="149"/>
                  <a:pt x="966" y="149"/>
                  <a:pt x="966" y="149"/>
                </a:cubicBezTo>
                <a:cubicBezTo>
                  <a:pt x="965" y="148"/>
                  <a:pt x="965" y="148"/>
                  <a:pt x="965" y="148"/>
                </a:cubicBezTo>
                <a:cubicBezTo>
                  <a:pt x="966" y="147"/>
                  <a:pt x="966" y="147"/>
                  <a:pt x="966" y="147"/>
                </a:cubicBezTo>
                <a:cubicBezTo>
                  <a:pt x="966" y="149"/>
                  <a:pt x="966" y="149"/>
                  <a:pt x="966" y="149"/>
                </a:cubicBezTo>
                <a:cubicBezTo>
                  <a:pt x="967" y="149"/>
                  <a:pt x="967" y="149"/>
                  <a:pt x="967" y="149"/>
                </a:cubicBezTo>
                <a:cubicBezTo>
                  <a:pt x="967" y="150"/>
                  <a:pt x="967" y="150"/>
                  <a:pt x="967" y="150"/>
                </a:cubicBezTo>
                <a:cubicBezTo>
                  <a:pt x="966" y="150"/>
                  <a:pt x="966" y="150"/>
                  <a:pt x="966" y="150"/>
                </a:cubicBezTo>
                <a:cubicBezTo>
                  <a:pt x="965" y="152"/>
                  <a:pt x="965" y="152"/>
                  <a:pt x="965" y="152"/>
                </a:cubicBezTo>
                <a:cubicBezTo>
                  <a:pt x="966" y="155"/>
                  <a:pt x="966" y="155"/>
                  <a:pt x="966" y="155"/>
                </a:cubicBezTo>
                <a:cubicBezTo>
                  <a:pt x="967" y="155"/>
                  <a:pt x="967" y="155"/>
                  <a:pt x="967" y="155"/>
                </a:cubicBezTo>
                <a:cubicBezTo>
                  <a:pt x="968" y="155"/>
                  <a:pt x="968" y="155"/>
                  <a:pt x="968" y="155"/>
                </a:cubicBezTo>
                <a:cubicBezTo>
                  <a:pt x="968" y="156"/>
                  <a:pt x="968" y="156"/>
                  <a:pt x="968" y="156"/>
                </a:cubicBezTo>
                <a:cubicBezTo>
                  <a:pt x="970" y="156"/>
                  <a:pt x="970" y="156"/>
                  <a:pt x="970" y="156"/>
                </a:cubicBezTo>
                <a:cubicBezTo>
                  <a:pt x="971" y="156"/>
                  <a:pt x="971" y="156"/>
                  <a:pt x="971" y="156"/>
                </a:cubicBezTo>
                <a:cubicBezTo>
                  <a:pt x="973" y="155"/>
                  <a:pt x="973" y="155"/>
                  <a:pt x="973" y="155"/>
                </a:cubicBezTo>
                <a:cubicBezTo>
                  <a:pt x="974" y="155"/>
                  <a:pt x="974" y="155"/>
                  <a:pt x="974" y="155"/>
                </a:cubicBezTo>
                <a:cubicBezTo>
                  <a:pt x="976" y="156"/>
                  <a:pt x="976" y="156"/>
                  <a:pt x="976" y="156"/>
                </a:cubicBezTo>
                <a:cubicBezTo>
                  <a:pt x="977" y="156"/>
                  <a:pt x="977" y="156"/>
                  <a:pt x="977" y="156"/>
                </a:cubicBezTo>
                <a:cubicBezTo>
                  <a:pt x="978" y="156"/>
                  <a:pt x="978" y="156"/>
                  <a:pt x="978" y="156"/>
                </a:cubicBezTo>
                <a:cubicBezTo>
                  <a:pt x="979" y="155"/>
                  <a:pt x="979" y="155"/>
                  <a:pt x="979" y="155"/>
                </a:cubicBezTo>
                <a:cubicBezTo>
                  <a:pt x="979" y="153"/>
                  <a:pt x="979" y="153"/>
                  <a:pt x="979" y="153"/>
                </a:cubicBezTo>
                <a:cubicBezTo>
                  <a:pt x="980" y="153"/>
                  <a:pt x="980" y="153"/>
                  <a:pt x="980" y="153"/>
                </a:cubicBezTo>
                <a:cubicBezTo>
                  <a:pt x="980" y="152"/>
                  <a:pt x="980" y="152"/>
                  <a:pt x="980" y="152"/>
                </a:cubicBezTo>
                <a:cubicBezTo>
                  <a:pt x="980" y="151"/>
                  <a:pt x="980" y="151"/>
                  <a:pt x="980" y="151"/>
                </a:cubicBezTo>
                <a:cubicBezTo>
                  <a:pt x="981" y="153"/>
                  <a:pt x="981" y="153"/>
                  <a:pt x="981" y="153"/>
                </a:cubicBezTo>
                <a:cubicBezTo>
                  <a:pt x="982" y="152"/>
                  <a:pt x="982" y="152"/>
                  <a:pt x="982" y="152"/>
                </a:cubicBezTo>
                <a:cubicBezTo>
                  <a:pt x="983" y="152"/>
                  <a:pt x="983" y="152"/>
                  <a:pt x="983" y="152"/>
                </a:cubicBezTo>
                <a:cubicBezTo>
                  <a:pt x="984" y="152"/>
                  <a:pt x="984" y="152"/>
                  <a:pt x="984" y="152"/>
                </a:cubicBezTo>
                <a:cubicBezTo>
                  <a:pt x="984" y="151"/>
                  <a:pt x="984" y="151"/>
                  <a:pt x="984" y="151"/>
                </a:cubicBezTo>
                <a:cubicBezTo>
                  <a:pt x="984" y="150"/>
                  <a:pt x="984" y="150"/>
                  <a:pt x="984" y="150"/>
                </a:cubicBezTo>
                <a:cubicBezTo>
                  <a:pt x="984" y="149"/>
                  <a:pt x="984" y="149"/>
                  <a:pt x="984" y="149"/>
                </a:cubicBezTo>
                <a:cubicBezTo>
                  <a:pt x="983" y="149"/>
                  <a:pt x="983" y="149"/>
                  <a:pt x="983" y="149"/>
                </a:cubicBezTo>
                <a:cubicBezTo>
                  <a:pt x="982" y="149"/>
                  <a:pt x="982" y="149"/>
                  <a:pt x="982" y="149"/>
                </a:cubicBezTo>
                <a:cubicBezTo>
                  <a:pt x="981" y="149"/>
                  <a:pt x="981" y="149"/>
                  <a:pt x="981" y="149"/>
                </a:cubicBezTo>
                <a:cubicBezTo>
                  <a:pt x="980" y="148"/>
                  <a:pt x="980" y="148"/>
                  <a:pt x="980" y="148"/>
                </a:cubicBezTo>
                <a:cubicBezTo>
                  <a:pt x="981" y="148"/>
                  <a:pt x="981" y="148"/>
                  <a:pt x="981" y="148"/>
                </a:cubicBezTo>
                <a:cubicBezTo>
                  <a:pt x="982" y="148"/>
                  <a:pt x="982" y="148"/>
                  <a:pt x="982" y="148"/>
                </a:cubicBezTo>
                <a:cubicBezTo>
                  <a:pt x="983" y="148"/>
                  <a:pt x="983" y="148"/>
                  <a:pt x="983" y="148"/>
                </a:cubicBezTo>
                <a:cubicBezTo>
                  <a:pt x="984" y="147"/>
                  <a:pt x="984" y="147"/>
                  <a:pt x="984" y="147"/>
                </a:cubicBezTo>
                <a:cubicBezTo>
                  <a:pt x="985" y="147"/>
                  <a:pt x="985" y="147"/>
                  <a:pt x="985" y="147"/>
                </a:cubicBezTo>
                <a:cubicBezTo>
                  <a:pt x="986" y="146"/>
                  <a:pt x="986" y="146"/>
                  <a:pt x="986" y="146"/>
                </a:cubicBezTo>
                <a:cubicBezTo>
                  <a:pt x="986" y="145"/>
                  <a:pt x="986" y="145"/>
                  <a:pt x="986" y="145"/>
                </a:cubicBezTo>
                <a:cubicBezTo>
                  <a:pt x="986" y="144"/>
                  <a:pt x="986" y="144"/>
                  <a:pt x="986" y="144"/>
                </a:cubicBezTo>
                <a:cubicBezTo>
                  <a:pt x="986" y="143"/>
                  <a:pt x="986" y="143"/>
                  <a:pt x="986" y="143"/>
                </a:cubicBezTo>
                <a:cubicBezTo>
                  <a:pt x="987" y="143"/>
                  <a:pt x="987" y="143"/>
                  <a:pt x="987" y="143"/>
                </a:cubicBezTo>
                <a:cubicBezTo>
                  <a:pt x="987" y="142"/>
                  <a:pt x="987" y="142"/>
                  <a:pt x="987" y="142"/>
                </a:cubicBezTo>
                <a:cubicBezTo>
                  <a:pt x="985" y="142"/>
                  <a:pt x="985" y="142"/>
                  <a:pt x="985" y="142"/>
                </a:cubicBezTo>
                <a:cubicBezTo>
                  <a:pt x="984" y="142"/>
                  <a:pt x="984" y="142"/>
                  <a:pt x="984" y="142"/>
                </a:cubicBezTo>
                <a:cubicBezTo>
                  <a:pt x="985" y="141"/>
                  <a:pt x="985" y="141"/>
                  <a:pt x="985" y="141"/>
                </a:cubicBezTo>
                <a:cubicBezTo>
                  <a:pt x="985" y="140"/>
                  <a:pt x="985" y="140"/>
                  <a:pt x="985" y="140"/>
                </a:cubicBezTo>
                <a:cubicBezTo>
                  <a:pt x="984" y="139"/>
                  <a:pt x="984" y="139"/>
                  <a:pt x="984" y="139"/>
                </a:cubicBezTo>
                <a:cubicBezTo>
                  <a:pt x="982" y="139"/>
                  <a:pt x="982" y="139"/>
                  <a:pt x="982" y="139"/>
                </a:cubicBezTo>
                <a:cubicBezTo>
                  <a:pt x="981" y="138"/>
                  <a:pt x="981" y="138"/>
                  <a:pt x="981" y="138"/>
                </a:cubicBezTo>
                <a:cubicBezTo>
                  <a:pt x="982" y="138"/>
                  <a:pt x="982" y="138"/>
                  <a:pt x="982" y="138"/>
                </a:cubicBezTo>
                <a:cubicBezTo>
                  <a:pt x="982" y="137"/>
                  <a:pt x="982" y="137"/>
                  <a:pt x="982" y="137"/>
                </a:cubicBezTo>
                <a:cubicBezTo>
                  <a:pt x="982" y="136"/>
                  <a:pt x="982" y="136"/>
                  <a:pt x="982" y="136"/>
                </a:cubicBezTo>
                <a:cubicBezTo>
                  <a:pt x="980" y="135"/>
                  <a:pt x="980" y="135"/>
                  <a:pt x="980" y="135"/>
                </a:cubicBezTo>
                <a:cubicBezTo>
                  <a:pt x="979" y="135"/>
                  <a:pt x="979" y="135"/>
                  <a:pt x="979" y="135"/>
                </a:cubicBezTo>
                <a:cubicBezTo>
                  <a:pt x="978" y="135"/>
                  <a:pt x="978" y="135"/>
                  <a:pt x="978" y="135"/>
                </a:cubicBezTo>
                <a:cubicBezTo>
                  <a:pt x="976" y="135"/>
                  <a:pt x="976" y="135"/>
                  <a:pt x="976" y="135"/>
                </a:cubicBezTo>
                <a:cubicBezTo>
                  <a:pt x="974" y="136"/>
                  <a:pt x="974" y="136"/>
                  <a:pt x="974" y="136"/>
                </a:cubicBezTo>
                <a:cubicBezTo>
                  <a:pt x="972" y="134"/>
                  <a:pt x="972" y="134"/>
                  <a:pt x="972" y="134"/>
                </a:cubicBezTo>
                <a:cubicBezTo>
                  <a:pt x="972" y="133"/>
                  <a:pt x="972" y="133"/>
                  <a:pt x="972" y="133"/>
                </a:cubicBezTo>
                <a:cubicBezTo>
                  <a:pt x="971" y="133"/>
                  <a:pt x="971" y="133"/>
                  <a:pt x="971" y="133"/>
                </a:cubicBezTo>
                <a:cubicBezTo>
                  <a:pt x="970" y="134"/>
                  <a:pt x="970" y="134"/>
                  <a:pt x="970" y="134"/>
                </a:cubicBezTo>
                <a:cubicBezTo>
                  <a:pt x="969" y="134"/>
                  <a:pt x="969" y="134"/>
                  <a:pt x="969" y="134"/>
                </a:cubicBezTo>
                <a:cubicBezTo>
                  <a:pt x="968" y="134"/>
                  <a:pt x="968" y="134"/>
                  <a:pt x="968" y="134"/>
                </a:cubicBezTo>
                <a:cubicBezTo>
                  <a:pt x="967" y="134"/>
                  <a:pt x="967" y="134"/>
                  <a:pt x="967" y="134"/>
                </a:cubicBezTo>
                <a:cubicBezTo>
                  <a:pt x="967" y="135"/>
                  <a:pt x="967" y="135"/>
                  <a:pt x="967" y="135"/>
                </a:cubicBezTo>
                <a:cubicBezTo>
                  <a:pt x="966" y="134"/>
                  <a:pt x="966" y="134"/>
                  <a:pt x="966" y="134"/>
                </a:cubicBezTo>
                <a:cubicBezTo>
                  <a:pt x="965" y="134"/>
                  <a:pt x="965" y="134"/>
                  <a:pt x="965" y="134"/>
                </a:cubicBezTo>
                <a:cubicBezTo>
                  <a:pt x="964" y="134"/>
                  <a:pt x="964" y="134"/>
                  <a:pt x="964" y="134"/>
                </a:cubicBezTo>
                <a:cubicBezTo>
                  <a:pt x="962" y="134"/>
                  <a:pt x="962" y="134"/>
                  <a:pt x="962" y="134"/>
                </a:cubicBezTo>
                <a:cubicBezTo>
                  <a:pt x="962" y="135"/>
                  <a:pt x="962" y="135"/>
                  <a:pt x="962" y="135"/>
                </a:cubicBezTo>
                <a:cubicBezTo>
                  <a:pt x="961" y="134"/>
                  <a:pt x="961" y="134"/>
                  <a:pt x="961" y="134"/>
                </a:cubicBezTo>
                <a:cubicBezTo>
                  <a:pt x="960" y="135"/>
                  <a:pt x="960" y="135"/>
                  <a:pt x="960" y="135"/>
                </a:cubicBezTo>
                <a:cubicBezTo>
                  <a:pt x="957" y="134"/>
                  <a:pt x="957" y="134"/>
                  <a:pt x="957" y="134"/>
                </a:cubicBezTo>
                <a:cubicBezTo>
                  <a:pt x="957" y="135"/>
                  <a:pt x="957" y="135"/>
                  <a:pt x="957" y="135"/>
                </a:cubicBezTo>
                <a:cubicBezTo>
                  <a:pt x="958" y="135"/>
                  <a:pt x="958" y="135"/>
                  <a:pt x="958" y="135"/>
                </a:cubicBezTo>
                <a:cubicBezTo>
                  <a:pt x="958" y="136"/>
                  <a:pt x="958" y="136"/>
                  <a:pt x="958" y="136"/>
                </a:cubicBezTo>
                <a:cubicBezTo>
                  <a:pt x="959" y="137"/>
                  <a:pt x="959" y="137"/>
                  <a:pt x="959" y="137"/>
                </a:cubicBezTo>
                <a:cubicBezTo>
                  <a:pt x="958" y="137"/>
                  <a:pt x="958" y="137"/>
                  <a:pt x="958" y="137"/>
                </a:cubicBezTo>
                <a:cubicBezTo>
                  <a:pt x="957" y="136"/>
                  <a:pt x="957" y="136"/>
                  <a:pt x="957" y="136"/>
                </a:cubicBezTo>
                <a:cubicBezTo>
                  <a:pt x="956" y="136"/>
                  <a:pt x="956" y="136"/>
                  <a:pt x="956" y="136"/>
                </a:cubicBezTo>
                <a:cubicBezTo>
                  <a:pt x="955" y="136"/>
                  <a:pt x="955" y="136"/>
                  <a:pt x="955" y="136"/>
                </a:cubicBezTo>
                <a:cubicBezTo>
                  <a:pt x="954" y="136"/>
                  <a:pt x="954" y="136"/>
                  <a:pt x="954" y="136"/>
                </a:cubicBezTo>
                <a:cubicBezTo>
                  <a:pt x="955" y="135"/>
                  <a:pt x="955" y="135"/>
                  <a:pt x="955" y="135"/>
                </a:cubicBezTo>
                <a:cubicBezTo>
                  <a:pt x="955" y="134"/>
                  <a:pt x="955" y="134"/>
                  <a:pt x="955" y="134"/>
                </a:cubicBezTo>
                <a:cubicBezTo>
                  <a:pt x="954" y="133"/>
                  <a:pt x="954" y="133"/>
                  <a:pt x="954" y="133"/>
                </a:cubicBezTo>
                <a:cubicBezTo>
                  <a:pt x="954" y="132"/>
                  <a:pt x="954" y="132"/>
                  <a:pt x="954" y="132"/>
                </a:cubicBezTo>
                <a:cubicBezTo>
                  <a:pt x="952" y="132"/>
                  <a:pt x="952" y="132"/>
                  <a:pt x="952" y="132"/>
                </a:cubicBezTo>
                <a:cubicBezTo>
                  <a:pt x="952" y="133"/>
                  <a:pt x="952" y="133"/>
                  <a:pt x="952" y="133"/>
                </a:cubicBezTo>
                <a:cubicBezTo>
                  <a:pt x="952" y="134"/>
                  <a:pt x="952" y="134"/>
                  <a:pt x="952" y="134"/>
                </a:cubicBezTo>
                <a:cubicBezTo>
                  <a:pt x="951" y="134"/>
                  <a:pt x="951" y="134"/>
                  <a:pt x="951" y="134"/>
                </a:cubicBezTo>
                <a:cubicBezTo>
                  <a:pt x="952" y="133"/>
                  <a:pt x="952" y="133"/>
                  <a:pt x="952" y="133"/>
                </a:cubicBezTo>
                <a:cubicBezTo>
                  <a:pt x="951" y="132"/>
                  <a:pt x="951" y="132"/>
                  <a:pt x="951" y="132"/>
                </a:cubicBezTo>
                <a:cubicBezTo>
                  <a:pt x="950" y="132"/>
                  <a:pt x="950" y="132"/>
                  <a:pt x="950" y="132"/>
                </a:cubicBezTo>
                <a:cubicBezTo>
                  <a:pt x="949" y="132"/>
                  <a:pt x="949" y="132"/>
                  <a:pt x="949" y="132"/>
                </a:cubicBezTo>
                <a:cubicBezTo>
                  <a:pt x="949" y="131"/>
                  <a:pt x="949" y="131"/>
                  <a:pt x="949" y="131"/>
                </a:cubicBezTo>
                <a:cubicBezTo>
                  <a:pt x="949" y="129"/>
                  <a:pt x="949" y="129"/>
                  <a:pt x="949" y="129"/>
                </a:cubicBezTo>
                <a:cubicBezTo>
                  <a:pt x="947" y="130"/>
                  <a:pt x="947" y="130"/>
                  <a:pt x="947" y="130"/>
                </a:cubicBezTo>
                <a:cubicBezTo>
                  <a:pt x="946" y="131"/>
                  <a:pt x="946" y="131"/>
                  <a:pt x="946" y="131"/>
                </a:cubicBezTo>
                <a:cubicBezTo>
                  <a:pt x="946" y="133"/>
                  <a:pt x="946" y="133"/>
                  <a:pt x="946" y="133"/>
                </a:cubicBezTo>
                <a:cubicBezTo>
                  <a:pt x="945" y="133"/>
                  <a:pt x="945" y="133"/>
                  <a:pt x="945" y="133"/>
                </a:cubicBezTo>
                <a:cubicBezTo>
                  <a:pt x="945" y="131"/>
                  <a:pt x="945" y="131"/>
                  <a:pt x="945" y="131"/>
                </a:cubicBezTo>
                <a:cubicBezTo>
                  <a:pt x="945" y="130"/>
                  <a:pt x="945" y="130"/>
                  <a:pt x="945" y="130"/>
                </a:cubicBezTo>
                <a:cubicBezTo>
                  <a:pt x="946" y="128"/>
                  <a:pt x="946" y="128"/>
                  <a:pt x="946" y="128"/>
                </a:cubicBezTo>
                <a:cubicBezTo>
                  <a:pt x="945" y="127"/>
                  <a:pt x="945" y="127"/>
                  <a:pt x="945" y="127"/>
                </a:cubicBezTo>
                <a:cubicBezTo>
                  <a:pt x="944" y="127"/>
                  <a:pt x="944" y="127"/>
                  <a:pt x="944" y="127"/>
                </a:cubicBezTo>
                <a:cubicBezTo>
                  <a:pt x="945" y="126"/>
                  <a:pt x="945" y="126"/>
                  <a:pt x="945" y="126"/>
                </a:cubicBezTo>
                <a:cubicBezTo>
                  <a:pt x="945" y="125"/>
                  <a:pt x="945" y="125"/>
                  <a:pt x="945" y="125"/>
                </a:cubicBezTo>
                <a:cubicBezTo>
                  <a:pt x="945" y="124"/>
                  <a:pt x="945" y="124"/>
                  <a:pt x="945" y="124"/>
                </a:cubicBezTo>
                <a:cubicBezTo>
                  <a:pt x="944" y="124"/>
                  <a:pt x="944" y="124"/>
                  <a:pt x="944" y="124"/>
                </a:cubicBezTo>
                <a:cubicBezTo>
                  <a:pt x="943" y="124"/>
                  <a:pt x="943" y="124"/>
                  <a:pt x="943" y="124"/>
                </a:cubicBezTo>
                <a:cubicBezTo>
                  <a:pt x="942" y="123"/>
                  <a:pt x="942" y="123"/>
                  <a:pt x="942" y="123"/>
                </a:cubicBezTo>
                <a:cubicBezTo>
                  <a:pt x="941" y="123"/>
                  <a:pt x="941" y="123"/>
                  <a:pt x="941" y="123"/>
                </a:cubicBezTo>
                <a:cubicBezTo>
                  <a:pt x="941" y="124"/>
                  <a:pt x="941" y="124"/>
                  <a:pt x="941" y="124"/>
                </a:cubicBezTo>
                <a:cubicBezTo>
                  <a:pt x="939" y="124"/>
                  <a:pt x="939" y="124"/>
                  <a:pt x="939" y="124"/>
                </a:cubicBezTo>
                <a:cubicBezTo>
                  <a:pt x="940" y="123"/>
                  <a:pt x="940" y="123"/>
                  <a:pt x="940" y="123"/>
                </a:cubicBezTo>
                <a:cubicBezTo>
                  <a:pt x="940" y="122"/>
                  <a:pt x="940" y="122"/>
                  <a:pt x="940" y="122"/>
                </a:cubicBezTo>
                <a:cubicBezTo>
                  <a:pt x="941" y="121"/>
                  <a:pt x="941" y="121"/>
                  <a:pt x="941" y="121"/>
                </a:cubicBezTo>
                <a:cubicBezTo>
                  <a:pt x="942" y="121"/>
                  <a:pt x="942" y="121"/>
                  <a:pt x="942" y="121"/>
                </a:cubicBezTo>
                <a:cubicBezTo>
                  <a:pt x="943" y="123"/>
                  <a:pt x="943" y="123"/>
                  <a:pt x="943" y="123"/>
                </a:cubicBezTo>
                <a:cubicBezTo>
                  <a:pt x="944" y="123"/>
                  <a:pt x="944" y="123"/>
                  <a:pt x="944" y="123"/>
                </a:cubicBezTo>
                <a:cubicBezTo>
                  <a:pt x="944" y="122"/>
                  <a:pt x="944" y="122"/>
                  <a:pt x="944" y="122"/>
                </a:cubicBezTo>
                <a:cubicBezTo>
                  <a:pt x="943" y="121"/>
                  <a:pt x="943" y="121"/>
                  <a:pt x="943" y="121"/>
                </a:cubicBezTo>
                <a:cubicBezTo>
                  <a:pt x="942" y="120"/>
                  <a:pt x="942" y="120"/>
                  <a:pt x="942" y="120"/>
                </a:cubicBezTo>
                <a:cubicBezTo>
                  <a:pt x="943" y="120"/>
                  <a:pt x="943" y="120"/>
                  <a:pt x="943" y="120"/>
                </a:cubicBezTo>
                <a:cubicBezTo>
                  <a:pt x="941" y="119"/>
                  <a:pt x="941" y="119"/>
                  <a:pt x="941" y="119"/>
                </a:cubicBezTo>
                <a:cubicBezTo>
                  <a:pt x="940" y="118"/>
                  <a:pt x="940" y="118"/>
                  <a:pt x="940" y="118"/>
                </a:cubicBezTo>
                <a:cubicBezTo>
                  <a:pt x="941" y="118"/>
                  <a:pt x="941" y="118"/>
                  <a:pt x="941" y="118"/>
                </a:cubicBezTo>
                <a:cubicBezTo>
                  <a:pt x="941" y="117"/>
                  <a:pt x="941" y="117"/>
                  <a:pt x="941" y="117"/>
                </a:cubicBezTo>
                <a:cubicBezTo>
                  <a:pt x="942" y="118"/>
                  <a:pt x="942" y="118"/>
                  <a:pt x="942" y="118"/>
                </a:cubicBezTo>
                <a:cubicBezTo>
                  <a:pt x="943" y="119"/>
                  <a:pt x="943" y="119"/>
                  <a:pt x="943" y="119"/>
                </a:cubicBezTo>
                <a:cubicBezTo>
                  <a:pt x="945" y="120"/>
                  <a:pt x="945" y="120"/>
                  <a:pt x="945" y="120"/>
                </a:cubicBezTo>
                <a:cubicBezTo>
                  <a:pt x="946" y="121"/>
                  <a:pt x="946" y="121"/>
                  <a:pt x="946" y="121"/>
                </a:cubicBezTo>
                <a:cubicBezTo>
                  <a:pt x="946" y="120"/>
                  <a:pt x="946" y="120"/>
                  <a:pt x="946" y="120"/>
                </a:cubicBezTo>
                <a:cubicBezTo>
                  <a:pt x="947" y="121"/>
                  <a:pt x="947" y="121"/>
                  <a:pt x="947" y="121"/>
                </a:cubicBezTo>
                <a:cubicBezTo>
                  <a:pt x="949" y="121"/>
                  <a:pt x="949" y="121"/>
                  <a:pt x="949" y="121"/>
                </a:cubicBezTo>
                <a:cubicBezTo>
                  <a:pt x="950" y="121"/>
                  <a:pt x="950" y="121"/>
                  <a:pt x="950" y="121"/>
                </a:cubicBezTo>
                <a:cubicBezTo>
                  <a:pt x="951" y="120"/>
                  <a:pt x="951" y="120"/>
                  <a:pt x="951" y="120"/>
                </a:cubicBezTo>
                <a:cubicBezTo>
                  <a:pt x="950" y="119"/>
                  <a:pt x="950" y="119"/>
                  <a:pt x="950" y="119"/>
                </a:cubicBezTo>
                <a:cubicBezTo>
                  <a:pt x="948" y="117"/>
                  <a:pt x="948" y="117"/>
                  <a:pt x="948" y="117"/>
                </a:cubicBezTo>
                <a:cubicBezTo>
                  <a:pt x="947" y="116"/>
                  <a:pt x="947" y="116"/>
                  <a:pt x="947" y="116"/>
                </a:cubicBezTo>
                <a:cubicBezTo>
                  <a:pt x="946" y="116"/>
                  <a:pt x="946" y="116"/>
                  <a:pt x="946" y="116"/>
                </a:cubicBezTo>
                <a:cubicBezTo>
                  <a:pt x="946" y="115"/>
                  <a:pt x="946" y="115"/>
                  <a:pt x="946" y="115"/>
                </a:cubicBezTo>
                <a:cubicBezTo>
                  <a:pt x="944" y="114"/>
                  <a:pt x="944" y="114"/>
                  <a:pt x="944" y="114"/>
                </a:cubicBezTo>
                <a:cubicBezTo>
                  <a:pt x="943" y="113"/>
                  <a:pt x="943" y="113"/>
                  <a:pt x="943" y="113"/>
                </a:cubicBezTo>
                <a:cubicBezTo>
                  <a:pt x="944" y="112"/>
                  <a:pt x="944" y="112"/>
                  <a:pt x="944" y="112"/>
                </a:cubicBezTo>
                <a:cubicBezTo>
                  <a:pt x="945" y="113"/>
                  <a:pt x="945" y="113"/>
                  <a:pt x="945" y="113"/>
                </a:cubicBezTo>
                <a:cubicBezTo>
                  <a:pt x="946" y="114"/>
                  <a:pt x="946" y="114"/>
                  <a:pt x="946" y="114"/>
                </a:cubicBezTo>
                <a:cubicBezTo>
                  <a:pt x="947" y="115"/>
                  <a:pt x="947" y="115"/>
                  <a:pt x="947" y="115"/>
                </a:cubicBezTo>
                <a:cubicBezTo>
                  <a:pt x="948" y="114"/>
                  <a:pt x="948" y="114"/>
                  <a:pt x="948" y="114"/>
                </a:cubicBezTo>
                <a:cubicBezTo>
                  <a:pt x="947" y="112"/>
                  <a:pt x="947" y="112"/>
                  <a:pt x="947" y="112"/>
                </a:cubicBezTo>
                <a:cubicBezTo>
                  <a:pt x="946" y="110"/>
                  <a:pt x="946" y="110"/>
                  <a:pt x="946" y="110"/>
                </a:cubicBezTo>
                <a:cubicBezTo>
                  <a:pt x="945" y="110"/>
                  <a:pt x="945" y="110"/>
                  <a:pt x="945" y="110"/>
                </a:cubicBezTo>
                <a:cubicBezTo>
                  <a:pt x="943" y="110"/>
                  <a:pt x="943" y="110"/>
                  <a:pt x="943" y="110"/>
                </a:cubicBezTo>
                <a:cubicBezTo>
                  <a:pt x="942" y="111"/>
                  <a:pt x="942" y="111"/>
                  <a:pt x="942" y="111"/>
                </a:cubicBezTo>
                <a:cubicBezTo>
                  <a:pt x="941" y="111"/>
                  <a:pt x="941" y="111"/>
                  <a:pt x="941" y="111"/>
                </a:cubicBezTo>
                <a:cubicBezTo>
                  <a:pt x="940" y="110"/>
                  <a:pt x="940" y="110"/>
                  <a:pt x="940" y="110"/>
                </a:cubicBezTo>
                <a:cubicBezTo>
                  <a:pt x="939" y="110"/>
                  <a:pt x="939" y="110"/>
                  <a:pt x="939" y="110"/>
                </a:cubicBezTo>
                <a:cubicBezTo>
                  <a:pt x="938" y="109"/>
                  <a:pt x="938" y="109"/>
                  <a:pt x="938" y="109"/>
                </a:cubicBezTo>
                <a:cubicBezTo>
                  <a:pt x="937" y="111"/>
                  <a:pt x="937" y="111"/>
                  <a:pt x="937" y="111"/>
                </a:cubicBezTo>
                <a:cubicBezTo>
                  <a:pt x="935" y="112"/>
                  <a:pt x="935" y="112"/>
                  <a:pt x="935" y="112"/>
                </a:cubicBezTo>
                <a:cubicBezTo>
                  <a:pt x="935" y="113"/>
                  <a:pt x="935" y="113"/>
                  <a:pt x="935" y="113"/>
                </a:cubicBezTo>
                <a:cubicBezTo>
                  <a:pt x="934" y="114"/>
                  <a:pt x="934" y="114"/>
                  <a:pt x="934" y="114"/>
                </a:cubicBezTo>
                <a:cubicBezTo>
                  <a:pt x="934" y="113"/>
                  <a:pt x="934" y="113"/>
                  <a:pt x="934" y="113"/>
                </a:cubicBezTo>
                <a:cubicBezTo>
                  <a:pt x="935" y="112"/>
                  <a:pt x="935" y="112"/>
                  <a:pt x="935" y="112"/>
                </a:cubicBezTo>
                <a:cubicBezTo>
                  <a:pt x="935" y="111"/>
                  <a:pt x="935" y="111"/>
                  <a:pt x="935" y="111"/>
                </a:cubicBezTo>
                <a:cubicBezTo>
                  <a:pt x="938" y="109"/>
                  <a:pt x="938" y="109"/>
                  <a:pt x="938" y="109"/>
                </a:cubicBezTo>
                <a:cubicBezTo>
                  <a:pt x="938" y="108"/>
                  <a:pt x="938" y="108"/>
                  <a:pt x="938" y="108"/>
                </a:cubicBezTo>
                <a:cubicBezTo>
                  <a:pt x="938" y="107"/>
                  <a:pt x="938" y="107"/>
                  <a:pt x="938" y="107"/>
                </a:cubicBezTo>
                <a:cubicBezTo>
                  <a:pt x="938" y="104"/>
                  <a:pt x="938" y="104"/>
                  <a:pt x="938" y="104"/>
                </a:cubicBezTo>
                <a:cubicBezTo>
                  <a:pt x="937" y="103"/>
                  <a:pt x="937" y="103"/>
                  <a:pt x="937" y="103"/>
                </a:cubicBezTo>
                <a:cubicBezTo>
                  <a:pt x="935" y="103"/>
                  <a:pt x="935" y="103"/>
                  <a:pt x="935" y="103"/>
                </a:cubicBezTo>
                <a:cubicBezTo>
                  <a:pt x="935" y="101"/>
                  <a:pt x="935" y="101"/>
                  <a:pt x="935" y="101"/>
                </a:cubicBezTo>
                <a:cubicBezTo>
                  <a:pt x="934" y="101"/>
                  <a:pt x="934" y="101"/>
                  <a:pt x="934" y="101"/>
                </a:cubicBezTo>
                <a:cubicBezTo>
                  <a:pt x="932" y="100"/>
                  <a:pt x="932" y="100"/>
                  <a:pt x="932" y="100"/>
                </a:cubicBezTo>
                <a:cubicBezTo>
                  <a:pt x="931" y="99"/>
                  <a:pt x="931" y="99"/>
                  <a:pt x="931" y="99"/>
                </a:cubicBezTo>
                <a:close/>
                <a:moveTo>
                  <a:pt x="970" y="318"/>
                </a:moveTo>
                <a:cubicBezTo>
                  <a:pt x="971" y="318"/>
                  <a:pt x="971" y="318"/>
                  <a:pt x="971" y="318"/>
                </a:cubicBezTo>
                <a:cubicBezTo>
                  <a:pt x="972" y="318"/>
                  <a:pt x="972" y="318"/>
                  <a:pt x="972" y="318"/>
                </a:cubicBezTo>
                <a:cubicBezTo>
                  <a:pt x="972" y="317"/>
                  <a:pt x="972" y="317"/>
                  <a:pt x="972" y="317"/>
                </a:cubicBezTo>
                <a:cubicBezTo>
                  <a:pt x="971" y="316"/>
                  <a:pt x="971" y="316"/>
                  <a:pt x="971" y="316"/>
                </a:cubicBezTo>
                <a:cubicBezTo>
                  <a:pt x="970" y="316"/>
                  <a:pt x="970" y="316"/>
                  <a:pt x="970" y="316"/>
                </a:cubicBezTo>
                <a:cubicBezTo>
                  <a:pt x="970" y="317"/>
                  <a:pt x="970" y="317"/>
                  <a:pt x="970" y="317"/>
                </a:cubicBezTo>
                <a:cubicBezTo>
                  <a:pt x="970" y="318"/>
                  <a:pt x="970" y="318"/>
                  <a:pt x="970" y="318"/>
                </a:cubicBezTo>
                <a:close/>
                <a:moveTo>
                  <a:pt x="978" y="341"/>
                </a:moveTo>
                <a:cubicBezTo>
                  <a:pt x="978" y="341"/>
                  <a:pt x="978" y="341"/>
                  <a:pt x="977" y="342"/>
                </a:cubicBezTo>
                <a:cubicBezTo>
                  <a:pt x="977" y="342"/>
                  <a:pt x="977" y="342"/>
                  <a:pt x="976" y="343"/>
                </a:cubicBezTo>
                <a:cubicBezTo>
                  <a:pt x="976" y="343"/>
                  <a:pt x="976" y="343"/>
                  <a:pt x="976" y="344"/>
                </a:cubicBezTo>
                <a:cubicBezTo>
                  <a:pt x="976" y="344"/>
                  <a:pt x="976" y="344"/>
                  <a:pt x="976" y="345"/>
                </a:cubicBezTo>
                <a:cubicBezTo>
                  <a:pt x="976" y="345"/>
                  <a:pt x="976" y="345"/>
                  <a:pt x="977" y="344"/>
                </a:cubicBezTo>
                <a:cubicBezTo>
                  <a:pt x="977" y="344"/>
                  <a:pt x="977" y="344"/>
                  <a:pt x="978" y="344"/>
                </a:cubicBezTo>
                <a:cubicBezTo>
                  <a:pt x="978" y="344"/>
                  <a:pt x="978" y="344"/>
                  <a:pt x="979" y="343"/>
                </a:cubicBezTo>
                <a:cubicBezTo>
                  <a:pt x="979" y="343"/>
                  <a:pt x="979" y="343"/>
                  <a:pt x="980" y="343"/>
                </a:cubicBezTo>
                <a:cubicBezTo>
                  <a:pt x="980" y="343"/>
                  <a:pt x="980" y="343"/>
                  <a:pt x="980" y="342"/>
                </a:cubicBezTo>
                <a:cubicBezTo>
                  <a:pt x="980" y="342"/>
                  <a:pt x="980" y="342"/>
                  <a:pt x="979" y="342"/>
                </a:cubicBezTo>
                <a:cubicBezTo>
                  <a:pt x="979" y="342"/>
                  <a:pt x="979" y="342"/>
                  <a:pt x="979" y="341"/>
                </a:cubicBezTo>
                <a:cubicBezTo>
                  <a:pt x="979" y="341"/>
                  <a:pt x="979" y="341"/>
                  <a:pt x="978" y="341"/>
                </a:cubicBezTo>
                <a:close/>
                <a:moveTo>
                  <a:pt x="968" y="315"/>
                </a:moveTo>
                <a:cubicBezTo>
                  <a:pt x="968" y="316"/>
                  <a:pt x="968" y="316"/>
                  <a:pt x="968" y="316"/>
                </a:cubicBezTo>
                <a:cubicBezTo>
                  <a:pt x="970" y="316"/>
                  <a:pt x="970" y="316"/>
                  <a:pt x="970" y="316"/>
                </a:cubicBezTo>
                <a:cubicBezTo>
                  <a:pt x="969" y="315"/>
                  <a:pt x="969" y="315"/>
                  <a:pt x="969" y="315"/>
                </a:cubicBezTo>
                <a:cubicBezTo>
                  <a:pt x="968" y="315"/>
                  <a:pt x="968" y="315"/>
                  <a:pt x="968" y="315"/>
                </a:cubicBezTo>
                <a:close/>
                <a:moveTo>
                  <a:pt x="940" y="306"/>
                </a:moveTo>
                <a:cubicBezTo>
                  <a:pt x="941" y="306"/>
                  <a:pt x="941" y="306"/>
                  <a:pt x="941" y="306"/>
                </a:cubicBezTo>
                <a:cubicBezTo>
                  <a:pt x="941" y="305"/>
                  <a:pt x="941" y="305"/>
                  <a:pt x="941" y="305"/>
                </a:cubicBezTo>
                <a:cubicBezTo>
                  <a:pt x="942" y="305"/>
                  <a:pt x="942" y="305"/>
                  <a:pt x="942" y="305"/>
                </a:cubicBezTo>
                <a:cubicBezTo>
                  <a:pt x="941" y="304"/>
                  <a:pt x="941" y="304"/>
                  <a:pt x="941" y="304"/>
                </a:cubicBezTo>
                <a:cubicBezTo>
                  <a:pt x="940" y="303"/>
                  <a:pt x="940" y="303"/>
                  <a:pt x="940" y="303"/>
                </a:cubicBezTo>
                <a:cubicBezTo>
                  <a:pt x="939" y="303"/>
                  <a:pt x="939" y="303"/>
                  <a:pt x="939" y="303"/>
                </a:cubicBezTo>
                <a:cubicBezTo>
                  <a:pt x="939" y="302"/>
                  <a:pt x="939" y="302"/>
                  <a:pt x="939" y="302"/>
                </a:cubicBezTo>
                <a:cubicBezTo>
                  <a:pt x="938" y="302"/>
                  <a:pt x="938" y="302"/>
                  <a:pt x="938" y="302"/>
                </a:cubicBezTo>
                <a:cubicBezTo>
                  <a:pt x="937" y="302"/>
                  <a:pt x="937" y="302"/>
                  <a:pt x="937" y="302"/>
                </a:cubicBezTo>
                <a:cubicBezTo>
                  <a:pt x="937" y="303"/>
                  <a:pt x="937" y="303"/>
                  <a:pt x="937" y="303"/>
                </a:cubicBezTo>
                <a:cubicBezTo>
                  <a:pt x="938" y="303"/>
                  <a:pt x="938" y="303"/>
                  <a:pt x="938" y="303"/>
                </a:cubicBezTo>
                <a:cubicBezTo>
                  <a:pt x="938" y="304"/>
                  <a:pt x="938" y="304"/>
                  <a:pt x="938" y="304"/>
                </a:cubicBezTo>
                <a:cubicBezTo>
                  <a:pt x="939" y="305"/>
                  <a:pt x="939" y="305"/>
                  <a:pt x="939" y="305"/>
                </a:cubicBezTo>
                <a:cubicBezTo>
                  <a:pt x="939" y="306"/>
                  <a:pt x="939" y="306"/>
                  <a:pt x="939" y="306"/>
                </a:cubicBezTo>
                <a:cubicBezTo>
                  <a:pt x="940" y="306"/>
                  <a:pt x="940" y="306"/>
                  <a:pt x="940" y="306"/>
                </a:cubicBezTo>
                <a:close/>
                <a:moveTo>
                  <a:pt x="950" y="314"/>
                </a:moveTo>
                <a:cubicBezTo>
                  <a:pt x="949" y="314"/>
                  <a:pt x="949" y="314"/>
                  <a:pt x="949" y="314"/>
                </a:cubicBezTo>
                <a:cubicBezTo>
                  <a:pt x="948" y="314"/>
                  <a:pt x="948" y="314"/>
                  <a:pt x="948" y="314"/>
                </a:cubicBezTo>
                <a:cubicBezTo>
                  <a:pt x="949" y="315"/>
                  <a:pt x="949" y="315"/>
                  <a:pt x="949" y="315"/>
                </a:cubicBezTo>
                <a:cubicBezTo>
                  <a:pt x="950" y="316"/>
                  <a:pt x="950" y="316"/>
                  <a:pt x="950" y="316"/>
                </a:cubicBezTo>
                <a:cubicBezTo>
                  <a:pt x="951" y="316"/>
                  <a:pt x="951" y="316"/>
                  <a:pt x="951" y="316"/>
                </a:cubicBezTo>
                <a:cubicBezTo>
                  <a:pt x="952" y="316"/>
                  <a:pt x="952" y="316"/>
                  <a:pt x="952" y="316"/>
                </a:cubicBezTo>
                <a:cubicBezTo>
                  <a:pt x="951" y="315"/>
                  <a:pt x="951" y="315"/>
                  <a:pt x="951" y="315"/>
                </a:cubicBezTo>
                <a:cubicBezTo>
                  <a:pt x="950" y="314"/>
                  <a:pt x="950" y="314"/>
                  <a:pt x="950" y="314"/>
                </a:cubicBezTo>
                <a:close/>
                <a:moveTo>
                  <a:pt x="939" y="228"/>
                </a:moveTo>
                <a:cubicBezTo>
                  <a:pt x="939" y="228"/>
                  <a:pt x="939" y="228"/>
                  <a:pt x="938" y="227"/>
                </a:cubicBezTo>
                <a:cubicBezTo>
                  <a:pt x="938" y="227"/>
                  <a:pt x="938" y="227"/>
                  <a:pt x="939" y="229"/>
                </a:cubicBezTo>
                <a:cubicBezTo>
                  <a:pt x="939" y="229"/>
                  <a:pt x="939" y="229"/>
                  <a:pt x="939" y="228"/>
                </a:cubicBezTo>
                <a:close/>
                <a:moveTo>
                  <a:pt x="941" y="230"/>
                </a:moveTo>
                <a:cubicBezTo>
                  <a:pt x="941" y="229"/>
                  <a:pt x="941" y="229"/>
                  <a:pt x="941" y="229"/>
                </a:cubicBezTo>
                <a:cubicBezTo>
                  <a:pt x="940" y="229"/>
                  <a:pt x="940" y="229"/>
                  <a:pt x="940" y="229"/>
                </a:cubicBezTo>
                <a:cubicBezTo>
                  <a:pt x="939" y="229"/>
                  <a:pt x="939" y="229"/>
                  <a:pt x="939" y="229"/>
                </a:cubicBezTo>
                <a:cubicBezTo>
                  <a:pt x="940" y="230"/>
                  <a:pt x="940" y="230"/>
                  <a:pt x="940" y="230"/>
                </a:cubicBezTo>
                <a:cubicBezTo>
                  <a:pt x="941" y="230"/>
                  <a:pt x="941" y="230"/>
                  <a:pt x="941" y="230"/>
                </a:cubicBezTo>
                <a:close/>
                <a:moveTo>
                  <a:pt x="938" y="298"/>
                </a:moveTo>
                <a:cubicBezTo>
                  <a:pt x="937" y="297"/>
                  <a:pt x="937" y="297"/>
                  <a:pt x="937" y="297"/>
                </a:cubicBezTo>
                <a:cubicBezTo>
                  <a:pt x="936" y="297"/>
                  <a:pt x="936" y="297"/>
                  <a:pt x="936" y="297"/>
                </a:cubicBezTo>
                <a:cubicBezTo>
                  <a:pt x="936" y="298"/>
                  <a:pt x="936" y="298"/>
                  <a:pt x="936" y="298"/>
                </a:cubicBezTo>
                <a:cubicBezTo>
                  <a:pt x="937" y="298"/>
                  <a:pt x="937" y="298"/>
                  <a:pt x="937" y="298"/>
                </a:cubicBezTo>
                <a:cubicBezTo>
                  <a:pt x="938" y="298"/>
                  <a:pt x="938" y="298"/>
                  <a:pt x="938" y="298"/>
                </a:cubicBezTo>
                <a:close/>
                <a:moveTo>
                  <a:pt x="938" y="224"/>
                </a:moveTo>
                <a:cubicBezTo>
                  <a:pt x="937" y="223"/>
                  <a:pt x="937" y="223"/>
                  <a:pt x="937" y="223"/>
                </a:cubicBezTo>
                <a:cubicBezTo>
                  <a:pt x="936" y="223"/>
                  <a:pt x="936" y="223"/>
                  <a:pt x="936" y="223"/>
                </a:cubicBezTo>
                <a:cubicBezTo>
                  <a:pt x="936" y="224"/>
                  <a:pt x="936" y="224"/>
                  <a:pt x="936" y="224"/>
                </a:cubicBezTo>
                <a:cubicBezTo>
                  <a:pt x="937" y="224"/>
                  <a:pt x="937" y="224"/>
                  <a:pt x="937" y="224"/>
                </a:cubicBezTo>
                <a:cubicBezTo>
                  <a:pt x="937" y="225"/>
                  <a:pt x="937" y="225"/>
                  <a:pt x="937" y="225"/>
                </a:cubicBezTo>
                <a:cubicBezTo>
                  <a:pt x="938" y="224"/>
                  <a:pt x="938" y="224"/>
                  <a:pt x="938" y="224"/>
                </a:cubicBezTo>
                <a:close/>
                <a:moveTo>
                  <a:pt x="1022" y="264"/>
                </a:moveTo>
                <a:cubicBezTo>
                  <a:pt x="1022" y="264"/>
                  <a:pt x="1022" y="264"/>
                  <a:pt x="1021" y="263"/>
                </a:cubicBezTo>
                <a:cubicBezTo>
                  <a:pt x="1021" y="263"/>
                  <a:pt x="1021" y="263"/>
                  <a:pt x="1020" y="264"/>
                </a:cubicBezTo>
                <a:cubicBezTo>
                  <a:pt x="1020" y="264"/>
                  <a:pt x="1020" y="264"/>
                  <a:pt x="1021" y="266"/>
                </a:cubicBezTo>
                <a:cubicBezTo>
                  <a:pt x="1021" y="266"/>
                  <a:pt x="1021" y="266"/>
                  <a:pt x="1022" y="265"/>
                </a:cubicBezTo>
                <a:cubicBezTo>
                  <a:pt x="1022" y="265"/>
                  <a:pt x="1022" y="265"/>
                  <a:pt x="1022" y="264"/>
                </a:cubicBezTo>
                <a:close/>
                <a:moveTo>
                  <a:pt x="1028" y="270"/>
                </a:moveTo>
                <a:cubicBezTo>
                  <a:pt x="1028" y="270"/>
                  <a:pt x="1028" y="270"/>
                  <a:pt x="1027" y="270"/>
                </a:cubicBezTo>
                <a:cubicBezTo>
                  <a:pt x="1027" y="270"/>
                  <a:pt x="1027" y="270"/>
                  <a:pt x="1026" y="270"/>
                </a:cubicBezTo>
                <a:cubicBezTo>
                  <a:pt x="1026" y="270"/>
                  <a:pt x="1026" y="270"/>
                  <a:pt x="1026" y="271"/>
                </a:cubicBezTo>
                <a:cubicBezTo>
                  <a:pt x="1026" y="271"/>
                  <a:pt x="1026" y="271"/>
                  <a:pt x="1027" y="271"/>
                </a:cubicBezTo>
                <a:cubicBezTo>
                  <a:pt x="1027" y="271"/>
                  <a:pt x="1027" y="271"/>
                  <a:pt x="1028" y="270"/>
                </a:cubicBezTo>
                <a:close/>
                <a:moveTo>
                  <a:pt x="1030" y="451"/>
                </a:moveTo>
                <a:cubicBezTo>
                  <a:pt x="1030" y="451"/>
                  <a:pt x="1030" y="451"/>
                  <a:pt x="1031" y="451"/>
                </a:cubicBezTo>
                <a:cubicBezTo>
                  <a:pt x="1031" y="451"/>
                  <a:pt x="1031" y="451"/>
                  <a:pt x="1032" y="450"/>
                </a:cubicBezTo>
                <a:cubicBezTo>
                  <a:pt x="1032" y="450"/>
                  <a:pt x="1032" y="450"/>
                  <a:pt x="1031" y="450"/>
                </a:cubicBezTo>
                <a:cubicBezTo>
                  <a:pt x="1031" y="450"/>
                  <a:pt x="1031" y="450"/>
                  <a:pt x="1030" y="451"/>
                </a:cubicBezTo>
                <a:close/>
                <a:moveTo>
                  <a:pt x="1032" y="429"/>
                </a:moveTo>
                <a:cubicBezTo>
                  <a:pt x="1032" y="429"/>
                  <a:pt x="1032" y="429"/>
                  <a:pt x="1031" y="430"/>
                </a:cubicBezTo>
                <a:cubicBezTo>
                  <a:pt x="1031" y="431"/>
                  <a:pt x="1031" y="431"/>
                  <a:pt x="1031" y="431"/>
                </a:cubicBezTo>
                <a:cubicBezTo>
                  <a:pt x="1031" y="431"/>
                  <a:pt x="1031" y="431"/>
                  <a:pt x="1032" y="430"/>
                </a:cubicBezTo>
                <a:cubicBezTo>
                  <a:pt x="1032" y="430"/>
                  <a:pt x="1032" y="430"/>
                  <a:pt x="1032" y="429"/>
                </a:cubicBezTo>
                <a:close/>
                <a:moveTo>
                  <a:pt x="1007" y="250"/>
                </a:moveTo>
                <a:cubicBezTo>
                  <a:pt x="1006" y="250"/>
                  <a:pt x="1006" y="250"/>
                  <a:pt x="1006" y="250"/>
                </a:cubicBezTo>
                <a:cubicBezTo>
                  <a:pt x="1007" y="251"/>
                  <a:pt x="1007" y="251"/>
                  <a:pt x="1007" y="251"/>
                </a:cubicBezTo>
                <a:cubicBezTo>
                  <a:pt x="1007" y="250"/>
                  <a:pt x="1007" y="250"/>
                  <a:pt x="1007" y="250"/>
                </a:cubicBezTo>
                <a:close/>
                <a:moveTo>
                  <a:pt x="999" y="330"/>
                </a:moveTo>
                <a:cubicBezTo>
                  <a:pt x="999" y="330"/>
                  <a:pt x="999" y="330"/>
                  <a:pt x="998" y="330"/>
                </a:cubicBezTo>
                <a:cubicBezTo>
                  <a:pt x="998" y="330"/>
                  <a:pt x="998" y="330"/>
                  <a:pt x="998" y="329"/>
                </a:cubicBezTo>
                <a:cubicBezTo>
                  <a:pt x="998" y="329"/>
                  <a:pt x="998" y="329"/>
                  <a:pt x="997" y="328"/>
                </a:cubicBezTo>
                <a:cubicBezTo>
                  <a:pt x="997" y="328"/>
                  <a:pt x="997" y="328"/>
                  <a:pt x="997" y="329"/>
                </a:cubicBezTo>
                <a:cubicBezTo>
                  <a:pt x="997" y="329"/>
                  <a:pt x="997" y="329"/>
                  <a:pt x="997" y="330"/>
                </a:cubicBezTo>
                <a:cubicBezTo>
                  <a:pt x="997" y="330"/>
                  <a:pt x="997" y="330"/>
                  <a:pt x="997" y="331"/>
                </a:cubicBezTo>
                <a:cubicBezTo>
                  <a:pt x="997" y="331"/>
                  <a:pt x="997" y="331"/>
                  <a:pt x="998" y="332"/>
                </a:cubicBezTo>
                <a:cubicBezTo>
                  <a:pt x="998" y="332"/>
                  <a:pt x="998" y="332"/>
                  <a:pt x="999" y="331"/>
                </a:cubicBezTo>
                <a:cubicBezTo>
                  <a:pt x="999" y="331"/>
                  <a:pt x="999" y="331"/>
                  <a:pt x="999" y="330"/>
                </a:cubicBezTo>
                <a:close/>
                <a:moveTo>
                  <a:pt x="1001" y="323"/>
                </a:moveTo>
                <a:cubicBezTo>
                  <a:pt x="1000" y="324"/>
                  <a:pt x="1000" y="324"/>
                  <a:pt x="1000" y="324"/>
                </a:cubicBezTo>
                <a:cubicBezTo>
                  <a:pt x="1001" y="324"/>
                  <a:pt x="1001" y="324"/>
                  <a:pt x="1001" y="324"/>
                </a:cubicBezTo>
                <a:cubicBezTo>
                  <a:pt x="1002" y="325"/>
                  <a:pt x="1002" y="325"/>
                  <a:pt x="1002" y="325"/>
                </a:cubicBezTo>
                <a:cubicBezTo>
                  <a:pt x="1003" y="324"/>
                  <a:pt x="1003" y="324"/>
                  <a:pt x="1003" y="324"/>
                </a:cubicBezTo>
                <a:cubicBezTo>
                  <a:pt x="1003" y="323"/>
                  <a:pt x="1003" y="323"/>
                  <a:pt x="1003" y="323"/>
                </a:cubicBezTo>
                <a:cubicBezTo>
                  <a:pt x="1003" y="322"/>
                  <a:pt x="1003" y="322"/>
                  <a:pt x="1003" y="322"/>
                </a:cubicBezTo>
                <a:cubicBezTo>
                  <a:pt x="1002" y="323"/>
                  <a:pt x="1002" y="323"/>
                  <a:pt x="1002" y="323"/>
                </a:cubicBezTo>
                <a:cubicBezTo>
                  <a:pt x="1001" y="323"/>
                  <a:pt x="1001" y="323"/>
                  <a:pt x="1001" y="323"/>
                </a:cubicBezTo>
                <a:close/>
                <a:moveTo>
                  <a:pt x="995" y="332"/>
                </a:moveTo>
                <a:cubicBezTo>
                  <a:pt x="995" y="332"/>
                  <a:pt x="995" y="332"/>
                  <a:pt x="995" y="333"/>
                </a:cubicBezTo>
                <a:cubicBezTo>
                  <a:pt x="995" y="333"/>
                  <a:pt x="995" y="333"/>
                  <a:pt x="995" y="334"/>
                </a:cubicBezTo>
                <a:cubicBezTo>
                  <a:pt x="995" y="334"/>
                  <a:pt x="995" y="334"/>
                  <a:pt x="996" y="334"/>
                </a:cubicBezTo>
                <a:cubicBezTo>
                  <a:pt x="996" y="334"/>
                  <a:pt x="996" y="334"/>
                  <a:pt x="997" y="334"/>
                </a:cubicBezTo>
                <a:cubicBezTo>
                  <a:pt x="997" y="334"/>
                  <a:pt x="997" y="334"/>
                  <a:pt x="997" y="335"/>
                </a:cubicBezTo>
                <a:cubicBezTo>
                  <a:pt x="997" y="335"/>
                  <a:pt x="997" y="335"/>
                  <a:pt x="998" y="335"/>
                </a:cubicBezTo>
                <a:cubicBezTo>
                  <a:pt x="998" y="335"/>
                  <a:pt x="998" y="335"/>
                  <a:pt x="998" y="334"/>
                </a:cubicBezTo>
                <a:cubicBezTo>
                  <a:pt x="998" y="334"/>
                  <a:pt x="998" y="334"/>
                  <a:pt x="999" y="333"/>
                </a:cubicBezTo>
                <a:cubicBezTo>
                  <a:pt x="999" y="333"/>
                  <a:pt x="999" y="333"/>
                  <a:pt x="998" y="332"/>
                </a:cubicBezTo>
                <a:cubicBezTo>
                  <a:pt x="998" y="332"/>
                  <a:pt x="998" y="332"/>
                  <a:pt x="996" y="332"/>
                </a:cubicBezTo>
                <a:cubicBezTo>
                  <a:pt x="996" y="332"/>
                  <a:pt x="996" y="332"/>
                  <a:pt x="995" y="332"/>
                </a:cubicBezTo>
                <a:close/>
                <a:moveTo>
                  <a:pt x="1003" y="299"/>
                </a:moveTo>
                <a:cubicBezTo>
                  <a:pt x="1003" y="299"/>
                  <a:pt x="1003" y="299"/>
                  <a:pt x="1004" y="299"/>
                </a:cubicBezTo>
                <a:cubicBezTo>
                  <a:pt x="1004" y="299"/>
                  <a:pt x="1004" y="299"/>
                  <a:pt x="1005" y="298"/>
                </a:cubicBezTo>
                <a:cubicBezTo>
                  <a:pt x="1005" y="298"/>
                  <a:pt x="1005" y="298"/>
                  <a:pt x="1004" y="298"/>
                </a:cubicBezTo>
                <a:cubicBezTo>
                  <a:pt x="1004" y="298"/>
                  <a:pt x="1004" y="298"/>
                  <a:pt x="1003" y="299"/>
                </a:cubicBezTo>
                <a:close/>
                <a:moveTo>
                  <a:pt x="1005" y="303"/>
                </a:moveTo>
                <a:cubicBezTo>
                  <a:pt x="1005" y="303"/>
                  <a:pt x="1005" y="303"/>
                  <a:pt x="1006" y="303"/>
                </a:cubicBezTo>
                <a:cubicBezTo>
                  <a:pt x="1006" y="303"/>
                  <a:pt x="1006" y="303"/>
                  <a:pt x="1005" y="302"/>
                </a:cubicBezTo>
                <a:cubicBezTo>
                  <a:pt x="1005" y="302"/>
                  <a:pt x="1005" y="302"/>
                  <a:pt x="1005" y="303"/>
                </a:cubicBezTo>
                <a:close/>
                <a:moveTo>
                  <a:pt x="1026" y="17"/>
                </a:moveTo>
                <a:cubicBezTo>
                  <a:pt x="1026" y="17"/>
                  <a:pt x="1026" y="17"/>
                  <a:pt x="1026" y="18"/>
                </a:cubicBezTo>
                <a:cubicBezTo>
                  <a:pt x="1026" y="18"/>
                  <a:pt x="1026" y="18"/>
                  <a:pt x="1027" y="18"/>
                </a:cubicBezTo>
                <a:cubicBezTo>
                  <a:pt x="1027" y="18"/>
                  <a:pt x="1027" y="18"/>
                  <a:pt x="1026" y="17"/>
                </a:cubicBezTo>
                <a:close/>
                <a:moveTo>
                  <a:pt x="606" y="382"/>
                </a:moveTo>
                <a:cubicBezTo>
                  <a:pt x="607" y="383"/>
                  <a:pt x="607" y="383"/>
                  <a:pt x="607" y="383"/>
                </a:cubicBezTo>
                <a:cubicBezTo>
                  <a:pt x="607" y="384"/>
                  <a:pt x="607" y="384"/>
                  <a:pt x="607" y="384"/>
                </a:cubicBezTo>
                <a:cubicBezTo>
                  <a:pt x="608" y="383"/>
                  <a:pt x="608" y="383"/>
                  <a:pt x="608" y="383"/>
                </a:cubicBezTo>
                <a:cubicBezTo>
                  <a:pt x="607" y="381"/>
                  <a:pt x="607" y="381"/>
                  <a:pt x="607" y="381"/>
                </a:cubicBezTo>
                <a:cubicBezTo>
                  <a:pt x="606" y="380"/>
                  <a:pt x="606" y="380"/>
                  <a:pt x="606" y="380"/>
                </a:cubicBezTo>
                <a:cubicBezTo>
                  <a:pt x="606" y="382"/>
                  <a:pt x="606" y="382"/>
                  <a:pt x="606" y="382"/>
                </a:cubicBezTo>
                <a:close/>
                <a:moveTo>
                  <a:pt x="609" y="394"/>
                </a:moveTo>
                <a:cubicBezTo>
                  <a:pt x="609" y="395"/>
                  <a:pt x="609" y="395"/>
                  <a:pt x="609" y="395"/>
                </a:cubicBezTo>
                <a:cubicBezTo>
                  <a:pt x="609" y="396"/>
                  <a:pt x="609" y="396"/>
                  <a:pt x="609" y="396"/>
                </a:cubicBezTo>
                <a:cubicBezTo>
                  <a:pt x="610" y="395"/>
                  <a:pt x="610" y="395"/>
                  <a:pt x="610" y="395"/>
                </a:cubicBezTo>
                <a:cubicBezTo>
                  <a:pt x="609" y="394"/>
                  <a:pt x="609" y="394"/>
                  <a:pt x="609" y="394"/>
                </a:cubicBezTo>
                <a:close/>
                <a:moveTo>
                  <a:pt x="621" y="411"/>
                </a:moveTo>
                <a:cubicBezTo>
                  <a:pt x="621" y="411"/>
                  <a:pt x="621" y="411"/>
                  <a:pt x="620" y="411"/>
                </a:cubicBezTo>
                <a:cubicBezTo>
                  <a:pt x="620" y="411"/>
                  <a:pt x="620" y="411"/>
                  <a:pt x="621" y="413"/>
                </a:cubicBezTo>
                <a:cubicBezTo>
                  <a:pt x="621" y="413"/>
                  <a:pt x="621" y="413"/>
                  <a:pt x="621" y="411"/>
                </a:cubicBezTo>
                <a:close/>
                <a:moveTo>
                  <a:pt x="606" y="377"/>
                </a:moveTo>
                <a:cubicBezTo>
                  <a:pt x="606" y="378"/>
                  <a:pt x="606" y="378"/>
                  <a:pt x="606" y="378"/>
                </a:cubicBezTo>
                <a:cubicBezTo>
                  <a:pt x="607" y="378"/>
                  <a:pt x="607" y="378"/>
                  <a:pt x="607" y="378"/>
                </a:cubicBezTo>
                <a:cubicBezTo>
                  <a:pt x="606" y="377"/>
                  <a:pt x="606" y="377"/>
                  <a:pt x="606" y="377"/>
                </a:cubicBezTo>
                <a:close/>
                <a:moveTo>
                  <a:pt x="619" y="410"/>
                </a:moveTo>
                <a:cubicBezTo>
                  <a:pt x="618" y="410"/>
                  <a:pt x="618" y="410"/>
                  <a:pt x="618" y="410"/>
                </a:cubicBezTo>
                <a:cubicBezTo>
                  <a:pt x="616" y="409"/>
                  <a:pt x="616" y="409"/>
                  <a:pt x="616" y="409"/>
                </a:cubicBezTo>
                <a:cubicBezTo>
                  <a:pt x="614" y="409"/>
                  <a:pt x="614" y="409"/>
                  <a:pt x="614" y="409"/>
                </a:cubicBezTo>
                <a:cubicBezTo>
                  <a:pt x="613" y="408"/>
                  <a:pt x="613" y="408"/>
                  <a:pt x="613" y="408"/>
                </a:cubicBezTo>
                <a:cubicBezTo>
                  <a:pt x="612" y="407"/>
                  <a:pt x="612" y="407"/>
                  <a:pt x="612" y="407"/>
                </a:cubicBezTo>
                <a:cubicBezTo>
                  <a:pt x="610" y="406"/>
                  <a:pt x="610" y="406"/>
                  <a:pt x="610" y="406"/>
                </a:cubicBezTo>
                <a:cubicBezTo>
                  <a:pt x="609" y="405"/>
                  <a:pt x="609" y="405"/>
                  <a:pt x="609" y="405"/>
                </a:cubicBezTo>
                <a:cubicBezTo>
                  <a:pt x="609" y="404"/>
                  <a:pt x="609" y="404"/>
                  <a:pt x="609" y="404"/>
                </a:cubicBezTo>
                <a:cubicBezTo>
                  <a:pt x="608" y="404"/>
                  <a:pt x="608" y="404"/>
                  <a:pt x="608" y="404"/>
                </a:cubicBezTo>
                <a:cubicBezTo>
                  <a:pt x="607" y="403"/>
                  <a:pt x="607" y="403"/>
                  <a:pt x="607" y="403"/>
                </a:cubicBezTo>
                <a:cubicBezTo>
                  <a:pt x="606" y="402"/>
                  <a:pt x="606" y="402"/>
                  <a:pt x="606" y="402"/>
                </a:cubicBezTo>
                <a:cubicBezTo>
                  <a:pt x="605" y="403"/>
                  <a:pt x="605" y="403"/>
                  <a:pt x="605" y="403"/>
                </a:cubicBezTo>
                <a:cubicBezTo>
                  <a:pt x="603" y="403"/>
                  <a:pt x="603" y="403"/>
                  <a:pt x="603" y="403"/>
                </a:cubicBezTo>
                <a:cubicBezTo>
                  <a:pt x="604" y="404"/>
                  <a:pt x="604" y="404"/>
                  <a:pt x="604" y="404"/>
                </a:cubicBezTo>
                <a:cubicBezTo>
                  <a:pt x="604" y="405"/>
                  <a:pt x="604" y="405"/>
                  <a:pt x="604" y="405"/>
                </a:cubicBezTo>
                <a:cubicBezTo>
                  <a:pt x="605" y="406"/>
                  <a:pt x="605" y="406"/>
                  <a:pt x="605" y="406"/>
                </a:cubicBezTo>
                <a:cubicBezTo>
                  <a:pt x="608" y="406"/>
                  <a:pt x="608" y="406"/>
                  <a:pt x="608" y="406"/>
                </a:cubicBezTo>
                <a:cubicBezTo>
                  <a:pt x="607" y="407"/>
                  <a:pt x="607" y="407"/>
                  <a:pt x="607" y="407"/>
                </a:cubicBezTo>
                <a:cubicBezTo>
                  <a:pt x="605" y="407"/>
                  <a:pt x="605" y="407"/>
                  <a:pt x="605" y="407"/>
                </a:cubicBezTo>
                <a:cubicBezTo>
                  <a:pt x="604" y="408"/>
                  <a:pt x="604" y="408"/>
                  <a:pt x="604" y="408"/>
                </a:cubicBezTo>
                <a:cubicBezTo>
                  <a:pt x="605" y="409"/>
                  <a:pt x="605" y="409"/>
                  <a:pt x="605" y="409"/>
                </a:cubicBezTo>
                <a:cubicBezTo>
                  <a:pt x="604" y="410"/>
                  <a:pt x="604" y="410"/>
                  <a:pt x="604" y="410"/>
                </a:cubicBezTo>
                <a:cubicBezTo>
                  <a:pt x="605" y="411"/>
                  <a:pt x="605" y="411"/>
                  <a:pt x="605" y="411"/>
                </a:cubicBezTo>
                <a:cubicBezTo>
                  <a:pt x="606" y="410"/>
                  <a:pt x="606" y="410"/>
                  <a:pt x="606" y="410"/>
                </a:cubicBezTo>
                <a:cubicBezTo>
                  <a:pt x="606" y="411"/>
                  <a:pt x="606" y="411"/>
                  <a:pt x="606" y="411"/>
                </a:cubicBezTo>
                <a:cubicBezTo>
                  <a:pt x="608" y="411"/>
                  <a:pt x="608" y="411"/>
                  <a:pt x="608" y="411"/>
                </a:cubicBezTo>
                <a:cubicBezTo>
                  <a:pt x="608" y="413"/>
                  <a:pt x="608" y="413"/>
                  <a:pt x="608" y="413"/>
                </a:cubicBezTo>
                <a:cubicBezTo>
                  <a:pt x="609" y="413"/>
                  <a:pt x="609" y="413"/>
                  <a:pt x="609" y="413"/>
                </a:cubicBezTo>
                <a:cubicBezTo>
                  <a:pt x="610" y="413"/>
                  <a:pt x="610" y="413"/>
                  <a:pt x="610" y="413"/>
                </a:cubicBezTo>
                <a:cubicBezTo>
                  <a:pt x="609" y="415"/>
                  <a:pt x="609" y="415"/>
                  <a:pt x="609" y="415"/>
                </a:cubicBezTo>
                <a:cubicBezTo>
                  <a:pt x="609" y="416"/>
                  <a:pt x="609" y="416"/>
                  <a:pt x="609" y="416"/>
                </a:cubicBezTo>
                <a:cubicBezTo>
                  <a:pt x="610" y="416"/>
                  <a:pt x="610" y="416"/>
                  <a:pt x="610" y="416"/>
                </a:cubicBezTo>
                <a:cubicBezTo>
                  <a:pt x="610" y="415"/>
                  <a:pt x="610" y="415"/>
                  <a:pt x="610" y="415"/>
                </a:cubicBezTo>
                <a:cubicBezTo>
                  <a:pt x="612" y="414"/>
                  <a:pt x="612" y="414"/>
                  <a:pt x="612" y="414"/>
                </a:cubicBezTo>
                <a:cubicBezTo>
                  <a:pt x="612" y="416"/>
                  <a:pt x="612" y="416"/>
                  <a:pt x="612" y="416"/>
                </a:cubicBezTo>
                <a:cubicBezTo>
                  <a:pt x="611" y="417"/>
                  <a:pt x="611" y="417"/>
                  <a:pt x="611" y="417"/>
                </a:cubicBezTo>
                <a:cubicBezTo>
                  <a:pt x="611" y="418"/>
                  <a:pt x="611" y="418"/>
                  <a:pt x="611" y="418"/>
                </a:cubicBezTo>
                <a:cubicBezTo>
                  <a:pt x="612" y="419"/>
                  <a:pt x="612" y="419"/>
                  <a:pt x="612" y="419"/>
                </a:cubicBezTo>
                <a:cubicBezTo>
                  <a:pt x="614" y="419"/>
                  <a:pt x="614" y="419"/>
                  <a:pt x="614" y="419"/>
                </a:cubicBezTo>
                <a:cubicBezTo>
                  <a:pt x="614" y="420"/>
                  <a:pt x="614" y="420"/>
                  <a:pt x="614" y="420"/>
                </a:cubicBezTo>
                <a:cubicBezTo>
                  <a:pt x="615" y="420"/>
                  <a:pt x="615" y="420"/>
                  <a:pt x="615" y="420"/>
                </a:cubicBezTo>
                <a:cubicBezTo>
                  <a:pt x="615" y="421"/>
                  <a:pt x="615" y="421"/>
                  <a:pt x="615" y="421"/>
                </a:cubicBezTo>
                <a:cubicBezTo>
                  <a:pt x="615" y="422"/>
                  <a:pt x="615" y="422"/>
                  <a:pt x="615" y="422"/>
                </a:cubicBezTo>
                <a:cubicBezTo>
                  <a:pt x="616" y="424"/>
                  <a:pt x="616" y="424"/>
                  <a:pt x="616" y="424"/>
                </a:cubicBezTo>
                <a:cubicBezTo>
                  <a:pt x="617" y="423"/>
                  <a:pt x="617" y="423"/>
                  <a:pt x="617" y="423"/>
                </a:cubicBezTo>
                <a:cubicBezTo>
                  <a:pt x="618" y="423"/>
                  <a:pt x="618" y="423"/>
                  <a:pt x="618" y="423"/>
                </a:cubicBezTo>
                <a:cubicBezTo>
                  <a:pt x="619" y="423"/>
                  <a:pt x="619" y="423"/>
                  <a:pt x="619" y="423"/>
                </a:cubicBezTo>
                <a:cubicBezTo>
                  <a:pt x="617" y="425"/>
                  <a:pt x="617" y="425"/>
                  <a:pt x="617" y="425"/>
                </a:cubicBezTo>
                <a:cubicBezTo>
                  <a:pt x="619" y="428"/>
                  <a:pt x="619" y="428"/>
                  <a:pt x="619" y="428"/>
                </a:cubicBezTo>
                <a:cubicBezTo>
                  <a:pt x="620" y="428"/>
                  <a:pt x="620" y="428"/>
                  <a:pt x="620" y="428"/>
                </a:cubicBezTo>
                <a:cubicBezTo>
                  <a:pt x="621" y="429"/>
                  <a:pt x="621" y="429"/>
                  <a:pt x="621" y="429"/>
                </a:cubicBezTo>
                <a:cubicBezTo>
                  <a:pt x="624" y="431"/>
                  <a:pt x="624" y="431"/>
                  <a:pt x="624" y="431"/>
                </a:cubicBezTo>
                <a:cubicBezTo>
                  <a:pt x="625" y="431"/>
                  <a:pt x="625" y="431"/>
                  <a:pt x="625" y="431"/>
                </a:cubicBezTo>
                <a:cubicBezTo>
                  <a:pt x="626" y="431"/>
                  <a:pt x="626" y="431"/>
                  <a:pt x="626" y="431"/>
                </a:cubicBezTo>
                <a:cubicBezTo>
                  <a:pt x="625" y="427"/>
                  <a:pt x="625" y="427"/>
                  <a:pt x="625" y="427"/>
                </a:cubicBezTo>
                <a:cubicBezTo>
                  <a:pt x="626" y="426"/>
                  <a:pt x="626" y="426"/>
                  <a:pt x="626" y="426"/>
                </a:cubicBezTo>
                <a:cubicBezTo>
                  <a:pt x="625" y="425"/>
                  <a:pt x="625" y="425"/>
                  <a:pt x="625" y="425"/>
                </a:cubicBezTo>
                <a:cubicBezTo>
                  <a:pt x="625" y="422"/>
                  <a:pt x="625" y="422"/>
                  <a:pt x="625" y="422"/>
                </a:cubicBezTo>
                <a:cubicBezTo>
                  <a:pt x="624" y="421"/>
                  <a:pt x="624" y="421"/>
                  <a:pt x="624" y="421"/>
                </a:cubicBezTo>
                <a:cubicBezTo>
                  <a:pt x="622" y="419"/>
                  <a:pt x="622" y="419"/>
                  <a:pt x="622" y="419"/>
                </a:cubicBezTo>
                <a:cubicBezTo>
                  <a:pt x="621" y="415"/>
                  <a:pt x="621" y="415"/>
                  <a:pt x="621" y="415"/>
                </a:cubicBezTo>
                <a:cubicBezTo>
                  <a:pt x="620" y="413"/>
                  <a:pt x="620" y="413"/>
                  <a:pt x="620" y="413"/>
                </a:cubicBezTo>
                <a:cubicBezTo>
                  <a:pt x="620" y="411"/>
                  <a:pt x="620" y="411"/>
                  <a:pt x="620" y="411"/>
                </a:cubicBezTo>
                <a:cubicBezTo>
                  <a:pt x="619" y="410"/>
                  <a:pt x="619" y="410"/>
                  <a:pt x="619" y="410"/>
                </a:cubicBezTo>
                <a:close/>
                <a:moveTo>
                  <a:pt x="612" y="372"/>
                </a:moveTo>
                <a:cubicBezTo>
                  <a:pt x="612" y="372"/>
                  <a:pt x="612" y="372"/>
                  <a:pt x="611" y="372"/>
                </a:cubicBezTo>
                <a:cubicBezTo>
                  <a:pt x="611" y="372"/>
                  <a:pt x="611" y="372"/>
                  <a:pt x="610" y="373"/>
                </a:cubicBezTo>
                <a:cubicBezTo>
                  <a:pt x="610" y="373"/>
                  <a:pt x="610" y="373"/>
                  <a:pt x="610" y="374"/>
                </a:cubicBezTo>
                <a:cubicBezTo>
                  <a:pt x="610" y="374"/>
                  <a:pt x="610" y="374"/>
                  <a:pt x="612" y="373"/>
                </a:cubicBezTo>
                <a:cubicBezTo>
                  <a:pt x="612" y="373"/>
                  <a:pt x="612" y="373"/>
                  <a:pt x="612" y="372"/>
                </a:cubicBezTo>
                <a:close/>
                <a:moveTo>
                  <a:pt x="611" y="383"/>
                </a:moveTo>
                <a:cubicBezTo>
                  <a:pt x="611" y="383"/>
                  <a:pt x="611" y="383"/>
                  <a:pt x="612" y="383"/>
                </a:cubicBezTo>
                <a:cubicBezTo>
                  <a:pt x="612" y="383"/>
                  <a:pt x="612" y="383"/>
                  <a:pt x="611" y="382"/>
                </a:cubicBezTo>
                <a:cubicBezTo>
                  <a:pt x="611" y="382"/>
                  <a:pt x="611" y="382"/>
                  <a:pt x="611" y="383"/>
                </a:cubicBezTo>
                <a:close/>
                <a:moveTo>
                  <a:pt x="896" y="223"/>
                </a:moveTo>
                <a:cubicBezTo>
                  <a:pt x="897" y="223"/>
                  <a:pt x="897" y="223"/>
                  <a:pt x="897" y="223"/>
                </a:cubicBezTo>
                <a:cubicBezTo>
                  <a:pt x="897" y="222"/>
                  <a:pt x="897" y="222"/>
                  <a:pt x="897" y="222"/>
                </a:cubicBezTo>
                <a:cubicBezTo>
                  <a:pt x="897" y="221"/>
                  <a:pt x="897" y="221"/>
                  <a:pt x="897" y="221"/>
                </a:cubicBezTo>
                <a:cubicBezTo>
                  <a:pt x="896" y="222"/>
                  <a:pt x="896" y="222"/>
                  <a:pt x="896" y="222"/>
                </a:cubicBezTo>
                <a:cubicBezTo>
                  <a:pt x="896" y="223"/>
                  <a:pt x="896" y="223"/>
                  <a:pt x="896" y="223"/>
                </a:cubicBezTo>
                <a:close/>
                <a:moveTo>
                  <a:pt x="605" y="376"/>
                </a:moveTo>
                <a:cubicBezTo>
                  <a:pt x="605" y="376"/>
                  <a:pt x="605" y="376"/>
                  <a:pt x="605" y="375"/>
                </a:cubicBezTo>
                <a:cubicBezTo>
                  <a:pt x="605" y="375"/>
                  <a:pt x="605" y="375"/>
                  <a:pt x="605" y="374"/>
                </a:cubicBezTo>
                <a:cubicBezTo>
                  <a:pt x="605" y="374"/>
                  <a:pt x="605" y="374"/>
                  <a:pt x="602" y="371"/>
                </a:cubicBezTo>
                <a:cubicBezTo>
                  <a:pt x="602" y="371"/>
                  <a:pt x="602" y="371"/>
                  <a:pt x="602" y="373"/>
                </a:cubicBezTo>
                <a:cubicBezTo>
                  <a:pt x="602" y="373"/>
                  <a:pt x="602" y="373"/>
                  <a:pt x="604" y="375"/>
                </a:cubicBezTo>
                <a:cubicBezTo>
                  <a:pt x="604" y="375"/>
                  <a:pt x="604" y="375"/>
                  <a:pt x="604" y="376"/>
                </a:cubicBezTo>
                <a:cubicBezTo>
                  <a:pt x="604" y="376"/>
                  <a:pt x="604" y="376"/>
                  <a:pt x="605" y="376"/>
                </a:cubicBezTo>
                <a:close/>
                <a:moveTo>
                  <a:pt x="892" y="214"/>
                </a:moveTo>
                <a:cubicBezTo>
                  <a:pt x="892" y="214"/>
                  <a:pt x="892" y="214"/>
                  <a:pt x="892" y="215"/>
                </a:cubicBezTo>
                <a:cubicBezTo>
                  <a:pt x="892" y="215"/>
                  <a:pt x="892" y="215"/>
                  <a:pt x="892" y="216"/>
                </a:cubicBezTo>
                <a:cubicBezTo>
                  <a:pt x="892" y="216"/>
                  <a:pt x="892" y="216"/>
                  <a:pt x="893" y="215"/>
                </a:cubicBezTo>
                <a:cubicBezTo>
                  <a:pt x="893" y="215"/>
                  <a:pt x="893" y="215"/>
                  <a:pt x="894" y="215"/>
                </a:cubicBezTo>
                <a:cubicBezTo>
                  <a:pt x="894" y="215"/>
                  <a:pt x="894" y="215"/>
                  <a:pt x="893" y="214"/>
                </a:cubicBezTo>
                <a:cubicBezTo>
                  <a:pt x="893" y="214"/>
                  <a:pt x="893" y="214"/>
                  <a:pt x="892" y="214"/>
                </a:cubicBezTo>
                <a:close/>
                <a:moveTo>
                  <a:pt x="608" y="378"/>
                </a:moveTo>
                <a:cubicBezTo>
                  <a:pt x="607" y="379"/>
                  <a:pt x="607" y="379"/>
                  <a:pt x="607" y="379"/>
                </a:cubicBezTo>
                <a:cubicBezTo>
                  <a:pt x="608" y="379"/>
                  <a:pt x="608" y="379"/>
                  <a:pt x="608" y="379"/>
                </a:cubicBezTo>
                <a:cubicBezTo>
                  <a:pt x="608" y="380"/>
                  <a:pt x="608" y="380"/>
                  <a:pt x="608" y="380"/>
                </a:cubicBezTo>
                <a:cubicBezTo>
                  <a:pt x="608" y="381"/>
                  <a:pt x="608" y="381"/>
                  <a:pt x="608" y="381"/>
                </a:cubicBezTo>
                <a:cubicBezTo>
                  <a:pt x="609" y="381"/>
                  <a:pt x="609" y="381"/>
                  <a:pt x="609" y="381"/>
                </a:cubicBezTo>
                <a:cubicBezTo>
                  <a:pt x="610" y="383"/>
                  <a:pt x="610" y="383"/>
                  <a:pt x="610" y="383"/>
                </a:cubicBezTo>
                <a:cubicBezTo>
                  <a:pt x="611" y="381"/>
                  <a:pt x="611" y="381"/>
                  <a:pt x="611" y="381"/>
                </a:cubicBezTo>
                <a:cubicBezTo>
                  <a:pt x="611" y="378"/>
                  <a:pt x="611" y="378"/>
                  <a:pt x="611" y="378"/>
                </a:cubicBezTo>
                <a:cubicBezTo>
                  <a:pt x="610" y="377"/>
                  <a:pt x="610" y="377"/>
                  <a:pt x="610" y="377"/>
                </a:cubicBezTo>
                <a:cubicBezTo>
                  <a:pt x="608" y="378"/>
                  <a:pt x="608" y="378"/>
                  <a:pt x="608" y="378"/>
                </a:cubicBezTo>
                <a:close/>
                <a:moveTo>
                  <a:pt x="610" y="388"/>
                </a:moveTo>
                <a:cubicBezTo>
                  <a:pt x="610" y="388"/>
                  <a:pt x="610" y="388"/>
                  <a:pt x="610" y="389"/>
                </a:cubicBezTo>
                <a:cubicBezTo>
                  <a:pt x="610" y="389"/>
                  <a:pt x="610" y="389"/>
                  <a:pt x="610" y="390"/>
                </a:cubicBezTo>
                <a:cubicBezTo>
                  <a:pt x="610" y="390"/>
                  <a:pt x="610" y="390"/>
                  <a:pt x="611" y="389"/>
                </a:cubicBezTo>
                <a:cubicBezTo>
                  <a:pt x="611" y="389"/>
                  <a:pt x="611" y="389"/>
                  <a:pt x="610" y="388"/>
                </a:cubicBezTo>
                <a:close/>
                <a:moveTo>
                  <a:pt x="605" y="369"/>
                </a:moveTo>
                <a:cubicBezTo>
                  <a:pt x="604" y="369"/>
                  <a:pt x="604" y="369"/>
                  <a:pt x="604" y="369"/>
                </a:cubicBezTo>
                <a:cubicBezTo>
                  <a:pt x="605" y="371"/>
                  <a:pt x="605" y="371"/>
                  <a:pt x="605" y="371"/>
                </a:cubicBezTo>
                <a:cubicBezTo>
                  <a:pt x="605" y="372"/>
                  <a:pt x="605" y="372"/>
                  <a:pt x="605" y="372"/>
                </a:cubicBezTo>
                <a:cubicBezTo>
                  <a:pt x="606" y="374"/>
                  <a:pt x="606" y="374"/>
                  <a:pt x="606" y="374"/>
                </a:cubicBezTo>
                <a:cubicBezTo>
                  <a:pt x="607" y="375"/>
                  <a:pt x="607" y="375"/>
                  <a:pt x="607" y="375"/>
                </a:cubicBezTo>
                <a:cubicBezTo>
                  <a:pt x="607" y="373"/>
                  <a:pt x="607" y="373"/>
                  <a:pt x="607" y="373"/>
                </a:cubicBezTo>
                <a:cubicBezTo>
                  <a:pt x="606" y="371"/>
                  <a:pt x="606" y="371"/>
                  <a:pt x="606" y="371"/>
                </a:cubicBezTo>
                <a:cubicBezTo>
                  <a:pt x="605" y="369"/>
                  <a:pt x="605" y="369"/>
                  <a:pt x="605" y="369"/>
                </a:cubicBezTo>
                <a:close/>
                <a:moveTo>
                  <a:pt x="611" y="391"/>
                </a:moveTo>
                <a:cubicBezTo>
                  <a:pt x="611" y="390"/>
                  <a:pt x="611" y="390"/>
                  <a:pt x="611" y="390"/>
                </a:cubicBezTo>
                <a:cubicBezTo>
                  <a:pt x="609" y="391"/>
                  <a:pt x="609" y="391"/>
                  <a:pt x="609" y="391"/>
                </a:cubicBezTo>
                <a:cubicBezTo>
                  <a:pt x="609" y="392"/>
                  <a:pt x="609" y="392"/>
                  <a:pt x="609" y="392"/>
                </a:cubicBezTo>
                <a:cubicBezTo>
                  <a:pt x="610" y="392"/>
                  <a:pt x="610" y="392"/>
                  <a:pt x="610" y="392"/>
                </a:cubicBezTo>
                <a:cubicBezTo>
                  <a:pt x="611" y="391"/>
                  <a:pt x="611" y="391"/>
                  <a:pt x="611" y="391"/>
                </a:cubicBezTo>
                <a:close/>
                <a:moveTo>
                  <a:pt x="608" y="377"/>
                </a:moveTo>
                <a:cubicBezTo>
                  <a:pt x="608" y="376"/>
                  <a:pt x="608" y="376"/>
                  <a:pt x="608" y="376"/>
                </a:cubicBezTo>
                <a:cubicBezTo>
                  <a:pt x="607" y="376"/>
                  <a:pt x="607" y="376"/>
                  <a:pt x="607" y="376"/>
                </a:cubicBezTo>
                <a:cubicBezTo>
                  <a:pt x="608" y="377"/>
                  <a:pt x="608" y="377"/>
                  <a:pt x="608" y="377"/>
                </a:cubicBezTo>
                <a:close/>
                <a:moveTo>
                  <a:pt x="989" y="484"/>
                </a:moveTo>
                <a:cubicBezTo>
                  <a:pt x="989" y="484"/>
                  <a:pt x="989" y="484"/>
                  <a:pt x="988" y="484"/>
                </a:cubicBezTo>
                <a:cubicBezTo>
                  <a:pt x="988" y="484"/>
                  <a:pt x="988" y="484"/>
                  <a:pt x="987" y="484"/>
                </a:cubicBezTo>
                <a:cubicBezTo>
                  <a:pt x="987" y="484"/>
                  <a:pt x="987" y="484"/>
                  <a:pt x="988" y="485"/>
                </a:cubicBezTo>
                <a:cubicBezTo>
                  <a:pt x="988" y="485"/>
                  <a:pt x="988" y="485"/>
                  <a:pt x="989" y="484"/>
                </a:cubicBezTo>
                <a:close/>
                <a:moveTo>
                  <a:pt x="987" y="467"/>
                </a:moveTo>
                <a:cubicBezTo>
                  <a:pt x="988" y="466"/>
                  <a:pt x="988" y="466"/>
                  <a:pt x="988" y="466"/>
                </a:cubicBezTo>
                <a:cubicBezTo>
                  <a:pt x="986" y="467"/>
                  <a:pt x="986" y="467"/>
                  <a:pt x="986" y="467"/>
                </a:cubicBezTo>
                <a:cubicBezTo>
                  <a:pt x="987" y="467"/>
                  <a:pt x="987" y="467"/>
                  <a:pt x="987" y="467"/>
                </a:cubicBezTo>
                <a:close/>
                <a:moveTo>
                  <a:pt x="623" y="416"/>
                </a:moveTo>
                <a:cubicBezTo>
                  <a:pt x="623" y="416"/>
                  <a:pt x="623" y="416"/>
                  <a:pt x="623" y="418"/>
                </a:cubicBezTo>
                <a:cubicBezTo>
                  <a:pt x="623" y="418"/>
                  <a:pt x="623" y="418"/>
                  <a:pt x="625" y="419"/>
                </a:cubicBezTo>
                <a:cubicBezTo>
                  <a:pt x="625" y="419"/>
                  <a:pt x="625" y="419"/>
                  <a:pt x="626" y="419"/>
                </a:cubicBezTo>
                <a:cubicBezTo>
                  <a:pt x="626" y="419"/>
                  <a:pt x="626" y="419"/>
                  <a:pt x="624" y="417"/>
                </a:cubicBezTo>
                <a:cubicBezTo>
                  <a:pt x="624" y="417"/>
                  <a:pt x="624" y="417"/>
                  <a:pt x="623" y="416"/>
                </a:cubicBezTo>
                <a:close/>
                <a:moveTo>
                  <a:pt x="615" y="405"/>
                </a:moveTo>
                <a:cubicBezTo>
                  <a:pt x="615" y="405"/>
                  <a:pt x="615" y="405"/>
                  <a:pt x="615" y="406"/>
                </a:cubicBezTo>
                <a:cubicBezTo>
                  <a:pt x="615" y="406"/>
                  <a:pt x="615" y="406"/>
                  <a:pt x="616" y="406"/>
                </a:cubicBezTo>
                <a:cubicBezTo>
                  <a:pt x="616" y="406"/>
                  <a:pt x="616" y="406"/>
                  <a:pt x="617" y="405"/>
                </a:cubicBezTo>
                <a:cubicBezTo>
                  <a:pt x="617" y="405"/>
                  <a:pt x="617" y="405"/>
                  <a:pt x="616" y="405"/>
                </a:cubicBezTo>
                <a:cubicBezTo>
                  <a:pt x="616" y="405"/>
                  <a:pt x="616" y="405"/>
                  <a:pt x="615" y="405"/>
                </a:cubicBezTo>
                <a:close/>
                <a:moveTo>
                  <a:pt x="984" y="452"/>
                </a:moveTo>
                <a:cubicBezTo>
                  <a:pt x="986" y="452"/>
                  <a:pt x="986" y="452"/>
                  <a:pt x="986" y="452"/>
                </a:cubicBezTo>
                <a:cubicBezTo>
                  <a:pt x="987" y="453"/>
                  <a:pt x="987" y="453"/>
                  <a:pt x="987" y="453"/>
                </a:cubicBezTo>
                <a:cubicBezTo>
                  <a:pt x="989" y="453"/>
                  <a:pt x="989" y="453"/>
                  <a:pt x="989" y="453"/>
                </a:cubicBezTo>
                <a:cubicBezTo>
                  <a:pt x="990" y="453"/>
                  <a:pt x="990" y="453"/>
                  <a:pt x="990" y="453"/>
                </a:cubicBezTo>
                <a:cubicBezTo>
                  <a:pt x="990" y="452"/>
                  <a:pt x="990" y="452"/>
                  <a:pt x="990" y="452"/>
                </a:cubicBezTo>
                <a:cubicBezTo>
                  <a:pt x="989" y="451"/>
                  <a:pt x="989" y="451"/>
                  <a:pt x="989" y="451"/>
                </a:cubicBezTo>
                <a:cubicBezTo>
                  <a:pt x="989" y="450"/>
                  <a:pt x="989" y="450"/>
                  <a:pt x="989" y="450"/>
                </a:cubicBezTo>
                <a:cubicBezTo>
                  <a:pt x="988" y="450"/>
                  <a:pt x="988" y="450"/>
                  <a:pt x="988" y="450"/>
                </a:cubicBezTo>
                <a:cubicBezTo>
                  <a:pt x="987" y="449"/>
                  <a:pt x="987" y="449"/>
                  <a:pt x="987" y="449"/>
                </a:cubicBezTo>
                <a:cubicBezTo>
                  <a:pt x="985" y="448"/>
                  <a:pt x="985" y="448"/>
                  <a:pt x="985" y="448"/>
                </a:cubicBezTo>
                <a:cubicBezTo>
                  <a:pt x="984" y="446"/>
                  <a:pt x="984" y="446"/>
                  <a:pt x="984" y="446"/>
                </a:cubicBezTo>
                <a:cubicBezTo>
                  <a:pt x="982" y="446"/>
                  <a:pt x="982" y="446"/>
                  <a:pt x="982" y="446"/>
                </a:cubicBezTo>
                <a:cubicBezTo>
                  <a:pt x="980" y="446"/>
                  <a:pt x="980" y="446"/>
                  <a:pt x="980" y="446"/>
                </a:cubicBezTo>
                <a:cubicBezTo>
                  <a:pt x="977" y="445"/>
                  <a:pt x="977" y="445"/>
                  <a:pt x="977" y="445"/>
                </a:cubicBezTo>
                <a:cubicBezTo>
                  <a:pt x="976" y="444"/>
                  <a:pt x="976" y="444"/>
                  <a:pt x="976" y="444"/>
                </a:cubicBezTo>
                <a:cubicBezTo>
                  <a:pt x="975" y="445"/>
                  <a:pt x="975" y="445"/>
                  <a:pt x="975" y="445"/>
                </a:cubicBezTo>
                <a:cubicBezTo>
                  <a:pt x="976" y="446"/>
                  <a:pt x="976" y="446"/>
                  <a:pt x="976" y="446"/>
                </a:cubicBezTo>
                <a:cubicBezTo>
                  <a:pt x="977" y="447"/>
                  <a:pt x="977" y="447"/>
                  <a:pt x="977" y="447"/>
                </a:cubicBezTo>
                <a:cubicBezTo>
                  <a:pt x="979" y="448"/>
                  <a:pt x="979" y="448"/>
                  <a:pt x="979" y="448"/>
                </a:cubicBezTo>
                <a:cubicBezTo>
                  <a:pt x="979" y="449"/>
                  <a:pt x="979" y="449"/>
                  <a:pt x="979" y="449"/>
                </a:cubicBezTo>
                <a:cubicBezTo>
                  <a:pt x="980" y="450"/>
                  <a:pt x="980" y="450"/>
                  <a:pt x="980" y="450"/>
                </a:cubicBezTo>
                <a:cubicBezTo>
                  <a:pt x="983" y="452"/>
                  <a:pt x="983" y="452"/>
                  <a:pt x="983" y="452"/>
                </a:cubicBezTo>
                <a:cubicBezTo>
                  <a:pt x="984" y="452"/>
                  <a:pt x="984" y="452"/>
                  <a:pt x="984" y="452"/>
                </a:cubicBezTo>
                <a:close/>
                <a:moveTo>
                  <a:pt x="609" y="385"/>
                </a:moveTo>
                <a:cubicBezTo>
                  <a:pt x="610" y="384"/>
                  <a:pt x="610" y="384"/>
                  <a:pt x="610" y="384"/>
                </a:cubicBezTo>
                <a:cubicBezTo>
                  <a:pt x="610" y="383"/>
                  <a:pt x="610" y="383"/>
                  <a:pt x="610" y="383"/>
                </a:cubicBezTo>
                <a:cubicBezTo>
                  <a:pt x="608" y="384"/>
                  <a:pt x="608" y="384"/>
                  <a:pt x="608" y="384"/>
                </a:cubicBezTo>
                <a:cubicBezTo>
                  <a:pt x="609" y="385"/>
                  <a:pt x="609" y="385"/>
                  <a:pt x="609" y="385"/>
                </a:cubicBezTo>
                <a:close/>
                <a:moveTo>
                  <a:pt x="975" y="476"/>
                </a:moveTo>
                <a:cubicBezTo>
                  <a:pt x="975" y="476"/>
                  <a:pt x="975" y="476"/>
                  <a:pt x="978" y="477"/>
                </a:cubicBezTo>
                <a:cubicBezTo>
                  <a:pt x="978" y="477"/>
                  <a:pt x="978" y="477"/>
                  <a:pt x="979" y="478"/>
                </a:cubicBezTo>
                <a:cubicBezTo>
                  <a:pt x="979" y="478"/>
                  <a:pt x="979" y="478"/>
                  <a:pt x="980" y="479"/>
                </a:cubicBezTo>
                <a:cubicBezTo>
                  <a:pt x="980" y="479"/>
                  <a:pt x="980" y="479"/>
                  <a:pt x="981" y="478"/>
                </a:cubicBezTo>
                <a:cubicBezTo>
                  <a:pt x="981" y="478"/>
                  <a:pt x="981" y="478"/>
                  <a:pt x="981" y="477"/>
                </a:cubicBezTo>
                <a:cubicBezTo>
                  <a:pt x="981" y="477"/>
                  <a:pt x="981" y="477"/>
                  <a:pt x="981" y="476"/>
                </a:cubicBezTo>
                <a:cubicBezTo>
                  <a:pt x="981" y="476"/>
                  <a:pt x="981" y="476"/>
                  <a:pt x="982" y="475"/>
                </a:cubicBezTo>
                <a:cubicBezTo>
                  <a:pt x="982" y="475"/>
                  <a:pt x="982" y="475"/>
                  <a:pt x="983" y="475"/>
                </a:cubicBezTo>
                <a:cubicBezTo>
                  <a:pt x="983" y="475"/>
                  <a:pt x="983" y="475"/>
                  <a:pt x="983" y="474"/>
                </a:cubicBezTo>
                <a:cubicBezTo>
                  <a:pt x="983" y="474"/>
                  <a:pt x="983" y="474"/>
                  <a:pt x="982" y="474"/>
                </a:cubicBezTo>
                <a:cubicBezTo>
                  <a:pt x="982" y="474"/>
                  <a:pt x="982" y="474"/>
                  <a:pt x="981" y="474"/>
                </a:cubicBezTo>
                <a:cubicBezTo>
                  <a:pt x="981" y="474"/>
                  <a:pt x="981" y="474"/>
                  <a:pt x="980" y="475"/>
                </a:cubicBezTo>
                <a:cubicBezTo>
                  <a:pt x="980" y="475"/>
                  <a:pt x="980" y="475"/>
                  <a:pt x="978" y="475"/>
                </a:cubicBezTo>
                <a:cubicBezTo>
                  <a:pt x="978" y="475"/>
                  <a:pt x="978" y="475"/>
                  <a:pt x="978" y="474"/>
                </a:cubicBezTo>
                <a:cubicBezTo>
                  <a:pt x="978" y="474"/>
                  <a:pt x="978" y="474"/>
                  <a:pt x="977" y="474"/>
                </a:cubicBezTo>
                <a:cubicBezTo>
                  <a:pt x="977" y="474"/>
                  <a:pt x="977" y="474"/>
                  <a:pt x="975" y="473"/>
                </a:cubicBezTo>
                <a:cubicBezTo>
                  <a:pt x="975" y="473"/>
                  <a:pt x="975" y="473"/>
                  <a:pt x="974" y="474"/>
                </a:cubicBezTo>
                <a:cubicBezTo>
                  <a:pt x="974" y="474"/>
                  <a:pt x="974" y="474"/>
                  <a:pt x="974" y="475"/>
                </a:cubicBezTo>
                <a:cubicBezTo>
                  <a:pt x="974" y="475"/>
                  <a:pt x="974" y="475"/>
                  <a:pt x="975" y="476"/>
                </a:cubicBezTo>
                <a:close/>
                <a:moveTo>
                  <a:pt x="973" y="472"/>
                </a:moveTo>
                <a:cubicBezTo>
                  <a:pt x="973" y="472"/>
                  <a:pt x="973" y="472"/>
                  <a:pt x="973" y="471"/>
                </a:cubicBezTo>
                <a:cubicBezTo>
                  <a:pt x="973" y="471"/>
                  <a:pt x="973" y="471"/>
                  <a:pt x="974" y="470"/>
                </a:cubicBezTo>
                <a:cubicBezTo>
                  <a:pt x="974" y="470"/>
                  <a:pt x="974" y="470"/>
                  <a:pt x="973" y="469"/>
                </a:cubicBezTo>
                <a:cubicBezTo>
                  <a:pt x="973" y="469"/>
                  <a:pt x="973" y="469"/>
                  <a:pt x="971" y="471"/>
                </a:cubicBezTo>
                <a:cubicBezTo>
                  <a:pt x="971" y="471"/>
                  <a:pt x="971" y="471"/>
                  <a:pt x="971" y="472"/>
                </a:cubicBezTo>
                <a:cubicBezTo>
                  <a:pt x="971" y="472"/>
                  <a:pt x="971" y="472"/>
                  <a:pt x="972" y="472"/>
                </a:cubicBezTo>
                <a:cubicBezTo>
                  <a:pt x="972" y="472"/>
                  <a:pt x="972" y="472"/>
                  <a:pt x="972" y="473"/>
                </a:cubicBezTo>
                <a:cubicBezTo>
                  <a:pt x="972" y="473"/>
                  <a:pt x="972" y="473"/>
                  <a:pt x="973" y="474"/>
                </a:cubicBezTo>
                <a:cubicBezTo>
                  <a:pt x="973" y="474"/>
                  <a:pt x="973" y="474"/>
                  <a:pt x="974" y="474"/>
                </a:cubicBezTo>
                <a:cubicBezTo>
                  <a:pt x="974" y="474"/>
                  <a:pt x="974" y="474"/>
                  <a:pt x="973" y="473"/>
                </a:cubicBezTo>
                <a:cubicBezTo>
                  <a:pt x="973" y="473"/>
                  <a:pt x="973" y="473"/>
                  <a:pt x="973" y="472"/>
                </a:cubicBezTo>
                <a:close/>
                <a:moveTo>
                  <a:pt x="603" y="367"/>
                </a:moveTo>
                <a:cubicBezTo>
                  <a:pt x="602" y="368"/>
                  <a:pt x="602" y="368"/>
                  <a:pt x="602" y="368"/>
                </a:cubicBezTo>
                <a:cubicBezTo>
                  <a:pt x="604" y="368"/>
                  <a:pt x="604" y="368"/>
                  <a:pt x="604" y="368"/>
                </a:cubicBezTo>
                <a:cubicBezTo>
                  <a:pt x="605" y="368"/>
                  <a:pt x="605" y="368"/>
                  <a:pt x="605" y="368"/>
                </a:cubicBezTo>
                <a:cubicBezTo>
                  <a:pt x="606" y="367"/>
                  <a:pt x="606" y="367"/>
                  <a:pt x="606" y="367"/>
                </a:cubicBezTo>
                <a:cubicBezTo>
                  <a:pt x="604" y="366"/>
                  <a:pt x="604" y="366"/>
                  <a:pt x="604" y="366"/>
                </a:cubicBezTo>
                <a:cubicBezTo>
                  <a:pt x="603" y="367"/>
                  <a:pt x="603" y="367"/>
                  <a:pt x="603" y="367"/>
                </a:cubicBezTo>
                <a:close/>
                <a:moveTo>
                  <a:pt x="896" y="224"/>
                </a:moveTo>
                <a:cubicBezTo>
                  <a:pt x="895" y="222"/>
                  <a:pt x="895" y="222"/>
                  <a:pt x="895" y="222"/>
                </a:cubicBezTo>
                <a:cubicBezTo>
                  <a:pt x="894" y="223"/>
                  <a:pt x="894" y="223"/>
                  <a:pt x="894" y="223"/>
                </a:cubicBezTo>
                <a:cubicBezTo>
                  <a:pt x="895" y="223"/>
                  <a:pt x="895" y="223"/>
                  <a:pt x="895" y="223"/>
                </a:cubicBezTo>
                <a:cubicBezTo>
                  <a:pt x="895" y="224"/>
                  <a:pt x="895" y="224"/>
                  <a:pt x="895" y="224"/>
                </a:cubicBezTo>
                <a:cubicBezTo>
                  <a:pt x="896" y="224"/>
                  <a:pt x="896" y="224"/>
                  <a:pt x="896" y="224"/>
                </a:cubicBezTo>
                <a:close/>
                <a:moveTo>
                  <a:pt x="604" y="362"/>
                </a:moveTo>
                <a:cubicBezTo>
                  <a:pt x="604" y="362"/>
                  <a:pt x="604" y="362"/>
                  <a:pt x="605" y="361"/>
                </a:cubicBezTo>
                <a:cubicBezTo>
                  <a:pt x="605" y="361"/>
                  <a:pt x="605" y="361"/>
                  <a:pt x="605" y="360"/>
                </a:cubicBezTo>
                <a:cubicBezTo>
                  <a:pt x="605" y="360"/>
                  <a:pt x="605" y="360"/>
                  <a:pt x="604" y="361"/>
                </a:cubicBezTo>
                <a:cubicBezTo>
                  <a:pt x="604" y="361"/>
                  <a:pt x="604" y="361"/>
                  <a:pt x="604" y="362"/>
                </a:cubicBezTo>
                <a:close/>
                <a:moveTo>
                  <a:pt x="615" y="388"/>
                </a:moveTo>
                <a:cubicBezTo>
                  <a:pt x="615" y="388"/>
                  <a:pt x="615" y="388"/>
                  <a:pt x="614" y="389"/>
                </a:cubicBezTo>
                <a:cubicBezTo>
                  <a:pt x="614" y="389"/>
                  <a:pt x="614" y="389"/>
                  <a:pt x="613" y="389"/>
                </a:cubicBezTo>
                <a:cubicBezTo>
                  <a:pt x="613" y="389"/>
                  <a:pt x="613" y="389"/>
                  <a:pt x="612" y="391"/>
                </a:cubicBezTo>
                <a:cubicBezTo>
                  <a:pt x="612" y="391"/>
                  <a:pt x="612" y="391"/>
                  <a:pt x="614" y="390"/>
                </a:cubicBezTo>
                <a:cubicBezTo>
                  <a:pt x="614" y="390"/>
                  <a:pt x="614" y="390"/>
                  <a:pt x="615" y="389"/>
                </a:cubicBezTo>
                <a:cubicBezTo>
                  <a:pt x="615" y="389"/>
                  <a:pt x="615" y="389"/>
                  <a:pt x="617" y="388"/>
                </a:cubicBezTo>
                <a:cubicBezTo>
                  <a:pt x="617" y="388"/>
                  <a:pt x="617" y="388"/>
                  <a:pt x="617" y="387"/>
                </a:cubicBezTo>
                <a:cubicBezTo>
                  <a:pt x="617" y="387"/>
                  <a:pt x="617" y="387"/>
                  <a:pt x="615" y="388"/>
                </a:cubicBezTo>
                <a:close/>
                <a:moveTo>
                  <a:pt x="672" y="173"/>
                </a:moveTo>
                <a:cubicBezTo>
                  <a:pt x="672" y="173"/>
                  <a:pt x="672" y="173"/>
                  <a:pt x="672" y="172"/>
                </a:cubicBezTo>
                <a:cubicBezTo>
                  <a:pt x="672" y="172"/>
                  <a:pt x="672" y="172"/>
                  <a:pt x="672" y="171"/>
                </a:cubicBezTo>
                <a:cubicBezTo>
                  <a:pt x="672" y="171"/>
                  <a:pt x="672" y="171"/>
                  <a:pt x="672" y="168"/>
                </a:cubicBezTo>
                <a:cubicBezTo>
                  <a:pt x="672" y="168"/>
                  <a:pt x="672" y="168"/>
                  <a:pt x="672" y="166"/>
                </a:cubicBezTo>
                <a:cubicBezTo>
                  <a:pt x="672" y="166"/>
                  <a:pt x="672" y="166"/>
                  <a:pt x="671" y="167"/>
                </a:cubicBezTo>
                <a:cubicBezTo>
                  <a:pt x="671" y="167"/>
                  <a:pt x="671" y="167"/>
                  <a:pt x="670" y="167"/>
                </a:cubicBezTo>
                <a:cubicBezTo>
                  <a:pt x="670" y="167"/>
                  <a:pt x="670" y="167"/>
                  <a:pt x="670" y="168"/>
                </a:cubicBezTo>
                <a:cubicBezTo>
                  <a:pt x="670" y="168"/>
                  <a:pt x="670" y="168"/>
                  <a:pt x="670" y="170"/>
                </a:cubicBezTo>
                <a:cubicBezTo>
                  <a:pt x="670" y="170"/>
                  <a:pt x="670" y="170"/>
                  <a:pt x="670" y="171"/>
                </a:cubicBezTo>
                <a:cubicBezTo>
                  <a:pt x="670" y="171"/>
                  <a:pt x="670" y="171"/>
                  <a:pt x="670" y="172"/>
                </a:cubicBezTo>
                <a:cubicBezTo>
                  <a:pt x="670" y="172"/>
                  <a:pt x="670" y="172"/>
                  <a:pt x="669" y="173"/>
                </a:cubicBezTo>
                <a:cubicBezTo>
                  <a:pt x="669" y="173"/>
                  <a:pt x="669" y="173"/>
                  <a:pt x="671" y="174"/>
                </a:cubicBezTo>
                <a:cubicBezTo>
                  <a:pt x="671" y="174"/>
                  <a:pt x="671" y="174"/>
                  <a:pt x="672" y="173"/>
                </a:cubicBezTo>
                <a:close/>
                <a:moveTo>
                  <a:pt x="874" y="121"/>
                </a:moveTo>
                <a:cubicBezTo>
                  <a:pt x="874" y="121"/>
                  <a:pt x="874" y="121"/>
                  <a:pt x="875" y="121"/>
                </a:cubicBezTo>
                <a:cubicBezTo>
                  <a:pt x="875" y="121"/>
                  <a:pt x="875" y="121"/>
                  <a:pt x="875" y="120"/>
                </a:cubicBezTo>
                <a:cubicBezTo>
                  <a:pt x="875" y="120"/>
                  <a:pt x="875" y="120"/>
                  <a:pt x="876" y="120"/>
                </a:cubicBezTo>
                <a:cubicBezTo>
                  <a:pt x="876" y="120"/>
                  <a:pt x="876" y="120"/>
                  <a:pt x="877" y="119"/>
                </a:cubicBezTo>
                <a:cubicBezTo>
                  <a:pt x="877" y="119"/>
                  <a:pt x="877" y="119"/>
                  <a:pt x="878" y="118"/>
                </a:cubicBezTo>
                <a:cubicBezTo>
                  <a:pt x="878" y="118"/>
                  <a:pt x="878" y="118"/>
                  <a:pt x="878" y="117"/>
                </a:cubicBezTo>
                <a:cubicBezTo>
                  <a:pt x="878" y="117"/>
                  <a:pt x="878" y="117"/>
                  <a:pt x="878" y="116"/>
                </a:cubicBezTo>
                <a:cubicBezTo>
                  <a:pt x="878" y="116"/>
                  <a:pt x="878" y="116"/>
                  <a:pt x="878" y="115"/>
                </a:cubicBezTo>
                <a:cubicBezTo>
                  <a:pt x="878" y="115"/>
                  <a:pt x="878" y="115"/>
                  <a:pt x="876" y="115"/>
                </a:cubicBezTo>
                <a:cubicBezTo>
                  <a:pt x="876" y="115"/>
                  <a:pt x="876" y="115"/>
                  <a:pt x="874" y="116"/>
                </a:cubicBezTo>
                <a:cubicBezTo>
                  <a:pt x="874" y="116"/>
                  <a:pt x="874" y="116"/>
                  <a:pt x="874" y="117"/>
                </a:cubicBezTo>
                <a:cubicBezTo>
                  <a:pt x="874" y="117"/>
                  <a:pt x="874" y="117"/>
                  <a:pt x="874" y="118"/>
                </a:cubicBezTo>
                <a:cubicBezTo>
                  <a:pt x="874" y="118"/>
                  <a:pt x="874" y="118"/>
                  <a:pt x="872" y="118"/>
                </a:cubicBezTo>
                <a:cubicBezTo>
                  <a:pt x="872" y="118"/>
                  <a:pt x="872" y="118"/>
                  <a:pt x="872" y="119"/>
                </a:cubicBezTo>
                <a:cubicBezTo>
                  <a:pt x="872" y="119"/>
                  <a:pt x="872" y="119"/>
                  <a:pt x="873" y="120"/>
                </a:cubicBezTo>
                <a:cubicBezTo>
                  <a:pt x="873" y="120"/>
                  <a:pt x="873" y="120"/>
                  <a:pt x="874" y="121"/>
                </a:cubicBezTo>
                <a:close/>
                <a:moveTo>
                  <a:pt x="892" y="421"/>
                </a:moveTo>
                <a:cubicBezTo>
                  <a:pt x="892" y="421"/>
                  <a:pt x="892" y="421"/>
                  <a:pt x="894" y="420"/>
                </a:cubicBezTo>
                <a:cubicBezTo>
                  <a:pt x="894" y="420"/>
                  <a:pt x="894" y="420"/>
                  <a:pt x="893" y="419"/>
                </a:cubicBezTo>
                <a:cubicBezTo>
                  <a:pt x="893" y="419"/>
                  <a:pt x="893" y="419"/>
                  <a:pt x="893" y="420"/>
                </a:cubicBezTo>
                <a:cubicBezTo>
                  <a:pt x="893" y="420"/>
                  <a:pt x="893" y="420"/>
                  <a:pt x="892" y="420"/>
                </a:cubicBezTo>
                <a:cubicBezTo>
                  <a:pt x="892" y="420"/>
                  <a:pt x="892" y="420"/>
                  <a:pt x="892" y="421"/>
                </a:cubicBezTo>
                <a:close/>
                <a:moveTo>
                  <a:pt x="1034" y="456"/>
                </a:moveTo>
                <a:cubicBezTo>
                  <a:pt x="1034" y="456"/>
                  <a:pt x="1034" y="456"/>
                  <a:pt x="1034" y="457"/>
                </a:cubicBezTo>
                <a:cubicBezTo>
                  <a:pt x="1034" y="457"/>
                  <a:pt x="1034" y="457"/>
                  <a:pt x="1034" y="458"/>
                </a:cubicBezTo>
                <a:cubicBezTo>
                  <a:pt x="1034" y="458"/>
                  <a:pt x="1034" y="458"/>
                  <a:pt x="1035" y="457"/>
                </a:cubicBezTo>
                <a:cubicBezTo>
                  <a:pt x="1035" y="457"/>
                  <a:pt x="1035" y="457"/>
                  <a:pt x="1035" y="458"/>
                </a:cubicBezTo>
                <a:cubicBezTo>
                  <a:pt x="1035" y="458"/>
                  <a:pt x="1035" y="458"/>
                  <a:pt x="1034" y="459"/>
                </a:cubicBezTo>
                <a:cubicBezTo>
                  <a:pt x="1034" y="459"/>
                  <a:pt x="1034" y="459"/>
                  <a:pt x="1034" y="460"/>
                </a:cubicBezTo>
                <a:cubicBezTo>
                  <a:pt x="1034" y="460"/>
                  <a:pt x="1034" y="460"/>
                  <a:pt x="1035" y="460"/>
                </a:cubicBezTo>
                <a:cubicBezTo>
                  <a:pt x="1035" y="460"/>
                  <a:pt x="1035" y="460"/>
                  <a:pt x="1036" y="459"/>
                </a:cubicBezTo>
                <a:cubicBezTo>
                  <a:pt x="1036" y="459"/>
                  <a:pt x="1036" y="459"/>
                  <a:pt x="1037" y="459"/>
                </a:cubicBezTo>
                <a:cubicBezTo>
                  <a:pt x="1037" y="459"/>
                  <a:pt x="1037" y="459"/>
                  <a:pt x="1037" y="458"/>
                </a:cubicBezTo>
                <a:cubicBezTo>
                  <a:pt x="1037" y="458"/>
                  <a:pt x="1037" y="458"/>
                  <a:pt x="1038" y="458"/>
                </a:cubicBezTo>
                <a:cubicBezTo>
                  <a:pt x="1038" y="458"/>
                  <a:pt x="1038" y="458"/>
                  <a:pt x="1039" y="457"/>
                </a:cubicBezTo>
                <a:cubicBezTo>
                  <a:pt x="1039" y="457"/>
                  <a:pt x="1039" y="457"/>
                  <a:pt x="1039" y="458"/>
                </a:cubicBezTo>
                <a:cubicBezTo>
                  <a:pt x="1039" y="458"/>
                  <a:pt x="1039" y="458"/>
                  <a:pt x="1039" y="459"/>
                </a:cubicBezTo>
                <a:cubicBezTo>
                  <a:pt x="1039" y="459"/>
                  <a:pt x="1039" y="459"/>
                  <a:pt x="1038" y="460"/>
                </a:cubicBezTo>
                <a:cubicBezTo>
                  <a:pt x="1038" y="460"/>
                  <a:pt x="1038" y="460"/>
                  <a:pt x="1037" y="460"/>
                </a:cubicBezTo>
                <a:cubicBezTo>
                  <a:pt x="1037" y="460"/>
                  <a:pt x="1037" y="460"/>
                  <a:pt x="1036" y="461"/>
                </a:cubicBezTo>
                <a:cubicBezTo>
                  <a:pt x="1036" y="461"/>
                  <a:pt x="1036" y="461"/>
                  <a:pt x="1035" y="462"/>
                </a:cubicBezTo>
                <a:cubicBezTo>
                  <a:pt x="1035" y="462"/>
                  <a:pt x="1035" y="462"/>
                  <a:pt x="1034" y="462"/>
                </a:cubicBezTo>
                <a:cubicBezTo>
                  <a:pt x="1034" y="462"/>
                  <a:pt x="1034" y="462"/>
                  <a:pt x="1036" y="463"/>
                </a:cubicBezTo>
                <a:cubicBezTo>
                  <a:pt x="1036" y="463"/>
                  <a:pt x="1036" y="463"/>
                  <a:pt x="1035" y="463"/>
                </a:cubicBezTo>
                <a:cubicBezTo>
                  <a:pt x="1035" y="463"/>
                  <a:pt x="1035" y="463"/>
                  <a:pt x="1034" y="463"/>
                </a:cubicBezTo>
                <a:cubicBezTo>
                  <a:pt x="1034" y="463"/>
                  <a:pt x="1034" y="463"/>
                  <a:pt x="1033" y="463"/>
                </a:cubicBezTo>
                <a:cubicBezTo>
                  <a:pt x="1033" y="463"/>
                  <a:pt x="1033" y="463"/>
                  <a:pt x="1034" y="464"/>
                </a:cubicBezTo>
                <a:cubicBezTo>
                  <a:pt x="1034" y="464"/>
                  <a:pt x="1034" y="464"/>
                  <a:pt x="1035" y="464"/>
                </a:cubicBezTo>
                <a:cubicBezTo>
                  <a:pt x="1035" y="464"/>
                  <a:pt x="1035" y="464"/>
                  <a:pt x="1034" y="465"/>
                </a:cubicBezTo>
                <a:cubicBezTo>
                  <a:pt x="1034" y="465"/>
                  <a:pt x="1034" y="465"/>
                  <a:pt x="1033" y="464"/>
                </a:cubicBezTo>
                <a:cubicBezTo>
                  <a:pt x="1033" y="464"/>
                  <a:pt x="1033" y="464"/>
                  <a:pt x="1033" y="465"/>
                </a:cubicBezTo>
                <a:cubicBezTo>
                  <a:pt x="1033" y="465"/>
                  <a:pt x="1033" y="465"/>
                  <a:pt x="1032" y="465"/>
                </a:cubicBezTo>
                <a:cubicBezTo>
                  <a:pt x="1032" y="465"/>
                  <a:pt x="1032" y="465"/>
                  <a:pt x="1032" y="464"/>
                </a:cubicBezTo>
                <a:cubicBezTo>
                  <a:pt x="1032" y="464"/>
                  <a:pt x="1032" y="464"/>
                  <a:pt x="1031" y="464"/>
                </a:cubicBezTo>
                <a:cubicBezTo>
                  <a:pt x="1031" y="464"/>
                  <a:pt x="1031" y="464"/>
                  <a:pt x="1031" y="466"/>
                </a:cubicBezTo>
                <a:cubicBezTo>
                  <a:pt x="1031" y="466"/>
                  <a:pt x="1031" y="466"/>
                  <a:pt x="1030" y="467"/>
                </a:cubicBezTo>
                <a:cubicBezTo>
                  <a:pt x="1030" y="467"/>
                  <a:pt x="1030" y="467"/>
                  <a:pt x="1030" y="468"/>
                </a:cubicBezTo>
                <a:cubicBezTo>
                  <a:pt x="1030" y="468"/>
                  <a:pt x="1030" y="468"/>
                  <a:pt x="1029" y="469"/>
                </a:cubicBezTo>
                <a:cubicBezTo>
                  <a:pt x="1029" y="469"/>
                  <a:pt x="1029" y="469"/>
                  <a:pt x="1028" y="469"/>
                </a:cubicBezTo>
                <a:cubicBezTo>
                  <a:pt x="1028" y="469"/>
                  <a:pt x="1028" y="469"/>
                  <a:pt x="1029" y="468"/>
                </a:cubicBezTo>
                <a:cubicBezTo>
                  <a:pt x="1029" y="468"/>
                  <a:pt x="1029" y="468"/>
                  <a:pt x="1028" y="468"/>
                </a:cubicBezTo>
                <a:cubicBezTo>
                  <a:pt x="1028" y="468"/>
                  <a:pt x="1028" y="468"/>
                  <a:pt x="1027" y="468"/>
                </a:cubicBezTo>
                <a:cubicBezTo>
                  <a:pt x="1027" y="468"/>
                  <a:pt x="1027" y="468"/>
                  <a:pt x="1026" y="469"/>
                </a:cubicBezTo>
                <a:cubicBezTo>
                  <a:pt x="1026" y="469"/>
                  <a:pt x="1026" y="469"/>
                  <a:pt x="1026" y="470"/>
                </a:cubicBezTo>
                <a:cubicBezTo>
                  <a:pt x="1026" y="470"/>
                  <a:pt x="1026" y="470"/>
                  <a:pt x="1025" y="471"/>
                </a:cubicBezTo>
                <a:cubicBezTo>
                  <a:pt x="1025" y="471"/>
                  <a:pt x="1025" y="471"/>
                  <a:pt x="1025" y="472"/>
                </a:cubicBezTo>
                <a:cubicBezTo>
                  <a:pt x="1025" y="472"/>
                  <a:pt x="1025" y="472"/>
                  <a:pt x="1024" y="472"/>
                </a:cubicBezTo>
                <a:cubicBezTo>
                  <a:pt x="1024" y="472"/>
                  <a:pt x="1024" y="472"/>
                  <a:pt x="1023" y="473"/>
                </a:cubicBezTo>
                <a:cubicBezTo>
                  <a:pt x="1023" y="473"/>
                  <a:pt x="1023" y="473"/>
                  <a:pt x="1023" y="472"/>
                </a:cubicBezTo>
                <a:cubicBezTo>
                  <a:pt x="1023" y="472"/>
                  <a:pt x="1023" y="472"/>
                  <a:pt x="1022" y="472"/>
                </a:cubicBezTo>
                <a:cubicBezTo>
                  <a:pt x="1022" y="472"/>
                  <a:pt x="1022" y="472"/>
                  <a:pt x="1022" y="473"/>
                </a:cubicBezTo>
                <a:cubicBezTo>
                  <a:pt x="1022" y="473"/>
                  <a:pt x="1022" y="473"/>
                  <a:pt x="1021" y="473"/>
                </a:cubicBezTo>
                <a:cubicBezTo>
                  <a:pt x="1021" y="473"/>
                  <a:pt x="1021" y="473"/>
                  <a:pt x="1021" y="472"/>
                </a:cubicBezTo>
                <a:cubicBezTo>
                  <a:pt x="1021" y="472"/>
                  <a:pt x="1021" y="472"/>
                  <a:pt x="1020" y="472"/>
                </a:cubicBezTo>
                <a:cubicBezTo>
                  <a:pt x="1020" y="472"/>
                  <a:pt x="1020" y="472"/>
                  <a:pt x="1020" y="471"/>
                </a:cubicBezTo>
                <a:cubicBezTo>
                  <a:pt x="1020" y="471"/>
                  <a:pt x="1020" y="471"/>
                  <a:pt x="1021" y="471"/>
                </a:cubicBezTo>
                <a:cubicBezTo>
                  <a:pt x="1021" y="471"/>
                  <a:pt x="1021" y="471"/>
                  <a:pt x="1022" y="470"/>
                </a:cubicBezTo>
                <a:cubicBezTo>
                  <a:pt x="1022" y="470"/>
                  <a:pt x="1022" y="470"/>
                  <a:pt x="1023" y="470"/>
                </a:cubicBezTo>
                <a:cubicBezTo>
                  <a:pt x="1023" y="470"/>
                  <a:pt x="1023" y="470"/>
                  <a:pt x="1024" y="469"/>
                </a:cubicBezTo>
                <a:cubicBezTo>
                  <a:pt x="1024" y="469"/>
                  <a:pt x="1024" y="469"/>
                  <a:pt x="1025" y="469"/>
                </a:cubicBezTo>
                <a:cubicBezTo>
                  <a:pt x="1025" y="469"/>
                  <a:pt x="1025" y="469"/>
                  <a:pt x="1025" y="468"/>
                </a:cubicBezTo>
                <a:cubicBezTo>
                  <a:pt x="1025" y="468"/>
                  <a:pt x="1025" y="468"/>
                  <a:pt x="1026" y="468"/>
                </a:cubicBezTo>
                <a:cubicBezTo>
                  <a:pt x="1026" y="468"/>
                  <a:pt x="1026" y="468"/>
                  <a:pt x="1027" y="467"/>
                </a:cubicBezTo>
                <a:cubicBezTo>
                  <a:pt x="1027" y="467"/>
                  <a:pt x="1027" y="467"/>
                  <a:pt x="1028" y="467"/>
                </a:cubicBezTo>
                <a:cubicBezTo>
                  <a:pt x="1028" y="467"/>
                  <a:pt x="1028" y="467"/>
                  <a:pt x="1028" y="466"/>
                </a:cubicBezTo>
                <a:cubicBezTo>
                  <a:pt x="1028" y="466"/>
                  <a:pt x="1028" y="466"/>
                  <a:pt x="1027" y="466"/>
                </a:cubicBezTo>
                <a:cubicBezTo>
                  <a:pt x="1027" y="466"/>
                  <a:pt x="1027" y="466"/>
                  <a:pt x="1026" y="467"/>
                </a:cubicBezTo>
                <a:cubicBezTo>
                  <a:pt x="1026" y="467"/>
                  <a:pt x="1026" y="467"/>
                  <a:pt x="1026" y="466"/>
                </a:cubicBezTo>
                <a:cubicBezTo>
                  <a:pt x="1026" y="466"/>
                  <a:pt x="1026" y="466"/>
                  <a:pt x="1025" y="466"/>
                </a:cubicBezTo>
                <a:cubicBezTo>
                  <a:pt x="1025" y="466"/>
                  <a:pt x="1025" y="466"/>
                  <a:pt x="1024" y="466"/>
                </a:cubicBezTo>
                <a:cubicBezTo>
                  <a:pt x="1024" y="466"/>
                  <a:pt x="1024" y="466"/>
                  <a:pt x="1024" y="467"/>
                </a:cubicBezTo>
                <a:cubicBezTo>
                  <a:pt x="1024" y="467"/>
                  <a:pt x="1024" y="467"/>
                  <a:pt x="1023" y="467"/>
                </a:cubicBezTo>
                <a:cubicBezTo>
                  <a:pt x="1023" y="467"/>
                  <a:pt x="1023" y="467"/>
                  <a:pt x="1022" y="467"/>
                </a:cubicBezTo>
                <a:cubicBezTo>
                  <a:pt x="1022" y="467"/>
                  <a:pt x="1022" y="467"/>
                  <a:pt x="1021" y="467"/>
                </a:cubicBezTo>
                <a:cubicBezTo>
                  <a:pt x="1021" y="467"/>
                  <a:pt x="1021" y="467"/>
                  <a:pt x="1020" y="467"/>
                </a:cubicBezTo>
                <a:cubicBezTo>
                  <a:pt x="1020" y="467"/>
                  <a:pt x="1020" y="467"/>
                  <a:pt x="1021" y="466"/>
                </a:cubicBezTo>
                <a:cubicBezTo>
                  <a:pt x="1021" y="466"/>
                  <a:pt x="1021" y="466"/>
                  <a:pt x="1023" y="466"/>
                </a:cubicBezTo>
                <a:cubicBezTo>
                  <a:pt x="1023" y="466"/>
                  <a:pt x="1023" y="466"/>
                  <a:pt x="1023" y="465"/>
                </a:cubicBezTo>
                <a:cubicBezTo>
                  <a:pt x="1023" y="465"/>
                  <a:pt x="1023" y="465"/>
                  <a:pt x="1022" y="465"/>
                </a:cubicBezTo>
                <a:cubicBezTo>
                  <a:pt x="1022" y="465"/>
                  <a:pt x="1022" y="465"/>
                  <a:pt x="1022" y="464"/>
                </a:cubicBezTo>
                <a:cubicBezTo>
                  <a:pt x="1022" y="464"/>
                  <a:pt x="1022" y="464"/>
                  <a:pt x="1021" y="464"/>
                </a:cubicBezTo>
                <a:cubicBezTo>
                  <a:pt x="1021" y="464"/>
                  <a:pt x="1021" y="464"/>
                  <a:pt x="1021" y="463"/>
                </a:cubicBezTo>
                <a:cubicBezTo>
                  <a:pt x="1021" y="463"/>
                  <a:pt x="1021" y="463"/>
                  <a:pt x="1020" y="464"/>
                </a:cubicBezTo>
                <a:cubicBezTo>
                  <a:pt x="1020" y="464"/>
                  <a:pt x="1020" y="464"/>
                  <a:pt x="1020" y="465"/>
                </a:cubicBezTo>
                <a:cubicBezTo>
                  <a:pt x="1020" y="465"/>
                  <a:pt x="1020" y="465"/>
                  <a:pt x="1020" y="466"/>
                </a:cubicBezTo>
                <a:cubicBezTo>
                  <a:pt x="1020" y="466"/>
                  <a:pt x="1020" y="466"/>
                  <a:pt x="1019" y="466"/>
                </a:cubicBezTo>
                <a:cubicBezTo>
                  <a:pt x="1019" y="466"/>
                  <a:pt x="1019" y="466"/>
                  <a:pt x="1018" y="466"/>
                </a:cubicBezTo>
                <a:cubicBezTo>
                  <a:pt x="1018" y="466"/>
                  <a:pt x="1018" y="466"/>
                  <a:pt x="1017" y="466"/>
                </a:cubicBezTo>
                <a:cubicBezTo>
                  <a:pt x="1017" y="466"/>
                  <a:pt x="1017" y="466"/>
                  <a:pt x="1016" y="466"/>
                </a:cubicBezTo>
                <a:cubicBezTo>
                  <a:pt x="1016" y="466"/>
                  <a:pt x="1016" y="466"/>
                  <a:pt x="1015" y="466"/>
                </a:cubicBezTo>
                <a:cubicBezTo>
                  <a:pt x="1015" y="466"/>
                  <a:pt x="1015" y="466"/>
                  <a:pt x="1013" y="466"/>
                </a:cubicBezTo>
                <a:cubicBezTo>
                  <a:pt x="1013" y="466"/>
                  <a:pt x="1013" y="466"/>
                  <a:pt x="1013" y="465"/>
                </a:cubicBezTo>
                <a:cubicBezTo>
                  <a:pt x="1013" y="465"/>
                  <a:pt x="1013" y="465"/>
                  <a:pt x="1012" y="465"/>
                </a:cubicBezTo>
                <a:cubicBezTo>
                  <a:pt x="1012" y="465"/>
                  <a:pt x="1012" y="465"/>
                  <a:pt x="1010" y="465"/>
                </a:cubicBezTo>
                <a:cubicBezTo>
                  <a:pt x="1010" y="465"/>
                  <a:pt x="1010" y="465"/>
                  <a:pt x="1009" y="465"/>
                </a:cubicBezTo>
                <a:cubicBezTo>
                  <a:pt x="1009" y="465"/>
                  <a:pt x="1009" y="465"/>
                  <a:pt x="1007" y="465"/>
                </a:cubicBezTo>
                <a:cubicBezTo>
                  <a:pt x="1007" y="465"/>
                  <a:pt x="1007" y="465"/>
                  <a:pt x="1006" y="465"/>
                </a:cubicBezTo>
                <a:cubicBezTo>
                  <a:pt x="1006" y="465"/>
                  <a:pt x="1006" y="465"/>
                  <a:pt x="1005" y="466"/>
                </a:cubicBezTo>
                <a:cubicBezTo>
                  <a:pt x="1005" y="466"/>
                  <a:pt x="1005" y="466"/>
                  <a:pt x="1004" y="466"/>
                </a:cubicBezTo>
                <a:cubicBezTo>
                  <a:pt x="1004" y="466"/>
                  <a:pt x="1004" y="466"/>
                  <a:pt x="1002" y="465"/>
                </a:cubicBezTo>
                <a:cubicBezTo>
                  <a:pt x="1002" y="465"/>
                  <a:pt x="1002" y="465"/>
                  <a:pt x="1002" y="464"/>
                </a:cubicBezTo>
                <a:cubicBezTo>
                  <a:pt x="1002" y="464"/>
                  <a:pt x="1002" y="464"/>
                  <a:pt x="1002" y="463"/>
                </a:cubicBezTo>
                <a:cubicBezTo>
                  <a:pt x="1002" y="463"/>
                  <a:pt x="1002" y="463"/>
                  <a:pt x="1004" y="462"/>
                </a:cubicBezTo>
                <a:cubicBezTo>
                  <a:pt x="1004" y="462"/>
                  <a:pt x="1004" y="462"/>
                  <a:pt x="1005" y="461"/>
                </a:cubicBezTo>
                <a:cubicBezTo>
                  <a:pt x="1005" y="461"/>
                  <a:pt x="1005" y="461"/>
                  <a:pt x="1006" y="460"/>
                </a:cubicBezTo>
                <a:cubicBezTo>
                  <a:pt x="1006" y="460"/>
                  <a:pt x="1006" y="460"/>
                  <a:pt x="1007" y="458"/>
                </a:cubicBezTo>
                <a:cubicBezTo>
                  <a:pt x="1007" y="458"/>
                  <a:pt x="1007" y="458"/>
                  <a:pt x="1008" y="457"/>
                </a:cubicBezTo>
                <a:cubicBezTo>
                  <a:pt x="1008" y="457"/>
                  <a:pt x="1008" y="457"/>
                  <a:pt x="1007" y="457"/>
                </a:cubicBezTo>
                <a:cubicBezTo>
                  <a:pt x="1007" y="457"/>
                  <a:pt x="1007" y="457"/>
                  <a:pt x="1007" y="456"/>
                </a:cubicBezTo>
                <a:cubicBezTo>
                  <a:pt x="1007" y="456"/>
                  <a:pt x="1007" y="456"/>
                  <a:pt x="1008" y="455"/>
                </a:cubicBezTo>
                <a:cubicBezTo>
                  <a:pt x="1008" y="455"/>
                  <a:pt x="1008" y="455"/>
                  <a:pt x="1009" y="454"/>
                </a:cubicBezTo>
                <a:cubicBezTo>
                  <a:pt x="1009" y="454"/>
                  <a:pt x="1009" y="454"/>
                  <a:pt x="1009" y="453"/>
                </a:cubicBezTo>
                <a:cubicBezTo>
                  <a:pt x="1009" y="453"/>
                  <a:pt x="1009" y="453"/>
                  <a:pt x="1010" y="454"/>
                </a:cubicBezTo>
                <a:cubicBezTo>
                  <a:pt x="1010" y="454"/>
                  <a:pt x="1010" y="454"/>
                  <a:pt x="1011" y="453"/>
                </a:cubicBezTo>
                <a:cubicBezTo>
                  <a:pt x="1011" y="453"/>
                  <a:pt x="1011" y="453"/>
                  <a:pt x="1011" y="452"/>
                </a:cubicBezTo>
                <a:cubicBezTo>
                  <a:pt x="1011" y="452"/>
                  <a:pt x="1011" y="452"/>
                  <a:pt x="1011" y="451"/>
                </a:cubicBezTo>
                <a:cubicBezTo>
                  <a:pt x="1011" y="451"/>
                  <a:pt x="1011" y="451"/>
                  <a:pt x="1011" y="450"/>
                </a:cubicBezTo>
                <a:cubicBezTo>
                  <a:pt x="1011" y="450"/>
                  <a:pt x="1011" y="450"/>
                  <a:pt x="1012" y="450"/>
                </a:cubicBezTo>
                <a:cubicBezTo>
                  <a:pt x="1012" y="450"/>
                  <a:pt x="1012" y="450"/>
                  <a:pt x="1013" y="450"/>
                </a:cubicBezTo>
                <a:cubicBezTo>
                  <a:pt x="1013" y="450"/>
                  <a:pt x="1013" y="450"/>
                  <a:pt x="1013" y="449"/>
                </a:cubicBezTo>
                <a:cubicBezTo>
                  <a:pt x="1013" y="449"/>
                  <a:pt x="1013" y="449"/>
                  <a:pt x="1013" y="448"/>
                </a:cubicBezTo>
                <a:cubicBezTo>
                  <a:pt x="1013" y="448"/>
                  <a:pt x="1013" y="448"/>
                  <a:pt x="1014" y="446"/>
                </a:cubicBezTo>
                <a:cubicBezTo>
                  <a:pt x="1014" y="446"/>
                  <a:pt x="1014" y="446"/>
                  <a:pt x="1015" y="444"/>
                </a:cubicBezTo>
                <a:cubicBezTo>
                  <a:pt x="1015" y="444"/>
                  <a:pt x="1015" y="444"/>
                  <a:pt x="1016" y="443"/>
                </a:cubicBezTo>
                <a:cubicBezTo>
                  <a:pt x="1016" y="443"/>
                  <a:pt x="1016" y="443"/>
                  <a:pt x="1016" y="442"/>
                </a:cubicBezTo>
                <a:cubicBezTo>
                  <a:pt x="1016" y="442"/>
                  <a:pt x="1016" y="442"/>
                  <a:pt x="1017" y="442"/>
                </a:cubicBezTo>
                <a:cubicBezTo>
                  <a:pt x="1017" y="442"/>
                  <a:pt x="1017" y="442"/>
                  <a:pt x="1017" y="441"/>
                </a:cubicBezTo>
                <a:cubicBezTo>
                  <a:pt x="1017" y="441"/>
                  <a:pt x="1017" y="441"/>
                  <a:pt x="1018" y="440"/>
                </a:cubicBezTo>
                <a:cubicBezTo>
                  <a:pt x="1018" y="440"/>
                  <a:pt x="1018" y="440"/>
                  <a:pt x="1019" y="439"/>
                </a:cubicBezTo>
                <a:cubicBezTo>
                  <a:pt x="1019" y="439"/>
                  <a:pt x="1019" y="439"/>
                  <a:pt x="1020" y="438"/>
                </a:cubicBezTo>
                <a:cubicBezTo>
                  <a:pt x="1020" y="438"/>
                  <a:pt x="1020" y="438"/>
                  <a:pt x="1020" y="437"/>
                </a:cubicBezTo>
                <a:cubicBezTo>
                  <a:pt x="1020" y="437"/>
                  <a:pt x="1020" y="437"/>
                  <a:pt x="1021" y="437"/>
                </a:cubicBezTo>
                <a:cubicBezTo>
                  <a:pt x="1021" y="437"/>
                  <a:pt x="1021" y="437"/>
                  <a:pt x="1021" y="436"/>
                </a:cubicBezTo>
                <a:cubicBezTo>
                  <a:pt x="1021" y="436"/>
                  <a:pt x="1021" y="436"/>
                  <a:pt x="1022" y="435"/>
                </a:cubicBezTo>
                <a:cubicBezTo>
                  <a:pt x="1022" y="435"/>
                  <a:pt x="1022" y="435"/>
                  <a:pt x="1023" y="435"/>
                </a:cubicBezTo>
                <a:cubicBezTo>
                  <a:pt x="1023" y="435"/>
                  <a:pt x="1023" y="435"/>
                  <a:pt x="1024" y="435"/>
                </a:cubicBezTo>
                <a:cubicBezTo>
                  <a:pt x="1024" y="435"/>
                  <a:pt x="1024" y="435"/>
                  <a:pt x="1025" y="434"/>
                </a:cubicBezTo>
                <a:cubicBezTo>
                  <a:pt x="1025" y="434"/>
                  <a:pt x="1025" y="434"/>
                  <a:pt x="1026" y="434"/>
                </a:cubicBezTo>
                <a:cubicBezTo>
                  <a:pt x="1026" y="434"/>
                  <a:pt x="1026" y="434"/>
                  <a:pt x="1027" y="433"/>
                </a:cubicBezTo>
                <a:cubicBezTo>
                  <a:pt x="1027" y="433"/>
                  <a:pt x="1027" y="433"/>
                  <a:pt x="1027" y="434"/>
                </a:cubicBezTo>
                <a:cubicBezTo>
                  <a:pt x="1027" y="434"/>
                  <a:pt x="1027" y="434"/>
                  <a:pt x="1028" y="434"/>
                </a:cubicBezTo>
                <a:cubicBezTo>
                  <a:pt x="1028" y="434"/>
                  <a:pt x="1028" y="434"/>
                  <a:pt x="1028" y="433"/>
                </a:cubicBezTo>
                <a:cubicBezTo>
                  <a:pt x="1028" y="433"/>
                  <a:pt x="1028" y="433"/>
                  <a:pt x="1029" y="433"/>
                </a:cubicBezTo>
                <a:cubicBezTo>
                  <a:pt x="1029" y="433"/>
                  <a:pt x="1029" y="433"/>
                  <a:pt x="1029" y="434"/>
                </a:cubicBezTo>
                <a:cubicBezTo>
                  <a:pt x="1029" y="434"/>
                  <a:pt x="1029" y="434"/>
                  <a:pt x="1029" y="435"/>
                </a:cubicBezTo>
                <a:cubicBezTo>
                  <a:pt x="1029" y="435"/>
                  <a:pt x="1029" y="435"/>
                  <a:pt x="1028" y="435"/>
                </a:cubicBezTo>
                <a:cubicBezTo>
                  <a:pt x="1028" y="435"/>
                  <a:pt x="1028" y="435"/>
                  <a:pt x="1027" y="435"/>
                </a:cubicBezTo>
                <a:cubicBezTo>
                  <a:pt x="1027" y="435"/>
                  <a:pt x="1027" y="435"/>
                  <a:pt x="1026" y="435"/>
                </a:cubicBezTo>
                <a:cubicBezTo>
                  <a:pt x="1026" y="435"/>
                  <a:pt x="1026" y="435"/>
                  <a:pt x="1025" y="435"/>
                </a:cubicBezTo>
                <a:cubicBezTo>
                  <a:pt x="1025" y="435"/>
                  <a:pt x="1025" y="435"/>
                  <a:pt x="1026" y="436"/>
                </a:cubicBezTo>
                <a:cubicBezTo>
                  <a:pt x="1026" y="436"/>
                  <a:pt x="1026" y="436"/>
                  <a:pt x="1026" y="437"/>
                </a:cubicBezTo>
                <a:cubicBezTo>
                  <a:pt x="1026" y="437"/>
                  <a:pt x="1026" y="437"/>
                  <a:pt x="1027" y="436"/>
                </a:cubicBezTo>
                <a:cubicBezTo>
                  <a:pt x="1027" y="436"/>
                  <a:pt x="1027" y="436"/>
                  <a:pt x="1027" y="437"/>
                </a:cubicBezTo>
                <a:cubicBezTo>
                  <a:pt x="1027" y="437"/>
                  <a:pt x="1027" y="437"/>
                  <a:pt x="1026" y="439"/>
                </a:cubicBezTo>
                <a:cubicBezTo>
                  <a:pt x="1026" y="439"/>
                  <a:pt x="1026" y="439"/>
                  <a:pt x="1025" y="440"/>
                </a:cubicBezTo>
                <a:cubicBezTo>
                  <a:pt x="1025" y="440"/>
                  <a:pt x="1025" y="440"/>
                  <a:pt x="1025" y="439"/>
                </a:cubicBezTo>
                <a:cubicBezTo>
                  <a:pt x="1025" y="439"/>
                  <a:pt x="1025" y="439"/>
                  <a:pt x="1024" y="439"/>
                </a:cubicBezTo>
                <a:cubicBezTo>
                  <a:pt x="1024" y="439"/>
                  <a:pt x="1024" y="439"/>
                  <a:pt x="1024" y="440"/>
                </a:cubicBezTo>
                <a:cubicBezTo>
                  <a:pt x="1024" y="440"/>
                  <a:pt x="1024" y="440"/>
                  <a:pt x="1024" y="441"/>
                </a:cubicBezTo>
                <a:cubicBezTo>
                  <a:pt x="1024" y="441"/>
                  <a:pt x="1024" y="441"/>
                  <a:pt x="1023" y="441"/>
                </a:cubicBezTo>
                <a:cubicBezTo>
                  <a:pt x="1023" y="441"/>
                  <a:pt x="1023" y="441"/>
                  <a:pt x="1022" y="442"/>
                </a:cubicBezTo>
                <a:cubicBezTo>
                  <a:pt x="1022" y="442"/>
                  <a:pt x="1022" y="442"/>
                  <a:pt x="1022" y="443"/>
                </a:cubicBezTo>
                <a:cubicBezTo>
                  <a:pt x="1022" y="443"/>
                  <a:pt x="1022" y="443"/>
                  <a:pt x="1021" y="444"/>
                </a:cubicBezTo>
                <a:cubicBezTo>
                  <a:pt x="1021" y="444"/>
                  <a:pt x="1021" y="444"/>
                  <a:pt x="1020" y="445"/>
                </a:cubicBezTo>
                <a:cubicBezTo>
                  <a:pt x="1020" y="445"/>
                  <a:pt x="1020" y="445"/>
                  <a:pt x="1020" y="446"/>
                </a:cubicBezTo>
                <a:cubicBezTo>
                  <a:pt x="1020" y="446"/>
                  <a:pt x="1020" y="446"/>
                  <a:pt x="1020" y="447"/>
                </a:cubicBezTo>
                <a:cubicBezTo>
                  <a:pt x="1020" y="447"/>
                  <a:pt x="1020" y="447"/>
                  <a:pt x="1019" y="448"/>
                </a:cubicBezTo>
                <a:cubicBezTo>
                  <a:pt x="1019" y="448"/>
                  <a:pt x="1019" y="448"/>
                  <a:pt x="1019" y="449"/>
                </a:cubicBezTo>
                <a:cubicBezTo>
                  <a:pt x="1019" y="449"/>
                  <a:pt x="1019" y="449"/>
                  <a:pt x="1020" y="448"/>
                </a:cubicBezTo>
                <a:cubicBezTo>
                  <a:pt x="1020" y="448"/>
                  <a:pt x="1020" y="448"/>
                  <a:pt x="1021" y="447"/>
                </a:cubicBezTo>
                <a:cubicBezTo>
                  <a:pt x="1021" y="447"/>
                  <a:pt x="1021" y="447"/>
                  <a:pt x="1022" y="446"/>
                </a:cubicBezTo>
                <a:cubicBezTo>
                  <a:pt x="1022" y="446"/>
                  <a:pt x="1022" y="446"/>
                  <a:pt x="1022" y="445"/>
                </a:cubicBezTo>
                <a:cubicBezTo>
                  <a:pt x="1022" y="445"/>
                  <a:pt x="1022" y="445"/>
                  <a:pt x="1023" y="445"/>
                </a:cubicBezTo>
                <a:cubicBezTo>
                  <a:pt x="1023" y="445"/>
                  <a:pt x="1023" y="445"/>
                  <a:pt x="1024" y="445"/>
                </a:cubicBezTo>
                <a:cubicBezTo>
                  <a:pt x="1024" y="445"/>
                  <a:pt x="1024" y="445"/>
                  <a:pt x="1023" y="446"/>
                </a:cubicBezTo>
                <a:cubicBezTo>
                  <a:pt x="1023" y="446"/>
                  <a:pt x="1023" y="446"/>
                  <a:pt x="1024" y="446"/>
                </a:cubicBezTo>
                <a:cubicBezTo>
                  <a:pt x="1024" y="446"/>
                  <a:pt x="1024" y="446"/>
                  <a:pt x="1025" y="447"/>
                </a:cubicBezTo>
                <a:cubicBezTo>
                  <a:pt x="1025" y="447"/>
                  <a:pt x="1025" y="447"/>
                  <a:pt x="1026" y="447"/>
                </a:cubicBezTo>
                <a:cubicBezTo>
                  <a:pt x="1026" y="447"/>
                  <a:pt x="1026" y="447"/>
                  <a:pt x="1027" y="446"/>
                </a:cubicBezTo>
                <a:cubicBezTo>
                  <a:pt x="1027" y="446"/>
                  <a:pt x="1027" y="446"/>
                  <a:pt x="1027" y="447"/>
                </a:cubicBezTo>
                <a:cubicBezTo>
                  <a:pt x="1027" y="447"/>
                  <a:pt x="1027" y="447"/>
                  <a:pt x="1026" y="448"/>
                </a:cubicBezTo>
                <a:cubicBezTo>
                  <a:pt x="1026" y="448"/>
                  <a:pt x="1026" y="448"/>
                  <a:pt x="1025" y="448"/>
                </a:cubicBezTo>
                <a:cubicBezTo>
                  <a:pt x="1025" y="448"/>
                  <a:pt x="1025" y="448"/>
                  <a:pt x="1024" y="448"/>
                </a:cubicBezTo>
                <a:cubicBezTo>
                  <a:pt x="1024" y="448"/>
                  <a:pt x="1024" y="448"/>
                  <a:pt x="1023" y="449"/>
                </a:cubicBezTo>
                <a:cubicBezTo>
                  <a:pt x="1023" y="449"/>
                  <a:pt x="1023" y="449"/>
                  <a:pt x="1023" y="450"/>
                </a:cubicBezTo>
                <a:cubicBezTo>
                  <a:pt x="1023" y="450"/>
                  <a:pt x="1023" y="450"/>
                  <a:pt x="1024" y="449"/>
                </a:cubicBezTo>
                <a:cubicBezTo>
                  <a:pt x="1024" y="449"/>
                  <a:pt x="1024" y="449"/>
                  <a:pt x="1024" y="450"/>
                </a:cubicBezTo>
                <a:cubicBezTo>
                  <a:pt x="1024" y="450"/>
                  <a:pt x="1024" y="450"/>
                  <a:pt x="1024" y="451"/>
                </a:cubicBezTo>
                <a:cubicBezTo>
                  <a:pt x="1024" y="451"/>
                  <a:pt x="1024" y="451"/>
                  <a:pt x="1023" y="451"/>
                </a:cubicBezTo>
                <a:cubicBezTo>
                  <a:pt x="1023" y="451"/>
                  <a:pt x="1023" y="451"/>
                  <a:pt x="1023" y="452"/>
                </a:cubicBezTo>
                <a:cubicBezTo>
                  <a:pt x="1023" y="452"/>
                  <a:pt x="1023" y="452"/>
                  <a:pt x="1024" y="451"/>
                </a:cubicBezTo>
                <a:cubicBezTo>
                  <a:pt x="1024" y="451"/>
                  <a:pt x="1024" y="451"/>
                  <a:pt x="1025" y="452"/>
                </a:cubicBezTo>
                <a:cubicBezTo>
                  <a:pt x="1025" y="452"/>
                  <a:pt x="1025" y="452"/>
                  <a:pt x="1026" y="451"/>
                </a:cubicBezTo>
                <a:cubicBezTo>
                  <a:pt x="1026" y="451"/>
                  <a:pt x="1026" y="451"/>
                  <a:pt x="1027" y="451"/>
                </a:cubicBezTo>
                <a:cubicBezTo>
                  <a:pt x="1027" y="451"/>
                  <a:pt x="1027" y="451"/>
                  <a:pt x="1027" y="452"/>
                </a:cubicBezTo>
                <a:cubicBezTo>
                  <a:pt x="1027" y="452"/>
                  <a:pt x="1027" y="452"/>
                  <a:pt x="1026" y="452"/>
                </a:cubicBezTo>
                <a:cubicBezTo>
                  <a:pt x="1026" y="452"/>
                  <a:pt x="1026" y="452"/>
                  <a:pt x="1027" y="453"/>
                </a:cubicBezTo>
                <a:cubicBezTo>
                  <a:pt x="1027" y="453"/>
                  <a:pt x="1027" y="453"/>
                  <a:pt x="1027" y="452"/>
                </a:cubicBezTo>
                <a:cubicBezTo>
                  <a:pt x="1027" y="452"/>
                  <a:pt x="1027" y="452"/>
                  <a:pt x="1028" y="451"/>
                </a:cubicBezTo>
                <a:cubicBezTo>
                  <a:pt x="1028" y="451"/>
                  <a:pt x="1028" y="451"/>
                  <a:pt x="1029" y="451"/>
                </a:cubicBezTo>
                <a:cubicBezTo>
                  <a:pt x="1029" y="451"/>
                  <a:pt x="1029" y="451"/>
                  <a:pt x="1028" y="452"/>
                </a:cubicBezTo>
                <a:cubicBezTo>
                  <a:pt x="1028" y="452"/>
                  <a:pt x="1028" y="452"/>
                  <a:pt x="1028" y="453"/>
                </a:cubicBezTo>
                <a:cubicBezTo>
                  <a:pt x="1028" y="453"/>
                  <a:pt x="1028" y="453"/>
                  <a:pt x="1029" y="452"/>
                </a:cubicBezTo>
                <a:cubicBezTo>
                  <a:pt x="1029" y="452"/>
                  <a:pt x="1029" y="452"/>
                  <a:pt x="1029" y="453"/>
                </a:cubicBezTo>
                <a:cubicBezTo>
                  <a:pt x="1029" y="453"/>
                  <a:pt x="1029" y="453"/>
                  <a:pt x="1030" y="452"/>
                </a:cubicBezTo>
                <a:cubicBezTo>
                  <a:pt x="1030" y="452"/>
                  <a:pt x="1030" y="452"/>
                  <a:pt x="1031" y="452"/>
                </a:cubicBezTo>
                <a:cubicBezTo>
                  <a:pt x="1031" y="452"/>
                  <a:pt x="1031" y="452"/>
                  <a:pt x="1032" y="451"/>
                </a:cubicBezTo>
                <a:cubicBezTo>
                  <a:pt x="1032" y="451"/>
                  <a:pt x="1032" y="451"/>
                  <a:pt x="1033" y="451"/>
                </a:cubicBezTo>
                <a:cubicBezTo>
                  <a:pt x="1033" y="451"/>
                  <a:pt x="1033" y="451"/>
                  <a:pt x="1034" y="451"/>
                </a:cubicBezTo>
                <a:cubicBezTo>
                  <a:pt x="1034" y="451"/>
                  <a:pt x="1034" y="451"/>
                  <a:pt x="1035" y="451"/>
                </a:cubicBezTo>
                <a:cubicBezTo>
                  <a:pt x="1035" y="451"/>
                  <a:pt x="1035" y="451"/>
                  <a:pt x="1036" y="451"/>
                </a:cubicBezTo>
                <a:cubicBezTo>
                  <a:pt x="1036" y="451"/>
                  <a:pt x="1036" y="451"/>
                  <a:pt x="1037" y="452"/>
                </a:cubicBezTo>
                <a:cubicBezTo>
                  <a:pt x="1037" y="452"/>
                  <a:pt x="1037" y="452"/>
                  <a:pt x="1038" y="452"/>
                </a:cubicBezTo>
                <a:cubicBezTo>
                  <a:pt x="1038" y="452"/>
                  <a:pt x="1038" y="452"/>
                  <a:pt x="1038" y="453"/>
                </a:cubicBezTo>
                <a:cubicBezTo>
                  <a:pt x="1038" y="453"/>
                  <a:pt x="1038" y="453"/>
                  <a:pt x="1037" y="454"/>
                </a:cubicBezTo>
                <a:cubicBezTo>
                  <a:pt x="1037" y="454"/>
                  <a:pt x="1037" y="454"/>
                  <a:pt x="1036" y="455"/>
                </a:cubicBezTo>
                <a:cubicBezTo>
                  <a:pt x="1036" y="455"/>
                  <a:pt x="1036" y="455"/>
                  <a:pt x="1035" y="455"/>
                </a:cubicBezTo>
                <a:cubicBezTo>
                  <a:pt x="1035" y="455"/>
                  <a:pt x="1035" y="455"/>
                  <a:pt x="1035" y="456"/>
                </a:cubicBezTo>
                <a:cubicBezTo>
                  <a:pt x="1035" y="456"/>
                  <a:pt x="1035" y="456"/>
                  <a:pt x="1034" y="456"/>
                </a:cubicBezTo>
                <a:close/>
                <a:moveTo>
                  <a:pt x="1033" y="453"/>
                </a:moveTo>
                <a:cubicBezTo>
                  <a:pt x="1033" y="453"/>
                  <a:pt x="1033" y="453"/>
                  <a:pt x="1033" y="452"/>
                </a:cubicBezTo>
                <a:cubicBezTo>
                  <a:pt x="1033" y="452"/>
                  <a:pt x="1033" y="452"/>
                  <a:pt x="1032" y="452"/>
                </a:cubicBezTo>
                <a:cubicBezTo>
                  <a:pt x="1032" y="452"/>
                  <a:pt x="1032" y="452"/>
                  <a:pt x="1033" y="453"/>
                </a:cubicBezTo>
                <a:cubicBezTo>
                  <a:pt x="1033" y="453"/>
                  <a:pt x="1033" y="453"/>
                  <a:pt x="1032" y="454"/>
                </a:cubicBezTo>
                <a:cubicBezTo>
                  <a:pt x="1032" y="454"/>
                  <a:pt x="1032" y="454"/>
                  <a:pt x="1033" y="454"/>
                </a:cubicBezTo>
                <a:cubicBezTo>
                  <a:pt x="1033" y="454"/>
                  <a:pt x="1033" y="454"/>
                  <a:pt x="1033" y="453"/>
                </a:cubicBezTo>
                <a:close/>
                <a:moveTo>
                  <a:pt x="1033" y="467"/>
                </a:moveTo>
                <a:cubicBezTo>
                  <a:pt x="1032" y="468"/>
                  <a:pt x="1032" y="468"/>
                  <a:pt x="1032" y="468"/>
                </a:cubicBezTo>
                <a:cubicBezTo>
                  <a:pt x="1033" y="468"/>
                  <a:pt x="1033" y="468"/>
                  <a:pt x="1033" y="468"/>
                </a:cubicBezTo>
                <a:cubicBezTo>
                  <a:pt x="1032" y="469"/>
                  <a:pt x="1032" y="469"/>
                  <a:pt x="1032" y="469"/>
                </a:cubicBezTo>
                <a:cubicBezTo>
                  <a:pt x="1031" y="470"/>
                  <a:pt x="1031" y="470"/>
                  <a:pt x="1031" y="470"/>
                </a:cubicBezTo>
                <a:cubicBezTo>
                  <a:pt x="1031" y="472"/>
                  <a:pt x="1031" y="472"/>
                  <a:pt x="1031" y="472"/>
                </a:cubicBezTo>
                <a:cubicBezTo>
                  <a:pt x="1030" y="473"/>
                  <a:pt x="1030" y="473"/>
                  <a:pt x="1030" y="473"/>
                </a:cubicBezTo>
                <a:cubicBezTo>
                  <a:pt x="1030" y="474"/>
                  <a:pt x="1030" y="474"/>
                  <a:pt x="1030" y="474"/>
                </a:cubicBezTo>
                <a:cubicBezTo>
                  <a:pt x="1031" y="474"/>
                  <a:pt x="1031" y="474"/>
                  <a:pt x="1031" y="474"/>
                </a:cubicBezTo>
                <a:cubicBezTo>
                  <a:pt x="1032" y="473"/>
                  <a:pt x="1032" y="473"/>
                  <a:pt x="1032" y="473"/>
                </a:cubicBezTo>
                <a:cubicBezTo>
                  <a:pt x="1033" y="472"/>
                  <a:pt x="1033" y="472"/>
                  <a:pt x="1033" y="472"/>
                </a:cubicBezTo>
                <a:cubicBezTo>
                  <a:pt x="1034" y="470"/>
                  <a:pt x="1034" y="470"/>
                  <a:pt x="1034" y="470"/>
                </a:cubicBezTo>
                <a:cubicBezTo>
                  <a:pt x="1035" y="470"/>
                  <a:pt x="1035" y="470"/>
                  <a:pt x="1035" y="470"/>
                </a:cubicBezTo>
                <a:cubicBezTo>
                  <a:pt x="1036" y="470"/>
                  <a:pt x="1036" y="470"/>
                  <a:pt x="1036" y="470"/>
                </a:cubicBezTo>
                <a:cubicBezTo>
                  <a:pt x="1036" y="471"/>
                  <a:pt x="1036" y="471"/>
                  <a:pt x="1036" y="471"/>
                </a:cubicBezTo>
                <a:cubicBezTo>
                  <a:pt x="1035" y="471"/>
                  <a:pt x="1035" y="471"/>
                  <a:pt x="1035" y="471"/>
                </a:cubicBezTo>
                <a:cubicBezTo>
                  <a:pt x="1034" y="472"/>
                  <a:pt x="1034" y="472"/>
                  <a:pt x="1034" y="472"/>
                </a:cubicBezTo>
                <a:cubicBezTo>
                  <a:pt x="1034" y="473"/>
                  <a:pt x="1034" y="473"/>
                  <a:pt x="1034" y="473"/>
                </a:cubicBezTo>
                <a:cubicBezTo>
                  <a:pt x="1034" y="474"/>
                  <a:pt x="1034" y="474"/>
                  <a:pt x="1034" y="474"/>
                </a:cubicBezTo>
                <a:cubicBezTo>
                  <a:pt x="1034" y="475"/>
                  <a:pt x="1034" y="475"/>
                  <a:pt x="1034" y="475"/>
                </a:cubicBezTo>
                <a:cubicBezTo>
                  <a:pt x="1035" y="476"/>
                  <a:pt x="1035" y="476"/>
                  <a:pt x="1035" y="476"/>
                </a:cubicBezTo>
                <a:cubicBezTo>
                  <a:pt x="1035" y="475"/>
                  <a:pt x="1035" y="475"/>
                  <a:pt x="1035" y="475"/>
                </a:cubicBezTo>
                <a:cubicBezTo>
                  <a:pt x="1035" y="474"/>
                  <a:pt x="1035" y="474"/>
                  <a:pt x="1035" y="474"/>
                </a:cubicBezTo>
                <a:cubicBezTo>
                  <a:pt x="1036" y="474"/>
                  <a:pt x="1036" y="474"/>
                  <a:pt x="1036" y="474"/>
                </a:cubicBezTo>
                <a:cubicBezTo>
                  <a:pt x="1037" y="475"/>
                  <a:pt x="1037" y="475"/>
                  <a:pt x="1037" y="475"/>
                </a:cubicBezTo>
                <a:cubicBezTo>
                  <a:pt x="1038" y="475"/>
                  <a:pt x="1038" y="475"/>
                  <a:pt x="1038" y="475"/>
                </a:cubicBezTo>
                <a:cubicBezTo>
                  <a:pt x="1038" y="474"/>
                  <a:pt x="1038" y="474"/>
                  <a:pt x="1038" y="474"/>
                </a:cubicBezTo>
                <a:cubicBezTo>
                  <a:pt x="1038" y="473"/>
                  <a:pt x="1038" y="473"/>
                  <a:pt x="1038" y="473"/>
                </a:cubicBezTo>
                <a:cubicBezTo>
                  <a:pt x="1038" y="472"/>
                  <a:pt x="1038" y="472"/>
                  <a:pt x="1038" y="472"/>
                </a:cubicBezTo>
                <a:cubicBezTo>
                  <a:pt x="1039" y="472"/>
                  <a:pt x="1039" y="472"/>
                  <a:pt x="1039" y="472"/>
                </a:cubicBezTo>
                <a:cubicBezTo>
                  <a:pt x="1039" y="471"/>
                  <a:pt x="1039" y="471"/>
                  <a:pt x="1039" y="471"/>
                </a:cubicBezTo>
                <a:cubicBezTo>
                  <a:pt x="1039" y="470"/>
                  <a:pt x="1039" y="470"/>
                  <a:pt x="1039" y="470"/>
                </a:cubicBezTo>
                <a:cubicBezTo>
                  <a:pt x="1040" y="469"/>
                  <a:pt x="1040" y="469"/>
                  <a:pt x="1040" y="469"/>
                </a:cubicBezTo>
                <a:cubicBezTo>
                  <a:pt x="1041" y="468"/>
                  <a:pt x="1041" y="468"/>
                  <a:pt x="1041" y="468"/>
                </a:cubicBezTo>
                <a:cubicBezTo>
                  <a:pt x="1040" y="466"/>
                  <a:pt x="1040" y="466"/>
                  <a:pt x="1040" y="466"/>
                </a:cubicBezTo>
                <a:cubicBezTo>
                  <a:pt x="1040" y="467"/>
                  <a:pt x="1040" y="467"/>
                  <a:pt x="1040" y="467"/>
                </a:cubicBezTo>
                <a:cubicBezTo>
                  <a:pt x="1039" y="467"/>
                  <a:pt x="1039" y="467"/>
                  <a:pt x="1039" y="467"/>
                </a:cubicBezTo>
                <a:cubicBezTo>
                  <a:pt x="1038" y="468"/>
                  <a:pt x="1038" y="468"/>
                  <a:pt x="1038" y="468"/>
                </a:cubicBezTo>
                <a:cubicBezTo>
                  <a:pt x="1037" y="468"/>
                  <a:pt x="1037" y="468"/>
                  <a:pt x="1037" y="468"/>
                </a:cubicBezTo>
                <a:cubicBezTo>
                  <a:pt x="1037" y="467"/>
                  <a:pt x="1037" y="467"/>
                  <a:pt x="1037" y="467"/>
                </a:cubicBezTo>
                <a:cubicBezTo>
                  <a:pt x="1037" y="466"/>
                  <a:pt x="1037" y="466"/>
                  <a:pt x="1037" y="466"/>
                </a:cubicBezTo>
                <a:cubicBezTo>
                  <a:pt x="1038" y="465"/>
                  <a:pt x="1038" y="465"/>
                  <a:pt x="1038" y="465"/>
                </a:cubicBezTo>
                <a:cubicBezTo>
                  <a:pt x="1039" y="464"/>
                  <a:pt x="1039" y="464"/>
                  <a:pt x="1039" y="464"/>
                </a:cubicBezTo>
                <a:cubicBezTo>
                  <a:pt x="1040" y="464"/>
                  <a:pt x="1040" y="464"/>
                  <a:pt x="1040" y="464"/>
                </a:cubicBezTo>
                <a:cubicBezTo>
                  <a:pt x="1040" y="463"/>
                  <a:pt x="1040" y="463"/>
                  <a:pt x="1040" y="463"/>
                </a:cubicBezTo>
                <a:cubicBezTo>
                  <a:pt x="1039" y="463"/>
                  <a:pt x="1039" y="463"/>
                  <a:pt x="1039" y="463"/>
                </a:cubicBezTo>
                <a:cubicBezTo>
                  <a:pt x="1038" y="464"/>
                  <a:pt x="1038" y="464"/>
                  <a:pt x="1038" y="464"/>
                </a:cubicBezTo>
                <a:cubicBezTo>
                  <a:pt x="1037" y="464"/>
                  <a:pt x="1037" y="464"/>
                  <a:pt x="1037" y="464"/>
                </a:cubicBezTo>
                <a:cubicBezTo>
                  <a:pt x="1037" y="465"/>
                  <a:pt x="1037" y="465"/>
                  <a:pt x="1037" y="465"/>
                </a:cubicBezTo>
                <a:cubicBezTo>
                  <a:pt x="1035" y="466"/>
                  <a:pt x="1035" y="466"/>
                  <a:pt x="1035" y="466"/>
                </a:cubicBezTo>
                <a:cubicBezTo>
                  <a:pt x="1035" y="467"/>
                  <a:pt x="1035" y="467"/>
                  <a:pt x="1035" y="467"/>
                </a:cubicBezTo>
                <a:cubicBezTo>
                  <a:pt x="1034" y="466"/>
                  <a:pt x="1034" y="466"/>
                  <a:pt x="1034" y="466"/>
                </a:cubicBezTo>
                <a:cubicBezTo>
                  <a:pt x="1033" y="465"/>
                  <a:pt x="1033" y="465"/>
                  <a:pt x="1033" y="465"/>
                </a:cubicBezTo>
                <a:cubicBezTo>
                  <a:pt x="1033" y="466"/>
                  <a:pt x="1033" y="466"/>
                  <a:pt x="1033" y="466"/>
                </a:cubicBezTo>
                <a:cubicBezTo>
                  <a:pt x="1033" y="467"/>
                  <a:pt x="1033" y="467"/>
                  <a:pt x="1033" y="467"/>
                </a:cubicBezTo>
                <a:close/>
                <a:moveTo>
                  <a:pt x="1027" y="440"/>
                </a:moveTo>
                <a:cubicBezTo>
                  <a:pt x="1028" y="440"/>
                  <a:pt x="1028" y="440"/>
                  <a:pt x="1028" y="440"/>
                </a:cubicBezTo>
                <a:cubicBezTo>
                  <a:pt x="1028" y="439"/>
                  <a:pt x="1028" y="439"/>
                  <a:pt x="1028" y="439"/>
                </a:cubicBezTo>
                <a:cubicBezTo>
                  <a:pt x="1027" y="439"/>
                  <a:pt x="1027" y="439"/>
                  <a:pt x="1027" y="439"/>
                </a:cubicBezTo>
                <a:cubicBezTo>
                  <a:pt x="1027" y="440"/>
                  <a:pt x="1027" y="440"/>
                  <a:pt x="1027" y="440"/>
                </a:cubicBezTo>
                <a:close/>
                <a:moveTo>
                  <a:pt x="1019" y="475"/>
                </a:moveTo>
                <a:cubicBezTo>
                  <a:pt x="1019" y="475"/>
                  <a:pt x="1019" y="475"/>
                  <a:pt x="1020" y="474"/>
                </a:cubicBezTo>
                <a:cubicBezTo>
                  <a:pt x="1020" y="474"/>
                  <a:pt x="1020" y="474"/>
                  <a:pt x="1019" y="474"/>
                </a:cubicBezTo>
                <a:cubicBezTo>
                  <a:pt x="1019" y="474"/>
                  <a:pt x="1019" y="474"/>
                  <a:pt x="1019" y="475"/>
                </a:cubicBezTo>
                <a:close/>
                <a:moveTo>
                  <a:pt x="1018" y="470"/>
                </a:moveTo>
                <a:cubicBezTo>
                  <a:pt x="1018" y="470"/>
                  <a:pt x="1018" y="470"/>
                  <a:pt x="1017" y="470"/>
                </a:cubicBezTo>
                <a:cubicBezTo>
                  <a:pt x="1017" y="470"/>
                  <a:pt x="1017" y="470"/>
                  <a:pt x="1018" y="471"/>
                </a:cubicBezTo>
                <a:cubicBezTo>
                  <a:pt x="1018" y="471"/>
                  <a:pt x="1018" y="471"/>
                  <a:pt x="1018" y="470"/>
                </a:cubicBezTo>
                <a:close/>
                <a:moveTo>
                  <a:pt x="1006" y="455"/>
                </a:moveTo>
                <a:cubicBezTo>
                  <a:pt x="1005" y="456"/>
                  <a:pt x="1005" y="456"/>
                  <a:pt x="1005" y="456"/>
                </a:cubicBezTo>
                <a:cubicBezTo>
                  <a:pt x="1006" y="456"/>
                  <a:pt x="1006" y="456"/>
                  <a:pt x="1006" y="456"/>
                </a:cubicBezTo>
                <a:cubicBezTo>
                  <a:pt x="1006" y="455"/>
                  <a:pt x="1006" y="455"/>
                  <a:pt x="1006" y="455"/>
                </a:cubicBezTo>
                <a:close/>
                <a:moveTo>
                  <a:pt x="1018" y="474"/>
                </a:moveTo>
                <a:cubicBezTo>
                  <a:pt x="1018" y="474"/>
                  <a:pt x="1018" y="474"/>
                  <a:pt x="1018" y="473"/>
                </a:cubicBezTo>
                <a:cubicBezTo>
                  <a:pt x="1018" y="473"/>
                  <a:pt x="1018" y="473"/>
                  <a:pt x="1018" y="472"/>
                </a:cubicBezTo>
                <a:cubicBezTo>
                  <a:pt x="1018" y="472"/>
                  <a:pt x="1018" y="472"/>
                  <a:pt x="1017" y="473"/>
                </a:cubicBezTo>
                <a:cubicBezTo>
                  <a:pt x="1017" y="473"/>
                  <a:pt x="1017" y="473"/>
                  <a:pt x="1018" y="474"/>
                </a:cubicBezTo>
                <a:close/>
                <a:moveTo>
                  <a:pt x="999" y="38"/>
                </a:moveTo>
                <a:cubicBezTo>
                  <a:pt x="999" y="37"/>
                  <a:pt x="999" y="37"/>
                  <a:pt x="999" y="37"/>
                </a:cubicBezTo>
                <a:cubicBezTo>
                  <a:pt x="998" y="36"/>
                  <a:pt x="998" y="36"/>
                  <a:pt x="998" y="36"/>
                </a:cubicBezTo>
                <a:cubicBezTo>
                  <a:pt x="998" y="34"/>
                  <a:pt x="998" y="34"/>
                  <a:pt x="998" y="34"/>
                </a:cubicBezTo>
                <a:cubicBezTo>
                  <a:pt x="999" y="34"/>
                  <a:pt x="999" y="34"/>
                  <a:pt x="999" y="34"/>
                </a:cubicBezTo>
                <a:cubicBezTo>
                  <a:pt x="1000" y="34"/>
                  <a:pt x="1000" y="34"/>
                  <a:pt x="1000" y="34"/>
                </a:cubicBezTo>
                <a:cubicBezTo>
                  <a:pt x="1001" y="34"/>
                  <a:pt x="1001" y="34"/>
                  <a:pt x="1001" y="34"/>
                </a:cubicBezTo>
                <a:cubicBezTo>
                  <a:pt x="1002" y="34"/>
                  <a:pt x="1002" y="34"/>
                  <a:pt x="1002" y="34"/>
                </a:cubicBezTo>
                <a:cubicBezTo>
                  <a:pt x="1006" y="34"/>
                  <a:pt x="1006" y="34"/>
                  <a:pt x="1006" y="34"/>
                </a:cubicBezTo>
                <a:cubicBezTo>
                  <a:pt x="1008" y="35"/>
                  <a:pt x="1008" y="35"/>
                  <a:pt x="1008" y="35"/>
                </a:cubicBezTo>
                <a:cubicBezTo>
                  <a:pt x="1007" y="33"/>
                  <a:pt x="1007" y="33"/>
                  <a:pt x="1007" y="33"/>
                </a:cubicBezTo>
                <a:cubicBezTo>
                  <a:pt x="1006" y="33"/>
                  <a:pt x="1006" y="33"/>
                  <a:pt x="1006" y="33"/>
                </a:cubicBezTo>
                <a:cubicBezTo>
                  <a:pt x="1004" y="33"/>
                  <a:pt x="1004" y="33"/>
                  <a:pt x="1004" y="33"/>
                </a:cubicBezTo>
                <a:cubicBezTo>
                  <a:pt x="1002" y="32"/>
                  <a:pt x="1002" y="32"/>
                  <a:pt x="1002" y="32"/>
                </a:cubicBezTo>
                <a:cubicBezTo>
                  <a:pt x="1001" y="32"/>
                  <a:pt x="1001" y="32"/>
                  <a:pt x="1001" y="32"/>
                </a:cubicBezTo>
                <a:cubicBezTo>
                  <a:pt x="999" y="32"/>
                  <a:pt x="999" y="32"/>
                  <a:pt x="999" y="32"/>
                </a:cubicBezTo>
                <a:cubicBezTo>
                  <a:pt x="999" y="31"/>
                  <a:pt x="999" y="31"/>
                  <a:pt x="999" y="31"/>
                </a:cubicBezTo>
                <a:cubicBezTo>
                  <a:pt x="1000" y="30"/>
                  <a:pt x="1000" y="30"/>
                  <a:pt x="1000" y="30"/>
                </a:cubicBezTo>
                <a:cubicBezTo>
                  <a:pt x="1000" y="29"/>
                  <a:pt x="1000" y="29"/>
                  <a:pt x="1000" y="29"/>
                </a:cubicBezTo>
                <a:cubicBezTo>
                  <a:pt x="1000" y="28"/>
                  <a:pt x="1000" y="28"/>
                  <a:pt x="1000" y="28"/>
                </a:cubicBezTo>
                <a:cubicBezTo>
                  <a:pt x="1001" y="28"/>
                  <a:pt x="1001" y="28"/>
                  <a:pt x="1001" y="28"/>
                </a:cubicBezTo>
                <a:cubicBezTo>
                  <a:pt x="1002" y="29"/>
                  <a:pt x="1002" y="29"/>
                  <a:pt x="1002" y="29"/>
                </a:cubicBezTo>
                <a:cubicBezTo>
                  <a:pt x="1004" y="29"/>
                  <a:pt x="1004" y="29"/>
                  <a:pt x="1004" y="29"/>
                </a:cubicBezTo>
                <a:cubicBezTo>
                  <a:pt x="1005" y="29"/>
                  <a:pt x="1005" y="29"/>
                  <a:pt x="1005" y="29"/>
                </a:cubicBezTo>
                <a:cubicBezTo>
                  <a:pt x="1004" y="28"/>
                  <a:pt x="1004" y="28"/>
                  <a:pt x="1004" y="28"/>
                </a:cubicBezTo>
                <a:cubicBezTo>
                  <a:pt x="1003" y="28"/>
                  <a:pt x="1003" y="28"/>
                  <a:pt x="1003" y="28"/>
                </a:cubicBezTo>
                <a:cubicBezTo>
                  <a:pt x="1002" y="27"/>
                  <a:pt x="1002" y="27"/>
                  <a:pt x="1002" y="27"/>
                </a:cubicBezTo>
                <a:cubicBezTo>
                  <a:pt x="1002" y="26"/>
                  <a:pt x="1002" y="26"/>
                  <a:pt x="1002" y="26"/>
                </a:cubicBezTo>
                <a:cubicBezTo>
                  <a:pt x="1004" y="26"/>
                  <a:pt x="1004" y="26"/>
                  <a:pt x="1004" y="26"/>
                </a:cubicBezTo>
                <a:cubicBezTo>
                  <a:pt x="1005" y="25"/>
                  <a:pt x="1005" y="25"/>
                  <a:pt x="1005" y="25"/>
                </a:cubicBezTo>
                <a:cubicBezTo>
                  <a:pt x="1008" y="25"/>
                  <a:pt x="1008" y="25"/>
                  <a:pt x="1008" y="25"/>
                </a:cubicBezTo>
                <a:cubicBezTo>
                  <a:pt x="1008" y="24"/>
                  <a:pt x="1008" y="24"/>
                  <a:pt x="1008" y="24"/>
                </a:cubicBezTo>
                <a:cubicBezTo>
                  <a:pt x="1010" y="24"/>
                  <a:pt x="1010" y="24"/>
                  <a:pt x="1010" y="24"/>
                </a:cubicBezTo>
                <a:cubicBezTo>
                  <a:pt x="1011" y="24"/>
                  <a:pt x="1011" y="24"/>
                  <a:pt x="1011" y="24"/>
                </a:cubicBezTo>
                <a:cubicBezTo>
                  <a:pt x="1011" y="23"/>
                  <a:pt x="1011" y="23"/>
                  <a:pt x="1011" y="23"/>
                </a:cubicBezTo>
                <a:cubicBezTo>
                  <a:pt x="1008" y="23"/>
                  <a:pt x="1008" y="23"/>
                  <a:pt x="1008" y="23"/>
                </a:cubicBezTo>
                <a:cubicBezTo>
                  <a:pt x="1006" y="24"/>
                  <a:pt x="1006" y="24"/>
                  <a:pt x="1006" y="24"/>
                </a:cubicBezTo>
                <a:cubicBezTo>
                  <a:pt x="1004" y="24"/>
                  <a:pt x="1004" y="24"/>
                  <a:pt x="1004" y="24"/>
                </a:cubicBezTo>
                <a:cubicBezTo>
                  <a:pt x="1003" y="24"/>
                  <a:pt x="1003" y="24"/>
                  <a:pt x="1003" y="24"/>
                </a:cubicBezTo>
                <a:cubicBezTo>
                  <a:pt x="1002" y="25"/>
                  <a:pt x="1002" y="25"/>
                  <a:pt x="1002" y="25"/>
                </a:cubicBezTo>
                <a:cubicBezTo>
                  <a:pt x="1001" y="25"/>
                  <a:pt x="1001" y="25"/>
                  <a:pt x="1001" y="25"/>
                </a:cubicBezTo>
                <a:cubicBezTo>
                  <a:pt x="1001" y="24"/>
                  <a:pt x="1001" y="24"/>
                  <a:pt x="1001" y="24"/>
                </a:cubicBezTo>
                <a:cubicBezTo>
                  <a:pt x="1001" y="23"/>
                  <a:pt x="1001" y="23"/>
                  <a:pt x="1001" y="23"/>
                </a:cubicBezTo>
                <a:cubicBezTo>
                  <a:pt x="1003" y="22"/>
                  <a:pt x="1003" y="22"/>
                  <a:pt x="1003" y="22"/>
                </a:cubicBezTo>
                <a:cubicBezTo>
                  <a:pt x="1004" y="21"/>
                  <a:pt x="1004" y="21"/>
                  <a:pt x="1004" y="21"/>
                </a:cubicBezTo>
                <a:cubicBezTo>
                  <a:pt x="1006" y="21"/>
                  <a:pt x="1006" y="21"/>
                  <a:pt x="1006" y="21"/>
                </a:cubicBezTo>
                <a:cubicBezTo>
                  <a:pt x="1007" y="20"/>
                  <a:pt x="1007" y="20"/>
                  <a:pt x="1007" y="20"/>
                </a:cubicBezTo>
                <a:cubicBezTo>
                  <a:pt x="1006" y="20"/>
                  <a:pt x="1006" y="20"/>
                  <a:pt x="1006" y="20"/>
                </a:cubicBezTo>
                <a:cubicBezTo>
                  <a:pt x="1005" y="20"/>
                  <a:pt x="1005" y="20"/>
                  <a:pt x="1005" y="20"/>
                </a:cubicBezTo>
                <a:cubicBezTo>
                  <a:pt x="1006" y="18"/>
                  <a:pt x="1006" y="18"/>
                  <a:pt x="1006" y="18"/>
                </a:cubicBezTo>
                <a:cubicBezTo>
                  <a:pt x="1005" y="18"/>
                  <a:pt x="1005" y="18"/>
                  <a:pt x="1005" y="18"/>
                </a:cubicBezTo>
                <a:cubicBezTo>
                  <a:pt x="1005" y="19"/>
                  <a:pt x="1005" y="19"/>
                  <a:pt x="1005" y="19"/>
                </a:cubicBezTo>
                <a:cubicBezTo>
                  <a:pt x="1004" y="20"/>
                  <a:pt x="1004" y="20"/>
                  <a:pt x="1004" y="20"/>
                </a:cubicBezTo>
                <a:cubicBezTo>
                  <a:pt x="1004" y="19"/>
                  <a:pt x="1004" y="19"/>
                  <a:pt x="1004" y="19"/>
                </a:cubicBezTo>
                <a:cubicBezTo>
                  <a:pt x="1003" y="19"/>
                  <a:pt x="1003" y="19"/>
                  <a:pt x="1003" y="19"/>
                </a:cubicBezTo>
                <a:cubicBezTo>
                  <a:pt x="1002" y="19"/>
                  <a:pt x="1002" y="19"/>
                  <a:pt x="1002" y="19"/>
                </a:cubicBezTo>
                <a:cubicBezTo>
                  <a:pt x="1001" y="20"/>
                  <a:pt x="1001" y="20"/>
                  <a:pt x="1001" y="20"/>
                </a:cubicBezTo>
                <a:cubicBezTo>
                  <a:pt x="1001" y="21"/>
                  <a:pt x="1001" y="21"/>
                  <a:pt x="1001" y="21"/>
                </a:cubicBezTo>
                <a:cubicBezTo>
                  <a:pt x="999" y="22"/>
                  <a:pt x="999" y="22"/>
                  <a:pt x="999" y="22"/>
                </a:cubicBezTo>
                <a:cubicBezTo>
                  <a:pt x="999" y="21"/>
                  <a:pt x="999" y="21"/>
                  <a:pt x="999" y="21"/>
                </a:cubicBezTo>
                <a:cubicBezTo>
                  <a:pt x="999" y="19"/>
                  <a:pt x="999" y="19"/>
                  <a:pt x="999" y="19"/>
                </a:cubicBezTo>
                <a:cubicBezTo>
                  <a:pt x="998" y="18"/>
                  <a:pt x="998" y="18"/>
                  <a:pt x="998" y="18"/>
                </a:cubicBezTo>
                <a:cubicBezTo>
                  <a:pt x="999" y="18"/>
                  <a:pt x="999" y="18"/>
                  <a:pt x="999" y="18"/>
                </a:cubicBezTo>
                <a:cubicBezTo>
                  <a:pt x="1000" y="18"/>
                  <a:pt x="1000" y="18"/>
                  <a:pt x="1000" y="18"/>
                </a:cubicBezTo>
                <a:cubicBezTo>
                  <a:pt x="1000" y="17"/>
                  <a:pt x="1000" y="17"/>
                  <a:pt x="1000" y="17"/>
                </a:cubicBezTo>
                <a:cubicBezTo>
                  <a:pt x="1001" y="16"/>
                  <a:pt x="1001" y="16"/>
                  <a:pt x="1001" y="16"/>
                </a:cubicBezTo>
                <a:cubicBezTo>
                  <a:pt x="1002" y="16"/>
                  <a:pt x="1002" y="16"/>
                  <a:pt x="1002" y="16"/>
                </a:cubicBezTo>
                <a:cubicBezTo>
                  <a:pt x="1003" y="15"/>
                  <a:pt x="1003" y="15"/>
                  <a:pt x="1003" y="15"/>
                </a:cubicBezTo>
                <a:cubicBezTo>
                  <a:pt x="1004" y="14"/>
                  <a:pt x="1004" y="14"/>
                  <a:pt x="1004" y="14"/>
                </a:cubicBezTo>
                <a:cubicBezTo>
                  <a:pt x="1005" y="15"/>
                  <a:pt x="1005" y="15"/>
                  <a:pt x="1005" y="15"/>
                </a:cubicBezTo>
                <a:cubicBezTo>
                  <a:pt x="1007" y="14"/>
                  <a:pt x="1007" y="14"/>
                  <a:pt x="1007" y="14"/>
                </a:cubicBezTo>
                <a:cubicBezTo>
                  <a:pt x="1010" y="13"/>
                  <a:pt x="1010" y="13"/>
                  <a:pt x="1010" y="13"/>
                </a:cubicBezTo>
                <a:cubicBezTo>
                  <a:pt x="1011" y="13"/>
                  <a:pt x="1011" y="13"/>
                  <a:pt x="1011" y="13"/>
                </a:cubicBezTo>
                <a:cubicBezTo>
                  <a:pt x="1011" y="14"/>
                  <a:pt x="1011" y="14"/>
                  <a:pt x="1011" y="14"/>
                </a:cubicBezTo>
                <a:cubicBezTo>
                  <a:pt x="1011" y="15"/>
                  <a:pt x="1011" y="15"/>
                  <a:pt x="1011" y="15"/>
                </a:cubicBezTo>
                <a:cubicBezTo>
                  <a:pt x="1011" y="18"/>
                  <a:pt x="1011" y="18"/>
                  <a:pt x="1011" y="18"/>
                </a:cubicBezTo>
                <a:cubicBezTo>
                  <a:pt x="1012" y="17"/>
                  <a:pt x="1012" y="17"/>
                  <a:pt x="1012" y="17"/>
                </a:cubicBezTo>
                <a:cubicBezTo>
                  <a:pt x="1012" y="16"/>
                  <a:pt x="1012" y="16"/>
                  <a:pt x="1012" y="16"/>
                </a:cubicBezTo>
                <a:cubicBezTo>
                  <a:pt x="1013" y="15"/>
                  <a:pt x="1013" y="15"/>
                  <a:pt x="1013" y="15"/>
                </a:cubicBezTo>
                <a:cubicBezTo>
                  <a:pt x="1014" y="15"/>
                  <a:pt x="1014" y="15"/>
                  <a:pt x="1014" y="15"/>
                </a:cubicBezTo>
                <a:cubicBezTo>
                  <a:pt x="1013" y="16"/>
                  <a:pt x="1013" y="16"/>
                  <a:pt x="1013" y="16"/>
                </a:cubicBezTo>
                <a:cubicBezTo>
                  <a:pt x="1013" y="17"/>
                  <a:pt x="1013" y="17"/>
                  <a:pt x="1013" y="17"/>
                </a:cubicBezTo>
                <a:cubicBezTo>
                  <a:pt x="1014" y="16"/>
                  <a:pt x="1014" y="16"/>
                  <a:pt x="1014" y="16"/>
                </a:cubicBezTo>
                <a:cubicBezTo>
                  <a:pt x="1014" y="15"/>
                  <a:pt x="1014" y="15"/>
                  <a:pt x="1014" y="15"/>
                </a:cubicBezTo>
                <a:cubicBezTo>
                  <a:pt x="1015" y="15"/>
                  <a:pt x="1015" y="15"/>
                  <a:pt x="1015" y="15"/>
                </a:cubicBezTo>
                <a:cubicBezTo>
                  <a:pt x="1014" y="14"/>
                  <a:pt x="1014" y="14"/>
                  <a:pt x="1014" y="14"/>
                </a:cubicBezTo>
                <a:cubicBezTo>
                  <a:pt x="1015" y="12"/>
                  <a:pt x="1015" y="12"/>
                  <a:pt x="1015" y="12"/>
                </a:cubicBezTo>
                <a:cubicBezTo>
                  <a:pt x="1017" y="11"/>
                  <a:pt x="1017" y="11"/>
                  <a:pt x="1017" y="11"/>
                </a:cubicBezTo>
                <a:cubicBezTo>
                  <a:pt x="1018" y="11"/>
                  <a:pt x="1018" y="11"/>
                  <a:pt x="1018" y="11"/>
                </a:cubicBezTo>
                <a:cubicBezTo>
                  <a:pt x="1018" y="12"/>
                  <a:pt x="1018" y="12"/>
                  <a:pt x="1018" y="12"/>
                </a:cubicBezTo>
                <a:cubicBezTo>
                  <a:pt x="1018" y="14"/>
                  <a:pt x="1018" y="14"/>
                  <a:pt x="1018" y="14"/>
                </a:cubicBezTo>
                <a:cubicBezTo>
                  <a:pt x="1019" y="14"/>
                  <a:pt x="1019" y="14"/>
                  <a:pt x="1019" y="14"/>
                </a:cubicBezTo>
                <a:cubicBezTo>
                  <a:pt x="1019" y="16"/>
                  <a:pt x="1019" y="16"/>
                  <a:pt x="1019" y="16"/>
                </a:cubicBezTo>
                <a:cubicBezTo>
                  <a:pt x="1019" y="17"/>
                  <a:pt x="1019" y="17"/>
                  <a:pt x="1019" y="17"/>
                </a:cubicBezTo>
                <a:cubicBezTo>
                  <a:pt x="1019" y="18"/>
                  <a:pt x="1019" y="18"/>
                  <a:pt x="1019" y="18"/>
                </a:cubicBezTo>
                <a:cubicBezTo>
                  <a:pt x="1019" y="19"/>
                  <a:pt x="1019" y="19"/>
                  <a:pt x="1019" y="19"/>
                </a:cubicBezTo>
                <a:cubicBezTo>
                  <a:pt x="1020" y="19"/>
                  <a:pt x="1020" y="19"/>
                  <a:pt x="1020" y="19"/>
                </a:cubicBezTo>
                <a:cubicBezTo>
                  <a:pt x="1020" y="18"/>
                  <a:pt x="1020" y="18"/>
                  <a:pt x="1020" y="18"/>
                </a:cubicBezTo>
                <a:cubicBezTo>
                  <a:pt x="1020" y="17"/>
                  <a:pt x="1020" y="17"/>
                  <a:pt x="1020" y="17"/>
                </a:cubicBezTo>
                <a:cubicBezTo>
                  <a:pt x="1021" y="16"/>
                  <a:pt x="1021" y="16"/>
                  <a:pt x="1021" y="16"/>
                </a:cubicBezTo>
                <a:cubicBezTo>
                  <a:pt x="1022" y="14"/>
                  <a:pt x="1022" y="14"/>
                  <a:pt x="1022" y="14"/>
                </a:cubicBezTo>
                <a:cubicBezTo>
                  <a:pt x="1023" y="14"/>
                  <a:pt x="1023" y="14"/>
                  <a:pt x="1023" y="14"/>
                </a:cubicBezTo>
                <a:cubicBezTo>
                  <a:pt x="1024" y="16"/>
                  <a:pt x="1024" y="16"/>
                  <a:pt x="1024" y="16"/>
                </a:cubicBezTo>
                <a:cubicBezTo>
                  <a:pt x="1024" y="17"/>
                  <a:pt x="1024" y="17"/>
                  <a:pt x="1024" y="17"/>
                </a:cubicBezTo>
                <a:cubicBezTo>
                  <a:pt x="1023" y="19"/>
                  <a:pt x="1023" y="19"/>
                  <a:pt x="1023" y="19"/>
                </a:cubicBezTo>
                <a:cubicBezTo>
                  <a:pt x="1024" y="19"/>
                  <a:pt x="1024" y="19"/>
                  <a:pt x="1024" y="19"/>
                </a:cubicBezTo>
                <a:cubicBezTo>
                  <a:pt x="1024" y="20"/>
                  <a:pt x="1024" y="20"/>
                  <a:pt x="1024" y="20"/>
                </a:cubicBezTo>
                <a:cubicBezTo>
                  <a:pt x="1025" y="19"/>
                  <a:pt x="1025" y="19"/>
                  <a:pt x="1025" y="19"/>
                </a:cubicBezTo>
                <a:cubicBezTo>
                  <a:pt x="1025" y="18"/>
                  <a:pt x="1025" y="18"/>
                  <a:pt x="1025" y="18"/>
                </a:cubicBezTo>
                <a:cubicBezTo>
                  <a:pt x="1026" y="18"/>
                  <a:pt x="1026" y="18"/>
                  <a:pt x="1026" y="18"/>
                </a:cubicBezTo>
                <a:cubicBezTo>
                  <a:pt x="1026" y="19"/>
                  <a:pt x="1026" y="19"/>
                  <a:pt x="1026" y="19"/>
                </a:cubicBezTo>
                <a:cubicBezTo>
                  <a:pt x="1027" y="20"/>
                  <a:pt x="1027" y="20"/>
                  <a:pt x="1027" y="20"/>
                </a:cubicBezTo>
                <a:cubicBezTo>
                  <a:pt x="1028" y="19"/>
                  <a:pt x="1028" y="19"/>
                  <a:pt x="1028" y="19"/>
                </a:cubicBezTo>
                <a:cubicBezTo>
                  <a:pt x="1028" y="20"/>
                  <a:pt x="1028" y="20"/>
                  <a:pt x="1028" y="20"/>
                </a:cubicBezTo>
                <a:cubicBezTo>
                  <a:pt x="1029" y="20"/>
                  <a:pt x="1029" y="20"/>
                  <a:pt x="1029" y="20"/>
                </a:cubicBezTo>
                <a:cubicBezTo>
                  <a:pt x="1029" y="18"/>
                  <a:pt x="1029" y="18"/>
                  <a:pt x="1029" y="18"/>
                </a:cubicBezTo>
                <a:cubicBezTo>
                  <a:pt x="1028" y="16"/>
                  <a:pt x="1028" y="16"/>
                  <a:pt x="1028" y="16"/>
                </a:cubicBezTo>
                <a:cubicBezTo>
                  <a:pt x="1027" y="16"/>
                  <a:pt x="1027" y="16"/>
                  <a:pt x="1027" y="16"/>
                </a:cubicBezTo>
                <a:cubicBezTo>
                  <a:pt x="1027" y="15"/>
                  <a:pt x="1027" y="15"/>
                  <a:pt x="1027" y="15"/>
                </a:cubicBezTo>
                <a:cubicBezTo>
                  <a:pt x="1027" y="14"/>
                  <a:pt x="1027" y="14"/>
                  <a:pt x="1027" y="14"/>
                </a:cubicBezTo>
                <a:cubicBezTo>
                  <a:pt x="1026" y="13"/>
                  <a:pt x="1026" y="13"/>
                  <a:pt x="1026" y="13"/>
                </a:cubicBezTo>
                <a:cubicBezTo>
                  <a:pt x="1025" y="12"/>
                  <a:pt x="1025" y="12"/>
                  <a:pt x="1025" y="12"/>
                </a:cubicBezTo>
                <a:cubicBezTo>
                  <a:pt x="1025" y="11"/>
                  <a:pt x="1025" y="11"/>
                  <a:pt x="1025" y="11"/>
                </a:cubicBezTo>
                <a:cubicBezTo>
                  <a:pt x="1025" y="10"/>
                  <a:pt x="1025" y="10"/>
                  <a:pt x="1025" y="10"/>
                </a:cubicBezTo>
                <a:cubicBezTo>
                  <a:pt x="1026" y="10"/>
                  <a:pt x="1026" y="10"/>
                  <a:pt x="1026" y="10"/>
                </a:cubicBezTo>
                <a:cubicBezTo>
                  <a:pt x="1027" y="11"/>
                  <a:pt x="1027" y="11"/>
                  <a:pt x="1027" y="11"/>
                </a:cubicBezTo>
                <a:cubicBezTo>
                  <a:pt x="1028" y="10"/>
                  <a:pt x="1028" y="10"/>
                  <a:pt x="1028" y="10"/>
                </a:cubicBezTo>
                <a:cubicBezTo>
                  <a:pt x="1029" y="11"/>
                  <a:pt x="1029" y="11"/>
                  <a:pt x="1029" y="11"/>
                </a:cubicBezTo>
                <a:cubicBezTo>
                  <a:pt x="1030" y="10"/>
                  <a:pt x="1030" y="10"/>
                  <a:pt x="1030" y="10"/>
                </a:cubicBezTo>
                <a:cubicBezTo>
                  <a:pt x="1030" y="8"/>
                  <a:pt x="1030" y="8"/>
                  <a:pt x="1030" y="8"/>
                </a:cubicBezTo>
                <a:cubicBezTo>
                  <a:pt x="1029" y="7"/>
                  <a:pt x="1029" y="7"/>
                  <a:pt x="1029" y="7"/>
                </a:cubicBezTo>
                <a:cubicBezTo>
                  <a:pt x="1029" y="6"/>
                  <a:pt x="1029" y="6"/>
                  <a:pt x="1029" y="6"/>
                </a:cubicBezTo>
                <a:cubicBezTo>
                  <a:pt x="1031" y="6"/>
                  <a:pt x="1031" y="6"/>
                  <a:pt x="1031" y="6"/>
                </a:cubicBezTo>
                <a:cubicBezTo>
                  <a:pt x="1034" y="6"/>
                  <a:pt x="1034" y="6"/>
                  <a:pt x="1034" y="6"/>
                </a:cubicBezTo>
                <a:cubicBezTo>
                  <a:pt x="1035" y="7"/>
                  <a:pt x="1035" y="7"/>
                  <a:pt x="1035" y="7"/>
                </a:cubicBezTo>
                <a:cubicBezTo>
                  <a:pt x="1035" y="8"/>
                  <a:pt x="1035" y="8"/>
                  <a:pt x="1035" y="8"/>
                </a:cubicBezTo>
                <a:cubicBezTo>
                  <a:pt x="1034" y="9"/>
                  <a:pt x="1034" y="9"/>
                  <a:pt x="1034" y="9"/>
                </a:cubicBezTo>
                <a:cubicBezTo>
                  <a:pt x="1036" y="10"/>
                  <a:pt x="1036" y="10"/>
                  <a:pt x="1036" y="10"/>
                </a:cubicBezTo>
                <a:cubicBezTo>
                  <a:pt x="1036" y="11"/>
                  <a:pt x="1036" y="11"/>
                  <a:pt x="1036" y="11"/>
                </a:cubicBezTo>
                <a:cubicBezTo>
                  <a:pt x="1036" y="13"/>
                  <a:pt x="1036" y="13"/>
                  <a:pt x="1036" y="13"/>
                </a:cubicBezTo>
                <a:cubicBezTo>
                  <a:pt x="1036" y="15"/>
                  <a:pt x="1036" y="15"/>
                  <a:pt x="1036" y="15"/>
                </a:cubicBezTo>
                <a:cubicBezTo>
                  <a:pt x="1037" y="15"/>
                  <a:pt x="1037" y="15"/>
                  <a:pt x="1037" y="15"/>
                </a:cubicBezTo>
                <a:cubicBezTo>
                  <a:pt x="1038" y="13"/>
                  <a:pt x="1038" y="13"/>
                  <a:pt x="1038" y="13"/>
                </a:cubicBezTo>
                <a:cubicBezTo>
                  <a:pt x="1038" y="14"/>
                  <a:pt x="1038" y="14"/>
                  <a:pt x="1038" y="14"/>
                </a:cubicBezTo>
                <a:cubicBezTo>
                  <a:pt x="1038" y="15"/>
                  <a:pt x="1038" y="15"/>
                  <a:pt x="1038" y="15"/>
                </a:cubicBezTo>
                <a:cubicBezTo>
                  <a:pt x="1039" y="15"/>
                  <a:pt x="1039" y="15"/>
                  <a:pt x="1039" y="15"/>
                </a:cubicBezTo>
                <a:cubicBezTo>
                  <a:pt x="1040" y="15"/>
                  <a:pt x="1040" y="15"/>
                  <a:pt x="1040" y="15"/>
                </a:cubicBezTo>
                <a:cubicBezTo>
                  <a:pt x="1040" y="14"/>
                  <a:pt x="1040" y="14"/>
                  <a:pt x="1040" y="14"/>
                </a:cubicBezTo>
                <a:cubicBezTo>
                  <a:pt x="1042" y="13"/>
                  <a:pt x="1042" y="13"/>
                  <a:pt x="1042" y="13"/>
                </a:cubicBezTo>
                <a:cubicBezTo>
                  <a:pt x="1041" y="10"/>
                  <a:pt x="1041" y="10"/>
                  <a:pt x="1041" y="10"/>
                </a:cubicBezTo>
                <a:cubicBezTo>
                  <a:pt x="1042" y="9"/>
                  <a:pt x="1042" y="9"/>
                  <a:pt x="1042" y="9"/>
                </a:cubicBezTo>
                <a:cubicBezTo>
                  <a:pt x="1043" y="9"/>
                  <a:pt x="1043" y="9"/>
                  <a:pt x="1043" y="9"/>
                </a:cubicBezTo>
                <a:cubicBezTo>
                  <a:pt x="1044" y="10"/>
                  <a:pt x="1044" y="10"/>
                  <a:pt x="1044" y="10"/>
                </a:cubicBezTo>
                <a:cubicBezTo>
                  <a:pt x="1046" y="10"/>
                  <a:pt x="1046" y="10"/>
                  <a:pt x="1046" y="10"/>
                </a:cubicBezTo>
                <a:cubicBezTo>
                  <a:pt x="1046" y="9"/>
                  <a:pt x="1046" y="9"/>
                  <a:pt x="1046" y="9"/>
                </a:cubicBezTo>
                <a:cubicBezTo>
                  <a:pt x="1044" y="8"/>
                  <a:pt x="1044" y="8"/>
                  <a:pt x="1044" y="8"/>
                </a:cubicBezTo>
                <a:cubicBezTo>
                  <a:pt x="1043" y="6"/>
                  <a:pt x="1043" y="6"/>
                  <a:pt x="1043" y="6"/>
                </a:cubicBezTo>
                <a:cubicBezTo>
                  <a:pt x="1044" y="5"/>
                  <a:pt x="1044" y="5"/>
                  <a:pt x="1044" y="5"/>
                </a:cubicBezTo>
                <a:cubicBezTo>
                  <a:pt x="1044" y="4"/>
                  <a:pt x="1044" y="4"/>
                  <a:pt x="1044" y="4"/>
                </a:cubicBezTo>
                <a:cubicBezTo>
                  <a:pt x="1045" y="4"/>
                  <a:pt x="1045" y="4"/>
                  <a:pt x="1045" y="4"/>
                </a:cubicBezTo>
                <a:cubicBezTo>
                  <a:pt x="1047" y="5"/>
                  <a:pt x="1047" y="5"/>
                  <a:pt x="1047" y="5"/>
                </a:cubicBezTo>
                <a:cubicBezTo>
                  <a:pt x="1047" y="7"/>
                  <a:pt x="1047" y="7"/>
                  <a:pt x="1047" y="7"/>
                </a:cubicBezTo>
                <a:cubicBezTo>
                  <a:pt x="1048" y="8"/>
                  <a:pt x="1048" y="8"/>
                  <a:pt x="1048" y="8"/>
                </a:cubicBezTo>
                <a:cubicBezTo>
                  <a:pt x="1048" y="10"/>
                  <a:pt x="1048" y="10"/>
                  <a:pt x="1048" y="10"/>
                </a:cubicBezTo>
                <a:cubicBezTo>
                  <a:pt x="1048" y="11"/>
                  <a:pt x="1048" y="11"/>
                  <a:pt x="1048" y="11"/>
                </a:cubicBezTo>
                <a:cubicBezTo>
                  <a:pt x="1048" y="13"/>
                  <a:pt x="1048" y="13"/>
                  <a:pt x="1048" y="13"/>
                </a:cubicBezTo>
                <a:cubicBezTo>
                  <a:pt x="1049" y="14"/>
                  <a:pt x="1049" y="14"/>
                  <a:pt x="1049" y="14"/>
                </a:cubicBezTo>
                <a:cubicBezTo>
                  <a:pt x="1050" y="13"/>
                  <a:pt x="1050" y="13"/>
                  <a:pt x="1050" y="13"/>
                </a:cubicBezTo>
                <a:cubicBezTo>
                  <a:pt x="1050" y="12"/>
                  <a:pt x="1050" y="12"/>
                  <a:pt x="1050" y="12"/>
                </a:cubicBezTo>
                <a:cubicBezTo>
                  <a:pt x="1049" y="11"/>
                  <a:pt x="1049" y="11"/>
                  <a:pt x="1049" y="11"/>
                </a:cubicBezTo>
                <a:cubicBezTo>
                  <a:pt x="1049" y="9"/>
                  <a:pt x="1049" y="9"/>
                  <a:pt x="1049" y="9"/>
                </a:cubicBezTo>
                <a:cubicBezTo>
                  <a:pt x="1049" y="7"/>
                  <a:pt x="1049" y="7"/>
                  <a:pt x="1049" y="7"/>
                </a:cubicBezTo>
                <a:cubicBezTo>
                  <a:pt x="1049" y="5"/>
                  <a:pt x="1049" y="5"/>
                  <a:pt x="1049" y="5"/>
                </a:cubicBezTo>
                <a:cubicBezTo>
                  <a:pt x="1049" y="3"/>
                  <a:pt x="1049" y="3"/>
                  <a:pt x="1049" y="3"/>
                </a:cubicBezTo>
                <a:cubicBezTo>
                  <a:pt x="1049" y="2"/>
                  <a:pt x="1049" y="2"/>
                  <a:pt x="1049" y="2"/>
                </a:cubicBezTo>
                <a:cubicBezTo>
                  <a:pt x="1050" y="2"/>
                  <a:pt x="1050" y="2"/>
                  <a:pt x="1050" y="2"/>
                </a:cubicBezTo>
                <a:cubicBezTo>
                  <a:pt x="1051" y="3"/>
                  <a:pt x="1051" y="3"/>
                  <a:pt x="1051" y="3"/>
                </a:cubicBezTo>
                <a:cubicBezTo>
                  <a:pt x="1052" y="3"/>
                  <a:pt x="1052" y="3"/>
                  <a:pt x="1052" y="3"/>
                </a:cubicBezTo>
                <a:cubicBezTo>
                  <a:pt x="1052" y="5"/>
                  <a:pt x="1052" y="5"/>
                  <a:pt x="1052" y="5"/>
                </a:cubicBezTo>
                <a:cubicBezTo>
                  <a:pt x="1053" y="6"/>
                  <a:pt x="1053" y="6"/>
                  <a:pt x="1053" y="6"/>
                </a:cubicBezTo>
                <a:cubicBezTo>
                  <a:pt x="1053" y="8"/>
                  <a:pt x="1053" y="8"/>
                  <a:pt x="1053" y="8"/>
                </a:cubicBezTo>
                <a:cubicBezTo>
                  <a:pt x="1053" y="10"/>
                  <a:pt x="1053" y="10"/>
                  <a:pt x="1053" y="10"/>
                </a:cubicBezTo>
                <a:cubicBezTo>
                  <a:pt x="1054" y="10"/>
                  <a:pt x="1054" y="10"/>
                  <a:pt x="1054" y="10"/>
                </a:cubicBezTo>
                <a:cubicBezTo>
                  <a:pt x="1054" y="9"/>
                  <a:pt x="1054" y="9"/>
                  <a:pt x="1054" y="9"/>
                </a:cubicBezTo>
                <a:cubicBezTo>
                  <a:pt x="1054" y="8"/>
                  <a:pt x="1054" y="8"/>
                  <a:pt x="1054" y="8"/>
                </a:cubicBezTo>
                <a:cubicBezTo>
                  <a:pt x="1055" y="8"/>
                  <a:pt x="1055" y="8"/>
                  <a:pt x="1055" y="8"/>
                </a:cubicBezTo>
                <a:cubicBezTo>
                  <a:pt x="1057" y="10"/>
                  <a:pt x="1057" y="10"/>
                  <a:pt x="1057" y="10"/>
                </a:cubicBezTo>
                <a:cubicBezTo>
                  <a:pt x="1058" y="10"/>
                  <a:pt x="1058" y="10"/>
                  <a:pt x="1058" y="10"/>
                </a:cubicBezTo>
                <a:cubicBezTo>
                  <a:pt x="1058" y="9"/>
                  <a:pt x="1058" y="9"/>
                  <a:pt x="1058" y="9"/>
                </a:cubicBezTo>
                <a:cubicBezTo>
                  <a:pt x="1057" y="9"/>
                  <a:pt x="1057" y="9"/>
                  <a:pt x="1057" y="9"/>
                </a:cubicBezTo>
                <a:cubicBezTo>
                  <a:pt x="1056" y="8"/>
                  <a:pt x="1056" y="8"/>
                  <a:pt x="1056" y="8"/>
                </a:cubicBezTo>
                <a:cubicBezTo>
                  <a:pt x="1057" y="7"/>
                  <a:pt x="1057" y="7"/>
                  <a:pt x="1057" y="7"/>
                </a:cubicBezTo>
                <a:cubicBezTo>
                  <a:pt x="1057" y="6"/>
                  <a:pt x="1057" y="6"/>
                  <a:pt x="1057" y="6"/>
                </a:cubicBezTo>
                <a:cubicBezTo>
                  <a:pt x="1055" y="5"/>
                  <a:pt x="1055" y="5"/>
                  <a:pt x="1055" y="5"/>
                </a:cubicBezTo>
                <a:cubicBezTo>
                  <a:pt x="1055" y="4"/>
                  <a:pt x="1055" y="4"/>
                  <a:pt x="1055" y="4"/>
                </a:cubicBezTo>
                <a:cubicBezTo>
                  <a:pt x="1057" y="4"/>
                  <a:pt x="1057" y="4"/>
                  <a:pt x="1057" y="4"/>
                </a:cubicBezTo>
                <a:cubicBezTo>
                  <a:pt x="1056" y="3"/>
                  <a:pt x="1056" y="3"/>
                  <a:pt x="1056" y="3"/>
                </a:cubicBezTo>
                <a:cubicBezTo>
                  <a:pt x="1055" y="3"/>
                  <a:pt x="1055" y="3"/>
                  <a:pt x="1055" y="3"/>
                </a:cubicBezTo>
                <a:cubicBezTo>
                  <a:pt x="1054" y="2"/>
                  <a:pt x="1054" y="2"/>
                  <a:pt x="1054" y="2"/>
                </a:cubicBezTo>
                <a:cubicBezTo>
                  <a:pt x="1055" y="2"/>
                  <a:pt x="1055" y="2"/>
                  <a:pt x="1055" y="2"/>
                </a:cubicBezTo>
                <a:cubicBezTo>
                  <a:pt x="1056" y="2"/>
                  <a:pt x="1056" y="2"/>
                  <a:pt x="1056" y="2"/>
                </a:cubicBezTo>
                <a:cubicBezTo>
                  <a:pt x="1057" y="0"/>
                  <a:pt x="1057" y="0"/>
                  <a:pt x="1057" y="0"/>
                </a:cubicBezTo>
                <a:cubicBezTo>
                  <a:pt x="1060" y="1"/>
                  <a:pt x="1060" y="1"/>
                  <a:pt x="1060" y="1"/>
                </a:cubicBezTo>
                <a:cubicBezTo>
                  <a:pt x="1060" y="3"/>
                  <a:pt x="1060" y="3"/>
                  <a:pt x="1060" y="3"/>
                </a:cubicBezTo>
                <a:cubicBezTo>
                  <a:pt x="1060" y="4"/>
                  <a:pt x="1060" y="4"/>
                  <a:pt x="1060" y="4"/>
                </a:cubicBezTo>
                <a:cubicBezTo>
                  <a:pt x="1060" y="5"/>
                  <a:pt x="1060" y="5"/>
                  <a:pt x="1060" y="5"/>
                </a:cubicBezTo>
                <a:cubicBezTo>
                  <a:pt x="1061" y="4"/>
                  <a:pt x="1061" y="4"/>
                  <a:pt x="1061" y="4"/>
                </a:cubicBezTo>
                <a:cubicBezTo>
                  <a:pt x="1062" y="3"/>
                  <a:pt x="1062" y="3"/>
                  <a:pt x="1062" y="3"/>
                </a:cubicBezTo>
                <a:cubicBezTo>
                  <a:pt x="1062" y="2"/>
                  <a:pt x="1062" y="2"/>
                  <a:pt x="1062" y="2"/>
                </a:cubicBezTo>
                <a:cubicBezTo>
                  <a:pt x="1063" y="3"/>
                  <a:pt x="1063" y="3"/>
                  <a:pt x="1063" y="3"/>
                </a:cubicBezTo>
                <a:cubicBezTo>
                  <a:pt x="1062" y="5"/>
                  <a:pt x="1062" y="5"/>
                  <a:pt x="1062" y="5"/>
                </a:cubicBezTo>
                <a:cubicBezTo>
                  <a:pt x="1063" y="5"/>
                  <a:pt x="1063" y="5"/>
                  <a:pt x="1063" y="5"/>
                </a:cubicBezTo>
                <a:cubicBezTo>
                  <a:pt x="1064" y="5"/>
                  <a:pt x="1064" y="5"/>
                  <a:pt x="1064" y="5"/>
                </a:cubicBezTo>
                <a:cubicBezTo>
                  <a:pt x="1065" y="3"/>
                  <a:pt x="1065" y="3"/>
                  <a:pt x="1065" y="3"/>
                </a:cubicBezTo>
                <a:cubicBezTo>
                  <a:pt x="1066" y="4"/>
                  <a:pt x="1066" y="4"/>
                  <a:pt x="1066" y="4"/>
                </a:cubicBezTo>
                <a:cubicBezTo>
                  <a:pt x="1066" y="5"/>
                  <a:pt x="1066" y="5"/>
                  <a:pt x="1066" y="5"/>
                </a:cubicBezTo>
                <a:cubicBezTo>
                  <a:pt x="1065" y="6"/>
                  <a:pt x="1065" y="6"/>
                  <a:pt x="1065" y="6"/>
                </a:cubicBezTo>
                <a:cubicBezTo>
                  <a:pt x="1066" y="8"/>
                  <a:pt x="1066" y="8"/>
                  <a:pt x="1066" y="8"/>
                </a:cubicBezTo>
                <a:cubicBezTo>
                  <a:pt x="1065" y="9"/>
                  <a:pt x="1065" y="9"/>
                  <a:pt x="1065" y="9"/>
                </a:cubicBezTo>
                <a:cubicBezTo>
                  <a:pt x="1066" y="10"/>
                  <a:pt x="1066" y="10"/>
                  <a:pt x="1066" y="10"/>
                </a:cubicBezTo>
                <a:cubicBezTo>
                  <a:pt x="1067" y="9"/>
                  <a:pt x="1067" y="9"/>
                  <a:pt x="1067" y="9"/>
                </a:cubicBezTo>
                <a:cubicBezTo>
                  <a:pt x="1068" y="10"/>
                  <a:pt x="1068" y="10"/>
                  <a:pt x="1068" y="10"/>
                </a:cubicBezTo>
                <a:cubicBezTo>
                  <a:pt x="1068" y="9"/>
                  <a:pt x="1068" y="9"/>
                  <a:pt x="1068" y="9"/>
                </a:cubicBezTo>
                <a:cubicBezTo>
                  <a:pt x="1068" y="7"/>
                  <a:pt x="1068" y="7"/>
                  <a:pt x="1068" y="7"/>
                </a:cubicBezTo>
                <a:cubicBezTo>
                  <a:pt x="1069" y="5"/>
                  <a:pt x="1069" y="5"/>
                  <a:pt x="1069" y="5"/>
                </a:cubicBezTo>
                <a:cubicBezTo>
                  <a:pt x="1068" y="2"/>
                  <a:pt x="1068" y="2"/>
                  <a:pt x="1068" y="2"/>
                </a:cubicBezTo>
                <a:cubicBezTo>
                  <a:pt x="1068" y="1"/>
                  <a:pt x="1068" y="1"/>
                  <a:pt x="1068" y="1"/>
                </a:cubicBezTo>
                <a:cubicBezTo>
                  <a:pt x="1069" y="0"/>
                  <a:pt x="1069" y="0"/>
                  <a:pt x="1069" y="0"/>
                </a:cubicBezTo>
                <a:cubicBezTo>
                  <a:pt x="1070" y="1"/>
                  <a:pt x="1070" y="1"/>
                  <a:pt x="1070" y="1"/>
                </a:cubicBezTo>
                <a:cubicBezTo>
                  <a:pt x="1071" y="1"/>
                  <a:pt x="1071" y="1"/>
                  <a:pt x="1071" y="1"/>
                </a:cubicBezTo>
                <a:cubicBezTo>
                  <a:pt x="1072" y="1"/>
                  <a:pt x="1072" y="1"/>
                  <a:pt x="1072" y="1"/>
                </a:cubicBezTo>
                <a:cubicBezTo>
                  <a:pt x="1074" y="1"/>
                  <a:pt x="1074" y="1"/>
                  <a:pt x="1074" y="1"/>
                </a:cubicBezTo>
                <a:cubicBezTo>
                  <a:pt x="1075" y="1"/>
                  <a:pt x="1075" y="1"/>
                  <a:pt x="1075" y="1"/>
                </a:cubicBezTo>
                <a:cubicBezTo>
                  <a:pt x="1076" y="2"/>
                  <a:pt x="1076" y="2"/>
                  <a:pt x="1076" y="2"/>
                </a:cubicBezTo>
                <a:cubicBezTo>
                  <a:pt x="1077" y="3"/>
                  <a:pt x="1077" y="3"/>
                  <a:pt x="1077" y="3"/>
                </a:cubicBezTo>
                <a:cubicBezTo>
                  <a:pt x="1079" y="2"/>
                  <a:pt x="1079" y="2"/>
                  <a:pt x="1079" y="2"/>
                </a:cubicBezTo>
                <a:cubicBezTo>
                  <a:pt x="1080" y="3"/>
                  <a:pt x="1080" y="3"/>
                  <a:pt x="1080" y="3"/>
                </a:cubicBezTo>
                <a:cubicBezTo>
                  <a:pt x="1081" y="4"/>
                  <a:pt x="1081" y="4"/>
                  <a:pt x="1081" y="4"/>
                </a:cubicBezTo>
                <a:cubicBezTo>
                  <a:pt x="1081" y="5"/>
                  <a:pt x="1081" y="5"/>
                  <a:pt x="1081" y="5"/>
                </a:cubicBezTo>
                <a:cubicBezTo>
                  <a:pt x="1081" y="6"/>
                  <a:pt x="1081" y="6"/>
                  <a:pt x="1081" y="6"/>
                </a:cubicBezTo>
                <a:cubicBezTo>
                  <a:pt x="1081" y="8"/>
                  <a:pt x="1081" y="8"/>
                  <a:pt x="1081" y="8"/>
                </a:cubicBezTo>
                <a:cubicBezTo>
                  <a:pt x="1081" y="9"/>
                  <a:pt x="1081" y="9"/>
                  <a:pt x="1081" y="9"/>
                </a:cubicBezTo>
                <a:cubicBezTo>
                  <a:pt x="1082" y="8"/>
                  <a:pt x="1082" y="8"/>
                  <a:pt x="1082" y="8"/>
                </a:cubicBezTo>
                <a:cubicBezTo>
                  <a:pt x="1083" y="7"/>
                  <a:pt x="1083" y="7"/>
                  <a:pt x="1083" y="7"/>
                </a:cubicBezTo>
                <a:cubicBezTo>
                  <a:pt x="1085" y="5"/>
                  <a:pt x="1085" y="5"/>
                  <a:pt x="1085" y="5"/>
                </a:cubicBezTo>
                <a:cubicBezTo>
                  <a:pt x="1086" y="4"/>
                  <a:pt x="1086" y="4"/>
                  <a:pt x="1086" y="4"/>
                </a:cubicBezTo>
                <a:cubicBezTo>
                  <a:pt x="1087" y="4"/>
                  <a:pt x="1087" y="4"/>
                  <a:pt x="1087" y="4"/>
                </a:cubicBezTo>
                <a:cubicBezTo>
                  <a:pt x="1089" y="5"/>
                  <a:pt x="1089" y="5"/>
                  <a:pt x="1089" y="5"/>
                </a:cubicBezTo>
                <a:cubicBezTo>
                  <a:pt x="1090" y="5"/>
                  <a:pt x="1090" y="5"/>
                  <a:pt x="1090" y="5"/>
                </a:cubicBezTo>
                <a:cubicBezTo>
                  <a:pt x="1090" y="6"/>
                  <a:pt x="1090" y="6"/>
                  <a:pt x="1090" y="6"/>
                </a:cubicBezTo>
                <a:cubicBezTo>
                  <a:pt x="1089" y="7"/>
                  <a:pt x="1089" y="7"/>
                  <a:pt x="1089" y="7"/>
                </a:cubicBezTo>
                <a:cubicBezTo>
                  <a:pt x="1089" y="9"/>
                  <a:pt x="1089" y="9"/>
                  <a:pt x="1089" y="9"/>
                </a:cubicBezTo>
                <a:cubicBezTo>
                  <a:pt x="1090" y="8"/>
                  <a:pt x="1090" y="8"/>
                  <a:pt x="1090" y="8"/>
                </a:cubicBezTo>
                <a:cubicBezTo>
                  <a:pt x="1090" y="7"/>
                  <a:pt x="1090" y="7"/>
                  <a:pt x="1090" y="7"/>
                </a:cubicBezTo>
                <a:cubicBezTo>
                  <a:pt x="1092" y="6"/>
                  <a:pt x="1092" y="6"/>
                  <a:pt x="1092" y="6"/>
                </a:cubicBezTo>
                <a:cubicBezTo>
                  <a:pt x="1093" y="6"/>
                  <a:pt x="1093" y="6"/>
                  <a:pt x="1093" y="6"/>
                </a:cubicBezTo>
                <a:cubicBezTo>
                  <a:pt x="1095" y="6"/>
                  <a:pt x="1095" y="6"/>
                  <a:pt x="1095" y="6"/>
                </a:cubicBezTo>
                <a:cubicBezTo>
                  <a:pt x="1097" y="7"/>
                  <a:pt x="1097" y="7"/>
                  <a:pt x="1097" y="7"/>
                </a:cubicBezTo>
                <a:cubicBezTo>
                  <a:pt x="1098" y="8"/>
                  <a:pt x="1098" y="8"/>
                  <a:pt x="1098" y="8"/>
                </a:cubicBezTo>
                <a:cubicBezTo>
                  <a:pt x="1097" y="8"/>
                  <a:pt x="1097" y="8"/>
                  <a:pt x="1097" y="8"/>
                </a:cubicBezTo>
                <a:cubicBezTo>
                  <a:pt x="1097" y="9"/>
                  <a:pt x="1097" y="9"/>
                  <a:pt x="1097" y="9"/>
                </a:cubicBezTo>
                <a:cubicBezTo>
                  <a:pt x="1096" y="10"/>
                  <a:pt x="1096" y="10"/>
                  <a:pt x="1096" y="10"/>
                </a:cubicBezTo>
                <a:cubicBezTo>
                  <a:pt x="1097" y="11"/>
                  <a:pt x="1097" y="11"/>
                  <a:pt x="1097" y="11"/>
                </a:cubicBezTo>
                <a:cubicBezTo>
                  <a:pt x="1098" y="10"/>
                  <a:pt x="1098" y="10"/>
                  <a:pt x="1098" y="10"/>
                </a:cubicBezTo>
                <a:cubicBezTo>
                  <a:pt x="1099" y="10"/>
                  <a:pt x="1099" y="10"/>
                  <a:pt x="1099" y="10"/>
                </a:cubicBezTo>
                <a:cubicBezTo>
                  <a:pt x="1099" y="11"/>
                  <a:pt x="1099" y="11"/>
                  <a:pt x="1099" y="11"/>
                </a:cubicBezTo>
                <a:cubicBezTo>
                  <a:pt x="1100" y="12"/>
                  <a:pt x="1100" y="12"/>
                  <a:pt x="1100" y="12"/>
                </a:cubicBezTo>
                <a:cubicBezTo>
                  <a:pt x="1100" y="11"/>
                  <a:pt x="1100" y="11"/>
                  <a:pt x="1100" y="11"/>
                </a:cubicBezTo>
                <a:cubicBezTo>
                  <a:pt x="1102" y="10"/>
                  <a:pt x="1102" y="10"/>
                  <a:pt x="1102" y="10"/>
                </a:cubicBezTo>
                <a:cubicBezTo>
                  <a:pt x="1102" y="11"/>
                  <a:pt x="1102" y="11"/>
                  <a:pt x="1102" y="11"/>
                </a:cubicBezTo>
                <a:cubicBezTo>
                  <a:pt x="1102" y="12"/>
                  <a:pt x="1102" y="12"/>
                  <a:pt x="1102" y="12"/>
                </a:cubicBezTo>
                <a:cubicBezTo>
                  <a:pt x="1102" y="13"/>
                  <a:pt x="1102" y="13"/>
                  <a:pt x="1102" y="13"/>
                </a:cubicBezTo>
                <a:cubicBezTo>
                  <a:pt x="1103" y="13"/>
                  <a:pt x="1103" y="13"/>
                  <a:pt x="1103" y="13"/>
                </a:cubicBezTo>
                <a:cubicBezTo>
                  <a:pt x="1104" y="12"/>
                  <a:pt x="1104" y="12"/>
                  <a:pt x="1104" y="12"/>
                </a:cubicBezTo>
                <a:cubicBezTo>
                  <a:pt x="1105" y="12"/>
                  <a:pt x="1105" y="12"/>
                  <a:pt x="1105" y="12"/>
                </a:cubicBezTo>
                <a:cubicBezTo>
                  <a:pt x="1105" y="13"/>
                  <a:pt x="1105" y="13"/>
                  <a:pt x="1105" y="13"/>
                </a:cubicBezTo>
                <a:cubicBezTo>
                  <a:pt x="1108" y="14"/>
                  <a:pt x="1108" y="14"/>
                  <a:pt x="1108" y="14"/>
                </a:cubicBezTo>
                <a:cubicBezTo>
                  <a:pt x="1109" y="14"/>
                  <a:pt x="1109" y="14"/>
                  <a:pt x="1109" y="14"/>
                </a:cubicBezTo>
                <a:cubicBezTo>
                  <a:pt x="1109" y="15"/>
                  <a:pt x="1109" y="15"/>
                  <a:pt x="1109" y="15"/>
                </a:cubicBezTo>
                <a:cubicBezTo>
                  <a:pt x="1106" y="16"/>
                  <a:pt x="1106" y="16"/>
                  <a:pt x="1106" y="16"/>
                </a:cubicBezTo>
                <a:cubicBezTo>
                  <a:pt x="1105" y="18"/>
                  <a:pt x="1105" y="18"/>
                  <a:pt x="1105" y="18"/>
                </a:cubicBezTo>
                <a:cubicBezTo>
                  <a:pt x="1104" y="18"/>
                  <a:pt x="1104" y="18"/>
                  <a:pt x="1104" y="18"/>
                </a:cubicBezTo>
                <a:cubicBezTo>
                  <a:pt x="1102" y="19"/>
                  <a:pt x="1102" y="19"/>
                  <a:pt x="1102" y="19"/>
                </a:cubicBezTo>
                <a:cubicBezTo>
                  <a:pt x="1101" y="19"/>
                  <a:pt x="1101" y="19"/>
                  <a:pt x="1101" y="19"/>
                </a:cubicBezTo>
                <a:cubicBezTo>
                  <a:pt x="1100" y="19"/>
                  <a:pt x="1100" y="19"/>
                  <a:pt x="1100" y="19"/>
                </a:cubicBezTo>
                <a:cubicBezTo>
                  <a:pt x="1099" y="19"/>
                  <a:pt x="1099" y="19"/>
                  <a:pt x="1099" y="19"/>
                </a:cubicBezTo>
                <a:cubicBezTo>
                  <a:pt x="1098" y="20"/>
                  <a:pt x="1098" y="20"/>
                  <a:pt x="1098" y="20"/>
                </a:cubicBezTo>
                <a:cubicBezTo>
                  <a:pt x="1100" y="20"/>
                  <a:pt x="1100" y="20"/>
                  <a:pt x="1100" y="20"/>
                </a:cubicBezTo>
                <a:cubicBezTo>
                  <a:pt x="1103" y="20"/>
                  <a:pt x="1103" y="20"/>
                  <a:pt x="1103" y="20"/>
                </a:cubicBezTo>
                <a:cubicBezTo>
                  <a:pt x="1104" y="21"/>
                  <a:pt x="1104" y="21"/>
                  <a:pt x="1104" y="21"/>
                </a:cubicBezTo>
                <a:cubicBezTo>
                  <a:pt x="1105" y="20"/>
                  <a:pt x="1105" y="20"/>
                  <a:pt x="1105" y="20"/>
                </a:cubicBezTo>
                <a:cubicBezTo>
                  <a:pt x="1106" y="19"/>
                  <a:pt x="1106" y="19"/>
                  <a:pt x="1106" y="19"/>
                </a:cubicBezTo>
                <a:cubicBezTo>
                  <a:pt x="1107" y="19"/>
                  <a:pt x="1107" y="19"/>
                  <a:pt x="1107" y="19"/>
                </a:cubicBezTo>
                <a:cubicBezTo>
                  <a:pt x="1108" y="18"/>
                  <a:pt x="1108" y="18"/>
                  <a:pt x="1108" y="18"/>
                </a:cubicBezTo>
                <a:cubicBezTo>
                  <a:pt x="1109" y="17"/>
                  <a:pt x="1109" y="17"/>
                  <a:pt x="1109" y="17"/>
                </a:cubicBezTo>
                <a:cubicBezTo>
                  <a:pt x="1111" y="17"/>
                  <a:pt x="1111" y="17"/>
                  <a:pt x="1111" y="17"/>
                </a:cubicBezTo>
                <a:cubicBezTo>
                  <a:pt x="1111" y="18"/>
                  <a:pt x="1111" y="18"/>
                  <a:pt x="1111" y="18"/>
                </a:cubicBezTo>
                <a:cubicBezTo>
                  <a:pt x="1111" y="19"/>
                  <a:pt x="1111" y="19"/>
                  <a:pt x="1111" y="19"/>
                </a:cubicBezTo>
                <a:cubicBezTo>
                  <a:pt x="1111" y="20"/>
                  <a:pt x="1111" y="20"/>
                  <a:pt x="1111" y="20"/>
                </a:cubicBezTo>
                <a:cubicBezTo>
                  <a:pt x="1112" y="20"/>
                  <a:pt x="1112" y="20"/>
                  <a:pt x="1112" y="20"/>
                </a:cubicBezTo>
                <a:cubicBezTo>
                  <a:pt x="1112" y="18"/>
                  <a:pt x="1112" y="18"/>
                  <a:pt x="1112" y="18"/>
                </a:cubicBezTo>
                <a:cubicBezTo>
                  <a:pt x="1114" y="17"/>
                  <a:pt x="1114" y="17"/>
                  <a:pt x="1114" y="17"/>
                </a:cubicBezTo>
                <a:cubicBezTo>
                  <a:pt x="1114" y="18"/>
                  <a:pt x="1114" y="18"/>
                  <a:pt x="1114" y="18"/>
                </a:cubicBezTo>
                <a:cubicBezTo>
                  <a:pt x="1113" y="19"/>
                  <a:pt x="1113" y="19"/>
                  <a:pt x="1113" y="19"/>
                </a:cubicBezTo>
                <a:cubicBezTo>
                  <a:pt x="1113" y="20"/>
                  <a:pt x="1113" y="20"/>
                  <a:pt x="1113" y="20"/>
                </a:cubicBezTo>
                <a:cubicBezTo>
                  <a:pt x="1113" y="21"/>
                  <a:pt x="1113" y="21"/>
                  <a:pt x="1113" y="21"/>
                </a:cubicBezTo>
                <a:cubicBezTo>
                  <a:pt x="1114" y="21"/>
                  <a:pt x="1114" y="21"/>
                  <a:pt x="1114" y="21"/>
                </a:cubicBezTo>
                <a:cubicBezTo>
                  <a:pt x="1115" y="20"/>
                  <a:pt x="1115" y="20"/>
                  <a:pt x="1115" y="20"/>
                </a:cubicBezTo>
                <a:cubicBezTo>
                  <a:pt x="1115" y="19"/>
                  <a:pt x="1115" y="19"/>
                  <a:pt x="1115" y="19"/>
                </a:cubicBezTo>
                <a:cubicBezTo>
                  <a:pt x="1116" y="19"/>
                  <a:pt x="1116" y="19"/>
                  <a:pt x="1116" y="19"/>
                </a:cubicBezTo>
                <a:cubicBezTo>
                  <a:pt x="1118" y="19"/>
                  <a:pt x="1118" y="19"/>
                  <a:pt x="1118" y="19"/>
                </a:cubicBezTo>
                <a:cubicBezTo>
                  <a:pt x="1117" y="22"/>
                  <a:pt x="1117" y="22"/>
                  <a:pt x="1117" y="22"/>
                </a:cubicBezTo>
                <a:cubicBezTo>
                  <a:pt x="1117" y="24"/>
                  <a:pt x="1117" y="24"/>
                  <a:pt x="1117" y="24"/>
                </a:cubicBezTo>
                <a:cubicBezTo>
                  <a:pt x="1117" y="25"/>
                  <a:pt x="1117" y="25"/>
                  <a:pt x="1117" y="25"/>
                </a:cubicBezTo>
                <a:cubicBezTo>
                  <a:pt x="1116" y="26"/>
                  <a:pt x="1116" y="26"/>
                  <a:pt x="1116" y="26"/>
                </a:cubicBezTo>
                <a:cubicBezTo>
                  <a:pt x="1115" y="27"/>
                  <a:pt x="1115" y="27"/>
                  <a:pt x="1115" y="27"/>
                </a:cubicBezTo>
                <a:cubicBezTo>
                  <a:pt x="1114" y="29"/>
                  <a:pt x="1114" y="29"/>
                  <a:pt x="1114" y="29"/>
                </a:cubicBezTo>
                <a:cubicBezTo>
                  <a:pt x="1114" y="30"/>
                  <a:pt x="1114" y="30"/>
                  <a:pt x="1114" y="30"/>
                </a:cubicBezTo>
                <a:cubicBezTo>
                  <a:pt x="1115" y="29"/>
                  <a:pt x="1115" y="29"/>
                  <a:pt x="1115" y="29"/>
                </a:cubicBezTo>
                <a:cubicBezTo>
                  <a:pt x="1116" y="28"/>
                  <a:pt x="1116" y="28"/>
                  <a:pt x="1116" y="28"/>
                </a:cubicBezTo>
                <a:cubicBezTo>
                  <a:pt x="1117" y="28"/>
                  <a:pt x="1117" y="28"/>
                  <a:pt x="1117" y="28"/>
                </a:cubicBezTo>
                <a:cubicBezTo>
                  <a:pt x="1118" y="28"/>
                  <a:pt x="1118" y="28"/>
                  <a:pt x="1118" y="28"/>
                </a:cubicBezTo>
                <a:cubicBezTo>
                  <a:pt x="1120" y="29"/>
                  <a:pt x="1120" y="29"/>
                  <a:pt x="1120" y="29"/>
                </a:cubicBezTo>
                <a:cubicBezTo>
                  <a:pt x="1120" y="30"/>
                  <a:pt x="1120" y="30"/>
                  <a:pt x="1120" y="30"/>
                </a:cubicBezTo>
                <a:cubicBezTo>
                  <a:pt x="1121" y="32"/>
                  <a:pt x="1121" y="32"/>
                  <a:pt x="1121" y="32"/>
                </a:cubicBezTo>
                <a:cubicBezTo>
                  <a:pt x="1120" y="35"/>
                  <a:pt x="1120" y="35"/>
                  <a:pt x="1120" y="35"/>
                </a:cubicBezTo>
                <a:cubicBezTo>
                  <a:pt x="1119" y="38"/>
                  <a:pt x="1119" y="38"/>
                  <a:pt x="1119" y="38"/>
                </a:cubicBezTo>
                <a:cubicBezTo>
                  <a:pt x="1116" y="39"/>
                  <a:pt x="1116" y="39"/>
                  <a:pt x="1116" y="39"/>
                </a:cubicBezTo>
                <a:cubicBezTo>
                  <a:pt x="1116" y="40"/>
                  <a:pt x="1116" y="40"/>
                  <a:pt x="1116" y="40"/>
                </a:cubicBezTo>
                <a:cubicBezTo>
                  <a:pt x="1115" y="39"/>
                  <a:pt x="1115" y="39"/>
                  <a:pt x="1115" y="39"/>
                </a:cubicBezTo>
                <a:cubicBezTo>
                  <a:pt x="1113" y="40"/>
                  <a:pt x="1113" y="40"/>
                  <a:pt x="1113" y="40"/>
                </a:cubicBezTo>
                <a:cubicBezTo>
                  <a:pt x="1113" y="41"/>
                  <a:pt x="1113" y="41"/>
                  <a:pt x="1113" y="41"/>
                </a:cubicBezTo>
                <a:cubicBezTo>
                  <a:pt x="1109" y="43"/>
                  <a:pt x="1109" y="43"/>
                  <a:pt x="1109" y="43"/>
                </a:cubicBezTo>
                <a:cubicBezTo>
                  <a:pt x="1107" y="44"/>
                  <a:pt x="1107" y="44"/>
                  <a:pt x="1107" y="44"/>
                </a:cubicBezTo>
                <a:cubicBezTo>
                  <a:pt x="1106" y="44"/>
                  <a:pt x="1106" y="44"/>
                  <a:pt x="1106" y="44"/>
                </a:cubicBezTo>
                <a:cubicBezTo>
                  <a:pt x="1105" y="45"/>
                  <a:pt x="1105" y="45"/>
                  <a:pt x="1105" y="45"/>
                </a:cubicBezTo>
                <a:cubicBezTo>
                  <a:pt x="1103" y="45"/>
                  <a:pt x="1103" y="45"/>
                  <a:pt x="1103" y="45"/>
                </a:cubicBezTo>
                <a:cubicBezTo>
                  <a:pt x="1102" y="44"/>
                  <a:pt x="1102" y="44"/>
                  <a:pt x="1102" y="44"/>
                </a:cubicBezTo>
                <a:cubicBezTo>
                  <a:pt x="1101" y="45"/>
                  <a:pt x="1101" y="45"/>
                  <a:pt x="1101" y="45"/>
                </a:cubicBezTo>
                <a:cubicBezTo>
                  <a:pt x="1101" y="46"/>
                  <a:pt x="1101" y="46"/>
                  <a:pt x="1101" y="46"/>
                </a:cubicBezTo>
                <a:cubicBezTo>
                  <a:pt x="1099" y="45"/>
                  <a:pt x="1099" y="45"/>
                  <a:pt x="1099" y="45"/>
                </a:cubicBezTo>
                <a:cubicBezTo>
                  <a:pt x="1098" y="44"/>
                  <a:pt x="1098" y="44"/>
                  <a:pt x="1098" y="44"/>
                </a:cubicBezTo>
                <a:cubicBezTo>
                  <a:pt x="1096" y="44"/>
                  <a:pt x="1096" y="44"/>
                  <a:pt x="1096" y="44"/>
                </a:cubicBezTo>
                <a:cubicBezTo>
                  <a:pt x="1097" y="45"/>
                  <a:pt x="1097" y="45"/>
                  <a:pt x="1097" y="45"/>
                </a:cubicBezTo>
                <a:cubicBezTo>
                  <a:pt x="1098" y="45"/>
                  <a:pt x="1098" y="45"/>
                  <a:pt x="1098" y="45"/>
                </a:cubicBezTo>
                <a:cubicBezTo>
                  <a:pt x="1097" y="46"/>
                  <a:pt x="1097" y="46"/>
                  <a:pt x="1097" y="46"/>
                </a:cubicBezTo>
                <a:cubicBezTo>
                  <a:pt x="1095" y="45"/>
                  <a:pt x="1095" y="45"/>
                  <a:pt x="1095" y="45"/>
                </a:cubicBezTo>
                <a:cubicBezTo>
                  <a:pt x="1094" y="45"/>
                  <a:pt x="1094" y="45"/>
                  <a:pt x="1094" y="45"/>
                </a:cubicBezTo>
                <a:cubicBezTo>
                  <a:pt x="1092" y="45"/>
                  <a:pt x="1092" y="45"/>
                  <a:pt x="1092" y="45"/>
                </a:cubicBezTo>
                <a:cubicBezTo>
                  <a:pt x="1091" y="44"/>
                  <a:pt x="1091" y="44"/>
                  <a:pt x="1091" y="44"/>
                </a:cubicBezTo>
                <a:cubicBezTo>
                  <a:pt x="1090" y="44"/>
                  <a:pt x="1090" y="44"/>
                  <a:pt x="1090" y="44"/>
                </a:cubicBezTo>
                <a:cubicBezTo>
                  <a:pt x="1089" y="44"/>
                  <a:pt x="1089" y="44"/>
                  <a:pt x="1089" y="44"/>
                </a:cubicBezTo>
                <a:cubicBezTo>
                  <a:pt x="1088" y="42"/>
                  <a:pt x="1088" y="42"/>
                  <a:pt x="1088" y="42"/>
                </a:cubicBezTo>
                <a:cubicBezTo>
                  <a:pt x="1086" y="41"/>
                  <a:pt x="1086" y="41"/>
                  <a:pt x="1086" y="41"/>
                </a:cubicBezTo>
                <a:cubicBezTo>
                  <a:pt x="1087" y="42"/>
                  <a:pt x="1087" y="42"/>
                  <a:pt x="1087" y="42"/>
                </a:cubicBezTo>
                <a:cubicBezTo>
                  <a:pt x="1088" y="44"/>
                  <a:pt x="1088" y="44"/>
                  <a:pt x="1088" y="44"/>
                </a:cubicBezTo>
                <a:cubicBezTo>
                  <a:pt x="1087" y="44"/>
                  <a:pt x="1087" y="44"/>
                  <a:pt x="1087" y="44"/>
                </a:cubicBezTo>
                <a:cubicBezTo>
                  <a:pt x="1085" y="44"/>
                  <a:pt x="1085" y="44"/>
                  <a:pt x="1085" y="44"/>
                </a:cubicBezTo>
                <a:cubicBezTo>
                  <a:pt x="1086" y="45"/>
                  <a:pt x="1086" y="45"/>
                  <a:pt x="1086" y="45"/>
                </a:cubicBezTo>
                <a:cubicBezTo>
                  <a:pt x="1090" y="45"/>
                  <a:pt x="1090" y="45"/>
                  <a:pt x="1090" y="45"/>
                </a:cubicBezTo>
                <a:cubicBezTo>
                  <a:pt x="1092" y="46"/>
                  <a:pt x="1092" y="46"/>
                  <a:pt x="1092" y="46"/>
                </a:cubicBezTo>
                <a:cubicBezTo>
                  <a:pt x="1093" y="47"/>
                  <a:pt x="1093" y="47"/>
                  <a:pt x="1093" y="47"/>
                </a:cubicBezTo>
                <a:cubicBezTo>
                  <a:pt x="1092" y="47"/>
                  <a:pt x="1092" y="47"/>
                  <a:pt x="1092" y="47"/>
                </a:cubicBezTo>
                <a:cubicBezTo>
                  <a:pt x="1087" y="50"/>
                  <a:pt x="1087" y="50"/>
                  <a:pt x="1087" y="50"/>
                </a:cubicBezTo>
                <a:cubicBezTo>
                  <a:pt x="1083" y="50"/>
                  <a:pt x="1083" y="50"/>
                  <a:pt x="1083" y="50"/>
                </a:cubicBezTo>
                <a:cubicBezTo>
                  <a:pt x="1082" y="50"/>
                  <a:pt x="1082" y="50"/>
                  <a:pt x="1082" y="50"/>
                </a:cubicBezTo>
                <a:cubicBezTo>
                  <a:pt x="1080" y="51"/>
                  <a:pt x="1080" y="51"/>
                  <a:pt x="1080" y="51"/>
                </a:cubicBezTo>
                <a:cubicBezTo>
                  <a:pt x="1078" y="50"/>
                  <a:pt x="1078" y="50"/>
                  <a:pt x="1078" y="50"/>
                </a:cubicBezTo>
                <a:cubicBezTo>
                  <a:pt x="1077" y="50"/>
                  <a:pt x="1077" y="50"/>
                  <a:pt x="1077" y="50"/>
                </a:cubicBezTo>
                <a:cubicBezTo>
                  <a:pt x="1076" y="50"/>
                  <a:pt x="1076" y="50"/>
                  <a:pt x="1076" y="50"/>
                </a:cubicBezTo>
                <a:cubicBezTo>
                  <a:pt x="1075" y="50"/>
                  <a:pt x="1075" y="50"/>
                  <a:pt x="1075" y="50"/>
                </a:cubicBezTo>
                <a:cubicBezTo>
                  <a:pt x="1074" y="51"/>
                  <a:pt x="1074" y="51"/>
                  <a:pt x="1074" y="51"/>
                </a:cubicBezTo>
                <a:cubicBezTo>
                  <a:pt x="1075" y="51"/>
                  <a:pt x="1075" y="51"/>
                  <a:pt x="1075" y="51"/>
                </a:cubicBezTo>
                <a:cubicBezTo>
                  <a:pt x="1076" y="52"/>
                  <a:pt x="1076" y="52"/>
                  <a:pt x="1076" y="52"/>
                </a:cubicBezTo>
                <a:cubicBezTo>
                  <a:pt x="1077" y="51"/>
                  <a:pt x="1077" y="51"/>
                  <a:pt x="1077" y="51"/>
                </a:cubicBezTo>
                <a:cubicBezTo>
                  <a:pt x="1078" y="51"/>
                  <a:pt x="1079" y="51"/>
                  <a:pt x="1080" y="51"/>
                </a:cubicBezTo>
                <a:cubicBezTo>
                  <a:pt x="1081" y="51"/>
                  <a:pt x="1081" y="51"/>
                  <a:pt x="1081" y="51"/>
                </a:cubicBezTo>
                <a:cubicBezTo>
                  <a:pt x="1082" y="51"/>
                  <a:pt x="1082" y="51"/>
                  <a:pt x="1082" y="51"/>
                </a:cubicBezTo>
                <a:cubicBezTo>
                  <a:pt x="1087" y="51"/>
                  <a:pt x="1087" y="51"/>
                  <a:pt x="1087" y="51"/>
                </a:cubicBezTo>
                <a:cubicBezTo>
                  <a:pt x="1090" y="51"/>
                  <a:pt x="1090" y="51"/>
                  <a:pt x="1090" y="51"/>
                </a:cubicBezTo>
                <a:cubicBezTo>
                  <a:pt x="1092" y="49"/>
                  <a:pt x="1092" y="49"/>
                  <a:pt x="1092" y="49"/>
                </a:cubicBezTo>
                <a:cubicBezTo>
                  <a:pt x="1094" y="49"/>
                  <a:pt x="1094" y="49"/>
                  <a:pt x="1094" y="49"/>
                </a:cubicBezTo>
                <a:cubicBezTo>
                  <a:pt x="1095" y="49"/>
                  <a:pt x="1095" y="49"/>
                  <a:pt x="1095" y="49"/>
                </a:cubicBezTo>
                <a:cubicBezTo>
                  <a:pt x="1096" y="49"/>
                  <a:pt x="1096" y="49"/>
                  <a:pt x="1096" y="49"/>
                </a:cubicBezTo>
                <a:cubicBezTo>
                  <a:pt x="1098" y="49"/>
                  <a:pt x="1098" y="49"/>
                  <a:pt x="1098" y="49"/>
                </a:cubicBezTo>
                <a:cubicBezTo>
                  <a:pt x="1097" y="50"/>
                  <a:pt x="1097" y="50"/>
                  <a:pt x="1097" y="50"/>
                </a:cubicBezTo>
                <a:cubicBezTo>
                  <a:pt x="1096" y="52"/>
                  <a:pt x="1096" y="52"/>
                  <a:pt x="1096" y="52"/>
                </a:cubicBezTo>
                <a:cubicBezTo>
                  <a:pt x="1094" y="53"/>
                  <a:pt x="1094" y="53"/>
                  <a:pt x="1094" y="53"/>
                </a:cubicBezTo>
                <a:cubicBezTo>
                  <a:pt x="1094" y="54"/>
                  <a:pt x="1094" y="54"/>
                  <a:pt x="1094" y="54"/>
                </a:cubicBezTo>
                <a:cubicBezTo>
                  <a:pt x="1091" y="54"/>
                  <a:pt x="1091" y="54"/>
                  <a:pt x="1091" y="54"/>
                </a:cubicBezTo>
                <a:cubicBezTo>
                  <a:pt x="1090" y="56"/>
                  <a:pt x="1090" y="56"/>
                  <a:pt x="1090" y="56"/>
                </a:cubicBezTo>
                <a:cubicBezTo>
                  <a:pt x="1089" y="56"/>
                  <a:pt x="1089" y="56"/>
                  <a:pt x="1089" y="56"/>
                </a:cubicBezTo>
                <a:cubicBezTo>
                  <a:pt x="1088" y="57"/>
                  <a:pt x="1088" y="57"/>
                  <a:pt x="1088" y="57"/>
                </a:cubicBezTo>
                <a:cubicBezTo>
                  <a:pt x="1086" y="58"/>
                  <a:pt x="1086" y="58"/>
                  <a:pt x="1086" y="58"/>
                </a:cubicBezTo>
                <a:cubicBezTo>
                  <a:pt x="1085" y="58"/>
                  <a:pt x="1085" y="58"/>
                  <a:pt x="1085" y="58"/>
                </a:cubicBezTo>
                <a:cubicBezTo>
                  <a:pt x="1084" y="58"/>
                  <a:pt x="1084" y="58"/>
                  <a:pt x="1084" y="58"/>
                </a:cubicBezTo>
                <a:cubicBezTo>
                  <a:pt x="1082" y="58"/>
                  <a:pt x="1082" y="58"/>
                  <a:pt x="1082" y="58"/>
                </a:cubicBezTo>
                <a:cubicBezTo>
                  <a:pt x="1081" y="59"/>
                  <a:pt x="1081" y="59"/>
                  <a:pt x="1081" y="59"/>
                </a:cubicBezTo>
                <a:cubicBezTo>
                  <a:pt x="1079" y="60"/>
                  <a:pt x="1079" y="60"/>
                  <a:pt x="1079" y="60"/>
                </a:cubicBezTo>
                <a:cubicBezTo>
                  <a:pt x="1078" y="61"/>
                  <a:pt x="1078" y="61"/>
                  <a:pt x="1078" y="61"/>
                </a:cubicBezTo>
                <a:cubicBezTo>
                  <a:pt x="1076" y="62"/>
                  <a:pt x="1076" y="62"/>
                  <a:pt x="1076" y="62"/>
                </a:cubicBezTo>
                <a:cubicBezTo>
                  <a:pt x="1075" y="62"/>
                  <a:pt x="1075" y="62"/>
                  <a:pt x="1075" y="62"/>
                </a:cubicBezTo>
                <a:cubicBezTo>
                  <a:pt x="1074" y="62"/>
                  <a:pt x="1074" y="62"/>
                  <a:pt x="1074" y="62"/>
                </a:cubicBezTo>
                <a:cubicBezTo>
                  <a:pt x="1073" y="63"/>
                  <a:pt x="1073" y="63"/>
                  <a:pt x="1073" y="63"/>
                </a:cubicBezTo>
                <a:cubicBezTo>
                  <a:pt x="1071" y="63"/>
                  <a:pt x="1071" y="63"/>
                  <a:pt x="1071" y="63"/>
                </a:cubicBezTo>
                <a:cubicBezTo>
                  <a:pt x="1071" y="65"/>
                  <a:pt x="1071" y="65"/>
                  <a:pt x="1071" y="65"/>
                </a:cubicBezTo>
                <a:cubicBezTo>
                  <a:pt x="1070" y="66"/>
                  <a:pt x="1070" y="66"/>
                  <a:pt x="1070" y="66"/>
                </a:cubicBezTo>
                <a:cubicBezTo>
                  <a:pt x="1069" y="67"/>
                  <a:pt x="1069" y="67"/>
                  <a:pt x="1069" y="67"/>
                </a:cubicBezTo>
                <a:cubicBezTo>
                  <a:pt x="1066" y="67"/>
                  <a:pt x="1066" y="67"/>
                  <a:pt x="1066" y="67"/>
                </a:cubicBezTo>
                <a:cubicBezTo>
                  <a:pt x="1065" y="67"/>
                  <a:pt x="1065" y="67"/>
                  <a:pt x="1065" y="67"/>
                </a:cubicBezTo>
                <a:cubicBezTo>
                  <a:pt x="1064" y="67"/>
                  <a:pt x="1064" y="67"/>
                  <a:pt x="1064" y="67"/>
                </a:cubicBezTo>
                <a:cubicBezTo>
                  <a:pt x="1064" y="66"/>
                  <a:pt x="1064" y="66"/>
                  <a:pt x="1064" y="66"/>
                </a:cubicBezTo>
                <a:cubicBezTo>
                  <a:pt x="1065" y="66"/>
                  <a:pt x="1065" y="66"/>
                  <a:pt x="1065" y="66"/>
                </a:cubicBezTo>
                <a:cubicBezTo>
                  <a:pt x="1065" y="65"/>
                  <a:pt x="1065" y="65"/>
                  <a:pt x="1065" y="65"/>
                </a:cubicBezTo>
                <a:cubicBezTo>
                  <a:pt x="1064" y="64"/>
                  <a:pt x="1064" y="64"/>
                  <a:pt x="1064" y="64"/>
                </a:cubicBezTo>
                <a:cubicBezTo>
                  <a:pt x="1064" y="66"/>
                  <a:pt x="1064" y="66"/>
                  <a:pt x="1064" y="66"/>
                </a:cubicBezTo>
                <a:cubicBezTo>
                  <a:pt x="1063" y="66"/>
                  <a:pt x="1063" y="66"/>
                  <a:pt x="1063" y="66"/>
                </a:cubicBezTo>
                <a:cubicBezTo>
                  <a:pt x="1063" y="67"/>
                  <a:pt x="1063" y="67"/>
                  <a:pt x="1063" y="67"/>
                </a:cubicBezTo>
                <a:cubicBezTo>
                  <a:pt x="1064" y="68"/>
                  <a:pt x="1064" y="68"/>
                  <a:pt x="1064" y="68"/>
                </a:cubicBezTo>
                <a:cubicBezTo>
                  <a:pt x="1065" y="69"/>
                  <a:pt x="1065" y="69"/>
                  <a:pt x="1065" y="69"/>
                </a:cubicBezTo>
                <a:cubicBezTo>
                  <a:pt x="1064" y="70"/>
                  <a:pt x="1064" y="70"/>
                  <a:pt x="1064" y="70"/>
                </a:cubicBezTo>
                <a:cubicBezTo>
                  <a:pt x="1063" y="70"/>
                  <a:pt x="1063" y="70"/>
                  <a:pt x="1063" y="70"/>
                </a:cubicBezTo>
                <a:cubicBezTo>
                  <a:pt x="1062" y="69"/>
                  <a:pt x="1062" y="69"/>
                  <a:pt x="1062" y="69"/>
                </a:cubicBezTo>
                <a:cubicBezTo>
                  <a:pt x="1061" y="70"/>
                  <a:pt x="1061" y="70"/>
                  <a:pt x="1061" y="70"/>
                </a:cubicBezTo>
                <a:cubicBezTo>
                  <a:pt x="1059" y="69"/>
                  <a:pt x="1059" y="69"/>
                  <a:pt x="1059" y="69"/>
                </a:cubicBezTo>
                <a:cubicBezTo>
                  <a:pt x="1058" y="70"/>
                  <a:pt x="1058" y="70"/>
                  <a:pt x="1058" y="70"/>
                </a:cubicBezTo>
                <a:cubicBezTo>
                  <a:pt x="1057" y="70"/>
                  <a:pt x="1057" y="70"/>
                  <a:pt x="1057" y="70"/>
                </a:cubicBezTo>
                <a:cubicBezTo>
                  <a:pt x="1057" y="69"/>
                  <a:pt x="1057" y="69"/>
                  <a:pt x="1057" y="69"/>
                </a:cubicBezTo>
                <a:cubicBezTo>
                  <a:pt x="1057" y="68"/>
                  <a:pt x="1057" y="68"/>
                  <a:pt x="1057" y="68"/>
                </a:cubicBezTo>
                <a:cubicBezTo>
                  <a:pt x="1056" y="69"/>
                  <a:pt x="1056" y="69"/>
                  <a:pt x="1056" y="69"/>
                </a:cubicBezTo>
                <a:cubicBezTo>
                  <a:pt x="1055" y="70"/>
                  <a:pt x="1055" y="70"/>
                  <a:pt x="1055" y="70"/>
                </a:cubicBezTo>
                <a:cubicBezTo>
                  <a:pt x="1057" y="71"/>
                  <a:pt x="1057" y="71"/>
                  <a:pt x="1057" y="71"/>
                </a:cubicBezTo>
                <a:cubicBezTo>
                  <a:pt x="1060" y="71"/>
                  <a:pt x="1060" y="71"/>
                  <a:pt x="1060" y="71"/>
                </a:cubicBezTo>
                <a:cubicBezTo>
                  <a:pt x="1061" y="72"/>
                  <a:pt x="1061" y="72"/>
                  <a:pt x="1061" y="72"/>
                </a:cubicBezTo>
                <a:cubicBezTo>
                  <a:pt x="1061" y="73"/>
                  <a:pt x="1061" y="73"/>
                  <a:pt x="1061" y="73"/>
                </a:cubicBezTo>
                <a:cubicBezTo>
                  <a:pt x="1060" y="74"/>
                  <a:pt x="1060" y="74"/>
                  <a:pt x="1060" y="74"/>
                </a:cubicBezTo>
                <a:cubicBezTo>
                  <a:pt x="1058" y="73"/>
                  <a:pt x="1058" y="73"/>
                  <a:pt x="1058" y="73"/>
                </a:cubicBezTo>
                <a:cubicBezTo>
                  <a:pt x="1056" y="74"/>
                  <a:pt x="1056" y="74"/>
                  <a:pt x="1056" y="74"/>
                </a:cubicBezTo>
                <a:cubicBezTo>
                  <a:pt x="1057" y="75"/>
                  <a:pt x="1057" y="75"/>
                  <a:pt x="1057" y="75"/>
                </a:cubicBezTo>
                <a:cubicBezTo>
                  <a:pt x="1057" y="74"/>
                  <a:pt x="1057" y="74"/>
                  <a:pt x="1057" y="74"/>
                </a:cubicBezTo>
                <a:cubicBezTo>
                  <a:pt x="1058" y="75"/>
                  <a:pt x="1058" y="75"/>
                  <a:pt x="1058" y="75"/>
                </a:cubicBezTo>
                <a:cubicBezTo>
                  <a:pt x="1058" y="76"/>
                  <a:pt x="1058" y="76"/>
                  <a:pt x="1058" y="76"/>
                </a:cubicBezTo>
                <a:cubicBezTo>
                  <a:pt x="1056" y="78"/>
                  <a:pt x="1056" y="78"/>
                  <a:pt x="1056" y="78"/>
                </a:cubicBezTo>
                <a:cubicBezTo>
                  <a:pt x="1054" y="78"/>
                  <a:pt x="1054" y="78"/>
                  <a:pt x="1054" y="78"/>
                </a:cubicBezTo>
                <a:cubicBezTo>
                  <a:pt x="1051" y="78"/>
                  <a:pt x="1051" y="78"/>
                  <a:pt x="1051" y="78"/>
                </a:cubicBezTo>
                <a:cubicBezTo>
                  <a:pt x="1051" y="77"/>
                  <a:pt x="1051" y="77"/>
                  <a:pt x="1051" y="77"/>
                </a:cubicBezTo>
                <a:cubicBezTo>
                  <a:pt x="1049" y="77"/>
                  <a:pt x="1049" y="77"/>
                  <a:pt x="1049" y="77"/>
                </a:cubicBezTo>
                <a:cubicBezTo>
                  <a:pt x="1049" y="76"/>
                  <a:pt x="1049" y="76"/>
                  <a:pt x="1049" y="76"/>
                </a:cubicBezTo>
                <a:cubicBezTo>
                  <a:pt x="1049" y="74"/>
                  <a:pt x="1049" y="74"/>
                  <a:pt x="1049" y="74"/>
                </a:cubicBezTo>
                <a:cubicBezTo>
                  <a:pt x="1047" y="74"/>
                  <a:pt x="1047" y="74"/>
                  <a:pt x="1047" y="74"/>
                </a:cubicBezTo>
                <a:cubicBezTo>
                  <a:pt x="1046" y="73"/>
                  <a:pt x="1046" y="73"/>
                  <a:pt x="1046" y="73"/>
                </a:cubicBezTo>
                <a:cubicBezTo>
                  <a:pt x="1046" y="72"/>
                  <a:pt x="1046" y="72"/>
                  <a:pt x="1046" y="72"/>
                </a:cubicBezTo>
                <a:cubicBezTo>
                  <a:pt x="1046" y="71"/>
                  <a:pt x="1046" y="71"/>
                  <a:pt x="1046" y="71"/>
                </a:cubicBezTo>
                <a:cubicBezTo>
                  <a:pt x="1045" y="72"/>
                  <a:pt x="1045" y="72"/>
                  <a:pt x="1045" y="72"/>
                </a:cubicBezTo>
                <a:cubicBezTo>
                  <a:pt x="1044" y="71"/>
                  <a:pt x="1044" y="71"/>
                  <a:pt x="1044" y="71"/>
                </a:cubicBezTo>
                <a:cubicBezTo>
                  <a:pt x="1042" y="72"/>
                  <a:pt x="1042" y="72"/>
                  <a:pt x="1042" y="72"/>
                </a:cubicBezTo>
                <a:cubicBezTo>
                  <a:pt x="1043" y="73"/>
                  <a:pt x="1043" y="73"/>
                  <a:pt x="1043" y="73"/>
                </a:cubicBezTo>
                <a:cubicBezTo>
                  <a:pt x="1043" y="72"/>
                  <a:pt x="1043" y="72"/>
                  <a:pt x="1043" y="72"/>
                </a:cubicBezTo>
                <a:cubicBezTo>
                  <a:pt x="1044" y="72"/>
                  <a:pt x="1044" y="72"/>
                  <a:pt x="1044" y="72"/>
                </a:cubicBezTo>
                <a:cubicBezTo>
                  <a:pt x="1047" y="75"/>
                  <a:pt x="1047" y="75"/>
                  <a:pt x="1047" y="75"/>
                </a:cubicBezTo>
                <a:cubicBezTo>
                  <a:pt x="1047" y="79"/>
                  <a:pt x="1047" y="79"/>
                  <a:pt x="1047" y="79"/>
                </a:cubicBezTo>
                <a:cubicBezTo>
                  <a:pt x="1046" y="79"/>
                  <a:pt x="1046" y="79"/>
                  <a:pt x="1046" y="79"/>
                </a:cubicBezTo>
                <a:cubicBezTo>
                  <a:pt x="1045" y="79"/>
                  <a:pt x="1045" y="79"/>
                  <a:pt x="1045" y="79"/>
                </a:cubicBezTo>
                <a:cubicBezTo>
                  <a:pt x="1044" y="78"/>
                  <a:pt x="1044" y="78"/>
                  <a:pt x="1044" y="78"/>
                </a:cubicBezTo>
                <a:cubicBezTo>
                  <a:pt x="1043" y="78"/>
                  <a:pt x="1043" y="78"/>
                  <a:pt x="1043" y="78"/>
                </a:cubicBezTo>
                <a:cubicBezTo>
                  <a:pt x="1043" y="79"/>
                  <a:pt x="1043" y="79"/>
                  <a:pt x="1043" y="79"/>
                </a:cubicBezTo>
                <a:cubicBezTo>
                  <a:pt x="1043" y="80"/>
                  <a:pt x="1043" y="80"/>
                  <a:pt x="1043" y="80"/>
                </a:cubicBezTo>
                <a:cubicBezTo>
                  <a:pt x="1042" y="78"/>
                  <a:pt x="1042" y="78"/>
                  <a:pt x="1042" y="78"/>
                </a:cubicBezTo>
                <a:cubicBezTo>
                  <a:pt x="1041" y="78"/>
                  <a:pt x="1041" y="78"/>
                  <a:pt x="1041" y="78"/>
                </a:cubicBezTo>
                <a:cubicBezTo>
                  <a:pt x="1040" y="79"/>
                  <a:pt x="1040" y="79"/>
                  <a:pt x="1040" y="79"/>
                </a:cubicBezTo>
                <a:cubicBezTo>
                  <a:pt x="1039" y="79"/>
                  <a:pt x="1039" y="79"/>
                  <a:pt x="1039" y="79"/>
                </a:cubicBezTo>
                <a:cubicBezTo>
                  <a:pt x="1037" y="78"/>
                  <a:pt x="1037" y="78"/>
                  <a:pt x="1037" y="78"/>
                </a:cubicBezTo>
                <a:cubicBezTo>
                  <a:pt x="1036" y="77"/>
                  <a:pt x="1036" y="77"/>
                  <a:pt x="1036" y="77"/>
                </a:cubicBezTo>
                <a:cubicBezTo>
                  <a:pt x="1035" y="76"/>
                  <a:pt x="1035" y="76"/>
                  <a:pt x="1035" y="76"/>
                </a:cubicBezTo>
                <a:cubicBezTo>
                  <a:pt x="1033" y="75"/>
                  <a:pt x="1033" y="75"/>
                  <a:pt x="1033" y="75"/>
                </a:cubicBezTo>
                <a:cubicBezTo>
                  <a:pt x="1032" y="74"/>
                  <a:pt x="1032" y="74"/>
                  <a:pt x="1032" y="74"/>
                </a:cubicBezTo>
                <a:cubicBezTo>
                  <a:pt x="1032" y="75"/>
                  <a:pt x="1032" y="75"/>
                  <a:pt x="1032" y="75"/>
                </a:cubicBezTo>
                <a:cubicBezTo>
                  <a:pt x="1032" y="76"/>
                  <a:pt x="1032" y="76"/>
                  <a:pt x="1032" y="76"/>
                </a:cubicBezTo>
                <a:cubicBezTo>
                  <a:pt x="1033" y="76"/>
                  <a:pt x="1033" y="76"/>
                  <a:pt x="1033" y="76"/>
                </a:cubicBezTo>
                <a:cubicBezTo>
                  <a:pt x="1035" y="77"/>
                  <a:pt x="1035" y="77"/>
                  <a:pt x="1035" y="77"/>
                </a:cubicBezTo>
                <a:cubicBezTo>
                  <a:pt x="1036" y="79"/>
                  <a:pt x="1036" y="79"/>
                  <a:pt x="1036" y="79"/>
                </a:cubicBezTo>
                <a:cubicBezTo>
                  <a:pt x="1035" y="80"/>
                  <a:pt x="1035" y="80"/>
                  <a:pt x="1035" y="80"/>
                </a:cubicBezTo>
                <a:cubicBezTo>
                  <a:pt x="1032" y="79"/>
                  <a:pt x="1032" y="79"/>
                  <a:pt x="1032" y="79"/>
                </a:cubicBezTo>
                <a:cubicBezTo>
                  <a:pt x="1031" y="78"/>
                  <a:pt x="1031" y="78"/>
                  <a:pt x="1031" y="78"/>
                </a:cubicBezTo>
                <a:cubicBezTo>
                  <a:pt x="1031" y="77"/>
                  <a:pt x="1031" y="77"/>
                  <a:pt x="1031" y="77"/>
                </a:cubicBezTo>
                <a:cubicBezTo>
                  <a:pt x="1030" y="76"/>
                  <a:pt x="1030" y="76"/>
                  <a:pt x="1030" y="76"/>
                </a:cubicBezTo>
                <a:cubicBezTo>
                  <a:pt x="1030" y="77"/>
                  <a:pt x="1030" y="77"/>
                  <a:pt x="1030" y="77"/>
                </a:cubicBezTo>
                <a:cubicBezTo>
                  <a:pt x="1030" y="78"/>
                  <a:pt x="1030" y="78"/>
                  <a:pt x="1030" y="78"/>
                </a:cubicBezTo>
                <a:cubicBezTo>
                  <a:pt x="1029" y="78"/>
                  <a:pt x="1029" y="78"/>
                  <a:pt x="1029" y="78"/>
                </a:cubicBezTo>
                <a:cubicBezTo>
                  <a:pt x="1028" y="77"/>
                  <a:pt x="1028" y="77"/>
                  <a:pt x="1028" y="77"/>
                </a:cubicBezTo>
                <a:cubicBezTo>
                  <a:pt x="1027" y="77"/>
                  <a:pt x="1027" y="77"/>
                  <a:pt x="1027" y="77"/>
                </a:cubicBezTo>
                <a:cubicBezTo>
                  <a:pt x="1027" y="78"/>
                  <a:pt x="1027" y="78"/>
                  <a:pt x="1027" y="78"/>
                </a:cubicBezTo>
                <a:cubicBezTo>
                  <a:pt x="1029" y="79"/>
                  <a:pt x="1029" y="79"/>
                  <a:pt x="1029" y="79"/>
                </a:cubicBezTo>
                <a:cubicBezTo>
                  <a:pt x="1029" y="80"/>
                  <a:pt x="1029" y="80"/>
                  <a:pt x="1029" y="80"/>
                </a:cubicBezTo>
                <a:cubicBezTo>
                  <a:pt x="1030" y="80"/>
                  <a:pt x="1030" y="80"/>
                  <a:pt x="1030" y="80"/>
                </a:cubicBezTo>
                <a:cubicBezTo>
                  <a:pt x="1031" y="80"/>
                  <a:pt x="1031" y="80"/>
                  <a:pt x="1031" y="80"/>
                </a:cubicBezTo>
                <a:cubicBezTo>
                  <a:pt x="1032" y="80"/>
                  <a:pt x="1032" y="80"/>
                  <a:pt x="1032" y="80"/>
                </a:cubicBezTo>
                <a:cubicBezTo>
                  <a:pt x="1033" y="81"/>
                  <a:pt x="1033" y="81"/>
                  <a:pt x="1033" y="81"/>
                </a:cubicBezTo>
                <a:cubicBezTo>
                  <a:pt x="1034" y="82"/>
                  <a:pt x="1034" y="82"/>
                  <a:pt x="1034" y="82"/>
                </a:cubicBezTo>
                <a:cubicBezTo>
                  <a:pt x="1035" y="82"/>
                  <a:pt x="1035" y="82"/>
                  <a:pt x="1035" y="82"/>
                </a:cubicBezTo>
                <a:cubicBezTo>
                  <a:pt x="1036" y="82"/>
                  <a:pt x="1036" y="82"/>
                  <a:pt x="1036" y="82"/>
                </a:cubicBezTo>
                <a:cubicBezTo>
                  <a:pt x="1039" y="82"/>
                  <a:pt x="1039" y="82"/>
                  <a:pt x="1039" y="82"/>
                </a:cubicBezTo>
                <a:cubicBezTo>
                  <a:pt x="1040" y="83"/>
                  <a:pt x="1040" y="83"/>
                  <a:pt x="1040" y="83"/>
                </a:cubicBezTo>
                <a:cubicBezTo>
                  <a:pt x="1039" y="84"/>
                  <a:pt x="1039" y="84"/>
                  <a:pt x="1039" y="84"/>
                </a:cubicBezTo>
                <a:cubicBezTo>
                  <a:pt x="1039" y="85"/>
                  <a:pt x="1039" y="85"/>
                  <a:pt x="1039" y="85"/>
                </a:cubicBezTo>
                <a:cubicBezTo>
                  <a:pt x="1039" y="86"/>
                  <a:pt x="1039" y="86"/>
                  <a:pt x="1039" y="86"/>
                </a:cubicBezTo>
                <a:cubicBezTo>
                  <a:pt x="1039" y="87"/>
                  <a:pt x="1039" y="87"/>
                  <a:pt x="1039" y="87"/>
                </a:cubicBezTo>
                <a:cubicBezTo>
                  <a:pt x="1039" y="88"/>
                  <a:pt x="1039" y="88"/>
                  <a:pt x="1039" y="88"/>
                </a:cubicBezTo>
                <a:cubicBezTo>
                  <a:pt x="1038" y="88"/>
                  <a:pt x="1038" y="88"/>
                  <a:pt x="1038" y="88"/>
                </a:cubicBezTo>
                <a:cubicBezTo>
                  <a:pt x="1037" y="87"/>
                  <a:pt x="1037" y="87"/>
                  <a:pt x="1037" y="87"/>
                </a:cubicBezTo>
                <a:cubicBezTo>
                  <a:pt x="1036" y="86"/>
                  <a:pt x="1036" y="86"/>
                  <a:pt x="1036" y="86"/>
                </a:cubicBezTo>
                <a:cubicBezTo>
                  <a:pt x="1034" y="85"/>
                  <a:pt x="1034" y="85"/>
                  <a:pt x="1034" y="85"/>
                </a:cubicBezTo>
                <a:cubicBezTo>
                  <a:pt x="1033" y="84"/>
                  <a:pt x="1033" y="84"/>
                  <a:pt x="1033" y="84"/>
                </a:cubicBezTo>
                <a:cubicBezTo>
                  <a:pt x="1034" y="83"/>
                  <a:pt x="1034" y="83"/>
                  <a:pt x="1034" y="83"/>
                </a:cubicBezTo>
                <a:cubicBezTo>
                  <a:pt x="1033" y="82"/>
                  <a:pt x="1033" y="82"/>
                  <a:pt x="1033" y="82"/>
                </a:cubicBezTo>
                <a:cubicBezTo>
                  <a:pt x="1031" y="82"/>
                  <a:pt x="1031" y="82"/>
                  <a:pt x="1031" y="82"/>
                </a:cubicBezTo>
                <a:cubicBezTo>
                  <a:pt x="1028" y="81"/>
                  <a:pt x="1028" y="81"/>
                  <a:pt x="1028" y="81"/>
                </a:cubicBezTo>
                <a:cubicBezTo>
                  <a:pt x="1027" y="80"/>
                  <a:pt x="1027" y="80"/>
                  <a:pt x="1027" y="80"/>
                </a:cubicBezTo>
                <a:cubicBezTo>
                  <a:pt x="1026" y="81"/>
                  <a:pt x="1026" y="81"/>
                  <a:pt x="1026" y="81"/>
                </a:cubicBezTo>
                <a:cubicBezTo>
                  <a:pt x="1028" y="82"/>
                  <a:pt x="1028" y="82"/>
                  <a:pt x="1028" y="82"/>
                </a:cubicBezTo>
                <a:cubicBezTo>
                  <a:pt x="1030" y="82"/>
                  <a:pt x="1030" y="82"/>
                  <a:pt x="1030" y="82"/>
                </a:cubicBezTo>
                <a:cubicBezTo>
                  <a:pt x="1033" y="83"/>
                  <a:pt x="1033" y="83"/>
                  <a:pt x="1033" y="83"/>
                </a:cubicBezTo>
                <a:cubicBezTo>
                  <a:pt x="1033" y="84"/>
                  <a:pt x="1033" y="84"/>
                  <a:pt x="1033" y="84"/>
                </a:cubicBezTo>
                <a:cubicBezTo>
                  <a:pt x="1032" y="84"/>
                  <a:pt x="1032" y="84"/>
                  <a:pt x="1032" y="84"/>
                </a:cubicBezTo>
                <a:cubicBezTo>
                  <a:pt x="1031" y="84"/>
                  <a:pt x="1031" y="84"/>
                  <a:pt x="1031" y="84"/>
                </a:cubicBezTo>
                <a:cubicBezTo>
                  <a:pt x="1028" y="83"/>
                  <a:pt x="1028" y="83"/>
                  <a:pt x="1028" y="83"/>
                </a:cubicBezTo>
                <a:cubicBezTo>
                  <a:pt x="1027" y="84"/>
                  <a:pt x="1027" y="84"/>
                  <a:pt x="1027" y="84"/>
                </a:cubicBezTo>
                <a:cubicBezTo>
                  <a:pt x="1027" y="83"/>
                  <a:pt x="1027" y="83"/>
                  <a:pt x="1027" y="83"/>
                </a:cubicBezTo>
                <a:cubicBezTo>
                  <a:pt x="1026" y="83"/>
                  <a:pt x="1026" y="83"/>
                  <a:pt x="1026" y="83"/>
                </a:cubicBezTo>
                <a:cubicBezTo>
                  <a:pt x="1024" y="82"/>
                  <a:pt x="1024" y="82"/>
                  <a:pt x="1024" y="82"/>
                </a:cubicBezTo>
                <a:cubicBezTo>
                  <a:pt x="1023" y="82"/>
                  <a:pt x="1023" y="82"/>
                  <a:pt x="1023" y="82"/>
                </a:cubicBezTo>
                <a:cubicBezTo>
                  <a:pt x="1025" y="83"/>
                  <a:pt x="1025" y="83"/>
                  <a:pt x="1025" y="83"/>
                </a:cubicBezTo>
                <a:cubicBezTo>
                  <a:pt x="1025" y="84"/>
                  <a:pt x="1025" y="84"/>
                  <a:pt x="1025" y="84"/>
                </a:cubicBezTo>
                <a:cubicBezTo>
                  <a:pt x="1025" y="85"/>
                  <a:pt x="1025" y="85"/>
                  <a:pt x="1025" y="85"/>
                </a:cubicBezTo>
                <a:cubicBezTo>
                  <a:pt x="1026" y="85"/>
                  <a:pt x="1026" y="85"/>
                  <a:pt x="1026" y="85"/>
                </a:cubicBezTo>
                <a:cubicBezTo>
                  <a:pt x="1027" y="85"/>
                  <a:pt x="1027" y="85"/>
                  <a:pt x="1027" y="85"/>
                </a:cubicBezTo>
                <a:cubicBezTo>
                  <a:pt x="1028" y="85"/>
                  <a:pt x="1028" y="85"/>
                  <a:pt x="1028" y="85"/>
                </a:cubicBezTo>
                <a:cubicBezTo>
                  <a:pt x="1028" y="84"/>
                  <a:pt x="1028" y="84"/>
                  <a:pt x="1028" y="84"/>
                </a:cubicBezTo>
                <a:cubicBezTo>
                  <a:pt x="1029" y="85"/>
                  <a:pt x="1029" y="85"/>
                  <a:pt x="1029" y="85"/>
                </a:cubicBezTo>
                <a:cubicBezTo>
                  <a:pt x="1030" y="85"/>
                  <a:pt x="1030" y="85"/>
                  <a:pt x="1030" y="85"/>
                </a:cubicBezTo>
                <a:cubicBezTo>
                  <a:pt x="1031" y="85"/>
                  <a:pt x="1031" y="85"/>
                  <a:pt x="1031" y="85"/>
                </a:cubicBezTo>
                <a:cubicBezTo>
                  <a:pt x="1033" y="87"/>
                  <a:pt x="1033" y="87"/>
                  <a:pt x="1033" y="87"/>
                </a:cubicBezTo>
                <a:cubicBezTo>
                  <a:pt x="1031" y="87"/>
                  <a:pt x="1031" y="87"/>
                  <a:pt x="1031" y="87"/>
                </a:cubicBezTo>
                <a:cubicBezTo>
                  <a:pt x="1030" y="88"/>
                  <a:pt x="1030" y="88"/>
                  <a:pt x="1030" y="88"/>
                </a:cubicBezTo>
                <a:cubicBezTo>
                  <a:pt x="1031" y="88"/>
                  <a:pt x="1031" y="88"/>
                  <a:pt x="1031" y="88"/>
                </a:cubicBezTo>
                <a:cubicBezTo>
                  <a:pt x="1032" y="88"/>
                  <a:pt x="1032" y="88"/>
                  <a:pt x="1032" y="88"/>
                </a:cubicBezTo>
                <a:cubicBezTo>
                  <a:pt x="1033" y="88"/>
                  <a:pt x="1033" y="88"/>
                  <a:pt x="1033" y="88"/>
                </a:cubicBezTo>
                <a:cubicBezTo>
                  <a:pt x="1034" y="89"/>
                  <a:pt x="1034" y="89"/>
                  <a:pt x="1034" y="89"/>
                </a:cubicBezTo>
                <a:cubicBezTo>
                  <a:pt x="1035" y="90"/>
                  <a:pt x="1035" y="90"/>
                  <a:pt x="1035" y="90"/>
                </a:cubicBezTo>
                <a:cubicBezTo>
                  <a:pt x="1035" y="91"/>
                  <a:pt x="1035" y="91"/>
                  <a:pt x="1035" y="91"/>
                </a:cubicBezTo>
                <a:cubicBezTo>
                  <a:pt x="1034" y="93"/>
                  <a:pt x="1034" y="93"/>
                  <a:pt x="1034" y="93"/>
                </a:cubicBezTo>
                <a:cubicBezTo>
                  <a:pt x="1033" y="95"/>
                  <a:pt x="1033" y="95"/>
                  <a:pt x="1033" y="95"/>
                </a:cubicBezTo>
                <a:cubicBezTo>
                  <a:pt x="1031" y="97"/>
                  <a:pt x="1031" y="97"/>
                  <a:pt x="1031" y="97"/>
                </a:cubicBezTo>
                <a:cubicBezTo>
                  <a:pt x="1030" y="96"/>
                  <a:pt x="1030" y="96"/>
                  <a:pt x="1030" y="96"/>
                </a:cubicBezTo>
                <a:cubicBezTo>
                  <a:pt x="1029" y="96"/>
                  <a:pt x="1029" y="96"/>
                  <a:pt x="1029" y="96"/>
                </a:cubicBezTo>
                <a:cubicBezTo>
                  <a:pt x="1028" y="96"/>
                  <a:pt x="1028" y="96"/>
                  <a:pt x="1028" y="96"/>
                </a:cubicBezTo>
                <a:cubicBezTo>
                  <a:pt x="1028" y="95"/>
                  <a:pt x="1028" y="95"/>
                  <a:pt x="1028" y="95"/>
                </a:cubicBezTo>
                <a:cubicBezTo>
                  <a:pt x="1027" y="94"/>
                  <a:pt x="1027" y="94"/>
                  <a:pt x="1027" y="94"/>
                </a:cubicBezTo>
                <a:cubicBezTo>
                  <a:pt x="1025" y="94"/>
                  <a:pt x="1025" y="94"/>
                  <a:pt x="1025" y="94"/>
                </a:cubicBezTo>
                <a:cubicBezTo>
                  <a:pt x="1026" y="95"/>
                  <a:pt x="1026" y="95"/>
                  <a:pt x="1026" y="95"/>
                </a:cubicBezTo>
                <a:cubicBezTo>
                  <a:pt x="1027" y="96"/>
                  <a:pt x="1027" y="96"/>
                  <a:pt x="1027" y="96"/>
                </a:cubicBezTo>
                <a:cubicBezTo>
                  <a:pt x="1028" y="96"/>
                  <a:pt x="1028" y="96"/>
                  <a:pt x="1028" y="96"/>
                </a:cubicBezTo>
                <a:cubicBezTo>
                  <a:pt x="1030" y="97"/>
                  <a:pt x="1030" y="97"/>
                  <a:pt x="1030" y="97"/>
                </a:cubicBezTo>
                <a:cubicBezTo>
                  <a:pt x="1030" y="99"/>
                  <a:pt x="1030" y="99"/>
                  <a:pt x="1030" y="99"/>
                </a:cubicBezTo>
                <a:cubicBezTo>
                  <a:pt x="1029" y="100"/>
                  <a:pt x="1029" y="100"/>
                  <a:pt x="1029" y="100"/>
                </a:cubicBezTo>
                <a:cubicBezTo>
                  <a:pt x="1028" y="100"/>
                  <a:pt x="1028" y="100"/>
                  <a:pt x="1028" y="100"/>
                </a:cubicBezTo>
                <a:cubicBezTo>
                  <a:pt x="1027" y="101"/>
                  <a:pt x="1027" y="101"/>
                  <a:pt x="1027" y="101"/>
                </a:cubicBezTo>
                <a:cubicBezTo>
                  <a:pt x="1026" y="101"/>
                  <a:pt x="1026" y="101"/>
                  <a:pt x="1026" y="101"/>
                </a:cubicBezTo>
                <a:cubicBezTo>
                  <a:pt x="1024" y="100"/>
                  <a:pt x="1024" y="100"/>
                  <a:pt x="1024" y="100"/>
                </a:cubicBezTo>
                <a:cubicBezTo>
                  <a:pt x="1023" y="100"/>
                  <a:pt x="1023" y="100"/>
                  <a:pt x="1023" y="100"/>
                </a:cubicBezTo>
                <a:cubicBezTo>
                  <a:pt x="1023" y="99"/>
                  <a:pt x="1023" y="99"/>
                  <a:pt x="1023" y="99"/>
                </a:cubicBezTo>
                <a:cubicBezTo>
                  <a:pt x="1021" y="99"/>
                  <a:pt x="1021" y="99"/>
                  <a:pt x="1021" y="99"/>
                </a:cubicBezTo>
                <a:cubicBezTo>
                  <a:pt x="1021" y="100"/>
                  <a:pt x="1021" y="100"/>
                  <a:pt x="1021" y="100"/>
                </a:cubicBezTo>
                <a:cubicBezTo>
                  <a:pt x="1021" y="101"/>
                  <a:pt x="1021" y="101"/>
                  <a:pt x="1021" y="101"/>
                </a:cubicBezTo>
                <a:cubicBezTo>
                  <a:pt x="1025" y="103"/>
                  <a:pt x="1025" y="103"/>
                  <a:pt x="1025" y="103"/>
                </a:cubicBezTo>
                <a:cubicBezTo>
                  <a:pt x="1026" y="103"/>
                  <a:pt x="1026" y="103"/>
                  <a:pt x="1026" y="103"/>
                </a:cubicBezTo>
                <a:cubicBezTo>
                  <a:pt x="1025" y="104"/>
                  <a:pt x="1025" y="104"/>
                  <a:pt x="1025" y="104"/>
                </a:cubicBezTo>
                <a:cubicBezTo>
                  <a:pt x="1024" y="105"/>
                  <a:pt x="1024" y="105"/>
                  <a:pt x="1024" y="105"/>
                </a:cubicBezTo>
                <a:cubicBezTo>
                  <a:pt x="1023" y="105"/>
                  <a:pt x="1023" y="105"/>
                  <a:pt x="1023" y="105"/>
                </a:cubicBezTo>
                <a:cubicBezTo>
                  <a:pt x="1022" y="104"/>
                  <a:pt x="1022" y="104"/>
                  <a:pt x="1022" y="104"/>
                </a:cubicBezTo>
                <a:cubicBezTo>
                  <a:pt x="1021" y="104"/>
                  <a:pt x="1021" y="104"/>
                  <a:pt x="1021" y="104"/>
                </a:cubicBezTo>
                <a:cubicBezTo>
                  <a:pt x="1020" y="105"/>
                  <a:pt x="1020" y="105"/>
                  <a:pt x="1020" y="105"/>
                </a:cubicBezTo>
                <a:cubicBezTo>
                  <a:pt x="1018" y="105"/>
                  <a:pt x="1018" y="105"/>
                  <a:pt x="1018" y="105"/>
                </a:cubicBezTo>
                <a:cubicBezTo>
                  <a:pt x="1017" y="104"/>
                  <a:pt x="1017" y="104"/>
                  <a:pt x="1017" y="104"/>
                </a:cubicBezTo>
                <a:cubicBezTo>
                  <a:pt x="1014" y="104"/>
                  <a:pt x="1014" y="104"/>
                  <a:pt x="1014" y="104"/>
                </a:cubicBezTo>
                <a:cubicBezTo>
                  <a:pt x="1013" y="104"/>
                  <a:pt x="1013" y="104"/>
                  <a:pt x="1013" y="104"/>
                </a:cubicBezTo>
                <a:cubicBezTo>
                  <a:pt x="1013" y="105"/>
                  <a:pt x="1013" y="105"/>
                  <a:pt x="1013" y="105"/>
                </a:cubicBezTo>
                <a:cubicBezTo>
                  <a:pt x="1013" y="106"/>
                  <a:pt x="1013" y="106"/>
                  <a:pt x="1013" y="106"/>
                </a:cubicBezTo>
                <a:cubicBezTo>
                  <a:pt x="1011" y="107"/>
                  <a:pt x="1011" y="107"/>
                  <a:pt x="1011" y="107"/>
                </a:cubicBezTo>
                <a:cubicBezTo>
                  <a:pt x="1012" y="107"/>
                  <a:pt x="1012" y="107"/>
                  <a:pt x="1012" y="107"/>
                </a:cubicBezTo>
                <a:cubicBezTo>
                  <a:pt x="1013" y="108"/>
                  <a:pt x="1013" y="108"/>
                  <a:pt x="1013" y="108"/>
                </a:cubicBezTo>
                <a:cubicBezTo>
                  <a:pt x="1013" y="109"/>
                  <a:pt x="1013" y="109"/>
                  <a:pt x="1013" y="109"/>
                </a:cubicBezTo>
                <a:cubicBezTo>
                  <a:pt x="1011" y="110"/>
                  <a:pt x="1011" y="110"/>
                  <a:pt x="1011" y="110"/>
                </a:cubicBezTo>
                <a:cubicBezTo>
                  <a:pt x="1011" y="111"/>
                  <a:pt x="1011" y="111"/>
                  <a:pt x="1011" y="111"/>
                </a:cubicBezTo>
                <a:cubicBezTo>
                  <a:pt x="1010" y="112"/>
                  <a:pt x="1010" y="112"/>
                  <a:pt x="1010" y="112"/>
                </a:cubicBezTo>
                <a:cubicBezTo>
                  <a:pt x="1009" y="112"/>
                  <a:pt x="1009" y="112"/>
                  <a:pt x="1009" y="112"/>
                </a:cubicBezTo>
                <a:cubicBezTo>
                  <a:pt x="1009" y="113"/>
                  <a:pt x="1009" y="113"/>
                  <a:pt x="1009" y="113"/>
                </a:cubicBezTo>
                <a:cubicBezTo>
                  <a:pt x="1007" y="113"/>
                  <a:pt x="1007" y="113"/>
                  <a:pt x="1007" y="113"/>
                </a:cubicBezTo>
                <a:cubicBezTo>
                  <a:pt x="1006" y="113"/>
                  <a:pt x="1006" y="113"/>
                  <a:pt x="1006" y="113"/>
                </a:cubicBezTo>
                <a:cubicBezTo>
                  <a:pt x="1007" y="112"/>
                  <a:pt x="1007" y="112"/>
                  <a:pt x="1007" y="112"/>
                </a:cubicBezTo>
                <a:cubicBezTo>
                  <a:pt x="1006" y="112"/>
                  <a:pt x="1006" y="112"/>
                  <a:pt x="1006" y="112"/>
                </a:cubicBezTo>
                <a:cubicBezTo>
                  <a:pt x="1006" y="113"/>
                  <a:pt x="1006" y="113"/>
                  <a:pt x="1006" y="113"/>
                </a:cubicBezTo>
                <a:cubicBezTo>
                  <a:pt x="1005" y="115"/>
                  <a:pt x="1005" y="115"/>
                  <a:pt x="1005" y="115"/>
                </a:cubicBezTo>
                <a:cubicBezTo>
                  <a:pt x="1004" y="115"/>
                  <a:pt x="1004" y="115"/>
                  <a:pt x="1004" y="115"/>
                </a:cubicBezTo>
                <a:cubicBezTo>
                  <a:pt x="1001" y="114"/>
                  <a:pt x="1001" y="114"/>
                  <a:pt x="1001" y="114"/>
                </a:cubicBezTo>
                <a:cubicBezTo>
                  <a:pt x="1000" y="114"/>
                  <a:pt x="1000" y="114"/>
                  <a:pt x="1000" y="114"/>
                </a:cubicBezTo>
                <a:cubicBezTo>
                  <a:pt x="999" y="114"/>
                  <a:pt x="999" y="114"/>
                  <a:pt x="999" y="114"/>
                </a:cubicBezTo>
                <a:cubicBezTo>
                  <a:pt x="998" y="114"/>
                  <a:pt x="998" y="114"/>
                  <a:pt x="998" y="114"/>
                </a:cubicBezTo>
                <a:cubicBezTo>
                  <a:pt x="995" y="111"/>
                  <a:pt x="995" y="111"/>
                  <a:pt x="995" y="111"/>
                </a:cubicBezTo>
                <a:cubicBezTo>
                  <a:pt x="995" y="108"/>
                  <a:pt x="995" y="108"/>
                  <a:pt x="995" y="108"/>
                </a:cubicBezTo>
                <a:cubicBezTo>
                  <a:pt x="995" y="107"/>
                  <a:pt x="995" y="107"/>
                  <a:pt x="995" y="107"/>
                </a:cubicBezTo>
                <a:cubicBezTo>
                  <a:pt x="995" y="106"/>
                  <a:pt x="995" y="106"/>
                  <a:pt x="995" y="106"/>
                </a:cubicBezTo>
                <a:cubicBezTo>
                  <a:pt x="995" y="105"/>
                  <a:pt x="995" y="105"/>
                  <a:pt x="995" y="105"/>
                </a:cubicBezTo>
                <a:cubicBezTo>
                  <a:pt x="994" y="106"/>
                  <a:pt x="994" y="106"/>
                  <a:pt x="994" y="106"/>
                </a:cubicBezTo>
                <a:cubicBezTo>
                  <a:pt x="994" y="107"/>
                  <a:pt x="994" y="107"/>
                  <a:pt x="994" y="107"/>
                </a:cubicBezTo>
                <a:cubicBezTo>
                  <a:pt x="994" y="109"/>
                  <a:pt x="994" y="109"/>
                  <a:pt x="994" y="109"/>
                </a:cubicBezTo>
                <a:cubicBezTo>
                  <a:pt x="993" y="110"/>
                  <a:pt x="993" y="110"/>
                  <a:pt x="993" y="110"/>
                </a:cubicBezTo>
                <a:cubicBezTo>
                  <a:pt x="994" y="111"/>
                  <a:pt x="994" y="111"/>
                  <a:pt x="994" y="111"/>
                </a:cubicBezTo>
                <a:cubicBezTo>
                  <a:pt x="994" y="112"/>
                  <a:pt x="994" y="112"/>
                  <a:pt x="994" y="112"/>
                </a:cubicBezTo>
                <a:cubicBezTo>
                  <a:pt x="993" y="112"/>
                  <a:pt x="993" y="112"/>
                  <a:pt x="993" y="112"/>
                </a:cubicBezTo>
                <a:cubicBezTo>
                  <a:pt x="991" y="112"/>
                  <a:pt x="991" y="112"/>
                  <a:pt x="991" y="112"/>
                </a:cubicBezTo>
                <a:cubicBezTo>
                  <a:pt x="990" y="112"/>
                  <a:pt x="990" y="112"/>
                  <a:pt x="990" y="112"/>
                </a:cubicBezTo>
                <a:cubicBezTo>
                  <a:pt x="991" y="113"/>
                  <a:pt x="991" y="113"/>
                  <a:pt x="991" y="113"/>
                </a:cubicBezTo>
                <a:cubicBezTo>
                  <a:pt x="990" y="115"/>
                  <a:pt x="990" y="115"/>
                  <a:pt x="990" y="115"/>
                </a:cubicBezTo>
                <a:cubicBezTo>
                  <a:pt x="991" y="115"/>
                  <a:pt x="991" y="115"/>
                  <a:pt x="991" y="115"/>
                </a:cubicBezTo>
                <a:cubicBezTo>
                  <a:pt x="993" y="113"/>
                  <a:pt x="993" y="113"/>
                  <a:pt x="993" y="113"/>
                </a:cubicBezTo>
                <a:cubicBezTo>
                  <a:pt x="994" y="113"/>
                  <a:pt x="994" y="113"/>
                  <a:pt x="994" y="113"/>
                </a:cubicBezTo>
                <a:cubicBezTo>
                  <a:pt x="995" y="112"/>
                  <a:pt x="995" y="112"/>
                  <a:pt x="995" y="112"/>
                </a:cubicBezTo>
                <a:cubicBezTo>
                  <a:pt x="996" y="113"/>
                  <a:pt x="996" y="113"/>
                  <a:pt x="996" y="113"/>
                </a:cubicBezTo>
                <a:cubicBezTo>
                  <a:pt x="997" y="115"/>
                  <a:pt x="997" y="115"/>
                  <a:pt x="997" y="115"/>
                </a:cubicBezTo>
                <a:cubicBezTo>
                  <a:pt x="997" y="116"/>
                  <a:pt x="997" y="116"/>
                  <a:pt x="997" y="116"/>
                </a:cubicBezTo>
                <a:cubicBezTo>
                  <a:pt x="998" y="115"/>
                  <a:pt x="998" y="115"/>
                  <a:pt x="998" y="115"/>
                </a:cubicBezTo>
                <a:cubicBezTo>
                  <a:pt x="1000" y="114"/>
                  <a:pt x="1000" y="114"/>
                  <a:pt x="1000" y="114"/>
                </a:cubicBezTo>
                <a:cubicBezTo>
                  <a:pt x="1002" y="115"/>
                  <a:pt x="1002" y="115"/>
                  <a:pt x="1002" y="115"/>
                </a:cubicBezTo>
                <a:cubicBezTo>
                  <a:pt x="1002" y="116"/>
                  <a:pt x="1002" y="116"/>
                  <a:pt x="1002" y="116"/>
                </a:cubicBezTo>
                <a:cubicBezTo>
                  <a:pt x="1001" y="117"/>
                  <a:pt x="1001" y="117"/>
                  <a:pt x="1001" y="117"/>
                </a:cubicBezTo>
                <a:cubicBezTo>
                  <a:pt x="1001" y="119"/>
                  <a:pt x="1001" y="119"/>
                  <a:pt x="1001" y="119"/>
                </a:cubicBezTo>
                <a:cubicBezTo>
                  <a:pt x="1000" y="119"/>
                  <a:pt x="1000" y="119"/>
                  <a:pt x="1000" y="119"/>
                </a:cubicBezTo>
                <a:cubicBezTo>
                  <a:pt x="1000" y="120"/>
                  <a:pt x="1000" y="120"/>
                  <a:pt x="1000" y="120"/>
                </a:cubicBezTo>
                <a:cubicBezTo>
                  <a:pt x="1001" y="120"/>
                  <a:pt x="1001" y="120"/>
                  <a:pt x="1001" y="120"/>
                </a:cubicBezTo>
                <a:cubicBezTo>
                  <a:pt x="1001" y="121"/>
                  <a:pt x="1001" y="121"/>
                  <a:pt x="1001" y="121"/>
                </a:cubicBezTo>
                <a:cubicBezTo>
                  <a:pt x="1000" y="122"/>
                  <a:pt x="1000" y="122"/>
                  <a:pt x="1000" y="122"/>
                </a:cubicBezTo>
                <a:cubicBezTo>
                  <a:pt x="1001" y="122"/>
                  <a:pt x="1001" y="122"/>
                  <a:pt x="1001" y="122"/>
                </a:cubicBezTo>
                <a:cubicBezTo>
                  <a:pt x="1002" y="121"/>
                  <a:pt x="1002" y="121"/>
                  <a:pt x="1002" y="121"/>
                </a:cubicBezTo>
                <a:cubicBezTo>
                  <a:pt x="1003" y="121"/>
                  <a:pt x="1003" y="121"/>
                  <a:pt x="1003" y="121"/>
                </a:cubicBezTo>
                <a:cubicBezTo>
                  <a:pt x="1004" y="120"/>
                  <a:pt x="1004" y="120"/>
                  <a:pt x="1004" y="120"/>
                </a:cubicBezTo>
                <a:cubicBezTo>
                  <a:pt x="1005" y="120"/>
                  <a:pt x="1005" y="120"/>
                  <a:pt x="1005" y="120"/>
                </a:cubicBezTo>
                <a:cubicBezTo>
                  <a:pt x="1005" y="121"/>
                  <a:pt x="1005" y="121"/>
                  <a:pt x="1005" y="121"/>
                </a:cubicBezTo>
                <a:cubicBezTo>
                  <a:pt x="1005" y="122"/>
                  <a:pt x="1005" y="122"/>
                  <a:pt x="1005" y="122"/>
                </a:cubicBezTo>
                <a:cubicBezTo>
                  <a:pt x="1005" y="123"/>
                  <a:pt x="1005" y="123"/>
                  <a:pt x="1005" y="123"/>
                </a:cubicBezTo>
                <a:cubicBezTo>
                  <a:pt x="1005" y="125"/>
                  <a:pt x="1005" y="125"/>
                  <a:pt x="1005" y="125"/>
                </a:cubicBezTo>
                <a:cubicBezTo>
                  <a:pt x="1004" y="127"/>
                  <a:pt x="1004" y="127"/>
                  <a:pt x="1004" y="127"/>
                </a:cubicBezTo>
                <a:cubicBezTo>
                  <a:pt x="1002" y="127"/>
                  <a:pt x="1002" y="127"/>
                  <a:pt x="1002" y="127"/>
                </a:cubicBezTo>
                <a:cubicBezTo>
                  <a:pt x="1001" y="128"/>
                  <a:pt x="1001" y="128"/>
                  <a:pt x="1001" y="128"/>
                </a:cubicBezTo>
                <a:cubicBezTo>
                  <a:pt x="1000" y="129"/>
                  <a:pt x="1000" y="129"/>
                  <a:pt x="1000" y="129"/>
                </a:cubicBezTo>
                <a:cubicBezTo>
                  <a:pt x="999" y="130"/>
                  <a:pt x="999" y="130"/>
                  <a:pt x="999" y="130"/>
                </a:cubicBezTo>
                <a:cubicBezTo>
                  <a:pt x="999" y="128"/>
                  <a:pt x="999" y="128"/>
                  <a:pt x="999" y="128"/>
                </a:cubicBezTo>
                <a:cubicBezTo>
                  <a:pt x="999" y="127"/>
                  <a:pt x="999" y="127"/>
                  <a:pt x="999" y="127"/>
                </a:cubicBezTo>
                <a:cubicBezTo>
                  <a:pt x="998" y="127"/>
                  <a:pt x="998" y="127"/>
                  <a:pt x="998" y="127"/>
                </a:cubicBezTo>
                <a:cubicBezTo>
                  <a:pt x="997" y="129"/>
                  <a:pt x="997" y="129"/>
                  <a:pt x="997" y="129"/>
                </a:cubicBezTo>
                <a:cubicBezTo>
                  <a:pt x="996" y="129"/>
                  <a:pt x="996" y="129"/>
                  <a:pt x="996" y="129"/>
                </a:cubicBezTo>
                <a:cubicBezTo>
                  <a:pt x="994" y="131"/>
                  <a:pt x="994" y="131"/>
                  <a:pt x="994" y="131"/>
                </a:cubicBezTo>
                <a:cubicBezTo>
                  <a:pt x="994" y="130"/>
                  <a:pt x="994" y="130"/>
                  <a:pt x="994" y="130"/>
                </a:cubicBezTo>
                <a:cubicBezTo>
                  <a:pt x="993" y="130"/>
                  <a:pt x="993" y="130"/>
                  <a:pt x="993" y="130"/>
                </a:cubicBezTo>
                <a:cubicBezTo>
                  <a:pt x="991" y="132"/>
                  <a:pt x="991" y="132"/>
                  <a:pt x="991" y="132"/>
                </a:cubicBezTo>
                <a:cubicBezTo>
                  <a:pt x="990" y="132"/>
                  <a:pt x="990" y="132"/>
                  <a:pt x="990" y="132"/>
                </a:cubicBezTo>
                <a:cubicBezTo>
                  <a:pt x="989" y="132"/>
                  <a:pt x="989" y="132"/>
                  <a:pt x="989" y="132"/>
                </a:cubicBezTo>
                <a:cubicBezTo>
                  <a:pt x="988" y="132"/>
                  <a:pt x="988" y="132"/>
                  <a:pt x="988" y="132"/>
                </a:cubicBezTo>
                <a:cubicBezTo>
                  <a:pt x="988" y="131"/>
                  <a:pt x="988" y="131"/>
                  <a:pt x="988" y="131"/>
                </a:cubicBezTo>
                <a:cubicBezTo>
                  <a:pt x="987" y="131"/>
                  <a:pt x="987" y="131"/>
                  <a:pt x="987" y="131"/>
                </a:cubicBezTo>
                <a:cubicBezTo>
                  <a:pt x="988" y="130"/>
                  <a:pt x="988" y="130"/>
                  <a:pt x="988" y="130"/>
                </a:cubicBezTo>
                <a:cubicBezTo>
                  <a:pt x="989" y="129"/>
                  <a:pt x="989" y="129"/>
                  <a:pt x="989" y="129"/>
                </a:cubicBezTo>
                <a:cubicBezTo>
                  <a:pt x="989" y="128"/>
                  <a:pt x="989" y="128"/>
                  <a:pt x="989" y="128"/>
                </a:cubicBezTo>
                <a:cubicBezTo>
                  <a:pt x="988" y="126"/>
                  <a:pt x="988" y="126"/>
                  <a:pt x="988" y="126"/>
                </a:cubicBezTo>
                <a:cubicBezTo>
                  <a:pt x="987" y="127"/>
                  <a:pt x="987" y="127"/>
                  <a:pt x="987" y="127"/>
                </a:cubicBezTo>
                <a:cubicBezTo>
                  <a:pt x="985" y="126"/>
                  <a:pt x="985" y="126"/>
                  <a:pt x="985" y="126"/>
                </a:cubicBezTo>
                <a:cubicBezTo>
                  <a:pt x="985" y="125"/>
                  <a:pt x="985" y="125"/>
                  <a:pt x="985" y="125"/>
                </a:cubicBezTo>
                <a:cubicBezTo>
                  <a:pt x="985" y="124"/>
                  <a:pt x="985" y="124"/>
                  <a:pt x="985" y="124"/>
                </a:cubicBezTo>
                <a:cubicBezTo>
                  <a:pt x="986" y="123"/>
                  <a:pt x="986" y="123"/>
                  <a:pt x="986" y="123"/>
                </a:cubicBezTo>
                <a:cubicBezTo>
                  <a:pt x="985" y="123"/>
                  <a:pt x="985" y="123"/>
                  <a:pt x="985" y="123"/>
                </a:cubicBezTo>
                <a:cubicBezTo>
                  <a:pt x="984" y="121"/>
                  <a:pt x="984" y="121"/>
                  <a:pt x="984" y="121"/>
                </a:cubicBezTo>
                <a:cubicBezTo>
                  <a:pt x="984" y="120"/>
                  <a:pt x="984" y="120"/>
                  <a:pt x="984" y="120"/>
                </a:cubicBezTo>
                <a:cubicBezTo>
                  <a:pt x="984" y="119"/>
                  <a:pt x="984" y="119"/>
                  <a:pt x="984" y="119"/>
                </a:cubicBezTo>
                <a:cubicBezTo>
                  <a:pt x="983" y="121"/>
                  <a:pt x="983" y="121"/>
                  <a:pt x="983" y="121"/>
                </a:cubicBezTo>
                <a:cubicBezTo>
                  <a:pt x="984" y="123"/>
                  <a:pt x="984" y="123"/>
                  <a:pt x="984" y="123"/>
                </a:cubicBezTo>
                <a:cubicBezTo>
                  <a:pt x="984" y="124"/>
                  <a:pt x="984" y="124"/>
                  <a:pt x="984" y="124"/>
                </a:cubicBezTo>
                <a:cubicBezTo>
                  <a:pt x="984" y="125"/>
                  <a:pt x="984" y="125"/>
                  <a:pt x="984" y="125"/>
                </a:cubicBezTo>
                <a:cubicBezTo>
                  <a:pt x="984" y="126"/>
                  <a:pt x="984" y="126"/>
                  <a:pt x="984" y="126"/>
                </a:cubicBezTo>
                <a:cubicBezTo>
                  <a:pt x="983" y="127"/>
                  <a:pt x="983" y="127"/>
                  <a:pt x="983" y="127"/>
                </a:cubicBezTo>
                <a:cubicBezTo>
                  <a:pt x="982" y="126"/>
                  <a:pt x="982" y="126"/>
                  <a:pt x="982" y="126"/>
                </a:cubicBezTo>
                <a:cubicBezTo>
                  <a:pt x="981" y="127"/>
                  <a:pt x="981" y="127"/>
                  <a:pt x="981" y="127"/>
                </a:cubicBezTo>
                <a:cubicBezTo>
                  <a:pt x="980" y="126"/>
                  <a:pt x="980" y="126"/>
                  <a:pt x="980" y="126"/>
                </a:cubicBezTo>
                <a:cubicBezTo>
                  <a:pt x="980" y="125"/>
                  <a:pt x="980" y="125"/>
                  <a:pt x="980" y="125"/>
                </a:cubicBezTo>
                <a:cubicBezTo>
                  <a:pt x="980" y="123"/>
                  <a:pt x="980" y="123"/>
                  <a:pt x="980" y="123"/>
                </a:cubicBezTo>
                <a:cubicBezTo>
                  <a:pt x="980" y="121"/>
                  <a:pt x="980" y="121"/>
                  <a:pt x="980" y="121"/>
                </a:cubicBezTo>
                <a:cubicBezTo>
                  <a:pt x="980" y="120"/>
                  <a:pt x="980" y="120"/>
                  <a:pt x="980" y="120"/>
                </a:cubicBezTo>
                <a:cubicBezTo>
                  <a:pt x="981" y="119"/>
                  <a:pt x="981" y="119"/>
                  <a:pt x="981" y="119"/>
                </a:cubicBezTo>
                <a:cubicBezTo>
                  <a:pt x="980" y="119"/>
                  <a:pt x="980" y="119"/>
                  <a:pt x="980" y="119"/>
                </a:cubicBezTo>
                <a:cubicBezTo>
                  <a:pt x="979" y="120"/>
                  <a:pt x="979" y="120"/>
                  <a:pt x="979" y="120"/>
                </a:cubicBezTo>
                <a:cubicBezTo>
                  <a:pt x="979" y="122"/>
                  <a:pt x="979" y="122"/>
                  <a:pt x="979" y="122"/>
                </a:cubicBezTo>
                <a:cubicBezTo>
                  <a:pt x="979" y="123"/>
                  <a:pt x="979" y="123"/>
                  <a:pt x="979" y="123"/>
                </a:cubicBezTo>
                <a:cubicBezTo>
                  <a:pt x="978" y="125"/>
                  <a:pt x="978" y="125"/>
                  <a:pt x="978" y="125"/>
                </a:cubicBezTo>
                <a:cubicBezTo>
                  <a:pt x="977" y="125"/>
                  <a:pt x="977" y="125"/>
                  <a:pt x="977" y="125"/>
                </a:cubicBezTo>
                <a:cubicBezTo>
                  <a:pt x="976" y="125"/>
                  <a:pt x="976" y="125"/>
                  <a:pt x="976" y="125"/>
                </a:cubicBezTo>
                <a:cubicBezTo>
                  <a:pt x="976" y="124"/>
                  <a:pt x="976" y="124"/>
                  <a:pt x="976" y="124"/>
                </a:cubicBezTo>
                <a:cubicBezTo>
                  <a:pt x="976" y="123"/>
                  <a:pt x="976" y="123"/>
                  <a:pt x="976" y="123"/>
                </a:cubicBezTo>
                <a:cubicBezTo>
                  <a:pt x="976" y="122"/>
                  <a:pt x="976" y="122"/>
                  <a:pt x="976" y="122"/>
                </a:cubicBezTo>
                <a:cubicBezTo>
                  <a:pt x="977" y="121"/>
                  <a:pt x="977" y="121"/>
                  <a:pt x="977" y="121"/>
                </a:cubicBezTo>
                <a:cubicBezTo>
                  <a:pt x="976" y="119"/>
                  <a:pt x="976" y="119"/>
                  <a:pt x="976" y="119"/>
                </a:cubicBezTo>
                <a:cubicBezTo>
                  <a:pt x="976" y="120"/>
                  <a:pt x="976" y="120"/>
                  <a:pt x="976" y="120"/>
                </a:cubicBezTo>
                <a:cubicBezTo>
                  <a:pt x="976" y="121"/>
                  <a:pt x="976" y="121"/>
                  <a:pt x="976" y="121"/>
                </a:cubicBezTo>
                <a:cubicBezTo>
                  <a:pt x="975" y="122"/>
                  <a:pt x="975" y="122"/>
                  <a:pt x="975" y="122"/>
                </a:cubicBezTo>
                <a:cubicBezTo>
                  <a:pt x="975" y="123"/>
                  <a:pt x="975" y="123"/>
                  <a:pt x="975" y="123"/>
                </a:cubicBezTo>
                <a:cubicBezTo>
                  <a:pt x="974" y="123"/>
                  <a:pt x="974" y="123"/>
                  <a:pt x="974" y="123"/>
                </a:cubicBezTo>
                <a:cubicBezTo>
                  <a:pt x="973" y="123"/>
                  <a:pt x="973" y="123"/>
                  <a:pt x="973" y="123"/>
                </a:cubicBezTo>
                <a:cubicBezTo>
                  <a:pt x="973" y="124"/>
                  <a:pt x="973" y="124"/>
                  <a:pt x="973" y="124"/>
                </a:cubicBezTo>
                <a:cubicBezTo>
                  <a:pt x="972" y="124"/>
                  <a:pt x="972" y="124"/>
                  <a:pt x="972" y="124"/>
                </a:cubicBezTo>
                <a:cubicBezTo>
                  <a:pt x="972" y="123"/>
                  <a:pt x="972" y="123"/>
                  <a:pt x="972" y="123"/>
                </a:cubicBezTo>
                <a:cubicBezTo>
                  <a:pt x="972" y="122"/>
                  <a:pt x="972" y="122"/>
                  <a:pt x="972" y="122"/>
                </a:cubicBezTo>
                <a:cubicBezTo>
                  <a:pt x="972" y="120"/>
                  <a:pt x="972" y="120"/>
                  <a:pt x="972" y="120"/>
                </a:cubicBezTo>
                <a:cubicBezTo>
                  <a:pt x="971" y="120"/>
                  <a:pt x="971" y="120"/>
                  <a:pt x="971" y="120"/>
                </a:cubicBezTo>
                <a:cubicBezTo>
                  <a:pt x="970" y="122"/>
                  <a:pt x="970" y="122"/>
                  <a:pt x="970" y="122"/>
                </a:cubicBezTo>
                <a:cubicBezTo>
                  <a:pt x="971" y="124"/>
                  <a:pt x="971" y="124"/>
                  <a:pt x="971" y="124"/>
                </a:cubicBezTo>
                <a:cubicBezTo>
                  <a:pt x="972" y="125"/>
                  <a:pt x="972" y="125"/>
                  <a:pt x="972" y="125"/>
                </a:cubicBezTo>
                <a:cubicBezTo>
                  <a:pt x="971" y="126"/>
                  <a:pt x="971" y="126"/>
                  <a:pt x="971" y="126"/>
                </a:cubicBezTo>
                <a:cubicBezTo>
                  <a:pt x="970" y="126"/>
                  <a:pt x="970" y="126"/>
                  <a:pt x="970" y="126"/>
                </a:cubicBezTo>
                <a:cubicBezTo>
                  <a:pt x="968" y="126"/>
                  <a:pt x="968" y="126"/>
                  <a:pt x="968" y="126"/>
                </a:cubicBezTo>
                <a:cubicBezTo>
                  <a:pt x="967" y="125"/>
                  <a:pt x="967" y="125"/>
                  <a:pt x="967" y="125"/>
                </a:cubicBezTo>
                <a:cubicBezTo>
                  <a:pt x="965" y="124"/>
                  <a:pt x="965" y="124"/>
                  <a:pt x="965" y="124"/>
                </a:cubicBezTo>
                <a:cubicBezTo>
                  <a:pt x="964" y="124"/>
                  <a:pt x="964" y="124"/>
                  <a:pt x="964" y="124"/>
                </a:cubicBezTo>
                <a:cubicBezTo>
                  <a:pt x="964" y="123"/>
                  <a:pt x="964" y="123"/>
                  <a:pt x="964" y="123"/>
                </a:cubicBezTo>
                <a:cubicBezTo>
                  <a:pt x="963" y="123"/>
                  <a:pt x="963" y="123"/>
                  <a:pt x="963" y="123"/>
                </a:cubicBezTo>
                <a:cubicBezTo>
                  <a:pt x="963" y="122"/>
                  <a:pt x="963" y="122"/>
                  <a:pt x="963" y="122"/>
                </a:cubicBezTo>
                <a:cubicBezTo>
                  <a:pt x="963" y="121"/>
                  <a:pt x="963" y="121"/>
                  <a:pt x="963" y="121"/>
                </a:cubicBezTo>
                <a:cubicBezTo>
                  <a:pt x="964" y="121"/>
                  <a:pt x="964" y="121"/>
                  <a:pt x="964" y="121"/>
                </a:cubicBezTo>
                <a:cubicBezTo>
                  <a:pt x="964" y="120"/>
                  <a:pt x="964" y="120"/>
                  <a:pt x="964" y="120"/>
                </a:cubicBezTo>
                <a:cubicBezTo>
                  <a:pt x="963" y="120"/>
                  <a:pt x="963" y="120"/>
                  <a:pt x="963" y="120"/>
                </a:cubicBezTo>
                <a:cubicBezTo>
                  <a:pt x="962" y="120"/>
                  <a:pt x="962" y="120"/>
                  <a:pt x="962" y="120"/>
                </a:cubicBezTo>
                <a:cubicBezTo>
                  <a:pt x="962" y="121"/>
                  <a:pt x="962" y="121"/>
                  <a:pt x="962" y="121"/>
                </a:cubicBezTo>
                <a:cubicBezTo>
                  <a:pt x="962" y="122"/>
                  <a:pt x="962" y="122"/>
                  <a:pt x="962" y="122"/>
                </a:cubicBezTo>
                <a:cubicBezTo>
                  <a:pt x="961" y="122"/>
                  <a:pt x="961" y="122"/>
                  <a:pt x="961" y="122"/>
                </a:cubicBezTo>
                <a:cubicBezTo>
                  <a:pt x="960" y="121"/>
                  <a:pt x="960" y="121"/>
                  <a:pt x="960" y="121"/>
                </a:cubicBezTo>
                <a:cubicBezTo>
                  <a:pt x="960" y="120"/>
                  <a:pt x="960" y="120"/>
                  <a:pt x="960" y="120"/>
                </a:cubicBezTo>
                <a:cubicBezTo>
                  <a:pt x="960" y="119"/>
                  <a:pt x="960" y="119"/>
                  <a:pt x="960" y="119"/>
                </a:cubicBezTo>
                <a:cubicBezTo>
                  <a:pt x="961" y="118"/>
                  <a:pt x="961" y="118"/>
                  <a:pt x="961" y="118"/>
                </a:cubicBezTo>
                <a:cubicBezTo>
                  <a:pt x="960" y="117"/>
                  <a:pt x="960" y="117"/>
                  <a:pt x="960" y="117"/>
                </a:cubicBezTo>
                <a:cubicBezTo>
                  <a:pt x="960" y="118"/>
                  <a:pt x="960" y="118"/>
                  <a:pt x="960" y="118"/>
                </a:cubicBezTo>
                <a:cubicBezTo>
                  <a:pt x="959" y="119"/>
                  <a:pt x="959" y="119"/>
                  <a:pt x="959" y="119"/>
                </a:cubicBezTo>
                <a:cubicBezTo>
                  <a:pt x="959" y="120"/>
                  <a:pt x="959" y="120"/>
                  <a:pt x="959" y="120"/>
                </a:cubicBezTo>
                <a:cubicBezTo>
                  <a:pt x="959" y="121"/>
                  <a:pt x="959" y="121"/>
                  <a:pt x="959" y="121"/>
                </a:cubicBezTo>
                <a:cubicBezTo>
                  <a:pt x="958" y="121"/>
                  <a:pt x="958" y="121"/>
                  <a:pt x="958" y="121"/>
                </a:cubicBezTo>
                <a:cubicBezTo>
                  <a:pt x="957" y="120"/>
                  <a:pt x="957" y="120"/>
                  <a:pt x="957" y="120"/>
                </a:cubicBezTo>
                <a:cubicBezTo>
                  <a:pt x="956" y="120"/>
                  <a:pt x="956" y="120"/>
                  <a:pt x="956" y="120"/>
                </a:cubicBezTo>
                <a:cubicBezTo>
                  <a:pt x="956" y="119"/>
                  <a:pt x="956" y="119"/>
                  <a:pt x="956" y="119"/>
                </a:cubicBezTo>
                <a:cubicBezTo>
                  <a:pt x="956" y="118"/>
                  <a:pt x="956" y="118"/>
                  <a:pt x="956" y="118"/>
                </a:cubicBezTo>
                <a:cubicBezTo>
                  <a:pt x="957" y="117"/>
                  <a:pt x="957" y="117"/>
                  <a:pt x="957" y="117"/>
                </a:cubicBezTo>
                <a:cubicBezTo>
                  <a:pt x="957" y="116"/>
                  <a:pt x="957" y="116"/>
                  <a:pt x="957" y="116"/>
                </a:cubicBezTo>
                <a:cubicBezTo>
                  <a:pt x="957" y="115"/>
                  <a:pt x="957" y="115"/>
                  <a:pt x="957" y="115"/>
                </a:cubicBezTo>
                <a:cubicBezTo>
                  <a:pt x="958" y="113"/>
                  <a:pt x="958" y="113"/>
                  <a:pt x="958" y="113"/>
                </a:cubicBezTo>
                <a:cubicBezTo>
                  <a:pt x="957" y="113"/>
                  <a:pt x="957" y="113"/>
                  <a:pt x="957" y="113"/>
                </a:cubicBezTo>
                <a:cubicBezTo>
                  <a:pt x="957" y="114"/>
                  <a:pt x="957" y="114"/>
                  <a:pt x="957" y="114"/>
                </a:cubicBezTo>
                <a:cubicBezTo>
                  <a:pt x="956" y="116"/>
                  <a:pt x="956" y="116"/>
                  <a:pt x="956" y="116"/>
                </a:cubicBezTo>
                <a:cubicBezTo>
                  <a:pt x="956" y="118"/>
                  <a:pt x="956" y="118"/>
                  <a:pt x="956" y="118"/>
                </a:cubicBezTo>
                <a:cubicBezTo>
                  <a:pt x="955" y="119"/>
                  <a:pt x="955" y="119"/>
                  <a:pt x="955" y="119"/>
                </a:cubicBezTo>
                <a:cubicBezTo>
                  <a:pt x="955" y="117"/>
                  <a:pt x="955" y="117"/>
                  <a:pt x="955" y="117"/>
                </a:cubicBezTo>
                <a:cubicBezTo>
                  <a:pt x="954" y="119"/>
                  <a:pt x="954" y="119"/>
                  <a:pt x="954" y="119"/>
                </a:cubicBezTo>
                <a:cubicBezTo>
                  <a:pt x="953" y="119"/>
                  <a:pt x="953" y="119"/>
                  <a:pt x="953" y="119"/>
                </a:cubicBezTo>
                <a:cubicBezTo>
                  <a:pt x="953" y="118"/>
                  <a:pt x="953" y="118"/>
                  <a:pt x="953" y="118"/>
                </a:cubicBezTo>
                <a:cubicBezTo>
                  <a:pt x="953" y="116"/>
                  <a:pt x="953" y="116"/>
                  <a:pt x="953" y="116"/>
                </a:cubicBezTo>
                <a:cubicBezTo>
                  <a:pt x="952" y="116"/>
                  <a:pt x="952" y="116"/>
                  <a:pt x="952" y="116"/>
                </a:cubicBezTo>
                <a:cubicBezTo>
                  <a:pt x="952" y="115"/>
                  <a:pt x="952" y="115"/>
                  <a:pt x="952" y="115"/>
                </a:cubicBezTo>
                <a:cubicBezTo>
                  <a:pt x="954" y="114"/>
                  <a:pt x="954" y="114"/>
                  <a:pt x="954" y="114"/>
                </a:cubicBezTo>
                <a:cubicBezTo>
                  <a:pt x="954" y="113"/>
                  <a:pt x="954" y="113"/>
                  <a:pt x="954" y="113"/>
                </a:cubicBezTo>
                <a:cubicBezTo>
                  <a:pt x="954" y="112"/>
                  <a:pt x="954" y="112"/>
                  <a:pt x="954" y="112"/>
                </a:cubicBezTo>
                <a:cubicBezTo>
                  <a:pt x="954" y="111"/>
                  <a:pt x="954" y="111"/>
                  <a:pt x="954" y="111"/>
                </a:cubicBezTo>
                <a:cubicBezTo>
                  <a:pt x="955" y="111"/>
                  <a:pt x="955" y="111"/>
                  <a:pt x="955" y="111"/>
                </a:cubicBezTo>
                <a:cubicBezTo>
                  <a:pt x="956" y="110"/>
                  <a:pt x="956" y="110"/>
                  <a:pt x="956" y="110"/>
                </a:cubicBezTo>
                <a:cubicBezTo>
                  <a:pt x="957" y="110"/>
                  <a:pt x="957" y="110"/>
                  <a:pt x="957" y="110"/>
                </a:cubicBezTo>
                <a:cubicBezTo>
                  <a:pt x="959" y="110"/>
                  <a:pt x="959" y="110"/>
                  <a:pt x="959" y="110"/>
                </a:cubicBezTo>
                <a:cubicBezTo>
                  <a:pt x="959" y="109"/>
                  <a:pt x="959" y="109"/>
                  <a:pt x="959" y="109"/>
                </a:cubicBezTo>
                <a:cubicBezTo>
                  <a:pt x="960" y="108"/>
                  <a:pt x="960" y="108"/>
                  <a:pt x="960" y="108"/>
                </a:cubicBezTo>
                <a:cubicBezTo>
                  <a:pt x="961" y="108"/>
                  <a:pt x="961" y="108"/>
                  <a:pt x="961" y="108"/>
                </a:cubicBezTo>
                <a:cubicBezTo>
                  <a:pt x="961" y="107"/>
                  <a:pt x="961" y="107"/>
                  <a:pt x="961" y="107"/>
                </a:cubicBezTo>
                <a:cubicBezTo>
                  <a:pt x="962" y="107"/>
                  <a:pt x="962" y="107"/>
                  <a:pt x="962" y="107"/>
                </a:cubicBezTo>
                <a:cubicBezTo>
                  <a:pt x="963" y="107"/>
                  <a:pt x="963" y="107"/>
                  <a:pt x="963" y="107"/>
                </a:cubicBezTo>
                <a:cubicBezTo>
                  <a:pt x="964" y="108"/>
                  <a:pt x="964" y="108"/>
                  <a:pt x="964" y="108"/>
                </a:cubicBezTo>
                <a:cubicBezTo>
                  <a:pt x="966" y="108"/>
                  <a:pt x="966" y="108"/>
                  <a:pt x="966" y="108"/>
                </a:cubicBezTo>
                <a:cubicBezTo>
                  <a:pt x="967" y="107"/>
                  <a:pt x="967" y="107"/>
                  <a:pt x="967" y="107"/>
                </a:cubicBezTo>
                <a:cubicBezTo>
                  <a:pt x="968" y="107"/>
                  <a:pt x="968" y="107"/>
                  <a:pt x="968" y="107"/>
                </a:cubicBezTo>
                <a:cubicBezTo>
                  <a:pt x="969" y="109"/>
                  <a:pt x="969" y="109"/>
                  <a:pt x="969" y="109"/>
                </a:cubicBezTo>
                <a:cubicBezTo>
                  <a:pt x="970" y="109"/>
                  <a:pt x="970" y="109"/>
                  <a:pt x="970" y="109"/>
                </a:cubicBezTo>
                <a:cubicBezTo>
                  <a:pt x="970" y="108"/>
                  <a:pt x="970" y="108"/>
                  <a:pt x="970" y="108"/>
                </a:cubicBezTo>
                <a:cubicBezTo>
                  <a:pt x="972" y="109"/>
                  <a:pt x="972" y="109"/>
                  <a:pt x="972" y="109"/>
                </a:cubicBezTo>
                <a:cubicBezTo>
                  <a:pt x="972" y="108"/>
                  <a:pt x="972" y="108"/>
                  <a:pt x="972" y="108"/>
                </a:cubicBezTo>
                <a:cubicBezTo>
                  <a:pt x="973" y="109"/>
                  <a:pt x="973" y="109"/>
                  <a:pt x="973" y="109"/>
                </a:cubicBezTo>
                <a:cubicBezTo>
                  <a:pt x="974" y="108"/>
                  <a:pt x="974" y="108"/>
                  <a:pt x="974" y="108"/>
                </a:cubicBezTo>
                <a:cubicBezTo>
                  <a:pt x="973" y="108"/>
                  <a:pt x="973" y="108"/>
                  <a:pt x="973" y="108"/>
                </a:cubicBezTo>
                <a:cubicBezTo>
                  <a:pt x="972" y="108"/>
                  <a:pt x="972" y="108"/>
                  <a:pt x="972" y="108"/>
                </a:cubicBezTo>
                <a:cubicBezTo>
                  <a:pt x="972" y="107"/>
                  <a:pt x="972" y="107"/>
                  <a:pt x="972" y="107"/>
                </a:cubicBezTo>
                <a:cubicBezTo>
                  <a:pt x="971" y="107"/>
                  <a:pt x="971" y="107"/>
                  <a:pt x="971" y="107"/>
                </a:cubicBezTo>
                <a:cubicBezTo>
                  <a:pt x="972" y="106"/>
                  <a:pt x="972" y="106"/>
                  <a:pt x="972" y="106"/>
                </a:cubicBezTo>
                <a:cubicBezTo>
                  <a:pt x="972" y="105"/>
                  <a:pt x="972" y="105"/>
                  <a:pt x="972" y="105"/>
                </a:cubicBezTo>
                <a:cubicBezTo>
                  <a:pt x="973" y="104"/>
                  <a:pt x="973" y="104"/>
                  <a:pt x="973" y="104"/>
                </a:cubicBezTo>
                <a:cubicBezTo>
                  <a:pt x="971" y="104"/>
                  <a:pt x="971" y="104"/>
                  <a:pt x="971" y="104"/>
                </a:cubicBezTo>
                <a:cubicBezTo>
                  <a:pt x="970" y="104"/>
                  <a:pt x="970" y="104"/>
                  <a:pt x="970" y="104"/>
                </a:cubicBezTo>
                <a:cubicBezTo>
                  <a:pt x="970" y="103"/>
                  <a:pt x="970" y="103"/>
                  <a:pt x="970" y="103"/>
                </a:cubicBezTo>
                <a:cubicBezTo>
                  <a:pt x="971" y="102"/>
                  <a:pt x="971" y="102"/>
                  <a:pt x="971" y="102"/>
                </a:cubicBezTo>
                <a:cubicBezTo>
                  <a:pt x="971" y="101"/>
                  <a:pt x="971" y="101"/>
                  <a:pt x="971" y="101"/>
                </a:cubicBezTo>
                <a:cubicBezTo>
                  <a:pt x="970" y="101"/>
                  <a:pt x="970" y="101"/>
                  <a:pt x="970" y="101"/>
                </a:cubicBezTo>
                <a:cubicBezTo>
                  <a:pt x="970" y="100"/>
                  <a:pt x="970" y="100"/>
                  <a:pt x="970" y="100"/>
                </a:cubicBezTo>
                <a:cubicBezTo>
                  <a:pt x="970" y="98"/>
                  <a:pt x="970" y="98"/>
                  <a:pt x="970" y="98"/>
                </a:cubicBezTo>
                <a:cubicBezTo>
                  <a:pt x="970" y="97"/>
                  <a:pt x="970" y="97"/>
                  <a:pt x="970" y="97"/>
                </a:cubicBezTo>
                <a:cubicBezTo>
                  <a:pt x="970" y="96"/>
                  <a:pt x="970" y="96"/>
                  <a:pt x="970" y="96"/>
                </a:cubicBezTo>
                <a:cubicBezTo>
                  <a:pt x="970" y="95"/>
                  <a:pt x="970" y="95"/>
                  <a:pt x="970" y="95"/>
                </a:cubicBezTo>
                <a:cubicBezTo>
                  <a:pt x="971" y="95"/>
                  <a:pt x="971" y="95"/>
                  <a:pt x="971" y="95"/>
                </a:cubicBezTo>
                <a:cubicBezTo>
                  <a:pt x="972" y="95"/>
                  <a:pt x="972" y="95"/>
                  <a:pt x="972" y="95"/>
                </a:cubicBezTo>
                <a:cubicBezTo>
                  <a:pt x="974" y="95"/>
                  <a:pt x="974" y="95"/>
                  <a:pt x="974" y="95"/>
                </a:cubicBezTo>
                <a:cubicBezTo>
                  <a:pt x="976" y="95"/>
                  <a:pt x="976" y="95"/>
                  <a:pt x="976" y="95"/>
                </a:cubicBezTo>
                <a:cubicBezTo>
                  <a:pt x="977" y="95"/>
                  <a:pt x="977" y="95"/>
                  <a:pt x="977" y="95"/>
                </a:cubicBezTo>
                <a:cubicBezTo>
                  <a:pt x="978" y="97"/>
                  <a:pt x="978" y="97"/>
                  <a:pt x="978" y="97"/>
                </a:cubicBezTo>
                <a:cubicBezTo>
                  <a:pt x="979" y="99"/>
                  <a:pt x="979" y="99"/>
                  <a:pt x="979" y="99"/>
                </a:cubicBezTo>
                <a:cubicBezTo>
                  <a:pt x="979" y="103"/>
                  <a:pt x="979" y="103"/>
                  <a:pt x="979" y="103"/>
                </a:cubicBezTo>
                <a:cubicBezTo>
                  <a:pt x="978" y="104"/>
                  <a:pt x="978" y="104"/>
                  <a:pt x="978" y="104"/>
                </a:cubicBezTo>
                <a:cubicBezTo>
                  <a:pt x="979" y="105"/>
                  <a:pt x="979" y="105"/>
                  <a:pt x="979" y="105"/>
                </a:cubicBezTo>
                <a:cubicBezTo>
                  <a:pt x="982" y="106"/>
                  <a:pt x="982" y="106"/>
                  <a:pt x="982" y="106"/>
                </a:cubicBezTo>
                <a:cubicBezTo>
                  <a:pt x="982" y="107"/>
                  <a:pt x="982" y="107"/>
                  <a:pt x="982" y="107"/>
                </a:cubicBezTo>
                <a:cubicBezTo>
                  <a:pt x="983" y="107"/>
                  <a:pt x="983" y="107"/>
                  <a:pt x="983" y="107"/>
                </a:cubicBezTo>
                <a:cubicBezTo>
                  <a:pt x="986" y="107"/>
                  <a:pt x="986" y="107"/>
                  <a:pt x="986" y="107"/>
                </a:cubicBezTo>
                <a:cubicBezTo>
                  <a:pt x="987" y="108"/>
                  <a:pt x="987" y="108"/>
                  <a:pt x="987" y="108"/>
                </a:cubicBezTo>
                <a:cubicBezTo>
                  <a:pt x="988" y="108"/>
                  <a:pt x="988" y="108"/>
                  <a:pt x="988" y="108"/>
                </a:cubicBezTo>
                <a:cubicBezTo>
                  <a:pt x="987" y="107"/>
                  <a:pt x="987" y="107"/>
                  <a:pt x="987" y="107"/>
                </a:cubicBezTo>
                <a:cubicBezTo>
                  <a:pt x="988" y="106"/>
                  <a:pt x="988" y="106"/>
                  <a:pt x="988" y="106"/>
                </a:cubicBezTo>
                <a:cubicBezTo>
                  <a:pt x="990" y="105"/>
                  <a:pt x="990" y="105"/>
                  <a:pt x="990" y="105"/>
                </a:cubicBezTo>
                <a:cubicBezTo>
                  <a:pt x="990" y="105"/>
                  <a:pt x="990" y="105"/>
                  <a:pt x="992" y="103"/>
                </a:cubicBezTo>
                <a:cubicBezTo>
                  <a:pt x="992" y="103"/>
                  <a:pt x="992" y="103"/>
                  <a:pt x="993" y="102"/>
                </a:cubicBezTo>
                <a:cubicBezTo>
                  <a:pt x="994" y="102"/>
                  <a:pt x="994" y="102"/>
                  <a:pt x="994" y="102"/>
                </a:cubicBezTo>
                <a:cubicBezTo>
                  <a:pt x="996" y="100"/>
                  <a:pt x="996" y="100"/>
                  <a:pt x="996" y="100"/>
                </a:cubicBezTo>
                <a:cubicBezTo>
                  <a:pt x="996" y="99"/>
                  <a:pt x="996" y="99"/>
                  <a:pt x="996" y="99"/>
                </a:cubicBezTo>
                <a:cubicBezTo>
                  <a:pt x="997" y="98"/>
                  <a:pt x="997" y="98"/>
                  <a:pt x="997" y="98"/>
                </a:cubicBezTo>
                <a:cubicBezTo>
                  <a:pt x="996" y="98"/>
                  <a:pt x="996" y="98"/>
                  <a:pt x="996" y="98"/>
                </a:cubicBezTo>
                <a:cubicBezTo>
                  <a:pt x="995" y="99"/>
                  <a:pt x="995" y="99"/>
                  <a:pt x="995" y="99"/>
                </a:cubicBezTo>
                <a:cubicBezTo>
                  <a:pt x="995" y="100"/>
                  <a:pt x="995" y="100"/>
                  <a:pt x="995" y="100"/>
                </a:cubicBezTo>
                <a:cubicBezTo>
                  <a:pt x="993" y="102"/>
                  <a:pt x="993" y="102"/>
                  <a:pt x="993" y="102"/>
                </a:cubicBezTo>
                <a:cubicBezTo>
                  <a:pt x="993" y="102"/>
                  <a:pt x="993" y="102"/>
                  <a:pt x="993" y="102"/>
                </a:cubicBezTo>
                <a:cubicBezTo>
                  <a:pt x="992" y="103"/>
                  <a:pt x="992" y="103"/>
                  <a:pt x="991" y="103"/>
                </a:cubicBezTo>
                <a:cubicBezTo>
                  <a:pt x="991" y="103"/>
                  <a:pt x="991" y="103"/>
                  <a:pt x="990" y="105"/>
                </a:cubicBezTo>
                <a:cubicBezTo>
                  <a:pt x="988" y="105"/>
                  <a:pt x="988" y="105"/>
                  <a:pt x="988" y="105"/>
                </a:cubicBezTo>
                <a:cubicBezTo>
                  <a:pt x="987" y="105"/>
                  <a:pt x="987" y="105"/>
                  <a:pt x="987" y="105"/>
                </a:cubicBezTo>
                <a:cubicBezTo>
                  <a:pt x="986" y="105"/>
                  <a:pt x="986" y="105"/>
                  <a:pt x="986" y="105"/>
                </a:cubicBezTo>
                <a:cubicBezTo>
                  <a:pt x="985" y="105"/>
                  <a:pt x="985" y="105"/>
                  <a:pt x="985" y="105"/>
                </a:cubicBezTo>
                <a:cubicBezTo>
                  <a:pt x="983" y="104"/>
                  <a:pt x="983" y="104"/>
                  <a:pt x="983" y="104"/>
                </a:cubicBezTo>
                <a:cubicBezTo>
                  <a:pt x="983" y="103"/>
                  <a:pt x="983" y="103"/>
                  <a:pt x="983" y="103"/>
                </a:cubicBezTo>
                <a:cubicBezTo>
                  <a:pt x="984" y="103"/>
                  <a:pt x="984" y="103"/>
                  <a:pt x="984" y="103"/>
                </a:cubicBezTo>
                <a:cubicBezTo>
                  <a:pt x="985" y="102"/>
                  <a:pt x="985" y="102"/>
                  <a:pt x="985" y="102"/>
                </a:cubicBezTo>
                <a:cubicBezTo>
                  <a:pt x="985" y="101"/>
                  <a:pt x="985" y="101"/>
                  <a:pt x="985" y="101"/>
                </a:cubicBezTo>
                <a:cubicBezTo>
                  <a:pt x="984" y="102"/>
                  <a:pt x="984" y="102"/>
                  <a:pt x="984" y="102"/>
                </a:cubicBezTo>
                <a:cubicBezTo>
                  <a:pt x="983" y="103"/>
                  <a:pt x="983" y="103"/>
                  <a:pt x="983" y="103"/>
                </a:cubicBezTo>
                <a:cubicBezTo>
                  <a:pt x="982" y="102"/>
                  <a:pt x="982" y="102"/>
                  <a:pt x="982" y="102"/>
                </a:cubicBezTo>
                <a:cubicBezTo>
                  <a:pt x="982" y="101"/>
                  <a:pt x="982" y="101"/>
                  <a:pt x="982" y="101"/>
                </a:cubicBezTo>
                <a:cubicBezTo>
                  <a:pt x="982" y="100"/>
                  <a:pt x="982" y="100"/>
                  <a:pt x="982" y="100"/>
                </a:cubicBezTo>
                <a:cubicBezTo>
                  <a:pt x="984" y="100"/>
                  <a:pt x="984" y="100"/>
                  <a:pt x="984" y="100"/>
                </a:cubicBezTo>
                <a:cubicBezTo>
                  <a:pt x="984" y="99"/>
                  <a:pt x="984" y="99"/>
                  <a:pt x="984" y="99"/>
                </a:cubicBezTo>
                <a:cubicBezTo>
                  <a:pt x="985" y="99"/>
                  <a:pt x="985" y="99"/>
                  <a:pt x="985" y="99"/>
                </a:cubicBezTo>
                <a:cubicBezTo>
                  <a:pt x="985" y="98"/>
                  <a:pt x="985" y="98"/>
                  <a:pt x="985" y="98"/>
                </a:cubicBezTo>
                <a:cubicBezTo>
                  <a:pt x="984" y="98"/>
                  <a:pt x="984" y="98"/>
                  <a:pt x="984" y="98"/>
                </a:cubicBezTo>
                <a:cubicBezTo>
                  <a:pt x="983" y="97"/>
                  <a:pt x="983" y="97"/>
                  <a:pt x="983" y="97"/>
                </a:cubicBezTo>
                <a:cubicBezTo>
                  <a:pt x="983" y="98"/>
                  <a:pt x="983" y="98"/>
                  <a:pt x="983" y="98"/>
                </a:cubicBezTo>
                <a:cubicBezTo>
                  <a:pt x="982" y="98"/>
                  <a:pt x="982" y="98"/>
                  <a:pt x="982" y="98"/>
                </a:cubicBezTo>
                <a:cubicBezTo>
                  <a:pt x="981" y="97"/>
                  <a:pt x="981" y="97"/>
                  <a:pt x="981" y="97"/>
                </a:cubicBezTo>
                <a:cubicBezTo>
                  <a:pt x="982" y="96"/>
                  <a:pt x="982" y="96"/>
                  <a:pt x="982" y="96"/>
                </a:cubicBezTo>
                <a:cubicBezTo>
                  <a:pt x="983" y="96"/>
                  <a:pt x="983" y="96"/>
                  <a:pt x="983" y="96"/>
                </a:cubicBezTo>
                <a:cubicBezTo>
                  <a:pt x="984" y="95"/>
                  <a:pt x="984" y="95"/>
                  <a:pt x="984" y="95"/>
                </a:cubicBezTo>
                <a:cubicBezTo>
                  <a:pt x="985" y="96"/>
                  <a:pt x="985" y="96"/>
                  <a:pt x="985" y="96"/>
                </a:cubicBezTo>
                <a:cubicBezTo>
                  <a:pt x="986" y="96"/>
                  <a:pt x="986" y="96"/>
                  <a:pt x="986" y="96"/>
                </a:cubicBezTo>
                <a:cubicBezTo>
                  <a:pt x="987" y="95"/>
                  <a:pt x="987" y="95"/>
                  <a:pt x="987" y="95"/>
                </a:cubicBezTo>
                <a:cubicBezTo>
                  <a:pt x="986" y="95"/>
                  <a:pt x="986" y="95"/>
                  <a:pt x="986" y="95"/>
                </a:cubicBezTo>
                <a:cubicBezTo>
                  <a:pt x="987" y="94"/>
                  <a:pt x="987" y="94"/>
                  <a:pt x="987" y="94"/>
                </a:cubicBezTo>
                <a:cubicBezTo>
                  <a:pt x="988" y="94"/>
                  <a:pt x="988" y="94"/>
                  <a:pt x="988" y="94"/>
                </a:cubicBezTo>
                <a:cubicBezTo>
                  <a:pt x="988" y="93"/>
                  <a:pt x="988" y="93"/>
                  <a:pt x="988" y="93"/>
                </a:cubicBezTo>
                <a:cubicBezTo>
                  <a:pt x="987" y="93"/>
                  <a:pt x="987" y="93"/>
                  <a:pt x="987" y="93"/>
                </a:cubicBezTo>
                <a:cubicBezTo>
                  <a:pt x="987" y="92"/>
                  <a:pt x="987" y="92"/>
                  <a:pt x="987" y="92"/>
                </a:cubicBezTo>
                <a:cubicBezTo>
                  <a:pt x="988" y="91"/>
                  <a:pt x="988" y="91"/>
                  <a:pt x="988" y="91"/>
                </a:cubicBezTo>
                <a:cubicBezTo>
                  <a:pt x="989" y="91"/>
                  <a:pt x="989" y="91"/>
                  <a:pt x="989" y="91"/>
                </a:cubicBezTo>
                <a:cubicBezTo>
                  <a:pt x="988" y="90"/>
                  <a:pt x="988" y="90"/>
                  <a:pt x="988" y="90"/>
                </a:cubicBezTo>
                <a:cubicBezTo>
                  <a:pt x="990" y="88"/>
                  <a:pt x="990" y="88"/>
                  <a:pt x="990" y="88"/>
                </a:cubicBezTo>
                <a:cubicBezTo>
                  <a:pt x="991" y="87"/>
                  <a:pt x="991" y="87"/>
                  <a:pt x="991" y="87"/>
                </a:cubicBezTo>
                <a:cubicBezTo>
                  <a:pt x="991" y="86"/>
                  <a:pt x="991" y="86"/>
                  <a:pt x="991" y="86"/>
                </a:cubicBezTo>
                <a:cubicBezTo>
                  <a:pt x="990" y="87"/>
                  <a:pt x="990" y="87"/>
                  <a:pt x="990" y="87"/>
                </a:cubicBezTo>
                <a:cubicBezTo>
                  <a:pt x="988" y="89"/>
                  <a:pt x="988" y="89"/>
                  <a:pt x="988" y="89"/>
                </a:cubicBezTo>
                <a:cubicBezTo>
                  <a:pt x="987" y="91"/>
                  <a:pt x="987" y="91"/>
                  <a:pt x="987" y="91"/>
                </a:cubicBezTo>
                <a:cubicBezTo>
                  <a:pt x="985" y="93"/>
                  <a:pt x="985" y="93"/>
                  <a:pt x="985" y="93"/>
                </a:cubicBezTo>
                <a:cubicBezTo>
                  <a:pt x="984" y="94"/>
                  <a:pt x="984" y="94"/>
                  <a:pt x="984" y="94"/>
                </a:cubicBezTo>
                <a:cubicBezTo>
                  <a:pt x="983" y="94"/>
                  <a:pt x="983" y="94"/>
                  <a:pt x="983" y="94"/>
                </a:cubicBezTo>
                <a:cubicBezTo>
                  <a:pt x="981" y="94"/>
                  <a:pt x="981" y="94"/>
                  <a:pt x="981" y="94"/>
                </a:cubicBezTo>
                <a:cubicBezTo>
                  <a:pt x="981" y="93"/>
                  <a:pt x="981" y="93"/>
                  <a:pt x="981" y="93"/>
                </a:cubicBezTo>
                <a:cubicBezTo>
                  <a:pt x="982" y="92"/>
                  <a:pt x="982" y="92"/>
                  <a:pt x="982" y="92"/>
                </a:cubicBezTo>
                <a:cubicBezTo>
                  <a:pt x="983" y="91"/>
                  <a:pt x="983" y="91"/>
                  <a:pt x="983" y="91"/>
                </a:cubicBezTo>
                <a:cubicBezTo>
                  <a:pt x="983" y="90"/>
                  <a:pt x="983" y="90"/>
                  <a:pt x="983" y="90"/>
                </a:cubicBezTo>
                <a:cubicBezTo>
                  <a:pt x="981" y="91"/>
                  <a:pt x="981" y="91"/>
                  <a:pt x="981" y="91"/>
                </a:cubicBezTo>
                <a:cubicBezTo>
                  <a:pt x="980" y="91"/>
                  <a:pt x="980" y="91"/>
                  <a:pt x="980" y="91"/>
                </a:cubicBezTo>
                <a:cubicBezTo>
                  <a:pt x="980" y="92"/>
                  <a:pt x="980" y="92"/>
                  <a:pt x="980" y="92"/>
                </a:cubicBezTo>
                <a:cubicBezTo>
                  <a:pt x="979" y="93"/>
                  <a:pt x="979" y="93"/>
                  <a:pt x="979" y="93"/>
                </a:cubicBezTo>
                <a:cubicBezTo>
                  <a:pt x="977" y="93"/>
                  <a:pt x="977" y="93"/>
                  <a:pt x="977" y="93"/>
                </a:cubicBezTo>
                <a:cubicBezTo>
                  <a:pt x="975" y="91"/>
                  <a:pt x="975" y="91"/>
                  <a:pt x="975" y="91"/>
                </a:cubicBezTo>
                <a:cubicBezTo>
                  <a:pt x="976" y="91"/>
                  <a:pt x="976" y="91"/>
                  <a:pt x="976" y="91"/>
                </a:cubicBezTo>
                <a:cubicBezTo>
                  <a:pt x="977" y="90"/>
                  <a:pt x="977" y="90"/>
                  <a:pt x="977" y="90"/>
                </a:cubicBezTo>
                <a:cubicBezTo>
                  <a:pt x="976" y="90"/>
                  <a:pt x="976" y="90"/>
                  <a:pt x="976" y="90"/>
                </a:cubicBezTo>
                <a:cubicBezTo>
                  <a:pt x="976" y="88"/>
                  <a:pt x="976" y="88"/>
                  <a:pt x="976" y="88"/>
                </a:cubicBezTo>
                <a:cubicBezTo>
                  <a:pt x="978" y="87"/>
                  <a:pt x="978" y="87"/>
                  <a:pt x="978" y="87"/>
                </a:cubicBezTo>
                <a:cubicBezTo>
                  <a:pt x="978" y="86"/>
                  <a:pt x="978" y="86"/>
                  <a:pt x="978" y="86"/>
                </a:cubicBezTo>
                <a:cubicBezTo>
                  <a:pt x="979" y="86"/>
                  <a:pt x="979" y="86"/>
                  <a:pt x="979" y="86"/>
                </a:cubicBezTo>
                <a:cubicBezTo>
                  <a:pt x="981" y="85"/>
                  <a:pt x="981" y="85"/>
                  <a:pt x="981" y="85"/>
                </a:cubicBezTo>
                <a:cubicBezTo>
                  <a:pt x="982" y="85"/>
                  <a:pt x="982" y="85"/>
                  <a:pt x="982" y="85"/>
                </a:cubicBezTo>
                <a:cubicBezTo>
                  <a:pt x="982" y="83"/>
                  <a:pt x="982" y="83"/>
                  <a:pt x="982" y="83"/>
                </a:cubicBezTo>
                <a:cubicBezTo>
                  <a:pt x="983" y="82"/>
                  <a:pt x="983" y="82"/>
                  <a:pt x="983" y="82"/>
                </a:cubicBezTo>
                <a:cubicBezTo>
                  <a:pt x="984" y="80"/>
                  <a:pt x="984" y="80"/>
                  <a:pt x="984" y="80"/>
                </a:cubicBezTo>
                <a:cubicBezTo>
                  <a:pt x="985" y="80"/>
                  <a:pt x="985" y="80"/>
                  <a:pt x="985" y="80"/>
                </a:cubicBezTo>
                <a:cubicBezTo>
                  <a:pt x="988" y="79"/>
                  <a:pt x="988" y="79"/>
                  <a:pt x="988" y="79"/>
                </a:cubicBezTo>
                <a:cubicBezTo>
                  <a:pt x="990" y="80"/>
                  <a:pt x="990" y="80"/>
                  <a:pt x="990" y="80"/>
                </a:cubicBezTo>
                <a:cubicBezTo>
                  <a:pt x="991" y="79"/>
                  <a:pt x="991" y="79"/>
                  <a:pt x="991" y="79"/>
                </a:cubicBezTo>
                <a:cubicBezTo>
                  <a:pt x="992" y="79"/>
                  <a:pt x="992" y="79"/>
                  <a:pt x="992" y="79"/>
                </a:cubicBezTo>
                <a:cubicBezTo>
                  <a:pt x="993" y="78"/>
                  <a:pt x="993" y="78"/>
                  <a:pt x="993" y="78"/>
                </a:cubicBezTo>
                <a:cubicBezTo>
                  <a:pt x="994" y="78"/>
                  <a:pt x="994" y="78"/>
                  <a:pt x="994" y="78"/>
                </a:cubicBezTo>
                <a:cubicBezTo>
                  <a:pt x="994" y="79"/>
                  <a:pt x="994" y="79"/>
                  <a:pt x="994" y="79"/>
                </a:cubicBezTo>
                <a:cubicBezTo>
                  <a:pt x="996" y="80"/>
                  <a:pt x="996" y="80"/>
                  <a:pt x="996" y="80"/>
                </a:cubicBezTo>
                <a:cubicBezTo>
                  <a:pt x="999" y="82"/>
                  <a:pt x="999" y="82"/>
                  <a:pt x="999" y="82"/>
                </a:cubicBezTo>
                <a:cubicBezTo>
                  <a:pt x="1000" y="83"/>
                  <a:pt x="1000" y="83"/>
                  <a:pt x="1000" y="83"/>
                </a:cubicBezTo>
                <a:cubicBezTo>
                  <a:pt x="1000" y="84"/>
                  <a:pt x="1000" y="84"/>
                  <a:pt x="1000" y="84"/>
                </a:cubicBezTo>
                <a:cubicBezTo>
                  <a:pt x="1001" y="84"/>
                  <a:pt x="1001" y="84"/>
                  <a:pt x="1001" y="84"/>
                </a:cubicBezTo>
                <a:cubicBezTo>
                  <a:pt x="1003" y="87"/>
                  <a:pt x="1003" y="87"/>
                  <a:pt x="1003" y="87"/>
                </a:cubicBezTo>
                <a:cubicBezTo>
                  <a:pt x="1003" y="85"/>
                  <a:pt x="1003" y="85"/>
                  <a:pt x="1003" y="85"/>
                </a:cubicBezTo>
                <a:cubicBezTo>
                  <a:pt x="1004" y="85"/>
                  <a:pt x="1004" y="85"/>
                  <a:pt x="1004" y="85"/>
                </a:cubicBezTo>
                <a:cubicBezTo>
                  <a:pt x="1004" y="84"/>
                  <a:pt x="1004" y="84"/>
                  <a:pt x="1004" y="84"/>
                </a:cubicBezTo>
                <a:cubicBezTo>
                  <a:pt x="1002" y="84"/>
                  <a:pt x="1002" y="84"/>
                  <a:pt x="1002" y="84"/>
                </a:cubicBezTo>
                <a:cubicBezTo>
                  <a:pt x="1002" y="83"/>
                  <a:pt x="1002" y="83"/>
                  <a:pt x="1002" y="83"/>
                </a:cubicBezTo>
                <a:cubicBezTo>
                  <a:pt x="1003" y="82"/>
                  <a:pt x="1003" y="82"/>
                  <a:pt x="1003" y="82"/>
                </a:cubicBezTo>
                <a:cubicBezTo>
                  <a:pt x="1005" y="82"/>
                  <a:pt x="1005" y="82"/>
                  <a:pt x="1005" y="82"/>
                </a:cubicBezTo>
                <a:cubicBezTo>
                  <a:pt x="1007" y="83"/>
                  <a:pt x="1007" y="83"/>
                  <a:pt x="1007" y="83"/>
                </a:cubicBezTo>
                <a:cubicBezTo>
                  <a:pt x="1007" y="82"/>
                  <a:pt x="1007" y="82"/>
                  <a:pt x="1007" y="82"/>
                </a:cubicBezTo>
                <a:cubicBezTo>
                  <a:pt x="1007" y="81"/>
                  <a:pt x="1007" y="81"/>
                  <a:pt x="1007" y="81"/>
                </a:cubicBezTo>
                <a:cubicBezTo>
                  <a:pt x="1008" y="80"/>
                  <a:pt x="1008" y="80"/>
                  <a:pt x="1008" y="80"/>
                </a:cubicBezTo>
                <a:cubicBezTo>
                  <a:pt x="1008" y="79"/>
                  <a:pt x="1008" y="79"/>
                  <a:pt x="1008" y="79"/>
                </a:cubicBezTo>
                <a:cubicBezTo>
                  <a:pt x="1007" y="79"/>
                  <a:pt x="1007" y="79"/>
                  <a:pt x="1007" y="79"/>
                </a:cubicBezTo>
                <a:cubicBezTo>
                  <a:pt x="1007" y="80"/>
                  <a:pt x="1007" y="80"/>
                  <a:pt x="1007" y="80"/>
                </a:cubicBezTo>
                <a:cubicBezTo>
                  <a:pt x="1005" y="81"/>
                  <a:pt x="1005" y="81"/>
                  <a:pt x="1005" y="81"/>
                </a:cubicBezTo>
                <a:cubicBezTo>
                  <a:pt x="1005" y="82"/>
                  <a:pt x="1005" y="82"/>
                  <a:pt x="1005" y="82"/>
                </a:cubicBezTo>
                <a:cubicBezTo>
                  <a:pt x="1002" y="81"/>
                  <a:pt x="1002" y="81"/>
                  <a:pt x="1002" y="81"/>
                </a:cubicBezTo>
                <a:cubicBezTo>
                  <a:pt x="1000" y="81"/>
                  <a:pt x="1000" y="81"/>
                  <a:pt x="1000" y="81"/>
                </a:cubicBezTo>
                <a:cubicBezTo>
                  <a:pt x="1000" y="80"/>
                  <a:pt x="1000" y="80"/>
                  <a:pt x="1000" y="80"/>
                </a:cubicBezTo>
                <a:cubicBezTo>
                  <a:pt x="999" y="80"/>
                  <a:pt x="999" y="80"/>
                  <a:pt x="999" y="80"/>
                </a:cubicBezTo>
                <a:cubicBezTo>
                  <a:pt x="997" y="80"/>
                  <a:pt x="997" y="80"/>
                  <a:pt x="997" y="80"/>
                </a:cubicBezTo>
                <a:cubicBezTo>
                  <a:pt x="995" y="77"/>
                  <a:pt x="995" y="77"/>
                  <a:pt x="995" y="77"/>
                </a:cubicBezTo>
                <a:cubicBezTo>
                  <a:pt x="995" y="75"/>
                  <a:pt x="995" y="75"/>
                  <a:pt x="995" y="75"/>
                </a:cubicBezTo>
                <a:cubicBezTo>
                  <a:pt x="996" y="74"/>
                  <a:pt x="996" y="74"/>
                  <a:pt x="996" y="74"/>
                </a:cubicBezTo>
                <a:cubicBezTo>
                  <a:pt x="997" y="75"/>
                  <a:pt x="997" y="75"/>
                  <a:pt x="997" y="75"/>
                </a:cubicBezTo>
                <a:cubicBezTo>
                  <a:pt x="997" y="76"/>
                  <a:pt x="997" y="76"/>
                  <a:pt x="997" y="76"/>
                </a:cubicBezTo>
                <a:cubicBezTo>
                  <a:pt x="998" y="77"/>
                  <a:pt x="998" y="77"/>
                  <a:pt x="998" y="77"/>
                </a:cubicBezTo>
                <a:cubicBezTo>
                  <a:pt x="999" y="75"/>
                  <a:pt x="999" y="75"/>
                  <a:pt x="999" y="75"/>
                </a:cubicBezTo>
                <a:cubicBezTo>
                  <a:pt x="999" y="74"/>
                  <a:pt x="999" y="74"/>
                  <a:pt x="999" y="74"/>
                </a:cubicBezTo>
                <a:cubicBezTo>
                  <a:pt x="998" y="74"/>
                  <a:pt x="998" y="74"/>
                  <a:pt x="998" y="74"/>
                </a:cubicBezTo>
                <a:cubicBezTo>
                  <a:pt x="998" y="72"/>
                  <a:pt x="998" y="72"/>
                  <a:pt x="998" y="72"/>
                </a:cubicBezTo>
                <a:cubicBezTo>
                  <a:pt x="999" y="70"/>
                  <a:pt x="999" y="70"/>
                  <a:pt x="999" y="70"/>
                </a:cubicBezTo>
                <a:cubicBezTo>
                  <a:pt x="999" y="69"/>
                  <a:pt x="999" y="69"/>
                  <a:pt x="999" y="69"/>
                </a:cubicBezTo>
                <a:cubicBezTo>
                  <a:pt x="1000" y="67"/>
                  <a:pt x="1000" y="67"/>
                  <a:pt x="1000" y="67"/>
                </a:cubicBezTo>
                <a:cubicBezTo>
                  <a:pt x="999" y="63"/>
                  <a:pt x="999" y="63"/>
                  <a:pt x="999" y="63"/>
                </a:cubicBezTo>
                <a:cubicBezTo>
                  <a:pt x="999" y="62"/>
                  <a:pt x="999" y="62"/>
                  <a:pt x="999" y="62"/>
                </a:cubicBezTo>
                <a:cubicBezTo>
                  <a:pt x="998" y="61"/>
                  <a:pt x="998" y="61"/>
                  <a:pt x="998" y="61"/>
                </a:cubicBezTo>
                <a:cubicBezTo>
                  <a:pt x="998" y="60"/>
                  <a:pt x="998" y="60"/>
                  <a:pt x="998" y="60"/>
                </a:cubicBezTo>
                <a:cubicBezTo>
                  <a:pt x="998" y="59"/>
                  <a:pt x="998" y="59"/>
                  <a:pt x="998" y="59"/>
                </a:cubicBezTo>
                <a:cubicBezTo>
                  <a:pt x="999" y="59"/>
                  <a:pt x="999" y="59"/>
                  <a:pt x="999" y="59"/>
                </a:cubicBezTo>
                <a:cubicBezTo>
                  <a:pt x="999" y="58"/>
                  <a:pt x="999" y="58"/>
                  <a:pt x="999" y="58"/>
                </a:cubicBezTo>
                <a:cubicBezTo>
                  <a:pt x="1000" y="59"/>
                  <a:pt x="1000" y="59"/>
                  <a:pt x="1000" y="59"/>
                </a:cubicBezTo>
                <a:cubicBezTo>
                  <a:pt x="1001" y="59"/>
                  <a:pt x="1001" y="59"/>
                  <a:pt x="1001" y="59"/>
                </a:cubicBezTo>
                <a:cubicBezTo>
                  <a:pt x="1002" y="61"/>
                  <a:pt x="1002" y="61"/>
                  <a:pt x="1002" y="61"/>
                </a:cubicBezTo>
                <a:cubicBezTo>
                  <a:pt x="1002" y="60"/>
                  <a:pt x="1002" y="60"/>
                  <a:pt x="1002" y="60"/>
                </a:cubicBezTo>
                <a:cubicBezTo>
                  <a:pt x="1002" y="59"/>
                  <a:pt x="1002" y="59"/>
                  <a:pt x="1002" y="59"/>
                </a:cubicBezTo>
                <a:cubicBezTo>
                  <a:pt x="1001" y="58"/>
                  <a:pt x="1001" y="58"/>
                  <a:pt x="1001" y="58"/>
                </a:cubicBezTo>
                <a:cubicBezTo>
                  <a:pt x="1000" y="58"/>
                  <a:pt x="1000" y="58"/>
                  <a:pt x="1000" y="58"/>
                </a:cubicBezTo>
                <a:cubicBezTo>
                  <a:pt x="999" y="57"/>
                  <a:pt x="999" y="57"/>
                  <a:pt x="999" y="57"/>
                </a:cubicBezTo>
                <a:cubicBezTo>
                  <a:pt x="999" y="56"/>
                  <a:pt x="999" y="56"/>
                  <a:pt x="999" y="56"/>
                </a:cubicBezTo>
                <a:cubicBezTo>
                  <a:pt x="1000" y="54"/>
                  <a:pt x="1000" y="54"/>
                  <a:pt x="1000" y="54"/>
                </a:cubicBezTo>
                <a:cubicBezTo>
                  <a:pt x="1004" y="50"/>
                  <a:pt x="1004" y="50"/>
                  <a:pt x="1004" y="50"/>
                </a:cubicBezTo>
                <a:cubicBezTo>
                  <a:pt x="1005" y="50"/>
                  <a:pt x="1005" y="50"/>
                  <a:pt x="1005" y="50"/>
                </a:cubicBezTo>
                <a:cubicBezTo>
                  <a:pt x="1006" y="50"/>
                  <a:pt x="1006" y="50"/>
                  <a:pt x="1006" y="50"/>
                </a:cubicBezTo>
                <a:cubicBezTo>
                  <a:pt x="1007" y="51"/>
                  <a:pt x="1007" y="51"/>
                  <a:pt x="1007" y="51"/>
                </a:cubicBezTo>
                <a:cubicBezTo>
                  <a:pt x="1008" y="53"/>
                  <a:pt x="1008" y="53"/>
                  <a:pt x="1008" y="53"/>
                </a:cubicBezTo>
                <a:cubicBezTo>
                  <a:pt x="1009" y="53"/>
                  <a:pt x="1009" y="53"/>
                  <a:pt x="1009" y="53"/>
                </a:cubicBezTo>
                <a:cubicBezTo>
                  <a:pt x="1012" y="54"/>
                  <a:pt x="1012" y="54"/>
                  <a:pt x="1012" y="54"/>
                </a:cubicBezTo>
                <a:cubicBezTo>
                  <a:pt x="1012" y="56"/>
                  <a:pt x="1012" y="56"/>
                  <a:pt x="1012" y="56"/>
                </a:cubicBezTo>
                <a:cubicBezTo>
                  <a:pt x="1014" y="57"/>
                  <a:pt x="1014" y="57"/>
                  <a:pt x="1014" y="57"/>
                </a:cubicBezTo>
                <a:cubicBezTo>
                  <a:pt x="1014" y="60"/>
                  <a:pt x="1014" y="60"/>
                  <a:pt x="1014" y="60"/>
                </a:cubicBezTo>
                <a:cubicBezTo>
                  <a:pt x="1014" y="63"/>
                  <a:pt x="1014" y="63"/>
                  <a:pt x="1014" y="63"/>
                </a:cubicBezTo>
                <a:cubicBezTo>
                  <a:pt x="1014" y="65"/>
                  <a:pt x="1014" y="65"/>
                  <a:pt x="1014" y="65"/>
                </a:cubicBezTo>
                <a:cubicBezTo>
                  <a:pt x="1015" y="66"/>
                  <a:pt x="1015" y="66"/>
                  <a:pt x="1015" y="66"/>
                </a:cubicBezTo>
                <a:cubicBezTo>
                  <a:pt x="1016" y="65"/>
                  <a:pt x="1016" y="65"/>
                  <a:pt x="1016" y="65"/>
                </a:cubicBezTo>
                <a:cubicBezTo>
                  <a:pt x="1017" y="66"/>
                  <a:pt x="1017" y="66"/>
                  <a:pt x="1017" y="66"/>
                </a:cubicBezTo>
                <a:cubicBezTo>
                  <a:pt x="1018" y="67"/>
                  <a:pt x="1018" y="67"/>
                  <a:pt x="1018" y="67"/>
                </a:cubicBezTo>
                <a:cubicBezTo>
                  <a:pt x="1019" y="66"/>
                  <a:pt x="1019" y="66"/>
                  <a:pt x="1019" y="66"/>
                </a:cubicBezTo>
                <a:cubicBezTo>
                  <a:pt x="1018" y="65"/>
                  <a:pt x="1018" y="65"/>
                  <a:pt x="1018" y="65"/>
                </a:cubicBezTo>
                <a:cubicBezTo>
                  <a:pt x="1017" y="64"/>
                  <a:pt x="1017" y="64"/>
                  <a:pt x="1017" y="64"/>
                </a:cubicBezTo>
                <a:cubicBezTo>
                  <a:pt x="1016" y="64"/>
                  <a:pt x="1016" y="64"/>
                  <a:pt x="1016" y="64"/>
                </a:cubicBezTo>
                <a:cubicBezTo>
                  <a:pt x="1016" y="63"/>
                  <a:pt x="1016" y="63"/>
                  <a:pt x="1016" y="63"/>
                </a:cubicBezTo>
                <a:cubicBezTo>
                  <a:pt x="1017" y="62"/>
                  <a:pt x="1017" y="62"/>
                  <a:pt x="1017" y="62"/>
                </a:cubicBezTo>
                <a:cubicBezTo>
                  <a:pt x="1017" y="61"/>
                  <a:pt x="1017" y="61"/>
                  <a:pt x="1017" y="61"/>
                </a:cubicBezTo>
                <a:cubicBezTo>
                  <a:pt x="1017" y="56"/>
                  <a:pt x="1017" y="56"/>
                  <a:pt x="1017" y="56"/>
                </a:cubicBezTo>
                <a:cubicBezTo>
                  <a:pt x="1016" y="55"/>
                  <a:pt x="1016" y="55"/>
                  <a:pt x="1016" y="55"/>
                </a:cubicBezTo>
                <a:cubicBezTo>
                  <a:pt x="1017" y="54"/>
                  <a:pt x="1017" y="54"/>
                  <a:pt x="1017" y="54"/>
                </a:cubicBezTo>
                <a:cubicBezTo>
                  <a:pt x="1019" y="54"/>
                  <a:pt x="1019" y="54"/>
                  <a:pt x="1019" y="54"/>
                </a:cubicBezTo>
                <a:cubicBezTo>
                  <a:pt x="1020" y="54"/>
                  <a:pt x="1020" y="54"/>
                  <a:pt x="1020" y="54"/>
                </a:cubicBezTo>
                <a:cubicBezTo>
                  <a:pt x="1022" y="55"/>
                  <a:pt x="1022" y="55"/>
                  <a:pt x="1022" y="55"/>
                </a:cubicBezTo>
                <a:cubicBezTo>
                  <a:pt x="1023" y="55"/>
                  <a:pt x="1023" y="55"/>
                  <a:pt x="1023" y="55"/>
                </a:cubicBezTo>
                <a:cubicBezTo>
                  <a:pt x="1025" y="55"/>
                  <a:pt x="1025" y="55"/>
                  <a:pt x="1025" y="55"/>
                </a:cubicBezTo>
                <a:cubicBezTo>
                  <a:pt x="1028" y="55"/>
                  <a:pt x="1028" y="55"/>
                  <a:pt x="1028" y="55"/>
                </a:cubicBezTo>
                <a:cubicBezTo>
                  <a:pt x="1030" y="54"/>
                  <a:pt x="1030" y="54"/>
                  <a:pt x="1030" y="54"/>
                </a:cubicBezTo>
                <a:cubicBezTo>
                  <a:pt x="1031" y="55"/>
                  <a:pt x="1031" y="55"/>
                  <a:pt x="1031" y="55"/>
                </a:cubicBezTo>
                <a:cubicBezTo>
                  <a:pt x="1032" y="56"/>
                  <a:pt x="1032" y="56"/>
                  <a:pt x="1032" y="56"/>
                </a:cubicBezTo>
                <a:cubicBezTo>
                  <a:pt x="1035" y="56"/>
                  <a:pt x="1035" y="56"/>
                  <a:pt x="1035" y="56"/>
                </a:cubicBezTo>
                <a:cubicBezTo>
                  <a:pt x="1036" y="57"/>
                  <a:pt x="1036" y="57"/>
                  <a:pt x="1036" y="57"/>
                </a:cubicBezTo>
                <a:cubicBezTo>
                  <a:pt x="1037" y="56"/>
                  <a:pt x="1037" y="56"/>
                  <a:pt x="1037" y="56"/>
                </a:cubicBezTo>
                <a:cubicBezTo>
                  <a:pt x="1036" y="55"/>
                  <a:pt x="1036" y="55"/>
                  <a:pt x="1036" y="55"/>
                </a:cubicBezTo>
                <a:cubicBezTo>
                  <a:pt x="1034" y="55"/>
                  <a:pt x="1034" y="55"/>
                  <a:pt x="1034" y="55"/>
                </a:cubicBezTo>
                <a:cubicBezTo>
                  <a:pt x="1032" y="54"/>
                  <a:pt x="1032" y="54"/>
                  <a:pt x="1032" y="54"/>
                </a:cubicBezTo>
                <a:cubicBezTo>
                  <a:pt x="1032" y="53"/>
                  <a:pt x="1032" y="53"/>
                  <a:pt x="1032" y="53"/>
                </a:cubicBezTo>
                <a:cubicBezTo>
                  <a:pt x="1033" y="53"/>
                  <a:pt x="1033" y="53"/>
                  <a:pt x="1033" y="53"/>
                </a:cubicBezTo>
                <a:cubicBezTo>
                  <a:pt x="1035" y="53"/>
                  <a:pt x="1035" y="53"/>
                  <a:pt x="1035" y="53"/>
                </a:cubicBezTo>
                <a:cubicBezTo>
                  <a:pt x="1039" y="52"/>
                  <a:pt x="1039" y="52"/>
                  <a:pt x="1039" y="52"/>
                </a:cubicBezTo>
                <a:cubicBezTo>
                  <a:pt x="1042" y="52"/>
                  <a:pt x="1042" y="52"/>
                  <a:pt x="1042" y="52"/>
                </a:cubicBezTo>
                <a:cubicBezTo>
                  <a:pt x="1044" y="53"/>
                  <a:pt x="1044" y="53"/>
                  <a:pt x="1044" y="53"/>
                </a:cubicBezTo>
                <a:cubicBezTo>
                  <a:pt x="1046" y="54"/>
                  <a:pt x="1046" y="54"/>
                  <a:pt x="1046" y="54"/>
                </a:cubicBezTo>
                <a:cubicBezTo>
                  <a:pt x="1047" y="53"/>
                  <a:pt x="1047" y="53"/>
                  <a:pt x="1047" y="53"/>
                </a:cubicBezTo>
                <a:cubicBezTo>
                  <a:pt x="1048" y="53"/>
                  <a:pt x="1048" y="53"/>
                  <a:pt x="1048" y="53"/>
                </a:cubicBezTo>
                <a:cubicBezTo>
                  <a:pt x="1047" y="52"/>
                  <a:pt x="1047" y="52"/>
                  <a:pt x="1047" y="52"/>
                </a:cubicBezTo>
                <a:cubicBezTo>
                  <a:pt x="1046" y="52"/>
                  <a:pt x="1046" y="52"/>
                  <a:pt x="1046" y="52"/>
                </a:cubicBezTo>
                <a:cubicBezTo>
                  <a:pt x="1046" y="51"/>
                  <a:pt x="1046" y="51"/>
                  <a:pt x="1046" y="51"/>
                </a:cubicBezTo>
                <a:cubicBezTo>
                  <a:pt x="1045" y="50"/>
                  <a:pt x="1045" y="50"/>
                  <a:pt x="1045" y="50"/>
                </a:cubicBezTo>
                <a:cubicBezTo>
                  <a:pt x="1043" y="50"/>
                  <a:pt x="1043" y="50"/>
                  <a:pt x="1043" y="50"/>
                </a:cubicBezTo>
                <a:cubicBezTo>
                  <a:pt x="1042" y="50"/>
                  <a:pt x="1042" y="50"/>
                  <a:pt x="1042" y="50"/>
                </a:cubicBezTo>
                <a:cubicBezTo>
                  <a:pt x="1039" y="50"/>
                  <a:pt x="1039" y="50"/>
                  <a:pt x="1039" y="50"/>
                </a:cubicBezTo>
                <a:cubicBezTo>
                  <a:pt x="1040" y="49"/>
                  <a:pt x="1040" y="49"/>
                  <a:pt x="1040" y="49"/>
                </a:cubicBezTo>
                <a:cubicBezTo>
                  <a:pt x="1040" y="47"/>
                  <a:pt x="1040" y="47"/>
                  <a:pt x="1040" y="47"/>
                </a:cubicBezTo>
                <a:cubicBezTo>
                  <a:pt x="1042" y="47"/>
                  <a:pt x="1042" y="47"/>
                  <a:pt x="1042" y="47"/>
                </a:cubicBezTo>
                <a:cubicBezTo>
                  <a:pt x="1043" y="46"/>
                  <a:pt x="1043" y="46"/>
                  <a:pt x="1043" y="46"/>
                </a:cubicBezTo>
                <a:cubicBezTo>
                  <a:pt x="1044" y="44"/>
                  <a:pt x="1044" y="44"/>
                  <a:pt x="1044" y="44"/>
                </a:cubicBezTo>
                <a:cubicBezTo>
                  <a:pt x="1047" y="42"/>
                  <a:pt x="1047" y="42"/>
                  <a:pt x="1047" y="42"/>
                </a:cubicBezTo>
                <a:cubicBezTo>
                  <a:pt x="1046" y="42"/>
                  <a:pt x="1046" y="42"/>
                  <a:pt x="1046" y="42"/>
                </a:cubicBezTo>
                <a:cubicBezTo>
                  <a:pt x="1043" y="44"/>
                  <a:pt x="1043" y="44"/>
                  <a:pt x="1043" y="44"/>
                </a:cubicBezTo>
                <a:cubicBezTo>
                  <a:pt x="1042" y="46"/>
                  <a:pt x="1042" y="46"/>
                  <a:pt x="1042" y="46"/>
                </a:cubicBezTo>
                <a:cubicBezTo>
                  <a:pt x="1041" y="44"/>
                  <a:pt x="1041" y="44"/>
                  <a:pt x="1041" y="44"/>
                </a:cubicBezTo>
                <a:cubicBezTo>
                  <a:pt x="1040" y="45"/>
                  <a:pt x="1040" y="45"/>
                  <a:pt x="1040" y="45"/>
                </a:cubicBezTo>
                <a:cubicBezTo>
                  <a:pt x="1039" y="46"/>
                  <a:pt x="1039" y="46"/>
                  <a:pt x="1039" y="46"/>
                </a:cubicBezTo>
                <a:cubicBezTo>
                  <a:pt x="1037" y="48"/>
                  <a:pt x="1037" y="48"/>
                  <a:pt x="1037" y="48"/>
                </a:cubicBezTo>
                <a:cubicBezTo>
                  <a:pt x="1038" y="48"/>
                  <a:pt x="1038" y="48"/>
                  <a:pt x="1038" y="48"/>
                </a:cubicBezTo>
                <a:cubicBezTo>
                  <a:pt x="1036" y="50"/>
                  <a:pt x="1036" y="50"/>
                  <a:pt x="1036" y="50"/>
                </a:cubicBezTo>
                <a:cubicBezTo>
                  <a:pt x="1035" y="50"/>
                  <a:pt x="1035" y="50"/>
                  <a:pt x="1035" y="50"/>
                </a:cubicBezTo>
                <a:cubicBezTo>
                  <a:pt x="1030" y="52"/>
                  <a:pt x="1030" y="52"/>
                  <a:pt x="1030" y="52"/>
                </a:cubicBezTo>
                <a:cubicBezTo>
                  <a:pt x="1029" y="52"/>
                  <a:pt x="1029" y="52"/>
                  <a:pt x="1029" y="52"/>
                </a:cubicBezTo>
                <a:cubicBezTo>
                  <a:pt x="1028" y="52"/>
                  <a:pt x="1028" y="52"/>
                  <a:pt x="1028" y="52"/>
                </a:cubicBezTo>
                <a:cubicBezTo>
                  <a:pt x="1024" y="52"/>
                  <a:pt x="1024" y="52"/>
                  <a:pt x="1024" y="52"/>
                </a:cubicBezTo>
                <a:cubicBezTo>
                  <a:pt x="1022" y="50"/>
                  <a:pt x="1022" y="50"/>
                  <a:pt x="1022" y="50"/>
                </a:cubicBezTo>
                <a:cubicBezTo>
                  <a:pt x="1021" y="51"/>
                  <a:pt x="1021" y="51"/>
                  <a:pt x="1021" y="51"/>
                </a:cubicBezTo>
                <a:cubicBezTo>
                  <a:pt x="1020" y="51"/>
                  <a:pt x="1020" y="51"/>
                  <a:pt x="1020" y="51"/>
                </a:cubicBezTo>
                <a:cubicBezTo>
                  <a:pt x="1019" y="49"/>
                  <a:pt x="1019" y="49"/>
                  <a:pt x="1019" y="49"/>
                </a:cubicBezTo>
                <a:cubicBezTo>
                  <a:pt x="1021" y="48"/>
                  <a:pt x="1021" y="48"/>
                  <a:pt x="1021" y="48"/>
                </a:cubicBezTo>
                <a:cubicBezTo>
                  <a:pt x="1023" y="48"/>
                  <a:pt x="1023" y="48"/>
                  <a:pt x="1023" y="48"/>
                </a:cubicBezTo>
                <a:cubicBezTo>
                  <a:pt x="1024" y="47"/>
                  <a:pt x="1024" y="47"/>
                  <a:pt x="1024" y="47"/>
                </a:cubicBezTo>
                <a:cubicBezTo>
                  <a:pt x="1025" y="47"/>
                  <a:pt x="1025" y="47"/>
                  <a:pt x="1025" y="47"/>
                </a:cubicBezTo>
                <a:cubicBezTo>
                  <a:pt x="1026" y="47"/>
                  <a:pt x="1026" y="47"/>
                  <a:pt x="1026" y="47"/>
                </a:cubicBezTo>
                <a:cubicBezTo>
                  <a:pt x="1027" y="46"/>
                  <a:pt x="1027" y="46"/>
                  <a:pt x="1027" y="46"/>
                </a:cubicBezTo>
                <a:cubicBezTo>
                  <a:pt x="1026" y="46"/>
                  <a:pt x="1026" y="46"/>
                  <a:pt x="1026" y="46"/>
                </a:cubicBezTo>
                <a:cubicBezTo>
                  <a:pt x="1025" y="47"/>
                  <a:pt x="1025" y="47"/>
                  <a:pt x="1025" y="47"/>
                </a:cubicBezTo>
                <a:cubicBezTo>
                  <a:pt x="1023" y="46"/>
                  <a:pt x="1023" y="46"/>
                  <a:pt x="1023" y="46"/>
                </a:cubicBezTo>
                <a:cubicBezTo>
                  <a:pt x="1022" y="47"/>
                  <a:pt x="1022" y="47"/>
                  <a:pt x="1022" y="47"/>
                </a:cubicBezTo>
                <a:cubicBezTo>
                  <a:pt x="1021" y="47"/>
                  <a:pt x="1021" y="47"/>
                  <a:pt x="1021" y="47"/>
                </a:cubicBezTo>
                <a:cubicBezTo>
                  <a:pt x="1021" y="46"/>
                  <a:pt x="1021" y="46"/>
                  <a:pt x="1021" y="46"/>
                </a:cubicBezTo>
                <a:cubicBezTo>
                  <a:pt x="1022" y="45"/>
                  <a:pt x="1022" y="45"/>
                  <a:pt x="1022" y="45"/>
                </a:cubicBezTo>
                <a:cubicBezTo>
                  <a:pt x="1021" y="45"/>
                  <a:pt x="1021" y="45"/>
                  <a:pt x="1021" y="45"/>
                </a:cubicBezTo>
                <a:cubicBezTo>
                  <a:pt x="1019" y="45"/>
                  <a:pt x="1019" y="45"/>
                  <a:pt x="1019" y="45"/>
                </a:cubicBezTo>
                <a:cubicBezTo>
                  <a:pt x="1019" y="47"/>
                  <a:pt x="1019" y="47"/>
                  <a:pt x="1019" y="47"/>
                </a:cubicBezTo>
                <a:cubicBezTo>
                  <a:pt x="1017" y="49"/>
                  <a:pt x="1017" y="49"/>
                  <a:pt x="1017" y="49"/>
                </a:cubicBezTo>
                <a:cubicBezTo>
                  <a:pt x="1015" y="49"/>
                  <a:pt x="1015" y="49"/>
                  <a:pt x="1015" y="49"/>
                </a:cubicBezTo>
                <a:cubicBezTo>
                  <a:pt x="1012" y="48"/>
                  <a:pt x="1012" y="48"/>
                  <a:pt x="1012" y="48"/>
                </a:cubicBezTo>
                <a:cubicBezTo>
                  <a:pt x="1010" y="48"/>
                  <a:pt x="1010" y="48"/>
                  <a:pt x="1010" y="48"/>
                </a:cubicBezTo>
                <a:cubicBezTo>
                  <a:pt x="1009" y="47"/>
                  <a:pt x="1009" y="47"/>
                  <a:pt x="1009" y="47"/>
                </a:cubicBezTo>
                <a:cubicBezTo>
                  <a:pt x="1009" y="46"/>
                  <a:pt x="1009" y="46"/>
                  <a:pt x="1009" y="46"/>
                </a:cubicBezTo>
                <a:cubicBezTo>
                  <a:pt x="1007" y="46"/>
                  <a:pt x="1007" y="46"/>
                  <a:pt x="1007" y="46"/>
                </a:cubicBezTo>
                <a:cubicBezTo>
                  <a:pt x="1006" y="45"/>
                  <a:pt x="1006" y="45"/>
                  <a:pt x="1006" y="45"/>
                </a:cubicBezTo>
                <a:cubicBezTo>
                  <a:pt x="1006" y="44"/>
                  <a:pt x="1006" y="44"/>
                  <a:pt x="1006" y="44"/>
                </a:cubicBezTo>
                <a:cubicBezTo>
                  <a:pt x="1007" y="43"/>
                  <a:pt x="1007" y="43"/>
                  <a:pt x="1007" y="43"/>
                </a:cubicBezTo>
                <a:cubicBezTo>
                  <a:pt x="1008" y="42"/>
                  <a:pt x="1008" y="42"/>
                  <a:pt x="1008" y="42"/>
                </a:cubicBezTo>
                <a:cubicBezTo>
                  <a:pt x="1010" y="41"/>
                  <a:pt x="1010" y="41"/>
                  <a:pt x="1010" y="41"/>
                </a:cubicBezTo>
                <a:cubicBezTo>
                  <a:pt x="1011" y="39"/>
                  <a:pt x="1011" y="39"/>
                  <a:pt x="1011" y="39"/>
                </a:cubicBezTo>
                <a:cubicBezTo>
                  <a:pt x="1013" y="38"/>
                  <a:pt x="1013" y="38"/>
                  <a:pt x="1013" y="38"/>
                </a:cubicBezTo>
                <a:cubicBezTo>
                  <a:pt x="1015" y="38"/>
                  <a:pt x="1015" y="38"/>
                  <a:pt x="1015" y="38"/>
                </a:cubicBezTo>
                <a:cubicBezTo>
                  <a:pt x="1017" y="38"/>
                  <a:pt x="1017" y="38"/>
                  <a:pt x="1017" y="38"/>
                </a:cubicBezTo>
                <a:cubicBezTo>
                  <a:pt x="1018" y="38"/>
                  <a:pt x="1018" y="38"/>
                  <a:pt x="1018" y="38"/>
                </a:cubicBezTo>
                <a:cubicBezTo>
                  <a:pt x="1019" y="38"/>
                  <a:pt x="1019" y="38"/>
                  <a:pt x="1019" y="38"/>
                </a:cubicBezTo>
                <a:cubicBezTo>
                  <a:pt x="1022" y="39"/>
                  <a:pt x="1022" y="39"/>
                  <a:pt x="1022" y="39"/>
                </a:cubicBezTo>
                <a:cubicBezTo>
                  <a:pt x="1024" y="39"/>
                  <a:pt x="1024" y="39"/>
                  <a:pt x="1024" y="39"/>
                </a:cubicBezTo>
                <a:cubicBezTo>
                  <a:pt x="1025" y="40"/>
                  <a:pt x="1025" y="40"/>
                  <a:pt x="1025" y="40"/>
                </a:cubicBezTo>
                <a:cubicBezTo>
                  <a:pt x="1027" y="39"/>
                  <a:pt x="1027" y="39"/>
                  <a:pt x="1027" y="39"/>
                </a:cubicBezTo>
                <a:cubicBezTo>
                  <a:pt x="1026" y="38"/>
                  <a:pt x="1026" y="38"/>
                  <a:pt x="1026" y="38"/>
                </a:cubicBezTo>
                <a:cubicBezTo>
                  <a:pt x="1024" y="39"/>
                  <a:pt x="1024" y="39"/>
                  <a:pt x="1024" y="39"/>
                </a:cubicBezTo>
                <a:cubicBezTo>
                  <a:pt x="1021" y="38"/>
                  <a:pt x="1021" y="38"/>
                  <a:pt x="1021" y="38"/>
                </a:cubicBezTo>
                <a:cubicBezTo>
                  <a:pt x="1020" y="37"/>
                  <a:pt x="1020" y="37"/>
                  <a:pt x="1020" y="37"/>
                </a:cubicBezTo>
                <a:cubicBezTo>
                  <a:pt x="1018" y="37"/>
                  <a:pt x="1018" y="37"/>
                  <a:pt x="1018" y="37"/>
                </a:cubicBezTo>
                <a:cubicBezTo>
                  <a:pt x="1016" y="37"/>
                  <a:pt x="1016" y="37"/>
                  <a:pt x="1016" y="37"/>
                </a:cubicBezTo>
                <a:cubicBezTo>
                  <a:pt x="1013" y="37"/>
                  <a:pt x="1013" y="37"/>
                  <a:pt x="1013" y="37"/>
                </a:cubicBezTo>
                <a:cubicBezTo>
                  <a:pt x="1012" y="37"/>
                  <a:pt x="1012" y="37"/>
                  <a:pt x="1012" y="37"/>
                </a:cubicBezTo>
                <a:cubicBezTo>
                  <a:pt x="1010" y="39"/>
                  <a:pt x="1010" y="39"/>
                  <a:pt x="1010" y="39"/>
                </a:cubicBezTo>
                <a:cubicBezTo>
                  <a:pt x="1008" y="40"/>
                  <a:pt x="1008" y="40"/>
                  <a:pt x="1008" y="40"/>
                </a:cubicBezTo>
                <a:cubicBezTo>
                  <a:pt x="1006" y="41"/>
                  <a:pt x="1006" y="41"/>
                  <a:pt x="1006" y="41"/>
                </a:cubicBezTo>
                <a:cubicBezTo>
                  <a:pt x="1004" y="43"/>
                  <a:pt x="1004" y="43"/>
                  <a:pt x="1004" y="43"/>
                </a:cubicBezTo>
                <a:cubicBezTo>
                  <a:pt x="1003" y="43"/>
                  <a:pt x="1003" y="43"/>
                  <a:pt x="1003" y="43"/>
                </a:cubicBezTo>
                <a:cubicBezTo>
                  <a:pt x="1001" y="41"/>
                  <a:pt x="1001" y="41"/>
                  <a:pt x="1001" y="41"/>
                </a:cubicBezTo>
                <a:cubicBezTo>
                  <a:pt x="1000" y="41"/>
                  <a:pt x="1000" y="41"/>
                  <a:pt x="1000" y="41"/>
                </a:cubicBezTo>
                <a:cubicBezTo>
                  <a:pt x="1000" y="40"/>
                  <a:pt x="1000" y="40"/>
                  <a:pt x="1000" y="40"/>
                </a:cubicBezTo>
                <a:cubicBezTo>
                  <a:pt x="999" y="38"/>
                  <a:pt x="999" y="38"/>
                  <a:pt x="999" y="38"/>
                </a:cubicBezTo>
                <a:close/>
                <a:moveTo>
                  <a:pt x="964" y="119"/>
                </a:moveTo>
                <a:cubicBezTo>
                  <a:pt x="964" y="117"/>
                  <a:pt x="964" y="117"/>
                  <a:pt x="964" y="117"/>
                </a:cubicBezTo>
                <a:cubicBezTo>
                  <a:pt x="963" y="117"/>
                  <a:pt x="963" y="117"/>
                  <a:pt x="963" y="117"/>
                </a:cubicBezTo>
                <a:cubicBezTo>
                  <a:pt x="963" y="118"/>
                  <a:pt x="963" y="118"/>
                  <a:pt x="963" y="118"/>
                </a:cubicBezTo>
                <a:cubicBezTo>
                  <a:pt x="964" y="119"/>
                  <a:pt x="964" y="119"/>
                  <a:pt x="964" y="119"/>
                </a:cubicBezTo>
                <a:close/>
                <a:moveTo>
                  <a:pt x="1052" y="40"/>
                </a:moveTo>
                <a:cubicBezTo>
                  <a:pt x="1048" y="42"/>
                  <a:pt x="1048" y="42"/>
                  <a:pt x="1048" y="42"/>
                </a:cubicBezTo>
                <a:cubicBezTo>
                  <a:pt x="1049" y="42"/>
                  <a:pt x="1049" y="42"/>
                  <a:pt x="1049" y="42"/>
                </a:cubicBezTo>
                <a:cubicBezTo>
                  <a:pt x="1052" y="41"/>
                  <a:pt x="1052" y="41"/>
                  <a:pt x="1052" y="41"/>
                </a:cubicBezTo>
                <a:cubicBezTo>
                  <a:pt x="1052" y="40"/>
                  <a:pt x="1052" y="40"/>
                  <a:pt x="1052" y="40"/>
                </a:cubicBezTo>
                <a:close/>
                <a:moveTo>
                  <a:pt x="1009" y="35"/>
                </a:moveTo>
                <a:cubicBezTo>
                  <a:pt x="1009" y="36"/>
                  <a:pt x="1009" y="36"/>
                  <a:pt x="1009" y="36"/>
                </a:cubicBezTo>
                <a:cubicBezTo>
                  <a:pt x="1011" y="36"/>
                  <a:pt x="1011" y="36"/>
                  <a:pt x="1011" y="36"/>
                </a:cubicBezTo>
                <a:cubicBezTo>
                  <a:pt x="1012" y="35"/>
                  <a:pt x="1012" y="35"/>
                  <a:pt x="1012" y="35"/>
                </a:cubicBezTo>
                <a:cubicBezTo>
                  <a:pt x="1014" y="36"/>
                  <a:pt x="1014" y="36"/>
                  <a:pt x="1014" y="36"/>
                </a:cubicBezTo>
                <a:cubicBezTo>
                  <a:pt x="1014" y="35"/>
                  <a:pt x="1014" y="35"/>
                  <a:pt x="1014" y="35"/>
                </a:cubicBezTo>
                <a:cubicBezTo>
                  <a:pt x="1015" y="35"/>
                  <a:pt x="1015" y="35"/>
                  <a:pt x="1015" y="35"/>
                </a:cubicBezTo>
                <a:cubicBezTo>
                  <a:pt x="1016" y="34"/>
                  <a:pt x="1016" y="34"/>
                  <a:pt x="1016" y="34"/>
                </a:cubicBezTo>
                <a:cubicBezTo>
                  <a:pt x="1018" y="34"/>
                  <a:pt x="1018" y="34"/>
                  <a:pt x="1018" y="34"/>
                </a:cubicBezTo>
                <a:cubicBezTo>
                  <a:pt x="1021" y="34"/>
                  <a:pt x="1021" y="34"/>
                  <a:pt x="1021" y="34"/>
                </a:cubicBezTo>
                <a:cubicBezTo>
                  <a:pt x="1021" y="33"/>
                  <a:pt x="1021" y="33"/>
                  <a:pt x="1021" y="33"/>
                </a:cubicBezTo>
                <a:cubicBezTo>
                  <a:pt x="1021" y="32"/>
                  <a:pt x="1021" y="32"/>
                  <a:pt x="1021" y="32"/>
                </a:cubicBezTo>
                <a:cubicBezTo>
                  <a:pt x="1020" y="32"/>
                  <a:pt x="1020" y="32"/>
                  <a:pt x="1020" y="32"/>
                </a:cubicBezTo>
                <a:cubicBezTo>
                  <a:pt x="1020" y="33"/>
                  <a:pt x="1020" y="33"/>
                  <a:pt x="1020" y="33"/>
                </a:cubicBezTo>
                <a:cubicBezTo>
                  <a:pt x="1019" y="33"/>
                  <a:pt x="1019" y="33"/>
                  <a:pt x="1019" y="33"/>
                </a:cubicBezTo>
                <a:cubicBezTo>
                  <a:pt x="1017" y="33"/>
                  <a:pt x="1017" y="33"/>
                  <a:pt x="1017" y="33"/>
                </a:cubicBezTo>
                <a:cubicBezTo>
                  <a:pt x="1015" y="33"/>
                  <a:pt x="1015" y="33"/>
                  <a:pt x="1015" y="33"/>
                </a:cubicBezTo>
                <a:cubicBezTo>
                  <a:pt x="1013" y="34"/>
                  <a:pt x="1013" y="34"/>
                  <a:pt x="1013" y="34"/>
                </a:cubicBezTo>
                <a:cubicBezTo>
                  <a:pt x="1012" y="35"/>
                  <a:pt x="1012" y="35"/>
                  <a:pt x="1012" y="35"/>
                </a:cubicBezTo>
                <a:cubicBezTo>
                  <a:pt x="1010" y="34"/>
                  <a:pt x="1010" y="34"/>
                  <a:pt x="1010" y="34"/>
                </a:cubicBezTo>
                <a:cubicBezTo>
                  <a:pt x="1009" y="35"/>
                  <a:pt x="1009" y="35"/>
                  <a:pt x="1009" y="35"/>
                </a:cubicBezTo>
                <a:close/>
                <a:moveTo>
                  <a:pt x="983" y="99"/>
                </a:moveTo>
                <a:cubicBezTo>
                  <a:pt x="983" y="99"/>
                  <a:pt x="983" y="99"/>
                  <a:pt x="984" y="99"/>
                </a:cubicBezTo>
                <a:cubicBezTo>
                  <a:pt x="984" y="99"/>
                  <a:pt x="984" y="99"/>
                  <a:pt x="983" y="98"/>
                </a:cubicBezTo>
                <a:cubicBezTo>
                  <a:pt x="983" y="98"/>
                  <a:pt x="983" y="98"/>
                  <a:pt x="983" y="99"/>
                </a:cubicBezTo>
                <a:close/>
                <a:moveTo>
                  <a:pt x="1003" y="458"/>
                </a:moveTo>
                <a:cubicBezTo>
                  <a:pt x="1004" y="458"/>
                  <a:pt x="1004" y="458"/>
                  <a:pt x="1004" y="458"/>
                </a:cubicBezTo>
                <a:cubicBezTo>
                  <a:pt x="1005" y="458"/>
                  <a:pt x="1005" y="458"/>
                  <a:pt x="1005" y="458"/>
                </a:cubicBezTo>
                <a:cubicBezTo>
                  <a:pt x="1006" y="457"/>
                  <a:pt x="1006" y="457"/>
                  <a:pt x="1006" y="457"/>
                </a:cubicBezTo>
                <a:cubicBezTo>
                  <a:pt x="1005" y="456"/>
                  <a:pt x="1005" y="456"/>
                  <a:pt x="1005" y="456"/>
                </a:cubicBezTo>
                <a:cubicBezTo>
                  <a:pt x="1004" y="456"/>
                  <a:pt x="1004" y="456"/>
                  <a:pt x="1004" y="456"/>
                </a:cubicBezTo>
                <a:cubicBezTo>
                  <a:pt x="1003" y="458"/>
                  <a:pt x="1003" y="458"/>
                  <a:pt x="1003" y="458"/>
                </a:cubicBezTo>
                <a:close/>
                <a:moveTo>
                  <a:pt x="982" y="104"/>
                </a:moveTo>
                <a:cubicBezTo>
                  <a:pt x="982" y="104"/>
                  <a:pt x="982" y="104"/>
                  <a:pt x="982" y="103"/>
                </a:cubicBezTo>
                <a:cubicBezTo>
                  <a:pt x="982" y="103"/>
                  <a:pt x="982" y="103"/>
                  <a:pt x="981" y="102"/>
                </a:cubicBezTo>
                <a:cubicBezTo>
                  <a:pt x="981" y="102"/>
                  <a:pt x="981" y="102"/>
                  <a:pt x="981" y="103"/>
                </a:cubicBezTo>
                <a:cubicBezTo>
                  <a:pt x="981" y="103"/>
                  <a:pt x="981" y="103"/>
                  <a:pt x="981" y="105"/>
                </a:cubicBezTo>
                <a:cubicBezTo>
                  <a:pt x="981" y="105"/>
                  <a:pt x="981" y="105"/>
                  <a:pt x="982" y="105"/>
                </a:cubicBezTo>
                <a:cubicBezTo>
                  <a:pt x="982" y="105"/>
                  <a:pt x="982" y="105"/>
                  <a:pt x="982" y="104"/>
                </a:cubicBezTo>
                <a:close/>
                <a:moveTo>
                  <a:pt x="1035" y="449"/>
                </a:moveTo>
                <a:cubicBezTo>
                  <a:pt x="1035" y="449"/>
                  <a:pt x="1035" y="449"/>
                  <a:pt x="1034" y="449"/>
                </a:cubicBezTo>
                <a:cubicBezTo>
                  <a:pt x="1034" y="449"/>
                  <a:pt x="1034" y="449"/>
                  <a:pt x="1034" y="450"/>
                </a:cubicBezTo>
                <a:cubicBezTo>
                  <a:pt x="1034" y="450"/>
                  <a:pt x="1034" y="450"/>
                  <a:pt x="1035" y="450"/>
                </a:cubicBezTo>
                <a:cubicBezTo>
                  <a:pt x="1035" y="450"/>
                  <a:pt x="1035" y="450"/>
                  <a:pt x="1035" y="449"/>
                </a:cubicBezTo>
                <a:close/>
                <a:moveTo>
                  <a:pt x="1037" y="93"/>
                </a:moveTo>
                <a:cubicBezTo>
                  <a:pt x="1037" y="92"/>
                  <a:pt x="1037" y="92"/>
                  <a:pt x="1037" y="92"/>
                </a:cubicBezTo>
                <a:cubicBezTo>
                  <a:pt x="1036" y="91"/>
                  <a:pt x="1036" y="91"/>
                  <a:pt x="1036" y="91"/>
                </a:cubicBezTo>
                <a:cubicBezTo>
                  <a:pt x="1035" y="92"/>
                  <a:pt x="1035" y="92"/>
                  <a:pt x="1035" y="92"/>
                </a:cubicBezTo>
                <a:cubicBezTo>
                  <a:pt x="1036" y="93"/>
                  <a:pt x="1036" y="93"/>
                  <a:pt x="1036" y="93"/>
                </a:cubicBezTo>
                <a:cubicBezTo>
                  <a:pt x="1037" y="93"/>
                  <a:pt x="1037" y="93"/>
                  <a:pt x="1037" y="93"/>
                </a:cubicBezTo>
                <a:close/>
                <a:moveTo>
                  <a:pt x="932" y="309"/>
                </a:moveTo>
                <a:cubicBezTo>
                  <a:pt x="933" y="308"/>
                  <a:pt x="933" y="308"/>
                  <a:pt x="933" y="308"/>
                </a:cubicBezTo>
                <a:cubicBezTo>
                  <a:pt x="934" y="308"/>
                  <a:pt x="934" y="308"/>
                  <a:pt x="934" y="308"/>
                </a:cubicBezTo>
                <a:cubicBezTo>
                  <a:pt x="935" y="308"/>
                  <a:pt x="935" y="308"/>
                  <a:pt x="935" y="308"/>
                </a:cubicBezTo>
                <a:cubicBezTo>
                  <a:pt x="935" y="307"/>
                  <a:pt x="935" y="307"/>
                  <a:pt x="935" y="307"/>
                </a:cubicBezTo>
                <a:cubicBezTo>
                  <a:pt x="935" y="306"/>
                  <a:pt x="935" y="306"/>
                  <a:pt x="935" y="306"/>
                </a:cubicBezTo>
                <a:cubicBezTo>
                  <a:pt x="935" y="305"/>
                  <a:pt x="935" y="305"/>
                  <a:pt x="935" y="305"/>
                </a:cubicBezTo>
                <a:cubicBezTo>
                  <a:pt x="935" y="304"/>
                  <a:pt x="935" y="304"/>
                  <a:pt x="935" y="304"/>
                </a:cubicBezTo>
                <a:cubicBezTo>
                  <a:pt x="933" y="304"/>
                  <a:pt x="933" y="304"/>
                  <a:pt x="933" y="304"/>
                </a:cubicBezTo>
                <a:cubicBezTo>
                  <a:pt x="932" y="303"/>
                  <a:pt x="932" y="303"/>
                  <a:pt x="932" y="303"/>
                </a:cubicBezTo>
                <a:cubicBezTo>
                  <a:pt x="930" y="303"/>
                  <a:pt x="930" y="303"/>
                  <a:pt x="930" y="303"/>
                </a:cubicBezTo>
                <a:cubicBezTo>
                  <a:pt x="930" y="304"/>
                  <a:pt x="930" y="304"/>
                  <a:pt x="930" y="304"/>
                </a:cubicBezTo>
                <a:cubicBezTo>
                  <a:pt x="930" y="305"/>
                  <a:pt x="930" y="305"/>
                  <a:pt x="930" y="305"/>
                </a:cubicBezTo>
                <a:cubicBezTo>
                  <a:pt x="931" y="306"/>
                  <a:pt x="931" y="306"/>
                  <a:pt x="931" y="306"/>
                </a:cubicBezTo>
                <a:cubicBezTo>
                  <a:pt x="931" y="307"/>
                  <a:pt x="931" y="307"/>
                  <a:pt x="931" y="307"/>
                </a:cubicBezTo>
                <a:cubicBezTo>
                  <a:pt x="932" y="307"/>
                  <a:pt x="932" y="307"/>
                  <a:pt x="932" y="307"/>
                </a:cubicBezTo>
                <a:cubicBezTo>
                  <a:pt x="932" y="308"/>
                  <a:pt x="932" y="308"/>
                  <a:pt x="932" y="308"/>
                </a:cubicBezTo>
                <a:cubicBezTo>
                  <a:pt x="932" y="309"/>
                  <a:pt x="932" y="309"/>
                  <a:pt x="932" y="309"/>
                </a:cubicBezTo>
                <a:close/>
                <a:moveTo>
                  <a:pt x="1015" y="106"/>
                </a:moveTo>
                <a:cubicBezTo>
                  <a:pt x="1014" y="105"/>
                  <a:pt x="1014" y="105"/>
                  <a:pt x="1014" y="105"/>
                </a:cubicBezTo>
                <a:cubicBezTo>
                  <a:pt x="1013" y="105"/>
                  <a:pt x="1013" y="105"/>
                  <a:pt x="1013" y="105"/>
                </a:cubicBezTo>
                <a:cubicBezTo>
                  <a:pt x="1014" y="106"/>
                  <a:pt x="1014" y="106"/>
                  <a:pt x="1014" y="106"/>
                </a:cubicBezTo>
                <a:cubicBezTo>
                  <a:pt x="1015" y="106"/>
                  <a:pt x="1015" y="106"/>
                  <a:pt x="1015" y="106"/>
                </a:cubicBezTo>
                <a:close/>
                <a:moveTo>
                  <a:pt x="902" y="381"/>
                </a:moveTo>
                <a:cubicBezTo>
                  <a:pt x="902" y="380"/>
                  <a:pt x="902" y="380"/>
                  <a:pt x="902" y="380"/>
                </a:cubicBezTo>
                <a:cubicBezTo>
                  <a:pt x="903" y="379"/>
                  <a:pt x="903" y="379"/>
                  <a:pt x="903" y="379"/>
                </a:cubicBezTo>
                <a:cubicBezTo>
                  <a:pt x="903" y="378"/>
                  <a:pt x="903" y="378"/>
                  <a:pt x="903" y="378"/>
                </a:cubicBezTo>
                <a:cubicBezTo>
                  <a:pt x="902" y="378"/>
                  <a:pt x="902" y="378"/>
                  <a:pt x="902" y="378"/>
                </a:cubicBezTo>
                <a:cubicBezTo>
                  <a:pt x="901" y="380"/>
                  <a:pt x="901" y="380"/>
                  <a:pt x="901" y="380"/>
                </a:cubicBezTo>
                <a:cubicBezTo>
                  <a:pt x="900" y="381"/>
                  <a:pt x="900" y="381"/>
                  <a:pt x="900" y="381"/>
                </a:cubicBezTo>
                <a:cubicBezTo>
                  <a:pt x="900" y="382"/>
                  <a:pt x="900" y="382"/>
                  <a:pt x="900" y="382"/>
                </a:cubicBezTo>
                <a:cubicBezTo>
                  <a:pt x="899" y="383"/>
                  <a:pt x="899" y="383"/>
                  <a:pt x="899" y="383"/>
                </a:cubicBezTo>
                <a:cubicBezTo>
                  <a:pt x="899" y="384"/>
                  <a:pt x="899" y="384"/>
                  <a:pt x="899" y="384"/>
                </a:cubicBezTo>
                <a:cubicBezTo>
                  <a:pt x="900" y="383"/>
                  <a:pt x="900" y="383"/>
                  <a:pt x="900" y="383"/>
                </a:cubicBezTo>
                <a:cubicBezTo>
                  <a:pt x="901" y="382"/>
                  <a:pt x="901" y="382"/>
                  <a:pt x="901" y="382"/>
                </a:cubicBezTo>
                <a:cubicBezTo>
                  <a:pt x="900" y="384"/>
                  <a:pt x="900" y="384"/>
                  <a:pt x="900" y="384"/>
                </a:cubicBezTo>
                <a:cubicBezTo>
                  <a:pt x="901" y="384"/>
                  <a:pt x="901" y="384"/>
                  <a:pt x="901" y="384"/>
                </a:cubicBezTo>
                <a:cubicBezTo>
                  <a:pt x="902" y="383"/>
                  <a:pt x="902" y="383"/>
                  <a:pt x="902" y="383"/>
                </a:cubicBezTo>
                <a:cubicBezTo>
                  <a:pt x="903" y="382"/>
                  <a:pt x="903" y="382"/>
                  <a:pt x="903" y="382"/>
                </a:cubicBezTo>
                <a:cubicBezTo>
                  <a:pt x="902" y="382"/>
                  <a:pt x="902" y="382"/>
                  <a:pt x="902" y="382"/>
                </a:cubicBezTo>
                <a:cubicBezTo>
                  <a:pt x="902" y="381"/>
                  <a:pt x="902" y="381"/>
                  <a:pt x="902" y="381"/>
                </a:cubicBezTo>
                <a:close/>
                <a:moveTo>
                  <a:pt x="907" y="381"/>
                </a:moveTo>
                <a:cubicBezTo>
                  <a:pt x="907" y="381"/>
                  <a:pt x="907" y="381"/>
                  <a:pt x="907" y="379"/>
                </a:cubicBezTo>
                <a:cubicBezTo>
                  <a:pt x="907" y="379"/>
                  <a:pt x="907" y="379"/>
                  <a:pt x="906" y="380"/>
                </a:cubicBezTo>
                <a:cubicBezTo>
                  <a:pt x="906" y="379"/>
                  <a:pt x="906" y="379"/>
                  <a:pt x="906" y="379"/>
                </a:cubicBezTo>
                <a:cubicBezTo>
                  <a:pt x="906" y="378"/>
                  <a:pt x="906" y="378"/>
                  <a:pt x="906" y="378"/>
                </a:cubicBezTo>
                <a:cubicBezTo>
                  <a:pt x="905" y="378"/>
                  <a:pt x="905" y="378"/>
                  <a:pt x="905" y="378"/>
                </a:cubicBezTo>
                <a:cubicBezTo>
                  <a:pt x="905" y="377"/>
                  <a:pt x="905" y="377"/>
                  <a:pt x="905" y="377"/>
                </a:cubicBezTo>
                <a:cubicBezTo>
                  <a:pt x="904" y="377"/>
                  <a:pt x="904" y="377"/>
                  <a:pt x="904" y="377"/>
                </a:cubicBezTo>
                <a:cubicBezTo>
                  <a:pt x="904" y="379"/>
                  <a:pt x="904" y="379"/>
                  <a:pt x="904" y="379"/>
                </a:cubicBezTo>
                <a:cubicBezTo>
                  <a:pt x="903" y="380"/>
                  <a:pt x="903" y="380"/>
                  <a:pt x="903" y="380"/>
                </a:cubicBezTo>
                <a:cubicBezTo>
                  <a:pt x="902" y="381"/>
                  <a:pt x="902" y="381"/>
                  <a:pt x="902" y="381"/>
                </a:cubicBezTo>
                <a:cubicBezTo>
                  <a:pt x="904" y="380"/>
                  <a:pt x="904" y="380"/>
                  <a:pt x="904" y="380"/>
                </a:cubicBezTo>
                <a:cubicBezTo>
                  <a:pt x="903" y="381"/>
                  <a:pt x="903" y="381"/>
                  <a:pt x="903" y="381"/>
                </a:cubicBezTo>
                <a:cubicBezTo>
                  <a:pt x="903" y="382"/>
                  <a:pt x="903" y="382"/>
                  <a:pt x="903" y="382"/>
                </a:cubicBezTo>
                <a:cubicBezTo>
                  <a:pt x="905" y="380"/>
                  <a:pt x="905" y="380"/>
                  <a:pt x="905" y="380"/>
                </a:cubicBezTo>
                <a:cubicBezTo>
                  <a:pt x="904" y="382"/>
                  <a:pt x="904" y="382"/>
                  <a:pt x="904" y="382"/>
                </a:cubicBezTo>
                <a:cubicBezTo>
                  <a:pt x="906" y="381"/>
                  <a:pt x="906" y="381"/>
                  <a:pt x="906" y="381"/>
                </a:cubicBezTo>
                <a:cubicBezTo>
                  <a:pt x="906" y="382"/>
                  <a:pt x="906" y="382"/>
                  <a:pt x="906" y="382"/>
                </a:cubicBezTo>
                <a:cubicBezTo>
                  <a:pt x="906" y="382"/>
                  <a:pt x="906" y="382"/>
                  <a:pt x="907" y="381"/>
                </a:cubicBezTo>
                <a:close/>
                <a:moveTo>
                  <a:pt x="883" y="408"/>
                </a:moveTo>
                <a:cubicBezTo>
                  <a:pt x="883" y="408"/>
                  <a:pt x="883" y="408"/>
                  <a:pt x="882" y="409"/>
                </a:cubicBezTo>
                <a:cubicBezTo>
                  <a:pt x="882" y="409"/>
                  <a:pt x="882" y="409"/>
                  <a:pt x="882" y="410"/>
                </a:cubicBezTo>
                <a:cubicBezTo>
                  <a:pt x="882" y="410"/>
                  <a:pt x="882" y="410"/>
                  <a:pt x="881" y="410"/>
                </a:cubicBezTo>
                <a:cubicBezTo>
                  <a:pt x="881" y="410"/>
                  <a:pt x="881" y="410"/>
                  <a:pt x="880" y="411"/>
                </a:cubicBezTo>
                <a:cubicBezTo>
                  <a:pt x="880" y="411"/>
                  <a:pt x="880" y="411"/>
                  <a:pt x="880" y="412"/>
                </a:cubicBezTo>
                <a:cubicBezTo>
                  <a:pt x="880" y="412"/>
                  <a:pt x="880" y="412"/>
                  <a:pt x="881" y="411"/>
                </a:cubicBezTo>
                <a:cubicBezTo>
                  <a:pt x="881" y="411"/>
                  <a:pt x="881" y="411"/>
                  <a:pt x="882" y="412"/>
                </a:cubicBezTo>
                <a:cubicBezTo>
                  <a:pt x="882" y="412"/>
                  <a:pt x="882" y="412"/>
                  <a:pt x="882" y="411"/>
                </a:cubicBezTo>
                <a:cubicBezTo>
                  <a:pt x="882" y="411"/>
                  <a:pt x="882" y="411"/>
                  <a:pt x="883" y="412"/>
                </a:cubicBezTo>
                <a:cubicBezTo>
                  <a:pt x="883" y="412"/>
                  <a:pt x="883" y="412"/>
                  <a:pt x="884" y="412"/>
                </a:cubicBezTo>
                <a:cubicBezTo>
                  <a:pt x="884" y="412"/>
                  <a:pt x="884" y="412"/>
                  <a:pt x="887" y="413"/>
                </a:cubicBezTo>
                <a:cubicBezTo>
                  <a:pt x="887" y="413"/>
                  <a:pt x="887" y="413"/>
                  <a:pt x="888" y="412"/>
                </a:cubicBezTo>
                <a:cubicBezTo>
                  <a:pt x="888" y="412"/>
                  <a:pt x="888" y="412"/>
                  <a:pt x="887" y="411"/>
                </a:cubicBezTo>
                <a:cubicBezTo>
                  <a:pt x="887" y="411"/>
                  <a:pt x="887" y="411"/>
                  <a:pt x="887" y="410"/>
                </a:cubicBezTo>
                <a:cubicBezTo>
                  <a:pt x="887" y="410"/>
                  <a:pt x="887" y="410"/>
                  <a:pt x="886" y="409"/>
                </a:cubicBezTo>
                <a:cubicBezTo>
                  <a:pt x="886" y="409"/>
                  <a:pt x="886" y="409"/>
                  <a:pt x="884" y="409"/>
                </a:cubicBezTo>
                <a:cubicBezTo>
                  <a:pt x="884" y="409"/>
                  <a:pt x="884" y="409"/>
                  <a:pt x="884" y="408"/>
                </a:cubicBezTo>
                <a:cubicBezTo>
                  <a:pt x="884" y="408"/>
                  <a:pt x="884" y="408"/>
                  <a:pt x="883" y="408"/>
                </a:cubicBezTo>
                <a:close/>
                <a:moveTo>
                  <a:pt x="900" y="380"/>
                </a:moveTo>
                <a:cubicBezTo>
                  <a:pt x="900" y="380"/>
                  <a:pt x="900" y="380"/>
                  <a:pt x="901" y="379"/>
                </a:cubicBezTo>
                <a:cubicBezTo>
                  <a:pt x="901" y="379"/>
                  <a:pt x="901" y="379"/>
                  <a:pt x="902" y="377"/>
                </a:cubicBezTo>
                <a:cubicBezTo>
                  <a:pt x="902" y="377"/>
                  <a:pt x="902" y="377"/>
                  <a:pt x="901" y="378"/>
                </a:cubicBezTo>
                <a:cubicBezTo>
                  <a:pt x="901" y="378"/>
                  <a:pt x="901" y="378"/>
                  <a:pt x="900" y="378"/>
                </a:cubicBezTo>
                <a:cubicBezTo>
                  <a:pt x="900" y="378"/>
                  <a:pt x="900" y="378"/>
                  <a:pt x="900" y="379"/>
                </a:cubicBezTo>
                <a:cubicBezTo>
                  <a:pt x="900" y="379"/>
                  <a:pt x="900" y="379"/>
                  <a:pt x="899" y="379"/>
                </a:cubicBezTo>
                <a:cubicBezTo>
                  <a:pt x="899" y="379"/>
                  <a:pt x="899" y="379"/>
                  <a:pt x="898" y="380"/>
                </a:cubicBezTo>
                <a:cubicBezTo>
                  <a:pt x="898" y="380"/>
                  <a:pt x="898" y="380"/>
                  <a:pt x="899" y="380"/>
                </a:cubicBezTo>
                <a:cubicBezTo>
                  <a:pt x="899" y="380"/>
                  <a:pt x="899" y="380"/>
                  <a:pt x="900" y="380"/>
                </a:cubicBezTo>
                <a:close/>
                <a:moveTo>
                  <a:pt x="917" y="324"/>
                </a:moveTo>
                <a:cubicBezTo>
                  <a:pt x="918" y="324"/>
                  <a:pt x="918" y="324"/>
                  <a:pt x="918" y="324"/>
                </a:cubicBezTo>
                <a:cubicBezTo>
                  <a:pt x="918" y="323"/>
                  <a:pt x="918" y="323"/>
                  <a:pt x="918" y="323"/>
                </a:cubicBezTo>
                <a:cubicBezTo>
                  <a:pt x="919" y="322"/>
                  <a:pt x="919" y="322"/>
                  <a:pt x="919" y="322"/>
                </a:cubicBezTo>
                <a:cubicBezTo>
                  <a:pt x="919" y="321"/>
                  <a:pt x="919" y="321"/>
                  <a:pt x="919" y="321"/>
                </a:cubicBezTo>
                <a:cubicBezTo>
                  <a:pt x="920" y="320"/>
                  <a:pt x="920" y="320"/>
                  <a:pt x="920" y="320"/>
                </a:cubicBezTo>
                <a:cubicBezTo>
                  <a:pt x="921" y="319"/>
                  <a:pt x="921" y="319"/>
                  <a:pt x="921" y="319"/>
                </a:cubicBezTo>
                <a:cubicBezTo>
                  <a:pt x="921" y="318"/>
                  <a:pt x="921" y="318"/>
                  <a:pt x="921" y="318"/>
                </a:cubicBezTo>
                <a:cubicBezTo>
                  <a:pt x="921" y="317"/>
                  <a:pt x="921" y="317"/>
                  <a:pt x="921" y="317"/>
                </a:cubicBezTo>
                <a:cubicBezTo>
                  <a:pt x="922" y="317"/>
                  <a:pt x="922" y="317"/>
                  <a:pt x="922" y="317"/>
                </a:cubicBezTo>
                <a:cubicBezTo>
                  <a:pt x="922" y="316"/>
                  <a:pt x="922" y="316"/>
                  <a:pt x="922" y="316"/>
                </a:cubicBezTo>
                <a:cubicBezTo>
                  <a:pt x="922" y="315"/>
                  <a:pt x="922" y="315"/>
                  <a:pt x="922" y="315"/>
                </a:cubicBezTo>
                <a:cubicBezTo>
                  <a:pt x="922" y="314"/>
                  <a:pt x="922" y="314"/>
                  <a:pt x="922" y="314"/>
                </a:cubicBezTo>
                <a:cubicBezTo>
                  <a:pt x="921" y="314"/>
                  <a:pt x="921" y="314"/>
                  <a:pt x="921" y="314"/>
                </a:cubicBezTo>
                <a:cubicBezTo>
                  <a:pt x="920" y="314"/>
                  <a:pt x="920" y="314"/>
                  <a:pt x="920" y="314"/>
                </a:cubicBezTo>
                <a:cubicBezTo>
                  <a:pt x="920" y="313"/>
                  <a:pt x="920" y="313"/>
                  <a:pt x="920" y="313"/>
                </a:cubicBezTo>
                <a:cubicBezTo>
                  <a:pt x="919" y="314"/>
                  <a:pt x="919" y="314"/>
                  <a:pt x="919" y="314"/>
                </a:cubicBezTo>
                <a:cubicBezTo>
                  <a:pt x="918" y="315"/>
                  <a:pt x="918" y="315"/>
                  <a:pt x="918" y="315"/>
                </a:cubicBezTo>
                <a:cubicBezTo>
                  <a:pt x="917" y="315"/>
                  <a:pt x="917" y="315"/>
                  <a:pt x="917" y="315"/>
                </a:cubicBezTo>
                <a:cubicBezTo>
                  <a:pt x="917" y="316"/>
                  <a:pt x="917" y="316"/>
                  <a:pt x="917" y="316"/>
                </a:cubicBezTo>
                <a:cubicBezTo>
                  <a:pt x="916" y="317"/>
                  <a:pt x="916" y="317"/>
                  <a:pt x="916" y="317"/>
                </a:cubicBezTo>
                <a:cubicBezTo>
                  <a:pt x="917" y="318"/>
                  <a:pt x="917" y="318"/>
                  <a:pt x="917" y="318"/>
                </a:cubicBezTo>
                <a:cubicBezTo>
                  <a:pt x="916" y="318"/>
                  <a:pt x="916" y="318"/>
                  <a:pt x="916" y="318"/>
                </a:cubicBezTo>
                <a:cubicBezTo>
                  <a:pt x="916" y="319"/>
                  <a:pt x="916" y="319"/>
                  <a:pt x="916" y="319"/>
                </a:cubicBezTo>
                <a:cubicBezTo>
                  <a:pt x="916" y="320"/>
                  <a:pt x="916" y="320"/>
                  <a:pt x="916" y="320"/>
                </a:cubicBezTo>
                <a:cubicBezTo>
                  <a:pt x="915" y="321"/>
                  <a:pt x="915" y="321"/>
                  <a:pt x="915" y="321"/>
                </a:cubicBezTo>
                <a:cubicBezTo>
                  <a:pt x="916" y="321"/>
                  <a:pt x="916" y="321"/>
                  <a:pt x="916" y="321"/>
                </a:cubicBezTo>
                <a:cubicBezTo>
                  <a:pt x="916" y="322"/>
                  <a:pt x="916" y="322"/>
                  <a:pt x="916" y="322"/>
                </a:cubicBezTo>
                <a:cubicBezTo>
                  <a:pt x="917" y="322"/>
                  <a:pt x="917" y="322"/>
                  <a:pt x="917" y="322"/>
                </a:cubicBezTo>
                <a:cubicBezTo>
                  <a:pt x="917" y="323"/>
                  <a:pt x="917" y="323"/>
                  <a:pt x="917" y="323"/>
                </a:cubicBezTo>
                <a:cubicBezTo>
                  <a:pt x="917" y="324"/>
                  <a:pt x="917" y="324"/>
                  <a:pt x="917" y="324"/>
                </a:cubicBezTo>
                <a:close/>
                <a:moveTo>
                  <a:pt x="930" y="314"/>
                </a:moveTo>
                <a:cubicBezTo>
                  <a:pt x="931" y="314"/>
                  <a:pt x="931" y="314"/>
                  <a:pt x="931" y="314"/>
                </a:cubicBezTo>
                <a:cubicBezTo>
                  <a:pt x="932" y="314"/>
                  <a:pt x="932" y="314"/>
                  <a:pt x="932" y="314"/>
                </a:cubicBezTo>
                <a:cubicBezTo>
                  <a:pt x="930" y="313"/>
                  <a:pt x="930" y="313"/>
                  <a:pt x="930" y="313"/>
                </a:cubicBezTo>
                <a:cubicBezTo>
                  <a:pt x="930" y="314"/>
                  <a:pt x="930" y="314"/>
                  <a:pt x="930" y="314"/>
                </a:cubicBezTo>
                <a:close/>
                <a:moveTo>
                  <a:pt x="932" y="246"/>
                </a:moveTo>
                <a:cubicBezTo>
                  <a:pt x="933" y="246"/>
                  <a:pt x="933" y="246"/>
                  <a:pt x="933" y="246"/>
                </a:cubicBezTo>
                <a:cubicBezTo>
                  <a:pt x="933" y="246"/>
                  <a:pt x="933" y="246"/>
                  <a:pt x="933" y="245"/>
                </a:cubicBezTo>
                <a:cubicBezTo>
                  <a:pt x="933" y="245"/>
                  <a:pt x="933" y="245"/>
                  <a:pt x="932" y="245"/>
                </a:cubicBezTo>
                <a:cubicBezTo>
                  <a:pt x="932" y="245"/>
                  <a:pt x="932" y="245"/>
                  <a:pt x="932" y="246"/>
                </a:cubicBezTo>
                <a:close/>
                <a:moveTo>
                  <a:pt x="923" y="298"/>
                </a:moveTo>
                <a:cubicBezTo>
                  <a:pt x="922" y="298"/>
                  <a:pt x="922" y="298"/>
                  <a:pt x="922" y="298"/>
                </a:cubicBezTo>
                <a:cubicBezTo>
                  <a:pt x="921" y="297"/>
                  <a:pt x="921" y="297"/>
                  <a:pt x="921" y="297"/>
                </a:cubicBezTo>
                <a:cubicBezTo>
                  <a:pt x="922" y="297"/>
                  <a:pt x="922" y="297"/>
                  <a:pt x="922" y="297"/>
                </a:cubicBezTo>
                <a:cubicBezTo>
                  <a:pt x="922" y="296"/>
                  <a:pt x="922" y="296"/>
                  <a:pt x="922" y="296"/>
                </a:cubicBezTo>
                <a:cubicBezTo>
                  <a:pt x="921" y="295"/>
                  <a:pt x="921" y="295"/>
                  <a:pt x="921" y="295"/>
                </a:cubicBezTo>
                <a:cubicBezTo>
                  <a:pt x="921" y="296"/>
                  <a:pt x="921" y="296"/>
                  <a:pt x="921" y="296"/>
                </a:cubicBezTo>
                <a:cubicBezTo>
                  <a:pt x="920" y="296"/>
                  <a:pt x="920" y="296"/>
                  <a:pt x="920" y="296"/>
                </a:cubicBezTo>
                <a:cubicBezTo>
                  <a:pt x="919" y="295"/>
                  <a:pt x="919" y="295"/>
                  <a:pt x="919" y="295"/>
                </a:cubicBezTo>
                <a:cubicBezTo>
                  <a:pt x="918" y="295"/>
                  <a:pt x="918" y="295"/>
                  <a:pt x="918" y="295"/>
                </a:cubicBezTo>
                <a:cubicBezTo>
                  <a:pt x="917" y="296"/>
                  <a:pt x="917" y="296"/>
                  <a:pt x="917" y="296"/>
                </a:cubicBezTo>
                <a:cubicBezTo>
                  <a:pt x="915" y="296"/>
                  <a:pt x="915" y="296"/>
                  <a:pt x="915" y="296"/>
                </a:cubicBezTo>
                <a:cubicBezTo>
                  <a:pt x="915" y="295"/>
                  <a:pt x="915" y="295"/>
                  <a:pt x="915" y="295"/>
                </a:cubicBezTo>
                <a:cubicBezTo>
                  <a:pt x="916" y="294"/>
                  <a:pt x="916" y="294"/>
                  <a:pt x="916" y="294"/>
                </a:cubicBezTo>
                <a:cubicBezTo>
                  <a:pt x="917" y="294"/>
                  <a:pt x="917" y="294"/>
                  <a:pt x="917" y="294"/>
                </a:cubicBezTo>
                <a:cubicBezTo>
                  <a:pt x="917" y="293"/>
                  <a:pt x="917" y="293"/>
                  <a:pt x="917" y="293"/>
                </a:cubicBezTo>
                <a:cubicBezTo>
                  <a:pt x="917" y="292"/>
                  <a:pt x="917" y="292"/>
                  <a:pt x="917" y="292"/>
                </a:cubicBezTo>
                <a:cubicBezTo>
                  <a:pt x="917" y="291"/>
                  <a:pt x="917" y="291"/>
                  <a:pt x="917" y="291"/>
                </a:cubicBezTo>
                <a:cubicBezTo>
                  <a:pt x="917" y="290"/>
                  <a:pt x="917" y="290"/>
                  <a:pt x="917" y="290"/>
                </a:cubicBezTo>
                <a:cubicBezTo>
                  <a:pt x="917" y="289"/>
                  <a:pt x="917" y="289"/>
                  <a:pt x="917" y="289"/>
                </a:cubicBezTo>
                <a:cubicBezTo>
                  <a:pt x="917" y="288"/>
                  <a:pt x="917" y="288"/>
                  <a:pt x="917" y="288"/>
                </a:cubicBezTo>
                <a:cubicBezTo>
                  <a:pt x="915" y="286"/>
                  <a:pt x="915" y="286"/>
                  <a:pt x="915" y="286"/>
                </a:cubicBezTo>
                <a:cubicBezTo>
                  <a:pt x="913" y="286"/>
                  <a:pt x="913" y="286"/>
                  <a:pt x="913" y="286"/>
                </a:cubicBezTo>
                <a:cubicBezTo>
                  <a:pt x="913" y="285"/>
                  <a:pt x="913" y="285"/>
                  <a:pt x="913" y="285"/>
                </a:cubicBezTo>
                <a:cubicBezTo>
                  <a:pt x="913" y="284"/>
                  <a:pt x="913" y="284"/>
                  <a:pt x="913" y="284"/>
                </a:cubicBezTo>
                <a:cubicBezTo>
                  <a:pt x="912" y="284"/>
                  <a:pt x="912" y="284"/>
                  <a:pt x="912" y="284"/>
                </a:cubicBezTo>
                <a:cubicBezTo>
                  <a:pt x="912" y="283"/>
                  <a:pt x="912" y="283"/>
                  <a:pt x="912" y="283"/>
                </a:cubicBezTo>
                <a:cubicBezTo>
                  <a:pt x="912" y="282"/>
                  <a:pt x="912" y="282"/>
                  <a:pt x="912" y="282"/>
                </a:cubicBezTo>
                <a:cubicBezTo>
                  <a:pt x="912" y="281"/>
                  <a:pt x="912" y="281"/>
                  <a:pt x="912" y="281"/>
                </a:cubicBezTo>
                <a:cubicBezTo>
                  <a:pt x="910" y="281"/>
                  <a:pt x="910" y="281"/>
                  <a:pt x="910" y="281"/>
                </a:cubicBezTo>
                <a:cubicBezTo>
                  <a:pt x="908" y="280"/>
                  <a:pt x="908" y="280"/>
                  <a:pt x="908" y="280"/>
                </a:cubicBezTo>
                <a:cubicBezTo>
                  <a:pt x="907" y="279"/>
                  <a:pt x="907" y="279"/>
                  <a:pt x="907" y="279"/>
                </a:cubicBezTo>
                <a:cubicBezTo>
                  <a:pt x="908" y="278"/>
                  <a:pt x="908" y="278"/>
                  <a:pt x="908" y="278"/>
                </a:cubicBezTo>
                <a:cubicBezTo>
                  <a:pt x="908" y="277"/>
                  <a:pt x="908" y="277"/>
                  <a:pt x="908" y="277"/>
                </a:cubicBezTo>
                <a:cubicBezTo>
                  <a:pt x="907" y="277"/>
                  <a:pt x="907" y="277"/>
                  <a:pt x="907" y="277"/>
                </a:cubicBezTo>
                <a:cubicBezTo>
                  <a:pt x="907" y="276"/>
                  <a:pt x="907" y="276"/>
                  <a:pt x="907" y="276"/>
                </a:cubicBezTo>
                <a:cubicBezTo>
                  <a:pt x="906" y="276"/>
                  <a:pt x="906" y="276"/>
                  <a:pt x="906" y="276"/>
                </a:cubicBezTo>
                <a:cubicBezTo>
                  <a:pt x="905" y="277"/>
                  <a:pt x="905" y="277"/>
                  <a:pt x="905" y="277"/>
                </a:cubicBezTo>
                <a:cubicBezTo>
                  <a:pt x="905" y="278"/>
                  <a:pt x="905" y="278"/>
                  <a:pt x="905" y="278"/>
                </a:cubicBezTo>
                <a:cubicBezTo>
                  <a:pt x="904" y="279"/>
                  <a:pt x="904" y="279"/>
                  <a:pt x="904" y="279"/>
                </a:cubicBezTo>
                <a:cubicBezTo>
                  <a:pt x="904" y="278"/>
                  <a:pt x="904" y="278"/>
                  <a:pt x="904" y="278"/>
                </a:cubicBezTo>
                <a:cubicBezTo>
                  <a:pt x="904" y="277"/>
                  <a:pt x="904" y="277"/>
                  <a:pt x="904" y="277"/>
                </a:cubicBezTo>
                <a:cubicBezTo>
                  <a:pt x="903" y="276"/>
                  <a:pt x="903" y="276"/>
                  <a:pt x="903" y="276"/>
                </a:cubicBezTo>
                <a:cubicBezTo>
                  <a:pt x="903" y="275"/>
                  <a:pt x="903" y="275"/>
                  <a:pt x="903" y="275"/>
                </a:cubicBezTo>
                <a:cubicBezTo>
                  <a:pt x="904" y="275"/>
                  <a:pt x="904" y="275"/>
                  <a:pt x="904" y="275"/>
                </a:cubicBezTo>
                <a:cubicBezTo>
                  <a:pt x="905" y="275"/>
                  <a:pt x="905" y="275"/>
                  <a:pt x="905" y="275"/>
                </a:cubicBezTo>
                <a:cubicBezTo>
                  <a:pt x="905" y="274"/>
                  <a:pt x="905" y="274"/>
                  <a:pt x="905" y="274"/>
                </a:cubicBezTo>
                <a:cubicBezTo>
                  <a:pt x="905" y="273"/>
                  <a:pt x="905" y="273"/>
                  <a:pt x="905" y="273"/>
                </a:cubicBezTo>
                <a:cubicBezTo>
                  <a:pt x="905" y="272"/>
                  <a:pt x="905" y="272"/>
                  <a:pt x="905" y="272"/>
                </a:cubicBezTo>
                <a:cubicBezTo>
                  <a:pt x="903" y="272"/>
                  <a:pt x="903" y="272"/>
                  <a:pt x="903" y="272"/>
                </a:cubicBezTo>
                <a:cubicBezTo>
                  <a:pt x="903" y="271"/>
                  <a:pt x="903" y="271"/>
                  <a:pt x="903" y="271"/>
                </a:cubicBezTo>
                <a:cubicBezTo>
                  <a:pt x="904" y="270"/>
                  <a:pt x="904" y="270"/>
                  <a:pt x="904" y="270"/>
                </a:cubicBezTo>
                <a:cubicBezTo>
                  <a:pt x="901" y="271"/>
                  <a:pt x="901" y="271"/>
                  <a:pt x="901" y="271"/>
                </a:cubicBezTo>
                <a:cubicBezTo>
                  <a:pt x="900" y="272"/>
                  <a:pt x="900" y="272"/>
                  <a:pt x="900" y="272"/>
                </a:cubicBezTo>
                <a:cubicBezTo>
                  <a:pt x="899" y="274"/>
                  <a:pt x="899" y="274"/>
                  <a:pt x="899" y="274"/>
                </a:cubicBezTo>
                <a:cubicBezTo>
                  <a:pt x="898" y="276"/>
                  <a:pt x="898" y="276"/>
                  <a:pt x="898" y="276"/>
                </a:cubicBezTo>
                <a:cubicBezTo>
                  <a:pt x="898" y="277"/>
                  <a:pt x="898" y="277"/>
                  <a:pt x="898" y="277"/>
                </a:cubicBezTo>
                <a:cubicBezTo>
                  <a:pt x="897" y="278"/>
                  <a:pt x="897" y="278"/>
                  <a:pt x="897" y="278"/>
                </a:cubicBezTo>
                <a:cubicBezTo>
                  <a:pt x="897" y="279"/>
                  <a:pt x="897" y="279"/>
                  <a:pt x="897" y="279"/>
                </a:cubicBezTo>
                <a:cubicBezTo>
                  <a:pt x="896" y="281"/>
                  <a:pt x="896" y="281"/>
                  <a:pt x="896" y="281"/>
                </a:cubicBezTo>
                <a:cubicBezTo>
                  <a:pt x="896" y="282"/>
                  <a:pt x="896" y="282"/>
                  <a:pt x="896" y="282"/>
                </a:cubicBezTo>
                <a:cubicBezTo>
                  <a:pt x="895" y="283"/>
                  <a:pt x="895" y="283"/>
                  <a:pt x="895" y="283"/>
                </a:cubicBezTo>
                <a:cubicBezTo>
                  <a:pt x="895" y="284"/>
                  <a:pt x="895" y="284"/>
                  <a:pt x="895" y="284"/>
                </a:cubicBezTo>
                <a:cubicBezTo>
                  <a:pt x="894" y="286"/>
                  <a:pt x="894" y="286"/>
                  <a:pt x="894" y="286"/>
                </a:cubicBezTo>
                <a:cubicBezTo>
                  <a:pt x="893" y="287"/>
                  <a:pt x="893" y="287"/>
                  <a:pt x="893" y="287"/>
                </a:cubicBezTo>
                <a:cubicBezTo>
                  <a:pt x="893" y="288"/>
                  <a:pt x="893" y="288"/>
                  <a:pt x="893" y="288"/>
                </a:cubicBezTo>
                <a:cubicBezTo>
                  <a:pt x="893" y="289"/>
                  <a:pt x="893" y="289"/>
                  <a:pt x="893" y="289"/>
                </a:cubicBezTo>
                <a:cubicBezTo>
                  <a:pt x="893" y="291"/>
                  <a:pt x="893" y="291"/>
                  <a:pt x="893" y="291"/>
                </a:cubicBezTo>
                <a:cubicBezTo>
                  <a:pt x="892" y="292"/>
                  <a:pt x="892" y="292"/>
                  <a:pt x="892" y="292"/>
                </a:cubicBezTo>
                <a:cubicBezTo>
                  <a:pt x="891" y="292"/>
                  <a:pt x="891" y="292"/>
                  <a:pt x="891" y="292"/>
                </a:cubicBezTo>
                <a:cubicBezTo>
                  <a:pt x="889" y="293"/>
                  <a:pt x="889" y="293"/>
                  <a:pt x="889" y="293"/>
                </a:cubicBezTo>
                <a:cubicBezTo>
                  <a:pt x="889" y="294"/>
                  <a:pt x="889" y="294"/>
                  <a:pt x="889" y="294"/>
                </a:cubicBezTo>
                <a:cubicBezTo>
                  <a:pt x="888" y="296"/>
                  <a:pt x="888" y="296"/>
                  <a:pt x="888" y="296"/>
                </a:cubicBezTo>
                <a:cubicBezTo>
                  <a:pt x="888" y="297"/>
                  <a:pt x="888" y="297"/>
                  <a:pt x="888" y="297"/>
                </a:cubicBezTo>
                <a:cubicBezTo>
                  <a:pt x="889" y="297"/>
                  <a:pt x="889" y="297"/>
                  <a:pt x="889" y="297"/>
                </a:cubicBezTo>
                <a:cubicBezTo>
                  <a:pt x="889" y="296"/>
                  <a:pt x="889" y="296"/>
                  <a:pt x="889" y="296"/>
                </a:cubicBezTo>
                <a:cubicBezTo>
                  <a:pt x="890" y="296"/>
                  <a:pt x="890" y="296"/>
                  <a:pt x="890" y="296"/>
                </a:cubicBezTo>
                <a:cubicBezTo>
                  <a:pt x="891" y="297"/>
                  <a:pt x="891" y="297"/>
                  <a:pt x="891" y="297"/>
                </a:cubicBezTo>
                <a:cubicBezTo>
                  <a:pt x="892" y="297"/>
                  <a:pt x="892" y="297"/>
                  <a:pt x="892" y="297"/>
                </a:cubicBezTo>
                <a:cubicBezTo>
                  <a:pt x="892" y="296"/>
                  <a:pt x="892" y="296"/>
                  <a:pt x="892" y="296"/>
                </a:cubicBezTo>
                <a:cubicBezTo>
                  <a:pt x="893" y="296"/>
                  <a:pt x="893" y="296"/>
                  <a:pt x="893" y="296"/>
                </a:cubicBezTo>
                <a:cubicBezTo>
                  <a:pt x="894" y="297"/>
                  <a:pt x="894" y="297"/>
                  <a:pt x="894" y="297"/>
                </a:cubicBezTo>
                <a:cubicBezTo>
                  <a:pt x="894" y="298"/>
                  <a:pt x="894" y="298"/>
                  <a:pt x="894" y="298"/>
                </a:cubicBezTo>
                <a:cubicBezTo>
                  <a:pt x="893" y="299"/>
                  <a:pt x="893" y="299"/>
                  <a:pt x="893" y="299"/>
                </a:cubicBezTo>
                <a:cubicBezTo>
                  <a:pt x="893" y="300"/>
                  <a:pt x="893" y="300"/>
                  <a:pt x="893" y="300"/>
                </a:cubicBezTo>
                <a:cubicBezTo>
                  <a:pt x="892" y="301"/>
                  <a:pt x="892" y="301"/>
                  <a:pt x="892" y="301"/>
                </a:cubicBezTo>
                <a:cubicBezTo>
                  <a:pt x="892" y="302"/>
                  <a:pt x="892" y="302"/>
                  <a:pt x="892" y="302"/>
                </a:cubicBezTo>
                <a:cubicBezTo>
                  <a:pt x="893" y="303"/>
                  <a:pt x="893" y="303"/>
                  <a:pt x="893" y="303"/>
                </a:cubicBezTo>
                <a:cubicBezTo>
                  <a:pt x="894" y="303"/>
                  <a:pt x="894" y="303"/>
                  <a:pt x="894" y="303"/>
                </a:cubicBezTo>
                <a:cubicBezTo>
                  <a:pt x="895" y="303"/>
                  <a:pt x="895" y="303"/>
                  <a:pt x="895" y="303"/>
                </a:cubicBezTo>
                <a:cubicBezTo>
                  <a:pt x="895" y="302"/>
                  <a:pt x="895" y="302"/>
                  <a:pt x="895" y="302"/>
                </a:cubicBezTo>
                <a:cubicBezTo>
                  <a:pt x="896" y="303"/>
                  <a:pt x="896" y="303"/>
                  <a:pt x="896" y="303"/>
                </a:cubicBezTo>
                <a:cubicBezTo>
                  <a:pt x="897" y="302"/>
                  <a:pt x="897" y="302"/>
                  <a:pt x="897" y="302"/>
                </a:cubicBezTo>
                <a:cubicBezTo>
                  <a:pt x="898" y="301"/>
                  <a:pt x="898" y="301"/>
                  <a:pt x="898" y="301"/>
                </a:cubicBezTo>
                <a:cubicBezTo>
                  <a:pt x="898" y="302"/>
                  <a:pt x="898" y="302"/>
                  <a:pt x="898" y="302"/>
                </a:cubicBezTo>
                <a:cubicBezTo>
                  <a:pt x="899" y="301"/>
                  <a:pt x="899" y="301"/>
                  <a:pt x="899" y="301"/>
                </a:cubicBezTo>
                <a:cubicBezTo>
                  <a:pt x="900" y="299"/>
                  <a:pt x="900" y="299"/>
                  <a:pt x="900" y="299"/>
                </a:cubicBezTo>
                <a:cubicBezTo>
                  <a:pt x="901" y="298"/>
                  <a:pt x="901" y="298"/>
                  <a:pt x="901" y="298"/>
                </a:cubicBezTo>
                <a:cubicBezTo>
                  <a:pt x="902" y="298"/>
                  <a:pt x="902" y="298"/>
                  <a:pt x="902" y="298"/>
                </a:cubicBezTo>
                <a:cubicBezTo>
                  <a:pt x="903" y="297"/>
                  <a:pt x="903" y="297"/>
                  <a:pt x="903" y="297"/>
                </a:cubicBezTo>
                <a:cubicBezTo>
                  <a:pt x="904" y="297"/>
                  <a:pt x="904" y="297"/>
                  <a:pt x="904" y="297"/>
                </a:cubicBezTo>
                <a:cubicBezTo>
                  <a:pt x="905" y="297"/>
                  <a:pt x="905" y="297"/>
                  <a:pt x="905" y="297"/>
                </a:cubicBezTo>
                <a:cubicBezTo>
                  <a:pt x="905" y="296"/>
                  <a:pt x="905" y="296"/>
                  <a:pt x="905" y="296"/>
                </a:cubicBezTo>
                <a:cubicBezTo>
                  <a:pt x="905" y="294"/>
                  <a:pt x="905" y="294"/>
                  <a:pt x="905" y="294"/>
                </a:cubicBezTo>
                <a:cubicBezTo>
                  <a:pt x="906" y="293"/>
                  <a:pt x="906" y="293"/>
                  <a:pt x="906" y="293"/>
                </a:cubicBezTo>
                <a:cubicBezTo>
                  <a:pt x="906" y="292"/>
                  <a:pt x="906" y="292"/>
                  <a:pt x="906" y="292"/>
                </a:cubicBezTo>
                <a:cubicBezTo>
                  <a:pt x="907" y="292"/>
                  <a:pt x="907" y="292"/>
                  <a:pt x="907" y="292"/>
                </a:cubicBezTo>
                <a:cubicBezTo>
                  <a:pt x="908" y="293"/>
                  <a:pt x="908" y="293"/>
                  <a:pt x="908" y="293"/>
                </a:cubicBezTo>
                <a:cubicBezTo>
                  <a:pt x="908" y="292"/>
                  <a:pt x="908" y="292"/>
                  <a:pt x="908" y="292"/>
                </a:cubicBezTo>
                <a:cubicBezTo>
                  <a:pt x="909" y="292"/>
                  <a:pt x="909" y="292"/>
                  <a:pt x="909" y="292"/>
                </a:cubicBezTo>
                <a:cubicBezTo>
                  <a:pt x="910" y="292"/>
                  <a:pt x="910" y="292"/>
                  <a:pt x="910" y="292"/>
                </a:cubicBezTo>
                <a:cubicBezTo>
                  <a:pt x="910" y="293"/>
                  <a:pt x="910" y="293"/>
                  <a:pt x="910" y="293"/>
                </a:cubicBezTo>
                <a:cubicBezTo>
                  <a:pt x="909" y="294"/>
                  <a:pt x="909" y="294"/>
                  <a:pt x="909" y="294"/>
                </a:cubicBezTo>
                <a:cubicBezTo>
                  <a:pt x="908" y="295"/>
                  <a:pt x="908" y="295"/>
                  <a:pt x="908" y="295"/>
                </a:cubicBezTo>
                <a:cubicBezTo>
                  <a:pt x="909" y="295"/>
                  <a:pt x="909" y="295"/>
                  <a:pt x="909" y="295"/>
                </a:cubicBezTo>
                <a:cubicBezTo>
                  <a:pt x="911" y="295"/>
                  <a:pt x="911" y="295"/>
                  <a:pt x="911" y="295"/>
                </a:cubicBezTo>
                <a:cubicBezTo>
                  <a:pt x="912" y="296"/>
                  <a:pt x="912" y="296"/>
                  <a:pt x="912" y="296"/>
                </a:cubicBezTo>
                <a:cubicBezTo>
                  <a:pt x="912" y="297"/>
                  <a:pt x="912" y="297"/>
                  <a:pt x="912" y="297"/>
                </a:cubicBezTo>
                <a:cubicBezTo>
                  <a:pt x="912" y="298"/>
                  <a:pt x="912" y="298"/>
                  <a:pt x="912" y="298"/>
                </a:cubicBezTo>
                <a:cubicBezTo>
                  <a:pt x="911" y="298"/>
                  <a:pt x="911" y="298"/>
                  <a:pt x="911" y="298"/>
                </a:cubicBezTo>
                <a:cubicBezTo>
                  <a:pt x="911" y="299"/>
                  <a:pt x="911" y="299"/>
                  <a:pt x="911" y="299"/>
                </a:cubicBezTo>
                <a:cubicBezTo>
                  <a:pt x="911" y="300"/>
                  <a:pt x="911" y="300"/>
                  <a:pt x="911" y="300"/>
                </a:cubicBezTo>
                <a:cubicBezTo>
                  <a:pt x="912" y="299"/>
                  <a:pt x="912" y="299"/>
                  <a:pt x="912" y="299"/>
                </a:cubicBezTo>
                <a:cubicBezTo>
                  <a:pt x="913" y="299"/>
                  <a:pt x="913" y="299"/>
                  <a:pt x="913" y="299"/>
                </a:cubicBezTo>
                <a:cubicBezTo>
                  <a:pt x="913" y="300"/>
                  <a:pt x="913" y="300"/>
                  <a:pt x="913" y="300"/>
                </a:cubicBezTo>
                <a:cubicBezTo>
                  <a:pt x="914" y="300"/>
                  <a:pt x="914" y="300"/>
                  <a:pt x="914" y="300"/>
                </a:cubicBezTo>
                <a:cubicBezTo>
                  <a:pt x="915" y="300"/>
                  <a:pt x="915" y="300"/>
                  <a:pt x="915" y="300"/>
                </a:cubicBezTo>
                <a:cubicBezTo>
                  <a:pt x="916" y="301"/>
                  <a:pt x="916" y="301"/>
                  <a:pt x="916" y="301"/>
                </a:cubicBezTo>
                <a:cubicBezTo>
                  <a:pt x="917" y="301"/>
                  <a:pt x="917" y="301"/>
                  <a:pt x="917" y="301"/>
                </a:cubicBezTo>
                <a:cubicBezTo>
                  <a:pt x="918" y="302"/>
                  <a:pt x="918" y="302"/>
                  <a:pt x="918" y="302"/>
                </a:cubicBezTo>
                <a:cubicBezTo>
                  <a:pt x="919" y="302"/>
                  <a:pt x="919" y="302"/>
                  <a:pt x="919" y="302"/>
                </a:cubicBezTo>
                <a:cubicBezTo>
                  <a:pt x="920" y="300"/>
                  <a:pt x="920" y="300"/>
                  <a:pt x="920" y="300"/>
                </a:cubicBezTo>
                <a:cubicBezTo>
                  <a:pt x="921" y="299"/>
                  <a:pt x="921" y="299"/>
                  <a:pt x="921" y="299"/>
                </a:cubicBezTo>
                <a:cubicBezTo>
                  <a:pt x="922" y="299"/>
                  <a:pt x="922" y="299"/>
                  <a:pt x="922" y="299"/>
                </a:cubicBezTo>
                <a:cubicBezTo>
                  <a:pt x="923" y="298"/>
                  <a:pt x="923" y="298"/>
                  <a:pt x="923" y="298"/>
                </a:cubicBezTo>
                <a:close/>
                <a:moveTo>
                  <a:pt x="911" y="269"/>
                </a:moveTo>
                <a:cubicBezTo>
                  <a:pt x="911" y="270"/>
                  <a:pt x="911" y="270"/>
                  <a:pt x="911" y="270"/>
                </a:cubicBezTo>
                <a:cubicBezTo>
                  <a:pt x="911" y="270"/>
                  <a:pt x="911" y="270"/>
                  <a:pt x="912" y="271"/>
                </a:cubicBezTo>
                <a:cubicBezTo>
                  <a:pt x="912" y="271"/>
                  <a:pt x="912" y="271"/>
                  <a:pt x="912" y="272"/>
                </a:cubicBezTo>
                <a:cubicBezTo>
                  <a:pt x="912" y="272"/>
                  <a:pt x="912" y="272"/>
                  <a:pt x="913" y="273"/>
                </a:cubicBezTo>
                <a:cubicBezTo>
                  <a:pt x="913" y="273"/>
                  <a:pt x="913" y="273"/>
                  <a:pt x="913" y="274"/>
                </a:cubicBezTo>
                <a:cubicBezTo>
                  <a:pt x="913" y="274"/>
                  <a:pt x="913" y="274"/>
                  <a:pt x="914" y="274"/>
                </a:cubicBezTo>
                <a:cubicBezTo>
                  <a:pt x="914" y="274"/>
                  <a:pt x="914" y="274"/>
                  <a:pt x="916" y="274"/>
                </a:cubicBezTo>
                <a:cubicBezTo>
                  <a:pt x="916" y="274"/>
                  <a:pt x="916" y="274"/>
                  <a:pt x="916" y="273"/>
                </a:cubicBezTo>
                <a:cubicBezTo>
                  <a:pt x="916" y="273"/>
                  <a:pt x="916" y="273"/>
                  <a:pt x="915" y="273"/>
                </a:cubicBezTo>
                <a:cubicBezTo>
                  <a:pt x="915" y="273"/>
                  <a:pt x="915" y="273"/>
                  <a:pt x="914" y="273"/>
                </a:cubicBezTo>
                <a:cubicBezTo>
                  <a:pt x="914" y="273"/>
                  <a:pt x="914" y="273"/>
                  <a:pt x="914" y="271"/>
                </a:cubicBezTo>
                <a:cubicBezTo>
                  <a:pt x="914" y="271"/>
                  <a:pt x="914" y="271"/>
                  <a:pt x="913" y="270"/>
                </a:cubicBezTo>
                <a:cubicBezTo>
                  <a:pt x="913" y="270"/>
                  <a:pt x="913" y="270"/>
                  <a:pt x="913" y="269"/>
                </a:cubicBezTo>
                <a:cubicBezTo>
                  <a:pt x="913" y="269"/>
                  <a:pt x="913" y="269"/>
                  <a:pt x="911" y="269"/>
                </a:cubicBezTo>
                <a:close/>
                <a:moveTo>
                  <a:pt x="918" y="267"/>
                </a:moveTo>
                <a:cubicBezTo>
                  <a:pt x="918" y="268"/>
                  <a:pt x="918" y="268"/>
                  <a:pt x="918" y="268"/>
                </a:cubicBezTo>
                <a:cubicBezTo>
                  <a:pt x="919" y="268"/>
                  <a:pt x="919" y="268"/>
                  <a:pt x="919" y="268"/>
                </a:cubicBezTo>
                <a:cubicBezTo>
                  <a:pt x="918" y="267"/>
                  <a:pt x="918" y="267"/>
                  <a:pt x="918" y="267"/>
                </a:cubicBezTo>
                <a:close/>
                <a:moveTo>
                  <a:pt x="908" y="270"/>
                </a:moveTo>
                <a:cubicBezTo>
                  <a:pt x="908" y="270"/>
                  <a:pt x="908" y="270"/>
                  <a:pt x="907" y="269"/>
                </a:cubicBezTo>
                <a:cubicBezTo>
                  <a:pt x="907" y="269"/>
                  <a:pt x="907" y="269"/>
                  <a:pt x="906" y="270"/>
                </a:cubicBezTo>
                <a:cubicBezTo>
                  <a:pt x="906" y="270"/>
                  <a:pt x="906" y="270"/>
                  <a:pt x="906" y="271"/>
                </a:cubicBezTo>
                <a:cubicBezTo>
                  <a:pt x="906" y="271"/>
                  <a:pt x="906" y="271"/>
                  <a:pt x="906" y="272"/>
                </a:cubicBezTo>
                <a:cubicBezTo>
                  <a:pt x="906" y="272"/>
                  <a:pt x="906" y="272"/>
                  <a:pt x="906" y="273"/>
                </a:cubicBezTo>
                <a:cubicBezTo>
                  <a:pt x="906" y="273"/>
                  <a:pt x="906" y="273"/>
                  <a:pt x="906" y="274"/>
                </a:cubicBezTo>
                <a:cubicBezTo>
                  <a:pt x="906" y="274"/>
                  <a:pt x="906" y="274"/>
                  <a:pt x="907" y="274"/>
                </a:cubicBezTo>
                <a:cubicBezTo>
                  <a:pt x="907" y="274"/>
                  <a:pt x="907" y="274"/>
                  <a:pt x="908" y="272"/>
                </a:cubicBezTo>
                <a:cubicBezTo>
                  <a:pt x="908" y="272"/>
                  <a:pt x="908" y="272"/>
                  <a:pt x="907" y="271"/>
                </a:cubicBezTo>
                <a:cubicBezTo>
                  <a:pt x="907" y="271"/>
                  <a:pt x="907" y="271"/>
                  <a:pt x="907" y="270"/>
                </a:cubicBezTo>
                <a:cubicBezTo>
                  <a:pt x="907" y="270"/>
                  <a:pt x="907" y="270"/>
                  <a:pt x="908" y="270"/>
                </a:cubicBezTo>
                <a:close/>
                <a:moveTo>
                  <a:pt x="908" y="311"/>
                </a:moveTo>
                <a:cubicBezTo>
                  <a:pt x="910" y="310"/>
                  <a:pt x="910" y="310"/>
                  <a:pt x="910" y="310"/>
                </a:cubicBezTo>
                <a:cubicBezTo>
                  <a:pt x="910" y="309"/>
                  <a:pt x="910" y="309"/>
                  <a:pt x="910" y="309"/>
                </a:cubicBezTo>
                <a:cubicBezTo>
                  <a:pt x="911" y="308"/>
                  <a:pt x="911" y="308"/>
                  <a:pt x="911" y="308"/>
                </a:cubicBezTo>
                <a:cubicBezTo>
                  <a:pt x="909" y="308"/>
                  <a:pt x="909" y="308"/>
                  <a:pt x="909" y="308"/>
                </a:cubicBezTo>
                <a:cubicBezTo>
                  <a:pt x="909" y="307"/>
                  <a:pt x="909" y="307"/>
                  <a:pt x="909" y="307"/>
                </a:cubicBezTo>
                <a:cubicBezTo>
                  <a:pt x="908" y="307"/>
                  <a:pt x="908" y="307"/>
                  <a:pt x="908" y="307"/>
                </a:cubicBezTo>
                <a:cubicBezTo>
                  <a:pt x="907" y="308"/>
                  <a:pt x="907" y="308"/>
                  <a:pt x="907" y="308"/>
                </a:cubicBezTo>
                <a:cubicBezTo>
                  <a:pt x="907" y="307"/>
                  <a:pt x="907" y="307"/>
                  <a:pt x="907" y="307"/>
                </a:cubicBezTo>
                <a:cubicBezTo>
                  <a:pt x="906" y="308"/>
                  <a:pt x="906" y="308"/>
                  <a:pt x="906" y="308"/>
                </a:cubicBezTo>
                <a:cubicBezTo>
                  <a:pt x="905" y="308"/>
                  <a:pt x="905" y="308"/>
                  <a:pt x="905" y="308"/>
                </a:cubicBezTo>
                <a:cubicBezTo>
                  <a:pt x="904" y="308"/>
                  <a:pt x="904" y="308"/>
                  <a:pt x="904" y="308"/>
                </a:cubicBezTo>
                <a:cubicBezTo>
                  <a:pt x="904" y="307"/>
                  <a:pt x="904" y="307"/>
                  <a:pt x="904" y="307"/>
                </a:cubicBezTo>
                <a:cubicBezTo>
                  <a:pt x="903" y="307"/>
                  <a:pt x="903" y="307"/>
                  <a:pt x="903" y="307"/>
                </a:cubicBezTo>
                <a:cubicBezTo>
                  <a:pt x="902" y="307"/>
                  <a:pt x="902" y="307"/>
                  <a:pt x="902" y="307"/>
                </a:cubicBezTo>
                <a:cubicBezTo>
                  <a:pt x="901" y="309"/>
                  <a:pt x="901" y="309"/>
                  <a:pt x="901" y="309"/>
                </a:cubicBezTo>
                <a:cubicBezTo>
                  <a:pt x="901" y="310"/>
                  <a:pt x="901" y="310"/>
                  <a:pt x="901" y="310"/>
                </a:cubicBezTo>
                <a:cubicBezTo>
                  <a:pt x="900" y="310"/>
                  <a:pt x="900" y="310"/>
                  <a:pt x="900" y="310"/>
                </a:cubicBezTo>
                <a:cubicBezTo>
                  <a:pt x="898" y="311"/>
                  <a:pt x="898" y="311"/>
                  <a:pt x="898" y="311"/>
                </a:cubicBezTo>
                <a:cubicBezTo>
                  <a:pt x="898" y="312"/>
                  <a:pt x="898" y="312"/>
                  <a:pt x="898" y="312"/>
                </a:cubicBezTo>
                <a:cubicBezTo>
                  <a:pt x="899" y="313"/>
                  <a:pt x="899" y="313"/>
                  <a:pt x="899" y="313"/>
                </a:cubicBezTo>
                <a:cubicBezTo>
                  <a:pt x="898" y="314"/>
                  <a:pt x="898" y="314"/>
                  <a:pt x="898" y="314"/>
                </a:cubicBezTo>
                <a:cubicBezTo>
                  <a:pt x="898" y="315"/>
                  <a:pt x="898" y="315"/>
                  <a:pt x="898" y="315"/>
                </a:cubicBezTo>
                <a:cubicBezTo>
                  <a:pt x="899" y="316"/>
                  <a:pt x="899" y="316"/>
                  <a:pt x="899" y="316"/>
                </a:cubicBezTo>
                <a:cubicBezTo>
                  <a:pt x="900" y="314"/>
                  <a:pt x="900" y="314"/>
                  <a:pt x="900" y="314"/>
                </a:cubicBezTo>
                <a:cubicBezTo>
                  <a:pt x="901" y="314"/>
                  <a:pt x="901" y="314"/>
                  <a:pt x="901" y="314"/>
                </a:cubicBezTo>
                <a:cubicBezTo>
                  <a:pt x="902" y="314"/>
                  <a:pt x="902" y="314"/>
                  <a:pt x="902" y="314"/>
                </a:cubicBezTo>
                <a:cubicBezTo>
                  <a:pt x="902" y="315"/>
                  <a:pt x="902" y="315"/>
                  <a:pt x="902" y="315"/>
                </a:cubicBezTo>
                <a:cubicBezTo>
                  <a:pt x="903" y="315"/>
                  <a:pt x="903" y="315"/>
                  <a:pt x="903" y="315"/>
                </a:cubicBezTo>
                <a:cubicBezTo>
                  <a:pt x="904" y="313"/>
                  <a:pt x="904" y="313"/>
                  <a:pt x="904" y="313"/>
                </a:cubicBezTo>
                <a:cubicBezTo>
                  <a:pt x="905" y="313"/>
                  <a:pt x="905" y="313"/>
                  <a:pt x="905" y="313"/>
                </a:cubicBezTo>
                <a:cubicBezTo>
                  <a:pt x="906" y="312"/>
                  <a:pt x="906" y="312"/>
                  <a:pt x="906" y="312"/>
                </a:cubicBezTo>
                <a:cubicBezTo>
                  <a:pt x="907" y="311"/>
                  <a:pt x="907" y="311"/>
                  <a:pt x="907" y="311"/>
                </a:cubicBezTo>
                <a:cubicBezTo>
                  <a:pt x="908" y="311"/>
                  <a:pt x="908" y="311"/>
                  <a:pt x="908" y="311"/>
                </a:cubicBezTo>
                <a:close/>
                <a:moveTo>
                  <a:pt x="893" y="407"/>
                </a:moveTo>
                <a:cubicBezTo>
                  <a:pt x="892" y="407"/>
                  <a:pt x="892" y="407"/>
                  <a:pt x="892" y="407"/>
                </a:cubicBezTo>
                <a:cubicBezTo>
                  <a:pt x="892" y="408"/>
                  <a:pt x="892" y="408"/>
                  <a:pt x="892" y="408"/>
                </a:cubicBezTo>
                <a:cubicBezTo>
                  <a:pt x="892" y="409"/>
                  <a:pt x="892" y="409"/>
                  <a:pt x="892" y="409"/>
                </a:cubicBezTo>
                <a:cubicBezTo>
                  <a:pt x="893" y="408"/>
                  <a:pt x="893" y="408"/>
                  <a:pt x="893" y="408"/>
                </a:cubicBezTo>
                <a:cubicBezTo>
                  <a:pt x="893" y="407"/>
                  <a:pt x="893" y="407"/>
                  <a:pt x="893" y="407"/>
                </a:cubicBezTo>
                <a:close/>
                <a:moveTo>
                  <a:pt x="989" y="482"/>
                </a:moveTo>
                <a:cubicBezTo>
                  <a:pt x="989" y="482"/>
                  <a:pt x="989" y="482"/>
                  <a:pt x="990" y="481"/>
                </a:cubicBezTo>
                <a:cubicBezTo>
                  <a:pt x="990" y="481"/>
                  <a:pt x="990" y="481"/>
                  <a:pt x="991" y="482"/>
                </a:cubicBezTo>
                <a:cubicBezTo>
                  <a:pt x="991" y="482"/>
                  <a:pt x="991" y="482"/>
                  <a:pt x="992" y="482"/>
                </a:cubicBezTo>
                <a:cubicBezTo>
                  <a:pt x="992" y="482"/>
                  <a:pt x="992" y="482"/>
                  <a:pt x="994" y="480"/>
                </a:cubicBezTo>
                <a:cubicBezTo>
                  <a:pt x="994" y="480"/>
                  <a:pt x="994" y="480"/>
                  <a:pt x="995" y="480"/>
                </a:cubicBezTo>
                <a:cubicBezTo>
                  <a:pt x="995" y="480"/>
                  <a:pt x="995" y="480"/>
                  <a:pt x="996" y="480"/>
                </a:cubicBezTo>
                <a:cubicBezTo>
                  <a:pt x="996" y="480"/>
                  <a:pt x="996" y="480"/>
                  <a:pt x="997" y="479"/>
                </a:cubicBezTo>
                <a:cubicBezTo>
                  <a:pt x="997" y="479"/>
                  <a:pt x="997" y="479"/>
                  <a:pt x="997" y="477"/>
                </a:cubicBezTo>
                <a:cubicBezTo>
                  <a:pt x="997" y="477"/>
                  <a:pt x="997" y="477"/>
                  <a:pt x="995" y="477"/>
                </a:cubicBezTo>
                <a:cubicBezTo>
                  <a:pt x="995" y="477"/>
                  <a:pt x="995" y="477"/>
                  <a:pt x="995" y="478"/>
                </a:cubicBezTo>
                <a:cubicBezTo>
                  <a:pt x="995" y="478"/>
                  <a:pt x="995" y="478"/>
                  <a:pt x="994" y="478"/>
                </a:cubicBezTo>
                <a:cubicBezTo>
                  <a:pt x="994" y="478"/>
                  <a:pt x="994" y="478"/>
                  <a:pt x="994" y="477"/>
                </a:cubicBezTo>
                <a:cubicBezTo>
                  <a:pt x="994" y="477"/>
                  <a:pt x="994" y="477"/>
                  <a:pt x="994" y="476"/>
                </a:cubicBezTo>
                <a:cubicBezTo>
                  <a:pt x="994" y="476"/>
                  <a:pt x="994" y="476"/>
                  <a:pt x="992" y="476"/>
                </a:cubicBezTo>
                <a:cubicBezTo>
                  <a:pt x="992" y="476"/>
                  <a:pt x="992" y="476"/>
                  <a:pt x="993" y="475"/>
                </a:cubicBezTo>
                <a:cubicBezTo>
                  <a:pt x="993" y="475"/>
                  <a:pt x="993" y="475"/>
                  <a:pt x="994" y="473"/>
                </a:cubicBezTo>
                <a:cubicBezTo>
                  <a:pt x="994" y="473"/>
                  <a:pt x="994" y="473"/>
                  <a:pt x="994" y="472"/>
                </a:cubicBezTo>
                <a:cubicBezTo>
                  <a:pt x="994" y="472"/>
                  <a:pt x="994" y="472"/>
                  <a:pt x="993" y="472"/>
                </a:cubicBezTo>
                <a:cubicBezTo>
                  <a:pt x="993" y="472"/>
                  <a:pt x="993" y="472"/>
                  <a:pt x="994" y="471"/>
                </a:cubicBezTo>
                <a:cubicBezTo>
                  <a:pt x="994" y="471"/>
                  <a:pt x="994" y="471"/>
                  <a:pt x="994" y="470"/>
                </a:cubicBezTo>
                <a:cubicBezTo>
                  <a:pt x="994" y="470"/>
                  <a:pt x="994" y="470"/>
                  <a:pt x="993" y="470"/>
                </a:cubicBezTo>
                <a:cubicBezTo>
                  <a:pt x="993" y="470"/>
                  <a:pt x="993" y="470"/>
                  <a:pt x="992" y="471"/>
                </a:cubicBezTo>
                <a:cubicBezTo>
                  <a:pt x="992" y="471"/>
                  <a:pt x="992" y="471"/>
                  <a:pt x="991" y="473"/>
                </a:cubicBezTo>
                <a:cubicBezTo>
                  <a:pt x="991" y="473"/>
                  <a:pt x="991" y="473"/>
                  <a:pt x="990" y="474"/>
                </a:cubicBezTo>
                <a:cubicBezTo>
                  <a:pt x="990" y="474"/>
                  <a:pt x="990" y="474"/>
                  <a:pt x="990" y="475"/>
                </a:cubicBezTo>
                <a:cubicBezTo>
                  <a:pt x="990" y="475"/>
                  <a:pt x="990" y="475"/>
                  <a:pt x="988" y="477"/>
                </a:cubicBezTo>
                <a:cubicBezTo>
                  <a:pt x="988" y="477"/>
                  <a:pt x="988" y="477"/>
                  <a:pt x="987" y="478"/>
                </a:cubicBezTo>
                <a:cubicBezTo>
                  <a:pt x="987" y="478"/>
                  <a:pt x="987" y="478"/>
                  <a:pt x="986" y="478"/>
                </a:cubicBezTo>
                <a:cubicBezTo>
                  <a:pt x="986" y="478"/>
                  <a:pt x="986" y="478"/>
                  <a:pt x="987" y="479"/>
                </a:cubicBezTo>
                <a:cubicBezTo>
                  <a:pt x="987" y="479"/>
                  <a:pt x="987" y="479"/>
                  <a:pt x="987" y="481"/>
                </a:cubicBezTo>
                <a:cubicBezTo>
                  <a:pt x="987" y="481"/>
                  <a:pt x="987" y="481"/>
                  <a:pt x="989" y="482"/>
                </a:cubicBezTo>
                <a:close/>
                <a:moveTo>
                  <a:pt x="968" y="355"/>
                </a:moveTo>
                <a:cubicBezTo>
                  <a:pt x="967" y="354"/>
                  <a:pt x="967" y="354"/>
                  <a:pt x="967" y="354"/>
                </a:cubicBezTo>
                <a:cubicBezTo>
                  <a:pt x="967" y="355"/>
                  <a:pt x="967" y="355"/>
                  <a:pt x="967" y="355"/>
                </a:cubicBezTo>
                <a:cubicBezTo>
                  <a:pt x="967" y="356"/>
                  <a:pt x="967" y="356"/>
                  <a:pt x="967" y="356"/>
                </a:cubicBezTo>
                <a:cubicBezTo>
                  <a:pt x="967" y="357"/>
                  <a:pt x="967" y="357"/>
                  <a:pt x="967" y="357"/>
                </a:cubicBezTo>
                <a:cubicBezTo>
                  <a:pt x="968" y="356"/>
                  <a:pt x="968" y="356"/>
                  <a:pt x="968" y="356"/>
                </a:cubicBezTo>
                <a:cubicBezTo>
                  <a:pt x="968" y="355"/>
                  <a:pt x="968" y="355"/>
                  <a:pt x="968" y="355"/>
                </a:cubicBezTo>
                <a:close/>
                <a:moveTo>
                  <a:pt x="929" y="154"/>
                </a:moveTo>
                <a:cubicBezTo>
                  <a:pt x="929" y="154"/>
                  <a:pt x="929" y="154"/>
                  <a:pt x="929" y="155"/>
                </a:cubicBezTo>
                <a:cubicBezTo>
                  <a:pt x="929" y="155"/>
                  <a:pt x="929" y="155"/>
                  <a:pt x="930" y="155"/>
                </a:cubicBezTo>
                <a:cubicBezTo>
                  <a:pt x="930" y="155"/>
                  <a:pt x="930" y="155"/>
                  <a:pt x="931" y="154"/>
                </a:cubicBezTo>
                <a:cubicBezTo>
                  <a:pt x="931" y="154"/>
                  <a:pt x="931" y="154"/>
                  <a:pt x="929" y="153"/>
                </a:cubicBezTo>
                <a:cubicBezTo>
                  <a:pt x="929" y="153"/>
                  <a:pt x="929" y="153"/>
                  <a:pt x="929" y="154"/>
                </a:cubicBezTo>
                <a:close/>
                <a:moveTo>
                  <a:pt x="909" y="140"/>
                </a:moveTo>
                <a:cubicBezTo>
                  <a:pt x="909" y="140"/>
                  <a:pt x="909" y="140"/>
                  <a:pt x="910" y="140"/>
                </a:cubicBezTo>
                <a:cubicBezTo>
                  <a:pt x="910" y="140"/>
                  <a:pt x="910" y="140"/>
                  <a:pt x="910" y="139"/>
                </a:cubicBezTo>
                <a:cubicBezTo>
                  <a:pt x="910" y="139"/>
                  <a:pt x="910" y="139"/>
                  <a:pt x="910" y="138"/>
                </a:cubicBezTo>
                <a:cubicBezTo>
                  <a:pt x="910" y="138"/>
                  <a:pt x="910" y="138"/>
                  <a:pt x="909" y="138"/>
                </a:cubicBezTo>
                <a:cubicBezTo>
                  <a:pt x="909" y="138"/>
                  <a:pt x="909" y="138"/>
                  <a:pt x="908" y="138"/>
                </a:cubicBezTo>
                <a:cubicBezTo>
                  <a:pt x="908" y="138"/>
                  <a:pt x="908" y="138"/>
                  <a:pt x="909" y="140"/>
                </a:cubicBezTo>
                <a:close/>
                <a:moveTo>
                  <a:pt x="986" y="187"/>
                </a:moveTo>
                <a:cubicBezTo>
                  <a:pt x="986" y="187"/>
                  <a:pt x="986" y="187"/>
                  <a:pt x="986" y="186"/>
                </a:cubicBezTo>
                <a:cubicBezTo>
                  <a:pt x="986" y="186"/>
                  <a:pt x="986" y="186"/>
                  <a:pt x="987" y="186"/>
                </a:cubicBezTo>
                <a:cubicBezTo>
                  <a:pt x="987" y="186"/>
                  <a:pt x="987" y="186"/>
                  <a:pt x="987" y="185"/>
                </a:cubicBezTo>
                <a:cubicBezTo>
                  <a:pt x="987" y="185"/>
                  <a:pt x="987" y="185"/>
                  <a:pt x="985" y="185"/>
                </a:cubicBezTo>
                <a:cubicBezTo>
                  <a:pt x="985" y="185"/>
                  <a:pt x="985" y="185"/>
                  <a:pt x="986" y="184"/>
                </a:cubicBezTo>
                <a:cubicBezTo>
                  <a:pt x="986" y="184"/>
                  <a:pt x="986" y="184"/>
                  <a:pt x="986" y="183"/>
                </a:cubicBezTo>
                <a:cubicBezTo>
                  <a:pt x="986" y="183"/>
                  <a:pt x="986" y="183"/>
                  <a:pt x="986" y="182"/>
                </a:cubicBezTo>
                <a:cubicBezTo>
                  <a:pt x="986" y="182"/>
                  <a:pt x="986" y="182"/>
                  <a:pt x="986" y="181"/>
                </a:cubicBezTo>
                <a:cubicBezTo>
                  <a:pt x="986" y="181"/>
                  <a:pt x="986" y="181"/>
                  <a:pt x="985" y="180"/>
                </a:cubicBezTo>
                <a:cubicBezTo>
                  <a:pt x="985" y="180"/>
                  <a:pt x="985" y="180"/>
                  <a:pt x="986" y="179"/>
                </a:cubicBezTo>
                <a:cubicBezTo>
                  <a:pt x="986" y="179"/>
                  <a:pt x="986" y="179"/>
                  <a:pt x="985" y="178"/>
                </a:cubicBezTo>
                <a:cubicBezTo>
                  <a:pt x="985" y="178"/>
                  <a:pt x="985" y="178"/>
                  <a:pt x="985" y="177"/>
                </a:cubicBezTo>
                <a:cubicBezTo>
                  <a:pt x="985" y="177"/>
                  <a:pt x="985" y="177"/>
                  <a:pt x="985" y="176"/>
                </a:cubicBezTo>
                <a:cubicBezTo>
                  <a:pt x="985" y="176"/>
                  <a:pt x="985" y="176"/>
                  <a:pt x="985" y="175"/>
                </a:cubicBezTo>
                <a:cubicBezTo>
                  <a:pt x="985" y="175"/>
                  <a:pt x="985" y="175"/>
                  <a:pt x="983" y="174"/>
                </a:cubicBezTo>
                <a:cubicBezTo>
                  <a:pt x="983" y="174"/>
                  <a:pt x="983" y="174"/>
                  <a:pt x="982" y="173"/>
                </a:cubicBezTo>
                <a:cubicBezTo>
                  <a:pt x="982" y="173"/>
                  <a:pt x="982" y="173"/>
                  <a:pt x="982" y="172"/>
                </a:cubicBezTo>
                <a:cubicBezTo>
                  <a:pt x="982" y="172"/>
                  <a:pt x="982" y="172"/>
                  <a:pt x="980" y="172"/>
                </a:cubicBezTo>
                <a:cubicBezTo>
                  <a:pt x="980" y="172"/>
                  <a:pt x="980" y="172"/>
                  <a:pt x="978" y="171"/>
                </a:cubicBezTo>
                <a:cubicBezTo>
                  <a:pt x="978" y="171"/>
                  <a:pt x="978" y="171"/>
                  <a:pt x="977" y="172"/>
                </a:cubicBezTo>
                <a:cubicBezTo>
                  <a:pt x="977" y="172"/>
                  <a:pt x="977" y="172"/>
                  <a:pt x="976" y="171"/>
                </a:cubicBezTo>
                <a:cubicBezTo>
                  <a:pt x="976" y="171"/>
                  <a:pt x="976" y="171"/>
                  <a:pt x="975" y="170"/>
                </a:cubicBezTo>
                <a:cubicBezTo>
                  <a:pt x="975" y="170"/>
                  <a:pt x="975" y="170"/>
                  <a:pt x="972" y="170"/>
                </a:cubicBezTo>
                <a:cubicBezTo>
                  <a:pt x="972" y="170"/>
                  <a:pt x="972" y="170"/>
                  <a:pt x="972" y="169"/>
                </a:cubicBezTo>
                <a:cubicBezTo>
                  <a:pt x="972" y="169"/>
                  <a:pt x="972" y="169"/>
                  <a:pt x="971" y="168"/>
                </a:cubicBezTo>
                <a:cubicBezTo>
                  <a:pt x="971" y="168"/>
                  <a:pt x="971" y="168"/>
                  <a:pt x="970" y="168"/>
                </a:cubicBezTo>
                <a:cubicBezTo>
                  <a:pt x="970" y="168"/>
                  <a:pt x="970" y="168"/>
                  <a:pt x="970" y="170"/>
                </a:cubicBezTo>
                <a:cubicBezTo>
                  <a:pt x="970" y="170"/>
                  <a:pt x="970" y="170"/>
                  <a:pt x="969" y="171"/>
                </a:cubicBezTo>
                <a:cubicBezTo>
                  <a:pt x="969" y="171"/>
                  <a:pt x="969" y="171"/>
                  <a:pt x="969" y="172"/>
                </a:cubicBezTo>
                <a:cubicBezTo>
                  <a:pt x="969" y="172"/>
                  <a:pt x="969" y="172"/>
                  <a:pt x="969" y="173"/>
                </a:cubicBezTo>
                <a:cubicBezTo>
                  <a:pt x="969" y="173"/>
                  <a:pt x="969" y="173"/>
                  <a:pt x="968" y="173"/>
                </a:cubicBezTo>
                <a:cubicBezTo>
                  <a:pt x="968" y="173"/>
                  <a:pt x="968" y="173"/>
                  <a:pt x="967" y="175"/>
                </a:cubicBezTo>
                <a:cubicBezTo>
                  <a:pt x="967" y="175"/>
                  <a:pt x="967" y="175"/>
                  <a:pt x="968" y="176"/>
                </a:cubicBezTo>
                <a:cubicBezTo>
                  <a:pt x="968" y="176"/>
                  <a:pt x="968" y="176"/>
                  <a:pt x="969" y="176"/>
                </a:cubicBezTo>
                <a:cubicBezTo>
                  <a:pt x="969" y="176"/>
                  <a:pt x="969" y="176"/>
                  <a:pt x="969" y="177"/>
                </a:cubicBezTo>
                <a:cubicBezTo>
                  <a:pt x="969" y="177"/>
                  <a:pt x="969" y="177"/>
                  <a:pt x="969" y="178"/>
                </a:cubicBezTo>
                <a:cubicBezTo>
                  <a:pt x="969" y="178"/>
                  <a:pt x="969" y="178"/>
                  <a:pt x="969" y="179"/>
                </a:cubicBezTo>
                <a:cubicBezTo>
                  <a:pt x="969" y="179"/>
                  <a:pt x="969" y="179"/>
                  <a:pt x="968" y="180"/>
                </a:cubicBezTo>
                <a:cubicBezTo>
                  <a:pt x="968" y="180"/>
                  <a:pt x="968" y="180"/>
                  <a:pt x="967" y="182"/>
                </a:cubicBezTo>
                <a:cubicBezTo>
                  <a:pt x="967" y="182"/>
                  <a:pt x="967" y="182"/>
                  <a:pt x="968" y="183"/>
                </a:cubicBezTo>
                <a:cubicBezTo>
                  <a:pt x="968" y="183"/>
                  <a:pt x="968" y="183"/>
                  <a:pt x="969" y="183"/>
                </a:cubicBezTo>
                <a:cubicBezTo>
                  <a:pt x="969" y="183"/>
                  <a:pt x="969" y="183"/>
                  <a:pt x="969" y="185"/>
                </a:cubicBezTo>
                <a:cubicBezTo>
                  <a:pt x="969" y="185"/>
                  <a:pt x="969" y="185"/>
                  <a:pt x="970" y="185"/>
                </a:cubicBezTo>
                <a:cubicBezTo>
                  <a:pt x="970" y="185"/>
                  <a:pt x="970" y="185"/>
                  <a:pt x="972" y="186"/>
                </a:cubicBezTo>
                <a:cubicBezTo>
                  <a:pt x="972" y="186"/>
                  <a:pt x="972" y="186"/>
                  <a:pt x="973" y="186"/>
                </a:cubicBezTo>
                <a:cubicBezTo>
                  <a:pt x="973" y="186"/>
                  <a:pt x="973" y="186"/>
                  <a:pt x="974" y="185"/>
                </a:cubicBezTo>
                <a:cubicBezTo>
                  <a:pt x="974" y="185"/>
                  <a:pt x="974" y="185"/>
                  <a:pt x="975" y="185"/>
                </a:cubicBezTo>
                <a:cubicBezTo>
                  <a:pt x="975" y="185"/>
                  <a:pt x="975" y="185"/>
                  <a:pt x="977" y="184"/>
                </a:cubicBezTo>
                <a:cubicBezTo>
                  <a:pt x="977" y="184"/>
                  <a:pt x="977" y="184"/>
                  <a:pt x="978" y="185"/>
                </a:cubicBezTo>
                <a:cubicBezTo>
                  <a:pt x="978" y="185"/>
                  <a:pt x="978" y="185"/>
                  <a:pt x="980" y="185"/>
                </a:cubicBezTo>
                <a:cubicBezTo>
                  <a:pt x="980" y="185"/>
                  <a:pt x="980" y="185"/>
                  <a:pt x="981" y="186"/>
                </a:cubicBezTo>
                <a:cubicBezTo>
                  <a:pt x="981" y="186"/>
                  <a:pt x="981" y="186"/>
                  <a:pt x="983" y="186"/>
                </a:cubicBezTo>
                <a:cubicBezTo>
                  <a:pt x="983" y="186"/>
                  <a:pt x="983" y="186"/>
                  <a:pt x="983" y="187"/>
                </a:cubicBezTo>
                <a:cubicBezTo>
                  <a:pt x="983" y="187"/>
                  <a:pt x="983" y="187"/>
                  <a:pt x="986" y="187"/>
                </a:cubicBezTo>
                <a:close/>
                <a:moveTo>
                  <a:pt x="922" y="116"/>
                </a:moveTo>
                <a:cubicBezTo>
                  <a:pt x="922" y="116"/>
                  <a:pt x="922" y="116"/>
                  <a:pt x="923" y="116"/>
                </a:cubicBezTo>
                <a:cubicBezTo>
                  <a:pt x="923" y="115"/>
                  <a:pt x="923" y="115"/>
                  <a:pt x="923" y="115"/>
                </a:cubicBezTo>
                <a:cubicBezTo>
                  <a:pt x="923" y="115"/>
                  <a:pt x="923" y="115"/>
                  <a:pt x="922" y="115"/>
                </a:cubicBezTo>
                <a:cubicBezTo>
                  <a:pt x="922" y="115"/>
                  <a:pt x="922" y="115"/>
                  <a:pt x="922" y="116"/>
                </a:cubicBezTo>
                <a:close/>
                <a:moveTo>
                  <a:pt x="922" y="97"/>
                </a:moveTo>
                <a:cubicBezTo>
                  <a:pt x="923" y="98"/>
                  <a:pt x="923" y="98"/>
                  <a:pt x="923" y="98"/>
                </a:cubicBezTo>
                <a:cubicBezTo>
                  <a:pt x="924" y="98"/>
                  <a:pt x="924" y="98"/>
                  <a:pt x="924" y="98"/>
                </a:cubicBezTo>
                <a:cubicBezTo>
                  <a:pt x="924" y="97"/>
                  <a:pt x="924" y="97"/>
                  <a:pt x="924" y="97"/>
                </a:cubicBezTo>
                <a:cubicBezTo>
                  <a:pt x="923" y="97"/>
                  <a:pt x="923" y="97"/>
                  <a:pt x="923" y="97"/>
                </a:cubicBezTo>
                <a:cubicBezTo>
                  <a:pt x="922" y="97"/>
                  <a:pt x="922" y="97"/>
                  <a:pt x="922" y="97"/>
                </a:cubicBezTo>
                <a:close/>
                <a:moveTo>
                  <a:pt x="922" y="105"/>
                </a:moveTo>
                <a:cubicBezTo>
                  <a:pt x="922" y="105"/>
                  <a:pt x="922" y="105"/>
                  <a:pt x="922" y="104"/>
                </a:cubicBezTo>
                <a:cubicBezTo>
                  <a:pt x="922" y="104"/>
                  <a:pt x="922" y="104"/>
                  <a:pt x="921" y="105"/>
                </a:cubicBezTo>
                <a:cubicBezTo>
                  <a:pt x="921" y="105"/>
                  <a:pt x="921" y="105"/>
                  <a:pt x="922" y="105"/>
                </a:cubicBezTo>
                <a:close/>
                <a:moveTo>
                  <a:pt x="921" y="120"/>
                </a:moveTo>
                <a:cubicBezTo>
                  <a:pt x="921" y="120"/>
                  <a:pt x="921" y="120"/>
                  <a:pt x="921" y="121"/>
                </a:cubicBezTo>
                <a:cubicBezTo>
                  <a:pt x="921" y="121"/>
                  <a:pt x="921" y="121"/>
                  <a:pt x="921" y="122"/>
                </a:cubicBezTo>
                <a:cubicBezTo>
                  <a:pt x="921" y="122"/>
                  <a:pt x="921" y="122"/>
                  <a:pt x="921" y="123"/>
                </a:cubicBezTo>
                <a:cubicBezTo>
                  <a:pt x="922" y="122"/>
                  <a:pt x="922" y="122"/>
                  <a:pt x="922" y="122"/>
                </a:cubicBezTo>
                <a:cubicBezTo>
                  <a:pt x="922" y="122"/>
                  <a:pt x="922" y="122"/>
                  <a:pt x="922" y="121"/>
                </a:cubicBezTo>
                <a:cubicBezTo>
                  <a:pt x="922" y="121"/>
                  <a:pt x="922" y="121"/>
                  <a:pt x="923" y="119"/>
                </a:cubicBezTo>
                <a:cubicBezTo>
                  <a:pt x="923" y="119"/>
                  <a:pt x="923" y="119"/>
                  <a:pt x="922" y="119"/>
                </a:cubicBezTo>
                <a:cubicBezTo>
                  <a:pt x="922" y="119"/>
                  <a:pt x="922" y="119"/>
                  <a:pt x="921" y="119"/>
                </a:cubicBezTo>
                <a:cubicBezTo>
                  <a:pt x="921" y="119"/>
                  <a:pt x="921" y="119"/>
                  <a:pt x="921" y="120"/>
                </a:cubicBezTo>
                <a:close/>
                <a:moveTo>
                  <a:pt x="969" y="189"/>
                </a:moveTo>
                <a:cubicBezTo>
                  <a:pt x="969" y="189"/>
                  <a:pt x="969" y="189"/>
                  <a:pt x="970" y="189"/>
                </a:cubicBezTo>
                <a:cubicBezTo>
                  <a:pt x="970" y="189"/>
                  <a:pt x="970" y="189"/>
                  <a:pt x="970" y="188"/>
                </a:cubicBezTo>
                <a:cubicBezTo>
                  <a:pt x="970" y="188"/>
                  <a:pt x="970" y="188"/>
                  <a:pt x="969" y="188"/>
                </a:cubicBezTo>
                <a:cubicBezTo>
                  <a:pt x="969" y="188"/>
                  <a:pt x="969" y="188"/>
                  <a:pt x="969" y="189"/>
                </a:cubicBezTo>
                <a:close/>
                <a:moveTo>
                  <a:pt x="935" y="78"/>
                </a:moveTo>
                <a:cubicBezTo>
                  <a:pt x="935" y="78"/>
                  <a:pt x="935" y="78"/>
                  <a:pt x="934" y="78"/>
                </a:cubicBezTo>
                <a:cubicBezTo>
                  <a:pt x="934" y="78"/>
                  <a:pt x="934" y="78"/>
                  <a:pt x="934" y="79"/>
                </a:cubicBezTo>
                <a:cubicBezTo>
                  <a:pt x="934" y="79"/>
                  <a:pt x="934" y="79"/>
                  <a:pt x="933" y="80"/>
                </a:cubicBezTo>
                <a:cubicBezTo>
                  <a:pt x="933" y="80"/>
                  <a:pt x="933" y="80"/>
                  <a:pt x="934" y="80"/>
                </a:cubicBezTo>
                <a:cubicBezTo>
                  <a:pt x="934" y="80"/>
                  <a:pt x="934" y="80"/>
                  <a:pt x="934" y="82"/>
                </a:cubicBezTo>
                <a:cubicBezTo>
                  <a:pt x="934" y="82"/>
                  <a:pt x="934" y="82"/>
                  <a:pt x="935" y="82"/>
                </a:cubicBezTo>
                <a:cubicBezTo>
                  <a:pt x="935" y="82"/>
                  <a:pt x="935" y="82"/>
                  <a:pt x="934" y="83"/>
                </a:cubicBezTo>
                <a:cubicBezTo>
                  <a:pt x="934" y="83"/>
                  <a:pt x="934" y="83"/>
                  <a:pt x="934" y="85"/>
                </a:cubicBezTo>
                <a:cubicBezTo>
                  <a:pt x="934" y="85"/>
                  <a:pt x="934" y="85"/>
                  <a:pt x="936" y="84"/>
                </a:cubicBezTo>
                <a:cubicBezTo>
                  <a:pt x="936" y="84"/>
                  <a:pt x="936" y="84"/>
                  <a:pt x="936" y="83"/>
                </a:cubicBezTo>
                <a:cubicBezTo>
                  <a:pt x="936" y="83"/>
                  <a:pt x="936" y="83"/>
                  <a:pt x="937" y="84"/>
                </a:cubicBezTo>
                <a:cubicBezTo>
                  <a:pt x="937" y="84"/>
                  <a:pt x="937" y="84"/>
                  <a:pt x="937" y="85"/>
                </a:cubicBezTo>
                <a:cubicBezTo>
                  <a:pt x="937" y="85"/>
                  <a:pt x="937" y="85"/>
                  <a:pt x="938" y="85"/>
                </a:cubicBezTo>
                <a:cubicBezTo>
                  <a:pt x="938" y="85"/>
                  <a:pt x="938" y="85"/>
                  <a:pt x="940" y="84"/>
                </a:cubicBezTo>
                <a:cubicBezTo>
                  <a:pt x="940" y="84"/>
                  <a:pt x="940" y="84"/>
                  <a:pt x="941" y="85"/>
                </a:cubicBezTo>
                <a:cubicBezTo>
                  <a:pt x="941" y="85"/>
                  <a:pt x="941" y="85"/>
                  <a:pt x="942" y="84"/>
                </a:cubicBezTo>
                <a:cubicBezTo>
                  <a:pt x="942" y="84"/>
                  <a:pt x="942" y="84"/>
                  <a:pt x="943" y="84"/>
                </a:cubicBezTo>
                <a:cubicBezTo>
                  <a:pt x="943" y="84"/>
                  <a:pt x="943" y="84"/>
                  <a:pt x="943" y="85"/>
                </a:cubicBezTo>
                <a:cubicBezTo>
                  <a:pt x="943" y="85"/>
                  <a:pt x="943" y="85"/>
                  <a:pt x="944" y="85"/>
                </a:cubicBezTo>
                <a:cubicBezTo>
                  <a:pt x="944" y="85"/>
                  <a:pt x="944" y="85"/>
                  <a:pt x="946" y="83"/>
                </a:cubicBezTo>
                <a:cubicBezTo>
                  <a:pt x="946" y="83"/>
                  <a:pt x="946" y="83"/>
                  <a:pt x="947" y="82"/>
                </a:cubicBezTo>
                <a:cubicBezTo>
                  <a:pt x="947" y="82"/>
                  <a:pt x="947" y="82"/>
                  <a:pt x="946" y="80"/>
                </a:cubicBezTo>
                <a:cubicBezTo>
                  <a:pt x="946" y="80"/>
                  <a:pt x="946" y="80"/>
                  <a:pt x="945" y="80"/>
                </a:cubicBezTo>
                <a:cubicBezTo>
                  <a:pt x="945" y="80"/>
                  <a:pt x="945" y="80"/>
                  <a:pt x="946" y="79"/>
                </a:cubicBezTo>
                <a:cubicBezTo>
                  <a:pt x="946" y="79"/>
                  <a:pt x="946" y="79"/>
                  <a:pt x="947" y="79"/>
                </a:cubicBezTo>
                <a:cubicBezTo>
                  <a:pt x="947" y="79"/>
                  <a:pt x="947" y="79"/>
                  <a:pt x="948" y="79"/>
                </a:cubicBezTo>
                <a:cubicBezTo>
                  <a:pt x="948" y="79"/>
                  <a:pt x="948" y="79"/>
                  <a:pt x="949" y="78"/>
                </a:cubicBezTo>
                <a:cubicBezTo>
                  <a:pt x="949" y="78"/>
                  <a:pt x="949" y="78"/>
                  <a:pt x="948" y="75"/>
                </a:cubicBezTo>
                <a:cubicBezTo>
                  <a:pt x="948" y="75"/>
                  <a:pt x="948" y="75"/>
                  <a:pt x="948" y="74"/>
                </a:cubicBezTo>
                <a:cubicBezTo>
                  <a:pt x="948" y="74"/>
                  <a:pt x="948" y="74"/>
                  <a:pt x="947" y="73"/>
                </a:cubicBezTo>
                <a:cubicBezTo>
                  <a:pt x="947" y="73"/>
                  <a:pt x="947" y="73"/>
                  <a:pt x="946" y="72"/>
                </a:cubicBezTo>
                <a:cubicBezTo>
                  <a:pt x="946" y="72"/>
                  <a:pt x="946" y="72"/>
                  <a:pt x="946" y="71"/>
                </a:cubicBezTo>
                <a:cubicBezTo>
                  <a:pt x="946" y="71"/>
                  <a:pt x="946" y="71"/>
                  <a:pt x="945" y="71"/>
                </a:cubicBezTo>
                <a:cubicBezTo>
                  <a:pt x="945" y="71"/>
                  <a:pt x="945" y="71"/>
                  <a:pt x="945" y="70"/>
                </a:cubicBezTo>
                <a:cubicBezTo>
                  <a:pt x="945" y="70"/>
                  <a:pt x="945" y="70"/>
                  <a:pt x="944" y="69"/>
                </a:cubicBezTo>
                <a:cubicBezTo>
                  <a:pt x="944" y="69"/>
                  <a:pt x="944" y="69"/>
                  <a:pt x="944" y="68"/>
                </a:cubicBezTo>
                <a:cubicBezTo>
                  <a:pt x="944" y="68"/>
                  <a:pt x="944" y="68"/>
                  <a:pt x="944" y="66"/>
                </a:cubicBezTo>
                <a:cubicBezTo>
                  <a:pt x="944" y="66"/>
                  <a:pt x="944" y="66"/>
                  <a:pt x="942" y="64"/>
                </a:cubicBezTo>
                <a:cubicBezTo>
                  <a:pt x="942" y="64"/>
                  <a:pt x="942" y="64"/>
                  <a:pt x="941" y="64"/>
                </a:cubicBezTo>
                <a:cubicBezTo>
                  <a:pt x="941" y="64"/>
                  <a:pt x="941" y="64"/>
                  <a:pt x="939" y="66"/>
                </a:cubicBezTo>
                <a:cubicBezTo>
                  <a:pt x="939" y="66"/>
                  <a:pt x="939" y="66"/>
                  <a:pt x="938" y="66"/>
                </a:cubicBezTo>
                <a:cubicBezTo>
                  <a:pt x="938" y="66"/>
                  <a:pt x="938" y="66"/>
                  <a:pt x="938" y="68"/>
                </a:cubicBezTo>
                <a:cubicBezTo>
                  <a:pt x="938" y="68"/>
                  <a:pt x="938" y="68"/>
                  <a:pt x="937" y="69"/>
                </a:cubicBezTo>
                <a:cubicBezTo>
                  <a:pt x="937" y="69"/>
                  <a:pt x="937" y="69"/>
                  <a:pt x="936" y="70"/>
                </a:cubicBezTo>
                <a:cubicBezTo>
                  <a:pt x="936" y="70"/>
                  <a:pt x="936" y="70"/>
                  <a:pt x="936" y="72"/>
                </a:cubicBezTo>
                <a:cubicBezTo>
                  <a:pt x="936" y="72"/>
                  <a:pt x="936" y="72"/>
                  <a:pt x="935" y="74"/>
                </a:cubicBezTo>
                <a:cubicBezTo>
                  <a:pt x="935" y="74"/>
                  <a:pt x="935" y="74"/>
                  <a:pt x="936" y="75"/>
                </a:cubicBezTo>
                <a:cubicBezTo>
                  <a:pt x="936" y="75"/>
                  <a:pt x="936" y="75"/>
                  <a:pt x="935" y="75"/>
                </a:cubicBezTo>
                <a:cubicBezTo>
                  <a:pt x="935" y="75"/>
                  <a:pt x="935" y="75"/>
                  <a:pt x="935" y="76"/>
                </a:cubicBezTo>
                <a:cubicBezTo>
                  <a:pt x="935" y="76"/>
                  <a:pt x="935" y="76"/>
                  <a:pt x="936" y="76"/>
                </a:cubicBezTo>
                <a:cubicBezTo>
                  <a:pt x="936" y="76"/>
                  <a:pt x="936" y="76"/>
                  <a:pt x="937" y="78"/>
                </a:cubicBezTo>
                <a:cubicBezTo>
                  <a:pt x="937" y="78"/>
                  <a:pt x="937" y="78"/>
                  <a:pt x="937" y="79"/>
                </a:cubicBezTo>
                <a:cubicBezTo>
                  <a:pt x="937" y="79"/>
                  <a:pt x="937" y="79"/>
                  <a:pt x="935" y="78"/>
                </a:cubicBezTo>
                <a:close/>
                <a:moveTo>
                  <a:pt x="909" y="66"/>
                </a:moveTo>
                <a:cubicBezTo>
                  <a:pt x="909" y="67"/>
                  <a:pt x="909" y="67"/>
                  <a:pt x="909" y="67"/>
                </a:cubicBezTo>
                <a:cubicBezTo>
                  <a:pt x="910" y="66"/>
                  <a:pt x="910" y="66"/>
                  <a:pt x="910" y="66"/>
                </a:cubicBezTo>
                <a:cubicBezTo>
                  <a:pt x="911" y="66"/>
                  <a:pt x="911" y="66"/>
                  <a:pt x="911" y="66"/>
                </a:cubicBezTo>
                <a:cubicBezTo>
                  <a:pt x="913" y="66"/>
                  <a:pt x="913" y="66"/>
                  <a:pt x="913" y="66"/>
                </a:cubicBezTo>
                <a:cubicBezTo>
                  <a:pt x="915" y="66"/>
                  <a:pt x="915" y="66"/>
                  <a:pt x="915" y="66"/>
                </a:cubicBezTo>
                <a:cubicBezTo>
                  <a:pt x="916" y="67"/>
                  <a:pt x="916" y="67"/>
                  <a:pt x="916" y="67"/>
                </a:cubicBezTo>
                <a:cubicBezTo>
                  <a:pt x="918" y="66"/>
                  <a:pt x="918" y="66"/>
                  <a:pt x="918" y="66"/>
                </a:cubicBezTo>
                <a:cubicBezTo>
                  <a:pt x="918" y="67"/>
                  <a:pt x="918" y="67"/>
                  <a:pt x="918" y="67"/>
                </a:cubicBezTo>
                <a:cubicBezTo>
                  <a:pt x="916" y="68"/>
                  <a:pt x="916" y="68"/>
                  <a:pt x="916" y="68"/>
                </a:cubicBezTo>
                <a:cubicBezTo>
                  <a:pt x="916" y="70"/>
                  <a:pt x="916" y="70"/>
                  <a:pt x="916" y="70"/>
                </a:cubicBezTo>
                <a:cubicBezTo>
                  <a:pt x="918" y="69"/>
                  <a:pt x="918" y="69"/>
                  <a:pt x="918" y="69"/>
                </a:cubicBezTo>
                <a:cubicBezTo>
                  <a:pt x="919" y="70"/>
                  <a:pt x="919" y="70"/>
                  <a:pt x="919" y="70"/>
                </a:cubicBezTo>
                <a:cubicBezTo>
                  <a:pt x="920" y="72"/>
                  <a:pt x="920" y="72"/>
                  <a:pt x="920" y="72"/>
                </a:cubicBezTo>
                <a:cubicBezTo>
                  <a:pt x="921" y="72"/>
                  <a:pt x="921" y="72"/>
                  <a:pt x="921" y="72"/>
                </a:cubicBezTo>
                <a:cubicBezTo>
                  <a:pt x="922" y="73"/>
                  <a:pt x="922" y="73"/>
                  <a:pt x="922" y="73"/>
                </a:cubicBezTo>
                <a:cubicBezTo>
                  <a:pt x="921" y="74"/>
                  <a:pt x="921" y="74"/>
                  <a:pt x="921" y="74"/>
                </a:cubicBezTo>
                <a:cubicBezTo>
                  <a:pt x="921" y="75"/>
                  <a:pt x="921" y="75"/>
                  <a:pt x="921" y="75"/>
                </a:cubicBezTo>
                <a:cubicBezTo>
                  <a:pt x="919" y="79"/>
                  <a:pt x="919" y="79"/>
                  <a:pt x="919" y="79"/>
                </a:cubicBezTo>
                <a:cubicBezTo>
                  <a:pt x="920" y="81"/>
                  <a:pt x="920" y="81"/>
                  <a:pt x="920" y="81"/>
                </a:cubicBezTo>
                <a:cubicBezTo>
                  <a:pt x="920" y="82"/>
                  <a:pt x="920" y="82"/>
                  <a:pt x="920" y="82"/>
                </a:cubicBezTo>
                <a:cubicBezTo>
                  <a:pt x="921" y="82"/>
                  <a:pt x="921" y="82"/>
                  <a:pt x="921" y="82"/>
                </a:cubicBezTo>
                <a:cubicBezTo>
                  <a:pt x="922" y="82"/>
                  <a:pt x="922" y="82"/>
                  <a:pt x="922" y="82"/>
                </a:cubicBezTo>
                <a:cubicBezTo>
                  <a:pt x="923" y="82"/>
                  <a:pt x="923" y="82"/>
                  <a:pt x="923" y="82"/>
                </a:cubicBezTo>
                <a:cubicBezTo>
                  <a:pt x="924" y="82"/>
                  <a:pt x="924" y="82"/>
                  <a:pt x="924" y="82"/>
                </a:cubicBezTo>
                <a:cubicBezTo>
                  <a:pt x="925" y="81"/>
                  <a:pt x="925" y="81"/>
                  <a:pt x="925" y="81"/>
                </a:cubicBezTo>
                <a:cubicBezTo>
                  <a:pt x="925" y="80"/>
                  <a:pt x="925" y="80"/>
                  <a:pt x="925" y="80"/>
                </a:cubicBezTo>
                <a:cubicBezTo>
                  <a:pt x="926" y="80"/>
                  <a:pt x="926" y="80"/>
                  <a:pt x="926" y="80"/>
                </a:cubicBezTo>
                <a:cubicBezTo>
                  <a:pt x="927" y="78"/>
                  <a:pt x="927" y="78"/>
                  <a:pt x="927" y="78"/>
                </a:cubicBezTo>
                <a:cubicBezTo>
                  <a:pt x="927" y="77"/>
                  <a:pt x="927" y="77"/>
                  <a:pt x="927" y="77"/>
                </a:cubicBezTo>
                <a:cubicBezTo>
                  <a:pt x="928" y="75"/>
                  <a:pt x="928" y="75"/>
                  <a:pt x="928" y="75"/>
                </a:cubicBezTo>
                <a:cubicBezTo>
                  <a:pt x="929" y="73"/>
                  <a:pt x="929" y="73"/>
                  <a:pt x="929" y="73"/>
                </a:cubicBezTo>
                <a:cubicBezTo>
                  <a:pt x="928" y="73"/>
                  <a:pt x="928" y="73"/>
                  <a:pt x="928" y="73"/>
                </a:cubicBezTo>
                <a:cubicBezTo>
                  <a:pt x="928" y="72"/>
                  <a:pt x="928" y="72"/>
                  <a:pt x="928" y="72"/>
                </a:cubicBezTo>
                <a:cubicBezTo>
                  <a:pt x="929" y="72"/>
                  <a:pt x="929" y="72"/>
                  <a:pt x="929" y="72"/>
                </a:cubicBezTo>
                <a:cubicBezTo>
                  <a:pt x="930" y="70"/>
                  <a:pt x="930" y="70"/>
                  <a:pt x="930" y="70"/>
                </a:cubicBezTo>
                <a:cubicBezTo>
                  <a:pt x="931" y="70"/>
                  <a:pt x="931" y="70"/>
                  <a:pt x="931" y="70"/>
                </a:cubicBezTo>
                <a:cubicBezTo>
                  <a:pt x="932" y="69"/>
                  <a:pt x="932" y="69"/>
                  <a:pt x="932" y="69"/>
                </a:cubicBezTo>
                <a:cubicBezTo>
                  <a:pt x="933" y="68"/>
                  <a:pt x="933" y="68"/>
                  <a:pt x="933" y="68"/>
                </a:cubicBezTo>
                <a:cubicBezTo>
                  <a:pt x="933" y="66"/>
                  <a:pt x="933" y="66"/>
                  <a:pt x="933" y="66"/>
                </a:cubicBezTo>
                <a:cubicBezTo>
                  <a:pt x="933" y="65"/>
                  <a:pt x="933" y="65"/>
                  <a:pt x="933" y="65"/>
                </a:cubicBezTo>
                <a:cubicBezTo>
                  <a:pt x="934" y="64"/>
                  <a:pt x="934" y="64"/>
                  <a:pt x="934" y="64"/>
                </a:cubicBezTo>
                <a:cubicBezTo>
                  <a:pt x="934" y="63"/>
                  <a:pt x="934" y="63"/>
                  <a:pt x="934" y="63"/>
                </a:cubicBezTo>
                <a:cubicBezTo>
                  <a:pt x="934" y="62"/>
                  <a:pt x="934" y="62"/>
                  <a:pt x="934" y="62"/>
                </a:cubicBezTo>
                <a:cubicBezTo>
                  <a:pt x="934" y="61"/>
                  <a:pt x="934" y="61"/>
                  <a:pt x="934" y="61"/>
                </a:cubicBezTo>
                <a:cubicBezTo>
                  <a:pt x="933" y="61"/>
                  <a:pt x="933" y="61"/>
                  <a:pt x="933" y="61"/>
                </a:cubicBezTo>
                <a:cubicBezTo>
                  <a:pt x="932" y="60"/>
                  <a:pt x="932" y="60"/>
                  <a:pt x="932" y="60"/>
                </a:cubicBezTo>
                <a:cubicBezTo>
                  <a:pt x="930" y="60"/>
                  <a:pt x="930" y="60"/>
                  <a:pt x="930" y="60"/>
                </a:cubicBezTo>
                <a:cubicBezTo>
                  <a:pt x="931" y="59"/>
                  <a:pt x="931" y="59"/>
                  <a:pt x="931" y="59"/>
                </a:cubicBezTo>
                <a:cubicBezTo>
                  <a:pt x="932" y="58"/>
                  <a:pt x="932" y="58"/>
                  <a:pt x="932" y="58"/>
                </a:cubicBezTo>
                <a:cubicBezTo>
                  <a:pt x="932" y="57"/>
                  <a:pt x="932" y="57"/>
                  <a:pt x="932" y="57"/>
                </a:cubicBezTo>
                <a:cubicBezTo>
                  <a:pt x="932" y="56"/>
                  <a:pt x="932" y="56"/>
                  <a:pt x="932" y="56"/>
                </a:cubicBezTo>
                <a:cubicBezTo>
                  <a:pt x="932" y="55"/>
                  <a:pt x="932" y="55"/>
                  <a:pt x="932" y="55"/>
                </a:cubicBezTo>
                <a:cubicBezTo>
                  <a:pt x="932" y="54"/>
                  <a:pt x="932" y="54"/>
                  <a:pt x="932" y="54"/>
                </a:cubicBezTo>
                <a:cubicBezTo>
                  <a:pt x="931" y="52"/>
                  <a:pt x="931" y="52"/>
                  <a:pt x="931" y="52"/>
                </a:cubicBezTo>
                <a:cubicBezTo>
                  <a:pt x="930" y="52"/>
                  <a:pt x="930" y="52"/>
                  <a:pt x="930" y="52"/>
                </a:cubicBezTo>
                <a:cubicBezTo>
                  <a:pt x="929" y="53"/>
                  <a:pt x="929" y="53"/>
                  <a:pt x="929" y="53"/>
                </a:cubicBezTo>
                <a:cubicBezTo>
                  <a:pt x="927" y="54"/>
                  <a:pt x="927" y="54"/>
                  <a:pt x="927" y="54"/>
                </a:cubicBezTo>
                <a:cubicBezTo>
                  <a:pt x="927" y="55"/>
                  <a:pt x="927" y="55"/>
                  <a:pt x="927" y="55"/>
                </a:cubicBezTo>
                <a:cubicBezTo>
                  <a:pt x="926" y="56"/>
                  <a:pt x="926" y="56"/>
                  <a:pt x="926" y="56"/>
                </a:cubicBezTo>
                <a:cubicBezTo>
                  <a:pt x="925" y="56"/>
                  <a:pt x="925" y="56"/>
                  <a:pt x="925" y="56"/>
                </a:cubicBezTo>
                <a:cubicBezTo>
                  <a:pt x="925" y="54"/>
                  <a:pt x="925" y="54"/>
                  <a:pt x="925" y="54"/>
                </a:cubicBezTo>
                <a:cubicBezTo>
                  <a:pt x="926" y="54"/>
                  <a:pt x="926" y="54"/>
                  <a:pt x="926" y="54"/>
                </a:cubicBezTo>
                <a:cubicBezTo>
                  <a:pt x="926" y="53"/>
                  <a:pt x="926" y="53"/>
                  <a:pt x="926" y="53"/>
                </a:cubicBezTo>
                <a:cubicBezTo>
                  <a:pt x="926" y="51"/>
                  <a:pt x="926" y="51"/>
                  <a:pt x="926" y="51"/>
                </a:cubicBezTo>
                <a:cubicBezTo>
                  <a:pt x="927" y="49"/>
                  <a:pt x="927" y="49"/>
                  <a:pt x="927" y="49"/>
                </a:cubicBezTo>
                <a:cubicBezTo>
                  <a:pt x="927" y="48"/>
                  <a:pt x="927" y="48"/>
                  <a:pt x="927" y="48"/>
                </a:cubicBezTo>
                <a:cubicBezTo>
                  <a:pt x="926" y="47"/>
                  <a:pt x="926" y="47"/>
                  <a:pt x="926" y="47"/>
                </a:cubicBezTo>
                <a:cubicBezTo>
                  <a:pt x="925" y="46"/>
                  <a:pt x="925" y="46"/>
                  <a:pt x="925" y="46"/>
                </a:cubicBezTo>
                <a:cubicBezTo>
                  <a:pt x="924" y="45"/>
                  <a:pt x="924" y="45"/>
                  <a:pt x="924" y="45"/>
                </a:cubicBezTo>
                <a:cubicBezTo>
                  <a:pt x="923" y="45"/>
                  <a:pt x="923" y="45"/>
                  <a:pt x="923" y="45"/>
                </a:cubicBezTo>
                <a:cubicBezTo>
                  <a:pt x="921" y="45"/>
                  <a:pt x="921" y="45"/>
                  <a:pt x="921" y="45"/>
                </a:cubicBezTo>
                <a:cubicBezTo>
                  <a:pt x="920" y="46"/>
                  <a:pt x="920" y="46"/>
                  <a:pt x="920" y="46"/>
                </a:cubicBezTo>
                <a:cubicBezTo>
                  <a:pt x="919" y="46"/>
                  <a:pt x="919" y="46"/>
                  <a:pt x="919" y="46"/>
                </a:cubicBezTo>
                <a:cubicBezTo>
                  <a:pt x="919" y="44"/>
                  <a:pt x="919" y="44"/>
                  <a:pt x="919" y="44"/>
                </a:cubicBezTo>
                <a:cubicBezTo>
                  <a:pt x="918" y="44"/>
                  <a:pt x="918" y="44"/>
                  <a:pt x="918" y="44"/>
                </a:cubicBezTo>
                <a:cubicBezTo>
                  <a:pt x="917" y="45"/>
                  <a:pt x="917" y="45"/>
                  <a:pt x="917" y="45"/>
                </a:cubicBezTo>
                <a:cubicBezTo>
                  <a:pt x="917" y="46"/>
                  <a:pt x="917" y="46"/>
                  <a:pt x="917" y="46"/>
                </a:cubicBezTo>
                <a:cubicBezTo>
                  <a:pt x="916" y="46"/>
                  <a:pt x="916" y="46"/>
                  <a:pt x="916" y="46"/>
                </a:cubicBezTo>
                <a:cubicBezTo>
                  <a:pt x="915" y="48"/>
                  <a:pt x="915" y="48"/>
                  <a:pt x="915" y="48"/>
                </a:cubicBezTo>
                <a:cubicBezTo>
                  <a:pt x="914" y="49"/>
                  <a:pt x="914" y="49"/>
                  <a:pt x="914" y="49"/>
                </a:cubicBezTo>
                <a:cubicBezTo>
                  <a:pt x="914" y="50"/>
                  <a:pt x="914" y="50"/>
                  <a:pt x="914" y="50"/>
                </a:cubicBezTo>
                <a:cubicBezTo>
                  <a:pt x="915" y="51"/>
                  <a:pt x="915" y="51"/>
                  <a:pt x="915" y="51"/>
                </a:cubicBezTo>
                <a:cubicBezTo>
                  <a:pt x="916" y="51"/>
                  <a:pt x="916" y="51"/>
                  <a:pt x="916" y="51"/>
                </a:cubicBezTo>
                <a:cubicBezTo>
                  <a:pt x="917" y="50"/>
                  <a:pt x="917" y="50"/>
                  <a:pt x="917" y="50"/>
                </a:cubicBezTo>
                <a:cubicBezTo>
                  <a:pt x="917" y="51"/>
                  <a:pt x="917" y="51"/>
                  <a:pt x="917" y="51"/>
                </a:cubicBezTo>
                <a:cubicBezTo>
                  <a:pt x="916" y="52"/>
                  <a:pt x="916" y="52"/>
                  <a:pt x="916" y="52"/>
                </a:cubicBezTo>
                <a:cubicBezTo>
                  <a:pt x="914" y="53"/>
                  <a:pt x="914" y="53"/>
                  <a:pt x="914" y="53"/>
                </a:cubicBezTo>
                <a:cubicBezTo>
                  <a:pt x="913" y="55"/>
                  <a:pt x="913" y="55"/>
                  <a:pt x="913" y="55"/>
                </a:cubicBezTo>
                <a:cubicBezTo>
                  <a:pt x="915" y="54"/>
                  <a:pt x="915" y="54"/>
                  <a:pt x="915" y="54"/>
                </a:cubicBezTo>
                <a:cubicBezTo>
                  <a:pt x="917" y="53"/>
                  <a:pt x="917" y="53"/>
                  <a:pt x="917" y="53"/>
                </a:cubicBezTo>
                <a:cubicBezTo>
                  <a:pt x="918" y="52"/>
                  <a:pt x="918" y="52"/>
                  <a:pt x="918" y="52"/>
                </a:cubicBezTo>
                <a:cubicBezTo>
                  <a:pt x="919" y="53"/>
                  <a:pt x="919" y="53"/>
                  <a:pt x="919" y="53"/>
                </a:cubicBezTo>
                <a:cubicBezTo>
                  <a:pt x="919" y="55"/>
                  <a:pt x="919" y="55"/>
                  <a:pt x="919" y="55"/>
                </a:cubicBezTo>
                <a:cubicBezTo>
                  <a:pt x="918" y="55"/>
                  <a:pt x="918" y="55"/>
                  <a:pt x="918" y="55"/>
                </a:cubicBezTo>
                <a:cubicBezTo>
                  <a:pt x="916" y="56"/>
                  <a:pt x="916" y="56"/>
                  <a:pt x="916" y="56"/>
                </a:cubicBezTo>
                <a:cubicBezTo>
                  <a:pt x="916" y="57"/>
                  <a:pt x="916" y="57"/>
                  <a:pt x="916" y="57"/>
                </a:cubicBezTo>
                <a:cubicBezTo>
                  <a:pt x="917" y="58"/>
                  <a:pt x="917" y="58"/>
                  <a:pt x="917" y="58"/>
                </a:cubicBezTo>
                <a:cubicBezTo>
                  <a:pt x="918" y="58"/>
                  <a:pt x="918" y="58"/>
                  <a:pt x="918" y="58"/>
                </a:cubicBezTo>
                <a:cubicBezTo>
                  <a:pt x="919" y="58"/>
                  <a:pt x="919" y="58"/>
                  <a:pt x="919" y="58"/>
                </a:cubicBezTo>
                <a:cubicBezTo>
                  <a:pt x="918" y="59"/>
                  <a:pt x="918" y="59"/>
                  <a:pt x="918" y="59"/>
                </a:cubicBezTo>
                <a:cubicBezTo>
                  <a:pt x="916" y="60"/>
                  <a:pt x="916" y="60"/>
                  <a:pt x="916" y="60"/>
                </a:cubicBezTo>
                <a:cubicBezTo>
                  <a:pt x="915" y="59"/>
                  <a:pt x="915" y="59"/>
                  <a:pt x="915" y="59"/>
                </a:cubicBezTo>
                <a:cubicBezTo>
                  <a:pt x="915" y="60"/>
                  <a:pt x="915" y="60"/>
                  <a:pt x="915" y="60"/>
                </a:cubicBezTo>
                <a:cubicBezTo>
                  <a:pt x="916" y="61"/>
                  <a:pt x="916" y="61"/>
                  <a:pt x="916" y="61"/>
                </a:cubicBezTo>
                <a:cubicBezTo>
                  <a:pt x="914" y="63"/>
                  <a:pt x="914" y="63"/>
                  <a:pt x="914" y="63"/>
                </a:cubicBezTo>
                <a:cubicBezTo>
                  <a:pt x="913" y="61"/>
                  <a:pt x="913" y="61"/>
                  <a:pt x="913" y="61"/>
                </a:cubicBezTo>
                <a:cubicBezTo>
                  <a:pt x="912" y="61"/>
                  <a:pt x="912" y="61"/>
                  <a:pt x="912" y="61"/>
                </a:cubicBezTo>
                <a:cubicBezTo>
                  <a:pt x="911" y="59"/>
                  <a:pt x="911" y="59"/>
                  <a:pt x="911" y="59"/>
                </a:cubicBezTo>
                <a:cubicBezTo>
                  <a:pt x="909" y="61"/>
                  <a:pt x="909" y="61"/>
                  <a:pt x="909" y="61"/>
                </a:cubicBezTo>
                <a:cubicBezTo>
                  <a:pt x="907" y="63"/>
                  <a:pt x="907" y="63"/>
                  <a:pt x="907" y="63"/>
                </a:cubicBezTo>
                <a:cubicBezTo>
                  <a:pt x="909" y="65"/>
                  <a:pt x="909" y="65"/>
                  <a:pt x="909" y="65"/>
                </a:cubicBezTo>
                <a:cubicBezTo>
                  <a:pt x="909" y="66"/>
                  <a:pt x="909" y="66"/>
                  <a:pt x="909" y="66"/>
                </a:cubicBezTo>
                <a:close/>
                <a:moveTo>
                  <a:pt x="948" y="80"/>
                </a:moveTo>
                <a:cubicBezTo>
                  <a:pt x="948" y="82"/>
                  <a:pt x="948" y="82"/>
                  <a:pt x="948" y="82"/>
                </a:cubicBezTo>
                <a:cubicBezTo>
                  <a:pt x="949" y="83"/>
                  <a:pt x="949" y="83"/>
                  <a:pt x="949" y="83"/>
                </a:cubicBezTo>
                <a:cubicBezTo>
                  <a:pt x="950" y="82"/>
                  <a:pt x="950" y="82"/>
                  <a:pt x="950" y="82"/>
                </a:cubicBezTo>
                <a:cubicBezTo>
                  <a:pt x="949" y="80"/>
                  <a:pt x="949" y="80"/>
                  <a:pt x="949" y="80"/>
                </a:cubicBezTo>
                <a:cubicBezTo>
                  <a:pt x="948" y="80"/>
                  <a:pt x="948" y="80"/>
                  <a:pt x="948" y="80"/>
                </a:cubicBezTo>
                <a:close/>
                <a:moveTo>
                  <a:pt x="967" y="188"/>
                </a:moveTo>
                <a:cubicBezTo>
                  <a:pt x="967" y="188"/>
                  <a:pt x="967" y="188"/>
                  <a:pt x="966" y="188"/>
                </a:cubicBezTo>
                <a:cubicBezTo>
                  <a:pt x="966" y="188"/>
                  <a:pt x="966" y="188"/>
                  <a:pt x="967" y="189"/>
                </a:cubicBezTo>
                <a:cubicBezTo>
                  <a:pt x="967" y="189"/>
                  <a:pt x="967" y="189"/>
                  <a:pt x="967" y="188"/>
                </a:cubicBezTo>
                <a:close/>
                <a:moveTo>
                  <a:pt x="965" y="186"/>
                </a:moveTo>
                <a:cubicBezTo>
                  <a:pt x="965" y="186"/>
                  <a:pt x="965" y="186"/>
                  <a:pt x="965" y="187"/>
                </a:cubicBezTo>
                <a:cubicBezTo>
                  <a:pt x="965" y="187"/>
                  <a:pt x="965" y="187"/>
                  <a:pt x="965" y="188"/>
                </a:cubicBezTo>
                <a:cubicBezTo>
                  <a:pt x="965" y="188"/>
                  <a:pt x="965" y="188"/>
                  <a:pt x="966" y="187"/>
                </a:cubicBezTo>
                <a:cubicBezTo>
                  <a:pt x="966" y="187"/>
                  <a:pt x="966" y="187"/>
                  <a:pt x="966" y="186"/>
                </a:cubicBezTo>
                <a:cubicBezTo>
                  <a:pt x="966" y="186"/>
                  <a:pt x="966" y="186"/>
                  <a:pt x="965" y="186"/>
                </a:cubicBezTo>
                <a:close/>
                <a:moveTo>
                  <a:pt x="949" y="111"/>
                </a:moveTo>
                <a:cubicBezTo>
                  <a:pt x="949" y="111"/>
                  <a:pt x="949" y="111"/>
                  <a:pt x="949" y="112"/>
                </a:cubicBezTo>
                <a:cubicBezTo>
                  <a:pt x="949" y="112"/>
                  <a:pt x="949" y="112"/>
                  <a:pt x="949" y="113"/>
                </a:cubicBezTo>
                <a:cubicBezTo>
                  <a:pt x="949" y="113"/>
                  <a:pt x="949" y="113"/>
                  <a:pt x="949" y="115"/>
                </a:cubicBezTo>
                <a:cubicBezTo>
                  <a:pt x="949" y="115"/>
                  <a:pt x="949" y="115"/>
                  <a:pt x="949" y="116"/>
                </a:cubicBezTo>
                <a:cubicBezTo>
                  <a:pt x="949" y="116"/>
                  <a:pt x="949" y="116"/>
                  <a:pt x="951" y="117"/>
                </a:cubicBezTo>
                <a:cubicBezTo>
                  <a:pt x="951" y="117"/>
                  <a:pt x="951" y="117"/>
                  <a:pt x="951" y="116"/>
                </a:cubicBezTo>
                <a:cubicBezTo>
                  <a:pt x="951" y="116"/>
                  <a:pt x="951" y="116"/>
                  <a:pt x="951" y="115"/>
                </a:cubicBezTo>
                <a:cubicBezTo>
                  <a:pt x="951" y="115"/>
                  <a:pt x="951" y="115"/>
                  <a:pt x="951" y="114"/>
                </a:cubicBezTo>
                <a:cubicBezTo>
                  <a:pt x="951" y="114"/>
                  <a:pt x="951" y="114"/>
                  <a:pt x="952" y="112"/>
                </a:cubicBezTo>
                <a:cubicBezTo>
                  <a:pt x="952" y="112"/>
                  <a:pt x="952" y="112"/>
                  <a:pt x="952" y="110"/>
                </a:cubicBezTo>
                <a:cubicBezTo>
                  <a:pt x="952" y="110"/>
                  <a:pt x="952" y="110"/>
                  <a:pt x="950" y="110"/>
                </a:cubicBezTo>
                <a:cubicBezTo>
                  <a:pt x="950" y="110"/>
                  <a:pt x="950" y="110"/>
                  <a:pt x="949" y="110"/>
                </a:cubicBezTo>
                <a:cubicBezTo>
                  <a:pt x="949" y="110"/>
                  <a:pt x="949" y="110"/>
                  <a:pt x="949" y="111"/>
                </a:cubicBezTo>
                <a:close/>
                <a:moveTo>
                  <a:pt x="944" y="91"/>
                </a:moveTo>
                <a:cubicBezTo>
                  <a:pt x="944" y="91"/>
                  <a:pt x="944" y="91"/>
                  <a:pt x="943" y="89"/>
                </a:cubicBezTo>
                <a:cubicBezTo>
                  <a:pt x="943" y="89"/>
                  <a:pt x="943" y="89"/>
                  <a:pt x="942" y="89"/>
                </a:cubicBezTo>
                <a:cubicBezTo>
                  <a:pt x="942" y="89"/>
                  <a:pt x="942" y="89"/>
                  <a:pt x="941" y="88"/>
                </a:cubicBezTo>
                <a:cubicBezTo>
                  <a:pt x="941" y="88"/>
                  <a:pt x="941" y="88"/>
                  <a:pt x="941" y="89"/>
                </a:cubicBezTo>
                <a:cubicBezTo>
                  <a:pt x="941" y="89"/>
                  <a:pt x="941" y="89"/>
                  <a:pt x="940" y="89"/>
                </a:cubicBezTo>
                <a:cubicBezTo>
                  <a:pt x="940" y="89"/>
                  <a:pt x="940" y="89"/>
                  <a:pt x="939" y="88"/>
                </a:cubicBezTo>
                <a:cubicBezTo>
                  <a:pt x="939" y="88"/>
                  <a:pt x="939" y="88"/>
                  <a:pt x="938" y="88"/>
                </a:cubicBezTo>
                <a:cubicBezTo>
                  <a:pt x="938" y="88"/>
                  <a:pt x="938" y="88"/>
                  <a:pt x="937" y="88"/>
                </a:cubicBezTo>
                <a:cubicBezTo>
                  <a:pt x="937" y="88"/>
                  <a:pt x="937" y="88"/>
                  <a:pt x="936" y="88"/>
                </a:cubicBezTo>
                <a:cubicBezTo>
                  <a:pt x="936" y="88"/>
                  <a:pt x="936" y="88"/>
                  <a:pt x="935" y="88"/>
                </a:cubicBezTo>
                <a:cubicBezTo>
                  <a:pt x="935" y="88"/>
                  <a:pt x="935" y="88"/>
                  <a:pt x="934" y="89"/>
                </a:cubicBezTo>
                <a:cubicBezTo>
                  <a:pt x="934" y="89"/>
                  <a:pt x="934" y="89"/>
                  <a:pt x="933" y="91"/>
                </a:cubicBezTo>
                <a:cubicBezTo>
                  <a:pt x="933" y="91"/>
                  <a:pt x="933" y="91"/>
                  <a:pt x="933" y="93"/>
                </a:cubicBezTo>
                <a:cubicBezTo>
                  <a:pt x="933" y="93"/>
                  <a:pt x="933" y="93"/>
                  <a:pt x="934" y="93"/>
                </a:cubicBezTo>
                <a:cubicBezTo>
                  <a:pt x="934" y="93"/>
                  <a:pt x="934" y="93"/>
                  <a:pt x="935" y="93"/>
                </a:cubicBezTo>
                <a:cubicBezTo>
                  <a:pt x="935" y="93"/>
                  <a:pt x="935" y="93"/>
                  <a:pt x="936" y="94"/>
                </a:cubicBezTo>
                <a:cubicBezTo>
                  <a:pt x="936" y="94"/>
                  <a:pt x="936" y="94"/>
                  <a:pt x="937" y="94"/>
                </a:cubicBezTo>
                <a:cubicBezTo>
                  <a:pt x="937" y="94"/>
                  <a:pt x="937" y="94"/>
                  <a:pt x="939" y="94"/>
                </a:cubicBezTo>
                <a:cubicBezTo>
                  <a:pt x="939" y="94"/>
                  <a:pt x="939" y="94"/>
                  <a:pt x="940" y="96"/>
                </a:cubicBezTo>
                <a:cubicBezTo>
                  <a:pt x="940" y="96"/>
                  <a:pt x="940" y="96"/>
                  <a:pt x="942" y="96"/>
                </a:cubicBezTo>
                <a:cubicBezTo>
                  <a:pt x="942" y="96"/>
                  <a:pt x="942" y="96"/>
                  <a:pt x="944" y="97"/>
                </a:cubicBezTo>
                <a:cubicBezTo>
                  <a:pt x="944" y="97"/>
                  <a:pt x="944" y="97"/>
                  <a:pt x="945" y="96"/>
                </a:cubicBezTo>
                <a:cubicBezTo>
                  <a:pt x="945" y="96"/>
                  <a:pt x="945" y="96"/>
                  <a:pt x="947" y="95"/>
                </a:cubicBezTo>
                <a:cubicBezTo>
                  <a:pt x="947" y="95"/>
                  <a:pt x="947" y="95"/>
                  <a:pt x="948" y="95"/>
                </a:cubicBezTo>
                <a:cubicBezTo>
                  <a:pt x="948" y="95"/>
                  <a:pt x="948" y="95"/>
                  <a:pt x="948" y="94"/>
                </a:cubicBezTo>
                <a:cubicBezTo>
                  <a:pt x="948" y="94"/>
                  <a:pt x="948" y="94"/>
                  <a:pt x="948" y="93"/>
                </a:cubicBezTo>
                <a:cubicBezTo>
                  <a:pt x="948" y="93"/>
                  <a:pt x="948" y="93"/>
                  <a:pt x="947" y="92"/>
                </a:cubicBezTo>
                <a:cubicBezTo>
                  <a:pt x="947" y="92"/>
                  <a:pt x="947" y="92"/>
                  <a:pt x="946" y="92"/>
                </a:cubicBezTo>
                <a:cubicBezTo>
                  <a:pt x="946" y="92"/>
                  <a:pt x="946" y="92"/>
                  <a:pt x="945" y="92"/>
                </a:cubicBezTo>
                <a:cubicBezTo>
                  <a:pt x="945" y="92"/>
                  <a:pt x="945" y="92"/>
                  <a:pt x="945" y="91"/>
                </a:cubicBezTo>
                <a:cubicBezTo>
                  <a:pt x="945" y="91"/>
                  <a:pt x="945" y="91"/>
                  <a:pt x="944" y="91"/>
                </a:cubicBezTo>
                <a:close/>
                <a:moveTo>
                  <a:pt x="888" y="106"/>
                </a:moveTo>
                <a:cubicBezTo>
                  <a:pt x="889" y="106"/>
                  <a:pt x="889" y="106"/>
                  <a:pt x="889" y="106"/>
                </a:cubicBezTo>
                <a:cubicBezTo>
                  <a:pt x="892" y="106"/>
                  <a:pt x="892" y="106"/>
                  <a:pt x="892" y="106"/>
                </a:cubicBezTo>
                <a:cubicBezTo>
                  <a:pt x="892" y="105"/>
                  <a:pt x="892" y="105"/>
                  <a:pt x="892" y="105"/>
                </a:cubicBezTo>
                <a:cubicBezTo>
                  <a:pt x="893" y="103"/>
                  <a:pt x="893" y="103"/>
                  <a:pt x="893" y="103"/>
                </a:cubicBezTo>
                <a:cubicBezTo>
                  <a:pt x="892" y="102"/>
                  <a:pt x="892" y="102"/>
                  <a:pt x="892" y="102"/>
                </a:cubicBezTo>
                <a:cubicBezTo>
                  <a:pt x="891" y="103"/>
                  <a:pt x="891" y="103"/>
                  <a:pt x="891" y="103"/>
                </a:cubicBezTo>
                <a:cubicBezTo>
                  <a:pt x="890" y="102"/>
                  <a:pt x="890" y="102"/>
                  <a:pt x="890" y="102"/>
                </a:cubicBezTo>
                <a:cubicBezTo>
                  <a:pt x="888" y="102"/>
                  <a:pt x="888" y="102"/>
                  <a:pt x="888" y="102"/>
                </a:cubicBezTo>
                <a:cubicBezTo>
                  <a:pt x="887" y="102"/>
                  <a:pt x="887" y="102"/>
                  <a:pt x="887" y="102"/>
                </a:cubicBezTo>
                <a:cubicBezTo>
                  <a:pt x="886" y="102"/>
                  <a:pt x="886" y="102"/>
                  <a:pt x="886" y="102"/>
                </a:cubicBezTo>
                <a:cubicBezTo>
                  <a:pt x="885" y="103"/>
                  <a:pt x="885" y="103"/>
                  <a:pt x="885" y="103"/>
                </a:cubicBezTo>
                <a:cubicBezTo>
                  <a:pt x="885" y="104"/>
                  <a:pt x="885" y="104"/>
                  <a:pt x="885" y="104"/>
                </a:cubicBezTo>
                <a:cubicBezTo>
                  <a:pt x="886" y="105"/>
                  <a:pt x="886" y="105"/>
                  <a:pt x="886" y="105"/>
                </a:cubicBezTo>
                <a:cubicBezTo>
                  <a:pt x="887" y="105"/>
                  <a:pt x="887" y="105"/>
                  <a:pt x="887" y="105"/>
                </a:cubicBezTo>
                <a:cubicBezTo>
                  <a:pt x="888" y="106"/>
                  <a:pt x="888" y="106"/>
                  <a:pt x="888" y="106"/>
                </a:cubicBezTo>
                <a:close/>
                <a:moveTo>
                  <a:pt x="890" y="116"/>
                </a:moveTo>
                <a:cubicBezTo>
                  <a:pt x="890" y="117"/>
                  <a:pt x="890" y="117"/>
                  <a:pt x="890" y="117"/>
                </a:cubicBezTo>
                <a:cubicBezTo>
                  <a:pt x="890" y="118"/>
                  <a:pt x="890" y="118"/>
                  <a:pt x="890" y="118"/>
                </a:cubicBezTo>
                <a:cubicBezTo>
                  <a:pt x="891" y="117"/>
                  <a:pt x="891" y="117"/>
                  <a:pt x="891" y="117"/>
                </a:cubicBezTo>
                <a:cubicBezTo>
                  <a:pt x="890" y="116"/>
                  <a:pt x="890" y="116"/>
                  <a:pt x="890" y="116"/>
                </a:cubicBezTo>
                <a:close/>
                <a:moveTo>
                  <a:pt x="888" y="144"/>
                </a:moveTo>
                <a:cubicBezTo>
                  <a:pt x="887" y="145"/>
                  <a:pt x="887" y="145"/>
                  <a:pt x="887" y="145"/>
                </a:cubicBezTo>
                <a:cubicBezTo>
                  <a:pt x="885" y="145"/>
                  <a:pt x="885" y="145"/>
                  <a:pt x="885" y="145"/>
                </a:cubicBezTo>
                <a:cubicBezTo>
                  <a:pt x="885" y="146"/>
                  <a:pt x="885" y="146"/>
                  <a:pt x="885" y="146"/>
                </a:cubicBezTo>
                <a:cubicBezTo>
                  <a:pt x="887" y="146"/>
                  <a:pt x="887" y="146"/>
                  <a:pt x="887" y="146"/>
                </a:cubicBezTo>
                <a:cubicBezTo>
                  <a:pt x="888" y="147"/>
                  <a:pt x="888" y="147"/>
                  <a:pt x="888" y="147"/>
                </a:cubicBezTo>
                <a:cubicBezTo>
                  <a:pt x="889" y="147"/>
                  <a:pt x="889" y="147"/>
                  <a:pt x="889" y="147"/>
                </a:cubicBezTo>
                <a:cubicBezTo>
                  <a:pt x="890" y="147"/>
                  <a:pt x="890" y="147"/>
                  <a:pt x="890" y="147"/>
                </a:cubicBezTo>
                <a:cubicBezTo>
                  <a:pt x="892" y="146"/>
                  <a:pt x="892" y="146"/>
                  <a:pt x="892" y="146"/>
                </a:cubicBezTo>
                <a:cubicBezTo>
                  <a:pt x="893" y="147"/>
                  <a:pt x="893" y="147"/>
                  <a:pt x="893" y="147"/>
                </a:cubicBezTo>
                <a:cubicBezTo>
                  <a:pt x="893" y="146"/>
                  <a:pt x="893" y="146"/>
                  <a:pt x="893" y="146"/>
                </a:cubicBezTo>
                <a:cubicBezTo>
                  <a:pt x="894" y="146"/>
                  <a:pt x="894" y="146"/>
                  <a:pt x="894" y="146"/>
                </a:cubicBezTo>
                <a:cubicBezTo>
                  <a:pt x="896" y="146"/>
                  <a:pt x="896" y="146"/>
                  <a:pt x="896" y="146"/>
                </a:cubicBezTo>
                <a:cubicBezTo>
                  <a:pt x="896" y="145"/>
                  <a:pt x="896" y="145"/>
                  <a:pt x="896" y="145"/>
                </a:cubicBezTo>
                <a:cubicBezTo>
                  <a:pt x="894" y="144"/>
                  <a:pt x="894" y="144"/>
                  <a:pt x="894" y="144"/>
                </a:cubicBezTo>
                <a:cubicBezTo>
                  <a:pt x="893" y="144"/>
                  <a:pt x="893" y="144"/>
                  <a:pt x="893" y="144"/>
                </a:cubicBezTo>
                <a:cubicBezTo>
                  <a:pt x="891" y="144"/>
                  <a:pt x="891" y="144"/>
                  <a:pt x="891" y="144"/>
                </a:cubicBezTo>
                <a:cubicBezTo>
                  <a:pt x="890" y="145"/>
                  <a:pt x="890" y="145"/>
                  <a:pt x="890" y="145"/>
                </a:cubicBezTo>
                <a:cubicBezTo>
                  <a:pt x="888" y="144"/>
                  <a:pt x="888" y="144"/>
                  <a:pt x="888" y="144"/>
                </a:cubicBezTo>
                <a:close/>
                <a:moveTo>
                  <a:pt x="890" y="161"/>
                </a:moveTo>
                <a:cubicBezTo>
                  <a:pt x="890" y="163"/>
                  <a:pt x="890" y="163"/>
                  <a:pt x="890" y="163"/>
                </a:cubicBezTo>
                <a:cubicBezTo>
                  <a:pt x="891" y="163"/>
                  <a:pt x="891" y="163"/>
                  <a:pt x="891" y="163"/>
                </a:cubicBezTo>
                <a:cubicBezTo>
                  <a:pt x="892" y="162"/>
                  <a:pt x="892" y="162"/>
                  <a:pt x="892" y="162"/>
                </a:cubicBezTo>
                <a:cubicBezTo>
                  <a:pt x="892" y="161"/>
                  <a:pt x="892" y="161"/>
                  <a:pt x="892" y="161"/>
                </a:cubicBezTo>
                <a:cubicBezTo>
                  <a:pt x="892" y="160"/>
                  <a:pt x="892" y="160"/>
                  <a:pt x="892" y="160"/>
                </a:cubicBezTo>
                <a:cubicBezTo>
                  <a:pt x="891" y="159"/>
                  <a:pt x="891" y="159"/>
                  <a:pt x="891" y="159"/>
                </a:cubicBezTo>
                <a:cubicBezTo>
                  <a:pt x="891" y="160"/>
                  <a:pt x="891" y="160"/>
                  <a:pt x="891" y="160"/>
                </a:cubicBezTo>
                <a:cubicBezTo>
                  <a:pt x="890" y="161"/>
                  <a:pt x="890" y="161"/>
                  <a:pt x="890" y="161"/>
                </a:cubicBezTo>
                <a:close/>
                <a:moveTo>
                  <a:pt x="884" y="112"/>
                </a:moveTo>
                <a:cubicBezTo>
                  <a:pt x="884" y="112"/>
                  <a:pt x="884" y="112"/>
                  <a:pt x="885" y="111"/>
                </a:cubicBezTo>
                <a:cubicBezTo>
                  <a:pt x="885" y="111"/>
                  <a:pt x="885" y="111"/>
                  <a:pt x="886" y="111"/>
                </a:cubicBezTo>
                <a:cubicBezTo>
                  <a:pt x="886" y="111"/>
                  <a:pt x="886" y="111"/>
                  <a:pt x="887" y="112"/>
                </a:cubicBezTo>
                <a:cubicBezTo>
                  <a:pt x="887" y="112"/>
                  <a:pt x="887" y="112"/>
                  <a:pt x="889" y="111"/>
                </a:cubicBezTo>
                <a:cubicBezTo>
                  <a:pt x="889" y="111"/>
                  <a:pt x="889" y="111"/>
                  <a:pt x="889" y="110"/>
                </a:cubicBezTo>
                <a:cubicBezTo>
                  <a:pt x="889" y="110"/>
                  <a:pt x="889" y="110"/>
                  <a:pt x="890" y="110"/>
                </a:cubicBezTo>
                <a:cubicBezTo>
                  <a:pt x="890" y="110"/>
                  <a:pt x="890" y="110"/>
                  <a:pt x="891" y="110"/>
                </a:cubicBezTo>
                <a:cubicBezTo>
                  <a:pt x="891" y="110"/>
                  <a:pt x="891" y="110"/>
                  <a:pt x="892" y="109"/>
                </a:cubicBezTo>
                <a:cubicBezTo>
                  <a:pt x="892" y="109"/>
                  <a:pt x="892" y="109"/>
                  <a:pt x="891" y="109"/>
                </a:cubicBezTo>
                <a:cubicBezTo>
                  <a:pt x="891" y="109"/>
                  <a:pt x="891" y="109"/>
                  <a:pt x="890" y="109"/>
                </a:cubicBezTo>
                <a:cubicBezTo>
                  <a:pt x="890" y="109"/>
                  <a:pt x="890" y="109"/>
                  <a:pt x="887" y="109"/>
                </a:cubicBezTo>
                <a:cubicBezTo>
                  <a:pt x="887" y="109"/>
                  <a:pt x="887" y="109"/>
                  <a:pt x="886" y="110"/>
                </a:cubicBezTo>
                <a:cubicBezTo>
                  <a:pt x="886" y="110"/>
                  <a:pt x="886" y="110"/>
                  <a:pt x="885" y="110"/>
                </a:cubicBezTo>
                <a:cubicBezTo>
                  <a:pt x="885" y="110"/>
                  <a:pt x="885" y="110"/>
                  <a:pt x="884" y="111"/>
                </a:cubicBezTo>
                <a:cubicBezTo>
                  <a:pt x="884" y="111"/>
                  <a:pt x="884" y="111"/>
                  <a:pt x="884" y="112"/>
                </a:cubicBezTo>
                <a:close/>
                <a:moveTo>
                  <a:pt x="892" y="158"/>
                </a:moveTo>
                <a:cubicBezTo>
                  <a:pt x="891" y="158"/>
                  <a:pt x="891" y="158"/>
                  <a:pt x="891" y="158"/>
                </a:cubicBezTo>
                <a:cubicBezTo>
                  <a:pt x="891" y="159"/>
                  <a:pt x="891" y="159"/>
                  <a:pt x="891" y="159"/>
                </a:cubicBezTo>
                <a:cubicBezTo>
                  <a:pt x="892" y="159"/>
                  <a:pt x="892" y="159"/>
                  <a:pt x="892" y="159"/>
                </a:cubicBezTo>
                <a:cubicBezTo>
                  <a:pt x="892" y="158"/>
                  <a:pt x="892" y="158"/>
                  <a:pt x="892" y="158"/>
                </a:cubicBezTo>
                <a:close/>
                <a:moveTo>
                  <a:pt x="884" y="107"/>
                </a:moveTo>
                <a:cubicBezTo>
                  <a:pt x="885" y="108"/>
                  <a:pt x="885" y="108"/>
                  <a:pt x="885" y="108"/>
                </a:cubicBezTo>
                <a:cubicBezTo>
                  <a:pt x="887" y="108"/>
                  <a:pt x="887" y="108"/>
                  <a:pt x="887" y="108"/>
                </a:cubicBezTo>
                <a:cubicBezTo>
                  <a:pt x="889" y="108"/>
                  <a:pt x="889" y="108"/>
                  <a:pt x="889" y="108"/>
                </a:cubicBezTo>
                <a:cubicBezTo>
                  <a:pt x="890" y="108"/>
                  <a:pt x="890" y="108"/>
                  <a:pt x="890" y="108"/>
                </a:cubicBezTo>
                <a:cubicBezTo>
                  <a:pt x="891" y="108"/>
                  <a:pt x="891" y="108"/>
                  <a:pt x="891" y="108"/>
                </a:cubicBezTo>
                <a:cubicBezTo>
                  <a:pt x="892" y="108"/>
                  <a:pt x="892" y="108"/>
                  <a:pt x="892" y="108"/>
                </a:cubicBezTo>
                <a:cubicBezTo>
                  <a:pt x="892" y="107"/>
                  <a:pt x="892" y="107"/>
                  <a:pt x="892" y="107"/>
                </a:cubicBezTo>
                <a:cubicBezTo>
                  <a:pt x="891" y="107"/>
                  <a:pt x="891" y="107"/>
                  <a:pt x="891" y="107"/>
                </a:cubicBezTo>
                <a:cubicBezTo>
                  <a:pt x="888" y="107"/>
                  <a:pt x="888" y="107"/>
                  <a:pt x="888" y="107"/>
                </a:cubicBezTo>
                <a:cubicBezTo>
                  <a:pt x="887" y="107"/>
                  <a:pt x="887" y="107"/>
                  <a:pt x="887" y="107"/>
                </a:cubicBezTo>
                <a:cubicBezTo>
                  <a:pt x="885" y="107"/>
                  <a:pt x="885" y="107"/>
                  <a:pt x="885" y="107"/>
                </a:cubicBezTo>
                <a:cubicBezTo>
                  <a:pt x="884" y="107"/>
                  <a:pt x="884" y="107"/>
                  <a:pt x="884" y="107"/>
                </a:cubicBezTo>
                <a:close/>
                <a:moveTo>
                  <a:pt x="912" y="81"/>
                </a:moveTo>
                <a:cubicBezTo>
                  <a:pt x="912" y="81"/>
                  <a:pt x="912" y="81"/>
                  <a:pt x="913" y="81"/>
                </a:cubicBezTo>
                <a:cubicBezTo>
                  <a:pt x="913" y="81"/>
                  <a:pt x="913" y="81"/>
                  <a:pt x="914" y="81"/>
                </a:cubicBezTo>
                <a:cubicBezTo>
                  <a:pt x="914" y="81"/>
                  <a:pt x="914" y="81"/>
                  <a:pt x="915" y="81"/>
                </a:cubicBezTo>
                <a:cubicBezTo>
                  <a:pt x="915" y="81"/>
                  <a:pt x="915" y="81"/>
                  <a:pt x="916" y="81"/>
                </a:cubicBezTo>
                <a:cubicBezTo>
                  <a:pt x="916" y="81"/>
                  <a:pt x="916" y="81"/>
                  <a:pt x="916" y="79"/>
                </a:cubicBezTo>
                <a:cubicBezTo>
                  <a:pt x="916" y="79"/>
                  <a:pt x="916" y="79"/>
                  <a:pt x="916" y="78"/>
                </a:cubicBezTo>
                <a:cubicBezTo>
                  <a:pt x="916" y="78"/>
                  <a:pt x="916" y="78"/>
                  <a:pt x="914" y="76"/>
                </a:cubicBezTo>
                <a:cubicBezTo>
                  <a:pt x="914" y="76"/>
                  <a:pt x="914" y="76"/>
                  <a:pt x="912" y="75"/>
                </a:cubicBezTo>
                <a:cubicBezTo>
                  <a:pt x="912" y="75"/>
                  <a:pt x="912" y="75"/>
                  <a:pt x="910" y="75"/>
                </a:cubicBezTo>
                <a:cubicBezTo>
                  <a:pt x="910" y="75"/>
                  <a:pt x="910" y="75"/>
                  <a:pt x="910" y="77"/>
                </a:cubicBezTo>
                <a:cubicBezTo>
                  <a:pt x="910" y="77"/>
                  <a:pt x="910" y="77"/>
                  <a:pt x="910" y="78"/>
                </a:cubicBezTo>
                <a:cubicBezTo>
                  <a:pt x="910" y="78"/>
                  <a:pt x="910" y="78"/>
                  <a:pt x="911" y="80"/>
                </a:cubicBezTo>
                <a:cubicBezTo>
                  <a:pt x="911" y="80"/>
                  <a:pt x="911" y="80"/>
                  <a:pt x="912" y="81"/>
                </a:cubicBezTo>
                <a:close/>
                <a:moveTo>
                  <a:pt x="906" y="125"/>
                </a:moveTo>
                <a:cubicBezTo>
                  <a:pt x="906" y="125"/>
                  <a:pt x="906" y="125"/>
                  <a:pt x="906" y="126"/>
                </a:cubicBezTo>
                <a:cubicBezTo>
                  <a:pt x="906" y="126"/>
                  <a:pt x="906" y="126"/>
                  <a:pt x="907" y="126"/>
                </a:cubicBezTo>
                <a:cubicBezTo>
                  <a:pt x="907" y="126"/>
                  <a:pt x="907" y="126"/>
                  <a:pt x="907" y="125"/>
                </a:cubicBezTo>
                <a:cubicBezTo>
                  <a:pt x="907" y="125"/>
                  <a:pt x="907" y="125"/>
                  <a:pt x="906" y="125"/>
                </a:cubicBezTo>
                <a:close/>
                <a:moveTo>
                  <a:pt x="911" y="121"/>
                </a:moveTo>
                <a:cubicBezTo>
                  <a:pt x="911" y="121"/>
                  <a:pt x="911" y="121"/>
                  <a:pt x="910" y="121"/>
                </a:cubicBezTo>
                <a:cubicBezTo>
                  <a:pt x="910" y="121"/>
                  <a:pt x="910" y="121"/>
                  <a:pt x="911" y="122"/>
                </a:cubicBezTo>
                <a:cubicBezTo>
                  <a:pt x="911" y="122"/>
                  <a:pt x="911" y="122"/>
                  <a:pt x="911" y="121"/>
                </a:cubicBezTo>
                <a:close/>
                <a:moveTo>
                  <a:pt x="899" y="137"/>
                </a:moveTo>
                <a:cubicBezTo>
                  <a:pt x="899" y="137"/>
                  <a:pt x="899" y="137"/>
                  <a:pt x="900" y="137"/>
                </a:cubicBezTo>
                <a:cubicBezTo>
                  <a:pt x="900" y="137"/>
                  <a:pt x="900" y="137"/>
                  <a:pt x="899" y="136"/>
                </a:cubicBezTo>
                <a:cubicBezTo>
                  <a:pt x="899" y="136"/>
                  <a:pt x="899" y="136"/>
                  <a:pt x="897" y="137"/>
                </a:cubicBezTo>
                <a:cubicBezTo>
                  <a:pt x="897" y="137"/>
                  <a:pt x="897" y="137"/>
                  <a:pt x="897" y="138"/>
                </a:cubicBezTo>
                <a:cubicBezTo>
                  <a:pt x="897" y="138"/>
                  <a:pt x="897" y="138"/>
                  <a:pt x="898" y="138"/>
                </a:cubicBezTo>
                <a:cubicBezTo>
                  <a:pt x="898" y="138"/>
                  <a:pt x="898" y="138"/>
                  <a:pt x="899" y="137"/>
                </a:cubicBezTo>
                <a:close/>
                <a:moveTo>
                  <a:pt x="914" y="119"/>
                </a:moveTo>
                <a:cubicBezTo>
                  <a:pt x="914" y="119"/>
                  <a:pt x="914" y="119"/>
                  <a:pt x="913" y="119"/>
                </a:cubicBezTo>
                <a:cubicBezTo>
                  <a:pt x="913" y="119"/>
                  <a:pt x="913" y="119"/>
                  <a:pt x="912" y="120"/>
                </a:cubicBezTo>
                <a:cubicBezTo>
                  <a:pt x="912" y="120"/>
                  <a:pt x="912" y="120"/>
                  <a:pt x="913" y="120"/>
                </a:cubicBezTo>
                <a:cubicBezTo>
                  <a:pt x="913" y="120"/>
                  <a:pt x="913" y="120"/>
                  <a:pt x="914" y="119"/>
                </a:cubicBezTo>
                <a:close/>
                <a:moveTo>
                  <a:pt x="909" y="123"/>
                </a:moveTo>
                <a:cubicBezTo>
                  <a:pt x="909" y="123"/>
                  <a:pt x="909" y="123"/>
                  <a:pt x="909" y="125"/>
                </a:cubicBezTo>
                <a:cubicBezTo>
                  <a:pt x="909" y="125"/>
                  <a:pt x="909" y="125"/>
                  <a:pt x="910" y="126"/>
                </a:cubicBezTo>
                <a:cubicBezTo>
                  <a:pt x="910" y="126"/>
                  <a:pt x="910" y="126"/>
                  <a:pt x="910" y="125"/>
                </a:cubicBezTo>
                <a:cubicBezTo>
                  <a:pt x="910" y="125"/>
                  <a:pt x="910" y="125"/>
                  <a:pt x="911" y="125"/>
                </a:cubicBezTo>
                <a:cubicBezTo>
                  <a:pt x="911" y="125"/>
                  <a:pt x="911" y="125"/>
                  <a:pt x="911" y="124"/>
                </a:cubicBezTo>
                <a:cubicBezTo>
                  <a:pt x="911" y="124"/>
                  <a:pt x="911" y="124"/>
                  <a:pt x="912" y="123"/>
                </a:cubicBezTo>
                <a:cubicBezTo>
                  <a:pt x="912" y="123"/>
                  <a:pt x="912" y="123"/>
                  <a:pt x="911" y="123"/>
                </a:cubicBezTo>
                <a:cubicBezTo>
                  <a:pt x="911" y="123"/>
                  <a:pt x="911" y="123"/>
                  <a:pt x="910" y="123"/>
                </a:cubicBezTo>
                <a:cubicBezTo>
                  <a:pt x="910" y="123"/>
                  <a:pt x="910" y="123"/>
                  <a:pt x="909" y="123"/>
                </a:cubicBezTo>
                <a:close/>
                <a:moveTo>
                  <a:pt x="919" y="71"/>
                </a:moveTo>
                <a:cubicBezTo>
                  <a:pt x="919" y="71"/>
                  <a:pt x="919" y="71"/>
                  <a:pt x="918" y="71"/>
                </a:cubicBezTo>
                <a:cubicBezTo>
                  <a:pt x="918" y="71"/>
                  <a:pt x="918" y="71"/>
                  <a:pt x="918" y="72"/>
                </a:cubicBezTo>
                <a:cubicBezTo>
                  <a:pt x="918" y="72"/>
                  <a:pt x="918" y="72"/>
                  <a:pt x="919" y="72"/>
                </a:cubicBezTo>
                <a:cubicBezTo>
                  <a:pt x="919" y="72"/>
                  <a:pt x="919" y="72"/>
                  <a:pt x="919" y="71"/>
                </a:cubicBezTo>
                <a:close/>
                <a:moveTo>
                  <a:pt x="913" y="124"/>
                </a:moveTo>
                <a:cubicBezTo>
                  <a:pt x="913" y="124"/>
                  <a:pt x="913" y="124"/>
                  <a:pt x="914" y="123"/>
                </a:cubicBezTo>
                <a:cubicBezTo>
                  <a:pt x="914" y="123"/>
                  <a:pt x="914" y="123"/>
                  <a:pt x="913" y="123"/>
                </a:cubicBezTo>
                <a:cubicBezTo>
                  <a:pt x="913" y="123"/>
                  <a:pt x="913" y="123"/>
                  <a:pt x="913" y="122"/>
                </a:cubicBezTo>
                <a:cubicBezTo>
                  <a:pt x="913" y="122"/>
                  <a:pt x="913" y="122"/>
                  <a:pt x="912" y="122"/>
                </a:cubicBezTo>
                <a:cubicBezTo>
                  <a:pt x="912" y="122"/>
                  <a:pt x="912" y="122"/>
                  <a:pt x="912" y="123"/>
                </a:cubicBezTo>
                <a:cubicBezTo>
                  <a:pt x="912" y="123"/>
                  <a:pt x="912" y="123"/>
                  <a:pt x="912" y="124"/>
                </a:cubicBezTo>
                <a:cubicBezTo>
                  <a:pt x="912" y="124"/>
                  <a:pt x="912" y="124"/>
                  <a:pt x="913" y="124"/>
                </a:cubicBezTo>
                <a:close/>
                <a:moveTo>
                  <a:pt x="908" y="134"/>
                </a:moveTo>
                <a:cubicBezTo>
                  <a:pt x="909" y="134"/>
                  <a:pt x="909" y="134"/>
                  <a:pt x="909" y="134"/>
                </a:cubicBezTo>
                <a:cubicBezTo>
                  <a:pt x="909" y="133"/>
                  <a:pt x="909" y="133"/>
                  <a:pt x="909" y="133"/>
                </a:cubicBezTo>
                <a:cubicBezTo>
                  <a:pt x="910" y="133"/>
                  <a:pt x="910" y="133"/>
                  <a:pt x="910" y="133"/>
                </a:cubicBezTo>
                <a:cubicBezTo>
                  <a:pt x="909" y="134"/>
                  <a:pt x="909" y="134"/>
                  <a:pt x="909" y="134"/>
                </a:cubicBezTo>
                <a:cubicBezTo>
                  <a:pt x="909" y="135"/>
                  <a:pt x="909" y="135"/>
                  <a:pt x="909" y="135"/>
                </a:cubicBezTo>
                <a:cubicBezTo>
                  <a:pt x="910" y="135"/>
                  <a:pt x="910" y="135"/>
                  <a:pt x="910" y="135"/>
                </a:cubicBezTo>
                <a:cubicBezTo>
                  <a:pt x="911" y="135"/>
                  <a:pt x="911" y="135"/>
                  <a:pt x="911" y="135"/>
                </a:cubicBezTo>
                <a:cubicBezTo>
                  <a:pt x="911" y="136"/>
                  <a:pt x="911" y="136"/>
                  <a:pt x="911" y="136"/>
                </a:cubicBezTo>
                <a:cubicBezTo>
                  <a:pt x="911" y="137"/>
                  <a:pt x="911" y="137"/>
                  <a:pt x="911" y="137"/>
                </a:cubicBezTo>
                <a:cubicBezTo>
                  <a:pt x="912" y="137"/>
                  <a:pt x="912" y="137"/>
                  <a:pt x="912" y="137"/>
                </a:cubicBezTo>
                <a:cubicBezTo>
                  <a:pt x="912" y="136"/>
                  <a:pt x="912" y="136"/>
                  <a:pt x="912" y="136"/>
                </a:cubicBezTo>
                <a:cubicBezTo>
                  <a:pt x="913" y="136"/>
                  <a:pt x="913" y="136"/>
                  <a:pt x="913" y="136"/>
                </a:cubicBezTo>
                <a:cubicBezTo>
                  <a:pt x="913" y="138"/>
                  <a:pt x="913" y="138"/>
                  <a:pt x="913" y="138"/>
                </a:cubicBezTo>
                <a:cubicBezTo>
                  <a:pt x="914" y="138"/>
                  <a:pt x="914" y="138"/>
                  <a:pt x="914" y="138"/>
                </a:cubicBezTo>
                <a:cubicBezTo>
                  <a:pt x="914" y="139"/>
                  <a:pt x="914" y="139"/>
                  <a:pt x="914" y="139"/>
                </a:cubicBezTo>
                <a:cubicBezTo>
                  <a:pt x="916" y="139"/>
                  <a:pt x="916" y="139"/>
                  <a:pt x="916" y="139"/>
                </a:cubicBezTo>
                <a:cubicBezTo>
                  <a:pt x="917" y="140"/>
                  <a:pt x="917" y="140"/>
                  <a:pt x="917" y="140"/>
                </a:cubicBezTo>
                <a:cubicBezTo>
                  <a:pt x="918" y="140"/>
                  <a:pt x="918" y="140"/>
                  <a:pt x="918" y="140"/>
                </a:cubicBezTo>
                <a:cubicBezTo>
                  <a:pt x="919" y="141"/>
                  <a:pt x="919" y="141"/>
                  <a:pt x="919" y="141"/>
                </a:cubicBezTo>
                <a:cubicBezTo>
                  <a:pt x="919" y="140"/>
                  <a:pt x="919" y="140"/>
                  <a:pt x="919" y="140"/>
                </a:cubicBezTo>
                <a:cubicBezTo>
                  <a:pt x="919" y="139"/>
                  <a:pt x="919" y="139"/>
                  <a:pt x="919" y="139"/>
                </a:cubicBezTo>
                <a:cubicBezTo>
                  <a:pt x="920" y="139"/>
                  <a:pt x="920" y="139"/>
                  <a:pt x="920" y="139"/>
                </a:cubicBezTo>
                <a:cubicBezTo>
                  <a:pt x="920" y="137"/>
                  <a:pt x="920" y="137"/>
                  <a:pt x="920" y="137"/>
                </a:cubicBezTo>
                <a:cubicBezTo>
                  <a:pt x="920" y="136"/>
                  <a:pt x="920" y="136"/>
                  <a:pt x="920" y="136"/>
                </a:cubicBezTo>
                <a:cubicBezTo>
                  <a:pt x="921" y="134"/>
                  <a:pt x="921" y="134"/>
                  <a:pt x="921" y="134"/>
                </a:cubicBezTo>
                <a:cubicBezTo>
                  <a:pt x="922" y="132"/>
                  <a:pt x="922" y="132"/>
                  <a:pt x="922" y="132"/>
                </a:cubicBezTo>
                <a:cubicBezTo>
                  <a:pt x="922" y="130"/>
                  <a:pt x="922" y="130"/>
                  <a:pt x="922" y="130"/>
                </a:cubicBezTo>
                <a:cubicBezTo>
                  <a:pt x="923" y="130"/>
                  <a:pt x="923" y="130"/>
                  <a:pt x="923" y="130"/>
                </a:cubicBezTo>
                <a:cubicBezTo>
                  <a:pt x="922" y="128"/>
                  <a:pt x="922" y="128"/>
                  <a:pt x="922" y="128"/>
                </a:cubicBezTo>
                <a:cubicBezTo>
                  <a:pt x="921" y="128"/>
                  <a:pt x="921" y="128"/>
                  <a:pt x="921" y="128"/>
                </a:cubicBezTo>
                <a:cubicBezTo>
                  <a:pt x="921" y="126"/>
                  <a:pt x="921" y="126"/>
                  <a:pt x="921" y="126"/>
                </a:cubicBezTo>
                <a:cubicBezTo>
                  <a:pt x="920" y="125"/>
                  <a:pt x="920" y="125"/>
                  <a:pt x="920" y="125"/>
                </a:cubicBezTo>
                <a:cubicBezTo>
                  <a:pt x="919" y="124"/>
                  <a:pt x="919" y="124"/>
                  <a:pt x="919" y="124"/>
                </a:cubicBezTo>
                <a:cubicBezTo>
                  <a:pt x="918" y="124"/>
                  <a:pt x="918" y="124"/>
                  <a:pt x="918" y="124"/>
                </a:cubicBezTo>
                <a:cubicBezTo>
                  <a:pt x="916" y="124"/>
                  <a:pt x="916" y="124"/>
                  <a:pt x="916" y="124"/>
                </a:cubicBezTo>
                <a:cubicBezTo>
                  <a:pt x="915" y="124"/>
                  <a:pt x="915" y="124"/>
                  <a:pt x="915" y="124"/>
                </a:cubicBezTo>
                <a:cubicBezTo>
                  <a:pt x="915" y="125"/>
                  <a:pt x="915" y="125"/>
                  <a:pt x="915" y="125"/>
                </a:cubicBezTo>
                <a:cubicBezTo>
                  <a:pt x="915" y="126"/>
                  <a:pt x="915" y="126"/>
                  <a:pt x="915" y="126"/>
                </a:cubicBezTo>
                <a:cubicBezTo>
                  <a:pt x="914" y="126"/>
                  <a:pt x="914" y="126"/>
                  <a:pt x="914" y="126"/>
                </a:cubicBezTo>
                <a:cubicBezTo>
                  <a:pt x="913" y="125"/>
                  <a:pt x="913" y="125"/>
                  <a:pt x="913" y="125"/>
                </a:cubicBezTo>
                <a:cubicBezTo>
                  <a:pt x="912" y="126"/>
                  <a:pt x="912" y="126"/>
                  <a:pt x="912" y="126"/>
                </a:cubicBezTo>
                <a:cubicBezTo>
                  <a:pt x="913" y="126"/>
                  <a:pt x="913" y="126"/>
                  <a:pt x="913" y="126"/>
                </a:cubicBezTo>
                <a:cubicBezTo>
                  <a:pt x="914" y="127"/>
                  <a:pt x="914" y="127"/>
                  <a:pt x="914" y="127"/>
                </a:cubicBezTo>
                <a:cubicBezTo>
                  <a:pt x="912" y="127"/>
                  <a:pt x="912" y="127"/>
                  <a:pt x="912" y="127"/>
                </a:cubicBezTo>
                <a:cubicBezTo>
                  <a:pt x="912" y="128"/>
                  <a:pt x="912" y="128"/>
                  <a:pt x="912" y="128"/>
                </a:cubicBezTo>
                <a:cubicBezTo>
                  <a:pt x="912" y="129"/>
                  <a:pt x="912" y="129"/>
                  <a:pt x="912" y="129"/>
                </a:cubicBezTo>
                <a:cubicBezTo>
                  <a:pt x="911" y="129"/>
                  <a:pt x="911" y="129"/>
                  <a:pt x="911" y="129"/>
                </a:cubicBezTo>
                <a:cubicBezTo>
                  <a:pt x="910" y="129"/>
                  <a:pt x="910" y="129"/>
                  <a:pt x="910" y="129"/>
                </a:cubicBezTo>
                <a:cubicBezTo>
                  <a:pt x="909" y="130"/>
                  <a:pt x="909" y="130"/>
                  <a:pt x="909" y="130"/>
                </a:cubicBezTo>
                <a:cubicBezTo>
                  <a:pt x="908" y="131"/>
                  <a:pt x="908" y="131"/>
                  <a:pt x="908" y="131"/>
                </a:cubicBezTo>
                <a:cubicBezTo>
                  <a:pt x="908" y="132"/>
                  <a:pt x="908" y="132"/>
                  <a:pt x="908" y="132"/>
                </a:cubicBezTo>
                <a:cubicBezTo>
                  <a:pt x="909" y="132"/>
                  <a:pt x="909" y="132"/>
                  <a:pt x="909" y="132"/>
                </a:cubicBezTo>
                <a:cubicBezTo>
                  <a:pt x="908" y="133"/>
                  <a:pt x="908" y="133"/>
                  <a:pt x="908" y="133"/>
                </a:cubicBezTo>
                <a:cubicBezTo>
                  <a:pt x="908" y="134"/>
                  <a:pt x="908" y="134"/>
                  <a:pt x="908" y="134"/>
                </a:cubicBezTo>
                <a:close/>
                <a:moveTo>
                  <a:pt x="910" y="98"/>
                </a:moveTo>
                <a:cubicBezTo>
                  <a:pt x="911" y="99"/>
                  <a:pt x="911" y="99"/>
                  <a:pt x="911" y="99"/>
                </a:cubicBezTo>
                <a:cubicBezTo>
                  <a:pt x="911" y="98"/>
                  <a:pt x="911" y="98"/>
                  <a:pt x="911" y="98"/>
                </a:cubicBezTo>
                <a:cubicBezTo>
                  <a:pt x="910" y="97"/>
                  <a:pt x="910" y="97"/>
                  <a:pt x="910" y="97"/>
                </a:cubicBezTo>
                <a:cubicBezTo>
                  <a:pt x="910" y="98"/>
                  <a:pt x="910" y="98"/>
                  <a:pt x="910" y="98"/>
                </a:cubicBezTo>
                <a:close/>
                <a:moveTo>
                  <a:pt x="733" y="170"/>
                </a:moveTo>
                <a:cubicBezTo>
                  <a:pt x="732" y="170"/>
                  <a:pt x="732" y="170"/>
                  <a:pt x="732" y="170"/>
                </a:cubicBezTo>
                <a:cubicBezTo>
                  <a:pt x="733" y="171"/>
                  <a:pt x="733" y="171"/>
                  <a:pt x="733" y="171"/>
                </a:cubicBezTo>
                <a:cubicBezTo>
                  <a:pt x="733" y="170"/>
                  <a:pt x="733" y="170"/>
                  <a:pt x="733" y="170"/>
                </a:cubicBezTo>
                <a:close/>
                <a:moveTo>
                  <a:pt x="676" y="161"/>
                </a:moveTo>
                <a:cubicBezTo>
                  <a:pt x="676" y="162"/>
                  <a:pt x="676" y="162"/>
                  <a:pt x="676" y="162"/>
                </a:cubicBezTo>
                <a:cubicBezTo>
                  <a:pt x="677" y="161"/>
                  <a:pt x="677" y="161"/>
                  <a:pt x="677" y="161"/>
                </a:cubicBezTo>
                <a:cubicBezTo>
                  <a:pt x="676" y="161"/>
                  <a:pt x="676" y="161"/>
                  <a:pt x="676" y="161"/>
                </a:cubicBezTo>
                <a:close/>
                <a:moveTo>
                  <a:pt x="722" y="158"/>
                </a:moveTo>
                <a:cubicBezTo>
                  <a:pt x="722" y="157"/>
                  <a:pt x="722" y="157"/>
                  <a:pt x="722" y="157"/>
                </a:cubicBezTo>
                <a:cubicBezTo>
                  <a:pt x="720" y="157"/>
                  <a:pt x="720" y="157"/>
                  <a:pt x="720" y="157"/>
                </a:cubicBezTo>
                <a:cubicBezTo>
                  <a:pt x="720" y="158"/>
                  <a:pt x="720" y="158"/>
                  <a:pt x="720" y="158"/>
                </a:cubicBezTo>
                <a:cubicBezTo>
                  <a:pt x="721" y="159"/>
                  <a:pt x="721" y="159"/>
                  <a:pt x="721" y="159"/>
                </a:cubicBezTo>
                <a:cubicBezTo>
                  <a:pt x="722" y="158"/>
                  <a:pt x="722" y="158"/>
                  <a:pt x="722" y="158"/>
                </a:cubicBezTo>
                <a:close/>
                <a:moveTo>
                  <a:pt x="749" y="143"/>
                </a:moveTo>
                <a:cubicBezTo>
                  <a:pt x="750" y="143"/>
                  <a:pt x="750" y="143"/>
                  <a:pt x="750" y="143"/>
                </a:cubicBezTo>
                <a:cubicBezTo>
                  <a:pt x="750" y="143"/>
                  <a:pt x="750" y="143"/>
                  <a:pt x="750" y="144"/>
                </a:cubicBezTo>
                <a:cubicBezTo>
                  <a:pt x="750" y="144"/>
                  <a:pt x="750" y="144"/>
                  <a:pt x="749" y="143"/>
                </a:cubicBezTo>
                <a:cubicBezTo>
                  <a:pt x="749" y="143"/>
                  <a:pt x="749" y="143"/>
                  <a:pt x="750" y="147"/>
                </a:cubicBezTo>
                <a:cubicBezTo>
                  <a:pt x="750" y="147"/>
                  <a:pt x="750" y="147"/>
                  <a:pt x="750" y="148"/>
                </a:cubicBezTo>
                <a:cubicBezTo>
                  <a:pt x="750" y="148"/>
                  <a:pt x="750" y="148"/>
                  <a:pt x="750" y="149"/>
                </a:cubicBezTo>
                <a:cubicBezTo>
                  <a:pt x="750" y="149"/>
                  <a:pt x="750" y="149"/>
                  <a:pt x="750" y="151"/>
                </a:cubicBezTo>
                <a:cubicBezTo>
                  <a:pt x="750" y="151"/>
                  <a:pt x="750" y="151"/>
                  <a:pt x="750" y="152"/>
                </a:cubicBezTo>
                <a:cubicBezTo>
                  <a:pt x="750" y="152"/>
                  <a:pt x="750" y="152"/>
                  <a:pt x="749" y="154"/>
                </a:cubicBezTo>
                <a:cubicBezTo>
                  <a:pt x="749" y="154"/>
                  <a:pt x="749" y="154"/>
                  <a:pt x="749" y="157"/>
                </a:cubicBezTo>
                <a:cubicBezTo>
                  <a:pt x="749" y="157"/>
                  <a:pt x="749" y="157"/>
                  <a:pt x="750" y="157"/>
                </a:cubicBezTo>
                <a:cubicBezTo>
                  <a:pt x="750" y="157"/>
                  <a:pt x="750" y="157"/>
                  <a:pt x="751" y="157"/>
                </a:cubicBezTo>
                <a:cubicBezTo>
                  <a:pt x="751" y="157"/>
                  <a:pt x="751" y="157"/>
                  <a:pt x="752" y="157"/>
                </a:cubicBezTo>
                <a:cubicBezTo>
                  <a:pt x="752" y="157"/>
                  <a:pt x="752" y="157"/>
                  <a:pt x="753" y="156"/>
                </a:cubicBezTo>
                <a:cubicBezTo>
                  <a:pt x="753" y="156"/>
                  <a:pt x="753" y="156"/>
                  <a:pt x="754" y="156"/>
                </a:cubicBezTo>
                <a:cubicBezTo>
                  <a:pt x="754" y="156"/>
                  <a:pt x="754" y="156"/>
                  <a:pt x="756" y="156"/>
                </a:cubicBezTo>
                <a:cubicBezTo>
                  <a:pt x="756" y="156"/>
                  <a:pt x="756" y="156"/>
                  <a:pt x="758" y="154"/>
                </a:cubicBezTo>
                <a:cubicBezTo>
                  <a:pt x="758" y="154"/>
                  <a:pt x="758" y="154"/>
                  <a:pt x="758" y="153"/>
                </a:cubicBezTo>
                <a:cubicBezTo>
                  <a:pt x="758" y="153"/>
                  <a:pt x="758" y="153"/>
                  <a:pt x="759" y="152"/>
                </a:cubicBezTo>
                <a:cubicBezTo>
                  <a:pt x="759" y="152"/>
                  <a:pt x="759" y="152"/>
                  <a:pt x="760" y="153"/>
                </a:cubicBezTo>
                <a:cubicBezTo>
                  <a:pt x="760" y="153"/>
                  <a:pt x="760" y="153"/>
                  <a:pt x="760" y="155"/>
                </a:cubicBezTo>
                <a:cubicBezTo>
                  <a:pt x="760" y="155"/>
                  <a:pt x="760" y="155"/>
                  <a:pt x="759" y="155"/>
                </a:cubicBezTo>
                <a:cubicBezTo>
                  <a:pt x="759" y="155"/>
                  <a:pt x="759" y="155"/>
                  <a:pt x="760" y="157"/>
                </a:cubicBezTo>
                <a:cubicBezTo>
                  <a:pt x="760" y="157"/>
                  <a:pt x="760" y="157"/>
                  <a:pt x="761" y="157"/>
                </a:cubicBezTo>
                <a:cubicBezTo>
                  <a:pt x="761" y="157"/>
                  <a:pt x="761" y="157"/>
                  <a:pt x="763" y="156"/>
                </a:cubicBezTo>
                <a:cubicBezTo>
                  <a:pt x="763" y="156"/>
                  <a:pt x="763" y="156"/>
                  <a:pt x="764" y="156"/>
                </a:cubicBezTo>
                <a:cubicBezTo>
                  <a:pt x="764" y="156"/>
                  <a:pt x="764" y="156"/>
                  <a:pt x="766" y="155"/>
                </a:cubicBezTo>
                <a:cubicBezTo>
                  <a:pt x="766" y="155"/>
                  <a:pt x="766" y="155"/>
                  <a:pt x="767" y="153"/>
                </a:cubicBezTo>
                <a:cubicBezTo>
                  <a:pt x="767" y="153"/>
                  <a:pt x="767" y="153"/>
                  <a:pt x="767" y="152"/>
                </a:cubicBezTo>
                <a:cubicBezTo>
                  <a:pt x="767" y="152"/>
                  <a:pt x="767" y="152"/>
                  <a:pt x="769" y="150"/>
                </a:cubicBezTo>
                <a:cubicBezTo>
                  <a:pt x="769" y="150"/>
                  <a:pt x="769" y="150"/>
                  <a:pt x="769" y="149"/>
                </a:cubicBezTo>
                <a:cubicBezTo>
                  <a:pt x="769" y="149"/>
                  <a:pt x="769" y="149"/>
                  <a:pt x="770" y="148"/>
                </a:cubicBezTo>
                <a:cubicBezTo>
                  <a:pt x="770" y="148"/>
                  <a:pt x="770" y="148"/>
                  <a:pt x="772" y="147"/>
                </a:cubicBezTo>
                <a:cubicBezTo>
                  <a:pt x="772" y="147"/>
                  <a:pt x="772" y="147"/>
                  <a:pt x="772" y="146"/>
                </a:cubicBezTo>
                <a:cubicBezTo>
                  <a:pt x="772" y="146"/>
                  <a:pt x="772" y="146"/>
                  <a:pt x="773" y="144"/>
                </a:cubicBezTo>
                <a:cubicBezTo>
                  <a:pt x="773" y="144"/>
                  <a:pt x="773" y="144"/>
                  <a:pt x="774" y="146"/>
                </a:cubicBezTo>
                <a:cubicBezTo>
                  <a:pt x="774" y="146"/>
                  <a:pt x="774" y="146"/>
                  <a:pt x="776" y="146"/>
                </a:cubicBezTo>
                <a:cubicBezTo>
                  <a:pt x="776" y="146"/>
                  <a:pt x="776" y="146"/>
                  <a:pt x="777" y="145"/>
                </a:cubicBezTo>
                <a:cubicBezTo>
                  <a:pt x="777" y="145"/>
                  <a:pt x="777" y="145"/>
                  <a:pt x="779" y="145"/>
                </a:cubicBezTo>
                <a:cubicBezTo>
                  <a:pt x="779" y="145"/>
                  <a:pt x="779" y="145"/>
                  <a:pt x="779" y="143"/>
                </a:cubicBezTo>
                <a:cubicBezTo>
                  <a:pt x="779" y="143"/>
                  <a:pt x="779" y="143"/>
                  <a:pt x="780" y="143"/>
                </a:cubicBezTo>
                <a:cubicBezTo>
                  <a:pt x="780" y="143"/>
                  <a:pt x="780" y="143"/>
                  <a:pt x="781" y="141"/>
                </a:cubicBezTo>
                <a:cubicBezTo>
                  <a:pt x="781" y="141"/>
                  <a:pt x="781" y="141"/>
                  <a:pt x="782" y="140"/>
                </a:cubicBezTo>
                <a:cubicBezTo>
                  <a:pt x="782" y="140"/>
                  <a:pt x="782" y="140"/>
                  <a:pt x="784" y="139"/>
                </a:cubicBezTo>
                <a:cubicBezTo>
                  <a:pt x="784" y="139"/>
                  <a:pt x="784" y="139"/>
                  <a:pt x="785" y="140"/>
                </a:cubicBezTo>
                <a:cubicBezTo>
                  <a:pt x="785" y="140"/>
                  <a:pt x="785" y="140"/>
                  <a:pt x="786" y="139"/>
                </a:cubicBezTo>
                <a:cubicBezTo>
                  <a:pt x="786" y="139"/>
                  <a:pt x="786" y="139"/>
                  <a:pt x="788" y="139"/>
                </a:cubicBezTo>
                <a:cubicBezTo>
                  <a:pt x="788" y="139"/>
                  <a:pt x="788" y="139"/>
                  <a:pt x="789" y="138"/>
                </a:cubicBezTo>
                <a:cubicBezTo>
                  <a:pt x="789" y="138"/>
                  <a:pt x="789" y="138"/>
                  <a:pt x="791" y="138"/>
                </a:cubicBezTo>
                <a:cubicBezTo>
                  <a:pt x="791" y="138"/>
                  <a:pt x="791" y="138"/>
                  <a:pt x="793" y="137"/>
                </a:cubicBezTo>
                <a:cubicBezTo>
                  <a:pt x="793" y="137"/>
                  <a:pt x="793" y="137"/>
                  <a:pt x="795" y="137"/>
                </a:cubicBezTo>
                <a:cubicBezTo>
                  <a:pt x="795" y="137"/>
                  <a:pt x="795" y="137"/>
                  <a:pt x="799" y="135"/>
                </a:cubicBezTo>
                <a:cubicBezTo>
                  <a:pt x="799" y="135"/>
                  <a:pt x="799" y="135"/>
                  <a:pt x="801" y="135"/>
                </a:cubicBezTo>
                <a:cubicBezTo>
                  <a:pt x="801" y="135"/>
                  <a:pt x="801" y="135"/>
                  <a:pt x="803" y="135"/>
                </a:cubicBezTo>
                <a:cubicBezTo>
                  <a:pt x="803" y="135"/>
                  <a:pt x="803" y="135"/>
                  <a:pt x="804" y="134"/>
                </a:cubicBezTo>
                <a:cubicBezTo>
                  <a:pt x="804" y="134"/>
                  <a:pt x="804" y="134"/>
                  <a:pt x="807" y="134"/>
                </a:cubicBezTo>
                <a:cubicBezTo>
                  <a:pt x="807" y="134"/>
                  <a:pt x="807" y="134"/>
                  <a:pt x="808" y="132"/>
                </a:cubicBezTo>
                <a:cubicBezTo>
                  <a:pt x="808" y="132"/>
                  <a:pt x="808" y="132"/>
                  <a:pt x="808" y="131"/>
                </a:cubicBezTo>
                <a:cubicBezTo>
                  <a:pt x="808" y="131"/>
                  <a:pt x="808" y="131"/>
                  <a:pt x="808" y="130"/>
                </a:cubicBezTo>
                <a:cubicBezTo>
                  <a:pt x="808" y="130"/>
                  <a:pt x="808" y="130"/>
                  <a:pt x="807" y="129"/>
                </a:cubicBezTo>
                <a:cubicBezTo>
                  <a:pt x="807" y="129"/>
                  <a:pt x="807" y="129"/>
                  <a:pt x="807" y="128"/>
                </a:cubicBezTo>
                <a:cubicBezTo>
                  <a:pt x="807" y="128"/>
                  <a:pt x="807" y="128"/>
                  <a:pt x="807" y="127"/>
                </a:cubicBezTo>
                <a:cubicBezTo>
                  <a:pt x="807" y="127"/>
                  <a:pt x="807" y="127"/>
                  <a:pt x="807" y="125"/>
                </a:cubicBezTo>
                <a:cubicBezTo>
                  <a:pt x="807" y="125"/>
                  <a:pt x="807" y="125"/>
                  <a:pt x="807" y="123"/>
                </a:cubicBezTo>
                <a:cubicBezTo>
                  <a:pt x="807" y="123"/>
                  <a:pt x="807" y="123"/>
                  <a:pt x="807" y="120"/>
                </a:cubicBezTo>
                <a:cubicBezTo>
                  <a:pt x="807" y="120"/>
                  <a:pt x="807" y="120"/>
                  <a:pt x="804" y="118"/>
                </a:cubicBezTo>
                <a:cubicBezTo>
                  <a:pt x="804" y="118"/>
                  <a:pt x="804" y="118"/>
                  <a:pt x="804" y="117"/>
                </a:cubicBezTo>
                <a:cubicBezTo>
                  <a:pt x="804" y="117"/>
                  <a:pt x="804" y="117"/>
                  <a:pt x="803" y="116"/>
                </a:cubicBezTo>
                <a:cubicBezTo>
                  <a:pt x="803" y="116"/>
                  <a:pt x="803" y="116"/>
                  <a:pt x="802" y="117"/>
                </a:cubicBezTo>
                <a:cubicBezTo>
                  <a:pt x="802" y="117"/>
                  <a:pt x="802" y="117"/>
                  <a:pt x="800" y="117"/>
                </a:cubicBezTo>
                <a:cubicBezTo>
                  <a:pt x="800" y="117"/>
                  <a:pt x="800" y="117"/>
                  <a:pt x="799" y="118"/>
                </a:cubicBezTo>
                <a:cubicBezTo>
                  <a:pt x="799" y="118"/>
                  <a:pt x="799" y="118"/>
                  <a:pt x="799" y="119"/>
                </a:cubicBezTo>
                <a:cubicBezTo>
                  <a:pt x="799" y="119"/>
                  <a:pt x="799" y="119"/>
                  <a:pt x="797" y="121"/>
                </a:cubicBezTo>
                <a:cubicBezTo>
                  <a:pt x="797" y="121"/>
                  <a:pt x="797" y="121"/>
                  <a:pt x="797" y="120"/>
                </a:cubicBezTo>
                <a:cubicBezTo>
                  <a:pt x="797" y="120"/>
                  <a:pt x="797" y="120"/>
                  <a:pt x="798" y="118"/>
                </a:cubicBezTo>
                <a:cubicBezTo>
                  <a:pt x="798" y="118"/>
                  <a:pt x="798" y="118"/>
                  <a:pt x="799" y="116"/>
                </a:cubicBezTo>
                <a:cubicBezTo>
                  <a:pt x="799" y="116"/>
                  <a:pt x="799" y="116"/>
                  <a:pt x="797" y="116"/>
                </a:cubicBezTo>
                <a:cubicBezTo>
                  <a:pt x="797" y="116"/>
                  <a:pt x="797" y="116"/>
                  <a:pt x="796" y="116"/>
                </a:cubicBezTo>
                <a:cubicBezTo>
                  <a:pt x="796" y="116"/>
                  <a:pt x="796" y="116"/>
                  <a:pt x="796" y="115"/>
                </a:cubicBezTo>
                <a:cubicBezTo>
                  <a:pt x="796" y="115"/>
                  <a:pt x="796" y="115"/>
                  <a:pt x="793" y="113"/>
                </a:cubicBezTo>
                <a:cubicBezTo>
                  <a:pt x="793" y="113"/>
                  <a:pt x="793" y="113"/>
                  <a:pt x="792" y="112"/>
                </a:cubicBezTo>
                <a:cubicBezTo>
                  <a:pt x="792" y="112"/>
                  <a:pt x="792" y="112"/>
                  <a:pt x="791" y="111"/>
                </a:cubicBezTo>
                <a:cubicBezTo>
                  <a:pt x="791" y="111"/>
                  <a:pt x="791" y="111"/>
                  <a:pt x="791" y="110"/>
                </a:cubicBezTo>
                <a:cubicBezTo>
                  <a:pt x="791" y="110"/>
                  <a:pt x="791" y="110"/>
                  <a:pt x="788" y="109"/>
                </a:cubicBezTo>
                <a:cubicBezTo>
                  <a:pt x="788" y="109"/>
                  <a:pt x="788" y="109"/>
                  <a:pt x="785" y="110"/>
                </a:cubicBezTo>
                <a:cubicBezTo>
                  <a:pt x="785" y="110"/>
                  <a:pt x="785" y="110"/>
                  <a:pt x="781" y="110"/>
                </a:cubicBezTo>
                <a:cubicBezTo>
                  <a:pt x="781" y="110"/>
                  <a:pt x="781" y="110"/>
                  <a:pt x="780" y="109"/>
                </a:cubicBezTo>
                <a:cubicBezTo>
                  <a:pt x="780" y="109"/>
                  <a:pt x="780" y="109"/>
                  <a:pt x="776" y="110"/>
                </a:cubicBezTo>
                <a:cubicBezTo>
                  <a:pt x="776" y="110"/>
                  <a:pt x="776" y="110"/>
                  <a:pt x="775" y="109"/>
                </a:cubicBezTo>
                <a:cubicBezTo>
                  <a:pt x="775" y="109"/>
                  <a:pt x="775" y="109"/>
                  <a:pt x="773" y="110"/>
                </a:cubicBezTo>
                <a:cubicBezTo>
                  <a:pt x="773" y="110"/>
                  <a:pt x="773" y="110"/>
                  <a:pt x="773" y="111"/>
                </a:cubicBezTo>
                <a:cubicBezTo>
                  <a:pt x="773" y="111"/>
                  <a:pt x="773" y="111"/>
                  <a:pt x="773" y="113"/>
                </a:cubicBezTo>
                <a:cubicBezTo>
                  <a:pt x="773" y="113"/>
                  <a:pt x="773" y="113"/>
                  <a:pt x="773" y="114"/>
                </a:cubicBezTo>
                <a:cubicBezTo>
                  <a:pt x="773" y="114"/>
                  <a:pt x="773" y="114"/>
                  <a:pt x="772" y="117"/>
                </a:cubicBezTo>
                <a:cubicBezTo>
                  <a:pt x="772" y="117"/>
                  <a:pt x="772" y="117"/>
                  <a:pt x="773" y="118"/>
                </a:cubicBezTo>
                <a:cubicBezTo>
                  <a:pt x="773" y="118"/>
                  <a:pt x="773" y="118"/>
                  <a:pt x="773" y="119"/>
                </a:cubicBezTo>
                <a:cubicBezTo>
                  <a:pt x="773" y="119"/>
                  <a:pt x="773" y="119"/>
                  <a:pt x="771" y="119"/>
                </a:cubicBezTo>
                <a:cubicBezTo>
                  <a:pt x="771" y="119"/>
                  <a:pt x="771" y="119"/>
                  <a:pt x="769" y="121"/>
                </a:cubicBezTo>
                <a:cubicBezTo>
                  <a:pt x="769" y="121"/>
                  <a:pt x="769" y="121"/>
                  <a:pt x="769" y="122"/>
                </a:cubicBezTo>
                <a:cubicBezTo>
                  <a:pt x="769" y="122"/>
                  <a:pt x="769" y="122"/>
                  <a:pt x="766" y="123"/>
                </a:cubicBezTo>
                <a:cubicBezTo>
                  <a:pt x="766" y="123"/>
                  <a:pt x="766" y="123"/>
                  <a:pt x="765" y="124"/>
                </a:cubicBezTo>
                <a:cubicBezTo>
                  <a:pt x="765" y="124"/>
                  <a:pt x="765" y="124"/>
                  <a:pt x="762" y="127"/>
                </a:cubicBezTo>
                <a:cubicBezTo>
                  <a:pt x="762" y="127"/>
                  <a:pt x="762" y="127"/>
                  <a:pt x="761" y="127"/>
                </a:cubicBezTo>
                <a:cubicBezTo>
                  <a:pt x="761" y="127"/>
                  <a:pt x="761" y="127"/>
                  <a:pt x="761" y="128"/>
                </a:cubicBezTo>
                <a:cubicBezTo>
                  <a:pt x="761" y="128"/>
                  <a:pt x="761" y="128"/>
                  <a:pt x="762" y="130"/>
                </a:cubicBezTo>
                <a:cubicBezTo>
                  <a:pt x="762" y="130"/>
                  <a:pt x="762" y="130"/>
                  <a:pt x="762" y="131"/>
                </a:cubicBezTo>
                <a:cubicBezTo>
                  <a:pt x="762" y="131"/>
                  <a:pt x="762" y="131"/>
                  <a:pt x="758" y="131"/>
                </a:cubicBezTo>
                <a:cubicBezTo>
                  <a:pt x="758" y="132"/>
                  <a:pt x="758" y="132"/>
                  <a:pt x="758" y="132"/>
                </a:cubicBezTo>
                <a:cubicBezTo>
                  <a:pt x="758" y="132"/>
                  <a:pt x="758" y="132"/>
                  <a:pt x="757" y="134"/>
                </a:cubicBezTo>
                <a:cubicBezTo>
                  <a:pt x="757" y="134"/>
                  <a:pt x="757" y="134"/>
                  <a:pt x="756" y="134"/>
                </a:cubicBezTo>
                <a:cubicBezTo>
                  <a:pt x="756" y="134"/>
                  <a:pt x="756" y="134"/>
                  <a:pt x="756" y="135"/>
                </a:cubicBezTo>
                <a:cubicBezTo>
                  <a:pt x="756" y="135"/>
                  <a:pt x="756" y="135"/>
                  <a:pt x="753" y="135"/>
                </a:cubicBezTo>
                <a:cubicBezTo>
                  <a:pt x="753" y="135"/>
                  <a:pt x="753" y="135"/>
                  <a:pt x="753" y="137"/>
                </a:cubicBezTo>
                <a:cubicBezTo>
                  <a:pt x="753" y="137"/>
                  <a:pt x="753" y="137"/>
                  <a:pt x="752" y="137"/>
                </a:cubicBezTo>
                <a:cubicBezTo>
                  <a:pt x="752" y="137"/>
                  <a:pt x="752" y="137"/>
                  <a:pt x="751" y="139"/>
                </a:cubicBezTo>
                <a:cubicBezTo>
                  <a:pt x="751" y="139"/>
                  <a:pt x="751" y="139"/>
                  <a:pt x="750" y="139"/>
                </a:cubicBezTo>
                <a:cubicBezTo>
                  <a:pt x="750" y="139"/>
                  <a:pt x="750" y="139"/>
                  <a:pt x="750" y="140"/>
                </a:cubicBezTo>
                <a:cubicBezTo>
                  <a:pt x="750" y="140"/>
                  <a:pt x="750" y="140"/>
                  <a:pt x="748" y="140"/>
                </a:cubicBezTo>
                <a:cubicBezTo>
                  <a:pt x="748" y="140"/>
                  <a:pt x="748" y="140"/>
                  <a:pt x="747" y="141"/>
                </a:cubicBezTo>
                <a:cubicBezTo>
                  <a:pt x="747" y="141"/>
                  <a:pt x="747" y="141"/>
                  <a:pt x="746" y="141"/>
                </a:cubicBezTo>
                <a:cubicBezTo>
                  <a:pt x="746" y="141"/>
                  <a:pt x="746" y="141"/>
                  <a:pt x="746" y="142"/>
                </a:cubicBezTo>
                <a:cubicBezTo>
                  <a:pt x="746" y="142"/>
                  <a:pt x="746" y="142"/>
                  <a:pt x="748" y="143"/>
                </a:cubicBezTo>
                <a:cubicBezTo>
                  <a:pt x="748" y="143"/>
                  <a:pt x="748" y="143"/>
                  <a:pt x="749" y="143"/>
                </a:cubicBezTo>
                <a:close/>
                <a:moveTo>
                  <a:pt x="851" y="106"/>
                </a:moveTo>
                <a:cubicBezTo>
                  <a:pt x="851" y="106"/>
                  <a:pt x="851" y="106"/>
                  <a:pt x="851" y="105"/>
                </a:cubicBezTo>
                <a:cubicBezTo>
                  <a:pt x="851" y="105"/>
                  <a:pt x="851" y="105"/>
                  <a:pt x="850" y="104"/>
                </a:cubicBezTo>
                <a:cubicBezTo>
                  <a:pt x="850" y="104"/>
                  <a:pt x="850" y="104"/>
                  <a:pt x="849" y="105"/>
                </a:cubicBezTo>
                <a:cubicBezTo>
                  <a:pt x="849" y="105"/>
                  <a:pt x="849" y="105"/>
                  <a:pt x="848" y="106"/>
                </a:cubicBezTo>
                <a:cubicBezTo>
                  <a:pt x="848" y="106"/>
                  <a:pt x="848" y="106"/>
                  <a:pt x="847" y="105"/>
                </a:cubicBezTo>
                <a:cubicBezTo>
                  <a:pt x="847" y="105"/>
                  <a:pt x="847" y="105"/>
                  <a:pt x="847" y="103"/>
                </a:cubicBezTo>
                <a:cubicBezTo>
                  <a:pt x="847" y="103"/>
                  <a:pt x="847" y="103"/>
                  <a:pt x="848" y="102"/>
                </a:cubicBezTo>
                <a:cubicBezTo>
                  <a:pt x="848" y="102"/>
                  <a:pt x="848" y="102"/>
                  <a:pt x="849" y="100"/>
                </a:cubicBezTo>
                <a:cubicBezTo>
                  <a:pt x="849" y="100"/>
                  <a:pt x="849" y="100"/>
                  <a:pt x="848" y="100"/>
                </a:cubicBezTo>
                <a:cubicBezTo>
                  <a:pt x="848" y="100"/>
                  <a:pt x="848" y="100"/>
                  <a:pt x="847" y="99"/>
                </a:cubicBezTo>
                <a:cubicBezTo>
                  <a:pt x="847" y="99"/>
                  <a:pt x="847" y="99"/>
                  <a:pt x="846" y="99"/>
                </a:cubicBezTo>
                <a:cubicBezTo>
                  <a:pt x="846" y="99"/>
                  <a:pt x="846" y="99"/>
                  <a:pt x="845" y="98"/>
                </a:cubicBezTo>
                <a:cubicBezTo>
                  <a:pt x="845" y="98"/>
                  <a:pt x="845" y="98"/>
                  <a:pt x="847" y="98"/>
                </a:cubicBezTo>
                <a:cubicBezTo>
                  <a:pt x="847" y="98"/>
                  <a:pt x="847" y="98"/>
                  <a:pt x="848" y="98"/>
                </a:cubicBezTo>
                <a:cubicBezTo>
                  <a:pt x="848" y="98"/>
                  <a:pt x="848" y="98"/>
                  <a:pt x="848" y="95"/>
                </a:cubicBezTo>
                <a:cubicBezTo>
                  <a:pt x="848" y="95"/>
                  <a:pt x="848" y="95"/>
                  <a:pt x="847" y="94"/>
                </a:cubicBezTo>
                <a:cubicBezTo>
                  <a:pt x="847" y="94"/>
                  <a:pt x="847" y="94"/>
                  <a:pt x="847" y="93"/>
                </a:cubicBezTo>
                <a:cubicBezTo>
                  <a:pt x="847" y="93"/>
                  <a:pt x="847" y="93"/>
                  <a:pt x="848" y="92"/>
                </a:cubicBezTo>
                <a:cubicBezTo>
                  <a:pt x="848" y="92"/>
                  <a:pt x="848" y="92"/>
                  <a:pt x="848" y="91"/>
                </a:cubicBezTo>
                <a:cubicBezTo>
                  <a:pt x="848" y="91"/>
                  <a:pt x="848" y="91"/>
                  <a:pt x="847" y="90"/>
                </a:cubicBezTo>
                <a:cubicBezTo>
                  <a:pt x="847" y="90"/>
                  <a:pt x="847" y="90"/>
                  <a:pt x="847" y="89"/>
                </a:cubicBezTo>
                <a:cubicBezTo>
                  <a:pt x="847" y="89"/>
                  <a:pt x="847" y="89"/>
                  <a:pt x="846" y="89"/>
                </a:cubicBezTo>
                <a:cubicBezTo>
                  <a:pt x="846" y="89"/>
                  <a:pt x="846" y="89"/>
                  <a:pt x="845" y="89"/>
                </a:cubicBezTo>
                <a:cubicBezTo>
                  <a:pt x="845" y="89"/>
                  <a:pt x="845" y="89"/>
                  <a:pt x="842" y="89"/>
                </a:cubicBezTo>
                <a:cubicBezTo>
                  <a:pt x="842" y="89"/>
                  <a:pt x="842" y="89"/>
                  <a:pt x="842" y="88"/>
                </a:cubicBezTo>
                <a:cubicBezTo>
                  <a:pt x="842" y="88"/>
                  <a:pt x="842" y="88"/>
                  <a:pt x="843" y="87"/>
                </a:cubicBezTo>
                <a:cubicBezTo>
                  <a:pt x="843" y="87"/>
                  <a:pt x="843" y="87"/>
                  <a:pt x="844" y="86"/>
                </a:cubicBezTo>
                <a:cubicBezTo>
                  <a:pt x="844" y="86"/>
                  <a:pt x="844" y="86"/>
                  <a:pt x="843" y="84"/>
                </a:cubicBezTo>
                <a:cubicBezTo>
                  <a:pt x="843" y="84"/>
                  <a:pt x="843" y="84"/>
                  <a:pt x="842" y="83"/>
                </a:cubicBezTo>
                <a:cubicBezTo>
                  <a:pt x="842" y="83"/>
                  <a:pt x="842" y="83"/>
                  <a:pt x="840" y="83"/>
                </a:cubicBezTo>
                <a:cubicBezTo>
                  <a:pt x="840" y="83"/>
                  <a:pt x="840" y="83"/>
                  <a:pt x="839" y="83"/>
                </a:cubicBezTo>
                <a:cubicBezTo>
                  <a:pt x="839" y="83"/>
                  <a:pt x="839" y="83"/>
                  <a:pt x="836" y="84"/>
                </a:cubicBezTo>
                <a:cubicBezTo>
                  <a:pt x="836" y="84"/>
                  <a:pt x="836" y="84"/>
                  <a:pt x="835" y="84"/>
                </a:cubicBezTo>
                <a:cubicBezTo>
                  <a:pt x="835" y="84"/>
                  <a:pt x="835" y="84"/>
                  <a:pt x="835" y="85"/>
                </a:cubicBezTo>
                <a:cubicBezTo>
                  <a:pt x="835" y="85"/>
                  <a:pt x="835" y="85"/>
                  <a:pt x="836" y="86"/>
                </a:cubicBezTo>
                <a:cubicBezTo>
                  <a:pt x="836" y="86"/>
                  <a:pt x="836" y="86"/>
                  <a:pt x="837" y="87"/>
                </a:cubicBezTo>
                <a:cubicBezTo>
                  <a:pt x="837" y="87"/>
                  <a:pt x="837" y="87"/>
                  <a:pt x="838" y="88"/>
                </a:cubicBezTo>
                <a:cubicBezTo>
                  <a:pt x="838" y="88"/>
                  <a:pt x="838" y="88"/>
                  <a:pt x="837" y="88"/>
                </a:cubicBezTo>
                <a:cubicBezTo>
                  <a:pt x="837" y="88"/>
                  <a:pt x="837" y="88"/>
                  <a:pt x="835" y="87"/>
                </a:cubicBezTo>
                <a:cubicBezTo>
                  <a:pt x="835" y="87"/>
                  <a:pt x="835" y="87"/>
                  <a:pt x="834" y="87"/>
                </a:cubicBezTo>
                <a:cubicBezTo>
                  <a:pt x="834" y="87"/>
                  <a:pt x="834" y="87"/>
                  <a:pt x="834" y="86"/>
                </a:cubicBezTo>
                <a:cubicBezTo>
                  <a:pt x="834" y="86"/>
                  <a:pt x="834" y="86"/>
                  <a:pt x="833" y="86"/>
                </a:cubicBezTo>
                <a:cubicBezTo>
                  <a:pt x="833" y="86"/>
                  <a:pt x="833" y="86"/>
                  <a:pt x="831" y="87"/>
                </a:cubicBezTo>
                <a:cubicBezTo>
                  <a:pt x="831" y="87"/>
                  <a:pt x="831" y="87"/>
                  <a:pt x="830" y="87"/>
                </a:cubicBezTo>
                <a:cubicBezTo>
                  <a:pt x="830" y="87"/>
                  <a:pt x="830" y="87"/>
                  <a:pt x="829" y="88"/>
                </a:cubicBezTo>
                <a:cubicBezTo>
                  <a:pt x="829" y="88"/>
                  <a:pt x="829" y="88"/>
                  <a:pt x="828" y="89"/>
                </a:cubicBezTo>
                <a:cubicBezTo>
                  <a:pt x="828" y="89"/>
                  <a:pt x="828" y="89"/>
                  <a:pt x="828" y="91"/>
                </a:cubicBezTo>
                <a:cubicBezTo>
                  <a:pt x="828" y="91"/>
                  <a:pt x="828" y="91"/>
                  <a:pt x="831" y="91"/>
                </a:cubicBezTo>
                <a:cubicBezTo>
                  <a:pt x="831" y="91"/>
                  <a:pt x="831" y="91"/>
                  <a:pt x="832" y="91"/>
                </a:cubicBezTo>
                <a:cubicBezTo>
                  <a:pt x="832" y="91"/>
                  <a:pt x="832" y="91"/>
                  <a:pt x="833" y="92"/>
                </a:cubicBezTo>
                <a:cubicBezTo>
                  <a:pt x="833" y="92"/>
                  <a:pt x="833" y="92"/>
                  <a:pt x="834" y="92"/>
                </a:cubicBezTo>
                <a:cubicBezTo>
                  <a:pt x="834" y="92"/>
                  <a:pt x="834" y="92"/>
                  <a:pt x="835" y="93"/>
                </a:cubicBezTo>
                <a:cubicBezTo>
                  <a:pt x="835" y="93"/>
                  <a:pt x="835" y="93"/>
                  <a:pt x="834" y="93"/>
                </a:cubicBezTo>
                <a:cubicBezTo>
                  <a:pt x="834" y="93"/>
                  <a:pt x="834" y="93"/>
                  <a:pt x="832" y="92"/>
                </a:cubicBezTo>
                <a:cubicBezTo>
                  <a:pt x="832" y="92"/>
                  <a:pt x="832" y="92"/>
                  <a:pt x="830" y="92"/>
                </a:cubicBezTo>
                <a:cubicBezTo>
                  <a:pt x="830" y="92"/>
                  <a:pt x="830" y="92"/>
                  <a:pt x="827" y="93"/>
                </a:cubicBezTo>
                <a:cubicBezTo>
                  <a:pt x="827" y="93"/>
                  <a:pt x="827" y="93"/>
                  <a:pt x="826" y="92"/>
                </a:cubicBezTo>
                <a:cubicBezTo>
                  <a:pt x="826" y="92"/>
                  <a:pt x="826" y="92"/>
                  <a:pt x="825" y="93"/>
                </a:cubicBezTo>
                <a:cubicBezTo>
                  <a:pt x="825" y="93"/>
                  <a:pt x="825" y="93"/>
                  <a:pt x="824" y="94"/>
                </a:cubicBezTo>
                <a:cubicBezTo>
                  <a:pt x="824" y="94"/>
                  <a:pt x="824" y="94"/>
                  <a:pt x="822" y="96"/>
                </a:cubicBezTo>
                <a:cubicBezTo>
                  <a:pt x="822" y="96"/>
                  <a:pt x="822" y="96"/>
                  <a:pt x="824" y="96"/>
                </a:cubicBezTo>
                <a:cubicBezTo>
                  <a:pt x="824" y="96"/>
                  <a:pt x="824" y="96"/>
                  <a:pt x="826" y="97"/>
                </a:cubicBezTo>
                <a:cubicBezTo>
                  <a:pt x="826" y="97"/>
                  <a:pt x="826" y="97"/>
                  <a:pt x="827" y="97"/>
                </a:cubicBezTo>
                <a:cubicBezTo>
                  <a:pt x="827" y="97"/>
                  <a:pt x="827" y="97"/>
                  <a:pt x="828" y="97"/>
                </a:cubicBezTo>
                <a:cubicBezTo>
                  <a:pt x="828" y="97"/>
                  <a:pt x="828" y="97"/>
                  <a:pt x="829" y="97"/>
                </a:cubicBezTo>
                <a:cubicBezTo>
                  <a:pt x="829" y="97"/>
                  <a:pt x="829" y="97"/>
                  <a:pt x="830" y="98"/>
                </a:cubicBezTo>
                <a:cubicBezTo>
                  <a:pt x="830" y="98"/>
                  <a:pt x="830" y="98"/>
                  <a:pt x="828" y="99"/>
                </a:cubicBezTo>
                <a:cubicBezTo>
                  <a:pt x="828" y="99"/>
                  <a:pt x="828" y="99"/>
                  <a:pt x="827" y="99"/>
                </a:cubicBezTo>
                <a:cubicBezTo>
                  <a:pt x="827" y="99"/>
                  <a:pt x="827" y="99"/>
                  <a:pt x="826" y="100"/>
                </a:cubicBezTo>
                <a:cubicBezTo>
                  <a:pt x="826" y="100"/>
                  <a:pt x="826" y="100"/>
                  <a:pt x="824" y="100"/>
                </a:cubicBezTo>
                <a:cubicBezTo>
                  <a:pt x="824" y="100"/>
                  <a:pt x="824" y="100"/>
                  <a:pt x="823" y="99"/>
                </a:cubicBezTo>
                <a:cubicBezTo>
                  <a:pt x="823" y="99"/>
                  <a:pt x="823" y="99"/>
                  <a:pt x="821" y="99"/>
                </a:cubicBezTo>
                <a:cubicBezTo>
                  <a:pt x="821" y="99"/>
                  <a:pt x="821" y="99"/>
                  <a:pt x="820" y="98"/>
                </a:cubicBezTo>
                <a:cubicBezTo>
                  <a:pt x="820" y="98"/>
                  <a:pt x="820" y="98"/>
                  <a:pt x="819" y="99"/>
                </a:cubicBezTo>
                <a:cubicBezTo>
                  <a:pt x="819" y="99"/>
                  <a:pt x="819" y="99"/>
                  <a:pt x="816" y="100"/>
                </a:cubicBezTo>
                <a:cubicBezTo>
                  <a:pt x="816" y="100"/>
                  <a:pt x="816" y="100"/>
                  <a:pt x="817" y="101"/>
                </a:cubicBezTo>
                <a:cubicBezTo>
                  <a:pt x="817" y="101"/>
                  <a:pt x="817" y="101"/>
                  <a:pt x="817" y="102"/>
                </a:cubicBezTo>
                <a:cubicBezTo>
                  <a:pt x="817" y="102"/>
                  <a:pt x="817" y="102"/>
                  <a:pt x="815" y="103"/>
                </a:cubicBezTo>
                <a:cubicBezTo>
                  <a:pt x="815" y="103"/>
                  <a:pt x="815" y="103"/>
                  <a:pt x="817" y="104"/>
                </a:cubicBezTo>
                <a:cubicBezTo>
                  <a:pt x="817" y="104"/>
                  <a:pt x="817" y="104"/>
                  <a:pt x="819" y="106"/>
                </a:cubicBezTo>
                <a:cubicBezTo>
                  <a:pt x="819" y="106"/>
                  <a:pt x="819" y="106"/>
                  <a:pt x="820" y="105"/>
                </a:cubicBezTo>
                <a:cubicBezTo>
                  <a:pt x="820" y="105"/>
                  <a:pt x="820" y="105"/>
                  <a:pt x="820" y="106"/>
                </a:cubicBezTo>
                <a:cubicBezTo>
                  <a:pt x="820" y="106"/>
                  <a:pt x="820" y="106"/>
                  <a:pt x="821" y="107"/>
                </a:cubicBezTo>
                <a:cubicBezTo>
                  <a:pt x="821" y="107"/>
                  <a:pt x="821" y="107"/>
                  <a:pt x="821" y="109"/>
                </a:cubicBezTo>
                <a:cubicBezTo>
                  <a:pt x="821" y="109"/>
                  <a:pt x="821" y="109"/>
                  <a:pt x="822" y="109"/>
                </a:cubicBezTo>
                <a:cubicBezTo>
                  <a:pt x="822" y="109"/>
                  <a:pt x="822" y="109"/>
                  <a:pt x="823" y="109"/>
                </a:cubicBezTo>
                <a:cubicBezTo>
                  <a:pt x="823" y="109"/>
                  <a:pt x="823" y="109"/>
                  <a:pt x="823" y="107"/>
                </a:cubicBezTo>
                <a:cubicBezTo>
                  <a:pt x="823" y="107"/>
                  <a:pt x="823" y="107"/>
                  <a:pt x="824" y="108"/>
                </a:cubicBezTo>
                <a:cubicBezTo>
                  <a:pt x="824" y="108"/>
                  <a:pt x="824" y="108"/>
                  <a:pt x="824" y="109"/>
                </a:cubicBezTo>
                <a:cubicBezTo>
                  <a:pt x="824" y="109"/>
                  <a:pt x="824" y="109"/>
                  <a:pt x="826" y="110"/>
                </a:cubicBezTo>
                <a:cubicBezTo>
                  <a:pt x="826" y="110"/>
                  <a:pt x="826" y="110"/>
                  <a:pt x="827" y="110"/>
                </a:cubicBezTo>
                <a:cubicBezTo>
                  <a:pt x="827" y="110"/>
                  <a:pt x="827" y="110"/>
                  <a:pt x="827" y="109"/>
                </a:cubicBezTo>
                <a:cubicBezTo>
                  <a:pt x="827" y="109"/>
                  <a:pt x="827" y="109"/>
                  <a:pt x="829" y="108"/>
                </a:cubicBezTo>
                <a:cubicBezTo>
                  <a:pt x="829" y="108"/>
                  <a:pt x="829" y="108"/>
                  <a:pt x="830" y="107"/>
                </a:cubicBezTo>
                <a:cubicBezTo>
                  <a:pt x="830" y="107"/>
                  <a:pt x="830" y="107"/>
                  <a:pt x="830" y="106"/>
                </a:cubicBezTo>
                <a:cubicBezTo>
                  <a:pt x="830" y="106"/>
                  <a:pt x="830" y="106"/>
                  <a:pt x="831" y="108"/>
                </a:cubicBezTo>
                <a:cubicBezTo>
                  <a:pt x="831" y="108"/>
                  <a:pt x="831" y="108"/>
                  <a:pt x="831" y="107"/>
                </a:cubicBezTo>
                <a:cubicBezTo>
                  <a:pt x="831" y="107"/>
                  <a:pt x="831" y="107"/>
                  <a:pt x="833" y="107"/>
                </a:cubicBezTo>
                <a:cubicBezTo>
                  <a:pt x="833" y="107"/>
                  <a:pt x="833" y="107"/>
                  <a:pt x="834" y="107"/>
                </a:cubicBezTo>
                <a:cubicBezTo>
                  <a:pt x="834" y="107"/>
                  <a:pt x="834" y="107"/>
                  <a:pt x="832" y="108"/>
                </a:cubicBezTo>
                <a:cubicBezTo>
                  <a:pt x="832" y="108"/>
                  <a:pt x="832" y="108"/>
                  <a:pt x="831" y="109"/>
                </a:cubicBezTo>
                <a:cubicBezTo>
                  <a:pt x="831" y="109"/>
                  <a:pt x="831" y="109"/>
                  <a:pt x="831" y="110"/>
                </a:cubicBezTo>
                <a:cubicBezTo>
                  <a:pt x="831" y="110"/>
                  <a:pt x="831" y="110"/>
                  <a:pt x="832" y="110"/>
                </a:cubicBezTo>
                <a:cubicBezTo>
                  <a:pt x="832" y="110"/>
                  <a:pt x="832" y="110"/>
                  <a:pt x="834" y="110"/>
                </a:cubicBezTo>
                <a:cubicBezTo>
                  <a:pt x="834" y="110"/>
                  <a:pt x="834" y="110"/>
                  <a:pt x="835" y="110"/>
                </a:cubicBezTo>
                <a:cubicBezTo>
                  <a:pt x="835" y="110"/>
                  <a:pt x="835" y="110"/>
                  <a:pt x="836" y="110"/>
                </a:cubicBezTo>
                <a:cubicBezTo>
                  <a:pt x="836" y="110"/>
                  <a:pt x="836" y="110"/>
                  <a:pt x="837" y="109"/>
                </a:cubicBezTo>
                <a:cubicBezTo>
                  <a:pt x="837" y="109"/>
                  <a:pt x="837" y="109"/>
                  <a:pt x="838" y="110"/>
                </a:cubicBezTo>
                <a:cubicBezTo>
                  <a:pt x="838" y="110"/>
                  <a:pt x="838" y="110"/>
                  <a:pt x="838" y="111"/>
                </a:cubicBezTo>
                <a:cubicBezTo>
                  <a:pt x="838" y="111"/>
                  <a:pt x="838" y="111"/>
                  <a:pt x="840" y="111"/>
                </a:cubicBezTo>
                <a:cubicBezTo>
                  <a:pt x="840" y="111"/>
                  <a:pt x="840" y="111"/>
                  <a:pt x="842" y="110"/>
                </a:cubicBezTo>
                <a:cubicBezTo>
                  <a:pt x="842" y="110"/>
                  <a:pt x="842" y="110"/>
                  <a:pt x="842" y="111"/>
                </a:cubicBezTo>
                <a:cubicBezTo>
                  <a:pt x="842" y="111"/>
                  <a:pt x="842" y="111"/>
                  <a:pt x="843" y="111"/>
                </a:cubicBezTo>
                <a:cubicBezTo>
                  <a:pt x="843" y="111"/>
                  <a:pt x="843" y="111"/>
                  <a:pt x="844" y="110"/>
                </a:cubicBezTo>
                <a:cubicBezTo>
                  <a:pt x="844" y="110"/>
                  <a:pt x="844" y="110"/>
                  <a:pt x="845" y="111"/>
                </a:cubicBezTo>
                <a:cubicBezTo>
                  <a:pt x="845" y="111"/>
                  <a:pt x="845" y="111"/>
                  <a:pt x="844" y="111"/>
                </a:cubicBezTo>
                <a:cubicBezTo>
                  <a:pt x="844" y="111"/>
                  <a:pt x="844" y="111"/>
                  <a:pt x="844" y="112"/>
                </a:cubicBezTo>
                <a:cubicBezTo>
                  <a:pt x="844" y="112"/>
                  <a:pt x="844" y="112"/>
                  <a:pt x="841" y="112"/>
                </a:cubicBezTo>
                <a:cubicBezTo>
                  <a:pt x="841" y="112"/>
                  <a:pt x="841" y="112"/>
                  <a:pt x="840" y="113"/>
                </a:cubicBezTo>
                <a:cubicBezTo>
                  <a:pt x="840" y="113"/>
                  <a:pt x="840" y="113"/>
                  <a:pt x="839" y="113"/>
                </a:cubicBezTo>
                <a:cubicBezTo>
                  <a:pt x="839" y="113"/>
                  <a:pt x="839" y="113"/>
                  <a:pt x="837" y="113"/>
                </a:cubicBezTo>
                <a:cubicBezTo>
                  <a:pt x="837" y="113"/>
                  <a:pt x="837" y="113"/>
                  <a:pt x="835" y="112"/>
                </a:cubicBezTo>
                <a:cubicBezTo>
                  <a:pt x="835" y="112"/>
                  <a:pt x="835" y="112"/>
                  <a:pt x="833" y="112"/>
                </a:cubicBezTo>
                <a:cubicBezTo>
                  <a:pt x="833" y="112"/>
                  <a:pt x="833" y="112"/>
                  <a:pt x="832" y="113"/>
                </a:cubicBezTo>
                <a:cubicBezTo>
                  <a:pt x="832" y="113"/>
                  <a:pt x="832" y="113"/>
                  <a:pt x="831" y="113"/>
                </a:cubicBezTo>
                <a:cubicBezTo>
                  <a:pt x="831" y="113"/>
                  <a:pt x="831" y="113"/>
                  <a:pt x="829" y="113"/>
                </a:cubicBezTo>
                <a:cubicBezTo>
                  <a:pt x="829" y="113"/>
                  <a:pt x="829" y="113"/>
                  <a:pt x="828" y="113"/>
                </a:cubicBezTo>
                <a:cubicBezTo>
                  <a:pt x="828" y="113"/>
                  <a:pt x="828" y="113"/>
                  <a:pt x="826" y="113"/>
                </a:cubicBezTo>
                <a:cubicBezTo>
                  <a:pt x="826" y="113"/>
                  <a:pt x="826" y="113"/>
                  <a:pt x="824" y="113"/>
                </a:cubicBezTo>
                <a:cubicBezTo>
                  <a:pt x="824" y="113"/>
                  <a:pt x="824" y="113"/>
                  <a:pt x="824" y="115"/>
                </a:cubicBezTo>
                <a:cubicBezTo>
                  <a:pt x="824" y="115"/>
                  <a:pt x="824" y="115"/>
                  <a:pt x="824" y="116"/>
                </a:cubicBezTo>
                <a:cubicBezTo>
                  <a:pt x="824" y="116"/>
                  <a:pt x="824" y="116"/>
                  <a:pt x="824" y="117"/>
                </a:cubicBezTo>
                <a:cubicBezTo>
                  <a:pt x="824" y="117"/>
                  <a:pt x="824" y="117"/>
                  <a:pt x="825" y="119"/>
                </a:cubicBezTo>
                <a:cubicBezTo>
                  <a:pt x="825" y="119"/>
                  <a:pt x="825" y="119"/>
                  <a:pt x="826" y="120"/>
                </a:cubicBezTo>
                <a:cubicBezTo>
                  <a:pt x="826" y="120"/>
                  <a:pt x="826" y="120"/>
                  <a:pt x="828" y="120"/>
                </a:cubicBezTo>
                <a:cubicBezTo>
                  <a:pt x="828" y="120"/>
                  <a:pt x="828" y="120"/>
                  <a:pt x="829" y="121"/>
                </a:cubicBezTo>
                <a:cubicBezTo>
                  <a:pt x="829" y="121"/>
                  <a:pt x="829" y="121"/>
                  <a:pt x="831" y="121"/>
                </a:cubicBezTo>
                <a:cubicBezTo>
                  <a:pt x="831" y="121"/>
                  <a:pt x="831" y="121"/>
                  <a:pt x="833" y="121"/>
                </a:cubicBezTo>
                <a:cubicBezTo>
                  <a:pt x="833" y="121"/>
                  <a:pt x="833" y="121"/>
                  <a:pt x="835" y="121"/>
                </a:cubicBezTo>
                <a:cubicBezTo>
                  <a:pt x="835" y="121"/>
                  <a:pt x="835" y="121"/>
                  <a:pt x="837" y="121"/>
                </a:cubicBezTo>
                <a:cubicBezTo>
                  <a:pt x="837" y="121"/>
                  <a:pt x="837" y="121"/>
                  <a:pt x="838" y="121"/>
                </a:cubicBezTo>
                <a:cubicBezTo>
                  <a:pt x="838" y="121"/>
                  <a:pt x="838" y="121"/>
                  <a:pt x="840" y="120"/>
                </a:cubicBezTo>
                <a:cubicBezTo>
                  <a:pt x="840" y="120"/>
                  <a:pt x="840" y="120"/>
                  <a:pt x="841" y="120"/>
                </a:cubicBezTo>
                <a:cubicBezTo>
                  <a:pt x="841" y="120"/>
                  <a:pt x="841" y="120"/>
                  <a:pt x="842" y="119"/>
                </a:cubicBezTo>
                <a:cubicBezTo>
                  <a:pt x="842" y="119"/>
                  <a:pt x="842" y="119"/>
                  <a:pt x="842" y="118"/>
                </a:cubicBezTo>
                <a:cubicBezTo>
                  <a:pt x="842" y="118"/>
                  <a:pt x="842" y="118"/>
                  <a:pt x="843" y="118"/>
                </a:cubicBezTo>
                <a:cubicBezTo>
                  <a:pt x="843" y="118"/>
                  <a:pt x="843" y="118"/>
                  <a:pt x="844" y="118"/>
                </a:cubicBezTo>
                <a:cubicBezTo>
                  <a:pt x="844" y="118"/>
                  <a:pt x="844" y="118"/>
                  <a:pt x="844" y="117"/>
                </a:cubicBezTo>
                <a:cubicBezTo>
                  <a:pt x="844" y="117"/>
                  <a:pt x="844" y="117"/>
                  <a:pt x="845" y="118"/>
                </a:cubicBezTo>
                <a:cubicBezTo>
                  <a:pt x="845" y="118"/>
                  <a:pt x="845" y="118"/>
                  <a:pt x="847" y="118"/>
                </a:cubicBezTo>
                <a:cubicBezTo>
                  <a:pt x="847" y="118"/>
                  <a:pt x="847" y="118"/>
                  <a:pt x="849" y="118"/>
                </a:cubicBezTo>
                <a:cubicBezTo>
                  <a:pt x="849" y="118"/>
                  <a:pt x="849" y="118"/>
                  <a:pt x="849" y="117"/>
                </a:cubicBezTo>
                <a:cubicBezTo>
                  <a:pt x="849" y="117"/>
                  <a:pt x="849" y="117"/>
                  <a:pt x="851" y="117"/>
                </a:cubicBezTo>
                <a:cubicBezTo>
                  <a:pt x="851" y="117"/>
                  <a:pt x="851" y="117"/>
                  <a:pt x="852" y="117"/>
                </a:cubicBezTo>
                <a:cubicBezTo>
                  <a:pt x="852" y="117"/>
                  <a:pt x="852" y="117"/>
                  <a:pt x="853" y="116"/>
                </a:cubicBezTo>
                <a:cubicBezTo>
                  <a:pt x="853" y="116"/>
                  <a:pt x="853" y="116"/>
                  <a:pt x="853" y="115"/>
                </a:cubicBezTo>
                <a:cubicBezTo>
                  <a:pt x="853" y="115"/>
                  <a:pt x="853" y="115"/>
                  <a:pt x="854" y="116"/>
                </a:cubicBezTo>
                <a:cubicBezTo>
                  <a:pt x="854" y="116"/>
                  <a:pt x="854" y="116"/>
                  <a:pt x="854" y="117"/>
                </a:cubicBezTo>
                <a:cubicBezTo>
                  <a:pt x="854" y="117"/>
                  <a:pt x="854" y="117"/>
                  <a:pt x="854" y="118"/>
                </a:cubicBezTo>
                <a:cubicBezTo>
                  <a:pt x="854" y="118"/>
                  <a:pt x="854" y="118"/>
                  <a:pt x="855" y="118"/>
                </a:cubicBezTo>
                <a:cubicBezTo>
                  <a:pt x="855" y="118"/>
                  <a:pt x="855" y="118"/>
                  <a:pt x="856" y="118"/>
                </a:cubicBezTo>
                <a:cubicBezTo>
                  <a:pt x="856" y="118"/>
                  <a:pt x="856" y="118"/>
                  <a:pt x="856" y="117"/>
                </a:cubicBezTo>
                <a:cubicBezTo>
                  <a:pt x="856" y="117"/>
                  <a:pt x="856" y="117"/>
                  <a:pt x="858" y="117"/>
                </a:cubicBezTo>
                <a:cubicBezTo>
                  <a:pt x="858" y="117"/>
                  <a:pt x="858" y="117"/>
                  <a:pt x="858" y="118"/>
                </a:cubicBezTo>
                <a:cubicBezTo>
                  <a:pt x="858" y="118"/>
                  <a:pt x="858" y="118"/>
                  <a:pt x="857" y="119"/>
                </a:cubicBezTo>
                <a:cubicBezTo>
                  <a:pt x="857" y="119"/>
                  <a:pt x="857" y="119"/>
                  <a:pt x="858" y="119"/>
                </a:cubicBezTo>
                <a:cubicBezTo>
                  <a:pt x="858" y="119"/>
                  <a:pt x="858" y="119"/>
                  <a:pt x="859" y="120"/>
                </a:cubicBezTo>
                <a:cubicBezTo>
                  <a:pt x="859" y="120"/>
                  <a:pt x="859" y="120"/>
                  <a:pt x="861" y="120"/>
                </a:cubicBezTo>
                <a:cubicBezTo>
                  <a:pt x="861" y="120"/>
                  <a:pt x="861" y="120"/>
                  <a:pt x="863" y="119"/>
                </a:cubicBezTo>
                <a:cubicBezTo>
                  <a:pt x="863" y="119"/>
                  <a:pt x="863" y="119"/>
                  <a:pt x="864" y="119"/>
                </a:cubicBezTo>
                <a:cubicBezTo>
                  <a:pt x="864" y="119"/>
                  <a:pt x="864" y="119"/>
                  <a:pt x="865" y="118"/>
                </a:cubicBezTo>
                <a:cubicBezTo>
                  <a:pt x="865" y="118"/>
                  <a:pt x="865" y="118"/>
                  <a:pt x="866" y="119"/>
                </a:cubicBezTo>
                <a:cubicBezTo>
                  <a:pt x="866" y="119"/>
                  <a:pt x="866" y="119"/>
                  <a:pt x="867" y="119"/>
                </a:cubicBezTo>
                <a:cubicBezTo>
                  <a:pt x="867" y="119"/>
                  <a:pt x="867" y="119"/>
                  <a:pt x="867" y="118"/>
                </a:cubicBezTo>
                <a:cubicBezTo>
                  <a:pt x="867" y="118"/>
                  <a:pt x="867" y="118"/>
                  <a:pt x="868" y="118"/>
                </a:cubicBezTo>
                <a:cubicBezTo>
                  <a:pt x="868" y="118"/>
                  <a:pt x="868" y="118"/>
                  <a:pt x="868" y="117"/>
                </a:cubicBezTo>
                <a:cubicBezTo>
                  <a:pt x="868" y="117"/>
                  <a:pt x="868" y="117"/>
                  <a:pt x="868" y="116"/>
                </a:cubicBezTo>
                <a:cubicBezTo>
                  <a:pt x="868" y="116"/>
                  <a:pt x="868" y="116"/>
                  <a:pt x="869" y="115"/>
                </a:cubicBezTo>
                <a:cubicBezTo>
                  <a:pt x="869" y="115"/>
                  <a:pt x="869" y="115"/>
                  <a:pt x="870" y="115"/>
                </a:cubicBezTo>
                <a:cubicBezTo>
                  <a:pt x="870" y="115"/>
                  <a:pt x="870" y="115"/>
                  <a:pt x="872" y="113"/>
                </a:cubicBezTo>
                <a:cubicBezTo>
                  <a:pt x="872" y="113"/>
                  <a:pt x="872" y="113"/>
                  <a:pt x="872" y="112"/>
                </a:cubicBezTo>
                <a:cubicBezTo>
                  <a:pt x="872" y="112"/>
                  <a:pt x="872" y="112"/>
                  <a:pt x="873" y="112"/>
                </a:cubicBezTo>
                <a:cubicBezTo>
                  <a:pt x="873" y="112"/>
                  <a:pt x="873" y="112"/>
                  <a:pt x="874" y="111"/>
                </a:cubicBezTo>
                <a:cubicBezTo>
                  <a:pt x="874" y="111"/>
                  <a:pt x="874" y="111"/>
                  <a:pt x="875" y="110"/>
                </a:cubicBezTo>
                <a:cubicBezTo>
                  <a:pt x="875" y="110"/>
                  <a:pt x="875" y="110"/>
                  <a:pt x="877" y="107"/>
                </a:cubicBezTo>
                <a:cubicBezTo>
                  <a:pt x="877" y="107"/>
                  <a:pt x="877" y="107"/>
                  <a:pt x="877" y="105"/>
                </a:cubicBezTo>
                <a:cubicBezTo>
                  <a:pt x="877" y="105"/>
                  <a:pt x="877" y="105"/>
                  <a:pt x="877" y="104"/>
                </a:cubicBezTo>
                <a:cubicBezTo>
                  <a:pt x="877" y="104"/>
                  <a:pt x="877" y="104"/>
                  <a:pt x="876" y="102"/>
                </a:cubicBezTo>
                <a:cubicBezTo>
                  <a:pt x="876" y="102"/>
                  <a:pt x="876" y="102"/>
                  <a:pt x="875" y="101"/>
                </a:cubicBezTo>
                <a:cubicBezTo>
                  <a:pt x="875" y="101"/>
                  <a:pt x="875" y="101"/>
                  <a:pt x="874" y="101"/>
                </a:cubicBezTo>
                <a:cubicBezTo>
                  <a:pt x="874" y="101"/>
                  <a:pt x="874" y="101"/>
                  <a:pt x="872" y="103"/>
                </a:cubicBezTo>
                <a:cubicBezTo>
                  <a:pt x="872" y="103"/>
                  <a:pt x="872" y="103"/>
                  <a:pt x="872" y="104"/>
                </a:cubicBezTo>
                <a:cubicBezTo>
                  <a:pt x="872" y="104"/>
                  <a:pt x="872" y="104"/>
                  <a:pt x="871" y="105"/>
                </a:cubicBezTo>
                <a:cubicBezTo>
                  <a:pt x="871" y="105"/>
                  <a:pt x="871" y="105"/>
                  <a:pt x="871" y="106"/>
                </a:cubicBezTo>
                <a:cubicBezTo>
                  <a:pt x="871" y="106"/>
                  <a:pt x="871" y="106"/>
                  <a:pt x="870" y="106"/>
                </a:cubicBezTo>
                <a:cubicBezTo>
                  <a:pt x="870" y="106"/>
                  <a:pt x="870" y="106"/>
                  <a:pt x="869" y="107"/>
                </a:cubicBezTo>
                <a:cubicBezTo>
                  <a:pt x="869" y="107"/>
                  <a:pt x="869" y="107"/>
                  <a:pt x="869" y="105"/>
                </a:cubicBezTo>
                <a:cubicBezTo>
                  <a:pt x="869" y="105"/>
                  <a:pt x="869" y="105"/>
                  <a:pt x="870" y="103"/>
                </a:cubicBezTo>
                <a:cubicBezTo>
                  <a:pt x="870" y="103"/>
                  <a:pt x="870" y="103"/>
                  <a:pt x="868" y="103"/>
                </a:cubicBezTo>
                <a:cubicBezTo>
                  <a:pt x="868" y="103"/>
                  <a:pt x="868" y="103"/>
                  <a:pt x="867" y="103"/>
                </a:cubicBezTo>
                <a:cubicBezTo>
                  <a:pt x="867" y="103"/>
                  <a:pt x="867" y="103"/>
                  <a:pt x="866" y="104"/>
                </a:cubicBezTo>
                <a:cubicBezTo>
                  <a:pt x="866" y="104"/>
                  <a:pt x="866" y="104"/>
                  <a:pt x="864" y="105"/>
                </a:cubicBezTo>
                <a:cubicBezTo>
                  <a:pt x="864" y="105"/>
                  <a:pt x="864" y="105"/>
                  <a:pt x="864" y="106"/>
                </a:cubicBezTo>
                <a:cubicBezTo>
                  <a:pt x="864" y="106"/>
                  <a:pt x="864" y="106"/>
                  <a:pt x="863" y="105"/>
                </a:cubicBezTo>
                <a:cubicBezTo>
                  <a:pt x="863" y="105"/>
                  <a:pt x="863" y="105"/>
                  <a:pt x="864" y="104"/>
                </a:cubicBezTo>
                <a:cubicBezTo>
                  <a:pt x="864" y="104"/>
                  <a:pt x="864" y="104"/>
                  <a:pt x="865" y="103"/>
                </a:cubicBezTo>
                <a:cubicBezTo>
                  <a:pt x="865" y="103"/>
                  <a:pt x="865" y="103"/>
                  <a:pt x="867" y="101"/>
                </a:cubicBezTo>
                <a:cubicBezTo>
                  <a:pt x="867" y="101"/>
                  <a:pt x="867" y="101"/>
                  <a:pt x="868" y="100"/>
                </a:cubicBezTo>
                <a:cubicBezTo>
                  <a:pt x="868" y="100"/>
                  <a:pt x="868" y="100"/>
                  <a:pt x="868" y="99"/>
                </a:cubicBezTo>
                <a:cubicBezTo>
                  <a:pt x="868" y="99"/>
                  <a:pt x="868" y="99"/>
                  <a:pt x="866" y="99"/>
                </a:cubicBezTo>
                <a:cubicBezTo>
                  <a:pt x="866" y="99"/>
                  <a:pt x="866" y="99"/>
                  <a:pt x="865" y="100"/>
                </a:cubicBezTo>
                <a:cubicBezTo>
                  <a:pt x="865" y="100"/>
                  <a:pt x="865" y="100"/>
                  <a:pt x="864" y="100"/>
                </a:cubicBezTo>
                <a:cubicBezTo>
                  <a:pt x="864" y="100"/>
                  <a:pt x="864" y="100"/>
                  <a:pt x="864" y="99"/>
                </a:cubicBezTo>
                <a:cubicBezTo>
                  <a:pt x="864" y="99"/>
                  <a:pt x="864" y="99"/>
                  <a:pt x="865" y="98"/>
                </a:cubicBezTo>
                <a:cubicBezTo>
                  <a:pt x="865" y="98"/>
                  <a:pt x="865" y="98"/>
                  <a:pt x="867" y="97"/>
                </a:cubicBezTo>
                <a:cubicBezTo>
                  <a:pt x="867" y="97"/>
                  <a:pt x="867" y="97"/>
                  <a:pt x="868" y="97"/>
                </a:cubicBezTo>
                <a:cubicBezTo>
                  <a:pt x="868" y="97"/>
                  <a:pt x="868" y="97"/>
                  <a:pt x="868" y="96"/>
                </a:cubicBezTo>
                <a:cubicBezTo>
                  <a:pt x="868" y="96"/>
                  <a:pt x="868" y="96"/>
                  <a:pt x="868" y="93"/>
                </a:cubicBezTo>
                <a:cubicBezTo>
                  <a:pt x="868" y="93"/>
                  <a:pt x="868" y="93"/>
                  <a:pt x="868" y="91"/>
                </a:cubicBezTo>
                <a:cubicBezTo>
                  <a:pt x="868" y="91"/>
                  <a:pt x="868" y="91"/>
                  <a:pt x="868" y="90"/>
                </a:cubicBezTo>
                <a:cubicBezTo>
                  <a:pt x="868" y="90"/>
                  <a:pt x="868" y="90"/>
                  <a:pt x="868" y="89"/>
                </a:cubicBezTo>
                <a:cubicBezTo>
                  <a:pt x="868" y="89"/>
                  <a:pt x="868" y="89"/>
                  <a:pt x="869" y="88"/>
                </a:cubicBezTo>
                <a:cubicBezTo>
                  <a:pt x="869" y="88"/>
                  <a:pt x="869" y="88"/>
                  <a:pt x="870" y="88"/>
                </a:cubicBezTo>
                <a:cubicBezTo>
                  <a:pt x="870" y="88"/>
                  <a:pt x="870" y="88"/>
                  <a:pt x="871" y="88"/>
                </a:cubicBezTo>
                <a:cubicBezTo>
                  <a:pt x="871" y="88"/>
                  <a:pt x="871" y="88"/>
                  <a:pt x="870" y="87"/>
                </a:cubicBezTo>
                <a:cubicBezTo>
                  <a:pt x="870" y="87"/>
                  <a:pt x="870" y="87"/>
                  <a:pt x="870" y="86"/>
                </a:cubicBezTo>
                <a:cubicBezTo>
                  <a:pt x="870" y="86"/>
                  <a:pt x="870" y="86"/>
                  <a:pt x="869" y="85"/>
                </a:cubicBezTo>
                <a:cubicBezTo>
                  <a:pt x="869" y="85"/>
                  <a:pt x="869" y="85"/>
                  <a:pt x="868" y="85"/>
                </a:cubicBezTo>
                <a:cubicBezTo>
                  <a:pt x="868" y="85"/>
                  <a:pt x="868" y="85"/>
                  <a:pt x="865" y="87"/>
                </a:cubicBezTo>
                <a:cubicBezTo>
                  <a:pt x="865" y="87"/>
                  <a:pt x="865" y="87"/>
                  <a:pt x="863" y="88"/>
                </a:cubicBezTo>
                <a:cubicBezTo>
                  <a:pt x="863" y="88"/>
                  <a:pt x="863" y="88"/>
                  <a:pt x="863" y="89"/>
                </a:cubicBezTo>
                <a:cubicBezTo>
                  <a:pt x="863" y="89"/>
                  <a:pt x="863" y="89"/>
                  <a:pt x="863" y="90"/>
                </a:cubicBezTo>
                <a:cubicBezTo>
                  <a:pt x="863" y="90"/>
                  <a:pt x="863" y="90"/>
                  <a:pt x="862" y="90"/>
                </a:cubicBezTo>
                <a:cubicBezTo>
                  <a:pt x="862" y="90"/>
                  <a:pt x="862" y="90"/>
                  <a:pt x="861" y="90"/>
                </a:cubicBezTo>
                <a:cubicBezTo>
                  <a:pt x="861" y="90"/>
                  <a:pt x="861" y="90"/>
                  <a:pt x="860" y="90"/>
                </a:cubicBezTo>
                <a:cubicBezTo>
                  <a:pt x="860" y="90"/>
                  <a:pt x="860" y="90"/>
                  <a:pt x="859" y="92"/>
                </a:cubicBezTo>
                <a:cubicBezTo>
                  <a:pt x="859" y="92"/>
                  <a:pt x="859" y="92"/>
                  <a:pt x="860" y="93"/>
                </a:cubicBezTo>
                <a:cubicBezTo>
                  <a:pt x="860" y="93"/>
                  <a:pt x="860" y="93"/>
                  <a:pt x="860" y="95"/>
                </a:cubicBezTo>
                <a:cubicBezTo>
                  <a:pt x="860" y="95"/>
                  <a:pt x="860" y="95"/>
                  <a:pt x="861" y="97"/>
                </a:cubicBezTo>
                <a:cubicBezTo>
                  <a:pt x="861" y="97"/>
                  <a:pt x="861" y="97"/>
                  <a:pt x="860" y="99"/>
                </a:cubicBezTo>
                <a:cubicBezTo>
                  <a:pt x="860" y="99"/>
                  <a:pt x="860" y="99"/>
                  <a:pt x="859" y="99"/>
                </a:cubicBezTo>
                <a:cubicBezTo>
                  <a:pt x="859" y="99"/>
                  <a:pt x="859" y="99"/>
                  <a:pt x="857" y="99"/>
                </a:cubicBezTo>
                <a:cubicBezTo>
                  <a:pt x="857" y="99"/>
                  <a:pt x="857" y="99"/>
                  <a:pt x="856" y="100"/>
                </a:cubicBezTo>
                <a:cubicBezTo>
                  <a:pt x="856" y="100"/>
                  <a:pt x="856" y="100"/>
                  <a:pt x="857" y="101"/>
                </a:cubicBezTo>
                <a:cubicBezTo>
                  <a:pt x="857" y="101"/>
                  <a:pt x="857" y="101"/>
                  <a:pt x="857" y="102"/>
                </a:cubicBezTo>
                <a:cubicBezTo>
                  <a:pt x="857" y="102"/>
                  <a:pt x="857" y="102"/>
                  <a:pt x="858" y="103"/>
                </a:cubicBezTo>
                <a:cubicBezTo>
                  <a:pt x="858" y="103"/>
                  <a:pt x="858" y="103"/>
                  <a:pt x="858" y="105"/>
                </a:cubicBezTo>
                <a:cubicBezTo>
                  <a:pt x="858" y="105"/>
                  <a:pt x="858" y="105"/>
                  <a:pt x="856" y="106"/>
                </a:cubicBezTo>
                <a:cubicBezTo>
                  <a:pt x="856" y="106"/>
                  <a:pt x="856" y="106"/>
                  <a:pt x="857" y="107"/>
                </a:cubicBezTo>
                <a:cubicBezTo>
                  <a:pt x="857" y="107"/>
                  <a:pt x="857" y="107"/>
                  <a:pt x="857" y="108"/>
                </a:cubicBezTo>
                <a:cubicBezTo>
                  <a:pt x="857" y="108"/>
                  <a:pt x="857" y="108"/>
                  <a:pt x="856" y="108"/>
                </a:cubicBezTo>
                <a:cubicBezTo>
                  <a:pt x="856" y="108"/>
                  <a:pt x="856" y="108"/>
                  <a:pt x="855" y="106"/>
                </a:cubicBezTo>
                <a:cubicBezTo>
                  <a:pt x="855" y="106"/>
                  <a:pt x="855" y="106"/>
                  <a:pt x="853" y="106"/>
                </a:cubicBezTo>
                <a:cubicBezTo>
                  <a:pt x="853" y="106"/>
                  <a:pt x="853" y="106"/>
                  <a:pt x="852" y="106"/>
                </a:cubicBezTo>
                <a:cubicBezTo>
                  <a:pt x="852" y="106"/>
                  <a:pt x="852" y="106"/>
                  <a:pt x="851" y="106"/>
                </a:cubicBezTo>
                <a:close/>
                <a:moveTo>
                  <a:pt x="802" y="80"/>
                </a:moveTo>
                <a:cubicBezTo>
                  <a:pt x="802" y="81"/>
                  <a:pt x="802" y="81"/>
                  <a:pt x="802" y="81"/>
                </a:cubicBezTo>
                <a:cubicBezTo>
                  <a:pt x="803" y="81"/>
                  <a:pt x="803" y="81"/>
                  <a:pt x="803" y="81"/>
                </a:cubicBezTo>
                <a:cubicBezTo>
                  <a:pt x="804" y="81"/>
                  <a:pt x="804" y="81"/>
                  <a:pt x="804" y="81"/>
                </a:cubicBezTo>
                <a:cubicBezTo>
                  <a:pt x="805" y="80"/>
                  <a:pt x="805" y="80"/>
                  <a:pt x="805" y="80"/>
                </a:cubicBezTo>
                <a:cubicBezTo>
                  <a:pt x="806" y="79"/>
                  <a:pt x="806" y="79"/>
                  <a:pt x="806" y="79"/>
                </a:cubicBezTo>
                <a:cubicBezTo>
                  <a:pt x="807" y="80"/>
                  <a:pt x="807" y="80"/>
                  <a:pt x="807" y="80"/>
                </a:cubicBezTo>
                <a:cubicBezTo>
                  <a:pt x="808" y="82"/>
                  <a:pt x="808" y="82"/>
                  <a:pt x="808" y="82"/>
                </a:cubicBezTo>
                <a:cubicBezTo>
                  <a:pt x="808" y="83"/>
                  <a:pt x="808" y="83"/>
                  <a:pt x="808" y="83"/>
                </a:cubicBezTo>
                <a:cubicBezTo>
                  <a:pt x="809" y="83"/>
                  <a:pt x="809" y="83"/>
                  <a:pt x="809" y="83"/>
                </a:cubicBezTo>
                <a:cubicBezTo>
                  <a:pt x="810" y="83"/>
                  <a:pt x="810" y="83"/>
                  <a:pt x="810" y="83"/>
                </a:cubicBezTo>
                <a:cubicBezTo>
                  <a:pt x="810" y="82"/>
                  <a:pt x="810" y="82"/>
                  <a:pt x="810" y="82"/>
                </a:cubicBezTo>
                <a:cubicBezTo>
                  <a:pt x="810" y="80"/>
                  <a:pt x="810" y="80"/>
                  <a:pt x="810" y="80"/>
                </a:cubicBezTo>
                <a:cubicBezTo>
                  <a:pt x="811" y="80"/>
                  <a:pt x="811" y="80"/>
                  <a:pt x="811" y="80"/>
                </a:cubicBezTo>
                <a:cubicBezTo>
                  <a:pt x="813" y="79"/>
                  <a:pt x="813" y="79"/>
                  <a:pt x="813" y="79"/>
                </a:cubicBezTo>
                <a:cubicBezTo>
                  <a:pt x="813" y="80"/>
                  <a:pt x="813" y="80"/>
                  <a:pt x="813" y="80"/>
                </a:cubicBezTo>
                <a:cubicBezTo>
                  <a:pt x="812" y="81"/>
                  <a:pt x="812" y="81"/>
                  <a:pt x="812" y="81"/>
                </a:cubicBezTo>
                <a:cubicBezTo>
                  <a:pt x="811" y="83"/>
                  <a:pt x="811" y="83"/>
                  <a:pt x="811" y="83"/>
                </a:cubicBezTo>
                <a:cubicBezTo>
                  <a:pt x="812" y="83"/>
                  <a:pt x="812" y="83"/>
                  <a:pt x="812" y="83"/>
                </a:cubicBezTo>
                <a:cubicBezTo>
                  <a:pt x="811" y="84"/>
                  <a:pt x="811" y="84"/>
                  <a:pt x="811" y="84"/>
                </a:cubicBezTo>
                <a:cubicBezTo>
                  <a:pt x="811" y="85"/>
                  <a:pt x="811" y="85"/>
                  <a:pt x="811" y="85"/>
                </a:cubicBezTo>
                <a:cubicBezTo>
                  <a:pt x="811" y="86"/>
                  <a:pt x="811" y="86"/>
                  <a:pt x="811" y="86"/>
                </a:cubicBezTo>
                <a:cubicBezTo>
                  <a:pt x="812" y="85"/>
                  <a:pt x="812" y="85"/>
                  <a:pt x="812" y="85"/>
                </a:cubicBezTo>
                <a:cubicBezTo>
                  <a:pt x="813" y="85"/>
                  <a:pt x="813" y="85"/>
                  <a:pt x="813" y="85"/>
                </a:cubicBezTo>
                <a:cubicBezTo>
                  <a:pt x="813" y="86"/>
                  <a:pt x="813" y="86"/>
                  <a:pt x="813" y="86"/>
                </a:cubicBezTo>
                <a:cubicBezTo>
                  <a:pt x="815" y="85"/>
                  <a:pt x="815" y="85"/>
                  <a:pt x="815" y="85"/>
                </a:cubicBezTo>
                <a:cubicBezTo>
                  <a:pt x="816" y="84"/>
                  <a:pt x="816" y="84"/>
                  <a:pt x="816" y="84"/>
                </a:cubicBezTo>
                <a:cubicBezTo>
                  <a:pt x="817" y="84"/>
                  <a:pt x="817" y="84"/>
                  <a:pt x="817" y="84"/>
                </a:cubicBezTo>
                <a:cubicBezTo>
                  <a:pt x="817" y="83"/>
                  <a:pt x="817" y="83"/>
                  <a:pt x="817" y="83"/>
                </a:cubicBezTo>
                <a:cubicBezTo>
                  <a:pt x="817" y="82"/>
                  <a:pt x="817" y="82"/>
                  <a:pt x="817" y="82"/>
                </a:cubicBezTo>
                <a:cubicBezTo>
                  <a:pt x="818" y="82"/>
                  <a:pt x="818" y="82"/>
                  <a:pt x="818" y="82"/>
                </a:cubicBezTo>
                <a:cubicBezTo>
                  <a:pt x="819" y="81"/>
                  <a:pt x="819" y="81"/>
                  <a:pt x="819" y="81"/>
                </a:cubicBezTo>
                <a:cubicBezTo>
                  <a:pt x="819" y="79"/>
                  <a:pt x="819" y="79"/>
                  <a:pt x="819" y="79"/>
                </a:cubicBezTo>
                <a:cubicBezTo>
                  <a:pt x="820" y="79"/>
                  <a:pt x="820" y="79"/>
                  <a:pt x="820" y="79"/>
                </a:cubicBezTo>
                <a:cubicBezTo>
                  <a:pt x="820" y="80"/>
                  <a:pt x="820" y="80"/>
                  <a:pt x="820" y="80"/>
                </a:cubicBezTo>
                <a:cubicBezTo>
                  <a:pt x="820" y="81"/>
                  <a:pt x="820" y="81"/>
                  <a:pt x="820" y="81"/>
                </a:cubicBezTo>
                <a:cubicBezTo>
                  <a:pt x="820" y="82"/>
                  <a:pt x="820" y="82"/>
                  <a:pt x="820" y="82"/>
                </a:cubicBezTo>
                <a:cubicBezTo>
                  <a:pt x="820" y="84"/>
                  <a:pt x="820" y="84"/>
                  <a:pt x="820" y="84"/>
                </a:cubicBezTo>
                <a:cubicBezTo>
                  <a:pt x="821" y="84"/>
                  <a:pt x="821" y="84"/>
                  <a:pt x="821" y="84"/>
                </a:cubicBezTo>
                <a:cubicBezTo>
                  <a:pt x="822" y="82"/>
                  <a:pt x="822" y="82"/>
                  <a:pt x="822" y="82"/>
                </a:cubicBezTo>
                <a:cubicBezTo>
                  <a:pt x="822" y="81"/>
                  <a:pt x="822" y="81"/>
                  <a:pt x="822" y="81"/>
                </a:cubicBezTo>
                <a:cubicBezTo>
                  <a:pt x="822" y="80"/>
                  <a:pt x="822" y="80"/>
                  <a:pt x="822" y="80"/>
                </a:cubicBezTo>
                <a:cubicBezTo>
                  <a:pt x="823" y="80"/>
                  <a:pt x="823" y="80"/>
                  <a:pt x="823" y="80"/>
                </a:cubicBezTo>
                <a:cubicBezTo>
                  <a:pt x="824" y="78"/>
                  <a:pt x="824" y="78"/>
                  <a:pt x="824" y="78"/>
                </a:cubicBezTo>
                <a:cubicBezTo>
                  <a:pt x="825" y="77"/>
                  <a:pt x="825" y="77"/>
                  <a:pt x="825" y="77"/>
                </a:cubicBezTo>
                <a:cubicBezTo>
                  <a:pt x="824" y="76"/>
                  <a:pt x="824" y="76"/>
                  <a:pt x="824" y="76"/>
                </a:cubicBezTo>
                <a:cubicBezTo>
                  <a:pt x="825" y="75"/>
                  <a:pt x="825" y="75"/>
                  <a:pt x="825" y="75"/>
                </a:cubicBezTo>
                <a:cubicBezTo>
                  <a:pt x="826" y="76"/>
                  <a:pt x="826" y="76"/>
                  <a:pt x="826" y="76"/>
                </a:cubicBezTo>
                <a:cubicBezTo>
                  <a:pt x="828" y="75"/>
                  <a:pt x="828" y="75"/>
                  <a:pt x="828" y="75"/>
                </a:cubicBezTo>
                <a:cubicBezTo>
                  <a:pt x="829" y="73"/>
                  <a:pt x="829" y="73"/>
                  <a:pt x="829" y="73"/>
                </a:cubicBezTo>
                <a:cubicBezTo>
                  <a:pt x="829" y="72"/>
                  <a:pt x="829" y="72"/>
                  <a:pt x="829" y="72"/>
                </a:cubicBezTo>
                <a:cubicBezTo>
                  <a:pt x="830" y="72"/>
                  <a:pt x="830" y="72"/>
                  <a:pt x="830" y="72"/>
                </a:cubicBezTo>
                <a:cubicBezTo>
                  <a:pt x="830" y="71"/>
                  <a:pt x="830" y="71"/>
                  <a:pt x="830" y="71"/>
                </a:cubicBezTo>
                <a:cubicBezTo>
                  <a:pt x="831" y="72"/>
                  <a:pt x="831" y="72"/>
                  <a:pt x="831" y="72"/>
                </a:cubicBezTo>
                <a:cubicBezTo>
                  <a:pt x="832" y="71"/>
                  <a:pt x="832" y="71"/>
                  <a:pt x="832" y="71"/>
                </a:cubicBezTo>
                <a:cubicBezTo>
                  <a:pt x="833" y="71"/>
                  <a:pt x="833" y="71"/>
                  <a:pt x="833" y="71"/>
                </a:cubicBezTo>
                <a:cubicBezTo>
                  <a:pt x="832" y="73"/>
                  <a:pt x="832" y="73"/>
                  <a:pt x="832" y="73"/>
                </a:cubicBezTo>
                <a:cubicBezTo>
                  <a:pt x="831" y="75"/>
                  <a:pt x="831" y="75"/>
                  <a:pt x="831" y="75"/>
                </a:cubicBezTo>
                <a:cubicBezTo>
                  <a:pt x="830" y="76"/>
                  <a:pt x="830" y="76"/>
                  <a:pt x="830" y="76"/>
                </a:cubicBezTo>
                <a:cubicBezTo>
                  <a:pt x="830" y="77"/>
                  <a:pt x="830" y="77"/>
                  <a:pt x="830" y="77"/>
                </a:cubicBezTo>
                <a:cubicBezTo>
                  <a:pt x="830" y="78"/>
                  <a:pt x="830" y="78"/>
                  <a:pt x="830" y="78"/>
                </a:cubicBezTo>
                <a:cubicBezTo>
                  <a:pt x="829" y="78"/>
                  <a:pt x="829" y="78"/>
                  <a:pt x="829" y="78"/>
                </a:cubicBezTo>
                <a:cubicBezTo>
                  <a:pt x="827" y="81"/>
                  <a:pt x="827" y="81"/>
                  <a:pt x="827" y="81"/>
                </a:cubicBezTo>
                <a:cubicBezTo>
                  <a:pt x="827" y="82"/>
                  <a:pt x="827" y="82"/>
                  <a:pt x="827" y="82"/>
                </a:cubicBezTo>
                <a:cubicBezTo>
                  <a:pt x="827" y="83"/>
                  <a:pt x="827" y="83"/>
                  <a:pt x="827" y="83"/>
                </a:cubicBezTo>
                <a:cubicBezTo>
                  <a:pt x="827" y="84"/>
                  <a:pt x="827" y="84"/>
                  <a:pt x="827" y="84"/>
                </a:cubicBezTo>
                <a:cubicBezTo>
                  <a:pt x="828" y="84"/>
                  <a:pt x="828" y="84"/>
                  <a:pt x="828" y="84"/>
                </a:cubicBezTo>
                <a:cubicBezTo>
                  <a:pt x="829" y="84"/>
                  <a:pt x="829" y="84"/>
                  <a:pt x="829" y="84"/>
                </a:cubicBezTo>
                <a:cubicBezTo>
                  <a:pt x="830" y="84"/>
                  <a:pt x="830" y="84"/>
                  <a:pt x="830" y="84"/>
                </a:cubicBezTo>
                <a:cubicBezTo>
                  <a:pt x="831" y="83"/>
                  <a:pt x="831" y="83"/>
                  <a:pt x="831" y="83"/>
                </a:cubicBezTo>
                <a:cubicBezTo>
                  <a:pt x="832" y="82"/>
                  <a:pt x="832" y="82"/>
                  <a:pt x="832" y="82"/>
                </a:cubicBezTo>
                <a:cubicBezTo>
                  <a:pt x="831" y="81"/>
                  <a:pt x="831" y="81"/>
                  <a:pt x="831" y="81"/>
                </a:cubicBezTo>
                <a:cubicBezTo>
                  <a:pt x="832" y="80"/>
                  <a:pt x="832" y="80"/>
                  <a:pt x="832" y="80"/>
                </a:cubicBezTo>
                <a:cubicBezTo>
                  <a:pt x="833" y="79"/>
                  <a:pt x="833" y="79"/>
                  <a:pt x="833" y="79"/>
                </a:cubicBezTo>
                <a:cubicBezTo>
                  <a:pt x="834" y="79"/>
                  <a:pt x="834" y="79"/>
                  <a:pt x="834" y="79"/>
                </a:cubicBezTo>
                <a:cubicBezTo>
                  <a:pt x="835" y="79"/>
                  <a:pt x="835" y="79"/>
                  <a:pt x="835" y="79"/>
                </a:cubicBezTo>
                <a:cubicBezTo>
                  <a:pt x="836" y="79"/>
                  <a:pt x="836" y="79"/>
                  <a:pt x="836" y="79"/>
                </a:cubicBezTo>
                <a:cubicBezTo>
                  <a:pt x="837" y="79"/>
                  <a:pt x="837" y="79"/>
                  <a:pt x="837" y="79"/>
                </a:cubicBezTo>
                <a:cubicBezTo>
                  <a:pt x="839" y="79"/>
                  <a:pt x="839" y="79"/>
                  <a:pt x="839" y="79"/>
                </a:cubicBezTo>
                <a:cubicBezTo>
                  <a:pt x="840" y="77"/>
                  <a:pt x="840" y="77"/>
                  <a:pt x="840" y="77"/>
                </a:cubicBezTo>
                <a:cubicBezTo>
                  <a:pt x="840" y="75"/>
                  <a:pt x="840" y="75"/>
                  <a:pt x="840" y="75"/>
                </a:cubicBezTo>
                <a:cubicBezTo>
                  <a:pt x="841" y="73"/>
                  <a:pt x="841" y="73"/>
                  <a:pt x="841" y="73"/>
                </a:cubicBezTo>
                <a:cubicBezTo>
                  <a:pt x="842" y="72"/>
                  <a:pt x="842" y="72"/>
                  <a:pt x="842" y="72"/>
                </a:cubicBezTo>
                <a:cubicBezTo>
                  <a:pt x="843" y="73"/>
                  <a:pt x="843" y="73"/>
                  <a:pt x="843" y="73"/>
                </a:cubicBezTo>
                <a:cubicBezTo>
                  <a:pt x="844" y="73"/>
                  <a:pt x="844" y="73"/>
                  <a:pt x="844" y="73"/>
                </a:cubicBezTo>
                <a:cubicBezTo>
                  <a:pt x="844" y="72"/>
                  <a:pt x="844" y="72"/>
                  <a:pt x="844" y="72"/>
                </a:cubicBezTo>
                <a:cubicBezTo>
                  <a:pt x="843" y="70"/>
                  <a:pt x="843" y="70"/>
                  <a:pt x="843" y="70"/>
                </a:cubicBezTo>
                <a:cubicBezTo>
                  <a:pt x="843" y="69"/>
                  <a:pt x="843" y="69"/>
                  <a:pt x="843" y="69"/>
                </a:cubicBezTo>
                <a:cubicBezTo>
                  <a:pt x="844" y="68"/>
                  <a:pt x="844" y="68"/>
                  <a:pt x="844" y="68"/>
                </a:cubicBezTo>
                <a:cubicBezTo>
                  <a:pt x="846" y="68"/>
                  <a:pt x="846" y="68"/>
                  <a:pt x="846" y="68"/>
                </a:cubicBezTo>
                <a:cubicBezTo>
                  <a:pt x="847" y="67"/>
                  <a:pt x="847" y="67"/>
                  <a:pt x="847" y="67"/>
                </a:cubicBezTo>
                <a:cubicBezTo>
                  <a:pt x="848" y="68"/>
                  <a:pt x="848" y="68"/>
                  <a:pt x="848" y="68"/>
                </a:cubicBezTo>
                <a:cubicBezTo>
                  <a:pt x="849" y="66"/>
                  <a:pt x="849" y="66"/>
                  <a:pt x="849" y="66"/>
                </a:cubicBezTo>
                <a:cubicBezTo>
                  <a:pt x="849" y="65"/>
                  <a:pt x="849" y="65"/>
                  <a:pt x="849" y="65"/>
                </a:cubicBezTo>
                <a:cubicBezTo>
                  <a:pt x="849" y="63"/>
                  <a:pt x="849" y="63"/>
                  <a:pt x="849" y="63"/>
                </a:cubicBezTo>
                <a:cubicBezTo>
                  <a:pt x="849" y="62"/>
                  <a:pt x="849" y="62"/>
                  <a:pt x="849" y="62"/>
                </a:cubicBezTo>
                <a:cubicBezTo>
                  <a:pt x="849" y="60"/>
                  <a:pt x="849" y="60"/>
                  <a:pt x="849" y="60"/>
                </a:cubicBezTo>
                <a:cubicBezTo>
                  <a:pt x="848" y="60"/>
                  <a:pt x="848" y="60"/>
                  <a:pt x="848" y="60"/>
                </a:cubicBezTo>
                <a:cubicBezTo>
                  <a:pt x="847" y="60"/>
                  <a:pt x="847" y="60"/>
                  <a:pt x="847" y="60"/>
                </a:cubicBezTo>
                <a:cubicBezTo>
                  <a:pt x="846" y="61"/>
                  <a:pt x="846" y="61"/>
                  <a:pt x="846" y="61"/>
                </a:cubicBezTo>
                <a:cubicBezTo>
                  <a:pt x="846" y="63"/>
                  <a:pt x="846" y="63"/>
                  <a:pt x="846" y="63"/>
                </a:cubicBezTo>
                <a:cubicBezTo>
                  <a:pt x="846" y="64"/>
                  <a:pt x="846" y="64"/>
                  <a:pt x="846" y="64"/>
                </a:cubicBezTo>
                <a:cubicBezTo>
                  <a:pt x="845" y="64"/>
                  <a:pt x="845" y="64"/>
                  <a:pt x="845" y="64"/>
                </a:cubicBezTo>
                <a:cubicBezTo>
                  <a:pt x="844" y="63"/>
                  <a:pt x="844" y="63"/>
                  <a:pt x="844" y="63"/>
                </a:cubicBezTo>
                <a:cubicBezTo>
                  <a:pt x="844" y="64"/>
                  <a:pt x="844" y="64"/>
                  <a:pt x="844" y="64"/>
                </a:cubicBezTo>
                <a:cubicBezTo>
                  <a:pt x="843" y="65"/>
                  <a:pt x="843" y="65"/>
                  <a:pt x="843" y="65"/>
                </a:cubicBezTo>
                <a:cubicBezTo>
                  <a:pt x="843" y="64"/>
                  <a:pt x="843" y="64"/>
                  <a:pt x="843" y="64"/>
                </a:cubicBezTo>
                <a:cubicBezTo>
                  <a:pt x="843" y="62"/>
                  <a:pt x="843" y="62"/>
                  <a:pt x="843" y="62"/>
                </a:cubicBezTo>
                <a:cubicBezTo>
                  <a:pt x="841" y="61"/>
                  <a:pt x="841" y="61"/>
                  <a:pt x="841" y="61"/>
                </a:cubicBezTo>
                <a:cubicBezTo>
                  <a:pt x="840" y="61"/>
                  <a:pt x="840" y="61"/>
                  <a:pt x="840" y="61"/>
                </a:cubicBezTo>
                <a:cubicBezTo>
                  <a:pt x="839" y="61"/>
                  <a:pt x="839" y="61"/>
                  <a:pt x="839" y="61"/>
                </a:cubicBezTo>
                <a:cubicBezTo>
                  <a:pt x="838" y="61"/>
                  <a:pt x="838" y="61"/>
                  <a:pt x="838" y="61"/>
                </a:cubicBezTo>
                <a:cubicBezTo>
                  <a:pt x="837" y="61"/>
                  <a:pt x="837" y="61"/>
                  <a:pt x="837" y="61"/>
                </a:cubicBezTo>
                <a:cubicBezTo>
                  <a:pt x="834" y="61"/>
                  <a:pt x="834" y="61"/>
                  <a:pt x="834" y="61"/>
                </a:cubicBezTo>
                <a:cubicBezTo>
                  <a:pt x="833" y="61"/>
                  <a:pt x="833" y="61"/>
                  <a:pt x="833" y="61"/>
                </a:cubicBezTo>
                <a:cubicBezTo>
                  <a:pt x="832" y="62"/>
                  <a:pt x="832" y="62"/>
                  <a:pt x="832" y="62"/>
                </a:cubicBezTo>
                <a:cubicBezTo>
                  <a:pt x="832" y="63"/>
                  <a:pt x="832" y="63"/>
                  <a:pt x="832" y="63"/>
                </a:cubicBezTo>
                <a:cubicBezTo>
                  <a:pt x="831" y="63"/>
                  <a:pt x="831" y="63"/>
                  <a:pt x="831" y="63"/>
                </a:cubicBezTo>
                <a:cubicBezTo>
                  <a:pt x="830" y="63"/>
                  <a:pt x="830" y="63"/>
                  <a:pt x="830" y="63"/>
                </a:cubicBezTo>
                <a:cubicBezTo>
                  <a:pt x="827" y="65"/>
                  <a:pt x="827" y="65"/>
                  <a:pt x="827" y="65"/>
                </a:cubicBezTo>
                <a:cubicBezTo>
                  <a:pt x="827" y="66"/>
                  <a:pt x="827" y="66"/>
                  <a:pt x="827" y="66"/>
                </a:cubicBezTo>
                <a:cubicBezTo>
                  <a:pt x="825" y="66"/>
                  <a:pt x="825" y="66"/>
                  <a:pt x="825" y="66"/>
                </a:cubicBezTo>
                <a:cubicBezTo>
                  <a:pt x="824" y="67"/>
                  <a:pt x="824" y="67"/>
                  <a:pt x="824" y="67"/>
                </a:cubicBezTo>
                <a:cubicBezTo>
                  <a:pt x="823" y="67"/>
                  <a:pt x="823" y="67"/>
                  <a:pt x="823" y="67"/>
                </a:cubicBezTo>
                <a:cubicBezTo>
                  <a:pt x="822" y="68"/>
                  <a:pt x="822" y="68"/>
                  <a:pt x="822" y="68"/>
                </a:cubicBezTo>
                <a:cubicBezTo>
                  <a:pt x="822" y="69"/>
                  <a:pt x="822" y="69"/>
                  <a:pt x="822" y="69"/>
                </a:cubicBezTo>
                <a:cubicBezTo>
                  <a:pt x="820" y="69"/>
                  <a:pt x="820" y="69"/>
                  <a:pt x="820" y="69"/>
                </a:cubicBezTo>
                <a:cubicBezTo>
                  <a:pt x="819" y="70"/>
                  <a:pt x="819" y="70"/>
                  <a:pt x="819" y="70"/>
                </a:cubicBezTo>
                <a:cubicBezTo>
                  <a:pt x="818" y="69"/>
                  <a:pt x="818" y="69"/>
                  <a:pt x="818" y="69"/>
                </a:cubicBezTo>
                <a:cubicBezTo>
                  <a:pt x="817" y="70"/>
                  <a:pt x="817" y="70"/>
                  <a:pt x="817" y="70"/>
                </a:cubicBezTo>
                <a:cubicBezTo>
                  <a:pt x="816" y="70"/>
                  <a:pt x="816" y="70"/>
                  <a:pt x="816" y="70"/>
                </a:cubicBezTo>
                <a:cubicBezTo>
                  <a:pt x="814" y="72"/>
                  <a:pt x="814" y="72"/>
                  <a:pt x="814" y="72"/>
                </a:cubicBezTo>
                <a:cubicBezTo>
                  <a:pt x="813" y="72"/>
                  <a:pt x="813" y="72"/>
                  <a:pt x="813" y="72"/>
                </a:cubicBezTo>
                <a:cubicBezTo>
                  <a:pt x="811" y="72"/>
                  <a:pt x="811" y="72"/>
                  <a:pt x="811" y="72"/>
                </a:cubicBezTo>
                <a:cubicBezTo>
                  <a:pt x="810" y="72"/>
                  <a:pt x="810" y="72"/>
                  <a:pt x="810" y="72"/>
                </a:cubicBezTo>
                <a:cubicBezTo>
                  <a:pt x="807" y="73"/>
                  <a:pt x="807" y="73"/>
                  <a:pt x="807" y="73"/>
                </a:cubicBezTo>
                <a:cubicBezTo>
                  <a:pt x="806" y="75"/>
                  <a:pt x="806" y="75"/>
                  <a:pt x="806" y="75"/>
                </a:cubicBezTo>
                <a:cubicBezTo>
                  <a:pt x="805" y="75"/>
                  <a:pt x="805" y="75"/>
                  <a:pt x="805" y="75"/>
                </a:cubicBezTo>
                <a:cubicBezTo>
                  <a:pt x="803" y="75"/>
                  <a:pt x="803" y="75"/>
                  <a:pt x="803" y="75"/>
                </a:cubicBezTo>
                <a:cubicBezTo>
                  <a:pt x="803" y="77"/>
                  <a:pt x="803" y="77"/>
                  <a:pt x="803" y="77"/>
                </a:cubicBezTo>
                <a:cubicBezTo>
                  <a:pt x="803" y="78"/>
                  <a:pt x="803" y="78"/>
                  <a:pt x="803" y="78"/>
                </a:cubicBezTo>
                <a:cubicBezTo>
                  <a:pt x="804" y="79"/>
                  <a:pt x="804" y="79"/>
                  <a:pt x="804" y="79"/>
                </a:cubicBezTo>
                <a:cubicBezTo>
                  <a:pt x="802" y="80"/>
                  <a:pt x="802" y="80"/>
                  <a:pt x="802" y="80"/>
                </a:cubicBezTo>
                <a:close/>
                <a:moveTo>
                  <a:pt x="847" y="76"/>
                </a:moveTo>
                <a:cubicBezTo>
                  <a:pt x="847" y="76"/>
                  <a:pt x="847" y="76"/>
                  <a:pt x="846" y="77"/>
                </a:cubicBezTo>
                <a:cubicBezTo>
                  <a:pt x="846" y="77"/>
                  <a:pt x="846" y="77"/>
                  <a:pt x="847" y="77"/>
                </a:cubicBezTo>
                <a:cubicBezTo>
                  <a:pt x="847" y="77"/>
                  <a:pt x="847" y="77"/>
                  <a:pt x="848" y="78"/>
                </a:cubicBezTo>
                <a:cubicBezTo>
                  <a:pt x="848" y="78"/>
                  <a:pt x="848" y="78"/>
                  <a:pt x="848" y="79"/>
                </a:cubicBezTo>
                <a:cubicBezTo>
                  <a:pt x="848" y="79"/>
                  <a:pt x="848" y="79"/>
                  <a:pt x="849" y="80"/>
                </a:cubicBezTo>
                <a:cubicBezTo>
                  <a:pt x="849" y="80"/>
                  <a:pt x="849" y="80"/>
                  <a:pt x="850" y="80"/>
                </a:cubicBezTo>
                <a:cubicBezTo>
                  <a:pt x="850" y="80"/>
                  <a:pt x="850" y="80"/>
                  <a:pt x="851" y="79"/>
                </a:cubicBezTo>
                <a:cubicBezTo>
                  <a:pt x="851" y="79"/>
                  <a:pt x="851" y="79"/>
                  <a:pt x="852" y="78"/>
                </a:cubicBezTo>
                <a:cubicBezTo>
                  <a:pt x="852" y="78"/>
                  <a:pt x="852" y="78"/>
                  <a:pt x="851" y="77"/>
                </a:cubicBezTo>
                <a:cubicBezTo>
                  <a:pt x="851" y="77"/>
                  <a:pt x="851" y="77"/>
                  <a:pt x="850" y="77"/>
                </a:cubicBezTo>
                <a:cubicBezTo>
                  <a:pt x="850" y="77"/>
                  <a:pt x="850" y="77"/>
                  <a:pt x="848" y="76"/>
                </a:cubicBezTo>
                <a:cubicBezTo>
                  <a:pt x="848" y="76"/>
                  <a:pt x="848" y="76"/>
                  <a:pt x="847" y="76"/>
                </a:cubicBezTo>
                <a:close/>
                <a:moveTo>
                  <a:pt x="659" y="158"/>
                </a:moveTo>
                <a:cubicBezTo>
                  <a:pt x="660" y="158"/>
                  <a:pt x="660" y="158"/>
                  <a:pt x="660" y="158"/>
                </a:cubicBezTo>
                <a:cubicBezTo>
                  <a:pt x="659" y="156"/>
                  <a:pt x="659" y="156"/>
                  <a:pt x="659" y="156"/>
                </a:cubicBezTo>
                <a:cubicBezTo>
                  <a:pt x="658" y="156"/>
                  <a:pt x="658" y="156"/>
                  <a:pt x="658" y="156"/>
                </a:cubicBezTo>
                <a:cubicBezTo>
                  <a:pt x="657" y="156"/>
                  <a:pt x="657" y="156"/>
                  <a:pt x="657" y="156"/>
                </a:cubicBezTo>
                <a:cubicBezTo>
                  <a:pt x="658" y="158"/>
                  <a:pt x="658" y="158"/>
                  <a:pt x="658" y="158"/>
                </a:cubicBezTo>
                <a:cubicBezTo>
                  <a:pt x="659" y="158"/>
                  <a:pt x="659" y="158"/>
                  <a:pt x="659" y="158"/>
                </a:cubicBezTo>
                <a:close/>
                <a:moveTo>
                  <a:pt x="595" y="367"/>
                </a:moveTo>
                <a:cubicBezTo>
                  <a:pt x="594" y="368"/>
                  <a:pt x="594" y="368"/>
                  <a:pt x="594" y="368"/>
                </a:cubicBezTo>
                <a:cubicBezTo>
                  <a:pt x="594" y="368"/>
                  <a:pt x="594" y="368"/>
                  <a:pt x="593" y="369"/>
                </a:cubicBezTo>
                <a:cubicBezTo>
                  <a:pt x="593" y="369"/>
                  <a:pt x="593" y="369"/>
                  <a:pt x="592" y="370"/>
                </a:cubicBezTo>
                <a:cubicBezTo>
                  <a:pt x="592" y="370"/>
                  <a:pt x="592" y="370"/>
                  <a:pt x="592" y="369"/>
                </a:cubicBezTo>
                <a:cubicBezTo>
                  <a:pt x="592" y="369"/>
                  <a:pt x="592" y="369"/>
                  <a:pt x="591" y="369"/>
                </a:cubicBezTo>
                <a:cubicBezTo>
                  <a:pt x="591" y="369"/>
                  <a:pt x="591" y="369"/>
                  <a:pt x="593" y="368"/>
                </a:cubicBezTo>
                <a:cubicBezTo>
                  <a:pt x="593" y="368"/>
                  <a:pt x="593" y="368"/>
                  <a:pt x="595" y="367"/>
                </a:cubicBezTo>
                <a:cubicBezTo>
                  <a:pt x="595" y="367"/>
                  <a:pt x="595" y="367"/>
                  <a:pt x="595" y="365"/>
                </a:cubicBezTo>
                <a:cubicBezTo>
                  <a:pt x="595" y="365"/>
                  <a:pt x="595" y="365"/>
                  <a:pt x="595" y="364"/>
                </a:cubicBezTo>
                <a:cubicBezTo>
                  <a:pt x="595" y="364"/>
                  <a:pt x="595" y="364"/>
                  <a:pt x="594" y="364"/>
                </a:cubicBezTo>
                <a:cubicBezTo>
                  <a:pt x="594" y="364"/>
                  <a:pt x="594" y="364"/>
                  <a:pt x="593" y="365"/>
                </a:cubicBezTo>
                <a:cubicBezTo>
                  <a:pt x="593" y="365"/>
                  <a:pt x="593" y="365"/>
                  <a:pt x="592" y="365"/>
                </a:cubicBezTo>
                <a:cubicBezTo>
                  <a:pt x="592" y="365"/>
                  <a:pt x="592" y="365"/>
                  <a:pt x="593" y="363"/>
                </a:cubicBezTo>
                <a:cubicBezTo>
                  <a:pt x="593" y="363"/>
                  <a:pt x="593" y="363"/>
                  <a:pt x="591" y="363"/>
                </a:cubicBezTo>
                <a:cubicBezTo>
                  <a:pt x="591" y="363"/>
                  <a:pt x="591" y="363"/>
                  <a:pt x="589" y="366"/>
                </a:cubicBezTo>
                <a:cubicBezTo>
                  <a:pt x="589" y="366"/>
                  <a:pt x="589" y="366"/>
                  <a:pt x="589" y="368"/>
                </a:cubicBezTo>
                <a:cubicBezTo>
                  <a:pt x="589" y="368"/>
                  <a:pt x="589" y="368"/>
                  <a:pt x="588" y="370"/>
                </a:cubicBezTo>
                <a:cubicBezTo>
                  <a:pt x="588" y="370"/>
                  <a:pt x="588" y="370"/>
                  <a:pt x="588" y="371"/>
                </a:cubicBezTo>
                <a:cubicBezTo>
                  <a:pt x="588" y="371"/>
                  <a:pt x="588" y="371"/>
                  <a:pt x="589" y="371"/>
                </a:cubicBezTo>
                <a:cubicBezTo>
                  <a:pt x="589" y="371"/>
                  <a:pt x="589" y="371"/>
                  <a:pt x="590" y="372"/>
                </a:cubicBezTo>
                <a:cubicBezTo>
                  <a:pt x="590" y="372"/>
                  <a:pt x="590" y="372"/>
                  <a:pt x="590" y="373"/>
                </a:cubicBezTo>
                <a:cubicBezTo>
                  <a:pt x="590" y="373"/>
                  <a:pt x="590" y="373"/>
                  <a:pt x="589" y="372"/>
                </a:cubicBezTo>
                <a:cubicBezTo>
                  <a:pt x="589" y="372"/>
                  <a:pt x="589" y="372"/>
                  <a:pt x="588" y="373"/>
                </a:cubicBezTo>
                <a:cubicBezTo>
                  <a:pt x="588" y="373"/>
                  <a:pt x="588" y="373"/>
                  <a:pt x="589" y="374"/>
                </a:cubicBezTo>
                <a:cubicBezTo>
                  <a:pt x="589" y="374"/>
                  <a:pt x="589" y="374"/>
                  <a:pt x="589" y="376"/>
                </a:cubicBezTo>
                <a:cubicBezTo>
                  <a:pt x="589" y="376"/>
                  <a:pt x="589" y="376"/>
                  <a:pt x="591" y="377"/>
                </a:cubicBezTo>
                <a:cubicBezTo>
                  <a:pt x="591" y="377"/>
                  <a:pt x="591" y="377"/>
                  <a:pt x="589" y="377"/>
                </a:cubicBezTo>
                <a:cubicBezTo>
                  <a:pt x="589" y="377"/>
                  <a:pt x="589" y="377"/>
                  <a:pt x="589" y="378"/>
                </a:cubicBezTo>
                <a:cubicBezTo>
                  <a:pt x="589" y="378"/>
                  <a:pt x="589" y="378"/>
                  <a:pt x="589" y="379"/>
                </a:cubicBezTo>
                <a:cubicBezTo>
                  <a:pt x="589" y="379"/>
                  <a:pt x="589" y="379"/>
                  <a:pt x="590" y="379"/>
                </a:cubicBezTo>
                <a:cubicBezTo>
                  <a:pt x="590" y="379"/>
                  <a:pt x="590" y="379"/>
                  <a:pt x="590" y="380"/>
                </a:cubicBezTo>
                <a:cubicBezTo>
                  <a:pt x="590" y="380"/>
                  <a:pt x="590" y="380"/>
                  <a:pt x="590" y="382"/>
                </a:cubicBezTo>
                <a:cubicBezTo>
                  <a:pt x="590" y="382"/>
                  <a:pt x="590" y="382"/>
                  <a:pt x="592" y="386"/>
                </a:cubicBezTo>
                <a:cubicBezTo>
                  <a:pt x="592" y="386"/>
                  <a:pt x="592" y="386"/>
                  <a:pt x="594" y="386"/>
                </a:cubicBezTo>
                <a:cubicBezTo>
                  <a:pt x="594" y="386"/>
                  <a:pt x="594" y="386"/>
                  <a:pt x="594" y="385"/>
                </a:cubicBezTo>
                <a:cubicBezTo>
                  <a:pt x="594" y="385"/>
                  <a:pt x="594" y="385"/>
                  <a:pt x="594" y="384"/>
                </a:cubicBezTo>
                <a:cubicBezTo>
                  <a:pt x="594" y="384"/>
                  <a:pt x="594" y="384"/>
                  <a:pt x="593" y="385"/>
                </a:cubicBezTo>
                <a:cubicBezTo>
                  <a:pt x="593" y="385"/>
                  <a:pt x="593" y="385"/>
                  <a:pt x="593" y="383"/>
                </a:cubicBezTo>
                <a:cubicBezTo>
                  <a:pt x="593" y="383"/>
                  <a:pt x="593" y="383"/>
                  <a:pt x="592" y="381"/>
                </a:cubicBezTo>
                <a:cubicBezTo>
                  <a:pt x="592" y="381"/>
                  <a:pt x="592" y="381"/>
                  <a:pt x="592" y="379"/>
                </a:cubicBezTo>
                <a:cubicBezTo>
                  <a:pt x="592" y="379"/>
                  <a:pt x="592" y="379"/>
                  <a:pt x="592" y="378"/>
                </a:cubicBezTo>
                <a:cubicBezTo>
                  <a:pt x="592" y="378"/>
                  <a:pt x="592" y="378"/>
                  <a:pt x="593" y="376"/>
                </a:cubicBezTo>
                <a:cubicBezTo>
                  <a:pt x="593" y="376"/>
                  <a:pt x="593" y="376"/>
                  <a:pt x="594" y="376"/>
                </a:cubicBezTo>
                <a:cubicBezTo>
                  <a:pt x="594" y="376"/>
                  <a:pt x="594" y="376"/>
                  <a:pt x="594" y="375"/>
                </a:cubicBezTo>
                <a:cubicBezTo>
                  <a:pt x="594" y="375"/>
                  <a:pt x="594" y="375"/>
                  <a:pt x="593" y="375"/>
                </a:cubicBezTo>
                <a:cubicBezTo>
                  <a:pt x="593" y="375"/>
                  <a:pt x="593" y="375"/>
                  <a:pt x="592" y="375"/>
                </a:cubicBezTo>
                <a:cubicBezTo>
                  <a:pt x="592" y="375"/>
                  <a:pt x="592" y="375"/>
                  <a:pt x="591" y="375"/>
                </a:cubicBezTo>
                <a:cubicBezTo>
                  <a:pt x="591" y="375"/>
                  <a:pt x="591" y="375"/>
                  <a:pt x="592" y="374"/>
                </a:cubicBezTo>
                <a:cubicBezTo>
                  <a:pt x="592" y="374"/>
                  <a:pt x="592" y="374"/>
                  <a:pt x="593" y="374"/>
                </a:cubicBezTo>
                <a:cubicBezTo>
                  <a:pt x="593" y="374"/>
                  <a:pt x="593" y="374"/>
                  <a:pt x="594" y="373"/>
                </a:cubicBezTo>
                <a:cubicBezTo>
                  <a:pt x="594" y="373"/>
                  <a:pt x="594" y="373"/>
                  <a:pt x="594" y="371"/>
                </a:cubicBezTo>
                <a:cubicBezTo>
                  <a:pt x="594" y="371"/>
                  <a:pt x="594" y="371"/>
                  <a:pt x="596" y="369"/>
                </a:cubicBezTo>
                <a:cubicBezTo>
                  <a:pt x="596" y="369"/>
                  <a:pt x="596" y="369"/>
                  <a:pt x="596" y="367"/>
                </a:cubicBezTo>
                <a:cubicBezTo>
                  <a:pt x="596" y="367"/>
                  <a:pt x="596" y="367"/>
                  <a:pt x="598" y="365"/>
                </a:cubicBezTo>
                <a:cubicBezTo>
                  <a:pt x="598" y="365"/>
                  <a:pt x="598" y="365"/>
                  <a:pt x="596" y="366"/>
                </a:cubicBezTo>
                <a:cubicBezTo>
                  <a:pt x="596" y="366"/>
                  <a:pt x="596" y="366"/>
                  <a:pt x="595" y="367"/>
                </a:cubicBezTo>
                <a:close/>
                <a:moveTo>
                  <a:pt x="669" y="171"/>
                </a:moveTo>
                <a:cubicBezTo>
                  <a:pt x="669" y="168"/>
                  <a:pt x="669" y="168"/>
                  <a:pt x="669" y="168"/>
                </a:cubicBezTo>
                <a:cubicBezTo>
                  <a:pt x="668" y="169"/>
                  <a:pt x="668" y="169"/>
                  <a:pt x="668" y="169"/>
                </a:cubicBezTo>
                <a:cubicBezTo>
                  <a:pt x="668" y="171"/>
                  <a:pt x="668" y="171"/>
                  <a:pt x="668" y="171"/>
                </a:cubicBezTo>
                <a:cubicBezTo>
                  <a:pt x="669" y="172"/>
                  <a:pt x="669" y="172"/>
                  <a:pt x="669" y="172"/>
                </a:cubicBezTo>
                <a:cubicBezTo>
                  <a:pt x="669" y="171"/>
                  <a:pt x="669" y="171"/>
                  <a:pt x="669" y="171"/>
                </a:cubicBezTo>
                <a:close/>
                <a:moveTo>
                  <a:pt x="675" y="171"/>
                </a:moveTo>
                <a:cubicBezTo>
                  <a:pt x="676" y="171"/>
                  <a:pt x="676" y="171"/>
                  <a:pt x="676" y="171"/>
                </a:cubicBezTo>
                <a:cubicBezTo>
                  <a:pt x="680" y="168"/>
                  <a:pt x="680" y="168"/>
                  <a:pt x="680" y="168"/>
                </a:cubicBezTo>
                <a:cubicBezTo>
                  <a:pt x="682" y="167"/>
                  <a:pt x="682" y="167"/>
                  <a:pt x="682" y="167"/>
                </a:cubicBezTo>
                <a:cubicBezTo>
                  <a:pt x="683" y="165"/>
                  <a:pt x="683" y="165"/>
                  <a:pt x="683" y="165"/>
                </a:cubicBezTo>
                <a:cubicBezTo>
                  <a:pt x="682" y="166"/>
                  <a:pt x="682" y="166"/>
                  <a:pt x="682" y="166"/>
                </a:cubicBezTo>
                <a:cubicBezTo>
                  <a:pt x="681" y="165"/>
                  <a:pt x="681" y="165"/>
                  <a:pt x="681" y="165"/>
                </a:cubicBezTo>
                <a:cubicBezTo>
                  <a:pt x="681" y="163"/>
                  <a:pt x="681" y="163"/>
                  <a:pt x="681" y="163"/>
                </a:cubicBezTo>
                <a:cubicBezTo>
                  <a:pt x="680" y="163"/>
                  <a:pt x="680" y="163"/>
                  <a:pt x="680" y="163"/>
                </a:cubicBezTo>
                <a:cubicBezTo>
                  <a:pt x="679" y="165"/>
                  <a:pt x="679" y="165"/>
                  <a:pt x="679" y="165"/>
                </a:cubicBezTo>
                <a:cubicBezTo>
                  <a:pt x="678" y="165"/>
                  <a:pt x="678" y="165"/>
                  <a:pt x="678" y="165"/>
                </a:cubicBezTo>
                <a:cubicBezTo>
                  <a:pt x="678" y="166"/>
                  <a:pt x="678" y="166"/>
                  <a:pt x="678" y="166"/>
                </a:cubicBezTo>
                <a:cubicBezTo>
                  <a:pt x="677" y="166"/>
                  <a:pt x="677" y="166"/>
                  <a:pt x="677" y="166"/>
                </a:cubicBezTo>
                <a:cubicBezTo>
                  <a:pt x="677" y="167"/>
                  <a:pt x="677" y="167"/>
                  <a:pt x="677" y="167"/>
                </a:cubicBezTo>
                <a:cubicBezTo>
                  <a:pt x="677" y="168"/>
                  <a:pt x="677" y="168"/>
                  <a:pt x="677" y="168"/>
                </a:cubicBezTo>
                <a:cubicBezTo>
                  <a:pt x="676" y="167"/>
                  <a:pt x="676" y="167"/>
                  <a:pt x="676" y="167"/>
                </a:cubicBezTo>
                <a:cubicBezTo>
                  <a:pt x="676" y="166"/>
                  <a:pt x="676" y="166"/>
                  <a:pt x="676" y="166"/>
                </a:cubicBezTo>
                <a:cubicBezTo>
                  <a:pt x="676" y="165"/>
                  <a:pt x="676" y="165"/>
                  <a:pt x="676" y="165"/>
                </a:cubicBezTo>
                <a:cubicBezTo>
                  <a:pt x="675" y="166"/>
                  <a:pt x="675" y="166"/>
                  <a:pt x="675" y="166"/>
                </a:cubicBezTo>
                <a:cubicBezTo>
                  <a:pt x="674" y="166"/>
                  <a:pt x="674" y="166"/>
                  <a:pt x="674" y="166"/>
                </a:cubicBezTo>
                <a:cubicBezTo>
                  <a:pt x="674" y="167"/>
                  <a:pt x="674" y="167"/>
                  <a:pt x="674" y="167"/>
                </a:cubicBezTo>
                <a:cubicBezTo>
                  <a:pt x="673" y="168"/>
                  <a:pt x="673" y="168"/>
                  <a:pt x="673" y="168"/>
                </a:cubicBezTo>
                <a:cubicBezTo>
                  <a:pt x="673" y="170"/>
                  <a:pt x="673" y="170"/>
                  <a:pt x="673" y="170"/>
                </a:cubicBezTo>
                <a:cubicBezTo>
                  <a:pt x="673" y="171"/>
                  <a:pt x="673" y="171"/>
                  <a:pt x="673" y="171"/>
                </a:cubicBezTo>
                <a:cubicBezTo>
                  <a:pt x="673" y="172"/>
                  <a:pt x="673" y="172"/>
                  <a:pt x="673" y="172"/>
                </a:cubicBezTo>
                <a:cubicBezTo>
                  <a:pt x="674" y="172"/>
                  <a:pt x="674" y="172"/>
                  <a:pt x="674" y="172"/>
                </a:cubicBezTo>
                <a:cubicBezTo>
                  <a:pt x="675" y="171"/>
                  <a:pt x="675" y="171"/>
                  <a:pt x="675" y="171"/>
                </a:cubicBezTo>
                <a:close/>
                <a:moveTo>
                  <a:pt x="676" y="163"/>
                </a:moveTo>
                <a:cubicBezTo>
                  <a:pt x="676" y="163"/>
                  <a:pt x="676" y="163"/>
                  <a:pt x="675" y="164"/>
                </a:cubicBezTo>
                <a:cubicBezTo>
                  <a:pt x="675" y="164"/>
                  <a:pt x="675" y="164"/>
                  <a:pt x="676" y="164"/>
                </a:cubicBezTo>
                <a:cubicBezTo>
                  <a:pt x="676" y="164"/>
                  <a:pt x="676" y="164"/>
                  <a:pt x="676" y="163"/>
                </a:cubicBezTo>
                <a:close/>
                <a:moveTo>
                  <a:pt x="803" y="79"/>
                </a:moveTo>
                <a:cubicBezTo>
                  <a:pt x="803" y="79"/>
                  <a:pt x="803" y="79"/>
                  <a:pt x="802" y="78"/>
                </a:cubicBezTo>
                <a:cubicBezTo>
                  <a:pt x="802" y="78"/>
                  <a:pt x="802" y="78"/>
                  <a:pt x="801" y="78"/>
                </a:cubicBezTo>
                <a:cubicBezTo>
                  <a:pt x="801" y="78"/>
                  <a:pt x="801" y="78"/>
                  <a:pt x="801" y="79"/>
                </a:cubicBezTo>
                <a:cubicBezTo>
                  <a:pt x="801" y="79"/>
                  <a:pt x="801" y="79"/>
                  <a:pt x="802" y="79"/>
                </a:cubicBezTo>
                <a:cubicBezTo>
                  <a:pt x="802" y="79"/>
                  <a:pt x="802" y="79"/>
                  <a:pt x="803" y="79"/>
                </a:cubicBezTo>
                <a:close/>
                <a:moveTo>
                  <a:pt x="895" y="86"/>
                </a:moveTo>
                <a:cubicBezTo>
                  <a:pt x="895" y="86"/>
                  <a:pt x="895" y="86"/>
                  <a:pt x="896" y="85"/>
                </a:cubicBezTo>
                <a:cubicBezTo>
                  <a:pt x="896" y="85"/>
                  <a:pt x="896" y="85"/>
                  <a:pt x="897" y="82"/>
                </a:cubicBezTo>
                <a:cubicBezTo>
                  <a:pt x="897" y="82"/>
                  <a:pt x="897" y="82"/>
                  <a:pt x="896" y="81"/>
                </a:cubicBezTo>
                <a:cubicBezTo>
                  <a:pt x="896" y="81"/>
                  <a:pt x="896" y="81"/>
                  <a:pt x="897" y="80"/>
                </a:cubicBezTo>
                <a:cubicBezTo>
                  <a:pt x="897" y="80"/>
                  <a:pt x="897" y="80"/>
                  <a:pt x="897" y="79"/>
                </a:cubicBezTo>
                <a:cubicBezTo>
                  <a:pt x="897" y="79"/>
                  <a:pt x="897" y="79"/>
                  <a:pt x="898" y="76"/>
                </a:cubicBezTo>
                <a:cubicBezTo>
                  <a:pt x="898" y="76"/>
                  <a:pt x="898" y="76"/>
                  <a:pt x="897" y="74"/>
                </a:cubicBezTo>
                <a:cubicBezTo>
                  <a:pt x="897" y="74"/>
                  <a:pt x="897" y="74"/>
                  <a:pt x="897" y="73"/>
                </a:cubicBezTo>
                <a:cubicBezTo>
                  <a:pt x="897" y="73"/>
                  <a:pt x="897" y="73"/>
                  <a:pt x="896" y="74"/>
                </a:cubicBezTo>
                <a:cubicBezTo>
                  <a:pt x="896" y="74"/>
                  <a:pt x="896" y="74"/>
                  <a:pt x="896" y="75"/>
                </a:cubicBezTo>
                <a:cubicBezTo>
                  <a:pt x="896" y="75"/>
                  <a:pt x="896" y="75"/>
                  <a:pt x="895" y="77"/>
                </a:cubicBezTo>
                <a:cubicBezTo>
                  <a:pt x="895" y="77"/>
                  <a:pt x="895" y="77"/>
                  <a:pt x="895" y="78"/>
                </a:cubicBezTo>
                <a:cubicBezTo>
                  <a:pt x="895" y="78"/>
                  <a:pt x="895" y="78"/>
                  <a:pt x="895" y="79"/>
                </a:cubicBezTo>
                <a:cubicBezTo>
                  <a:pt x="895" y="79"/>
                  <a:pt x="895" y="79"/>
                  <a:pt x="893" y="80"/>
                </a:cubicBezTo>
                <a:cubicBezTo>
                  <a:pt x="893" y="80"/>
                  <a:pt x="893" y="80"/>
                  <a:pt x="893" y="81"/>
                </a:cubicBezTo>
                <a:cubicBezTo>
                  <a:pt x="893" y="81"/>
                  <a:pt x="893" y="81"/>
                  <a:pt x="893" y="83"/>
                </a:cubicBezTo>
                <a:cubicBezTo>
                  <a:pt x="893" y="83"/>
                  <a:pt x="893" y="83"/>
                  <a:pt x="892" y="84"/>
                </a:cubicBezTo>
                <a:cubicBezTo>
                  <a:pt x="892" y="84"/>
                  <a:pt x="892" y="84"/>
                  <a:pt x="893" y="86"/>
                </a:cubicBezTo>
                <a:cubicBezTo>
                  <a:pt x="893" y="86"/>
                  <a:pt x="893" y="86"/>
                  <a:pt x="895" y="86"/>
                </a:cubicBezTo>
                <a:close/>
                <a:moveTo>
                  <a:pt x="891" y="95"/>
                </a:moveTo>
                <a:cubicBezTo>
                  <a:pt x="891" y="95"/>
                  <a:pt x="891" y="95"/>
                  <a:pt x="891" y="94"/>
                </a:cubicBezTo>
                <a:cubicBezTo>
                  <a:pt x="891" y="94"/>
                  <a:pt x="891" y="94"/>
                  <a:pt x="890" y="94"/>
                </a:cubicBezTo>
                <a:cubicBezTo>
                  <a:pt x="890" y="94"/>
                  <a:pt x="890" y="94"/>
                  <a:pt x="889" y="94"/>
                </a:cubicBezTo>
                <a:cubicBezTo>
                  <a:pt x="889" y="94"/>
                  <a:pt x="889" y="94"/>
                  <a:pt x="888" y="95"/>
                </a:cubicBezTo>
                <a:cubicBezTo>
                  <a:pt x="888" y="95"/>
                  <a:pt x="888" y="95"/>
                  <a:pt x="888" y="96"/>
                </a:cubicBezTo>
                <a:cubicBezTo>
                  <a:pt x="888" y="96"/>
                  <a:pt x="888" y="96"/>
                  <a:pt x="888" y="97"/>
                </a:cubicBezTo>
                <a:cubicBezTo>
                  <a:pt x="888" y="97"/>
                  <a:pt x="888" y="97"/>
                  <a:pt x="887" y="98"/>
                </a:cubicBezTo>
                <a:cubicBezTo>
                  <a:pt x="887" y="98"/>
                  <a:pt x="887" y="98"/>
                  <a:pt x="887" y="100"/>
                </a:cubicBezTo>
                <a:cubicBezTo>
                  <a:pt x="887" y="100"/>
                  <a:pt x="887" y="100"/>
                  <a:pt x="888" y="100"/>
                </a:cubicBezTo>
                <a:cubicBezTo>
                  <a:pt x="888" y="100"/>
                  <a:pt x="888" y="100"/>
                  <a:pt x="890" y="100"/>
                </a:cubicBezTo>
                <a:cubicBezTo>
                  <a:pt x="890" y="100"/>
                  <a:pt x="890" y="100"/>
                  <a:pt x="891" y="101"/>
                </a:cubicBezTo>
                <a:cubicBezTo>
                  <a:pt x="891" y="101"/>
                  <a:pt x="891" y="101"/>
                  <a:pt x="892" y="101"/>
                </a:cubicBezTo>
                <a:cubicBezTo>
                  <a:pt x="892" y="101"/>
                  <a:pt x="892" y="101"/>
                  <a:pt x="892" y="100"/>
                </a:cubicBezTo>
                <a:cubicBezTo>
                  <a:pt x="892" y="100"/>
                  <a:pt x="892" y="100"/>
                  <a:pt x="892" y="99"/>
                </a:cubicBezTo>
                <a:cubicBezTo>
                  <a:pt x="892" y="99"/>
                  <a:pt x="892" y="99"/>
                  <a:pt x="892" y="98"/>
                </a:cubicBezTo>
                <a:cubicBezTo>
                  <a:pt x="892" y="98"/>
                  <a:pt x="892" y="98"/>
                  <a:pt x="892" y="97"/>
                </a:cubicBezTo>
                <a:cubicBezTo>
                  <a:pt x="892" y="97"/>
                  <a:pt x="892" y="97"/>
                  <a:pt x="892" y="96"/>
                </a:cubicBezTo>
                <a:cubicBezTo>
                  <a:pt x="892" y="96"/>
                  <a:pt x="892" y="96"/>
                  <a:pt x="891" y="96"/>
                </a:cubicBezTo>
                <a:cubicBezTo>
                  <a:pt x="891" y="96"/>
                  <a:pt x="891" y="96"/>
                  <a:pt x="891" y="95"/>
                </a:cubicBezTo>
                <a:close/>
                <a:moveTo>
                  <a:pt x="915" y="68"/>
                </a:moveTo>
                <a:cubicBezTo>
                  <a:pt x="915" y="68"/>
                  <a:pt x="915" y="68"/>
                  <a:pt x="914" y="68"/>
                </a:cubicBezTo>
                <a:cubicBezTo>
                  <a:pt x="914" y="68"/>
                  <a:pt x="914" y="68"/>
                  <a:pt x="913" y="69"/>
                </a:cubicBezTo>
                <a:cubicBezTo>
                  <a:pt x="913" y="69"/>
                  <a:pt x="913" y="69"/>
                  <a:pt x="912" y="70"/>
                </a:cubicBezTo>
                <a:cubicBezTo>
                  <a:pt x="912" y="70"/>
                  <a:pt x="912" y="70"/>
                  <a:pt x="913" y="70"/>
                </a:cubicBezTo>
                <a:cubicBezTo>
                  <a:pt x="913" y="70"/>
                  <a:pt x="913" y="70"/>
                  <a:pt x="914" y="69"/>
                </a:cubicBezTo>
                <a:cubicBezTo>
                  <a:pt x="914" y="69"/>
                  <a:pt x="914" y="69"/>
                  <a:pt x="915" y="68"/>
                </a:cubicBezTo>
                <a:close/>
                <a:moveTo>
                  <a:pt x="899" y="104"/>
                </a:moveTo>
                <a:cubicBezTo>
                  <a:pt x="899" y="104"/>
                  <a:pt x="899" y="104"/>
                  <a:pt x="899" y="103"/>
                </a:cubicBezTo>
                <a:cubicBezTo>
                  <a:pt x="899" y="103"/>
                  <a:pt x="899" y="103"/>
                  <a:pt x="898" y="102"/>
                </a:cubicBezTo>
                <a:cubicBezTo>
                  <a:pt x="898" y="102"/>
                  <a:pt x="898" y="102"/>
                  <a:pt x="897" y="102"/>
                </a:cubicBezTo>
                <a:cubicBezTo>
                  <a:pt x="897" y="102"/>
                  <a:pt x="897" y="102"/>
                  <a:pt x="896" y="103"/>
                </a:cubicBezTo>
                <a:cubicBezTo>
                  <a:pt x="896" y="103"/>
                  <a:pt x="896" y="103"/>
                  <a:pt x="895" y="104"/>
                </a:cubicBezTo>
                <a:cubicBezTo>
                  <a:pt x="895" y="104"/>
                  <a:pt x="895" y="104"/>
                  <a:pt x="895" y="105"/>
                </a:cubicBezTo>
                <a:cubicBezTo>
                  <a:pt x="895" y="105"/>
                  <a:pt x="895" y="105"/>
                  <a:pt x="896" y="105"/>
                </a:cubicBezTo>
                <a:cubicBezTo>
                  <a:pt x="896" y="105"/>
                  <a:pt x="896" y="105"/>
                  <a:pt x="897" y="106"/>
                </a:cubicBezTo>
                <a:cubicBezTo>
                  <a:pt x="897" y="106"/>
                  <a:pt x="897" y="106"/>
                  <a:pt x="896" y="106"/>
                </a:cubicBezTo>
                <a:cubicBezTo>
                  <a:pt x="896" y="106"/>
                  <a:pt x="896" y="106"/>
                  <a:pt x="895" y="107"/>
                </a:cubicBezTo>
                <a:cubicBezTo>
                  <a:pt x="895" y="107"/>
                  <a:pt x="895" y="107"/>
                  <a:pt x="894" y="107"/>
                </a:cubicBezTo>
                <a:cubicBezTo>
                  <a:pt x="894" y="107"/>
                  <a:pt x="894" y="107"/>
                  <a:pt x="894" y="109"/>
                </a:cubicBezTo>
                <a:cubicBezTo>
                  <a:pt x="894" y="109"/>
                  <a:pt x="894" y="109"/>
                  <a:pt x="895" y="109"/>
                </a:cubicBezTo>
                <a:cubicBezTo>
                  <a:pt x="895" y="109"/>
                  <a:pt x="895" y="109"/>
                  <a:pt x="895" y="110"/>
                </a:cubicBezTo>
                <a:cubicBezTo>
                  <a:pt x="895" y="110"/>
                  <a:pt x="895" y="110"/>
                  <a:pt x="893" y="111"/>
                </a:cubicBezTo>
                <a:cubicBezTo>
                  <a:pt x="893" y="111"/>
                  <a:pt x="893" y="111"/>
                  <a:pt x="893" y="112"/>
                </a:cubicBezTo>
                <a:cubicBezTo>
                  <a:pt x="893" y="112"/>
                  <a:pt x="893" y="112"/>
                  <a:pt x="894" y="112"/>
                </a:cubicBezTo>
                <a:cubicBezTo>
                  <a:pt x="894" y="112"/>
                  <a:pt x="894" y="112"/>
                  <a:pt x="894" y="114"/>
                </a:cubicBezTo>
                <a:cubicBezTo>
                  <a:pt x="894" y="114"/>
                  <a:pt x="894" y="114"/>
                  <a:pt x="893" y="114"/>
                </a:cubicBezTo>
                <a:cubicBezTo>
                  <a:pt x="893" y="114"/>
                  <a:pt x="893" y="114"/>
                  <a:pt x="893" y="112"/>
                </a:cubicBezTo>
                <a:cubicBezTo>
                  <a:pt x="893" y="112"/>
                  <a:pt x="893" y="112"/>
                  <a:pt x="892" y="112"/>
                </a:cubicBezTo>
                <a:cubicBezTo>
                  <a:pt x="892" y="112"/>
                  <a:pt x="892" y="112"/>
                  <a:pt x="892" y="111"/>
                </a:cubicBezTo>
                <a:cubicBezTo>
                  <a:pt x="892" y="111"/>
                  <a:pt x="892" y="111"/>
                  <a:pt x="891" y="111"/>
                </a:cubicBezTo>
                <a:cubicBezTo>
                  <a:pt x="891" y="111"/>
                  <a:pt x="891" y="111"/>
                  <a:pt x="890" y="111"/>
                </a:cubicBezTo>
                <a:cubicBezTo>
                  <a:pt x="890" y="111"/>
                  <a:pt x="890" y="111"/>
                  <a:pt x="890" y="112"/>
                </a:cubicBezTo>
                <a:cubicBezTo>
                  <a:pt x="890" y="112"/>
                  <a:pt x="890" y="112"/>
                  <a:pt x="889" y="113"/>
                </a:cubicBezTo>
                <a:cubicBezTo>
                  <a:pt x="889" y="113"/>
                  <a:pt x="889" y="113"/>
                  <a:pt x="888" y="113"/>
                </a:cubicBezTo>
                <a:cubicBezTo>
                  <a:pt x="888" y="113"/>
                  <a:pt x="888" y="113"/>
                  <a:pt x="888" y="114"/>
                </a:cubicBezTo>
                <a:cubicBezTo>
                  <a:pt x="888" y="114"/>
                  <a:pt x="888" y="114"/>
                  <a:pt x="887" y="114"/>
                </a:cubicBezTo>
                <a:cubicBezTo>
                  <a:pt x="887" y="114"/>
                  <a:pt x="887" y="114"/>
                  <a:pt x="887" y="115"/>
                </a:cubicBezTo>
                <a:cubicBezTo>
                  <a:pt x="887" y="115"/>
                  <a:pt x="887" y="115"/>
                  <a:pt x="888" y="115"/>
                </a:cubicBezTo>
                <a:cubicBezTo>
                  <a:pt x="888" y="115"/>
                  <a:pt x="888" y="115"/>
                  <a:pt x="888" y="116"/>
                </a:cubicBezTo>
                <a:cubicBezTo>
                  <a:pt x="888" y="116"/>
                  <a:pt x="888" y="116"/>
                  <a:pt x="889" y="115"/>
                </a:cubicBezTo>
                <a:cubicBezTo>
                  <a:pt x="889" y="115"/>
                  <a:pt x="889" y="115"/>
                  <a:pt x="890" y="115"/>
                </a:cubicBezTo>
                <a:cubicBezTo>
                  <a:pt x="890" y="115"/>
                  <a:pt x="890" y="115"/>
                  <a:pt x="891" y="116"/>
                </a:cubicBezTo>
                <a:cubicBezTo>
                  <a:pt x="891" y="116"/>
                  <a:pt x="891" y="116"/>
                  <a:pt x="892" y="115"/>
                </a:cubicBezTo>
                <a:cubicBezTo>
                  <a:pt x="892" y="115"/>
                  <a:pt x="892" y="115"/>
                  <a:pt x="893" y="116"/>
                </a:cubicBezTo>
                <a:cubicBezTo>
                  <a:pt x="893" y="116"/>
                  <a:pt x="893" y="116"/>
                  <a:pt x="895" y="116"/>
                </a:cubicBezTo>
                <a:cubicBezTo>
                  <a:pt x="895" y="116"/>
                  <a:pt x="895" y="116"/>
                  <a:pt x="896" y="116"/>
                </a:cubicBezTo>
                <a:cubicBezTo>
                  <a:pt x="896" y="116"/>
                  <a:pt x="896" y="116"/>
                  <a:pt x="897" y="116"/>
                </a:cubicBezTo>
                <a:cubicBezTo>
                  <a:pt x="897" y="116"/>
                  <a:pt x="897" y="116"/>
                  <a:pt x="902" y="117"/>
                </a:cubicBezTo>
                <a:cubicBezTo>
                  <a:pt x="902" y="117"/>
                  <a:pt x="902" y="117"/>
                  <a:pt x="903" y="118"/>
                </a:cubicBezTo>
                <a:cubicBezTo>
                  <a:pt x="903" y="118"/>
                  <a:pt x="903" y="118"/>
                  <a:pt x="902" y="118"/>
                </a:cubicBezTo>
                <a:cubicBezTo>
                  <a:pt x="902" y="118"/>
                  <a:pt x="902" y="118"/>
                  <a:pt x="900" y="118"/>
                </a:cubicBezTo>
                <a:cubicBezTo>
                  <a:pt x="900" y="118"/>
                  <a:pt x="900" y="118"/>
                  <a:pt x="899" y="118"/>
                </a:cubicBezTo>
                <a:cubicBezTo>
                  <a:pt x="899" y="118"/>
                  <a:pt x="899" y="118"/>
                  <a:pt x="898" y="119"/>
                </a:cubicBezTo>
                <a:cubicBezTo>
                  <a:pt x="898" y="119"/>
                  <a:pt x="898" y="119"/>
                  <a:pt x="896" y="119"/>
                </a:cubicBezTo>
                <a:cubicBezTo>
                  <a:pt x="896" y="119"/>
                  <a:pt x="896" y="119"/>
                  <a:pt x="897" y="120"/>
                </a:cubicBezTo>
                <a:cubicBezTo>
                  <a:pt x="897" y="120"/>
                  <a:pt x="897" y="120"/>
                  <a:pt x="896" y="120"/>
                </a:cubicBezTo>
                <a:cubicBezTo>
                  <a:pt x="896" y="120"/>
                  <a:pt x="896" y="120"/>
                  <a:pt x="894" y="120"/>
                </a:cubicBezTo>
                <a:cubicBezTo>
                  <a:pt x="894" y="120"/>
                  <a:pt x="894" y="120"/>
                  <a:pt x="893" y="119"/>
                </a:cubicBezTo>
                <a:cubicBezTo>
                  <a:pt x="893" y="119"/>
                  <a:pt x="893" y="119"/>
                  <a:pt x="893" y="120"/>
                </a:cubicBezTo>
                <a:cubicBezTo>
                  <a:pt x="893" y="120"/>
                  <a:pt x="893" y="120"/>
                  <a:pt x="892" y="121"/>
                </a:cubicBezTo>
                <a:cubicBezTo>
                  <a:pt x="892" y="121"/>
                  <a:pt x="892" y="121"/>
                  <a:pt x="892" y="120"/>
                </a:cubicBezTo>
                <a:cubicBezTo>
                  <a:pt x="892" y="120"/>
                  <a:pt x="892" y="120"/>
                  <a:pt x="891" y="120"/>
                </a:cubicBezTo>
                <a:cubicBezTo>
                  <a:pt x="891" y="120"/>
                  <a:pt x="891" y="120"/>
                  <a:pt x="891" y="121"/>
                </a:cubicBezTo>
                <a:cubicBezTo>
                  <a:pt x="891" y="121"/>
                  <a:pt x="891" y="121"/>
                  <a:pt x="892" y="122"/>
                </a:cubicBezTo>
                <a:cubicBezTo>
                  <a:pt x="892" y="122"/>
                  <a:pt x="892" y="122"/>
                  <a:pt x="893" y="122"/>
                </a:cubicBezTo>
                <a:cubicBezTo>
                  <a:pt x="893" y="122"/>
                  <a:pt x="893" y="122"/>
                  <a:pt x="893" y="123"/>
                </a:cubicBezTo>
                <a:cubicBezTo>
                  <a:pt x="893" y="123"/>
                  <a:pt x="893" y="123"/>
                  <a:pt x="893" y="124"/>
                </a:cubicBezTo>
                <a:cubicBezTo>
                  <a:pt x="893" y="124"/>
                  <a:pt x="893" y="124"/>
                  <a:pt x="892" y="123"/>
                </a:cubicBezTo>
                <a:cubicBezTo>
                  <a:pt x="892" y="123"/>
                  <a:pt x="892" y="123"/>
                  <a:pt x="891" y="124"/>
                </a:cubicBezTo>
                <a:cubicBezTo>
                  <a:pt x="891" y="124"/>
                  <a:pt x="891" y="124"/>
                  <a:pt x="891" y="125"/>
                </a:cubicBezTo>
                <a:cubicBezTo>
                  <a:pt x="891" y="125"/>
                  <a:pt x="891" y="125"/>
                  <a:pt x="891" y="127"/>
                </a:cubicBezTo>
                <a:cubicBezTo>
                  <a:pt x="891" y="127"/>
                  <a:pt x="891" y="127"/>
                  <a:pt x="892" y="127"/>
                </a:cubicBezTo>
                <a:cubicBezTo>
                  <a:pt x="892" y="127"/>
                  <a:pt x="892" y="127"/>
                  <a:pt x="893" y="127"/>
                </a:cubicBezTo>
                <a:cubicBezTo>
                  <a:pt x="893" y="127"/>
                  <a:pt x="893" y="127"/>
                  <a:pt x="894" y="128"/>
                </a:cubicBezTo>
                <a:cubicBezTo>
                  <a:pt x="894" y="128"/>
                  <a:pt x="894" y="128"/>
                  <a:pt x="895" y="127"/>
                </a:cubicBezTo>
                <a:cubicBezTo>
                  <a:pt x="895" y="127"/>
                  <a:pt x="895" y="127"/>
                  <a:pt x="895" y="128"/>
                </a:cubicBezTo>
                <a:cubicBezTo>
                  <a:pt x="895" y="128"/>
                  <a:pt x="895" y="128"/>
                  <a:pt x="896" y="128"/>
                </a:cubicBezTo>
                <a:cubicBezTo>
                  <a:pt x="896" y="128"/>
                  <a:pt x="896" y="128"/>
                  <a:pt x="897" y="127"/>
                </a:cubicBezTo>
                <a:cubicBezTo>
                  <a:pt x="897" y="127"/>
                  <a:pt x="897" y="127"/>
                  <a:pt x="897" y="128"/>
                </a:cubicBezTo>
                <a:cubicBezTo>
                  <a:pt x="897" y="128"/>
                  <a:pt x="897" y="128"/>
                  <a:pt x="898" y="129"/>
                </a:cubicBezTo>
                <a:cubicBezTo>
                  <a:pt x="898" y="129"/>
                  <a:pt x="898" y="129"/>
                  <a:pt x="901" y="129"/>
                </a:cubicBezTo>
                <a:cubicBezTo>
                  <a:pt x="901" y="129"/>
                  <a:pt x="901" y="129"/>
                  <a:pt x="902" y="128"/>
                </a:cubicBezTo>
                <a:cubicBezTo>
                  <a:pt x="902" y="128"/>
                  <a:pt x="902" y="128"/>
                  <a:pt x="902" y="127"/>
                </a:cubicBezTo>
                <a:cubicBezTo>
                  <a:pt x="902" y="127"/>
                  <a:pt x="902" y="127"/>
                  <a:pt x="902" y="126"/>
                </a:cubicBezTo>
                <a:cubicBezTo>
                  <a:pt x="902" y="126"/>
                  <a:pt x="902" y="126"/>
                  <a:pt x="903" y="127"/>
                </a:cubicBezTo>
                <a:cubicBezTo>
                  <a:pt x="903" y="127"/>
                  <a:pt x="903" y="127"/>
                  <a:pt x="903" y="129"/>
                </a:cubicBezTo>
                <a:cubicBezTo>
                  <a:pt x="903" y="129"/>
                  <a:pt x="903" y="129"/>
                  <a:pt x="904" y="128"/>
                </a:cubicBezTo>
                <a:cubicBezTo>
                  <a:pt x="904" y="128"/>
                  <a:pt x="904" y="128"/>
                  <a:pt x="904" y="127"/>
                </a:cubicBezTo>
                <a:cubicBezTo>
                  <a:pt x="904" y="127"/>
                  <a:pt x="904" y="127"/>
                  <a:pt x="904" y="126"/>
                </a:cubicBezTo>
                <a:cubicBezTo>
                  <a:pt x="904" y="126"/>
                  <a:pt x="904" y="126"/>
                  <a:pt x="904" y="125"/>
                </a:cubicBezTo>
                <a:cubicBezTo>
                  <a:pt x="904" y="125"/>
                  <a:pt x="904" y="125"/>
                  <a:pt x="903" y="125"/>
                </a:cubicBezTo>
                <a:cubicBezTo>
                  <a:pt x="903" y="125"/>
                  <a:pt x="903" y="125"/>
                  <a:pt x="903" y="124"/>
                </a:cubicBezTo>
                <a:cubicBezTo>
                  <a:pt x="903" y="124"/>
                  <a:pt x="903" y="124"/>
                  <a:pt x="904" y="123"/>
                </a:cubicBezTo>
                <a:cubicBezTo>
                  <a:pt x="904" y="123"/>
                  <a:pt x="904" y="123"/>
                  <a:pt x="905" y="123"/>
                </a:cubicBezTo>
                <a:cubicBezTo>
                  <a:pt x="905" y="123"/>
                  <a:pt x="905" y="123"/>
                  <a:pt x="906" y="122"/>
                </a:cubicBezTo>
                <a:cubicBezTo>
                  <a:pt x="906" y="122"/>
                  <a:pt x="906" y="122"/>
                  <a:pt x="906" y="121"/>
                </a:cubicBezTo>
                <a:cubicBezTo>
                  <a:pt x="906" y="121"/>
                  <a:pt x="906" y="121"/>
                  <a:pt x="907" y="121"/>
                </a:cubicBezTo>
                <a:cubicBezTo>
                  <a:pt x="907" y="121"/>
                  <a:pt x="907" y="121"/>
                  <a:pt x="907" y="122"/>
                </a:cubicBezTo>
                <a:cubicBezTo>
                  <a:pt x="907" y="122"/>
                  <a:pt x="907" y="122"/>
                  <a:pt x="907" y="123"/>
                </a:cubicBezTo>
                <a:cubicBezTo>
                  <a:pt x="907" y="123"/>
                  <a:pt x="907" y="123"/>
                  <a:pt x="908" y="122"/>
                </a:cubicBezTo>
                <a:cubicBezTo>
                  <a:pt x="908" y="122"/>
                  <a:pt x="908" y="122"/>
                  <a:pt x="909" y="120"/>
                </a:cubicBezTo>
                <a:cubicBezTo>
                  <a:pt x="909" y="120"/>
                  <a:pt x="909" y="120"/>
                  <a:pt x="909" y="119"/>
                </a:cubicBezTo>
                <a:cubicBezTo>
                  <a:pt x="909" y="119"/>
                  <a:pt x="909" y="119"/>
                  <a:pt x="908" y="119"/>
                </a:cubicBezTo>
                <a:cubicBezTo>
                  <a:pt x="908" y="119"/>
                  <a:pt x="908" y="119"/>
                  <a:pt x="908" y="118"/>
                </a:cubicBezTo>
                <a:cubicBezTo>
                  <a:pt x="908" y="118"/>
                  <a:pt x="908" y="118"/>
                  <a:pt x="909" y="118"/>
                </a:cubicBezTo>
                <a:cubicBezTo>
                  <a:pt x="909" y="118"/>
                  <a:pt x="909" y="118"/>
                  <a:pt x="910" y="118"/>
                </a:cubicBezTo>
                <a:cubicBezTo>
                  <a:pt x="910" y="118"/>
                  <a:pt x="910" y="118"/>
                  <a:pt x="910" y="117"/>
                </a:cubicBezTo>
                <a:cubicBezTo>
                  <a:pt x="910" y="117"/>
                  <a:pt x="910" y="117"/>
                  <a:pt x="910" y="116"/>
                </a:cubicBezTo>
                <a:cubicBezTo>
                  <a:pt x="910" y="116"/>
                  <a:pt x="910" y="116"/>
                  <a:pt x="911" y="115"/>
                </a:cubicBezTo>
                <a:cubicBezTo>
                  <a:pt x="911" y="115"/>
                  <a:pt x="911" y="115"/>
                  <a:pt x="912" y="114"/>
                </a:cubicBezTo>
                <a:cubicBezTo>
                  <a:pt x="912" y="114"/>
                  <a:pt x="912" y="114"/>
                  <a:pt x="913" y="113"/>
                </a:cubicBezTo>
                <a:cubicBezTo>
                  <a:pt x="913" y="113"/>
                  <a:pt x="913" y="113"/>
                  <a:pt x="914" y="112"/>
                </a:cubicBezTo>
                <a:cubicBezTo>
                  <a:pt x="914" y="112"/>
                  <a:pt x="914" y="112"/>
                  <a:pt x="915" y="111"/>
                </a:cubicBezTo>
                <a:cubicBezTo>
                  <a:pt x="915" y="111"/>
                  <a:pt x="915" y="111"/>
                  <a:pt x="915" y="110"/>
                </a:cubicBezTo>
                <a:cubicBezTo>
                  <a:pt x="915" y="110"/>
                  <a:pt x="915" y="110"/>
                  <a:pt x="916" y="108"/>
                </a:cubicBezTo>
                <a:cubicBezTo>
                  <a:pt x="916" y="108"/>
                  <a:pt x="916" y="108"/>
                  <a:pt x="917" y="107"/>
                </a:cubicBezTo>
                <a:cubicBezTo>
                  <a:pt x="917" y="107"/>
                  <a:pt x="917" y="107"/>
                  <a:pt x="917" y="106"/>
                </a:cubicBezTo>
                <a:cubicBezTo>
                  <a:pt x="917" y="106"/>
                  <a:pt x="917" y="106"/>
                  <a:pt x="917" y="105"/>
                </a:cubicBezTo>
                <a:cubicBezTo>
                  <a:pt x="917" y="105"/>
                  <a:pt x="917" y="105"/>
                  <a:pt x="915" y="104"/>
                </a:cubicBezTo>
                <a:cubicBezTo>
                  <a:pt x="915" y="104"/>
                  <a:pt x="915" y="104"/>
                  <a:pt x="915" y="103"/>
                </a:cubicBezTo>
                <a:cubicBezTo>
                  <a:pt x="915" y="103"/>
                  <a:pt x="915" y="103"/>
                  <a:pt x="916" y="103"/>
                </a:cubicBezTo>
                <a:cubicBezTo>
                  <a:pt x="916" y="103"/>
                  <a:pt x="916" y="103"/>
                  <a:pt x="916" y="102"/>
                </a:cubicBezTo>
                <a:cubicBezTo>
                  <a:pt x="916" y="102"/>
                  <a:pt x="916" y="102"/>
                  <a:pt x="916" y="101"/>
                </a:cubicBezTo>
                <a:cubicBezTo>
                  <a:pt x="916" y="101"/>
                  <a:pt x="916" y="101"/>
                  <a:pt x="915" y="100"/>
                </a:cubicBezTo>
                <a:cubicBezTo>
                  <a:pt x="915" y="100"/>
                  <a:pt x="915" y="100"/>
                  <a:pt x="914" y="100"/>
                </a:cubicBezTo>
                <a:cubicBezTo>
                  <a:pt x="914" y="100"/>
                  <a:pt x="914" y="100"/>
                  <a:pt x="915" y="101"/>
                </a:cubicBezTo>
                <a:cubicBezTo>
                  <a:pt x="915" y="101"/>
                  <a:pt x="915" y="101"/>
                  <a:pt x="915" y="102"/>
                </a:cubicBezTo>
                <a:cubicBezTo>
                  <a:pt x="915" y="102"/>
                  <a:pt x="915" y="102"/>
                  <a:pt x="914" y="102"/>
                </a:cubicBezTo>
                <a:cubicBezTo>
                  <a:pt x="914" y="102"/>
                  <a:pt x="914" y="102"/>
                  <a:pt x="913" y="101"/>
                </a:cubicBezTo>
                <a:cubicBezTo>
                  <a:pt x="913" y="101"/>
                  <a:pt x="913" y="101"/>
                  <a:pt x="912" y="102"/>
                </a:cubicBezTo>
                <a:cubicBezTo>
                  <a:pt x="912" y="102"/>
                  <a:pt x="912" y="102"/>
                  <a:pt x="912" y="104"/>
                </a:cubicBezTo>
                <a:cubicBezTo>
                  <a:pt x="912" y="104"/>
                  <a:pt x="912" y="104"/>
                  <a:pt x="911" y="105"/>
                </a:cubicBezTo>
                <a:cubicBezTo>
                  <a:pt x="911" y="105"/>
                  <a:pt x="911" y="105"/>
                  <a:pt x="910" y="105"/>
                </a:cubicBezTo>
                <a:cubicBezTo>
                  <a:pt x="910" y="105"/>
                  <a:pt x="910" y="105"/>
                  <a:pt x="909" y="104"/>
                </a:cubicBezTo>
                <a:cubicBezTo>
                  <a:pt x="909" y="104"/>
                  <a:pt x="909" y="104"/>
                  <a:pt x="910" y="103"/>
                </a:cubicBezTo>
                <a:cubicBezTo>
                  <a:pt x="910" y="103"/>
                  <a:pt x="910" y="103"/>
                  <a:pt x="911" y="101"/>
                </a:cubicBezTo>
                <a:cubicBezTo>
                  <a:pt x="911" y="101"/>
                  <a:pt x="911" y="101"/>
                  <a:pt x="910" y="100"/>
                </a:cubicBezTo>
                <a:cubicBezTo>
                  <a:pt x="910" y="100"/>
                  <a:pt x="910" y="100"/>
                  <a:pt x="909" y="101"/>
                </a:cubicBezTo>
                <a:cubicBezTo>
                  <a:pt x="909" y="101"/>
                  <a:pt x="909" y="101"/>
                  <a:pt x="908" y="100"/>
                </a:cubicBezTo>
                <a:cubicBezTo>
                  <a:pt x="908" y="100"/>
                  <a:pt x="908" y="100"/>
                  <a:pt x="908" y="99"/>
                </a:cubicBezTo>
                <a:cubicBezTo>
                  <a:pt x="907" y="99"/>
                  <a:pt x="907" y="99"/>
                  <a:pt x="907" y="99"/>
                </a:cubicBezTo>
                <a:cubicBezTo>
                  <a:pt x="906" y="100"/>
                  <a:pt x="906" y="100"/>
                  <a:pt x="906" y="100"/>
                </a:cubicBezTo>
                <a:cubicBezTo>
                  <a:pt x="906" y="100"/>
                  <a:pt x="906" y="100"/>
                  <a:pt x="905" y="100"/>
                </a:cubicBezTo>
                <a:cubicBezTo>
                  <a:pt x="905" y="100"/>
                  <a:pt x="905" y="100"/>
                  <a:pt x="904" y="100"/>
                </a:cubicBezTo>
                <a:cubicBezTo>
                  <a:pt x="904" y="100"/>
                  <a:pt x="904" y="100"/>
                  <a:pt x="903" y="101"/>
                </a:cubicBezTo>
                <a:cubicBezTo>
                  <a:pt x="903" y="101"/>
                  <a:pt x="903" y="101"/>
                  <a:pt x="902" y="101"/>
                </a:cubicBezTo>
                <a:cubicBezTo>
                  <a:pt x="902" y="101"/>
                  <a:pt x="902" y="101"/>
                  <a:pt x="902" y="103"/>
                </a:cubicBezTo>
                <a:cubicBezTo>
                  <a:pt x="902" y="103"/>
                  <a:pt x="902" y="103"/>
                  <a:pt x="902" y="105"/>
                </a:cubicBezTo>
                <a:cubicBezTo>
                  <a:pt x="902" y="105"/>
                  <a:pt x="902" y="105"/>
                  <a:pt x="904" y="106"/>
                </a:cubicBezTo>
                <a:cubicBezTo>
                  <a:pt x="904" y="106"/>
                  <a:pt x="904" y="106"/>
                  <a:pt x="904" y="107"/>
                </a:cubicBezTo>
                <a:cubicBezTo>
                  <a:pt x="904" y="107"/>
                  <a:pt x="904" y="107"/>
                  <a:pt x="903" y="106"/>
                </a:cubicBezTo>
                <a:cubicBezTo>
                  <a:pt x="903" y="106"/>
                  <a:pt x="903" y="106"/>
                  <a:pt x="902" y="106"/>
                </a:cubicBezTo>
                <a:cubicBezTo>
                  <a:pt x="902" y="106"/>
                  <a:pt x="902" y="106"/>
                  <a:pt x="901" y="107"/>
                </a:cubicBezTo>
                <a:cubicBezTo>
                  <a:pt x="901" y="107"/>
                  <a:pt x="901" y="107"/>
                  <a:pt x="903" y="108"/>
                </a:cubicBezTo>
                <a:cubicBezTo>
                  <a:pt x="903" y="108"/>
                  <a:pt x="903" y="108"/>
                  <a:pt x="903" y="109"/>
                </a:cubicBezTo>
                <a:cubicBezTo>
                  <a:pt x="903" y="109"/>
                  <a:pt x="903" y="109"/>
                  <a:pt x="902" y="109"/>
                </a:cubicBezTo>
                <a:cubicBezTo>
                  <a:pt x="902" y="109"/>
                  <a:pt x="902" y="109"/>
                  <a:pt x="902" y="111"/>
                </a:cubicBezTo>
                <a:cubicBezTo>
                  <a:pt x="902" y="111"/>
                  <a:pt x="902" y="111"/>
                  <a:pt x="903" y="112"/>
                </a:cubicBezTo>
                <a:cubicBezTo>
                  <a:pt x="903" y="112"/>
                  <a:pt x="903" y="112"/>
                  <a:pt x="901" y="113"/>
                </a:cubicBezTo>
                <a:cubicBezTo>
                  <a:pt x="901" y="113"/>
                  <a:pt x="901" y="113"/>
                  <a:pt x="900" y="112"/>
                </a:cubicBezTo>
                <a:cubicBezTo>
                  <a:pt x="900" y="112"/>
                  <a:pt x="900" y="112"/>
                  <a:pt x="900" y="111"/>
                </a:cubicBezTo>
                <a:cubicBezTo>
                  <a:pt x="900" y="111"/>
                  <a:pt x="900" y="111"/>
                  <a:pt x="900" y="107"/>
                </a:cubicBezTo>
                <a:cubicBezTo>
                  <a:pt x="900" y="107"/>
                  <a:pt x="900" y="107"/>
                  <a:pt x="899" y="106"/>
                </a:cubicBezTo>
                <a:cubicBezTo>
                  <a:pt x="899" y="106"/>
                  <a:pt x="899" y="106"/>
                  <a:pt x="899" y="105"/>
                </a:cubicBezTo>
                <a:cubicBezTo>
                  <a:pt x="899" y="105"/>
                  <a:pt x="899" y="105"/>
                  <a:pt x="899" y="104"/>
                </a:cubicBezTo>
                <a:close/>
                <a:moveTo>
                  <a:pt x="902" y="99"/>
                </a:moveTo>
                <a:cubicBezTo>
                  <a:pt x="903" y="98"/>
                  <a:pt x="903" y="98"/>
                  <a:pt x="903" y="98"/>
                </a:cubicBezTo>
                <a:cubicBezTo>
                  <a:pt x="904" y="99"/>
                  <a:pt x="904" y="99"/>
                  <a:pt x="904" y="99"/>
                </a:cubicBezTo>
                <a:cubicBezTo>
                  <a:pt x="906" y="97"/>
                  <a:pt x="906" y="97"/>
                  <a:pt x="906" y="97"/>
                </a:cubicBezTo>
                <a:cubicBezTo>
                  <a:pt x="907" y="97"/>
                  <a:pt x="907" y="97"/>
                  <a:pt x="907" y="97"/>
                </a:cubicBezTo>
                <a:cubicBezTo>
                  <a:pt x="908" y="97"/>
                  <a:pt x="908" y="97"/>
                  <a:pt x="908" y="97"/>
                </a:cubicBezTo>
                <a:cubicBezTo>
                  <a:pt x="906" y="96"/>
                  <a:pt x="906" y="96"/>
                  <a:pt x="906" y="96"/>
                </a:cubicBezTo>
                <a:cubicBezTo>
                  <a:pt x="904" y="97"/>
                  <a:pt x="904" y="97"/>
                  <a:pt x="904" y="97"/>
                </a:cubicBezTo>
                <a:cubicBezTo>
                  <a:pt x="903" y="97"/>
                  <a:pt x="903" y="97"/>
                  <a:pt x="903" y="97"/>
                </a:cubicBezTo>
                <a:cubicBezTo>
                  <a:pt x="902" y="97"/>
                  <a:pt x="902" y="97"/>
                  <a:pt x="902" y="97"/>
                </a:cubicBezTo>
                <a:cubicBezTo>
                  <a:pt x="901" y="97"/>
                  <a:pt x="901" y="97"/>
                  <a:pt x="901" y="97"/>
                </a:cubicBezTo>
                <a:cubicBezTo>
                  <a:pt x="900" y="98"/>
                  <a:pt x="900" y="98"/>
                  <a:pt x="900" y="98"/>
                </a:cubicBezTo>
                <a:cubicBezTo>
                  <a:pt x="900" y="99"/>
                  <a:pt x="900" y="99"/>
                  <a:pt x="900" y="99"/>
                </a:cubicBezTo>
                <a:cubicBezTo>
                  <a:pt x="901" y="99"/>
                  <a:pt x="901" y="99"/>
                  <a:pt x="901" y="99"/>
                </a:cubicBezTo>
                <a:cubicBezTo>
                  <a:pt x="902" y="99"/>
                  <a:pt x="902" y="99"/>
                  <a:pt x="902" y="99"/>
                </a:cubicBezTo>
                <a:close/>
                <a:moveTo>
                  <a:pt x="896" y="88"/>
                </a:moveTo>
                <a:cubicBezTo>
                  <a:pt x="896" y="88"/>
                  <a:pt x="896" y="88"/>
                  <a:pt x="897" y="87"/>
                </a:cubicBezTo>
                <a:cubicBezTo>
                  <a:pt x="897" y="87"/>
                  <a:pt x="897" y="87"/>
                  <a:pt x="895" y="87"/>
                </a:cubicBezTo>
                <a:cubicBezTo>
                  <a:pt x="895" y="87"/>
                  <a:pt x="895" y="87"/>
                  <a:pt x="894" y="87"/>
                </a:cubicBezTo>
                <a:cubicBezTo>
                  <a:pt x="894" y="87"/>
                  <a:pt x="894" y="87"/>
                  <a:pt x="895" y="88"/>
                </a:cubicBezTo>
                <a:cubicBezTo>
                  <a:pt x="895" y="88"/>
                  <a:pt x="895" y="88"/>
                  <a:pt x="896" y="88"/>
                </a:cubicBezTo>
                <a:close/>
                <a:moveTo>
                  <a:pt x="875" y="53"/>
                </a:moveTo>
                <a:cubicBezTo>
                  <a:pt x="875" y="53"/>
                  <a:pt x="875" y="53"/>
                  <a:pt x="876" y="53"/>
                </a:cubicBezTo>
                <a:cubicBezTo>
                  <a:pt x="876" y="53"/>
                  <a:pt x="876" y="53"/>
                  <a:pt x="877" y="53"/>
                </a:cubicBezTo>
                <a:cubicBezTo>
                  <a:pt x="877" y="53"/>
                  <a:pt x="877" y="53"/>
                  <a:pt x="878" y="54"/>
                </a:cubicBezTo>
                <a:cubicBezTo>
                  <a:pt x="878" y="54"/>
                  <a:pt x="878" y="54"/>
                  <a:pt x="878" y="56"/>
                </a:cubicBezTo>
                <a:cubicBezTo>
                  <a:pt x="878" y="56"/>
                  <a:pt x="878" y="56"/>
                  <a:pt x="879" y="57"/>
                </a:cubicBezTo>
                <a:cubicBezTo>
                  <a:pt x="879" y="57"/>
                  <a:pt x="879" y="57"/>
                  <a:pt x="880" y="56"/>
                </a:cubicBezTo>
                <a:cubicBezTo>
                  <a:pt x="880" y="56"/>
                  <a:pt x="880" y="56"/>
                  <a:pt x="880" y="55"/>
                </a:cubicBezTo>
                <a:cubicBezTo>
                  <a:pt x="880" y="55"/>
                  <a:pt x="880" y="55"/>
                  <a:pt x="880" y="54"/>
                </a:cubicBezTo>
                <a:cubicBezTo>
                  <a:pt x="880" y="54"/>
                  <a:pt x="880" y="54"/>
                  <a:pt x="881" y="56"/>
                </a:cubicBezTo>
                <a:cubicBezTo>
                  <a:pt x="881" y="56"/>
                  <a:pt x="881" y="56"/>
                  <a:pt x="881" y="57"/>
                </a:cubicBezTo>
                <a:cubicBezTo>
                  <a:pt x="881" y="57"/>
                  <a:pt x="881" y="57"/>
                  <a:pt x="883" y="59"/>
                </a:cubicBezTo>
                <a:cubicBezTo>
                  <a:pt x="883" y="59"/>
                  <a:pt x="883" y="59"/>
                  <a:pt x="884" y="59"/>
                </a:cubicBezTo>
                <a:cubicBezTo>
                  <a:pt x="884" y="59"/>
                  <a:pt x="884" y="59"/>
                  <a:pt x="885" y="59"/>
                </a:cubicBezTo>
                <a:cubicBezTo>
                  <a:pt x="885" y="59"/>
                  <a:pt x="885" y="59"/>
                  <a:pt x="886" y="59"/>
                </a:cubicBezTo>
                <a:cubicBezTo>
                  <a:pt x="886" y="59"/>
                  <a:pt x="886" y="59"/>
                  <a:pt x="887" y="60"/>
                </a:cubicBezTo>
                <a:cubicBezTo>
                  <a:pt x="887" y="60"/>
                  <a:pt x="887" y="60"/>
                  <a:pt x="888" y="58"/>
                </a:cubicBezTo>
                <a:cubicBezTo>
                  <a:pt x="888" y="58"/>
                  <a:pt x="888" y="58"/>
                  <a:pt x="889" y="58"/>
                </a:cubicBezTo>
                <a:cubicBezTo>
                  <a:pt x="889" y="58"/>
                  <a:pt x="889" y="58"/>
                  <a:pt x="890" y="55"/>
                </a:cubicBezTo>
                <a:cubicBezTo>
                  <a:pt x="890" y="55"/>
                  <a:pt x="890" y="55"/>
                  <a:pt x="889" y="54"/>
                </a:cubicBezTo>
                <a:cubicBezTo>
                  <a:pt x="889" y="54"/>
                  <a:pt x="889" y="54"/>
                  <a:pt x="891" y="52"/>
                </a:cubicBezTo>
                <a:cubicBezTo>
                  <a:pt x="891" y="52"/>
                  <a:pt x="891" y="52"/>
                  <a:pt x="891" y="51"/>
                </a:cubicBezTo>
                <a:cubicBezTo>
                  <a:pt x="891" y="51"/>
                  <a:pt x="891" y="51"/>
                  <a:pt x="890" y="49"/>
                </a:cubicBezTo>
                <a:cubicBezTo>
                  <a:pt x="890" y="49"/>
                  <a:pt x="890" y="49"/>
                  <a:pt x="889" y="48"/>
                </a:cubicBezTo>
                <a:cubicBezTo>
                  <a:pt x="889" y="48"/>
                  <a:pt x="889" y="48"/>
                  <a:pt x="888" y="49"/>
                </a:cubicBezTo>
                <a:cubicBezTo>
                  <a:pt x="888" y="49"/>
                  <a:pt x="888" y="49"/>
                  <a:pt x="886" y="49"/>
                </a:cubicBezTo>
                <a:cubicBezTo>
                  <a:pt x="886" y="49"/>
                  <a:pt x="886" y="49"/>
                  <a:pt x="884" y="50"/>
                </a:cubicBezTo>
                <a:cubicBezTo>
                  <a:pt x="884" y="50"/>
                  <a:pt x="884" y="50"/>
                  <a:pt x="883" y="50"/>
                </a:cubicBezTo>
                <a:cubicBezTo>
                  <a:pt x="883" y="50"/>
                  <a:pt x="883" y="50"/>
                  <a:pt x="882" y="50"/>
                </a:cubicBezTo>
                <a:cubicBezTo>
                  <a:pt x="882" y="50"/>
                  <a:pt x="882" y="50"/>
                  <a:pt x="881" y="49"/>
                </a:cubicBezTo>
                <a:cubicBezTo>
                  <a:pt x="881" y="49"/>
                  <a:pt x="881" y="49"/>
                  <a:pt x="880" y="49"/>
                </a:cubicBezTo>
                <a:cubicBezTo>
                  <a:pt x="880" y="49"/>
                  <a:pt x="880" y="49"/>
                  <a:pt x="876" y="50"/>
                </a:cubicBezTo>
                <a:cubicBezTo>
                  <a:pt x="876" y="50"/>
                  <a:pt x="876" y="50"/>
                  <a:pt x="875" y="50"/>
                </a:cubicBezTo>
                <a:cubicBezTo>
                  <a:pt x="875" y="50"/>
                  <a:pt x="875" y="50"/>
                  <a:pt x="873" y="50"/>
                </a:cubicBezTo>
                <a:cubicBezTo>
                  <a:pt x="873" y="50"/>
                  <a:pt x="873" y="50"/>
                  <a:pt x="873" y="51"/>
                </a:cubicBezTo>
                <a:cubicBezTo>
                  <a:pt x="873" y="51"/>
                  <a:pt x="873" y="51"/>
                  <a:pt x="872" y="52"/>
                </a:cubicBezTo>
                <a:cubicBezTo>
                  <a:pt x="872" y="52"/>
                  <a:pt x="872" y="52"/>
                  <a:pt x="872" y="53"/>
                </a:cubicBezTo>
                <a:cubicBezTo>
                  <a:pt x="872" y="53"/>
                  <a:pt x="872" y="53"/>
                  <a:pt x="873" y="53"/>
                </a:cubicBezTo>
                <a:cubicBezTo>
                  <a:pt x="873" y="53"/>
                  <a:pt x="873" y="53"/>
                  <a:pt x="875" y="53"/>
                </a:cubicBezTo>
                <a:close/>
                <a:moveTo>
                  <a:pt x="861" y="63"/>
                </a:moveTo>
                <a:cubicBezTo>
                  <a:pt x="862" y="62"/>
                  <a:pt x="862" y="62"/>
                  <a:pt x="862" y="62"/>
                </a:cubicBezTo>
                <a:cubicBezTo>
                  <a:pt x="863" y="61"/>
                  <a:pt x="863" y="61"/>
                  <a:pt x="863" y="61"/>
                </a:cubicBezTo>
                <a:cubicBezTo>
                  <a:pt x="863" y="59"/>
                  <a:pt x="863" y="59"/>
                  <a:pt x="863" y="59"/>
                </a:cubicBezTo>
                <a:cubicBezTo>
                  <a:pt x="864" y="58"/>
                  <a:pt x="864" y="58"/>
                  <a:pt x="864" y="58"/>
                </a:cubicBezTo>
                <a:cubicBezTo>
                  <a:pt x="863" y="57"/>
                  <a:pt x="863" y="57"/>
                  <a:pt x="863" y="57"/>
                </a:cubicBezTo>
                <a:cubicBezTo>
                  <a:pt x="864" y="56"/>
                  <a:pt x="864" y="56"/>
                  <a:pt x="864" y="56"/>
                </a:cubicBezTo>
                <a:cubicBezTo>
                  <a:pt x="863" y="56"/>
                  <a:pt x="863" y="56"/>
                  <a:pt x="863" y="56"/>
                </a:cubicBezTo>
                <a:cubicBezTo>
                  <a:pt x="862" y="56"/>
                  <a:pt x="862" y="56"/>
                  <a:pt x="862" y="56"/>
                </a:cubicBezTo>
                <a:cubicBezTo>
                  <a:pt x="861" y="56"/>
                  <a:pt x="861" y="56"/>
                  <a:pt x="861" y="56"/>
                </a:cubicBezTo>
                <a:cubicBezTo>
                  <a:pt x="860" y="56"/>
                  <a:pt x="860" y="56"/>
                  <a:pt x="860" y="56"/>
                </a:cubicBezTo>
                <a:cubicBezTo>
                  <a:pt x="859" y="58"/>
                  <a:pt x="859" y="58"/>
                  <a:pt x="859" y="58"/>
                </a:cubicBezTo>
                <a:cubicBezTo>
                  <a:pt x="859" y="59"/>
                  <a:pt x="859" y="59"/>
                  <a:pt x="859" y="59"/>
                </a:cubicBezTo>
                <a:cubicBezTo>
                  <a:pt x="859" y="60"/>
                  <a:pt x="859" y="60"/>
                  <a:pt x="859" y="60"/>
                </a:cubicBezTo>
                <a:cubicBezTo>
                  <a:pt x="860" y="62"/>
                  <a:pt x="860" y="62"/>
                  <a:pt x="860" y="62"/>
                </a:cubicBezTo>
                <a:cubicBezTo>
                  <a:pt x="861" y="63"/>
                  <a:pt x="861" y="63"/>
                  <a:pt x="861" y="63"/>
                </a:cubicBezTo>
                <a:close/>
                <a:moveTo>
                  <a:pt x="856" y="72"/>
                </a:moveTo>
                <a:cubicBezTo>
                  <a:pt x="856" y="72"/>
                  <a:pt x="856" y="72"/>
                  <a:pt x="854" y="72"/>
                </a:cubicBezTo>
                <a:cubicBezTo>
                  <a:pt x="854" y="72"/>
                  <a:pt x="854" y="72"/>
                  <a:pt x="854" y="73"/>
                </a:cubicBezTo>
                <a:cubicBezTo>
                  <a:pt x="854" y="73"/>
                  <a:pt x="854" y="73"/>
                  <a:pt x="855" y="73"/>
                </a:cubicBezTo>
                <a:cubicBezTo>
                  <a:pt x="855" y="73"/>
                  <a:pt x="855" y="73"/>
                  <a:pt x="856" y="72"/>
                </a:cubicBezTo>
                <a:close/>
                <a:moveTo>
                  <a:pt x="864" y="63"/>
                </a:moveTo>
                <a:cubicBezTo>
                  <a:pt x="864" y="63"/>
                  <a:pt x="864" y="63"/>
                  <a:pt x="862" y="64"/>
                </a:cubicBezTo>
                <a:cubicBezTo>
                  <a:pt x="862" y="64"/>
                  <a:pt x="862" y="64"/>
                  <a:pt x="862" y="65"/>
                </a:cubicBezTo>
                <a:cubicBezTo>
                  <a:pt x="862" y="65"/>
                  <a:pt x="862" y="65"/>
                  <a:pt x="861" y="67"/>
                </a:cubicBezTo>
                <a:cubicBezTo>
                  <a:pt x="861" y="67"/>
                  <a:pt x="861" y="67"/>
                  <a:pt x="862" y="68"/>
                </a:cubicBezTo>
                <a:cubicBezTo>
                  <a:pt x="862" y="68"/>
                  <a:pt x="862" y="68"/>
                  <a:pt x="862" y="70"/>
                </a:cubicBezTo>
                <a:cubicBezTo>
                  <a:pt x="862" y="70"/>
                  <a:pt x="862" y="70"/>
                  <a:pt x="863" y="70"/>
                </a:cubicBezTo>
                <a:cubicBezTo>
                  <a:pt x="863" y="70"/>
                  <a:pt x="863" y="70"/>
                  <a:pt x="864" y="71"/>
                </a:cubicBezTo>
                <a:cubicBezTo>
                  <a:pt x="864" y="71"/>
                  <a:pt x="864" y="71"/>
                  <a:pt x="865" y="72"/>
                </a:cubicBezTo>
                <a:cubicBezTo>
                  <a:pt x="865" y="72"/>
                  <a:pt x="865" y="72"/>
                  <a:pt x="864" y="73"/>
                </a:cubicBezTo>
                <a:cubicBezTo>
                  <a:pt x="864" y="73"/>
                  <a:pt x="864" y="73"/>
                  <a:pt x="866" y="73"/>
                </a:cubicBezTo>
                <a:cubicBezTo>
                  <a:pt x="866" y="73"/>
                  <a:pt x="866" y="73"/>
                  <a:pt x="867" y="73"/>
                </a:cubicBezTo>
                <a:cubicBezTo>
                  <a:pt x="867" y="73"/>
                  <a:pt x="867" y="73"/>
                  <a:pt x="868" y="73"/>
                </a:cubicBezTo>
                <a:cubicBezTo>
                  <a:pt x="868" y="73"/>
                  <a:pt x="868" y="73"/>
                  <a:pt x="869" y="74"/>
                </a:cubicBezTo>
                <a:cubicBezTo>
                  <a:pt x="869" y="74"/>
                  <a:pt x="869" y="74"/>
                  <a:pt x="870" y="74"/>
                </a:cubicBezTo>
                <a:cubicBezTo>
                  <a:pt x="870" y="74"/>
                  <a:pt x="870" y="74"/>
                  <a:pt x="872" y="73"/>
                </a:cubicBezTo>
                <a:cubicBezTo>
                  <a:pt x="872" y="73"/>
                  <a:pt x="872" y="73"/>
                  <a:pt x="873" y="73"/>
                </a:cubicBezTo>
                <a:cubicBezTo>
                  <a:pt x="873" y="73"/>
                  <a:pt x="873" y="73"/>
                  <a:pt x="874" y="72"/>
                </a:cubicBezTo>
                <a:cubicBezTo>
                  <a:pt x="874" y="72"/>
                  <a:pt x="874" y="72"/>
                  <a:pt x="875" y="71"/>
                </a:cubicBezTo>
                <a:cubicBezTo>
                  <a:pt x="875" y="71"/>
                  <a:pt x="875" y="71"/>
                  <a:pt x="877" y="69"/>
                </a:cubicBezTo>
                <a:cubicBezTo>
                  <a:pt x="877" y="69"/>
                  <a:pt x="877" y="69"/>
                  <a:pt x="877" y="68"/>
                </a:cubicBezTo>
                <a:cubicBezTo>
                  <a:pt x="877" y="68"/>
                  <a:pt x="877" y="68"/>
                  <a:pt x="876" y="68"/>
                </a:cubicBezTo>
                <a:cubicBezTo>
                  <a:pt x="876" y="68"/>
                  <a:pt x="876" y="68"/>
                  <a:pt x="875" y="68"/>
                </a:cubicBezTo>
                <a:cubicBezTo>
                  <a:pt x="875" y="68"/>
                  <a:pt x="875" y="68"/>
                  <a:pt x="875" y="67"/>
                </a:cubicBezTo>
                <a:cubicBezTo>
                  <a:pt x="875" y="67"/>
                  <a:pt x="875" y="67"/>
                  <a:pt x="876" y="66"/>
                </a:cubicBezTo>
                <a:cubicBezTo>
                  <a:pt x="876" y="66"/>
                  <a:pt x="876" y="66"/>
                  <a:pt x="877" y="66"/>
                </a:cubicBezTo>
                <a:cubicBezTo>
                  <a:pt x="877" y="66"/>
                  <a:pt x="877" y="66"/>
                  <a:pt x="880" y="65"/>
                </a:cubicBezTo>
                <a:cubicBezTo>
                  <a:pt x="880" y="65"/>
                  <a:pt x="880" y="65"/>
                  <a:pt x="881" y="65"/>
                </a:cubicBezTo>
                <a:cubicBezTo>
                  <a:pt x="881" y="65"/>
                  <a:pt x="881" y="65"/>
                  <a:pt x="883" y="63"/>
                </a:cubicBezTo>
                <a:cubicBezTo>
                  <a:pt x="883" y="63"/>
                  <a:pt x="883" y="63"/>
                  <a:pt x="882" y="62"/>
                </a:cubicBezTo>
                <a:cubicBezTo>
                  <a:pt x="882" y="62"/>
                  <a:pt x="882" y="62"/>
                  <a:pt x="881" y="62"/>
                </a:cubicBezTo>
                <a:cubicBezTo>
                  <a:pt x="881" y="62"/>
                  <a:pt x="881" y="62"/>
                  <a:pt x="880" y="62"/>
                </a:cubicBezTo>
                <a:cubicBezTo>
                  <a:pt x="880" y="62"/>
                  <a:pt x="880" y="62"/>
                  <a:pt x="879" y="61"/>
                </a:cubicBezTo>
                <a:cubicBezTo>
                  <a:pt x="879" y="61"/>
                  <a:pt x="879" y="61"/>
                  <a:pt x="877" y="61"/>
                </a:cubicBezTo>
                <a:cubicBezTo>
                  <a:pt x="877" y="61"/>
                  <a:pt x="877" y="61"/>
                  <a:pt x="875" y="60"/>
                </a:cubicBezTo>
                <a:cubicBezTo>
                  <a:pt x="875" y="60"/>
                  <a:pt x="875" y="60"/>
                  <a:pt x="874" y="61"/>
                </a:cubicBezTo>
                <a:cubicBezTo>
                  <a:pt x="874" y="61"/>
                  <a:pt x="874" y="61"/>
                  <a:pt x="873" y="61"/>
                </a:cubicBezTo>
                <a:cubicBezTo>
                  <a:pt x="873" y="61"/>
                  <a:pt x="873" y="61"/>
                  <a:pt x="872" y="60"/>
                </a:cubicBezTo>
                <a:cubicBezTo>
                  <a:pt x="872" y="60"/>
                  <a:pt x="872" y="60"/>
                  <a:pt x="871" y="60"/>
                </a:cubicBezTo>
                <a:cubicBezTo>
                  <a:pt x="871" y="60"/>
                  <a:pt x="871" y="60"/>
                  <a:pt x="870" y="60"/>
                </a:cubicBezTo>
                <a:cubicBezTo>
                  <a:pt x="870" y="60"/>
                  <a:pt x="870" y="60"/>
                  <a:pt x="867" y="60"/>
                </a:cubicBezTo>
                <a:cubicBezTo>
                  <a:pt x="867" y="60"/>
                  <a:pt x="867" y="60"/>
                  <a:pt x="866" y="60"/>
                </a:cubicBezTo>
                <a:cubicBezTo>
                  <a:pt x="866" y="60"/>
                  <a:pt x="866" y="60"/>
                  <a:pt x="865" y="61"/>
                </a:cubicBezTo>
                <a:cubicBezTo>
                  <a:pt x="865" y="61"/>
                  <a:pt x="865" y="61"/>
                  <a:pt x="864" y="62"/>
                </a:cubicBezTo>
                <a:cubicBezTo>
                  <a:pt x="864" y="62"/>
                  <a:pt x="864" y="62"/>
                  <a:pt x="864" y="63"/>
                </a:cubicBezTo>
                <a:close/>
                <a:moveTo>
                  <a:pt x="750" y="614"/>
                </a:moveTo>
                <a:cubicBezTo>
                  <a:pt x="752" y="612"/>
                  <a:pt x="752" y="612"/>
                  <a:pt x="752" y="612"/>
                </a:cubicBezTo>
                <a:cubicBezTo>
                  <a:pt x="753" y="611"/>
                  <a:pt x="753" y="611"/>
                  <a:pt x="753" y="611"/>
                </a:cubicBezTo>
                <a:cubicBezTo>
                  <a:pt x="751" y="612"/>
                  <a:pt x="751" y="612"/>
                  <a:pt x="751" y="612"/>
                </a:cubicBezTo>
                <a:cubicBezTo>
                  <a:pt x="750" y="614"/>
                  <a:pt x="750" y="614"/>
                  <a:pt x="750" y="614"/>
                </a:cubicBezTo>
                <a:close/>
                <a:moveTo>
                  <a:pt x="916" y="515"/>
                </a:moveTo>
                <a:cubicBezTo>
                  <a:pt x="915" y="516"/>
                  <a:pt x="915" y="516"/>
                  <a:pt x="915" y="516"/>
                </a:cubicBezTo>
                <a:cubicBezTo>
                  <a:pt x="913" y="516"/>
                  <a:pt x="913" y="516"/>
                  <a:pt x="913" y="516"/>
                </a:cubicBezTo>
                <a:cubicBezTo>
                  <a:pt x="911" y="517"/>
                  <a:pt x="911" y="517"/>
                  <a:pt x="911" y="517"/>
                </a:cubicBezTo>
                <a:cubicBezTo>
                  <a:pt x="910" y="517"/>
                  <a:pt x="910" y="517"/>
                  <a:pt x="910" y="517"/>
                </a:cubicBezTo>
                <a:cubicBezTo>
                  <a:pt x="908" y="517"/>
                  <a:pt x="908" y="517"/>
                  <a:pt x="908" y="517"/>
                </a:cubicBezTo>
                <a:cubicBezTo>
                  <a:pt x="907" y="518"/>
                  <a:pt x="907" y="518"/>
                  <a:pt x="907" y="518"/>
                </a:cubicBezTo>
                <a:cubicBezTo>
                  <a:pt x="906" y="518"/>
                  <a:pt x="906" y="518"/>
                  <a:pt x="906" y="518"/>
                </a:cubicBezTo>
                <a:cubicBezTo>
                  <a:pt x="906" y="519"/>
                  <a:pt x="906" y="519"/>
                  <a:pt x="906" y="519"/>
                </a:cubicBezTo>
                <a:cubicBezTo>
                  <a:pt x="906" y="519"/>
                  <a:pt x="906" y="519"/>
                  <a:pt x="907" y="519"/>
                </a:cubicBezTo>
                <a:cubicBezTo>
                  <a:pt x="908" y="519"/>
                  <a:pt x="908" y="519"/>
                  <a:pt x="908" y="519"/>
                </a:cubicBezTo>
                <a:cubicBezTo>
                  <a:pt x="909" y="519"/>
                  <a:pt x="909" y="519"/>
                  <a:pt x="909" y="519"/>
                </a:cubicBezTo>
                <a:cubicBezTo>
                  <a:pt x="910" y="518"/>
                  <a:pt x="910" y="518"/>
                  <a:pt x="910" y="518"/>
                </a:cubicBezTo>
                <a:cubicBezTo>
                  <a:pt x="912" y="518"/>
                  <a:pt x="912" y="518"/>
                  <a:pt x="912" y="518"/>
                </a:cubicBezTo>
                <a:cubicBezTo>
                  <a:pt x="913" y="518"/>
                  <a:pt x="913" y="518"/>
                  <a:pt x="913" y="518"/>
                </a:cubicBezTo>
                <a:cubicBezTo>
                  <a:pt x="915" y="518"/>
                  <a:pt x="915" y="518"/>
                  <a:pt x="915" y="518"/>
                </a:cubicBezTo>
                <a:cubicBezTo>
                  <a:pt x="916" y="517"/>
                  <a:pt x="916" y="517"/>
                  <a:pt x="916" y="517"/>
                </a:cubicBezTo>
                <a:cubicBezTo>
                  <a:pt x="916" y="516"/>
                  <a:pt x="916" y="516"/>
                  <a:pt x="916" y="516"/>
                </a:cubicBezTo>
                <a:cubicBezTo>
                  <a:pt x="916" y="515"/>
                  <a:pt x="916" y="515"/>
                  <a:pt x="916" y="515"/>
                </a:cubicBezTo>
                <a:close/>
                <a:moveTo>
                  <a:pt x="917" y="516"/>
                </a:moveTo>
                <a:cubicBezTo>
                  <a:pt x="916" y="517"/>
                  <a:pt x="916" y="517"/>
                  <a:pt x="916" y="517"/>
                </a:cubicBezTo>
                <a:cubicBezTo>
                  <a:pt x="917" y="517"/>
                  <a:pt x="917" y="517"/>
                  <a:pt x="917" y="517"/>
                </a:cubicBezTo>
                <a:cubicBezTo>
                  <a:pt x="917" y="516"/>
                  <a:pt x="917" y="516"/>
                  <a:pt x="917" y="516"/>
                </a:cubicBezTo>
                <a:close/>
                <a:moveTo>
                  <a:pt x="918" y="516"/>
                </a:moveTo>
                <a:cubicBezTo>
                  <a:pt x="917" y="517"/>
                  <a:pt x="917" y="517"/>
                  <a:pt x="917" y="517"/>
                </a:cubicBezTo>
                <a:cubicBezTo>
                  <a:pt x="918" y="517"/>
                  <a:pt x="918" y="517"/>
                  <a:pt x="918" y="517"/>
                </a:cubicBezTo>
                <a:cubicBezTo>
                  <a:pt x="918" y="516"/>
                  <a:pt x="918" y="516"/>
                  <a:pt x="918" y="516"/>
                </a:cubicBezTo>
                <a:close/>
                <a:moveTo>
                  <a:pt x="926" y="513"/>
                </a:moveTo>
                <a:cubicBezTo>
                  <a:pt x="926" y="514"/>
                  <a:pt x="926" y="514"/>
                  <a:pt x="926" y="514"/>
                </a:cubicBezTo>
                <a:cubicBezTo>
                  <a:pt x="927" y="514"/>
                  <a:pt x="927" y="514"/>
                  <a:pt x="927" y="514"/>
                </a:cubicBezTo>
                <a:cubicBezTo>
                  <a:pt x="928" y="514"/>
                  <a:pt x="928" y="514"/>
                  <a:pt x="928" y="514"/>
                </a:cubicBezTo>
                <a:cubicBezTo>
                  <a:pt x="928" y="513"/>
                  <a:pt x="928" y="513"/>
                  <a:pt x="928" y="513"/>
                </a:cubicBezTo>
                <a:cubicBezTo>
                  <a:pt x="927" y="513"/>
                  <a:pt x="927" y="513"/>
                  <a:pt x="927" y="513"/>
                </a:cubicBezTo>
                <a:cubicBezTo>
                  <a:pt x="926" y="513"/>
                  <a:pt x="926" y="513"/>
                  <a:pt x="926" y="513"/>
                </a:cubicBezTo>
                <a:close/>
                <a:moveTo>
                  <a:pt x="749" y="615"/>
                </a:moveTo>
                <a:cubicBezTo>
                  <a:pt x="748" y="617"/>
                  <a:pt x="748" y="617"/>
                  <a:pt x="748" y="617"/>
                </a:cubicBezTo>
                <a:cubicBezTo>
                  <a:pt x="749" y="617"/>
                  <a:pt x="749" y="617"/>
                  <a:pt x="749" y="617"/>
                </a:cubicBezTo>
                <a:cubicBezTo>
                  <a:pt x="749" y="615"/>
                  <a:pt x="749" y="615"/>
                  <a:pt x="749" y="615"/>
                </a:cubicBezTo>
                <a:close/>
                <a:moveTo>
                  <a:pt x="890" y="546"/>
                </a:moveTo>
                <a:cubicBezTo>
                  <a:pt x="890" y="546"/>
                  <a:pt x="890" y="546"/>
                  <a:pt x="891" y="543"/>
                </a:cubicBezTo>
                <a:cubicBezTo>
                  <a:pt x="891" y="543"/>
                  <a:pt x="891" y="543"/>
                  <a:pt x="890" y="544"/>
                </a:cubicBezTo>
                <a:cubicBezTo>
                  <a:pt x="890" y="544"/>
                  <a:pt x="890" y="544"/>
                  <a:pt x="890" y="546"/>
                </a:cubicBezTo>
                <a:close/>
                <a:moveTo>
                  <a:pt x="630" y="433"/>
                </a:moveTo>
                <a:cubicBezTo>
                  <a:pt x="630" y="434"/>
                  <a:pt x="630" y="434"/>
                  <a:pt x="630" y="434"/>
                </a:cubicBezTo>
                <a:cubicBezTo>
                  <a:pt x="630" y="435"/>
                  <a:pt x="630" y="435"/>
                  <a:pt x="630" y="435"/>
                </a:cubicBezTo>
                <a:cubicBezTo>
                  <a:pt x="631" y="435"/>
                  <a:pt x="631" y="435"/>
                  <a:pt x="631" y="435"/>
                </a:cubicBezTo>
                <a:cubicBezTo>
                  <a:pt x="630" y="433"/>
                  <a:pt x="630" y="433"/>
                  <a:pt x="630" y="433"/>
                </a:cubicBezTo>
                <a:close/>
                <a:moveTo>
                  <a:pt x="1000" y="1170"/>
                </a:moveTo>
                <a:cubicBezTo>
                  <a:pt x="1000" y="1170"/>
                  <a:pt x="1000" y="1170"/>
                  <a:pt x="999" y="1171"/>
                </a:cubicBezTo>
                <a:cubicBezTo>
                  <a:pt x="999" y="1171"/>
                  <a:pt x="999" y="1171"/>
                  <a:pt x="1000" y="1171"/>
                </a:cubicBezTo>
                <a:cubicBezTo>
                  <a:pt x="1000" y="1171"/>
                  <a:pt x="1000" y="1171"/>
                  <a:pt x="1001" y="1171"/>
                </a:cubicBezTo>
                <a:cubicBezTo>
                  <a:pt x="1001" y="1171"/>
                  <a:pt x="1001" y="1171"/>
                  <a:pt x="1000" y="1170"/>
                </a:cubicBezTo>
                <a:close/>
                <a:moveTo>
                  <a:pt x="1008" y="1170"/>
                </a:moveTo>
                <a:cubicBezTo>
                  <a:pt x="1008" y="1170"/>
                  <a:pt x="1008" y="1170"/>
                  <a:pt x="1009" y="1168"/>
                </a:cubicBezTo>
                <a:cubicBezTo>
                  <a:pt x="1009" y="1168"/>
                  <a:pt x="1009" y="1168"/>
                  <a:pt x="1010" y="1167"/>
                </a:cubicBezTo>
                <a:cubicBezTo>
                  <a:pt x="1010" y="1167"/>
                  <a:pt x="1010" y="1167"/>
                  <a:pt x="1009" y="1166"/>
                </a:cubicBezTo>
                <a:cubicBezTo>
                  <a:pt x="1009" y="1166"/>
                  <a:pt x="1009" y="1166"/>
                  <a:pt x="1008" y="1167"/>
                </a:cubicBezTo>
                <a:cubicBezTo>
                  <a:pt x="1008" y="1167"/>
                  <a:pt x="1008" y="1167"/>
                  <a:pt x="1007" y="1166"/>
                </a:cubicBezTo>
                <a:cubicBezTo>
                  <a:pt x="1006" y="1166"/>
                  <a:pt x="1006" y="1166"/>
                  <a:pt x="1006" y="1166"/>
                </a:cubicBezTo>
                <a:cubicBezTo>
                  <a:pt x="1006" y="1166"/>
                  <a:pt x="1006" y="1166"/>
                  <a:pt x="1005" y="1168"/>
                </a:cubicBezTo>
                <a:cubicBezTo>
                  <a:pt x="1005" y="1168"/>
                  <a:pt x="1005" y="1168"/>
                  <a:pt x="1004" y="1168"/>
                </a:cubicBezTo>
                <a:cubicBezTo>
                  <a:pt x="1004" y="1168"/>
                  <a:pt x="1004" y="1168"/>
                  <a:pt x="1003" y="1167"/>
                </a:cubicBezTo>
                <a:cubicBezTo>
                  <a:pt x="1003" y="1167"/>
                  <a:pt x="1003" y="1167"/>
                  <a:pt x="1002" y="1167"/>
                </a:cubicBezTo>
                <a:cubicBezTo>
                  <a:pt x="1002" y="1167"/>
                  <a:pt x="1002" y="1167"/>
                  <a:pt x="1004" y="1169"/>
                </a:cubicBezTo>
                <a:cubicBezTo>
                  <a:pt x="1004" y="1169"/>
                  <a:pt x="1004" y="1169"/>
                  <a:pt x="1005" y="1169"/>
                </a:cubicBezTo>
                <a:cubicBezTo>
                  <a:pt x="1005" y="1169"/>
                  <a:pt x="1005" y="1169"/>
                  <a:pt x="1005" y="1170"/>
                </a:cubicBezTo>
                <a:cubicBezTo>
                  <a:pt x="1005" y="1170"/>
                  <a:pt x="1005" y="1170"/>
                  <a:pt x="1004" y="1170"/>
                </a:cubicBezTo>
                <a:cubicBezTo>
                  <a:pt x="1004" y="1170"/>
                  <a:pt x="1004" y="1170"/>
                  <a:pt x="1003" y="1170"/>
                </a:cubicBezTo>
                <a:cubicBezTo>
                  <a:pt x="1003" y="1170"/>
                  <a:pt x="1003" y="1170"/>
                  <a:pt x="1003" y="1171"/>
                </a:cubicBezTo>
                <a:cubicBezTo>
                  <a:pt x="1003" y="1171"/>
                  <a:pt x="1003" y="1171"/>
                  <a:pt x="1002" y="1172"/>
                </a:cubicBezTo>
                <a:cubicBezTo>
                  <a:pt x="1002" y="1172"/>
                  <a:pt x="1002" y="1172"/>
                  <a:pt x="1001" y="1172"/>
                </a:cubicBezTo>
                <a:cubicBezTo>
                  <a:pt x="1001" y="1172"/>
                  <a:pt x="1001" y="1172"/>
                  <a:pt x="1001" y="1173"/>
                </a:cubicBezTo>
                <a:cubicBezTo>
                  <a:pt x="1001" y="1173"/>
                  <a:pt x="1001" y="1173"/>
                  <a:pt x="1002" y="1174"/>
                </a:cubicBezTo>
                <a:cubicBezTo>
                  <a:pt x="1002" y="1174"/>
                  <a:pt x="1002" y="1174"/>
                  <a:pt x="1003" y="1173"/>
                </a:cubicBezTo>
                <a:cubicBezTo>
                  <a:pt x="1003" y="1173"/>
                  <a:pt x="1003" y="1173"/>
                  <a:pt x="1004" y="1174"/>
                </a:cubicBezTo>
                <a:cubicBezTo>
                  <a:pt x="1004" y="1174"/>
                  <a:pt x="1004" y="1174"/>
                  <a:pt x="1005" y="1173"/>
                </a:cubicBezTo>
                <a:cubicBezTo>
                  <a:pt x="1005" y="1173"/>
                  <a:pt x="1005" y="1173"/>
                  <a:pt x="1004" y="1172"/>
                </a:cubicBezTo>
                <a:cubicBezTo>
                  <a:pt x="1004" y="1172"/>
                  <a:pt x="1004" y="1172"/>
                  <a:pt x="1005" y="1171"/>
                </a:cubicBezTo>
                <a:cubicBezTo>
                  <a:pt x="1005" y="1171"/>
                  <a:pt x="1005" y="1171"/>
                  <a:pt x="1006" y="1172"/>
                </a:cubicBezTo>
                <a:cubicBezTo>
                  <a:pt x="1006" y="1172"/>
                  <a:pt x="1006" y="1172"/>
                  <a:pt x="1008" y="1171"/>
                </a:cubicBezTo>
                <a:cubicBezTo>
                  <a:pt x="1008" y="1171"/>
                  <a:pt x="1008" y="1171"/>
                  <a:pt x="1008" y="1170"/>
                </a:cubicBezTo>
                <a:close/>
                <a:moveTo>
                  <a:pt x="1014" y="1171"/>
                </a:moveTo>
                <a:cubicBezTo>
                  <a:pt x="1013" y="1171"/>
                  <a:pt x="1013" y="1171"/>
                  <a:pt x="1013" y="1171"/>
                </a:cubicBezTo>
                <a:cubicBezTo>
                  <a:pt x="1012" y="1171"/>
                  <a:pt x="1012" y="1171"/>
                  <a:pt x="1012" y="1171"/>
                </a:cubicBezTo>
                <a:cubicBezTo>
                  <a:pt x="1013" y="1172"/>
                  <a:pt x="1013" y="1172"/>
                  <a:pt x="1013" y="1172"/>
                </a:cubicBezTo>
                <a:cubicBezTo>
                  <a:pt x="1014" y="1171"/>
                  <a:pt x="1014" y="1171"/>
                  <a:pt x="1014" y="1171"/>
                </a:cubicBezTo>
                <a:close/>
                <a:moveTo>
                  <a:pt x="1004" y="1165"/>
                </a:moveTo>
                <a:cubicBezTo>
                  <a:pt x="1004" y="1166"/>
                  <a:pt x="1004" y="1166"/>
                  <a:pt x="1004" y="1166"/>
                </a:cubicBezTo>
                <a:cubicBezTo>
                  <a:pt x="1005" y="1166"/>
                  <a:pt x="1005" y="1166"/>
                  <a:pt x="1005" y="1166"/>
                </a:cubicBezTo>
                <a:cubicBezTo>
                  <a:pt x="1004" y="1165"/>
                  <a:pt x="1004" y="1165"/>
                  <a:pt x="1004" y="1165"/>
                </a:cubicBezTo>
                <a:close/>
                <a:moveTo>
                  <a:pt x="1142" y="1189"/>
                </a:moveTo>
                <a:cubicBezTo>
                  <a:pt x="1142" y="1189"/>
                  <a:pt x="1142" y="1189"/>
                  <a:pt x="1142" y="1188"/>
                </a:cubicBezTo>
                <a:cubicBezTo>
                  <a:pt x="1142" y="1188"/>
                  <a:pt x="1142" y="1188"/>
                  <a:pt x="1142" y="1187"/>
                </a:cubicBezTo>
                <a:cubicBezTo>
                  <a:pt x="1142" y="1187"/>
                  <a:pt x="1141" y="1187"/>
                  <a:pt x="1140" y="1186"/>
                </a:cubicBezTo>
                <a:cubicBezTo>
                  <a:pt x="1140" y="1186"/>
                  <a:pt x="1140" y="1186"/>
                  <a:pt x="1138" y="1185"/>
                </a:cubicBezTo>
                <a:cubicBezTo>
                  <a:pt x="1138" y="1185"/>
                  <a:pt x="1138" y="1185"/>
                  <a:pt x="1137" y="1185"/>
                </a:cubicBezTo>
                <a:cubicBezTo>
                  <a:pt x="1137" y="1185"/>
                  <a:pt x="1137" y="1185"/>
                  <a:pt x="1137" y="1186"/>
                </a:cubicBezTo>
                <a:cubicBezTo>
                  <a:pt x="1137" y="1186"/>
                  <a:pt x="1137" y="1186"/>
                  <a:pt x="1138" y="1186"/>
                </a:cubicBezTo>
                <a:cubicBezTo>
                  <a:pt x="1138" y="1186"/>
                  <a:pt x="1138" y="1186"/>
                  <a:pt x="1139" y="1187"/>
                </a:cubicBezTo>
                <a:cubicBezTo>
                  <a:pt x="1139" y="1187"/>
                  <a:pt x="1139" y="1187"/>
                  <a:pt x="1140" y="1187"/>
                </a:cubicBezTo>
                <a:cubicBezTo>
                  <a:pt x="1140" y="1187"/>
                  <a:pt x="1140" y="1187"/>
                  <a:pt x="1140" y="1188"/>
                </a:cubicBezTo>
                <a:cubicBezTo>
                  <a:pt x="1140" y="1188"/>
                  <a:pt x="1140" y="1188"/>
                  <a:pt x="1141" y="1189"/>
                </a:cubicBezTo>
                <a:cubicBezTo>
                  <a:pt x="1141" y="1189"/>
                  <a:pt x="1141" y="1189"/>
                  <a:pt x="1141" y="1190"/>
                </a:cubicBezTo>
                <a:cubicBezTo>
                  <a:pt x="1141" y="1190"/>
                  <a:pt x="1141" y="1190"/>
                  <a:pt x="1141" y="1191"/>
                </a:cubicBezTo>
                <a:cubicBezTo>
                  <a:pt x="1141" y="1191"/>
                  <a:pt x="1141" y="1191"/>
                  <a:pt x="1142" y="1191"/>
                </a:cubicBezTo>
                <a:cubicBezTo>
                  <a:pt x="1142" y="1191"/>
                  <a:pt x="1142" y="1191"/>
                  <a:pt x="1143" y="1190"/>
                </a:cubicBezTo>
                <a:cubicBezTo>
                  <a:pt x="1143" y="1190"/>
                  <a:pt x="1143" y="1190"/>
                  <a:pt x="1144" y="1190"/>
                </a:cubicBezTo>
                <a:cubicBezTo>
                  <a:pt x="1144" y="1190"/>
                  <a:pt x="1144" y="1190"/>
                  <a:pt x="1144" y="1189"/>
                </a:cubicBezTo>
                <a:cubicBezTo>
                  <a:pt x="1144" y="1189"/>
                  <a:pt x="1144" y="1189"/>
                  <a:pt x="1143" y="1189"/>
                </a:cubicBezTo>
                <a:cubicBezTo>
                  <a:pt x="1143" y="1189"/>
                  <a:pt x="1143" y="1189"/>
                  <a:pt x="1142" y="1189"/>
                </a:cubicBezTo>
                <a:close/>
                <a:moveTo>
                  <a:pt x="1018" y="1167"/>
                </a:moveTo>
                <a:cubicBezTo>
                  <a:pt x="1016" y="1166"/>
                  <a:pt x="1016" y="1166"/>
                  <a:pt x="1016" y="1166"/>
                </a:cubicBezTo>
                <a:cubicBezTo>
                  <a:pt x="1015" y="1166"/>
                  <a:pt x="1015" y="1166"/>
                  <a:pt x="1015" y="1166"/>
                </a:cubicBezTo>
                <a:cubicBezTo>
                  <a:pt x="1016" y="1167"/>
                  <a:pt x="1016" y="1167"/>
                  <a:pt x="1016" y="1167"/>
                </a:cubicBezTo>
                <a:cubicBezTo>
                  <a:pt x="1015" y="1168"/>
                  <a:pt x="1015" y="1168"/>
                  <a:pt x="1015" y="1168"/>
                </a:cubicBezTo>
                <a:cubicBezTo>
                  <a:pt x="1014" y="1166"/>
                  <a:pt x="1014" y="1166"/>
                  <a:pt x="1014" y="1166"/>
                </a:cubicBezTo>
                <a:cubicBezTo>
                  <a:pt x="1014" y="1165"/>
                  <a:pt x="1014" y="1165"/>
                  <a:pt x="1014" y="1165"/>
                </a:cubicBezTo>
                <a:cubicBezTo>
                  <a:pt x="1012" y="1165"/>
                  <a:pt x="1012" y="1165"/>
                  <a:pt x="1012" y="1165"/>
                </a:cubicBezTo>
                <a:cubicBezTo>
                  <a:pt x="1012" y="1166"/>
                  <a:pt x="1012" y="1166"/>
                  <a:pt x="1012" y="1166"/>
                </a:cubicBezTo>
                <a:cubicBezTo>
                  <a:pt x="1011" y="1166"/>
                  <a:pt x="1011" y="1166"/>
                  <a:pt x="1011" y="1166"/>
                </a:cubicBezTo>
                <a:cubicBezTo>
                  <a:pt x="1011" y="1167"/>
                  <a:pt x="1011" y="1167"/>
                  <a:pt x="1011" y="1167"/>
                </a:cubicBezTo>
                <a:cubicBezTo>
                  <a:pt x="1011" y="1168"/>
                  <a:pt x="1011" y="1168"/>
                  <a:pt x="1011" y="1168"/>
                </a:cubicBezTo>
                <a:cubicBezTo>
                  <a:pt x="1012" y="1169"/>
                  <a:pt x="1012" y="1169"/>
                  <a:pt x="1012" y="1169"/>
                </a:cubicBezTo>
                <a:cubicBezTo>
                  <a:pt x="1012" y="1170"/>
                  <a:pt x="1012" y="1170"/>
                  <a:pt x="1012" y="1170"/>
                </a:cubicBezTo>
                <a:cubicBezTo>
                  <a:pt x="1011" y="1169"/>
                  <a:pt x="1011" y="1169"/>
                  <a:pt x="1011" y="1169"/>
                </a:cubicBezTo>
                <a:cubicBezTo>
                  <a:pt x="1010" y="1170"/>
                  <a:pt x="1010" y="1170"/>
                  <a:pt x="1010" y="1170"/>
                </a:cubicBezTo>
                <a:cubicBezTo>
                  <a:pt x="1008" y="1173"/>
                  <a:pt x="1008" y="1173"/>
                  <a:pt x="1008" y="1173"/>
                </a:cubicBezTo>
                <a:cubicBezTo>
                  <a:pt x="1009" y="1173"/>
                  <a:pt x="1009" y="1173"/>
                  <a:pt x="1009" y="1173"/>
                </a:cubicBezTo>
                <a:cubicBezTo>
                  <a:pt x="1010" y="1174"/>
                  <a:pt x="1010" y="1174"/>
                  <a:pt x="1010" y="1174"/>
                </a:cubicBezTo>
                <a:cubicBezTo>
                  <a:pt x="1011" y="1174"/>
                  <a:pt x="1011" y="1174"/>
                  <a:pt x="1011" y="1174"/>
                </a:cubicBezTo>
                <a:cubicBezTo>
                  <a:pt x="1010" y="1173"/>
                  <a:pt x="1010" y="1173"/>
                  <a:pt x="1010" y="1173"/>
                </a:cubicBezTo>
                <a:cubicBezTo>
                  <a:pt x="1011" y="1172"/>
                  <a:pt x="1011" y="1172"/>
                  <a:pt x="1011" y="1172"/>
                </a:cubicBezTo>
                <a:cubicBezTo>
                  <a:pt x="1012" y="1173"/>
                  <a:pt x="1012" y="1173"/>
                  <a:pt x="1012" y="1173"/>
                </a:cubicBezTo>
                <a:cubicBezTo>
                  <a:pt x="1012" y="1172"/>
                  <a:pt x="1012" y="1172"/>
                  <a:pt x="1012" y="1172"/>
                </a:cubicBezTo>
                <a:cubicBezTo>
                  <a:pt x="1012" y="1171"/>
                  <a:pt x="1012" y="1171"/>
                  <a:pt x="1012" y="1171"/>
                </a:cubicBezTo>
                <a:cubicBezTo>
                  <a:pt x="1013" y="1170"/>
                  <a:pt x="1013" y="1170"/>
                  <a:pt x="1013" y="1170"/>
                </a:cubicBezTo>
                <a:cubicBezTo>
                  <a:pt x="1014" y="1170"/>
                  <a:pt x="1014" y="1170"/>
                  <a:pt x="1014" y="1170"/>
                </a:cubicBezTo>
                <a:cubicBezTo>
                  <a:pt x="1016" y="1170"/>
                  <a:pt x="1016" y="1170"/>
                  <a:pt x="1016" y="1170"/>
                </a:cubicBezTo>
                <a:cubicBezTo>
                  <a:pt x="1017" y="1169"/>
                  <a:pt x="1017" y="1169"/>
                  <a:pt x="1017" y="1169"/>
                </a:cubicBezTo>
                <a:cubicBezTo>
                  <a:pt x="1018" y="1169"/>
                  <a:pt x="1018" y="1169"/>
                  <a:pt x="1018" y="1169"/>
                </a:cubicBezTo>
                <a:cubicBezTo>
                  <a:pt x="1018" y="1168"/>
                  <a:pt x="1018" y="1168"/>
                  <a:pt x="1018" y="1168"/>
                </a:cubicBezTo>
                <a:cubicBezTo>
                  <a:pt x="1017" y="1168"/>
                  <a:pt x="1017" y="1168"/>
                  <a:pt x="1017" y="1168"/>
                </a:cubicBezTo>
                <a:cubicBezTo>
                  <a:pt x="1017" y="1167"/>
                  <a:pt x="1017" y="1167"/>
                  <a:pt x="1017" y="1167"/>
                </a:cubicBezTo>
                <a:cubicBezTo>
                  <a:pt x="1018" y="1167"/>
                  <a:pt x="1018" y="1167"/>
                  <a:pt x="1018" y="1167"/>
                </a:cubicBezTo>
                <a:close/>
                <a:moveTo>
                  <a:pt x="745" y="634"/>
                </a:moveTo>
                <a:cubicBezTo>
                  <a:pt x="744" y="634"/>
                  <a:pt x="744" y="634"/>
                  <a:pt x="744" y="634"/>
                </a:cubicBezTo>
                <a:cubicBezTo>
                  <a:pt x="744" y="635"/>
                  <a:pt x="744" y="635"/>
                  <a:pt x="744" y="635"/>
                </a:cubicBezTo>
                <a:cubicBezTo>
                  <a:pt x="745" y="635"/>
                  <a:pt x="745" y="635"/>
                  <a:pt x="745" y="635"/>
                </a:cubicBezTo>
                <a:cubicBezTo>
                  <a:pt x="745" y="634"/>
                  <a:pt x="745" y="634"/>
                  <a:pt x="745" y="634"/>
                </a:cubicBezTo>
                <a:close/>
                <a:moveTo>
                  <a:pt x="663" y="633"/>
                </a:moveTo>
                <a:cubicBezTo>
                  <a:pt x="663" y="632"/>
                  <a:pt x="663" y="632"/>
                  <a:pt x="663" y="632"/>
                </a:cubicBezTo>
                <a:cubicBezTo>
                  <a:pt x="662" y="632"/>
                  <a:pt x="662" y="632"/>
                  <a:pt x="662" y="632"/>
                </a:cubicBezTo>
                <a:cubicBezTo>
                  <a:pt x="663" y="633"/>
                  <a:pt x="663" y="633"/>
                  <a:pt x="663" y="633"/>
                </a:cubicBezTo>
                <a:close/>
                <a:moveTo>
                  <a:pt x="744" y="637"/>
                </a:moveTo>
                <a:cubicBezTo>
                  <a:pt x="743" y="639"/>
                  <a:pt x="743" y="639"/>
                  <a:pt x="743" y="639"/>
                </a:cubicBezTo>
                <a:cubicBezTo>
                  <a:pt x="744" y="638"/>
                  <a:pt x="744" y="638"/>
                  <a:pt x="744" y="638"/>
                </a:cubicBezTo>
                <a:cubicBezTo>
                  <a:pt x="744" y="637"/>
                  <a:pt x="744" y="637"/>
                  <a:pt x="744" y="637"/>
                </a:cubicBezTo>
                <a:close/>
                <a:moveTo>
                  <a:pt x="1034" y="785"/>
                </a:moveTo>
                <a:cubicBezTo>
                  <a:pt x="1034" y="785"/>
                  <a:pt x="1034" y="785"/>
                  <a:pt x="1033" y="785"/>
                </a:cubicBezTo>
                <a:cubicBezTo>
                  <a:pt x="1033" y="785"/>
                  <a:pt x="1033" y="785"/>
                  <a:pt x="1033" y="787"/>
                </a:cubicBezTo>
                <a:cubicBezTo>
                  <a:pt x="1033" y="787"/>
                  <a:pt x="1033" y="787"/>
                  <a:pt x="1034" y="788"/>
                </a:cubicBezTo>
                <a:cubicBezTo>
                  <a:pt x="1034" y="788"/>
                  <a:pt x="1034" y="788"/>
                  <a:pt x="1035" y="787"/>
                </a:cubicBezTo>
                <a:cubicBezTo>
                  <a:pt x="1035" y="787"/>
                  <a:pt x="1035" y="787"/>
                  <a:pt x="1034" y="785"/>
                </a:cubicBezTo>
                <a:close/>
                <a:moveTo>
                  <a:pt x="1128" y="838"/>
                </a:moveTo>
                <a:cubicBezTo>
                  <a:pt x="1128" y="838"/>
                  <a:pt x="1128" y="838"/>
                  <a:pt x="1130" y="842"/>
                </a:cubicBezTo>
                <a:cubicBezTo>
                  <a:pt x="1130" y="842"/>
                  <a:pt x="1130" y="842"/>
                  <a:pt x="1131" y="844"/>
                </a:cubicBezTo>
                <a:cubicBezTo>
                  <a:pt x="1131" y="844"/>
                  <a:pt x="1131" y="844"/>
                  <a:pt x="1131" y="848"/>
                </a:cubicBezTo>
                <a:cubicBezTo>
                  <a:pt x="1131" y="848"/>
                  <a:pt x="1131" y="848"/>
                  <a:pt x="1130" y="849"/>
                </a:cubicBezTo>
                <a:cubicBezTo>
                  <a:pt x="1130" y="849"/>
                  <a:pt x="1130" y="849"/>
                  <a:pt x="1131" y="851"/>
                </a:cubicBezTo>
                <a:cubicBezTo>
                  <a:pt x="1131" y="851"/>
                  <a:pt x="1131" y="851"/>
                  <a:pt x="1131" y="852"/>
                </a:cubicBezTo>
                <a:cubicBezTo>
                  <a:pt x="1131" y="852"/>
                  <a:pt x="1131" y="852"/>
                  <a:pt x="1130" y="853"/>
                </a:cubicBezTo>
                <a:cubicBezTo>
                  <a:pt x="1130" y="853"/>
                  <a:pt x="1130" y="853"/>
                  <a:pt x="1130" y="854"/>
                </a:cubicBezTo>
                <a:cubicBezTo>
                  <a:pt x="1130" y="854"/>
                  <a:pt x="1130" y="854"/>
                  <a:pt x="1129" y="858"/>
                </a:cubicBezTo>
                <a:cubicBezTo>
                  <a:pt x="1129" y="858"/>
                  <a:pt x="1129" y="858"/>
                  <a:pt x="1128" y="859"/>
                </a:cubicBezTo>
                <a:cubicBezTo>
                  <a:pt x="1128" y="859"/>
                  <a:pt x="1128" y="859"/>
                  <a:pt x="1125" y="862"/>
                </a:cubicBezTo>
                <a:cubicBezTo>
                  <a:pt x="1125" y="862"/>
                  <a:pt x="1125" y="862"/>
                  <a:pt x="1123" y="865"/>
                </a:cubicBezTo>
                <a:cubicBezTo>
                  <a:pt x="1123" y="865"/>
                  <a:pt x="1123" y="865"/>
                  <a:pt x="1122" y="866"/>
                </a:cubicBezTo>
                <a:cubicBezTo>
                  <a:pt x="1122" y="866"/>
                  <a:pt x="1122" y="866"/>
                  <a:pt x="1121" y="866"/>
                </a:cubicBezTo>
                <a:cubicBezTo>
                  <a:pt x="1121" y="866"/>
                  <a:pt x="1121" y="866"/>
                  <a:pt x="1120" y="867"/>
                </a:cubicBezTo>
                <a:cubicBezTo>
                  <a:pt x="1120" y="867"/>
                  <a:pt x="1120" y="867"/>
                  <a:pt x="1117" y="869"/>
                </a:cubicBezTo>
                <a:cubicBezTo>
                  <a:pt x="1117" y="869"/>
                  <a:pt x="1117" y="869"/>
                  <a:pt x="1116" y="871"/>
                </a:cubicBezTo>
                <a:cubicBezTo>
                  <a:pt x="1116" y="871"/>
                  <a:pt x="1116" y="871"/>
                  <a:pt x="1115" y="873"/>
                </a:cubicBezTo>
                <a:cubicBezTo>
                  <a:pt x="1115" y="873"/>
                  <a:pt x="1115" y="873"/>
                  <a:pt x="1115" y="874"/>
                </a:cubicBezTo>
                <a:cubicBezTo>
                  <a:pt x="1115" y="874"/>
                  <a:pt x="1115" y="874"/>
                  <a:pt x="1114" y="876"/>
                </a:cubicBezTo>
                <a:cubicBezTo>
                  <a:pt x="1114" y="876"/>
                  <a:pt x="1114" y="876"/>
                  <a:pt x="1113" y="878"/>
                </a:cubicBezTo>
                <a:cubicBezTo>
                  <a:pt x="1113" y="878"/>
                  <a:pt x="1113" y="878"/>
                  <a:pt x="1111" y="881"/>
                </a:cubicBezTo>
                <a:cubicBezTo>
                  <a:pt x="1111" y="881"/>
                  <a:pt x="1111" y="881"/>
                  <a:pt x="1110" y="882"/>
                </a:cubicBezTo>
                <a:cubicBezTo>
                  <a:pt x="1110" y="882"/>
                  <a:pt x="1110" y="882"/>
                  <a:pt x="1108" y="883"/>
                </a:cubicBezTo>
                <a:cubicBezTo>
                  <a:pt x="1108" y="883"/>
                  <a:pt x="1108" y="883"/>
                  <a:pt x="1108" y="882"/>
                </a:cubicBezTo>
                <a:cubicBezTo>
                  <a:pt x="1108" y="882"/>
                  <a:pt x="1108" y="882"/>
                  <a:pt x="1109" y="882"/>
                </a:cubicBezTo>
                <a:cubicBezTo>
                  <a:pt x="1109" y="882"/>
                  <a:pt x="1109" y="882"/>
                  <a:pt x="1110" y="881"/>
                </a:cubicBezTo>
                <a:cubicBezTo>
                  <a:pt x="1110" y="881"/>
                  <a:pt x="1110" y="881"/>
                  <a:pt x="1109" y="880"/>
                </a:cubicBezTo>
                <a:cubicBezTo>
                  <a:pt x="1109" y="880"/>
                  <a:pt x="1109" y="880"/>
                  <a:pt x="1108" y="880"/>
                </a:cubicBezTo>
                <a:cubicBezTo>
                  <a:pt x="1108" y="880"/>
                  <a:pt x="1108" y="880"/>
                  <a:pt x="1107" y="881"/>
                </a:cubicBezTo>
                <a:cubicBezTo>
                  <a:pt x="1107" y="881"/>
                  <a:pt x="1107" y="881"/>
                  <a:pt x="1106" y="881"/>
                </a:cubicBezTo>
                <a:cubicBezTo>
                  <a:pt x="1106" y="881"/>
                  <a:pt x="1106" y="881"/>
                  <a:pt x="1105" y="880"/>
                </a:cubicBezTo>
                <a:cubicBezTo>
                  <a:pt x="1105" y="880"/>
                  <a:pt x="1105" y="880"/>
                  <a:pt x="1104" y="880"/>
                </a:cubicBezTo>
                <a:cubicBezTo>
                  <a:pt x="1104" y="880"/>
                  <a:pt x="1104" y="880"/>
                  <a:pt x="1106" y="881"/>
                </a:cubicBezTo>
                <a:cubicBezTo>
                  <a:pt x="1106" y="881"/>
                  <a:pt x="1106" y="881"/>
                  <a:pt x="1107" y="882"/>
                </a:cubicBezTo>
                <a:cubicBezTo>
                  <a:pt x="1107" y="882"/>
                  <a:pt x="1107" y="882"/>
                  <a:pt x="1107" y="884"/>
                </a:cubicBezTo>
                <a:cubicBezTo>
                  <a:pt x="1107" y="884"/>
                  <a:pt x="1107" y="884"/>
                  <a:pt x="1106" y="884"/>
                </a:cubicBezTo>
                <a:cubicBezTo>
                  <a:pt x="1106" y="884"/>
                  <a:pt x="1106" y="884"/>
                  <a:pt x="1106" y="885"/>
                </a:cubicBezTo>
                <a:cubicBezTo>
                  <a:pt x="1106" y="885"/>
                  <a:pt x="1106" y="885"/>
                  <a:pt x="1106" y="886"/>
                </a:cubicBezTo>
                <a:cubicBezTo>
                  <a:pt x="1106" y="886"/>
                  <a:pt x="1106" y="886"/>
                  <a:pt x="1105" y="888"/>
                </a:cubicBezTo>
                <a:cubicBezTo>
                  <a:pt x="1105" y="888"/>
                  <a:pt x="1105" y="888"/>
                  <a:pt x="1105" y="889"/>
                </a:cubicBezTo>
                <a:cubicBezTo>
                  <a:pt x="1105" y="889"/>
                  <a:pt x="1105" y="889"/>
                  <a:pt x="1106" y="889"/>
                </a:cubicBezTo>
                <a:cubicBezTo>
                  <a:pt x="1106" y="889"/>
                  <a:pt x="1106" y="889"/>
                  <a:pt x="1107" y="889"/>
                </a:cubicBezTo>
                <a:cubicBezTo>
                  <a:pt x="1107" y="889"/>
                  <a:pt x="1107" y="889"/>
                  <a:pt x="1107" y="890"/>
                </a:cubicBezTo>
                <a:cubicBezTo>
                  <a:pt x="1107" y="890"/>
                  <a:pt x="1107" y="890"/>
                  <a:pt x="1106" y="891"/>
                </a:cubicBezTo>
                <a:cubicBezTo>
                  <a:pt x="1106" y="891"/>
                  <a:pt x="1106" y="891"/>
                  <a:pt x="1106" y="893"/>
                </a:cubicBezTo>
                <a:cubicBezTo>
                  <a:pt x="1106" y="893"/>
                  <a:pt x="1106" y="893"/>
                  <a:pt x="1107" y="901"/>
                </a:cubicBezTo>
                <a:cubicBezTo>
                  <a:pt x="1107" y="901"/>
                  <a:pt x="1107" y="901"/>
                  <a:pt x="1106" y="903"/>
                </a:cubicBezTo>
                <a:cubicBezTo>
                  <a:pt x="1106" y="903"/>
                  <a:pt x="1106" y="903"/>
                  <a:pt x="1106" y="904"/>
                </a:cubicBezTo>
                <a:cubicBezTo>
                  <a:pt x="1106" y="904"/>
                  <a:pt x="1106" y="904"/>
                  <a:pt x="1106" y="906"/>
                </a:cubicBezTo>
                <a:cubicBezTo>
                  <a:pt x="1106" y="906"/>
                  <a:pt x="1106" y="906"/>
                  <a:pt x="1106" y="908"/>
                </a:cubicBezTo>
                <a:cubicBezTo>
                  <a:pt x="1106" y="908"/>
                  <a:pt x="1106" y="908"/>
                  <a:pt x="1105" y="911"/>
                </a:cubicBezTo>
                <a:cubicBezTo>
                  <a:pt x="1105" y="911"/>
                  <a:pt x="1105" y="911"/>
                  <a:pt x="1106" y="913"/>
                </a:cubicBezTo>
                <a:cubicBezTo>
                  <a:pt x="1106" y="913"/>
                  <a:pt x="1106" y="913"/>
                  <a:pt x="1105" y="914"/>
                </a:cubicBezTo>
                <a:cubicBezTo>
                  <a:pt x="1105" y="914"/>
                  <a:pt x="1105" y="914"/>
                  <a:pt x="1104" y="915"/>
                </a:cubicBezTo>
                <a:cubicBezTo>
                  <a:pt x="1104" y="915"/>
                  <a:pt x="1104" y="915"/>
                  <a:pt x="1103" y="916"/>
                </a:cubicBezTo>
                <a:cubicBezTo>
                  <a:pt x="1103" y="916"/>
                  <a:pt x="1103" y="916"/>
                  <a:pt x="1103" y="917"/>
                </a:cubicBezTo>
                <a:cubicBezTo>
                  <a:pt x="1103" y="917"/>
                  <a:pt x="1103" y="917"/>
                  <a:pt x="1102" y="920"/>
                </a:cubicBezTo>
                <a:cubicBezTo>
                  <a:pt x="1102" y="920"/>
                  <a:pt x="1102" y="920"/>
                  <a:pt x="1103" y="924"/>
                </a:cubicBezTo>
                <a:cubicBezTo>
                  <a:pt x="1103" y="924"/>
                  <a:pt x="1103" y="924"/>
                  <a:pt x="1103" y="926"/>
                </a:cubicBezTo>
                <a:cubicBezTo>
                  <a:pt x="1103" y="926"/>
                  <a:pt x="1103" y="926"/>
                  <a:pt x="1100" y="928"/>
                </a:cubicBezTo>
                <a:cubicBezTo>
                  <a:pt x="1100" y="928"/>
                  <a:pt x="1100" y="928"/>
                  <a:pt x="1099" y="931"/>
                </a:cubicBezTo>
                <a:cubicBezTo>
                  <a:pt x="1099" y="931"/>
                  <a:pt x="1099" y="931"/>
                  <a:pt x="1099" y="933"/>
                </a:cubicBezTo>
                <a:cubicBezTo>
                  <a:pt x="1099" y="933"/>
                  <a:pt x="1099" y="933"/>
                  <a:pt x="1098" y="933"/>
                </a:cubicBezTo>
                <a:cubicBezTo>
                  <a:pt x="1098" y="933"/>
                  <a:pt x="1098" y="933"/>
                  <a:pt x="1097" y="934"/>
                </a:cubicBezTo>
                <a:cubicBezTo>
                  <a:pt x="1097" y="934"/>
                  <a:pt x="1097" y="934"/>
                  <a:pt x="1097" y="935"/>
                </a:cubicBezTo>
                <a:cubicBezTo>
                  <a:pt x="1097" y="935"/>
                  <a:pt x="1097" y="935"/>
                  <a:pt x="1096" y="936"/>
                </a:cubicBezTo>
                <a:cubicBezTo>
                  <a:pt x="1096" y="936"/>
                  <a:pt x="1096" y="936"/>
                  <a:pt x="1095" y="938"/>
                </a:cubicBezTo>
                <a:cubicBezTo>
                  <a:pt x="1095" y="938"/>
                  <a:pt x="1095" y="938"/>
                  <a:pt x="1097" y="940"/>
                </a:cubicBezTo>
                <a:cubicBezTo>
                  <a:pt x="1097" y="940"/>
                  <a:pt x="1097" y="940"/>
                  <a:pt x="1097" y="941"/>
                </a:cubicBezTo>
                <a:cubicBezTo>
                  <a:pt x="1097" y="941"/>
                  <a:pt x="1097" y="941"/>
                  <a:pt x="1096" y="942"/>
                </a:cubicBezTo>
                <a:cubicBezTo>
                  <a:pt x="1096" y="942"/>
                  <a:pt x="1096" y="942"/>
                  <a:pt x="1095" y="942"/>
                </a:cubicBezTo>
                <a:cubicBezTo>
                  <a:pt x="1095" y="942"/>
                  <a:pt x="1095" y="942"/>
                  <a:pt x="1093" y="943"/>
                </a:cubicBezTo>
                <a:cubicBezTo>
                  <a:pt x="1093" y="943"/>
                  <a:pt x="1093" y="943"/>
                  <a:pt x="1090" y="945"/>
                </a:cubicBezTo>
                <a:cubicBezTo>
                  <a:pt x="1090" y="945"/>
                  <a:pt x="1090" y="945"/>
                  <a:pt x="1090" y="946"/>
                </a:cubicBezTo>
                <a:cubicBezTo>
                  <a:pt x="1090" y="946"/>
                  <a:pt x="1090" y="946"/>
                  <a:pt x="1090" y="947"/>
                </a:cubicBezTo>
                <a:cubicBezTo>
                  <a:pt x="1090" y="947"/>
                  <a:pt x="1090" y="947"/>
                  <a:pt x="1089" y="948"/>
                </a:cubicBezTo>
                <a:cubicBezTo>
                  <a:pt x="1089" y="948"/>
                  <a:pt x="1089" y="948"/>
                  <a:pt x="1087" y="947"/>
                </a:cubicBezTo>
                <a:cubicBezTo>
                  <a:pt x="1087" y="947"/>
                  <a:pt x="1087" y="947"/>
                  <a:pt x="1085" y="947"/>
                </a:cubicBezTo>
                <a:cubicBezTo>
                  <a:pt x="1085" y="947"/>
                  <a:pt x="1085" y="947"/>
                  <a:pt x="1084" y="948"/>
                </a:cubicBezTo>
                <a:cubicBezTo>
                  <a:pt x="1084" y="948"/>
                  <a:pt x="1084" y="948"/>
                  <a:pt x="1082" y="948"/>
                </a:cubicBezTo>
                <a:cubicBezTo>
                  <a:pt x="1082" y="948"/>
                  <a:pt x="1082" y="948"/>
                  <a:pt x="1082" y="946"/>
                </a:cubicBezTo>
                <a:cubicBezTo>
                  <a:pt x="1082" y="946"/>
                  <a:pt x="1082" y="946"/>
                  <a:pt x="1081" y="946"/>
                </a:cubicBezTo>
                <a:cubicBezTo>
                  <a:pt x="1081" y="946"/>
                  <a:pt x="1081" y="946"/>
                  <a:pt x="1081" y="947"/>
                </a:cubicBezTo>
                <a:cubicBezTo>
                  <a:pt x="1081" y="947"/>
                  <a:pt x="1081" y="947"/>
                  <a:pt x="1078" y="948"/>
                </a:cubicBezTo>
                <a:cubicBezTo>
                  <a:pt x="1078" y="948"/>
                  <a:pt x="1078" y="948"/>
                  <a:pt x="1076" y="949"/>
                </a:cubicBezTo>
                <a:cubicBezTo>
                  <a:pt x="1076" y="949"/>
                  <a:pt x="1076" y="949"/>
                  <a:pt x="1075" y="948"/>
                </a:cubicBezTo>
                <a:cubicBezTo>
                  <a:pt x="1075" y="948"/>
                  <a:pt x="1075" y="948"/>
                  <a:pt x="1077" y="948"/>
                </a:cubicBezTo>
                <a:cubicBezTo>
                  <a:pt x="1077" y="948"/>
                  <a:pt x="1077" y="948"/>
                  <a:pt x="1079" y="947"/>
                </a:cubicBezTo>
                <a:cubicBezTo>
                  <a:pt x="1079" y="947"/>
                  <a:pt x="1079" y="947"/>
                  <a:pt x="1079" y="946"/>
                </a:cubicBezTo>
                <a:cubicBezTo>
                  <a:pt x="1079" y="946"/>
                  <a:pt x="1079" y="946"/>
                  <a:pt x="1078" y="946"/>
                </a:cubicBezTo>
                <a:cubicBezTo>
                  <a:pt x="1078" y="946"/>
                  <a:pt x="1078" y="946"/>
                  <a:pt x="1077" y="947"/>
                </a:cubicBezTo>
                <a:cubicBezTo>
                  <a:pt x="1077" y="947"/>
                  <a:pt x="1077" y="947"/>
                  <a:pt x="1076" y="947"/>
                </a:cubicBezTo>
                <a:cubicBezTo>
                  <a:pt x="1076" y="947"/>
                  <a:pt x="1076" y="947"/>
                  <a:pt x="1075" y="947"/>
                </a:cubicBezTo>
                <a:cubicBezTo>
                  <a:pt x="1075" y="947"/>
                  <a:pt x="1075" y="947"/>
                  <a:pt x="1073" y="948"/>
                </a:cubicBezTo>
                <a:cubicBezTo>
                  <a:pt x="1073" y="948"/>
                  <a:pt x="1073" y="948"/>
                  <a:pt x="1072" y="948"/>
                </a:cubicBezTo>
                <a:cubicBezTo>
                  <a:pt x="1072" y="948"/>
                  <a:pt x="1072" y="948"/>
                  <a:pt x="1073" y="949"/>
                </a:cubicBezTo>
                <a:cubicBezTo>
                  <a:pt x="1073" y="949"/>
                  <a:pt x="1073" y="949"/>
                  <a:pt x="1074" y="949"/>
                </a:cubicBezTo>
                <a:cubicBezTo>
                  <a:pt x="1074" y="949"/>
                  <a:pt x="1074" y="949"/>
                  <a:pt x="1074" y="950"/>
                </a:cubicBezTo>
                <a:cubicBezTo>
                  <a:pt x="1074" y="950"/>
                  <a:pt x="1074" y="950"/>
                  <a:pt x="1073" y="950"/>
                </a:cubicBezTo>
                <a:cubicBezTo>
                  <a:pt x="1073" y="950"/>
                  <a:pt x="1073" y="950"/>
                  <a:pt x="1070" y="952"/>
                </a:cubicBezTo>
                <a:cubicBezTo>
                  <a:pt x="1070" y="952"/>
                  <a:pt x="1070" y="952"/>
                  <a:pt x="1069" y="954"/>
                </a:cubicBezTo>
                <a:cubicBezTo>
                  <a:pt x="1069" y="954"/>
                  <a:pt x="1069" y="954"/>
                  <a:pt x="1068" y="954"/>
                </a:cubicBezTo>
                <a:cubicBezTo>
                  <a:pt x="1068" y="954"/>
                  <a:pt x="1068" y="954"/>
                  <a:pt x="1066" y="954"/>
                </a:cubicBezTo>
                <a:cubicBezTo>
                  <a:pt x="1066" y="954"/>
                  <a:pt x="1066" y="954"/>
                  <a:pt x="1065" y="955"/>
                </a:cubicBezTo>
                <a:cubicBezTo>
                  <a:pt x="1065" y="955"/>
                  <a:pt x="1065" y="955"/>
                  <a:pt x="1064" y="956"/>
                </a:cubicBezTo>
                <a:cubicBezTo>
                  <a:pt x="1064" y="956"/>
                  <a:pt x="1064" y="956"/>
                  <a:pt x="1062" y="956"/>
                </a:cubicBezTo>
                <a:cubicBezTo>
                  <a:pt x="1062" y="956"/>
                  <a:pt x="1062" y="956"/>
                  <a:pt x="1059" y="959"/>
                </a:cubicBezTo>
                <a:cubicBezTo>
                  <a:pt x="1059" y="959"/>
                  <a:pt x="1059" y="959"/>
                  <a:pt x="1057" y="960"/>
                </a:cubicBezTo>
                <a:cubicBezTo>
                  <a:pt x="1057" y="960"/>
                  <a:pt x="1057" y="960"/>
                  <a:pt x="1055" y="962"/>
                </a:cubicBezTo>
                <a:cubicBezTo>
                  <a:pt x="1055" y="962"/>
                  <a:pt x="1055" y="962"/>
                  <a:pt x="1054" y="963"/>
                </a:cubicBezTo>
                <a:cubicBezTo>
                  <a:pt x="1054" y="963"/>
                  <a:pt x="1054" y="963"/>
                  <a:pt x="1052" y="965"/>
                </a:cubicBezTo>
                <a:cubicBezTo>
                  <a:pt x="1052" y="965"/>
                  <a:pt x="1052" y="965"/>
                  <a:pt x="1052" y="964"/>
                </a:cubicBezTo>
                <a:cubicBezTo>
                  <a:pt x="1052" y="964"/>
                  <a:pt x="1052" y="964"/>
                  <a:pt x="1051" y="966"/>
                </a:cubicBezTo>
                <a:cubicBezTo>
                  <a:pt x="1051" y="966"/>
                  <a:pt x="1051" y="966"/>
                  <a:pt x="1050" y="966"/>
                </a:cubicBezTo>
                <a:cubicBezTo>
                  <a:pt x="1050" y="966"/>
                  <a:pt x="1050" y="966"/>
                  <a:pt x="1051" y="967"/>
                </a:cubicBezTo>
                <a:cubicBezTo>
                  <a:pt x="1051" y="967"/>
                  <a:pt x="1051" y="967"/>
                  <a:pt x="1051" y="968"/>
                </a:cubicBezTo>
                <a:cubicBezTo>
                  <a:pt x="1051" y="968"/>
                  <a:pt x="1051" y="968"/>
                  <a:pt x="1050" y="968"/>
                </a:cubicBezTo>
                <a:cubicBezTo>
                  <a:pt x="1050" y="968"/>
                  <a:pt x="1050" y="968"/>
                  <a:pt x="1050" y="969"/>
                </a:cubicBezTo>
                <a:cubicBezTo>
                  <a:pt x="1050" y="969"/>
                  <a:pt x="1050" y="969"/>
                  <a:pt x="1051" y="970"/>
                </a:cubicBezTo>
                <a:cubicBezTo>
                  <a:pt x="1051" y="970"/>
                  <a:pt x="1051" y="970"/>
                  <a:pt x="1049" y="970"/>
                </a:cubicBezTo>
                <a:cubicBezTo>
                  <a:pt x="1049" y="970"/>
                  <a:pt x="1049" y="970"/>
                  <a:pt x="1049" y="971"/>
                </a:cubicBezTo>
                <a:cubicBezTo>
                  <a:pt x="1049" y="971"/>
                  <a:pt x="1049" y="971"/>
                  <a:pt x="1049" y="972"/>
                </a:cubicBezTo>
                <a:cubicBezTo>
                  <a:pt x="1049" y="972"/>
                  <a:pt x="1049" y="972"/>
                  <a:pt x="1050" y="974"/>
                </a:cubicBezTo>
                <a:cubicBezTo>
                  <a:pt x="1050" y="974"/>
                  <a:pt x="1050" y="974"/>
                  <a:pt x="1050" y="975"/>
                </a:cubicBezTo>
                <a:cubicBezTo>
                  <a:pt x="1050" y="975"/>
                  <a:pt x="1050" y="975"/>
                  <a:pt x="1050" y="976"/>
                </a:cubicBezTo>
                <a:cubicBezTo>
                  <a:pt x="1050" y="976"/>
                  <a:pt x="1050" y="976"/>
                  <a:pt x="1050" y="977"/>
                </a:cubicBezTo>
                <a:cubicBezTo>
                  <a:pt x="1050" y="977"/>
                  <a:pt x="1050" y="977"/>
                  <a:pt x="1051" y="978"/>
                </a:cubicBezTo>
                <a:cubicBezTo>
                  <a:pt x="1051" y="978"/>
                  <a:pt x="1051" y="978"/>
                  <a:pt x="1051" y="980"/>
                </a:cubicBezTo>
                <a:cubicBezTo>
                  <a:pt x="1051" y="980"/>
                  <a:pt x="1051" y="980"/>
                  <a:pt x="1052" y="980"/>
                </a:cubicBezTo>
                <a:cubicBezTo>
                  <a:pt x="1052" y="980"/>
                  <a:pt x="1052" y="980"/>
                  <a:pt x="1051" y="981"/>
                </a:cubicBezTo>
                <a:cubicBezTo>
                  <a:pt x="1051" y="981"/>
                  <a:pt x="1051" y="981"/>
                  <a:pt x="1052" y="982"/>
                </a:cubicBezTo>
                <a:cubicBezTo>
                  <a:pt x="1052" y="982"/>
                  <a:pt x="1052" y="982"/>
                  <a:pt x="1051" y="983"/>
                </a:cubicBezTo>
                <a:cubicBezTo>
                  <a:pt x="1051" y="983"/>
                  <a:pt x="1051" y="983"/>
                  <a:pt x="1050" y="984"/>
                </a:cubicBezTo>
                <a:cubicBezTo>
                  <a:pt x="1050" y="984"/>
                  <a:pt x="1050" y="984"/>
                  <a:pt x="1050" y="985"/>
                </a:cubicBezTo>
                <a:cubicBezTo>
                  <a:pt x="1050" y="985"/>
                  <a:pt x="1050" y="985"/>
                  <a:pt x="1050" y="986"/>
                </a:cubicBezTo>
                <a:cubicBezTo>
                  <a:pt x="1050" y="986"/>
                  <a:pt x="1050" y="986"/>
                  <a:pt x="1049" y="987"/>
                </a:cubicBezTo>
                <a:cubicBezTo>
                  <a:pt x="1049" y="987"/>
                  <a:pt x="1049" y="987"/>
                  <a:pt x="1047" y="990"/>
                </a:cubicBezTo>
                <a:cubicBezTo>
                  <a:pt x="1047" y="990"/>
                  <a:pt x="1047" y="990"/>
                  <a:pt x="1044" y="995"/>
                </a:cubicBezTo>
                <a:cubicBezTo>
                  <a:pt x="1044" y="995"/>
                  <a:pt x="1044" y="995"/>
                  <a:pt x="1043" y="999"/>
                </a:cubicBezTo>
                <a:cubicBezTo>
                  <a:pt x="1043" y="999"/>
                  <a:pt x="1043" y="999"/>
                  <a:pt x="1041" y="1001"/>
                </a:cubicBezTo>
                <a:cubicBezTo>
                  <a:pt x="1041" y="1001"/>
                  <a:pt x="1041" y="1001"/>
                  <a:pt x="1039" y="1006"/>
                </a:cubicBezTo>
                <a:cubicBezTo>
                  <a:pt x="1039" y="1006"/>
                  <a:pt x="1039" y="1006"/>
                  <a:pt x="1036" y="1008"/>
                </a:cubicBezTo>
                <a:cubicBezTo>
                  <a:pt x="1036" y="1008"/>
                  <a:pt x="1036" y="1008"/>
                  <a:pt x="1036" y="1007"/>
                </a:cubicBezTo>
                <a:cubicBezTo>
                  <a:pt x="1036" y="1007"/>
                  <a:pt x="1036" y="1007"/>
                  <a:pt x="1036" y="1005"/>
                </a:cubicBezTo>
                <a:cubicBezTo>
                  <a:pt x="1036" y="1005"/>
                  <a:pt x="1036" y="1005"/>
                  <a:pt x="1037" y="1005"/>
                </a:cubicBezTo>
                <a:cubicBezTo>
                  <a:pt x="1037" y="1005"/>
                  <a:pt x="1037" y="1005"/>
                  <a:pt x="1039" y="1003"/>
                </a:cubicBezTo>
                <a:cubicBezTo>
                  <a:pt x="1039" y="1003"/>
                  <a:pt x="1039" y="1003"/>
                  <a:pt x="1040" y="1001"/>
                </a:cubicBezTo>
                <a:cubicBezTo>
                  <a:pt x="1040" y="1001"/>
                  <a:pt x="1040" y="1001"/>
                  <a:pt x="1040" y="999"/>
                </a:cubicBezTo>
                <a:cubicBezTo>
                  <a:pt x="1040" y="999"/>
                  <a:pt x="1040" y="999"/>
                  <a:pt x="1039" y="999"/>
                </a:cubicBezTo>
                <a:cubicBezTo>
                  <a:pt x="1039" y="999"/>
                  <a:pt x="1039" y="999"/>
                  <a:pt x="1038" y="999"/>
                </a:cubicBezTo>
                <a:cubicBezTo>
                  <a:pt x="1038" y="999"/>
                  <a:pt x="1038" y="999"/>
                  <a:pt x="1037" y="998"/>
                </a:cubicBezTo>
                <a:cubicBezTo>
                  <a:pt x="1037" y="998"/>
                  <a:pt x="1037" y="998"/>
                  <a:pt x="1036" y="996"/>
                </a:cubicBezTo>
                <a:cubicBezTo>
                  <a:pt x="1036" y="996"/>
                  <a:pt x="1036" y="996"/>
                  <a:pt x="1035" y="996"/>
                </a:cubicBezTo>
                <a:cubicBezTo>
                  <a:pt x="1035" y="996"/>
                  <a:pt x="1035" y="996"/>
                  <a:pt x="1036" y="997"/>
                </a:cubicBezTo>
                <a:cubicBezTo>
                  <a:pt x="1036" y="997"/>
                  <a:pt x="1036" y="997"/>
                  <a:pt x="1036" y="998"/>
                </a:cubicBezTo>
                <a:cubicBezTo>
                  <a:pt x="1036" y="998"/>
                  <a:pt x="1036" y="998"/>
                  <a:pt x="1037" y="999"/>
                </a:cubicBezTo>
                <a:cubicBezTo>
                  <a:pt x="1037" y="999"/>
                  <a:pt x="1037" y="999"/>
                  <a:pt x="1037" y="1000"/>
                </a:cubicBezTo>
                <a:cubicBezTo>
                  <a:pt x="1037" y="1000"/>
                  <a:pt x="1037" y="1000"/>
                  <a:pt x="1036" y="1001"/>
                </a:cubicBezTo>
                <a:cubicBezTo>
                  <a:pt x="1036" y="1001"/>
                  <a:pt x="1036" y="1001"/>
                  <a:pt x="1035" y="1002"/>
                </a:cubicBezTo>
                <a:cubicBezTo>
                  <a:pt x="1035" y="1002"/>
                  <a:pt x="1035" y="1002"/>
                  <a:pt x="1035" y="1003"/>
                </a:cubicBezTo>
                <a:cubicBezTo>
                  <a:pt x="1035" y="1003"/>
                  <a:pt x="1035" y="1003"/>
                  <a:pt x="1035" y="1004"/>
                </a:cubicBezTo>
                <a:cubicBezTo>
                  <a:pt x="1035" y="1004"/>
                  <a:pt x="1035" y="1004"/>
                  <a:pt x="1035" y="1005"/>
                </a:cubicBezTo>
                <a:cubicBezTo>
                  <a:pt x="1035" y="1005"/>
                  <a:pt x="1035" y="1005"/>
                  <a:pt x="1034" y="1006"/>
                </a:cubicBezTo>
                <a:cubicBezTo>
                  <a:pt x="1034" y="1006"/>
                  <a:pt x="1034" y="1006"/>
                  <a:pt x="1033" y="1006"/>
                </a:cubicBezTo>
                <a:cubicBezTo>
                  <a:pt x="1033" y="1006"/>
                  <a:pt x="1033" y="1006"/>
                  <a:pt x="1032" y="1006"/>
                </a:cubicBezTo>
                <a:cubicBezTo>
                  <a:pt x="1032" y="1006"/>
                  <a:pt x="1032" y="1006"/>
                  <a:pt x="1032" y="1007"/>
                </a:cubicBezTo>
                <a:cubicBezTo>
                  <a:pt x="1032" y="1007"/>
                  <a:pt x="1032" y="1007"/>
                  <a:pt x="1031" y="1008"/>
                </a:cubicBezTo>
                <a:cubicBezTo>
                  <a:pt x="1031" y="1008"/>
                  <a:pt x="1031" y="1008"/>
                  <a:pt x="1031" y="1009"/>
                </a:cubicBezTo>
                <a:cubicBezTo>
                  <a:pt x="1031" y="1009"/>
                  <a:pt x="1031" y="1009"/>
                  <a:pt x="1030" y="1009"/>
                </a:cubicBezTo>
                <a:cubicBezTo>
                  <a:pt x="1030" y="1009"/>
                  <a:pt x="1030" y="1009"/>
                  <a:pt x="1030" y="1010"/>
                </a:cubicBezTo>
                <a:cubicBezTo>
                  <a:pt x="1030" y="1010"/>
                  <a:pt x="1030" y="1010"/>
                  <a:pt x="1031" y="1012"/>
                </a:cubicBezTo>
                <a:cubicBezTo>
                  <a:pt x="1031" y="1012"/>
                  <a:pt x="1031" y="1012"/>
                  <a:pt x="1031" y="1013"/>
                </a:cubicBezTo>
                <a:cubicBezTo>
                  <a:pt x="1031" y="1013"/>
                  <a:pt x="1031" y="1013"/>
                  <a:pt x="1030" y="1016"/>
                </a:cubicBezTo>
                <a:cubicBezTo>
                  <a:pt x="1030" y="1016"/>
                  <a:pt x="1030" y="1016"/>
                  <a:pt x="1029" y="1020"/>
                </a:cubicBezTo>
                <a:cubicBezTo>
                  <a:pt x="1029" y="1020"/>
                  <a:pt x="1029" y="1020"/>
                  <a:pt x="1028" y="1022"/>
                </a:cubicBezTo>
                <a:cubicBezTo>
                  <a:pt x="1028" y="1022"/>
                  <a:pt x="1028" y="1022"/>
                  <a:pt x="1026" y="1024"/>
                </a:cubicBezTo>
                <a:cubicBezTo>
                  <a:pt x="1026" y="1024"/>
                  <a:pt x="1026" y="1024"/>
                  <a:pt x="1025" y="1025"/>
                </a:cubicBezTo>
                <a:cubicBezTo>
                  <a:pt x="1025" y="1025"/>
                  <a:pt x="1025" y="1025"/>
                  <a:pt x="1024" y="1026"/>
                </a:cubicBezTo>
                <a:cubicBezTo>
                  <a:pt x="1024" y="1026"/>
                  <a:pt x="1024" y="1026"/>
                  <a:pt x="1024" y="1028"/>
                </a:cubicBezTo>
                <a:cubicBezTo>
                  <a:pt x="1024" y="1028"/>
                  <a:pt x="1024" y="1028"/>
                  <a:pt x="1023" y="1029"/>
                </a:cubicBezTo>
                <a:cubicBezTo>
                  <a:pt x="1023" y="1029"/>
                  <a:pt x="1023" y="1029"/>
                  <a:pt x="1022" y="1030"/>
                </a:cubicBezTo>
                <a:cubicBezTo>
                  <a:pt x="1022" y="1030"/>
                  <a:pt x="1022" y="1030"/>
                  <a:pt x="1022" y="1031"/>
                </a:cubicBezTo>
                <a:cubicBezTo>
                  <a:pt x="1022" y="1031"/>
                  <a:pt x="1022" y="1031"/>
                  <a:pt x="1021" y="1032"/>
                </a:cubicBezTo>
                <a:cubicBezTo>
                  <a:pt x="1021" y="1032"/>
                  <a:pt x="1021" y="1032"/>
                  <a:pt x="1018" y="1033"/>
                </a:cubicBezTo>
                <a:cubicBezTo>
                  <a:pt x="1018" y="1033"/>
                  <a:pt x="1018" y="1033"/>
                  <a:pt x="1017" y="1033"/>
                </a:cubicBezTo>
                <a:cubicBezTo>
                  <a:pt x="1017" y="1033"/>
                  <a:pt x="1017" y="1033"/>
                  <a:pt x="1017" y="1034"/>
                </a:cubicBezTo>
                <a:cubicBezTo>
                  <a:pt x="1017" y="1034"/>
                  <a:pt x="1017" y="1034"/>
                  <a:pt x="1016" y="1034"/>
                </a:cubicBezTo>
                <a:cubicBezTo>
                  <a:pt x="1016" y="1034"/>
                  <a:pt x="1016" y="1034"/>
                  <a:pt x="1015" y="1034"/>
                </a:cubicBezTo>
                <a:cubicBezTo>
                  <a:pt x="1015" y="1034"/>
                  <a:pt x="1015" y="1034"/>
                  <a:pt x="1014" y="1034"/>
                </a:cubicBezTo>
                <a:cubicBezTo>
                  <a:pt x="1014" y="1034"/>
                  <a:pt x="1014" y="1034"/>
                  <a:pt x="1013" y="1033"/>
                </a:cubicBezTo>
                <a:cubicBezTo>
                  <a:pt x="1013" y="1033"/>
                  <a:pt x="1013" y="1033"/>
                  <a:pt x="1012" y="1033"/>
                </a:cubicBezTo>
                <a:cubicBezTo>
                  <a:pt x="1012" y="1033"/>
                  <a:pt x="1012" y="1033"/>
                  <a:pt x="1010" y="1033"/>
                </a:cubicBezTo>
                <a:cubicBezTo>
                  <a:pt x="1010" y="1033"/>
                  <a:pt x="1010" y="1033"/>
                  <a:pt x="1009" y="1034"/>
                </a:cubicBezTo>
                <a:cubicBezTo>
                  <a:pt x="1009" y="1034"/>
                  <a:pt x="1009" y="1034"/>
                  <a:pt x="1008" y="1034"/>
                </a:cubicBezTo>
                <a:cubicBezTo>
                  <a:pt x="1008" y="1034"/>
                  <a:pt x="1008" y="1034"/>
                  <a:pt x="1008" y="1033"/>
                </a:cubicBezTo>
                <a:cubicBezTo>
                  <a:pt x="1008" y="1033"/>
                  <a:pt x="1008" y="1033"/>
                  <a:pt x="1007" y="1033"/>
                </a:cubicBezTo>
                <a:cubicBezTo>
                  <a:pt x="1007" y="1033"/>
                  <a:pt x="1007" y="1033"/>
                  <a:pt x="1006" y="1032"/>
                </a:cubicBezTo>
                <a:cubicBezTo>
                  <a:pt x="1006" y="1032"/>
                  <a:pt x="1006" y="1032"/>
                  <a:pt x="1004" y="1031"/>
                </a:cubicBezTo>
                <a:cubicBezTo>
                  <a:pt x="1004" y="1031"/>
                  <a:pt x="1004" y="1031"/>
                  <a:pt x="1002" y="1031"/>
                </a:cubicBezTo>
                <a:cubicBezTo>
                  <a:pt x="1002" y="1031"/>
                  <a:pt x="1002" y="1031"/>
                  <a:pt x="1000" y="1031"/>
                </a:cubicBezTo>
                <a:cubicBezTo>
                  <a:pt x="1000" y="1031"/>
                  <a:pt x="1000" y="1031"/>
                  <a:pt x="999" y="1031"/>
                </a:cubicBezTo>
                <a:cubicBezTo>
                  <a:pt x="999" y="1031"/>
                  <a:pt x="999" y="1031"/>
                  <a:pt x="997" y="1030"/>
                </a:cubicBezTo>
                <a:cubicBezTo>
                  <a:pt x="997" y="1030"/>
                  <a:pt x="997" y="1030"/>
                  <a:pt x="996" y="1029"/>
                </a:cubicBezTo>
                <a:cubicBezTo>
                  <a:pt x="996" y="1029"/>
                  <a:pt x="996" y="1029"/>
                  <a:pt x="995" y="1027"/>
                </a:cubicBezTo>
                <a:cubicBezTo>
                  <a:pt x="995" y="1027"/>
                  <a:pt x="995" y="1027"/>
                  <a:pt x="994" y="1025"/>
                </a:cubicBezTo>
                <a:cubicBezTo>
                  <a:pt x="994" y="1025"/>
                  <a:pt x="994" y="1025"/>
                  <a:pt x="994" y="1022"/>
                </a:cubicBezTo>
                <a:cubicBezTo>
                  <a:pt x="994" y="1022"/>
                  <a:pt x="994" y="1022"/>
                  <a:pt x="993" y="1024"/>
                </a:cubicBezTo>
                <a:cubicBezTo>
                  <a:pt x="993" y="1024"/>
                  <a:pt x="993" y="1024"/>
                  <a:pt x="994" y="1027"/>
                </a:cubicBezTo>
                <a:cubicBezTo>
                  <a:pt x="994" y="1027"/>
                  <a:pt x="994" y="1027"/>
                  <a:pt x="994" y="1028"/>
                </a:cubicBezTo>
                <a:cubicBezTo>
                  <a:pt x="994" y="1028"/>
                  <a:pt x="994" y="1028"/>
                  <a:pt x="994" y="1029"/>
                </a:cubicBezTo>
                <a:cubicBezTo>
                  <a:pt x="994" y="1029"/>
                  <a:pt x="994" y="1029"/>
                  <a:pt x="994" y="1030"/>
                </a:cubicBezTo>
                <a:cubicBezTo>
                  <a:pt x="994" y="1030"/>
                  <a:pt x="994" y="1030"/>
                  <a:pt x="995" y="1031"/>
                </a:cubicBezTo>
                <a:cubicBezTo>
                  <a:pt x="995" y="1031"/>
                  <a:pt x="995" y="1031"/>
                  <a:pt x="997" y="1033"/>
                </a:cubicBezTo>
                <a:cubicBezTo>
                  <a:pt x="997" y="1033"/>
                  <a:pt x="997" y="1033"/>
                  <a:pt x="1000" y="1034"/>
                </a:cubicBezTo>
                <a:cubicBezTo>
                  <a:pt x="1000" y="1034"/>
                  <a:pt x="1000" y="1034"/>
                  <a:pt x="1003" y="1036"/>
                </a:cubicBezTo>
                <a:cubicBezTo>
                  <a:pt x="1003" y="1036"/>
                  <a:pt x="1003" y="1036"/>
                  <a:pt x="1004" y="1037"/>
                </a:cubicBezTo>
                <a:cubicBezTo>
                  <a:pt x="1004" y="1037"/>
                  <a:pt x="1004" y="1037"/>
                  <a:pt x="1004" y="1039"/>
                </a:cubicBezTo>
                <a:cubicBezTo>
                  <a:pt x="1004" y="1039"/>
                  <a:pt x="1004" y="1039"/>
                  <a:pt x="1002" y="1042"/>
                </a:cubicBezTo>
                <a:cubicBezTo>
                  <a:pt x="1002" y="1042"/>
                  <a:pt x="1002" y="1042"/>
                  <a:pt x="1002" y="1043"/>
                </a:cubicBezTo>
                <a:cubicBezTo>
                  <a:pt x="1002" y="1043"/>
                  <a:pt x="1002" y="1043"/>
                  <a:pt x="1003" y="1044"/>
                </a:cubicBezTo>
                <a:cubicBezTo>
                  <a:pt x="1003" y="1044"/>
                  <a:pt x="1003" y="1044"/>
                  <a:pt x="1005" y="1045"/>
                </a:cubicBezTo>
                <a:cubicBezTo>
                  <a:pt x="1005" y="1045"/>
                  <a:pt x="1005" y="1045"/>
                  <a:pt x="1006" y="1045"/>
                </a:cubicBezTo>
                <a:cubicBezTo>
                  <a:pt x="1006" y="1045"/>
                  <a:pt x="1006" y="1045"/>
                  <a:pt x="1007" y="1045"/>
                </a:cubicBezTo>
                <a:cubicBezTo>
                  <a:pt x="1007" y="1045"/>
                  <a:pt x="1007" y="1045"/>
                  <a:pt x="1007" y="1046"/>
                </a:cubicBezTo>
                <a:cubicBezTo>
                  <a:pt x="1007" y="1046"/>
                  <a:pt x="1007" y="1046"/>
                  <a:pt x="1007" y="1048"/>
                </a:cubicBezTo>
                <a:cubicBezTo>
                  <a:pt x="1007" y="1048"/>
                  <a:pt x="1007" y="1048"/>
                  <a:pt x="1007" y="1050"/>
                </a:cubicBezTo>
                <a:cubicBezTo>
                  <a:pt x="1007" y="1050"/>
                  <a:pt x="1007" y="1050"/>
                  <a:pt x="1006" y="1052"/>
                </a:cubicBezTo>
                <a:cubicBezTo>
                  <a:pt x="1006" y="1052"/>
                  <a:pt x="1006" y="1052"/>
                  <a:pt x="1006" y="1054"/>
                </a:cubicBezTo>
                <a:cubicBezTo>
                  <a:pt x="1006" y="1054"/>
                  <a:pt x="1006" y="1054"/>
                  <a:pt x="1005" y="1054"/>
                </a:cubicBezTo>
                <a:cubicBezTo>
                  <a:pt x="1005" y="1054"/>
                  <a:pt x="1005" y="1054"/>
                  <a:pt x="1005" y="1053"/>
                </a:cubicBezTo>
                <a:cubicBezTo>
                  <a:pt x="1005" y="1053"/>
                  <a:pt x="1005" y="1053"/>
                  <a:pt x="1004" y="1054"/>
                </a:cubicBezTo>
                <a:cubicBezTo>
                  <a:pt x="1004" y="1054"/>
                  <a:pt x="1004" y="1054"/>
                  <a:pt x="1004" y="1056"/>
                </a:cubicBezTo>
                <a:cubicBezTo>
                  <a:pt x="1004" y="1056"/>
                  <a:pt x="1004" y="1056"/>
                  <a:pt x="1004" y="1057"/>
                </a:cubicBezTo>
                <a:cubicBezTo>
                  <a:pt x="1004" y="1057"/>
                  <a:pt x="1004" y="1057"/>
                  <a:pt x="1004" y="1059"/>
                </a:cubicBezTo>
                <a:cubicBezTo>
                  <a:pt x="1004" y="1059"/>
                  <a:pt x="1004" y="1059"/>
                  <a:pt x="1000" y="1061"/>
                </a:cubicBezTo>
                <a:cubicBezTo>
                  <a:pt x="1000" y="1061"/>
                  <a:pt x="1000" y="1061"/>
                  <a:pt x="998" y="1062"/>
                </a:cubicBezTo>
                <a:cubicBezTo>
                  <a:pt x="998" y="1062"/>
                  <a:pt x="998" y="1062"/>
                  <a:pt x="997" y="1061"/>
                </a:cubicBezTo>
                <a:cubicBezTo>
                  <a:pt x="997" y="1061"/>
                  <a:pt x="997" y="1061"/>
                  <a:pt x="997" y="1062"/>
                </a:cubicBezTo>
                <a:cubicBezTo>
                  <a:pt x="997" y="1062"/>
                  <a:pt x="997" y="1062"/>
                  <a:pt x="993" y="1063"/>
                </a:cubicBezTo>
                <a:cubicBezTo>
                  <a:pt x="993" y="1063"/>
                  <a:pt x="993" y="1063"/>
                  <a:pt x="989" y="1064"/>
                </a:cubicBezTo>
                <a:cubicBezTo>
                  <a:pt x="989" y="1064"/>
                  <a:pt x="989" y="1064"/>
                  <a:pt x="986" y="1065"/>
                </a:cubicBezTo>
                <a:cubicBezTo>
                  <a:pt x="986" y="1065"/>
                  <a:pt x="986" y="1065"/>
                  <a:pt x="984" y="1064"/>
                </a:cubicBezTo>
                <a:cubicBezTo>
                  <a:pt x="984" y="1064"/>
                  <a:pt x="984" y="1064"/>
                  <a:pt x="982" y="1065"/>
                </a:cubicBezTo>
                <a:cubicBezTo>
                  <a:pt x="982" y="1065"/>
                  <a:pt x="982" y="1065"/>
                  <a:pt x="981" y="1065"/>
                </a:cubicBezTo>
                <a:cubicBezTo>
                  <a:pt x="981" y="1065"/>
                  <a:pt x="981" y="1065"/>
                  <a:pt x="979" y="1064"/>
                </a:cubicBezTo>
                <a:cubicBezTo>
                  <a:pt x="979" y="1064"/>
                  <a:pt x="979" y="1064"/>
                  <a:pt x="978" y="1063"/>
                </a:cubicBezTo>
                <a:cubicBezTo>
                  <a:pt x="978" y="1063"/>
                  <a:pt x="978" y="1063"/>
                  <a:pt x="977" y="1063"/>
                </a:cubicBezTo>
                <a:cubicBezTo>
                  <a:pt x="977" y="1063"/>
                  <a:pt x="977" y="1063"/>
                  <a:pt x="976" y="1062"/>
                </a:cubicBezTo>
                <a:cubicBezTo>
                  <a:pt x="976" y="1062"/>
                  <a:pt x="976" y="1062"/>
                  <a:pt x="976" y="1063"/>
                </a:cubicBezTo>
                <a:cubicBezTo>
                  <a:pt x="976" y="1063"/>
                  <a:pt x="976" y="1063"/>
                  <a:pt x="976" y="1064"/>
                </a:cubicBezTo>
                <a:cubicBezTo>
                  <a:pt x="976" y="1064"/>
                  <a:pt x="976" y="1064"/>
                  <a:pt x="976" y="1065"/>
                </a:cubicBezTo>
                <a:cubicBezTo>
                  <a:pt x="976" y="1065"/>
                  <a:pt x="976" y="1065"/>
                  <a:pt x="976" y="1067"/>
                </a:cubicBezTo>
                <a:cubicBezTo>
                  <a:pt x="976" y="1067"/>
                  <a:pt x="976" y="1067"/>
                  <a:pt x="977" y="1068"/>
                </a:cubicBezTo>
                <a:cubicBezTo>
                  <a:pt x="977" y="1068"/>
                  <a:pt x="977" y="1068"/>
                  <a:pt x="978" y="1068"/>
                </a:cubicBezTo>
                <a:cubicBezTo>
                  <a:pt x="978" y="1068"/>
                  <a:pt x="978" y="1068"/>
                  <a:pt x="978" y="1069"/>
                </a:cubicBezTo>
                <a:cubicBezTo>
                  <a:pt x="978" y="1069"/>
                  <a:pt x="978" y="1069"/>
                  <a:pt x="978" y="1070"/>
                </a:cubicBezTo>
                <a:cubicBezTo>
                  <a:pt x="978" y="1070"/>
                  <a:pt x="978" y="1070"/>
                  <a:pt x="977" y="1070"/>
                </a:cubicBezTo>
                <a:cubicBezTo>
                  <a:pt x="977" y="1070"/>
                  <a:pt x="977" y="1070"/>
                  <a:pt x="977" y="1071"/>
                </a:cubicBezTo>
                <a:cubicBezTo>
                  <a:pt x="977" y="1071"/>
                  <a:pt x="977" y="1071"/>
                  <a:pt x="976" y="1072"/>
                </a:cubicBezTo>
                <a:cubicBezTo>
                  <a:pt x="976" y="1072"/>
                  <a:pt x="976" y="1072"/>
                  <a:pt x="976" y="1073"/>
                </a:cubicBezTo>
                <a:cubicBezTo>
                  <a:pt x="976" y="1073"/>
                  <a:pt x="976" y="1073"/>
                  <a:pt x="976" y="1075"/>
                </a:cubicBezTo>
                <a:cubicBezTo>
                  <a:pt x="976" y="1075"/>
                  <a:pt x="976" y="1075"/>
                  <a:pt x="977" y="1076"/>
                </a:cubicBezTo>
                <a:cubicBezTo>
                  <a:pt x="977" y="1076"/>
                  <a:pt x="977" y="1076"/>
                  <a:pt x="978" y="1076"/>
                </a:cubicBezTo>
                <a:cubicBezTo>
                  <a:pt x="978" y="1076"/>
                  <a:pt x="978" y="1076"/>
                  <a:pt x="977" y="1077"/>
                </a:cubicBezTo>
                <a:cubicBezTo>
                  <a:pt x="977" y="1077"/>
                  <a:pt x="977" y="1077"/>
                  <a:pt x="977" y="1078"/>
                </a:cubicBezTo>
                <a:cubicBezTo>
                  <a:pt x="977" y="1078"/>
                  <a:pt x="977" y="1078"/>
                  <a:pt x="977" y="1079"/>
                </a:cubicBezTo>
                <a:cubicBezTo>
                  <a:pt x="977" y="1079"/>
                  <a:pt x="977" y="1079"/>
                  <a:pt x="977" y="1080"/>
                </a:cubicBezTo>
                <a:cubicBezTo>
                  <a:pt x="977" y="1080"/>
                  <a:pt x="977" y="1080"/>
                  <a:pt x="976" y="1081"/>
                </a:cubicBezTo>
                <a:cubicBezTo>
                  <a:pt x="976" y="1081"/>
                  <a:pt x="976" y="1081"/>
                  <a:pt x="974" y="1083"/>
                </a:cubicBezTo>
                <a:cubicBezTo>
                  <a:pt x="974" y="1083"/>
                  <a:pt x="974" y="1083"/>
                  <a:pt x="970" y="1083"/>
                </a:cubicBezTo>
                <a:cubicBezTo>
                  <a:pt x="970" y="1083"/>
                  <a:pt x="970" y="1083"/>
                  <a:pt x="968" y="1082"/>
                </a:cubicBezTo>
                <a:cubicBezTo>
                  <a:pt x="968" y="1082"/>
                  <a:pt x="968" y="1082"/>
                  <a:pt x="966" y="1081"/>
                </a:cubicBezTo>
                <a:cubicBezTo>
                  <a:pt x="966" y="1081"/>
                  <a:pt x="966" y="1081"/>
                  <a:pt x="964" y="1080"/>
                </a:cubicBezTo>
                <a:cubicBezTo>
                  <a:pt x="964" y="1080"/>
                  <a:pt x="964" y="1080"/>
                  <a:pt x="962" y="1080"/>
                </a:cubicBezTo>
                <a:cubicBezTo>
                  <a:pt x="962" y="1080"/>
                  <a:pt x="962" y="1080"/>
                  <a:pt x="962" y="1079"/>
                </a:cubicBezTo>
                <a:cubicBezTo>
                  <a:pt x="962" y="1079"/>
                  <a:pt x="962" y="1079"/>
                  <a:pt x="961" y="1079"/>
                </a:cubicBezTo>
                <a:cubicBezTo>
                  <a:pt x="961" y="1079"/>
                  <a:pt x="961" y="1079"/>
                  <a:pt x="960" y="1080"/>
                </a:cubicBezTo>
                <a:cubicBezTo>
                  <a:pt x="960" y="1080"/>
                  <a:pt x="960" y="1080"/>
                  <a:pt x="960" y="1083"/>
                </a:cubicBezTo>
                <a:cubicBezTo>
                  <a:pt x="960" y="1083"/>
                  <a:pt x="960" y="1083"/>
                  <a:pt x="961" y="1084"/>
                </a:cubicBezTo>
                <a:cubicBezTo>
                  <a:pt x="961" y="1084"/>
                  <a:pt x="961" y="1084"/>
                  <a:pt x="962" y="1086"/>
                </a:cubicBezTo>
                <a:cubicBezTo>
                  <a:pt x="962" y="1086"/>
                  <a:pt x="962" y="1086"/>
                  <a:pt x="962" y="1089"/>
                </a:cubicBezTo>
                <a:cubicBezTo>
                  <a:pt x="962" y="1089"/>
                  <a:pt x="962" y="1089"/>
                  <a:pt x="962" y="1090"/>
                </a:cubicBezTo>
                <a:cubicBezTo>
                  <a:pt x="962" y="1090"/>
                  <a:pt x="962" y="1090"/>
                  <a:pt x="964" y="1091"/>
                </a:cubicBezTo>
                <a:cubicBezTo>
                  <a:pt x="964" y="1091"/>
                  <a:pt x="964" y="1091"/>
                  <a:pt x="966" y="1091"/>
                </a:cubicBezTo>
                <a:cubicBezTo>
                  <a:pt x="966" y="1091"/>
                  <a:pt x="966" y="1091"/>
                  <a:pt x="966" y="1092"/>
                </a:cubicBezTo>
                <a:cubicBezTo>
                  <a:pt x="966" y="1092"/>
                  <a:pt x="966" y="1092"/>
                  <a:pt x="965" y="1092"/>
                </a:cubicBezTo>
                <a:cubicBezTo>
                  <a:pt x="965" y="1092"/>
                  <a:pt x="965" y="1092"/>
                  <a:pt x="966" y="1093"/>
                </a:cubicBezTo>
                <a:cubicBezTo>
                  <a:pt x="966" y="1093"/>
                  <a:pt x="966" y="1093"/>
                  <a:pt x="968" y="1092"/>
                </a:cubicBezTo>
                <a:cubicBezTo>
                  <a:pt x="968" y="1092"/>
                  <a:pt x="968" y="1092"/>
                  <a:pt x="968" y="1091"/>
                </a:cubicBezTo>
                <a:cubicBezTo>
                  <a:pt x="968" y="1091"/>
                  <a:pt x="968" y="1091"/>
                  <a:pt x="967" y="1091"/>
                </a:cubicBezTo>
                <a:cubicBezTo>
                  <a:pt x="967" y="1091"/>
                  <a:pt x="967" y="1091"/>
                  <a:pt x="967" y="1090"/>
                </a:cubicBezTo>
                <a:cubicBezTo>
                  <a:pt x="967" y="1090"/>
                  <a:pt x="967" y="1090"/>
                  <a:pt x="968" y="1090"/>
                </a:cubicBezTo>
                <a:cubicBezTo>
                  <a:pt x="968" y="1090"/>
                  <a:pt x="968" y="1090"/>
                  <a:pt x="970" y="1089"/>
                </a:cubicBezTo>
                <a:cubicBezTo>
                  <a:pt x="970" y="1089"/>
                  <a:pt x="970" y="1089"/>
                  <a:pt x="971" y="1091"/>
                </a:cubicBezTo>
                <a:cubicBezTo>
                  <a:pt x="971" y="1091"/>
                  <a:pt x="971" y="1091"/>
                  <a:pt x="971" y="1092"/>
                </a:cubicBezTo>
                <a:cubicBezTo>
                  <a:pt x="971" y="1092"/>
                  <a:pt x="971" y="1092"/>
                  <a:pt x="971" y="1093"/>
                </a:cubicBezTo>
                <a:cubicBezTo>
                  <a:pt x="971" y="1093"/>
                  <a:pt x="971" y="1093"/>
                  <a:pt x="972" y="1095"/>
                </a:cubicBezTo>
                <a:cubicBezTo>
                  <a:pt x="972" y="1095"/>
                  <a:pt x="972" y="1095"/>
                  <a:pt x="972" y="1096"/>
                </a:cubicBezTo>
                <a:cubicBezTo>
                  <a:pt x="972" y="1096"/>
                  <a:pt x="972" y="1096"/>
                  <a:pt x="969" y="1097"/>
                </a:cubicBezTo>
                <a:cubicBezTo>
                  <a:pt x="969" y="1097"/>
                  <a:pt x="969" y="1097"/>
                  <a:pt x="968" y="1097"/>
                </a:cubicBezTo>
                <a:cubicBezTo>
                  <a:pt x="968" y="1097"/>
                  <a:pt x="968" y="1097"/>
                  <a:pt x="968" y="1096"/>
                </a:cubicBezTo>
                <a:cubicBezTo>
                  <a:pt x="968" y="1096"/>
                  <a:pt x="968" y="1096"/>
                  <a:pt x="968" y="1095"/>
                </a:cubicBezTo>
                <a:cubicBezTo>
                  <a:pt x="968" y="1095"/>
                  <a:pt x="968" y="1095"/>
                  <a:pt x="968" y="1094"/>
                </a:cubicBezTo>
                <a:cubicBezTo>
                  <a:pt x="968" y="1094"/>
                  <a:pt x="968" y="1094"/>
                  <a:pt x="966" y="1094"/>
                </a:cubicBezTo>
                <a:cubicBezTo>
                  <a:pt x="966" y="1094"/>
                  <a:pt x="966" y="1094"/>
                  <a:pt x="965" y="1094"/>
                </a:cubicBezTo>
                <a:cubicBezTo>
                  <a:pt x="965" y="1094"/>
                  <a:pt x="965" y="1094"/>
                  <a:pt x="964" y="1095"/>
                </a:cubicBezTo>
                <a:cubicBezTo>
                  <a:pt x="964" y="1095"/>
                  <a:pt x="964" y="1095"/>
                  <a:pt x="963" y="1096"/>
                </a:cubicBezTo>
                <a:cubicBezTo>
                  <a:pt x="963" y="1096"/>
                  <a:pt x="963" y="1096"/>
                  <a:pt x="964" y="1097"/>
                </a:cubicBezTo>
                <a:cubicBezTo>
                  <a:pt x="964" y="1097"/>
                  <a:pt x="964" y="1097"/>
                  <a:pt x="965" y="1097"/>
                </a:cubicBezTo>
                <a:cubicBezTo>
                  <a:pt x="965" y="1097"/>
                  <a:pt x="965" y="1097"/>
                  <a:pt x="967" y="1097"/>
                </a:cubicBezTo>
                <a:cubicBezTo>
                  <a:pt x="967" y="1097"/>
                  <a:pt x="967" y="1097"/>
                  <a:pt x="967" y="1098"/>
                </a:cubicBezTo>
                <a:cubicBezTo>
                  <a:pt x="967" y="1098"/>
                  <a:pt x="967" y="1098"/>
                  <a:pt x="966" y="1099"/>
                </a:cubicBezTo>
                <a:cubicBezTo>
                  <a:pt x="966" y="1099"/>
                  <a:pt x="966" y="1099"/>
                  <a:pt x="964" y="1100"/>
                </a:cubicBezTo>
                <a:cubicBezTo>
                  <a:pt x="964" y="1100"/>
                  <a:pt x="964" y="1100"/>
                  <a:pt x="963" y="1101"/>
                </a:cubicBezTo>
                <a:cubicBezTo>
                  <a:pt x="963" y="1101"/>
                  <a:pt x="963" y="1101"/>
                  <a:pt x="964" y="1101"/>
                </a:cubicBezTo>
                <a:cubicBezTo>
                  <a:pt x="964" y="1101"/>
                  <a:pt x="964" y="1101"/>
                  <a:pt x="963" y="1102"/>
                </a:cubicBezTo>
                <a:cubicBezTo>
                  <a:pt x="963" y="1102"/>
                  <a:pt x="963" y="1102"/>
                  <a:pt x="962" y="1103"/>
                </a:cubicBezTo>
                <a:cubicBezTo>
                  <a:pt x="962" y="1103"/>
                  <a:pt x="962" y="1103"/>
                  <a:pt x="962" y="1105"/>
                </a:cubicBezTo>
                <a:cubicBezTo>
                  <a:pt x="962" y="1105"/>
                  <a:pt x="962" y="1105"/>
                  <a:pt x="963" y="1106"/>
                </a:cubicBezTo>
                <a:cubicBezTo>
                  <a:pt x="963" y="1106"/>
                  <a:pt x="963" y="1106"/>
                  <a:pt x="963" y="1107"/>
                </a:cubicBezTo>
                <a:cubicBezTo>
                  <a:pt x="963" y="1107"/>
                  <a:pt x="963" y="1107"/>
                  <a:pt x="964" y="1109"/>
                </a:cubicBezTo>
                <a:cubicBezTo>
                  <a:pt x="964" y="1109"/>
                  <a:pt x="964" y="1109"/>
                  <a:pt x="964" y="1110"/>
                </a:cubicBezTo>
                <a:cubicBezTo>
                  <a:pt x="964" y="1110"/>
                  <a:pt x="964" y="1110"/>
                  <a:pt x="964" y="1111"/>
                </a:cubicBezTo>
                <a:cubicBezTo>
                  <a:pt x="964" y="1111"/>
                  <a:pt x="964" y="1111"/>
                  <a:pt x="962" y="1112"/>
                </a:cubicBezTo>
                <a:cubicBezTo>
                  <a:pt x="962" y="1112"/>
                  <a:pt x="962" y="1112"/>
                  <a:pt x="962" y="1113"/>
                </a:cubicBezTo>
                <a:cubicBezTo>
                  <a:pt x="962" y="1113"/>
                  <a:pt x="962" y="1113"/>
                  <a:pt x="963" y="1114"/>
                </a:cubicBezTo>
                <a:cubicBezTo>
                  <a:pt x="963" y="1114"/>
                  <a:pt x="963" y="1114"/>
                  <a:pt x="964" y="1114"/>
                </a:cubicBezTo>
                <a:cubicBezTo>
                  <a:pt x="964" y="1114"/>
                  <a:pt x="964" y="1114"/>
                  <a:pt x="963" y="1115"/>
                </a:cubicBezTo>
                <a:cubicBezTo>
                  <a:pt x="963" y="1115"/>
                  <a:pt x="963" y="1115"/>
                  <a:pt x="961" y="1115"/>
                </a:cubicBezTo>
                <a:cubicBezTo>
                  <a:pt x="961" y="1115"/>
                  <a:pt x="961" y="1115"/>
                  <a:pt x="960" y="1115"/>
                </a:cubicBezTo>
                <a:cubicBezTo>
                  <a:pt x="960" y="1115"/>
                  <a:pt x="960" y="1115"/>
                  <a:pt x="959" y="1115"/>
                </a:cubicBezTo>
                <a:cubicBezTo>
                  <a:pt x="959" y="1115"/>
                  <a:pt x="959" y="1115"/>
                  <a:pt x="957" y="1117"/>
                </a:cubicBezTo>
                <a:cubicBezTo>
                  <a:pt x="957" y="1117"/>
                  <a:pt x="957" y="1117"/>
                  <a:pt x="956" y="1117"/>
                </a:cubicBezTo>
                <a:cubicBezTo>
                  <a:pt x="956" y="1117"/>
                  <a:pt x="956" y="1117"/>
                  <a:pt x="955" y="1118"/>
                </a:cubicBezTo>
                <a:cubicBezTo>
                  <a:pt x="955" y="1118"/>
                  <a:pt x="955" y="1118"/>
                  <a:pt x="954" y="1118"/>
                </a:cubicBezTo>
                <a:cubicBezTo>
                  <a:pt x="954" y="1118"/>
                  <a:pt x="954" y="1118"/>
                  <a:pt x="954" y="1120"/>
                </a:cubicBezTo>
                <a:cubicBezTo>
                  <a:pt x="954" y="1120"/>
                  <a:pt x="954" y="1120"/>
                  <a:pt x="953" y="1121"/>
                </a:cubicBezTo>
                <a:cubicBezTo>
                  <a:pt x="953" y="1121"/>
                  <a:pt x="953" y="1121"/>
                  <a:pt x="952" y="1122"/>
                </a:cubicBezTo>
                <a:cubicBezTo>
                  <a:pt x="952" y="1122"/>
                  <a:pt x="952" y="1122"/>
                  <a:pt x="952" y="1123"/>
                </a:cubicBezTo>
                <a:cubicBezTo>
                  <a:pt x="952" y="1123"/>
                  <a:pt x="952" y="1123"/>
                  <a:pt x="952" y="1124"/>
                </a:cubicBezTo>
                <a:cubicBezTo>
                  <a:pt x="952" y="1124"/>
                  <a:pt x="952" y="1124"/>
                  <a:pt x="952" y="1125"/>
                </a:cubicBezTo>
                <a:cubicBezTo>
                  <a:pt x="952" y="1125"/>
                  <a:pt x="952" y="1125"/>
                  <a:pt x="954" y="1127"/>
                </a:cubicBezTo>
                <a:cubicBezTo>
                  <a:pt x="954" y="1127"/>
                  <a:pt x="954" y="1127"/>
                  <a:pt x="955" y="1128"/>
                </a:cubicBezTo>
                <a:cubicBezTo>
                  <a:pt x="955" y="1128"/>
                  <a:pt x="955" y="1128"/>
                  <a:pt x="956" y="1129"/>
                </a:cubicBezTo>
                <a:cubicBezTo>
                  <a:pt x="956" y="1129"/>
                  <a:pt x="956" y="1129"/>
                  <a:pt x="958" y="1130"/>
                </a:cubicBezTo>
                <a:cubicBezTo>
                  <a:pt x="958" y="1130"/>
                  <a:pt x="958" y="1130"/>
                  <a:pt x="960" y="1132"/>
                </a:cubicBezTo>
                <a:cubicBezTo>
                  <a:pt x="960" y="1132"/>
                  <a:pt x="960" y="1132"/>
                  <a:pt x="962" y="1132"/>
                </a:cubicBezTo>
                <a:cubicBezTo>
                  <a:pt x="962" y="1132"/>
                  <a:pt x="962" y="1132"/>
                  <a:pt x="963" y="1132"/>
                </a:cubicBezTo>
                <a:cubicBezTo>
                  <a:pt x="963" y="1132"/>
                  <a:pt x="963" y="1132"/>
                  <a:pt x="964" y="1132"/>
                </a:cubicBezTo>
                <a:cubicBezTo>
                  <a:pt x="964" y="1132"/>
                  <a:pt x="964" y="1132"/>
                  <a:pt x="965" y="1132"/>
                </a:cubicBezTo>
                <a:cubicBezTo>
                  <a:pt x="965" y="1132"/>
                  <a:pt x="965" y="1132"/>
                  <a:pt x="965" y="1133"/>
                </a:cubicBezTo>
                <a:cubicBezTo>
                  <a:pt x="965" y="1133"/>
                  <a:pt x="965" y="1133"/>
                  <a:pt x="965" y="1134"/>
                </a:cubicBezTo>
                <a:cubicBezTo>
                  <a:pt x="965" y="1134"/>
                  <a:pt x="965" y="1134"/>
                  <a:pt x="965" y="1136"/>
                </a:cubicBezTo>
                <a:cubicBezTo>
                  <a:pt x="965" y="1136"/>
                  <a:pt x="965" y="1136"/>
                  <a:pt x="965" y="1137"/>
                </a:cubicBezTo>
                <a:cubicBezTo>
                  <a:pt x="965" y="1137"/>
                  <a:pt x="965" y="1137"/>
                  <a:pt x="964" y="1138"/>
                </a:cubicBezTo>
                <a:cubicBezTo>
                  <a:pt x="964" y="1138"/>
                  <a:pt x="964" y="1138"/>
                  <a:pt x="965" y="1138"/>
                </a:cubicBezTo>
                <a:cubicBezTo>
                  <a:pt x="965" y="1138"/>
                  <a:pt x="965" y="1138"/>
                  <a:pt x="966" y="1139"/>
                </a:cubicBezTo>
                <a:cubicBezTo>
                  <a:pt x="966" y="1139"/>
                  <a:pt x="966" y="1139"/>
                  <a:pt x="965" y="1139"/>
                </a:cubicBezTo>
                <a:cubicBezTo>
                  <a:pt x="965" y="1139"/>
                  <a:pt x="965" y="1139"/>
                  <a:pt x="965" y="1140"/>
                </a:cubicBezTo>
                <a:cubicBezTo>
                  <a:pt x="965" y="1140"/>
                  <a:pt x="965" y="1140"/>
                  <a:pt x="966" y="1140"/>
                </a:cubicBezTo>
                <a:cubicBezTo>
                  <a:pt x="966" y="1140"/>
                  <a:pt x="966" y="1140"/>
                  <a:pt x="965" y="1142"/>
                </a:cubicBezTo>
                <a:cubicBezTo>
                  <a:pt x="965" y="1142"/>
                  <a:pt x="965" y="1142"/>
                  <a:pt x="964" y="1142"/>
                </a:cubicBezTo>
                <a:cubicBezTo>
                  <a:pt x="964" y="1142"/>
                  <a:pt x="964" y="1142"/>
                  <a:pt x="963" y="1143"/>
                </a:cubicBezTo>
                <a:cubicBezTo>
                  <a:pt x="963" y="1143"/>
                  <a:pt x="963" y="1143"/>
                  <a:pt x="962" y="1145"/>
                </a:cubicBezTo>
                <a:cubicBezTo>
                  <a:pt x="962" y="1145"/>
                  <a:pt x="962" y="1145"/>
                  <a:pt x="961" y="1146"/>
                </a:cubicBezTo>
                <a:cubicBezTo>
                  <a:pt x="961" y="1146"/>
                  <a:pt x="961" y="1146"/>
                  <a:pt x="960" y="1146"/>
                </a:cubicBezTo>
                <a:cubicBezTo>
                  <a:pt x="960" y="1146"/>
                  <a:pt x="960" y="1146"/>
                  <a:pt x="959" y="1147"/>
                </a:cubicBezTo>
                <a:cubicBezTo>
                  <a:pt x="959" y="1147"/>
                  <a:pt x="959" y="1147"/>
                  <a:pt x="958" y="1149"/>
                </a:cubicBezTo>
                <a:cubicBezTo>
                  <a:pt x="958" y="1149"/>
                  <a:pt x="958" y="1149"/>
                  <a:pt x="958" y="1150"/>
                </a:cubicBezTo>
                <a:cubicBezTo>
                  <a:pt x="958" y="1150"/>
                  <a:pt x="958" y="1150"/>
                  <a:pt x="957" y="1151"/>
                </a:cubicBezTo>
                <a:cubicBezTo>
                  <a:pt x="957" y="1151"/>
                  <a:pt x="957" y="1151"/>
                  <a:pt x="957" y="1152"/>
                </a:cubicBezTo>
                <a:cubicBezTo>
                  <a:pt x="957" y="1152"/>
                  <a:pt x="957" y="1152"/>
                  <a:pt x="958" y="1152"/>
                </a:cubicBezTo>
                <a:cubicBezTo>
                  <a:pt x="958" y="1152"/>
                  <a:pt x="958" y="1152"/>
                  <a:pt x="959" y="1154"/>
                </a:cubicBezTo>
                <a:cubicBezTo>
                  <a:pt x="959" y="1154"/>
                  <a:pt x="959" y="1154"/>
                  <a:pt x="958" y="1155"/>
                </a:cubicBezTo>
                <a:cubicBezTo>
                  <a:pt x="958" y="1155"/>
                  <a:pt x="958" y="1155"/>
                  <a:pt x="957" y="1156"/>
                </a:cubicBezTo>
                <a:cubicBezTo>
                  <a:pt x="957" y="1156"/>
                  <a:pt x="957" y="1156"/>
                  <a:pt x="957" y="1157"/>
                </a:cubicBezTo>
                <a:cubicBezTo>
                  <a:pt x="957" y="1157"/>
                  <a:pt x="957" y="1157"/>
                  <a:pt x="956" y="1158"/>
                </a:cubicBezTo>
                <a:cubicBezTo>
                  <a:pt x="956" y="1158"/>
                  <a:pt x="956" y="1158"/>
                  <a:pt x="955" y="1158"/>
                </a:cubicBezTo>
                <a:cubicBezTo>
                  <a:pt x="955" y="1158"/>
                  <a:pt x="955" y="1158"/>
                  <a:pt x="954" y="1157"/>
                </a:cubicBezTo>
                <a:cubicBezTo>
                  <a:pt x="954" y="1157"/>
                  <a:pt x="954" y="1157"/>
                  <a:pt x="954" y="1158"/>
                </a:cubicBezTo>
                <a:cubicBezTo>
                  <a:pt x="954" y="1158"/>
                  <a:pt x="954" y="1158"/>
                  <a:pt x="954" y="1159"/>
                </a:cubicBezTo>
                <a:cubicBezTo>
                  <a:pt x="954" y="1159"/>
                  <a:pt x="954" y="1159"/>
                  <a:pt x="953" y="1160"/>
                </a:cubicBezTo>
                <a:cubicBezTo>
                  <a:pt x="953" y="1160"/>
                  <a:pt x="953" y="1160"/>
                  <a:pt x="952" y="1161"/>
                </a:cubicBezTo>
                <a:cubicBezTo>
                  <a:pt x="952" y="1161"/>
                  <a:pt x="952" y="1161"/>
                  <a:pt x="951" y="1163"/>
                </a:cubicBezTo>
                <a:cubicBezTo>
                  <a:pt x="951" y="1163"/>
                  <a:pt x="951" y="1163"/>
                  <a:pt x="951" y="1165"/>
                </a:cubicBezTo>
                <a:cubicBezTo>
                  <a:pt x="951" y="1165"/>
                  <a:pt x="951" y="1165"/>
                  <a:pt x="953" y="1167"/>
                </a:cubicBezTo>
                <a:cubicBezTo>
                  <a:pt x="953" y="1167"/>
                  <a:pt x="953" y="1167"/>
                  <a:pt x="954" y="1170"/>
                </a:cubicBezTo>
                <a:cubicBezTo>
                  <a:pt x="954" y="1170"/>
                  <a:pt x="954" y="1170"/>
                  <a:pt x="954" y="1171"/>
                </a:cubicBezTo>
                <a:cubicBezTo>
                  <a:pt x="954" y="1171"/>
                  <a:pt x="954" y="1171"/>
                  <a:pt x="954" y="1172"/>
                </a:cubicBezTo>
                <a:cubicBezTo>
                  <a:pt x="954" y="1172"/>
                  <a:pt x="954" y="1172"/>
                  <a:pt x="953" y="1172"/>
                </a:cubicBezTo>
                <a:cubicBezTo>
                  <a:pt x="953" y="1172"/>
                  <a:pt x="953" y="1172"/>
                  <a:pt x="954" y="1173"/>
                </a:cubicBezTo>
                <a:cubicBezTo>
                  <a:pt x="954" y="1173"/>
                  <a:pt x="954" y="1173"/>
                  <a:pt x="955" y="1174"/>
                </a:cubicBezTo>
                <a:cubicBezTo>
                  <a:pt x="955" y="1174"/>
                  <a:pt x="955" y="1174"/>
                  <a:pt x="956" y="1175"/>
                </a:cubicBezTo>
                <a:cubicBezTo>
                  <a:pt x="956" y="1175"/>
                  <a:pt x="956" y="1175"/>
                  <a:pt x="958" y="1176"/>
                </a:cubicBezTo>
                <a:cubicBezTo>
                  <a:pt x="958" y="1176"/>
                  <a:pt x="958" y="1176"/>
                  <a:pt x="959" y="1177"/>
                </a:cubicBezTo>
                <a:cubicBezTo>
                  <a:pt x="959" y="1177"/>
                  <a:pt x="959" y="1177"/>
                  <a:pt x="959" y="1178"/>
                </a:cubicBezTo>
                <a:cubicBezTo>
                  <a:pt x="959" y="1178"/>
                  <a:pt x="959" y="1178"/>
                  <a:pt x="957" y="1178"/>
                </a:cubicBezTo>
                <a:cubicBezTo>
                  <a:pt x="957" y="1178"/>
                  <a:pt x="957" y="1178"/>
                  <a:pt x="956" y="1178"/>
                </a:cubicBezTo>
                <a:cubicBezTo>
                  <a:pt x="956" y="1178"/>
                  <a:pt x="956" y="1178"/>
                  <a:pt x="955" y="1177"/>
                </a:cubicBezTo>
                <a:cubicBezTo>
                  <a:pt x="955" y="1177"/>
                  <a:pt x="955" y="1177"/>
                  <a:pt x="953" y="1178"/>
                </a:cubicBezTo>
                <a:cubicBezTo>
                  <a:pt x="953" y="1178"/>
                  <a:pt x="953" y="1178"/>
                  <a:pt x="952" y="1178"/>
                </a:cubicBezTo>
                <a:cubicBezTo>
                  <a:pt x="952" y="1178"/>
                  <a:pt x="952" y="1178"/>
                  <a:pt x="953" y="1180"/>
                </a:cubicBezTo>
                <a:cubicBezTo>
                  <a:pt x="953" y="1180"/>
                  <a:pt x="953" y="1180"/>
                  <a:pt x="952" y="1180"/>
                </a:cubicBezTo>
                <a:cubicBezTo>
                  <a:pt x="952" y="1180"/>
                  <a:pt x="952" y="1180"/>
                  <a:pt x="951" y="1180"/>
                </a:cubicBezTo>
                <a:cubicBezTo>
                  <a:pt x="951" y="1180"/>
                  <a:pt x="951" y="1180"/>
                  <a:pt x="950" y="1181"/>
                </a:cubicBezTo>
                <a:cubicBezTo>
                  <a:pt x="950" y="1181"/>
                  <a:pt x="950" y="1181"/>
                  <a:pt x="948" y="1182"/>
                </a:cubicBezTo>
                <a:cubicBezTo>
                  <a:pt x="948" y="1182"/>
                  <a:pt x="948" y="1182"/>
                  <a:pt x="947" y="1183"/>
                </a:cubicBezTo>
                <a:cubicBezTo>
                  <a:pt x="947" y="1183"/>
                  <a:pt x="947" y="1183"/>
                  <a:pt x="947" y="1184"/>
                </a:cubicBezTo>
                <a:cubicBezTo>
                  <a:pt x="947" y="1184"/>
                  <a:pt x="947" y="1184"/>
                  <a:pt x="947" y="1185"/>
                </a:cubicBezTo>
                <a:cubicBezTo>
                  <a:pt x="947" y="1185"/>
                  <a:pt x="947" y="1185"/>
                  <a:pt x="947" y="1187"/>
                </a:cubicBezTo>
                <a:cubicBezTo>
                  <a:pt x="947" y="1187"/>
                  <a:pt x="947" y="1187"/>
                  <a:pt x="947" y="1189"/>
                </a:cubicBezTo>
                <a:cubicBezTo>
                  <a:pt x="947" y="1189"/>
                  <a:pt x="947" y="1189"/>
                  <a:pt x="947" y="1190"/>
                </a:cubicBezTo>
                <a:cubicBezTo>
                  <a:pt x="947" y="1190"/>
                  <a:pt x="947" y="1190"/>
                  <a:pt x="947" y="1191"/>
                </a:cubicBezTo>
                <a:cubicBezTo>
                  <a:pt x="947" y="1191"/>
                  <a:pt x="947" y="1191"/>
                  <a:pt x="947" y="1193"/>
                </a:cubicBezTo>
                <a:cubicBezTo>
                  <a:pt x="947" y="1193"/>
                  <a:pt x="947" y="1193"/>
                  <a:pt x="947" y="1194"/>
                </a:cubicBezTo>
                <a:cubicBezTo>
                  <a:pt x="947" y="1194"/>
                  <a:pt x="947" y="1194"/>
                  <a:pt x="946" y="1195"/>
                </a:cubicBezTo>
                <a:cubicBezTo>
                  <a:pt x="946" y="1195"/>
                  <a:pt x="946" y="1195"/>
                  <a:pt x="945" y="1194"/>
                </a:cubicBezTo>
                <a:cubicBezTo>
                  <a:pt x="945" y="1194"/>
                  <a:pt x="945" y="1194"/>
                  <a:pt x="944" y="1194"/>
                </a:cubicBezTo>
                <a:cubicBezTo>
                  <a:pt x="944" y="1194"/>
                  <a:pt x="944" y="1194"/>
                  <a:pt x="943" y="1194"/>
                </a:cubicBezTo>
                <a:cubicBezTo>
                  <a:pt x="943" y="1194"/>
                  <a:pt x="943" y="1194"/>
                  <a:pt x="941" y="1193"/>
                </a:cubicBezTo>
                <a:cubicBezTo>
                  <a:pt x="941" y="1193"/>
                  <a:pt x="941" y="1193"/>
                  <a:pt x="939" y="1191"/>
                </a:cubicBezTo>
                <a:cubicBezTo>
                  <a:pt x="939" y="1191"/>
                  <a:pt x="939" y="1191"/>
                  <a:pt x="939" y="1190"/>
                </a:cubicBezTo>
                <a:cubicBezTo>
                  <a:pt x="939" y="1190"/>
                  <a:pt x="939" y="1190"/>
                  <a:pt x="940" y="1190"/>
                </a:cubicBezTo>
                <a:cubicBezTo>
                  <a:pt x="940" y="1190"/>
                  <a:pt x="940" y="1190"/>
                  <a:pt x="941" y="1189"/>
                </a:cubicBezTo>
                <a:cubicBezTo>
                  <a:pt x="941" y="1189"/>
                  <a:pt x="941" y="1189"/>
                  <a:pt x="942" y="1189"/>
                </a:cubicBezTo>
                <a:cubicBezTo>
                  <a:pt x="942" y="1189"/>
                  <a:pt x="942" y="1189"/>
                  <a:pt x="942" y="1190"/>
                </a:cubicBezTo>
                <a:cubicBezTo>
                  <a:pt x="942" y="1190"/>
                  <a:pt x="942" y="1190"/>
                  <a:pt x="941" y="1191"/>
                </a:cubicBezTo>
                <a:cubicBezTo>
                  <a:pt x="941" y="1191"/>
                  <a:pt x="941" y="1191"/>
                  <a:pt x="942" y="1191"/>
                </a:cubicBezTo>
                <a:cubicBezTo>
                  <a:pt x="942" y="1191"/>
                  <a:pt x="942" y="1191"/>
                  <a:pt x="943" y="1190"/>
                </a:cubicBezTo>
                <a:cubicBezTo>
                  <a:pt x="943" y="1190"/>
                  <a:pt x="943" y="1190"/>
                  <a:pt x="942" y="1189"/>
                </a:cubicBezTo>
                <a:cubicBezTo>
                  <a:pt x="942" y="1189"/>
                  <a:pt x="942" y="1189"/>
                  <a:pt x="942" y="1188"/>
                </a:cubicBezTo>
                <a:cubicBezTo>
                  <a:pt x="942" y="1188"/>
                  <a:pt x="942" y="1188"/>
                  <a:pt x="943" y="1187"/>
                </a:cubicBezTo>
                <a:cubicBezTo>
                  <a:pt x="943" y="1187"/>
                  <a:pt x="943" y="1187"/>
                  <a:pt x="944" y="1186"/>
                </a:cubicBezTo>
                <a:cubicBezTo>
                  <a:pt x="944" y="1186"/>
                  <a:pt x="944" y="1186"/>
                  <a:pt x="944" y="1185"/>
                </a:cubicBezTo>
                <a:cubicBezTo>
                  <a:pt x="944" y="1185"/>
                  <a:pt x="944" y="1185"/>
                  <a:pt x="945" y="1185"/>
                </a:cubicBezTo>
                <a:cubicBezTo>
                  <a:pt x="945" y="1185"/>
                  <a:pt x="945" y="1185"/>
                  <a:pt x="945" y="1184"/>
                </a:cubicBezTo>
                <a:cubicBezTo>
                  <a:pt x="945" y="1184"/>
                  <a:pt x="945" y="1184"/>
                  <a:pt x="944" y="1184"/>
                </a:cubicBezTo>
                <a:cubicBezTo>
                  <a:pt x="944" y="1184"/>
                  <a:pt x="944" y="1184"/>
                  <a:pt x="943" y="1184"/>
                </a:cubicBezTo>
                <a:cubicBezTo>
                  <a:pt x="943" y="1184"/>
                  <a:pt x="943" y="1184"/>
                  <a:pt x="942" y="1184"/>
                </a:cubicBezTo>
                <a:cubicBezTo>
                  <a:pt x="942" y="1184"/>
                  <a:pt x="942" y="1184"/>
                  <a:pt x="941" y="1186"/>
                </a:cubicBezTo>
                <a:cubicBezTo>
                  <a:pt x="941" y="1186"/>
                  <a:pt x="941" y="1186"/>
                  <a:pt x="940" y="1187"/>
                </a:cubicBezTo>
                <a:cubicBezTo>
                  <a:pt x="940" y="1187"/>
                  <a:pt x="940" y="1187"/>
                  <a:pt x="939" y="1187"/>
                </a:cubicBezTo>
                <a:cubicBezTo>
                  <a:pt x="939" y="1187"/>
                  <a:pt x="939" y="1187"/>
                  <a:pt x="940" y="1188"/>
                </a:cubicBezTo>
                <a:cubicBezTo>
                  <a:pt x="940" y="1188"/>
                  <a:pt x="940" y="1188"/>
                  <a:pt x="939" y="1189"/>
                </a:cubicBezTo>
                <a:cubicBezTo>
                  <a:pt x="939" y="1189"/>
                  <a:pt x="939" y="1189"/>
                  <a:pt x="938" y="1190"/>
                </a:cubicBezTo>
                <a:cubicBezTo>
                  <a:pt x="938" y="1190"/>
                  <a:pt x="938" y="1190"/>
                  <a:pt x="938" y="1191"/>
                </a:cubicBezTo>
                <a:cubicBezTo>
                  <a:pt x="938" y="1191"/>
                  <a:pt x="938" y="1191"/>
                  <a:pt x="936" y="1190"/>
                </a:cubicBezTo>
                <a:cubicBezTo>
                  <a:pt x="936" y="1190"/>
                  <a:pt x="936" y="1190"/>
                  <a:pt x="934" y="1189"/>
                </a:cubicBezTo>
                <a:cubicBezTo>
                  <a:pt x="934" y="1189"/>
                  <a:pt x="934" y="1189"/>
                  <a:pt x="935" y="1188"/>
                </a:cubicBezTo>
                <a:cubicBezTo>
                  <a:pt x="935" y="1188"/>
                  <a:pt x="935" y="1188"/>
                  <a:pt x="934" y="1188"/>
                </a:cubicBezTo>
                <a:cubicBezTo>
                  <a:pt x="934" y="1188"/>
                  <a:pt x="934" y="1188"/>
                  <a:pt x="934" y="1187"/>
                </a:cubicBezTo>
                <a:cubicBezTo>
                  <a:pt x="934" y="1187"/>
                  <a:pt x="934" y="1187"/>
                  <a:pt x="935" y="1187"/>
                </a:cubicBezTo>
                <a:cubicBezTo>
                  <a:pt x="935" y="1187"/>
                  <a:pt x="935" y="1187"/>
                  <a:pt x="935" y="1186"/>
                </a:cubicBezTo>
                <a:cubicBezTo>
                  <a:pt x="935" y="1186"/>
                  <a:pt x="935" y="1186"/>
                  <a:pt x="935" y="1185"/>
                </a:cubicBezTo>
                <a:cubicBezTo>
                  <a:pt x="935" y="1185"/>
                  <a:pt x="935" y="1185"/>
                  <a:pt x="936" y="1185"/>
                </a:cubicBezTo>
                <a:cubicBezTo>
                  <a:pt x="936" y="1185"/>
                  <a:pt x="936" y="1185"/>
                  <a:pt x="937" y="1185"/>
                </a:cubicBezTo>
                <a:cubicBezTo>
                  <a:pt x="937" y="1185"/>
                  <a:pt x="937" y="1185"/>
                  <a:pt x="939" y="1183"/>
                </a:cubicBezTo>
                <a:cubicBezTo>
                  <a:pt x="939" y="1183"/>
                  <a:pt x="939" y="1183"/>
                  <a:pt x="940" y="1183"/>
                </a:cubicBezTo>
                <a:cubicBezTo>
                  <a:pt x="940" y="1183"/>
                  <a:pt x="940" y="1183"/>
                  <a:pt x="941" y="1183"/>
                </a:cubicBezTo>
                <a:cubicBezTo>
                  <a:pt x="941" y="1183"/>
                  <a:pt x="941" y="1183"/>
                  <a:pt x="942" y="1182"/>
                </a:cubicBezTo>
                <a:cubicBezTo>
                  <a:pt x="942" y="1182"/>
                  <a:pt x="942" y="1182"/>
                  <a:pt x="941" y="1182"/>
                </a:cubicBezTo>
                <a:cubicBezTo>
                  <a:pt x="941" y="1182"/>
                  <a:pt x="941" y="1182"/>
                  <a:pt x="940" y="1182"/>
                </a:cubicBezTo>
                <a:cubicBezTo>
                  <a:pt x="940" y="1182"/>
                  <a:pt x="940" y="1182"/>
                  <a:pt x="939" y="1182"/>
                </a:cubicBezTo>
                <a:cubicBezTo>
                  <a:pt x="939" y="1182"/>
                  <a:pt x="939" y="1182"/>
                  <a:pt x="937" y="1182"/>
                </a:cubicBezTo>
                <a:cubicBezTo>
                  <a:pt x="937" y="1182"/>
                  <a:pt x="937" y="1182"/>
                  <a:pt x="936" y="1182"/>
                </a:cubicBezTo>
                <a:cubicBezTo>
                  <a:pt x="936" y="1182"/>
                  <a:pt x="936" y="1182"/>
                  <a:pt x="934" y="1181"/>
                </a:cubicBezTo>
                <a:cubicBezTo>
                  <a:pt x="934" y="1181"/>
                  <a:pt x="934" y="1181"/>
                  <a:pt x="934" y="1182"/>
                </a:cubicBezTo>
                <a:cubicBezTo>
                  <a:pt x="934" y="1182"/>
                  <a:pt x="934" y="1182"/>
                  <a:pt x="933" y="1183"/>
                </a:cubicBezTo>
                <a:cubicBezTo>
                  <a:pt x="933" y="1183"/>
                  <a:pt x="933" y="1183"/>
                  <a:pt x="934" y="1183"/>
                </a:cubicBezTo>
                <a:cubicBezTo>
                  <a:pt x="934" y="1183"/>
                  <a:pt x="934" y="1183"/>
                  <a:pt x="934" y="1184"/>
                </a:cubicBezTo>
                <a:cubicBezTo>
                  <a:pt x="934" y="1184"/>
                  <a:pt x="934" y="1184"/>
                  <a:pt x="934" y="1185"/>
                </a:cubicBezTo>
                <a:cubicBezTo>
                  <a:pt x="934" y="1185"/>
                  <a:pt x="934" y="1185"/>
                  <a:pt x="935" y="1186"/>
                </a:cubicBezTo>
                <a:cubicBezTo>
                  <a:pt x="935" y="1186"/>
                  <a:pt x="935" y="1186"/>
                  <a:pt x="934" y="1187"/>
                </a:cubicBezTo>
                <a:cubicBezTo>
                  <a:pt x="934" y="1187"/>
                  <a:pt x="934" y="1187"/>
                  <a:pt x="933" y="1187"/>
                </a:cubicBezTo>
                <a:cubicBezTo>
                  <a:pt x="933" y="1187"/>
                  <a:pt x="933" y="1187"/>
                  <a:pt x="932" y="1186"/>
                </a:cubicBezTo>
                <a:cubicBezTo>
                  <a:pt x="932" y="1186"/>
                  <a:pt x="932" y="1186"/>
                  <a:pt x="930" y="1186"/>
                </a:cubicBezTo>
                <a:cubicBezTo>
                  <a:pt x="930" y="1186"/>
                  <a:pt x="930" y="1186"/>
                  <a:pt x="931" y="1185"/>
                </a:cubicBezTo>
                <a:cubicBezTo>
                  <a:pt x="931" y="1185"/>
                  <a:pt x="931" y="1185"/>
                  <a:pt x="932" y="1185"/>
                </a:cubicBezTo>
                <a:cubicBezTo>
                  <a:pt x="932" y="1185"/>
                  <a:pt x="932" y="1185"/>
                  <a:pt x="932" y="1184"/>
                </a:cubicBezTo>
                <a:cubicBezTo>
                  <a:pt x="932" y="1184"/>
                  <a:pt x="932" y="1184"/>
                  <a:pt x="931" y="1184"/>
                </a:cubicBezTo>
                <a:cubicBezTo>
                  <a:pt x="931" y="1184"/>
                  <a:pt x="931" y="1184"/>
                  <a:pt x="930" y="1183"/>
                </a:cubicBezTo>
                <a:cubicBezTo>
                  <a:pt x="930" y="1183"/>
                  <a:pt x="930" y="1183"/>
                  <a:pt x="930" y="1184"/>
                </a:cubicBezTo>
                <a:cubicBezTo>
                  <a:pt x="930" y="1184"/>
                  <a:pt x="930" y="1184"/>
                  <a:pt x="929" y="1184"/>
                </a:cubicBezTo>
                <a:cubicBezTo>
                  <a:pt x="929" y="1184"/>
                  <a:pt x="929" y="1184"/>
                  <a:pt x="929" y="1183"/>
                </a:cubicBezTo>
                <a:cubicBezTo>
                  <a:pt x="929" y="1183"/>
                  <a:pt x="929" y="1183"/>
                  <a:pt x="929" y="1182"/>
                </a:cubicBezTo>
                <a:cubicBezTo>
                  <a:pt x="929" y="1182"/>
                  <a:pt x="929" y="1182"/>
                  <a:pt x="928" y="1182"/>
                </a:cubicBezTo>
                <a:cubicBezTo>
                  <a:pt x="928" y="1182"/>
                  <a:pt x="928" y="1182"/>
                  <a:pt x="928" y="1180"/>
                </a:cubicBezTo>
                <a:cubicBezTo>
                  <a:pt x="928" y="1180"/>
                  <a:pt x="928" y="1180"/>
                  <a:pt x="927" y="1179"/>
                </a:cubicBezTo>
                <a:cubicBezTo>
                  <a:pt x="927" y="1179"/>
                  <a:pt x="927" y="1179"/>
                  <a:pt x="928" y="1179"/>
                </a:cubicBezTo>
                <a:cubicBezTo>
                  <a:pt x="928" y="1179"/>
                  <a:pt x="928" y="1179"/>
                  <a:pt x="930" y="1179"/>
                </a:cubicBezTo>
                <a:cubicBezTo>
                  <a:pt x="930" y="1179"/>
                  <a:pt x="930" y="1179"/>
                  <a:pt x="931" y="1178"/>
                </a:cubicBezTo>
                <a:cubicBezTo>
                  <a:pt x="931" y="1178"/>
                  <a:pt x="931" y="1178"/>
                  <a:pt x="932" y="1179"/>
                </a:cubicBezTo>
                <a:cubicBezTo>
                  <a:pt x="932" y="1179"/>
                  <a:pt x="932" y="1179"/>
                  <a:pt x="932" y="1180"/>
                </a:cubicBezTo>
                <a:cubicBezTo>
                  <a:pt x="932" y="1180"/>
                  <a:pt x="932" y="1180"/>
                  <a:pt x="933" y="1179"/>
                </a:cubicBezTo>
                <a:cubicBezTo>
                  <a:pt x="933" y="1179"/>
                  <a:pt x="933" y="1179"/>
                  <a:pt x="932" y="1178"/>
                </a:cubicBezTo>
                <a:cubicBezTo>
                  <a:pt x="932" y="1178"/>
                  <a:pt x="932" y="1178"/>
                  <a:pt x="932" y="1177"/>
                </a:cubicBezTo>
                <a:cubicBezTo>
                  <a:pt x="932" y="1177"/>
                  <a:pt x="932" y="1177"/>
                  <a:pt x="933" y="1176"/>
                </a:cubicBezTo>
                <a:cubicBezTo>
                  <a:pt x="933" y="1176"/>
                  <a:pt x="933" y="1176"/>
                  <a:pt x="933" y="1177"/>
                </a:cubicBezTo>
                <a:cubicBezTo>
                  <a:pt x="933" y="1177"/>
                  <a:pt x="933" y="1177"/>
                  <a:pt x="934" y="1179"/>
                </a:cubicBezTo>
                <a:cubicBezTo>
                  <a:pt x="934" y="1179"/>
                  <a:pt x="934" y="1179"/>
                  <a:pt x="934" y="1180"/>
                </a:cubicBezTo>
                <a:cubicBezTo>
                  <a:pt x="934" y="1180"/>
                  <a:pt x="934" y="1180"/>
                  <a:pt x="935" y="1180"/>
                </a:cubicBezTo>
                <a:cubicBezTo>
                  <a:pt x="935" y="1180"/>
                  <a:pt x="935" y="1180"/>
                  <a:pt x="935" y="1179"/>
                </a:cubicBezTo>
                <a:cubicBezTo>
                  <a:pt x="935" y="1179"/>
                  <a:pt x="935" y="1179"/>
                  <a:pt x="934" y="1177"/>
                </a:cubicBezTo>
                <a:cubicBezTo>
                  <a:pt x="934" y="1177"/>
                  <a:pt x="934" y="1177"/>
                  <a:pt x="934" y="1176"/>
                </a:cubicBezTo>
                <a:cubicBezTo>
                  <a:pt x="934" y="1176"/>
                  <a:pt x="934" y="1176"/>
                  <a:pt x="935" y="1175"/>
                </a:cubicBezTo>
                <a:cubicBezTo>
                  <a:pt x="935" y="1175"/>
                  <a:pt x="935" y="1175"/>
                  <a:pt x="935" y="1174"/>
                </a:cubicBezTo>
                <a:cubicBezTo>
                  <a:pt x="935" y="1174"/>
                  <a:pt x="935" y="1174"/>
                  <a:pt x="934" y="1173"/>
                </a:cubicBezTo>
                <a:cubicBezTo>
                  <a:pt x="934" y="1173"/>
                  <a:pt x="934" y="1173"/>
                  <a:pt x="934" y="1173"/>
                </a:cubicBezTo>
                <a:cubicBezTo>
                  <a:pt x="933" y="1173"/>
                  <a:pt x="933" y="1173"/>
                  <a:pt x="933" y="1173"/>
                </a:cubicBezTo>
                <a:cubicBezTo>
                  <a:pt x="933" y="1173"/>
                  <a:pt x="933" y="1173"/>
                  <a:pt x="931" y="1172"/>
                </a:cubicBezTo>
                <a:cubicBezTo>
                  <a:pt x="931" y="1172"/>
                  <a:pt x="931" y="1172"/>
                  <a:pt x="930" y="1172"/>
                </a:cubicBezTo>
                <a:cubicBezTo>
                  <a:pt x="930" y="1172"/>
                  <a:pt x="930" y="1172"/>
                  <a:pt x="930" y="1173"/>
                </a:cubicBezTo>
                <a:cubicBezTo>
                  <a:pt x="930" y="1173"/>
                  <a:pt x="930" y="1173"/>
                  <a:pt x="929" y="1173"/>
                </a:cubicBezTo>
                <a:cubicBezTo>
                  <a:pt x="929" y="1173"/>
                  <a:pt x="929" y="1173"/>
                  <a:pt x="929" y="1174"/>
                </a:cubicBezTo>
                <a:cubicBezTo>
                  <a:pt x="929" y="1174"/>
                  <a:pt x="929" y="1174"/>
                  <a:pt x="931" y="1174"/>
                </a:cubicBezTo>
                <a:cubicBezTo>
                  <a:pt x="931" y="1174"/>
                  <a:pt x="931" y="1174"/>
                  <a:pt x="932" y="1174"/>
                </a:cubicBezTo>
                <a:cubicBezTo>
                  <a:pt x="932" y="1174"/>
                  <a:pt x="932" y="1174"/>
                  <a:pt x="932" y="1175"/>
                </a:cubicBezTo>
                <a:cubicBezTo>
                  <a:pt x="932" y="1175"/>
                  <a:pt x="932" y="1175"/>
                  <a:pt x="931" y="1176"/>
                </a:cubicBezTo>
                <a:cubicBezTo>
                  <a:pt x="931" y="1176"/>
                  <a:pt x="931" y="1176"/>
                  <a:pt x="930" y="1177"/>
                </a:cubicBezTo>
                <a:cubicBezTo>
                  <a:pt x="930" y="1177"/>
                  <a:pt x="930" y="1177"/>
                  <a:pt x="930" y="1176"/>
                </a:cubicBezTo>
                <a:cubicBezTo>
                  <a:pt x="930" y="1176"/>
                  <a:pt x="930" y="1176"/>
                  <a:pt x="930" y="1175"/>
                </a:cubicBezTo>
                <a:cubicBezTo>
                  <a:pt x="930" y="1175"/>
                  <a:pt x="930" y="1175"/>
                  <a:pt x="929" y="1175"/>
                </a:cubicBezTo>
                <a:cubicBezTo>
                  <a:pt x="929" y="1175"/>
                  <a:pt x="929" y="1175"/>
                  <a:pt x="929" y="1176"/>
                </a:cubicBezTo>
                <a:cubicBezTo>
                  <a:pt x="929" y="1176"/>
                  <a:pt x="929" y="1176"/>
                  <a:pt x="929" y="1178"/>
                </a:cubicBezTo>
                <a:cubicBezTo>
                  <a:pt x="929" y="1178"/>
                  <a:pt x="929" y="1178"/>
                  <a:pt x="928" y="1178"/>
                </a:cubicBezTo>
                <a:cubicBezTo>
                  <a:pt x="928" y="1178"/>
                  <a:pt x="928" y="1178"/>
                  <a:pt x="927" y="1177"/>
                </a:cubicBezTo>
                <a:cubicBezTo>
                  <a:pt x="927" y="1177"/>
                  <a:pt x="927" y="1177"/>
                  <a:pt x="927" y="1176"/>
                </a:cubicBezTo>
                <a:cubicBezTo>
                  <a:pt x="927" y="1176"/>
                  <a:pt x="927" y="1176"/>
                  <a:pt x="926" y="1175"/>
                </a:cubicBezTo>
                <a:cubicBezTo>
                  <a:pt x="926" y="1175"/>
                  <a:pt x="926" y="1175"/>
                  <a:pt x="925" y="1173"/>
                </a:cubicBezTo>
                <a:cubicBezTo>
                  <a:pt x="925" y="1173"/>
                  <a:pt x="925" y="1173"/>
                  <a:pt x="926" y="1173"/>
                </a:cubicBezTo>
                <a:cubicBezTo>
                  <a:pt x="926" y="1173"/>
                  <a:pt x="926" y="1173"/>
                  <a:pt x="927" y="1173"/>
                </a:cubicBezTo>
                <a:cubicBezTo>
                  <a:pt x="927" y="1173"/>
                  <a:pt x="927" y="1173"/>
                  <a:pt x="926" y="1172"/>
                </a:cubicBezTo>
                <a:cubicBezTo>
                  <a:pt x="926" y="1172"/>
                  <a:pt x="926" y="1172"/>
                  <a:pt x="926" y="1171"/>
                </a:cubicBezTo>
                <a:cubicBezTo>
                  <a:pt x="926" y="1171"/>
                  <a:pt x="926" y="1171"/>
                  <a:pt x="925" y="1171"/>
                </a:cubicBezTo>
                <a:cubicBezTo>
                  <a:pt x="925" y="1171"/>
                  <a:pt x="925" y="1171"/>
                  <a:pt x="924" y="1170"/>
                </a:cubicBezTo>
                <a:cubicBezTo>
                  <a:pt x="924" y="1170"/>
                  <a:pt x="924" y="1170"/>
                  <a:pt x="923" y="1170"/>
                </a:cubicBezTo>
                <a:cubicBezTo>
                  <a:pt x="923" y="1170"/>
                  <a:pt x="923" y="1170"/>
                  <a:pt x="923" y="1169"/>
                </a:cubicBezTo>
                <a:cubicBezTo>
                  <a:pt x="923" y="1169"/>
                  <a:pt x="923" y="1169"/>
                  <a:pt x="923" y="1168"/>
                </a:cubicBezTo>
                <a:cubicBezTo>
                  <a:pt x="923" y="1168"/>
                  <a:pt x="923" y="1168"/>
                  <a:pt x="924" y="1168"/>
                </a:cubicBezTo>
                <a:cubicBezTo>
                  <a:pt x="924" y="1168"/>
                  <a:pt x="924" y="1168"/>
                  <a:pt x="925" y="1167"/>
                </a:cubicBezTo>
                <a:cubicBezTo>
                  <a:pt x="925" y="1167"/>
                  <a:pt x="925" y="1167"/>
                  <a:pt x="925" y="1166"/>
                </a:cubicBezTo>
                <a:cubicBezTo>
                  <a:pt x="925" y="1166"/>
                  <a:pt x="925" y="1166"/>
                  <a:pt x="924" y="1167"/>
                </a:cubicBezTo>
                <a:cubicBezTo>
                  <a:pt x="924" y="1167"/>
                  <a:pt x="924" y="1167"/>
                  <a:pt x="923" y="1167"/>
                </a:cubicBezTo>
                <a:cubicBezTo>
                  <a:pt x="923" y="1167"/>
                  <a:pt x="923" y="1167"/>
                  <a:pt x="923" y="1165"/>
                </a:cubicBezTo>
                <a:cubicBezTo>
                  <a:pt x="923" y="1165"/>
                  <a:pt x="923" y="1165"/>
                  <a:pt x="924" y="1165"/>
                </a:cubicBezTo>
                <a:cubicBezTo>
                  <a:pt x="924" y="1165"/>
                  <a:pt x="924" y="1165"/>
                  <a:pt x="923" y="1164"/>
                </a:cubicBezTo>
                <a:cubicBezTo>
                  <a:pt x="923" y="1164"/>
                  <a:pt x="923" y="1164"/>
                  <a:pt x="920" y="1164"/>
                </a:cubicBezTo>
                <a:cubicBezTo>
                  <a:pt x="920" y="1164"/>
                  <a:pt x="920" y="1164"/>
                  <a:pt x="919" y="1162"/>
                </a:cubicBezTo>
                <a:cubicBezTo>
                  <a:pt x="919" y="1162"/>
                  <a:pt x="919" y="1162"/>
                  <a:pt x="918" y="1161"/>
                </a:cubicBezTo>
                <a:cubicBezTo>
                  <a:pt x="918" y="1161"/>
                  <a:pt x="918" y="1161"/>
                  <a:pt x="919" y="1160"/>
                </a:cubicBezTo>
                <a:cubicBezTo>
                  <a:pt x="919" y="1160"/>
                  <a:pt x="919" y="1160"/>
                  <a:pt x="920" y="1160"/>
                </a:cubicBezTo>
                <a:cubicBezTo>
                  <a:pt x="920" y="1160"/>
                  <a:pt x="920" y="1160"/>
                  <a:pt x="920" y="1159"/>
                </a:cubicBezTo>
                <a:cubicBezTo>
                  <a:pt x="920" y="1159"/>
                  <a:pt x="920" y="1159"/>
                  <a:pt x="920" y="1158"/>
                </a:cubicBezTo>
                <a:cubicBezTo>
                  <a:pt x="920" y="1158"/>
                  <a:pt x="920" y="1158"/>
                  <a:pt x="920" y="1157"/>
                </a:cubicBezTo>
                <a:cubicBezTo>
                  <a:pt x="920" y="1157"/>
                  <a:pt x="920" y="1157"/>
                  <a:pt x="921" y="1156"/>
                </a:cubicBezTo>
                <a:cubicBezTo>
                  <a:pt x="921" y="1156"/>
                  <a:pt x="921" y="1156"/>
                  <a:pt x="922" y="1156"/>
                </a:cubicBezTo>
                <a:cubicBezTo>
                  <a:pt x="922" y="1156"/>
                  <a:pt x="922" y="1156"/>
                  <a:pt x="923" y="1155"/>
                </a:cubicBezTo>
                <a:cubicBezTo>
                  <a:pt x="923" y="1155"/>
                  <a:pt x="923" y="1155"/>
                  <a:pt x="922" y="1155"/>
                </a:cubicBezTo>
                <a:cubicBezTo>
                  <a:pt x="922" y="1155"/>
                  <a:pt x="922" y="1155"/>
                  <a:pt x="921" y="1155"/>
                </a:cubicBezTo>
                <a:cubicBezTo>
                  <a:pt x="921" y="1155"/>
                  <a:pt x="921" y="1155"/>
                  <a:pt x="921" y="1154"/>
                </a:cubicBezTo>
                <a:cubicBezTo>
                  <a:pt x="921" y="1154"/>
                  <a:pt x="921" y="1154"/>
                  <a:pt x="921" y="1152"/>
                </a:cubicBezTo>
                <a:cubicBezTo>
                  <a:pt x="921" y="1152"/>
                  <a:pt x="921" y="1152"/>
                  <a:pt x="920" y="1154"/>
                </a:cubicBezTo>
                <a:cubicBezTo>
                  <a:pt x="920" y="1154"/>
                  <a:pt x="920" y="1154"/>
                  <a:pt x="920" y="1156"/>
                </a:cubicBezTo>
                <a:cubicBezTo>
                  <a:pt x="920" y="1156"/>
                  <a:pt x="920" y="1156"/>
                  <a:pt x="919" y="1156"/>
                </a:cubicBezTo>
                <a:cubicBezTo>
                  <a:pt x="919" y="1156"/>
                  <a:pt x="919" y="1156"/>
                  <a:pt x="918" y="1154"/>
                </a:cubicBezTo>
                <a:cubicBezTo>
                  <a:pt x="918" y="1154"/>
                  <a:pt x="918" y="1154"/>
                  <a:pt x="919" y="1153"/>
                </a:cubicBezTo>
                <a:cubicBezTo>
                  <a:pt x="919" y="1153"/>
                  <a:pt x="919" y="1153"/>
                  <a:pt x="918" y="1152"/>
                </a:cubicBezTo>
                <a:cubicBezTo>
                  <a:pt x="918" y="1152"/>
                  <a:pt x="918" y="1152"/>
                  <a:pt x="917" y="1149"/>
                </a:cubicBezTo>
                <a:cubicBezTo>
                  <a:pt x="917" y="1149"/>
                  <a:pt x="917" y="1149"/>
                  <a:pt x="917" y="1148"/>
                </a:cubicBezTo>
                <a:cubicBezTo>
                  <a:pt x="917" y="1148"/>
                  <a:pt x="917" y="1148"/>
                  <a:pt x="918" y="1148"/>
                </a:cubicBezTo>
                <a:cubicBezTo>
                  <a:pt x="918" y="1148"/>
                  <a:pt x="918" y="1148"/>
                  <a:pt x="918" y="1147"/>
                </a:cubicBezTo>
                <a:cubicBezTo>
                  <a:pt x="918" y="1147"/>
                  <a:pt x="918" y="1147"/>
                  <a:pt x="918" y="1146"/>
                </a:cubicBezTo>
                <a:cubicBezTo>
                  <a:pt x="918" y="1146"/>
                  <a:pt x="918" y="1146"/>
                  <a:pt x="919" y="1145"/>
                </a:cubicBezTo>
                <a:cubicBezTo>
                  <a:pt x="919" y="1145"/>
                  <a:pt x="919" y="1145"/>
                  <a:pt x="918" y="1145"/>
                </a:cubicBezTo>
                <a:cubicBezTo>
                  <a:pt x="918" y="1145"/>
                  <a:pt x="918" y="1145"/>
                  <a:pt x="917" y="1145"/>
                </a:cubicBezTo>
                <a:cubicBezTo>
                  <a:pt x="917" y="1145"/>
                  <a:pt x="917" y="1145"/>
                  <a:pt x="917" y="1144"/>
                </a:cubicBezTo>
                <a:cubicBezTo>
                  <a:pt x="917" y="1144"/>
                  <a:pt x="917" y="1144"/>
                  <a:pt x="916" y="1143"/>
                </a:cubicBezTo>
                <a:cubicBezTo>
                  <a:pt x="916" y="1143"/>
                  <a:pt x="916" y="1143"/>
                  <a:pt x="915" y="1142"/>
                </a:cubicBezTo>
                <a:cubicBezTo>
                  <a:pt x="915" y="1142"/>
                  <a:pt x="915" y="1142"/>
                  <a:pt x="916" y="1142"/>
                </a:cubicBezTo>
                <a:cubicBezTo>
                  <a:pt x="916" y="1142"/>
                  <a:pt x="916" y="1142"/>
                  <a:pt x="918" y="1141"/>
                </a:cubicBezTo>
                <a:cubicBezTo>
                  <a:pt x="918" y="1141"/>
                  <a:pt x="918" y="1141"/>
                  <a:pt x="919" y="1142"/>
                </a:cubicBezTo>
                <a:cubicBezTo>
                  <a:pt x="919" y="1142"/>
                  <a:pt x="919" y="1142"/>
                  <a:pt x="919" y="1141"/>
                </a:cubicBezTo>
                <a:cubicBezTo>
                  <a:pt x="919" y="1141"/>
                  <a:pt x="919" y="1141"/>
                  <a:pt x="920" y="1141"/>
                </a:cubicBezTo>
                <a:cubicBezTo>
                  <a:pt x="920" y="1141"/>
                  <a:pt x="920" y="1141"/>
                  <a:pt x="921" y="1140"/>
                </a:cubicBezTo>
                <a:cubicBezTo>
                  <a:pt x="921" y="1140"/>
                  <a:pt x="921" y="1140"/>
                  <a:pt x="920" y="1140"/>
                </a:cubicBezTo>
                <a:cubicBezTo>
                  <a:pt x="920" y="1140"/>
                  <a:pt x="920" y="1140"/>
                  <a:pt x="919" y="1140"/>
                </a:cubicBezTo>
                <a:cubicBezTo>
                  <a:pt x="919" y="1140"/>
                  <a:pt x="919" y="1140"/>
                  <a:pt x="918" y="1140"/>
                </a:cubicBezTo>
                <a:cubicBezTo>
                  <a:pt x="918" y="1140"/>
                  <a:pt x="918" y="1140"/>
                  <a:pt x="917" y="1140"/>
                </a:cubicBezTo>
                <a:cubicBezTo>
                  <a:pt x="917" y="1140"/>
                  <a:pt x="917" y="1140"/>
                  <a:pt x="915" y="1140"/>
                </a:cubicBezTo>
                <a:cubicBezTo>
                  <a:pt x="915" y="1140"/>
                  <a:pt x="915" y="1140"/>
                  <a:pt x="915" y="1139"/>
                </a:cubicBezTo>
                <a:cubicBezTo>
                  <a:pt x="915" y="1139"/>
                  <a:pt x="915" y="1139"/>
                  <a:pt x="914" y="1138"/>
                </a:cubicBezTo>
                <a:cubicBezTo>
                  <a:pt x="914" y="1138"/>
                  <a:pt x="914" y="1138"/>
                  <a:pt x="914" y="1137"/>
                </a:cubicBezTo>
                <a:cubicBezTo>
                  <a:pt x="914" y="1137"/>
                  <a:pt x="914" y="1137"/>
                  <a:pt x="915" y="1138"/>
                </a:cubicBezTo>
                <a:cubicBezTo>
                  <a:pt x="915" y="1138"/>
                  <a:pt x="915" y="1138"/>
                  <a:pt x="916" y="1138"/>
                </a:cubicBezTo>
                <a:cubicBezTo>
                  <a:pt x="916" y="1138"/>
                  <a:pt x="916" y="1138"/>
                  <a:pt x="915" y="1137"/>
                </a:cubicBezTo>
                <a:cubicBezTo>
                  <a:pt x="915" y="1137"/>
                  <a:pt x="915" y="1137"/>
                  <a:pt x="915" y="1136"/>
                </a:cubicBezTo>
                <a:cubicBezTo>
                  <a:pt x="915" y="1136"/>
                  <a:pt x="915" y="1136"/>
                  <a:pt x="916" y="1135"/>
                </a:cubicBezTo>
                <a:cubicBezTo>
                  <a:pt x="916" y="1135"/>
                  <a:pt x="916" y="1135"/>
                  <a:pt x="915" y="1134"/>
                </a:cubicBezTo>
                <a:cubicBezTo>
                  <a:pt x="915" y="1134"/>
                  <a:pt x="915" y="1134"/>
                  <a:pt x="916" y="1134"/>
                </a:cubicBezTo>
                <a:cubicBezTo>
                  <a:pt x="916" y="1134"/>
                  <a:pt x="916" y="1134"/>
                  <a:pt x="916" y="1133"/>
                </a:cubicBezTo>
                <a:cubicBezTo>
                  <a:pt x="916" y="1133"/>
                  <a:pt x="916" y="1133"/>
                  <a:pt x="914" y="1132"/>
                </a:cubicBezTo>
                <a:cubicBezTo>
                  <a:pt x="914" y="1132"/>
                  <a:pt x="914" y="1132"/>
                  <a:pt x="914" y="1131"/>
                </a:cubicBezTo>
                <a:cubicBezTo>
                  <a:pt x="914" y="1131"/>
                  <a:pt x="914" y="1131"/>
                  <a:pt x="913" y="1131"/>
                </a:cubicBezTo>
                <a:cubicBezTo>
                  <a:pt x="913" y="1131"/>
                  <a:pt x="913" y="1131"/>
                  <a:pt x="912" y="1132"/>
                </a:cubicBezTo>
                <a:cubicBezTo>
                  <a:pt x="912" y="1132"/>
                  <a:pt x="912" y="1132"/>
                  <a:pt x="911" y="1132"/>
                </a:cubicBezTo>
                <a:cubicBezTo>
                  <a:pt x="911" y="1132"/>
                  <a:pt x="911" y="1132"/>
                  <a:pt x="910" y="1131"/>
                </a:cubicBezTo>
                <a:cubicBezTo>
                  <a:pt x="910" y="1131"/>
                  <a:pt x="910" y="1131"/>
                  <a:pt x="909" y="1130"/>
                </a:cubicBezTo>
                <a:cubicBezTo>
                  <a:pt x="909" y="1130"/>
                  <a:pt x="909" y="1130"/>
                  <a:pt x="907" y="1130"/>
                </a:cubicBezTo>
                <a:cubicBezTo>
                  <a:pt x="907" y="1130"/>
                  <a:pt x="907" y="1130"/>
                  <a:pt x="907" y="1129"/>
                </a:cubicBezTo>
                <a:cubicBezTo>
                  <a:pt x="907" y="1129"/>
                  <a:pt x="907" y="1129"/>
                  <a:pt x="908" y="1128"/>
                </a:cubicBezTo>
                <a:cubicBezTo>
                  <a:pt x="908" y="1128"/>
                  <a:pt x="908" y="1128"/>
                  <a:pt x="908" y="1127"/>
                </a:cubicBezTo>
                <a:cubicBezTo>
                  <a:pt x="908" y="1127"/>
                  <a:pt x="908" y="1127"/>
                  <a:pt x="909" y="1127"/>
                </a:cubicBezTo>
                <a:cubicBezTo>
                  <a:pt x="909" y="1127"/>
                  <a:pt x="909" y="1127"/>
                  <a:pt x="909" y="1126"/>
                </a:cubicBezTo>
                <a:cubicBezTo>
                  <a:pt x="909" y="1126"/>
                  <a:pt x="909" y="1126"/>
                  <a:pt x="908" y="1126"/>
                </a:cubicBezTo>
                <a:cubicBezTo>
                  <a:pt x="908" y="1126"/>
                  <a:pt x="908" y="1126"/>
                  <a:pt x="908" y="1124"/>
                </a:cubicBezTo>
                <a:cubicBezTo>
                  <a:pt x="908" y="1124"/>
                  <a:pt x="908" y="1124"/>
                  <a:pt x="909" y="1123"/>
                </a:cubicBezTo>
                <a:cubicBezTo>
                  <a:pt x="909" y="1123"/>
                  <a:pt x="909" y="1123"/>
                  <a:pt x="909" y="1124"/>
                </a:cubicBezTo>
                <a:cubicBezTo>
                  <a:pt x="909" y="1124"/>
                  <a:pt x="909" y="1124"/>
                  <a:pt x="912" y="1124"/>
                </a:cubicBezTo>
                <a:cubicBezTo>
                  <a:pt x="912" y="1124"/>
                  <a:pt x="912" y="1124"/>
                  <a:pt x="913" y="1123"/>
                </a:cubicBezTo>
                <a:cubicBezTo>
                  <a:pt x="913" y="1123"/>
                  <a:pt x="913" y="1123"/>
                  <a:pt x="913" y="1125"/>
                </a:cubicBezTo>
                <a:cubicBezTo>
                  <a:pt x="913" y="1125"/>
                  <a:pt x="913" y="1125"/>
                  <a:pt x="913" y="1126"/>
                </a:cubicBezTo>
                <a:cubicBezTo>
                  <a:pt x="913" y="1126"/>
                  <a:pt x="913" y="1126"/>
                  <a:pt x="912" y="1126"/>
                </a:cubicBezTo>
                <a:cubicBezTo>
                  <a:pt x="912" y="1126"/>
                  <a:pt x="912" y="1126"/>
                  <a:pt x="911" y="1127"/>
                </a:cubicBezTo>
                <a:cubicBezTo>
                  <a:pt x="911" y="1127"/>
                  <a:pt x="911" y="1127"/>
                  <a:pt x="912" y="1127"/>
                </a:cubicBezTo>
                <a:cubicBezTo>
                  <a:pt x="912" y="1127"/>
                  <a:pt x="912" y="1127"/>
                  <a:pt x="913" y="1126"/>
                </a:cubicBezTo>
                <a:cubicBezTo>
                  <a:pt x="913" y="1126"/>
                  <a:pt x="913" y="1126"/>
                  <a:pt x="915" y="1125"/>
                </a:cubicBezTo>
                <a:cubicBezTo>
                  <a:pt x="915" y="1125"/>
                  <a:pt x="915" y="1125"/>
                  <a:pt x="915" y="1126"/>
                </a:cubicBezTo>
                <a:cubicBezTo>
                  <a:pt x="915" y="1126"/>
                  <a:pt x="915" y="1126"/>
                  <a:pt x="915" y="1127"/>
                </a:cubicBezTo>
                <a:cubicBezTo>
                  <a:pt x="915" y="1127"/>
                  <a:pt x="915" y="1127"/>
                  <a:pt x="915" y="1129"/>
                </a:cubicBezTo>
                <a:cubicBezTo>
                  <a:pt x="915" y="1129"/>
                  <a:pt x="915" y="1129"/>
                  <a:pt x="916" y="1129"/>
                </a:cubicBezTo>
                <a:cubicBezTo>
                  <a:pt x="916" y="1129"/>
                  <a:pt x="916" y="1129"/>
                  <a:pt x="916" y="1127"/>
                </a:cubicBezTo>
                <a:cubicBezTo>
                  <a:pt x="916" y="1127"/>
                  <a:pt x="916" y="1127"/>
                  <a:pt x="917" y="1126"/>
                </a:cubicBezTo>
                <a:cubicBezTo>
                  <a:pt x="917" y="1126"/>
                  <a:pt x="917" y="1126"/>
                  <a:pt x="916" y="1126"/>
                </a:cubicBezTo>
                <a:cubicBezTo>
                  <a:pt x="916" y="1126"/>
                  <a:pt x="916" y="1126"/>
                  <a:pt x="916" y="1124"/>
                </a:cubicBezTo>
                <a:cubicBezTo>
                  <a:pt x="916" y="1124"/>
                  <a:pt x="916" y="1124"/>
                  <a:pt x="917" y="1122"/>
                </a:cubicBezTo>
                <a:cubicBezTo>
                  <a:pt x="917" y="1122"/>
                  <a:pt x="917" y="1122"/>
                  <a:pt x="918" y="1121"/>
                </a:cubicBezTo>
                <a:cubicBezTo>
                  <a:pt x="918" y="1121"/>
                  <a:pt x="918" y="1121"/>
                  <a:pt x="917" y="1121"/>
                </a:cubicBezTo>
                <a:cubicBezTo>
                  <a:pt x="917" y="1121"/>
                  <a:pt x="917" y="1121"/>
                  <a:pt x="917" y="1120"/>
                </a:cubicBezTo>
                <a:cubicBezTo>
                  <a:pt x="917" y="1120"/>
                  <a:pt x="917" y="1120"/>
                  <a:pt x="917" y="1119"/>
                </a:cubicBezTo>
                <a:cubicBezTo>
                  <a:pt x="917" y="1119"/>
                  <a:pt x="917" y="1119"/>
                  <a:pt x="917" y="1118"/>
                </a:cubicBezTo>
                <a:cubicBezTo>
                  <a:pt x="917" y="1118"/>
                  <a:pt x="917" y="1118"/>
                  <a:pt x="917" y="1117"/>
                </a:cubicBezTo>
                <a:cubicBezTo>
                  <a:pt x="917" y="1117"/>
                  <a:pt x="917" y="1117"/>
                  <a:pt x="918" y="1117"/>
                </a:cubicBezTo>
                <a:cubicBezTo>
                  <a:pt x="918" y="1117"/>
                  <a:pt x="918" y="1117"/>
                  <a:pt x="919" y="1116"/>
                </a:cubicBezTo>
                <a:cubicBezTo>
                  <a:pt x="919" y="1116"/>
                  <a:pt x="919" y="1116"/>
                  <a:pt x="920" y="1114"/>
                </a:cubicBezTo>
                <a:cubicBezTo>
                  <a:pt x="920" y="1114"/>
                  <a:pt x="920" y="1114"/>
                  <a:pt x="920" y="1112"/>
                </a:cubicBezTo>
                <a:cubicBezTo>
                  <a:pt x="920" y="1112"/>
                  <a:pt x="920" y="1112"/>
                  <a:pt x="919" y="1112"/>
                </a:cubicBezTo>
                <a:cubicBezTo>
                  <a:pt x="919" y="1112"/>
                  <a:pt x="919" y="1112"/>
                  <a:pt x="919" y="1111"/>
                </a:cubicBezTo>
                <a:cubicBezTo>
                  <a:pt x="919" y="1111"/>
                  <a:pt x="919" y="1111"/>
                  <a:pt x="918" y="1110"/>
                </a:cubicBezTo>
                <a:cubicBezTo>
                  <a:pt x="918" y="1110"/>
                  <a:pt x="918" y="1110"/>
                  <a:pt x="917" y="1110"/>
                </a:cubicBezTo>
                <a:cubicBezTo>
                  <a:pt x="917" y="1110"/>
                  <a:pt x="917" y="1110"/>
                  <a:pt x="916" y="1109"/>
                </a:cubicBezTo>
                <a:cubicBezTo>
                  <a:pt x="916" y="1109"/>
                  <a:pt x="916" y="1109"/>
                  <a:pt x="916" y="1108"/>
                </a:cubicBezTo>
                <a:cubicBezTo>
                  <a:pt x="916" y="1108"/>
                  <a:pt x="916" y="1108"/>
                  <a:pt x="917" y="1107"/>
                </a:cubicBezTo>
                <a:cubicBezTo>
                  <a:pt x="917" y="1107"/>
                  <a:pt x="917" y="1107"/>
                  <a:pt x="917" y="1106"/>
                </a:cubicBezTo>
                <a:cubicBezTo>
                  <a:pt x="917" y="1106"/>
                  <a:pt x="917" y="1106"/>
                  <a:pt x="918" y="1105"/>
                </a:cubicBezTo>
                <a:cubicBezTo>
                  <a:pt x="918" y="1105"/>
                  <a:pt x="918" y="1105"/>
                  <a:pt x="916" y="1104"/>
                </a:cubicBezTo>
                <a:cubicBezTo>
                  <a:pt x="916" y="1104"/>
                  <a:pt x="916" y="1104"/>
                  <a:pt x="916" y="1103"/>
                </a:cubicBezTo>
                <a:cubicBezTo>
                  <a:pt x="916" y="1103"/>
                  <a:pt x="916" y="1103"/>
                  <a:pt x="917" y="1102"/>
                </a:cubicBezTo>
                <a:cubicBezTo>
                  <a:pt x="917" y="1102"/>
                  <a:pt x="917" y="1102"/>
                  <a:pt x="917" y="1101"/>
                </a:cubicBezTo>
                <a:cubicBezTo>
                  <a:pt x="917" y="1101"/>
                  <a:pt x="917" y="1101"/>
                  <a:pt x="918" y="1100"/>
                </a:cubicBezTo>
                <a:cubicBezTo>
                  <a:pt x="918" y="1100"/>
                  <a:pt x="918" y="1100"/>
                  <a:pt x="917" y="1099"/>
                </a:cubicBezTo>
                <a:cubicBezTo>
                  <a:pt x="917" y="1099"/>
                  <a:pt x="917" y="1099"/>
                  <a:pt x="917" y="1097"/>
                </a:cubicBezTo>
                <a:cubicBezTo>
                  <a:pt x="917" y="1097"/>
                  <a:pt x="917" y="1097"/>
                  <a:pt x="918" y="1097"/>
                </a:cubicBezTo>
                <a:cubicBezTo>
                  <a:pt x="918" y="1097"/>
                  <a:pt x="918" y="1097"/>
                  <a:pt x="918" y="1096"/>
                </a:cubicBezTo>
                <a:cubicBezTo>
                  <a:pt x="918" y="1096"/>
                  <a:pt x="918" y="1096"/>
                  <a:pt x="916" y="1095"/>
                </a:cubicBezTo>
                <a:cubicBezTo>
                  <a:pt x="916" y="1095"/>
                  <a:pt x="916" y="1095"/>
                  <a:pt x="916" y="1094"/>
                </a:cubicBezTo>
                <a:cubicBezTo>
                  <a:pt x="916" y="1094"/>
                  <a:pt x="916" y="1094"/>
                  <a:pt x="917" y="1094"/>
                </a:cubicBezTo>
                <a:cubicBezTo>
                  <a:pt x="917" y="1094"/>
                  <a:pt x="917" y="1094"/>
                  <a:pt x="918" y="1095"/>
                </a:cubicBezTo>
                <a:cubicBezTo>
                  <a:pt x="918" y="1095"/>
                  <a:pt x="918" y="1095"/>
                  <a:pt x="918" y="1093"/>
                </a:cubicBezTo>
                <a:cubicBezTo>
                  <a:pt x="918" y="1093"/>
                  <a:pt x="918" y="1093"/>
                  <a:pt x="918" y="1092"/>
                </a:cubicBezTo>
                <a:cubicBezTo>
                  <a:pt x="918" y="1092"/>
                  <a:pt x="918" y="1092"/>
                  <a:pt x="917" y="1092"/>
                </a:cubicBezTo>
                <a:cubicBezTo>
                  <a:pt x="917" y="1092"/>
                  <a:pt x="917" y="1092"/>
                  <a:pt x="916" y="1092"/>
                </a:cubicBezTo>
                <a:cubicBezTo>
                  <a:pt x="916" y="1092"/>
                  <a:pt x="916" y="1092"/>
                  <a:pt x="916" y="1091"/>
                </a:cubicBezTo>
                <a:cubicBezTo>
                  <a:pt x="916" y="1091"/>
                  <a:pt x="916" y="1091"/>
                  <a:pt x="918" y="1090"/>
                </a:cubicBezTo>
                <a:cubicBezTo>
                  <a:pt x="918" y="1090"/>
                  <a:pt x="918" y="1090"/>
                  <a:pt x="918" y="1089"/>
                </a:cubicBezTo>
                <a:cubicBezTo>
                  <a:pt x="918" y="1089"/>
                  <a:pt x="918" y="1089"/>
                  <a:pt x="917" y="1089"/>
                </a:cubicBezTo>
                <a:cubicBezTo>
                  <a:pt x="917" y="1089"/>
                  <a:pt x="917" y="1089"/>
                  <a:pt x="916" y="1088"/>
                </a:cubicBezTo>
                <a:cubicBezTo>
                  <a:pt x="916" y="1088"/>
                  <a:pt x="916" y="1088"/>
                  <a:pt x="915" y="1088"/>
                </a:cubicBezTo>
                <a:cubicBezTo>
                  <a:pt x="915" y="1088"/>
                  <a:pt x="915" y="1088"/>
                  <a:pt x="915" y="1090"/>
                </a:cubicBezTo>
                <a:cubicBezTo>
                  <a:pt x="915" y="1090"/>
                  <a:pt x="915" y="1090"/>
                  <a:pt x="913" y="1090"/>
                </a:cubicBezTo>
                <a:cubicBezTo>
                  <a:pt x="913" y="1090"/>
                  <a:pt x="913" y="1090"/>
                  <a:pt x="911" y="1090"/>
                </a:cubicBezTo>
                <a:cubicBezTo>
                  <a:pt x="911" y="1090"/>
                  <a:pt x="911" y="1090"/>
                  <a:pt x="911" y="1089"/>
                </a:cubicBezTo>
                <a:cubicBezTo>
                  <a:pt x="911" y="1089"/>
                  <a:pt x="911" y="1089"/>
                  <a:pt x="910" y="1088"/>
                </a:cubicBezTo>
                <a:cubicBezTo>
                  <a:pt x="910" y="1088"/>
                  <a:pt x="910" y="1088"/>
                  <a:pt x="908" y="1085"/>
                </a:cubicBezTo>
                <a:cubicBezTo>
                  <a:pt x="908" y="1085"/>
                  <a:pt x="908" y="1085"/>
                  <a:pt x="908" y="1084"/>
                </a:cubicBezTo>
                <a:cubicBezTo>
                  <a:pt x="908" y="1084"/>
                  <a:pt x="908" y="1084"/>
                  <a:pt x="908" y="1083"/>
                </a:cubicBezTo>
                <a:cubicBezTo>
                  <a:pt x="908" y="1083"/>
                  <a:pt x="908" y="1083"/>
                  <a:pt x="907" y="1083"/>
                </a:cubicBezTo>
                <a:cubicBezTo>
                  <a:pt x="907" y="1083"/>
                  <a:pt x="907" y="1083"/>
                  <a:pt x="908" y="1082"/>
                </a:cubicBezTo>
                <a:cubicBezTo>
                  <a:pt x="908" y="1082"/>
                  <a:pt x="908" y="1082"/>
                  <a:pt x="908" y="1081"/>
                </a:cubicBezTo>
                <a:cubicBezTo>
                  <a:pt x="908" y="1081"/>
                  <a:pt x="908" y="1081"/>
                  <a:pt x="908" y="1078"/>
                </a:cubicBezTo>
                <a:cubicBezTo>
                  <a:pt x="908" y="1078"/>
                  <a:pt x="908" y="1078"/>
                  <a:pt x="907" y="1076"/>
                </a:cubicBezTo>
                <a:cubicBezTo>
                  <a:pt x="907" y="1076"/>
                  <a:pt x="907" y="1076"/>
                  <a:pt x="908" y="1075"/>
                </a:cubicBezTo>
                <a:cubicBezTo>
                  <a:pt x="908" y="1075"/>
                  <a:pt x="908" y="1075"/>
                  <a:pt x="909" y="1075"/>
                </a:cubicBezTo>
                <a:cubicBezTo>
                  <a:pt x="909" y="1075"/>
                  <a:pt x="909" y="1075"/>
                  <a:pt x="909" y="1074"/>
                </a:cubicBezTo>
                <a:cubicBezTo>
                  <a:pt x="909" y="1074"/>
                  <a:pt x="909" y="1074"/>
                  <a:pt x="909" y="1073"/>
                </a:cubicBezTo>
                <a:cubicBezTo>
                  <a:pt x="909" y="1073"/>
                  <a:pt x="909" y="1073"/>
                  <a:pt x="910" y="1071"/>
                </a:cubicBezTo>
                <a:cubicBezTo>
                  <a:pt x="910" y="1071"/>
                  <a:pt x="910" y="1071"/>
                  <a:pt x="910" y="1068"/>
                </a:cubicBezTo>
                <a:cubicBezTo>
                  <a:pt x="910" y="1068"/>
                  <a:pt x="910" y="1068"/>
                  <a:pt x="909" y="1068"/>
                </a:cubicBezTo>
                <a:cubicBezTo>
                  <a:pt x="909" y="1068"/>
                  <a:pt x="909" y="1068"/>
                  <a:pt x="909" y="1067"/>
                </a:cubicBezTo>
                <a:cubicBezTo>
                  <a:pt x="909" y="1067"/>
                  <a:pt x="909" y="1067"/>
                  <a:pt x="907" y="1064"/>
                </a:cubicBezTo>
                <a:cubicBezTo>
                  <a:pt x="907" y="1064"/>
                  <a:pt x="907" y="1064"/>
                  <a:pt x="907" y="1062"/>
                </a:cubicBezTo>
                <a:cubicBezTo>
                  <a:pt x="907" y="1062"/>
                  <a:pt x="907" y="1062"/>
                  <a:pt x="907" y="1061"/>
                </a:cubicBezTo>
                <a:cubicBezTo>
                  <a:pt x="907" y="1061"/>
                  <a:pt x="907" y="1061"/>
                  <a:pt x="906" y="1059"/>
                </a:cubicBezTo>
                <a:cubicBezTo>
                  <a:pt x="906" y="1059"/>
                  <a:pt x="906" y="1059"/>
                  <a:pt x="905" y="1058"/>
                </a:cubicBezTo>
                <a:cubicBezTo>
                  <a:pt x="905" y="1058"/>
                  <a:pt x="905" y="1058"/>
                  <a:pt x="905" y="1056"/>
                </a:cubicBezTo>
                <a:cubicBezTo>
                  <a:pt x="905" y="1056"/>
                  <a:pt x="905" y="1056"/>
                  <a:pt x="904" y="1055"/>
                </a:cubicBezTo>
                <a:cubicBezTo>
                  <a:pt x="904" y="1055"/>
                  <a:pt x="904" y="1055"/>
                  <a:pt x="905" y="1054"/>
                </a:cubicBezTo>
                <a:cubicBezTo>
                  <a:pt x="905" y="1054"/>
                  <a:pt x="905" y="1054"/>
                  <a:pt x="906" y="1054"/>
                </a:cubicBezTo>
                <a:cubicBezTo>
                  <a:pt x="906" y="1054"/>
                  <a:pt x="906" y="1054"/>
                  <a:pt x="907" y="1054"/>
                </a:cubicBezTo>
                <a:cubicBezTo>
                  <a:pt x="907" y="1054"/>
                  <a:pt x="907" y="1054"/>
                  <a:pt x="908" y="1053"/>
                </a:cubicBezTo>
                <a:cubicBezTo>
                  <a:pt x="908" y="1053"/>
                  <a:pt x="908" y="1053"/>
                  <a:pt x="908" y="1052"/>
                </a:cubicBezTo>
                <a:cubicBezTo>
                  <a:pt x="908" y="1052"/>
                  <a:pt x="908" y="1052"/>
                  <a:pt x="907" y="1051"/>
                </a:cubicBezTo>
                <a:cubicBezTo>
                  <a:pt x="907" y="1051"/>
                  <a:pt x="907" y="1051"/>
                  <a:pt x="907" y="1050"/>
                </a:cubicBezTo>
                <a:cubicBezTo>
                  <a:pt x="907" y="1050"/>
                  <a:pt x="907" y="1050"/>
                  <a:pt x="908" y="1049"/>
                </a:cubicBezTo>
                <a:cubicBezTo>
                  <a:pt x="908" y="1049"/>
                  <a:pt x="908" y="1049"/>
                  <a:pt x="908" y="1048"/>
                </a:cubicBezTo>
                <a:cubicBezTo>
                  <a:pt x="908" y="1048"/>
                  <a:pt x="908" y="1048"/>
                  <a:pt x="909" y="1048"/>
                </a:cubicBezTo>
                <a:cubicBezTo>
                  <a:pt x="909" y="1048"/>
                  <a:pt x="909" y="1048"/>
                  <a:pt x="909" y="1047"/>
                </a:cubicBezTo>
                <a:cubicBezTo>
                  <a:pt x="909" y="1047"/>
                  <a:pt x="909" y="1047"/>
                  <a:pt x="909" y="1045"/>
                </a:cubicBezTo>
                <a:cubicBezTo>
                  <a:pt x="909" y="1045"/>
                  <a:pt x="909" y="1045"/>
                  <a:pt x="910" y="1044"/>
                </a:cubicBezTo>
                <a:cubicBezTo>
                  <a:pt x="910" y="1044"/>
                  <a:pt x="910" y="1044"/>
                  <a:pt x="909" y="1043"/>
                </a:cubicBezTo>
                <a:cubicBezTo>
                  <a:pt x="909" y="1043"/>
                  <a:pt x="909" y="1043"/>
                  <a:pt x="909" y="1042"/>
                </a:cubicBezTo>
                <a:cubicBezTo>
                  <a:pt x="909" y="1042"/>
                  <a:pt x="909" y="1042"/>
                  <a:pt x="910" y="1042"/>
                </a:cubicBezTo>
                <a:cubicBezTo>
                  <a:pt x="910" y="1042"/>
                  <a:pt x="910" y="1042"/>
                  <a:pt x="910" y="1040"/>
                </a:cubicBezTo>
                <a:cubicBezTo>
                  <a:pt x="910" y="1040"/>
                  <a:pt x="910" y="1040"/>
                  <a:pt x="910" y="1039"/>
                </a:cubicBezTo>
                <a:cubicBezTo>
                  <a:pt x="910" y="1039"/>
                  <a:pt x="910" y="1039"/>
                  <a:pt x="910" y="1038"/>
                </a:cubicBezTo>
                <a:cubicBezTo>
                  <a:pt x="910" y="1038"/>
                  <a:pt x="910" y="1038"/>
                  <a:pt x="911" y="1037"/>
                </a:cubicBezTo>
                <a:cubicBezTo>
                  <a:pt x="911" y="1037"/>
                  <a:pt x="911" y="1037"/>
                  <a:pt x="911" y="1035"/>
                </a:cubicBezTo>
                <a:cubicBezTo>
                  <a:pt x="911" y="1035"/>
                  <a:pt x="911" y="1035"/>
                  <a:pt x="911" y="1034"/>
                </a:cubicBezTo>
                <a:cubicBezTo>
                  <a:pt x="911" y="1034"/>
                  <a:pt x="911" y="1034"/>
                  <a:pt x="912" y="1034"/>
                </a:cubicBezTo>
                <a:cubicBezTo>
                  <a:pt x="912" y="1034"/>
                  <a:pt x="912" y="1034"/>
                  <a:pt x="912" y="1032"/>
                </a:cubicBezTo>
                <a:cubicBezTo>
                  <a:pt x="912" y="1032"/>
                  <a:pt x="912" y="1032"/>
                  <a:pt x="912" y="1031"/>
                </a:cubicBezTo>
                <a:cubicBezTo>
                  <a:pt x="912" y="1031"/>
                  <a:pt x="912" y="1031"/>
                  <a:pt x="912" y="1029"/>
                </a:cubicBezTo>
                <a:cubicBezTo>
                  <a:pt x="912" y="1029"/>
                  <a:pt x="912" y="1029"/>
                  <a:pt x="913" y="1029"/>
                </a:cubicBezTo>
                <a:cubicBezTo>
                  <a:pt x="913" y="1029"/>
                  <a:pt x="913" y="1029"/>
                  <a:pt x="914" y="1027"/>
                </a:cubicBezTo>
                <a:cubicBezTo>
                  <a:pt x="914" y="1027"/>
                  <a:pt x="914" y="1027"/>
                  <a:pt x="914" y="1026"/>
                </a:cubicBezTo>
                <a:cubicBezTo>
                  <a:pt x="914" y="1026"/>
                  <a:pt x="914" y="1026"/>
                  <a:pt x="912" y="1024"/>
                </a:cubicBezTo>
                <a:cubicBezTo>
                  <a:pt x="912" y="1024"/>
                  <a:pt x="912" y="1024"/>
                  <a:pt x="912" y="1023"/>
                </a:cubicBezTo>
                <a:cubicBezTo>
                  <a:pt x="912" y="1023"/>
                  <a:pt x="912" y="1023"/>
                  <a:pt x="913" y="1022"/>
                </a:cubicBezTo>
                <a:cubicBezTo>
                  <a:pt x="913" y="1022"/>
                  <a:pt x="913" y="1022"/>
                  <a:pt x="912" y="1021"/>
                </a:cubicBezTo>
                <a:cubicBezTo>
                  <a:pt x="912" y="1021"/>
                  <a:pt x="912" y="1021"/>
                  <a:pt x="912" y="1020"/>
                </a:cubicBezTo>
                <a:cubicBezTo>
                  <a:pt x="912" y="1020"/>
                  <a:pt x="912" y="1020"/>
                  <a:pt x="913" y="1019"/>
                </a:cubicBezTo>
                <a:cubicBezTo>
                  <a:pt x="913" y="1019"/>
                  <a:pt x="913" y="1019"/>
                  <a:pt x="912" y="1016"/>
                </a:cubicBezTo>
                <a:cubicBezTo>
                  <a:pt x="912" y="1016"/>
                  <a:pt x="912" y="1016"/>
                  <a:pt x="911" y="1014"/>
                </a:cubicBezTo>
                <a:cubicBezTo>
                  <a:pt x="911" y="1014"/>
                  <a:pt x="911" y="1014"/>
                  <a:pt x="911" y="1013"/>
                </a:cubicBezTo>
                <a:cubicBezTo>
                  <a:pt x="911" y="1013"/>
                  <a:pt x="911" y="1013"/>
                  <a:pt x="912" y="1013"/>
                </a:cubicBezTo>
                <a:cubicBezTo>
                  <a:pt x="912" y="1013"/>
                  <a:pt x="912" y="1013"/>
                  <a:pt x="912" y="1011"/>
                </a:cubicBezTo>
                <a:cubicBezTo>
                  <a:pt x="912" y="1011"/>
                  <a:pt x="912" y="1011"/>
                  <a:pt x="910" y="1007"/>
                </a:cubicBezTo>
                <a:cubicBezTo>
                  <a:pt x="910" y="1007"/>
                  <a:pt x="910" y="1007"/>
                  <a:pt x="910" y="1005"/>
                </a:cubicBezTo>
                <a:cubicBezTo>
                  <a:pt x="910" y="1005"/>
                  <a:pt x="910" y="1005"/>
                  <a:pt x="910" y="1004"/>
                </a:cubicBezTo>
                <a:cubicBezTo>
                  <a:pt x="910" y="1004"/>
                  <a:pt x="910" y="1004"/>
                  <a:pt x="910" y="1002"/>
                </a:cubicBezTo>
                <a:cubicBezTo>
                  <a:pt x="910" y="1002"/>
                  <a:pt x="910" y="1002"/>
                  <a:pt x="911" y="1002"/>
                </a:cubicBezTo>
                <a:cubicBezTo>
                  <a:pt x="911" y="1002"/>
                  <a:pt x="911" y="1002"/>
                  <a:pt x="912" y="1001"/>
                </a:cubicBezTo>
                <a:cubicBezTo>
                  <a:pt x="912" y="1001"/>
                  <a:pt x="912" y="1001"/>
                  <a:pt x="911" y="1000"/>
                </a:cubicBezTo>
                <a:cubicBezTo>
                  <a:pt x="911" y="1000"/>
                  <a:pt x="911" y="1000"/>
                  <a:pt x="911" y="998"/>
                </a:cubicBezTo>
                <a:cubicBezTo>
                  <a:pt x="911" y="998"/>
                  <a:pt x="911" y="998"/>
                  <a:pt x="912" y="998"/>
                </a:cubicBezTo>
                <a:cubicBezTo>
                  <a:pt x="912" y="998"/>
                  <a:pt x="912" y="998"/>
                  <a:pt x="911" y="997"/>
                </a:cubicBezTo>
                <a:cubicBezTo>
                  <a:pt x="911" y="997"/>
                  <a:pt x="911" y="997"/>
                  <a:pt x="911" y="995"/>
                </a:cubicBezTo>
                <a:cubicBezTo>
                  <a:pt x="911" y="995"/>
                  <a:pt x="911" y="995"/>
                  <a:pt x="910" y="993"/>
                </a:cubicBezTo>
                <a:cubicBezTo>
                  <a:pt x="910" y="993"/>
                  <a:pt x="910" y="993"/>
                  <a:pt x="910" y="992"/>
                </a:cubicBezTo>
                <a:cubicBezTo>
                  <a:pt x="910" y="992"/>
                  <a:pt x="910" y="992"/>
                  <a:pt x="911" y="990"/>
                </a:cubicBezTo>
                <a:cubicBezTo>
                  <a:pt x="911" y="990"/>
                  <a:pt x="911" y="990"/>
                  <a:pt x="911" y="989"/>
                </a:cubicBezTo>
                <a:cubicBezTo>
                  <a:pt x="911" y="989"/>
                  <a:pt x="911" y="989"/>
                  <a:pt x="911" y="987"/>
                </a:cubicBezTo>
                <a:cubicBezTo>
                  <a:pt x="911" y="987"/>
                  <a:pt x="911" y="987"/>
                  <a:pt x="912" y="986"/>
                </a:cubicBezTo>
                <a:cubicBezTo>
                  <a:pt x="912" y="986"/>
                  <a:pt x="912" y="986"/>
                  <a:pt x="912" y="984"/>
                </a:cubicBezTo>
                <a:cubicBezTo>
                  <a:pt x="912" y="984"/>
                  <a:pt x="912" y="984"/>
                  <a:pt x="913" y="983"/>
                </a:cubicBezTo>
                <a:cubicBezTo>
                  <a:pt x="913" y="983"/>
                  <a:pt x="913" y="983"/>
                  <a:pt x="913" y="982"/>
                </a:cubicBezTo>
                <a:cubicBezTo>
                  <a:pt x="913" y="982"/>
                  <a:pt x="913" y="982"/>
                  <a:pt x="912" y="981"/>
                </a:cubicBezTo>
                <a:cubicBezTo>
                  <a:pt x="912" y="981"/>
                  <a:pt x="912" y="981"/>
                  <a:pt x="912" y="979"/>
                </a:cubicBezTo>
                <a:cubicBezTo>
                  <a:pt x="912" y="979"/>
                  <a:pt x="912" y="979"/>
                  <a:pt x="913" y="978"/>
                </a:cubicBezTo>
                <a:cubicBezTo>
                  <a:pt x="913" y="978"/>
                  <a:pt x="913" y="978"/>
                  <a:pt x="913" y="975"/>
                </a:cubicBezTo>
                <a:cubicBezTo>
                  <a:pt x="913" y="975"/>
                  <a:pt x="913" y="975"/>
                  <a:pt x="914" y="974"/>
                </a:cubicBezTo>
                <a:cubicBezTo>
                  <a:pt x="914" y="974"/>
                  <a:pt x="914" y="974"/>
                  <a:pt x="912" y="972"/>
                </a:cubicBezTo>
                <a:cubicBezTo>
                  <a:pt x="912" y="972"/>
                  <a:pt x="912" y="972"/>
                  <a:pt x="912" y="970"/>
                </a:cubicBezTo>
                <a:cubicBezTo>
                  <a:pt x="912" y="970"/>
                  <a:pt x="912" y="970"/>
                  <a:pt x="913" y="968"/>
                </a:cubicBezTo>
                <a:cubicBezTo>
                  <a:pt x="913" y="968"/>
                  <a:pt x="913" y="968"/>
                  <a:pt x="914" y="967"/>
                </a:cubicBezTo>
                <a:cubicBezTo>
                  <a:pt x="914" y="967"/>
                  <a:pt x="914" y="967"/>
                  <a:pt x="913" y="965"/>
                </a:cubicBezTo>
                <a:cubicBezTo>
                  <a:pt x="913" y="965"/>
                  <a:pt x="913" y="965"/>
                  <a:pt x="913" y="962"/>
                </a:cubicBezTo>
                <a:cubicBezTo>
                  <a:pt x="913" y="962"/>
                  <a:pt x="913" y="962"/>
                  <a:pt x="912" y="956"/>
                </a:cubicBezTo>
                <a:cubicBezTo>
                  <a:pt x="912" y="956"/>
                  <a:pt x="912" y="956"/>
                  <a:pt x="913" y="955"/>
                </a:cubicBezTo>
                <a:cubicBezTo>
                  <a:pt x="913" y="955"/>
                  <a:pt x="913" y="955"/>
                  <a:pt x="913" y="954"/>
                </a:cubicBezTo>
                <a:cubicBezTo>
                  <a:pt x="913" y="954"/>
                  <a:pt x="913" y="954"/>
                  <a:pt x="912" y="955"/>
                </a:cubicBezTo>
                <a:cubicBezTo>
                  <a:pt x="912" y="955"/>
                  <a:pt x="912" y="955"/>
                  <a:pt x="912" y="954"/>
                </a:cubicBezTo>
                <a:cubicBezTo>
                  <a:pt x="912" y="954"/>
                  <a:pt x="912" y="954"/>
                  <a:pt x="911" y="952"/>
                </a:cubicBezTo>
                <a:cubicBezTo>
                  <a:pt x="911" y="952"/>
                  <a:pt x="911" y="952"/>
                  <a:pt x="912" y="951"/>
                </a:cubicBezTo>
                <a:cubicBezTo>
                  <a:pt x="912" y="951"/>
                  <a:pt x="912" y="951"/>
                  <a:pt x="913" y="951"/>
                </a:cubicBezTo>
                <a:cubicBezTo>
                  <a:pt x="913" y="951"/>
                  <a:pt x="913" y="951"/>
                  <a:pt x="913" y="950"/>
                </a:cubicBezTo>
                <a:cubicBezTo>
                  <a:pt x="913" y="950"/>
                  <a:pt x="913" y="950"/>
                  <a:pt x="913" y="945"/>
                </a:cubicBezTo>
                <a:cubicBezTo>
                  <a:pt x="913" y="945"/>
                  <a:pt x="913" y="945"/>
                  <a:pt x="914" y="944"/>
                </a:cubicBezTo>
                <a:cubicBezTo>
                  <a:pt x="914" y="944"/>
                  <a:pt x="914" y="944"/>
                  <a:pt x="914" y="940"/>
                </a:cubicBezTo>
                <a:cubicBezTo>
                  <a:pt x="914" y="940"/>
                  <a:pt x="914" y="940"/>
                  <a:pt x="913" y="938"/>
                </a:cubicBezTo>
                <a:cubicBezTo>
                  <a:pt x="913" y="938"/>
                  <a:pt x="913" y="938"/>
                  <a:pt x="912" y="936"/>
                </a:cubicBezTo>
                <a:cubicBezTo>
                  <a:pt x="912" y="936"/>
                  <a:pt x="912" y="936"/>
                  <a:pt x="912" y="934"/>
                </a:cubicBezTo>
                <a:cubicBezTo>
                  <a:pt x="912" y="934"/>
                  <a:pt x="912" y="934"/>
                  <a:pt x="912" y="933"/>
                </a:cubicBezTo>
                <a:cubicBezTo>
                  <a:pt x="912" y="933"/>
                  <a:pt x="912" y="933"/>
                  <a:pt x="913" y="932"/>
                </a:cubicBezTo>
                <a:cubicBezTo>
                  <a:pt x="913" y="932"/>
                  <a:pt x="913" y="932"/>
                  <a:pt x="913" y="930"/>
                </a:cubicBezTo>
                <a:cubicBezTo>
                  <a:pt x="913" y="930"/>
                  <a:pt x="913" y="930"/>
                  <a:pt x="912" y="925"/>
                </a:cubicBezTo>
                <a:cubicBezTo>
                  <a:pt x="912" y="925"/>
                  <a:pt x="912" y="925"/>
                  <a:pt x="911" y="924"/>
                </a:cubicBezTo>
                <a:cubicBezTo>
                  <a:pt x="911" y="924"/>
                  <a:pt x="911" y="924"/>
                  <a:pt x="911" y="922"/>
                </a:cubicBezTo>
                <a:cubicBezTo>
                  <a:pt x="911" y="922"/>
                  <a:pt x="911" y="922"/>
                  <a:pt x="911" y="920"/>
                </a:cubicBezTo>
                <a:cubicBezTo>
                  <a:pt x="911" y="920"/>
                  <a:pt x="911" y="920"/>
                  <a:pt x="910" y="920"/>
                </a:cubicBezTo>
                <a:cubicBezTo>
                  <a:pt x="910" y="920"/>
                  <a:pt x="910" y="920"/>
                  <a:pt x="909" y="919"/>
                </a:cubicBezTo>
                <a:cubicBezTo>
                  <a:pt x="909" y="919"/>
                  <a:pt x="909" y="919"/>
                  <a:pt x="908" y="918"/>
                </a:cubicBezTo>
                <a:cubicBezTo>
                  <a:pt x="908" y="918"/>
                  <a:pt x="908" y="918"/>
                  <a:pt x="906" y="916"/>
                </a:cubicBezTo>
                <a:cubicBezTo>
                  <a:pt x="906" y="916"/>
                  <a:pt x="906" y="916"/>
                  <a:pt x="905" y="916"/>
                </a:cubicBezTo>
                <a:cubicBezTo>
                  <a:pt x="905" y="916"/>
                  <a:pt x="905" y="916"/>
                  <a:pt x="903" y="915"/>
                </a:cubicBezTo>
                <a:cubicBezTo>
                  <a:pt x="903" y="915"/>
                  <a:pt x="903" y="915"/>
                  <a:pt x="903" y="914"/>
                </a:cubicBezTo>
                <a:cubicBezTo>
                  <a:pt x="903" y="914"/>
                  <a:pt x="903" y="914"/>
                  <a:pt x="903" y="913"/>
                </a:cubicBezTo>
                <a:cubicBezTo>
                  <a:pt x="903" y="913"/>
                  <a:pt x="903" y="913"/>
                  <a:pt x="902" y="913"/>
                </a:cubicBezTo>
                <a:cubicBezTo>
                  <a:pt x="902" y="913"/>
                  <a:pt x="902" y="913"/>
                  <a:pt x="901" y="911"/>
                </a:cubicBezTo>
                <a:cubicBezTo>
                  <a:pt x="901" y="911"/>
                  <a:pt x="901" y="911"/>
                  <a:pt x="900" y="911"/>
                </a:cubicBezTo>
                <a:cubicBezTo>
                  <a:pt x="900" y="911"/>
                  <a:pt x="900" y="911"/>
                  <a:pt x="898" y="909"/>
                </a:cubicBezTo>
                <a:cubicBezTo>
                  <a:pt x="898" y="909"/>
                  <a:pt x="898" y="909"/>
                  <a:pt x="897" y="908"/>
                </a:cubicBezTo>
                <a:cubicBezTo>
                  <a:pt x="897" y="908"/>
                  <a:pt x="897" y="908"/>
                  <a:pt x="896" y="908"/>
                </a:cubicBezTo>
                <a:cubicBezTo>
                  <a:pt x="896" y="908"/>
                  <a:pt x="896" y="908"/>
                  <a:pt x="894" y="908"/>
                </a:cubicBezTo>
                <a:cubicBezTo>
                  <a:pt x="894" y="908"/>
                  <a:pt x="894" y="908"/>
                  <a:pt x="892" y="906"/>
                </a:cubicBezTo>
                <a:cubicBezTo>
                  <a:pt x="892" y="906"/>
                  <a:pt x="892" y="906"/>
                  <a:pt x="891" y="906"/>
                </a:cubicBezTo>
                <a:cubicBezTo>
                  <a:pt x="891" y="906"/>
                  <a:pt x="891" y="906"/>
                  <a:pt x="890" y="906"/>
                </a:cubicBezTo>
                <a:cubicBezTo>
                  <a:pt x="890" y="906"/>
                  <a:pt x="890" y="906"/>
                  <a:pt x="889" y="905"/>
                </a:cubicBezTo>
                <a:cubicBezTo>
                  <a:pt x="889" y="905"/>
                  <a:pt x="889" y="905"/>
                  <a:pt x="888" y="905"/>
                </a:cubicBezTo>
                <a:cubicBezTo>
                  <a:pt x="888" y="905"/>
                  <a:pt x="888" y="905"/>
                  <a:pt x="888" y="904"/>
                </a:cubicBezTo>
                <a:cubicBezTo>
                  <a:pt x="888" y="904"/>
                  <a:pt x="888" y="904"/>
                  <a:pt x="887" y="903"/>
                </a:cubicBezTo>
                <a:cubicBezTo>
                  <a:pt x="887" y="903"/>
                  <a:pt x="887" y="903"/>
                  <a:pt x="885" y="902"/>
                </a:cubicBezTo>
                <a:cubicBezTo>
                  <a:pt x="885" y="902"/>
                  <a:pt x="885" y="902"/>
                  <a:pt x="884" y="901"/>
                </a:cubicBezTo>
                <a:cubicBezTo>
                  <a:pt x="884" y="901"/>
                  <a:pt x="884" y="901"/>
                  <a:pt x="884" y="900"/>
                </a:cubicBezTo>
                <a:cubicBezTo>
                  <a:pt x="884" y="900"/>
                  <a:pt x="884" y="900"/>
                  <a:pt x="883" y="900"/>
                </a:cubicBezTo>
                <a:cubicBezTo>
                  <a:pt x="883" y="900"/>
                  <a:pt x="883" y="900"/>
                  <a:pt x="881" y="901"/>
                </a:cubicBezTo>
                <a:cubicBezTo>
                  <a:pt x="881" y="901"/>
                  <a:pt x="881" y="901"/>
                  <a:pt x="881" y="900"/>
                </a:cubicBezTo>
                <a:cubicBezTo>
                  <a:pt x="881" y="900"/>
                  <a:pt x="881" y="900"/>
                  <a:pt x="880" y="899"/>
                </a:cubicBezTo>
                <a:cubicBezTo>
                  <a:pt x="880" y="899"/>
                  <a:pt x="880" y="899"/>
                  <a:pt x="880" y="898"/>
                </a:cubicBezTo>
                <a:cubicBezTo>
                  <a:pt x="880" y="898"/>
                  <a:pt x="880" y="898"/>
                  <a:pt x="879" y="898"/>
                </a:cubicBezTo>
                <a:cubicBezTo>
                  <a:pt x="879" y="898"/>
                  <a:pt x="879" y="898"/>
                  <a:pt x="878" y="897"/>
                </a:cubicBezTo>
                <a:cubicBezTo>
                  <a:pt x="878" y="897"/>
                  <a:pt x="878" y="897"/>
                  <a:pt x="878" y="896"/>
                </a:cubicBezTo>
                <a:cubicBezTo>
                  <a:pt x="878" y="896"/>
                  <a:pt x="878" y="896"/>
                  <a:pt x="876" y="895"/>
                </a:cubicBezTo>
                <a:cubicBezTo>
                  <a:pt x="876" y="895"/>
                  <a:pt x="876" y="895"/>
                  <a:pt x="873" y="894"/>
                </a:cubicBezTo>
                <a:cubicBezTo>
                  <a:pt x="873" y="894"/>
                  <a:pt x="873" y="894"/>
                  <a:pt x="874" y="893"/>
                </a:cubicBezTo>
                <a:cubicBezTo>
                  <a:pt x="874" y="893"/>
                  <a:pt x="874" y="893"/>
                  <a:pt x="874" y="892"/>
                </a:cubicBezTo>
                <a:cubicBezTo>
                  <a:pt x="874" y="892"/>
                  <a:pt x="874" y="892"/>
                  <a:pt x="873" y="892"/>
                </a:cubicBezTo>
                <a:cubicBezTo>
                  <a:pt x="873" y="892"/>
                  <a:pt x="873" y="892"/>
                  <a:pt x="872" y="892"/>
                </a:cubicBezTo>
                <a:cubicBezTo>
                  <a:pt x="872" y="892"/>
                  <a:pt x="872" y="892"/>
                  <a:pt x="872" y="891"/>
                </a:cubicBezTo>
                <a:cubicBezTo>
                  <a:pt x="872" y="891"/>
                  <a:pt x="872" y="891"/>
                  <a:pt x="872" y="890"/>
                </a:cubicBezTo>
                <a:cubicBezTo>
                  <a:pt x="872" y="890"/>
                  <a:pt x="872" y="890"/>
                  <a:pt x="873" y="889"/>
                </a:cubicBezTo>
                <a:cubicBezTo>
                  <a:pt x="873" y="889"/>
                  <a:pt x="873" y="889"/>
                  <a:pt x="873" y="888"/>
                </a:cubicBezTo>
                <a:cubicBezTo>
                  <a:pt x="873" y="888"/>
                  <a:pt x="873" y="888"/>
                  <a:pt x="871" y="885"/>
                </a:cubicBezTo>
                <a:cubicBezTo>
                  <a:pt x="871" y="885"/>
                  <a:pt x="871" y="885"/>
                  <a:pt x="870" y="884"/>
                </a:cubicBezTo>
                <a:cubicBezTo>
                  <a:pt x="870" y="884"/>
                  <a:pt x="870" y="884"/>
                  <a:pt x="869" y="881"/>
                </a:cubicBezTo>
                <a:cubicBezTo>
                  <a:pt x="869" y="881"/>
                  <a:pt x="869" y="881"/>
                  <a:pt x="868" y="880"/>
                </a:cubicBezTo>
                <a:cubicBezTo>
                  <a:pt x="868" y="880"/>
                  <a:pt x="868" y="880"/>
                  <a:pt x="867" y="879"/>
                </a:cubicBezTo>
                <a:cubicBezTo>
                  <a:pt x="867" y="879"/>
                  <a:pt x="867" y="879"/>
                  <a:pt x="866" y="878"/>
                </a:cubicBezTo>
                <a:cubicBezTo>
                  <a:pt x="866" y="878"/>
                  <a:pt x="866" y="878"/>
                  <a:pt x="866" y="876"/>
                </a:cubicBezTo>
                <a:cubicBezTo>
                  <a:pt x="866" y="876"/>
                  <a:pt x="866" y="876"/>
                  <a:pt x="865" y="875"/>
                </a:cubicBezTo>
                <a:cubicBezTo>
                  <a:pt x="865" y="875"/>
                  <a:pt x="865" y="875"/>
                  <a:pt x="863" y="873"/>
                </a:cubicBezTo>
                <a:cubicBezTo>
                  <a:pt x="863" y="873"/>
                  <a:pt x="863" y="873"/>
                  <a:pt x="862" y="873"/>
                </a:cubicBezTo>
                <a:cubicBezTo>
                  <a:pt x="862" y="873"/>
                  <a:pt x="862" y="873"/>
                  <a:pt x="862" y="872"/>
                </a:cubicBezTo>
                <a:cubicBezTo>
                  <a:pt x="862" y="872"/>
                  <a:pt x="862" y="872"/>
                  <a:pt x="862" y="871"/>
                </a:cubicBezTo>
                <a:cubicBezTo>
                  <a:pt x="862" y="871"/>
                  <a:pt x="862" y="871"/>
                  <a:pt x="862" y="870"/>
                </a:cubicBezTo>
                <a:cubicBezTo>
                  <a:pt x="862" y="870"/>
                  <a:pt x="862" y="870"/>
                  <a:pt x="860" y="867"/>
                </a:cubicBezTo>
                <a:cubicBezTo>
                  <a:pt x="860" y="867"/>
                  <a:pt x="860" y="867"/>
                  <a:pt x="859" y="865"/>
                </a:cubicBezTo>
                <a:cubicBezTo>
                  <a:pt x="859" y="865"/>
                  <a:pt x="859" y="865"/>
                  <a:pt x="859" y="863"/>
                </a:cubicBezTo>
                <a:cubicBezTo>
                  <a:pt x="859" y="863"/>
                  <a:pt x="859" y="863"/>
                  <a:pt x="858" y="861"/>
                </a:cubicBezTo>
                <a:cubicBezTo>
                  <a:pt x="858" y="861"/>
                  <a:pt x="858" y="861"/>
                  <a:pt x="857" y="861"/>
                </a:cubicBezTo>
                <a:cubicBezTo>
                  <a:pt x="857" y="861"/>
                  <a:pt x="857" y="861"/>
                  <a:pt x="856" y="859"/>
                </a:cubicBezTo>
                <a:cubicBezTo>
                  <a:pt x="856" y="859"/>
                  <a:pt x="856" y="859"/>
                  <a:pt x="856" y="857"/>
                </a:cubicBezTo>
                <a:cubicBezTo>
                  <a:pt x="856" y="857"/>
                  <a:pt x="856" y="857"/>
                  <a:pt x="855" y="856"/>
                </a:cubicBezTo>
                <a:cubicBezTo>
                  <a:pt x="855" y="856"/>
                  <a:pt x="855" y="856"/>
                  <a:pt x="855" y="854"/>
                </a:cubicBezTo>
                <a:cubicBezTo>
                  <a:pt x="855" y="854"/>
                  <a:pt x="855" y="854"/>
                  <a:pt x="853" y="852"/>
                </a:cubicBezTo>
                <a:cubicBezTo>
                  <a:pt x="853" y="852"/>
                  <a:pt x="853" y="852"/>
                  <a:pt x="851" y="851"/>
                </a:cubicBezTo>
                <a:cubicBezTo>
                  <a:pt x="851" y="851"/>
                  <a:pt x="851" y="851"/>
                  <a:pt x="850" y="850"/>
                </a:cubicBezTo>
                <a:cubicBezTo>
                  <a:pt x="850" y="850"/>
                  <a:pt x="850" y="850"/>
                  <a:pt x="850" y="848"/>
                </a:cubicBezTo>
                <a:cubicBezTo>
                  <a:pt x="850" y="848"/>
                  <a:pt x="850" y="848"/>
                  <a:pt x="849" y="846"/>
                </a:cubicBezTo>
                <a:cubicBezTo>
                  <a:pt x="849" y="846"/>
                  <a:pt x="849" y="846"/>
                  <a:pt x="848" y="845"/>
                </a:cubicBezTo>
                <a:cubicBezTo>
                  <a:pt x="848" y="845"/>
                  <a:pt x="848" y="845"/>
                  <a:pt x="847" y="845"/>
                </a:cubicBezTo>
                <a:cubicBezTo>
                  <a:pt x="847" y="845"/>
                  <a:pt x="847" y="845"/>
                  <a:pt x="844" y="843"/>
                </a:cubicBezTo>
                <a:cubicBezTo>
                  <a:pt x="844" y="843"/>
                  <a:pt x="844" y="843"/>
                  <a:pt x="843" y="843"/>
                </a:cubicBezTo>
                <a:cubicBezTo>
                  <a:pt x="843" y="843"/>
                  <a:pt x="843" y="843"/>
                  <a:pt x="841" y="841"/>
                </a:cubicBezTo>
                <a:cubicBezTo>
                  <a:pt x="841" y="841"/>
                  <a:pt x="841" y="841"/>
                  <a:pt x="840" y="841"/>
                </a:cubicBezTo>
                <a:cubicBezTo>
                  <a:pt x="840" y="841"/>
                  <a:pt x="840" y="841"/>
                  <a:pt x="838" y="840"/>
                </a:cubicBezTo>
                <a:cubicBezTo>
                  <a:pt x="838" y="840"/>
                  <a:pt x="838" y="840"/>
                  <a:pt x="839" y="839"/>
                </a:cubicBezTo>
                <a:cubicBezTo>
                  <a:pt x="839" y="839"/>
                  <a:pt x="839" y="839"/>
                  <a:pt x="840" y="838"/>
                </a:cubicBezTo>
                <a:cubicBezTo>
                  <a:pt x="840" y="838"/>
                  <a:pt x="840" y="838"/>
                  <a:pt x="841" y="838"/>
                </a:cubicBezTo>
                <a:cubicBezTo>
                  <a:pt x="841" y="838"/>
                  <a:pt x="841" y="838"/>
                  <a:pt x="841" y="837"/>
                </a:cubicBezTo>
                <a:cubicBezTo>
                  <a:pt x="841" y="837"/>
                  <a:pt x="841" y="837"/>
                  <a:pt x="840" y="835"/>
                </a:cubicBezTo>
                <a:cubicBezTo>
                  <a:pt x="840" y="835"/>
                  <a:pt x="840" y="835"/>
                  <a:pt x="839" y="834"/>
                </a:cubicBezTo>
                <a:cubicBezTo>
                  <a:pt x="839" y="834"/>
                  <a:pt x="839" y="834"/>
                  <a:pt x="839" y="833"/>
                </a:cubicBezTo>
                <a:cubicBezTo>
                  <a:pt x="839" y="833"/>
                  <a:pt x="839" y="833"/>
                  <a:pt x="840" y="833"/>
                </a:cubicBezTo>
                <a:cubicBezTo>
                  <a:pt x="840" y="833"/>
                  <a:pt x="840" y="833"/>
                  <a:pt x="839" y="832"/>
                </a:cubicBezTo>
                <a:cubicBezTo>
                  <a:pt x="839" y="832"/>
                  <a:pt x="839" y="832"/>
                  <a:pt x="838" y="831"/>
                </a:cubicBezTo>
                <a:cubicBezTo>
                  <a:pt x="838" y="831"/>
                  <a:pt x="838" y="831"/>
                  <a:pt x="839" y="829"/>
                </a:cubicBezTo>
                <a:cubicBezTo>
                  <a:pt x="839" y="829"/>
                  <a:pt x="839" y="829"/>
                  <a:pt x="839" y="828"/>
                </a:cubicBezTo>
                <a:cubicBezTo>
                  <a:pt x="839" y="828"/>
                  <a:pt x="839" y="828"/>
                  <a:pt x="841" y="826"/>
                </a:cubicBezTo>
                <a:cubicBezTo>
                  <a:pt x="841" y="826"/>
                  <a:pt x="841" y="826"/>
                  <a:pt x="843" y="825"/>
                </a:cubicBezTo>
                <a:cubicBezTo>
                  <a:pt x="843" y="825"/>
                  <a:pt x="843" y="825"/>
                  <a:pt x="846" y="823"/>
                </a:cubicBezTo>
                <a:cubicBezTo>
                  <a:pt x="846" y="823"/>
                  <a:pt x="846" y="823"/>
                  <a:pt x="847" y="822"/>
                </a:cubicBezTo>
                <a:cubicBezTo>
                  <a:pt x="847" y="822"/>
                  <a:pt x="847" y="822"/>
                  <a:pt x="848" y="820"/>
                </a:cubicBezTo>
                <a:cubicBezTo>
                  <a:pt x="848" y="820"/>
                  <a:pt x="848" y="820"/>
                  <a:pt x="848" y="819"/>
                </a:cubicBezTo>
                <a:cubicBezTo>
                  <a:pt x="848" y="819"/>
                  <a:pt x="848" y="819"/>
                  <a:pt x="848" y="817"/>
                </a:cubicBezTo>
                <a:cubicBezTo>
                  <a:pt x="848" y="817"/>
                  <a:pt x="848" y="817"/>
                  <a:pt x="848" y="816"/>
                </a:cubicBezTo>
                <a:cubicBezTo>
                  <a:pt x="848" y="816"/>
                  <a:pt x="848" y="816"/>
                  <a:pt x="847" y="816"/>
                </a:cubicBezTo>
                <a:cubicBezTo>
                  <a:pt x="847" y="816"/>
                  <a:pt x="847" y="816"/>
                  <a:pt x="847" y="815"/>
                </a:cubicBezTo>
                <a:cubicBezTo>
                  <a:pt x="847" y="815"/>
                  <a:pt x="847" y="815"/>
                  <a:pt x="846" y="816"/>
                </a:cubicBezTo>
                <a:cubicBezTo>
                  <a:pt x="846" y="816"/>
                  <a:pt x="846" y="816"/>
                  <a:pt x="846" y="817"/>
                </a:cubicBezTo>
                <a:cubicBezTo>
                  <a:pt x="846" y="817"/>
                  <a:pt x="846" y="817"/>
                  <a:pt x="845" y="818"/>
                </a:cubicBezTo>
                <a:cubicBezTo>
                  <a:pt x="845" y="818"/>
                  <a:pt x="845" y="818"/>
                  <a:pt x="845" y="819"/>
                </a:cubicBezTo>
                <a:cubicBezTo>
                  <a:pt x="845" y="819"/>
                  <a:pt x="845" y="819"/>
                  <a:pt x="844" y="818"/>
                </a:cubicBezTo>
                <a:cubicBezTo>
                  <a:pt x="844" y="818"/>
                  <a:pt x="844" y="818"/>
                  <a:pt x="842" y="817"/>
                </a:cubicBezTo>
                <a:cubicBezTo>
                  <a:pt x="842" y="817"/>
                  <a:pt x="842" y="817"/>
                  <a:pt x="841" y="816"/>
                </a:cubicBezTo>
                <a:cubicBezTo>
                  <a:pt x="841" y="816"/>
                  <a:pt x="841" y="816"/>
                  <a:pt x="840" y="815"/>
                </a:cubicBezTo>
                <a:cubicBezTo>
                  <a:pt x="840" y="815"/>
                  <a:pt x="840" y="815"/>
                  <a:pt x="841" y="815"/>
                </a:cubicBezTo>
                <a:cubicBezTo>
                  <a:pt x="841" y="815"/>
                  <a:pt x="841" y="815"/>
                  <a:pt x="842" y="814"/>
                </a:cubicBezTo>
                <a:cubicBezTo>
                  <a:pt x="842" y="814"/>
                  <a:pt x="842" y="814"/>
                  <a:pt x="841" y="812"/>
                </a:cubicBezTo>
                <a:cubicBezTo>
                  <a:pt x="841" y="812"/>
                  <a:pt x="841" y="812"/>
                  <a:pt x="841" y="811"/>
                </a:cubicBezTo>
                <a:cubicBezTo>
                  <a:pt x="841" y="811"/>
                  <a:pt x="841" y="811"/>
                  <a:pt x="841" y="809"/>
                </a:cubicBezTo>
                <a:cubicBezTo>
                  <a:pt x="841" y="809"/>
                  <a:pt x="841" y="809"/>
                  <a:pt x="841" y="808"/>
                </a:cubicBezTo>
                <a:cubicBezTo>
                  <a:pt x="841" y="808"/>
                  <a:pt x="841" y="808"/>
                  <a:pt x="842" y="807"/>
                </a:cubicBezTo>
                <a:cubicBezTo>
                  <a:pt x="842" y="807"/>
                  <a:pt x="842" y="807"/>
                  <a:pt x="843" y="807"/>
                </a:cubicBezTo>
                <a:cubicBezTo>
                  <a:pt x="843" y="807"/>
                  <a:pt x="843" y="807"/>
                  <a:pt x="844" y="805"/>
                </a:cubicBezTo>
                <a:cubicBezTo>
                  <a:pt x="844" y="805"/>
                  <a:pt x="844" y="805"/>
                  <a:pt x="844" y="804"/>
                </a:cubicBezTo>
                <a:cubicBezTo>
                  <a:pt x="844" y="804"/>
                  <a:pt x="844" y="804"/>
                  <a:pt x="844" y="803"/>
                </a:cubicBezTo>
                <a:cubicBezTo>
                  <a:pt x="844" y="803"/>
                  <a:pt x="844" y="803"/>
                  <a:pt x="846" y="801"/>
                </a:cubicBezTo>
                <a:cubicBezTo>
                  <a:pt x="846" y="801"/>
                  <a:pt x="846" y="801"/>
                  <a:pt x="846" y="799"/>
                </a:cubicBezTo>
                <a:cubicBezTo>
                  <a:pt x="846" y="799"/>
                  <a:pt x="846" y="799"/>
                  <a:pt x="846" y="798"/>
                </a:cubicBezTo>
                <a:cubicBezTo>
                  <a:pt x="846" y="798"/>
                  <a:pt x="846" y="798"/>
                  <a:pt x="846" y="797"/>
                </a:cubicBezTo>
                <a:cubicBezTo>
                  <a:pt x="846" y="797"/>
                  <a:pt x="846" y="797"/>
                  <a:pt x="845" y="796"/>
                </a:cubicBezTo>
                <a:cubicBezTo>
                  <a:pt x="845" y="796"/>
                  <a:pt x="845" y="796"/>
                  <a:pt x="847" y="795"/>
                </a:cubicBezTo>
                <a:cubicBezTo>
                  <a:pt x="847" y="795"/>
                  <a:pt x="847" y="795"/>
                  <a:pt x="848" y="795"/>
                </a:cubicBezTo>
                <a:cubicBezTo>
                  <a:pt x="848" y="795"/>
                  <a:pt x="848" y="795"/>
                  <a:pt x="851" y="793"/>
                </a:cubicBezTo>
                <a:cubicBezTo>
                  <a:pt x="851" y="793"/>
                  <a:pt x="851" y="793"/>
                  <a:pt x="853" y="793"/>
                </a:cubicBezTo>
                <a:cubicBezTo>
                  <a:pt x="853" y="793"/>
                  <a:pt x="853" y="793"/>
                  <a:pt x="853" y="791"/>
                </a:cubicBezTo>
                <a:cubicBezTo>
                  <a:pt x="853" y="791"/>
                  <a:pt x="853" y="791"/>
                  <a:pt x="854" y="790"/>
                </a:cubicBezTo>
                <a:cubicBezTo>
                  <a:pt x="854" y="790"/>
                  <a:pt x="854" y="790"/>
                  <a:pt x="854" y="788"/>
                </a:cubicBezTo>
                <a:cubicBezTo>
                  <a:pt x="854" y="788"/>
                  <a:pt x="854" y="788"/>
                  <a:pt x="856" y="785"/>
                </a:cubicBezTo>
                <a:cubicBezTo>
                  <a:pt x="856" y="785"/>
                  <a:pt x="856" y="785"/>
                  <a:pt x="857" y="784"/>
                </a:cubicBezTo>
                <a:cubicBezTo>
                  <a:pt x="857" y="784"/>
                  <a:pt x="857" y="784"/>
                  <a:pt x="860" y="783"/>
                </a:cubicBezTo>
                <a:cubicBezTo>
                  <a:pt x="860" y="783"/>
                  <a:pt x="860" y="783"/>
                  <a:pt x="862" y="782"/>
                </a:cubicBezTo>
                <a:cubicBezTo>
                  <a:pt x="862" y="782"/>
                  <a:pt x="862" y="782"/>
                  <a:pt x="862" y="780"/>
                </a:cubicBezTo>
                <a:cubicBezTo>
                  <a:pt x="862" y="780"/>
                  <a:pt x="862" y="780"/>
                  <a:pt x="865" y="778"/>
                </a:cubicBezTo>
                <a:cubicBezTo>
                  <a:pt x="865" y="778"/>
                  <a:pt x="865" y="778"/>
                  <a:pt x="865" y="777"/>
                </a:cubicBezTo>
                <a:cubicBezTo>
                  <a:pt x="865" y="777"/>
                  <a:pt x="865" y="777"/>
                  <a:pt x="866" y="776"/>
                </a:cubicBezTo>
                <a:cubicBezTo>
                  <a:pt x="866" y="776"/>
                  <a:pt x="866" y="776"/>
                  <a:pt x="866" y="775"/>
                </a:cubicBezTo>
                <a:cubicBezTo>
                  <a:pt x="866" y="775"/>
                  <a:pt x="866" y="775"/>
                  <a:pt x="865" y="775"/>
                </a:cubicBezTo>
                <a:cubicBezTo>
                  <a:pt x="865" y="775"/>
                  <a:pt x="865" y="775"/>
                  <a:pt x="864" y="774"/>
                </a:cubicBezTo>
                <a:cubicBezTo>
                  <a:pt x="864" y="774"/>
                  <a:pt x="864" y="774"/>
                  <a:pt x="863" y="774"/>
                </a:cubicBezTo>
                <a:cubicBezTo>
                  <a:pt x="863" y="774"/>
                  <a:pt x="863" y="774"/>
                  <a:pt x="863" y="773"/>
                </a:cubicBezTo>
                <a:cubicBezTo>
                  <a:pt x="863" y="773"/>
                  <a:pt x="863" y="773"/>
                  <a:pt x="863" y="772"/>
                </a:cubicBezTo>
                <a:cubicBezTo>
                  <a:pt x="863" y="772"/>
                  <a:pt x="863" y="772"/>
                  <a:pt x="864" y="771"/>
                </a:cubicBezTo>
                <a:cubicBezTo>
                  <a:pt x="864" y="771"/>
                  <a:pt x="864" y="771"/>
                  <a:pt x="864" y="768"/>
                </a:cubicBezTo>
                <a:cubicBezTo>
                  <a:pt x="864" y="768"/>
                  <a:pt x="864" y="768"/>
                  <a:pt x="864" y="766"/>
                </a:cubicBezTo>
                <a:cubicBezTo>
                  <a:pt x="864" y="766"/>
                  <a:pt x="864" y="766"/>
                  <a:pt x="863" y="765"/>
                </a:cubicBezTo>
                <a:cubicBezTo>
                  <a:pt x="863" y="765"/>
                  <a:pt x="863" y="765"/>
                  <a:pt x="863" y="764"/>
                </a:cubicBezTo>
                <a:cubicBezTo>
                  <a:pt x="863" y="764"/>
                  <a:pt x="863" y="764"/>
                  <a:pt x="864" y="763"/>
                </a:cubicBezTo>
                <a:cubicBezTo>
                  <a:pt x="864" y="763"/>
                  <a:pt x="864" y="763"/>
                  <a:pt x="864" y="762"/>
                </a:cubicBezTo>
                <a:cubicBezTo>
                  <a:pt x="864" y="762"/>
                  <a:pt x="864" y="762"/>
                  <a:pt x="863" y="761"/>
                </a:cubicBezTo>
                <a:cubicBezTo>
                  <a:pt x="863" y="761"/>
                  <a:pt x="863" y="761"/>
                  <a:pt x="863" y="760"/>
                </a:cubicBezTo>
                <a:cubicBezTo>
                  <a:pt x="863" y="760"/>
                  <a:pt x="863" y="760"/>
                  <a:pt x="864" y="759"/>
                </a:cubicBezTo>
                <a:cubicBezTo>
                  <a:pt x="864" y="759"/>
                  <a:pt x="864" y="759"/>
                  <a:pt x="864" y="758"/>
                </a:cubicBezTo>
                <a:cubicBezTo>
                  <a:pt x="864" y="758"/>
                  <a:pt x="864" y="758"/>
                  <a:pt x="864" y="757"/>
                </a:cubicBezTo>
                <a:cubicBezTo>
                  <a:pt x="864" y="757"/>
                  <a:pt x="864" y="757"/>
                  <a:pt x="863" y="758"/>
                </a:cubicBezTo>
                <a:cubicBezTo>
                  <a:pt x="863" y="758"/>
                  <a:pt x="863" y="758"/>
                  <a:pt x="861" y="756"/>
                </a:cubicBezTo>
                <a:cubicBezTo>
                  <a:pt x="861" y="756"/>
                  <a:pt x="861" y="756"/>
                  <a:pt x="861" y="755"/>
                </a:cubicBezTo>
                <a:cubicBezTo>
                  <a:pt x="861" y="755"/>
                  <a:pt x="861" y="755"/>
                  <a:pt x="861" y="753"/>
                </a:cubicBezTo>
                <a:cubicBezTo>
                  <a:pt x="861" y="753"/>
                  <a:pt x="861" y="753"/>
                  <a:pt x="859" y="752"/>
                </a:cubicBezTo>
                <a:cubicBezTo>
                  <a:pt x="859" y="752"/>
                  <a:pt x="859" y="752"/>
                  <a:pt x="858" y="750"/>
                </a:cubicBezTo>
                <a:cubicBezTo>
                  <a:pt x="858" y="750"/>
                  <a:pt x="858" y="750"/>
                  <a:pt x="857" y="748"/>
                </a:cubicBezTo>
                <a:cubicBezTo>
                  <a:pt x="857" y="748"/>
                  <a:pt x="857" y="748"/>
                  <a:pt x="858" y="748"/>
                </a:cubicBezTo>
                <a:cubicBezTo>
                  <a:pt x="858" y="748"/>
                  <a:pt x="858" y="748"/>
                  <a:pt x="859" y="746"/>
                </a:cubicBezTo>
                <a:cubicBezTo>
                  <a:pt x="859" y="746"/>
                  <a:pt x="859" y="746"/>
                  <a:pt x="860" y="746"/>
                </a:cubicBezTo>
                <a:cubicBezTo>
                  <a:pt x="860" y="746"/>
                  <a:pt x="860" y="746"/>
                  <a:pt x="860" y="745"/>
                </a:cubicBezTo>
                <a:cubicBezTo>
                  <a:pt x="860" y="745"/>
                  <a:pt x="860" y="745"/>
                  <a:pt x="859" y="745"/>
                </a:cubicBezTo>
                <a:cubicBezTo>
                  <a:pt x="859" y="745"/>
                  <a:pt x="859" y="745"/>
                  <a:pt x="858" y="746"/>
                </a:cubicBezTo>
                <a:cubicBezTo>
                  <a:pt x="858" y="746"/>
                  <a:pt x="858" y="746"/>
                  <a:pt x="857" y="746"/>
                </a:cubicBezTo>
                <a:cubicBezTo>
                  <a:pt x="857" y="746"/>
                  <a:pt x="857" y="746"/>
                  <a:pt x="857" y="744"/>
                </a:cubicBezTo>
                <a:cubicBezTo>
                  <a:pt x="857" y="744"/>
                  <a:pt x="857" y="744"/>
                  <a:pt x="856" y="743"/>
                </a:cubicBezTo>
                <a:cubicBezTo>
                  <a:pt x="856" y="743"/>
                  <a:pt x="856" y="743"/>
                  <a:pt x="855" y="743"/>
                </a:cubicBezTo>
                <a:cubicBezTo>
                  <a:pt x="855" y="743"/>
                  <a:pt x="855" y="743"/>
                  <a:pt x="854" y="742"/>
                </a:cubicBezTo>
                <a:cubicBezTo>
                  <a:pt x="854" y="742"/>
                  <a:pt x="854" y="742"/>
                  <a:pt x="853" y="741"/>
                </a:cubicBezTo>
                <a:cubicBezTo>
                  <a:pt x="853" y="741"/>
                  <a:pt x="853" y="741"/>
                  <a:pt x="851" y="741"/>
                </a:cubicBezTo>
                <a:cubicBezTo>
                  <a:pt x="851" y="741"/>
                  <a:pt x="851" y="741"/>
                  <a:pt x="850" y="742"/>
                </a:cubicBezTo>
                <a:cubicBezTo>
                  <a:pt x="850" y="742"/>
                  <a:pt x="850" y="742"/>
                  <a:pt x="849" y="744"/>
                </a:cubicBezTo>
                <a:cubicBezTo>
                  <a:pt x="849" y="744"/>
                  <a:pt x="849" y="744"/>
                  <a:pt x="850" y="744"/>
                </a:cubicBezTo>
                <a:cubicBezTo>
                  <a:pt x="850" y="744"/>
                  <a:pt x="850" y="744"/>
                  <a:pt x="848" y="746"/>
                </a:cubicBezTo>
                <a:cubicBezTo>
                  <a:pt x="848" y="746"/>
                  <a:pt x="848" y="746"/>
                  <a:pt x="846" y="746"/>
                </a:cubicBezTo>
                <a:cubicBezTo>
                  <a:pt x="846" y="746"/>
                  <a:pt x="846" y="746"/>
                  <a:pt x="845" y="747"/>
                </a:cubicBezTo>
                <a:cubicBezTo>
                  <a:pt x="845" y="747"/>
                  <a:pt x="845" y="747"/>
                  <a:pt x="845" y="748"/>
                </a:cubicBezTo>
                <a:cubicBezTo>
                  <a:pt x="845" y="748"/>
                  <a:pt x="845" y="748"/>
                  <a:pt x="845" y="749"/>
                </a:cubicBezTo>
                <a:cubicBezTo>
                  <a:pt x="845" y="749"/>
                  <a:pt x="845" y="749"/>
                  <a:pt x="846" y="749"/>
                </a:cubicBezTo>
                <a:cubicBezTo>
                  <a:pt x="846" y="749"/>
                  <a:pt x="846" y="749"/>
                  <a:pt x="847" y="750"/>
                </a:cubicBezTo>
                <a:cubicBezTo>
                  <a:pt x="847" y="750"/>
                  <a:pt x="847" y="750"/>
                  <a:pt x="847" y="752"/>
                </a:cubicBezTo>
                <a:cubicBezTo>
                  <a:pt x="847" y="752"/>
                  <a:pt x="847" y="752"/>
                  <a:pt x="846" y="752"/>
                </a:cubicBezTo>
                <a:cubicBezTo>
                  <a:pt x="846" y="752"/>
                  <a:pt x="846" y="752"/>
                  <a:pt x="845" y="753"/>
                </a:cubicBezTo>
                <a:cubicBezTo>
                  <a:pt x="845" y="753"/>
                  <a:pt x="845" y="753"/>
                  <a:pt x="844" y="754"/>
                </a:cubicBezTo>
                <a:cubicBezTo>
                  <a:pt x="844" y="754"/>
                  <a:pt x="844" y="754"/>
                  <a:pt x="842" y="753"/>
                </a:cubicBezTo>
                <a:cubicBezTo>
                  <a:pt x="842" y="753"/>
                  <a:pt x="842" y="753"/>
                  <a:pt x="842" y="752"/>
                </a:cubicBezTo>
                <a:cubicBezTo>
                  <a:pt x="842" y="752"/>
                  <a:pt x="842" y="752"/>
                  <a:pt x="842" y="751"/>
                </a:cubicBezTo>
                <a:cubicBezTo>
                  <a:pt x="842" y="751"/>
                  <a:pt x="842" y="751"/>
                  <a:pt x="842" y="750"/>
                </a:cubicBezTo>
                <a:cubicBezTo>
                  <a:pt x="842" y="750"/>
                  <a:pt x="842" y="750"/>
                  <a:pt x="841" y="749"/>
                </a:cubicBezTo>
                <a:cubicBezTo>
                  <a:pt x="841" y="749"/>
                  <a:pt x="841" y="749"/>
                  <a:pt x="840" y="750"/>
                </a:cubicBezTo>
                <a:cubicBezTo>
                  <a:pt x="840" y="750"/>
                  <a:pt x="840" y="750"/>
                  <a:pt x="841" y="750"/>
                </a:cubicBezTo>
                <a:cubicBezTo>
                  <a:pt x="841" y="750"/>
                  <a:pt x="841" y="750"/>
                  <a:pt x="840" y="751"/>
                </a:cubicBezTo>
                <a:cubicBezTo>
                  <a:pt x="840" y="751"/>
                  <a:pt x="840" y="751"/>
                  <a:pt x="839" y="751"/>
                </a:cubicBezTo>
                <a:cubicBezTo>
                  <a:pt x="839" y="751"/>
                  <a:pt x="839" y="751"/>
                  <a:pt x="838" y="751"/>
                </a:cubicBezTo>
                <a:cubicBezTo>
                  <a:pt x="838" y="751"/>
                  <a:pt x="838" y="751"/>
                  <a:pt x="837" y="749"/>
                </a:cubicBezTo>
                <a:cubicBezTo>
                  <a:pt x="837" y="749"/>
                  <a:pt x="837" y="749"/>
                  <a:pt x="837" y="747"/>
                </a:cubicBezTo>
                <a:cubicBezTo>
                  <a:pt x="837" y="747"/>
                  <a:pt x="837" y="747"/>
                  <a:pt x="835" y="747"/>
                </a:cubicBezTo>
                <a:cubicBezTo>
                  <a:pt x="835" y="747"/>
                  <a:pt x="835" y="747"/>
                  <a:pt x="834" y="747"/>
                </a:cubicBezTo>
                <a:cubicBezTo>
                  <a:pt x="834" y="747"/>
                  <a:pt x="834" y="747"/>
                  <a:pt x="834" y="746"/>
                </a:cubicBezTo>
                <a:cubicBezTo>
                  <a:pt x="834" y="746"/>
                  <a:pt x="834" y="746"/>
                  <a:pt x="833" y="746"/>
                </a:cubicBezTo>
                <a:cubicBezTo>
                  <a:pt x="833" y="746"/>
                  <a:pt x="833" y="746"/>
                  <a:pt x="832" y="746"/>
                </a:cubicBezTo>
                <a:cubicBezTo>
                  <a:pt x="832" y="746"/>
                  <a:pt x="832" y="746"/>
                  <a:pt x="831" y="746"/>
                </a:cubicBezTo>
                <a:cubicBezTo>
                  <a:pt x="831" y="746"/>
                  <a:pt x="831" y="746"/>
                  <a:pt x="830" y="746"/>
                </a:cubicBezTo>
                <a:cubicBezTo>
                  <a:pt x="830" y="746"/>
                  <a:pt x="830" y="746"/>
                  <a:pt x="830" y="747"/>
                </a:cubicBezTo>
                <a:cubicBezTo>
                  <a:pt x="830" y="747"/>
                  <a:pt x="830" y="747"/>
                  <a:pt x="830" y="748"/>
                </a:cubicBezTo>
                <a:cubicBezTo>
                  <a:pt x="830" y="748"/>
                  <a:pt x="830" y="748"/>
                  <a:pt x="829" y="748"/>
                </a:cubicBezTo>
                <a:cubicBezTo>
                  <a:pt x="829" y="748"/>
                  <a:pt x="829" y="748"/>
                  <a:pt x="828" y="747"/>
                </a:cubicBezTo>
                <a:cubicBezTo>
                  <a:pt x="828" y="747"/>
                  <a:pt x="828" y="747"/>
                  <a:pt x="828" y="746"/>
                </a:cubicBezTo>
                <a:cubicBezTo>
                  <a:pt x="828" y="746"/>
                  <a:pt x="828" y="746"/>
                  <a:pt x="827" y="744"/>
                </a:cubicBezTo>
                <a:cubicBezTo>
                  <a:pt x="827" y="744"/>
                  <a:pt x="827" y="744"/>
                  <a:pt x="826" y="744"/>
                </a:cubicBezTo>
                <a:cubicBezTo>
                  <a:pt x="826" y="744"/>
                  <a:pt x="826" y="744"/>
                  <a:pt x="827" y="745"/>
                </a:cubicBezTo>
                <a:cubicBezTo>
                  <a:pt x="827" y="745"/>
                  <a:pt x="827" y="745"/>
                  <a:pt x="827" y="746"/>
                </a:cubicBezTo>
                <a:cubicBezTo>
                  <a:pt x="827" y="746"/>
                  <a:pt x="827" y="746"/>
                  <a:pt x="827" y="747"/>
                </a:cubicBezTo>
                <a:cubicBezTo>
                  <a:pt x="827" y="747"/>
                  <a:pt x="827" y="747"/>
                  <a:pt x="826" y="746"/>
                </a:cubicBezTo>
                <a:cubicBezTo>
                  <a:pt x="826" y="746"/>
                  <a:pt x="826" y="746"/>
                  <a:pt x="824" y="746"/>
                </a:cubicBezTo>
                <a:cubicBezTo>
                  <a:pt x="824" y="746"/>
                  <a:pt x="824" y="746"/>
                  <a:pt x="824" y="745"/>
                </a:cubicBezTo>
                <a:cubicBezTo>
                  <a:pt x="824" y="745"/>
                  <a:pt x="824" y="745"/>
                  <a:pt x="824" y="744"/>
                </a:cubicBezTo>
                <a:cubicBezTo>
                  <a:pt x="824" y="744"/>
                  <a:pt x="824" y="744"/>
                  <a:pt x="824" y="743"/>
                </a:cubicBezTo>
                <a:cubicBezTo>
                  <a:pt x="824" y="743"/>
                  <a:pt x="824" y="743"/>
                  <a:pt x="824" y="742"/>
                </a:cubicBezTo>
                <a:cubicBezTo>
                  <a:pt x="824" y="742"/>
                  <a:pt x="824" y="742"/>
                  <a:pt x="823" y="741"/>
                </a:cubicBezTo>
                <a:cubicBezTo>
                  <a:pt x="823" y="741"/>
                  <a:pt x="823" y="741"/>
                  <a:pt x="822" y="740"/>
                </a:cubicBezTo>
                <a:cubicBezTo>
                  <a:pt x="822" y="740"/>
                  <a:pt x="822" y="740"/>
                  <a:pt x="821" y="739"/>
                </a:cubicBezTo>
                <a:cubicBezTo>
                  <a:pt x="821" y="739"/>
                  <a:pt x="821" y="739"/>
                  <a:pt x="819" y="738"/>
                </a:cubicBezTo>
                <a:cubicBezTo>
                  <a:pt x="819" y="738"/>
                  <a:pt x="819" y="738"/>
                  <a:pt x="819" y="737"/>
                </a:cubicBezTo>
                <a:cubicBezTo>
                  <a:pt x="819" y="737"/>
                  <a:pt x="819" y="737"/>
                  <a:pt x="818" y="736"/>
                </a:cubicBezTo>
                <a:cubicBezTo>
                  <a:pt x="818" y="736"/>
                  <a:pt x="818" y="736"/>
                  <a:pt x="818" y="735"/>
                </a:cubicBezTo>
                <a:cubicBezTo>
                  <a:pt x="818" y="735"/>
                  <a:pt x="818" y="735"/>
                  <a:pt x="817" y="735"/>
                </a:cubicBezTo>
                <a:cubicBezTo>
                  <a:pt x="817" y="735"/>
                  <a:pt x="817" y="735"/>
                  <a:pt x="815" y="734"/>
                </a:cubicBezTo>
                <a:cubicBezTo>
                  <a:pt x="815" y="734"/>
                  <a:pt x="815" y="734"/>
                  <a:pt x="815" y="735"/>
                </a:cubicBezTo>
                <a:cubicBezTo>
                  <a:pt x="815" y="735"/>
                  <a:pt x="815" y="735"/>
                  <a:pt x="817" y="736"/>
                </a:cubicBezTo>
                <a:cubicBezTo>
                  <a:pt x="817" y="736"/>
                  <a:pt x="817" y="736"/>
                  <a:pt x="817" y="737"/>
                </a:cubicBezTo>
                <a:cubicBezTo>
                  <a:pt x="817" y="737"/>
                  <a:pt x="817" y="737"/>
                  <a:pt x="817" y="739"/>
                </a:cubicBezTo>
                <a:cubicBezTo>
                  <a:pt x="817" y="739"/>
                  <a:pt x="817" y="739"/>
                  <a:pt x="816" y="739"/>
                </a:cubicBezTo>
                <a:cubicBezTo>
                  <a:pt x="816" y="739"/>
                  <a:pt x="816" y="739"/>
                  <a:pt x="815" y="738"/>
                </a:cubicBezTo>
                <a:cubicBezTo>
                  <a:pt x="815" y="738"/>
                  <a:pt x="815" y="738"/>
                  <a:pt x="814" y="737"/>
                </a:cubicBezTo>
                <a:cubicBezTo>
                  <a:pt x="814" y="737"/>
                  <a:pt x="814" y="737"/>
                  <a:pt x="813" y="737"/>
                </a:cubicBezTo>
                <a:cubicBezTo>
                  <a:pt x="813" y="737"/>
                  <a:pt x="813" y="737"/>
                  <a:pt x="811" y="735"/>
                </a:cubicBezTo>
                <a:cubicBezTo>
                  <a:pt x="811" y="735"/>
                  <a:pt x="811" y="735"/>
                  <a:pt x="811" y="734"/>
                </a:cubicBezTo>
                <a:cubicBezTo>
                  <a:pt x="811" y="734"/>
                  <a:pt x="811" y="734"/>
                  <a:pt x="811" y="733"/>
                </a:cubicBezTo>
                <a:cubicBezTo>
                  <a:pt x="811" y="733"/>
                  <a:pt x="811" y="733"/>
                  <a:pt x="812" y="732"/>
                </a:cubicBezTo>
                <a:cubicBezTo>
                  <a:pt x="812" y="732"/>
                  <a:pt x="812" y="732"/>
                  <a:pt x="812" y="731"/>
                </a:cubicBezTo>
                <a:cubicBezTo>
                  <a:pt x="812" y="731"/>
                  <a:pt x="812" y="731"/>
                  <a:pt x="811" y="731"/>
                </a:cubicBezTo>
                <a:cubicBezTo>
                  <a:pt x="811" y="731"/>
                  <a:pt x="811" y="731"/>
                  <a:pt x="811" y="730"/>
                </a:cubicBezTo>
                <a:cubicBezTo>
                  <a:pt x="811" y="730"/>
                  <a:pt x="811" y="730"/>
                  <a:pt x="812" y="729"/>
                </a:cubicBezTo>
                <a:cubicBezTo>
                  <a:pt x="812" y="729"/>
                  <a:pt x="812" y="729"/>
                  <a:pt x="811" y="728"/>
                </a:cubicBezTo>
                <a:cubicBezTo>
                  <a:pt x="811" y="728"/>
                  <a:pt x="811" y="728"/>
                  <a:pt x="810" y="728"/>
                </a:cubicBezTo>
                <a:cubicBezTo>
                  <a:pt x="810" y="728"/>
                  <a:pt x="810" y="728"/>
                  <a:pt x="807" y="725"/>
                </a:cubicBezTo>
                <a:cubicBezTo>
                  <a:pt x="807" y="725"/>
                  <a:pt x="807" y="725"/>
                  <a:pt x="806" y="723"/>
                </a:cubicBezTo>
                <a:cubicBezTo>
                  <a:pt x="806" y="723"/>
                  <a:pt x="806" y="723"/>
                  <a:pt x="804" y="721"/>
                </a:cubicBezTo>
                <a:cubicBezTo>
                  <a:pt x="804" y="721"/>
                  <a:pt x="804" y="721"/>
                  <a:pt x="804" y="720"/>
                </a:cubicBezTo>
                <a:cubicBezTo>
                  <a:pt x="804" y="720"/>
                  <a:pt x="804" y="720"/>
                  <a:pt x="803" y="720"/>
                </a:cubicBezTo>
                <a:cubicBezTo>
                  <a:pt x="803" y="720"/>
                  <a:pt x="803" y="720"/>
                  <a:pt x="801" y="717"/>
                </a:cubicBezTo>
                <a:cubicBezTo>
                  <a:pt x="801" y="717"/>
                  <a:pt x="801" y="717"/>
                  <a:pt x="801" y="716"/>
                </a:cubicBezTo>
                <a:cubicBezTo>
                  <a:pt x="801" y="716"/>
                  <a:pt x="801" y="716"/>
                  <a:pt x="802" y="717"/>
                </a:cubicBezTo>
                <a:cubicBezTo>
                  <a:pt x="802" y="717"/>
                  <a:pt x="802" y="717"/>
                  <a:pt x="803" y="716"/>
                </a:cubicBezTo>
                <a:cubicBezTo>
                  <a:pt x="803" y="716"/>
                  <a:pt x="803" y="716"/>
                  <a:pt x="802" y="715"/>
                </a:cubicBezTo>
                <a:cubicBezTo>
                  <a:pt x="802" y="715"/>
                  <a:pt x="802" y="715"/>
                  <a:pt x="802" y="714"/>
                </a:cubicBezTo>
                <a:cubicBezTo>
                  <a:pt x="802" y="714"/>
                  <a:pt x="802" y="714"/>
                  <a:pt x="801" y="715"/>
                </a:cubicBezTo>
                <a:cubicBezTo>
                  <a:pt x="801" y="715"/>
                  <a:pt x="801" y="715"/>
                  <a:pt x="801" y="714"/>
                </a:cubicBezTo>
                <a:cubicBezTo>
                  <a:pt x="801" y="714"/>
                  <a:pt x="801" y="714"/>
                  <a:pt x="800" y="714"/>
                </a:cubicBezTo>
                <a:cubicBezTo>
                  <a:pt x="800" y="714"/>
                  <a:pt x="800" y="714"/>
                  <a:pt x="800" y="715"/>
                </a:cubicBezTo>
                <a:cubicBezTo>
                  <a:pt x="800" y="715"/>
                  <a:pt x="800" y="715"/>
                  <a:pt x="799" y="716"/>
                </a:cubicBezTo>
                <a:cubicBezTo>
                  <a:pt x="799" y="716"/>
                  <a:pt x="799" y="716"/>
                  <a:pt x="796" y="716"/>
                </a:cubicBezTo>
                <a:cubicBezTo>
                  <a:pt x="796" y="716"/>
                  <a:pt x="796" y="716"/>
                  <a:pt x="796" y="715"/>
                </a:cubicBezTo>
                <a:cubicBezTo>
                  <a:pt x="796" y="715"/>
                  <a:pt x="796" y="715"/>
                  <a:pt x="795" y="714"/>
                </a:cubicBezTo>
                <a:cubicBezTo>
                  <a:pt x="795" y="714"/>
                  <a:pt x="795" y="714"/>
                  <a:pt x="793" y="714"/>
                </a:cubicBezTo>
                <a:cubicBezTo>
                  <a:pt x="793" y="714"/>
                  <a:pt x="793" y="714"/>
                  <a:pt x="794" y="715"/>
                </a:cubicBezTo>
                <a:cubicBezTo>
                  <a:pt x="794" y="715"/>
                  <a:pt x="794" y="715"/>
                  <a:pt x="792" y="714"/>
                </a:cubicBezTo>
                <a:cubicBezTo>
                  <a:pt x="792" y="714"/>
                  <a:pt x="792" y="714"/>
                  <a:pt x="789" y="713"/>
                </a:cubicBezTo>
                <a:cubicBezTo>
                  <a:pt x="789" y="713"/>
                  <a:pt x="789" y="713"/>
                  <a:pt x="787" y="713"/>
                </a:cubicBezTo>
                <a:cubicBezTo>
                  <a:pt x="787" y="713"/>
                  <a:pt x="787" y="713"/>
                  <a:pt x="786" y="712"/>
                </a:cubicBezTo>
                <a:cubicBezTo>
                  <a:pt x="786" y="712"/>
                  <a:pt x="786" y="712"/>
                  <a:pt x="785" y="712"/>
                </a:cubicBezTo>
                <a:cubicBezTo>
                  <a:pt x="785" y="712"/>
                  <a:pt x="785" y="712"/>
                  <a:pt x="782" y="711"/>
                </a:cubicBezTo>
                <a:cubicBezTo>
                  <a:pt x="782" y="711"/>
                  <a:pt x="782" y="711"/>
                  <a:pt x="781" y="711"/>
                </a:cubicBezTo>
                <a:cubicBezTo>
                  <a:pt x="781" y="711"/>
                  <a:pt x="781" y="711"/>
                  <a:pt x="779" y="711"/>
                </a:cubicBezTo>
                <a:cubicBezTo>
                  <a:pt x="779" y="711"/>
                  <a:pt x="779" y="711"/>
                  <a:pt x="775" y="710"/>
                </a:cubicBezTo>
                <a:cubicBezTo>
                  <a:pt x="775" y="710"/>
                  <a:pt x="775" y="710"/>
                  <a:pt x="775" y="709"/>
                </a:cubicBezTo>
                <a:cubicBezTo>
                  <a:pt x="775" y="709"/>
                  <a:pt x="775" y="709"/>
                  <a:pt x="774" y="709"/>
                </a:cubicBezTo>
                <a:cubicBezTo>
                  <a:pt x="774" y="709"/>
                  <a:pt x="774" y="709"/>
                  <a:pt x="773" y="708"/>
                </a:cubicBezTo>
                <a:cubicBezTo>
                  <a:pt x="773" y="708"/>
                  <a:pt x="773" y="708"/>
                  <a:pt x="772" y="706"/>
                </a:cubicBezTo>
                <a:cubicBezTo>
                  <a:pt x="772" y="706"/>
                  <a:pt x="772" y="706"/>
                  <a:pt x="771" y="705"/>
                </a:cubicBezTo>
                <a:cubicBezTo>
                  <a:pt x="771" y="705"/>
                  <a:pt x="771" y="705"/>
                  <a:pt x="769" y="704"/>
                </a:cubicBezTo>
                <a:cubicBezTo>
                  <a:pt x="769" y="704"/>
                  <a:pt x="769" y="704"/>
                  <a:pt x="769" y="703"/>
                </a:cubicBezTo>
                <a:cubicBezTo>
                  <a:pt x="769" y="703"/>
                  <a:pt x="769" y="703"/>
                  <a:pt x="768" y="703"/>
                </a:cubicBezTo>
                <a:cubicBezTo>
                  <a:pt x="768" y="703"/>
                  <a:pt x="768" y="703"/>
                  <a:pt x="763" y="699"/>
                </a:cubicBezTo>
                <a:cubicBezTo>
                  <a:pt x="763" y="699"/>
                  <a:pt x="763" y="699"/>
                  <a:pt x="763" y="698"/>
                </a:cubicBezTo>
                <a:cubicBezTo>
                  <a:pt x="763" y="698"/>
                  <a:pt x="763" y="698"/>
                  <a:pt x="762" y="696"/>
                </a:cubicBezTo>
                <a:cubicBezTo>
                  <a:pt x="762" y="696"/>
                  <a:pt x="762" y="696"/>
                  <a:pt x="760" y="695"/>
                </a:cubicBezTo>
                <a:cubicBezTo>
                  <a:pt x="760" y="695"/>
                  <a:pt x="760" y="695"/>
                  <a:pt x="759" y="695"/>
                </a:cubicBezTo>
                <a:cubicBezTo>
                  <a:pt x="759" y="695"/>
                  <a:pt x="759" y="695"/>
                  <a:pt x="761" y="696"/>
                </a:cubicBezTo>
                <a:cubicBezTo>
                  <a:pt x="761" y="696"/>
                  <a:pt x="761" y="696"/>
                  <a:pt x="762" y="698"/>
                </a:cubicBezTo>
                <a:cubicBezTo>
                  <a:pt x="762" y="698"/>
                  <a:pt x="762" y="698"/>
                  <a:pt x="761" y="697"/>
                </a:cubicBezTo>
                <a:cubicBezTo>
                  <a:pt x="761" y="697"/>
                  <a:pt x="761" y="697"/>
                  <a:pt x="759" y="696"/>
                </a:cubicBezTo>
                <a:cubicBezTo>
                  <a:pt x="759" y="696"/>
                  <a:pt x="759" y="696"/>
                  <a:pt x="758" y="696"/>
                </a:cubicBezTo>
                <a:cubicBezTo>
                  <a:pt x="758" y="696"/>
                  <a:pt x="758" y="696"/>
                  <a:pt x="757" y="696"/>
                </a:cubicBezTo>
                <a:cubicBezTo>
                  <a:pt x="757" y="696"/>
                  <a:pt x="757" y="696"/>
                  <a:pt x="757" y="695"/>
                </a:cubicBezTo>
                <a:cubicBezTo>
                  <a:pt x="757" y="695"/>
                  <a:pt x="757" y="695"/>
                  <a:pt x="756" y="695"/>
                </a:cubicBezTo>
                <a:cubicBezTo>
                  <a:pt x="756" y="695"/>
                  <a:pt x="756" y="695"/>
                  <a:pt x="756" y="694"/>
                </a:cubicBezTo>
                <a:cubicBezTo>
                  <a:pt x="756" y="694"/>
                  <a:pt x="756" y="694"/>
                  <a:pt x="754" y="695"/>
                </a:cubicBezTo>
                <a:cubicBezTo>
                  <a:pt x="754" y="695"/>
                  <a:pt x="754" y="695"/>
                  <a:pt x="754" y="696"/>
                </a:cubicBezTo>
                <a:cubicBezTo>
                  <a:pt x="754" y="696"/>
                  <a:pt x="754" y="696"/>
                  <a:pt x="753" y="696"/>
                </a:cubicBezTo>
                <a:cubicBezTo>
                  <a:pt x="753" y="696"/>
                  <a:pt x="753" y="696"/>
                  <a:pt x="751" y="698"/>
                </a:cubicBezTo>
                <a:cubicBezTo>
                  <a:pt x="751" y="698"/>
                  <a:pt x="751" y="698"/>
                  <a:pt x="750" y="698"/>
                </a:cubicBezTo>
                <a:cubicBezTo>
                  <a:pt x="750" y="698"/>
                  <a:pt x="750" y="698"/>
                  <a:pt x="747" y="699"/>
                </a:cubicBezTo>
                <a:cubicBezTo>
                  <a:pt x="747" y="699"/>
                  <a:pt x="747" y="699"/>
                  <a:pt x="746" y="699"/>
                </a:cubicBezTo>
                <a:cubicBezTo>
                  <a:pt x="746" y="699"/>
                  <a:pt x="746" y="699"/>
                  <a:pt x="742" y="698"/>
                </a:cubicBezTo>
                <a:cubicBezTo>
                  <a:pt x="742" y="698"/>
                  <a:pt x="742" y="698"/>
                  <a:pt x="741" y="697"/>
                </a:cubicBezTo>
                <a:cubicBezTo>
                  <a:pt x="741" y="697"/>
                  <a:pt x="741" y="697"/>
                  <a:pt x="739" y="697"/>
                </a:cubicBezTo>
                <a:cubicBezTo>
                  <a:pt x="739" y="697"/>
                  <a:pt x="739" y="697"/>
                  <a:pt x="736" y="696"/>
                </a:cubicBezTo>
                <a:cubicBezTo>
                  <a:pt x="736" y="696"/>
                  <a:pt x="736" y="696"/>
                  <a:pt x="735" y="695"/>
                </a:cubicBezTo>
                <a:cubicBezTo>
                  <a:pt x="735" y="695"/>
                  <a:pt x="735" y="695"/>
                  <a:pt x="735" y="696"/>
                </a:cubicBezTo>
                <a:cubicBezTo>
                  <a:pt x="735" y="696"/>
                  <a:pt x="735" y="696"/>
                  <a:pt x="734" y="695"/>
                </a:cubicBezTo>
                <a:cubicBezTo>
                  <a:pt x="734" y="695"/>
                  <a:pt x="734" y="695"/>
                  <a:pt x="732" y="695"/>
                </a:cubicBezTo>
                <a:cubicBezTo>
                  <a:pt x="732" y="695"/>
                  <a:pt x="732" y="695"/>
                  <a:pt x="731" y="693"/>
                </a:cubicBezTo>
                <a:cubicBezTo>
                  <a:pt x="731" y="693"/>
                  <a:pt x="731" y="693"/>
                  <a:pt x="730" y="693"/>
                </a:cubicBezTo>
                <a:cubicBezTo>
                  <a:pt x="730" y="693"/>
                  <a:pt x="730" y="693"/>
                  <a:pt x="728" y="693"/>
                </a:cubicBezTo>
                <a:cubicBezTo>
                  <a:pt x="728" y="693"/>
                  <a:pt x="728" y="693"/>
                  <a:pt x="726" y="693"/>
                </a:cubicBezTo>
                <a:cubicBezTo>
                  <a:pt x="726" y="693"/>
                  <a:pt x="726" y="693"/>
                  <a:pt x="726" y="691"/>
                </a:cubicBezTo>
                <a:cubicBezTo>
                  <a:pt x="726" y="691"/>
                  <a:pt x="726" y="691"/>
                  <a:pt x="724" y="690"/>
                </a:cubicBezTo>
                <a:cubicBezTo>
                  <a:pt x="724" y="690"/>
                  <a:pt x="724" y="690"/>
                  <a:pt x="721" y="690"/>
                </a:cubicBezTo>
                <a:cubicBezTo>
                  <a:pt x="721" y="690"/>
                  <a:pt x="721" y="690"/>
                  <a:pt x="718" y="689"/>
                </a:cubicBezTo>
                <a:cubicBezTo>
                  <a:pt x="718" y="689"/>
                  <a:pt x="718" y="689"/>
                  <a:pt x="717" y="687"/>
                </a:cubicBezTo>
                <a:cubicBezTo>
                  <a:pt x="717" y="687"/>
                  <a:pt x="717" y="687"/>
                  <a:pt x="716" y="687"/>
                </a:cubicBezTo>
                <a:cubicBezTo>
                  <a:pt x="716" y="687"/>
                  <a:pt x="716" y="687"/>
                  <a:pt x="713" y="684"/>
                </a:cubicBezTo>
                <a:cubicBezTo>
                  <a:pt x="713" y="684"/>
                  <a:pt x="713" y="684"/>
                  <a:pt x="712" y="683"/>
                </a:cubicBezTo>
                <a:cubicBezTo>
                  <a:pt x="712" y="683"/>
                  <a:pt x="712" y="683"/>
                  <a:pt x="711" y="683"/>
                </a:cubicBezTo>
                <a:cubicBezTo>
                  <a:pt x="711" y="683"/>
                  <a:pt x="711" y="683"/>
                  <a:pt x="711" y="684"/>
                </a:cubicBezTo>
                <a:cubicBezTo>
                  <a:pt x="711" y="684"/>
                  <a:pt x="711" y="684"/>
                  <a:pt x="710" y="684"/>
                </a:cubicBezTo>
                <a:cubicBezTo>
                  <a:pt x="710" y="684"/>
                  <a:pt x="710" y="684"/>
                  <a:pt x="708" y="683"/>
                </a:cubicBezTo>
                <a:cubicBezTo>
                  <a:pt x="708" y="683"/>
                  <a:pt x="708" y="683"/>
                  <a:pt x="707" y="683"/>
                </a:cubicBezTo>
                <a:cubicBezTo>
                  <a:pt x="707" y="683"/>
                  <a:pt x="707" y="683"/>
                  <a:pt x="706" y="682"/>
                </a:cubicBezTo>
                <a:cubicBezTo>
                  <a:pt x="706" y="682"/>
                  <a:pt x="706" y="682"/>
                  <a:pt x="705" y="682"/>
                </a:cubicBezTo>
                <a:cubicBezTo>
                  <a:pt x="705" y="682"/>
                  <a:pt x="705" y="682"/>
                  <a:pt x="704" y="682"/>
                </a:cubicBezTo>
                <a:cubicBezTo>
                  <a:pt x="704" y="682"/>
                  <a:pt x="704" y="682"/>
                  <a:pt x="703" y="680"/>
                </a:cubicBezTo>
                <a:cubicBezTo>
                  <a:pt x="703" y="680"/>
                  <a:pt x="703" y="680"/>
                  <a:pt x="702" y="679"/>
                </a:cubicBezTo>
                <a:cubicBezTo>
                  <a:pt x="702" y="679"/>
                  <a:pt x="702" y="679"/>
                  <a:pt x="700" y="677"/>
                </a:cubicBezTo>
                <a:cubicBezTo>
                  <a:pt x="700" y="677"/>
                  <a:pt x="700" y="677"/>
                  <a:pt x="699" y="677"/>
                </a:cubicBezTo>
                <a:cubicBezTo>
                  <a:pt x="699" y="677"/>
                  <a:pt x="699" y="677"/>
                  <a:pt x="699" y="676"/>
                </a:cubicBezTo>
                <a:cubicBezTo>
                  <a:pt x="699" y="676"/>
                  <a:pt x="699" y="676"/>
                  <a:pt x="699" y="675"/>
                </a:cubicBezTo>
                <a:cubicBezTo>
                  <a:pt x="699" y="675"/>
                  <a:pt x="699" y="675"/>
                  <a:pt x="697" y="676"/>
                </a:cubicBezTo>
                <a:cubicBezTo>
                  <a:pt x="697" y="676"/>
                  <a:pt x="697" y="676"/>
                  <a:pt x="695" y="675"/>
                </a:cubicBezTo>
                <a:cubicBezTo>
                  <a:pt x="695" y="675"/>
                  <a:pt x="695" y="675"/>
                  <a:pt x="695" y="674"/>
                </a:cubicBezTo>
                <a:cubicBezTo>
                  <a:pt x="695" y="674"/>
                  <a:pt x="695" y="674"/>
                  <a:pt x="694" y="674"/>
                </a:cubicBezTo>
                <a:cubicBezTo>
                  <a:pt x="694" y="674"/>
                  <a:pt x="694" y="674"/>
                  <a:pt x="693" y="674"/>
                </a:cubicBezTo>
                <a:cubicBezTo>
                  <a:pt x="693" y="674"/>
                  <a:pt x="693" y="674"/>
                  <a:pt x="693" y="672"/>
                </a:cubicBezTo>
                <a:cubicBezTo>
                  <a:pt x="693" y="672"/>
                  <a:pt x="693" y="672"/>
                  <a:pt x="692" y="671"/>
                </a:cubicBezTo>
                <a:cubicBezTo>
                  <a:pt x="692" y="671"/>
                  <a:pt x="692" y="671"/>
                  <a:pt x="692" y="670"/>
                </a:cubicBezTo>
                <a:cubicBezTo>
                  <a:pt x="692" y="670"/>
                  <a:pt x="692" y="670"/>
                  <a:pt x="691" y="669"/>
                </a:cubicBezTo>
                <a:cubicBezTo>
                  <a:pt x="691" y="669"/>
                  <a:pt x="691" y="669"/>
                  <a:pt x="690" y="667"/>
                </a:cubicBezTo>
                <a:cubicBezTo>
                  <a:pt x="690" y="667"/>
                  <a:pt x="690" y="667"/>
                  <a:pt x="690" y="666"/>
                </a:cubicBezTo>
                <a:cubicBezTo>
                  <a:pt x="690" y="666"/>
                  <a:pt x="690" y="666"/>
                  <a:pt x="691" y="666"/>
                </a:cubicBezTo>
                <a:cubicBezTo>
                  <a:pt x="691" y="666"/>
                  <a:pt x="691" y="666"/>
                  <a:pt x="692" y="666"/>
                </a:cubicBezTo>
                <a:cubicBezTo>
                  <a:pt x="692" y="666"/>
                  <a:pt x="692" y="666"/>
                  <a:pt x="693" y="665"/>
                </a:cubicBezTo>
                <a:cubicBezTo>
                  <a:pt x="693" y="665"/>
                  <a:pt x="693" y="665"/>
                  <a:pt x="692" y="665"/>
                </a:cubicBezTo>
                <a:cubicBezTo>
                  <a:pt x="692" y="665"/>
                  <a:pt x="692" y="665"/>
                  <a:pt x="691" y="664"/>
                </a:cubicBezTo>
                <a:cubicBezTo>
                  <a:pt x="691" y="664"/>
                  <a:pt x="691" y="664"/>
                  <a:pt x="692" y="664"/>
                </a:cubicBezTo>
                <a:cubicBezTo>
                  <a:pt x="692" y="664"/>
                  <a:pt x="692" y="664"/>
                  <a:pt x="693" y="662"/>
                </a:cubicBezTo>
                <a:cubicBezTo>
                  <a:pt x="693" y="662"/>
                  <a:pt x="693" y="662"/>
                  <a:pt x="694" y="661"/>
                </a:cubicBezTo>
                <a:cubicBezTo>
                  <a:pt x="694" y="661"/>
                  <a:pt x="694" y="661"/>
                  <a:pt x="694" y="660"/>
                </a:cubicBezTo>
                <a:cubicBezTo>
                  <a:pt x="694" y="660"/>
                  <a:pt x="694" y="660"/>
                  <a:pt x="692" y="656"/>
                </a:cubicBezTo>
                <a:cubicBezTo>
                  <a:pt x="692" y="656"/>
                  <a:pt x="692" y="656"/>
                  <a:pt x="692" y="655"/>
                </a:cubicBezTo>
                <a:cubicBezTo>
                  <a:pt x="692" y="655"/>
                  <a:pt x="692" y="655"/>
                  <a:pt x="691" y="654"/>
                </a:cubicBezTo>
                <a:cubicBezTo>
                  <a:pt x="691" y="654"/>
                  <a:pt x="691" y="654"/>
                  <a:pt x="692" y="653"/>
                </a:cubicBezTo>
                <a:cubicBezTo>
                  <a:pt x="692" y="653"/>
                  <a:pt x="692" y="653"/>
                  <a:pt x="691" y="651"/>
                </a:cubicBezTo>
                <a:cubicBezTo>
                  <a:pt x="691" y="651"/>
                  <a:pt x="691" y="651"/>
                  <a:pt x="689" y="649"/>
                </a:cubicBezTo>
                <a:cubicBezTo>
                  <a:pt x="689" y="649"/>
                  <a:pt x="689" y="649"/>
                  <a:pt x="689" y="647"/>
                </a:cubicBezTo>
                <a:cubicBezTo>
                  <a:pt x="689" y="647"/>
                  <a:pt x="689" y="647"/>
                  <a:pt x="687" y="645"/>
                </a:cubicBezTo>
                <a:cubicBezTo>
                  <a:pt x="687" y="645"/>
                  <a:pt x="687" y="645"/>
                  <a:pt x="686" y="643"/>
                </a:cubicBezTo>
                <a:cubicBezTo>
                  <a:pt x="686" y="643"/>
                  <a:pt x="686" y="643"/>
                  <a:pt x="684" y="640"/>
                </a:cubicBezTo>
                <a:cubicBezTo>
                  <a:pt x="684" y="640"/>
                  <a:pt x="684" y="640"/>
                  <a:pt x="682" y="639"/>
                </a:cubicBezTo>
                <a:cubicBezTo>
                  <a:pt x="682" y="639"/>
                  <a:pt x="682" y="639"/>
                  <a:pt x="681" y="638"/>
                </a:cubicBezTo>
                <a:cubicBezTo>
                  <a:pt x="681" y="638"/>
                  <a:pt x="681" y="638"/>
                  <a:pt x="681" y="637"/>
                </a:cubicBezTo>
                <a:cubicBezTo>
                  <a:pt x="681" y="637"/>
                  <a:pt x="681" y="637"/>
                  <a:pt x="679" y="637"/>
                </a:cubicBezTo>
                <a:cubicBezTo>
                  <a:pt x="679" y="637"/>
                  <a:pt x="679" y="637"/>
                  <a:pt x="678" y="636"/>
                </a:cubicBezTo>
                <a:cubicBezTo>
                  <a:pt x="678" y="636"/>
                  <a:pt x="678" y="636"/>
                  <a:pt x="679" y="635"/>
                </a:cubicBezTo>
                <a:cubicBezTo>
                  <a:pt x="679" y="635"/>
                  <a:pt x="679" y="635"/>
                  <a:pt x="680" y="634"/>
                </a:cubicBezTo>
                <a:cubicBezTo>
                  <a:pt x="680" y="634"/>
                  <a:pt x="680" y="634"/>
                  <a:pt x="679" y="633"/>
                </a:cubicBezTo>
                <a:cubicBezTo>
                  <a:pt x="679" y="633"/>
                  <a:pt x="679" y="633"/>
                  <a:pt x="679" y="632"/>
                </a:cubicBezTo>
                <a:cubicBezTo>
                  <a:pt x="679" y="632"/>
                  <a:pt x="679" y="632"/>
                  <a:pt x="678" y="632"/>
                </a:cubicBezTo>
                <a:cubicBezTo>
                  <a:pt x="678" y="632"/>
                  <a:pt x="678" y="632"/>
                  <a:pt x="676" y="631"/>
                </a:cubicBezTo>
                <a:cubicBezTo>
                  <a:pt x="676" y="631"/>
                  <a:pt x="676" y="631"/>
                  <a:pt x="674" y="629"/>
                </a:cubicBezTo>
                <a:cubicBezTo>
                  <a:pt x="674" y="629"/>
                  <a:pt x="674" y="629"/>
                  <a:pt x="673" y="629"/>
                </a:cubicBezTo>
                <a:cubicBezTo>
                  <a:pt x="673" y="629"/>
                  <a:pt x="673" y="629"/>
                  <a:pt x="672" y="629"/>
                </a:cubicBezTo>
                <a:cubicBezTo>
                  <a:pt x="672" y="629"/>
                  <a:pt x="672" y="629"/>
                  <a:pt x="671" y="628"/>
                </a:cubicBezTo>
                <a:cubicBezTo>
                  <a:pt x="671" y="628"/>
                  <a:pt x="671" y="628"/>
                  <a:pt x="671" y="627"/>
                </a:cubicBezTo>
                <a:cubicBezTo>
                  <a:pt x="671" y="627"/>
                  <a:pt x="671" y="627"/>
                  <a:pt x="671" y="625"/>
                </a:cubicBezTo>
                <a:cubicBezTo>
                  <a:pt x="671" y="625"/>
                  <a:pt x="671" y="625"/>
                  <a:pt x="672" y="624"/>
                </a:cubicBezTo>
                <a:cubicBezTo>
                  <a:pt x="672" y="624"/>
                  <a:pt x="672" y="624"/>
                  <a:pt x="673" y="623"/>
                </a:cubicBezTo>
                <a:cubicBezTo>
                  <a:pt x="673" y="623"/>
                  <a:pt x="673" y="623"/>
                  <a:pt x="674" y="624"/>
                </a:cubicBezTo>
                <a:cubicBezTo>
                  <a:pt x="674" y="624"/>
                  <a:pt x="674" y="624"/>
                  <a:pt x="674" y="623"/>
                </a:cubicBezTo>
                <a:cubicBezTo>
                  <a:pt x="674" y="623"/>
                  <a:pt x="674" y="623"/>
                  <a:pt x="674" y="622"/>
                </a:cubicBezTo>
                <a:cubicBezTo>
                  <a:pt x="674" y="622"/>
                  <a:pt x="674" y="622"/>
                  <a:pt x="673" y="623"/>
                </a:cubicBezTo>
                <a:cubicBezTo>
                  <a:pt x="673" y="623"/>
                  <a:pt x="673" y="623"/>
                  <a:pt x="672" y="622"/>
                </a:cubicBezTo>
                <a:cubicBezTo>
                  <a:pt x="672" y="622"/>
                  <a:pt x="672" y="622"/>
                  <a:pt x="672" y="621"/>
                </a:cubicBezTo>
                <a:cubicBezTo>
                  <a:pt x="672" y="621"/>
                  <a:pt x="672" y="621"/>
                  <a:pt x="671" y="620"/>
                </a:cubicBezTo>
                <a:cubicBezTo>
                  <a:pt x="671" y="620"/>
                  <a:pt x="671" y="620"/>
                  <a:pt x="670" y="620"/>
                </a:cubicBezTo>
                <a:cubicBezTo>
                  <a:pt x="670" y="620"/>
                  <a:pt x="670" y="620"/>
                  <a:pt x="669" y="620"/>
                </a:cubicBezTo>
                <a:cubicBezTo>
                  <a:pt x="669" y="620"/>
                  <a:pt x="669" y="620"/>
                  <a:pt x="669" y="619"/>
                </a:cubicBezTo>
                <a:cubicBezTo>
                  <a:pt x="669" y="619"/>
                  <a:pt x="669" y="619"/>
                  <a:pt x="669" y="618"/>
                </a:cubicBezTo>
                <a:cubicBezTo>
                  <a:pt x="669" y="618"/>
                  <a:pt x="669" y="618"/>
                  <a:pt x="668" y="617"/>
                </a:cubicBezTo>
                <a:cubicBezTo>
                  <a:pt x="668" y="617"/>
                  <a:pt x="668" y="617"/>
                  <a:pt x="667" y="617"/>
                </a:cubicBezTo>
                <a:cubicBezTo>
                  <a:pt x="667" y="617"/>
                  <a:pt x="667" y="617"/>
                  <a:pt x="665" y="615"/>
                </a:cubicBezTo>
                <a:cubicBezTo>
                  <a:pt x="665" y="615"/>
                  <a:pt x="665" y="615"/>
                  <a:pt x="665" y="614"/>
                </a:cubicBezTo>
                <a:cubicBezTo>
                  <a:pt x="665" y="614"/>
                  <a:pt x="665" y="614"/>
                  <a:pt x="665" y="613"/>
                </a:cubicBezTo>
                <a:cubicBezTo>
                  <a:pt x="665" y="613"/>
                  <a:pt x="665" y="613"/>
                  <a:pt x="665" y="612"/>
                </a:cubicBezTo>
                <a:cubicBezTo>
                  <a:pt x="665" y="612"/>
                  <a:pt x="665" y="612"/>
                  <a:pt x="665" y="611"/>
                </a:cubicBezTo>
                <a:cubicBezTo>
                  <a:pt x="665" y="611"/>
                  <a:pt x="665" y="611"/>
                  <a:pt x="664" y="611"/>
                </a:cubicBezTo>
                <a:cubicBezTo>
                  <a:pt x="664" y="611"/>
                  <a:pt x="664" y="611"/>
                  <a:pt x="663" y="611"/>
                </a:cubicBezTo>
                <a:cubicBezTo>
                  <a:pt x="663" y="611"/>
                  <a:pt x="663" y="611"/>
                  <a:pt x="662" y="610"/>
                </a:cubicBezTo>
                <a:cubicBezTo>
                  <a:pt x="662" y="610"/>
                  <a:pt x="662" y="610"/>
                  <a:pt x="661" y="609"/>
                </a:cubicBezTo>
                <a:cubicBezTo>
                  <a:pt x="661" y="609"/>
                  <a:pt x="661" y="609"/>
                  <a:pt x="661" y="607"/>
                </a:cubicBezTo>
                <a:cubicBezTo>
                  <a:pt x="661" y="607"/>
                  <a:pt x="661" y="607"/>
                  <a:pt x="660" y="607"/>
                </a:cubicBezTo>
                <a:cubicBezTo>
                  <a:pt x="660" y="607"/>
                  <a:pt x="660" y="607"/>
                  <a:pt x="659" y="606"/>
                </a:cubicBezTo>
                <a:cubicBezTo>
                  <a:pt x="659" y="606"/>
                  <a:pt x="659" y="606"/>
                  <a:pt x="659" y="605"/>
                </a:cubicBezTo>
                <a:cubicBezTo>
                  <a:pt x="659" y="605"/>
                  <a:pt x="659" y="605"/>
                  <a:pt x="659" y="604"/>
                </a:cubicBezTo>
                <a:cubicBezTo>
                  <a:pt x="659" y="604"/>
                  <a:pt x="659" y="604"/>
                  <a:pt x="658" y="604"/>
                </a:cubicBezTo>
                <a:cubicBezTo>
                  <a:pt x="658" y="604"/>
                  <a:pt x="658" y="604"/>
                  <a:pt x="657" y="601"/>
                </a:cubicBezTo>
                <a:cubicBezTo>
                  <a:pt x="657" y="601"/>
                  <a:pt x="657" y="601"/>
                  <a:pt x="656" y="601"/>
                </a:cubicBezTo>
                <a:cubicBezTo>
                  <a:pt x="656" y="601"/>
                  <a:pt x="656" y="601"/>
                  <a:pt x="656" y="600"/>
                </a:cubicBezTo>
                <a:cubicBezTo>
                  <a:pt x="656" y="600"/>
                  <a:pt x="656" y="600"/>
                  <a:pt x="656" y="599"/>
                </a:cubicBezTo>
                <a:cubicBezTo>
                  <a:pt x="656" y="599"/>
                  <a:pt x="656" y="599"/>
                  <a:pt x="655" y="597"/>
                </a:cubicBezTo>
                <a:cubicBezTo>
                  <a:pt x="655" y="597"/>
                  <a:pt x="655" y="597"/>
                  <a:pt x="654" y="595"/>
                </a:cubicBezTo>
                <a:cubicBezTo>
                  <a:pt x="654" y="595"/>
                  <a:pt x="654" y="595"/>
                  <a:pt x="655" y="595"/>
                </a:cubicBezTo>
                <a:cubicBezTo>
                  <a:pt x="655" y="595"/>
                  <a:pt x="655" y="595"/>
                  <a:pt x="654" y="593"/>
                </a:cubicBezTo>
                <a:cubicBezTo>
                  <a:pt x="654" y="593"/>
                  <a:pt x="654" y="593"/>
                  <a:pt x="654" y="592"/>
                </a:cubicBezTo>
                <a:cubicBezTo>
                  <a:pt x="654" y="592"/>
                  <a:pt x="654" y="592"/>
                  <a:pt x="654" y="590"/>
                </a:cubicBezTo>
                <a:cubicBezTo>
                  <a:pt x="654" y="590"/>
                  <a:pt x="654" y="590"/>
                  <a:pt x="653" y="588"/>
                </a:cubicBezTo>
                <a:cubicBezTo>
                  <a:pt x="653" y="588"/>
                  <a:pt x="653" y="588"/>
                  <a:pt x="653" y="587"/>
                </a:cubicBezTo>
                <a:cubicBezTo>
                  <a:pt x="653" y="587"/>
                  <a:pt x="653" y="587"/>
                  <a:pt x="654" y="586"/>
                </a:cubicBezTo>
                <a:cubicBezTo>
                  <a:pt x="654" y="586"/>
                  <a:pt x="654" y="586"/>
                  <a:pt x="652" y="585"/>
                </a:cubicBezTo>
                <a:cubicBezTo>
                  <a:pt x="652" y="585"/>
                  <a:pt x="652" y="585"/>
                  <a:pt x="651" y="585"/>
                </a:cubicBezTo>
                <a:cubicBezTo>
                  <a:pt x="651" y="585"/>
                  <a:pt x="651" y="585"/>
                  <a:pt x="651" y="584"/>
                </a:cubicBezTo>
                <a:cubicBezTo>
                  <a:pt x="651" y="584"/>
                  <a:pt x="651" y="584"/>
                  <a:pt x="650" y="583"/>
                </a:cubicBezTo>
                <a:cubicBezTo>
                  <a:pt x="650" y="583"/>
                  <a:pt x="650" y="583"/>
                  <a:pt x="649" y="584"/>
                </a:cubicBezTo>
                <a:cubicBezTo>
                  <a:pt x="649" y="584"/>
                  <a:pt x="649" y="584"/>
                  <a:pt x="648" y="584"/>
                </a:cubicBezTo>
                <a:cubicBezTo>
                  <a:pt x="648" y="584"/>
                  <a:pt x="648" y="584"/>
                  <a:pt x="647" y="583"/>
                </a:cubicBezTo>
                <a:cubicBezTo>
                  <a:pt x="647" y="583"/>
                  <a:pt x="647" y="583"/>
                  <a:pt x="646" y="582"/>
                </a:cubicBezTo>
                <a:cubicBezTo>
                  <a:pt x="646" y="582"/>
                  <a:pt x="646" y="582"/>
                  <a:pt x="645" y="581"/>
                </a:cubicBezTo>
                <a:cubicBezTo>
                  <a:pt x="645" y="581"/>
                  <a:pt x="645" y="581"/>
                  <a:pt x="644" y="579"/>
                </a:cubicBezTo>
                <a:cubicBezTo>
                  <a:pt x="644" y="579"/>
                  <a:pt x="644" y="579"/>
                  <a:pt x="644" y="581"/>
                </a:cubicBezTo>
                <a:cubicBezTo>
                  <a:pt x="644" y="581"/>
                  <a:pt x="644" y="581"/>
                  <a:pt x="644" y="582"/>
                </a:cubicBezTo>
                <a:cubicBezTo>
                  <a:pt x="644" y="582"/>
                  <a:pt x="644" y="582"/>
                  <a:pt x="644" y="584"/>
                </a:cubicBezTo>
                <a:cubicBezTo>
                  <a:pt x="644" y="584"/>
                  <a:pt x="644" y="584"/>
                  <a:pt x="643" y="585"/>
                </a:cubicBezTo>
                <a:cubicBezTo>
                  <a:pt x="643" y="585"/>
                  <a:pt x="643" y="585"/>
                  <a:pt x="644" y="588"/>
                </a:cubicBezTo>
                <a:cubicBezTo>
                  <a:pt x="644" y="588"/>
                  <a:pt x="644" y="588"/>
                  <a:pt x="644" y="593"/>
                </a:cubicBezTo>
                <a:cubicBezTo>
                  <a:pt x="644" y="593"/>
                  <a:pt x="644" y="593"/>
                  <a:pt x="643" y="594"/>
                </a:cubicBezTo>
                <a:cubicBezTo>
                  <a:pt x="643" y="594"/>
                  <a:pt x="643" y="594"/>
                  <a:pt x="644" y="594"/>
                </a:cubicBezTo>
                <a:cubicBezTo>
                  <a:pt x="644" y="594"/>
                  <a:pt x="644" y="594"/>
                  <a:pt x="645" y="596"/>
                </a:cubicBezTo>
                <a:cubicBezTo>
                  <a:pt x="645" y="596"/>
                  <a:pt x="645" y="596"/>
                  <a:pt x="645" y="597"/>
                </a:cubicBezTo>
                <a:cubicBezTo>
                  <a:pt x="645" y="597"/>
                  <a:pt x="645" y="597"/>
                  <a:pt x="646" y="598"/>
                </a:cubicBezTo>
                <a:cubicBezTo>
                  <a:pt x="646" y="598"/>
                  <a:pt x="646" y="598"/>
                  <a:pt x="648" y="599"/>
                </a:cubicBezTo>
                <a:cubicBezTo>
                  <a:pt x="648" y="599"/>
                  <a:pt x="648" y="599"/>
                  <a:pt x="648" y="601"/>
                </a:cubicBezTo>
                <a:cubicBezTo>
                  <a:pt x="648" y="601"/>
                  <a:pt x="648" y="601"/>
                  <a:pt x="648" y="602"/>
                </a:cubicBezTo>
                <a:cubicBezTo>
                  <a:pt x="648" y="602"/>
                  <a:pt x="648" y="602"/>
                  <a:pt x="648" y="603"/>
                </a:cubicBezTo>
                <a:cubicBezTo>
                  <a:pt x="648" y="603"/>
                  <a:pt x="648" y="603"/>
                  <a:pt x="649" y="604"/>
                </a:cubicBezTo>
                <a:cubicBezTo>
                  <a:pt x="649" y="604"/>
                  <a:pt x="649" y="604"/>
                  <a:pt x="650" y="604"/>
                </a:cubicBezTo>
                <a:cubicBezTo>
                  <a:pt x="650" y="604"/>
                  <a:pt x="650" y="604"/>
                  <a:pt x="650" y="606"/>
                </a:cubicBezTo>
                <a:cubicBezTo>
                  <a:pt x="650" y="606"/>
                  <a:pt x="650" y="606"/>
                  <a:pt x="651" y="606"/>
                </a:cubicBezTo>
                <a:cubicBezTo>
                  <a:pt x="651" y="606"/>
                  <a:pt x="651" y="606"/>
                  <a:pt x="651" y="607"/>
                </a:cubicBezTo>
                <a:cubicBezTo>
                  <a:pt x="651" y="607"/>
                  <a:pt x="651" y="607"/>
                  <a:pt x="653" y="608"/>
                </a:cubicBezTo>
                <a:cubicBezTo>
                  <a:pt x="653" y="608"/>
                  <a:pt x="653" y="608"/>
                  <a:pt x="652" y="609"/>
                </a:cubicBezTo>
                <a:cubicBezTo>
                  <a:pt x="652" y="609"/>
                  <a:pt x="652" y="609"/>
                  <a:pt x="652" y="611"/>
                </a:cubicBezTo>
                <a:cubicBezTo>
                  <a:pt x="652" y="611"/>
                  <a:pt x="652" y="611"/>
                  <a:pt x="654" y="612"/>
                </a:cubicBezTo>
                <a:cubicBezTo>
                  <a:pt x="654" y="612"/>
                  <a:pt x="654" y="612"/>
                  <a:pt x="655" y="614"/>
                </a:cubicBezTo>
                <a:cubicBezTo>
                  <a:pt x="655" y="614"/>
                  <a:pt x="655" y="614"/>
                  <a:pt x="655" y="616"/>
                </a:cubicBezTo>
                <a:cubicBezTo>
                  <a:pt x="655" y="616"/>
                  <a:pt x="655" y="616"/>
                  <a:pt x="656" y="616"/>
                </a:cubicBezTo>
                <a:cubicBezTo>
                  <a:pt x="656" y="616"/>
                  <a:pt x="656" y="616"/>
                  <a:pt x="656" y="617"/>
                </a:cubicBezTo>
                <a:cubicBezTo>
                  <a:pt x="656" y="617"/>
                  <a:pt x="656" y="617"/>
                  <a:pt x="656" y="618"/>
                </a:cubicBezTo>
                <a:cubicBezTo>
                  <a:pt x="656" y="618"/>
                  <a:pt x="656" y="618"/>
                  <a:pt x="656" y="619"/>
                </a:cubicBezTo>
                <a:cubicBezTo>
                  <a:pt x="656" y="619"/>
                  <a:pt x="656" y="619"/>
                  <a:pt x="657" y="621"/>
                </a:cubicBezTo>
                <a:cubicBezTo>
                  <a:pt x="657" y="621"/>
                  <a:pt x="657" y="621"/>
                  <a:pt x="658" y="620"/>
                </a:cubicBezTo>
                <a:cubicBezTo>
                  <a:pt x="658" y="620"/>
                  <a:pt x="658" y="620"/>
                  <a:pt x="659" y="621"/>
                </a:cubicBezTo>
                <a:cubicBezTo>
                  <a:pt x="659" y="621"/>
                  <a:pt x="659" y="621"/>
                  <a:pt x="660" y="623"/>
                </a:cubicBezTo>
                <a:cubicBezTo>
                  <a:pt x="660" y="623"/>
                  <a:pt x="660" y="623"/>
                  <a:pt x="659" y="624"/>
                </a:cubicBezTo>
                <a:cubicBezTo>
                  <a:pt x="659" y="624"/>
                  <a:pt x="659" y="624"/>
                  <a:pt x="659" y="626"/>
                </a:cubicBezTo>
                <a:cubicBezTo>
                  <a:pt x="659" y="626"/>
                  <a:pt x="659" y="626"/>
                  <a:pt x="660" y="627"/>
                </a:cubicBezTo>
                <a:cubicBezTo>
                  <a:pt x="660" y="627"/>
                  <a:pt x="660" y="627"/>
                  <a:pt x="660" y="628"/>
                </a:cubicBezTo>
                <a:cubicBezTo>
                  <a:pt x="660" y="628"/>
                  <a:pt x="660" y="628"/>
                  <a:pt x="661" y="629"/>
                </a:cubicBezTo>
                <a:cubicBezTo>
                  <a:pt x="661" y="629"/>
                  <a:pt x="661" y="629"/>
                  <a:pt x="661" y="630"/>
                </a:cubicBezTo>
                <a:cubicBezTo>
                  <a:pt x="661" y="630"/>
                  <a:pt x="661" y="630"/>
                  <a:pt x="661" y="631"/>
                </a:cubicBezTo>
                <a:cubicBezTo>
                  <a:pt x="661" y="631"/>
                  <a:pt x="661" y="631"/>
                  <a:pt x="661" y="632"/>
                </a:cubicBezTo>
                <a:cubicBezTo>
                  <a:pt x="661" y="632"/>
                  <a:pt x="661" y="632"/>
                  <a:pt x="662" y="633"/>
                </a:cubicBezTo>
                <a:cubicBezTo>
                  <a:pt x="662" y="633"/>
                  <a:pt x="662" y="633"/>
                  <a:pt x="662" y="634"/>
                </a:cubicBezTo>
                <a:cubicBezTo>
                  <a:pt x="662" y="634"/>
                  <a:pt x="662" y="634"/>
                  <a:pt x="661" y="636"/>
                </a:cubicBezTo>
                <a:cubicBezTo>
                  <a:pt x="661" y="636"/>
                  <a:pt x="661" y="636"/>
                  <a:pt x="661" y="637"/>
                </a:cubicBezTo>
                <a:cubicBezTo>
                  <a:pt x="661" y="637"/>
                  <a:pt x="661" y="637"/>
                  <a:pt x="662" y="638"/>
                </a:cubicBezTo>
                <a:cubicBezTo>
                  <a:pt x="662" y="638"/>
                  <a:pt x="662" y="638"/>
                  <a:pt x="663" y="639"/>
                </a:cubicBezTo>
                <a:cubicBezTo>
                  <a:pt x="663" y="639"/>
                  <a:pt x="663" y="639"/>
                  <a:pt x="664" y="639"/>
                </a:cubicBezTo>
                <a:cubicBezTo>
                  <a:pt x="664" y="639"/>
                  <a:pt x="664" y="639"/>
                  <a:pt x="664" y="638"/>
                </a:cubicBezTo>
                <a:cubicBezTo>
                  <a:pt x="664" y="638"/>
                  <a:pt x="664" y="638"/>
                  <a:pt x="665" y="638"/>
                </a:cubicBezTo>
                <a:cubicBezTo>
                  <a:pt x="665" y="638"/>
                  <a:pt x="665" y="638"/>
                  <a:pt x="666" y="639"/>
                </a:cubicBezTo>
                <a:cubicBezTo>
                  <a:pt x="666" y="639"/>
                  <a:pt x="666" y="639"/>
                  <a:pt x="666" y="640"/>
                </a:cubicBezTo>
                <a:cubicBezTo>
                  <a:pt x="666" y="640"/>
                  <a:pt x="666" y="640"/>
                  <a:pt x="667" y="640"/>
                </a:cubicBezTo>
                <a:cubicBezTo>
                  <a:pt x="667" y="640"/>
                  <a:pt x="667" y="640"/>
                  <a:pt x="667" y="642"/>
                </a:cubicBezTo>
                <a:cubicBezTo>
                  <a:pt x="667" y="642"/>
                  <a:pt x="667" y="642"/>
                  <a:pt x="668" y="642"/>
                </a:cubicBezTo>
                <a:cubicBezTo>
                  <a:pt x="668" y="642"/>
                  <a:pt x="668" y="642"/>
                  <a:pt x="668" y="643"/>
                </a:cubicBezTo>
                <a:cubicBezTo>
                  <a:pt x="668" y="643"/>
                  <a:pt x="668" y="643"/>
                  <a:pt x="669" y="644"/>
                </a:cubicBezTo>
                <a:cubicBezTo>
                  <a:pt x="669" y="644"/>
                  <a:pt x="669" y="644"/>
                  <a:pt x="669" y="645"/>
                </a:cubicBezTo>
                <a:cubicBezTo>
                  <a:pt x="669" y="645"/>
                  <a:pt x="669" y="645"/>
                  <a:pt x="668" y="647"/>
                </a:cubicBezTo>
                <a:cubicBezTo>
                  <a:pt x="668" y="647"/>
                  <a:pt x="668" y="647"/>
                  <a:pt x="666" y="648"/>
                </a:cubicBezTo>
                <a:cubicBezTo>
                  <a:pt x="666" y="648"/>
                  <a:pt x="666" y="648"/>
                  <a:pt x="665" y="648"/>
                </a:cubicBezTo>
                <a:cubicBezTo>
                  <a:pt x="665" y="648"/>
                  <a:pt x="665" y="648"/>
                  <a:pt x="665" y="646"/>
                </a:cubicBezTo>
                <a:cubicBezTo>
                  <a:pt x="665" y="646"/>
                  <a:pt x="665" y="646"/>
                  <a:pt x="664" y="645"/>
                </a:cubicBezTo>
                <a:cubicBezTo>
                  <a:pt x="664" y="645"/>
                  <a:pt x="664" y="645"/>
                  <a:pt x="664" y="643"/>
                </a:cubicBezTo>
                <a:cubicBezTo>
                  <a:pt x="664" y="643"/>
                  <a:pt x="664" y="643"/>
                  <a:pt x="663" y="642"/>
                </a:cubicBezTo>
                <a:cubicBezTo>
                  <a:pt x="663" y="642"/>
                  <a:pt x="663" y="642"/>
                  <a:pt x="662" y="642"/>
                </a:cubicBezTo>
                <a:cubicBezTo>
                  <a:pt x="662" y="642"/>
                  <a:pt x="662" y="642"/>
                  <a:pt x="661" y="641"/>
                </a:cubicBezTo>
                <a:cubicBezTo>
                  <a:pt x="661" y="641"/>
                  <a:pt x="661" y="641"/>
                  <a:pt x="660" y="640"/>
                </a:cubicBezTo>
                <a:cubicBezTo>
                  <a:pt x="660" y="640"/>
                  <a:pt x="660" y="640"/>
                  <a:pt x="659" y="640"/>
                </a:cubicBezTo>
                <a:cubicBezTo>
                  <a:pt x="659" y="640"/>
                  <a:pt x="659" y="640"/>
                  <a:pt x="657" y="637"/>
                </a:cubicBezTo>
                <a:cubicBezTo>
                  <a:pt x="657" y="637"/>
                  <a:pt x="657" y="637"/>
                  <a:pt x="656" y="636"/>
                </a:cubicBezTo>
                <a:cubicBezTo>
                  <a:pt x="656" y="636"/>
                  <a:pt x="656" y="636"/>
                  <a:pt x="655" y="636"/>
                </a:cubicBezTo>
                <a:cubicBezTo>
                  <a:pt x="655" y="636"/>
                  <a:pt x="655" y="636"/>
                  <a:pt x="655" y="635"/>
                </a:cubicBezTo>
                <a:cubicBezTo>
                  <a:pt x="655" y="635"/>
                  <a:pt x="655" y="635"/>
                  <a:pt x="654" y="635"/>
                </a:cubicBezTo>
                <a:cubicBezTo>
                  <a:pt x="654" y="635"/>
                  <a:pt x="654" y="635"/>
                  <a:pt x="653" y="634"/>
                </a:cubicBezTo>
                <a:cubicBezTo>
                  <a:pt x="653" y="634"/>
                  <a:pt x="653" y="634"/>
                  <a:pt x="653" y="633"/>
                </a:cubicBezTo>
                <a:cubicBezTo>
                  <a:pt x="653" y="633"/>
                  <a:pt x="653" y="633"/>
                  <a:pt x="654" y="631"/>
                </a:cubicBezTo>
                <a:cubicBezTo>
                  <a:pt x="654" y="631"/>
                  <a:pt x="654" y="631"/>
                  <a:pt x="654" y="629"/>
                </a:cubicBezTo>
                <a:cubicBezTo>
                  <a:pt x="654" y="629"/>
                  <a:pt x="654" y="629"/>
                  <a:pt x="654" y="626"/>
                </a:cubicBezTo>
                <a:cubicBezTo>
                  <a:pt x="654" y="626"/>
                  <a:pt x="654" y="626"/>
                  <a:pt x="653" y="624"/>
                </a:cubicBezTo>
                <a:cubicBezTo>
                  <a:pt x="653" y="624"/>
                  <a:pt x="653" y="624"/>
                  <a:pt x="653" y="623"/>
                </a:cubicBezTo>
                <a:cubicBezTo>
                  <a:pt x="653" y="623"/>
                  <a:pt x="653" y="623"/>
                  <a:pt x="652" y="623"/>
                </a:cubicBezTo>
                <a:cubicBezTo>
                  <a:pt x="652" y="623"/>
                  <a:pt x="652" y="623"/>
                  <a:pt x="651" y="623"/>
                </a:cubicBezTo>
                <a:cubicBezTo>
                  <a:pt x="651" y="623"/>
                  <a:pt x="651" y="623"/>
                  <a:pt x="649" y="621"/>
                </a:cubicBezTo>
                <a:cubicBezTo>
                  <a:pt x="649" y="621"/>
                  <a:pt x="649" y="621"/>
                  <a:pt x="649" y="619"/>
                </a:cubicBezTo>
                <a:cubicBezTo>
                  <a:pt x="649" y="619"/>
                  <a:pt x="649" y="619"/>
                  <a:pt x="649" y="618"/>
                </a:cubicBezTo>
                <a:cubicBezTo>
                  <a:pt x="649" y="618"/>
                  <a:pt x="649" y="618"/>
                  <a:pt x="648" y="618"/>
                </a:cubicBezTo>
                <a:cubicBezTo>
                  <a:pt x="648" y="618"/>
                  <a:pt x="648" y="618"/>
                  <a:pt x="647" y="619"/>
                </a:cubicBezTo>
                <a:cubicBezTo>
                  <a:pt x="647" y="619"/>
                  <a:pt x="647" y="619"/>
                  <a:pt x="646" y="619"/>
                </a:cubicBezTo>
                <a:cubicBezTo>
                  <a:pt x="646" y="619"/>
                  <a:pt x="646" y="619"/>
                  <a:pt x="645" y="618"/>
                </a:cubicBezTo>
                <a:cubicBezTo>
                  <a:pt x="645" y="618"/>
                  <a:pt x="645" y="618"/>
                  <a:pt x="644" y="618"/>
                </a:cubicBezTo>
                <a:cubicBezTo>
                  <a:pt x="644" y="618"/>
                  <a:pt x="644" y="618"/>
                  <a:pt x="644" y="617"/>
                </a:cubicBezTo>
                <a:cubicBezTo>
                  <a:pt x="644" y="617"/>
                  <a:pt x="644" y="617"/>
                  <a:pt x="642" y="616"/>
                </a:cubicBezTo>
                <a:cubicBezTo>
                  <a:pt x="642" y="616"/>
                  <a:pt x="642" y="616"/>
                  <a:pt x="641" y="616"/>
                </a:cubicBezTo>
                <a:cubicBezTo>
                  <a:pt x="641" y="616"/>
                  <a:pt x="641" y="616"/>
                  <a:pt x="641" y="615"/>
                </a:cubicBezTo>
                <a:cubicBezTo>
                  <a:pt x="641" y="615"/>
                  <a:pt x="641" y="615"/>
                  <a:pt x="641" y="614"/>
                </a:cubicBezTo>
                <a:cubicBezTo>
                  <a:pt x="641" y="614"/>
                  <a:pt x="641" y="614"/>
                  <a:pt x="639" y="613"/>
                </a:cubicBezTo>
                <a:cubicBezTo>
                  <a:pt x="639" y="613"/>
                  <a:pt x="639" y="613"/>
                  <a:pt x="638" y="611"/>
                </a:cubicBezTo>
                <a:cubicBezTo>
                  <a:pt x="638" y="611"/>
                  <a:pt x="638" y="611"/>
                  <a:pt x="639" y="611"/>
                </a:cubicBezTo>
                <a:cubicBezTo>
                  <a:pt x="639" y="611"/>
                  <a:pt x="639" y="611"/>
                  <a:pt x="640" y="611"/>
                </a:cubicBezTo>
                <a:cubicBezTo>
                  <a:pt x="640" y="611"/>
                  <a:pt x="640" y="611"/>
                  <a:pt x="641" y="611"/>
                </a:cubicBezTo>
                <a:cubicBezTo>
                  <a:pt x="641" y="611"/>
                  <a:pt x="641" y="611"/>
                  <a:pt x="643" y="612"/>
                </a:cubicBezTo>
                <a:cubicBezTo>
                  <a:pt x="643" y="612"/>
                  <a:pt x="643" y="612"/>
                  <a:pt x="644" y="612"/>
                </a:cubicBezTo>
                <a:cubicBezTo>
                  <a:pt x="644" y="612"/>
                  <a:pt x="644" y="612"/>
                  <a:pt x="644" y="611"/>
                </a:cubicBezTo>
                <a:cubicBezTo>
                  <a:pt x="644" y="611"/>
                  <a:pt x="644" y="611"/>
                  <a:pt x="643" y="611"/>
                </a:cubicBezTo>
                <a:cubicBezTo>
                  <a:pt x="643" y="611"/>
                  <a:pt x="643" y="611"/>
                  <a:pt x="643" y="610"/>
                </a:cubicBezTo>
                <a:cubicBezTo>
                  <a:pt x="643" y="610"/>
                  <a:pt x="643" y="610"/>
                  <a:pt x="644" y="610"/>
                </a:cubicBezTo>
                <a:cubicBezTo>
                  <a:pt x="644" y="610"/>
                  <a:pt x="644" y="610"/>
                  <a:pt x="645" y="609"/>
                </a:cubicBezTo>
                <a:cubicBezTo>
                  <a:pt x="645" y="609"/>
                  <a:pt x="645" y="609"/>
                  <a:pt x="644" y="608"/>
                </a:cubicBezTo>
                <a:cubicBezTo>
                  <a:pt x="644" y="608"/>
                  <a:pt x="644" y="608"/>
                  <a:pt x="644" y="607"/>
                </a:cubicBezTo>
                <a:cubicBezTo>
                  <a:pt x="644" y="607"/>
                  <a:pt x="644" y="607"/>
                  <a:pt x="645" y="607"/>
                </a:cubicBezTo>
                <a:cubicBezTo>
                  <a:pt x="645" y="607"/>
                  <a:pt x="645" y="607"/>
                  <a:pt x="644" y="605"/>
                </a:cubicBezTo>
                <a:cubicBezTo>
                  <a:pt x="644" y="605"/>
                  <a:pt x="644" y="605"/>
                  <a:pt x="643" y="603"/>
                </a:cubicBezTo>
                <a:cubicBezTo>
                  <a:pt x="643" y="603"/>
                  <a:pt x="643" y="603"/>
                  <a:pt x="641" y="602"/>
                </a:cubicBezTo>
                <a:cubicBezTo>
                  <a:pt x="641" y="602"/>
                  <a:pt x="641" y="602"/>
                  <a:pt x="641" y="601"/>
                </a:cubicBezTo>
                <a:cubicBezTo>
                  <a:pt x="641" y="601"/>
                  <a:pt x="641" y="601"/>
                  <a:pt x="640" y="599"/>
                </a:cubicBezTo>
                <a:cubicBezTo>
                  <a:pt x="640" y="599"/>
                  <a:pt x="640" y="599"/>
                  <a:pt x="638" y="597"/>
                </a:cubicBezTo>
                <a:cubicBezTo>
                  <a:pt x="638" y="597"/>
                  <a:pt x="638" y="597"/>
                  <a:pt x="638" y="598"/>
                </a:cubicBezTo>
                <a:cubicBezTo>
                  <a:pt x="638" y="598"/>
                  <a:pt x="638" y="598"/>
                  <a:pt x="637" y="596"/>
                </a:cubicBezTo>
                <a:cubicBezTo>
                  <a:pt x="637" y="596"/>
                  <a:pt x="637" y="596"/>
                  <a:pt x="636" y="595"/>
                </a:cubicBezTo>
                <a:cubicBezTo>
                  <a:pt x="636" y="595"/>
                  <a:pt x="636" y="595"/>
                  <a:pt x="636" y="593"/>
                </a:cubicBezTo>
                <a:cubicBezTo>
                  <a:pt x="636" y="593"/>
                  <a:pt x="636" y="593"/>
                  <a:pt x="636" y="592"/>
                </a:cubicBezTo>
                <a:cubicBezTo>
                  <a:pt x="636" y="592"/>
                  <a:pt x="636" y="592"/>
                  <a:pt x="635" y="591"/>
                </a:cubicBezTo>
                <a:cubicBezTo>
                  <a:pt x="635" y="591"/>
                  <a:pt x="635" y="591"/>
                  <a:pt x="635" y="590"/>
                </a:cubicBezTo>
                <a:cubicBezTo>
                  <a:pt x="635" y="590"/>
                  <a:pt x="635" y="590"/>
                  <a:pt x="635" y="589"/>
                </a:cubicBezTo>
                <a:cubicBezTo>
                  <a:pt x="635" y="589"/>
                  <a:pt x="635" y="589"/>
                  <a:pt x="635" y="588"/>
                </a:cubicBezTo>
                <a:cubicBezTo>
                  <a:pt x="635" y="588"/>
                  <a:pt x="635" y="588"/>
                  <a:pt x="634" y="587"/>
                </a:cubicBezTo>
                <a:cubicBezTo>
                  <a:pt x="634" y="587"/>
                  <a:pt x="634" y="587"/>
                  <a:pt x="634" y="586"/>
                </a:cubicBezTo>
                <a:cubicBezTo>
                  <a:pt x="634" y="586"/>
                  <a:pt x="634" y="586"/>
                  <a:pt x="634" y="585"/>
                </a:cubicBezTo>
                <a:cubicBezTo>
                  <a:pt x="634" y="585"/>
                  <a:pt x="634" y="585"/>
                  <a:pt x="632" y="583"/>
                </a:cubicBezTo>
                <a:cubicBezTo>
                  <a:pt x="632" y="583"/>
                  <a:pt x="632" y="583"/>
                  <a:pt x="632" y="582"/>
                </a:cubicBezTo>
                <a:cubicBezTo>
                  <a:pt x="632" y="582"/>
                  <a:pt x="632" y="582"/>
                  <a:pt x="632" y="581"/>
                </a:cubicBezTo>
                <a:cubicBezTo>
                  <a:pt x="632" y="581"/>
                  <a:pt x="632" y="581"/>
                  <a:pt x="633" y="581"/>
                </a:cubicBezTo>
                <a:cubicBezTo>
                  <a:pt x="633" y="581"/>
                  <a:pt x="633" y="581"/>
                  <a:pt x="632" y="580"/>
                </a:cubicBezTo>
                <a:cubicBezTo>
                  <a:pt x="632" y="580"/>
                  <a:pt x="632" y="580"/>
                  <a:pt x="631" y="578"/>
                </a:cubicBezTo>
                <a:cubicBezTo>
                  <a:pt x="631" y="578"/>
                  <a:pt x="631" y="578"/>
                  <a:pt x="630" y="575"/>
                </a:cubicBezTo>
                <a:cubicBezTo>
                  <a:pt x="630" y="575"/>
                  <a:pt x="630" y="575"/>
                  <a:pt x="630" y="574"/>
                </a:cubicBezTo>
                <a:cubicBezTo>
                  <a:pt x="630" y="573"/>
                  <a:pt x="630" y="573"/>
                  <a:pt x="630" y="573"/>
                </a:cubicBezTo>
                <a:cubicBezTo>
                  <a:pt x="630" y="571"/>
                  <a:pt x="630" y="571"/>
                  <a:pt x="630" y="571"/>
                </a:cubicBezTo>
                <a:cubicBezTo>
                  <a:pt x="630" y="569"/>
                  <a:pt x="630" y="569"/>
                  <a:pt x="630" y="569"/>
                </a:cubicBezTo>
                <a:cubicBezTo>
                  <a:pt x="628" y="566"/>
                  <a:pt x="628" y="566"/>
                  <a:pt x="628" y="566"/>
                </a:cubicBezTo>
                <a:cubicBezTo>
                  <a:pt x="627" y="564"/>
                  <a:pt x="627" y="564"/>
                  <a:pt x="627" y="564"/>
                </a:cubicBezTo>
                <a:cubicBezTo>
                  <a:pt x="626" y="565"/>
                  <a:pt x="626" y="565"/>
                  <a:pt x="626" y="565"/>
                </a:cubicBezTo>
                <a:cubicBezTo>
                  <a:pt x="625" y="565"/>
                  <a:pt x="625" y="565"/>
                  <a:pt x="625" y="565"/>
                </a:cubicBezTo>
                <a:cubicBezTo>
                  <a:pt x="625" y="564"/>
                  <a:pt x="625" y="564"/>
                  <a:pt x="625" y="564"/>
                </a:cubicBezTo>
                <a:cubicBezTo>
                  <a:pt x="625" y="563"/>
                  <a:pt x="625" y="563"/>
                  <a:pt x="625" y="563"/>
                </a:cubicBezTo>
                <a:cubicBezTo>
                  <a:pt x="623" y="562"/>
                  <a:pt x="623" y="562"/>
                  <a:pt x="623" y="562"/>
                </a:cubicBezTo>
                <a:cubicBezTo>
                  <a:pt x="622" y="562"/>
                  <a:pt x="622" y="562"/>
                  <a:pt x="622" y="562"/>
                </a:cubicBezTo>
                <a:cubicBezTo>
                  <a:pt x="620" y="561"/>
                  <a:pt x="620" y="561"/>
                  <a:pt x="620" y="561"/>
                </a:cubicBezTo>
                <a:cubicBezTo>
                  <a:pt x="620" y="560"/>
                  <a:pt x="620" y="560"/>
                  <a:pt x="620" y="560"/>
                </a:cubicBezTo>
                <a:cubicBezTo>
                  <a:pt x="619" y="559"/>
                  <a:pt x="619" y="559"/>
                  <a:pt x="619" y="559"/>
                </a:cubicBezTo>
                <a:cubicBezTo>
                  <a:pt x="618" y="559"/>
                  <a:pt x="618" y="559"/>
                  <a:pt x="618" y="559"/>
                </a:cubicBezTo>
                <a:cubicBezTo>
                  <a:pt x="617" y="559"/>
                  <a:pt x="617" y="559"/>
                  <a:pt x="617" y="559"/>
                </a:cubicBezTo>
                <a:cubicBezTo>
                  <a:pt x="616" y="558"/>
                  <a:pt x="616" y="558"/>
                  <a:pt x="616" y="558"/>
                </a:cubicBezTo>
                <a:cubicBezTo>
                  <a:pt x="615" y="558"/>
                  <a:pt x="615" y="558"/>
                  <a:pt x="615" y="558"/>
                </a:cubicBezTo>
                <a:cubicBezTo>
                  <a:pt x="612" y="558"/>
                  <a:pt x="612" y="558"/>
                  <a:pt x="612" y="558"/>
                </a:cubicBezTo>
                <a:cubicBezTo>
                  <a:pt x="611" y="557"/>
                  <a:pt x="611" y="557"/>
                  <a:pt x="611" y="557"/>
                </a:cubicBezTo>
                <a:cubicBezTo>
                  <a:pt x="612" y="556"/>
                  <a:pt x="612" y="556"/>
                  <a:pt x="612" y="556"/>
                </a:cubicBezTo>
                <a:cubicBezTo>
                  <a:pt x="612" y="555"/>
                  <a:pt x="612" y="555"/>
                  <a:pt x="612" y="555"/>
                </a:cubicBezTo>
                <a:cubicBezTo>
                  <a:pt x="613" y="554"/>
                  <a:pt x="613" y="554"/>
                  <a:pt x="613" y="554"/>
                </a:cubicBezTo>
                <a:cubicBezTo>
                  <a:pt x="612" y="552"/>
                  <a:pt x="612" y="552"/>
                  <a:pt x="612" y="552"/>
                </a:cubicBezTo>
                <a:cubicBezTo>
                  <a:pt x="611" y="551"/>
                  <a:pt x="611" y="551"/>
                  <a:pt x="611" y="551"/>
                </a:cubicBezTo>
                <a:cubicBezTo>
                  <a:pt x="611" y="550"/>
                  <a:pt x="611" y="550"/>
                  <a:pt x="611" y="550"/>
                </a:cubicBezTo>
                <a:cubicBezTo>
                  <a:pt x="610" y="549"/>
                  <a:pt x="610" y="549"/>
                  <a:pt x="610" y="549"/>
                </a:cubicBezTo>
                <a:cubicBezTo>
                  <a:pt x="608" y="546"/>
                  <a:pt x="608" y="546"/>
                  <a:pt x="608" y="546"/>
                </a:cubicBezTo>
                <a:cubicBezTo>
                  <a:pt x="608" y="544"/>
                  <a:pt x="608" y="544"/>
                  <a:pt x="608" y="544"/>
                </a:cubicBezTo>
                <a:cubicBezTo>
                  <a:pt x="607" y="543"/>
                  <a:pt x="607" y="543"/>
                  <a:pt x="607" y="543"/>
                </a:cubicBezTo>
                <a:cubicBezTo>
                  <a:pt x="607" y="542"/>
                  <a:pt x="607" y="542"/>
                  <a:pt x="607" y="542"/>
                </a:cubicBezTo>
                <a:cubicBezTo>
                  <a:pt x="607" y="541"/>
                  <a:pt x="607" y="541"/>
                  <a:pt x="607" y="541"/>
                </a:cubicBezTo>
                <a:cubicBezTo>
                  <a:pt x="607" y="540"/>
                  <a:pt x="607" y="540"/>
                  <a:pt x="607" y="540"/>
                </a:cubicBezTo>
                <a:cubicBezTo>
                  <a:pt x="607" y="539"/>
                  <a:pt x="607" y="539"/>
                  <a:pt x="607" y="539"/>
                </a:cubicBezTo>
                <a:cubicBezTo>
                  <a:pt x="608" y="538"/>
                  <a:pt x="608" y="538"/>
                  <a:pt x="608" y="538"/>
                </a:cubicBezTo>
                <a:cubicBezTo>
                  <a:pt x="608" y="537"/>
                  <a:pt x="608" y="537"/>
                  <a:pt x="608" y="537"/>
                </a:cubicBezTo>
                <a:cubicBezTo>
                  <a:pt x="607" y="537"/>
                  <a:pt x="607" y="537"/>
                  <a:pt x="607" y="537"/>
                </a:cubicBezTo>
                <a:cubicBezTo>
                  <a:pt x="607" y="536"/>
                  <a:pt x="607" y="536"/>
                  <a:pt x="607" y="536"/>
                </a:cubicBezTo>
                <a:cubicBezTo>
                  <a:pt x="606" y="535"/>
                  <a:pt x="606" y="535"/>
                  <a:pt x="606" y="535"/>
                </a:cubicBezTo>
                <a:cubicBezTo>
                  <a:pt x="606" y="534"/>
                  <a:pt x="606" y="534"/>
                  <a:pt x="606" y="534"/>
                </a:cubicBezTo>
                <a:cubicBezTo>
                  <a:pt x="606" y="533"/>
                  <a:pt x="606" y="533"/>
                  <a:pt x="606" y="533"/>
                </a:cubicBezTo>
                <a:cubicBezTo>
                  <a:pt x="606" y="532"/>
                  <a:pt x="606" y="532"/>
                  <a:pt x="606" y="532"/>
                </a:cubicBezTo>
                <a:cubicBezTo>
                  <a:pt x="606" y="531"/>
                  <a:pt x="606" y="531"/>
                  <a:pt x="606" y="531"/>
                </a:cubicBezTo>
                <a:cubicBezTo>
                  <a:pt x="606" y="530"/>
                  <a:pt x="606" y="530"/>
                  <a:pt x="606" y="530"/>
                </a:cubicBezTo>
                <a:cubicBezTo>
                  <a:pt x="607" y="530"/>
                  <a:pt x="607" y="530"/>
                  <a:pt x="607" y="530"/>
                </a:cubicBezTo>
                <a:cubicBezTo>
                  <a:pt x="608" y="531"/>
                  <a:pt x="608" y="531"/>
                  <a:pt x="608" y="531"/>
                </a:cubicBezTo>
                <a:cubicBezTo>
                  <a:pt x="608" y="530"/>
                  <a:pt x="608" y="530"/>
                  <a:pt x="608" y="530"/>
                </a:cubicBezTo>
                <a:cubicBezTo>
                  <a:pt x="608" y="529"/>
                  <a:pt x="608" y="529"/>
                  <a:pt x="608" y="529"/>
                </a:cubicBezTo>
                <a:cubicBezTo>
                  <a:pt x="607" y="528"/>
                  <a:pt x="607" y="528"/>
                  <a:pt x="607" y="528"/>
                </a:cubicBezTo>
                <a:cubicBezTo>
                  <a:pt x="607" y="527"/>
                  <a:pt x="607" y="527"/>
                  <a:pt x="607" y="527"/>
                </a:cubicBezTo>
                <a:cubicBezTo>
                  <a:pt x="608" y="527"/>
                  <a:pt x="608" y="527"/>
                  <a:pt x="608" y="527"/>
                </a:cubicBezTo>
                <a:cubicBezTo>
                  <a:pt x="608" y="528"/>
                  <a:pt x="608" y="528"/>
                  <a:pt x="608" y="528"/>
                </a:cubicBezTo>
                <a:cubicBezTo>
                  <a:pt x="609" y="528"/>
                  <a:pt x="609" y="528"/>
                  <a:pt x="609" y="528"/>
                </a:cubicBezTo>
                <a:cubicBezTo>
                  <a:pt x="611" y="527"/>
                  <a:pt x="611" y="527"/>
                  <a:pt x="611" y="527"/>
                </a:cubicBezTo>
                <a:cubicBezTo>
                  <a:pt x="609" y="527"/>
                  <a:pt x="609" y="527"/>
                  <a:pt x="609" y="527"/>
                </a:cubicBezTo>
                <a:cubicBezTo>
                  <a:pt x="608" y="527"/>
                  <a:pt x="608" y="527"/>
                  <a:pt x="608" y="527"/>
                </a:cubicBezTo>
                <a:cubicBezTo>
                  <a:pt x="608" y="526"/>
                  <a:pt x="608" y="526"/>
                  <a:pt x="608" y="526"/>
                </a:cubicBezTo>
                <a:cubicBezTo>
                  <a:pt x="607" y="526"/>
                  <a:pt x="607" y="526"/>
                  <a:pt x="607" y="526"/>
                </a:cubicBezTo>
                <a:cubicBezTo>
                  <a:pt x="606" y="526"/>
                  <a:pt x="606" y="526"/>
                  <a:pt x="606" y="526"/>
                </a:cubicBezTo>
                <a:cubicBezTo>
                  <a:pt x="606" y="527"/>
                  <a:pt x="606" y="527"/>
                  <a:pt x="606" y="527"/>
                </a:cubicBezTo>
                <a:cubicBezTo>
                  <a:pt x="606" y="528"/>
                  <a:pt x="606" y="528"/>
                  <a:pt x="606" y="528"/>
                </a:cubicBezTo>
                <a:cubicBezTo>
                  <a:pt x="605" y="528"/>
                  <a:pt x="605" y="528"/>
                  <a:pt x="605" y="528"/>
                </a:cubicBezTo>
                <a:cubicBezTo>
                  <a:pt x="604" y="527"/>
                  <a:pt x="604" y="527"/>
                  <a:pt x="604" y="527"/>
                </a:cubicBezTo>
                <a:cubicBezTo>
                  <a:pt x="604" y="526"/>
                  <a:pt x="604" y="526"/>
                  <a:pt x="604" y="526"/>
                </a:cubicBezTo>
                <a:cubicBezTo>
                  <a:pt x="604" y="525"/>
                  <a:pt x="604" y="525"/>
                  <a:pt x="604" y="525"/>
                </a:cubicBezTo>
                <a:cubicBezTo>
                  <a:pt x="604" y="524"/>
                  <a:pt x="604" y="524"/>
                  <a:pt x="604" y="524"/>
                </a:cubicBezTo>
                <a:cubicBezTo>
                  <a:pt x="601" y="520"/>
                  <a:pt x="601" y="520"/>
                  <a:pt x="601" y="520"/>
                </a:cubicBezTo>
                <a:cubicBezTo>
                  <a:pt x="601" y="519"/>
                  <a:pt x="601" y="519"/>
                  <a:pt x="601" y="519"/>
                </a:cubicBezTo>
                <a:cubicBezTo>
                  <a:pt x="601" y="518"/>
                  <a:pt x="601" y="518"/>
                  <a:pt x="601" y="518"/>
                </a:cubicBezTo>
                <a:cubicBezTo>
                  <a:pt x="602" y="517"/>
                  <a:pt x="602" y="517"/>
                  <a:pt x="602" y="517"/>
                </a:cubicBezTo>
                <a:cubicBezTo>
                  <a:pt x="601" y="516"/>
                  <a:pt x="601" y="516"/>
                  <a:pt x="601" y="516"/>
                </a:cubicBezTo>
                <a:cubicBezTo>
                  <a:pt x="601" y="515"/>
                  <a:pt x="601" y="515"/>
                  <a:pt x="601" y="515"/>
                </a:cubicBezTo>
                <a:cubicBezTo>
                  <a:pt x="601" y="514"/>
                  <a:pt x="601" y="514"/>
                  <a:pt x="601" y="514"/>
                </a:cubicBezTo>
                <a:cubicBezTo>
                  <a:pt x="602" y="513"/>
                  <a:pt x="602" y="513"/>
                  <a:pt x="602" y="513"/>
                </a:cubicBezTo>
                <a:cubicBezTo>
                  <a:pt x="602" y="512"/>
                  <a:pt x="602" y="512"/>
                  <a:pt x="602" y="512"/>
                </a:cubicBezTo>
                <a:cubicBezTo>
                  <a:pt x="602" y="509"/>
                  <a:pt x="602" y="509"/>
                  <a:pt x="602" y="509"/>
                </a:cubicBezTo>
                <a:cubicBezTo>
                  <a:pt x="601" y="507"/>
                  <a:pt x="601" y="507"/>
                  <a:pt x="601" y="507"/>
                </a:cubicBezTo>
                <a:cubicBezTo>
                  <a:pt x="600" y="505"/>
                  <a:pt x="600" y="505"/>
                  <a:pt x="600" y="505"/>
                </a:cubicBezTo>
                <a:cubicBezTo>
                  <a:pt x="600" y="504"/>
                  <a:pt x="600" y="504"/>
                  <a:pt x="600" y="504"/>
                </a:cubicBezTo>
                <a:cubicBezTo>
                  <a:pt x="600" y="502"/>
                  <a:pt x="600" y="502"/>
                  <a:pt x="600" y="502"/>
                </a:cubicBezTo>
                <a:cubicBezTo>
                  <a:pt x="602" y="501"/>
                  <a:pt x="602" y="501"/>
                  <a:pt x="602" y="501"/>
                </a:cubicBezTo>
                <a:cubicBezTo>
                  <a:pt x="603" y="499"/>
                  <a:pt x="603" y="499"/>
                  <a:pt x="603" y="499"/>
                </a:cubicBezTo>
                <a:cubicBezTo>
                  <a:pt x="602" y="499"/>
                  <a:pt x="602" y="499"/>
                  <a:pt x="602" y="499"/>
                </a:cubicBezTo>
                <a:cubicBezTo>
                  <a:pt x="602" y="498"/>
                  <a:pt x="602" y="498"/>
                  <a:pt x="602" y="498"/>
                </a:cubicBezTo>
                <a:cubicBezTo>
                  <a:pt x="603" y="498"/>
                  <a:pt x="603" y="498"/>
                  <a:pt x="603" y="498"/>
                </a:cubicBezTo>
                <a:cubicBezTo>
                  <a:pt x="604" y="496"/>
                  <a:pt x="604" y="496"/>
                  <a:pt x="604" y="496"/>
                </a:cubicBezTo>
                <a:cubicBezTo>
                  <a:pt x="604" y="494"/>
                  <a:pt x="604" y="494"/>
                  <a:pt x="604" y="494"/>
                </a:cubicBezTo>
                <a:cubicBezTo>
                  <a:pt x="603" y="492"/>
                  <a:pt x="603" y="492"/>
                  <a:pt x="603" y="492"/>
                </a:cubicBezTo>
                <a:cubicBezTo>
                  <a:pt x="604" y="491"/>
                  <a:pt x="604" y="491"/>
                  <a:pt x="604" y="491"/>
                </a:cubicBezTo>
                <a:cubicBezTo>
                  <a:pt x="604" y="490"/>
                  <a:pt x="604" y="490"/>
                  <a:pt x="604" y="490"/>
                </a:cubicBezTo>
                <a:cubicBezTo>
                  <a:pt x="603" y="489"/>
                  <a:pt x="603" y="489"/>
                  <a:pt x="603" y="489"/>
                </a:cubicBezTo>
                <a:cubicBezTo>
                  <a:pt x="603" y="488"/>
                  <a:pt x="603" y="488"/>
                  <a:pt x="603" y="488"/>
                </a:cubicBezTo>
                <a:cubicBezTo>
                  <a:pt x="604" y="485"/>
                  <a:pt x="604" y="485"/>
                  <a:pt x="604" y="485"/>
                </a:cubicBezTo>
                <a:cubicBezTo>
                  <a:pt x="604" y="483"/>
                  <a:pt x="604" y="483"/>
                  <a:pt x="604" y="483"/>
                </a:cubicBezTo>
                <a:cubicBezTo>
                  <a:pt x="604" y="482"/>
                  <a:pt x="604" y="482"/>
                  <a:pt x="604" y="482"/>
                </a:cubicBezTo>
                <a:cubicBezTo>
                  <a:pt x="606" y="480"/>
                  <a:pt x="606" y="480"/>
                  <a:pt x="606" y="480"/>
                </a:cubicBezTo>
                <a:cubicBezTo>
                  <a:pt x="606" y="478"/>
                  <a:pt x="606" y="478"/>
                  <a:pt x="606" y="478"/>
                </a:cubicBezTo>
                <a:cubicBezTo>
                  <a:pt x="607" y="478"/>
                  <a:pt x="607" y="478"/>
                  <a:pt x="607" y="478"/>
                </a:cubicBezTo>
                <a:cubicBezTo>
                  <a:pt x="608" y="476"/>
                  <a:pt x="608" y="476"/>
                  <a:pt x="608" y="476"/>
                </a:cubicBezTo>
                <a:cubicBezTo>
                  <a:pt x="609" y="474"/>
                  <a:pt x="609" y="474"/>
                  <a:pt x="609" y="474"/>
                </a:cubicBezTo>
                <a:cubicBezTo>
                  <a:pt x="610" y="473"/>
                  <a:pt x="610" y="473"/>
                  <a:pt x="610" y="473"/>
                </a:cubicBezTo>
                <a:cubicBezTo>
                  <a:pt x="610" y="469"/>
                  <a:pt x="610" y="469"/>
                  <a:pt x="610" y="469"/>
                </a:cubicBezTo>
                <a:cubicBezTo>
                  <a:pt x="612" y="466"/>
                  <a:pt x="612" y="466"/>
                  <a:pt x="612" y="466"/>
                </a:cubicBezTo>
                <a:cubicBezTo>
                  <a:pt x="612" y="463"/>
                  <a:pt x="612" y="463"/>
                  <a:pt x="612" y="463"/>
                </a:cubicBezTo>
                <a:cubicBezTo>
                  <a:pt x="614" y="460"/>
                  <a:pt x="614" y="460"/>
                  <a:pt x="614" y="460"/>
                </a:cubicBezTo>
                <a:cubicBezTo>
                  <a:pt x="614" y="458"/>
                  <a:pt x="614" y="458"/>
                  <a:pt x="614" y="458"/>
                </a:cubicBezTo>
                <a:cubicBezTo>
                  <a:pt x="615" y="457"/>
                  <a:pt x="615" y="457"/>
                  <a:pt x="615" y="457"/>
                </a:cubicBezTo>
                <a:cubicBezTo>
                  <a:pt x="615" y="456"/>
                  <a:pt x="615" y="456"/>
                  <a:pt x="615" y="456"/>
                </a:cubicBezTo>
                <a:cubicBezTo>
                  <a:pt x="615" y="455"/>
                  <a:pt x="615" y="455"/>
                  <a:pt x="615" y="455"/>
                </a:cubicBezTo>
                <a:cubicBezTo>
                  <a:pt x="616" y="453"/>
                  <a:pt x="616" y="453"/>
                  <a:pt x="616" y="453"/>
                </a:cubicBezTo>
                <a:cubicBezTo>
                  <a:pt x="616" y="452"/>
                  <a:pt x="616" y="452"/>
                  <a:pt x="616" y="452"/>
                </a:cubicBezTo>
                <a:cubicBezTo>
                  <a:pt x="617" y="452"/>
                  <a:pt x="617" y="452"/>
                  <a:pt x="617" y="452"/>
                </a:cubicBezTo>
                <a:cubicBezTo>
                  <a:pt x="619" y="452"/>
                  <a:pt x="619" y="452"/>
                  <a:pt x="619" y="452"/>
                </a:cubicBezTo>
                <a:cubicBezTo>
                  <a:pt x="620" y="453"/>
                  <a:pt x="620" y="453"/>
                  <a:pt x="620" y="453"/>
                </a:cubicBezTo>
                <a:cubicBezTo>
                  <a:pt x="621" y="453"/>
                  <a:pt x="621" y="453"/>
                  <a:pt x="621" y="453"/>
                </a:cubicBezTo>
                <a:cubicBezTo>
                  <a:pt x="622" y="454"/>
                  <a:pt x="622" y="454"/>
                  <a:pt x="622" y="454"/>
                </a:cubicBezTo>
                <a:cubicBezTo>
                  <a:pt x="623" y="455"/>
                  <a:pt x="623" y="455"/>
                  <a:pt x="623" y="455"/>
                </a:cubicBezTo>
                <a:cubicBezTo>
                  <a:pt x="623" y="453"/>
                  <a:pt x="623" y="453"/>
                  <a:pt x="623" y="453"/>
                </a:cubicBezTo>
                <a:cubicBezTo>
                  <a:pt x="622" y="453"/>
                  <a:pt x="622" y="453"/>
                  <a:pt x="622" y="453"/>
                </a:cubicBezTo>
                <a:cubicBezTo>
                  <a:pt x="621" y="452"/>
                  <a:pt x="621" y="452"/>
                  <a:pt x="621" y="452"/>
                </a:cubicBezTo>
                <a:cubicBezTo>
                  <a:pt x="620" y="451"/>
                  <a:pt x="620" y="451"/>
                  <a:pt x="620" y="451"/>
                </a:cubicBezTo>
                <a:cubicBezTo>
                  <a:pt x="618" y="451"/>
                  <a:pt x="618" y="451"/>
                  <a:pt x="618" y="451"/>
                </a:cubicBezTo>
                <a:cubicBezTo>
                  <a:pt x="616" y="451"/>
                  <a:pt x="616" y="451"/>
                  <a:pt x="616" y="451"/>
                </a:cubicBezTo>
                <a:cubicBezTo>
                  <a:pt x="616" y="450"/>
                  <a:pt x="616" y="450"/>
                  <a:pt x="616" y="450"/>
                </a:cubicBezTo>
                <a:cubicBezTo>
                  <a:pt x="617" y="450"/>
                  <a:pt x="617" y="450"/>
                  <a:pt x="617" y="450"/>
                </a:cubicBezTo>
                <a:cubicBezTo>
                  <a:pt x="618" y="449"/>
                  <a:pt x="618" y="449"/>
                  <a:pt x="618" y="449"/>
                </a:cubicBezTo>
                <a:cubicBezTo>
                  <a:pt x="618" y="448"/>
                  <a:pt x="618" y="448"/>
                  <a:pt x="618" y="448"/>
                </a:cubicBezTo>
                <a:cubicBezTo>
                  <a:pt x="618" y="447"/>
                  <a:pt x="618" y="447"/>
                  <a:pt x="618" y="447"/>
                </a:cubicBezTo>
                <a:cubicBezTo>
                  <a:pt x="617" y="446"/>
                  <a:pt x="617" y="446"/>
                  <a:pt x="617" y="446"/>
                </a:cubicBezTo>
                <a:cubicBezTo>
                  <a:pt x="617" y="445"/>
                  <a:pt x="617" y="445"/>
                  <a:pt x="617" y="445"/>
                </a:cubicBezTo>
                <a:cubicBezTo>
                  <a:pt x="618" y="445"/>
                  <a:pt x="618" y="445"/>
                  <a:pt x="618" y="445"/>
                </a:cubicBezTo>
                <a:cubicBezTo>
                  <a:pt x="618" y="444"/>
                  <a:pt x="618" y="444"/>
                  <a:pt x="618" y="444"/>
                </a:cubicBezTo>
                <a:cubicBezTo>
                  <a:pt x="617" y="444"/>
                  <a:pt x="617" y="444"/>
                  <a:pt x="617" y="444"/>
                </a:cubicBezTo>
                <a:cubicBezTo>
                  <a:pt x="617" y="443"/>
                  <a:pt x="617" y="443"/>
                  <a:pt x="617" y="443"/>
                </a:cubicBezTo>
                <a:cubicBezTo>
                  <a:pt x="617" y="441"/>
                  <a:pt x="617" y="441"/>
                  <a:pt x="617" y="441"/>
                </a:cubicBezTo>
                <a:cubicBezTo>
                  <a:pt x="617" y="440"/>
                  <a:pt x="617" y="440"/>
                  <a:pt x="617" y="440"/>
                </a:cubicBezTo>
                <a:cubicBezTo>
                  <a:pt x="618" y="436"/>
                  <a:pt x="618" y="436"/>
                  <a:pt x="618" y="436"/>
                </a:cubicBezTo>
                <a:cubicBezTo>
                  <a:pt x="617" y="434"/>
                  <a:pt x="617" y="434"/>
                  <a:pt x="617" y="434"/>
                </a:cubicBezTo>
                <a:cubicBezTo>
                  <a:pt x="617" y="433"/>
                  <a:pt x="617" y="433"/>
                  <a:pt x="617" y="433"/>
                </a:cubicBezTo>
                <a:cubicBezTo>
                  <a:pt x="618" y="431"/>
                  <a:pt x="618" y="431"/>
                  <a:pt x="618" y="431"/>
                </a:cubicBezTo>
                <a:cubicBezTo>
                  <a:pt x="618" y="429"/>
                  <a:pt x="618" y="429"/>
                  <a:pt x="618" y="429"/>
                </a:cubicBezTo>
                <a:cubicBezTo>
                  <a:pt x="619" y="429"/>
                  <a:pt x="619" y="429"/>
                  <a:pt x="619" y="429"/>
                </a:cubicBezTo>
                <a:cubicBezTo>
                  <a:pt x="621" y="432"/>
                  <a:pt x="621" y="432"/>
                  <a:pt x="621" y="432"/>
                </a:cubicBezTo>
                <a:cubicBezTo>
                  <a:pt x="623" y="433"/>
                  <a:pt x="623" y="433"/>
                  <a:pt x="623" y="433"/>
                </a:cubicBezTo>
                <a:cubicBezTo>
                  <a:pt x="626" y="433"/>
                  <a:pt x="626" y="433"/>
                  <a:pt x="626" y="433"/>
                </a:cubicBezTo>
                <a:cubicBezTo>
                  <a:pt x="627" y="433"/>
                  <a:pt x="627" y="433"/>
                  <a:pt x="627" y="433"/>
                </a:cubicBezTo>
                <a:cubicBezTo>
                  <a:pt x="627" y="434"/>
                  <a:pt x="627" y="434"/>
                  <a:pt x="627" y="434"/>
                </a:cubicBezTo>
                <a:cubicBezTo>
                  <a:pt x="628" y="434"/>
                  <a:pt x="628" y="434"/>
                  <a:pt x="628" y="434"/>
                </a:cubicBezTo>
                <a:cubicBezTo>
                  <a:pt x="629" y="434"/>
                  <a:pt x="629" y="434"/>
                  <a:pt x="629" y="434"/>
                </a:cubicBezTo>
                <a:cubicBezTo>
                  <a:pt x="629" y="435"/>
                  <a:pt x="629" y="435"/>
                  <a:pt x="629" y="435"/>
                </a:cubicBezTo>
                <a:cubicBezTo>
                  <a:pt x="629" y="436"/>
                  <a:pt x="629" y="436"/>
                  <a:pt x="629" y="436"/>
                </a:cubicBezTo>
                <a:cubicBezTo>
                  <a:pt x="627" y="436"/>
                  <a:pt x="627" y="436"/>
                  <a:pt x="627" y="436"/>
                </a:cubicBezTo>
                <a:cubicBezTo>
                  <a:pt x="626" y="437"/>
                  <a:pt x="626" y="437"/>
                  <a:pt x="626" y="437"/>
                </a:cubicBezTo>
                <a:cubicBezTo>
                  <a:pt x="626" y="438"/>
                  <a:pt x="626" y="438"/>
                  <a:pt x="626" y="438"/>
                </a:cubicBezTo>
                <a:cubicBezTo>
                  <a:pt x="627" y="438"/>
                  <a:pt x="627" y="438"/>
                  <a:pt x="627" y="438"/>
                </a:cubicBezTo>
                <a:cubicBezTo>
                  <a:pt x="628" y="437"/>
                  <a:pt x="628" y="437"/>
                  <a:pt x="628" y="437"/>
                </a:cubicBezTo>
                <a:cubicBezTo>
                  <a:pt x="629" y="436"/>
                  <a:pt x="629" y="436"/>
                  <a:pt x="629" y="436"/>
                </a:cubicBezTo>
                <a:cubicBezTo>
                  <a:pt x="630" y="437"/>
                  <a:pt x="630" y="437"/>
                  <a:pt x="630" y="437"/>
                </a:cubicBezTo>
                <a:cubicBezTo>
                  <a:pt x="629" y="438"/>
                  <a:pt x="629" y="438"/>
                  <a:pt x="629" y="438"/>
                </a:cubicBezTo>
                <a:cubicBezTo>
                  <a:pt x="628" y="439"/>
                  <a:pt x="628" y="439"/>
                  <a:pt x="628" y="439"/>
                </a:cubicBezTo>
                <a:cubicBezTo>
                  <a:pt x="628" y="441"/>
                  <a:pt x="628" y="441"/>
                  <a:pt x="628" y="441"/>
                </a:cubicBezTo>
                <a:cubicBezTo>
                  <a:pt x="627" y="441"/>
                  <a:pt x="627" y="441"/>
                  <a:pt x="627" y="441"/>
                </a:cubicBezTo>
                <a:cubicBezTo>
                  <a:pt x="627" y="440"/>
                  <a:pt x="627" y="440"/>
                  <a:pt x="627" y="440"/>
                </a:cubicBezTo>
                <a:cubicBezTo>
                  <a:pt x="626" y="441"/>
                  <a:pt x="626" y="441"/>
                  <a:pt x="626" y="441"/>
                </a:cubicBezTo>
                <a:cubicBezTo>
                  <a:pt x="625" y="442"/>
                  <a:pt x="625" y="442"/>
                  <a:pt x="625" y="442"/>
                </a:cubicBezTo>
                <a:cubicBezTo>
                  <a:pt x="626" y="442"/>
                  <a:pt x="626" y="442"/>
                  <a:pt x="626" y="442"/>
                </a:cubicBezTo>
                <a:cubicBezTo>
                  <a:pt x="627" y="443"/>
                  <a:pt x="627" y="443"/>
                  <a:pt x="627" y="443"/>
                </a:cubicBezTo>
                <a:cubicBezTo>
                  <a:pt x="628" y="442"/>
                  <a:pt x="628" y="442"/>
                  <a:pt x="628" y="442"/>
                </a:cubicBezTo>
                <a:cubicBezTo>
                  <a:pt x="628" y="441"/>
                  <a:pt x="628" y="441"/>
                  <a:pt x="628" y="441"/>
                </a:cubicBezTo>
                <a:cubicBezTo>
                  <a:pt x="629" y="440"/>
                  <a:pt x="629" y="440"/>
                  <a:pt x="629" y="440"/>
                </a:cubicBezTo>
                <a:cubicBezTo>
                  <a:pt x="629" y="439"/>
                  <a:pt x="629" y="439"/>
                  <a:pt x="629" y="439"/>
                </a:cubicBezTo>
                <a:cubicBezTo>
                  <a:pt x="630" y="438"/>
                  <a:pt x="630" y="438"/>
                  <a:pt x="630" y="438"/>
                </a:cubicBezTo>
                <a:cubicBezTo>
                  <a:pt x="630" y="437"/>
                  <a:pt x="630" y="437"/>
                  <a:pt x="630" y="437"/>
                </a:cubicBezTo>
                <a:cubicBezTo>
                  <a:pt x="631" y="436"/>
                  <a:pt x="631" y="436"/>
                  <a:pt x="631" y="436"/>
                </a:cubicBezTo>
                <a:cubicBezTo>
                  <a:pt x="632" y="435"/>
                  <a:pt x="632" y="435"/>
                  <a:pt x="632" y="435"/>
                </a:cubicBezTo>
                <a:cubicBezTo>
                  <a:pt x="632" y="434"/>
                  <a:pt x="632" y="434"/>
                  <a:pt x="632" y="434"/>
                </a:cubicBezTo>
                <a:cubicBezTo>
                  <a:pt x="632" y="433"/>
                  <a:pt x="632" y="433"/>
                  <a:pt x="632" y="433"/>
                </a:cubicBezTo>
                <a:cubicBezTo>
                  <a:pt x="631" y="433"/>
                  <a:pt x="631" y="433"/>
                  <a:pt x="631" y="433"/>
                </a:cubicBezTo>
                <a:cubicBezTo>
                  <a:pt x="632" y="432"/>
                  <a:pt x="632" y="432"/>
                  <a:pt x="632" y="432"/>
                </a:cubicBezTo>
                <a:cubicBezTo>
                  <a:pt x="632" y="431"/>
                  <a:pt x="632" y="431"/>
                  <a:pt x="632" y="431"/>
                </a:cubicBezTo>
                <a:cubicBezTo>
                  <a:pt x="631" y="429"/>
                  <a:pt x="631" y="429"/>
                  <a:pt x="631" y="429"/>
                </a:cubicBezTo>
                <a:cubicBezTo>
                  <a:pt x="632" y="429"/>
                  <a:pt x="632" y="429"/>
                  <a:pt x="632" y="429"/>
                </a:cubicBezTo>
                <a:cubicBezTo>
                  <a:pt x="633" y="428"/>
                  <a:pt x="633" y="428"/>
                  <a:pt x="633" y="428"/>
                </a:cubicBezTo>
                <a:cubicBezTo>
                  <a:pt x="631" y="427"/>
                  <a:pt x="631" y="427"/>
                  <a:pt x="631" y="427"/>
                </a:cubicBezTo>
                <a:cubicBezTo>
                  <a:pt x="631" y="425"/>
                  <a:pt x="631" y="425"/>
                  <a:pt x="631" y="425"/>
                </a:cubicBezTo>
                <a:cubicBezTo>
                  <a:pt x="630" y="424"/>
                  <a:pt x="630" y="424"/>
                  <a:pt x="630" y="424"/>
                </a:cubicBezTo>
                <a:cubicBezTo>
                  <a:pt x="629" y="422"/>
                  <a:pt x="629" y="422"/>
                  <a:pt x="629" y="422"/>
                </a:cubicBezTo>
                <a:cubicBezTo>
                  <a:pt x="631" y="420"/>
                  <a:pt x="631" y="420"/>
                  <a:pt x="631" y="420"/>
                </a:cubicBezTo>
                <a:cubicBezTo>
                  <a:pt x="631" y="418"/>
                  <a:pt x="631" y="418"/>
                  <a:pt x="631" y="418"/>
                </a:cubicBezTo>
                <a:cubicBezTo>
                  <a:pt x="630" y="419"/>
                  <a:pt x="630" y="419"/>
                  <a:pt x="630" y="419"/>
                </a:cubicBezTo>
                <a:cubicBezTo>
                  <a:pt x="629" y="419"/>
                  <a:pt x="629" y="419"/>
                  <a:pt x="629" y="419"/>
                </a:cubicBezTo>
                <a:cubicBezTo>
                  <a:pt x="627" y="420"/>
                  <a:pt x="627" y="420"/>
                  <a:pt x="627" y="420"/>
                </a:cubicBezTo>
                <a:cubicBezTo>
                  <a:pt x="626" y="419"/>
                  <a:pt x="626" y="419"/>
                  <a:pt x="626" y="419"/>
                </a:cubicBezTo>
                <a:cubicBezTo>
                  <a:pt x="626" y="417"/>
                  <a:pt x="626" y="417"/>
                  <a:pt x="626" y="417"/>
                </a:cubicBezTo>
                <a:cubicBezTo>
                  <a:pt x="627" y="417"/>
                  <a:pt x="627" y="417"/>
                  <a:pt x="627" y="417"/>
                </a:cubicBezTo>
                <a:cubicBezTo>
                  <a:pt x="627" y="418"/>
                  <a:pt x="627" y="418"/>
                  <a:pt x="627" y="418"/>
                </a:cubicBezTo>
                <a:cubicBezTo>
                  <a:pt x="628" y="419"/>
                  <a:pt x="628" y="419"/>
                  <a:pt x="628" y="419"/>
                </a:cubicBezTo>
                <a:cubicBezTo>
                  <a:pt x="628" y="418"/>
                  <a:pt x="628" y="418"/>
                  <a:pt x="628" y="418"/>
                </a:cubicBezTo>
                <a:cubicBezTo>
                  <a:pt x="627" y="417"/>
                  <a:pt x="627" y="417"/>
                  <a:pt x="627" y="417"/>
                </a:cubicBezTo>
                <a:cubicBezTo>
                  <a:pt x="627" y="416"/>
                  <a:pt x="627" y="416"/>
                  <a:pt x="627" y="416"/>
                </a:cubicBezTo>
                <a:cubicBezTo>
                  <a:pt x="626" y="416"/>
                  <a:pt x="626" y="416"/>
                  <a:pt x="626" y="416"/>
                </a:cubicBezTo>
                <a:cubicBezTo>
                  <a:pt x="625" y="416"/>
                  <a:pt x="625" y="416"/>
                  <a:pt x="625" y="416"/>
                </a:cubicBezTo>
                <a:cubicBezTo>
                  <a:pt x="624" y="416"/>
                  <a:pt x="624" y="416"/>
                  <a:pt x="624" y="416"/>
                </a:cubicBezTo>
                <a:cubicBezTo>
                  <a:pt x="623" y="414"/>
                  <a:pt x="623" y="414"/>
                  <a:pt x="623" y="414"/>
                </a:cubicBezTo>
                <a:cubicBezTo>
                  <a:pt x="623" y="413"/>
                  <a:pt x="623" y="413"/>
                  <a:pt x="623" y="413"/>
                </a:cubicBezTo>
                <a:cubicBezTo>
                  <a:pt x="625" y="412"/>
                  <a:pt x="625" y="412"/>
                  <a:pt x="625" y="412"/>
                </a:cubicBezTo>
                <a:cubicBezTo>
                  <a:pt x="625" y="411"/>
                  <a:pt x="625" y="411"/>
                  <a:pt x="625" y="411"/>
                </a:cubicBezTo>
                <a:cubicBezTo>
                  <a:pt x="626" y="410"/>
                  <a:pt x="626" y="410"/>
                  <a:pt x="626" y="410"/>
                </a:cubicBezTo>
                <a:cubicBezTo>
                  <a:pt x="625" y="410"/>
                  <a:pt x="625" y="410"/>
                  <a:pt x="625" y="410"/>
                </a:cubicBezTo>
                <a:cubicBezTo>
                  <a:pt x="623" y="410"/>
                  <a:pt x="623" y="410"/>
                  <a:pt x="623" y="410"/>
                </a:cubicBezTo>
                <a:cubicBezTo>
                  <a:pt x="624" y="409"/>
                  <a:pt x="624" y="409"/>
                  <a:pt x="624" y="409"/>
                </a:cubicBezTo>
                <a:cubicBezTo>
                  <a:pt x="625" y="407"/>
                  <a:pt x="625" y="407"/>
                  <a:pt x="625" y="407"/>
                </a:cubicBezTo>
                <a:cubicBezTo>
                  <a:pt x="625" y="405"/>
                  <a:pt x="625" y="405"/>
                  <a:pt x="625" y="405"/>
                </a:cubicBezTo>
                <a:cubicBezTo>
                  <a:pt x="625" y="404"/>
                  <a:pt x="625" y="404"/>
                  <a:pt x="625" y="404"/>
                </a:cubicBezTo>
                <a:cubicBezTo>
                  <a:pt x="624" y="405"/>
                  <a:pt x="624" y="405"/>
                  <a:pt x="624" y="405"/>
                </a:cubicBezTo>
                <a:cubicBezTo>
                  <a:pt x="624" y="407"/>
                  <a:pt x="624" y="407"/>
                  <a:pt x="624" y="407"/>
                </a:cubicBezTo>
                <a:cubicBezTo>
                  <a:pt x="623" y="409"/>
                  <a:pt x="623" y="409"/>
                  <a:pt x="623" y="409"/>
                </a:cubicBezTo>
                <a:cubicBezTo>
                  <a:pt x="622" y="409"/>
                  <a:pt x="622" y="409"/>
                  <a:pt x="622" y="409"/>
                </a:cubicBezTo>
                <a:cubicBezTo>
                  <a:pt x="621" y="409"/>
                  <a:pt x="621" y="409"/>
                  <a:pt x="621" y="409"/>
                </a:cubicBezTo>
                <a:cubicBezTo>
                  <a:pt x="620" y="409"/>
                  <a:pt x="620" y="409"/>
                  <a:pt x="620" y="409"/>
                </a:cubicBezTo>
                <a:cubicBezTo>
                  <a:pt x="620" y="408"/>
                  <a:pt x="620" y="408"/>
                  <a:pt x="620" y="408"/>
                </a:cubicBezTo>
                <a:cubicBezTo>
                  <a:pt x="621" y="407"/>
                  <a:pt x="621" y="407"/>
                  <a:pt x="621" y="407"/>
                </a:cubicBezTo>
                <a:cubicBezTo>
                  <a:pt x="620" y="407"/>
                  <a:pt x="620" y="407"/>
                  <a:pt x="620" y="407"/>
                </a:cubicBezTo>
                <a:cubicBezTo>
                  <a:pt x="619" y="408"/>
                  <a:pt x="619" y="408"/>
                  <a:pt x="619" y="408"/>
                </a:cubicBezTo>
                <a:cubicBezTo>
                  <a:pt x="618" y="408"/>
                  <a:pt x="618" y="408"/>
                  <a:pt x="618" y="408"/>
                </a:cubicBezTo>
                <a:cubicBezTo>
                  <a:pt x="617" y="408"/>
                  <a:pt x="617" y="408"/>
                  <a:pt x="617" y="408"/>
                </a:cubicBezTo>
                <a:cubicBezTo>
                  <a:pt x="616" y="408"/>
                  <a:pt x="616" y="408"/>
                  <a:pt x="616" y="408"/>
                </a:cubicBezTo>
                <a:cubicBezTo>
                  <a:pt x="616" y="408"/>
                  <a:pt x="616" y="408"/>
                  <a:pt x="614" y="407"/>
                </a:cubicBezTo>
                <a:cubicBezTo>
                  <a:pt x="614" y="407"/>
                  <a:pt x="614" y="407"/>
                  <a:pt x="616" y="407"/>
                </a:cubicBezTo>
                <a:cubicBezTo>
                  <a:pt x="617" y="406"/>
                  <a:pt x="617" y="406"/>
                  <a:pt x="617" y="406"/>
                </a:cubicBezTo>
                <a:cubicBezTo>
                  <a:pt x="618" y="406"/>
                  <a:pt x="618" y="406"/>
                  <a:pt x="618" y="406"/>
                </a:cubicBezTo>
                <a:cubicBezTo>
                  <a:pt x="619" y="406"/>
                  <a:pt x="619" y="406"/>
                  <a:pt x="619" y="406"/>
                </a:cubicBezTo>
                <a:cubicBezTo>
                  <a:pt x="620" y="406"/>
                  <a:pt x="620" y="406"/>
                  <a:pt x="620" y="406"/>
                </a:cubicBezTo>
                <a:cubicBezTo>
                  <a:pt x="621" y="405"/>
                  <a:pt x="621" y="405"/>
                  <a:pt x="621" y="405"/>
                </a:cubicBezTo>
                <a:cubicBezTo>
                  <a:pt x="622" y="404"/>
                  <a:pt x="622" y="404"/>
                  <a:pt x="622" y="404"/>
                </a:cubicBezTo>
                <a:cubicBezTo>
                  <a:pt x="622" y="403"/>
                  <a:pt x="622" y="403"/>
                  <a:pt x="622" y="403"/>
                </a:cubicBezTo>
                <a:cubicBezTo>
                  <a:pt x="621" y="404"/>
                  <a:pt x="621" y="404"/>
                  <a:pt x="621" y="404"/>
                </a:cubicBezTo>
                <a:cubicBezTo>
                  <a:pt x="620" y="405"/>
                  <a:pt x="620" y="405"/>
                  <a:pt x="620" y="405"/>
                </a:cubicBezTo>
                <a:cubicBezTo>
                  <a:pt x="619" y="406"/>
                  <a:pt x="619" y="406"/>
                  <a:pt x="619" y="406"/>
                </a:cubicBezTo>
                <a:cubicBezTo>
                  <a:pt x="617" y="405"/>
                  <a:pt x="617" y="405"/>
                  <a:pt x="617" y="405"/>
                </a:cubicBezTo>
                <a:cubicBezTo>
                  <a:pt x="617" y="404"/>
                  <a:pt x="617" y="404"/>
                  <a:pt x="617" y="404"/>
                </a:cubicBezTo>
                <a:cubicBezTo>
                  <a:pt x="616" y="404"/>
                  <a:pt x="616" y="404"/>
                  <a:pt x="616" y="404"/>
                </a:cubicBezTo>
                <a:cubicBezTo>
                  <a:pt x="617" y="403"/>
                  <a:pt x="617" y="403"/>
                  <a:pt x="617" y="403"/>
                </a:cubicBezTo>
                <a:cubicBezTo>
                  <a:pt x="616" y="403"/>
                  <a:pt x="616" y="403"/>
                  <a:pt x="616" y="403"/>
                </a:cubicBezTo>
                <a:cubicBezTo>
                  <a:pt x="615" y="403"/>
                  <a:pt x="615" y="403"/>
                  <a:pt x="615" y="403"/>
                </a:cubicBezTo>
                <a:cubicBezTo>
                  <a:pt x="614" y="403"/>
                  <a:pt x="614" y="403"/>
                  <a:pt x="614" y="403"/>
                </a:cubicBezTo>
                <a:cubicBezTo>
                  <a:pt x="613" y="403"/>
                  <a:pt x="613" y="403"/>
                  <a:pt x="613" y="403"/>
                </a:cubicBezTo>
                <a:cubicBezTo>
                  <a:pt x="613" y="404"/>
                  <a:pt x="613" y="404"/>
                  <a:pt x="613" y="404"/>
                </a:cubicBezTo>
                <a:cubicBezTo>
                  <a:pt x="611" y="403"/>
                  <a:pt x="611" y="403"/>
                  <a:pt x="611" y="403"/>
                </a:cubicBezTo>
                <a:cubicBezTo>
                  <a:pt x="611" y="402"/>
                  <a:pt x="611" y="402"/>
                  <a:pt x="611" y="402"/>
                </a:cubicBezTo>
                <a:cubicBezTo>
                  <a:pt x="611" y="401"/>
                  <a:pt x="611" y="401"/>
                  <a:pt x="611" y="401"/>
                </a:cubicBezTo>
                <a:cubicBezTo>
                  <a:pt x="612" y="402"/>
                  <a:pt x="612" y="402"/>
                  <a:pt x="612" y="402"/>
                </a:cubicBezTo>
                <a:cubicBezTo>
                  <a:pt x="613" y="402"/>
                  <a:pt x="613" y="402"/>
                  <a:pt x="613" y="402"/>
                </a:cubicBezTo>
                <a:cubicBezTo>
                  <a:pt x="615" y="402"/>
                  <a:pt x="615" y="402"/>
                  <a:pt x="615" y="402"/>
                </a:cubicBezTo>
                <a:cubicBezTo>
                  <a:pt x="615" y="401"/>
                  <a:pt x="615" y="401"/>
                  <a:pt x="615" y="401"/>
                </a:cubicBezTo>
                <a:cubicBezTo>
                  <a:pt x="615" y="400"/>
                  <a:pt x="615" y="400"/>
                  <a:pt x="615" y="400"/>
                </a:cubicBezTo>
                <a:cubicBezTo>
                  <a:pt x="613" y="400"/>
                  <a:pt x="613" y="400"/>
                  <a:pt x="613" y="400"/>
                </a:cubicBezTo>
                <a:cubicBezTo>
                  <a:pt x="611" y="400"/>
                  <a:pt x="611" y="400"/>
                  <a:pt x="611" y="400"/>
                </a:cubicBezTo>
                <a:cubicBezTo>
                  <a:pt x="610" y="400"/>
                  <a:pt x="610" y="400"/>
                  <a:pt x="610" y="400"/>
                </a:cubicBezTo>
                <a:cubicBezTo>
                  <a:pt x="610" y="399"/>
                  <a:pt x="610" y="399"/>
                  <a:pt x="610" y="399"/>
                </a:cubicBezTo>
                <a:cubicBezTo>
                  <a:pt x="610" y="398"/>
                  <a:pt x="610" y="398"/>
                  <a:pt x="610" y="398"/>
                </a:cubicBezTo>
                <a:cubicBezTo>
                  <a:pt x="611" y="398"/>
                  <a:pt x="611" y="398"/>
                  <a:pt x="611" y="398"/>
                </a:cubicBezTo>
                <a:cubicBezTo>
                  <a:pt x="612" y="399"/>
                  <a:pt x="612" y="399"/>
                  <a:pt x="612" y="399"/>
                </a:cubicBezTo>
                <a:cubicBezTo>
                  <a:pt x="613" y="399"/>
                  <a:pt x="613" y="399"/>
                  <a:pt x="613" y="399"/>
                </a:cubicBezTo>
                <a:cubicBezTo>
                  <a:pt x="614" y="398"/>
                  <a:pt x="614" y="398"/>
                  <a:pt x="614" y="398"/>
                </a:cubicBezTo>
                <a:cubicBezTo>
                  <a:pt x="613" y="398"/>
                  <a:pt x="613" y="398"/>
                  <a:pt x="613" y="398"/>
                </a:cubicBezTo>
                <a:cubicBezTo>
                  <a:pt x="612" y="398"/>
                  <a:pt x="612" y="398"/>
                  <a:pt x="612" y="398"/>
                </a:cubicBezTo>
                <a:cubicBezTo>
                  <a:pt x="610" y="397"/>
                  <a:pt x="610" y="397"/>
                  <a:pt x="610" y="397"/>
                </a:cubicBezTo>
                <a:cubicBezTo>
                  <a:pt x="612" y="397"/>
                  <a:pt x="612" y="397"/>
                  <a:pt x="612" y="397"/>
                </a:cubicBezTo>
                <a:cubicBezTo>
                  <a:pt x="613" y="397"/>
                  <a:pt x="613" y="397"/>
                  <a:pt x="613" y="397"/>
                </a:cubicBezTo>
                <a:cubicBezTo>
                  <a:pt x="614" y="397"/>
                  <a:pt x="614" y="397"/>
                  <a:pt x="614" y="397"/>
                </a:cubicBezTo>
                <a:cubicBezTo>
                  <a:pt x="613" y="396"/>
                  <a:pt x="613" y="396"/>
                  <a:pt x="613" y="396"/>
                </a:cubicBezTo>
                <a:cubicBezTo>
                  <a:pt x="613" y="395"/>
                  <a:pt x="613" y="395"/>
                  <a:pt x="613" y="395"/>
                </a:cubicBezTo>
                <a:cubicBezTo>
                  <a:pt x="614" y="395"/>
                  <a:pt x="614" y="395"/>
                  <a:pt x="614" y="395"/>
                </a:cubicBezTo>
                <a:cubicBezTo>
                  <a:pt x="616" y="395"/>
                  <a:pt x="616" y="395"/>
                  <a:pt x="616" y="395"/>
                </a:cubicBezTo>
                <a:cubicBezTo>
                  <a:pt x="617" y="395"/>
                  <a:pt x="617" y="395"/>
                  <a:pt x="617" y="395"/>
                </a:cubicBezTo>
                <a:cubicBezTo>
                  <a:pt x="615" y="394"/>
                  <a:pt x="615" y="394"/>
                  <a:pt x="615" y="394"/>
                </a:cubicBezTo>
                <a:cubicBezTo>
                  <a:pt x="614" y="394"/>
                  <a:pt x="614" y="394"/>
                  <a:pt x="614" y="394"/>
                </a:cubicBezTo>
                <a:cubicBezTo>
                  <a:pt x="613" y="395"/>
                  <a:pt x="613" y="395"/>
                  <a:pt x="613" y="395"/>
                </a:cubicBezTo>
                <a:cubicBezTo>
                  <a:pt x="612" y="395"/>
                  <a:pt x="612" y="395"/>
                  <a:pt x="612" y="395"/>
                </a:cubicBezTo>
                <a:cubicBezTo>
                  <a:pt x="611" y="396"/>
                  <a:pt x="611" y="396"/>
                  <a:pt x="611" y="396"/>
                </a:cubicBezTo>
                <a:cubicBezTo>
                  <a:pt x="611" y="395"/>
                  <a:pt x="611" y="395"/>
                  <a:pt x="611" y="395"/>
                </a:cubicBezTo>
                <a:cubicBezTo>
                  <a:pt x="611" y="394"/>
                  <a:pt x="611" y="394"/>
                  <a:pt x="611" y="394"/>
                </a:cubicBezTo>
                <a:cubicBezTo>
                  <a:pt x="611" y="393"/>
                  <a:pt x="611" y="393"/>
                  <a:pt x="611" y="393"/>
                </a:cubicBezTo>
                <a:cubicBezTo>
                  <a:pt x="613" y="392"/>
                  <a:pt x="613" y="392"/>
                  <a:pt x="613" y="392"/>
                </a:cubicBezTo>
                <a:cubicBezTo>
                  <a:pt x="614" y="391"/>
                  <a:pt x="614" y="391"/>
                  <a:pt x="614" y="391"/>
                </a:cubicBezTo>
                <a:cubicBezTo>
                  <a:pt x="617" y="389"/>
                  <a:pt x="617" y="389"/>
                  <a:pt x="617" y="389"/>
                </a:cubicBezTo>
                <a:cubicBezTo>
                  <a:pt x="617" y="388"/>
                  <a:pt x="617" y="388"/>
                  <a:pt x="617" y="388"/>
                </a:cubicBezTo>
                <a:cubicBezTo>
                  <a:pt x="618" y="389"/>
                  <a:pt x="618" y="389"/>
                  <a:pt x="618" y="389"/>
                </a:cubicBezTo>
                <a:cubicBezTo>
                  <a:pt x="618" y="391"/>
                  <a:pt x="618" y="391"/>
                  <a:pt x="618" y="391"/>
                </a:cubicBezTo>
                <a:cubicBezTo>
                  <a:pt x="619" y="392"/>
                  <a:pt x="619" y="392"/>
                  <a:pt x="619" y="392"/>
                </a:cubicBezTo>
                <a:cubicBezTo>
                  <a:pt x="619" y="391"/>
                  <a:pt x="619" y="391"/>
                  <a:pt x="619" y="391"/>
                </a:cubicBezTo>
                <a:cubicBezTo>
                  <a:pt x="619" y="390"/>
                  <a:pt x="619" y="390"/>
                  <a:pt x="619" y="390"/>
                </a:cubicBezTo>
                <a:cubicBezTo>
                  <a:pt x="619" y="388"/>
                  <a:pt x="619" y="388"/>
                  <a:pt x="619" y="388"/>
                </a:cubicBezTo>
                <a:cubicBezTo>
                  <a:pt x="620" y="388"/>
                  <a:pt x="620" y="388"/>
                  <a:pt x="620" y="388"/>
                </a:cubicBezTo>
                <a:cubicBezTo>
                  <a:pt x="621" y="388"/>
                  <a:pt x="621" y="388"/>
                  <a:pt x="621" y="388"/>
                </a:cubicBezTo>
                <a:cubicBezTo>
                  <a:pt x="620" y="387"/>
                  <a:pt x="620" y="387"/>
                  <a:pt x="620" y="387"/>
                </a:cubicBezTo>
                <a:cubicBezTo>
                  <a:pt x="619" y="387"/>
                  <a:pt x="619" y="387"/>
                  <a:pt x="619" y="387"/>
                </a:cubicBezTo>
                <a:cubicBezTo>
                  <a:pt x="618" y="388"/>
                  <a:pt x="618" y="388"/>
                  <a:pt x="618" y="388"/>
                </a:cubicBezTo>
                <a:cubicBezTo>
                  <a:pt x="617" y="387"/>
                  <a:pt x="617" y="387"/>
                  <a:pt x="617" y="387"/>
                </a:cubicBezTo>
                <a:cubicBezTo>
                  <a:pt x="617" y="386"/>
                  <a:pt x="617" y="386"/>
                  <a:pt x="617" y="386"/>
                </a:cubicBezTo>
                <a:cubicBezTo>
                  <a:pt x="619" y="385"/>
                  <a:pt x="619" y="385"/>
                  <a:pt x="619" y="385"/>
                </a:cubicBezTo>
                <a:cubicBezTo>
                  <a:pt x="620" y="385"/>
                  <a:pt x="620" y="385"/>
                  <a:pt x="620" y="385"/>
                </a:cubicBezTo>
                <a:cubicBezTo>
                  <a:pt x="621" y="383"/>
                  <a:pt x="621" y="383"/>
                  <a:pt x="621" y="383"/>
                </a:cubicBezTo>
                <a:cubicBezTo>
                  <a:pt x="621" y="382"/>
                  <a:pt x="621" y="382"/>
                  <a:pt x="621" y="382"/>
                </a:cubicBezTo>
                <a:cubicBezTo>
                  <a:pt x="620" y="382"/>
                  <a:pt x="620" y="382"/>
                  <a:pt x="620" y="382"/>
                </a:cubicBezTo>
                <a:cubicBezTo>
                  <a:pt x="620" y="383"/>
                  <a:pt x="620" y="383"/>
                  <a:pt x="620" y="383"/>
                </a:cubicBezTo>
                <a:cubicBezTo>
                  <a:pt x="619" y="384"/>
                  <a:pt x="619" y="384"/>
                  <a:pt x="619" y="384"/>
                </a:cubicBezTo>
                <a:cubicBezTo>
                  <a:pt x="618" y="384"/>
                  <a:pt x="618" y="384"/>
                  <a:pt x="618" y="384"/>
                </a:cubicBezTo>
                <a:cubicBezTo>
                  <a:pt x="616" y="386"/>
                  <a:pt x="616" y="386"/>
                  <a:pt x="616" y="386"/>
                </a:cubicBezTo>
                <a:cubicBezTo>
                  <a:pt x="615" y="387"/>
                  <a:pt x="615" y="387"/>
                  <a:pt x="615" y="387"/>
                </a:cubicBezTo>
                <a:cubicBezTo>
                  <a:pt x="613" y="388"/>
                  <a:pt x="613" y="388"/>
                  <a:pt x="613" y="388"/>
                </a:cubicBezTo>
                <a:cubicBezTo>
                  <a:pt x="612" y="387"/>
                  <a:pt x="612" y="387"/>
                  <a:pt x="612" y="387"/>
                </a:cubicBezTo>
                <a:cubicBezTo>
                  <a:pt x="612" y="386"/>
                  <a:pt x="612" y="386"/>
                  <a:pt x="612" y="386"/>
                </a:cubicBezTo>
                <a:cubicBezTo>
                  <a:pt x="611" y="386"/>
                  <a:pt x="611" y="386"/>
                  <a:pt x="611" y="386"/>
                </a:cubicBezTo>
                <a:cubicBezTo>
                  <a:pt x="610" y="386"/>
                  <a:pt x="610" y="386"/>
                  <a:pt x="610" y="386"/>
                </a:cubicBezTo>
                <a:cubicBezTo>
                  <a:pt x="610" y="385"/>
                  <a:pt x="610" y="385"/>
                  <a:pt x="610" y="385"/>
                </a:cubicBezTo>
                <a:cubicBezTo>
                  <a:pt x="612" y="384"/>
                  <a:pt x="612" y="384"/>
                  <a:pt x="612" y="384"/>
                </a:cubicBezTo>
                <a:cubicBezTo>
                  <a:pt x="613" y="384"/>
                  <a:pt x="613" y="384"/>
                  <a:pt x="613" y="384"/>
                </a:cubicBezTo>
                <a:cubicBezTo>
                  <a:pt x="614" y="384"/>
                  <a:pt x="614" y="384"/>
                  <a:pt x="614" y="384"/>
                </a:cubicBezTo>
                <a:cubicBezTo>
                  <a:pt x="614" y="383"/>
                  <a:pt x="614" y="383"/>
                  <a:pt x="614" y="383"/>
                </a:cubicBezTo>
                <a:cubicBezTo>
                  <a:pt x="614" y="382"/>
                  <a:pt x="614" y="382"/>
                  <a:pt x="614" y="382"/>
                </a:cubicBezTo>
                <a:cubicBezTo>
                  <a:pt x="614" y="381"/>
                  <a:pt x="614" y="381"/>
                  <a:pt x="614" y="381"/>
                </a:cubicBezTo>
                <a:cubicBezTo>
                  <a:pt x="613" y="381"/>
                  <a:pt x="613" y="381"/>
                  <a:pt x="613" y="381"/>
                </a:cubicBezTo>
                <a:cubicBezTo>
                  <a:pt x="612" y="381"/>
                  <a:pt x="612" y="381"/>
                  <a:pt x="612" y="381"/>
                </a:cubicBezTo>
                <a:cubicBezTo>
                  <a:pt x="612" y="380"/>
                  <a:pt x="612" y="380"/>
                  <a:pt x="612" y="380"/>
                </a:cubicBezTo>
                <a:cubicBezTo>
                  <a:pt x="612" y="378"/>
                  <a:pt x="612" y="378"/>
                  <a:pt x="612" y="378"/>
                </a:cubicBezTo>
                <a:cubicBezTo>
                  <a:pt x="611" y="377"/>
                  <a:pt x="611" y="377"/>
                  <a:pt x="611" y="377"/>
                </a:cubicBezTo>
                <a:cubicBezTo>
                  <a:pt x="611" y="376"/>
                  <a:pt x="611" y="376"/>
                  <a:pt x="611" y="376"/>
                </a:cubicBezTo>
                <a:cubicBezTo>
                  <a:pt x="611" y="375"/>
                  <a:pt x="611" y="375"/>
                  <a:pt x="611" y="375"/>
                </a:cubicBezTo>
                <a:cubicBezTo>
                  <a:pt x="613" y="375"/>
                  <a:pt x="613" y="375"/>
                  <a:pt x="613" y="375"/>
                </a:cubicBezTo>
                <a:cubicBezTo>
                  <a:pt x="614" y="376"/>
                  <a:pt x="614" y="376"/>
                  <a:pt x="614" y="376"/>
                </a:cubicBezTo>
                <a:cubicBezTo>
                  <a:pt x="616" y="375"/>
                  <a:pt x="616" y="375"/>
                  <a:pt x="616" y="375"/>
                </a:cubicBezTo>
                <a:cubicBezTo>
                  <a:pt x="617" y="376"/>
                  <a:pt x="617" y="376"/>
                  <a:pt x="617" y="376"/>
                </a:cubicBezTo>
                <a:cubicBezTo>
                  <a:pt x="617" y="375"/>
                  <a:pt x="617" y="375"/>
                  <a:pt x="617" y="375"/>
                </a:cubicBezTo>
                <a:cubicBezTo>
                  <a:pt x="616" y="375"/>
                  <a:pt x="616" y="375"/>
                  <a:pt x="616" y="375"/>
                </a:cubicBezTo>
                <a:cubicBezTo>
                  <a:pt x="615" y="375"/>
                  <a:pt x="615" y="375"/>
                  <a:pt x="615" y="375"/>
                </a:cubicBezTo>
                <a:cubicBezTo>
                  <a:pt x="614" y="374"/>
                  <a:pt x="614" y="374"/>
                  <a:pt x="614" y="374"/>
                </a:cubicBezTo>
                <a:cubicBezTo>
                  <a:pt x="613" y="373"/>
                  <a:pt x="613" y="373"/>
                  <a:pt x="613" y="373"/>
                </a:cubicBezTo>
                <a:cubicBezTo>
                  <a:pt x="613" y="372"/>
                  <a:pt x="613" y="372"/>
                  <a:pt x="613" y="372"/>
                </a:cubicBezTo>
                <a:cubicBezTo>
                  <a:pt x="614" y="371"/>
                  <a:pt x="614" y="371"/>
                  <a:pt x="614" y="371"/>
                </a:cubicBezTo>
                <a:cubicBezTo>
                  <a:pt x="615" y="370"/>
                  <a:pt x="615" y="370"/>
                  <a:pt x="615" y="370"/>
                </a:cubicBezTo>
                <a:cubicBezTo>
                  <a:pt x="615" y="369"/>
                  <a:pt x="615" y="369"/>
                  <a:pt x="615" y="369"/>
                </a:cubicBezTo>
                <a:cubicBezTo>
                  <a:pt x="614" y="369"/>
                  <a:pt x="614" y="369"/>
                  <a:pt x="614" y="369"/>
                </a:cubicBezTo>
                <a:cubicBezTo>
                  <a:pt x="613" y="370"/>
                  <a:pt x="613" y="370"/>
                  <a:pt x="613" y="370"/>
                </a:cubicBezTo>
                <a:cubicBezTo>
                  <a:pt x="612" y="371"/>
                  <a:pt x="612" y="371"/>
                  <a:pt x="612" y="371"/>
                </a:cubicBezTo>
                <a:cubicBezTo>
                  <a:pt x="610" y="372"/>
                  <a:pt x="610" y="372"/>
                  <a:pt x="610" y="372"/>
                </a:cubicBezTo>
                <a:cubicBezTo>
                  <a:pt x="609" y="373"/>
                  <a:pt x="609" y="373"/>
                  <a:pt x="609" y="373"/>
                </a:cubicBezTo>
                <a:cubicBezTo>
                  <a:pt x="609" y="374"/>
                  <a:pt x="609" y="374"/>
                  <a:pt x="609" y="374"/>
                </a:cubicBezTo>
                <a:cubicBezTo>
                  <a:pt x="608" y="374"/>
                  <a:pt x="608" y="374"/>
                  <a:pt x="608" y="374"/>
                </a:cubicBezTo>
                <a:cubicBezTo>
                  <a:pt x="607" y="372"/>
                  <a:pt x="607" y="372"/>
                  <a:pt x="607" y="372"/>
                </a:cubicBezTo>
                <a:cubicBezTo>
                  <a:pt x="607" y="370"/>
                  <a:pt x="607" y="370"/>
                  <a:pt x="607" y="370"/>
                </a:cubicBezTo>
                <a:cubicBezTo>
                  <a:pt x="607" y="367"/>
                  <a:pt x="607" y="367"/>
                  <a:pt x="607" y="367"/>
                </a:cubicBezTo>
                <a:cubicBezTo>
                  <a:pt x="607" y="365"/>
                  <a:pt x="607" y="365"/>
                  <a:pt x="607" y="365"/>
                </a:cubicBezTo>
                <a:cubicBezTo>
                  <a:pt x="607" y="364"/>
                  <a:pt x="607" y="364"/>
                  <a:pt x="607" y="364"/>
                </a:cubicBezTo>
                <a:cubicBezTo>
                  <a:pt x="606" y="364"/>
                  <a:pt x="606" y="364"/>
                  <a:pt x="606" y="364"/>
                </a:cubicBezTo>
                <a:cubicBezTo>
                  <a:pt x="606" y="362"/>
                  <a:pt x="606" y="362"/>
                  <a:pt x="606" y="362"/>
                </a:cubicBezTo>
                <a:cubicBezTo>
                  <a:pt x="607" y="361"/>
                  <a:pt x="607" y="361"/>
                  <a:pt x="607" y="361"/>
                </a:cubicBezTo>
                <a:cubicBezTo>
                  <a:pt x="607" y="362"/>
                  <a:pt x="607" y="362"/>
                  <a:pt x="607" y="362"/>
                </a:cubicBezTo>
                <a:cubicBezTo>
                  <a:pt x="608" y="362"/>
                  <a:pt x="608" y="362"/>
                  <a:pt x="608" y="362"/>
                </a:cubicBezTo>
                <a:cubicBezTo>
                  <a:pt x="608" y="361"/>
                  <a:pt x="608" y="361"/>
                  <a:pt x="608" y="361"/>
                </a:cubicBezTo>
                <a:cubicBezTo>
                  <a:pt x="609" y="360"/>
                  <a:pt x="609" y="360"/>
                  <a:pt x="609" y="360"/>
                </a:cubicBezTo>
                <a:cubicBezTo>
                  <a:pt x="610" y="358"/>
                  <a:pt x="610" y="358"/>
                  <a:pt x="610" y="358"/>
                </a:cubicBezTo>
                <a:cubicBezTo>
                  <a:pt x="611" y="358"/>
                  <a:pt x="611" y="358"/>
                  <a:pt x="611" y="358"/>
                </a:cubicBezTo>
                <a:cubicBezTo>
                  <a:pt x="612" y="358"/>
                  <a:pt x="612" y="358"/>
                  <a:pt x="612" y="358"/>
                </a:cubicBezTo>
                <a:cubicBezTo>
                  <a:pt x="613" y="358"/>
                  <a:pt x="613" y="358"/>
                  <a:pt x="613" y="358"/>
                </a:cubicBezTo>
                <a:cubicBezTo>
                  <a:pt x="612" y="357"/>
                  <a:pt x="612" y="357"/>
                  <a:pt x="612" y="357"/>
                </a:cubicBezTo>
                <a:cubicBezTo>
                  <a:pt x="614" y="355"/>
                  <a:pt x="614" y="355"/>
                  <a:pt x="614" y="355"/>
                </a:cubicBezTo>
                <a:cubicBezTo>
                  <a:pt x="614" y="354"/>
                  <a:pt x="614" y="354"/>
                  <a:pt x="614" y="354"/>
                </a:cubicBezTo>
                <a:cubicBezTo>
                  <a:pt x="616" y="353"/>
                  <a:pt x="616" y="353"/>
                  <a:pt x="616" y="353"/>
                </a:cubicBezTo>
                <a:cubicBezTo>
                  <a:pt x="616" y="352"/>
                  <a:pt x="616" y="352"/>
                  <a:pt x="616" y="352"/>
                </a:cubicBezTo>
                <a:cubicBezTo>
                  <a:pt x="615" y="352"/>
                  <a:pt x="615" y="352"/>
                  <a:pt x="615" y="352"/>
                </a:cubicBezTo>
                <a:cubicBezTo>
                  <a:pt x="613" y="353"/>
                  <a:pt x="613" y="353"/>
                  <a:pt x="613" y="353"/>
                </a:cubicBezTo>
                <a:cubicBezTo>
                  <a:pt x="613" y="354"/>
                  <a:pt x="613" y="354"/>
                  <a:pt x="613" y="354"/>
                </a:cubicBezTo>
                <a:cubicBezTo>
                  <a:pt x="611" y="357"/>
                  <a:pt x="611" y="357"/>
                  <a:pt x="611" y="357"/>
                </a:cubicBezTo>
                <a:cubicBezTo>
                  <a:pt x="611" y="356"/>
                  <a:pt x="611" y="356"/>
                  <a:pt x="611" y="356"/>
                </a:cubicBezTo>
                <a:cubicBezTo>
                  <a:pt x="612" y="354"/>
                  <a:pt x="612" y="354"/>
                  <a:pt x="612" y="354"/>
                </a:cubicBezTo>
                <a:cubicBezTo>
                  <a:pt x="612" y="353"/>
                  <a:pt x="612" y="353"/>
                  <a:pt x="612" y="353"/>
                </a:cubicBezTo>
                <a:cubicBezTo>
                  <a:pt x="612" y="353"/>
                  <a:pt x="612" y="353"/>
                  <a:pt x="611" y="355"/>
                </a:cubicBezTo>
                <a:cubicBezTo>
                  <a:pt x="611" y="355"/>
                  <a:pt x="611" y="355"/>
                  <a:pt x="609" y="357"/>
                </a:cubicBezTo>
                <a:cubicBezTo>
                  <a:pt x="609" y="357"/>
                  <a:pt x="609" y="357"/>
                  <a:pt x="608" y="357"/>
                </a:cubicBezTo>
                <a:cubicBezTo>
                  <a:pt x="608" y="357"/>
                  <a:pt x="608" y="357"/>
                  <a:pt x="607" y="357"/>
                </a:cubicBezTo>
                <a:cubicBezTo>
                  <a:pt x="607" y="357"/>
                  <a:pt x="607" y="357"/>
                  <a:pt x="607" y="358"/>
                </a:cubicBezTo>
                <a:cubicBezTo>
                  <a:pt x="607" y="358"/>
                  <a:pt x="607" y="358"/>
                  <a:pt x="606" y="359"/>
                </a:cubicBezTo>
                <a:cubicBezTo>
                  <a:pt x="606" y="359"/>
                  <a:pt x="606" y="359"/>
                  <a:pt x="605" y="357"/>
                </a:cubicBezTo>
                <a:cubicBezTo>
                  <a:pt x="605" y="357"/>
                  <a:pt x="605" y="357"/>
                  <a:pt x="606" y="356"/>
                </a:cubicBezTo>
                <a:cubicBezTo>
                  <a:pt x="606" y="356"/>
                  <a:pt x="606" y="356"/>
                  <a:pt x="606" y="355"/>
                </a:cubicBezTo>
                <a:cubicBezTo>
                  <a:pt x="606" y="355"/>
                  <a:pt x="606" y="355"/>
                  <a:pt x="607" y="355"/>
                </a:cubicBezTo>
                <a:cubicBezTo>
                  <a:pt x="607" y="355"/>
                  <a:pt x="607" y="355"/>
                  <a:pt x="608" y="355"/>
                </a:cubicBezTo>
                <a:cubicBezTo>
                  <a:pt x="608" y="355"/>
                  <a:pt x="608" y="355"/>
                  <a:pt x="609" y="355"/>
                </a:cubicBezTo>
                <a:cubicBezTo>
                  <a:pt x="609" y="355"/>
                  <a:pt x="609" y="355"/>
                  <a:pt x="609" y="354"/>
                </a:cubicBezTo>
                <a:cubicBezTo>
                  <a:pt x="609" y="354"/>
                  <a:pt x="609" y="354"/>
                  <a:pt x="608" y="354"/>
                </a:cubicBezTo>
                <a:cubicBezTo>
                  <a:pt x="608" y="354"/>
                  <a:pt x="608" y="354"/>
                  <a:pt x="607" y="354"/>
                </a:cubicBezTo>
                <a:cubicBezTo>
                  <a:pt x="607" y="354"/>
                  <a:pt x="607" y="354"/>
                  <a:pt x="606" y="354"/>
                </a:cubicBezTo>
                <a:cubicBezTo>
                  <a:pt x="606" y="354"/>
                  <a:pt x="606" y="354"/>
                  <a:pt x="607" y="353"/>
                </a:cubicBezTo>
                <a:cubicBezTo>
                  <a:pt x="607" y="353"/>
                  <a:pt x="607" y="353"/>
                  <a:pt x="608" y="353"/>
                </a:cubicBezTo>
                <a:cubicBezTo>
                  <a:pt x="608" y="353"/>
                  <a:pt x="608" y="353"/>
                  <a:pt x="609" y="353"/>
                </a:cubicBezTo>
                <a:cubicBezTo>
                  <a:pt x="609" y="353"/>
                  <a:pt x="609" y="353"/>
                  <a:pt x="609" y="352"/>
                </a:cubicBezTo>
                <a:cubicBezTo>
                  <a:pt x="609" y="352"/>
                  <a:pt x="609" y="352"/>
                  <a:pt x="608" y="352"/>
                </a:cubicBezTo>
                <a:cubicBezTo>
                  <a:pt x="608" y="352"/>
                  <a:pt x="608" y="352"/>
                  <a:pt x="609" y="351"/>
                </a:cubicBezTo>
                <a:cubicBezTo>
                  <a:pt x="609" y="351"/>
                  <a:pt x="609" y="351"/>
                  <a:pt x="610" y="349"/>
                </a:cubicBezTo>
                <a:cubicBezTo>
                  <a:pt x="610" y="349"/>
                  <a:pt x="610" y="349"/>
                  <a:pt x="609" y="348"/>
                </a:cubicBezTo>
                <a:cubicBezTo>
                  <a:pt x="609" y="348"/>
                  <a:pt x="609" y="348"/>
                  <a:pt x="609" y="347"/>
                </a:cubicBezTo>
                <a:cubicBezTo>
                  <a:pt x="609" y="347"/>
                  <a:pt x="609" y="347"/>
                  <a:pt x="611" y="346"/>
                </a:cubicBezTo>
                <a:cubicBezTo>
                  <a:pt x="611" y="346"/>
                  <a:pt x="611" y="346"/>
                  <a:pt x="609" y="346"/>
                </a:cubicBezTo>
                <a:cubicBezTo>
                  <a:pt x="609" y="346"/>
                  <a:pt x="609" y="346"/>
                  <a:pt x="609" y="345"/>
                </a:cubicBezTo>
                <a:cubicBezTo>
                  <a:pt x="609" y="345"/>
                  <a:pt x="609" y="345"/>
                  <a:pt x="610" y="344"/>
                </a:cubicBezTo>
                <a:cubicBezTo>
                  <a:pt x="610" y="344"/>
                  <a:pt x="610" y="344"/>
                  <a:pt x="608" y="344"/>
                </a:cubicBezTo>
                <a:cubicBezTo>
                  <a:pt x="608" y="344"/>
                  <a:pt x="608" y="344"/>
                  <a:pt x="607" y="344"/>
                </a:cubicBezTo>
                <a:cubicBezTo>
                  <a:pt x="607" y="344"/>
                  <a:pt x="607" y="344"/>
                  <a:pt x="606" y="345"/>
                </a:cubicBezTo>
                <a:cubicBezTo>
                  <a:pt x="606" y="345"/>
                  <a:pt x="606" y="345"/>
                  <a:pt x="605" y="346"/>
                </a:cubicBezTo>
                <a:cubicBezTo>
                  <a:pt x="605" y="346"/>
                  <a:pt x="605" y="346"/>
                  <a:pt x="604" y="348"/>
                </a:cubicBezTo>
                <a:cubicBezTo>
                  <a:pt x="604" y="348"/>
                  <a:pt x="604" y="348"/>
                  <a:pt x="603" y="349"/>
                </a:cubicBezTo>
                <a:cubicBezTo>
                  <a:pt x="603" y="349"/>
                  <a:pt x="603" y="349"/>
                  <a:pt x="602" y="348"/>
                </a:cubicBezTo>
                <a:cubicBezTo>
                  <a:pt x="602" y="348"/>
                  <a:pt x="602" y="348"/>
                  <a:pt x="602" y="347"/>
                </a:cubicBezTo>
                <a:cubicBezTo>
                  <a:pt x="602" y="347"/>
                  <a:pt x="602" y="347"/>
                  <a:pt x="603" y="346"/>
                </a:cubicBezTo>
                <a:cubicBezTo>
                  <a:pt x="603" y="346"/>
                  <a:pt x="603" y="346"/>
                  <a:pt x="605" y="343"/>
                </a:cubicBezTo>
                <a:cubicBezTo>
                  <a:pt x="604" y="342"/>
                  <a:pt x="604" y="342"/>
                  <a:pt x="604" y="342"/>
                </a:cubicBezTo>
                <a:cubicBezTo>
                  <a:pt x="605" y="341"/>
                  <a:pt x="605" y="341"/>
                  <a:pt x="605" y="341"/>
                </a:cubicBezTo>
                <a:cubicBezTo>
                  <a:pt x="605" y="340"/>
                  <a:pt x="605" y="340"/>
                  <a:pt x="605" y="340"/>
                </a:cubicBezTo>
                <a:cubicBezTo>
                  <a:pt x="606" y="340"/>
                  <a:pt x="606" y="340"/>
                  <a:pt x="606" y="340"/>
                </a:cubicBezTo>
                <a:cubicBezTo>
                  <a:pt x="606" y="342"/>
                  <a:pt x="606" y="342"/>
                  <a:pt x="606" y="342"/>
                </a:cubicBezTo>
                <a:cubicBezTo>
                  <a:pt x="606" y="342"/>
                  <a:pt x="606" y="342"/>
                  <a:pt x="607" y="342"/>
                </a:cubicBezTo>
                <a:cubicBezTo>
                  <a:pt x="607" y="342"/>
                  <a:pt x="607" y="342"/>
                  <a:pt x="608" y="342"/>
                </a:cubicBezTo>
                <a:cubicBezTo>
                  <a:pt x="608" y="342"/>
                  <a:pt x="608" y="342"/>
                  <a:pt x="610" y="341"/>
                </a:cubicBezTo>
                <a:cubicBezTo>
                  <a:pt x="610" y="341"/>
                  <a:pt x="610" y="341"/>
                  <a:pt x="609" y="341"/>
                </a:cubicBezTo>
                <a:cubicBezTo>
                  <a:pt x="609" y="341"/>
                  <a:pt x="609" y="341"/>
                  <a:pt x="608" y="341"/>
                </a:cubicBezTo>
                <a:cubicBezTo>
                  <a:pt x="608" y="341"/>
                  <a:pt x="608" y="341"/>
                  <a:pt x="607" y="340"/>
                </a:cubicBezTo>
                <a:cubicBezTo>
                  <a:pt x="607" y="340"/>
                  <a:pt x="607" y="340"/>
                  <a:pt x="606" y="338"/>
                </a:cubicBezTo>
                <a:cubicBezTo>
                  <a:pt x="606" y="338"/>
                  <a:pt x="606" y="338"/>
                  <a:pt x="605" y="337"/>
                </a:cubicBezTo>
                <a:cubicBezTo>
                  <a:pt x="605" y="337"/>
                  <a:pt x="605" y="337"/>
                  <a:pt x="606" y="336"/>
                </a:cubicBezTo>
                <a:cubicBezTo>
                  <a:pt x="606" y="336"/>
                  <a:pt x="606" y="336"/>
                  <a:pt x="607" y="336"/>
                </a:cubicBezTo>
                <a:cubicBezTo>
                  <a:pt x="607" y="336"/>
                  <a:pt x="607" y="336"/>
                  <a:pt x="606" y="335"/>
                </a:cubicBezTo>
                <a:cubicBezTo>
                  <a:pt x="606" y="335"/>
                  <a:pt x="606" y="335"/>
                  <a:pt x="606" y="334"/>
                </a:cubicBezTo>
                <a:cubicBezTo>
                  <a:pt x="606" y="334"/>
                  <a:pt x="606" y="334"/>
                  <a:pt x="605" y="333"/>
                </a:cubicBezTo>
                <a:cubicBezTo>
                  <a:pt x="605" y="333"/>
                  <a:pt x="605" y="333"/>
                  <a:pt x="604" y="332"/>
                </a:cubicBezTo>
                <a:cubicBezTo>
                  <a:pt x="604" y="332"/>
                  <a:pt x="604" y="332"/>
                  <a:pt x="605" y="332"/>
                </a:cubicBezTo>
                <a:cubicBezTo>
                  <a:pt x="605" y="332"/>
                  <a:pt x="605" y="332"/>
                  <a:pt x="606" y="332"/>
                </a:cubicBezTo>
                <a:cubicBezTo>
                  <a:pt x="606" y="332"/>
                  <a:pt x="606" y="332"/>
                  <a:pt x="605" y="331"/>
                </a:cubicBezTo>
                <a:cubicBezTo>
                  <a:pt x="605" y="331"/>
                  <a:pt x="605" y="331"/>
                  <a:pt x="604" y="331"/>
                </a:cubicBezTo>
                <a:cubicBezTo>
                  <a:pt x="604" y="331"/>
                  <a:pt x="604" y="331"/>
                  <a:pt x="603" y="330"/>
                </a:cubicBezTo>
                <a:cubicBezTo>
                  <a:pt x="603" y="330"/>
                  <a:pt x="603" y="330"/>
                  <a:pt x="602" y="330"/>
                </a:cubicBezTo>
                <a:cubicBezTo>
                  <a:pt x="602" y="330"/>
                  <a:pt x="602" y="330"/>
                  <a:pt x="602" y="329"/>
                </a:cubicBezTo>
                <a:cubicBezTo>
                  <a:pt x="602" y="329"/>
                  <a:pt x="602" y="329"/>
                  <a:pt x="602" y="328"/>
                </a:cubicBezTo>
                <a:cubicBezTo>
                  <a:pt x="602" y="328"/>
                  <a:pt x="602" y="328"/>
                  <a:pt x="603" y="328"/>
                </a:cubicBezTo>
                <a:cubicBezTo>
                  <a:pt x="603" y="328"/>
                  <a:pt x="603" y="328"/>
                  <a:pt x="604" y="327"/>
                </a:cubicBezTo>
                <a:cubicBezTo>
                  <a:pt x="604" y="327"/>
                  <a:pt x="604" y="327"/>
                  <a:pt x="603" y="327"/>
                </a:cubicBezTo>
                <a:cubicBezTo>
                  <a:pt x="603" y="327"/>
                  <a:pt x="603" y="327"/>
                  <a:pt x="603" y="326"/>
                </a:cubicBezTo>
                <a:cubicBezTo>
                  <a:pt x="603" y="326"/>
                  <a:pt x="603" y="326"/>
                  <a:pt x="604" y="325"/>
                </a:cubicBezTo>
                <a:cubicBezTo>
                  <a:pt x="604" y="325"/>
                  <a:pt x="604" y="325"/>
                  <a:pt x="603" y="324"/>
                </a:cubicBezTo>
                <a:cubicBezTo>
                  <a:pt x="603" y="324"/>
                  <a:pt x="603" y="324"/>
                  <a:pt x="604" y="323"/>
                </a:cubicBezTo>
                <a:cubicBezTo>
                  <a:pt x="604" y="323"/>
                  <a:pt x="604" y="323"/>
                  <a:pt x="604" y="324"/>
                </a:cubicBezTo>
                <a:cubicBezTo>
                  <a:pt x="604" y="324"/>
                  <a:pt x="604" y="324"/>
                  <a:pt x="605" y="325"/>
                </a:cubicBezTo>
                <a:cubicBezTo>
                  <a:pt x="605" y="325"/>
                  <a:pt x="605" y="325"/>
                  <a:pt x="606" y="325"/>
                </a:cubicBezTo>
                <a:cubicBezTo>
                  <a:pt x="606" y="325"/>
                  <a:pt x="606" y="325"/>
                  <a:pt x="606" y="324"/>
                </a:cubicBezTo>
                <a:cubicBezTo>
                  <a:pt x="606" y="324"/>
                  <a:pt x="606" y="324"/>
                  <a:pt x="605" y="322"/>
                </a:cubicBezTo>
                <a:cubicBezTo>
                  <a:pt x="605" y="322"/>
                  <a:pt x="605" y="322"/>
                  <a:pt x="606" y="321"/>
                </a:cubicBezTo>
                <a:cubicBezTo>
                  <a:pt x="606" y="321"/>
                  <a:pt x="606" y="321"/>
                  <a:pt x="605" y="320"/>
                </a:cubicBezTo>
                <a:cubicBezTo>
                  <a:pt x="605" y="320"/>
                  <a:pt x="605" y="320"/>
                  <a:pt x="606" y="319"/>
                </a:cubicBezTo>
                <a:cubicBezTo>
                  <a:pt x="606" y="319"/>
                  <a:pt x="606" y="319"/>
                  <a:pt x="608" y="318"/>
                </a:cubicBezTo>
                <a:cubicBezTo>
                  <a:pt x="608" y="318"/>
                  <a:pt x="608" y="318"/>
                  <a:pt x="606" y="318"/>
                </a:cubicBezTo>
                <a:cubicBezTo>
                  <a:pt x="606" y="318"/>
                  <a:pt x="606" y="318"/>
                  <a:pt x="605" y="319"/>
                </a:cubicBezTo>
                <a:cubicBezTo>
                  <a:pt x="605" y="319"/>
                  <a:pt x="605" y="319"/>
                  <a:pt x="605" y="318"/>
                </a:cubicBezTo>
                <a:cubicBezTo>
                  <a:pt x="605" y="318"/>
                  <a:pt x="605" y="318"/>
                  <a:pt x="604" y="319"/>
                </a:cubicBezTo>
                <a:cubicBezTo>
                  <a:pt x="604" y="319"/>
                  <a:pt x="604" y="319"/>
                  <a:pt x="603" y="318"/>
                </a:cubicBezTo>
                <a:cubicBezTo>
                  <a:pt x="603" y="318"/>
                  <a:pt x="603" y="318"/>
                  <a:pt x="603" y="317"/>
                </a:cubicBezTo>
                <a:cubicBezTo>
                  <a:pt x="603" y="317"/>
                  <a:pt x="603" y="317"/>
                  <a:pt x="602" y="317"/>
                </a:cubicBezTo>
                <a:cubicBezTo>
                  <a:pt x="602" y="317"/>
                  <a:pt x="602" y="317"/>
                  <a:pt x="602" y="315"/>
                </a:cubicBezTo>
                <a:cubicBezTo>
                  <a:pt x="602" y="315"/>
                  <a:pt x="602" y="315"/>
                  <a:pt x="601" y="314"/>
                </a:cubicBezTo>
                <a:cubicBezTo>
                  <a:pt x="601" y="314"/>
                  <a:pt x="601" y="314"/>
                  <a:pt x="601" y="313"/>
                </a:cubicBezTo>
                <a:cubicBezTo>
                  <a:pt x="601" y="313"/>
                  <a:pt x="601" y="313"/>
                  <a:pt x="600" y="312"/>
                </a:cubicBezTo>
                <a:cubicBezTo>
                  <a:pt x="600" y="312"/>
                  <a:pt x="600" y="312"/>
                  <a:pt x="601" y="310"/>
                </a:cubicBezTo>
                <a:cubicBezTo>
                  <a:pt x="601" y="310"/>
                  <a:pt x="601" y="310"/>
                  <a:pt x="601" y="309"/>
                </a:cubicBezTo>
                <a:cubicBezTo>
                  <a:pt x="601" y="309"/>
                  <a:pt x="601" y="309"/>
                  <a:pt x="601" y="308"/>
                </a:cubicBezTo>
                <a:cubicBezTo>
                  <a:pt x="601" y="308"/>
                  <a:pt x="601" y="308"/>
                  <a:pt x="601" y="307"/>
                </a:cubicBezTo>
                <a:cubicBezTo>
                  <a:pt x="601" y="307"/>
                  <a:pt x="601" y="307"/>
                  <a:pt x="602" y="305"/>
                </a:cubicBezTo>
                <a:cubicBezTo>
                  <a:pt x="602" y="305"/>
                  <a:pt x="602" y="305"/>
                  <a:pt x="602" y="303"/>
                </a:cubicBezTo>
                <a:cubicBezTo>
                  <a:pt x="602" y="303"/>
                  <a:pt x="602" y="303"/>
                  <a:pt x="602" y="301"/>
                </a:cubicBezTo>
                <a:cubicBezTo>
                  <a:pt x="602" y="301"/>
                  <a:pt x="602" y="301"/>
                  <a:pt x="603" y="299"/>
                </a:cubicBezTo>
                <a:cubicBezTo>
                  <a:pt x="603" y="299"/>
                  <a:pt x="603" y="299"/>
                  <a:pt x="602" y="300"/>
                </a:cubicBezTo>
                <a:cubicBezTo>
                  <a:pt x="602" y="300"/>
                  <a:pt x="602" y="300"/>
                  <a:pt x="601" y="301"/>
                </a:cubicBezTo>
                <a:cubicBezTo>
                  <a:pt x="601" y="301"/>
                  <a:pt x="601" y="301"/>
                  <a:pt x="600" y="300"/>
                </a:cubicBezTo>
                <a:cubicBezTo>
                  <a:pt x="600" y="300"/>
                  <a:pt x="600" y="300"/>
                  <a:pt x="600" y="301"/>
                </a:cubicBezTo>
                <a:cubicBezTo>
                  <a:pt x="600" y="301"/>
                  <a:pt x="600" y="301"/>
                  <a:pt x="600" y="302"/>
                </a:cubicBezTo>
                <a:cubicBezTo>
                  <a:pt x="600" y="302"/>
                  <a:pt x="600" y="302"/>
                  <a:pt x="600" y="305"/>
                </a:cubicBezTo>
                <a:cubicBezTo>
                  <a:pt x="600" y="305"/>
                  <a:pt x="600" y="305"/>
                  <a:pt x="599" y="308"/>
                </a:cubicBezTo>
                <a:cubicBezTo>
                  <a:pt x="599" y="308"/>
                  <a:pt x="599" y="308"/>
                  <a:pt x="599" y="311"/>
                </a:cubicBezTo>
                <a:cubicBezTo>
                  <a:pt x="599" y="311"/>
                  <a:pt x="599" y="311"/>
                  <a:pt x="599" y="312"/>
                </a:cubicBezTo>
                <a:cubicBezTo>
                  <a:pt x="599" y="312"/>
                  <a:pt x="599" y="312"/>
                  <a:pt x="599" y="313"/>
                </a:cubicBezTo>
                <a:cubicBezTo>
                  <a:pt x="599" y="313"/>
                  <a:pt x="599" y="313"/>
                  <a:pt x="597" y="315"/>
                </a:cubicBezTo>
                <a:cubicBezTo>
                  <a:pt x="597" y="315"/>
                  <a:pt x="597" y="315"/>
                  <a:pt x="596" y="313"/>
                </a:cubicBezTo>
                <a:cubicBezTo>
                  <a:pt x="596" y="313"/>
                  <a:pt x="596" y="313"/>
                  <a:pt x="597" y="313"/>
                </a:cubicBezTo>
                <a:cubicBezTo>
                  <a:pt x="597" y="313"/>
                  <a:pt x="597" y="313"/>
                  <a:pt x="597" y="312"/>
                </a:cubicBezTo>
                <a:cubicBezTo>
                  <a:pt x="597" y="312"/>
                  <a:pt x="597" y="312"/>
                  <a:pt x="596" y="313"/>
                </a:cubicBezTo>
                <a:cubicBezTo>
                  <a:pt x="596" y="313"/>
                  <a:pt x="596" y="313"/>
                  <a:pt x="594" y="313"/>
                </a:cubicBezTo>
                <a:cubicBezTo>
                  <a:pt x="594" y="313"/>
                  <a:pt x="594" y="313"/>
                  <a:pt x="594" y="312"/>
                </a:cubicBezTo>
                <a:cubicBezTo>
                  <a:pt x="594" y="312"/>
                  <a:pt x="594" y="312"/>
                  <a:pt x="594" y="311"/>
                </a:cubicBezTo>
                <a:cubicBezTo>
                  <a:pt x="594" y="311"/>
                  <a:pt x="594" y="311"/>
                  <a:pt x="594" y="310"/>
                </a:cubicBezTo>
                <a:cubicBezTo>
                  <a:pt x="594" y="310"/>
                  <a:pt x="594" y="310"/>
                  <a:pt x="594" y="309"/>
                </a:cubicBezTo>
                <a:cubicBezTo>
                  <a:pt x="594" y="309"/>
                  <a:pt x="594" y="309"/>
                  <a:pt x="595" y="308"/>
                </a:cubicBezTo>
                <a:cubicBezTo>
                  <a:pt x="595" y="308"/>
                  <a:pt x="595" y="308"/>
                  <a:pt x="595" y="307"/>
                </a:cubicBezTo>
                <a:cubicBezTo>
                  <a:pt x="595" y="307"/>
                  <a:pt x="595" y="307"/>
                  <a:pt x="594" y="308"/>
                </a:cubicBezTo>
                <a:cubicBezTo>
                  <a:pt x="594" y="308"/>
                  <a:pt x="594" y="308"/>
                  <a:pt x="593" y="308"/>
                </a:cubicBezTo>
                <a:cubicBezTo>
                  <a:pt x="593" y="308"/>
                  <a:pt x="593" y="308"/>
                  <a:pt x="593" y="307"/>
                </a:cubicBezTo>
                <a:cubicBezTo>
                  <a:pt x="593" y="307"/>
                  <a:pt x="593" y="307"/>
                  <a:pt x="593" y="306"/>
                </a:cubicBezTo>
                <a:cubicBezTo>
                  <a:pt x="593" y="306"/>
                  <a:pt x="593" y="306"/>
                  <a:pt x="593" y="305"/>
                </a:cubicBezTo>
                <a:cubicBezTo>
                  <a:pt x="593" y="305"/>
                  <a:pt x="593" y="305"/>
                  <a:pt x="592" y="304"/>
                </a:cubicBezTo>
                <a:cubicBezTo>
                  <a:pt x="592" y="304"/>
                  <a:pt x="592" y="304"/>
                  <a:pt x="592" y="305"/>
                </a:cubicBezTo>
                <a:cubicBezTo>
                  <a:pt x="592" y="305"/>
                  <a:pt x="592" y="305"/>
                  <a:pt x="591" y="305"/>
                </a:cubicBezTo>
                <a:cubicBezTo>
                  <a:pt x="591" y="305"/>
                  <a:pt x="591" y="305"/>
                  <a:pt x="591" y="303"/>
                </a:cubicBezTo>
                <a:cubicBezTo>
                  <a:pt x="591" y="303"/>
                  <a:pt x="591" y="303"/>
                  <a:pt x="590" y="303"/>
                </a:cubicBezTo>
                <a:cubicBezTo>
                  <a:pt x="590" y="303"/>
                  <a:pt x="590" y="303"/>
                  <a:pt x="590" y="305"/>
                </a:cubicBezTo>
                <a:cubicBezTo>
                  <a:pt x="590" y="305"/>
                  <a:pt x="590" y="305"/>
                  <a:pt x="590" y="306"/>
                </a:cubicBezTo>
                <a:cubicBezTo>
                  <a:pt x="590" y="306"/>
                  <a:pt x="590" y="306"/>
                  <a:pt x="591" y="306"/>
                </a:cubicBezTo>
                <a:cubicBezTo>
                  <a:pt x="591" y="306"/>
                  <a:pt x="591" y="306"/>
                  <a:pt x="591" y="307"/>
                </a:cubicBezTo>
                <a:cubicBezTo>
                  <a:pt x="591" y="307"/>
                  <a:pt x="591" y="307"/>
                  <a:pt x="591" y="308"/>
                </a:cubicBezTo>
                <a:cubicBezTo>
                  <a:pt x="591" y="308"/>
                  <a:pt x="591" y="308"/>
                  <a:pt x="590" y="309"/>
                </a:cubicBezTo>
                <a:cubicBezTo>
                  <a:pt x="590" y="309"/>
                  <a:pt x="590" y="309"/>
                  <a:pt x="591" y="309"/>
                </a:cubicBezTo>
                <a:cubicBezTo>
                  <a:pt x="591" y="309"/>
                  <a:pt x="591" y="309"/>
                  <a:pt x="592" y="309"/>
                </a:cubicBezTo>
                <a:cubicBezTo>
                  <a:pt x="592" y="309"/>
                  <a:pt x="592" y="309"/>
                  <a:pt x="593" y="311"/>
                </a:cubicBezTo>
                <a:cubicBezTo>
                  <a:pt x="593" y="311"/>
                  <a:pt x="593" y="311"/>
                  <a:pt x="592" y="312"/>
                </a:cubicBezTo>
                <a:cubicBezTo>
                  <a:pt x="592" y="312"/>
                  <a:pt x="592" y="312"/>
                  <a:pt x="591" y="312"/>
                </a:cubicBezTo>
                <a:cubicBezTo>
                  <a:pt x="591" y="312"/>
                  <a:pt x="591" y="312"/>
                  <a:pt x="590" y="313"/>
                </a:cubicBezTo>
                <a:cubicBezTo>
                  <a:pt x="590" y="313"/>
                  <a:pt x="590" y="313"/>
                  <a:pt x="589" y="312"/>
                </a:cubicBezTo>
                <a:cubicBezTo>
                  <a:pt x="589" y="312"/>
                  <a:pt x="589" y="312"/>
                  <a:pt x="588" y="311"/>
                </a:cubicBezTo>
                <a:cubicBezTo>
                  <a:pt x="588" y="311"/>
                  <a:pt x="588" y="311"/>
                  <a:pt x="586" y="309"/>
                </a:cubicBezTo>
                <a:cubicBezTo>
                  <a:pt x="586" y="309"/>
                  <a:pt x="586" y="309"/>
                  <a:pt x="586" y="308"/>
                </a:cubicBezTo>
                <a:cubicBezTo>
                  <a:pt x="586" y="308"/>
                  <a:pt x="586" y="308"/>
                  <a:pt x="586" y="307"/>
                </a:cubicBezTo>
                <a:cubicBezTo>
                  <a:pt x="586" y="307"/>
                  <a:pt x="586" y="307"/>
                  <a:pt x="585" y="307"/>
                </a:cubicBezTo>
                <a:cubicBezTo>
                  <a:pt x="585" y="307"/>
                  <a:pt x="585" y="307"/>
                  <a:pt x="585" y="306"/>
                </a:cubicBezTo>
                <a:cubicBezTo>
                  <a:pt x="585" y="306"/>
                  <a:pt x="585" y="306"/>
                  <a:pt x="585" y="303"/>
                </a:cubicBezTo>
                <a:cubicBezTo>
                  <a:pt x="585" y="303"/>
                  <a:pt x="585" y="303"/>
                  <a:pt x="584" y="302"/>
                </a:cubicBezTo>
                <a:cubicBezTo>
                  <a:pt x="584" y="302"/>
                  <a:pt x="584" y="302"/>
                  <a:pt x="584" y="301"/>
                </a:cubicBezTo>
                <a:cubicBezTo>
                  <a:pt x="584" y="301"/>
                  <a:pt x="584" y="301"/>
                  <a:pt x="585" y="300"/>
                </a:cubicBezTo>
                <a:cubicBezTo>
                  <a:pt x="585" y="300"/>
                  <a:pt x="585" y="300"/>
                  <a:pt x="586" y="299"/>
                </a:cubicBezTo>
                <a:cubicBezTo>
                  <a:pt x="586" y="299"/>
                  <a:pt x="586" y="299"/>
                  <a:pt x="586" y="298"/>
                </a:cubicBezTo>
                <a:cubicBezTo>
                  <a:pt x="586" y="298"/>
                  <a:pt x="586" y="298"/>
                  <a:pt x="586" y="296"/>
                </a:cubicBezTo>
                <a:cubicBezTo>
                  <a:pt x="586" y="296"/>
                  <a:pt x="586" y="296"/>
                  <a:pt x="585" y="298"/>
                </a:cubicBezTo>
                <a:cubicBezTo>
                  <a:pt x="585" y="298"/>
                  <a:pt x="585" y="298"/>
                  <a:pt x="584" y="300"/>
                </a:cubicBezTo>
                <a:cubicBezTo>
                  <a:pt x="584" y="300"/>
                  <a:pt x="584" y="300"/>
                  <a:pt x="583" y="299"/>
                </a:cubicBezTo>
                <a:cubicBezTo>
                  <a:pt x="583" y="299"/>
                  <a:pt x="583" y="299"/>
                  <a:pt x="582" y="300"/>
                </a:cubicBezTo>
                <a:cubicBezTo>
                  <a:pt x="582" y="300"/>
                  <a:pt x="582" y="300"/>
                  <a:pt x="581" y="298"/>
                </a:cubicBezTo>
                <a:cubicBezTo>
                  <a:pt x="581" y="298"/>
                  <a:pt x="581" y="298"/>
                  <a:pt x="582" y="297"/>
                </a:cubicBezTo>
                <a:cubicBezTo>
                  <a:pt x="582" y="297"/>
                  <a:pt x="582" y="297"/>
                  <a:pt x="581" y="296"/>
                </a:cubicBezTo>
                <a:cubicBezTo>
                  <a:pt x="581" y="296"/>
                  <a:pt x="581" y="296"/>
                  <a:pt x="580" y="297"/>
                </a:cubicBezTo>
                <a:cubicBezTo>
                  <a:pt x="580" y="297"/>
                  <a:pt x="580" y="297"/>
                  <a:pt x="579" y="296"/>
                </a:cubicBezTo>
                <a:cubicBezTo>
                  <a:pt x="579" y="296"/>
                  <a:pt x="579" y="296"/>
                  <a:pt x="579" y="295"/>
                </a:cubicBezTo>
                <a:cubicBezTo>
                  <a:pt x="579" y="295"/>
                  <a:pt x="579" y="295"/>
                  <a:pt x="578" y="293"/>
                </a:cubicBezTo>
                <a:cubicBezTo>
                  <a:pt x="578" y="293"/>
                  <a:pt x="578" y="293"/>
                  <a:pt x="580" y="294"/>
                </a:cubicBezTo>
                <a:cubicBezTo>
                  <a:pt x="580" y="294"/>
                  <a:pt x="580" y="294"/>
                  <a:pt x="581" y="294"/>
                </a:cubicBezTo>
                <a:cubicBezTo>
                  <a:pt x="581" y="294"/>
                  <a:pt x="581" y="294"/>
                  <a:pt x="581" y="292"/>
                </a:cubicBezTo>
                <a:cubicBezTo>
                  <a:pt x="581" y="292"/>
                  <a:pt x="581" y="292"/>
                  <a:pt x="581" y="290"/>
                </a:cubicBezTo>
                <a:cubicBezTo>
                  <a:pt x="581" y="290"/>
                  <a:pt x="581" y="290"/>
                  <a:pt x="580" y="291"/>
                </a:cubicBezTo>
                <a:cubicBezTo>
                  <a:pt x="580" y="291"/>
                  <a:pt x="580" y="291"/>
                  <a:pt x="580" y="290"/>
                </a:cubicBezTo>
                <a:cubicBezTo>
                  <a:pt x="580" y="290"/>
                  <a:pt x="580" y="290"/>
                  <a:pt x="579" y="290"/>
                </a:cubicBezTo>
                <a:cubicBezTo>
                  <a:pt x="579" y="290"/>
                  <a:pt x="579" y="290"/>
                  <a:pt x="576" y="291"/>
                </a:cubicBezTo>
                <a:cubicBezTo>
                  <a:pt x="576" y="291"/>
                  <a:pt x="576" y="291"/>
                  <a:pt x="575" y="290"/>
                </a:cubicBezTo>
                <a:cubicBezTo>
                  <a:pt x="575" y="290"/>
                  <a:pt x="575" y="290"/>
                  <a:pt x="574" y="290"/>
                </a:cubicBezTo>
                <a:cubicBezTo>
                  <a:pt x="574" y="290"/>
                  <a:pt x="574" y="290"/>
                  <a:pt x="573" y="289"/>
                </a:cubicBezTo>
                <a:cubicBezTo>
                  <a:pt x="573" y="289"/>
                  <a:pt x="573" y="289"/>
                  <a:pt x="572" y="288"/>
                </a:cubicBezTo>
                <a:cubicBezTo>
                  <a:pt x="572" y="288"/>
                  <a:pt x="572" y="288"/>
                  <a:pt x="571" y="287"/>
                </a:cubicBezTo>
                <a:cubicBezTo>
                  <a:pt x="571" y="287"/>
                  <a:pt x="571" y="287"/>
                  <a:pt x="573" y="287"/>
                </a:cubicBezTo>
                <a:cubicBezTo>
                  <a:pt x="573" y="287"/>
                  <a:pt x="573" y="287"/>
                  <a:pt x="573" y="286"/>
                </a:cubicBezTo>
                <a:cubicBezTo>
                  <a:pt x="573" y="286"/>
                  <a:pt x="573" y="286"/>
                  <a:pt x="574" y="285"/>
                </a:cubicBezTo>
                <a:cubicBezTo>
                  <a:pt x="574" y="285"/>
                  <a:pt x="574" y="285"/>
                  <a:pt x="573" y="285"/>
                </a:cubicBezTo>
                <a:cubicBezTo>
                  <a:pt x="573" y="285"/>
                  <a:pt x="573" y="285"/>
                  <a:pt x="573" y="286"/>
                </a:cubicBezTo>
                <a:cubicBezTo>
                  <a:pt x="573" y="286"/>
                  <a:pt x="573" y="286"/>
                  <a:pt x="571" y="286"/>
                </a:cubicBezTo>
                <a:cubicBezTo>
                  <a:pt x="571" y="286"/>
                  <a:pt x="571" y="286"/>
                  <a:pt x="570" y="286"/>
                </a:cubicBezTo>
                <a:cubicBezTo>
                  <a:pt x="570" y="286"/>
                  <a:pt x="570" y="286"/>
                  <a:pt x="569" y="286"/>
                </a:cubicBezTo>
                <a:cubicBezTo>
                  <a:pt x="569" y="286"/>
                  <a:pt x="569" y="286"/>
                  <a:pt x="569" y="285"/>
                </a:cubicBezTo>
                <a:cubicBezTo>
                  <a:pt x="569" y="285"/>
                  <a:pt x="569" y="285"/>
                  <a:pt x="568" y="284"/>
                </a:cubicBezTo>
                <a:cubicBezTo>
                  <a:pt x="568" y="284"/>
                  <a:pt x="568" y="284"/>
                  <a:pt x="567" y="284"/>
                </a:cubicBezTo>
                <a:cubicBezTo>
                  <a:pt x="567" y="284"/>
                  <a:pt x="567" y="284"/>
                  <a:pt x="567" y="283"/>
                </a:cubicBezTo>
                <a:cubicBezTo>
                  <a:pt x="567" y="283"/>
                  <a:pt x="567" y="283"/>
                  <a:pt x="566" y="283"/>
                </a:cubicBezTo>
                <a:cubicBezTo>
                  <a:pt x="566" y="283"/>
                  <a:pt x="566" y="283"/>
                  <a:pt x="565" y="283"/>
                </a:cubicBezTo>
                <a:cubicBezTo>
                  <a:pt x="565" y="283"/>
                  <a:pt x="565" y="283"/>
                  <a:pt x="563" y="283"/>
                </a:cubicBezTo>
                <a:cubicBezTo>
                  <a:pt x="563" y="283"/>
                  <a:pt x="563" y="283"/>
                  <a:pt x="562" y="283"/>
                </a:cubicBezTo>
                <a:cubicBezTo>
                  <a:pt x="562" y="283"/>
                  <a:pt x="562" y="283"/>
                  <a:pt x="561" y="283"/>
                </a:cubicBezTo>
                <a:cubicBezTo>
                  <a:pt x="561" y="283"/>
                  <a:pt x="561" y="283"/>
                  <a:pt x="560" y="283"/>
                </a:cubicBezTo>
                <a:cubicBezTo>
                  <a:pt x="560" y="283"/>
                  <a:pt x="560" y="283"/>
                  <a:pt x="557" y="283"/>
                </a:cubicBezTo>
                <a:cubicBezTo>
                  <a:pt x="557" y="283"/>
                  <a:pt x="557" y="283"/>
                  <a:pt x="557" y="282"/>
                </a:cubicBezTo>
                <a:cubicBezTo>
                  <a:pt x="557" y="282"/>
                  <a:pt x="557" y="282"/>
                  <a:pt x="558" y="282"/>
                </a:cubicBezTo>
                <a:cubicBezTo>
                  <a:pt x="558" y="282"/>
                  <a:pt x="558" y="282"/>
                  <a:pt x="559" y="282"/>
                </a:cubicBezTo>
                <a:cubicBezTo>
                  <a:pt x="559" y="282"/>
                  <a:pt x="559" y="282"/>
                  <a:pt x="558" y="280"/>
                </a:cubicBezTo>
                <a:cubicBezTo>
                  <a:pt x="558" y="280"/>
                  <a:pt x="558" y="280"/>
                  <a:pt x="559" y="279"/>
                </a:cubicBezTo>
                <a:cubicBezTo>
                  <a:pt x="559" y="279"/>
                  <a:pt x="559" y="279"/>
                  <a:pt x="559" y="278"/>
                </a:cubicBezTo>
                <a:cubicBezTo>
                  <a:pt x="559" y="278"/>
                  <a:pt x="559" y="278"/>
                  <a:pt x="560" y="277"/>
                </a:cubicBezTo>
                <a:cubicBezTo>
                  <a:pt x="560" y="277"/>
                  <a:pt x="560" y="277"/>
                  <a:pt x="559" y="277"/>
                </a:cubicBezTo>
                <a:cubicBezTo>
                  <a:pt x="559" y="277"/>
                  <a:pt x="559" y="277"/>
                  <a:pt x="558" y="277"/>
                </a:cubicBezTo>
                <a:cubicBezTo>
                  <a:pt x="558" y="277"/>
                  <a:pt x="558" y="277"/>
                  <a:pt x="559" y="278"/>
                </a:cubicBezTo>
                <a:cubicBezTo>
                  <a:pt x="559" y="278"/>
                  <a:pt x="559" y="278"/>
                  <a:pt x="558" y="279"/>
                </a:cubicBezTo>
                <a:cubicBezTo>
                  <a:pt x="558" y="279"/>
                  <a:pt x="558" y="279"/>
                  <a:pt x="557" y="279"/>
                </a:cubicBezTo>
                <a:cubicBezTo>
                  <a:pt x="557" y="279"/>
                  <a:pt x="557" y="279"/>
                  <a:pt x="557" y="278"/>
                </a:cubicBezTo>
                <a:cubicBezTo>
                  <a:pt x="557" y="278"/>
                  <a:pt x="557" y="278"/>
                  <a:pt x="556" y="278"/>
                </a:cubicBezTo>
                <a:cubicBezTo>
                  <a:pt x="556" y="278"/>
                  <a:pt x="556" y="278"/>
                  <a:pt x="556" y="277"/>
                </a:cubicBezTo>
                <a:cubicBezTo>
                  <a:pt x="556" y="277"/>
                  <a:pt x="556" y="277"/>
                  <a:pt x="557" y="277"/>
                </a:cubicBezTo>
                <a:cubicBezTo>
                  <a:pt x="557" y="277"/>
                  <a:pt x="557" y="277"/>
                  <a:pt x="557" y="276"/>
                </a:cubicBezTo>
                <a:cubicBezTo>
                  <a:pt x="557" y="276"/>
                  <a:pt x="557" y="276"/>
                  <a:pt x="556" y="275"/>
                </a:cubicBezTo>
                <a:cubicBezTo>
                  <a:pt x="556" y="275"/>
                  <a:pt x="556" y="275"/>
                  <a:pt x="554" y="276"/>
                </a:cubicBezTo>
                <a:cubicBezTo>
                  <a:pt x="554" y="276"/>
                  <a:pt x="554" y="276"/>
                  <a:pt x="553" y="275"/>
                </a:cubicBezTo>
                <a:cubicBezTo>
                  <a:pt x="553" y="275"/>
                  <a:pt x="553" y="275"/>
                  <a:pt x="552" y="274"/>
                </a:cubicBezTo>
                <a:cubicBezTo>
                  <a:pt x="552" y="274"/>
                  <a:pt x="552" y="274"/>
                  <a:pt x="551" y="275"/>
                </a:cubicBezTo>
                <a:cubicBezTo>
                  <a:pt x="551" y="275"/>
                  <a:pt x="551" y="275"/>
                  <a:pt x="550" y="275"/>
                </a:cubicBezTo>
                <a:cubicBezTo>
                  <a:pt x="550" y="275"/>
                  <a:pt x="550" y="275"/>
                  <a:pt x="550" y="274"/>
                </a:cubicBezTo>
                <a:cubicBezTo>
                  <a:pt x="550" y="274"/>
                  <a:pt x="550" y="274"/>
                  <a:pt x="551" y="274"/>
                </a:cubicBezTo>
                <a:cubicBezTo>
                  <a:pt x="551" y="274"/>
                  <a:pt x="551" y="274"/>
                  <a:pt x="551" y="273"/>
                </a:cubicBezTo>
                <a:cubicBezTo>
                  <a:pt x="551" y="273"/>
                  <a:pt x="551" y="273"/>
                  <a:pt x="549" y="272"/>
                </a:cubicBezTo>
                <a:cubicBezTo>
                  <a:pt x="549" y="272"/>
                  <a:pt x="549" y="272"/>
                  <a:pt x="549" y="271"/>
                </a:cubicBezTo>
                <a:cubicBezTo>
                  <a:pt x="549" y="271"/>
                  <a:pt x="549" y="271"/>
                  <a:pt x="550" y="271"/>
                </a:cubicBezTo>
                <a:cubicBezTo>
                  <a:pt x="550" y="271"/>
                  <a:pt x="550" y="271"/>
                  <a:pt x="551" y="271"/>
                </a:cubicBezTo>
                <a:cubicBezTo>
                  <a:pt x="551" y="271"/>
                  <a:pt x="551" y="271"/>
                  <a:pt x="550" y="270"/>
                </a:cubicBezTo>
                <a:cubicBezTo>
                  <a:pt x="550" y="270"/>
                  <a:pt x="550" y="270"/>
                  <a:pt x="549" y="271"/>
                </a:cubicBezTo>
                <a:cubicBezTo>
                  <a:pt x="549" y="271"/>
                  <a:pt x="549" y="271"/>
                  <a:pt x="548" y="271"/>
                </a:cubicBezTo>
                <a:cubicBezTo>
                  <a:pt x="548" y="271"/>
                  <a:pt x="548" y="271"/>
                  <a:pt x="548" y="270"/>
                </a:cubicBezTo>
                <a:cubicBezTo>
                  <a:pt x="548" y="270"/>
                  <a:pt x="548" y="270"/>
                  <a:pt x="549" y="269"/>
                </a:cubicBezTo>
                <a:cubicBezTo>
                  <a:pt x="549" y="269"/>
                  <a:pt x="549" y="269"/>
                  <a:pt x="549" y="268"/>
                </a:cubicBezTo>
                <a:cubicBezTo>
                  <a:pt x="549" y="268"/>
                  <a:pt x="549" y="268"/>
                  <a:pt x="549" y="267"/>
                </a:cubicBezTo>
                <a:cubicBezTo>
                  <a:pt x="549" y="267"/>
                  <a:pt x="549" y="267"/>
                  <a:pt x="550" y="267"/>
                </a:cubicBezTo>
                <a:cubicBezTo>
                  <a:pt x="550" y="267"/>
                  <a:pt x="550" y="267"/>
                  <a:pt x="551" y="266"/>
                </a:cubicBezTo>
                <a:cubicBezTo>
                  <a:pt x="551" y="266"/>
                  <a:pt x="551" y="266"/>
                  <a:pt x="553" y="266"/>
                </a:cubicBezTo>
                <a:cubicBezTo>
                  <a:pt x="553" y="266"/>
                  <a:pt x="553" y="266"/>
                  <a:pt x="553" y="265"/>
                </a:cubicBezTo>
                <a:cubicBezTo>
                  <a:pt x="553" y="265"/>
                  <a:pt x="553" y="265"/>
                  <a:pt x="552" y="265"/>
                </a:cubicBezTo>
                <a:cubicBezTo>
                  <a:pt x="552" y="265"/>
                  <a:pt x="552" y="265"/>
                  <a:pt x="551" y="265"/>
                </a:cubicBezTo>
                <a:cubicBezTo>
                  <a:pt x="551" y="265"/>
                  <a:pt x="551" y="265"/>
                  <a:pt x="549" y="266"/>
                </a:cubicBezTo>
                <a:cubicBezTo>
                  <a:pt x="549" y="266"/>
                  <a:pt x="549" y="266"/>
                  <a:pt x="548" y="267"/>
                </a:cubicBezTo>
                <a:cubicBezTo>
                  <a:pt x="548" y="267"/>
                  <a:pt x="548" y="267"/>
                  <a:pt x="547" y="266"/>
                </a:cubicBezTo>
                <a:cubicBezTo>
                  <a:pt x="547" y="266"/>
                  <a:pt x="547" y="266"/>
                  <a:pt x="546" y="267"/>
                </a:cubicBezTo>
                <a:cubicBezTo>
                  <a:pt x="546" y="267"/>
                  <a:pt x="546" y="267"/>
                  <a:pt x="545" y="268"/>
                </a:cubicBezTo>
                <a:cubicBezTo>
                  <a:pt x="545" y="268"/>
                  <a:pt x="545" y="268"/>
                  <a:pt x="545" y="267"/>
                </a:cubicBezTo>
                <a:cubicBezTo>
                  <a:pt x="545" y="267"/>
                  <a:pt x="545" y="267"/>
                  <a:pt x="545" y="266"/>
                </a:cubicBezTo>
                <a:cubicBezTo>
                  <a:pt x="545" y="266"/>
                  <a:pt x="545" y="266"/>
                  <a:pt x="546" y="265"/>
                </a:cubicBezTo>
                <a:cubicBezTo>
                  <a:pt x="546" y="265"/>
                  <a:pt x="546" y="265"/>
                  <a:pt x="545" y="265"/>
                </a:cubicBezTo>
                <a:cubicBezTo>
                  <a:pt x="545" y="265"/>
                  <a:pt x="545" y="265"/>
                  <a:pt x="544" y="266"/>
                </a:cubicBezTo>
                <a:cubicBezTo>
                  <a:pt x="544" y="266"/>
                  <a:pt x="544" y="266"/>
                  <a:pt x="543" y="268"/>
                </a:cubicBezTo>
                <a:cubicBezTo>
                  <a:pt x="543" y="268"/>
                  <a:pt x="543" y="268"/>
                  <a:pt x="543" y="269"/>
                </a:cubicBezTo>
                <a:cubicBezTo>
                  <a:pt x="543" y="269"/>
                  <a:pt x="543" y="269"/>
                  <a:pt x="542" y="266"/>
                </a:cubicBezTo>
                <a:cubicBezTo>
                  <a:pt x="542" y="266"/>
                  <a:pt x="542" y="266"/>
                  <a:pt x="542" y="265"/>
                </a:cubicBezTo>
                <a:cubicBezTo>
                  <a:pt x="542" y="265"/>
                  <a:pt x="542" y="265"/>
                  <a:pt x="545" y="264"/>
                </a:cubicBezTo>
                <a:cubicBezTo>
                  <a:pt x="545" y="264"/>
                  <a:pt x="545" y="264"/>
                  <a:pt x="543" y="264"/>
                </a:cubicBezTo>
                <a:cubicBezTo>
                  <a:pt x="543" y="264"/>
                  <a:pt x="543" y="264"/>
                  <a:pt x="542" y="264"/>
                </a:cubicBezTo>
                <a:cubicBezTo>
                  <a:pt x="542" y="264"/>
                  <a:pt x="542" y="264"/>
                  <a:pt x="541" y="263"/>
                </a:cubicBezTo>
                <a:cubicBezTo>
                  <a:pt x="541" y="263"/>
                  <a:pt x="541" y="263"/>
                  <a:pt x="539" y="264"/>
                </a:cubicBezTo>
                <a:cubicBezTo>
                  <a:pt x="539" y="264"/>
                  <a:pt x="539" y="264"/>
                  <a:pt x="539" y="266"/>
                </a:cubicBezTo>
                <a:cubicBezTo>
                  <a:pt x="539" y="266"/>
                  <a:pt x="539" y="266"/>
                  <a:pt x="538" y="266"/>
                </a:cubicBezTo>
                <a:cubicBezTo>
                  <a:pt x="538" y="266"/>
                  <a:pt x="538" y="266"/>
                  <a:pt x="536" y="266"/>
                </a:cubicBezTo>
                <a:cubicBezTo>
                  <a:pt x="536" y="266"/>
                  <a:pt x="536" y="266"/>
                  <a:pt x="536" y="267"/>
                </a:cubicBezTo>
                <a:cubicBezTo>
                  <a:pt x="536" y="267"/>
                  <a:pt x="536" y="267"/>
                  <a:pt x="538" y="268"/>
                </a:cubicBezTo>
                <a:cubicBezTo>
                  <a:pt x="538" y="268"/>
                  <a:pt x="538" y="268"/>
                  <a:pt x="539" y="268"/>
                </a:cubicBezTo>
                <a:cubicBezTo>
                  <a:pt x="539" y="268"/>
                  <a:pt x="539" y="268"/>
                  <a:pt x="539" y="269"/>
                </a:cubicBezTo>
                <a:cubicBezTo>
                  <a:pt x="539" y="269"/>
                  <a:pt x="539" y="269"/>
                  <a:pt x="538" y="270"/>
                </a:cubicBezTo>
                <a:cubicBezTo>
                  <a:pt x="538" y="270"/>
                  <a:pt x="538" y="270"/>
                  <a:pt x="537" y="269"/>
                </a:cubicBezTo>
                <a:cubicBezTo>
                  <a:pt x="537" y="269"/>
                  <a:pt x="537" y="269"/>
                  <a:pt x="536" y="269"/>
                </a:cubicBezTo>
                <a:cubicBezTo>
                  <a:pt x="536" y="269"/>
                  <a:pt x="536" y="269"/>
                  <a:pt x="536" y="270"/>
                </a:cubicBezTo>
                <a:cubicBezTo>
                  <a:pt x="536" y="270"/>
                  <a:pt x="536" y="270"/>
                  <a:pt x="537" y="270"/>
                </a:cubicBezTo>
                <a:cubicBezTo>
                  <a:pt x="537" y="270"/>
                  <a:pt x="537" y="270"/>
                  <a:pt x="538" y="271"/>
                </a:cubicBezTo>
                <a:cubicBezTo>
                  <a:pt x="538" y="271"/>
                  <a:pt x="538" y="271"/>
                  <a:pt x="539" y="271"/>
                </a:cubicBezTo>
                <a:cubicBezTo>
                  <a:pt x="539" y="271"/>
                  <a:pt x="539" y="271"/>
                  <a:pt x="539" y="272"/>
                </a:cubicBezTo>
                <a:cubicBezTo>
                  <a:pt x="539" y="272"/>
                  <a:pt x="539" y="272"/>
                  <a:pt x="539" y="273"/>
                </a:cubicBezTo>
                <a:cubicBezTo>
                  <a:pt x="539" y="273"/>
                  <a:pt x="539" y="273"/>
                  <a:pt x="536" y="274"/>
                </a:cubicBezTo>
                <a:cubicBezTo>
                  <a:pt x="536" y="274"/>
                  <a:pt x="536" y="274"/>
                  <a:pt x="536" y="275"/>
                </a:cubicBezTo>
                <a:cubicBezTo>
                  <a:pt x="536" y="275"/>
                  <a:pt x="536" y="275"/>
                  <a:pt x="537" y="275"/>
                </a:cubicBezTo>
                <a:cubicBezTo>
                  <a:pt x="537" y="275"/>
                  <a:pt x="537" y="275"/>
                  <a:pt x="536" y="276"/>
                </a:cubicBezTo>
                <a:cubicBezTo>
                  <a:pt x="536" y="276"/>
                  <a:pt x="536" y="276"/>
                  <a:pt x="534" y="276"/>
                </a:cubicBezTo>
                <a:cubicBezTo>
                  <a:pt x="534" y="276"/>
                  <a:pt x="534" y="276"/>
                  <a:pt x="533" y="278"/>
                </a:cubicBezTo>
                <a:cubicBezTo>
                  <a:pt x="533" y="278"/>
                  <a:pt x="533" y="278"/>
                  <a:pt x="532" y="278"/>
                </a:cubicBezTo>
                <a:cubicBezTo>
                  <a:pt x="532" y="278"/>
                  <a:pt x="532" y="278"/>
                  <a:pt x="531" y="278"/>
                </a:cubicBezTo>
                <a:cubicBezTo>
                  <a:pt x="531" y="278"/>
                  <a:pt x="531" y="278"/>
                  <a:pt x="531" y="277"/>
                </a:cubicBezTo>
                <a:cubicBezTo>
                  <a:pt x="531" y="277"/>
                  <a:pt x="531" y="277"/>
                  <a:pt x="530" y="276"/>
                </a:cubicBezTo>
                <a:cubicBezTo>
                  <a:pt x="530" y="276"/>
                  <a:pt x="530" y="276"/>
                  <a:pt x="529" y="278"/>
                </a:cubicBezTo>
                <a:cubicBezTo>
                  <a:pt x="529" y="278"/>
                  <a:pt x="529" y="278"/>
                  <a:pt x="528" y="277"/>
                </a:cubicBezTo>
                <a:cubicBezTo>
                  <a:pt x="528" y="277"/>
                  <a:pt x="528" y="277"/>
                  <a:pt x="529" y="276"/>
                </a:cubicBezTo>
                <a:cubicBezTo>
                  <a:pt x="529" y="276"/>
                  <a:pt x="529" y="276"/>
                  <a:pt x="529" y="275"/>
                </a:cubicBezTo>
                <a:cubicBezTo>
                  <a:pt x="529" y="275"/>
                  <a:pt x="529" y="275"/>
                  <a:pt x="528" y="275"/>
                </a:cubicBezTo>
                <a:cubicBezTo>
                  <a:pt x="528" y="275"/>
                  <a:pt x="528" y="275"/>
                  <a:pt x="528" y="277"/>
                </a:cubicBezTo>
                <a:cubicBezTo>
                  <a:pt x="528" y="277"/>
                  <a:pt x="528" y="277"/>
                  <a:pt x="526" y="279"/>
                </a:cubicBezTo>
                <a:cubicBezTo>
                  <a:pt x="526" y="279"/>
                  <a:pt x="526" y="279"/>
                  <a:pt x="527" y="277"/>
                </a:cubicBezTo>
                <a:cubicBezTo>
                  <a:pt x="527" y="277"/>
                  <a:pt x="527" y="277"/>
                  <a:pt x="526" y="277"/>
                </a:cubicBezTo>
                <a:cubicBezTo>
                  <a:pt x="526" y="277"/>
                  <a:pt x="526" y="277"/>
                  <a:pt x="525" y="278"/>
                </a:cubicBezTo>
                <a:cubicBezTo>
                  <a:pt x="525" y="278"/>
                  <a:pt x="525" y="278"/>
                  <a:pt x="524" y="280"/>
                </a:cubicBezTo>
                <a:cubicBezTo>
                  <a:pt x="524" y="280"/>
                  <a:pt x="524" y="280"/>
                  <a:pt x="524" y="281"/>
                </a:cubicBezTo>
                <a:cubicBezTo>
                  <a:pt x="524" y="281"/>
                  <a:pt x="524" y="281"/>
                  <a:pt x="523" y="280"/>
                </a:cubicBezTo>
                <a:cubicBezTo>
                  <a:pt x="523" y="280"/>
                  <a:pt x="523" y="280"/>
                  <a:pt x="522" y="280"/>
                </a:cubicBezTo>
                <a:cubicBezTo>
                  <a:pt x="522" y="280"/>
                  <a:pt x="522" y="280"/>
                  <a:pt x="520" y="282"/>
                </a:cubicBezTo>
                <a:cubicBezTo>
                  <a:pt x="520" y="282"/>
                  <a:pt x="520" y="282"/>
                  <a:pt x="519" y="282"/>
                </a:cubicBezTo>
                <a:cubicBezTo>
                  <a:pt x="519" y="282"/>
                  <a:pt x="519" y="282"/>
                  <a:pt x="518" y="281"/>
                </a:cubicBezTo>
                <a:cubicBezTo>
                  <a:pt x="518" y="281"/>
                  <a:pt x="518" y="281"/>
                  <a:pt x="519" y="280"/>
                </a:cubicBezTo>
                <a:cubicBezTo>
                  <a:pt x="519" y="280"/>
                  <a:pt x="519" y="280"/>
                  <a:pt x="518" y="280"/>
                </a:cubicBezTo>
                <a:cubicBezTo>
                  <a:pt x="518" y="280"/>
                  <a:pt x="518" y="280"/>
                  <a:pt x="518" y="281"/>
                </a:cubicBezTo>
                <a:cubicBezTo>
                  <a:pt x="518" y="282"/>
                  <a:pt x="518" y="282"/>
                  <a:pt x="518" y="282"/>
                </a:cubicBezTo>
                <a:cubicBezTo>
                  <a:pt x="518" y="282"/>
                  <a:pt x="518" y="282"/>
                  <a:pt x="516" y="283"/>
                </a:cubicBezTo>
                <a:cubicBezTo>
                  <a:pt x="516" y="283"/>
                  <a:pt x="516" y="283"/>
                  <a:pt x="515" y="283"/>
                </a:cubicBezTo>
                <a:cubicBezTo>
                  <a:pt x="515" y="283"/>
                  <a:pt x="515" y="283"/>
                  <a:pt x="515" y="284"/>
                </a:cubicBezTo>
                <a:cubicBezTo>
                  <a:pt x="515" y="284"/>
                  <a:pt x="515" y="284"/>
                  <a:pt x="514" y="284"/>
                </a:cubicBezTo>
                <a:cubicBezTo>
                  <a:pt x="514" y="284"/>
                  <a:pt x="514" y="284"/>
                  <a:pt x="514" y="283"/>
                </a:cubicBezTo>
                <a:cubicBezTo>
                  <a:pt x="514" y="283"/>
                  <a:pt x="514" y="283"/>
                  <a:pt x="513" y="283"/>
                </a:cubicBezTo>
                <a:cubicBezTo>
                  <a:pt x="513" y="283"/>
                  <a:pt x="513" y="283"/>
                  <a:pt x="513" y="285"/>
                </a:cubicBezTo>
                <a:cubicBezTo>
                  <a:pt x="513" y="285"/>
                  <a:pt x="513" y="285"/>
                  <a:pt x="512" y="284"/>
                </a:cubicBezTo>
                <a:cubicBezTo>
                  <a:pt x="512" y="284"/>
                  <a:pt x="512" y="284"/>
                  <a:pt x="512" y="285"/>
                </a:cubicBezTo>
                <a:cubicBezTo>
                  <a:pt x="512" y="285"/>
                  <a:pt x="512" y="285"/>
                  <a:pt x="511" y="285"/>
                </a:cubicBezTo>
                <a:cubicBezTo>
                  <a:pt x="511" y="285"/>
                  <a:pt x="511" y="285"/>
                  <a:pt x="510" y="283"/>
                </a:cubicBezTo>
                <a:cubicBezTo>
                  <a:pt x="510" y="283"/>
                  <a:pt x="510" y="283"/>
                  <a:pt x="509" y="282"/>
                </a:cubicBezTo>
                <a:cubicBezTo>
                  <a:pt x="509" y="282"/>
                  <a:pt x="509" y="282"/>
                  <a:pt x="510" y="281"/>
                </a:cubicBezTo>
                <a:cubicBezTo>
                  <a:pt x="510" y="281"/>
                  <a:pt x="510" y="281"/>
                  <a:pt x="511" y="282"/>
                </a:cubicBezTo>
                <a:cubicBezTo>
                  <a:pt x="511" y="282"/>
                  <a:pt x="511" y="282"/>
                  <a:pt x="511" y="281"/>
                </a:cubicBezTo>
                <a:cubicBezTo>
                  <a:pt x="511" y="281"/>
                  <a:pt x="511" y="281"/>
                  <a:pt x="512" y="280"/>
                </a:cubicBezTo>
                <a:cubicBezTo>
                  <a:pt x="512" y="280"/>
                  <a:pt x="512" y="280"/>
                  <a:pt x="513" y="280"/>
                </a:cubicBezTo>
                <a:cubicBezTo>
                  <a:pt x="513" y="280"/>
                  <a:pt x="513" y="280"/>
                  <a:pt x="514" y="281"/>
                </a:cubicBezTo>
                <a:cubicBezTo>
                  <a:pt x="514" y="281"/>
                  <a:pt x="514" y="281"/>
                  <a:pt x="515" y="280"/>
                </a:cubicBezTo>
                <a:cubicBezTo>
                  <a:pt x="515" y="280"/>
                  <a:pt x="515" y="280"/>
                  <a:pt x="516" y="279"/>
                </a:cubicBezTo>
                <a:cubicBezTo>
                  <a:pt x="516" y="279"/>
                  <a:pt x="516" y="279"/>
                  <a:pt x="518" y="278"/>
                </a:cubicBezTo>
                <a:cubicBezTo>
                  <a:pt x="518" y="278"/>
                  <a:pt x="518" y="278"/>
                  <a:pt x="518" y="277"/>
                </a:cubicBezTo>
                <a:cubicBezTo>
                  <a:pt x="518" y="277"/>
                  <a:pt x="518" y="277"/>
                  <a:pt x="517" y="277"/>
                </a:cubicBezTo>
                <a:cubicBezTo>
                  <a:pt x="517" y="277"/>
                  <a:pt x="517" y="277"/>
                  <a:pt x="516" y="278"/>
                </a:cubicBezTo>
                <a:cubicBezTo>
                  <a:pt x="516" y="278"/>
                  <a:pt x="516" y="278"/>
                  <a:pt x="515" y="278"/>
                </a:cubicBezTo>
                <a:cubicBezTo>
                  <a:pt x="515" y="278"/>
                  <a:pt x="515" y="278"/>
                  <a:pt x="515" y="279"/>
                </a:cubicBezTo>
                <a:cubicBezTo>
                  <a:pt x="515" y="279"/>
                  <a:pt x="515" y="279"/>
                  <a:pt x="513" y="277"/>
                </a:cubicBezTo>
                <a:cubicBezTo>
                  <a:pt x="513" y="277"/>
                  <a:pt x="513" y="277"/>
                  <a:pt x="513" y="276"/>
                </a:cubicBezTo>
                <a:cubicBezTo>
                  <a:pt x="513" y="276"/>
                  <a:pt x="513" y="276"/>
                  <a:pt x="514" y="275"/>
                </a:cubicBezTo>
                <a:cubicBezTo>
                  <a:pt x="514" y="275"/>
                  <a:pt x="514" y="275"/>
                  <a:pt x="518" y="272"/>
                </a:cubicBezTo>
                <a:cubicBezTo>
                  <a:pt x="518" y="272"/>
                  <a:pt x="518" y="272"/>
                  <a:pt x="519" y="270"/>
                </a:cubicBezTo>
                <a:cubicBezTo>
                  <a:pt x="519" y="270"/>
                  <a:pt x="519" y="270"/>
                  <a:pt x="520" y="269"/>
                </a:cubicBezTo>
                <a:cubicBezTo>
                  <a:pt x="520" y="269"/>
                  <a:pt x="520" y="269"/>
                  <a:pt x="521" y="267"/>
                </a:cubicBezTo>
                <a:cubicBezTo>
                  <a:pt x="521" y="267"/>
                  <a:pt x="521" y="267"/>
                  <a:pt x="521" y="265"/>
                </a:cubicBezTo>
                <a:cubicBezTo>
                  <a:pt x="521" y="265"/>
                  <a:pt x="521" y="265"/>
                  <a:pt x="522" y="264"/>
                </a:cubicBezTo>
                <a:cubicBezTo>
                  <a:pt x="522" y="264"/>
                  <a:pt x="522" y="264"/>
                  <a:pt x="524" y="264"/>
                </a:cubicBezTo>
                <a:cubicBezTo>
                  <a:pt x="524" y="264"/>
                  <a:pt x="524" y="264"/>
                  <a:pt x="526" y="263"/>
                </a:cubicBezTo>
                <a:cubicBezTo>
                  <a:pt x="526" y="263"/>
                  <a:pt x="526" y="263"/>
                  <a:pt x="527" y="263"/>
                </a:cubicBezTo>
                <a:cubicBezTo>
                  <a:pt x="527" y="263"/>
                  <a:pt x="527" y="263"/>
                  <a:pt x="529" y="262"/>
                </a:cubicBezTo>
                <a:cubicBezTo>
                  <a:pt x="529" y="262"/>
                  <a:pt x="529" y="262"/>
                  <a:pt x="529" y="263"/>
                </a:cubicBezTo>
                <a:cubicBezTo>
                  <a:pt x="529" y="263"/>
                  <a:pt x="529" y="263"/>
                  <a:pt x="530" y="264"/>
                </a:cubicBezTo>
                <a:cubicBezTo>
                  <a:pt x="530" y="264"/>
                  <a:pt x="530" y="264"/>
                  <a:pt x="531" y="264"/>
                </a:cubicBezTo>
                <a:cubicBezTo>
                  <a:pt x="531" y="264"/>
                  <a:pt x="531" y="264"/>
                  <a:pt x="532" y="264"/>
                </a:cubicBezTo>
                <a:cubicBezTo>
                  <a:pt x="532" y="264"/>
                  <a:pt x="532" y="264"/>
                  <a:pt x="533" y="264"/>
                </a:cubicBezTo>
                <a:cubicBezTo>
                  <a:pt x="533" y="264"/>
                  <a:pt x="533" y="264"/>
                  <a:pt x="534" y="265"/>
                </a:cubicBezTo>
                <a:cubicBezTo>
                  <a:pt x="534" y="265"/>
                  <a:pt x="534" y="265"/>
                  <a:pt x="534" y="264"/>
                </a:cubicBezTo>
                <a:cubicBezTo>
                  <a:pt x="534" y="264"/>
                  <a:pt x="534" y="264"/>
                  <a:pt x="532" y="262"/>
                </a:cubicBezTo>
                <a:cubicBezTo>
                  <a:pt x="532" y="262"/>
                  <a:pt x="532" y="262"/>
                  <a:pt x="532" y="261"/>
                </a:cubicBezTo>
                <a:cubicBezTo>
                  <a:pt x="532" y="261"/>
                  <a:pt x="532" y="261"/>
                  <a:pt x="535" y="258"/>
                </a:cubicBezTo>
                <a:cubicBezTo>
                  <a:pt x="535" y="258"/>
                  <a:pt x="535" y="258"/>
                  <a:pt x="537" y="258"/>
                </a:cubicBezTo>
                <a:cubicBezTo>
                  <a:pt x="537" y="258"/>
                  <a:pt x="537" y="258"/>
                  <a:pt x="539" y="257"/>
                </a:cubicBezTo>
                <a:cubicBezTo>
                  <a:pt x="539" y="257"/>
                  <a:pt x="539" y="257"/>
                  <a:pt x="539" y="255"/>
                </a:cubicBezTo>
                <a:cubicBezTo>
                  <a:pt x="539" y="255"/>
                  <a:pt x="539" y="255"/>
                  <a:pt x="538" y="256"/>
                </a:cubicBezTo>
                <a:cubicBezTo>
                  <a:pt x="538" y="256"/>
                  <a:pt x="538" y="256"/>
                  <a:pt x="536" y="257"/>
                </a:cubicBezTo>
                <a:cubicBezTo>
                  <a:pt x="536" y="257"/>
                  <a:pt x="536" y="257"/>
                  <a:pt x="535" y="257"/>
                </a:cubicBezTo>
                <a:cubicBezTo>
                  <a:pt x="535" y="257"/>
                  <a:pt x="535" y="257"/>
                  <a:pt x="533" y="259"/>
                </a:cubicBezTo>
                <a:cubicBezTo>
                  <a:pt x="533" y="259"/>
                  <a:pt x="533" y="259"/>
                  <a:pt x="532" y="258"/>
                </a:cubicBezTo>
                <a:cubicBezTo>
                  <a:pt x="532" y="258"/>
                  <a:pt x="532" y="258"/>
                  <a:pt x="531" y="258"/>
                </a:cubicBezTo>
                <a:cubicBezTo>
                  <a:pt x="531" y="258"/>
                  <a:pt x="531" y="258"/>
                  <a:pt x="531" y="257"/>
                </a:cubicBezTo>
                <a:cubicBezTo>
                  <a:pt x="531" y="257"/>
                  <a:pt x="531" y="257"/>
                  <a:pt x="532" y="255"/>
                </a:cubicBezTo>
                <a:cubicBezTo>
                  <a:pt x="532" y="255"/>
                  <a:pt x="532" y="255"/>
                  <a:pt x="530" y="258"/>
                </a:cubicBezTo>
                <a:cubicBezTo>
                  <a:pt x="530" y="258"/>
                  <a:pt x="530" y="258"/>
                  <a:pt x="528" y="258"/>
                </a:cubicBezTo>
                <a:cubicBezTo>
                  <a:pt x="528" y="258"/>
                  <a:pt x="528" y="258"/>
                  <a:pt x="525" y="260"/>
                </a:cubicBezTo>
                <a:cubicBezTo>
                  <a:pt x="525" y="260"/>
                  <a:pt x="525" y="260"/>
                  <a:pt x="523" y="260"/>
                </a:cubicBezTo>
                <a:cubicBezTo>
                  <a:pt x="523" y="260"/>
                  <a:pt x="523" y="260"/>
                  <a:pt x="520" y="262"/>
                </a:cubicBezTo>
                <a:cubicBezTo>
                  <a:pt x="520" y="262"/>
                  <a:pt x="520" y="262"/>
                  <a:pt x="520" y="263"/>
                </a:cubicBezTo>
                <a:cubicBezTo>
                  <a:pt x="520" y="263"/>
                  <a:pt x="520" y="263"/>
                  <a:pt x="520" y="264"/>
                </a:cubicBezTo>
                <a:cubicBezTo>
                  <a:pt x="520" y="264"/>
                  <a:pt x="520" y="264"/>
                  <a:pt x="518" y="264"/>
                </a:cubicBezTo>
                <a:cubicBezTo>
                  <a:pt x="518" y="264"/>
                  <a:pt x="518" y="264"/>
                  <a:pt x="517" y="265"/>
                </a:cubicBezTo>
                <a:cubicBezTo>
                  <a:pt x="517" y="265"/>
                  <a:pt x="517" y="265"/>
                  <a:pt x="514" y="267"/>
                </a:cubicBezTo>
                <a:cubicBezTo>
                  <a:pt x="514" y="267"/>
                  <a:pt x="514" y="267"/>
                  <a:pt x="513" y="268"/>
                </a:cubicBezTo>
                <a:cubicBezTo>
                  <a:pt x="513" y="268"/>
                  <a:pt x="513" y="268"/>
                  <a:pt x="511" y="269"/>
                </a:cubicBezTo>
                <a:cubicBezTo>
                  <a:pt x="511" y="269"/>
                  <a:pt x="511" y="269"/>
                  <a:pt x="510" y="268"/>
                </a:cubicBezTo>
                <a:cubicBezTo>
                  <a:pt x="510" y="268"/>
                  <a:pt x="510" y="268"/>
                  <a:pt x="509" y="268"/>
                </a:cubicBezTo>
                <a:cubicBezTo>
                  <a:pt x="508" y="268"/>
                  <a:pt x="508" y="268"/>
                  <a:pt x="508" y="268"/>
                </a:cubicBezTo>
                <a:cubicBezTo>
                  <a:pt x="508" y="269"/>
                  <a:pt x="508" y="269"/>
                  <a:pt x="508" y="269"/>
                </a:cubicBezTo>
                <a:cubicBezTo>
                  <a:pt x="509" y="268"/>
                  <a:pt x="509" y="268"/>
                  <a:pt x="509" y="268"/>
                </a:cubicBezTo>
                <a:cubicBezTo>
                  <a:pt x="509" y="268"/>
                  <a:pt x="509" y="268"/>
                  <a:pt x="511" y="269"/>
                </a:cubicBezTo>
                <a:cubicBezTo>
                  <a:pt x="511" y="269"/>
                  <a:pt x="511" y="269"/>
                  <a:pt x="511" y="271"/>
                </a:cubicBezTo>
                <a:cubicBezTo>
                  <a:pt x="511" y="271"/>
                  <a:pt x="511" y="271"/>
                  <a:pt x="511" y="273"/>
                </a:cubicBezTo>
                <a:cubicBezTo>
                  <a:pt x="511" y="273"/>
                  <a:pt x="511" y="273"/>
                  <a:pt x="509" y="273"/>
                </a:cubicBezTo>
                <a:cubicBezTo>
                  <a:pt x="509" y="273"/>
                  <a:pt x="509" y="273"/>
                  <a:pt x="508" y="273"/>
                </a:cubicBezTo>
                <a:cubicBezTo>
                  <a:pt x="508" y="273"/>
                  <a:pt x="508" y="273"/>
                  <a:pt x="507" y="273"/>
                </a:cubicBezTo>
                <a:cubicBezTo>
                  <a:pt x="507" y="273"/>
                  <a:pt x="507" y="273"/>
                  <a:pt x="507" y="274"/>
                </a:cubicBezTo>
                <a:cubicBezTo>
                  <a:pt x="507" y="274"/>
                  <a:pt x="507" y="274"/>
                  <a:pt x="508" y="274"/>
                </a:cubicBezTo>
                <a:cubicBezTo>
                  <a:pt x="508" y="274"/>
                  <a:pt x="508" y="274"/>
                  <a:pt x="507" y="276"/>
                </a:cubicBezTo>
                <a:cubicBezTo>
                  <a:pt x="507" y="276"/>
                  <a:pt x="507" y="276"/>
                  <a:pt x="506" y="276"/>
                </a:cubicBezTo>
                <a:cubicBezTo>
                  <a:pt x="506" y="276"/>
                  <a:pt x="506" y="276"/>
                  <a:pt x="506" y="275"/>
                </a:cubicBezTo>
                <a:cubicBezTo>
                  <a:pt x="506" y="275"/>
                  <a:pt x="506" y="275"/>
                  <a:pt x="506" y="274"/>
                </a:cubicBezTo>
                <a:cubicBezTo>
                  <a:pt x="506" y="274"/>
                  <a:pt x="506" y="274"/>
                  <a:pt x="504" y="275"/>
                </a:cubicBezTo>
                <a:cubicBezTo>
                  <a:pt x="504" y="275"/>
                  <a:pt x="504" y="275"/>
                  <a:pt x="503" y="274"/>
                </a:cubicBezTo>
                <a:cubicBezTo>
                  <a:pt x="503" y="274"/>
                  <a:pt x="503" y="274"/>
                  <a:pt x="502" y="275"/>
                </a:cubicBezTo>
                <a:cubicBezTo>
                  <a:pt x="502" y="275"/>
                  <a:pt x="502" y="275"/>
                  <a:pt x="500" y="275"/>
                </a:cubicBezTo>
                <a:cubicBezTo>
                  <a:pt x="500" y="275"/>
                  <a:pt x="500" y="275"/>
                  <a:pt x="500" y="276"/>
                </a:cubicBezTo>
                <a:cubicBezTo>
                  <a:pt x="500" y="276"/>
                  <a:pt x="500" y="276"/>
                  <a:pt x="499" y="277"/>
                </a:cubicBezTo>
                <a:cubicBezTo>
                  <a:pt x="499" y="277"/>
                  <a:pt x="499" y="277"/>
                  <a:pt x="497" y="278"/>
                </a:cubicBezTo>
                <a:cubicBezTo>
                  <a:pt x="497" y="278"/>
                  <a:pt x="497" y="278"/>
                  <a:pt x="497" y="279"/>
                </a:cubicBezTo>
                <a:cubicBezTo>
                  <a:pt x="497" y="279"/>
                  <a:pt x="497" y="279"/>
                  <a:pt x="497" y="280"/>
                </a:cubicBezTo>
                <a:cubicBezTo>
                  <a:pt x="497" y="280"/>
                  <a:pt x="497" y="280"/>
                  <a:pt x="498" y="280"/>
                </a:cubicBezTo>
                <a:cubicBezTo>
                  <a:pt x="498" y="280"/>
                  <a:pt x="498" y="280"/>
                  <a:pt x="499" y="281"/>
                </a:cubicBezTo>
                <a:cubicBezTo>
                  <a:pt x="499" y="281"/>
                  <a:pt x="499" y="281"/>
                  <a:pt x="500" y="282"/>
                </a:cubicBezTo>
                <a:cubicBezTo>
                  <a:pt x="500" y="282"/>
                  <a:pt x="500" y="282"/>
                  <a:pt x="500" y="284"/>
                </a:cubicBezTo>
                <a:cubicBezTo>
                  <a:pt x="500" y="284"/>
                  <a:pt x="500" y="284"/>
                  <a:pt x="499" y="286"/>
                </a:cubicBezTo>
                <a:cubicBezTo>
                  <a:pt x="499" y="286"/>
                  <a:pt x="499" y="286"/>
                  <a:pt x="498" y="286"/>
                </a:cubicBezTo>
                <a:cubicBezTo>
                  <a:pt x="498" y="286"/>
                  <a:pt x="498" y="286"/>
                  <a:pt x="497" y="287"/>
                </a:cubicBezTo>
                <a:cubicBezTo>
                  <a:pt x="497" y="287"/>
                  <a:pt x="497" y="287"/>
                  <a:pt x="495" y="287"/>
                </a:cubicBezTo>
                <a:cubicBezTo>
                  <a:pt x="495" y="287"/>
                  <a:pt x="495" y="287"/>
                  <a:pt x="494" y="288"/>
                </a:cubicBezTo>
                <a:cubicBezTo>
                  <a:pt x="494" y="288"/>
                  <a:pt x="494" y="288"/>
                  <a:pt x="493" y="288"/>
                </a:cubicBezTo>
                <a:cubicBezTo>
                  <a:pt x="493" y="288"/>
                  <a:pt x="493" y="288"/>
                  <a:pt x="492" y="288"/>
                </a:cubicBezTo>
                <a:cubicBezTo>
                  <a:pt x="492" y="288"/>
                  <a:pt x="492" y="288"/>
                  <a:pt x="493" y="289"/>
                </a:cubicBezTo>
                <a:cubicBezTo>
                  <a:pt x="493" y="289"/>
                  <a:pt x="493" y="289"/>
                  <a:pt x="492" y="289"/>
                </a:cubicBezTo>
                <a:cubicBezTo>
                  <a:pt x="492" y="289"/>
                  <a:pt x="492" y="289"/>
                  <a:pt x="491" y="290"/>
                </a:cubicBezTo>
                <a:cubicBezTo>
                  <a:pt x="491" y="290"/>
                  <a:pt x="491" y="290"/>
                  <a:pt x="490" y="291"/>
                </a:cubicBezTo>
                <a:cubicBezTo>
                  <a:pt x="490" y="291"/>
                  <a:pt x="490" y="291"/>
                  <a:pt x="491" y="291"/>
                </a:cubicBezTo>
                <a:cubicBezTo>
                  <a:pt x="491" y="291"/>
                  <a:pt x="491" y="291"/>
                  <a:pt x="492" y="291"/>
                </a:cubicBezTo>
                <a:cubicBezTo>
                  <a:pt x="492" y="291"/>
                  <a:pt x="492" y="291"/>
                  <a:pt x="491" y="293"/>
                </a:cubicBezTo>
                <a:cubicBezTo>
                  <a:pt x="491" y="293"/>
                  <a:pt x="491" y="293"/>
                  <a:pt x="490" y="292"/>
                </a:cubicBezTo>
                <a:cubicBezTo>
                  <a:pt x="490" y="292"/>
                  <a:pt x="490" y="292"/>
                  <a:pt x="489" y="293"/>
                </a:cubicBezTo>
                <a:cubicBezTo>
                  <a:pt x="489" y="293"/>
                  <a:pt x="489" y="293"/>
                  <a:pt x="489" y="292"/>
                </a:cubicBezTo>
                <a:cubicBezTo>
                  <a:pt x="489" y="292"/>
                  <a:pt x="489" y="292"/>
                  <a:pt x="488" y="292"/>
                </a:cubicBezTo>
                <a:cubicBezTo>
                  <a:pt x="488" y="292"/>
                  <a:pt x="488" y="292"/>
                  <a:pt x="488" y="294"/>
                </a:cubicBezTo>
                <a:cubicBezTo>
                  <a:pt x="488" y="294"/>
                  <a:pt x="488" y="294"/>
                  <a:pt x="486" y="293"/>
                </a:cubicBezTo>
                <a:cubicBezTo>
                  <a:pt x="486" y="293"/>
                  <a:pt x="486" y="293"/>
                  <a:pt x="485" y="294"/>
                </a:cubicBezTo>
                <a:cubicBezTo>
                  <a:pt x="485" y="294"/>
                  <a:pt x="485" y="294"/>
                  <a:pt x="484" y="294"/>
                </a:cubicBezTo>
                <a:cubicBezTo>
                  <a:pt x="484" y="294"/>
                  <a:pt x="484" y="294"/>
                  <a:pt x="484" y="295"/>
                </a:cubicBezTo>
                <a:cubicBezTo>
                  <a:pt x="484" y="295"/>
                  <a:pt x="484" y="295"/>
                  <a:pt x="483" y="295"/>
                </a:cubicBezTo>
                <a:cubicBezTo>
                  <a:pt x="483" y="295"/>
                  <a:pt x="483" y="295"/>
                  <a:pt x="483" y="296"/>
                </a:cubicBezTo>
                <a:cubicBezTo>
                  <a:pt x="483" y="296"/>
                  <a:pt x="483" y="296"/>
                  <a:pt x="482" y="296"/>
                </a:cubicBezTo>
                <a:cubicBezTo>
                  <a:pt x="482" y="296"/>
                  <a:pt x="482" y="296"/>
                  <a:pt x="482" y="295"/>
                </a:cubicBezTo>
                <a:cubicBezTo>
                  <a:pt x="482" y="295"/>
                  <a:pt x="482" y="295"/>
                  <a:pt x="481" y="295"/>
                </a:cubicBezTo>
                <a:cubicBezTo>
                  <a:pt x="481" y="295"/>
                  <a:pt x="481" y="295"/>
                  <a:pt x="480" y="296"/>
                </a:cubicBezTo>
                <a:cubicBezTo>
                  <a:pt x="480" y="296"/>
                  <a:pt x="480" y="296"/>
                  <a:pt x="479" y="297"/>
                </a:cubicBezTo>
                <a:cubicBezTo>
                  <a:pt x="479" y="297"/>
                  <a:pt x="479" y="297"/>
                  <a:pt x="478" y="297"/>
                </a:cubicBezTo>
                <a:cubicBezTo>
                  <a:pt x="478" y="297"/>
                  <a:pt x="478" y="297"/>
                  <a:pt x="477" y="299"/>
                </a:cubicBezTo>
                <a:cubicBezTo>
                  <a:pt x="477" y="299"/>
                  <a:pt x="477" y="299"/>
                  <a:pt x="476" y="298"/>
                </a:cubicBezTo>
                <a:cubicBezTo>
                  <a:pt x="476" y="298"/>
                  <a:pt x="476" y="298"/>
                  <a:pt x="475" y="299"/>
                </a:cubicBezTo>
                <a:cubicBezTo>
                  <a:pt x="475" y="299"/>
                  <a:pt x="475" y="299"/>
                  <a:pt x="474" y="300"/>
                </a:cubicBezTo>
                <a:cubicBezTo>
                  <a:pt x="474" y="300"/>
                  <a:pt x="474" y="300"/>
                  <a:pt x="472" y="301"/>
                </a:cubicBezTo>
                <a:cubicBezTo>
                  <a:pt x="472" y="301"/>
                  <a:pt x="472" y="301"/>
                  <a:pt x="473" y="301"/>
                </a:cubicBezTo>
                <a:cubicBezTo>
                  <a:pt x="473" y="301"/>
                  <a:pt x="473" y="301"/>
                  <a:pt x="474" y="301"/>
                </a:cubicBezTo>
                <a:cubicBezTo>
                  <a:pt x="474" y="301"/>
                  <a:pt x="474" y="301"/>
                  <a:pt x="474" y="302"/>
                </a:cubicBezTo>
                <a:cubicBezTo>
                  <a:pt x="474" y="302"/>
                  <a:pt x="474" y="302"/>
                  <a:pt x="472" y="304"/>
                </a:cubicBezTo>
                <a:cubicBezTo>
                  <a:pt x="472" y="304"/>
                  <a:pt x="472" y="304"/>
                  <a:pt x="471" y="304"/>
                </a:cubicBezTo>
                <a:cubicBezTo>
                  <a:pt x="471" y="304"/>
                  <a:pt x="471" y="304"/>
                  <a:pt x="471" y="303"/>
                </a:cubicBezTo>
                <a:cubicBezTo>
                  <a:pt x="471" y="303"/>
                  <a:pt x="471" y="303"/>
                  <a:pt x="470" y="303"/>
                </a:cubicBezTo>
                <a:cubicBezTo>
                  <a:pt x="470" y="303"/>
                  <a:pt x="470" y="303"/>
                  <a:pt x="470" y="305"/>
                </a:cubicBezTo>
                <a:cubicBezTo>
                  <a:pt x="470" y="305"/>
                  <a:pt x="470" y="305"/>
                  <a:pt x="469" y="304"/>
                </a:cubicBezTo>
                <a:cubicBezTo>
                  <a:pt x="469" y="304"/>
                  <a:pt x="469" y="304"/>
                  <a:pt x="468" y="305"/>
                </a:cubicBezTo>
                <a:cubicBezTo>
                  <a:pt x="468" y="305"/>
                  <a:pt x="468" y="305"/>
                  <a:pt x="467" y="306"/>
                </a:cubicBezTo>
                <a:cubicBezTo>
                  <a:pt x="467" y="306"/>
                  <a:pt x="467" y="306"/>
                  <a:pt x="466" y="306"/>
                </a:cubicBezTo>
                <a:cubicBezTo>
                  <a:pt x="466" y="306"/>
                  <a:pt x="466" y="306"/>
                  <a:pt x="466" y="305"/>
                </a:cubicBezTo>
                <a:cubicBezTo>
                  <a:pt x="466" y="305"/>
                  <a:pt x="466" y="305"/>
                  <a:pt x="465" y="305"/>
                </a:cubicBezTo>
                <a:cubicBezTo>
                  <a:pt x="465" y="305"/>
                  <a:pt x="465" y="305"/>
                  <a:pt x="465" y="306"/>
                </a:cubicBezTo>
                <a:cubicBezTo>
                  <a:pt x="465" y="306"/>
                  <a:pt x="465" y="306"/>
                  <a:pt x="464" y="307"/>
                </a:cubicBezTo>
                <a:cubicBezTo>
                  <a:pt x="464" y="307"/>
                  <a:pt x="464" y="307"/>
                  <a:pt x="464" y="308"/>
                </a:cubicBezTo>
                <a:cubicBezTo>
                  <a:pt x="464" y="308"/>
                  <a:pt x="464" y="308"/>
                  <a:pt x="463" y="308"/>
                </a:cubicBezTo>
                <a:cubicBezTo>
                  <a:pt x="463" y="308"/>
                  <a:pt x="463" y="308"/>
                  <a:pt x="463" y="307"/>
                </a:cubicBezTo>
                <a:cubicBezTo>
                  <a:pt x="463" y="307"/>
                  <a:pt x="463" y="307"/>
                  <a:pt x="462" y="307"/>
                </a:cubicBezTo>
                <a:cubicBezTo>
                  <a:pt x="462" y="307"/>
                  <a:pt x="462" y="307"/>
                  <a:pt x="461" y="308"/>
                </a:cubicBezTo>
                <a:cubicBezTo>
                  <a:pt x="461" y="308"/>
                  <a:pt x="461" y="308"/>
                  <a:pt x="460" y="308"/>
                </a:cubicBezTo>
                <a:cubicBezTo>
                  <a:pt x="460" y="308"/>
                  <a:pt x="460" y="308"/>
                  <a:pt x="461" y="309"/>
                </a:cubicBezTo>
                <a:cubicBezTo>
                  <a:pt x="461" y="309"/>
                  <a:pt x="461" y="309"/>
                  <a:pt x="460" y="310"/>
                </a:cubicBezTo>
                <a:cubicBezTo>
                  <a:pt x="460" y="310"/>
                  <a:pt x="460" y="310"/>
                  <a:pt x="458" y="310"/>
                </a:cubicBezTo>
                <a:cubicBezTo>
                  <a:pt x="458" y="310"/>
                  <a:pt x="458" y="310"/>
                  <a:pt x="456" y="311"/>
                </a:cubicBezTo>
                <a:cubicBezTo>
                  <a:pt x="456" y="311"/>
                  <a:pt x="456" y="311"/>
                  <a:pt x="456" y="312"/>
                </a:cubicBezTo>
                <a:cubicBezTo>
                  <a:pt x="456" y="312"/>
                  <a:pt x="456" y="312"/>
                  <a:pt x="455" y="313"/>
                </a:cubicBezTo>
                <a:cubicBezTo>
                  <a:pt x="455" y="313"/>
                  <a:pt x="455" y="313"/>
                  <a:pt x="456" y="313"/>
                </a:cubicBezTo>
                <a:cubicBezTo>
                  <a:pt x="456" y="313"/>
                  <a:pt x="456" y="313"/>
                  <a:pt x="455" y="314"/>
                </a:cubicBezTo>
                <a:cubicBezTo>
                  <a:pt x="455" y="314"/>
                  <a:pt x="455" y="314"/>
                  <a:pt x="454" y="314"/>
                </a:cubicBezTo>
                <a:cubicBezTo>
                  <a:pt x="454" y="314"/>
                  <a:pt x="454" y="314"/>
                  <a:pt x="454" y="313"/>
                </a:cubicBezTo>
                <a:cubicBezTo>
                  <a:pt x="454" y="313"/>
                  <a:pt x="454" y="313"/>
                  <a:pt x="453" y="314"/>
                </a:cubicBezTo>
                <a:cubicBezTo>
                  <a:pt x="453" y="314"/>
                  <a:pt x="453" y="314"/>
                  <a:pt x="452" y="314"/>
                </a:cubicBezTo>
                <a:cubicBezTo>
                  <a:pt x="452" y="314"/>
                  <a:pt x="452" y="314"/>
                  <a:pt x="451" y="315"/>
                </a:cubicBezTo>
                <a:cubicBezTo>
                  <a:pt x="451" y="315"/>
                  <a:pt x="451" y="315"/>
                  <a:pt x="450" y="315"/>
                </a:cubicBezTo>
                <a:cubicBezTo>
                  <a:pt x="450" y="315"/>
                  <a:pt x="450" y="315"/>
                  <a:pt x="449" y="315"/>
                </a:cubicBezTo>
                <a:cubicBezTo>
                  <a:pt x="449" y="315"/>
                  <a:pt x="449" y="315"/>
                  <a:pt x="448" y="315"/>
                </a:cubicBezTo>
                <a:cubicBezTo>
                  <a:pt x="448" y="315"/>
                  <a:pt x="448" y="315"/>
                  <a:pt x="447" y="315"/>
                </a:cubicBezTo>
                <a:cubicBezTo>
                  <a:pt x="447" y="315"/>
                  <a:pt x="447" y="315"/>
                  <a:pt x="447" y="317"/>
                </a:cubicBezTo>
                <a:cubicBezTo>
                  <a:pt x="447" y="317"/>
                  <a:pt x="447" y="317"/>
                  <a:pt x="445" y="319"/>
                </a:cubicBezTo>
                <a:cubicBezTo>
                  <a:pt x="445" y="319"/>
                  <a:pt x="445" y="319"/>
                  <a:pt x="445" y="318"/>
                </a:cubicBezTo>
                <a:cubicBezTo>
                  <a:pt x="445" y="318"/>
                  <a:pt x="445" y="318"/>
                  <a:pt x="446" y="317"/>
                </a:cubicBezTo>
                <a:cubicBezTo>
                  <a:pt x="446" y="317"/>
                  <a:pt x="446" y="317"/>
                  <a:pt x="446" y="316"/>
                </a:cubicBezTo>
                <a:cubicBezTo>
                  <a:pt x="446" y="316"/>
                  <a:pt x="446" y="316"/>
                  <a:pt x="446" y="315"/>
                </a:cubicBezTo>
                <a:cubicBezTo>
                  <a:pt x="446" y="315"/>
                  <a:pt x="446" y="315"/>
                  <a:pt x="445" y="315"/>
                </a:cubicBezTo>
                <a:cubicBezTo>
                  <a:pt x="445" y="315"/>
                  <a:pt x="445" y="315"/>
                  <a:pt x="443" y="317"/>
                </a:cubicBezTo>
                <a:cubicBezTo>
                  <a:pt x="443" y="317"/>
                  <a:pt x="443" y="317"/>
                  <a:pt x="442" y="317"/>
                </a:cubicBezTo>
                <a:cubicBezTo>
                  <a:pt x="442" y="317"/>
                  <a:pt x="442" y="317"/>
                  <a:pt x="441" y="318"/>
                </a:cubicBezTo>
                <a:cubicBezTo>
                  <a:pt x="441" y="318"/>
                  <a:pt x="441" y="318"/>
                  <a:pt x="440" y="318"/>
                </a:cubicBezTo>
                <a:cubicBezTo>
                  <a:pt x="440" y="318"/>
                  <a:pt x="440" y="318"/>
                  <a:pt x="439" y="319"/>
                </a:cubicBezTo>
                <a:cubicBezTo>
                  <a:pt x="439" y="319"/>
                  <a:pt x="439" y="319"/>
                  <a:pt x="439" y="318"/>
                </a:cubicBezTo>
                <a:cubicBezTo>
                  <a:pt x="439" y="318"/>
                  <a:pt x="439" y="318"/>
                  <a:pt x="439" y="317"/>
                </a:cubicBezTo>
                <a:cubicBezTo>
                  <a:pt x="439" y="317"/>
                  <a:pt x="439" y="317"/>
                  <a:pt x="438" y="318"/>
                </a:cubicBezTo>
                <a:cubicBezTo>
                  <a:pt x="438" y="318"/>
                  <a:pt x="438" y="318"/>
                  <a:pt x="438" y="317"/>
                </a:cubicBezTo>
                <a:cubicBezTo>
                  <a:pt x="438" y="317"/>
                  <a:pt x="438" y="317"/>
                  <a:pt x="437" y="318"/>
                </a:cubicBezTo>
                <a:cubicBezTo>
                  <a:pt x="437" y="318"/>
                  <a:pt x="437" y="318"/>
                  <a:pt x="437" y="319"/>
                </a:cubicBezTo>
                <a:cubicBezTo>
                  <a:pt x="437" y="319"/>
                  <a:pt x="437" y="319"/>
                  <a:pt x="435" y="320"/>
                </a:cubicBezTo>
                <a:cubicBezTo>
                  <a:pt x="435" y="320"/>
                  <a:pt x="435" y="320"/>
                  <a:pt x="435" y="318"/>
                </a:cubicBezTo>
                <a:cubicBezTo>
                  <a:pt x="435" y="318"/>
                  <a:pt x="435" y="318"/>
                  <a:pt x="435" y="317"/>
                </a:cubicBezTo>
                <a:cubicBezTo>
                  <a:pt x="435" y="317"/>
                  <a:pt x="435" y="317"/>
                  <a:pt x="436" y="317"/>
                </a:cubicBezTo>
                <a:cubicBezTo>
                  <a:pt x="436" y="317"/>
                  <a:pt x="436" y="317"/>
                  <a:pt x="437" y="317"/>
                </a:cubicBezTo>
                <a:cubicBezTo>
                  <a:pt x="437" y="317"/>
                  <a:pt x="437" y="317"/>
                  <a:pt x="435" y="316"/>
                </a:cubicBezTo>
                <a:cubicBezTo>
                  <a:pt x="435" y="316"/>
                  <a:pt x="435" y="316"/>
                  <a:pt x="434" y="317"/>
                </a:cubicBezTo>
                <a:cubicBezTo>
                  <a:pt x="434" y="317"/>
                  <a:pt x="434" y="317"/>
                  <a:pt x="433" y="318"/>
                </a:cubicBezTo>
                <a:cubicBezTo>
                  <a:pt x="433" y="318"/>
                  <a:pt x="433" y="318"/>
                  <a:pt x="433" y="319"/>
                </a:cubicBezTo>
                <a:cubicBezTo>
                  <a:pt x="433" y="319"/>
                  <a:pt x="433" y="319"/>
                  <a:pt x="432" y="320"/>
                </a:cubicBezTo>
                <a:cubicBezTo>
                  <a:pt x="432" y="320"/>
                  <a:pt x="432" y="320"/>
                  <a:pt x="431" y="321"/>
                </a:cubicBezTo>
                <a:cubicBezTo>
                  <a:pt x="431" y="321"/>
                  <a:pt x="431" y="321"/>
                  <a:pt x="430" y="321"/>
                </a:cubicBezTo>
                <a:cubicBezTo>
                  <a:pt x="430" y="321"/>
                  <a:pt x="430" y="321"/>
                  <a:pt x="429" y="321"/>
                </a:cubicBezTo>
                <a:cubicBezTo>
                  <a:pt x="429" y="321"/>
                  <a:pt x="429" y="321"/>
                  <a:pt x="429" y="322"/>
                </a:cubicBezTo>
                <a:cubicBezTo>
                  <a:pt x="429" y="322"/>
                  <a:pt x="429" y="322"/>
                  <a:pt x="428" y="321"/>
                </a:cubicBezTo>
                <a:cubicBezTo>
                  <a:pt x="428" y="321"/>
                  <a:pt x="428" y="321"/>
                  <a:pt x="428" y="322"/>
                </a:cubicBezTo>
                <a:cubicBezTo>
                  <a:pt x="428" y="322"/>
                  <a:pt x="428" y="322"/>
                  <a:pt x="427" y="322"/>
                </a:cubicBezTo>
                <a:cubicBezTo>
                  <a:pt x="427" y="322"/>
                  <a:pt x="427" y="322"/>
                  <a:pt x="426" y="322"/>
                </a:cubicBezTo>
                <a:cubicBezTo>
                  <a:pt x="426" y="322"/>
                  <a:pt x="426" y="322"/>
                  <a:pt x="427" y="321"/>
                </a:cubicBezTo>
                <a:cubicBezTo>
                  <a:pt x="427" y="321"/>
                  <a:pt x="427" y="321"/>
                  <a:pt x="426" y="320"/>
                </a:cubicBezTo>
                <a:cubicBezTo>
                  <a:pt x="426" y="320"/>
                  <a:pt x="426" y="320"/>
                  <a:pt x="426" y="321"/>
                </a:cubicBezTo>
                <a:cubicBezTo>
                  <a:pt x="426" y="321"/>
                  <a:pt x="426" y="321"/>
                  <a:pt x="425" y="323"/>
                </a:cubicBezTo>
                <a:cubicBezTo>
                  <a:pt x="425" y="323"/>
                  <a:pt x="425" y="323"/>
                  <a:pt x="423" y="323"/>
                </a:cubicBezTo>
                <a:cubicBezTo>
                  <a:pt x="423" y="323"/>
                  <a:pt x="423" y="323"/>
                  <a:pt x="423" y="322"/>
                </a:cubicBezTo>
                <a:cubicBezTo>
                  <a:pt x="423" y="322"/>
                  <a:pt x="423" y="322"/>
                  <a:pt x="423" y="321"/>
                </a:cubicBezTo>
                <a:cubicBezTo>
                  <a:pt x="423" y="321"/>
                  <a:pt x="423" y="321"/>
                  <a:pt x="422" y="321"/>
                </a:cubicBezTo>
                <a:cubicBezTo>
                  <a:pt x="422" y="321"/>
                  <a:pt x="422" y="321"/>
                  <a:pt x="422" y="322"/>
                </a:cubicBezTo>
                <a:cubicBezTo>
                  <a:pt x="422" y="322"/>
                  <a:pt x="422" y="322"/>
                  <a:pt x="422" y="323"/>
                </a:cubicBezTo>
                <a:cubicBezTo>
                  <a:pt x="422" y="323"/>
                  <a:pt x="422" y="323"/>
                  <a:pt x="421" y="323"/>
                </a:cubicBezTo>
                <a:cubicBezTo>
                  <a:pt x="421" y="323"/>
                  <a:pt x="421" y="323"/>
                  <a:pt x="421" y="322"/>
                </a:cubicBezTo>
                <a:cubicBezTo>
                  <a:pt x="421" y="322"/>
                  <a:pt x="421" y="322"/>
                  <a:pt x="421" y="321"/>
                </a:cubicBezTo>
                <a:cubicBezTo>
                  <a:pt x="421" y="321"/>
                  <a:pt x="421" y="321"/>
                  <a:pt x="422" y="320"/>
                </a:cubicBezTo>
                <a:cubicBezTo>
                  <a:pt x="422" y="320"/>
                  <a:pt x="422" y="320"/>
                  <a:pt x="423" y="320"/>
                </a:cubicBezTo>
                <a:cubicBezTo>
                  <a:pt x="423" y="320"/>
                  <a:pt x="423" y="320"/>
                  <a:pt x="424" y="320"/>
                </a:cubicBezTo>
                <a:cubicBezTo>
                  <a:pt x="424" y="320"/>
                  <a:pt x="424" y="320"/>
                  <a:pt x="425" y="319"/>
                </a:cubicBezTo>
                <a:cubicBezTo>
                  <a:pt x="425" y="319"/>
                  <a:pt x="425" y="319"/>
                  <a:pt x="427" y="318"/>
                </a:cubicBezTo>
                <a:cubicBezTo>
                  <a:pt x="427" y="318"/>
                  <a:pt x="427" y="318"/>
                  <a:pt x="428" y="318"/>
                </a:cubicBezTo>
                <a:cubicBezTo>
                  <a:pt x="428" y="318"/>
                  <a:pt x="428" y="318"/>
                  <a:pt x="428" y="317"/>
                </a:cubicBezTo>
                <a:cubicBezTo>
                  <a:pt x="428" y="317"/>
                  <a:pt x="428" y="317"/>
                  <a:pt x="429" y="316"/>
                </a:cubicBezTo>
                <a:cubicBezTo>
                  <a:pt x="429" y="316"/>
                  <a:pt x="429" y="316"/>
                  <a:pt x="431" y="315"/>
                </a:cubicBezTo>
                <a:cubicBezTo>
                  <a:pt x="431" y="315"/>
                  <a:pt x="431" y="315"/>
                  <a:pt x="432" y="314"/>
                </a:cubicBezTo>
                <a:cubicBezTo>
                  <a:pt x="432" y="314"/>
                  <a:pt x="432" y="314"/>
                  <a:pt x="433" y="313"/>
                </a:cubicBezTo>
                <a:cubicBezTo>
                  <a:pt x="433" y="313"/>
                  <a:pt x="433" y="313"/>
                  <a:pt x="434" y="313"/>
                </a:cubicBezTo>
                <a:cubicBezTo>
                  <a:pt x="434" y="313"/>
                  <a:pt x="434" y="313"/>
                  <a:pt x="436" y="312"/>
                </a:cubicBezTo>
                <a:cubicBezTo>
                  <a:pt x="436" y="312"/>
                  <a:pt x="436" y="312"/>
                  <a:pt x="437" y="312"/>
                </a:cubicBezTo>
                <a:cubicBezTo>
                  <a:pt x="437" y="312"/>
                  <a:pt x="437" y="312"/>
                  <a:pt x="438" y="312"/>
                </a:cubicBezTo>
                <a:cubicBezTo>
                  <a:pt x="438" y="312"/>
                  <a:pt x="438" y="312"/>
                  <a:pt x="439" y="312"/>
                </a:cubicBezTo>
                <a:cubicBezTo>
                  <a:pt x="439" y="312"/>
                  <a:pt x="439" y="312"/>
                  <a:pt x="440" y="313"/>
                </a:cubicBezTo>
                <a:cubicBezTo>
                  <a:pt x="440" y="313"/>
                  <a:pt x="440" y="313"/>
                  <a:pt x="440" y="315"/>
                </a:cubicBezTo>
                <a:cubicBezTo>
                  <a:pt x="440" y="315"/>
                  <a:pt x="440" y="315"/>
                  <a:pt x="441" y="315"/>
                </a:cubicBezTo>
                <a:cubicBezTo>
                  <a:pt x="441" y="315"/>
                  <a:pt x="441" y="315"/>
                  <a:pt x="441" y="314"/>
                </a:cubicBezTo>
                <a:cubicBezTo>
                  <a:pt x="441" y="314"/>
                  <a:pt x="441" y="314"/>
                  <a:pt x="442" y="314"/>
                </a:cubicBezTo>
                <a:cubicBezTo>
                  <a:pt x="442" y="314"/>
                  <a:pt x="442" y="314"/>
                  <a:pt x="442" y="315"/>
                </a:cubicBezTo>
                <a:cubicBezTo>
                  <a:pt x="442" y="315"/>
                  <a:pt x="442" y="315"/>
                  <a:pt x="443" y="314"/>
                </a:cubicBezTo>
                <a:cubicBezTo>
                  <a:pt x="443" y="314"/>
                  <a:pt x="443" y="314"/>
                  <a:pt x="443" y="313"/>
                </a:cubicBezTo>
                <a:cubicBezTo>
                  <a:pt x="443" y="313"/>
                  <a:pt x="443" y="313"/>
                  <a:pt x="442" y="312"/>
                </a:cubicBezTo>
                <a:cubicBezTo>
                  <a:pt x="442" y="312"/>
                  <a:pt x="442" y="312"/>
                  <a:pt x="443" y="310"/>
                </a:cubicBezTo>
                <a:cubicBezTo>
                  <a:pt x="443" y="310"/>
                  <a:pt x="443" y="310"/>
                  <a:pt x="445" y="308"/>
                </a:cubicBezTo>
                <a:cubicBezTo>
                  <a:pt x="445" y="308"/>
                  <a:pt x="445" y="308"/>
                  <a:pt x="448" y="307"/>
                </a:cubicBezTo>
                <a:cubicBezTo>
                  <a:pt x="448" y="307"/>
                  <a:pt x="448" y="307"/>
                  <a:pt x="450" y="306"/>
                </a:cubicBezTo>
                <a:cubicBezTo>
                  <a:pt x="450" y="306"/>
                  <a:pt x="450" y="306"/>
                  <a:pt x="451" y="306"/>
                </a:cubicBezTo>
                <a:cubicBezTo>
                  <a:pt x="451" y="306"/>
                  <a:pt x="451" y="306"/>
                  <a:pt x="453" y="305"/>
                </a:cubicBezTo>
                <a:cubicBezTo>
                  <a:pt x="453" y="305"/>
                  <a:pt x="453" y="305"/>
                  <a:pt x="453" y="304"/>
                </a:cubicBezTo>
                <a:cubicBezTo>
                  <a:pt x="453" y="304"/>
                  <a:pt x="453" y="304"/>
                  <a:pt x="454" y="304"/>
                </a:cubicBezTo>
                <a:cubicBezTo>
                  <a:pt x="454" y="304"/>
                  <a:pt x="454" y="304"/>
                  <a:pt x="455" y="303"/>
                </a:cubicBezTo>
                <a:cubicBezTo>
                  <a:pt x="455" y="303"/>
                  <a:pt x="455" y="303"/>
                  <a:pt x="457" y="302"/>
                </a:cubicBezTo>
                <a:cubicBezTo>
                  <a:pt x="457" y="302"/>
                  <a:pt x="457" y="302"/>
                  <a:pt x="457" y="303"/>
                </a:cubicBezTo>
                <a:cubicBezTo>
                  <a:pt x="457" y="303"/>
                  <a:pt x="457" y="303"/>
                  <a:pt x="458" y="304"/>
                </a:cubicBezTo>
                <a:cubicBezTo>
                  <a:pt x="458" y="304"/>
                  <a:pt x="458" y="304"/>
                  <a:pt x="458" y="303"/>
                </a:cubicBezTo>
                <a:cubicBezTo>
                  <a:pt x="458" y="303"/>
                  <a:pt x="458" y="303"/>
                  <a:pt x="459" y="301"/>
                </a:cubicBezTo>
                <a:cubicBezTo>
                  <a:pt x="459" y="301"/>
                  <a:pt x="459" y="301"/>
                  <a:pt x="462" y="299"/>
                </a:cubicBezTo>
                <a:cubicBezTo>
                  <a:pt x="462" y="299"/>
                  <a:pt x="462" y="299"/>
                  <a:pt x="463" y="299"/>
                </a:cubicBezTo>
                <a:cubicBezTo>
                  <a:pt x="463" y="299"/>
                  <a:pt x="463" y="299"/>
                  <a:pt x="464" y="299"/>
                </a:cubicBezTo>
                <a:cubicBezTo>
                  <a:pt x="464" y="299"/>
                  <a:pt x="464" y="299"/>
                  <a:pt x="464" y="298"/>
                </a:cubicBezTo>
                <a:cubicBezTo>
                  <a:pt x="464" y="298"/>
                  <a:pt x="464" y="298"/>
                  <a:pt x="465" y="297"/>
                </a:cubicBezTo>
                <a:cubicBezTo>
                  <a:pt x="465" y="297"/>
                  <a:pt x="465" y="297"/>
                  <a:pt x="466" y="296"/>
                </a:cubicBezTo>
                <a:cubicBezTo>
                  <a:pt x="466" y="296"/>
                  <a:pt x="466" y="296"/>
                  <a:pt x="467" y="296"/>
                </a:cubicBezTo>
                <a:cubicBezTo>
                  <a:pt x="467" y="296"/>
                  <a:pt x="467" y="296"/>
                  <a:pt x="467" y="297"/>
                </a:cubicBezTo>
                <a:cubicBezTo>
                  <a:pt x="467" y="297"/>
                  <a:pt x="467" y="297"/>
                  <a:pt x="468" y="297"/>
                </a:cubicBezTo>
                <a:cubicBezTo>
                  <a:pt x="468" y="297"/>
                  <a:pt x="468" y="297"/>
                  <a:pt x="468" y="296"/>
                </a:cubicBezTo>
                <a:cubicBezTo>
                  <a:pt x="468" y="296"/>
                  <a:pt x="468" y="296"/>
                  <a:pt x="468" y="295"/>
                </a:cubicBezTo>
                <a:cubicBezTo>
                  <a:pt x="468" y="295"/>
                  <a:pt x="468" y="295"/>
                  <a:pt x="468" y="294"/>
                </a:cubicBezTo>
                <a:cubicBezTo>
                  <a:pt x="468" y="294"/>
                  <a:pt x="468" y="294"/>
                  <a:pt x="470" y="292"/>
                </a:cubicBezTo>
                <a:cubicBezTo>
                  <a:pt x="470" y="292"/>
                  <a:pt x="470" y="292"/>
                  <a:pt x="470" y="290"/>
                </a:cubicBezTo>
                <a:cubicBezTo>
                  <a:pt x="470" y="290"/>
                  <a:pt x="470" y="290"/>
                  <a:pt x="471" y="289"/>
                </a:cubicBezTo>
                <a:cubicBezTo>
                  <a:pt x="471" y="289"/>
                  <a:pt x="471" y="289"/>
                  <a:pt x="472" y="289"/>
                </a:cubicBezTo>
                <a:cubicBezTo>
                  <a:pt x="472" y="289"/>
                  <a:pt x="472" y="289"/>
                  <a:pt x="474" y="289"/>
                </a:cubicBezTo>
                <a:cubicBezTo>
                  <a:pt x="474" y="289"/>
                  <a:pt x="474" y="289"/>
                  <a:pt x="473" y="288"/>
                </a:cubicBezTo>
                <a:cubicBezTo>
                  <a:pt x="473" y="288"/>
                  <a:pt x="473" y="288"/>
                  <a:pt x="473" y="287"/>
                </a:cubicBezTo>
                <a:cubicBezTo>
                  <a:pt x="473" y="287"/>
                  <a:pt x="473" y="287"/>
                  <a:pt x="473" y="286"/>
                </a:cubicBezTo>
                <a:cubicBezTo>
                  <a:pt x="473" y="286"/>
                  <a:pt x="473" y="286"/>
                  <a:pt x="474" y="284"/>
                </a:cubicBezTo>
                <a:cubicBezTo>
                  <a:pt x="474" y="284"/>
                  <a:pt x="474" y="284"/>
                  <a:pt x="475" y="283"/>
                </a:cubicBezTo>
                <a:cubicBezTo>
                  <a:pt x="475" y="283"/>
                  <a:pt x="475" y="283"/>
                  <a:pt x="479" y="281"/>
                </a:cubicBezTo>
                <a:cubicBezTo>
                  <a:pt x="479" y="281"/>
                  <a:pt x="479" y="281"/>
                  <a:pt x="480" y="280"/>
                </a:cubicBezTo>
                <a:cubicBezTo>
                  <a:pt x="480" y="280"/>
                  <a:pt x="480" y="280"/>
                  <a:pt x="480" y="279"/>
                </a:cubicBezTo>
                <a:cubicBezTo>
                  <a:pt x="480" y="279"/>
                  <a:pt x="480" y="279"/>
                  <a:pt x="481" y="278"/>
                </a:cubicBezTo>
                <a:cubicBezTo>
                  <a:pt x="481" y="278"/>
                  <a:pt x="481" y="278"/>
                  <a:pt x="482" y="277"/>
                </a:cubicBezTo>
                <a:cubicBezTo>
                  <a:pt x="482" y="277"/>
                  <a:pt x="482" y="277"/>
                  <a:pt x="481" y="277"/>
                </a:cubicBezTo>
                <a:cubicBezTo>
                  <a:pt x="481" y="277"/>
                  <a:pt x="481" y="277"/>
                  <a:pt x="479" y="278"/>
                </a:cubicBezTo>
                <a:cubicBezTo>
                  <a:pt x="479" y="278"/>
                  <a:pt x="479" y="278"/>
                  <a:pt x="478" y="278"/>
                </a:cubicBezTo>
                <a:cubicBezTo>
                  <a:pt x="478" y="278"/>
                  <a:pt x="478" y="278"/>
                  <a:pt x="477" y="279"/>
                </a:cubicBezTo>
                <a:cubicBezTo>
                  <a:pt x="477" y="279"/>
                  <a:pt x="477" y="279"/>
                  <a:pt x="475" y="280"/>
                </a:cubicBezTo>
                <a:cubicBezTo>
                  <a:pt x="475" y="280"/>
                  <a:pt x="475" y="280"/>
                  <a:pt x="473" y="281"/>
                </a:cubicBezTo>
                <a:cubicBezTo>
                  <a:pt x="473" y="281"/>
                  <a:pt x="473" y="281"/>
                  <a:pt x="472" y="280"/>
                </a:cubicBezTo>
                <a:cubicBezTo>
                  <a:pt x="472" y="280"/>
                  <a:pt x="472" y="280"/>
                  <a:pt x="470" y="279"/>
                </a:cubicBezTo>
                <a:cubicBezTo>
                  <a:pt x="470" y="279"/>
                  <a:pt x="470" y="279"/>
                  <a:pt x="471" y="278"/>
                </a:cubicBezTo>
                <a:cubicBezTo>
                  <a:pt x="471" y="278"/>
                  <a:pt x="471" y="278"/>
                  <a:pt x="472" y="276"/>
                </a:cubicBezTo>
                <a:cubicBezTo>
                  <a:pt x="472" y="276"/>
                  <a:pt x="472" y="276"/>
                  <a:pt x="474" y="275"/>
                </a:cubicBezTo>
                <a:cubicBezTo>
                  <a:pt x="474" y="275"/>
                  <a:pt x="474" y="275"/>
                  <a:pt x="472" y="275"/>
                </a:cubicBezTo>
                <a:cubicBezTo>
                  <a:pt x="472" y="275"/>
                  <a:pt x="472" y="275"/>
                  <a:pt x="471" y="276"/>
                </a:cubicBezTo>
                <a:cubicBezTo>
                  <a:pt x="471" y="276"/>
                  <a:pt x="471" y="276"/>
                  <a:pt x="470" y="276"/>
                </a:cubicBezTo>
                <a:cubicBezTo>
                  <a:pt x="470" y="276"/>
                  <a:pt x="470" y="276"/>
                  <a:pt x="469" y="277"/>
                </a:cubicBezTo>
                <a:cubicBezTo>
                  <a:pt x="469" y="277"/>
                  <a:pt x="469" y="277"/>
                  <a:pt x="469" y="278"/>
                </a:cubicBezTo>
                <a:cubicBezTo>
                  <a:pt x="469" y="278"/>
                  <a:pt x="469" y="278"/>
                  <a:pt x="468" y="280"/>
                </a:cubicBezTo>
                <a:cubicBezTo>
                  <a:pt x="468" y="280"/>
                  <a:pt x="468" y="280"/>
                  <a:pt x="468" y="282"/>
                </a:cubicBezTo>
                <a:cubicBezTo>
                  <a:pt x="468" y="282"/>
                  <a:pt x="468" y="282"/>
                  <a:pt x="467" y="283"/>
                </a:cubicBezTo>
                <a:cubicBezTo>
                  <a:pt x="467" y="283"/>
                  <a:pt x="467" y="283"/>
                  <a:pt x="466" y="281"/>
                </a:cubicBezTo>
                <a:cubicBezTo>
                  <a:pt x="466" y="281"/>
                  <a:pt x="466" y="281"/>
                  <a:pt x="466" y="280"/>
                </a:cubicBezTo>
                <a:cubicBezTo>
                  <a:pt x="466" y="280"/>
                  <a:pt x="466" y="280"/>
                  <a:pt x="466" y="278"/>
                </a:cubicBezTo>
                <a:cubicBezTo>
                  <a:pt x="466" y="278"/>
                  <a:pt x="466" y="278"/>
                  <a:pt x="465" y="277"/>
                </a:cubicBezTo>
                <a:cubicBezTo>
                  <a:pt x="465" y="277"/>
                  <a:pt x="465" y="277"/>
                  <a:pt x="465" y="276"/>
                </a:cubicBezTo>
                <a:cubicBezTo>
                  <a:pt x="465" y="276"/>
                  <a:pt x="465" y="276"/>
                  <a:pt x="464" y="277"/>
                </a:cubicBezTo>
                <a:cubicBezTo>
                  <a:pt x="464" y="277"/>
                  <a:pt x="464" y="277"/>
                  <a:pt x="463" y="277"/>
                </a:cubicBezTo>
                <a:cubicBezTo>
                  <a:pt x="463" y="277"/>
                  <a:pt x="463" y="277"/>
                  <a:pt x="462" y="277"/>
                </a:cubicBezTo>
                <a:cubicBezTo>
                  <a:pt x="462" y="277"/>
                  <a:pt x="462" y="277"/>
                  <a:pt x="463" y="276"/>
                </a:cubicBezTo>
                <a:cubicBezTo>
                  <a:pt x="463" y="276"/>
                  <a:pt x="463" y="276"/>
                  <a:pt x="462" y="275"/>
                </a:cubicBezTo>
                <a:cubicBezTo>
                  <a:pt x="462" y="275"/>
                  <a:pt x="462" y="275"/>
                  <a:pt x="461" y="275"/>
                </a:cubicBezTo>
                <a:cubicBezTo>
                  <a:pt x="461" y="275"/>
                  <a:pt x="461" y="275"/>
                  <a:pt x="461" y="274"/>
                </a:cubicBezTo>
                <a:cubicBezTo>
                  <a:pt x="461" y="274"/>
                  <a:pt x="461" y="274"/>
                  <a:pt x="462" y="274"/>
                </a:cubicBezTo>
                <a:cubicBezTo>
                  <a:pt x="462" y="274"/>
                  <a:pt x="462" y="274"/>
                  <a:pt x="463" y="273"/>
                </a:cubicBezTo>
                <a:cubicBezTo>
                  <a:pt x="463" y="273"/>
                  <a:pt x="463" y="273"/>
                  <a:pt x="461" y="273"/>
                </a:cubicBezTo>
                <a:cubicBezTo>
                  <a:pt x="461" y="273"/>
                  <a:pt x="461" y="273"/>
                  <a:pt x="460" y="274"/>
                </a:cubicBezTo>
                <a:cubicBezTo>
                  <a:pt x="460" y="274"/>
                  <a:pt x="460" y="274"/>
                  <a:pt x="459" y="274"/>
                </a:cubicBezTo>
                <a:cubicBezTo>
                  <a:pt x="459" y="274"/>
                  <a:pt x="459" y="274"/>
                  <a:pt x="458" y="274"/>
                </a:cubicBezTo>
                <a:cubicBezTo>
                  <a:pt x="458" y="274"/>
                  <a:pt x="458" y="274"/>
                  <a:pt x="456" y="276"/>
                </a:cubicBezTo>
                <a:cubicBezTo>
                  <a:pt x="456" y="276"/>
                  <a:pt x="456" y="276"/>
                  <a:pt x="454" y="277"/>
                </a:cubicBezTo>
                <a:cubicBezTo>
                  <a:pt x="454" y="277"/>
                  <a:pt x="454" y="277"/>
                  <a:pt x="454" y="276"/>
                </a:cubicBezTo>
                <a:cubicBezTo>
                  <a:pt x="454" y="276"/>
                  <a:pt x="454" y="276"/>
                  <a:pt x="453" y="276"/>
                </a:cubicBezTo>
                <a:cubicBezTo>
                  <a:pt x="453" y="276"/>
                  <a:pt x="453" y="276"/>
                  <a:pt x="454" y="275"/>
                </a:cubicBezTo>
                <a:cubicBezTo>
                  <a:pt x="454" y="275"/>
                  <a:pt x="454" y="275"/>
                  <a:pt x="455" y="275"/>
                </a:cubicBezTo>
                <a:cubicBezTo>
                  <a:pt x="455" y="275"/>
                  <a:pt x="455" y="275"/>
                  <a:pt x="456" y="274"/>
                </a:cubicBezTo>
                <a:cubicBezTo>
                  <a:pt x="456" y="274"/>
                  <a:pt x="456" y="274"/>
                  <a:pt x="455" y="273"/>
                </a:cubicBezTo>
                <a:cubicBezTo>
                  <a:pt x="455" y="273"/>
                  <a:pt x="455" y="273"/>
                  <a:pt x="456" y="273"/>
                </a:cubicBezTo>
                <a:cubicBezTo>
                  <a:pt x="456" y="273"/>
                  <a:pt x="456" y="273"/>
                  <a:pt x="455" y="272"/>
                </a:cubicBezTo>
                <a:cubicBezTo>
                  <a:pt x="455" y="272"/>
                  <a:pt x="455" y="272"/>
                  <a:pt x="456" y="272"/>
                </a:cubicBezTo>
                <a:cubicBezTo>
                  <a:pt x="456" y="272"/>
                  <a:pt x="456" y="272"/>
                  <a:pt x="457" y="272"/>
                </a:cubicBezTo>
                <a:cubicBezTo>
                  <a:pt x="457" y="272"/>
                  <a:pt x="457" y="272"/>
                  <a:pt x="458" y="271"/>
                </a:cubicBezTo>
                <a:cubicBezTo>
                  <a:pt x="458" y="271"/>
                  <a:pt x="458" y="271"/>
                  <a:pt x="458" y="270"/>
                </a:cubicBezTo>
                <a:cubicBezTo>
                  <a:pt x="458" y="270"/>
                  <a:pt x="458" y="270"/>
                  <a:pt x="457" y="270"/>
                </a:cubicBezTo>
                <a:cubicBezTo>
                  <a:pt x="457" y="270"/>
                  <a:pt x="457" y="270"/>
                  <a:pt x="456" y="271"/>
                </a:cubicBezTo>
                <a:cubicBezTo>
                  <a:pt x="456" y="271"/>
                  <a:pt x="456" y="271"/>
                  <a:pt x="455" y="270"/>
                </a:cubicBezTo>
                <a:cubicBezTo>
                  <a:pt x="455" y="270"/>
                  <a:pt x="455" y="270"/>
                  <a:pt x="455" y="269"/>
                </a:cubicBezTo>
                <a:cubicBezTo>
                  <a:pt x="455" y="269"/>
                  <a:pt x="455" y="269"/>
                  <a:pt x="455" y="268"/>
                </a:cubicBezTo>
                <a:cubicBezTo>
                  <a:pt x="455" y="268"/>
                  <a:pt x="455" y="268"/>
                  <a:pt x="455" y="267"/>
                </a:cubicBezTo>
                <a:cubicBezTo>
                  <a:pt x="455" y="267"/>
                  <a:pt x="455" y="267"/>
                  <a:pt x="456" y="268"/>
                </a:cubicBezTo>
                <a:cubicBezTo>
                  <a:pt x="456" y="268"/>
                  <a:pt x="456" y="268"/>
                  <a:pt x="456" y="267"/>
                </a:cubicBezTo>
                <a:cubicBezTo>
                  <a:pt x="456" y="267"/>
                  <a:pt x="456" y="267"/>
                  <a:pt x="457" y="266"/>
                </a:cubicBezTo>
                <a:cubicBezTo>
                  <a:pt x="457" y="266"/>
                  <a:pt x="457" y="266"/>
                  <a:pt x="458" y="265"/>
                </a:cubicBezTo>
                <a:cubicBezTo>
                  <a:pt x="458" y="265"/>
                  <a:pt x="458" y="265"/>
                  <a:pt x="458" y="264"/>
                </a:cubicBezTo>
                <a:cubicBezTo>
                  <a:pt x="458" y="264"/>
                  <a:pt x="458" y="264"/>
                  <a:pt x="458" y="263"/>
                </a:cubicBezTo>
                <a:cubicBezTo>
                  <a:pt x="458" y="263"/>
                  <a:pt x="458" y="263"/>
                  <a:pt x="458" y="262"/>
                </a:cubicBezTo>
                <a:cubicBezTo>
                  <a:pt x="458" y="262"/>
                  <a:pt x="458" y="262"/>
                  <a:pt x="459" y="261"/>
                </a:cubicBezTo>
                <a:cubicBezTo>
                  <a:pt x="459" y="261"/>
                  <a:pt x="459" y="261"/>
                  <a:pt x="458" y="260"/>
                </a:cubicBezTo>
                <a:cubicBezTo>
                  <a:pt x="458" y="260"/>
                  <a:pt x="458" y="260"/>
                  <a:pt x="459" y="258"/>
                </a:cubicBezTo>
                <a:cubicBezTo>
                  <a:pt x="459" y="258"/>
                  <a:pt x="459" y="258"/>
                  <a:pt x="460" y="257"/>
                </a:cubicBezTo>
                <a:cubicBezTo>
                  <a:pt x="460" y="257"/>
                  <a:pt x="460" y="257"/>
                  <a:pt x="461" y="256"/>
                </a:cubicBezTo>
                <a:cubicBezTo>
                  <a:pt x="461" y="256"/>
                  <a:pt x="461" y="256"/>
                  <a:pt x="461" y="255"/>
                </a:cubicBezTo>
                <a:cubicBezTo>
                  <a:pt x="461" y="255"/>
                  <a:pt x="461" y="255"/>
                  <a:pt x="460" y="254"/>
                </a:cubicBezTo>
                <a:cubicBezTo>
                  <a:pt x="460" y="254"/>
                  <a:pt x="460" y="254"/>
                  <a:pt x="460" y="253"/>
                </a:cubicBezTo>
                <a:cubicBezTo>
                  <a:pt x="460" y="253"/>
                  <a:pt x="460" y="253"/>
                  <a:pt x="462" y="252"/>
                </a:cubicBezTo>
                <a:cubicBezTo>
                  <a:pt x="462" y="252"/>
                  <a:pt x="462" y="252"/>
                  <a:pt x="464" y="250"/>
                </a:cubicBezTo>
                <a:cubicBezTo>
                  <a:pt x="464" y="250"/>
                  <a:pt x="464" y="250"/>
                  <a:pt x="465" y="250"/>
                </a:cubicBezTo>
                <a:cubicBezTo>
                  <a:pt x="465" y="250"/>
                  <a:pt x="465" y="250"/>
                  <a:pt x="464" y="249"/>
                </a:cubicBezTo>
                <a:cubicBezTo>
                  <a:pt x="464" y="249"/>
                  <a:pt x="464" y="249"/>
                  <a:pt x="462" y="251"/>
                </a:cubicBezTo>
                <a:cubicBezTo>
                  <a:pt x="462" y="251"/>
                  <a:pt x="462" y="251"/>
                  <a:pt x="460" y="253"/>
                </a:cubicBezTo>
                <a:cubicBezTo>
                  <a:pt x="460" y="253"/>
                  <a:pt x="460" y="253"/>
                  <a:pt x="458" y="253"/>
                </a:cubicBezTo>
                <a:cubicBezTo>
                  <a:pt x="458" y="253"/>
                  <a:pt x="458" y="253"/>
                  <a:pt x="458" y="254"/>
                </a:cubicBezTo>
                <a:cubicBezTo>
                  <a:pt x="458" y="254"/>
                  <a:pt x="458" y="254"/>
                  <a:pt x="459" y="255"/>
                </a:cubicBezTo>
                <a:cubicBezTo>
                  <a:pt x="459" y="255"/>
                  <a:pt x="459" y="255"/>
                  <a:pt x="459" y="256"/>
                </a:cubicBezTo>
                <a:cubicBezTo>
                  <a:pt x="459" y="256"/>
                  <a:pt x="459" y="256"/>
                  <a:pt x="457" y="258"/>
                </a:cubicBezTo>
                <a:cubicBezTo>
                  <a:pt x="457" y="258"/>
                  <a:pt x="457" y="258"/>
                  <a:pt x="456" y="258"/>
                </a:cubicBezTo>
                <a:cubicBezTo>
                  <a:pt x="456" y="258"/>
                  <a:pt x="456" y="258"/>
                  <a:pt x="455" y="258"/>
                </a:cubicBezTo>
                <a:cubicBezTo>
                  <a:pt x="455" y="258"/>
                  <a:pt x="455" y="258"/>
                  <a:pt x="453" y="259"/>
                </a:cubicBezTo>
                <a:cubicBezTo>
                  <a:pt x="453" y="259"/>
                  <a:pt x="453" y="259"/>
                  <a:pt x="451" y="259"/>
                </a:cubicBezTo>
                <a:cubicBezTo>
                  <a:pt x="451" y="259"/>
                  <a:pt x="451" y="259"/>
                  <a:pt x="447" y="257"/>
                </a:cubicBezTo>
                <a:cubicBezTo>
                  <a:pt x="447" y="257"/>
                  <a:pt x="447" y="257"/>
                  <a:pt x="447" y="256"/>
                </a:cubicBezTo>
                <a:cubicBezTo>
                  <a:pt x="447" y="256"/>
                  <a:pt x="447" y="256"/>
                  <a:pt x="449" y="256"/>
                </a:cubicBezTo>
                <a:cubicBezTo>
                  <a:pt x="449" y="256"/>
                  <a:pt x="449" y="256"/>
                  <a:pt x="448" y="255"/>
                </a:cubicBezTo>
                <a:cubicBezTo>
                  <a:pt x="448" y="255"/>
                  <a:pt x="448" y="255"/>
                  <a:pt x="448" y="254"/>
                </a:cubicBezTo>
                <a:cubicBezTo>
                  <a:pt x="448" y="254"/>
                  <a:pt x="448" y="254"/>
                  <a:pt x="447" y="253"/>
                </a:cubicBezTo>
                <a:cubicBezTo>
                  <a:pt x="447" y="253"/>
                  <a:pt x="447" y="253"/>
                  <a:pt x="447" y="251"/>
                </a:cubicBezTo>
                <a:cubicBezTo>
                  <a:pt x="447" y="251"/>
                  <a:pt x="447" y="251"/>
                  <a:pt x="446" y="251"/>
                </a:cubicBezTo>
                <a:cubicBezTo>
                  <a:pt x="446" y="251"/>
                  <a:pt x="446" y="251"/>
                  <a:pt x="446" y="250"/>
                </a:cubicBezTo>
                <a:cubicBezTo>
                  <a:pt x="446" y="250"/>
                  <a:pt x="446" y="250"/>
                  <a:pt x="446" y="248"/>
                </a:cubicBezTo>
                <a:cubicBezTo>
                  <a:pt x="446" y="248"/>
                  <a:pt x="446" y="248"/>
                  <a:pt x="447" y="247"/>
                </a:cubicBezTo>
                <a:cubicBezTo>
                  <a:pt x="447" y="247"/>
                  <a:pt x="447" y="247"/>
                  <a:pt x="446" y="247"/>
                </a:cubicBezTo>
                <a:cubicBezTo>
                  <a:pt x="446" y="247"/>
                  <a:pt x="446" y="247"/>
                  <a:pt x="446" y="246"/>
                </a:cubicBezTo>
                <a:cubicBezTo>
                  <a:pt x="446" y="246"/>
                  <a:pt x="446" y="246"/>
                  <a:pt x="446" y="245"/>
                </a:cubicBezTo>
                <a:cubicBezTo>
                  <a:pt x="446" y="245"/>
                  <a:pt x="446" y="245"/>
                  <a:pt x="447" y="246"/>
                </a:cubicBezTo>
                <a:cubicBezTo>
                  <a:pt x="447" y="246"/>
                  <a:pt x="447" y="246"/>
                  <a:pt x="448" y="245"/>
                </a:cubicBezTo>
                <a:cubicBezTo>
                  <a:pt x="448" y="245"/>
                  <a:pt x="448" y="245"/>
                  <a:pt x="449" y="244"/>
                </a:cubicBezTo>
                <a:cubicBezTo>
                  <a:pt x="449" y="244"/>
                  <a:pt x="449" y="244"/>
                  <a:pt x="450" y="244"/>
                </a:cubicBezTo>
                <a:cubicBezTo>
                  <a:pt x="450" y="244"/>
                  <a:pt x="450" y="244"/>
                  <a:pt x="451" y="243"/>
                </a:cubicBezTo>
                <a:cubicBezTo>
                  <a:pt x="451" y="243"/>
                  <a:pt x="451" y="243"/>
                  <a:pt x="451" y="244"/>
                </a:cubicBezTo>
                <a:cubicBezTo>
                  <a:pt x="451" y="244"/>
                  <a:pt x="451" y="244"/>
                  <a:pt x="453" y="244"/>
                </a:cubicBezTo>
                <a:cubicBezTo>
                  <a:pt x="453" y="244"/>
                  <a:pt x="453" y="244"/>
                  <a:pt x="454" y="245"/>
                </a:cubicBezTo>
                <a:cubicBezTo>
                  <a:pt x="454" y="245"/>
                  <a:pt x="454" y="245"/>
                  <a:pt x="455" y="245"/>
                </a:cubicBezTo>
                <a:cubicBezTo>
                  <a:pt x="455" y="245"/>
                  <a:pt x="455" y="245"/>
                  <a:pt x="455" y="246"/>
                </a:cubicBezTo>
                <a:cubicBezTo>
                  <a:pt x="455" y="246"/>
                  <a:pt x="455" y="246"/>
                  <a:pt x="456" y="247"/>
                </a:cubicBezTo>
                <a:cubicBezTo>
                  <a:pt x="456" y="247"/>
                  <a:pt x="456" y="247"/>
                  <a:pt x="457" y="247"/>
                </a:cubicBezTo>
                <a:cubicBezTo>
                  <a:pt x="457" y="247"/>
                  <a:pt x="457" y="247"/>
                  <a:pt x="457" y="246"/>
                </a:cubicBezTo>
                <a:cubicBezTo>
                  <a:pt x="457" y="246"/>
                  <a:pt x="457" y="246"/>
                  <a:pt x="456" y="244"/>
                </a:cubicBezTo>
                <a:cubicBezTo>
                  <a:pt x="456" y="244"/>
                  <a:pt x="456" y="244"/>
                  <a:pt x="457" y="244"/>
                </a:cubicBezTo>
                <a:cubicBezTo>
                  <a:pt x="457" y="244"/>
                  <a:pt x="457" y="244"/>
                  <a:pt x="457" y="243"/>
                </a:cubicBezTo>
                <a:cubicBezTo>
                  <a:pt x="457" y="243"/>
                  <a:pt x="457" y="243"/>
                  <a:pt x="456" y="244"/>
                </a:cubicBezTo>
                <a:cubicBezTo>
                  <a:pt x="456" y="244"/>
                  <a:pt x="456" y="244"/>
                  <a:pt x="454" y="244"/>
                </a:cubicBezTo>
                <a:cubicBezTo>
                  <a:pt x="454" y="244"/>
                  <a:pt x="454" y="244"/>
                  <a:pt x="453" y="243"/>
                </a:cubicBezTo>
                <a:cubicBezTo>
                  <a:pt x="453" y="243"/>
                  <a:pt x="453" y="243"/>
                  <a:pt x="452" y="243"/>
                </a:cubicBezTo>
                <a:cubicBezTo>
                  <a:pt x="452" y="243"/>
                  <a:pt x="452" y="243"/>
                  <a:pt x="452" y="242"/>
                </a:cubicBezTo>
                <a:cubicBezTo>
                  <a:pt x="452" y="242"/>
                  <a:pt x="452" y="242"/>
                  <a:pt x="451" y="242"/>
                </a:cubicBezTo>
                <a:cubicBezTo>
                  <a:pt x="451" y="242"/>
                  <a:pt x="451" y="242"/>
                  <a:pt x="450" y="242"/>
                </a:cubicBezTo>
                <a:cubicBezTo>
                  <a:pt x="450" y="242"/>
                  <a:pt x="450" y="242"/>
                  <a:pt x="449" y="242"/>
                </a:cubicBezTo>
                <a:cubicBezTo>
                  <a:pt x="449" y="242"/>
                  <a:pt x="449" y="242"/>
                  <a:pt x="449" y="241"/>
                </a:cubicBezTo>
                <a:cubicBezTo>
                  <a:pt x="449" y="241"/>
                  <a:pt x="449" y="241"/>
                  <a:pt x="450" y="241"/>
                </a:cubicBezTo>
                <a:cubicBezTo>
                  <a:pt x="450" y="241"/>
                  <a:pt x="450" y="241"/>
                  <a:pt x="450" y="239"/>
                </a:cubicBezTo>
                <a:cubicBezTo>
                  <a:pt x="450" y="239"/>
                  <a:pt x="450" y="239"/>
                  <a:pt x="449" y="240"/>
                </a:cubicBezTo>
                <a:cubicBezTo>
                  <a:pt x="449" y="240"/>
                  <a:pt x="449" y="240"/>
                  <a:pt x="448" y="240"/>
                </a:cubicBezTo>
                <a:cubicBezTo>
                  <a:pt x="448" y="240"/>
                  <a:pt x="448" y="240"/>
                  <a:pt x="448" y="239"/>
                </a:cubicBezTo>
                <a:cubicBezTo>
                  <a:pt x="448" y="239"/>
                  <a:pt x="448" y="239"/>
                  <a:pt x="448" y="238"/>
                </a:cubicBezTo>
                <a:cubicBezTo>
                  <a:pt x="448" y="238"/>
                  <a:pt x="448" y="238"/>
                  <a:pt x="449" y="237"/>
                </a:cubicBezTo>
                <a:cubicBezTo>
                  <a:pt x="449" y="237"/>
                  <a:pt x="449" y="237"/>
                  <a:pt x="448" y="235"/>
                </a:cubicBezTo>
                <a:cubicBezTo>
                  <a:pt x="448" y="235"/>
                  <a:pt x="448" y="235"/>
                  <a:pt x="447" y="233"/>
                </a:cubicBezTo>
                <a:cubicBezTo>
                  <a:pt x="447" y="233"/>
                  <a:pt x="447" y="233"/>
                  <a:pt x="449" y="231"/>
                </a:cubicBezTo>
                <a:cubicBezTo>
                  <a:pt x="449" y="231"/>
                  <a:pt x="449" y="231"/>
                  <a:pt x="449" y="230"/>
                </a:cubicBezTo>
                <a:cubicBezTo>
                  <a:pt x="449" y="230"/>
                  <a:pt x="449" y="230"/>
                  <a:pt x="450" y="230"/>
                </a:cubicBezTo>
                <a:cubicBezTo>
                  <a:pt x="450" y="230"/>
                  <a:pt x="450" y="230"/>
                  <a:pt x="451" y="231"/>
                </a:cubicBezTo>
                <a:cubicBezTo>
                  <a:pt x="451" y="231"/>
                  <a:pt x="451" y="231"/>
                  <a:pt x="452" y="230"/>
                </a:cubicBezTo>
                <a:cubicBezTo>
                  <a:pt x="452" y="230"/>
                  <a:pt x="452" y="230"/>
                  <a:pt x="450" y="228"/>
                </a:cubicBezTo>
                <a:cubicBezTo>
                  <a:pt x="450" y="228"/>
                  <a:pt x="450" y="228"/>
                  <a:pt x="451" y="228"/>
                </a:cubicBezTo>
                <a:cubicBezTo>
                  <a:pt x="451" y="228"/>
                  <a:pt x="451" y="228"/>
                  <a:pt x="452" y="228"/>
                </a:cubicBezTo>
                <a:cubicBezTo>
                  <a:pt x="452" y="228"/>
                  <a:pt x="452" y="228"/>
                  <a:pt x="453" y="228"/>
                </a:cubicBezTo>
                <a:cubicBezTo>
                  <a:pt x="453" y="228"/>
                  <a:pt x="453" y="228"/>
                  <a:pt x="454" y="228"/>
                </a:cubicBezTo>
                <a:cubicBezTo>
                  <a:pt x="454" y="228"/>
                  <a:pt x="454" y="228"/>
                  <a:pt x="454" y="226"/>
                </a:cubicBezTo>
                <a:cubicBezTo>
                  <a:pt x="454" y="226"/>
                  <a:pt x="454" y="226"/>
                  <a:pt x="457" y="223"/>
                </a:cubicBezTo>
                <a:cubicBezTo>
                  <a:pt x="457" y="223"/>
                  <a:pt x="457" y="223"/>
                  <a:pt x="458" y="223"/>
                </a:cubicBezTo>
                <a:cubicBezTo>
                  <a:pt x="458" y="223"/>
                  <a:pt x="458" y="223"/>
                  <a:pt x="459" y="223"/>
                </a:cubicBezTo>
                <a:cubicBezTo>
                  <a:pt x="459" y="223"/>
                  <a:pt x="459" y="223"/>
                  <a:pt x="459" y="221"/>
                </a:cubicBezTo>
                <a:cubicBezTo>
                  <a:pt x="459" y="221"/>
                  <a:pt x="459" y="221"/>
                  <a:pt x="461" y="220"/>
                </a:cubicBezTo>
                <a:cubicBezTo>
                  <a:pt x="461" y="220"/>
                  <a:pt x="461" y="220"/>
                  <a:pt x="462" y="219"/>
                </a:cubicBezTo>
                <a:cubicBezTo>
                  <a:pt x="462" y="219"/>
                  <a:pt x="462" y="219"/>
                  <a:pt x="463" y="221"/>
                </a:cubicBezTo>
                <a:cubicBezTo>
                  <a:pt x="463" y="221"/>
                  <a:pt x="463" y="221"/>
                  <a:pt x="463" y="222"/>
                </a:cubicBezTo>
                <a:cubicBezTo>
                  <a:pt x="463" y="222"/>
                  <a:pt x="463" y="222"/>
                  <a:pt x="464" y="222"/>
                </a:cubicBezTo>
                <a:cubicBezTo>
                  <a:pt x="464" y="222"/>
                  <a:pt x="464" y="222"/>
                  <a:pt x="464" y="221"/>
                </a:cubicBezTo>
                <a:cubicBezTo>
                  <a:pt x="464" y="221"/>
                  <a:pt x="464" y="221"/>
                  <a:pt x="464" y="220"/>
                </a:cubicBezTo>
                <a:cubicBezTo>
                  <a:pt x="464" y="220"/>
                  <a:pt x="464" y="220"/>
                  <a:pt x="463" y="219"/>
                </a:cubicBezTo>
                <a:cubicBezTo>
                  <a:pt x="463" y="219"/>
                  <a:pt x="463" y="219"/>
                  <a:pt x="464" y="219"/>
                </a:cubicBezTo>
                <a:cubicBezTo>
                  <a:pt x="464" y="219"/>
                  <a:pt x="464" y="219"/>
                  <a:pt x="466" y="219"/>
                </a:cubicBezTo>
                <a:cubicBezTo>
                  <a:pt x="466" y="219"/>
                  <a:pt x="466" y="219"/>
                  <a:pt x="467" y="221"/>
                </a:cubicBezTo>
                <a:cubicBezTo>
                  <a:pt x="467" y="221"/>
                  <a:pt x="467" y="221"/>
                  <a:pt x="468" y="221"/>
                </a:cubicBezTo>
                <a:cubicBezTo>
                  <a:pt x="468" y="221"/>
                  <a:pt x="468" y="221"/>
                  <a:pt x="468" y="220"/>
                </a:cubicBezTo>
                <a:cubicBezTo>
                  <a:pt x="468" y="220"/>
                  <a:pt x="468" y="220"/>
                  <a:pt x="469" y="218"/>
                </a:cubicBezTo>
                <a:cubicBezTo>
                  <a:pt x="469" y="218"/>
                  <a:pt x="469" y="218"/>
                  <a:pt x="469" y="217"/>
                </a:cubicBezTo>
                <a:cubicBezTo>
                  <a:pt x="469" y="217"/>
                  <a:pt x="469" y="217"/>
                  <a:pt x="470" y="216"/>
                </a:cubicBezTo>
                <a:cubicBezTo>
                  <a:pt x="470" y="216"/>
                  <a:pt x="470" y="216"/>
                  <a:pt x="471" y="216"/>
                </a:cubicBezTo>
                <a:cubicBezTo>
                  <a:pt x="472" y="216"/>
                  <a:pt x="472" y="216"/>
                  <a:pt x="472" y="216"/>
                </a:cubicBezTo>
                <a:cubicBezTo>
                  <a:pt x="472" y="216"/>
                  <a:pt x="472" y="216"/>
                  <a:pt x="473" y="215"/>
                </a:cubicBezTo>
                <a:cubicBezTo>
                  <a:pt x="473" y="215"/>
                  <a:pt x="473" y="215"/>
                  <a:pt x="475" y="215"/>
                </a:cubicBezTo>
                <a:cubicBezTo>
                  <a:pt x="475" y="215"/>
                  <a:pt x="475" y="215"/>
                  <a:pt x="476" y="215"/>
                </a:cubicBezTo>
                <a:cubicBezTo>
                  <a:pt x="476" y="215"/>
                  <a:pt x="476" y="215"/>
                  <a:pt x="477" y="215"/>
                </a:cubicBezTo>
                <a:cubicBezTo>
                  <a:pt x="477" y="215"/>
                  <a:pt x="477" y="215"/>
                  <a:pt x="478" y="214"/>
                </a:cubicBezTo>
                <a:cubicBezTo>
                  <a:pt x="478" y="214"/>
                  <a:pt x="478" y="214"/>
                  <a:pt x="481" y="214"/>
                </a:cubicBezTo>
                <a:cubicBezTo>
                  <a:pt x="481" y="214"/>
                  <a:pt x="481" y="214"/>
                  <a:pt x="482" y="212"/>
                </a:cubicBezTo>
                <a:cubicBezTo>
                  <a:pt x="482" y="212"/>
                  <a:pt x="482" y="212"/>
                  <a:pt x="483" y="211"/>
                </a:cubicBezTo>
                <a:cubicBezTo>
                  <a:pt x="483" y="211"/>
                  <a:pt x="483" y="211"/>
                  <a:pt x="484" y="210"/>
                </a:cubicBezTo>
                <a:cubicBezTo>
                  <a:pt x="484" y="210"/>
                  <a:pt x="484" y="210"/>
                  <a:pt x="485" y="210"/>
                </a:cubicBezTo>
                <a:cubicBezTo>
                  <a:pt x="485" y="210"/>
                  <a:pt x="485" y="210"/>
                  <a:pt x="486" y="211"/>
                </a:cubicBezTo>
                <a:cubicBezTo>
                  <a:pt x="486" y="211"/>
                  <a:pt x="486" y="211"/>
                  <a:pt x="487" y="211"/>
                </a:cubicBezTo>
                <a:cubicBezTo>
                  <a:pt x="487" y="211"/>
                  <a:pt x="487" y="211"/>
                  <a:pt x="488" y="212"/>
                </a:cubicBezTo>
                <a:cubicBezTo>
                  <a:pt x="488" y="212"/>
                  <a:pt x="488" y="212"/>
                  <a:pt x="490" y="212"/>
                </a:cubicBezTo>
                <a:cubicBezTo>
                  <a:pt x="490" y="212"/>
                  <a:pt x="490" y="212"/>
                  <a:pt x="491" y="212"/>
                </a:cubicBezTo>
                <a:cubicBezTo>
                  <a:pt x="491" y="212"/>
                  <a:pt x="491" y="212"/>
                  <a:pt x="492" y="211"/>
                </a:cubicBezTo>
                <a:cubicBezTo>
                  <a:pt x="492" y="211"/>
                  <a:pt x="492" y="211"/>
                  <a:pt x="493" y="210"/>
                </a:cubicBezTo>
                <a:cubicBezTo>
                  <a:pt x="493" y="210"/>
                  <a:pt x="493" y="210"/>
                  <a:pt x="494" y="211"/>
                </a:cubicBezTo>
                <a:cubicBezTo>
                  <a:pt x="494" y="211"/>
                  <a:pt x="494" y="211"/>
                  <a:pt x="495" y="210"/>
                </a:cubicBezTo>
                <a:cubicBezTo>
                  <a:pt x="495" y="210"/>
                  <a:pt x="495" y="210"/>
                  <a:pt x="496" y="208"/>
                </a:cubicBezTo>
                <a:cubicBezTo>
                  <a:pt x="496" y="208"/>
                  <a:pt x="496" y="208"/>
                  <a:pt x="497" y="207"/>
                </a:cubicBezTo>
                <a:cubicBezTo>
                  <a:pt x="497" y="207"/>
                  <a:pt x="497" y="207"/>
                  <a:pt x="496" y="206"/>
                </a:cubicBezTo>
                <a:cubicBezTo>
                  <a:pt x="496" y="206"/>
                  <a:pt x="496" y="206"/>
                  <a:pt x="496" y="205"/>
                </a:cubicBezTo>
                <a:cubicBezTo>
                  <a:pt x="496" y="205"/>
                  <a:pt x="496" y="205"/>
                  <a:pt x="497" y="204"/>
                </a:cubicBezTo>
                <a:cubicBezTo>
                  <a:pt x="497" y="204"/>
                  <a:pt x="497" y="204"/>
                  <a:pt x="497" y="202"/>
                </a:cubicBezTo>
                <a:cubicBezTo>
                  <a:pt x="497" y="202"/>
                  <a:pt x="497" y="202"/>
                  <a:pt x="499" y="200"/>
                </a:cubicBezTo>
                <a:cubicBezTo>
                  <a:pt x="499" y="200"/>
                  <a:pt x="499" y="200"/>
                  <a:pt x="500" y="198"/>
                </a:cubicBezTo>
                <a:cubicBezTo>
                  <a:pt x="500" y="198"/>
                  <a:pt x="500" y="198"/>
                  <a:pt x="499" y="197"/>
                </a:cubicBezTo>
                <a:cubicBezTo>
                  <a:pt x="499" y="197"/>
                  <a:pt x="499" y="197"/>
                  <a:pt x="497" y="197"/>
                </a:cubicBezTo>
                <a:cubicBezTo>
                  <a:pt x="497" y="197"/>
                  <a:pt x="497" y="197"/>
                  <a:pt x="499" y="196"/>
                </a:cubicBezTo>
                <a:cubicBezTo>
                  <a:pt x="499" y="196"/>
                  <a:pt x="499" y="196"/>
                  <a:pt x="500" y="196"/>
                </a:cubicBezTo>
                <a:cubicBezTo>
                  <a:pt x="500" y="196"/>
                  <a:pt x="500" y="196"/>
                  <a:pt x="502" y="196"/>
                </a:cubicBezTo>
                <a:cubicBezTo>
                  <a:pt x="502" y="196"/>
                  <a:pt x="502" y="196"/>
                  <a:pt x="503" y="194"/>
                </a:cubicBezTo>
                <a:cubicBezTo>
                  <a:pt x="503" y="194"/>
                  <a:pt x="503" y="194"/>
                  <a:pt x="502" y="193"/>
                </a:cubicBezTo>
                <a:cubicBezTo>
                  <a:pt x="502" y="193"/>
                  <a:pt x="502" y="193"/>
                  <a:pt x="504" y="192"/>
                </a:cubicBezTo>
                <a:cubicBezTo>
                  <a:pt x="504" y="192"/>
                  <a:pt x="504" y="192"/>
                  <a:pt x="502" y="192"/>
                </a:cubicBezTo>
                <a:cubicBezTo>
                  <a:pt x="502" y="192"/>
                  <a:pt x="502" y="192"/>
                  <a:pt x="500" y="193"/>
                </a:cubicBezTo>
                <a:cubicBezTo>
                  <a:pt x="500" y="193"/>
                  <a:pt x="500" y="193"/>
                  <a:pt x="499" y="193"/>
                </a:cubicBezTo>
                <a:cubicBezTo>
                  <a:pt x="499" y="193"/>
                  <a:pt x="499" y="193"/>
                  <a:pt x="499" y="192"/>
                </a:cubicBezTo>
                <a:cubicBezTo>
                  <a:pt x="499" y="192"/>
                  <a:pt x="499" y="192"/>
                  <a:pt x="498" y="193"/>
                </a:cubicBezTo>
                <a:cubicBezTo>
                  <a:pt x="498" y="193"/>
                  <a:pt x="498" y="193"/>
                  <a:pt x="496" y="194"/>
                </a:cubicBezTo>
                <a:cubicBezTo>
                  <a:pt x="496" y="194"/>
                  <a:pt x="496" y="194"/>
                  <a:pt x="493" y="195"/>
                </a:cubicBezTo>
                <a:cubicBezTo>
                  <a:pt x="493" y="195"/>
                  <a:pt x="493" y="195"/>
                  <a:pt x="491" y="196"/>
                </a:cubicBezTo>
                <a:cubicBezTo>
                  <a:pt x="491" y="196"/>
                  <a:pt x="491" y="196"/>
                  <a:pt x="489" y="198"/>
                </a:cubicBezTo>
                <a:cubicBezTo>
                  <a:pt x="489" y="198"/>
                  <a:pt x="489" y="198"/>
                  <a:pt x="489" y="196"/>
                </a:cubicBezTo>
                <a:cubicBezTo>
                  <a:pt x="489" y="196"/>
                  <a:pt x="489" y="196"/>
                  <a:pt x="490" y="195"/>
                </a:cubicBezTo>
                <a:cubicBezTo>
                  <a:pt x="490" y="195"/>
                  <a:pt x="490" y="195"/>
                  <a:pt x="490" y="194"/>
                </a:cubicBezTo>
                <a:cubicBezTo>
                  <a:pt x="490" y="194"/>
                  <a:pt x="490" y="194"/>
                  <a:pt x="489" y="194"/>
                </a:cubicBezTo>
                <a:cubicBezTo>
                  <a:pt x="489" y="194"/>
                  <a:pt x="489" y="194"/>
                  <a:pt x="488" y="194"/>
                </a:cubicBezTo>
                <a:cubicBezTo>
                  <a:pt x="488" y="194"/>
                  <a:pt x="488" y="194"/>
                  <a:pt x="488" y="196"/>
                </a:cubicBezTo>
                <a:cubicBezTo>
                  <a:pt x="488" y="196"/>
                  <a:pt x="488" y="196"/>
                  <a:pt x="488" y="197"/>
                </a:cubicBezTo>
                <a:cubicBezTo>
                  <a:pt x="488" y="197"/>
                  <a:pt x="488" y="197"/>
                  <a:pt x="487" y="196"/>
                </a:cubicBezTo>
                <a:cubicBezTo>
                  <a:pt x="487" y="196"/>
                  <a:pt x="487" y="196"/>
                  <a:pt x="487" y="195"/>
                </a:cubicBezTo>
                <a:cubicBezTo>
                  <a:pt x="487" y="195"/>
                  <a:pt x="487" y="195"/>
                  <a:pt x="486" y="194"/>
                </a:cubicBezTo>
                <a:cubicBezTo>
                  <a:pt x="486" y="194"/>
                  <a:pt x="486" y="194"/>
                  <a:pt x="483" y="194"/>
                </a:cubicBezTo>
                <a:cubicBezTo>
                  <a:pt x="483" y="194"/>
                  <a:pt x="483" y="194"/>
                  <a:pt x="481" y="193"/>
                </a:cubicBezTo>
                <a:cubicBezTo>
                  <a:pt x="481" y="193"/>
                  <a:pt x="481" y="193"/>
                  <a:pt x="480" y="194"/>
                </a:cubicBezTo>
                <a:cubicBezTo>
                  <a:pt x="480" y="194"/>
                  <a:pt x="480" y="194"/>
                  <a:pt x="478" y="195"/>
                </a:cubicBezTo>
                <a:cubicBezTo>
                  <a:pt x="478" y="195"/>
                  <a:pt x="478" y="195"/>
                  <a:pt x="477" y="195"/>
                </a:cubicBezTo>
                <a:cubicBezTo>
                  <a:pt x="477" y="195"/>
                  <a:pt x="477" y="195"/>
                  <a:pt x="476" y="193"/>
                </a:cubicBezTo>
                <a:cubicBezTo>
                  <a:pt x="476" y="193"/>
                  <a:pt x="476" y="193"/>
                  <a:pt x="474" y="192"/>
                </a:cubicBezTo>
                <a:cubicBezTo>
                  <a:pt x="474" y="192"/>
                  <a:pt x="474" y="192"/>
                  <a:pt x="472" y="190"/>
                </a:cubicBezTo>
                <a:cubicBezTo>
                  <a:pt x="472" y="190"/>
                  <a:pt x="472" y="190"/>
                  <a:pt x="471" y="188"/>
                </a:cubicBezTo>
                <a:cubicBezTo>
                  <a:pt x="471" y="188"/>
                  <a:pt x="471" y="188"/>
                  <a:pt x="472" y="186"/>
                </a:cubicBezTo>
                <a:cubicBezTo>
                  <a:pt x="472" y="186"/>
                  <a:pt x="472" y="186"/>
                  <a:pt x="473" y="185"/>
                </a:cubicBezTo>
                <a:cubicBezTo>
                  <a:pt x="473" y="185"/>
                  <a:pt x="473" y="185"/>
                  <a:pt x="474" y="184"/>
                </a:cubicBezTo>
                <a:cubicBezTo>
                  <a:pt x="474" y="184"/>
                  <a:pt x="474" y="184"/>
                  <a:pt x="474" y="183"/>
                </a:cubicBezTo>
                <a:cubicBezTo>
                  <a:pt x="474" y="183"/>
                  <a:pt x="474" y="183"/>
                  <a:pt x="474" y="182"/>
                </a:cubicBezTo>
                <a:cubicBezTo>
                  <a:pt x="474" y="182"/>
                  <a:pt x="474" y="182"/>
                  <a:pt x="473" y="180"/>
                </a:cubicBezTo>
                <a:cubicBezTo>
                  <a:pt x="473" y="180"/>
                  <a:pt x="473" y="180"/>
                  <a:pt x="474" y="178"/>
                </a:cubicBezTo>
                <a:cubicBezTo>
                  <a:pt x="474" y="178"/>
                  <a:pt x="474" y="178"/>
                  <a:pt x="475" y="178"/>
                </a:cubicBezTo>
                <a:cubicBezTo>
                  <a:pt x="475" y="178"/>
                  <a:pt x="475" y="178"/>
                  <a:pt x="475" y="179"/>
                </a:cubicBezTo>
                <a:cubicBezTo>
                  <a:pt x="475" y="179"/>
                  <a:pt x="475" y="179"/>
                  <a:pt x="474" y="180"/>
                </a:cubicBezTo>
                <a:cubicBezTo>
                  <a:pt x="474" y="180"/>
                  <a:pt x="474" y="180"/>
                  <a:pt x="475" y="181"/>
                </a:cubicBezTo>
                <a:cubicBezTo>
                  <a:pt x="475" y="181"/>
                  <a:pt x="475" y="181"/>
                  <a:pt x="476" y="181"/>
                </a:cubicBezTo>
                <a:cubicBezTo>
                  <a:pt x="476" y="181"/>
                  <a:pt x="476" y="181"/>
                  <a:pt x="477" y="180"/>
                </a:cubicBezTo>
                <a:cubicBezTo>
                  <a:pt x="477" y="180"/>
                  <a:pt x="477" y="180"/>
                  <a:pt x="478" y="180"/>
                </a:cubicBezTo>
                <a:cubicBezTo>
                  <a:pt x="478" y="180"/>
                  <a:pt x="478" y="180"/>
                  <a:pt x="479" y="180"/>
                </a:cubicBezTo>
                <a:cubicBezTo>
                  <a:pt x="479" y="180"/>
                  <a:pt x="479" y="180"/>
                  <a:pt x="480" y="181"/>
                </a:cubicBezTo>
                <a:cubicBezTo>
                  <a:pt x="480" y="181"/>
                  <a:pt x="480" y="181"/>
                  <a:pt x="480" y="183"/>
                </a:cubicBezTo>
                <a:cubicBezTo>
                  <a:pt x="480" y="183"/>
                  <a:pt x="480" y="183"/>
                  <a:pt x="483" y="183"/>
                </a:cubicBezTo>
                <a:cubicBezTo>
                  <a:pt x="483" y="183"/>
                  <a:pt x="483" y="183"/>
                  <a:pt x="483" y="182"/>
                </a:cubicBezTo>
                <a:cubicBezTo>
                  <a:pt x="483" y="182"/>
                  <a:pt x="483" y="182"/>
                  <a:pt x="482" y="181"/>
                </a:cubicBezTo>
                <a:cubicBezTo>
                  <a:pt x="482" y="181"/>
                  <a:pt x="482" y="181"/>
                  <a:pt x="480" y="181"/>
                </a:cubicBezTo>
                <a:cubicBezTo>
                  <a:pt x="480" y="181"/>
                  <a:pt x="480" y="181"/>
                  <a:pt x="480" y="180"/>
                </a:cubicBezTo>
                <a:cubicBezTo>
                  <a:pt x="480" y="180"/>
                  <a:pt x="480" y="180"/>
                  <a:pt x="478" y="179"/>
                </a:cubicBezTo>
                <a:cubicBezTo>
                  <a:pt x="478" y="179"/>
                  <a:pt x="478" y="179"/>
                  <a:pt x="477" y="177"/>
                </a:cubicBezTo>
                <a:cubicBezTo>
                  <a:pt x="477" y="177"/>
                  <a:pt x="477" y="177"/>
                  <a:pt x="475" y="177"/>
                </a:cubicBezTo>
                <a:cubicBezTo>
                  <a:pt x="475" y="177"/>
                  <a:pt x="475" y="177"/>
                  <a:pt x="474" y="174"/>
                </a:cubicBezTo>
                <a:cubicBezTo>
                  <a:pt x="474" y="174"/>
                  <a:pt x="474" y="174"/>
                  <a:pt x="472" y="172"/>
                </a:cubicBezTo>
                <a:cubicBezTo>
                  <a:pt x="472" y="172"/>
                  <a:pt x="472" y="172"/>
                  <a:pt x="472" y="171"/>
                </a:cubicBezTo>
                <a:cubicBezTo>
                  <a:pt x="472" y="171"/>
                  <a:pt x="472" y="171"/>
                  <a:pt x="473" y="170"/>
                </a:cubicBezTo>
                <a:cubicBezTo>
                  <a:pt x="473" y="170"/>
                  <a:pt x="473" y="170"/>
                  <a:pt x="474" y="170"/>
                </a:cubicBezTo>
                <a:cubicBezTo>
                  <a:pt x="474" y="170"/>
                  <a:pt x="474" y="170"/>
                  <a:pt x="473" y="171"/>
                </a:cubicBezTo>
                <a:cubicBezTo>
                  <a:pt x="473" y="171"/>
                  <a:pt x="473" y="171"/>
                  <a:pt x="474" y="171"/>
                </a:cubicBezTo>
                <a:cubicBezTo>
                  <a:pt x="474" y="171"/>
                  <a:pt x="474" y="171"/>
                  <a:pt x="476" y="170"/>
                </a:cubicBezTo>
                <a:cubicBezTo>
                  <a:pt x="476" y="170"/>
                  <a:pt x="476" y="170"/>
                  <a:pt x="477" y="169"/>
                </a:cubicBezTo>
                <a:cubicBezTo>
                  <a:pt x="477" y="169"/>
                  <a:pt x="477" y="169"/>
                  <a:pt x="478" y="169"/>
                </a:cubicBezTo>
                <a:cubicBezTo>
                  <a:pt x="478" y="169"/>
                  <a:pt x="478" y="169"/>
                  <a:pt x="478" y="168"/>
                </a:cubicBezTo>
                <a:cubicBezTo>
                  <a:pt x="478" y="168"/>
                  <a:pt x="478" y="168"/>
                  <a:pt x="480" y="167"/>
                </a:cubicBezTo>
                <a:cubicBezTo>
                  <a:pt x="480" y="167"/>
                  <a:pt x="480" y="167"/>
                  <a:pt x="481" y="167"/>
                </a:cubicBezTo>
                <a:cubicBezTo>
                  <a:pt x="481" y="167"/>
                  <a:pt x="481" y="167"/>
                  <a:pt x="483" y="167"/>
                </a:cubicBezTo>
                <a:cubicBezTo>
                  <a:pt x="483" y="167"/>
                  <a:pt x="483" y="167"/>
                  <a:pt x="484" y="166"/>
                </a:cubicBezTo>
                <a:cubicBezTo>
                  <a:pt x="484" y="166"/>
                  <a:pt x="484" y="166"/>
                  <a:pt x="486" y="165"/>
                </a:cubicBezTo>
                <a:cubicBezTo>
                  <a:pt x="486" y="165"/>
                  <a:pt x="486" y="165"/>
                  <a:pt x="488" y="166"/>
                </a:cubicBezTo>
                <a:cubicBezTo>
                  <a:pt x="488" y="166"/>
                  <a:pt x="488" y="166"/>
                  <a:pt x="489" y="166"/>
                </a:cubicBezTo>
                <a:cubicBezTo>
                  <a:pt x="489" y="166"/>
                  <a:pt x="489" y="166"/>
                  <a:pt x="490" y="167"/>
                </a:cubicBezTo>
                <a:cubicBezTo>
                  <a:pt x="490" y="167"/>
                  <a:pt x="490" y="167"/>
                  <a:pt x="491" y="167"/>
                </a:cubicBezTo>
                <a:cubicBezTo>
                  <a:pt x="491" y="167"/>
                  <a:pt x="491" y="167"/>
                  <a:pt x="492" y="167"/>
                </a:cubicBezTo>
                <a:cubicBezTo>
                  <a:pt x="492" y="167"/>
                  <a:pt x="492" y="167"/>
                  <a:pt x="491" y="165"/>
                </a:cubicBezTo>
                <a:cubicBezTo>
                  <a:pt x="491" y="165"/>
                  <a:pt x="491" y="165"/>
                  <a:pt x="490" y="165"/>
                </a:cubicBezTo>
                <a:cubicBezTo>
                  <a:pt x="490" y="165"/>
                  <a:pt x="490" y="165"/>
                  <a:pt x="490" y="164"/>
                </a:cubicBezTo>
                <a:cubicBezTo>
                  <a:pt x="490" y="164"/>
                  <a:pt x="490" y="164"/>
                  <a:pt x="494" y="163"/>
                </a:cubicBezTo>
                <a:cubicBezTo>
                  <a:pt x="494" y="163"/>
                  <a:pt x="494" y="163"/>
                  <a:pt x="495" y="163"/>
                </a:cubicBezTo>
                <a:cubicBezTo>
                  <a:pt x="495" y="163"/>
                  <a:pt x="495" y="163"/>
                  <a:pt x="496" y="163"/>
                </a:cubicBezTo>
                <a:cubicBezTo>
                  <a:pt x="496" y="163"/>
                  <a:pt x="496" y="163"/>
                  <a:pt x="497" y="163"/>
                </a:cubicBezTo>
                <a:cubicBezTo>
                  <a:pt x="497" y="163"/>
                  <a:pt x="497" y="163"/>
                  <a:pt x="499" y="162"/>
                </a:cubicBezTo>
                <a:cubicBezTo>
                  <a:pt x="499" y="162"/>
                  <a:pt x="499" y="162"/>
                  <a:pt x="501" y="162"/>
                </a:cubicBezTo>
                <a:cubicBezTo>
                  <a:pt x="501" y="162"/>
                  <a:pt x="501" y="162"/>
                  <a:pt x="502" y="163"/>
                </a:cubicBezTo>
                <a:cubicBezTo>
                  <a:pt x="502" y="163"/>
                  <a:pt x="502" y="163"/>
                  <a:pt x="503" y="164"/>
                </a:cubicBezTo>
                <a:cubicBezTo>
                  <a:pt x="503" y="164"/>
                  <a:pt x="503" y="164"/>
                  <a:pt x="503" y="165"/>
                </a:cubicBezTo>
                <a:cubicBezTo>
                  <a:pt x="503" y="165"/>
                  <a:pt x="503" y="165"/>
                  <a:pt x="503" y="166"/>
                </a:cubicBezTo>
                <a:cubicBezTo>
                  <a:pt x="503" y="166"/>
                  <a:pt x="503" y="166"/>
                  <a:pt x="502" y="166"/>
                </a:cubicBezTo>
                <a:cubicBezTo>
                  <a:pt x="502" y="166"/>
                  <a:pt x="502" y="166"/>
                  <a:pt x="501" y="168"/>
                </a:cubicBezTo>
                <a:cubicBezTo>
                  <a:pt x="501" y="168"/>
                  <a:pt x="501" y="168"/>
                  <a:pt x="499" y="168"/>
                </a:cubicBezTo>
                <a:cubicBezTo>
                  <a:pt x="499" y="168"/>
                  <a:pt x="499" y="168"/>
                  <a:pt x="499" y="169"/>
                </a:cubicBezTo>
                <a:cubicBezTo>
                  <a:pt x="499" y="169"/>
                  <a:pt x="499" y="169"/>
                  <a:pt x="500" y="170"/>
                </a:cubicBezTo>
                <a:cubicBezTo>
                  <a:pt x="500" y="170"/>
                  <a:pt x="500" y="170"/>
                  <a:pt x="500" y="172"/>
                </a:cubicBezTo>
                <a:cubicBezTo>
                  <a:pt x="500" y="172"/>
                  <a:pt x="500" y="172"/>
                  <a:pt x="501" y="172"/>
                </a:cubicBezTo>
                <a:cubicBezTo>
                  <a:pt x="501" y="172"/>
                  <a:pt x="501" y="172"/>
                  <a:pt x="501" y="171"/>
                </a:cubicBezTo>
                <a:cubicBezTo>
                  <a:pt x="501" y="171"/>
                  <a:pt x="501" y="171"/>
                  <a:pt x="502" y="172"/>
                </a:cubicBezTo>
                <a:cubicBezTo>
                  <a:pt x="502" y="172"/>
                  <a:pt x="502" y="172"/>
                  <a:pt x="502" y="173"/>
                </a:cubicBezTo>
                <a:cubicBezTo>
                  <a:pt x="502" y="173"/>
                  <a:pt x="502" y="173"/>
                  <a:pt x="503" y="173"/>
                </a:cubicBezTo>
                <a:cubicBezTo>
                  <a:pt x="503" y="173"/>
                  <a:pt x="503" y="173"/>
                  <a:pt x="504" y="173"/>
                </a:cubicBezTo>
                <a:cubicBezTo>
                  <a:pt x="504" y="173"/>
                  <a:pt x="504" y="173"/>
                  <a:pt x="505" y="173"/>
                </a:cubicBezTo>
                <a:cubicBezTo>
                  <a:pt x="505" y="173"/>
                  <a:pt x="505" y="173"/>
                  <a:pt x="505" y="174"/>
                </a:cubicBezTo>
                <a:cubicBezTo>
                  <a:pt x="505" y="174"/>
                  <a:pt x="505" y="174"/>
                  <a:pt x="506" y="174"/>
                </a:cubicBezTo>
                <a:cubicBezTo>
                  <a:pt x="506" y="174"/>
                  <a:pt x="506" y="174"/>
                  <a:pt x="508" y="174"/>
                </a:cubicBezTo>
                <a:cubicBezTo>
                  <a:pt x="508" y="174"/>
                  <a:pt x="508" y="174"/>
                  <a:pt x="508" y="175"/>
                </a:cubicBezTo>
                <a:cubicBezTo>
                  <a:pt x="508" y="175"/>
                  <a:pt x="508" y="175"/>
                  <a:pt x="508" y="176"/>
                </a:cubicBezTo>
                <a:cubicBezTo>
                  <a:pt x="508" y="176"/>
                  <a:pt x="508" y="176"/>
                  <a:pt x="510" y="175"/>
                </a:cubicBezTo>
                <a:cubicBezTo>
                  <a:pt x="510" y="175"/>
                  <a:pt x="510" y="175"/>
                  <a:pt x="511" y="175"/>
                </a:cubicBezTo>
                <a:cubicBezTo>
                  <a:pt x="511" y="175"/>
                  <a:pt x="511" y="175"/>
                  <a:pt x="511" y="174"/>
                </a:cubicBezTo>
                <a:cubicBezTo>
                  <a:pt x="511" y="174"/>
                  <a:pt x="511" y="174"/>
                  <a:pt x="513" y="172"/>
                </a:cubicBezTo>
                <a:cubicBezTo>
                  <a:pt x="513" y="172"/>
                  <a:pt x="513" y="172"/>
                  <a:pt x="514" y="172"/>
                </a:cubicBezTo>
                <a:cubicBezTo>
                  <a:pt x="514" y="172"/>
                  <a:pt x="514" y="172"/>
                  <a:pt x="515" y="172"/>
                </a:cubicBezTo>
                <a:cubicBezTo>
                  <a:pt x="515" y="172"/>
                  <a:pt x="515" y="172"/>
                  <a:pt x="515" y="173"/>
                </a:cubicBezTo>
                <a:cubicBezTo>
                  <a:pt x="515" y="173"/>
                  <a:pt x="515" y="173"/>
                  <a:pt x="513" y="175"/>
                </a:cubicBezTo>
                <a:cubicBezTo>
                  <a:pt x="513" y="175"/>
                  <a:pt x="513" y="175"/>
                  <a:pt x="515" y="175"/>
                </a:cubicBezTo>
                <a:cubicBezTo>
                  <a:pt x="515" y="175"/>
                  <a:pt x="515" y="175"/>
                  <a:pt x="516" y="173"/>
                </a:cubicBezTo>
                <a:cubicBezTo>
                  <a:pt x="516" y="173"/>
                  <a:pt x="516" y="173"/>
                  <a:pt x="516" y="171"/>
                </a:cubicBezTo>
                <a:cubicBezTo>
                  <a:pt x="516" y="171"/>
                  <a:pt x="516" y="171"/>
                  <a:pt x="516" y="170"/>
                </a:cubicBezTo>
                <a:cubicBezTo>
                  <a:pt x="516" y="170"/>
                  <a:pt x="516" y="170"/>
                  <a:pt x="514" y="170"/>
                </a:cubicBezTo>
                <a:cubicBezTo>
                  <a:pt x="514" y="170"/>
                  <a:pt x="514" y="170"/>
                  <a:pt x="514" y="169"/>
                </a:cubicBezTo>
                <a:cubicBezTo>
                  <a:pt x="514" y="169"/>
                  <a:pt x="514" y="169"/>
                  <a:pt x="513" y="169"/>
                </a:cubicBezTo>
                <a:cubicBezTo>
                  <a:pt x="513" y="169"/>
                  <a:pt x="513" y="169"/>
                  <a:pt x="512" y="170"/>
                </a:cubicBezTo>
                <a:cubicBezTo>
                  <a:pt x="512" y="170"/>
                  <a:pt x="512" y="170"/>
                  <a:pt x="512" y="169"/>
                </a:cubicBezTo>
                <a:cubicBezTo>
                  <a:pt x="512" y="169"/>
                  <a:pt x="512" y="169"/>
                  <a:pt x="513" y="168"/>
                </a:cubicBezTo>
                <a:cubicBezTo>
                  <a:pt x="513" y="168"/>
                  <a:pt x="513" y="168"/>
                  <a:pt x="514" y="166"/>
                </a:cubicBezTo>
                <a:cubicBezTo>
                  <a:pt x="514" y="166"/>
                  <a:pt x="514" y="166"/>
                  <a:pt x="514" y="168"/>
                </a:cubicBezTo>
                <a:cubicBezTo>
                  <a:pt x="514" y="168"/>
                  <a:pt x="514" y="168"/>
                  <a:pt x="515" y="169"/>
                </a:cubicBezTo>
                <a:cubicBezTo>
                  <a:pt x="515" y="169"/>
                  <a:pt x="515" y="169"/>
                  <a:pt x="516" y="169"/>
                </a:cubicBezTo>
                <a:cubicBezTo>
                  <a:pt x="516" y="169"/>
                  <a:pt x="516" y="169"/>
                  <a:pt x="517" y="169"/>
                </a:cubicBezTo>
                <a:cubicBezTo>
                  <a:pt x="517" y="169"/>
                  <a:pt x="517" y="169"/>
                  <a:pt x="518" y="171"/>
                </a:cubicBezTo>
                <a:cubicBezTo>
                  <a:pt x="518" y="171"/>
                  <a:pt x="518" y="171"/>
                  <a:pt x="518" y="172"/>
                </a:cubicBezTo>
                <a:cubicBezTo>
                  <a:pt x="518" y="172"/>
                  <a:pt x="518" y="172"/>
                  <a:pt x="520" y="172"/>
                </a:cubicBezTo>
                <a:cubicBezTo>
                  <a:pt x="520" y="172"/>
                  <a:pt x="520" y="172"/>
                  <a:pt x="521" y="171"/>
                </a:cubicBezTo>
                <a:cubicBezTo>
                  <a:pt x="521" y="171"/>
                  <a:pt x="521" y="171"/>
                  <a:pt x="522" y="172"/>
                </a:cubicBezTo>
                <a:cubicBezTo>
                  <a:pt x="522" y="172"/>
                  <a:pt x="522" y="172"/>
                  <a:pt x="522" y="173"/>
                </a:cubicBezTo>
                <a:cubicBezTo>
                  <a:pt x="522" y="173"/>
                  <a:pt x="522" y="173"/>
                  <a:pt x="524" y="173"/>
                </a:cubicBezTo>
                <a:cubicBezTo>
                  <a:pt x="524" y="173"/>
                  <a:pt x="524" y="173"/>
                  <a:pt x="524" y="171"/>
                </a:cubicBezTo>
                <a:cubicBezTo>
                  <a:pt x="524" y="171"/>
                  <a:pt x="524" y="171"/>
                  <a:pt x="524" y="170"/>
                </a:cubicBezTo>
                <a:cubicBezTo>
                  <a:pt x="524" y="170"/>
                  <a:pt x="524" y="170"/>
                  <a:pt x="526" y="169"/>
                </a:cubicBezTo>
                <a:cubicBezTo>
                  <a:pt x="526" y="169"/>
                  <a:pt x="526" y="169"/>
                  <a:pt x="524" y="168"/>
                </a:cubicBezTo>
                <a:cubicBezTo>
                  <a:pt x="524" y="168"/>
                  <a:pt x="524" y="168"/>
                  <a:pt x="522" y="168"/>
                </a:cubicBezTo>
                <a:cubicBezTo>
                  <a:pt x="522" y="168"/>
                  <a:pt x="522" y="168"/>
                  <a:pt x="520" y="168"/>
                </a:cubicBezTo>
                <a:cubicBezTo>
                  <a:pt x="520" y="168"/>
                  <a:pt x="520" y="168"/>
                  <a:pt x="520" y="167"/>
                </a:cubicBezTo>
                <a:cubicBezTo>
                  <a:pt x="520" y="167"/>
                  <a:pt x="520" y="167"/>
                  <a:pt x="519" y="167"/>
                </a:cubicBezTo>
                <a:cubicBezTo>
                  <a:pt x="519" y="167"/>
                  <a:pt x="519" y="167"/>
                  <a:pt x="518" y="167"/>
                </a:cubicBezTo>
                <a:cubicBezTo>
                  <a:pt x="518" y="167"/>
                  <a:pt x="518" y="167"/>
                  <a:pt x="517" y="168"/>
                </a:cubicBezTo>
                <a:cubicBezTo>
                  <a:pt x="517" y="168"/>
                  <a:pt x="517" y="168"/>
                  <a:pt x="516" y="167"/>
                </a:cubicBezTo>
                <a:cubicBezTo>
                  <a:pt x="516" y="167"/>
                  <a:pt x="516" y="167"/>
                  <a:pt x="516" y="166"/>
                </a:cubicBezTo>
                <a:cubicBezTo>
                  <a:pt x="516" y="166"/>
                  <a:pt x="516" y="166"/>
                  <a:pt x="516" y="163"/>
                </a:cubicBezTo>
                <a:cubicBezTo>
                  <a:pt x="516" y="163"/>
                  <a:pt x="516" y="163"/>
                  <a:pt x="516" y="162"/>
                </a:cubicBezTo>
                <a:cubicBezTo>
                  <a:pt x="516" y="162"/>
                  <a:pt x="516" y="162"/>
                  <a:pt x="518" y="162"/>
                </a:cubicBezTo>
                <a:cubicBezTo>
                  <a:pt x="518" y="162"/>
                  <a:pt x="518" y="162"/>
                  <a:pt x="515" y="159"/>
                </a:cubicBezTo>
                <a:cubicBezTo>
                  <a:pt x="515" y="159"/>
                  <a:pt x="515" y="159"/>
                  <a:pt x="515" y="158"/>
                </a:cubicBezTo>
                <a:cubicBezTo>
                  <a:pt x="515" y="158"/>
                  <a:pt x="515" y="158"/>
                  <a:pt x="514" y="158"/>
                </a:cubicBezTo>
                <a:cubicBezTo>
                  <a:pt x="514" y="158"/>
                  <a:pt x="514" y="158"/>
                  <a:pt x="514" y="159"/>
                </a:cubicBezTo>
                <a:cubicBezTo>
                  <a:pt x="514" y="159"/>
                  <a:pt x="514" y="159"/>
                  <a:pt x="513" y="158"/>
                </a:cubicBezTo>
                <a:cubicBezTo>
                  <a:pt x="513" y="158"/>
                  <a:pt x="513" y="158"/>
                  <a:pt x="510" y="155"/>
                </a:cubicBezTo>
                <a:cubicBezTo>
                  <a:pt x="510" y="155"/>
                  <a:pt x="510" y="155"/>
                  <a:pt x="511" y="153"/>
                </a:cubicBezTo>
                <a:cubicBezTo>
                  <a:pt x="511" y="153"/>
                  <a:pt x="511" y="153"/>
                  <a:pt x="513" y="151"/>
                </a:cubicBezTo>
                <a:cubicBezTo>
                  <a:pt x="513" y="151"/>
                  <a:pt x="513" y="151"/>
                  <a:pt x="513" y="147"/>
                </a:cubicBezTo>
                <a:cubicBezTo>
                  <a:pt x="513" y="147"/>
                  <a:pt x="513" y="147"/>
                  <a:pt x="512" y="143"/>
                </a:cubicBezTo>
                <a:cubicBezTo>
                  <a:pt x="512" y="143"/>
                  <a:pt x="512" y="143"/>
                  <a:pt x="511" y="139"/>
                </a:cubicBezTo>
                <a:cubicBezTo>
                  <a:pt x="511" y="139"/>
                  <a:pt x="511" y="139"/>
                  <a:pt x="509" y="134"/>
                </a:cubicBezTo>
                <a:cubicBezTo>
                  <a:pt x="509" y="134"/>
                  <a:pt x="509" y="134"/>
                  <a:pt x="508" y="131"/>
                </a:cubicBezTo>
                <a:cubicBezTo>
                  <a:pt x="508" y="131"/>
                  <a:pt x="508" y="131"/>
                  <a:pt x="509" y="130"/>
                </a:cubicBezTo>
                <a:cubicBezTo>
                  <a:pt x="509" y="130"/>
                  <a:pt x="509" y="130"/>
                  <a:pt x="510" y="131"/>
                </a:cubicBezTo>
                <a:cubicBezTo>
                  <a:pt x="510" y="131"/>
                  <a:pt x="510" y="131"/>
                  <a:pt x="511" y="131"/>
                </a:cubicBezTo>
                <a:cubicBezTo>
                  <a:pt x="511" y="131"/>
                  <a:pt x="511" y="131"/>
                  <a:pt x="511" y="130"/>
                </a:cubicBezTo>
                <a:cubicBezTo>
                  <a:pt x="511" y="130"/>
                  <a:pt x="511" y="130"/>
                  <a:pt x="513" y="128"/>
                </a:cubicBezTo>
                <a:cubicBezTo>
                  <a:pt x="513" y="128"/>
                  <a:pt x="513" y="128"/>
                  <a:pt x="513" y="127"/>
                </a:cubicBezTo>
                <a:cubicBezTo>
                  <a:pt x="513" y="127"/>
                  <a:pt x="513" y="127"/>
                  <a:pt x="515" y="125"/>
                </a:cubicBezTo>
                <a:cubicBezTo>
                  <a:pt x="515" y="125"/>
                  <a:pt x="515" y="125"/>
                  <a:pt x="517" y="123"/>
                </a:cubicBezTo>
                <a:cubicBezTo>
                  <a:pt x="517" y="123"/>
                  <a:pt x="517" y="123"/>
                  <a:pt x="518" y="123"/>
                </a:cubicBezTo>
                <a:cubicBezTo>
                  <a:pt x="518" y="123"/>
                  <a:pt x="518" y="123"/>
                  <a:pt x="520" y="124"/>
                </a:cubicBezTo>
                <a:cubicBezTo>
                  <a:pt x="520" y="124"/>
                  <a:pt x="520" y="124"/>
                  <a:pt x="521" y="125"/>
                </a:cubicBezTo>
                <a:cubicBezTo>
                  <a:pt x="521" y="125"/>
                  <a:pt x="521" y="125"/>
                  <a:pt x="523" y="126"/>
                </a:cubicBezTo>
                <a:cubicBezTo>
                  <a:pt x="523" y="126"/>
                  <a:pt x="523" y="126"/>
                  <a:pt x="524" y="126"/>
                </a:cubicBezTo>
                <a:cubicBezTo>
                  <a:pt x="524" y="126"/>
                  <a:pt x="524" y="126"/>
                  <a:pt x="525" y="127"/>
                </a:cubicBezTo>
                <a:cubicBezTo>
                  <a:pt x="525" y="127"/>
                  <a:pt x="525" y="127"/>
                  <a:pt x="527" y="127"/>
                </a:cubicBezTo>
                <a:cubicBezTo>
                  <a:pt x="527" y="127"/>
                  <a:pt x="527" y="127"/>
                  <a:pt x="529" y="125"/>
                </a:cubicBezTo>
                <a:cubicBezTo>
                  <a:pt x="529" y="125"/>
                  <a:pt x="529" y="125"/>
                  <a:pt x="531" y="125"/>
                </a:cubicBezTo>
                <a:cubicBezTo>
                  <a:pt x="531" y="125"/>
                  <a:pt x="531" y="125"/>
                  <a:pt x="532" y="124"/>
                </a:cubicBezTo>
                <a:cubicBezTo>
                  <a:pt x="532" y="124"/>
                  <a:pt x="532" y="124"/>
                  <a:pt x="534" y="124"/>
                </a:cubicBezTo>
                <a:cubicBezTo>
                  <a:pt x="534" y="124"/>
                  <a:pt x="534" y="124"/>
                  <a:pt x="536" y="123"/>
                </a:cubicBezTo>
                <a:cubicBezTo>
                  <a:pt x="536" y="123"/>
                  <a:pt x="536" y="123"/>
                  <a:pt x="539" y="120"/>
                </a:cubicBezTo>
                <a:cubicBezTo>
                  <a:pt x="539" y="120"/>
                  <a:pt x="539" y="120"/>
                  <a:pt x="541" y="118"/>
                </a:cubicBezTo>
                <a:cubicBezTo>
                  <a:pt x="541" y="118"/>
                  <a:pt x="541" y="118"/>
                  <a:pt x="544" y="116"/>
                </a:cubicBezTo>
                <a:cubicBezTo>
                  <a:pt x="544" y="116"/>
                  <a:pt x="544" y="116"/>
                  <a:pt x="548" y="114"/>
                </a:cubicBezTo>
                <a:cubicBezTo>
                  <a:pt x="548" y="114"/>
                  <a:pt x="548" y="114"/>
                  <a:pt x="551" y="112"/>
                </a:cubicBezTo>
                <a:cubicBezTo>
                  <a:pt x="551" y="112"/>
                  <a:pt x="551" y="112"/>
                  <a:pt x="553" y="110"/>
                </a:cubicBezTo>
                <a:cubicBezTo>
                  <a:pt x="553" y="110"/>
                  <a:pt x="553" y="110"/>
                  <a:pt x="556" y="111"/>
                </a:cubicBezTo>
                <a:cubicBezTo>
                  <a:pt x="556" y="111"/>
                  <a:pt x="556" y="111"/>
                  <a:pt x="557" y="111"/>
                </a:cubicBezTo>
                <a:cubicBezTo>
                  <a:pt x="557" y="111"/>
                  <a:pt x="557" y="111"/>
                  <a:pt x="558" y="111"/>
                </a:cubicBezTo>
                <a:cubicBezTo>
                  <a:pt x="558" y="111"/>
                  <a:pt x="558" y="111"/>
                  <a:pt x="557" y="110"/>
                </a:cubicBezTo>
                <a:cubicBezTo>
                  <a:pt x="557" y="110"/>
                  <a:pt x="557" y="110"/>
                  <a:pt x="555" y="109"/>
                </a:cubicBezTo>
                <a:cubicBezTo>
                  <a:pt x="555" y="109"/>
                  <a:pt x="555" y="109"/>
                  <a:pt x="556" y="109"/>
                </a:cubicBezTo>
                <a:cubicBezTo>
                  <a:pt x="556" y="109"/>
                  <a:pt x="556" y="109"/>
                  <a:pt x="558" y="109"/>
                </a:cubicBezTo>
                <a:cubicBezTo>
                  <a:pt x="558" y="109"/>
                  <a:pt x="558" y="109"/>
                  <a:pt x="559" y="110"/>
                </a:cubicBezTo>
                <a:cubicBezTo>
                  <a:pt x="559" y="110"/>
                  <a:pt x="559" y="110"/>
                  <a:pt x="559" y="111"/>
                </a:cubicBezTo>
                <a:cubicBezTo>
                  <a:pt x="559" y="111"/>
                  <a:pt x="559" y="111"/>
                  <a:pt x="561" y="111"/>
                </a:cubicBezTo>
                <a:cubicBezTo>
                  <a:pt x="561" y="111"/>
                  <a:pt x="561" y="111"/>
                  <a:pt x="564" y="109"/>
                </a:cubicBezTo>
                <a:cubicBezTo>
                  <a:pt x="564" y="109"/>
                  <a:pt x="564" y="109"/>
                  <a:pt x="564" y="110"/>
                </a:cubicBezTo>
                <a:cubicBezTo>
                  <a:pt x="564" y="110"/>
                  <a:pt x="564" y="110"/>
                  <a:pt x="562" y="113"/>
                </a:cubicBezTo>
                <a:cubicBezTo>
                  <a:pt x="562" y="113"/>
                  <a:pt x="562" y="113"/>
                  <a:pt x="562" y="115"/>
                </a:cubicBezTo>
                <a:cubicBezTo>
                  <a:pt x="562" y="115"/>
                  <a:pt x="562" y="115"/>
                  <a:pt x="563" y="115"/>
                </a:cubicBezTo>
                <a:cubicBezTo>
                  <a:pt x="563" y="115"/>
                  <a:pt x="563" y="115"/>
                  <a:pt x="564" y="113"/>
                </a:cubicBezTo>
                <a:cubicBezTo>
                  <a:pt x="564" y="113"/>
                  <a:pt x="564" y="113"/>
                  <a:pt x="565" y="110"/>
                </a:cubicBezTo>
                <a:cubicBezTo>
                  <a:pt x="565" y="110"/>
                  <a:pt x="565" y="110"/>
                  <a:pt x="566" y="109"/>
                </a:cubicBezTo>
                <a:cubicBezTo>
                  <a:pt x="566" y="109"/>
                  <a:pt x="566" y="109"/>
                  <a:pt x="568" y="109"/>
                </a:cubicBezTo>
                <a:cubicBezTo>
                  <a:pt x="568" y="109"/>
                  <a:pt x="568" y="109"/>
                  <a:pt x="569" y="108"/>
                </a:cubicBezTo>
                <a:cubicBezTo>
                  <a:pt x="569" y="108"/>
                  <a:pt x="569" y="108"/>
                  <a:pt x="567" y="108"/>
                </a:cubicBezTo>
                <a:cubicBezTo>
                  <a:pt x="567" y="108"/>
                  <a:pt x="567" y="108"/>
                  <a:pt x="567" y="107"/>
                </a:cubicBezTo>
                <a:cubicBezTo>
                  <a:pt x="567" y="107"/>
                  <a:pt x="567" y="107"/>
                  <a:pt x="568" y="106"/>
                </a:cubicBezTo>
                <a:cubicBezTo>
                  <a:pt x="568" y="106"/>
                  <a:pt x="568" y="106"/>
                  <a:pt x="569" y="105"/>
                </a:cubicBezTo>
                <a:cubicBezTo>
                  <a:pt x="569" y="105"/>
                  <a:pt x="569" y="105"/>
                  <a:pt x="572" y="104"/>
                </a:cubicBezTo>
                <a:cubicBezTo>
                  <a:pt x="572" y="104"/>
                  <a:pt x="572" y="104"/>
                  <a:pt x="573" y="103"/>
                </a:cubicBezTo>
                <a:cubicBezTo>
                  <a:pt x="573" y="103"/>
                  <a:pt x="573" y="103"/>
                  <a:pt x="574" y="104"/>
                </a:cubicBezTo>
                <a:cubicBezTo>
                  <a:pt x="574" y="104"/>
                  <a:pt x="574" y="104"/>
                  <a:pt x="573" y="104"/>
                </a:cubicBezTo>
                <a:cubicBezTo>
                  <a:pt x="573" y="104"/>
                  <a:pt x="573" y="104"/>
                  <a:pt x="573" y="105"/>
                </a:cubicBezTo>
                <a:cubicBezTo>
                  <a:pt x="573" y="105"/>
                  <a:pt x="573" y="105"/>
                  <a:pt x="573" y="106"/>
                </a:cubicBezTo>
                <a:cubicBezTo>
                  <a:pt x="573" y="106"/>
                  <a:pt x="573" y="106"/>
                  <a:pt x="574" y="106"/>
                </a:cubicBezTo>
                <a:cubicBezTo>
                  <a:pt x="574" y="106"/>
                  <a:pt x="574" y="106"/>
                  <a:pt x="574" y="105"/>
                </a:cubicBezTo>
                <a:cubicBezTo>
                  <a:pt x="574" y="105"/>
                  <a:pt x="574" y="105"/>
                  <a:pt x="575" y="104"/>
                </a:cubicBezTo>
                <a:cubicBezTo>
                  <a:pt x="575" y="104"/>
                  <a:pt x="575" y="104"/>
                  <a:pt x="576" y="105"/>
                </a:cubicBezTo>
                <a:cubicBezTo>
                  <a:pt x="576" y="105"/>
                  <a:pt x="576" y="105"/>
                  <a:pt x="577" y="105"/>
                </a:cubicBezTo>
                <a:cubicBezTo>
                  <a:pt x="577" y="105"/>
                  <a:pt x="577" y="105"/>
                  <a:pt x="578" y="105"/>
                </a:cubicBezTo>
                <a:cubicBezTo>
                  <a:pt x="578" y="105"/>
                  <a:pt x="578" y="105"/>
                  <a:pt x="580" y="106"/>
                </a:cubicBezTo>
                <a:cubicBezTo>
                  <a:pt x="580" y="106"/>
                  <a:pt x="580" y="106"/>
                  <a:pt x="582" y="106"/>
                </a:cubicBezTo>
                <a:cubicBezTo>
                  <a:pt x="582" y="106"/>
                  <a:pt x="582" y="106"/>
                  <a:pt x="584" y="106"/>
                </a:cubicBezTo>
                <a:cubicBezTo>
                  <a:pt x="584" y="106"/>
                  <a:pt x="584" y="106"/>
                  <a:pt x="587" y="103"/>
                </a:cubicBezTo>
                <a:cubicBezTo>
                  <a:pt x="587" y="103"/>
                  <a:pt x="587" y="103"/>
                  <a:pt x="588" y="103"/>
                </a:cubicBezTo>
                <a:cubicBezTo>
                  <a:pt x="588" y="103"/>
                  <a:pt x="588" y="103"/>
                  <a:pt x="590" y="103"/>
                </a:cubicBezTo>
                <a:cubicBezTo>
                  <a:pt x="590" y="103"/>
                  <a:pt x="590" y="103"/>
                  <a:pt x="590" y="102"/>
                </a:cubicBezTo>
                <a:cubicBezTo>
                  <a:pt x="590" y="102"/>
                  <a:pt x="590" y="102"/>
                  <a:pt x="593" y="101"/>
                </a:cubicBezTo>
                <a:cubicBezTo>
                  <a:pt x="593" y="101"/>
                  <a:pt x="593" y="101"/>
                  <a:pt x="592" y="102"/>
                </a:cubicBezTo>
                <a:cubicBezTo>
                  <a:pt x="592" y="102"/>
                  <a:pt x="592" y="102"/>
                  <a:pt x="593" y="103"/>
                </a:cubicBezTo>
                <a:cubicBezTo>
                  <a:pt x="593" y="103"/>
                  <a:pt x="593" y="103"/>
                  <a:pt x="593" y="104"/>
                </a:cubicBezTo>
                <a:cubicBezTo>
                  <a:pt x="593" y="104"/>
                  <a:pt x="593" y="104"/>
                  <a:pt x="594" y="104"/>
                </a:cubicBezTo>
                <a:cubicBezTo>
                  <a:pt x="594" y="104"/>
                  <a:pt x="594" y="104"/>
                  <a:pt x="595" y="105"/>
                </a:cubicBezTo>
                <a:cubicBezTo>
                  <a:pt x="595" y="105"/>
                  <a:pt x="595" y="105"/>
                  <a:pt x="595" y="106"/>
                </a:cubicBezTo>
                <a:cubicBezTo>
                  <a:pt x="595" y="106"/>
                  <a:pt x="595" y="106"/>
                  <a:pt x="594" y="107"/>
                </a:cubicBezTo>
                <a:cubicBezTo>
                  <a:pt x="594" y="107"/>
                  <a:pt x="594" y="107"/>
                  <a:pt x="592" y="108"/>
                </a:cubicBezTo>
                <a:cubicBezTo>
                  <a:pt x="592" y="108"/>
                  <a:pt x="592" y="108"/>
                  <a:pt x="591" y="108"/>
                </a:cubicBezTo>
                <a:cubicBezTo>
                  <a:pt x="591" y="108"/>
                  <a:pt x="591" y="108"/>
                  <a:pt x="589" y="107"/>
                </a:cubicBezTo>
                <a:cubicBezTo>
                  <a:pt x="589" y="107"/>
                  <a:pt x="589" y="107"/>
                  <a:pt x="588" y="108"/>
                </a:cubicBezTo>
                <a:cubicBezTo>
                  <a:pt x="588" y="108"/>
                  <a:pt x="588" y="108"/>
                  <a:pt x="587" y="109"/>
                </a:cubicBezTo>
                <a:cubicBezTo>
                  <a:pt x="587" y="109"/>
                  <a:pt x="587" y="109"/>
                  <a:pt x="586" y="110"/>
                </a:cubicBezTo>
                <a:cubicBezTo>
                  <a:pt x="586" y="110"/>
                  <a:pt x="586" y="110"/>
                  <a:pt x="588" y="110"/>
                </a:cubicBezTo>
                <a:cubicBezTo>
                  <a:pt x="588" y="110"/>
                  <a:pt x="588" y="110"/>
                  <a:pt x="588" y="111"/>
                </a:cubicBezTo>
                <a:cubicBezTo>
                  <a:pt x="588" y="111"/>
                  <a:pt x="588" y="111"/>
                  <a:pt x="588" y="113"/>
                </a:cubicBezTo>
                <a:cubicBezTo>
                  <a:pt x="588" y="113"/>
                  <a:pt x="588" y="113"/>
                  <a:pt x="589" y="112"/>
                </a:cubicBezTo>
                <a:cubicBezTo>
                  <a:pt x="589" y="112"/>
                  <a:pt x="589" y="112"/>
                  <a:pt x="590" y="111"/>
                </a:cubicBezTo>
                <a:cubicBezTo>
                  <a:pt x="590" y="111"/>
                  <a:pt x="590" y="111"/>
                  <a:pt x="590" y="112"/>
                </a:cubicBezTo>
                <a:cubicBezTo>
                  <a:pt x="590" y="112"/>
                  <a:pt x="590" y="112"/>
                  <a:pt x="590" y="113"/>
                </a:cubicBezTo>
                <a:cubicBezTo>
                  <a:pt x="590" y="113"/>
                  <a:pt x="590" y="113"/>
                  <a:pt x="591" y="112"/>
                </a:cubicBezTo>
                <a:cubicBezTo>
                  <a:pt x="591" y="112"/>
                  <a:pt x="591" y="112"/>
                  <a:pt x="592" y="112"/>
                </a:cubicBezTo>
                <a:cubicBezTo>
                  <a:pt x="592" y="112"/>
                  <a:pt x="592" y="112"/>
                  <a:pt x="593" y="111"/>
                </a:cubicBezTo>
                <a:cubicBezTo>
                  <a:pt x="593" y="111"/>
                  <a:pt x="593" y="111"/>
                  <a:pt x="592" y="110"/>
                </a:cubicBezTo>
                <a:cubicBezTo>
                  <a:pt x="592" y="110"/>
                  <a:pt x="592" y="110"/>
                  <a:pt x="593" y="109"/>
                </a:cubicBezTo>
                <a:cubicBezTo>
                  <a:pt x="593" y="109"/>
                  <a:pt x="593" y="109"/>
                  <a:pt x="594" y="109"/>
                </a:cubicBezTo>
                <a:cubicBezTo>
                  <a:pt x="594" y="109"/>
                  <a:pt x="594" y="109"/>
                  <a:pt x="595" y="109"/>
                </a:cubicBezTo>
                <a:cubicBezTo>
                  <a:pt x="595" y="109"/>
                  <a:pt x="595" y="109"/>
                  <a:pt x="595" y="108"/>
                </a:cubicBezTo>
                <a:cubicBezTo>
                  <a:pt x="595" y="108"/>
                  <a:pt x="595" y="108"/>
                  <a:pt x="597" y="107"/>
                </a:cubicBezTo>
                <a:cubicBezTo>
                  <a:pt x="597" y="107"/>
                  <a:pt x="597" y="107"/>
                  <a:pt x="598" y="108"/>
                </a:cubicBezTo>
                <a:cubicBezTo>
                  <a:pt x="598" y="108"/>
                  <a:pt x="598" y="108"/>
                  <a:pt x="597" y="109"/>
                </a:cubicBezTo>
                <a:cubicBezTo>
                  <a:pt x="597" y="109"/>
                  <a:pt x="597" y="109"/>
                  <a:pt x="597" y="110"/>
                </a:cubicBezTo>
                <a:cubicBezTo>
                  <a:pt x="597" y="110"/>
                  <a:pt x="597" y="110"/>
                  <a:pt x="596" y="110"/>
                </a:cubicBezTo>
                <a:cubicBezTo>
                  <a:pt x="596" y="110"/>
                  <a:pt x="596" y="110"/>
                  <a:pt x="596" y="111"/>
                </a:cubicBezTo>
                <a:cubicBezTo>
                  <a:pt x="596" y="111"/>
                  <a:pt x="596" y="111"/>
                  <a:pt x="596" y="112"/>
                </a:cubicBezTo>
                <a:cubicBezTo>
                  <a:pt x="596" y="112"/>
                  <a:pt x="596" y="112"/>
                  <a:pt x="596" y="113"/>
                </a:cubicBezTo>
                <a:cubicBezTo>
                  <a:pt x="596" y="113"/>
                  <a:pt x="596" y="113"/>
                  <a:pt x="595" y="114"/>
                </a:cubicBezTo>
                <a:cubicBezTo>
                  <a:pt x="595" y="114"/>
                  <a:pt x="595" y="114"/>
                  <a:pt x="596" y="115"/>
                </a:cubicBezTo>
                <a:cubicBezTo>
                  <a:pt x="596" y="115"/>
                  <a:pt x="596" y="115"/>
                  <a:pt x="596" y="114"/>
                </a:cubicBezTo>
                <a:cubicBezTo>
                  <a:pt x="596" y="114"/>
                  <a:pt x="596" y="114"/>
                  <a:pt x="597" y="113"/>
                </a:cubicBezTo>
                <a:cubicBezTo>
                  <a:pt x="597" y="113"/>
                  <a:pt x="597" y="113"/>
                  <a:pt x="598" y="113"/>
                </a:cubicBezTo>
                <a:cubicBezTo>
                  <a:pt x="598" y="113"/>
                  <a:pt x="598" y="113"/>
                  <a:pt x="599" y="113"/>
                </a:cubicBezTo>
                <a:cubicBezTo>
                  <a:pt x="599" y="113"/>
                  <a:pt x="599" y="113"/>
                  <a:pt x="600" y="113"/>
                </a:cubicBezTo>
                <a:cubicBezTo>
                  <a:pt x="600" y="113"/>
                  <a:pt x="600" y="113"/>
                  <a:pt x="601" y="114"/>
                </a:cubicBezTo>
                <a:cubicBezTo>
                  <a:pt x="601" y="114"/>
                  <a:pt x="601" y="114"/>
                  <a:pt x="602" y="113"/>
                </a:cubicBezTo>
                <a:cubicBezTo>
                  <a:pt x="602" y="113"/>
                  <a:pt x="602" y="113"/>
                  <a:pt x="603" y="114"/>
                </a:cubicBezTo>
                <a:cubicBezTo>
                  <a:pt x="603" y="114"/>
                  <a:pt x="603" y="114"/>
                  <a:pt x="604" y="115"/>
                </a:cubicBezTo>
                <a:cubicBezTo>
                  <a:pt x="604" y="115"/>
                  <a:pt x="604" y="115"/>
                  <a:pt x="604" y="114"/>
                </a:cubicBezTo>
                <a:cubicBezTo>
                  <a:pt x="604" y="114"/>
                  <a:pt x="604" y="114"/>
                  <a:pt x="605" y="114"/>
                </a:cubicBezTo>
                <a:cubicBezTo>
                  <a:pt x="605" y="114"/>
                  <a:pt x="605" y="114"/>
                  <a:pt x="606" y="116"/>
                </a:cubicBezTo>
                <a:cubicBezTo>
                  <a:pt x="606" y="116"/>
                  <a:pt x="606" y="116"/>
                  <a:pt x="606" y="117"/>
                </a:cubicBezTo>
                <a:cubicBezTo>
                  <a:pt x="606" y="117"/>
                  <a:pt x="606" y="117"/>
                  <a:pt x="605" y="117"/>
                </a:cubicBezTo>
                <a:cubicBezTo>
                  <a:pt x="605" y="117"/>
                  <a:pt x="605" y="117"/>
                  <a:pt x="604" y="118"/>
                </a:cubicBezTo>
                <a:cubicBezTo>
                  <a:pt x="604" y="118"/>
                  <a:pt x="604" y="118"/>
                  <a:pt x="603" y="119"/>
                </a:cubicBezTo>
                <a:cubicBezTo>
                  <a:pt x="603" y="119"/>
                  <a:pt x="603" y="119"/>
                  <a:pt x="603" y="120"/>
                </a:cubicBezTo>
                <a:cubicBezTo>
                  <a:pt x="603" y="120"/>
                  <a:pt x="603" y="120"/>
                  <a:pt x="606" y="122"/>
                </a:cubicBezTo>
                <a:cubicBezTo>
                  <a:pt x="606" y="122"/>
                  <a:pt x="606" y="122"/>
                  <a:pt x="605" y="122"/>
                </a:cubicBezTo>
                <a:cubicBezTo>
                  <a:pt x="605" y="122"/>
                  <a:pt x="605" y="122"/>
                  <a:pt x="604" y="123"/>
                </a:cubicBezTo>
                <a:cubicBezTo>
                  <a:pt x="604" y="123"/>
                  <a:pt x="604" y="123"/>
                  <a:pt x="606" y="124"/>
                </a:cubicBezTo>
                <a:cubicBezTo>
                  <a:pt x="606" y="124"/>
                  <a:pt x="606" y="124"/>
                  <a:pt x="606" y="125"/>
                </a:cubicBezTo>
                <a:cubicBezTo>
                  <a:pt x="606" y="125"/>
                  <a:pt x="606" y="125"/>
                  <a:pt x="606" y="127"/>
                </a:cubicBezTo>
                <a:cubicBezTo>
                  <a:pt x="606" y="127"/>
                  <a:pt x="606" y="127"/>
                  <a:pt x="606" y="129"/>
                </a:cubicBezTo>
                <a:cubicBezTo>
                  <a:pt x="606" y="129"/>
                  <a:pt x="606" y="129"/>
                  <a:pt x="605" y="130"/>
                </a:cubicBezTo>
                <a:cubicBezTo>
                  <a:pt x="605" y="130"/>
                  <a:pt x="605" y="130"/>
                  <a:pt x="607" y="129"/>
                </a:cubicBezTo>
                <a:cubicBezTo>
                  <a:pt x="607" y="129"/>
                  <a:pt x="607" y="129"/>
                  <a:pt x="608" y="127"/>
                </a:cubicBezTo>
                <a:cubicBezTo>
                  <a:pt x="608" y="127"/>
                  <a:pt x="608" y="127"/>
                  <a:pt x="610" y="127"/>
                </a:cubicBezTo>
                <a:cubicBezTo>
                  <a:pt x="610" y="127"/>
                  <a:pt x="610" y="127"/>
                  <a:pt x="610" y="126"/>
                </a:cubicBezTo>
                <a:cubicBezTo>
                  <a:pt x="610" y="126"/>
                  <a:pt x="610" y="126"/>
                  <a:pt x="611" y="126"/>
                </a:cubicBezTo>
                <a:cubicBezTo>
                  <a:pt x="611" y="126"/>
                  <a:pt x="611" y="126"/>
                  <a:pt x="613" y="126"/>
                </a:cubicBezTo>
                <a:cubicBezTo>
                  <a:pt x="613" y="126"/>
                  <a:pt x="613" y="126"/>
                  <a:pt x="615" y="126"/>
                </a:cubicBezTo>
                <a:cubicBezTo>
                  <a:pt x="615" y="126"/>
                  <a:pt x="615" y="126"/>
                  <a:pt x="616" y="127"/>
                </a:cubicBezTo>
                <a:cubicBezTo>
                  <a:pt x="616" y="127"/>
                  <a:pt x="616" y="127"/>
                  <a:pt x="617" y="127"/>
                </a:cubicBezTo>
                <a:cubicBezTo>
                  <a:pt x="617" y="127"/>
                  <a:pt x="617" y="127"/>
                  <a:pt x="617" y="129"/>
                </a:cubicBezTo>
                <a:cubicBezTo>
                  <a:pt x="617" y="129"/>
                  <a:pt x="617" y="129"/>
                  <a:pt x="615" y="130"/>
                </a:cubicBezTo>
                <a:cubicBezTo>
                  <a:pt x="615" y="130"/>
                  <a:pt x="615" y="130"/>
                  <a:pt x="614" y="133"/>
                </a:cubicBezTo>
                <a:cubicBezTo>
                  <a:pt x="614" y="133"/>
                  <a:pt x="614" y="133"/>
                  <a:pt x="617" y="131"/>
                </a:cubicBezTo>
                <a:cubicBezTo>
                  <a:pt x="617" y="131"/>
                  <a:pt x="617" y="131"/>
                  <a:pt x="617" y="130"/>
                </a:cubicBezTo>
                <a:cubicBezTo>
                  <a:pt x="617" y="130"/>
                  <a:pt x="617" y="130"/>
                  <a:pt x="618" y="130"/>
                </a:cubicBezTo>
                <a:cubicBezTo>
                  <a:pt x="618" y="130"/>
                  <a:pt x="618" y="130"/>
                  <a:pt x="618" y="131"/>
                </a:cubicBezTo>
                <a:cubicBezTo>
                  <a:pt x="618" y="131"/>
                  <a:pt x="618" y="131"/>
                  <a:pt x="619" y="132"/>
                </a:cubicBezTo>
                <a:cubicBezTo>
                  <a:pt x="619" y="132"/>
                  <a:pt x="619" y="132"/>
                  <a:pt x="620" y="133"/>
                </a:cubicBezTo>
                <a:cubicBezTo>
                  <a:pt x="620" y="133"/>
                  <a:pt x="620" y="133"/>
                  <a:pt x="620" y="134"/>
                </a:cubicBezTo>
                <a:cubicBezTo>
                  <a:pt x="620" y="134"/>
                  <a:pt x="620" y="134"/>
                  <a:pt x="621" y="134"/>
                </a:cubicBezTo>
                <a:cubicBezTo>
                  <a:pt x="621" y="134"/>
                  <a:pt x="621" y="134"/>
                  <a:pt x="622" y="134"/>
                </a:cubicBezTo>
                <a:cubicBezTo>
                  <a:pt x="622" y="134"/>
                  <a:pt x="622" y="134"/>
                  <a:pt x="622" y="135"/>
                </a:cubicBezTo>
                <a:cubicBezTo>
                  <a:pt x="622" y="135"/>
                  <a:pt x="622" y="135"/>
                  <a:pt x="622" y="136"/>
                </a:cubicBezTo>
                <a:cubicBezTo>
                  <a:pt x="622" y="136"/>
                  <a:pt x="622" y="136"/>
                  <a:pt x="623" y="135"/>
                </a:cubicBezTo>
                <a:cubicBezTo>
                  <a:pt x="623" y="135"/>
                  <a:pt x="623" y="135"/>
                  <a:pt x="624" y="136"/>
                </a:cubicBezTo>
                <a:cubicBezTo>
                  <a:pt x="624" y="136"/>
                  <a:pt x="624" y="136"/>
                  <a:pt x="625" y="136"/>
                </a:cubicBezTo>
                <a:cubicBezTo>
                  <a:pt x="625" y="136"/>
                  <a:pt x="625" y="136"/>
                  <a:pt x="626" y="136"/>
                </a:cubicBezTo>
                <a:cubicBezTo>
                  <a:pt x="626" y="136"/>
                  <a:pt x="626" y="136"/>
                  <a:pt x="628" y="137"/>
                </a:cubicBezTo>
                <a:cubicBezTo>
                  <a:pt x="628" y="137"/>
                  <a:pt x="628" y="137"/>
                  <a:pt x="629" y="138"/>
                </a:cubicBezTo>
                <a:cubicBezTo>
                  <a:pt x="629" y="138"/>
                  <a:pt x="629" y="138"/>
                  <a:pt x="629" y="139"/>
                </a:cubicBezTo>
                <a:cubicBezTo>
                  <a:pt x="629" y="139"/>
                  <a:pt x="629" y="139"/>
                  <a:pt x="630" y="139"/>
                </a:cubicBezTo>
                <a:cubicBezTo>
                  <a:pt x="630" y="139"/>
                  <a:pt x="630" y="139"/>
                  <a:pt x="631" y="140"/>
                </a:cubicBezTo>
                <a:cubicBezTo>
                  <a:pt x="631" y="140"/>
                  <a:pt x="631" y="140"/>
                  <a:pt x="630" y="140"/>
                </a:cubicBezTo>
                <a:cubicBezTo>
                  <a:pt x="630" y="140"/>
                  <a:pt x="630" y="140"/>
                  <a:pt x="631" y="141"/>
                </a:cubicBezTo>
                <a:cubicBezTo>
                  <a:pt x="631" y="141"/>
                  <a:pt x="631" y="141"/>
                  <a:pt x="632" y="140"/>
                </a:cubicBezTo>
                <a:cubicBezTo>
                  <a:pt x="632" y="140"/>
                  <a:pt x="632" y="140"/>
                  <a:pt x="633" y="141"/>
                </a:cubicBezTo>
                <a:cubicBezTo>
                  <a:pt x="633" y="141"/>
                  <a:pt x="633" y="141"/>
                  <a:pt x="633" y="142"/>
                </a:cubicBezTo>
                <a:cubicBezTo>
                  <a:pt x="633" y="142"/>
                  <a:pt x="633" y="142"/>
                  <a:pt x="634" y="142"/>
                </a:cubicBezTo>
                <a:cubicBezTo>
                  <a:pt x="634" y="142"/>
                  <a:pt x="634" y="142"/>
                  <a:pt x="635" y="143"/>
                </a:cubicBezTo>
                <a:cubicBezTo>
                  <a:pt x="635" y="143"/>
                  <a:pt x="635" y="143"/>
                  <a:pt x="637" y="142"/>
                </a:cubicBezTo>
                <a:cubicBezTo>
                  <a:pt x="637" y="142"/>
                  <a:pt x="637" y="142"/>
                  <a:pt x="638" y="142"/>
                </a:cubicBezTo>
                <a:cubicBezTo>
                  <a:pt x="638" y="142"/>
                  <a:pt x="638" y="142"/>
                  <a:pt x="639" y="142"/>
                </a:cubicBezTo>
                <a:cubicBezTo>
                  <a:pt x="639" y="142"/>
                  <a:pt x="639" y="142"/>
                  <a:pt x="641" y="142"/>
                </a:cubicBezTo>
                <a:cubicBezTo>
                  <a:pt x="641" y="142"/>
                  <a:pt x="641" y="142"/>
                  <a:pt x="642" y="143"/>
                </a:cubicBezTo>
                <a:cubicBezTo>
                  <a:pt x="642" y="143"/>
                  <a:pt x="642" y="143"/>
                  <a:pt x="642" y="144"/>
                </a:cubicBezTo>
                <a:cubicBezTo>
                  <a:pt x="642" y="144"/>
                  <a:pt x="642" y="144"/>
                  <a:pt x="643" y="146"/>
                </a:cubicBezTo>
                <a:cubicBezTo>
                  <a:pt x="643" y="146"/>
                  <a:pt x="643" y="146"/>
                  <a:pt x="644" y="147"/>
                </a:cubicBezTo>
                <a:cubicBezTo>
                  <a:pt x="644" y="147"/>
                  <a:pt x="644" y="147"/>
                  <a:pt x="645" y="150"/>
                </a:cubicBezTo>
                <a:cubicBezTo>
                  <a:pt x="645" y="150"/>
                  <a:pt x="645" y="150"/>
                  <a:pt x="645" y="151"/>
                </a:cubicBezTo>
                <a:cubicBezTo>
                  <a:pt x="645" y="151"/>
                  <a:pt x="645" y="151"/>
                  <a:pt x="646" y="151"/>
                </a:cubicBezTo>
                <a:cubicBezTo>
                  <a:pt x="646" y="151"/>
                  <a:pt x="646" y="151"/>
                  <a:pt x="648" y="151"/>
                </a:cubicBezTo>
                <a:cubicBezTo>
                  <a:pt x="648" y="152"/>
                  <a:pt x="648" y="152"/>
                  <a:pt x="648" y="152"/>
                </a:cubicBezTo>
                <a:cubicBezTo>
                  <a:pt x="649" y="152"/>
                  <a:pt x="649" y="152"/>
                  <a:pt x="649" y="152"/>
                </a:cubicBezTo>
                <a:cubicBezTo>
                  <a:pt x="652" y="155"/>
                  <a:pt x="652" y="155"/>
                  <a:pt x="652" y="155"/>
                </a:cubicBezTo>
                <a:cubicBezTo>
                  <a:pt x="653" y="155"/>
                  <a:pt x="653" y="155"/>
                  <a:pt x="653" y="155"/>
                </a:cubicBezTo>
                <a:cubicBezTo>
                  <a:pt x="655" y="156"/>
                  <a:pt x="655" y="156"/>
                  <a:pt x="655" y="156"/>
                </a:cubicBezTo>
                <a:cubicBezTo>
                  <a:pt x="655" y="157"/>
                  <a:pt x="655" y="157"/>
                  <a:pt x="655" y="157"/>
                </a:cubicBezTo>
                <a:cubicBezTo>
                  <a:pt x="657" y="158"/>
                  <a:pt x="657" y="158"/>
                  <a:pt x="657" y="158"/>
                </a:cubicBezTo>
                <a:cubicBezTo>
                  <a:pt x="657" y="159"/>
                  <a:pt x="657" y="159"/>
                  <a:pt x="657" y="159"/>
                </a:cubicBezTo>
                <a:cubicBezTo>
                  <a:pt x="658" y="160"/>
                  <a:pt x="658" y="160"/>
                  <a:pt x="658" y="160"/>
                </a:cubicBezTo>
                <a:cubicBezTo>
                  <a:pt x="658" y="161"/>
                  <a:pt x="658" y="161"/>
                  <a:pt x="658" y="161"/>
                </a:cubicBezTo>
                <a:cubicBezTo>
                  <a:pt x="657" y="163"/>
                  <a:pt x="657" y="163"/>
                  <a:pt x="657" y="163"/>
                </a:cubicBezTo>
                <a:cubicBezTo>
                  <a:pt x="658" y="164"/>
                  <a:pt x="658" y="164"/>
                  <a:pt x="658" y="164"/>
                </a:cubicBezTo>
                <a:cubicBezTo>
                  <a:pt x="659" y="164"/>
                  <a:pt x="659" y="164"/>
                  <a:pt x="659" y="164"/>
                </a:cubicBezTo>
                <a:cubicBezTo>
                  <a:pt x="659" y="166"/>
                  <a:pt x="659" y="166"/>
                  <a:pt x="659" y="166"/>
                </a:cubicBezTo>
                <a:cubicBezTo>
                  <a:pt x="660" y="168"/>
                  <a:pt x="660" y="168"/>
                  <a:pt x="660" y="168"/>
                </a:cubicBezTo>
                <a:cubicBezTo>
                  <a:pt x="662" y="170"/>
                  <a:pt x="662" y="170"/>
                  <a:pt x="662" y="170"/>
                </a:cubicBezTo>
                <a:cubicBezTo>
                  <a:pt x="663" y="171"/>
                  <a:pt x="663" y="171"/>
                  <a:pt x="663" y="171"/>
                </a:cubicBezTo>
                <a:cubicBezTo>
                  <a:pt x="664" y="171"/>
                  <a:pt x="664" y="171"/>
                  <a:pt x="664" y="171"/>
                </a:cubicBezTo>
                <a:cubicBezTo>
                  <a:pt x="664" y="172"/>
                  <a:pt x="664" y="172"/>
                  <a:pt x="664" y="172"/>
                </a:cubicBezTo>
                <a:cubicBezTo>
                  <a:pt x="665" y="172"/>
                  <a:pt x="665" y="172"/>
                  <a:pt x="665" y="172"/>
                </a:cubicBezTo>
                <a:cubicBezTo>
                  <a:pt x="666" y="172"/>
                  <a:pt x="666" y="172"/>
                  <a:pt x="666" y="172"/>
                </a:cubicBezTo>
                <a:cubicBezTo>
                  <a:pt x="667" y="174"/>
                  <a:pt x="667" y="174"/>
                  <a:pt x="667" y="174"/>
                </a:cubicBezTo>
                <a:cubicBezTo>
                  <a:pt x="667" y="176"/>
                  <a:pt x="667" y="176"/>
                  <a:pt x="667" y="176"/>
                </a:cubicBezTo>
                <a:cubicBezTo>
                  <a:pt x="668" y="176"/>
                  <a:pt x="668" y="176"/>
                  <a:pt x="668" y="176"/>
                </a:cubicBezTo>
                <a:cubicBezTo>
                  <a:pt x="668" y="177"/>
                  <a:pt x="668" y="177"/>
                  <a:pt x="668" y="177"/>
                </a:cubicBezTo>
                <a:cubicBezTo>
                  <a:pt x="669" y="177"/>
                  <a:pt x="669" y="177"/>
                  <a:pt x="669" y="177"/>
                </a:cubicBezTo>
                <a:cubicBezTo>
                  <a:pt x="669" y="177"/>
                  <a:pt x="669" y="177"/>
                  <a:pt x="668" y="176"/>
                </a:cubicBezTo>
                <a:cubicBezTo>
                  <a:pt x="668" y="176"/>
                  <a:pt x="668" y="176"/>
                  <a:pt x="668" y="175"/>
                </a:cubicBezTo>
                <a:cubicBezTo>
                  <a:pt x="668" y="175"/>
                  <a:pt x="668" y="175"/>
                  <a:pt x="669" y="175"/>
                </a:cubicBezTo>
                <a:cubicBezTo>
                  <a:pt x="669" y="175"/>
                  <a:pt x="669" y="175"/>
                  <a:pt x="667" y="173"/>
                </a:cubicBezTo>
                <a:cubicBezTo>
                  <a:pt x="667" y="173"/>
                  <a:pt x="667" y="173"/>
                  <a:pt x="668" y="172"/>
                </a:cubicBezTo>
                <a:cubicBezTo>
                  <a:pt x="668" y="172"/>
                  <a:pt x="668" y="172"/>
                  <a:pt x="669" y="173"/>
                </a:cubicBezTo>
                <a:cubicBezTo>
                  <a:pt x="670" y="174"/>
                  <a:pt x="670" y="174"/>
                  <a:pt x="670" y="174"/>
                </a:cubicBezTo>
                <a:cubicBezTo>
                  <a:pt x="670" y="174"/>
                  <a:pt x="670" y="174"/>
                  <a:pt x="671" y="174"/>
                </a:cubicBezTo>
                <a:cubicBezTo>
                  <a:pt x="671" y="174"/>
                  <a:pt x="671" y="174"/>
                  <a:pt x="671" y="176"/>
                </a:cubicBezTo>
                <a:cubicBezTo>
                  <a:pt x="671" y="176"/>
                  <a:pt x="671" y="176"/>
                  <a:pt x="672" y="178"/>
                </a:cubicBezTo>
                <a:cubicBezTo>
                  <a:pt x="672" y="178"/>
                  <a:pt x="672" y="178"/>
                  <a:pt x="671" y="179"/>
                </a:cubicBezTo>
                <a:cubicBezTo>
                  <a:pt x="671" y="180"/>
                  <a:pt x="671" y="180"/>
                  <a:pt x="671" y="180"/>
                </a:cubicBezTo>
                <a:cubicBezTo>
                  <a:pt x="671" y="181"/>
                  <a:pt x="671" y="181"/>
                  <a:pt x="671" y="181"/>
                </a:cubicBezTo>
                <a:cubicBezTo>
                  <a:pt x="670" y="183"/>
                  <a:pt x="670" y="183"/>
                  <a:pt x="670" y="183"/>
                </a:cubicBezTo>
                <a:cubicBezTo>
                  <a:pt x="669" y="184"/>
                  <a:pt x="669" y="184"/>
                  <a:pt x="669" y="184"/>
                </a:cubicBezTo>
                <a:cubicBezTo>
                  <a:pt x="672" y="182"/>
                  <a:pt x="672" y="182"/>
                  <a:pt x="672" y="182"/>
                </a:cubicBezTo>
                <a:cubicBezTo>
                  <a:pt x="673" y="181"/>
                  <a:pt x="673" y="181"/>
                  <a:pt x="673" y="181"/>
                </a:cubicBezTo>
                <a:cubicBezTo>
                  <a:pt x="673" y="180"/>
                  <a:pt x="673" y="180"/>
                  <a:pt x="673" y="180"/>
                </a:cubicBezTo>
                <a:cubicBezTo>
                  <a:pt x="673" y="176"/>
                  <a:pt x="673" y="176"/>
                  <a:pt x="673" y="176"/>
                </a:cubicBezTo>
                <a:cubicBezTo>
                  <a:pt x="673" y="174"/>
                  <a:pt x="673" y="174"/>
                  <a:pt x="673" y="174"/>
                </a:cubicBezTo>
                <a:cubicBezTo>
                  <a:pt x="674" y="173"/>
                  <a:pt x="674" y="173"/>
                  <a:pt x="674" y="173"/>
                </a:cubicBezTo>
                <a:cubicBezTo>
                  <a:pt x="676" y="172"/>
                  <a:pt x="676" y="172"/>
                  <a:pt x="676" y="172"/>
                </a:cubicBezTo>
                <a:cubicBezTo>
                  <a:pt x="678" y="171"/>
                  <a:pt x="678" y="171"/>
                  <a:pt x="678" y="171"/>
                </a:cubicBezTo>
                <a:cubicBezTo>
                  <a:pt x="679" y="170"/>
                  <a:pt x="679" y="170"/>
                  <a:pt x="679" y="170"/>
                </a:cubicBezTo>
                <a:cubicBezTo>
                  <a:pt x="680" y="170"/>
                  <a:pt x="680" y="170"/>
                  <a:pt x="680" y="170"/>
                </a:cubicBezTo>
                <a:cubicBezTo>
                  <a:pt x="681" y="169"/>
                  <a:pt x="681" y="169"/>
                  <a:pt x="681" y="169"/>
                </a:cubicBezTo>
                <a:cubicBezTo>
                  <a:pt x="682" y="169"/>
                  <a:pt x="682" y="169"/>
                  <a:pt x="682" y="169"/>
                </a:cubicBezTo>
                <a:cubicBezTo>
                  <a:pt x="684" y="169"/>
                  <a:pt x="684" y="169"/>
                  <a:pt x="684" y="169"/>
                </a:cubicBezTo>
                <a:cubicBezTo>
                  <a:pt x="685" y="169"/>
                  <a:pt x="685" y="169"/>
                  <a:pt x="685" y="169"/>
                </a:cubicBezTo>
                <a:cubicBezTo>
                  <a:pt x="686" y="169"/>
                  <a:pt x="686" y="169"/>
                  <a:pt x="686" y="169"/>
                </a:cubicBezTo>
                <a:cubicBezTo>
                  <a:pt x="687" y="168"/>
                  <a:pt x="687" y="168"/>
                  <a:pt x="687" y="168"/>
                </a:cubicBezTo>
                <a:cubicBezTo>
                  <a:pt x="688" y="166"/>
                  <a:pt x="688" y="166"/>
                  <a:pt x="688" y="166"/>
                </a:cubicBezTo>
                <a:cubicBezTo>
                  <a:pt x="689" y="166"/>
                  <a:pt x="689" y="166"/>
                  <a:pt x="689" y="166"/>
                </a:cubicBezTo>
                <a:cubicBezTo>
                  <a:pt x="690" y="166"/>
                  <a:pt x="690" y="166"/>
                  <a:pt x="690" y="166"/>
                </a:cubicBezTo>
                <a:cubicBezTo>
                  <a:pt x="691" y="166"/>
                  <a:pt x="691" y="166"/>
                  <a:pt x="691" y="166"/>
                </a:cubicBezTo>
                <a:cubicBezTo>
                  <a:pt x="690" y="165"/>
                  <a:pt x="690" y="165"/>
                  <a:pt x="690" y="165"/>
                </a:cubicBezTo>
                <a:cubicBezTo>
                  <a:pt x="691" y="165"/>
                  <a:pt x="691" y="165"/>
                  <a:pt x="691" y="165"/>
                </a:cubicBezTo>
                <a:cubicBezTo>
                  <a:pt x="692" y="166"/>
                  <a:pt x="692" y="166"/>
                  <a:pt x="692" y="166"/>
                </a:cubicBezTo>
                <a:cubicBezTo>
                  <a:pt x="695" y="166"/>
                  <a:pt x="695" y="166"/>
                  <a:pt x="695" y="166"/>
                </a:cubicBezTo>
                <a:cubicBezTo>
                  <a:pt x="698" y="165"/>
                  <a:pt x="698" y="165"/>
                  <a:pt x="698" y="165"/>
                </a:cubicBezTo>
                <a:cubicBezTo>
                  <a:pt x="700" y="164"/>
                  <a:pt x="700" y="164"/>
                  <a:pt x="700" y="164"/>
                </a:cubicBezTo>
                <a:cubicBezTo>
                  <a:pt x="701" y="165"/>
                  <a:pt x="701" y="165"/>
                  <a:pt x="701" y="165"/>
                </a:cubicBezTo>
                <a:cubicBezTo>
                  <a:pt x="702" y="165"/>
                  <a:pt x="702" y="165"/>
                  <a:pt x="702" y="165"/>
                </a:cubicBezTo>
                <a:cubicBezTo>
                  <a:pt x="702" y="163"/>
                  <a:pt x="702" y="163"/>
                  <a:pt x="702" y="163"/>
                </a:cubicBezTo>
                <a:cubicBezTo>
                  <a:pt x="704" y="162"/>
                  <a:pt x="704" y="162"/>
                  <a:pt x="704" y="162"/>
                </a:cubicBezTo>
                <a:cubicBezTo>
                  <a:pt x="705" y="162"/>
                  <a:pt x="705" y="162"/>
                  <a:pt x="705" y="162"/>
                </a:cubicBezTo>
                <a:cubicBezTo>
                  <a:pt x="706" y="163"/>
                  <a:pt x="706" y="163"/>
                  <a:pt x="706" y="163"/>
                </a:cubicBezTo>
                <a:cubicBezTo>
                  <a:pt x="707" y="164"/>
                  <a:pt x="707" y="164"/>
                  <a:pt x="707" y="164"/>
                </a:cubicBezTo>
                <a:cubicBezTo>
                  <a:pt x="708" y="163"/>
                  <a:pt x="708" y="163"/>
                  <a:pt x="708" y="163"/>
                </a:cubicBezTo>
                <a:cubicBezTo>
                  <a:pt x="708" y="162"/>
                  <a:pt x="708" y="162"/>
                  <a:pt x="708" y="162"/>
                </a:cubicBezTo>
                <a:cubicBezTo>
                  <a:pt x="709" y="162"/>
                  <a:pt x="709" y="162"/>
                  <a:pt x="709" y="162"/>
                </a:cubicBezTo>
                <a:cubicBezTo>
                  <a:pt x="709" y="164"/>
                  <a:pt x="709" y="164"/>
                  <a:pt x="709" y="164"/>
                </a:cubicBezTo>
                <a:cubicBezTo>
                  <a:pt x="710" y="164"/>
                  <a:pt x="710" y="164"/>
                  <a:pt x="710" y="164"/>
                </a:cubicBezTo>
                <a:cubicBezTo>
                  <a:pt x="709" y="165"/>
                  <a:pt x="709" y="165"/>
                  <a:pt x="709" y="165"/>
                </a:cubicBezTo>
                <a:cubicBezTo>
                  <a:pt x="708" y="166"/>
                  <a:pt x="708" y="166"/>
                  <a:pt x="708" y="166"/>
                </a:cubicBezTo>
                <a:cubicBezTo>
                  <a:pt x="706" y="167"/>
                  <a:pt x="706" y="167"/>
                  <a:pt x="706" y="167"/>
                </a:cubicBezTo>
                <a:cubicBezTo>
                  <a:pt x="703" y="167"/>
                  <a:pt x="703" y="167"/>
                  <a:pt x="703" y="167"/>
                </a:cubicBezTo>
                <a:cubicBezTo>
                  <a:pt x="702" y="168"/>
                  <a:pt x="702" y="168"/>
                  <a:pt x="702" y="168"/>
                </a:cubicBezTo>
                <a:cubicBezTo>
                  <a:pt x="701" y="169"/>
                  <a:pt x="701" y="169"/>
                  <a:pt x="701" y="169"/>
                </a:cubicBezTo>
                <a:cubicBezTo>
                  <a:pt x="700" y="169"/>
                  <a:pt x="700" y="169"/>
                  <a:pt x="700" y="169"/>
                </a:cubicBezTo>
                <a:cubicBezTo>
                  <a:pt x="699" y="169"/>
                  <a:pt x="699" y="169"/>
                  <a:pt x="699" y="169"/>
                </a:cubicBezTo>
                <a:cubicBezTo>
                  <a:pt x="698" y="169"/>
                  <a:pt x="698" y="169"/>
                  <a:pt x="698" y="169"/>
                </a:cubicBezTo>
                <a:cubicBezTo>
                  <a:pt x="696" y="169"/>
                  <a:pt x="696" y="169"/>
                  <a:pt x="696" y="169"/>
                </a:cubicBezTo>
                <a:cubicBezTo>
                  <a:pt x="694" y="169"/>
                  <a:pt x="694" y="169"/>
                  <a:pt x="694" y="169"/>
                </a:cubicBezTo>
                <a:cubicBezTo>
                  <a:pt x="694" y="170"/>
                  <a:pt x="694" y="170"/>
                  <a:pt x="694" y="170"/>
                </a:cubicBezTo>
                <a:cubicBezTo>
                  <a:pt x="691" y="170"/>
                  <a:pt x="691" y="170"/>
                  <a:pt x="691" y="170"/>
                </a:cubicBezTo>
                <a:cubicBezTo>
                  <a:pt x="690" y="170"/>
                  <a:pt x="690" y="170"/>
                  <a:pt x="690" y="170"/>
                </a:cubicBezTo>
                <a:cubicBezTo>
                  <a:pt x="689" y="172"/>
                  <a:pt x="689" y="172"/>
                  <a:pt x="689" y="172"/>
                </a:cubicBezTo>
                <a:cubicBezTo>
                  <a:pt x="686" y="173"/>
                  <a:pt x="686" y="173"/>
                  <a:pt x="686" y="173"/>
                </a:cubicBezTo>
                <a:cubicBezTo>
                  <a:pt x="686" y="172"/>
                  <a:pt x="686" y="172"/>
                  <a:pt x="686" y="172"/>
                </a:cubicBezTo>
                <a:cubicBezTo>
                  <a:pt x="684" y="173"/>
                  <a:pt x="684" y="173"/>
                  <a:pt x="684" y="173"/>
                </a:cubicBezTo>
                <a:cubicBezTo>
                  <a:pt x="684" y="174"/>
                  <a:pt x="684" y="174"/>
                  <a:pt x="684" y="174"/>
                </a:cubicBezTo>
                <a:cubicBezTo>
                  <a:pt x="683" y="175"/>
                  <a:pt x="683" y="175"/>
                  <a:pt x="683" y="175"/>
                </a:cubicBezTo>
                <a:cubicBezTo>
                  <a:pt x="683" y="174"/>
                  <a:pt x="683" y="174"/>
                  <a:pt x="683" y="174"/>
                </a:cubicBezTo>
                <a:cubicBezTo>
                  <a:pt x="682" y="175"/>
                  <a:pt x="682" y="175"/>
                  <a:pt x="682" y="175"/>
                </a:cubicBezTo>
                <a:cubicBezTo>
                  <a:pt x="681" y="176"/>
                  <a:pt x="681" y="176"/>
                  <a:pt x="681" y="176"/>
                </a:cubicBezTo>
                <a:cubicBezTo>
                  <a:pt x="680" y="176"/>
                  <a:pt x="680" y="176"/>
                  <a:pt x="680" y="176"/>
                </a:cubicBezTo>
                <a:cubicBezTo>
                  <a:pt x="679" y="177"/>
                  <a:pt x="679" y="177"/>
                  <a:pt x="679" y="177"/>
                </a:cubicBezTo>
                <a:cubicBezTo>
                  <a:pt x="680" y="179"/>
                  <a:pt x="680" y="179"/>
                  <a:pt x="680" y="179"/>
                </a:cubicBezTo>
                <a:cubicBezTo>
                  <a:pt x="682" y="180"/>
                  <a:pt x="682" y="180"/>
                  <a:pt x="682" y="180"/>
                </a:cubicBezTo>
                <a:cubicBezTo>
                  <a:pt x="680" y="178"/>
                  <a:pt x="680" y="178"/>
                  <a:pt x="680" y="178"/>
                </a:cubicBezTo>
                <a:cubicBezTo>
                  <a:pt x="682" y="178"/>
                  <a:pt x="682" y="178"/>
                  <a:pt x="682" y="178"/>
                </a:cubicBezTo>
                <a:cubicBezTo>
                  <a:pt x="683" y="178"/>
                  <a:pt x="683" y="178"/>
                  <a:pt x="683" y="178"/>
                </a:cubicBezTo>
                <a:cubicBezTo>
                  <a:pt x="683" y="177"/>
                  <a:pt x="683" y="177"/>
                  <a:pt x="683" y="177"/>
                </a:cubicBezTo>
                <a:cubicBezTo>
                  <a:pt x="684" y="175"/>
                  <a:pt x="684" y="175"/>
                  <a:pt x="684" y="175"/>
                </a:cubicBezTo>
                <a:cubicBezTo>
                  <a:pt x="687" y="175"/>
                  <a:pt x="687" y="175"/>
                  <a:pt x="687" y="175"/>
                </a:cubicBezTo>
                <a:cubicBezTo>
                  <a:pt x="688" y="175"/>
                  <a:pt x="688" y="175"/>
                  <a:pt x="688" y="175"/>
                </a:cubicBezTo>
                <a:cubicBezTo>
                  <a:pt x="691" y="173"/>
                  <a:pt x="691" y="173"/>
                  <a:pt x="691" y="173"/>
                </a:cubicBezTo>
                <a:cubicBezTo>
                  <a:pt x="691" y="172"/>
                  <a:pt x="691" y="172"/>
                  <a:pt x="691" y="172"/>
                </a:cubicBezTo>
                <a:cubicBezTo>
                  <a:pt x="692" y="171"/>
                  <a:pt x="692" y="171"/>
                  <a:pt x="692" y="171"/>
                </a:cubicBezTo>
                <a:cubicBezTo>
                  <a:pt x="693" y="172"/>
                  <a:pt x="693" y="172"/>
                  <a:pt x="693" y="172"/>
                </a:cubicBezTo>
                <a:cubicBezTo>
                  <a:pt x="694" y="172"/>
                  <a:pt x="694" y="172"/>
                  <a:pt x="694" y="172"/>
                </a:cubicBezTo>
                <a:cubicBezTo>
                  <a:pt x="695" y="171"/>
                  <a:pt x="695" y="171"/>
                  <a:pt x="695" y="171"/>
                </a:cubicBezTo>
                <a:cubicBezTo>
                  <a:pt x="695" y="172"/>
                  <a:pt x="695" y="172"/>
                  <a:pt x="695" y="172"/>
                </a:cubicBezTo>
                <a:cubicBezTo>
                  <a:pt x="697" y="171"/>
                  <a:pt x="697" y="171"/>
                  <a:pt x="697" y="171"/>
                </a:cubicBezTo>
                <a:cubicBezTo>
                  <a:pt x="696" y="173"/>
                  <a:pt x="696" y="173"/>
                  <a:pt x="696" y="173"/>
                </a:cubicBezTo>
                <a:cubicBezTo>
                  <a:pt x="696" y="174"/>
                  <a:pt x="696" y="174"/>
                  <a:pt x="696" y="174"/>
                </a:cubicBezTo>
                <a:cubicBezTo>
                  <a:pt x="697" y="172"/>
                  <a:pt x="697" y="172"/>
                  <a:pt x="697" y="172"/>
                </a:cubicBezTo>
                <a:cubicBezTo>
                  <a:pt x="699" y="172"/>
                  <a:pt x="699" y="172"/>
                  <a:pt x="699" y="172"/>
                </a:cubicBezTo>
                <a:cubicBezTo>
                  <a:pt x="703" y="169"/>
                  <a:pt x="703" y="169"/>
                  <a:pt x="703" y="169"/>
                </a:cubicBezTo>
                <a:cubicBezTo>
                  <a:pt x="705" y="169"/>
                  <a:pt x="705" y="169"/>
                  <a:pt x="705" y="169"/>
                </a:cubicBezTo>
                <a:cubicBezTo>
                  <a:pt x="706" y="168"/>
                  <a:pt x="706" y="168"/>
                  <a:pt x="706" y="168"/>
                </a:cubicBezTo>
                <a:cubicBezTo>
                  <a:pt x="709" y="168"/>
                  <a:pt x="709" y="168"/>
                  <a:pt x="709" y="168"/>
                </a:cubicBezTo>
                <a:cubicBezTo>
                  <a:pt x="710" y="167"/>
                  <a:pt x="710" y="167"/>
                  <a:pt x="710" y="167"/>
                </a:cubicBezTo>
                <a:cubicBezTo>
                  <a:pt x="711" y="167"/>
                  <a:pt x="711" y="167"/>
                  <a:pt x="711" y="167"/>
                </a:cubicBezTo>
                <a:cubicBezTo>
                  <a:pt x="710" y="169"/>
                  <a:pt x="710" y="169"/>
                  <a:pt x="710" y="169"/>
                </a:cubicBezTo>
                <a:cubicBezTo>
                  <a:pt x="709" y="169"/>
                  <a:pt x="709" y="169"/>
                  <a:pt x="709" y="169"/>
                </a:cubicBezTo>
                <a:cubicBezTo>
                  <a:pt x="709" y="170"/>
                  <a:pt x="709" y="170"/>
                  <a:pt x="709" y="170"/>
                </a:cubicBezTo>
                <a:cubicBezTo>
                  <a:pt x="710" y="171"/>
                  <a:pt x="710" y="171"/>
                  <a:pt x="710" y="171"/>
                </a:cubicBezTo>
                <a:cubicBezTo>
                  <a:pt x="711" y="169"/>
                  <a:pt x="711" y="169"/>
                  <a:pt x="711" y="169"/>
                </a:cubicBezTo>
                <a:cubicBezTo>
                  <a:pt x="714" y="168"/>
                  <a:pt x="714" y="168"/>
                  <a:pt x="714" y="168"/>
                </a:cubicBezTo>
                <a:cubicBezTo>
                  <a:pt x="715" y="168"/>
                  <a:pt x="715" y="168"/>
                  <a:pt x="715" y="168"/>
                </a:cubicBezTo>
                <a:cubicBezTo>
                  <a:pt x="715" y="167"/>
                  <a:pt x="715" y="167"/>
                  <a:pt x="715" y="167"/>
                </a:cubicBezTo>
                <a:cubicBezTo>
                  <a:pt x="716" y="166"/>
                  <a:pt x="716" y="166"/>
                  <a:pt x="716" y="166"/>
                </a:cubicBezTo>
                <a:cubicBezTo>
                  <a:pt x="717" y="167"/>
                  <a:pt x="717" y="167"/>
                  <a:pt x="717" y="167"/>
                </a:cubicBezTo>
                <a:cubicBezTo>
                  <a:pt x="717" y="166"/>
                  <a:pt x="717" y="166"/>
                  <a:pt x="717" y="166"/>
                </a:cubicBezTo>
                <a:cubicBezTo>
                  <a:pt x="717" y="165"/>
                  <a:pt x="717" y="165"/>
                  <a:pt x="717" y="165"/>
                </a:cubicBezTo>
                <a:cubicBezTo>
                  <a:pt x="718" y="166"/>
                  <a:pt x="718" y="166"/>
                  <a:pt x="718" y="166"/>
                </a:cubicBezTo>
                <a:cubicBezTo>
                  <a:pt x="719" y="166"/>
                  <a:pt x="719" y="166"/>
                  <a:pt x="719" y="166"/>
                </a:cubicBezTo>
                <a:cubicBezTo>
                  <a:pt x="719" y="164"/>
                  <a:pt x="719" y="164"/>
                  <a:pt x="719" y="164"/>
                </a:cubicBezTo>
                <a:cubicBezTo>
                  <a:pt x="719" y="163"/>
                  <a:pt x="719" y="163"/>
                  <a:pt x="719" y="163"/>
                </a:cubicBezTo>
                <a:cubicBezTo>
                  <a:pt x="720" y="162"/>
                  <a:pt x="720" y="162"/>
                  <a:pt x="720" y="162"/>
                </a:cubicBezTo>
                <a:cubicBezTo>
                  <a:pt x="719" y="161"/>
                  <a:pt x="719" y="161"/>
                  <a:pt x="719" y="161"/>
                </a:cubicBezTo>
                <a:cubicBezTo>
                  <a:pt x="720" y="160"/>
                  <a:pt x="720" y="160"/>
                  <a:pt x="720" y="160"/>
                </a:cubicBezTo>
                <a:cubicBezTo>
                  <a:pt x="722" y="159"/>
                  <a:pt x="722" y="159"/>
                  <a:pt x="722" y="159"/>
                </a:cubicBezTo>
                <a:cubicBezTo>
                  <a:pt x="722" y="160"/>
                  <a:pt x="722" y="160"/>
                  <a:pt x="722" y="160"/>
                </a:cubicBezTo>
                <a:cubicBezTo>
                  <a:pt x="722" y="165"/>
                  <a:pt x="722" y="165"/>
                  <a:pt x="722" y="165"/>
                </a:cubicBezTo>
                <a:cubicBezTo>
                  <a:pt x="721" y="167"/>
                  <a:pt x="721" y="167"/>
                  <a:pt x="721" y="167"/>
                </a:cubicBezTo>
                <a:cubicBezTo>
                  <a:pt x="722" y="171"/>
                  <a:pt x="722" y="171"/>
                  <a:pt x="722" y="171"/>
                </a:cubicBezTo>
                <a:cubicBezTo>
                  <a:pt x="720" y="173"/>
                  <a:pt x="720" y="173"/>
                  <a:pt x="720" y="173"/>
                </a:cubicBezTo>
                <a:cubicBezTo>
                  <a:pt x="720" y="178"/>
                  <a:pt x="720" y="178"/>
                  <a:pt x="720" y="178"/>
                </a:cubicBezTo>
                <a:cubicBezTo>
                  <a:pt x="721" y="180"/>
                  <a:pt x="721" y="180"/>
                  <a:pt x="721" y="180"/>
                </a:cubicBezTo>
                <a:cubicBezTo>
                  <a:pt x="722" y="180"/>
                  <a:pt x="722" y="180"/>
                  <a:pt x="722" y="180"/>
                </a:cubicBezTo>
                <a:cubicBezTo>
                  <a:pt x="723" y="182"/>
                  <a:pt x="723" y="182"/>
                  <a:pt x="723" y="182"/>
                </a:cubicBezTo>
                <a:cubicBezTo>
                  <a:pt x="725" y="181"/>
                  <a:pt x="725" y="181"/>
                  <a:pt x="725" y="181"/>
                </a:cubicBezTo>
                <a:cubicBezTo>
                  <a:pt x="724" y="180"/>
                  <a:pt x="724" y="180"/>
                  <a:pt x="724" y="180"/>
                </a:cubicBezTo>
                <a:cubicBezTo>
                  <a:pt x="723" y="180"/>
                  <a:pt x="723" y="180"/>
                  <a:pt x="723" y="180"/>
                </a:cubicBezTo>
                <a:cubicBezTo>
                  <a:pt x="723" y="179"/>
                  <a:pt x="723" y="179"/>
                  <a:pt x="723" y="179"/>
                </a:cubicBezTo>
                <a:cubicBezTo>
                  <a:pt x="724" y="179"/>
                  <a:pt x="724" y="179"/>
                  <a:pt x="724" y="179"/>
                </a:cubicBezTo>
                <a:cubicBezTo>
                  <a:pt x="725" y="179"/>
                  <a:pt x="725" y="179"/>
                  <a:pt x="725" y="179"/>
                </a:cubicBezTo>
                <a:cubicBezTo>
                  <a:pt x="726" y="178"/>
                  <a:pt x="726" y="178"/>
                  <a:pt x="726" y="178"/>
                </a:cubicBezTo>
                <a:cubicBezTo>
                  <a:pt x="725" y="178"/>
                  <a:pt x="725" y="178"/>
                  <a:pt x="725" y="178"/>
                </a:cubicBezTo>
                <a:cubicBezTo>
                  <a:pt x="726" y="176"/>
                  <a:pt x="726" y="176"/>
                  <a:pt x="726" y="176"/>
                </a:cubicBezTo>
                <a:cubicBezTo>
                  <a:pt x="728" y="177"/>
                  <a:pt x="728" y="177"/>
                  <a:pt x="728" y="177"/>
                </a:cubicBezTo>
                <a:cubicBezTo>
                  <a:pt x="728" y="178"/>
                  <a:pt x="728" y="178"/>
                  <a:pt x="728" y="178"/>
                </a:cubicBezTo>
                <a:cubicBezTo>
                  <a:pt x="729" y="177"/>
                  <a:pt x="729" y="177"/>
                  <a:pt x="729" y="177"/>
                </a:cubicBezTo>
                <a:cubicBezTo>
                  <a:pt x="728" y="174"/>
                  <a:pt x="728" y="174"/>
                  <a:pt x="728" y="174"/>
                </a:cubicBezTo>
                <a:cubicBezTo>
                  <a:pt x="729" y="174"/>
                  <a:pt x="729" y="174"/>
                  <a:pt x="729" y="174"/>
                </a:cubicBezTo>
                <a:cubicBezTo>
                  <a:pt x="731" y="173"/>
                  <a:pt x="731" y="173"/>
                  <a:pt x="731" y="173"/>
                </a:cubicBezTo>
                <a:cubicBezTo>
                  <a:pt x="731" y="172"/>
                  <a:pt x="731" y="172"/>
                  <a:pt x="731" y="172"/>
                </a:cubicBezTo>
                <a:cubicBezTo>
                  <a:pt x="733" y="172"/>
                  <a:pt x="733" y="172"/>
                  <a:pt x="733" y="172"/>
                </a:cubicBezTo>
                <a:cubicBezTo>
                  <a:pt x="733" y="173"/>
                  <a:pt x="733" y="173"/>
                  <a:pt x="733" y="173"/>
                </a:cubicBezTo>
                <a:cubicBezTo>
                  <a:pt x="733" y="174"/>
                  <a:pt x="733" y="174"/>
                  <a:pt x="733" y="174"/>
                </a:cubicBezTo>
                <a:cubicBezTo>
                  <a:pt x="732" y="175"/>
                  <a:pt x="732" y="175"/>
                  <a:pt x="732" y="175"/>
                </a:cubicBezTo>
                <a:cubicBezTo>
                  <a:pt x="732" y="176"/>
                  <a:pt x="732" y="176"/>
                  <a:pt x="732" y="176"/>
                </a:cubicBezTo>
                <a:cubicBezTo>
                  <a:pt x="731" y="177"/>
                  <a:pt x="731" y="177"/>
                  <a:pt x="731" y="177"/>
                </a:cubicBezTo>
                <a:cubicBezTo>
                  <a:pt x="731" y="178"/>
                  <a:pt x="731" y="178"/>
                  <a:pt x="731" y="178"/>
                </a:cubicBezTo>
                <a:cubicBezTo>
                  <a:pt x="732" y="178"/>
                  <a:pt x="732" y="178"/>
                  <a:pt x="732" y="178"/>
                </a:cubicBezTo>
                <a:cubicBezTo>
                  <a:pt x="732" y="179"/>
                  <a:pt x="732" y="179"/>
                  <a:pt x="732" y="179"/>
                </a:cubicBezTo>
                <a:cubicBezTo>
                  <a:pt x="731" y="179"/>
                  <a:pt x="731" y="179"/>
                  <a:pt x="731" y="179"/>
                </a:cubicBezTo>
                <a:cubicBezTo>
                  <a:pt x="730" y="181"/>
                  <a:pt x="730" y="181"/>
                  <a:pt x="730" y="181"/>
                </a:cubicBezTo>
                <a:cubicBezTo>
                  <a:pt x="729" y="180"/>
                  <a:pt x="729" y="180"/>
                  <a:pt x="729" y="180"/>
                </a:cubicBezTo>
                <a:cubicBezTo>
                  <a:pt x="729" y="181"/>
                  <a:pt x="729" y="181"/>
                  <a:pt x="729" y="181"/>
                </a:cubicBezTo>
                <a:cubicBezTo>
                  <a:pt x="728" y="182"/>
                  <a:pt x="728" y="182"/>
                  <a:pt x="728" y="182"/>
                </a:cubicBezTo>
                <a:cubicBezTo>
                  <a:pt x="729" y="183"/>
                  <a:pt x="729" y="183"/>
                  <a:pt x="729" y="183"/>
                </a:cubicBezTo>
                <a:cubicBezTo>
                  <a:pt x="730" y="183"/>
                  <a:pt x="730" y="183"/>
                  <a:pt x="730" y="183"/>
                </a:cubicBezTo>
                <a:cubicBezTo>
                  <a:pt x="731" y="184"/>
                  <a:pt x="731" y="184"/>
                  <a:pt x="731" y="184"/>
                </a:cubicBezTo>
                <a:cubicBezTo>
                  <a:pt x="732" y="184"/>
                  <a:pt x="732" y="184"/>
                  <a:pt x="732" y="184"/>
                </a:cubicBezTo>
                <a:cubicBezTo>
                  <a:pt x="734" y="183"/>
                  <a:pt x="734" y="183"/>
                  <a:pt x="734" y="183"/>
                </a:cubicBezTo>
                <a:cubicBezTo>
                  <a:pt x="735" y="183"/>
                  <a:pt x="735" y="183"/>
                  <a:pt x="735" y="183"/>
                </a:cubicBezTo>
                <a:cubicBezTo>
                  <a:pt x="736" y="180"/>
                  <a:pt x="736" y="180"/>
                  <a:pt x="736" y="180"/>
                </a:cubicBezTo>
                <a:cubicBezTo>
                  <a:pt x="738" y="179"/>
                  <a:pt x="738" y="179"/>
                  <a:pt x="738" y="179"/>
                </a:cubicBezTo>
                <a:cubicBezTo>
                  <a:pt x="739" y="178"/>
                  <a:pt x="739" y="178"/>
                  <a:pt x="739" y="178"/>
                </a:cubicBezTo>
                <a:cubicBezTo>
                  <a:pt x="740" y="179"/>
                  <a:pt x="740" y="179"/>
                  <a:pt x="740" y="179"/>
                </a:cubicBezTo>
                <a:cubicBezTo>
                  <a:pt x="741" y="179"/>
                  <a:pt x="741" y="179"/>
                  <a:pt x="741" y="179"/>
                </a:cubicBezTo>
                <a:cubicBezTo>
                  <a:pt x="742" y="180"/>
                  <a:pt x="742" y="180"/>
                  <a:pt x="742" y="180"/>
                </a:cubicBezTo>
                <a:cubicBezTo>
                  <a:pt x="743" y="180"/>
                  <a:pt x="743" y="180"/>
                  <a:pt x="743" y="180"/>
                </a:cubicBezTo>
                <a:cubicBezTo>
                  <a:pt x="745" y="181"/>
                  <a:pt x="745" y="181"/>
                  <a:pt x="745" y="181"/>
                </a:cubicBezTo>
                <a:cubicBezTo>
                  <a:pt x="746" y="181"/>
                  <a:pt x="746" y="181"/>
                  <a:pt x="746" y="181"/>
                </a:cubicBezTo>
                <a:cubicBezTo>
                  <a:pt x="746" y="183"/>
                  <a:pt x="746" y="183"/>
                  <a:pt x="746" y="183"/>
                </a:cubicBezTo>
                <a:cubicBezTo>
                  <a:pt x="747" y="186"/>
                  <a:pt x="747" y="186"/>
                  <a:pt x="747" y="186"/>
                </a:cubicBezTo>
                <a:cubicBezTo>
                  <a:pt x="747" y="187"/>
                  <a:pt x="747" y="187"/>
                  <a:pt x="747" y="187"/>
                </a:cubicBezTo>
                <a:cubicBezTo>
                  <a:pt x="748" y="189"/>
                  <a:pt x="748" y="189"/>
                  <a:pt x="748" y="189"/>
                </a:cubicBezTo>
                <a:cubicBezTo>
                  <a:pt x="753" y="193"/>
                  <a:pt x="753" y="193"/>
                  <a:pt x="753" y="193"/>
                </a:cubicBezTo>
                <a:cubicBezTo>
                  <a:pt x="754" y="194"/>
                  <a:pt x="754" y="194"/>
                  <a:pt x="754" y="194"/>
                </a:cubicBezTo>
                <a:cubicBezTo>
                  <a:pt x="755" y="195"/>
                  <a:pt x="755" y="195"/>
                  <a:pt x="755" y="195"/>
                </a:cubicBezTo>
                <a:cubicBezTo>
                  <a:pt x="757" y="197"/>
                  <a:pt x="757" y="197"/>
                  <a:pt x="757" y="197"/>
                </a:cubicBezTo>
                <a:cubicBezTo>
                  <a:pt x="758" y="197"/>
                  <a:pt x="758" y="197"/>
                  <a:pt x="758" y="197"/>
                </a:cubicBezTo>
                <a:cubicBezTo>
                  <a:pt x="759" y="197"/>
                  <a:pt x="759" y="197"/>
                  <a:pt x="759" y="197"/>
                </a:cubicBezTo>
                <a:cubicBezTo>
                  <a:pt x="760" y="199"/>
                  <a:pt x="760" y="199"/>
                  <a:pt x="760" y="199"/>
                </a:cubicBezTo>
                <a:cubicBezTo>
                  <a:pt x="761" y="198"/>
                  <a:pt x="761" y="198"/>
                  <a:pt x="761" y="198"/>
                </a:cubicBezTo>
                <a:cubicBezTo>
                  <a:pt x="761" y="199"/>
                  <a:pt x="761" y="199"/>
                  <a:pt x="761" y="199"/>
                </a:cubicBezTo>
                <a:cubicBezTo>
                  <a:pt x="763" y="200"/>
                  <a:pt x="763" y="200"/>
                  <a:pt x="763" y="200"/>
                </a:cubicBezTo>
                <a:cubicBezTo>
                  <a:pt x="764" y="200"/>
                  <a:pt x="764" y="200"/>
                  <a:pt x="764" y="200"/>
                </a:cubicBezTo>
                <a:cubicBezTo>
                  <a:pt x="764" y="202"/>
                  <a:pt x="764" y="202"/>
                  <a:pt x="764" y="202"/>
                </a:cubicBezTo>
                <a:cubicBezTo>
                  <a:pt x="765" y="203"/>
                  <a:pt x="765" y="203"/>
                  <a:pt x="765" y="203"/>
                </a:cubicBezTo>
                <a:cubicBezTo>
                  <a:pt x="766" y="202"/>
                  <a:pt x="766" y="202"/>
                  <a:pt x="766" y="202"/>
                </a:cubicBezTo>
                <a:cubicBezTo>
                  <a:pt x="765" y="201"/>
                  <a:pt x="765" y="201"/>
                  <a:pt x="765" y="201"/>
                </a:cubicBezTo>
                <a:cubicBezTo>
                  <a:pt x="765" y="200"/>
                  <a:pt x="765" y="200"/>
                  <a:pt x="765" y="200"/>
                </a:cubicBezTo>
                <a:cubicBezTo>
                  <a:pt x="764" y="199"/>
                  <a:pt x="764" y="199"/>
                  <a:pt x="764" y="199"/>
                </a:cubicBezTo>
                <a:cubicBezTo>
                  <a:pt x="766" y="200"/>
                  <a:pt x="766" y="200"/>
                  <a:pt x="766" y="200"/>
                </a:cubicBezTo>
                <a:cubicBezTo>
                  <a:pt x="767" y="200"/>
                  <a:pt x="767" y="200"/>
                  <a:pt x="767" y="200"/>
                </a:cubicBezTo>
                <a:cubicBezTo>
                  <a:pt x="767" y="199"/>
                  <a:pt x="767" y="199"/>
                  <a:pt x="767" y="199"/>
                </a:cubicBezTo>
                <a:cubicBezTo>
                  <a:pt x="768" y="199"/>
                  <a:pt x="768" y="199"/>
                  <a:pt x="768" y="199"/>
                </a:cubicBezTo>
                <a:cubicBezTo>
                  <a:pt x="770" y="201"/>
                  <a:pt x="770" y="201"/>
                  <a:pt x="770" y="201"/>
                </a:cubicBezTo>
                <a:cubicBezTo>
                  <a:pt x="770" y="202"/>
                  <a:pt x="770" y="202"/>
                  <a:pt x="770" y="202"/>
                </a:cubicBezTo>
                <a:cubicBezTo>
                  <a:pt x="771" y="202"/>
                  <a:pt x="771" y="202"/>
                  <a:pt x="771" y="202"/>
                </a:cubicBezTo>
                <a:cubicBezTo>
                  <a:pt x="771" y="204"/>
                  <a:pt x="771" y="204"/>
                  <a:pt x="771" y="204"/>
                </a:cubicBezTo>
                <a:cubicBezTo>
                  <a:pt x="772" y="205"/>
                  <a:pt x="772" y="205"/>
                  <a:pt x="772" y="205"/>
                </a:cubicBezTo>
                <a:cubicBezTo>
                  <a:pt x="772" y="206"/>
                  <a:pt x="772" y="206"/>
                  <a:pt x="772" y="206"/>
                </a:cubicBezTo>
                <a:cubicBezTo>
                  <a:pt x="773" y="208"/>
                  <a:pt x="773" y="208"/>
                  <a:pt x="773" y="208"/>
                </a:cubicBezTo>
                <a:cubicBezTo>
                  <a:pt x="772" y="209"/>
                  <a:pt x="772" y="209"/>
                  <a:pt x="772" y="209"/>
                </a:cubicBezTo>
                <a:cubicBezTo>
                  <a:pt x="772" y="210"/>
                  <a:pt x="772" y="210"/>
                  <a:pt x="772" y="210"/>
                </a:cubicBezTo>
                <a:cubicBezTo>
                  <a:pt x="771" y="212"/>
                  <a:pt x="771" y="212"/>
                  <a:pt x="771" y="212"/>
                </a:cubicBezTo>
                <a:cubicBezTo>
                  <a:pt x="768" y="211"/>
                  <a:pt x="768" y="211"/>
                  <a:pt x="768" y="211"/>
                </a:cubicBezTo>
                <a:cubicBezTo>
                  <a:pt x="767" y="211"/>
                  <a:pt x="767" y="211"/>
                  <a:pt x="767" y="211"/>
                </a:cubicBezTo>
                <a:cubicBezTo>
                  <a:pt x="766" y="212"/>
                  <a:pt x="766" y="212"/>
                  <a:pt x="766" y="212"/>
                </a:cubicBezTo>
                <a:cubicBezTo>
                  <a:pt x="764" y="211"/>
                  <a:pt x="764" y="211"/>
                  <a:pt x="764" y="211"/>
                </a:cubicBezTo>
                <a:cubicBezTo>
                  <a:pt x="763" y="211"/>
                  <a:pt x="763" y="211"/>
                  <a:pt x="763" y="211"/>
                </a:cubicBezTo>
                <a:cubicBezTo>
                  <a:pt x="764" y="212"/>
                  <a:pt x="764" y="212"/>
                  <a:pt x="764" y="212"/>
                </a:cubicBezTo>
                <a:cubicBezTo>
                  <a:pt x="763" y="213"/>
                  <a:pt x="763" y="213"/>
                  <a:pt x="763" y="213"/>
                </a:cubicBezTo>
                <a:cubicBezTo>
                  <a:pt x="763" y="214"/>
                  <a:pt x="763" y="214"/>
                  <a:pt x="763" y="214"/>
                </a:cubicBezTo>
                <a:cubicBezTo>
                  <a:pt x="761" y="214"/>
                  <a:pt x="761" y="214"/>
                  <a:pt x="761" y="214"/>
                </a:cubicBezTo>
                <a:cubicBezTo>
                  <a:pt x="760" y="214"/>
                  <a:pt x="760" y="214"/>
                  <a:pt x="760" y="214"/>
                </a:cubicBezTo>
                <a:cubicBezTo>
                  <a:pt x="761" y="215"/>
                  <a:pt x="761" y="215"/>
                  <a:pt x="761" y="215"/>
                </a:cubicBezTo>
                <a:cubicBezTo>
                  <a:pt x="762" y="215"/>
                  <a:pt x="762" y="215"/>
                  <a:pt x="762" y="215"/>
                </a:cubicBezTo>
                <a:cubicBezTo>
                  <a:pt x="762" y="217"/>
                  <a:pt x="762" y="217"/>
                  <a:pt x="762" y="217"/>
                </a:cubicBezTo>
                <a:cubicBezTo>
                  <a:pt x="763" y="218"/>
                  <a:pt x="763" y="218"/>
                  <a:pt x="763" y="218"/>
                </a:cubicBezTo>
                <a:cubicBezTo>
                  <a:pt x="764" y="217"/>
                  <a:pt x="764" y="217"/>
                  <a:pt x="764" y="217"/>
                </a:cubicBezTo>
                <a:cubicBezTo>
                  <a:pt x="765" y="218"/>
                  <a:pt x="765" y="218"/>
                  <a:pt x="765" y="218"/>
                </a:cubicBezTo>
                <a:cubicBezTo>
                  <a:pt x="765" y="219"/>
                  <a:pt x="765" y="219"/>
                  <a:pt x="765" y="219"/>
                </a:cubicBezTo>
                <a:cubicBezTo>
                  <a:pt x="767" y="219"/>
                  <a:pt x="767" y="219"/>
                  <a:pt x="767" y="219"/>
                </a:cubicBezTo>
                <a:cubicBezTo>
                  <a:pt x="769" y="220"/>
                  <a:pt x="769" y="220"/>
                  <a:pt x="769" y="220"/>
                </a:cubicBezTo>
                <a:cubicBezTo>
                  <a:pt x="771" y="221"/>
                  <a:pt x="771" y="221"/>
                  <a:pt x="771" y="221"/>
                </a:cubicBezTo>
                <a:cubicBezTo>
                  <a:pt x="774" y="222"/>
                  <a:pt x="774" y="222"/>
                  <a:pt x="774" y="222"/>
                </a:cubicBezTo>
                <a:cubicBezTo>
                  <a:pt x="775" y="222"/>
                  <a:pt x="775" y="222"/>
                  <a:pt x="775" y="222"/>
                </a:cubicBezTo>
                <a:cubicBezTo>
                  <a:pt x="775" y="221"/>
                  <a:pt x="775" y="221"/>
                  <a:pt x="775" y="221"/>
                </a:cubicBezTo>
                <a:cubicBezTo>
                  <a:pt x="776" y="221"/>
                  <a:pt x="776" y="221"/>
                  <a:pt x="776" y="221"/>
                </a:cubicBezTo>
                <a:cubicBezTo>
                  <a:pt x="777" y="222"/>
                  <a:pt x="777" y="222"/>
                  <a:pt x="777" y="222"/>
                </a:cubicBezTo>
                <a:cubicBezTo>
                  <a:pt x="777" y="223"/>
                  <a:pt x="777" y="223"/>
                  <a:pt x="777" y="223"/>
                </a:cubicBezTo>
                <a:cubicBezTo>
                  <a:pt x="779" y="221"/>
                  <a:pt x="779" y="221"/>
                  <a:pt x="779" y="221"/>
                </a:cubicBezTo>
                <a:cubicBezTo>
                  <a:pt x="780" y="222"/>
                  <a:pt x="780" y="222"/>
                  <a:pt x="780" y="222"/>
                </a:cubicBezTo>
                <a:cubicBezTo>
                  <a:pt x="781" y="221"/>
                  <a:pt x="781" y="221"/>
                  <a:pt x="781" y="221"/>
                </a:cubicBezTo>
                <a:cubicBezTo>
                  <a:pt x="782" y="221"/>
                  <a:pt x="782" y="221"/>
                  <a:pt x="782" y="221"/>
                </a:cubicBezTo>
                <a:cubicBezTo>
                  <a:pt x="782" y="222"/>
                  <a:pt x="782" y="222"/>
                  <a:pt x="782" y="222"/>
                </a:cubicBezTo>
                <a:cubicBezTo>
                  <a:pt x="784" y="221"/>
                  <a:pt x="784" y="221"/>
                  <a:pt x="784" y="221"/>
                </a:cubicBezTo>
                <a:cubicBezTo>
                  <a:pt x="788" y="220"/>
                  <a:pt x="788" y="220"/>
                  <a:pt x="788" y="220"/>
                </a:cubicBezTo>
                <a:cubicBezTo>
                  <a:pt x="789" y="219"/>
                  <a:pt x="789" y="219"/>
                  <a:pt x="789" y="219"/>
                </a:cubicBezTo>
                <a:cubicBezTo>
                  <a:pt x="789" y="220"/>
                  <a:pt x="789" y="220"/>
                  <a:pt x="789" y="220"/>
                </a:cubicBezTo>
                <a:cubicBezTo>
                  <a:pt x="788" y="221"/>
                  <a:pt x="788" y="221"/>
                  <a:pt x="788" y="221"/>
                </a:cubicBezTo>
                <a:cubicBezTo>
                  <a:pt x="788" y="222"/>
                  <a:pt x="788" y="222"/>
                  <a:pt x="788" y="222"/>
                </a:cubicBezTo>
                <a:cubicBezTo>
                  <a:pt x="789" y="222"/>
                  <a:pt x="789" y="222"/>
                  <a:pt x="789" y="222"/>
                </a:cubicBezTo>
                <a:cubicBezTo>
                  <a:pt x="789" y="223"/>
                  <a:pt x="789" y="223"/>
                  <a:pt x="789" y="223"/>
                </a:cubicBezTo>
                <a:cubicBezTo>
                  <a:pt x="789" y="224"/>
                  <a:pt x="789" y="224"/>
                  <a:pt x="789" y="224"/>
                </a:cubicBezTo>
                <a:cubicBezTo>
                  <a:pt x="789" y="225"/>
                  <a:pt x="789" y="225"/>
                  <a:pt x="789" y="225"/>
                </a:cubicBezTo>
                <a:cubicBezTo>
                  <a:pt x="790" y="225"/>
                  <a:pt x="790" y="225"/>
                  <a:pt x="790" y="225"/>
                </a:cubicBezTo>
                <a:cubicBezTo>
                  <a:pt x="790" y="224"/>
                  <a:pt x="790" y="224"/>
                  <a:pt x="790" y="224"/>
                </a:cubicBezTo>
                <a:cubicBezTo>
                  <a:pt x="791" y="225"/>
                  <a:pt x="791" y="225"/>
                  <a:pt x="791" y="225"/>
                </a:cubicBezTo>
                <a:cubicBezTo>
                  <a:pt x="791" y="226"/>
                  <a:pt x="791" y="226"/>
                  <a:pt x="791" y="226"/>
                </a:cubicBezTo>
                <a:cubicBezTo>
                  <a:pt x="790" y="228"/>
                  <a:pt x="790" y="228"/>
                  <a:pt x="790" y="228"/>
                </a:cubicBezTo>
                <a:cubicBezTo>
                  <a:pt x="790" y="229"/>
                  <a:pt x="790" y="229"/>
                  <a:pt x="790" y="229"/>
                </a:cubicBezTo>
                <a:cubicBezTo>
                  <a:pt x="791" y="229"/>
                  <a:pt x="791" y="229"/>
                  <a:pt x="791" y="229"/>
                </a:cubicBezTo>
                <a:cubicBezTo>
                  <a:pt x="792" y="228"/>
                  <a:pt x="792" y="228"/>
                  <a:pt x="792" y="228"/>
                </a:cubicBezTo>
                <a:cubicBezTo>
                  <a:pt x="792" y="227"/>
                  <a:pt x="792" y="227"/>
                  <a:pt x="792" y="227"/>
                </a:cubicBezTo>
                <a:cubicBezTo>
                  <a:pt x="792" y="226"/>
                  <a:pt x="792" y="226"/>
                  <a:pt x="792" y="226"/>
                </a:cubicBezTo>
                <a:cubicBezTo>
                  <a:pt x="793" y="226"/>
                  <a:pt x="793" y="226"/>
                  <a:pt x="793" y="226"/>
                </a:cubicBezTo>
                <a:cubicBezTo>
                  <a:pt x="793" y="228"/>
                  <a:pt x="793" y="228"/>
                  <a:pt x="793" y="228"/>
                </a:cubicBezTo>
                <a:cubicBezTo>
                  <a:pt x="792" y="230"/>
                  <a:pt x="792" y="230"/>
                  <a:pt x="792" y="230"/>
                </a:cubicBezTo>
                <a:cubicBezTo>
                  <a:pt x="791" y="231"/>
                  <a:pt x="791" y="231"/>
                  <a:pt x="791" y="231"/>
                </a:cubicBezTo>
                <a:cubicBezTo>
                  <a:pt x="791" y="233"/>
                  <a:pt x="791" y="233"/>
                  <a:pt x="791" y="233"/>
                </a:cubicBezTo>
                <a:cubicBezTo>
                  <a:pt x="792" y="235"/>
                  <a:pt x="792" y="235"/>
                  <a:pt x="792" y="235"/>
                </a:cubicBezTo>
                <a:cubicBezTo>
                  <a:pt x="792" y="237"/>
                  <a:pt x="792" y="237"/>
                  <a:pt x="792" y="237"/>
                </a:cubicBezTo>
                <a:cubicBezTo>
                  <a:pt x="791" y="239"/>
                  <a:pt x="791" y="239"/>
                  <a:pt x="791" y="239"/>
                </a:cubicBezTo>
                <a:cubicBezTo>
                  <a:pt x="792" y="239"/>
                  <a:pt x="792" y="239"/>
                  <a:pt x="792" y="239"/>
                </a:cubicBezTo>
                <a:cubicBezTo>
                  <a:pt x="792" y="240"/>
                  <a:pt x="792" y="240"/>
                  <a:pt x="792" y="240"/>
                </a:cubicBezTo>
                <a:cubicBezTo>
                  <a:pt x="792" y="241"/>
                  <a:pt x="792" y="241"/>
                  <a:pt x="792" y="241"/>
                </a:cubicBezTo>
                <a:cubicBezTo>
                  <a:pt x="792" y="242"/>
                  <a:pt x="792" y="242"/>
                  <a:pt x="792" y="242"/>
                </a:cubicBezTo>
                <a:cubicBezTo>
                  <a:pt x="793" y="244"/>
                  <a:pt x="793" y="244"/>
                  <a:pt x="793" y="244"/>
                </a:cubicBezTo>
                <a:cubicBezTo>
                  <a:pt x="793" y="241"/>
                  <a:pt x="793" y="241"/>
                  <a:pt x="793" y="241"/>
                </a:cubicBezTo>
                <a:cubicBezTo>
                  <a:pt x="793" y="238"/>
                  <a:pt x="793" y="238"/>
                  <a:pt x="793" y="238"/>
                </a:cubicBezTo>
                <a:cubicBezTo>
                  <a:pt x="795" y="235"/>
                  <a:pt x="795" y="235"/>
                  <a:pt x="795" y="235"/>
                </a:cubicBezTo>
                <a:cubicBezTo>
                  <a:pt x="795" y="237"/>
                  <a:pt x="795" y="237"/>
                  <a:pt x="795" y="237"/>
                </a:cubicBezTo>
                <a:cubicBezTo>
                  <a:pt x="795" y="238"/>
                  <a:pt x="795" y="238"/>
                  <a:pt x="795" y="238"/>
                </a:cubicBezTo>
                <a:cubicBezTo>
                  <a:pt x="796" y="237"/>
                  <a:pt x="796" y="237"/>
                  <a:pt x="796" y="237"/>
                </a:cubicBezTo>
                <a:cubicBezTo>
                  <a:pt x="796" y="238"/>
                  <a:pt x="796" y="238"/>
                  <a:pt x="796" y="238"/>
                </a:cubicBezTo>
                <a:cubicBezTo>
                  <a:pt x="797" y="237"/>
                  <a:pt x="797" y="237"/>
                  <a:pt x="797" y="237"/>
                </a:cubicBezTo>
                <a:cubicBezTo>
                  <a:pt x="797" y="236"/>
                  <a:pt x="797" y="236"/>
                  <a:pt x="797" y="236"/>
                </a:cubicBezTo>
                <a:cubicBezTo>
                  <a:pt x="796" y="235"/>
                  <a:pt x="796" y="235"/>
                  <a:pt x="796" y="235"/>
                </a:cubicBezTo>
                <a:cubicBezTo>
                  <a:pt x="796" y="234"/>
                  <a:pt x="796" y="234"/>
                  <a:pt x="796" y="234"/>
                </a:cubicBezTo>
                <a:cubicBezTo>
                  <a:pt x="797" y="234"/>
                  <a:pt x="797" y="234"/>
                  <a:pt x="797" y="234"/>
                </a:cubicBezTo>
                <a:cubicBezTo>
                  <a:pt x="798" y="233"/>
                  <a:pt x="798" y="233"/>
                  <a:pt x="798" y="233"/>
                </a:cubicBezTo>
                <a:cubicBezTo>
                  <a:pt x="797" y="232"/>
                  <a:pt x="797" y="232"/>
                  <a:pt x="797" y="232"/>
                </a:cubicBezTo>
                <a:cubicBezTo>
                  <a:pt x="797" y="229"/>
                  <a:pt x="797" y="229"/>
                  <a:pt x="797" y="229"/>
                </a:cubicBezTo>
                <a:cubicBezTo>
                  <a:pt x="798" y="226"/>
                  <a:pt x="798" y="226"/>
                  <a:pt x="798" y="226"/>
                </a:cubicBezTo>
                <a:cubicBezTo>
                  <a:pt x="798" y="225"/>
                  <a:pt x="798" y="225"/>
                  <a:pt x="798" y="225"/>
                </a:cubicBezTo>
                <a:cubicBezTo>
                  <a:pt x="798" y="224"/>
                  <a:pt x="798" y="224"/>
                  <a:pt x="798" y="224"/>
                </a:cubicBezTo>
                <a:cubicBezTo>
                  <a:pt x="799" y="223"/>
                  <a:pt x="799" y="223"/>
                  <a:pt x="799" y="223"/>
                </a:cubicBezTo>
                <a:cubicBezTo>
                  <a:pt x="801" y="223"/>
                  <a:pt x="801" y="223"/>
                  <a:pt x="801" y="223"/>
                </a:cubicBezTo>
                <a:cubicBezTo>
                  <a:pt x="801" y="222"/>
                  <a:pt x="801" y="222"/>
                  <a:pt x="801" y="222"/>
                </a:cubicBezTo>
                <a:cubicBezTo>
                  <a:pt x="802" y="222"/>
                  <a:pt x="802" y="222"/>
                  <a:pt x="802" y="222"/>
                </a:cubicBezTo>
                <a:cubicBezTo>
                  <a:pt x="803" y="223"/>
                  <a:pt x="803" y="223"/>
                  <a:pt x="803" y="223"/>
                </a:cubicBezTo>
                <a:cubicBezTo>
                  <a:pt x="804" y="222"/>
                  <a:pt x="804" y="222"/>
                  <a:pt x="804" y="222"/>
                </a:cubicBezTo>
                <a:cubicBezTo>
                  <a:pt x="804" y="221"/>
                  <a:pt x="804" y="221"/>
                  <a:pt x="804" y="221"/>
                </a:cubicBezTo>
                <a:cubicBezTo>
                  <a:pt x="805" y="221"/>
                  <a:pt x="805" y="221"/>
                  <a:pt x="805" y="221"/>
                </a:cubicBezTo>
                <a:cubicBezTo>
                  <a:pt x="805" y="222"/>
                  <a:pt x="805" y="222"/>
                  <a:pt x="805" y="222"/>
                </a:cubicBezTo>
                <a:cubicBezTo>
                  <a:pt x="806" y="222"/>
                  <a:pt x="806" y="222"/>
                  <a:pt x="806" y="222"/>
                </a:cubicBezTo>
                <a:cubicBezTo>
                  <a:pt x="807" y="221"/>
                  <a:pt x="807" y="221"/>
                  <a:pt x="807" y="221"/>
                </a:cubicBezTo>
                <a:cubicBezTo>
                  <a:pt x="808" y="220"/>
                  <a:pt x="808" y="220"/>
                  <a:pt x="808" y="220"/>
                </a:cubicBezTo>
                <a:cubicBezTo>
                  <a:pt x="809" y="221"/>
                  <a:pt x="809" y="221"/>
                  <a:pt x="809" y="221"/>
                </a:cubicBezTo>
                <a:cubicBezTo>
                  <a:pt x="810" y="223"/>
                  <a:pt x="810" y="223"/>
                  <a:pt x="810" y="223"/>
                </a:cubicBezTo>
                <a:cubicBezTo>
                  <a:pt x="810" y="221"/>
                  <a:pt x="810" y="221"/>
                  <a:pt x="810" y="221"/>
                </a:cubicBezTo>
                <a:cubicBezTo>
                  <a:pt x="809" y="220"/>
                  <a:pt x="809" y="220"/>
                  <a:pt x="809" y="220"/>
                </a:cubicBezTo>
                <a:cubicBezTo>
                  <a:pt x="810" y="218"/>
                  <a:pt x="810" y="218"/>
                  <a:pt x="810" y="218"/>
                </a:cubicBezTo>
                <a:cubicBezTo>
                  <a:pt x="811" y="218"/>
                  <a:pt x="811" y="218"/>
                  <a:pt x="811" y="218"/>
                </a:cubicBezTo>
                <a:cubicBezTo>
                  <a:pt x="812" y="218"/>
                  <a:pt x="812" y="218"/>
                  <a:pt x="812" y="218"/>
                </a:cubicBezTo>
                <a:cubicBezTo>
                  <a:pt x="813" y="218"/>
                  <a:pt x="813" y="218"/>
                  <a:pt x="813" y="218"/>
                </a:cubicBezTo>
                <a:cubicBezTo>
                  <a:pt x="814" y="218"/>
                  <a:pt x="814" y="218"/>
                  <a:pt x="814" y="218"/>
                </a:cubicBezTo>
                <a:cubicBezTo>
                  <a:pt x="815" y="217"/>
                  <a:pt x="815" y="217"/>
                  <a:pt x="815" y="217"/>
                </a:cubicBezTo>
                <a:cubicBezTo>
                  <a:pt x="815" y="216"/>
                  <a:pt x="815" y="216"/>
                  <a:pt x="815" y="216"/>
                </a:cubicBezTo>
                <a:cubicBezTo>
                  <a:pt x="816" y="215"/>
                  <a:pt x="816" y="215"/>
                  <a:pt x="816" y="215"/>
                </a:cubicBezTo>
                <a:cubicBezTo>
                  <a:pt x="815" y="215"/>
                  <a:pt x="815" y="215"/>
                  <a:pt x="815" y="215"/>
                </a:cubicBezTo>
                <a:cubicBezTo>
                  <a:pt x="814" y="215"/>
                  <a:pt x="814" y="215"/>
                  <a:pt x="814" y="215"/>
                </a:cubicBezTo>
                <a:cubicBezTo>
                  <a:pt x="811" y="216"/>
                  <a:pt x="811" y="216"/>
                  <a:pt x="811" y="216"/>
                </a:cubicBezTo>
                <a:cubicBezTo>
                  <a:pt x="810" y="216"/>
                  <a:pt x="810" y="216"/>
                  <a:pt x="810" y="216"/>
                </a:cubicBezTo>
                <a:cubicBezTo>
                  <a:pt x="810" y="217"/>
                  <a:pt x="810" y="217"/>
                  <a:pt x="810" y="217"/>
                </a:cubicBezTo>
                <a:cubicBezTo>
                  <a:pt x="809" y="217"/>
                  <a:pt x="809" y="217"/>
                  <a:pt x="809" y="217"/>
                </a:cubicBezTo>
                <a:cubicBezTo>
                  <a:pt x="809" y="218"/>
                  <a:pt x="809" y="218"/>
                  <a:pt x="809" y="218"/>
                </a:cubicBezTo>
                <a:cubicBezTo>
                  <a:pt x="808" y="217"/>
                  <a:pt x="808" y="217"/>
                  <a:pt x="808" y="217"/>
                </a:cubicBezTo>
                <a:cubicBezTo>
                  <a:pt x="808" y="216"/>
                  <a:pt x="808" y="216"/>
                  <a:pt x="808" y="216"/>
                </a:cubicBezTo>
                <a:cubicBezTo>
                  <a:pt x="807" y="216"/>
                  <a:pt x="807" y="216"/>
                  <a:pt x="807" y="216"/>
                </a:cubicBezTo>
                <a:cubicBezTo>
                  <a:pt x="807" y="217"/>
                  <a:pt x="807" y="217"/>
                  <a:pt x="807" y="217"/>
                </a:cubicBezTo>
                <a:cubicBezTo>
                  <a:pt x="806" y="218"/>
                  <a:pt x="806" y="218"/>
                  <a:pt x="806" y="218"/>
                </a:cubicBezTo>
                <a:cubicBezTo>
                  <a:pt x="805" y="217"/>
                  <a:pt x="805" y="217"/>
                  <a:pt x="805" y="217"/>
                </a:cubicBezTo>
                <a:cubicBezTo>
                  <a:pt x="804" y="217"/>
                  <a:pt x="804" y="217"/>
                  <a:pt x="804" y="217"/>
                </a:cubicBezTo>
                <a:cubicBezTo>
                  <a:pt x="804" y="216"/>
                  <a:pt x="804" y="216"/>
                  <a:pt x="804" y="216"/>
                </a:cubicBezTo>
                <a:cubicBezTo>
                  <a:pt x="803" y="217"/>
                  <a:pt x="803" y="217"/>
                  <a:pt x="803" y="217"/>
                </a:cubicBezTo>
                <a:cubicBezTo>
                  <a:pt x="803" y="218"/>
                  <a:pt x="803" y="218"/>
                  <a:pt x="803" y="218"/>
                </a:cubicBezTo>
                <a:cubicBezTo>
                  <a:pt x="803" y="219"/>
                  <a:pt x="803" y="219"/>
                  <a:pt x="803" y="219"/>
                </a:cubicBezTo>
                <a:cubicBezTo>
                  <a:pt x="802" y="219"/>
                  <a:pt x="802" y="219"/>
                  <a:pt x="802" y="219"/>
                </a:cubicBezTo>
                <a:cubicBezTo>
                  <a:pt x="800" y="219"/>
                  <a:pt x="800" y="219"/>
                  <a:pt x="800" y="219"/>
                </a:cubicBezTo>
                <a:cubicBezTo>
                  <a:pt x="800" y="218"/>
                  <a:pt x="800" y="218"/>
                  <a:pt x="800" y="218"/>
                </a:cubicBezTo>
                <a:cubicBezTo>
                  <a:pt x="801" y="217"/>
                  <a:pt x="801" y="217"/>
                  <a:pt x="801" y="217"/>
                </a:cubicBezTo>
                <a:cubicBezTo>
                  <a:pt x="801" y="216"/>
                  <a:pt x="801" y="216"/>
                  <a:pt x="801" y="216"/>
                </a:cubicBezTo>
                <a:cubicBezTo>
                  <a:pt x="800" y="217"/>
                  <a:pt x="800" y="217"/>
                  <a:pt x="800" y="217"/>
                </a:cubicBezTo>
                <a:cubicBezTo>
                  <a:pt x="799" y="216"/>
                  <a:pt x="799" y="216"/>
                  <a:pt x="799" y="216"/>
                </a:cubicBezTo>
                <a:cubicBezTo>
                  <a:pt x="799" y="215"/>
                  <a:pt x="799" y="215"/>
                  <a:pt x="799" y="215"/>
                </a:cubicBezTo>
                <a:cubicBezTo>
                  <a:pt x="800" y="214"/>
                  <a:pt x="800" y="214"/>
                  <a:pt x="800" y="214"/>
                </a:cubicBezTo>
                <a:cubicBezTo>
                  <a:pt x="802" y="212"/>
                  <a:pt x="802" y="212"/>
                  <a:pt x="802" y="212"/>
                </a:cubicBezTo>
                <a:cubicBezTo>
                  <a:pt x="803" y="212"/>
                  <a:pt x="803" y="212"/>
                  <a:pt x="803" y="212"/>
                </a:cubicBezTo>
                <a:cubicBezTo>
                  <a:pt x="805" y="212"/>
                  <a:pt x="805" y="212"/>
                  <a:pt x="805" y="212"/>
                </a:cubicBezTo>
                <a:cubicBezTo>
                  <a:pt x="809" y="212"/>
                  <a:pt x="809" y="212"/>
                  <a:pt x="809" y="212"/>
                </a:cubicBezTo>
                <a:cubicBezTo>
                  <a:pt x="812" y="211"/>
                  <a:pt x="812" y="211"/>
                  <a:pt x="812" y="211"/>
                </a:cubicBezTo>
                <a:cubicBezTo>
                  <a:pt x="813" y="211"/>
                  <a:pt x="813" y="211"/>
                  <a:pt x="813" y="211"/>
                </a:cubicBezTo>
                <a:cubicBezTo>
                  <a:pt x="815" y="211"/>
                  <a:pt x="815" y="211"/>
                  <a:pt x="815" y="211"/>
                </a:cubicBezTo>
                <a:cubicBezTo>
                  <a:pt x="815" y="212"/>
                  <a:pt x="815" y="212"/>
                  <a:pt x="815" y="212"/>
                </a:cubicBezTo>
                <a:cubicBezTo>
                  <a:pt x="816" y="213"/>
                  <a:pt x="816" y="213"/>
                  <a:pt x="816" y="213"/>
                </a:cubicBezTo>
                <a:cubicBezTo>
                  <a:pt x="817" y="213"/>
                  <a:pt x="817" y="213"/>
                  <a:pt x="817" y="213"/>
                </a:cubicBezTo>
                <a:cubicBezTo>
                  <a:pt x="817" y="214"/>
                  <a:pt x="817" y="214"/>
                  <a:pt x="817" y="214"/>
                </a:cubicBezTo>
                <a:cubicBezTo>
                  <a:pt x="817" y="216"/>
                  <a:pt x="817" y="216"/>
                  <a:pt x="817" y="216"/>
                </a:cubicBezTo>
                <a:cubicBezTo>
                  <a:pt x="817" y="217"/>
                  <a:pt x="817" y="217"/>
                  <a:pt x="817" y="217"/>
                </a:cubicBezTo>
                <a:cubicBezTo>
                  <a:pt x="817" y="218"/>
                  <a:pt x="817" y="218"/>
                  <a:pt x="817" y="218"/>
                </a:cubicBezTo>
                <a:cubicBezTo>
                  <a:pt x="816" y="218"/>
                  <a:pt x="816" y="218"/>
                  <a:pt x="816" y="218"/>
                </a:cubicBezTo>
                <a:cubicBezTo>
                  <a:pt x="816" y="219"/>
                  <a:pt x="816" y="219"/>
                  <a:pt x="816" y="219"/>
                </a:cubicBezTo>
                <a:cubicBezTo>
                  <a:pt x="817" y="219"/>
                  <a:pt x="817" y="219"/>
                  <a:pt x="817" y="219"/>
                </a:cubicBezTo>
                <a:cubicBezTo>
                  <a:pt x="817" y="222"/>
                  <a:pt x="817" y="222"/>
                  <a:pt x="817" y="222"/>
                </a:cubicBezTo>
                <a:cubicBezTo>
                  <a:pt x="818" y="222"/>
                  <a:pt x="818" y="222"/>
                  <a:pt x="818" y="222"/>
                </a:cubicBezTo>
                <a:cubicBezTo>
                  <a:pt x="819" y="222"/>
                  <a:pt x="819" y="222"/>
                  <a:pt x="819" y="222"/>
                </a:cubicBezTo>
                <a:cubicBezTo>
                  <a:pt x="819" y="223"/>
                  <a:pt x="819" y="223"/>
                  <a:pt x="819" y="223"/>
                </a:cubicBezTo>
                <a:cubicBezTo>
                  <a:pt x="818" y="223"/>
                  <a:pt x="818" y="223"/>
                  <a:pt x="818" y="223"/>
                </a:cubicBezTo>
                <a:cubicBezTo>
                  <a:pt x="817" y="224"/>
                  <a:pt x="817" y="224"/>
                  <a:pt x="817" y="224"/>
                </a:cubicBezTo>
                <a:cubicBezTo>
                  <a:pt x="817" y="225"/>
                  <a:pt x="817" y="225"/>
                  <a:pt x="817" y="225"/>
                </a:cubicBezTo>
                <a:cubicBezTo>
                  <a:pt x="818" y="225"/>
                  <a:pt x="818" y="225"/>
                  <a:pt x="818" y="225"/>
                </a:cubicBezTo>
                <a:cubicBezTo>
                  <a:pt x="819" y="226"/>
                  <a:pt x="819" y="226"/>
                  <a:pt x="819" y="226"/>
                </a:cubicBezTo>
                <a:cubicBezTo>
                  <a:pt x="820" y="226"/>
                  <a:pt x="820" y="226"/>
                  <a:pt x="820" y="226"/>
                </a:cubicBezTo>
                <a:cubicBezTo>
                  <a:pt x="821" y="227"/>
                  <a:pt x="821" y="227"/>
                  <a:pt x="821" y="227"/>
                </a:cubicBezTo>
                <a:cubicBezTo>
                  <a:pt x="822" y="227"/>
                  <a:pt x="822" y="227"/>
                  <a:pt x="822" y="227"/>
                </a:cubicBezTo>
                <a:cubicBezTo>
                  <a:pt x="823" y="226"/>
                  <a:pt x="823" y="226"/>
                  <a:pt x="823" y="226"/>
                </a:cubicBezTo>
                <a:cubicBezTo>
                  <a:pt x="824" y="227"/>
                  <a:pt x="824" y="227"/>
                  <a:pt x="824" y="227"/>
                </a:cubicBezTo>
                <a:cubicBezTo>
                  <a:pt x="824" y="228"/>
                  <a:pt x="824" y="228"/>
                  <a:pt x="824" y="228"/>
                </a:cubicBezTo>
                <a:cubicBezTo>
                  <a:pt x="825" y="228"/>
                  <a:pt x="825" y="228"/>
                  <a:pt x="825" y="228"/>
                </a:cubicBezTo>
                <a:cubicBezTo>
                  <a:pt x="825" y="229"/>
                  <a:pt x="825" y="229"/>
                  <a:pt x="825" y="229"/>
                </a:cubicBezTo>
                <a:cubicBezTo>
                  <a:pt x="825" y="230"/>
                  <a:pt x="825" y="230"/>
                  <a:pt x="825" y="230"/>
                </a:cubicBezTo>
                <a:cubicBezTo>
                  <a:pt x="826" y="231"/>
                  <a:pt x="826" y="231"/>
                  <a:pt x="826" y="231"/>
                </a:cubicBezTo>
                <a:cubicBezTo>
                  <a:pt x="827" y="232"/>
                  <a:pt x="827" y="232"/>
                  <a:pt x="827" y="232"/>
                </a:cubicBezTo>
                <a:cubicBezTo>
                  <a:pt x="827" y="233"/>
                  <a:pt x="827" y="233"/>
                  <a:pt x="827" y="233"/>
                </a:cubicBezTo>
                <a:cubicBezTo>
                  <a:pt x="829" y="232"/>
                  <a:pt x="829" y="232"/>
                  <a:pt x="829" y="232"/>
                </a:cubicBezTo>
                <a:cubicBezTo>
                  <a:pt x="829" y="233"/>
                  <a:pt x="829" y="233"/>
                  <a:pt x="829" y="233"/>
                </a:cubicBezTo>
                <a:cubicBezTo>
                  <a:pt x="829" y="234"/>
                  <a:pt x="829" y="234"/>
                  <a:pt x="829" y="234"/>
                </a:cubicBezTo>
                <a:cubicBezTo>
                  <a:pt x="830" y="234"/>
                  <a:pt x="830" y="234"/>
                  <a:pt x="830" y="234"/>
                </a:cubicBezTo>
                <a:cubicBezTo>
                  <a:pt x="831" y="235"/>
                  <a:pt x="831" y="235"/>
                  <a:pt x="831" y="235"/>
                </a:cubicBezTo>
                <a:cubicBezTo>
                  <a:pt x="832" y="234"/>
                  <a:pt x="832" y="234"/>
                  <a:pt x="832" y="234"/>
                </a:cubicBezTo>
                <a:cubicBezTo>
                  <a:pt x="835" y="234"/>
                  <a:pt x="835" y="234"/>
                  <a:pt x="835" y="234"/>
                </a:cubicBezTo>
                <a:cubicBezTo>
                  <a:pt x="835" y="233"/>
                  <a:pt x="835" y="233"/>
                  <a:pt x="835" y="233"/>
                </a:cubicBezTo>
                <a:cubicBezTo>
                  <a:pt x="837" y="232"/>
                  <a:pt x="837" y="232"/>
                  <a:pt x="837" y="232"/>
                </a:cubicBezTo>
                <a:cubicBezTo>
                  <a:pt x="838" y="233"/>
                  <a:pt x="838" y="233"/>
                  <a:pt x="838" y="233"/>
                </a:cubicBezTo>
                <a:cubicBezTo>
                  <a:pt x="840" y="233"/>
                  <a:pt x="840" y="233"/>
                  <a:pt x="840" y="233"/>
                </a:cubicBezTo>
                <a:cubicBezTo>
                  <a:pt x="842" y="235"/>
                  <a:pt x="842" y="235"/>
                  <a:pt x="842" y="235"/>
                </a:cubicBezTo>
                <a:cubicBezTo>
                  <a:pt x="843" y="235"/>
                  <a:pt x="843" y="235"/>
                  <a:pt x="843" y="235"/>
                </a:cubicBezTo>
                <a:cubicBezTo>
                  <a:pt x="844" y="236"/>
                  <a:pt x="844" y="236"/>
                  <a:pt x="844" y="236"/>
                </a:cubicBezTo>
                <a:cubicBezTo>
                  <a:pt x="845" y="235"/>
                  <a:pt x="845" y="235"/>
                  <a:pt x="845" y="235"/>
                </a:cubicBezTo>
                <a:cubicBezTo>
                  <a:pt x="847" y="235"/>
                  <a:pt x="847" y="235"/>
                  <a:pt x="847" y="235"/>
                </a:cubicBezTo>
                <a:cubicBezTo>
                  <a:pt x="848" y="236"/>
                  <a:pt x="848" y="236"/>
                  <a:pt x="848" y="236"/>
                </a:cubicBezTo>
                <a:cubicBezTo>
                  <a:pt x="848" y="234"/>
                  <a:pt x="848" y="234"/>
                  <a:pt x="848" y="234"/>
                </a:cubicBezTo>
                <a:cubicBezTo>
                  <a:pt x="847" y="233"/>
                  <a:pt x="847" y="233"/>
                  <a:pt x="847" y="233"/>
                </a:cubicBezTo>
                <a:cubicBezTo>
                  <a:pt x="847" y="231"/>
                  <a:pt x="847" y="231"/>
                  <a:pt x="847" y="231"/>
                </a:cubicBezTo>
                <a:cubicBezTo>
                  <a:pt x="848" y="231"/>
                  <a:pt x="848" y="231"/>
                  <a:pt x="848" y="231"/>
                </a:cubicBezTo>
                <a:cubicBezTo>
                  <a:pt x="849" y="233"/>
                  <a:pt x="849" y="233"/>
                  <a:pt x="849" y="233"/>
                </a:cubicBezTo>
                <a:cubicBezTo>
                  <a:pt x="849" y="235"/>
                  <a:pt x="849" y="235"/>
                  <a:pt x="849" y="235"/>
                </a:cubicBezTo>
                <a:cubicBezTo>
                  <a:pt x="851" y="237"/>
                  <a:pt x="851" y="237"/>
                  <a:pt x="851" y="237"/>
                </a:cubicBezTo>
                <a:cubicBezTo>
                  <a:pt x="852" y="239"/>
                  <a:pt x="852" y="239"/>
                  <a:pt x="852" y="239"/>
                </a:cubicBezTo>
                <a:cubicBezTo>
                  <a:pt x="852" y="236"/>
                  <a:pt x="852" y="236"/>
                  <a:pt x="852" y="236"/>
                </a:cubicBezTo>
                <a:cubicBezTo>
                  <a:pt x="851" y="235"/>
                  <a:pt x="851" y="235"/>
                  <a:pt x="851" y="235"/>
                </a:cubicBezTo>
                <a:cubicBezTo>
                  <a:pt x="850" y="235"/>
                  <a:pt x="850" y="235"/>
                  <a:pt x="850" y="235"/>
                </a:cubicBezTo>
                <a:cubicBezTo>
                  <a:pt x="849" y="233"/>
                  <a:pt x="849" y="233"/>
                  <a:pt x="849" y="233"/>
                </a:cubicBezTo>
                <a:cubicBezTo>
                  <a:pt x="849" y="230"/>
                  <a:pt x="849" y="230"/>
                  <a:pt x="849" y="230"/>
                </a:cubicBezTo>
                <a:cubicBezTo>
                  <a:pt x="850" y="231"/>
                  <a:pt x="850" y="231"/>
                  <a:pt x="850" y="231"/>
                </a:cubicBezTo>
                <a:cubicBezTo>
                  <a:pt x="851" y="230"/>
                  <a:pt x="851" y="230"/>
                  <a:pt x="851" y="230"/>
                </a:cubicBezTo>
                <a:cubicBezTo>
                  <a:pt x="850" y="228"/>
                  <a:pt x="850" y="228"/>
                  <a:pt x="850" y="228"/>
                </a:cubicBezTo>
                <a:cubicBezTo>
                  <a:pt x="850" y="227"/>
                  <a:pt x="850" y="227"/>
                  <a:pt x="850" y="227"/>
                </a:cubicBezTo>
                <a:cubicBezTo>
                  <a:pt x="850" y="226"/>
                  <a:pt x="850" y="226"/>
                  <a:pt x="850" y="226"/>
                </a:cubicBezTo>
                <a:cubicBezTo>
                  <a:pt x="851" y="226"/>
                  <a:pt x="851" y="226"/>
                  <a:pt x="851" y="226"/>
                </a:cubicBezTo>
                <a:cubicBezTo>
                  <a:pt x="852" y="227"/>
                  <a:pt x="852" y="227"/>
                  <a:pt x="852" y="227"/>
                </a:cubicBezTo>
                <a:cubicBezTo>
                  <a:pt x="852" y="228"/>
                  <a:pt x="852" y="228"/>
                  <a:pt x="852" y="228"/>
                </a:cubicBezTo>
                <a:cubicBezTo>
                  <a:pt x="853" y="228"/>
                  <a:pt x="853" y="228"/>
                  <a:pt x="853" y="228"/>
                </a:cubicBezTo>
                <a:cubicBezTo>
                  <a:pt x="854" y="227"/>
                  <a:pt x="854" y="227"/>
                  <a:pt x="854" y="227"/>
                </a:cubicBezTo>
                <a:cubicBezTo>
                  <a:pt x="854" y="226"/>
                  <a:pt x="854" y="226"/>
                  <a:pt x="854" y="226"/>
                </a:cubicBezTo>
                <a:cubicBezTo>
                  <a:pt x="855" y="226"/>
                  <a:pt x="855" y="226"/>
                  <a:pt x="855" y="226"/>
                </a:cubicBezTo>
                <a:cubicBezTo>
                  <a:pt x="856" y="227"/>
                  <a:pt x="856" y="227"/>
                  <a:pt x="856" y="227"/>
                </a:cubicBezTo>
                <a:cubicBezTo>
                  <a:pt x="856" y="228"/>
                  <a:pt x="856" y="228"/>
                  <a:pt x="856" y="228"/>
                </a:cubicBezTo>
                <a:cubicBezTo>
                  <a:pt x="857" y="227"/>
                  <a:pt x="857" y="227"/>
                  <a:pt x="857" y="227"/>
                </a:cubicBezTo>
                <a:cubicBezTo>
                  <a:pt x="858" y="228"/>
                  <a:pt x="858" y="228"/>
                  <a:pt x="858" y="228"/>
                </a:cubicBezTo>
                <a:cubicBezTo>
                  <a:pt x="857" y="230"/>
                  <a:pt x="857" y="230"/>
                  <a:pt x="857" y="230"/>
                </a:cubicBezTo>
                <a:cubicBezTo>
                  <a:pt x="857" y="231"/>
                  <a:pt x="857" y="231"/>
                  <a:pt x="857" y="231"/>
                </a:cubicBezTo>
                <a:cubicBezTo>
                  <a:pt x="858" y="231"/>
                  <a:pt x="858" y="231"/>
                  <a:pt x="858" y="231"/>
                </a:cubicBezTo>
                <a:cubicBezTo>
                  <a:pt x="859" y="231"/>
                  <a:pt x="859" y="231"/>
                  <a:pt x="859" y="231"/>
                </a:cubicBezTo>
                <a:cubicBezTo>
                  <a:pt x="860" y="232"/>
                  <a:pt x="860" y="232"/>
                  <a:pt x="860" y="232"/>
                </a:cubicBezTo>
                <a:cubicBezTo>
                  <a:pt x="859" y="233"/>
                  <a:pt x="859" y="233"/>
                  <a:pt x="859" y="233"/>
                </a:cubicBezTo>
                <a:cubicBezTo>
                  <a:pt x="858" y="233"/>
                  <a:pt x="858" y="233"/>
                  <a:pt x="858" y="233"/>
                </a:cubicBezTo>
                <a:cubicBezTo>
                  <a:pt x="858" y="234"/>
                  <a:pt x="858" y="234"/>
                  <a:pt x="858" y="234"/>
                </a:cubicBezTo>
                <a:cubicBezTo>
                  <a:pt x="860" y="233"/>
                  <a:pt x="860" y="233"/>
                  <a:pt x="860" y="233"/>
                </a:cubicBezTo>
                <a:cubicBezTo>
                  <a:pt x="861" y="232"/>
                  <a:pt x="861" y="232"/>
                  <a:pt x="861" y="232"/>
                </a:cubicBezTo>
                <a:cubicBezTo>
                  <a:pt x="862" y="231"/>
                  <a:pt x="862" y="231"/>
                  <a:pt x="862" y="231"/>
                </a:cubicBezTo>
                <a:cubicBezTo>
                  <a:pt x="863" y="232"/>
                  <a:pt x="863" y="232"/>
                  <a:pt x="863" y="232"/>
                </a:cubicBezTo>
                <a:cubicBezTo>
                  <a:pt x="862" y="232"/>
                  <a:pt x="862" y="232"/>
                  <a:pt x="862" y="232"/>
                </a:cubicBezTo>
                <a:cubicBezTo>
                  <a:pt x="862" y="233"/>
                  <a:pt x="862" y="233"/>
                  <a:pt x="862" y="233"/>
                </a:cubicBezTo>
                <a:cubicBezTo>
                  <a:pt x="862" y="234"/>
                  <a:pt x="862" y="234"/>
                  <a:pt x="862" y="234"/>
                </a:cubicBezTo>
                <a:cubicBezTo>
                  <a:pt x="860" y="236"/>
                  <a:pt x="860" y="236"/>
                  <a:pt x="860" y="236"/>
                </a:cubicBezTo>
                <a:cubicBezTo>
                  <a:pt x="858" y="238"/>
                  <a:pt x="858" y="238"/>
                  <a:pt x="858" y="238"/>
                </a:cubicBezTo>
                <a:cubicBezTo>
                  <a:pt x="858" y="239"/>
                  <a:pt x="858" y="239"/>
                  <a:pt x="858" y="239"/>
                </a:cubicBezTo>
                <a:cubicBezTo>
                  <a:pt x="857" y="240"/>
                  <a:pt x="857" y="240"/>
                  <a:pt x="857" y="240"/>
                </a:cubicBezTo>
                <a:cubicBezTo>
                  <a:pt x="857" y="238"/>
                  <a:pt x="857" y="238"/>
                  <a:pt x="857" y="238"/>
                </a:cubicBezTo>
                <a:cubicBezTo>
                  <a:pt x="856" y="240"/>
                  <a:pt x="856" y="240"/>
                  <a:pt x="856" y="240"/>
                </a:cubicBezTo>
                <a:cubicBezTo>
                  <a:pt x="856" y="242"/>
                  <a:pt x="856" y="242"/>
                  <a:pt x="856" y="242"/>
                </a:cubicBezTo>
                <a:cubicBezTo>
                  <a:pt x="857" y="242"/>
                  <a:pt x="857" y="242"/>
                  <a:pt x="857" y="242"/>
                </a:cubicBezTo>
                <a:cubicBezTo>
                  <a:pt x="858" y="242"/>
                  <a:pt x="858" y="242"/>
                  <a:pt x="858" y="242"/>
                </a:cubicBezTo>
                <a:cubicBezTo>
                  <a:pt x="858" y="243"/>
                  <a:pt x="858" y="243"/>
                  <a:pt x="858" y="243"/>
                </a:cubicBezTo>
                <a:cubicBezTo>
                  <a:pt x="856" y="244"/>
                  <a:pt x="856" y="244"/>
                  <a:pt x="856" y="244"/>
                </a:cubicBezTo>
                <a:cubicBezTo>
                  <a:pt x="856" y="245"/>
                  <a:pt x="856" y="245"/>
                  <a:pt x="856" y="245"/>
                </a:cubicBezTo>
                <a:cubicBezTo>
                  <a:pt x="858" y="244"/>
                  <a:pt x="858" y="244"/>
                  <a:pt x="858" y="244"/>
                </a:cubicBezTo>
                <a:cubicBezTo>
                  <a:pt x="859" y="243"/>
                  <a:pt x="859" y="243"/>
                  <a:pt x="859" y="243"/>
                </a:cubicBezTo>
                <a:cubicBezTo>
                  <a:pt x="860" y="243"/>
                  <a:pt x="860" y="243"/>
                  <a:pt x="860" y="243"/>
                </a:cubicBezTo>
                <a:cubicBezTo>
                  <a:pt x="859" y="245"/>
                  <a:pt x="859" y="245"/>
                  <a:pt x="859" y="245"/>
                </a:cubicBezTo>
                <a:cubicBezTo>
                  <a:pt x="858" y="245"/>
                  <a:pt x="858" y="245"/>
                  <a:pt x="858" y="245"/>
                </a:cubicBezTo>
                <a:cubicBezTo>
                  <a:pt x="859" y="246"/>
                  <a:pt x="859" y="246"/>
                  <a:pt x="859" y="246"/>
                </a:cubicBezTo>
                <a:cubicBezTo>
                  <a:pt x="860" y="245"/>
                  <a:pt x="860" y="245"/>
                  <a:pt x="860" y="245"/>
                </a:cubicBezTo>
                <a:cubicBezTo>
                  <a:pt x="859" y="247"/>
                  <a:pt x="859" y="247"/>
                  <a:pt x="859" y="247"/>
                </a:cubicBezTo>
                <a:cubicBezTo>
                  <a:pt x="859" y="248"/>
                  <a:pt x="859" y="248"/>
                  <a:pt x="859" y="248"/>
                </a:cubicBezTo>
                <a:cubicBezTo>
                  <a:pt x="858" y="248"/>
                  <a:pt x="858" y="248"/>
                  <a:pt x="858" y="248"/>
                </a:cubicBezTo>
                <a:cubicBezTo>
                  <a:pt x="857" y="248"/>
                  <a:pt x="857" y="248"/>
                  <a:pt x="857" y="248"/>
                </a:cubicBezTo>
                <a:cubicBezTo>
                  <a:pt x="856" y="247"/>
                  <a:pt x="856" y="247"/>
                  <a:pt x="856" y="247"/>
                </a:cubicBezTo>
                <a:cubicBezTo>
                  <a:pt x="855" y="248"/>
                  <a:pt x="855" y="248"/>
                  <a:pt x="855" y="248"/>
                </a:cubicBezTo>
                <a:cubicBezTo>
                  <a:pt x="854" y="246"/>
                  <a:pt x="854" y="246"/>
                  <a:pt x="854" y="246"/>
                </a:cubicBezTo>
                <a:cubicBezTo>
                  <a:pt x="853" y="248"/>
                  <a:pt x="853" y="248"/>
                  <a:pt x="853" y="248"/>
                </a:cubicBezTo>
                <a:cubicBezTo>
                  <a:pt x="854" y="249"/>
                  <a:pt x="854" y="249"/>
                  <a:pt x="854" y="249"/>
                </a:cubicBezTo>
                <a:cubicBezTo>
                  <a:pt x="855" y="250"/>
                  <a:pt x="855" y="250"/>
                  <a:pt x="855" y="250"/>
                </a:cubicBezTo>
                <a:cubicBezTo>
                  <a:pt x="854" y="253"/>
                  <a:pt x="854" y="253"/>
                  <a:pt x="854" y="253"/>
                </a:cubicBezTo>
                <a:cubicBezTo>
                  <a:pt x="855" y="251"/>
                  <a:pt x="855" y="251"/>
                  <a:pt x="855" y="251"/>
                </a:cubicBezTo>
                <a:cubicBezTo>
                  <a:pt x="855" y="250"/>
                  <a:pt x="855" y="250"/>
                  <a:pt x="855" y="250"/>
                </a:cubicBezTo>
                <a:cubicBezTo>
                  <a:pt x="855" y="249"/>
                  <a:pt x="855" y="249"/>
                  <a:pt x="855" y="249"/>
                </a:cubicBezTo>
                <a:cubicBezTo>
                  <a:pt x="856" y="248"/>
                  <a:pt x="856" y="248"/>
                  <a:pt x="856" y="248"/>
                </a:cubicBezTo>
                <a:cubicBezTo>
                  <a:pt x="856" y="249"/>
                  <a:pt x="856" y="249"/>
                  <a:pt x="856" y="249"/>
                </a:cubicBezTo>
                <a:cubicBezTo>
                  <a:pt x="858" y="249"/>
                  <a:pt x="858" y="249"/>
                  <a:pt x="858" y="249"/>
                </a:cubicBezTo>
                <a:cubicBezTo>
                  <a:pt x="859" y="250"/>
                  <a:pt x="859" y="250"/>
                  <a:pt x="859" y="250"/>
                </a:cubicBezTo>
                <a:cubicBezTo>
                  <a:pt x="860" y="249"/>
                  <a:pt x="860" y="249"/>
                  <a:pt x="860" y="249"/>
                </a:cubicBezTo>
                <a:cubicBezTo>
                  <a:pt x="860" y="248"/>
                  <a:pt x="860" y="248"/>
                  <a:pt x="860" y="248"/>
                </a:cubicBezTo>
                <a:cubicBezTo>
                  <a:pt x="861" y="247"/>
                  <a:pt x="861" y="247"/>
                  <a:pt x="861" y="247"/>
                </a:cubicBezTo>
                <a:cubicBezTo>
                  <a:pt x="862" y="246"/>
                  <a:pt x="862" y="246"/>
                  <a:pt x="862" y="246"/>
                </a:cubicBezTo>
                <a:cubicBezTo>
                  <a:pt x="864" y="246"/>
                  <a:pt x="864" y="246"/>
                  <a:pt x="864" y="246"/>
                </a:cubicBezTo>
                <a:cubicBezTo>
                  <a:pt x="865" y="245"/>
                  <a:pt x="865" y="245"/>
                  <a:pt x="865" y="245"/>
                </a:cubicBezTo>
                <a:cubicBezTo>
                  <a:pt x="864" y="245"/>
                  <a:pt x="864" y="245"/>
                  <a:pt x="864" y="245"/>
                </a:cubicBezTo>
                <a:cubicBezTo>
                  <a:pt x="862" y="245"/>
                  <a:pt x="862" y="245"/>
                  <a:pt x="862" y="245"/>
                </a:cubicBezTo>
                <a:cubicBezTo>
                  <a:pt x="862" y="246"/>
                  <a:pt x="862" y="246"/>
                  <a:pt x="862" y="246"/>
                </a:cubicBezTo>
                <a:cubicBezTo>
                  <a:pt x="861" y="246"/>
                  <a:pt x="861" y="246"/>
                  <a:pt x="861" y="246"/>
                </a:cubicBezTo>
                <a:cubicBezTo>
                  <a:pt x="860" y="246"/>
                  <a:pt x="860" y="246"/>
                  <a:pt x="860" y="246"/>
                </a:cubicBezTo>
                <a:cubicBezTo>
                  <a:pt x="861" y="245"/>
                  <a:pt x="861" y="245"/>
                  <a:pt x="861" y="245"/>
                </a:cubicBezTo>
                <a:cubicBezTo>
                  <a:pt x="862" y="244"/>
                  <a:pt x="862" y="244"/>
                  <a:pt x="862" y="244"/>
                </a:cubicBezTo>
                <a:cubicBezTo>
                  <a:pt x="861" y="244"/>
                  <a:pt x="861" y="244"/>
                  <a:pt x="861" y="244"/>
                </a:cubicBezTo>
                <a:cubicBezTo>
                  <a:pt x="861" y="243"/>
                  <a:pt x="861" y="243"/>
                  <a:pt x="861" y="243"/>
                </a:cubicBezTo>
                <a:cubicBezTo>
                  <a:pt x="862" y="241"/>
                  <a:pt x="862" y="241"/>
                  <a:pt x="862" y="241"/>
                </a:cubicBezTo>
                <a:cubicBezTo>
                  <a:pt x="862" y="240"/>
                  <a:pt x="862" y="240"/>
                  <a:pt x="862" y="240"/>
                </a:cubicBezTo>
                <a:cubicBezTo>
                  <a:pt x="861" y="239"/>
                  <a:pt x="861" y="239"/>
                  <a:pt x="861" y="239"/>
                </a:cubicBezTo>
                <a:cubicBezTo>
                  <a:pt x="862" y="239"/>
                  <a:pt x="862" y="239"/>
                  <a:pt x="862" y="239"/>
                </a:cubicBezTo>
                <a:cubicBezTo>
                  <a:pt x="863" y="237"/>
                  <a:pt x="863" y="237"/>
                  <a:pt x="863" y="237"/>
                </a:cubicBezTo>
                <a:cubicBezTo>
                  <a:pt x="863" y="236"/>
                  <a:pt x="863" y="236"/>
                  <a:pt x="863" y="236"/>
                </a:cubicBezTo>
                <a:cubicBezTo>
                  <a:pt x="865" y="235"/>
                  <a:pt x="865" y="235"/>
                  <a:pt x="865" y="235"/>
                </a:cubicBezTo>
                <a:cubicBezTo>
                  <a:pt x="866" y="234"/>
                  <a:pt x="866" y="234"/>
                  <a:pt x="866" y="234"/>
                </a:cubicBezTo>
                <a:cubicBezTo>
                  <a:pt x="866" y="235"/>
                  <a:pt x="866" y="235"/>
                  <a:pt x="866" y="235"/>
                </a:cubicBezTo>
                <a:cubicBezTo>
                  <a:pt x="867" y="235"/>
                  <a:pt x="867" y="235"/>
                  <a:pt x="867" y="235"/>
                </a:cubicBezTo>
                <a:cubicBezTo>
                  <a:pt x="867" y="236"/>
                  <a:pt x="867" y="236"/>
                  <a:pt x="867" y="236"/>
                </a:cubicBezTo>
                <a:cubicBezTo>
                  <a:pt x="868" y="235"/>
                  <a:pt x="868" y="235"/>
                  <a:pt x="868" y="235"/>
                </a:cubicBezTo>
                <a:cubicBezTo>
                  <a:pt x="869" y="234"/>
                  <a:pt x="869" y="234"/>
                  <a:pt x="869" y="234"/>
                </a:cubicBezTo>
                <a:cubicBezTo>
                  <a:pt x="872" y="233"/>
                  <a:pt x="872" y="233"/>
                  <a:pt x="872" y="233"/>
                </a:cubicBezTo>
                <a:cubicBezTo>
                  <a:pt x="873" y="232"/>
                  <a:pt x="873" y="232"/>
                  <a:pt x="873" y="232"/>
                </a:cubicBezTo>
                <a:cubicBezTo>
                  <a:pt x="872" y="232"/>
                  <a:pt x="872" y="232"/>
                  <a:pt x="872" y="232"/>
                </a:cubicBezTo>
                <a:cubicBezTo>
                  <a:pt x="873" y="231"/>
                  <a:pt x="873" y="231"/>
                  <a:pt x="873" y="231"/>
                </a:cubicBezTo>
                <a:cubicBezTo>
                  <a:pt x="874" y="230"/>
                  <a:pt x="874" y="230"/>
                  <a:pt x="874" y="230"/>
                </a:cubicBezTo>
                <a:cubicBezTo>
                  <a:pt x="876" y="230"/>
                  <a:pt x="876" y="230"/>
                  <a:pt x="876" y="230"/>
                </a:cubicBezTo>
                <a:cubicBezTo>
                  <a:pt x="877" y="229"/>
                  <a:pt x="877" y="229"/>
                  <a:pt x="877" y="229"/>
                </a:cubicBezTo>
                <a:cubicBezTo>
                  <a:pt x="877" y="228"/>
                  <a:pt x="877" y="228"/>
                  <a:pt x="877" y="228"/>
                </a:cubicBezTo>
                <a:cubicBezTo>
                  <a:pt x="877" y="226"/>
                  <a:pt x="877" y="226"/>
                  <a:pt x="877" y="226"/>
                </a:cubicBezTo>
                <a:cubicBezTo>
                  <a:pt x="878" y="225"/>
                  <a:pt x="878" y="225"/>
                  <a:pt x="878" y="225"/>
                </a:cubicBezTo>
                <a:cubicBezTo>
                  <a:pt x="878" y="224"/>
                  <a:pt x="878" y="224"/>
                  <a:pt x="878" y="224"/>
                </a:cubicBezTo>
                <a:cubicBezTo>
                  <a:pt x="878" y="223"/>
                  <a:pt x="878" y="223"/>
                  <a:pt x="878" y="223"/>
                </a:cubicBezTo>
                <a:cubicBezTo>
                  <a:pt x="877" y="224"/>
                  <a:pt x="877" y="224"/>
                  <a:pt x="877" y="224"/>
                </a:cubicBezTo>
                <a:cubicBezTo>
                  <a:pt x="876" y="224"/>
                  <a:pt x="876" y="224"/>
                  <a:pt x="876" y="224"/>
                </a:cubicBezTo>
                <a:cubicBezTo>
                  <a:pt x="876" y="225"/>
                  <a:pt x="876" y="225"/>
                  <a:pt x="876" y="225"/>
                </a:cubicBezTo>
                <a:cubicBezTo>
                  <a:pt x="875" y="226"/>
                  <a:pt x="875" y="226"/>
                  <a:pt x="875" y="226"/>
                </a:cubicBezTo>
                <a:cubicBezTo>
                  <a:pt x="874" y="225"/>
                  <a:pt x="874" y="225"/>
                  <a:pt x="874" y="225"/>
                </a:cubicBezTo>
                <a:cubicBezTo>
                  <a:pt x="873" y="225"/>
                  <a:pt x="873" y="225"/>
                  <a:pt x="873" y="225"/>
                </a:cubicBezTo>
                <a:cubicBezTo>
                  <a:pt x="874" y="223"/>
                  <a:pt x="874" y="223"/>
                  <a:pt x="874" y="223"/>
                </a:cubicBezTo>
                <a:cubicBezTo>
                  <a:pt x="875" y="223"/>
                  <a:pt x="875" y="223"/>
                  <a:pt x="875" y="223"/>
                </a:cubicBezTo>
                <a:cubicBezTo>
                  <a:pt x="875" y="222"/>
                  <a:pt x="875" y="222"/>
                  <a:pt x="875" y="222"/>
                </a:cubicBezTo>
                <a:cubicBezTo>
                  <a:pt x="877" y="222"/>
                  <a:pt x="877" y="222"/>
                  <a:pt x="877" y="222"/>
                </a:cubicBezTo>
                <a:cubicBezTo>
                  <a:pt x="877" y="221"/>
                  <a:pt x="877" y="221"/>
                  <a:pt x="877" y="221"/>
                </a:cubicBezTo>
                <a:cubicBezTo>
                  <a:pt x="876" y="220"/>
                  <a:pt x="876" y="220"/>
                  <a:pt x="876" y="220"/>
                </a:cubicBezTo>
                <a:cubicBezTo>
                  <a:pt x="877" y="219"/>
                  <a:pt x="877" y="219"/>
                  <a:pt x="877" y="219"/>
                </a:cubicBezTo>
                <a:cubicBezTo>
                  <a:pt x="879" y="218"/>
                  <a:pt x="879" y="218"/>
                  <a:pt x="879" y="218"/>
                </a:cubicBezTo>
                <a:cubicBezTo>
                  <a:pt x="880" y="219"/>
                  <a:pt x="880" y="219"/>
                  <a:pt x="880" y="219"/>
                </a:cubicBezTo>
                <a:cubicBezTo>
                  <a:pt x="879" y="220"/>
                  <a:pt x="879" y="220"/>
                  <a:pt x="879" y="220"/>
                </a:cubicBezTo>
                <a:cubicBezTo>
                  <a:pt x="879" y="221"/>
                  <a:pt x="879" y="221"/>
                  <a:pt x="879" y="221"/>
                </a:cubicBezTo>
                <a:cubicBezTo>
                  <a:pt x="881" y="220"/>
                  <a:pt x="881" y="220"/>
                  <a:pt x="881" y="220"/>
                </a:cubicBezTo>
                <a:cubicBezTo>
                  <a:pt x="882" y="218"/>
                  <a:pt x="882" y="218"/>
                  <a:pt x="882" y="218"/>
                </a:cubicBezTo>
                <a:cubicBezTo>
                  <a:pt x="882" y="217"/>
                  <a:pt x="882" y="217"/>
                  <a:pt x="882" y="217"/>
                </a:cubicBezTo>
                <a:cubicBezTo>
                  <a:pt x="880" y="217"/>
                  <a:pt x="880" y="217"/>
                  <a:pt x="880" y="217"/>
                </a:cubicBezTo>
                <a:cubicBezTo>
                  <a:pt x="879" y="217"/>
                  <a:pt x="879" y="217"/>
                  <a:pt x="879" y="217"/>
                </a:cubicBezTo>
                <a:cubicBezTo>
                  <a:pt x="879" y="216"/>
                  <a:pt x="879" y="216"/>
                  <a:pt x="879" y="216"/>
                </a:cubicBezTo>
                <a:cubicBezTo>
                  <a:pt x="877" y="216"/>
                  <a:pt x="877" y="216"/>
                  <a:pt x="877" y="216"/>
                </a:cubicBezTo>
                <a:cubicBezTo>
                  <a:pt x="876" y="214"/>
                  <a:pt x="876" y="214"/>
                  <a:pt x="876" y="214"/>
                </a:cubicBezTo>
                <a:cubicBezTo>
                  <a:pt x="875" y="214"/>
                  <a:pt x="875" y="214"/>
                  <a:pt x="875" y="214"/>
                </a:cubicBezTo>
                <a:cubicBezTo>
                  <a:pt x="874" y="213"/>
                  <a:pt x="874" y="213"/>
                  <a:pt x="874" y="213"/>
                </a:cubicBezTo>
                <a:cubicBezTo>
                  <a:pt x="873" y="212"/>
                  <a:pt x="873" y="212"/>
                  <a:pt x="873" y="212"/>
                </a:cubicBezTo>
                <a:cubicBezTo>
                  <a:pt x="873" y="211"/>
                  <a:pt x="873" y="211"/>
                  <a:pt x="873" y="211"/>
                </a:cubicBezTo>
                <a:cubicBezTo>
                  <a:pt x="872" y="211"/>
                  <a:pt x="872" y="211"/>
                  <a:pt x="872" y="211"/>
                </a:cubicBezTo>
                <a:cubicBezTo>
                  <a:pt x="871" y="211"/>
                  <a:pt x="871" y="211"/>
                  <a:pt x="871" y="211"/>
                </a:cubicBezTo>
                <a:cubicBezTo>
                  <a:pt x="871" y="210"/>
                  <a:pt x="871" y="210"/>
                  <a:pt x="871" y="210"/>
                </a:cubicBezTo>
                <a:cubicBezTo>
                  <a:pt x="871" y="209"/>
                  <a:pt x="871" y="209"/>
                  <a:pt x="871" y="209"/>
                </a:cubicBezTo>
                <a:cubicBezTo>
                  <a:pt x="871" y="208"/>
                  <a:pt x="871" y="208"/>
                  <a:pt x="871" y="208"/>
                </a:cubicBezTo>
                <a:cubicBezTo>
                  <a:pt x="871" y="207"/>
                  <a:pt x="871" y="207"/>
                  <a:pt x="871" y="207"/>
                </a:cubicBezTo>
                <a:cubicBezTo>
                  <a:pt x="871" y="206"/>
                  <a:pt x="871" y="206"/>
                  <a:pt x="871" y="206"/>
                </a:cubicBezTo>
                <a:cubicBezTo>
                  <a:pt x="871" y="203"/>
                  <a:pt x="871" y="203"/>
                  <a:pt x="871" y="203"/>
                </a:cubicBezTo>
                <a:cubicBezTo>
                  <a:pt x="872" y="202"/>
                  <a:pt x="872" y="202"/>
                  <a:pt x="872" y="202"/>
                </a:cubicBezTo>
                <a:cubicBezTo>
                  <a:pt x="874" y="200"/>
                  <a:pt x="874" y="200"/>
                  <a:pt x="874" y="200"/>
                </a:cubicBezTo>
                <a:cubicBezTo>
                  <a:pt x="875" y="200"/>
                  <a:pt x="875" y="200"/>
                  <a:pt x="875" y="200"/>
                </a:cubicBezTo>
                <a:cubicBezTo>
                  <a:pt x="876" y="200"/>
                  <a:pt x="876" y="200"/>
                  <a:pt x="876" y="200"/>
                </a:cubicBezTo>
                <a:cubicBezTo>
                  <a:pt x="876" y="199"/>
                  <a:pt x="876" y="199"/>
                  <a:pt x="876" y="199"/>
                </a:cubicBezTo>
                <a:cubicBezTo>
                  <a:pt x="877" y="198"/>
                  <a:pt x="877" y="198"/>
                  <a:pt x="877" y="198"/>
                </a:cubicBezTo>
                <a:cubicBezTo>
                  <a:pt x="876" y="198"/>
                  <a:pt x="876" y="198"/>
                  <a:pt x="876" y="198"/>
                </a:cubicBezTo>
                <a:cubicBezTo>
                  <a:pt x="875" y="198"/>
                  <a:pt x="875" y="198"/>
                  <a:pt x="875" y="198"/>
                </a:cubicBezTo>
                <a:cubicBezTo>
                  <a:pt x="875" y="197"/>
                  <a:pt x="875" y="197"/>
                  <a:pt x="875" y="197"/>
                </a:cubicBezTo>
                <a:cubicBezTo>
                  <a:pt x="875" y="196"/>
                  <a:pt x="875" y="196"/>
                  <a:pt x="875" y="196"/>
                </a:cubicBezTo>
                <a:cubicBezTo>
                  <a:pt x="875" y="194"/>
                  <a:pt x="875" y="194"/>
                  <a:pt x="875" y="194"/>
                </a:cubicBezTo>
                <a:cubicBezTo>
                  <a:pt x="876" y="193"/>
                  <a:pt x="876" y="193"/>
                  <a:pt x="876" y="193"/>
                </a:cubicBezTo>
                <a:cubicBezTo>
                  <a:pt x="877" y="191"/>
                  <a:pt x="877" y="191"/>
                  <a:pt x="877" y="191"/>
                </a:cubicBezTo>
                <a:cubicBezTo>
                  <a:pt x="878" y="190"/>
                  <a:pt x="878" y="190"/>
                  <a:pt x="878" y="190"/>
                </a:cubicBezTo>
                <a:cubicBezTo>
                  <a:pt x="879" y="189"/>
                  <a:pt x="879" y="189"/>
                  <a:pt x="879" y="189"/>
                </a:cubicBezTo>
                <a:cubicBezTo>
                  <a:pt x="880" y="189"/>
                  <a:pt x="880" y="189"/>
                  <a:pt x="880" y="189"/>
                </a:cubicBezTo>
                <a:cubicBezTo>
                  <a:pt x="881" y="187"/>
                  <a:pt x="881" y="187"/>
                  <a:pt x="881" y="187"/>
                </a:cubicBezTo>
                <a:cubicBezTo>
                  <a:pt x="882" y="186"/>
                  <a:pt x="882" y="186"/>
                  <a:pt x="882" y="186"/>
                </a:cubicBezTo>
                <a:cubicBezTo>
                  <a:pt x="883" y="187"/>
                  <a:pt x="883" y="187"/>
                  <a:pt x="883" y="187"/>
                </a:cubicBezTo>
                <a:cubicBezTo>
                  <a:pt x="883" y="189"/>
                  <a:pt x="883" y="189"/>
                  <a:pt x="883" y="189"/>
                </a:cubicBezTo>
                <a:cubicBezTo>
                  <a:pt x="883" y="190"/>
                  <a:pt x="883" y="190"/>
                  <a:pt x="883" y="190"/>
                </a:cubicBezTo>
                <a:cubicBezTo>
                  <a:pt x="884" y="189"/>
                  <a:pt x="884" y="189"/>
                  <a:pt x="884" y="189"/>
                </a:cubicBezTo>
                <a:cubicBezTo>
                  <a:pt x="886" y="186"/>
                  <a:pt x="886" y="186"/>
                  <a:pt x="886" y="186"/>
                </a:cubicBezTo>
                <a:cubicBezTo>
                  <a:pt x="885" y="186"/>
                  <a:pt x="885" y="186"/>
                  <a:pt x="885" y="186"/>
                </a:cubicBezTo>
                <a:cubicBezTo>
                  <a:pt x="884" y="185"/>
                  <a:pt x="884" y="185"/>
                  <a:pt x="884" y="185"/>
                </a:cubicBezTo>
                <a:cubicBezTo>
                  <a:pt x="883" y="184"/>
                  <a:pt x="883" y="184"/>
                  <a:pt x="883" y="184"/>
                </a:cubicBezTo>
                <a:cubicBezTo>
                  <a:pt x="884" y="183"/>
                  <a:pt x="884" y="183"/>
                  <a:pt x="884" y="183"/>
                </a:cubicBezTo>
                <a:cubicBezTo>
                  <a:pt x="886" y="183"/>
                  <a:pt x="886" y="183"/>
                  <a:pt x="886" y="183"/>
                </a:cubicBezTo>
                <a:cubicBezTo>
                  <a:pt x="888" y="181"/>
                  <a:pt x="888" y="181"/>
                  <a:pt x="888" y="181"/>
                </a:cubicBezTo>
                <a:cubicBezTo>
                  <a:pt x="888" y="180"/>
                  <a:pt x="888" y="180"/>
                  <a:pt x="888" y="180"/>
                </a:cubicBezTo>
                <a:cubicBezTo>
                  <a:pt x="889" y="180"/>
                  <a:pt x="889" y="180"/>
                  <a:pt x="889" y="180"/>
                </a:cubicBezTo>
                <a:cubicBezTo>
                  <a:pt x="890" y="180"/>
                  <a:pt x="890" y="180"/>
                  <a:pt x="890" y="180"/>
                </a:cubicBezTo>
                <a:cubicBezTo>
                  <a:pt x="892" y="181"/>
                  <a:pt x="892" y="181"/>
                  <a:pt x="892" y="181"/>
                </a:cubicBezTo>
                <a:cubicBezTo>
                  <a:pt x="892" y="182"/>
                  <a:pt x="892" y="182"/>
                  <a:pt x="892" y="182"/>
                </a:cubicBezTo>
                <a:cubicBezTo>
                  <a:pt x="892" y="183"/>
                  <a:pt x="892" y="183"/>
                  <a:pt x="892" y="183"/>
                </a:cubicBezTo>
                <a:cubicBezTo>
                  <a:pt x="893" y="183"/>
                  <a:pt x="893" y="183"/>
                  <a:pt x="893" y="183"/>
                </a:cubicBezTo>
                <a:cubicBezTo>
                  <a:pt x="894" y="184"/>
                  <a:pt x="894" y="184"/>
                  <a:pt x="894" y="184"/>
                </a:cubicBezTo>
                <a:cubicBezTo>
                  <a:pt x="895" y="184"/>
                  <a:pt x="895" y="184"/>
                  <a:pt x="895" y="184"/>
                </a:cubicBezTo>
                <a:cubicBezTo>
                  <a:pt x="894" y="186"/>
                  <a:pt x="894" y="186"/>
                  <a:pt x="894" y="186"/>
                </a:cubicBezTo>
                <a:cubicBezTo>
                  <a:pt x="894" y="187"/>
                  <a:pt x="894" y="187"/>
                  <a:pt x="894" y="187"/>
                </a:cubicBezTo>
                <a:cubicBezTo>
                  <a:pt x="894" y="188"/>
                  <a:pt x="894" y="188"/>
                  <a:pt x="894" y="188"/>
                </a:cubicBezTo>
                <a:cubicBezTo>
                  <a:pt x="895" y="189"/>
                  <a:pt x="895" y="189"/>
                  <a:pt x="895" y="189"/>
                </a:cubicBezTo>
                <a:cubicBezTo>
                  <a:pt x="895" y="190"/>
                  <a:pt x="895" y="190"/>
                  <a:pt x="895" y="190"/>
                </a:cubicBezTo>
                <a:cubicBezTo>
                  <a:pt x="895" y="192"/>
                  <a:pt x="895" y="192"/>
                  <a:pt x="895" y="192"/>
                </a:cubicBezTo>
                <a:cubicBezTo>
                  <a:pt x="896" y="193"/>
                  <a:pt x="896" y="193"/>
                  <a:pt x="896" y="193"/>
                </a:cubicBezTo>
                <a:cubicBezTo>
                  <a:pt x="895" y="195"/>
                  <a:pt x="895" y="195"/>
                  <a:pt x="895" y="195"/>
                </a:cubicBezTo>
                <a:cubicBezTo>
                  <a:pt x="894" y="197"/>
                  <a:pt x="894" y="197"/>
                  <a:pt x="894" y="197"/>
                </a:cubicBezTo>
                <a:cubicBezTo>
                  <a:pt x="894" y="199"/>
                  <a:pt x="894" y="199"/>
                  <a:pt x="894" y="199"/>
                </a:cubicBezTo>
                <a:cubicBezTo>
                  <a:pt x="893" y="199"/>
                  <a:pt x="893" y="199"/>
                  <a:pt x="893" y="199"/>
                </a:cubicBezTo>
                <a:cubicBezTo>
                  <a:pt x="894" y="200"/>
                  <a:pt x="894" y="200"/>
                  <a:pt x="894" y="200"/>
                </a:cubicBezTo>
                <a:cubicBezTo>
                  <a:pt x="893" y="201"/>
                  <a:pt x="893" y="201"/>
                  <a:pt x="893" y="201"/>
                </a:cubicBezTo>
                <a:cubicBezTo>
                  <a:pt x="895" y="203"/>
                  <a:pt x="895" y="203"/>
                  <a:pt x="895" y="203"/>
                </a:cubicBezTo>
                <a:cubicBezTo>
                  <a:pt x="895" y="204"/>
                  <a:pt x="895" y="204"/>
                  <a:pt x="895" y="204"/>
                </a:cubicBezTo>
                <a:cubicBezTo>
                  <a:pt x="894" y="204"/>
                  <a:pt x="894" y="204"/>
                  <a:pt x="894" y="204"/>
                </a:cubicBezTo>
                <a:cubicBezTo>
                  <a:pt x="895" y="205"/>
                  <a:pt x="895" y="205"/>
                  <a:pt x="895" y="205"/>
                </a:cubicBezTo>
                <a:cubicBezTo>
                  <a:pt x="894" y="206"/>
                  <a:pt x="894" y="206"/>
                  <a:pt x="894" y="206"/>
                </a:cubicBezTo>
                <a:cubicBezTo>
                  <a:pt x="894" y="207"/>
                  <a:pt x="894" y="207"/>
                  <a:pt x="894" y="207"/>
                </a:cubicBezTo>
                <a:cubicBezTo>
                  <a:pt x="895" y="208"/>
                  <a:pt x="895" y="208"/>
                  <a:pt x="895" y="208"/>
                </a:cubicBezTo>
                <a:cubicBezTo>
                  <a:pt x="896" y="209"/>
                  <a:pt x="896" y="209"/>
                  <a:pt x="896" y="209"/>
                </a:cubicBezTo>
                <a:cubicBezTo>
                  <a:pt x="896" y="210"/>
                  <a:pt x="896" y="210"/>
                  <a:pt x="896" y="210"/>
                </a:cubicBezTo>
                <a:cubicBezTo>
                  <a:pt x="895" y="211"/>
                  <a:pt x="895" y="211"/>
                  <a:pt x="895" y="211"/>
                </a:cubicBezTo>
                <a:cubicBezTo>
                  <a:pt x="894" y="210"/>
                  <a:pt x="894" y="210"/>
                  <a:pt x="894" y="210"/>
                </a:cubicBezTo>
                <a:cubicBezTo>
                  <a:pt x="893" y="210"/>
                  <a:pt x="893" y="210"/>
                  <a:pt x="893" y="210"/>
                </a:cubicBezTo>
                <a:cubicBezTo>
                  <a:pt x="892" y="209"/>
                  <a:pt x="892" y="209"/>
                  <a:pt x="892" y="209"/>
                </a:cubicBezTo>
                <a:cubicBezTo>
                  <a:pt x="893" y="208"/>
                  <a:pt x="893" y="208"/>
                  <a:pt x="893" y="208"/>
                </a:cubicBezTo>
                <a:cubicBezTo>
                  <a:pt x="891" y="208"/>
                  <a:pt x="891" y="208"/>
                  <a:pt x="891" y="208"/>
                </a:cubicBezTo>
                <a:cubicBezTo>
                  <a:pt x="891" y="210"/>
                  <a:pt x="891" y="210"/>
                  <a:pt x="891" y="210"/>
                </a:cubicBezTo>
                <a:cubicBezTo>
                  <a:pt x="890" y="210"/>
                  <a:pt x="890" y="210"/>
                  <a:pt x="890" y="210"/>
                </a:cubicBezTo>
                <a:cubicBezTo>
                  <a:pt x="890" y="211"/>
                  <a:pt x="890" y="211"/>
                  <a:pt x="890" y="211"/>
                </a:cubicBezTo>
                <a:cubicBezTo>
                  <a:pt x="891" y="210"/>
                  <a:pt x="891" y="210"/>
                  <a:pt x="891" y="210"/>
                </a:cubicBezTo>
                <a:cubicBezTo>
                  <a:pt x="892" y="211"/>
                  <a:pt x="892" y="211"/>
                  <a:pt x="892" y="211"/>
                </a:cubicBezTo>
                <a:cubicBezTo>
                  <a:pt x="892" y="212"/>
                  <a:pt x="892" y="212"/>
                  <a:pt x="892" y="212"/>
                </a:cubicBezTo>
                <a:cubicBezTo>
                  <a:pt x="889" y="214"/>
                  <a:pt x="889" y="214"/>
                  <a:pt x="889" y="214"/>
                </a:cubicBezTo>
                <a:cubicBezTo>
                  <a:pt x="888" y="214"/>
                  <a:pt x="888" y="214"/>
                  <a:pt x="888" y="214"/>
                </a:cubicBezTo>
                <a:cubicBezTo>
                  <a:pt x="887" y="215"/>
                  <a:pt x="887" y="215"/>
                  <a:pt x="887" y="215"/>
                </a:cubicBezTo>
                <a:cubicBezTo>
                  <a:pt x="886" y="217"/>
                  <a:pt x="886" y="217"/>
                  <a:pt x="886" y="217"/>
                </a:cubicBezTo>
                <a:cubicBezTo>
                  <a:pt x="887" y="217"/>
                  <a:pt x="887" y="217"/>
                  <a:pt x="887" y="217"/>
                </a:cubicBezTo>
                <a:cubicBezTo>
                  <a:pt x="888" y="217"/>
                  <a:pt x="888" y="217"/>
                  <a:pt x="888" y="217"/>
                </a:cubicBezTo>
                <a:cubicBezTo>
                  <a:pt x="889" y="217"/>
                  <a:pt x="889" y="217"/>
                  <a:pt x="889" y="217"/>
                </a:cubicBezTo>
                <a:cubicBezTo>
                  <a:pt x="889" y="218"/>
                  <a:pt x="889" y="218"/>
                  <a:pt x="889" y="218"/>
                </a:cubicBezTo>
                <a:cubicBezTo>
                  <a:pt x="890" y="219"/>
                  <a:pt x="890" y="219"/>
                  <a:pt x="890" y="219"/>
                </a:cubicBezTo>
                <a:cubicBezTo>
                  <a:pt x="892" y="219"/>
                  <a:pt x="892" y="219"/>
                  <a:pt x="892" y="219"/>
                </a:cubicBezTo>
                <a:cubicBezTo>
                  <a:pt x="892" y="218"/>
                  <a:pt x="892" y="218"/>
                  <a:pt x="892" y="218"/>
                </a:cubicBezTo>
                <a:cubicBezTo>
                  <a:pt x="893" y="218"/>
                  <a:pt x="893" y="218"/>
                  <a:pt x="893" y="218"/>
                </a:cubicBezTo>
                <a:cubicBezTo>
                  <a:pt x="893" y="219"/>
                  <a:pt x="893" y="219"/>
                  <a:pt x="893" y="219"/>
                </a:cubicBezTo>
                <a:cubicBezTo>
                  <a:pt x="894" y="220"/>
                  <a:pt x="894" y="220"/>
                  <a:pt x="894" y="220"/>
                </a:cubicBezTo>
                <a:cubicBezTo>
                  <a:pt x="895" y="220"/>
                  <a:pt x="895" y="220"/>
                  <a:pt x="895" y="220"/>
                </a:cubicBezTo>
                <a:cubicBezTo>
                  <a:pt x="896" y="220"/>
                  <a:pt x="896" y="220"/>
                  <a:pt x="896" y="220"/>
                </a:cubicBezTo>
                <a:cubicBezTo>
                  <a:pt x="897" y="220"/>
                  <a:pt x="897" y="220"/>
                  <a:pt x="897" y="220"/>
                </a:cubicBezTo>
                <a:cubicBezTo>
                  <a:pt x="896" y="221"/>
                  <a:pt x="896" y="221"/>
                  <a:pt x="896" y="221"/>
                </a:cubicBezTo>
                <a:cubicBezTo>
                  <a:pt x="895" y="221"/>
                  <a:pt x="895" y="221"/>
                  <a:pt x="895" y="221"/>
                </a:cubicBezTo>
                <a:cubicBezTo>
                  <a:pt x="893" y="222"/>
                  <a:pt x="893" y="222"/>
                  <a:pt x="893" y="222"/>
                </a:cubicBezTo>
                <a:cubicBezTo>
                  <a:pt x="893" y="221"/>
                  <a:pt x="893" y="221"/>
                  <a:pt x="893" y="221"/>
                </a:cubicBezTo>
                <a:cubicBezTo>
                  <a:pt x="892" y="221"/>
                  <a:pt x="892" y="221"/>
                  <a:pt x="892" y="221"/>
                </a:cubicBezTo>
                <a:cubicBezTo>
                  <a:pt x="892" y="222"/>
                  <a:pt x="892" y="222"/>
                  <a:pt x="892" y="222"/>
                </a:cubicBezTo>
                <a:cubicBezTo>
                  <a:pt x="892" y="223"/>
                  <a:pt x="892" y="223"/>
                  <a:pt x="892" y="223"/>
                </a:cubicBezTo>
                <a:cubicBezTo>
                  <a:pt x="892" y="224"/>
                  <a:pt x="892" y="224"/>
                  <a:pt x="892" y="224"/>
                </a:cubicBezTo>
                <a:cubicBezTo>
                  <a:pt x="893" y="226"/>
                  <a:pt x="893" y="226"/>
                  <a:pt x="893" y="226"/>
                </a:cubicBezTo>
                <a:cubicBezTo>
                  <a:pt x="893" y="227"/>
                  <a:pt x="893" y="227"/>
                  <a:pt x="893" y="227"/>
                </a:cubicBezTo>
                <a:cubicBezTo>
                  <a:pt x="894" y="227"/>
                  <a:pt x="894" y="227"/>
                  <a:pt x="894" y="227"/>
                </a:cubicBezTo>
                <a:cubicBezTo>
                  <a:pt x="893" y="229"/>
                  <a:pt x="893" y="229"/>
                  <a:pt x="893" y="229"/>
                </a:cubicBezTo>
                <a:cubicBezTo>
                  <a:pt x="892" y="230"/>
                  <a:pt x="892" y="230"/>
                  <a:pt x="892" y="230"/>
                </a:cubicBezTo>
                <a:cubicBezTo>
                  <a:pt x="892" y="232"/>
                  <a:pt x="892" y="232"/>
                  <a:pt x="892" y="232"/>
                </a:cubicBezTo>
                <a:cubicBezTo>
                  <a:pt x="891" y="233"/>
                  <a:pt x="891" y="233"/>
                  <a:pt x="891" y="233"/>
                </a:cubicBezTo>
                <a:cubicBezTo>
                  <a:pt x="891" y="234"/>
                  <a:pt x="891" y="234"/>
                  <a:pt x="891" y="234"/>
                </a:cubicBezTo>
                <a:cubicBezTo>
                  <a:pt x="891" y="235"/>
                  <a:pt x="891" y="235"/>
                  <a:pt x="891" y="235"/>
                </a:cubicBezTo>
                <a:cubicBezTo>
                  <a:pt x="891" y="236"/>
                  <a:pt x="891" y="236"/>
                  <a:pt x="891" y="236"/>
                </a:cubicBezTo>
                <a:cubicBezTo>
                  <a:pt x="892" y="236"/>
                  <a:pt x="892" y="236"/>
                  <a:pt x="892" y="236"/>
                </a:cubicBezTo>
                <a:cubicBezTo>
                  <a:pt x="893" y="235"/>
                  <a:pt x="893" y="235"/>
                  <a:pt x="893" y="235"/>
                </a:cubicBezTo>
                <a:cubicBezTo>
                  <a:pt x="893" y="234"/>
                  <a:pt x="893" y="234"/>
                  <a:pt x="893" y="234"/>
                </a:cubicBezTo>
                <a:cubicBezTo>
                  <a:pt x="895" y="234"/>
                  <a:pt x="895" y="234"/>
                  <a:pt x="895" y="234"/>
                </a:cubicBezTo>
                <a:cubicBezTo>
                  <a:pt x="895" y="233"/>
                  <a:pt x="895" y="233"/>
                  <a:pt x="895" y="233"/>
                </a:cubicBezTo>
                <a:cubicBezTo>
                  <a:pt x="895" y="232"/>
                  <a:pt x="895" y="232"/>
                  <a:pt x="895" y="232"/>
                </a:cubicBezTo>
                <a:cubicBezTo>
                  <a:pt x="896" y="232"/>
                  <a:pt x="896" y="232"/>
                  <a:pt x="896" y="232"/>
                </a:cubicBezTo>
                <a:cubicBezTo>
                  <a:pt x="897" y="232"/>
                  <a:pt x="897" y="232"/>
                  <a:pt x="897" y="232"/>
                </a:cubicBezTo>
                <a:cubicBezTo>
                  <a:pt x="897" y="230"/>
                  <a:pt x="897" y="230"/>
                  <a:pt x="897" y="230"/>
                </a:cubicBezTo>
                <a:cubicBezTo>
                  <a:pt x="897" y="228"/>
                  <a:pt x="897" y="228"/>
                  <a:pt x="897" y="228"/>
                </a:cubicBezTo>
                <a:cubicBezTo>
                  <a:pt x="899" y="227"/>
                  <a:pt x="899" y="227"/>
                  <a:pt x="899" y="227"/>
                </a:cubicBezTo>
                <a:cubicBezTo>
                  <a:pt x="900" y="225"/>
                  <a:pt x="900" y="225"/>
                  <a:pt x="900" y="225"/>
                </a:cubicBezTo>
                <a:cubicBezTo>
                  <a:pt x="900" y="224"/>
                  <a:pt x="900" y="224"/>
                  <a:pt x="900" y="224"/>
                </a:cubicBezTo>
                <a:cubicBezTo>
                  <a:pt x="901" y="223"/>
                  <a:pt x="901" y="223"/>
                  <a:pt x="901" y="223"/>
                </a:cubicBezTo>
                <a:cubicBezTo>
                  <a:pt x="902" y="224"/>
                  <a:pt x="902" y="224"/>
                  <a:pt x="902" y="224"/>
                </a:cubicBezTo>
                <a:cubicBezTo>
                  <a:pt x="902" y="225"/>
                  <a:pt x="902" y="225"/>
                  <a:pt x="902" y="225"/>
                </a:cubicBezTo>
                <a:cubicBezTo>
                  <a:pt x="903" y="227"/>
                  <a:pt x="903" y="227"/>
                  <a:pt x="903" y="227"/>
                </a:cubicBezTo>
                <a:cubicBezTo>
                  <a:pt x="903" y="229"/>
                  <a:pt x="903" y="229"/>
                  <a:pt x="903" y="229"/>
                </a:cubicBezTo>
                <a:cubicBezTo>
                  <a:pt x="904" y="230"/>
                  <a:pt x="904" y="230"/>
                  <a:pt x="904" y="230"/>
                </a:cubicBezTo>
                <a:cubicBezTo>
                  <a:pt x="904" y="232"/>
                  <a:pt x="904" y="232"/>
                  <a:pt x="904" y="232"/>
                </a:cubicBezTo>
                <a:cubicBezTo>
                  <a:pt x="904" y="233"/>
                  <a:pt x="904" y="233"/>
                  <a:pt x="904" y="233"/>
                </a:cubicBezTo>
                <a:cubicBezTo>
                  <a:pt x="904" y="235"/>
                  <a:pt x="904" y="235"/>
                  <a:pt x="904" y="235"/>
                </a:cubicBezTo>
                <a:cubicBezTo>
                  <a:pt x="903" y="237"/>
                  <a:pt x="903" y="237"/>
                  <a:pt x="903" y="237"/>
                </a:cubicBezTo>
                <a:cubicBezTo>
                  <a:pt x="902" y="237"/>
                  <a:pt x="902" y="237"/>
                  <a:pt x="902" y="237"/>
                </a:cubicBezTo>
                <a:cubicBezTo>
                  <a:pt x="902" y="236"/>
                  <a:pt x="902" y="236"/>
                  <a:pt x="902" y="236"/>
                </a:cubicBezTo>
                <a:cubicBezTo>
                  <a:pt x="901" y="237"/>
                  <a:pt x="901" y="237"/>
                  <a:pt x="901" y="237"/>
                </a:cubicBezTo>
                <a:cubicBezTo>
                  <a:pt x="900" y="238"/>
                  <a:pt x="900" y="238"/>
                  <a:pt x="900" y="238"/>
                </a:cubicBezTo>
                <a:cubicBezTo>
                  <a:pt x="901" y="239"/>
                  <a:pt x="901" y="239"/>
                  <a:pt x="901" y="239"/>
                </a:cubicBezTo>
                <a:cubicBezTo>
                  <a:pt x="900" y="241"/>
                  <a:pt x="900" y="241"/>
                  <a:pt x="900" y="241"/>
                </a:cubicBezTo>
                <a:cubicBezTo>
                  <a:pt x="899" y="242"/>
                  <a:pt x="899" y="242"/>
                  <a:pt x="899" y="242"/>
                </a:cubicBezTo>
                <a:cubicBezTo>
                  <a:pt x="900" y="243"/>
                  <a:pt x="900" y="243"/>
                  <a:pt x="900" y="243"/>
                </a:cubicBezTo>
                <a:cubicBezTo>
                  <a:pt x="900" y="245"/>
                  <a:pt x="900" y="245"/>
                  <a:pt x="900" y="245"/>
                </a:cubicBezTo>
                <a:cubicBezTo>
                  <a:pt x="901" y="249"/>
                  <a:pt x="901" y="249"/>
                  <a:pt x="901" y="249"/>
                </a:cubicBezTo>
                <a:cubicBezTo>
                  <a:pt x="902" y="251"/>
                  <a:pt x="902" y="251"/>
                  <a:pt x="902" y="251"/>
                </a:cubicBezTo>
                <a:cubicBezTo>
                  <a:pt x="901" y="252"/>
                  <a:pt x="901" y="252"/>
                  <a:pt x="901" y="252"/>
                </a:cubicBezTo>
                <a:cubicBezTo>
                  <a:pt x="902" y="253"/>
                  <a:pt x="902" y="253"/>
                  <a:pt x="902" y="253"/>
                </a:cubicBezTo>
                <a:cubicBezTo>
                  <a:pt x="903" y="253"/>
                  <a:pt x="903" y="253"/>
                  <a:pt x="903" y="253"/>
                </a:cubicBezTo>
                <a:cubicBezTo>
                  <a:pt x="903" y="252"/>
                  <a:pt x="903" y="252"/>
                  <a:pt x="903" y="252"/>
                </a:cubicBezTo>
                <a:cubicBezTo>
                  <a:pt x="902" y="251"/>
                  <a:pt x="902" y="251"/>
                  <a:pt x="902" y="251"/>
                </a:cubicBezTo>
                <a:cubicBezTo>
                  <a:pt x="903" y="250"/>
                  <a:pt x="903" y="250"/>
                  <a:pt x="903" y="250"/>
                </a:cubicBezTo>
                <a:cubicBezTo>
                  <a:pt x="904" y="250"/>
                  <a:pt x="904" y="250"/>
                  <a:pt x="904" y="250"/>
                </a:cubicBezTo>
                <a:cubicBezTo>
                  <a:pt x="905" y="252"/>
                  <a:pt x="905" y="252"/>
                  <a:pt x="905" y="252"/>
                </a:cubicBezTo>
                <a:cubicBezTo>
                  <a:pt x="906" y="250"/>
                  <a:pt x="906" y="250"/>
                  <a:pt x="906" y="250"/>
                </a:cubicBezTo>
                <a:cubicBezTo>
                  <a:pt x="907" y="249"/>
                  <a:pt x="907" y="249"/>
                  <a:pt x="907" y="249"/>
                </a:cubicBezTo>
                <a:cubicBezTo>
                  <a:pt x="907" y="247"/>
                  <a:pt x="907" y="247"/>
                  <a:pt x="907" y="247"/>
                </a:cubicBezTo>
                <a:cubicBezTo>
                  <a:pt x="908" y="247"/>
                  <a:pt x="908" y="247"/>
                  <a:pt x="908" y="247"/>
                </a:cubicBezTo>
                <a:cubicBezTo>
                  <a:pt x="909" y="245"/>
                  <a:pt x="909" y="245"/>
                  <a:pt x="909" y="245"/>
                </a:cubicBezTo>
                <a:cubicBezTo>
                  <a:pt x="910" y="244"/>
                  <a:pt x="910" y="244"/>
                  <a:pt x="910" y="244"/>
                </a:cubicBezTo>
                <a:cubicBezTo>
                  <a:pt x="912" y="242"/>
                  <a:pt x="912" y="242"/>
                  <a:pt x="912" y="242"/>
                </a:cubicBezTo>
                <a:cubicBezTo>
                  <a:pt x="914" y="240"/>
                  <a:pt x="914" y="240"/>
                  <a:pt x="914" y="240"/>
                </a:cubicBezTo>
                <a:cubicBezTo>
                  <a:pt x="915" y="237"/>
                  <a:pt x="915" y="237"/>
                  <a:pt x="915" y="237"/>
                </a:cubicBezTo>
                <a:cubicBezTo>
                  <a:pt x="916" y="235"/>
                  <a:pt x="916" y="235"/>
                  <a:pt x="916" y="235"/>
                </a:cubicBezTo>
                <a:cubicBezTo>
                  <a:pt x="917" y="234"/>
                  <a:pt x="917" y="234"/>
                  <a:pt x="917" y="234"/>
                </a:cubicBezTo>
                <a:cubicBezTo>
                  <a:pt x="918" y="236"/>
                  <a:pt x="918" y="236"/>
                  <a:pt x="918" y="236"/>
                </a:cubicBezTo>
                <a:cubicBezTo>
                  <a:pt x="919" y="235"/>
                  <a:pt x="919" y="235"/>
                  <a:pt x="919" y="235"/>
                </a:cubicBezTo>
                <a:cubicBezTo>
                  <a:pt x="921" y="235"/>
                  <a:pt x="921" y="235"/>
                  <a:pt x="921" y="235"/>
                </a:cubicBezTo>
                <a:cubicBezTo>
                  <a:pt x="921" y="234"/>
                  <a:pt x="921" y="234"/>
                  <a:pt x="921" y="234"/>
                </a:cubicBezTo>
                <a:cubicBezTo>
                  <a:pt x="920" y="234"/>
                  <a:pt x="920" y="234"/>
                  <a:pt x="920" y="234"/>
                </a:cubicBezTo>
                <a:cubicBezTo>
                  <a:pt x="919" y="233"/>
                  <a:pt x="919" y="233"/>
                  <a:pt x="919" y="233"/>
                </a:cubicBezTo>
                <a:cubicBezTo>
                  <a:pt x="921" y="232"/>
                  <a:pt x="921" y="232"/>
                  <a:pt x="921" y="232"/>
                </a:cubicBezTo>
                <a:cubicBezTo>
                  <a:pt x="921" y="233"/>
                  <a:pt x="921" y="233"/>
                  <a:pt x="921" y="233"/>
                </a:cubicBezTo>
                <a:cubicBezTo>
                  <a:pt x="922" y="233"/>
                  <a:pt x="922" y="233"/>
                  <a:pt x="922" y="233"/>
                </a:cubicBezTo>
                <a:cubicBezTo>
                  <a:pt x="923" y="233"/>
                  <a:pt x="923" y="233"/>
                  <a:pt x="923" y="233"/>
                </a:cubicBezTo>
                <a:cubicBezTo>
                  <a:pt x="923" y="232"/>
                  <a:pt x="923" y="232"/>
                  <a:pt x="923" y="232"/>
                </a:cubicBezTo>
                <a:cubicBezTo>
                  <a:pt x="923" y="231"/>
                  <a:pt x="923" y="231"/>
                  <a:pt x="923" y="231"/>
                </a:cubicBezTo>
                <a:cubicBezTo>
                  <a:pt x="922" y="231"/>
                  <a:pt x="922" y="231"/>
                  <a:pt x="922" y="231"/>
                </a:cubicBezTo>
                <a:cubicBezTo>
                  <a:pt x="922" y="230"/>
                  <a:pt x="922" y="230"/>
                  <a:pt x="922" y="230"/>
                </a:cubicBezTo>
                <a:cubicBezTo>
                  <a:pt x="921" y="230"/>
                  <a:pt x="921" y="230"/>
                  <a:pt x="921" y="230"/>
                </a:cubicBezTo>
                <a:cubicBezTo>
                  <a:pt x="921" y="228"/>
                  <a:pt x="921" y="228"/>
                  <a:pt x="921" y="228"/>
                </a:cubicBezTo>
                <a:cubicBezTo>
                  <a:pt x="922" y="227"/>
                  <a:pt x="922" y="227"/>
                  <a:pt x="922" y="227"/>
                </a:cubicBezTo>
                <a:cubicBezTo>
                  <a:pt x="922" y="226"/>
                  <a:pt x="922" y="226"/>
                  <a:pt x="922" y="226"/>
                </a:cubicBezTo>
                <a:cubicBezTo>
                  <a:pt x="923" y="226"/>
                  <a:pt x="923" y="226"/>
                  <a:pt x="923" y="226"/>
                </a:cubicBezTo>
                <a:cubicBezTo>
                  <a:pt x="922" y="225"/>
                  <a:pt x="922" y="225"/>
                  <a:pt x="922" y="225"/>
                </a:cubicBezTo>
                <a:cubicBezTo>
                  <a:pt x="922" y="224"/>
                  <a:pt x="922" y="224"/>
                  <a:pt x="922" y="224"/>
                </a:cubicBezTo>
                <a:cubicBezTo>
                  <a:pt x="923" y="223"/>
                  <a:pt x="923" y="223"/>
                  <a:pt x="923" y="223"/>
                </a:cubicBezTo>
                <a:cubicBezTo>
                  <a:pt x="923" y="222"/>
                  <a:pt x="923" y="222"/>
                  <a:pt x="923" y="222"/>
                </a:cubicBezTo>
                <a:cubicBezTo>
                  <a:pt x="924" y="222"/>
                  <a:pt x="924" y="222"/>
                  <a:pt x="924" y="222"/>
                </a:cubicBezTo>
                <a:cubicBezTo>
                  <a:pt x="924" y="221"/>
                  <a:pt x="924" y="221"/>
                  <a:pt x="924" y="221"/>
                </a:cubicBezTo>
                <a:cubicBezTo>
                  <a:pt x="923" y="221"/>
                  <a:pt x="923" y="221"/>
                  <a:pt x="923" y="221"/>
                </a:cubicBezTo>
                <a:cubicBezTo>
                  <a:pt x="923" y="220"/>
                  <a:pt x="923" y="220"/>
                  <a:pt x="923" y="220"/>
                </a:cubicBezTo>
                <a:cubicBezTo>
                  <a:pt x="924" y="220"/>
                  <a:pt x="924" y="220"/>
                  <a:pt x="924" y="220"/>
                </a:cubicBezTo>
                <a:cubicBezTo>
                  <a:pt x="925" y="221"/>
                  <a:pt x="925" y="221"/>
                  <a:pt x="925" y="221"/>
                </a:cubicBezTo>
                <a:cubicBezTo>
                  <a:pt x="926" y="221"/>
                  <a:pt x="926" y="221"/>
                  <a:pt x="926" y="221"/>
                </a:cubicBezTo>
                <a:cubicBezTo>
                  <a:pt x="927" y="221"/>
                  <a:pt x="927" y="221"/>
                  <a:pt x="927" y="221"/>
                </a:cubicBezTo>
                <a:cubicBezTo>
                  <a:pt x="929" y="221"/>
                  <a:pt x="929" y="221"/>
                  <a:pt x="929" y="221"/>
                </a:cubicBezTo>
                <a:cubicBezTo>
                  <a:pt x="930" y="222"/>
                  <a:pt x="930" y="222"/>
                  <a:pt x="930" y="222"/>
                </a:cubicBezTo>
                <a:cubicBezTo>
                  <a:pt x="930" y="223"/>
                  <a:pt x="930" y="223"/>
                  <a:pt x="930" y="223"/>
                </a:cubicBezTo>
                <a:cubicBezTo>
                  <a:pt x="931" y="224"/>
                  <a:pt x="931" y="224"/>
                  <a:pt x="931" y="224"/>
                </a:cubicBezTo>
                <a:cubicBezTo>
                  <a:pt x="933" y="225"/>
                  <a:pt x="933" y="225"/>
                  <a:pt x="933" y="225"/>
                </a:cubicBezTo>
                <a:cubicBezTo>
                  <a:pt x="934" y="224"/>
                  <a:pt x="934" y="224"/>
                  <a:pt x="934" y="224"/>
                </a:cubicBezTo>
                <a:cubicBezTo>
                  <a:pt x="936" y="225"/>
                  <a:pt x="936" y="225"/>
                  <a:pt x="936" y="225"/>
                </a:cubicBezTo>
                <a:cubicBezTo>
                  <a:pt x="937" y="226"/>
                  <a:pt x="937" y="226"/>
                  <a:pt x="937" y="226"/>
                </a:cubicBezTo>
                <a:cubicBezTo>
                  <a:pt x="937" y="227"/>
                  <a:pt x="937" y="227"/>
                  <a:pt x="937" y="227"/>
                </a:cubicBezTo>
                <a:cubicBezTo>
                  <a:pt x="936" y="228"/>
                  <a:pt x="936" y="228"/>
                  <a:pt x="936" y="228"/>
                </a:cubicBezTo>
                <a:cubicBezTo>
                  <a:pt x="936" y="227"/>
                  <a:pt x="936" y="227"/>
                  <a:pt x="936" y="227"/>
                </a:cubicBezTo>
                <a:cubicBezTo>
                  <a:pt x="935" y="227"/>
                  <a:pt x="935" y="227"/>
                  <a:pt x="935" y="227"/>
                </a:cubicBezTo>
                <a:cubicBezTo>
                  <a:pt x="935" y="228"/>
                  <a:pt x="935" y="228"/>
                  <a:pt x="935" y="228"/>
                </a:cubicBezTo>
                <a:cubicBezTo>
                  <a:pt x="938" y="229"/>
                  <a:pt x="938" y="229"/>
                  <a:pt x="938" y="229"/>
                </a:cubicBezTo>
                <a:cubicBezTo>
                  <a:pt x="938" y="231"/>
                  <a:pt x="938" y="231"/>
                  <a:pt x="938" y="231"/>
                </a:cubicBezTo>
                <a:cubicBezTo>
                  <a:pt x="940" y="231"/>
                  <a:pt x="940" y="231"/>
                  <a:pt x="940" y="231"/>
                </a:cubicBezTo>
                <a:cubicBezTo>
                  <a:pt x="941" y="232"/>
                  <a:pt x="941" y="232"/>
                  <a:pt x="941" y="232"/>
                </a:cubicBezTo>
                <a:cubicBezTo>
                  <a:pt x="941" y="233"/>
                  <a:pt x="941" y="233"/>
                  <a:pt x="941" y="233"/>
                </a:cubicBezTo>
                <a:cubicBezTo>
                  <a:pt x="941" y="234"/>
                  <a:pt x="941" y="234"/>
                  <a:pt x="941" y="234"/>
                </a:cubicBezTo>
                <a:cubicBezTo>
                  <a:pt x="939" y="236"/>
                  <a:pt x="939" y="236"/>
                  <a:pt x="939" y="236"/>
                </a:cubicBezTo>
                <a:cubicBezTo>
                  <a:pt x="938" y="236"/>
                  <a:pt x="938" y="236"/>
                  <a:pt x="938" y="236"/>
                </a:cubicBezTo>
                <a:cubicBezTo>
                  <a:pt x="939" y="237"/>
                  <a:pt x="939" y="237"/>
                  <a:pt x="939" y="237"/>
                </a:cubicBezTo>
                <a:cubicBezTo>
                  <a:pt x="939" y="238"/>
                  <a:pt x="939" y="238"/>
                  <a:pt x="939" y="238"/>
                </a:cubicBezTo>
                <a:cubicBezTo>
                  <a:pt x="940" y="238"/>
                  <a:pt x="940" y="238"/>
                  <a:pt x="940" y="238"/>
                </a:cubicBezTo>
                <a:cubicBezTo>
                  <a:pt x="939" y="239"/>
                  <a:pt x="939" y="239"/>
                  <a:pt x="939" y="239"/>
                </a:cubicBezTo>
                <a:cubicBezTo>
                  <a:pt x="940" y="240"/>
                  <a:pt x="940" y="240"/>
                  <a:pt x="940" y="240"/>
                </a:cubicBezTo>
                <a:cubicBezTo>
                  <a:pt x="938" y="241"/>
                  <a:pt x="938" y="241"/>
                  <a:pt x="938" y="241"/>
                </a:cubicBezTo>
                <a:cubicBezTo>
                  <a:pt x="936" y="241"/>
                  <a:pt x="936" y="241"/>
                  <a:pt x="936" y="241"/>
                </a:cubicBezTo>
                <a:cubicBezTo>
                  <a:pt x="935" y="242"/>
                  <a:pt x="935" y="242"/>
                  <a:pt x="935" y="242"/>
                </a:cubicBezTo>
                <a:cubicBezTo>
                  <a:pt x="934" y="242"/>
                  <a:pt x="934" y="242"/>
                  <a:pt x="934" y="242"/>
                </a:cubicBezTo>
                <a:cubicBezTo>
                  <a:pt x="933" y="240"/>
                  <a:pt x="933" y="240"/>
                  <a:pt x="933" y="240"/>
                </a:cubicBezTo>
                <a:cubicBezTo>
                  <a:pt x="932" y="240"/>
                  <a:pt x="932" y="240"/>
                  <a:pt x="932" y="240"/>
                </a:cubicBezTo>
                <a:cubicBezTo>
                  <a:pt x="931" y="240"/>
                  <a:pt x="931" y="240"/>
                  <a:pt x="931" y="240"/>
                </a:cubicBezTo>
                <a:cubicBezTo>
                  <a:pt x="931" y="241"/>
                  <a:pt x="931" y="241"/>
                  <a:pt x="931" y="241"/>
                </a:cubicBezTo>
                <a:cubicBezTo>
                  <a:pt x="932" y="242"/>
                  <a:pt x="932" y="242"/>
                  <a:pt x="932" y="242"/>
                </a:cubicBezTo>
                <a:cubicBezTo>
                  <a:pt x="932" y="243"/>
                  <a:pt x="932" y="243"/>
                  <a:pt x="932" y="243"/>
                </a:cubicBezTo>
                <a:cubicBezTo>
                  <a:pt x="931" y="244"/>
                  <a:pt x="931" y="244"/>
                  <a:pt x="931" y="244"/>
                </a:cubicBezTo>
                <a:cubicBezTo>
                  <a:pt x="932" y="244"/>
                  <a:pt x="932" y="244"/>
                  <a:pt x="932" y="244"/>
                </a:cubicBezTo>
                <a:cubicBezTo>
                  <a:pt x="931" y="245"/>
                  <a:pt x="931" y="245"/>
                  <a:pt x="931" y="245"/>
                </a:cubicBezTo>
                <a:cubicBezTo>
                  <a:pt x="931" y="246"/>
                  <a:pt x="931" y="246"/>
                  <a:pt x="931" y="246"/>
                </a:cubicBezTo>
                <a:cubicBezTo>
                  <a:pt x="931" y="248"/>
                  <a:pt x="931" y="248"/>
                  <a:pt x="931" y="248"/>
                </a:cubicBezTo>
                <a:cubicBezTo>
                  <a:pt x="931" y="249"/>
                  <a:pt x="931" y="249"/>
                  <a:pt x="931" y="249"/>
                </a:cubicBezTo>
                <a:cubicBezTo>
                  <a:pt x="932" y="250"/>
                  <a:pt x="932" y="250"/>
                  <a:pt x="932" y="250"/>
                </a:cubicBezTo>
                <a:cubicBezTo>
                  <a:pt x="932" y="251"/>
                  <a:pt x="932" y="251"/>
                  <a:pt x="932" y="251"/>
                </a:cubicBezTo>
                <a:cubicBezTo>
                  <a:pt x="933" y="254"/>
                  <a:pt x="933" y="254"/>
                  <a:pt x="933" y="254"/>
                </a:cubicBezTo>
                <a:cubicBezTo>
                  <a:pt x="933" y="255"/>
                  <a:pt x="933" y="255"/>
                  <a:pt x="933" y="255"/>
                </a:cubicBezTo>
                <a:cubicBezTo>
                  <a:pt x="933" y="256"/>
                  <a:pt x="933" y="256"/>
                  <a:pt x="933" y="256"/>
                </a:cubicBezTo>
                <a:cubicBezTo>
                  <a:pt x="931" y="258"/>
                  <a:pt x="931" y="258"/>
                  <a:pt x="931" y="258"/>
                </a:cubicBezTo>
                <a:cubicBezTo>
                  <a:pt x="931" y="259"/>
                  <a:pt x="931" y="259"/>
                  <a:pt x="931" y="259"/>
                </a:cubicBezTo>
                <a:cubicBezTo>
                  <a:pt x="931" y="260"/>
                  <a:pt x="931" y="260"/>
                  <a:pt x="931" y="260"/>
                </a:cubicBezTo>
                <a:cubicBezTo>
                  <a:pt x="930" y="259"/>
                  <a:pt x="930" y="259"/>
                  <a:pt x="930" y="259"/>
                </a:cubicBezTo>
                <a:cubicBezTo>
                  <a:pt x="928" y="259"/>
                  <a:pt x="928" y="259"/>
                  <a:pt x="928" y="259"/>
                </a:cubicBezTo>
                <a:cubicBezTo>
                  <a:pt x="927" y="260"/>
                  <a:pt x="927" y="260"/>
                  <a:pt x="927" y="260"/>
                </a:cubicBezTo>
                <a:cubicBezTo>
                  <a:pt x="926" y="261"/>
                  <a:pt x="926" y="261"/>
                  <a:pt x="926" y="261"/>
                </a:cubicBezTo>
                <a:cubicBezTo>
                  <a:pt x="925" y="262"/>
                  <a:pt x="925" y="262"/>
                  <a:pt x="925" y="262"/>
                </a:cubicBezTo>
                <a:cubicBezTo>
                  <a:pt x="925" y="263"/>
                  <a:pt x="925" y="263"/>
                  <a:pt x="925" y="263"/>
                </a:cubicBezTo>
                <a:cubicBezTo>
                  <a:pt x="924" y="263"/>
                  <a:pt x="924" y="263"/>
                  <a:pt x="924" y="263"/>
                </a:cubicBezTo>
                <a:cubicBezTo>
                  <a:pt x="922" y="265"/>
                  <a:pt x="922" y="265"/>
                  <a:pt x="922" y="265"/>
                </a:cubicBezTo>
                <a:cubicBezTo>
                  <a:pt x="921" y="265"/>
                  <a:pt x="921" y="265"/>
                  <a:pt x="921" y="265"/>
                </a:cubicBezTo>
                <a:cubicBezTo>
                  <a:pt x="920" y="265"/>
                  <a:pt x="920" y="265"/>
                  <a:pt x="920" y="265"/>
                </a:cubicBezTo>
                <a:cubicBezTo>
                  <a:pt x="920" y="266"/>
                  <a:pt x="920" y="266"/>
                  <a:pt x="920" y="266"/>
                </a:cubicBezTo>
                <a:cubicBezTo>
                  <a:pt x="916" y="267"/>
                  <a:pt x="916" y="267"/>
                  <a:pt x="916" y="267"/>
                </a:cubicBezTo>
                <a:cubicBezTo>
                  <a:pt x="916" y="266"/>
                  <a:pt x="916" y="266"/>
                  <a:pt x="916" y="266"/>
                </a:cubicBezTo>
                <a:cubicBezTo>
                  <a:pt x="916" y="265"/>
                  <a:pt x="916" y="265"/>
                  <a:pt x="916" y="265"/>
                </a:cubicBezTo>
                <a:cubicBezTo>
                  <a:pt x="916" y="264"/>
                  <a:pt x="916" y="264"/>
                  <a:pt x="916" y="264"/>
                </a:cubicBezTo>
                <a:cubicBezTo>
                  <a:pt x="915" y="263"/>
                  <a:pt x="915" y="263"/>
                  <a:pt x="915" y="263"/>
                </a:cubicBezTo>
                <a:cubicBezTo>
                  <a:pt x="915" y="262"/>
                  <a:pt x="915" y="262"/>
                  <a:pt x="915" y="262"/>
                </a:cubicBezTo>
                <a:cubicBezTo>
                  <a:pt x="916" y="262"/>
                  <a:pt x="916" y="262"/>
                  <a:pt x="916" y="262"/>
                </a:cubicBezTo>
                <a:cubicBezTo>
                  <a:pt x="916" y="261"/>
                  <a:pt x="916" y="261"/>
                  <a:pt x="916" y="261"/>
                </a:cubicBezTo>
                <a:cubicBezTo>
                  <a:pt x="915" y="261"/>
                  <a:pt x="915" y="261"/>
                  <a:pt x="915" y="261"/>
                </a:cubicBezTo>
                <a:cubicBezTo>
                  <a:pt x="915" y="258"/>
                  <a:pt x="915" y="258"/>
                  <a:pt x="915" y="258"/>
                </a:cubicBezTo>
                <a:cubicBezTo>
                  <a:pt x="914" y="258"/>
                  <a:pt x="914" y="258"/>
                  <a:pt x="914" y="258"/>
                </a:cubicBezTo>
                <a:cubicBezTo>
                  <a:pt x="914" y="257"/>
                  <a:pt x="914" y="257"/>
                  <a:pt x="914" y="257"/>
                </a:cubicBezTo>
                <a:cubicBezTo>
                  <a:pt x="912" y="257"/>
                  <a:pt x="912" y="257"/>
                  <a:pt x="912" y="257"/>
                </a:cubicBezTo>
                <a:cubicBezTo>
                  <a:pt x="911" y="257"/>
                  <a:pt x="911" y="257"/>
                  <a:pt x="911" y="257"/>
                </a:cubicBezTo>
                <a:cubicBezTo>
                  <a:pt x="910" y="259"/>
                  <a:pt x="910" y="259"/>
                  <a:pt x="910" y="259"/>
                </a:cubicBezTo>
                <a:cubicBezTo>
                  <a:pt x="912" y="258"/>
                  <a:pt x="912" y="258"/>
                  <a:pt x="912" y="258"/>
                </a:cubicBezTo>
                <a:cubicBezTo>
                  <a:pt x="913" y="258"/>
                  <a:pt x="913" y="258"/>
                  <a:pt x="913" y="258"/>
                </a:cubicBezTo>
                <a:cubicBezTo>
                  <a:pt x="913" y="259"/>
                  <a:pt x="913" y="259"/>
                  <a:pt x="913" y="259"/>
                </a:cubicBezTo>
                <a:cubicBezTo>
                  <a:pt x="914" y="260"/>
                  <a:pt x="914" y="260"/>
                  <a:pt x="914" y="260"/>
                </a:cubicBezTo>
                <a:cubicBezTo>
                  <a:pt x="914" y="262"/>
                  <a:pt x="914" y="262"/>
                  <a:pt x="914" y="262"/>
                </a:cubicBezTo>
                <a:cubicBezTo>
                  <a:pt x="914" y="263"/>
                  <a:pt x="914" y="263"/>
                  <a:pt x="914" y="263"/>
                </a:cubicBezTo>
                <a:cubicBezTo>
                  <a:pt x="915" y="264"/>
                  <a:pt x="915" y="264"/>
                  <a:pt x="915" y="264"/>
                </a:cubicBezTo>
                <a:cubicBezTo>
                  <a:pt x="915" y="266"/>
                  <a:pt x="915" y="266"/>
                  <a:pt x="915" y="266"/>
                </a:cubicBezTo>
                <a:cubicBezTo>
                  <a:pt x="914" y="266"/>
                  <a:pt x="914" y="266"/>
                  <a:pt x="914" y="266"/>
                </a:cubicBezTo>
                <a:cubicBezTo>
                  <a:pt x="915" y="267"/>
                  <a:pt x="915" y="267"/>
                  <a:pt x="915" y="267"/>
                </a:cubicBezTo>
                <a:cubicBezTo>
                  <a:pt x="915" y="268"/>
                  <a:pt x="915" y="268"/>
                  <a:pt x="915" y="268"/>
                </a:cubicBezTo>
                <a:cubicBezTo>
                  <a:pt x="914" y="268"/>
                  <a:pt x="914" y="268"/>
                  <a:pt x="914" y="268"/>
                </a:cubicBezTo>
                <a:cubicBezTo>
                  <a:pt x="912" y="266"/>
                  <a:pt x="912" y="266"/>
                  <a:pt x="912" y="266"/>
                </a:cubicBezTo>
                <a:cubicBezTo>
                  <a:pt x="912" y="265"/>
                  <a:pt x="912" y="265"/>
                  <a:pt x="912" y="265"/>
                </a:cubicBezTo>
                <a:cubicBezTo>
                  <a:pt x="911" y="265"/>
                  <a:pt x="911" y="265"/>
                  <a:pt x="911" y="265"/>
                </a:cubicBezTo>
                <a:cubicBezTo>
                  <a:pt x="911" y="264"/>
                  <a:pt x="911" y="264"/>
                  <a:pt x="911" y="264"/>
                </a:cubicBezTo>
                <a:cubicBezTo>
                  <a:pt x="910" y="265"/>
                  <a:pt x="910" y="265"/>
                  <a:pt x="910" y="265"/>
                </a:cubicBezTo>
                <a:cubicBezTo>
                  <a:pt x="911" y="266"/>
                  <a:pt x="911" y="266"/>
                  <a:pt x="911" y="266"/>
                </a:cubicBezTo>
                <a:cubicBezTo>
                  <a:pt x="911" y="267"/>
                  <a:pt x="911" y="267"/>
                  <a:pt x="911" y="267"/>
                </a:cubicBezTo>
                <a:cubicBezTo>
                  <a:pt x="910" y="266"/>
                  <a:pt x="910" y="266"/>
                  <a:pt x="910" y="266"/>
                </a:cubicBezTo>
                <a:cubicBezTo>
                  <a:pt x="909" y="266"/>
                  <a:pt x="909" y="266"/>
                  <a:pt x="909" y="266"/>
                </a:cubicBezTo>
                <a:cubicBezTo>
                  <a:pt x="908" y="265"/>
                  <a:pt x="908" y="265"/>
                  <a:pt x="908" y="265"/>
                </a:cubicBezTo>
                <a:cubicBezTo>
                  <a:pt x="908" y="263"/>
                  <a:pt x="908" y="263"/>
                  <a:pt x="908" y="263"/>
                </a:cubicBezTo>
                <a:cubicBezTo>
                  <a:pt x="908" y="262"/>
                  <a:pt x="908" y="262"/>
                  <a:pt x="908" y="262"/>
                </a:cubicBezTo>
                <a:cubicBezTo>
                  <a:pt x="906" y="262"/>
                  <a:pt x="906" y="262"/>
                  <a:pt x="906" y="262"/>
                </a:cubicBezTo>
                <a:cubicBezTo>
                  <a:pt x="904" y="262"/>
                  <a:pt x="904" y="262"/>
                  <a:pt x="904" y="262"/>
                </a:cubicBezTo>
                <a:cubicBezTo>
                  <a:pt x="903" y="262"/>
                  <a:pt x="903" y="262"/>
                  <a:pt x="903" y="262"/>
                </a:cubicBezTo>
                <a:cubicBezTo>
                  <a:pt x="902" y="262"/>
                  <a:pt x="902" y="262"/>
                  <a:pt x="902" y="262"/>
                </a:cubicBezTo>
                <a:cubicBezTo>
                  <a:pt x="901" y="261"/>
                  <a:pt x="901" y="261"/>
                  <a:pt x="901" y="261"/>
                </a:cubicBezTo>
                <a:cubicBezTo>
                  <a:pt x="901" y="262"/>
                  <a:pt x="901" y="262"/>
                  <a:pt x="901" y="262"/>
                </a:cubicBezTo>
                <a:cubicBezTo>
                  <a:pt x="901" y="263"/>
                  <a:pt x="901" y="263"/>
                  <a:pt x="901" y="263"/>
                </a:cubicBezTo>
                <a:cubicBezTo>
                  <a:pt x="901" y="264"/>
                  <a:pt x="901" y="264"/>
                  <a:pt x="901" y="264"/>
                </a:cubicBezTo>
                <a:cubicBezTo>
                  <a:pt x="901" y="265"/>
                  <a:pt x="901" y="265"/>
                  <a:pt x="901" y="265"/>
                </a:cubicBezTo>
                <a:cubicBezTo>
                  <a:pt x="903" y="266"/>
                  <a:pt x="903" y="266"/>
                  <a:pt x="903" y="266"/>
                </a:cubicBezTo>
                <a:cubicBezTo>
                  <a:pt x="903" y="267"/>
                  <a:pt x="903" y="267"/>
                  <a:pt x="903" y="267"/>
                </a:cubicBezTo>
                <a:cubicBezTo>
                  <a:pt x="902" y="268"/>
                  <a:pt x="902" y="268"/>
                  <a:pt x="902" y="268"/>
                </a:cubicBezTo>
                <a:cubicBezTo>
                  <a:pt x="902" y="269"/>
                  <a:pt x="902" y="269"/>
                  <a:pt x="902" y="269"/>
                </a:cubicBezTo>
                <a:cubicBezTo>
                  <a:pt x="899" y="271"/>
                  <a:pt x="899" y="271"/>
                  <a:pt x="899" y="271"/>
                </a:cubicBezTo>
                <a:cubicBezTo>
                  <a:pt x="897" y="272"/>
                  <a:pt x="897" y="272"/>
                  <a:pt x="897" y="272"/>
                </a:cubicBezTo>
                <a:cubicBezTo>
                  <a:pt x="896" y="274"/>
                  <a:pt x="896" y="274"/>
                  <a:pt x="896" y="274"/>
                </a:cubicBezTo>
                <a:cubicBezTo>
                  <a:pt x="895" y="274"/>
                  <a:pt x="895" y="274"/>
                  <a:pt x="895" y="274"/>
                </a:cubicBezTo>
                <a:cubicBezTo>
                  <a:pt x="894" y="274"/>
                  <a:pt x="894" y="274"/>
                  <a:pt x="894" y="274"/>
                </a:cubicBezTo>
                <a:cubicBezTo>
                  <a:pt x="894" y="276"/>
                  <a:pt x="894" y="276"/>
                  <a:pt x="894" y="276"/>
                </a:cubicBezTo>
                <a:cubicBezTo>
                  <a:pt x="892" y="276"/>
                  <a:pt x="892" y="276"/>
                  <a:pt x="892" y="276"/>
                </a:cubicBezTo>
                <a:cubicBezTo>
                  <a:pt x="889" y="276"/>
                  <a:pt x="889" y="276"/>
                  <a:pt x="889" y="276"/>
                </a:cubicBezTo>
                <a:cubicBezTo>
                  <a:pt x="888" y="274"/>
                  <a:pt x="888" y="274"/>
                  <a:pt x="888" y="274"/>
                </a:cubicBezTo>
                <a:cubicBezTo>
                  <a:pt x="887" y="273"/>
                  <a:pt x="887" y="273"/>
                  <a:pt x="887" y="273"/>
                </a:cubicBezTo>
                <a:cubicBezTo>
                  <a:pt x="885" y="272"/>
                  <a:pt x="885" y="272"/>
                  <a:pt x="885" y="272"/>
                </a:cubicBezTo>
                <a:cubicBezTo>
                  <a:pt x="886" y="271"/>
                  <a:pt x="886" y="271"/>
                  <a:pt x="886" y="271"/>
                </a:cubicBezTo>
                <a:cubicBezTo>
                  <a:pt x="886" y="270"/>
                  <a:pt x="886" y="270"/>
                  <a:pt x="886" y="270"/>
                </a:cubicBezTo>
                <a:cubicBezTo>
                  <a:pt x="885" y="270"/>
                  <a:pt x="885" y="270"/>
                  <a:pt x="885" y="270"/>
                </a:cubicBezTo>
                <a:cubicBezTo>
                  <a:pt x="883" y="268"/>
                  <a:pt x="883" y="268"/>
                  <a:pt x="883" y="268"/>
                </a:cubicBezTo>
                <a:cubicBezTo>
                  <a:pt x="882" y="266"/>
                  <a:pt x="882" y="266"/>
                  <a:pt x="882" y="266"/>
                </a:cubicBezTo>
                <a:cubicBezTo>
                  <a:pt x="879" y="266"/>
                  <a:pt x="879" y="266"/>
                  <a:pt x="879" y="266"/>
                </a:cubicBezTo>
                <a:cubicBezTo>
                  <a:pt x="877" y="265"/>
                  <a:pt x="877" y="265"/>
                  <a:pt x="877" y="265"/>
                </a:cubicBezTo>
                <a:cubicBezTo>
                  <a:pt x="874" y="265"/>
                  <a:pt x="874" y="265"/>
                  <a:pt x="874" y="265"/>
                </a:cubicBezTo>
                <a:cubicBezTo>
                  <a:pt x="873" y="265"/>
                  <a:pt x="873" y="265"/>
                  <a:pt x="873" y="265"/>
                </a:cubicBezTo>
                <a:cubicBezTo>
                  <a:pt x="873" y="266"/>
                  <a:pt x="873" y="266"/>
                  <a:pt x="873" y="266"/>
                </a:cubicBezTo>
                <a:cubicBezTo>
                  <a:pt x="874" y="266"/>
                  <a:pt x="874" y="266"/>
                  <a:pt x="874" y="266"/>
                </a:cubicBezTo>
                <a:cubicBezTo>
                  <a:pt x="875" y="266"/>
                  <a:pt x="875" y="266"/>
                  <a:pt x="875" y="266"/>
                </a:cubicBezTo>
                <a:cubicBezTo>
                  <a:pt x="878" y="267"/>
                  <a:pt x="878" y="267"/>
                  <a:pt x="878" y="267"/>
                </a:cubicBezTo>
                <a:cubicBezTo>
                  <a:pt x="881" y="267"/>
                  <a:pt x="881" y="267"/>
                  <a:pt x="881" y="267"/>
                </a:cubicBezTo>
                <a:cubicBezTo>
                  <a:pt x="881" y="268"/>
                  <a:pt x="881" y="268"/>
                  <a:pt x="881" y="268"/>
                </a:cubicBezTo>
                <a:cubicBezTo>
                  <a:pt x="880" y="268"/>
                  <a:pt x="880" y="268"/>
                  <a:pt x="880" y="268"/>
                </a:cubicBezTo>
                <a:cubicBezTo>
                  <a:pt x="881" y="269"/>
                  <a:pt x="881" y="269"/>
                  <a:pt x="881" y="269"/>
                </a:cubicBezTo>
                <a:cubicBezTo>
                  <a:pt x="881" y="271"/>
                  <a:pt x="881" y="271"/>
                  <a:pt x="881" y="271"/>
                </a:cubicBezTo>
                <a:cubicBezTo>
                  <a:pt x="883" y="274"/>
                  <a:pt x="883" y="274"/>
                  <a:pt x="883" y="274"/>
                </a:cubicBezTo>
                <a:cubicBezTo>
                  <a:pt x="884" y="275"/>
                  <a:pt x="884" y="275"/>
                  <a:pt x="884" y="275"/>
                </a:cubicBezTo>
                <a:cubicBezTo>
                  <a:pt x="886" y="276"/>
                  <a:pt x="886" y="276"/>
                  <a:pt x="886" y="276"/>
                </a:cubicBezTo>
                <a:cubicBezTo>
                  <a:pt x="888" y="277"/>
                  <a:pt x="888" y="277"/>
                  <a:pt x="888" y="277"/>
                </a:cubicBezTo>
                <a:cubicBezTo>
                  <a:pt x="893" y="278"/>
                  <a:pt x="893" y="278"/>
                  <a:pt x="893" y="278"/>
                </a:cubicBezTo>
                <a:cubicBezTo>
                  <a:pt x="893" y="279"/>
                  <a:pt x="893" y="279"/>
                  <a:pt x="893" y="279"/>
                </a:cubicBezTo>
                <a:cubicBezTo>
                  <a:pt x="892" y="280"/>
                  <a:pt x="892" y="280"/>
                  <a:pt x="892" y="280"/>
                </a:cubicBezTo>
                <a:cubicBezTo>
                  <a:pt x="891" y="281"/>
                  <a:pt x="891" y="281"/>
                  <a:pt x="891" y="281"/>
                </a:cubicBezTo>
                <a:cubicBezTo>
                  <a:pt x="890" y="281"/>
                  <a:pt x="890" y="281"/>
                  <a:pt x="890" y="281"/>
                </a:cubicBezTo>
                <a:cubicBezTo>
                  <a:pt x="888" y="284"/>
                  <a:pt x="888" y="284"/>
                  <a:pt x="888" y="284"/>
                </a:cubicBezTo>
                <a:cubicBezTo>
                  <a:pt x="888" y="283"/>
                  <a:pt x="888" y="283"/>
                  <a:pt x="888" y="283"/>
                </a:cubicBezTo>
                <a:cubicBezTo>
                  <a:pt x="887" y="284"/>
                  <a:pt x="887" y="284"/>
                  <a:pt x="887" y="284"/>
                </a:cubicBezTo>
                <a:cubicBezTo>
                  <a:pt x="883" y="289"/>
                  <a:pt x="883" y="289"/>
                  <a:pt x="883" y="289"/>
                </a:cubicBezTo>
                <a:cubicBezTo>
                  <a:pt x="881" y="289"/>
                  <a:pt x="881" y="289"/>
                  <a:pt x="881" y="289"/>
                </a:cubicBezTo>
                <a:cubicBezTo>
                  <a:pt x="880" y="291"/>
                  <a:pt x="880" y="291"/>
                  <a:pt x="880" y="291"/>
                </a:cubicBezTo>
                <a:cubicBezTo>
                  <a:pt x="879" y="291"/>
                  <a:pt x="879" y="291"/>
                  <a:pt x="879" y="291"/>
                </a:cubicBezTo>
                <a:cubicBezTo>
                  <a:pt x="878" y="291"/>
                  <a:pt x="878" y="291"/>
                  <a:pt x="878" y="291"/>
                </a:cubicBezTo>
                <a:cubicBezTo>
                  <a:pt x="878" y="292"/>
                  <a:pt x="878" y="292"/>
                  <a:pt x="878" y="292"/>
                </a:cubicBezTo>
                <a:cubicBezTo>
                  <a:pt x="876" y="290"/>
                  <a:pt x="876" y="290"/>
                  <a:pt x="876" y="290"/>
                </a:cubicBezTo>
                <a:cubicBezTo>
                  <a:pt x="875" y="289"/>
                  <a:pt x="875" y="289"/>
                  <a:pt x="875" y="289"/>
                </a:cubicBezTo>
                <a:cubicBezTo>
                  <a:pt x="874" y="290"/>
                  <a:pt x="874" y="290"/>
                  <a:pt x="874" y="290"/>
                </a:cubicBezTo>
                <a:cubicBezTo>
                  <a:pt x="874" y="289"/>
                  <a:pt x="874" y="289"/>
                  <a:pt x="874" y="289"/>
                </a:cubicBezTo>
                <a:cubicBezTo>
                  <a:pt x="875" y="288"/>
                  <a:pt x="875" y="288"/>
                  <a:pt x="875" y="288"/>
                </a:cubicBezTo>
                <a:cubicBezTo>
                  <a:pt x="874" y="288"/>
                  <a:pt x="874" y="288"/>
                  <a:pt x="874" y="288"/>
                </a:cubicBezTo>
                <a:cubicBezTo>
                  <a:pt x="874" y="287"/>
                  <a:pt x="874" y="287"/>
                  <a:pt x="874" y="287"/>
                </a:cubicBezTo>
                <a:cubicBezTo>
                  <a:pt x="873" y="288"/>
                  <a:pt x="873" y="288"/>
                  <a:pt x="873" y="288"/>
                </a:cubicBezTo>
                <a:cubicBezTo>
                  <a:pt x="872" y="290"/>
                  <a:pt x="872" y="290"/>
                  <a:pt x="872" y="290"/>
                </a:cubicBezTo>
                <a:cubicBezTo>
                  <a:pt x="872" y="289"/>
                  <a:pt x="872" y="289"/>
                  <a:pt x="872" y="289"/>
                </a:cubicBezTo>
                <a:cubicBezTo>
                  <a:pt x="871" y="287"/>
                  <a:pt x="871" y="287"/>
                  <a:pt x="871" y="287"/>
                </a:cubicBezTo>
                <a:cubicBezTo>
                  <a:pt x="870" y="289"/>
                  <a:pt x="870" y="289"/>
                  <a:pt x="870" y="289"/>
                </a:cubicBezTo>
                <a:cubicBezTo>
                  <a:pt x="871" y="290"/>
                  <a:pt x="871" y="290"/>
                  <a:pt x="871" y="290"/>
                </a:cubicBezTo>
                <a:cubicBezTo>
                  <a:pt x="871" y="292"/>
                  <a:pt x="871" y="292"/>
                  <a:pt x="871" y="292"/>
                </a:cubicBezTo>
                <a:cubicBezTo>
                  <a:pt x="869" y="294"/>
                  <a:pt x="869" y="294"/>
                  <a:pt x="869" y="294"/>
                </a:cubicBezTo>
                <a:cubicBezTo>
                  <a:pt x="868" y="293"/>
                  <a:pt x="868" y="293"/>
                  <a:pt x="868" y="293"/>
                </a:cubicBezTo>
                <a:cubicBezTo>
                  <a:pt x="867" y="292"/>
                  <a:pt x="867" y="292"/>
                  <a:pt x="867" y="292"/>
                </a:cubicBezTo>
                <a:cubicBezTo>
                  <a:pt x="867" y="293"/>
                  <a:pt x="867" y="293"/>
                  <a:pt x="867" y="293"/>
                </a:cubicBezTo>
                <a:cubicBezTo>
                  <a:pt x="868" y="293"/>
                  <a:pt x="868" y="293"/>
                  <a:pt x="868" y="293"/>
                </a:cubicBezTo>
                <a:cubicBezTo>
                  <a:pt x="867" y="294"/>
                  <a:pt x="867" y="294"/>
                  <a:pt x="867" y="294"/>
                </a:cubicBezTo>
                <a:cubicBezTo>
                  <a:pt x="867" y="295"/>
                  <a:pt x="867" y="295"/>
                  <a:pt x="867" y="295"/>
                </a:cubicBezTo>
                <a:cubicBezTo>
                  <a:pt x="866" y="295"/>
                  <a:pt x="866" y="295"/>
                  <a:pt x="866" y="295"/>
                </a:cubicBezTo>
                <a:cubicBezTo>
                  <a:pt x="865" y="295"/>
                  <a:pt x="865" y="295"/>
                  <a:pt x="865" y="295"/>
                </a:cubicBezTo>
                <a:cubicBezTo>
                  <a:pt x="865" y="294"/>
                  <a:pt x="865" y="294"/>
                  <a:pt x="865" y="294"/>
                </a:cubicBezTo>
                <a:cubicBezTo>
                  <a:pt x="864" y="293"/>
                  <a:pt x="864" y="293"/>
                  <a:pt x="864" y="293"/>
                </a:cubicBezTo>
                <a:cubicBezTo>
                  <a:pt x="862" y="291"/>
                  <a:pt x="862" y="291"/>
                  <a:pt x="862" y="291"/>
                </a:cubicBezTo>
                <a:cubicBezTo>
                  <a:pt x="860" y="290"/>
                  <a:pt x="860" y="290"/>
                  <a:pt x="860" y="290"/>
                </a:cubicBezTo>
                <a:cubicBezTo>
                  <a:pt x="857" y="289"/>
                  <a:pt x="857" y="289"/>
                  <a:pt x="857" y="289"/>
                </a:cubicBezTo>
                <a:cubicBezTo>
                  <a:pt x="857" y="287"/>
                  <a:pt x="857" y="287"/>
                  <a:pt x="857" y="287"/>
                </a:cubicBezTo>
                <a:cubicBezTo>
                  <a:pt x="856" y="287"/>
                  <a:pt x="856" y="287"/>
                  <a:pt x="856" y="287"/>
                </a:cubicBezTo>
                <a:cubicBezTo>
                  <a:pt x="854" y="286"/>
                  <a:pt x="854" y="286"/>
                  <a:pt x="854" y="286"/>
                </a:cubicBezTo>
                <a:cubicBezTo>
                  <a:pt x="853" y="285"/>
                  <a:pt x="853" y="285"/>
                  <a:pt x="853" y="285"/>
                </a:cubicBezTo>
                <a:cubicBezTo>
                  <a:pt x="853" y="286"/>
                  <a:pt x="853" y="286"/>
                  <a:pt x="853" y="286"/>
                </a:cubicBezTo>
                <a:cubicBezTo>
                  <a:pt x="852" y="286"/>
                  <a:pt x="852" y="286"/>
                  <a:pt x="852" y="286"/>
                </a:cubicBezTo>
                <a:cubicBezTo>
                  <a:pt x="853" y="288"/>
                  <a:pt x="853" y="288"/>
                  <a:pt x="853" y="288"/>
                </a:cubicBezTo>
                <a:cubicBezTo>
                  <a:pt x="854" y="289"/>
                  <a:pt x="854" y="289"/>
                  <a:pt x="854" y="289"/>
                </a:cubicBezTo>
                <a:cubicBezTo>
                  <a:pt x="854" y="288"/>
                  <a:pt x="854" y="288"/>
                  <a:pt x="854" y="288"/>
                </a:cubicBezTo>
                <a:cubicBezTo>
                  <a:pt x="854" y="287"/>
                  <a:pt x="854" y="287"/>
                  <a:pt x="854" y="287"/>
                </a:cubicBezTo>
                <a:cubicBezTo>
                  <a:pt x="855" y="287"/>
                  <a:pt x="855" y="287"/>
                  <a:pt x="855" y="287"/>
                </a:cubicBezTo>
                <a:cubicBezTo>
                  <a:pt x="857" y="290"/>
                  <a:pt x="857" y="290"/>
                  <a:pt x="857" y="290"/>
                </a:cubicBezTo>
                <a:cubicBezTo>
                  <a:pt x="859" y="291"/>
                  <a:pt x="859" y="291"/>
                  <a:pt x="859" y="291"/>
                </a:cubicBezTo>
                <a:cubicBezTo>
                  <a:pt x="860" y="292"/>
                  <a:pt x="860" y="292"/>
                  <a:pt x="860" y="292"/>
                </a:cubicBezTo>
                <a:cubicBezTo>
                  <a:pt x="858" y="293"/>
                  <a:pt x="858" y="293"/>
                  <a:pt x="858" y="293"/>
                </a:cubicBezTo>
                <a:cubicBezTo>
                  <a:pt x="859" y="293"/>
                  <a:pt x="859" y="293"/>
                  <a:pt x="859" y="293"/>
                </a:cubicBezTo>
                <a:cubicBezTo>
                  <a:pt x="861" y="292"/>
                  <a:pt x="861" y="292"/>
                  <a:pt x="861" y="292"/>
                </a:cubicBezTo>
                <a:cubicBezTo>
                  <a:pt x="862" y="293"/>
                  <a:pt x="862" y="293"/>
                  <a:pt x="862" y="293"/>
                </a:cubicBezTo>
                <a:cubicBezTo>
                  <a:pt x="862" y="294"/>
                  <a:pt x="862" y="294"/>
                  <a:pt x="862" y="294"/>
                </a:cubicBezTo>
                <a:cubicBezTo>
                  <a:pt x="865" y="297"/>
                  <a:pt x="865" y="297"/>
                  <a:pt x="865" y="297"/>
                </a:cubicBezTo>
                <a:cubicBezTo>
                  <a:pt x="864" y="300"/>
                  <a:pt x="864" y="300"/>
                  <a:pt x="864" y="300"/>
                </a:cubicBezTo>
                <a:cubicBezTo>
                  <a:pt x="863" y="302"/>
                  <a:pt x="863" y="302"/>
                  <a:pt x="863" y="302"/>
                </a:cubicBezTo>
                <a:cubicBezTo>
                  <a:pt x="862" y="302"/>
                  <a:pt x="862" y="302"/>
                  <a:pt x="862" y="302"/>
                </a:cubicBezTo>
                <a:cubicBezTo>
                  <a:pt x="861" y="302"/>
                  <a:pt x="861" y="302"/>
                  <a:pt x="861" y="302"/>
                </a:cubicBezTo>
                <a:cubicBezTo>
                  <a:pt x="859" y="302"/>
                  <a:pt x="859" y="302"/>
                  <a:pt x="859" y="302"/>
                </a:cubicBezTo>
                <a:cubicBezTo>
                  <a:pt x="858" y="301"/>
                  <a:pt x="858" y="301"/>
                  <a:pt x="858" y="301"/>
                </a:cubicBezTo>
                <a:cubicBezTo>
                  <a:pt x="856" y="301"/>
                  <a:pt x="856" y="301"/>
                  <a:pt x="856" y="301"/>
                </a:cubicBezTo>
                <a:cubicBezTo>
                  <a:pt x="854" y="299"/>
                  <a:pt x="854" y="299"/>
                  <a:pt x="854" y="299"/>
                </a:cubicBezTo>
                <a:cubicBezTo>
                  <a:pt x="853" y="297"/>
                  <a:pt x="853" y="297"/>
                  <a:pt x="853" y="297"/>
                </a:cubicBezTo>
                <a:cubicBezTo>
                  <a:pt x="852" y="296"/>
                  <a:pt x="852" y="296"/>
                  <a:pt x="852" y="296"/>
                </a:cubicBezTo>
                <a:cubicBezTo>
                  <a:pt x="852" y="297"/>
                  <a:pt x="852" y="297"/>
                  <a:pt x="852" y="297"/>
                </a:cubicBezTo>
                <a:cubicBezTo>
                  <a:pt x="852" y="298"/>
                  <a:pt x="852" y="298"/>
                  <a:pt x="852" y="298"/>
                </a:cubicBezTo>
                <a:cubicBezTo>
                  <a:pt x="853" y="300"/>
                  <a:pt x="853" y="300"/>
                  <a:pt x="853" y="300"/>
                </a:cubicBezTo>
                <a:cubicBezTo>
                  <a:pt x="854" y="302"/>
                  <a:pt x="854" y="302"/>
                  <a:pt x="854" y="302"/>
                </a:cubicBezTo>
                <a:cubicBezTo>
                  <a:pt x="856" y="305"/>
                  <a:pt x="856" y="305"/>
                  <a:pt x="856" y="305"/>
                </a:cubicBezTo>
                <a:cubicBezTo>
                  <a:pt x="855" y="305"/>
                  <a:pt x="855" y="305"/>
                  <a:pt x="855" y="305"/>
                </a:cubicBezTo>
                <a:cubicBezTo>
                  <a:pt x="854" y="305"/>
                  <a:pt x="854" y="305"/>
                  <a:pt x="854" y="305"/>
                </a:cubicBezTo>
                <a:cubicBezTo>
                  <a:pt x="853" y="305"/>
                  <a:pt x="853" y="305"/>
                  <a:pt x="853" y="305"/>
                </a:cubicBezTo>
                <a:cubicBezTo>
                  <a:pt x="853" y="303"/>
                  <a:pt x="853" y="303"/>
                  <a:pt x="853" y="303"/>
                </a:cubicBezTo>
                <a:cubicBezTo>
                  <a:pt x="852" y="304"/>
                  <a:pt x="852" y="304"/>
                  <a:pt x="852" y="304"/>
                </a:cubicBezTo>
                <a:cubicBezTo>
                  <a:pt x="852" y="305"/>
                  <a:pt x="852" y="305"/>
                  <a:pt x="852" y="305"/>
                </a:cubicBezTo>
                <a:cubicBezTo>
                  <a:pt x="853" y="306"/>
                  <a:pt x="853" y="306"/>
                  <a:pt x="853" y="306"/>
                </a:cubicBezTo>
                <a:cubicBezTo>
                  <a:pt x="854" y="307"/>
                  <a:pt x="854" y="307"/>
                  <a:pt x="854" y="307"/>
                </a:cubicBezTo>
                <a:cubicBezTo>
                  <a:pt x="851" y="306"/>
                  <a:pt x="851" y="306"/>
                  <a:pt x="851" y="306"/>
                </a:cubicBezTo>
                <a:cubicBezTo>
                  <a:pt x="851" y="307"/>
                  <a:pt x="851" y="307"/>
                  <a:pt x="851" y="307"/>
                </a:cubicBezTo>
                <a:cubicBezTo>
                  <a:pt x="851" y="308"/>
                  <a:pt x="851" y="308"/>
                  <a:pt x="851" y="308"/>
                </a:cubicBezTo>
                <a:cubicBezTo>
                  <a:pt x="851" y="309"/>
                  <a:pt x="851" y="309"/>
                  <a:pt x="851" y="309"/>
                </a:cubicBezTo>
                <a:cubicBezTo>
                  <a:pt x="850" y="308"/>
                  <a:pt x="850" y="308"/>
                  <a:pt x="850" y="308"/>
                </a:cubicBezTo>
                <a:cubicBezTo>
                  <a:pt x="850" y="309"/>
                  <a:pt x="850" y="309"/>
                  <a:pt x="850" y="309"/>
                </a:cubicBezTo>
                <a:cubicBezTo>
                  <a:pt x="849" y="309"/>
                  <a:pt x="849" y="309"/>
                  <a:pt x="849" y="309"/>
                </a:cubicBezTo>
                <a:cubicBezTo>
                  <a:pt x="848" y="309"/>
                  <a:pt x="848" y="309"/>
                  <a:pt x="848" y="309"/>
                </a:cubicBezTo>
                <a:cubicBezTo>
                  <a:pt x="847" y="310"/>
                  <a:pt x="847" y="310"/>
                  <a:pt x="847" y="310"/>
                </a:cubicBezTo>
                <a:cubicBezTo>
                  <a:pt x="845" y="310"/>
                  <a:pt x="845" y="310"/>
                  <a:pt x="845" y="310"/>
                </a:cubicBezTo>
                <a:cubicBezTo>
                  <a:pt x="846" y="311"/>
                  <a:pt x="846" y="311"/>
                  <a:pt x="846" y="311"/>
                </a:cubicBezTo>
                <a:cubicBezTo>
                  <a:pt x="847" y="312"/>
                  <a:pt x="847" y="312"/>
                  <a:pt x="847" y="312"/>
                </a:cubicBezTo>
                <a:cubicBezTo>
                  <a:pt x="846" y="312"/>
                  <a:pt x="846" y="312"/>
                  <a:pt x="846" y="312"/>
                </a:cubicBezTo>
                <a:cubicBezTo>
                  <a:pt x="844" y="311"/>
                  <a:pt x="844" y="311"/>
                  <a:pt x="844" y="311"/>
                </a:cubicBezTo>
                <a:cubicBezTo>
                  <a:pt x="843" y="310"/>
                  <a:pt x="843" y="310"/>
                  <a:pt x="843" y="310"/>
                </a:cubicBezTo>
                <a:cubicBezTo>
                  <a:pt x="843" y="311"/>
                  <a:pt x="843" y="311"/>
                  <a:pt x="843" y="311"/>
                </a:cubicBezTo>
                <a:cubicBezTo>
                  <a:pt x="843" y="312"/>
                  <a:pt x="843" y="312"/>
                  <a:pt x="843" y="312"/>
                </a:cubicBezTo>
                <a:cubicBezTo>
                  <a:pt x="844" y="313"/>
                  <a:pt x="844" y="313"/>
                  <a:pt x="844" y="313"/>
                </a:cubicBezTo>
                <a:cubicBezTo>
                  <a:pt x="844" y="314"/>
                  <a:pt x="844" y="314"/>
                  <a:pt x="844" y="314"/>
                </a:cubicBezTo>
                <a:cubicBezTo>
                  <a:pt x="842" y="314"/>
                  <a:pt x="842" y="314"/>
                  <a:pt x="842" y="314"/>
                </a:cubicBezTo>
                <a:cubicBezTo>
                  <a:pt x="841" y="316"/>
                  <a:pt x="841" y="316"/>
                  <a:pt x="841" y="316"/>
                </a:cubicBezTo>
                <a:cubicBezTo>
                  <a:pt x="840" y="316"/>
                  <a:pt x="840" y="316"/>
                  <a:pt x="840" y="316"/>
                </a:cubicBezTo>
                <a:cubicBezTo>
                  <a:pt x="841" y="317"/>
                  <a:pt x="841" y="317"/>
                  <a:pt x="841" y="317"/>
                </a:cubicBezTo>
                <a:cubicBezTo>
                  <a:pt x="840" y="318"/>
                  <a:pt x="840" y="318"/>
                  <a:pt x="840" y="318"/>
                </a:cubicBezTo>
                <a:cubicBezTo>
                  <a:pt x="839" y="318"/>
                  <a:pt x="839" y="318"/>
                  <a:pt x="839" y="318"/>
                </a:cubicBezTo>
                <a:cubicBezTo>
                  <a:pt x="839" y="319"/>
                  <a:pt x="839" y="319"/>
                  <a:pt x="839" y="319"/>
                </a:cubicBezTo>
                <a:cubicBezTo>
                  <a:pt x="839" y="320"/>
                  <a:pt x="839" y="320"/>
                  <a:pt x="839" y="320"/>
                </a:cubicBezTo>
                <a:cubicBezTo>
                  <a:pt x="838" y="320"/>
                  <a:pt x="838" y="320"/>
                  <a:pt x="838" y="320"/>
                </a:cubicBezTo>
                <a:cubicBezTo>
                  <a:pt x="836" y="323"/>
                  <a:pt x="836" y="323"/>
                  <a:pt x="836" y="323"/>
                </a:cubicBezTo>
                <a:cubicBezTo>
                  <a:pt x="835" y="323"/>
                  <a:pt x="835" y="323"/>
                  <a:pt x="835" y="323"/>
                </a:cubicBezTo>
                <a:cubicBezTo>
                  <a:pt x="835" y="324"/>
                  <a:pt x="835" y="324"/>
                  <a:pt x="835" y="324"/>
                </a:cubicBezTo>
                <a:cubicBezTo>
                  <a:pt x="833" y="325"/>
                  <a:pt x="833" y="325"/>
                  <a:pt x="833" y="325"/>
                </a:cubicBezTo>
                <a:cubicBezTo>
                  <a:pt x="832" y="324"/>
                  <a:pt x="832" y="324"/>
                  <a:pt x="832" y="324"/>
                </a:cubicBezTo>
                <a:cubicBezTo>
                  <a:pt x="832" y="325"/>
                  <a:pt x="832" y="325"/>
                  <a:pt x="832" y="325"/>
                </a:cubicBezTo>
                <a:cubicBezTo>
                  <a:pt x="832" y="326"/>
                  <a:pt x="832" y="326"/>
                  <a:pt x="832" y="326"/>
                </a:cubicBezTo>
                <a:cubicBezTo>
                  <a:pt x="831" y="328"/>
                  <a:pt x="831" y="328"/>
                  <a:pt x="831" y="328"/>
                </a:cubicBezTo>
                <a:cubicBezTo>
                  <a:pt x="831" y="330"/>
                  <a:pt x="831" y="330"/>
                  <a:pt x="831" y="330"/>
                </a:cubicBezTo>
                <a:cubicBezTo>
                  <a:pt x="830" y="331"/>
                  <a:pt x="830" y="331"/>
                  <a:pt x="830" y="331"/>
                </a:cubicBezTo>
                <a:cubicBezTo>
                  <a:pt x="830" y="333"/>
                  <a:pt x="830" y="333"/>
                  <a:pt x="830" y="333"/>
                </a:cubicBezTo>
                <a:cubicBezTo>
                  <a:pt x="829" y="333"/>
                  <a:pt x="829" y="333"/>
                  <a:pt x="829" y="333"/>
                </a:cubicBezTo>
                <a:cubicBezTo>
                  <a:pt x="828" y="336"/>
                  <a:pt x="828" y="336"/>
                  <a:pt x="828" y="336"/>
                </a:cubicBezTo>
                <a:cubicBezTo>
                  <a:pt x="828" y="338"/>
                  <a:pt x="828" y="338"/>
                  <a:pt x="828" y="338"/>
                </a:cubicBezTo>
                <a:cubicBezTo>
                  <a:pt x="827" y="340"/>
                  <a:pt x="827" y="340"/>
                  <a:pt x="827" y="340"/>
                </a:cubicBezTo>
                <a:cubicBezTo>
                  <a:pt x="827" y="341"/>
                  <a:pt x="827" y="341"/>
                  <a:pt x="827" y="341"/>
                </a:cubicBezTo>
                <a:cubicBezTo>
                  <a:pt x="825" y="341"/>
                  <a:pt x="825" y="341"/>
                  <a:pt x="825" y="341"/>
                </a:cubicBezTo>
                <a:cubicBezTo>
                  <a:pt x="825" y="342"/>
                  <a:pt x="825" y="342"/>
                  <a:pt x="825" y="342"/>
                </a:cubicBezTo>
                <a:cubicBezTo>
                  <a:pt x="826" y="342"/>
                  <a:pt x="826" y="342"/>
                  <a:pt x="826" y="342"/>
                </a:cubicBezTo>
                <a:cubicBezTo>
                  <a:pt x="827" y="343"/>
                  <a:pt x="827" y="343"/>
                  <a:pt x="827" y="343"/>
                </a:cubicBezTo>
                <a:cubicBezTo>
                  <a:pt x="826" y="344"/>
                  <a:pt x="826" y="344"/>
                  <a:pt x="826" y="344"/>
                </a:cubicBezTo>
                <a:cubicBezTo>
                  <a:pt x="827" y="345"/>
                  <a:pt x="827" y="345"/>
                  <a:pt x="827" y="345"/>
                </a:cubicBezTo>
                <a:cubicBezTo>
                  <a:pt x="827" y="347"/>
                  <a:pt x="827" y="347"/>
                  <a:pt x="827" y="347"/>
                </a:cubicBezTo>
                <a:cubicBezTo>
                  <a:pt x="826" y="350"/>
                  <a:pt x="826" y="350"/>
                  <a:pt x="826" y="350"/>
                </a:cubicBezTo>
                <a:cubicBezTo>
                  <a:pt x="824" y="352"/>
                  <a:pt x="824" y="352"/>
                  <a:pt x="824" y="352"/>
                </a:cubicBezTo>
                <a:cubicBezTo>
                  <a:pt x="825" y="352"/>
                  <a:pt x="825" y="352"/>
                  <a:pt x="825" y="352"/>
                </a:cubicBezTo>
                <a:cubicBezTo>
                  <a:pt x="827" y="349"/>
                  <a:pt x="827" y="349"/>
                  <a:pt x="827" y="349"/>
                </a:cubicBezTo>
                <a:cubicBezTo>
                  <a:pt x="829" y="346"/>
                  <a:pt x="829" y="346"/>
                  <a:pt x="829" y="346"/>
                </a:cubicBezTo>
                <a:cubicBezTo>
                  <a:pt x="833" y="346"/>
                  <a:pt x="833" y="346"/>
                  <a:pt x="833" y="346"/>
                </a:cubicBezTo>
                <a:cubicBezTo>
                  <a:pt x="834" y="346"/>
                  <a:pt x="834" y="346"/>
                  <a:pt x="834" y="346"/>
                </a:cubicBezTo>
                <a:cubicBezTo>
                  <a:pt x="834" y="348"/>
                  <a:pt x="834" y="348"/>
                  <a:pt x="834" y="348"/>
                </a:cubicBezTo>
                <a:cubicBezTo>
                  <a:pt x="833" y="349"/>
                  <a:pt x="833" y="349"/>
                  <a:pt x="833" y="349"/>
                </a:cubicBezTo>
                <a:cubicBezTo>
                  <a:pt x="833" y="350"/>
                  <a:pt x="833" y="350"/>
                  <a:pt x="833" y="350"/>
                </a:cubicBezTo>
                <a:cubicBezTo>
                  <a:pt x="834" y="352"/>
                  <a:pt x="834" y="352"/>
                  <a:pt x="834" y="352"/>
                </a:cubicBezTo>
                <a:cubicBezTo>
                  <a:pt x="834" y="355"/>
                  <a:pt x="834" y="355"/>
                  <a:pt x="834" y="355"/>
                </a:cubicBezTo>
                <a:cubicBezTo>
                  <a:pt x="833" y="357"/>
                  <a:pt x="833" y="357"/>
                  <a:pt x="833" y="357"/>
                </a:cubicBezTo>
                <a:cubicBezTo>
                  <a:pt x="834" y="358"/>
                  <a:pt x="834" y="358"/>
                  <a:pt x="834" y="358"/>
                </a:cubicBezTo>
                <a:cubicBezTo>
                  <a:pt x="834" y="361"/>
                  <a:pt x="834" y="361"/>
                  <a:pt x="834" y="361"/>
                </a:cubicBezTo>
                <a:cubicBezTo>
                  <a:pt x="834" y="362"/>
                  <a:pt x="834" y="362"/>
                  <a:pt x="834" y="362"/>
                </a:cubicBezTo>
                <a:cubicBezTo>
                  <a:pt x="830" y="366"/>
                  <a:pt x="830" y="366"/>
                  <a:pt x="830" y="366"/>
                </a:cubicBezTo>
                <a:cubicBezTo>
                  <a:pt x="828" y="366"/>
                  <a:pt x="828" y="366"/>
                  <a:pt x="828" y="366"/>
                </a:cubicBezTo>
                <a:cubicBezTo>
                  <a:pt x="827" y="366"/>
                  <a:pt x="827" y="366"/>
                  <a:pt x="827" y="366"/>
                </a:cubicBezTo>
                <a:cubicBezTo>
                  <a:pt x="828" y="367"/>
                  <a:pt x="828" y="367"/>
                  <a:pt x="828" y="367"/>
                </a:cubicBezTo>
                <a:cubicBezTo>
                  <a:pt x="830" y="367"/>
                  <a:pt x="830" y="367"/>
                  <a:pt x="830" y="367"/>
                </a:cubicBezTo>
                <a:cubicBezTo>
                  <a:pt x="834" y="365"/>
                  <a:pt x="834" y="365"/>
                  <a:pt x="834" y="365"/>
                </a:cubicBezTo>
                <a:cubicBezTo>
                  <a:pt x="839" y="364"/>
                  <a:pt x="839" y="364"/>
                  <a:pt x="839" y="364"/>
                </a:cubicBezTo>
                <a:cubicBezTo>
                  <a:pt x="841" y="363"/>
                  <a:pt x="841" y="363"/>
                  <a:pt x="841" y="363"/>
                </a:cubicBezTo>
                <a:cubicBezTo>
                  <a:pt x="844" y="365"/>
                  <a:pt x="844" y="365"/>
                  <a:pt x="844" y="365"/>
                </a:cubicBezTo>
                <a:cubicBezTo>
                  <a:pt x="846" y="367"/>
                  <a:pt x="846" y="367"/>
                  <a:pt x="846" y="367"/>
                </a:cubicBezTo>
                <a:cubicBezTo>
                  <a:pt x="848" y="368"/>
                  <a:pt x="848" y="368"/>
                  <a:pt x="848" y="368"/>
                </a:cubicBezTo>
                <a:cubicBezTo>
                  <a:pt x="849" y="368"/>
                  <a:pt x="849" y="368"/>
                  <a:pt x="849" y="368"/>
                </a:cubicBezTo>
                <a:cubicBezTo>
                  <a:pt x="850" y="369"/>
                  <a:pt x="850" y="369"/>
                  <a:pt x="850" y="369"/>
                </a:cubicBezTo>
                <a:cubicBezTo>
                  <a:pt x="852" y="371"/>
                  <a:pt x="852" y="371"/>
                  <a:pt x="852" y="371"/>
                </a:cubicBezTo>
                <a:cubicBezTo>
                  <a:pt x="853" y="371"/>
                  <a:pt x="853" y="371"/>
                  <a:pt x="853" y="371"/>
                </a:cubicBezTo>
                <a:cubicBezTo>
                  <a:pt x="854" y="373"/>
                  <a:pt x="854" y="373"/>
                  <a:pt x="854" y="373"/>
                </a:cubicBezTo>
                <a:cubicBezTo>
                  <a:pt x="855" y="374"/>
                  <a:pt x="855" y="374"/>
                  <a:pt x="855" y="374"/>
                </a:cubicBezTo>
                <a:cubicBezTo>
                  <a:pt x="855" y="375"/>
                  <a:pt x="855" y="375"/>
                  <a:pt x="855" y="375"/>
                </a:cubicBezTo>
                <a:cubicBezTo>
                  <a:pt x="856" y="376"/>
                  <a:pt x="856" y="376"/>
                  <a:pt x="856" y="376"/>
                </a:cubicBezTo>
                <a:cubicBezTo>
                  <a:pt x="857" y="378"/>
                  <a:pt x="857" y="378"/>
                  <a:pt x="857" y="378"/>
                </a:cubicBezTo>
                <a:cubicBezTo>
                  <a:pt x="858" y="378"/>
                  <a:pt x="858" y="378"/>
                  <a:pt x="858" y="378"/>
                </a:cubicBezTo>
                <a:cubicBezTo>
                  <a:pt x="858" y="379"/>
                  <a:pt x="858" y="379"/>
                  <a:pt x="858" y="379"/>
                </a:cubicBezTo>
                <a:cubicBezTo>
                  <a:pt x="861" y="380"/>
                  <a:pt x="861" y="380"/>
                  <a:pt x="861" y="380"/>
                </a:cubicBezTo>
                <a:cubicBezTo>
                  <a:pt x="862" y="381"/>
                  <a:pt x="862" y="381"/>
                  <a:pt x="862" y="381"/>
                </a:cubicBezTo>
                <a:cubicBezTo>
                  <a:pt x="864" y="382"/>
                  <a:pt x="864" y="382"/>
                  <a:pt x="864" y="382"/>
                </a:cubicBezTo>
                <a:cubicBezTo>
                  <a:pt x="865" y="382"/>
                  <a:pt x="865" y="382"/>
                  <a:pt x="865" y="382"/>
                </a:cubicBezTo>
                <a:cubicBezTo>
                  <a:pt x="867" y="384"/>
                  <a:pt x="867" y="384"/>
                  <a:pt x="867" y="384"/>
                </a:cubicBezTo>
                <a:cubicBezTo>
                  <a:pt x="867" y="385"/>
                  <a:pt x="867" y="385"/>
                  <a:pt x="867" y="385"/>
                </a:cubicBezTo>
                <a:cubicBezTo>
                  <a:pt x="869" y="387"/>
                  <a:pt x="869" y="387"/>
                  <a:pt x="869" y="387"/>
                </a:cubicBezTo>
                <a:cubicBezTo>
                  <a:pt x="868" y="387"/>
                  <a:pt x="868" y="387"/>
                  <a:pt x="868" y="387"/>
                </a:cubicBezTo>
                <a:cubicBezTo>
                  <a:pt x="869" y="388"/>
                  <a:pt x="869" y="388"/>
                  <a:pt x="869" y="388"/>
                </a:cubicBezTo>
                <a:cubicBezTo>
                  <a:pt x="871" y="388"/>
                  <a:pt x="871" y="388"/>
                  <a:pt x="871" y="388"/>
                </a:cubicBezTo>
                <a:cubicBezTo>
                  <a:pt x="873" y="388"/>
                  <a:pt x="873" y="388"/>
                  <a:pt x="873" y="388"/>
                </a:cubicBezTo>
                <a:cubicBezTo>
                  <a:pt x="876" y="388"/>
                  <a:pt x="876" y="388"/>
                  <a:pt x="876" y="388"/>
                </a:cubicBezTo>
                <a:cubicBezTo>
                  <a:pt x="877" y="388"/>
                  <a:pt x="877" y="388"/>
                  <a:pt x="877" y="388"/>
                </a:cubicBezTo>
                <a:cubicBezTo>
                  <a:pt x="879" y="389"/>
                  <a:pt x="879" y="389"/>
                  <a:pt x="879" y="389"/>
                </a:cubicBezTo>
                <a:cubicBezTo>
                  <a:pt x="881" y="389"/>
                  <a:pt x="881" y="389"/>
                  <a:pt x="881" y="389"/>
                </a:cubicBezTo>
                <a:cubicBezTo>
                  <a:pt x="882" y="389"/>
                  <a:pt x="882" y="389"/>
                  <a:pt x="882" y="389"/>
                </a:cubicBezTo>
                <a:cubicBezTo>
                  <a:pt x="883" y="389"/>
                  <a:pt x="883" y="389"/>
                  <a:pt x="883" y="389"/>
                </a:cubicBezTo>
                <a:cubicBezTo>
                  <a:pt x="884" y="389"/>
                  <a:pt x="884" y="389"/>
                  <a:pt x="884" y="389"/>
                </a:cubicBezTo>
                <a:cubicBezTo>
                  <a:pt x="884" y="391"/>
                  <a:pt x="884" y="391"/>
                  <a:pt x="884" y="391"/>
                </a:cubicBezTo>
                <a:cubicBezTo>
                  <a:pt x="883" y="394"/>
                  <a:pt x="883" y="394"/>
                  <a:pt x="883" y="394"/>
                </a:cubicBezTo>
                <a:cubicBezTo>
                  <a:pt x="883" y="395"/>
                  <a:pt x="883" y="395"/>
                  <a:pt x="883" y="395"/>
                </a:cubicBezTo>
                <a:cubicBezTo>
                  <a:pt x="882" y="396"/>
                  <a:pt x="882" y="396"/>
                  <a:pt x="882" y="396"/>
                </a:cubicBezTo>
                <a:cubicBezTo>
                  <a:pt x="881" y="398"/>
                  <a:pt x="881" y="398"/>
                  <a:pt x="881" y="398"/>
                </a:cubicBezTo>
                <a:cubicBezTo>
                  <a:pt x="881" y="399"/>
                  <a:pt x="881" y="399"/>
                  <a:pt x="881" y="399"/>
                </a:cubicBezTo>
                <a:cubicBezTo>
                  <a:pt x="882" y="400"/>
                  <a:pt x="882" y="400"/>
                  <a:pt x="882" y="400"/>
                </a:cubicBezTo>
                <a:cubicBezTo>
                  <a:pt x="882" y="402"/>
                  <a:pt x="882" y="402"/>
                  <a:pt x="882" y="402"/>
                </a:cubicBezTo>
                <a:cubicBezTo>
                  <a:pt x="880" y="405"/>
                  <a:pt x="880" y="405"/>
                  <a:pt x="880" y="405"/>
                </a:cubicBezTo>
                <a:cubicBezTo>
                  <a:pt x="880" y="406"/>
                  <a:pt x="880" y="406"/>
                  <a:pt x="880" y="406"/>
                </a:cubicBezTo>
                <a:cubicBezTo>
                  <a:pt x="880" y="408"/>
                  <a:pt x="880" y="408"/>
                  <a:pt x="880" y="408"/>
                </a:cubicBezTo>
                <a:cubicBezTo>
                  <a:pt x="878" y="409"/>
                  <a:pt x="878" y="409"/>
                  <a:pt x="878" y="409"/>
                </a:cubicBezTo>
                <a:cubicBezTo>
                  <a:pt x="878" y="411"/>
                  <a:pt x="878" y="411"/>
                  <a:pt x="878" y="411"/>
                </a:cubicBezTo>
                <a:cubicBezTo>
                  <a:pt x="878" y="412"/>
                  <a:pt x="878" y="412"/>
                  <a:pt x="878" y="412"/>
                </a:cubicBezTo>
                <a:cubicBezTo>
                  <a:pt x="879" y="413"/>
                  <a:pt x="879" y="413"/>
                  <a:pt x="879" y="413"/>
                </a:cubicBezTo>
                <a:cubicBezTo>
                  <a:pt x="879" y="415"/>
                  <a:pt x="879" y="415"/>
                  <a:pt x="879" y="415"/>
                </a:cubicBezTo>
                <a:cubicBezTo>
                  <a:pt x="880" y="415"/>
                  <a:pt x="880" y="415"/>
                  <a:pt x="880" y="415"/>
                </a:cubicBezTo>
                <a:cubicBezTo>
                  <a:pt x="881" y="416"/>
                  <a:pt x="881" y="416"/>
                  <a:pt x="881" y="416"/>
                </a:cubicBezTo>
                <a:cubicBezTo>
                  <a:pt x="881" y="417"/>
                  <a:pt x="881" y="417"/>
                  <a:pt x="881" y="417"/>
                </a:cubicBezTo>
                <a:cubicBezTo>
                  <a:pt x="881" y="418"/>
                  <a:pt x="881" y="418"/>
                  <a:pt x="881" y="418"/>
                </a:cubicBezTo>
                <a:cubicBezTo>
                  <a:pt x="881" y="419"/>
                  <a:pt x="881" y="419"/>
                  <a:pt x="881" y="419"/>
                </a:cubicBezTo>
                <a:cubicBezTo>
                  <a:pt x="882" y="419"/>
                  <a:pt x="882" y="419"/>
                  <a:pt x="882" y="419"/>
                </a:cubicBezTo>
                <a:cubicBezTo>
                  <a:pt x="884" y="420"/>
                  <a:pt x="884" y="420"/>
                  <a:pt x="884" y="420"/>
                </a:cubicBezTo>
                <a:cubicBezTo>
                  <a:pt x="884" y="421"/>
                  <a:pt x="884" y="421"/>
                  <a:pt x="884" y="421"/>
                </a:cubicBezTo>
                <a:cubicBezTo>
                  <a:pt x="885" y="422"/>
                  <a:pt x="885" y="422"/>
                  <a:pt x="885" y="422"/>
                </a:cubicBezTo>
                <a:cubicBezTo>
                  <a:pt x="885" y="424"/>
                  <a:pt x="885" y="424"/>
                  <a:pt x="885" y="424"/>
                </a:cubicBezTo>
                <a:cubicBezTo>
                  <a:pt x="885" y="425"/>
                  <a:pt x="885" y="425"/>
                  <a:pt x="885" y="425"/>
                </a:cubicBezTo>
                <a:cubicBezTo>
                  <a:pt x="885" y="426"/>
                  <a:pt x="885" y="426"/>
                  <a:pt x="885" y="426"/>
                </a:cubicBezTo>
                <a:cubicBezTo>
                  <a:pt x="883" y="429"/>
                  <a:pt x="883" y="429"/>
                  <a:pt x="883" y="429"/>
                </a:cubicBezTo>
                <a:cubicBezTo>
                  <a:pt x="884" y="428"/>
                  <a:pt x="884" y="428"/>
                  <a:pt x="884" y="428"/>
                </a:cubicBezTo>
                <a:cubicBezTo>
                  <a:pt x="886" y="427"/>
                  <a:pt x="886" y="427"/>
                  <a:pt x="886" y="427"/>
                </a:cubicBezTo>
                <a:cubicBezTo>
                  <a:pt x="888" y="427"/>
                  <a:pt x="888" y="427"/>
                  <a:pt x="888" y="427"/>
                </a:cubicBezTo>
                <a:cubicBezTo>
                  <a:pt x="889" y="428"/>
                  <a:pt x="889" y="428"/>
                  <a:pt x="889" y="428"/>
                </a:cubicBezTo>
                <a:cubicBezTo>
                  <a:pt x="890" y="428"/>
                  <a:pt x="890" y="428"/>
                  <a:pt x="890" y="428"/>
                </a:cubicBezTo>
                <a:cubicBezTo>
                  <a:pt x="890" y="427"/>
                  <a:pt x="890" y="427"/>
                  <a:pt x="890" y="427"/>
                </a:cubicBezTo>
                <a:cubicBezTo>
                  <a:pt x="890" y="426"/>
                  <a:pt x="890" y="426"/>
                  <a:pt x="890" y="426"/>
                </a:cubicBezTo>
                <a:cubicBezTo>
                  <a:pt x="892" y="423"/>
                  <a:pt x="892" y="423"/>
                  <a:pt x="892" y="423"/>
                </a:cubicBezTo>
                <a:cubicBezTo>
                  <a:pt x="893" y="423"/>
                  <a:pt x="893" y="423"/>
                  <a:pt x="893" y="423"/>
                </a:cubicBezTo>
                <a:cubicBezTo>
                  <a:pt x="892" y="424"/>
                  <a:pt x="892" y="424"/>
                  <a:pt x="892" y="424"/>
                </a:cubicBezTo>
                <a:cubicBezTo>
                  <a:pt x="893" y="425"/>
                  <a:pt x="893" y="425"/>
                  <a:pt x="893" y="425"/>
                </a:cubicBezTo>
                <a:cubicBezTo>
                  <a:pt x="894" y="428"/>
                  <a:pt x="894" y="428"/>
                  <a:pt x="894" y="428"/>
                </a:cubicBezTo>
                <a:cubicBezTo>
                  <a:pt x="893" y="429"/>
                  <a:pt x="893" y="429"/>
                  <a:pt x="893" y="429"/>
                </a:cubicBezTo>
                <a:cubicBezTo>
                  <a:pt x="895" y="430"/>
                  <a:pt x="895" y="430"/>
                  <a:pt x="895" y="430"/>
                </a:cubicBezTo>
                <a:cubicBezTo>
                  <a:pt x="897" y="431"/>
                  <a:pt x="897" y="431"/>
                  <a:pt x="897" y="431"/>
                </a:cubicBezTo>
                <a:cubicBezTo>
                  <a:pt x="896" y="430"/>
                  <a:pt x="896" y="430"/>
                  <a:pt x="896" y="430"/>
                </a:cubicBezTo>
                <a:cubicBezTo>
                  <a:pt x="895" y="429"/>
                  <a:pt x="895" y="429"/>
                  <a:pt x="895" y="429"/>
                </a:cubicBezTo>
                <a:cubicBezTo>
                  <a:pt x="894" y="427"/>
                  <a:pt x="894" y="427"/>
                  <a:pt x="894" y="427"/>
                </a:cubicBezTo>
                <a:cubicBezTo>
                  <a:pt x="895" y="425"/>
                  <a:pt x="895" y="425"/>
                  <a:pt x="895" y="425"/>
                </a:cubicBezTo>
                <a:cubicBezTo>
                  <a:pt x="895" y="424"/>
                  <a:pt x="895" y="424"/>
                  <a:pt x="895" y="424"/>
                </a:cubicBezTo>
                <a:cubicBezTo>
                  <a:pt x="895" y="423"/>
                  <a:pt x="895" y="423"/>
                  <a:pt x="895" y="423"/>
                </a:cubicBezTo>
                <a:cubicBezTo>
                  <a:pt x="896" y="423"/>
                  <a:pt x="896" y="423"/>
                  <a:pt x="896" y="423"/>
                </a:cubicBezTo>
                <a:cubicBezTo>
                  <a:pt x="896" y="421"/>
                  <a:pt x="896" y="421"/>
                  <a:pt x="896" y="421"/>
                </a:cubicBezTo>
                <a:cubicBezTo>
                  <a:pt x="898" y="419"/>
                  <a:pt x="898" y="419"/>
                  <a:pt x="898" y="419"/>
                </a:cubicBezTo>
                <a:cubicBezTo>
                  <a:pt x="897" y="419"/>
                  <a:pt x="897" y="419"/>
                  <a:pt x="897" y="419"/>
                </a:cubicBezTo>
                <a:cubicBezTo>
                  <a:pt x="897" y="417"/>
                  <a:pt x="897" y="417"/>
                  <a:pt x="897" y="417"/>
                </a:cubicBezTo>
                <a:cubicBezTo>
                  <a:pt x="897" y="416"/>
                  <a:pt x="897" y="416"/>
                  <a:pt x="897" y="416"/>
                </a:cubicBezTo>
                <a:cubicBezTo>
                  <a:pt x="897" y="415"/>
                  <a:pt x="897" y="415"/>
                  <a:pt x="897" y="415"/>
                </a:cubicBezTo>
                <a:cubicBezTo>
                  <a:pt x="898" y="414"/>
                  <a:pt x="898" y="414"/>
                  <a:pt x="898" y="414"/>
                </a:cubicBezTo>
                <a:cubicBezTo>
                  <a:pt x="897" y="413"/>
                  <a:pt x="897" y="413"/>
                  <a:pt x="897" y="413"/>
                </a:cubicBezTo>
                <a:cubicBezTo>
                  <a:pt x="897" y="412"/>
                  <a:pt x="897" y="412"/>
                  <a:pt x="897" y="412"/>
                </a:cubicBezTo>
                <a:cubicBezTo>
                  <a:pt x="896" y="411"/>
                  <a:pt x="896" y="411"/>
                  <a:pt x="896" y="411"/>
                </a:cubicBezTo>
                <a:cubicBezTo>
                  <a:pt x="897" y="408"/>
                  <a:pt x="897" y="408"/>
                  <a:pt x="897" y="408"/>
                </a:cubicBezTo>
                <a:cubicBezTo>
                  <a:pt x="897" y="407"/>
                  <a:pt x="897" y="407"/>
                  <a:pt x="897" y="407"/>
                </a:cubicBezTo>
                <a:cubicBezTo>
                  <a:pt x="897" y="405"/>
                  <a:pt x="897" y="405"/>
                  <a:pt x="897" y="405"/>
                </a:cubicBezTo>
                <a:cubicBezTo>
                  <a:pt x="898" y="404"/>
                  <a:pt x="898" y="404"/>
                  <a:pt x="898" y="404"/>
                </a:cubicBezTo>
                <a:cubicBezTo>
                  <a:pt x="898" y="403"/>
                  <a:pt x="898" y="403"/>
                  <a:pt x="898" y="403"/>
                </a:cubicBezTo>
                <a:cubicBezTo>
                  <a:pt x="898" y="402"/>
                  <a:pt x="898" y="402"/>
                  <a:pt x="898" y="402"/>
                </a:cubicBezTo>
                <a:cubicBezTo>
                  <a:pt x="899" y="401"/>
                  <a:pt x="899" y="401"/>
                  <a:pt x="899" y="401"/>
                </a:cubicBezTo>
                <a:cubicBezTo>
                  <a:pt x="898" y="401"/>
                  <a:pt x="898" y="401"/>
                  <a:pt x="898" y="401"/>
                </a:cubicBezTo>
                <a:cubicBezTo>
                  <a:pt x="898" y="400"/>
                  <a:pt x="898" y="400"/>
                  <a:pt x="898" y="400"/>
                </a:cubicBezTo>
                <a:cubicBezTo>
                  <a:pt x="898" y="399"/>
                  <a:pt x="898" y="399"/>
                  <a:pt x="898" y="399"/>
                </a:cubicBezTo>
                <a:cubicBezTo>
                  <a:pt x="898" y="398"/>
                  <a:pt x="898" y="398"/>
                  <a:pt x="898" y="398"/>
                </a:cubicBezTo>
                <a:cubicBezTo>
                  <a:pt x="897" y="397"/>
                  <a:pt x="897" y="397"/>
                  <a:pt x="897" y="397"/>
                </a:cubicBezTo>
                <a:cubicBezTo>
                  <a:pt x="897" y="395"/>
                  <a:pt x="897" y="395"/>
                  <a:pt x="897" y="395"/>
                </a:cubicBezTo>
                <a:cubicBezTo>
                  <a:pt x="898" y="394"/>
                  <a:pt x="898" y="394"/>
                  <a:pt x="898" y="394"/>
                </a:cubicBezTo>
                <a:cubicBezTo>
                  <a:pt x="901" y="394"/>
                  <a:pt x="901" y="394"/>
                  <a:pt x="901" y="394"/>
                </a:cubicBezTo>
                <a:cubicBezTo>
                  <a:pt x="902" y="393"/>
                  <a:pt x="902" y="393"/>
                  <a:pt x="902" y="393"/>
                </a:cubicBezTo>
                <a:cubicBezTo>
                  <a:pt x="904" y="393"/>
                  <a:pt x="904" y="393"/>
                  <a:pt x="904" y="393"/>
                </a:cubicBezTo>
                <a:cubicBezTo>
                  <a:pt x="904" y="392"/>
                  <a:pt x="904" y="392"/>
                  <a:pt x="904" y="392"/>
                </a:cubicBezTo>
                <a:cubicBezTo>
                  <a:pt x="907" y="391"/>
                  <a:pt x="907" y="391"/>
                  <a:pt x="907" y="391"/>
                </a:cubicBezTo>
                <a:cubicBezTo>
                  <a:pt x="911" y="389"/>
                  <a:pt x="911" y="389"/>
                  <a:pt x="911" y="389"/>
                </a:cubicBezTo>
                <a:cubicBezTo>
                  <a:pt x="911" y="388"/>
                  <a:pt x="911" y="388"/>
                  <a:pt x="911" y="388"/>
                </a:cubicBezTo>
                <a:cubicBezTo>
                  <a:pt x="914" y="387"/>
                  <a:pt x="914" y="387"/>
                  <a:pt x="914" y="387"/>
                </a:cubicBezTo>
                <a:cubicBezTo>
                  <a:pt x="915" y="386"/>
                  <a:pt x="915" y="386"/>
                  <a:pt x="915" y="386"/>
                </a:cubicBezTo>
                <a:cubicBezTo>
                  <a:pt x="916" y="385"/>
                  <a:pt x="916" y="385"/>
                  <a:pt x="916" y="385"/>
                </a:cubicBezTo>
                <a:cubicBezTo>
                  <a:pt x="918" y="382"/>
                  <a:pt x="918" y="382"/>
                  <a:pt x="918" y="382"/>
                </a:cubicBezTo>
                <a:cubicBezTo>
                  <a:pt x="919" y="383"/>
                  <a:pt x="919" y="383"/>
                  <a:pt x="919" y="383"/>
                </a:cubicBezTo>
                <a:cubicBezTo>
                  <a:pt x="920" y="383"/>
                  <a:pt x="920" y="383"/>
                  <a:pt x="920" y="383"/>
                </a:cubicBezTo>
                <a:cubicBezTo>
                  <a:pt x="921" y="382"/>
                  <a:pt x="921" y="382"/>
                  <a:pt x="921" y="382"/>
                </a:cubicBezTo>
                <a:cubicBezTo>
                  <a:pt x="920" y="381"/>
                  <a:pt x="920" y="381"/>
                  <a:pt x="920" y="381"/>
                </a:cubicBezTo>
                <a:cubicBezTo>
                  <a:pt x="920" y="379"/>
                  <a:pt x="920" y="379"/>
                  <a:pt x="920" y="379"/>
                </a:cubicBezTo>
                <a:cubicBezTo>
                  <a:pt x="919" y="380"/>
                  <a:pt x="919" y="380"/>
                  <a:pt x="919" y="380"/>
                </a:cubicBezTo>
                <a:cubicBezTo>
                  <a:pt x="919" y="379"/>
                  <a:pt x="919" y="379"/>
                  <a:pt x="919" y="379"/>
                </a:cubicBezTo>
                <a:cubicBezTo>
                  <a:pt x="920" y="376"/>
                  <a:pt x="920" y="376"/>
                  <a:pt x="920" y="376"/>
                </a:cubicBezTo>
                <a:cubicBezTo>
                  <a:pt x="921" y="376"/>
                  <a:pt x="921" y="376"/>
                  <a:pt x="921" y="376"/>
                </a:cubicBezTo>
                <a:cubicBezTo>
                  <a:pt x="921" y="374"/>
                  <a:pt x="921" y="374"/>
                  <a:pt x="921" y="374"/>
                </a:cubicBezTo>
                <a:cubicBezTo>
                  <a:pt x="921" y="372"/>
                  <a:pt x="921" y="372"/>
                  <a:pt x="921" y="372"/>
                </a:cubicBezTo>
                <a:cubicBezTo>
                  <a:pt x="920" y="370"/>
                  <a:pt x="920" y="370"/>
                  <a:pt x="920" y="370"/>
                </a:cubicBezTo>
                <a:cubicBezTo>
                  <a:pt x="920" y="366"/>
                  <a:pt x="920" y="366"/>
                  <a:pt x="920" y="366"/>
                </a:cubicBezTo>
                <a:cubicBezTo>
                  <a:pt x="920" y="363"/>
                  <a:pt x="920" y="363"/>
                  <a:pt x="920" y="363"/>
                </a:cubicBezTo>
                <a:cubicBezTo>
                  <a:pt x="918" y="360"/>
                  <a:pt x="918" y="360"/>
                  <a:pt x="918" y="360"/>
                </a:cubicBezTo>
                <a:cubicBezTo>
                  <a:pt x="916" y="359"/>
                  <a:pt x="916" y="359"/>
                  <a:pt x="916" y="359"/>
                </a:cubicBezTo>
                <a:cubicBezTo>
                  <a:pt x="916" y="358"/>
                  <a:pt x="916" y="358"/>
                  <a:pt x="916" y="358"/>
                </a:cubicBezTo>
                <a:cubicBezTo>
                  <a:pt x="915" y="358"/>
                  <a:pt x="915" y="358"/>
                  <a:pt x="915" y="358"/>
                </a:cubicBezTo>
                <a:cubicBezTo>
                  <a:pt x="914" y="357"/>
                  <a:pt x="914" y="357"/>
                  <a:pt x="914" y="357"/>
                </a:cubicBezTo>
                <a:cubicBezTo>
                  <a:pt x="915" y="354"/>
                  <a:pt x="915" y="354"/>
                  <a:pt x="915" y="354"/>
                </a:cubicBezTo>
                <a:cubicBezTo>
                  <a:pt x="916" y="354"/>
                  <a:pt x="916" y="354"/>
                  <a:pt x="916" y="354"/>
                </a:cubicBezTo>
                <a:cubicBezTo>
                  <a:pt x="920" y="350"/>
                  <a:pt x="920" y="350"/>
                  <a:pt x="920" y="350"/>
                </a:cubicBezTo>
                <a:cubicBezTo>
                  <a:pt x="921" y="350"/>
                  <a:pt x="921" y="350"/>
                  <a:pt x="921" y="350"/>
                </a:cubicBezTo>
                <a:cubicBezTo>
                  <a:pt x="921" y="349"/>
                  <a:pt x="921" y="349"/>
                  <a:pt x="921" y="349"/>
                </a:cubicBezTo>
                <a:cubicBezTo>
                  <a:pt x="921" y="348"/>
                  <a:pt x="921" y="348"/>
                  <a:pt x="921" y="348"/>
                </a:cubicBezTo>
                <a:cubicBezTo>
                  <a:pt x="921" y="347"/>
                  <a:pt x="921" y="347"/>
                  <a:pt x="921" y="347"/>
                </a:cubicBezTo>
                <a:cubicBezTo>
                  <a:pt x="922" y="346"/>
                  <a:pt x="922" y="346"/>
                  <a:pt x="922" y="346"/>
                </a:cubicBezTo>
                <a:cubicBezTo>
                  <a:pt x="923" y="346"/>
                  <a:pt x="923" y="346"/>
                  <a:pt x="923" y="346"/>
                </a:cubicBezTo>
                <a:cubicBezTo>
                  <a:pt x="924" y="347"/>
                  <a:pt x="924" y="347"/>
                  <a:pt x="924" y="347"/>
                </a:cubicBezTo>
                <a:cubicBezTo>
                  <a:pt x="924" y="346"/>
                  <a:pt x="924" y="346"/>
                  <a:pt x="924" y="346"/>
                </a:cubicBezTo>
                <a:cubicBezTo>
                  <a:pt x="925" y="345"/>
                  <a:pt x="925" y="345"/>
                  <a:pt x="925" y="345"/>
                </a:cubicBezTo>
                <a:cubicBezTo>
                  <a:pt x="927" y="343"/>
                  <a:pt x="927" y="343"/>
                  <a:pt x="927" y="343"/>
                </a:cubicBezTo>
                <a:cubicBezTo>
                  <a:pt x="926" y="342"/>
                  <a:pt x="926" y="342"/>
                  <a:pt x="926" y="342"/>
                </a:cubicBezTo>
                <a:cubicBezTo>
                  <a:pt x="925" y="342"/>
                  <a:pt x="925" y="342"/>
                  <a:pt x="925" y="342"/>
                </a:cubicBezTo>
                <a:cubicBezTo>
                  <a:pt x="925" y="341"/>
                  <a:pt x="925" y="341"/>
                  <a:pt x="925" y="341"/>
                </a:cubicBezTo>
                <a:cubicBezTo>
                  <a:pt x="926" y="340"/>
                  <a:pt x="926" y="340"/>
                  <a:pt x="926" y="340"/>
                </a:cubicBezTo>
                <a:cubicBezTo>
                  <a:pt x="925" y="339"/>
                  <a:pt x="925" y="339"/>
                  <a:pt x="925" y="339"/>
                </a:cubicBezTo>
                <a:cubicBezTo>
                  <a:pt x="925" y="338"/>
                  <a:pt x="925" y="338"/>
                  <a:pt x="925" y="338"/>
                </a:cubicBezTo>
                <a:cubicBezTo>
                  <a:pt x="926" y="337"/>
                  <a:pt x="926" y="337"/>
                  <a:pt x="926" y="337"/>
                </a:cubicBezTo>
                <a:cubicBezTo>
                  <a:pt x="925" y="337"/>
                  <a:pt x="925" y="337"/>
                  <a:pt x="925" y="337"/>
                </a:cubicBezTo>
                <a:cubicBezTo>
                  <a:pt x="925" y="336"/>
                  <a:pt x="925" y="336"/>
                  <a:pt x="925" y="336"/>
                </a:cubicBezTo>
                <a:cubicBezTo>
                  <a:pt x="926" y="334"/>
                  <a:pt x="926" y="334"/>
                  <a:pt x="926" y="334"/>
                </a:cubicBezTo>
                <a:cubicBezTo>
                  <a:pt x="927" y="334"/>
                  <a:pt x="927" y="334"/>
                  <a:pt x="927" y="334"/>
                </a:cubicBezTo>
                <a:cubicBezTo>
                  <a:pt x="926" y="333"/>
                  <a:pt x="926" y="333"/>
                  <a:pt x="926" y="333"/>
                </a:cubicBezTo>
                <a:cubicBezTo>
                  <a:pt x="924" y="334"/>
                  <a:pt x="924" y="334"/>
                  <a:pt x="924" y="334"/>
                </a:cubicBezTo>
                <a:cubicBezTo>
                  <a:pt x="923" y="333"/>
                  <a:pt x="923" y="333"/>
                  <a:pt x="923" y="333"/>
                </a:cubicBezTo>
                <a:cubicBezTo>
                  <a:pt x="923" y="332"/>
                  <a:pt x="923" y="332"/>
                  <a:pt x="923" y="332"/>
                </a:cubicBezTo>
                <a:cubicBezTo>
                  <a:pt x="926" y="330"/>
                  <a:pt x="926" y="330"/>
                  <a:pt x="926" y="330"/>
                </a:cubicBezTo>
                <a:cubicBezTo>
                  <a:pt x="928" y="328"/>
                  <a:pt x="928" y="328"/>
                  <a:pt x="928" y="328"/>
                </a:cubicBezTo>
                <a:cubicBezTo>
                  <a:pt x="928" y="326"/>
                  <a:pt x="928" y="326"/>
                  <a:pt x="928" y="326"/>
                </a:cubicBezTo>
                <a:cubicBezTo>
                  <a:pt x="929" y="327"/>
                  <a:pt x="929" y="327"/>
                  <a:pt x="929" y="327"/>
                </a:cubicBezTo>
                <a:cubicBezTo>
                  <a:pt x="929" y="326"/>
                  <a:pt x="929" y="326"/>
                  <a:pt x="929" y="326"/>
                </a:cubicBezTo>
                <a:cubicBezTo>
                  <a:pt x="929" y="324"/>
                  <a:pt x="929" y="324"/>
                  <a:pt x="929" y="324"/>
                </a:cubicBezTo>
                <a:cubicBezTo>
                  <a:pt x="928" y="324"/>
                  <a:pt x="928" y="324"/>
                  <a:pt x="928" y="324"/>
                </a:cubicBezTo>
                <a:cubicBezTo>
                  <a:pt x="927" y="322"/>
                  <a:pt x="927" y="322"/>
                  <a:pt x="927" y="322"/>
                </a:cubicBezTo>
                <a:cubicBezTo>
                  <a:pt x="927" y="320"/>
                  <a:pt x="927" y="320"/>
                  <a:pt x="927" y="320"/>
                </a:cubicBezTo>
                <a:cubicBezTo>
                  <a:pt x="928" y="318"/>
                  <a:pt x="928" y="318"/>
                  <a:pt x="928" y="318"/>
                </a:cubicBezTo>
                <a:cubicBezTo>
                  <a:pt x="928" y="316"/>
                  <a:pt x="928" y="316"/>
                  <a:pt x="928" y="316"/>
                </a:cubicBezTo>
                <a:cubicBezTo>
                  <a:pt x="929" y="316"/>
                  <a:pt x="929" y="316"/>
                  <a:pt x="929" y="316"/>
                </a:cubicBezTo>
                <a:cubicBezTo>
                  <a:pt x="930" y="316"/>
                  <a:pt x="930" y="316"/>
                  <a:pt x="930" y="316"/>
                </a:cubicBezTo>
                <a:cubicBezTo>
                  <a:pt x="930" y="315"/>
                  <a:pt x="930" y="315"/>
                  <a:pt x="930" y="315"/>
                </a:cubicBezTo>
                <a:cubicBezTo>
                  <a:pt x="931" y="315"/>
                  <a:pt x="931" y="315"/>
                  <a:pt x="931" y="315"/>
                </a:cubicBezTo>
                <a:cubicBezTo>
                  <a:pt x="932" y="315"/>
                  <a:pt x="932" y="315"/>
                  <a:pt x="932" y="315"/>
                </a:cubicBezTo>
                <a:cubicBezTo>
                  <a:pt x="933" y="314"/>
                  <a:pt x="933" y="314"/>
                  <a:pt x="933" y="314"/>
                </a:cubicBezTo>
                <a:cubicBezTo>
                  <a:pt x="934" y="315"/>
                  <a:pt x="934" y="315"/>
                  <a:pt x="934" y="315"/>
                </a:cubicBezTo>
                <a:cubicBezTo>
                  <a:pt x="936" y="315"/>
                  <a:pt x="936" y="315"/>
                  <a:pt x="936" y="315"/>
                </a:cubicBezTo>
                <a:cubicBezTo>
                  <a:pt x="938" y="316"/>
                  <a:pt x="938" y="316"/>
                  <a:pt x="938" y="316"/>
                </a:cubicBezTo>
                <a:cubicBezTo>
                  <a:pt x="941" y="318"/>
                  <a:pt x="941" y="318"/>
                  <a:pt x="941" y="318"/>
                </a:cubicBezTo>
                <a:cubicBezTo>
                  <a:pt x="942" y="318"/>
                  <a:pt x="942" y="318"/>
                  <a:pt x="942" y="318"/>
                </a:cubicBezTo>
                <a:cubicBezTo>
                  <a:pt x="942" y="319"/>
                  <a:pt x="942" y="319"/>
                  <a:pt x="942" y="319"/>
                </a:cubicBezTo>
                <a:cubicBezTo>
                  <a:pt x="944" y="318"/>
                  <a:pt x="944" y="318"/>
                  <a:pt x="944" y="318"/>
                </a:cubicBezTo>
                <a:cubicBezTo>
                  <a:pt x="945" y="318"/>
                  <a:pt x="945" y="318"/>
                  <a:pt x="945" y="318"/>
                </a:cubicBezTo>
                <a:cubicBezTo>
                  <a:pt x="946" y="319"/>
                  <a:pt x="946" y="319"/>
                  <a:pt x="946" y="319"/>
                </a:cubicBezTo>
                <a:cubicBezTo>
                  <a:pt x="947" y="319"/>
                  <a:pt x="947" y="319"/>
                  <a:pt x="947" y="319"/>
                </a:cubicBezTo>
                <a:cubicBezTo>
                  <a:pt x="948" y="320"/>
                  <a:pt x="948" y="320"/>
                  <a:pt x="948" y="320"/>
                </a:cubicBezTo>
                <a:cubicBezTo>
                  <a:pt x="948" y="319"/>
                  <a:pt x="948" y="319"/>
                  <a:pt x="948" y="319"/>
                </a:cubicBezTo>
                <a:cubicBezTo>
                  <a:pt x="949" y="319"/>
                  <a:pt x="949" y="319"/>
                  <a:pt x="949" y="319"/>
                </a:cubicBezTo>
                <a:cubicBezTo>
                  <a:pt x="950" y="319"/>
                  <a:pt x="950" y="319"/>
                  <a:pt x="950" y="319"/>
                </a:cubicBezTo>
                <a:cubicBezTo>
                  <a:pt x="951" y="319"/>
                  <a:pt x="951" y="319"/>
                  <a:pt x="951" y="319"/>
                </a:cubicBezTo>
                <a:cubicBezTo>
                  <a:pt x="952" y="318"/>
                  <a:pt x="952" y="318"/>
                  <a:pt x="952" y="318"/>
                </a:cubicBezTo>
                <a:cubicBezTo>
                  <a:pt x="954" y="319"/>
                  <a:pt x="954" y="319"/>
                  <a:pt x="954" y="319"/>
                </a:cubicBezTo>
                <a:cubicBezTo>
                  <a:pt x="954" y="321"/>
                  <a:pt x="954" y="321"/>
                  <a:pt x="954" y="321"/>
                </a:cubicBezTo>
                <a:cubicBezTo>
                  <a:pt x="956" y="322"/>
                  <a:pt x="956" y="322"/>
                  <a:pt x="956" y="322"/>
                </a:cubicBezTo>
                <a:cubicBezTo>
                  <a:pt x="957" y="322"/>
                  <a:pt x="957" y="322"/>
                  <a:pt x="957" y="322"/>
                </a:cubicBezTo>
                <a:cubicBezTo>
                  <a:pt x="957" y="324"/>
                  <a:pt x="957" y="324"/>
                  <a:pt x="957" y="324"/>
                </a:cubicBezTo>
                <a:cubicBezTo>
                  <a:pt x="956" y="325"/>
                  <a:pt x="956" y="325"/>
                  <a:pt x="956" y="325"/>
                </a:cubicBezTo>
                <a:cubicBezTo>
                  <a:pt x="956" y="326"/>
                  <a:pt x="956" y="326"/>
                  <a:pt x="956" y="326"/>
                </a:cubicBezTo>
                <a:cubicBezTo>
                  <a:pt x="957" y="325"/>
                  <a:pt x="957" y="325"/>
                  <a:pt x="957" y="325"/>
                </a:cubicBezTo>
                <a:cubicBezTo>
                  <a:pt x="958" y="326"/>
                  <a:pt x="958" y="326"/>
                  <a:pt x="958" y="326"/>
                </a:cubicBezTo>
                <a:cubicBezTo>
                  <a:pt x="959" y="328"/>
                  <a:pt x="959" y="328"/>
                  <a:pt x="959" y="328"/>
                </a:cubicBezTo>
                <a:cubicBezTo>
                  <a:pt x="958" y="328"/>
                  <a:pt x="958" y="328"/>
                  <a:pt x="958" y="328"/>
                </a:cubicBezTo>
                <a:cubicBezTo>
                  <a:pt x="959" y="329"/>
                  <a:pt x="959" y="329"/>
                  <a:pt x="959" y="329"/>
                </a:cubicBezTo>
                <a:cubicBezTo>
                  <a:pt x="960" y="328"/>
                  <a:pt x="960" y="328"/>
                  <a:pt x="960" y="328"/>
                </a:cubicBezTo>
                <a:cubicBezTo>
                  <a:pt x="961" y="329"/>
                  <a:pt x="961" y="329"/>
                  <a:pt x="961" y="329"/>
                </a:cubicBezTo>
                <a:cubicBezTo>
                  <a:pt x="961" y="330"/>
                  <a:pt x="961" y="330"/>
                  <a:pt x="961" y="330"/>
                </a:cubicBezTo>
                <a:cubicBezTo>
                  <a:pt x="960" y="329"/>
                  <a:pt x="960" y="329"/>
                  <a:pt x="960" y="329"/>
                </a:cubicBezTo>
                <a:cubicBezTo>
                  <a:pt x="959" y="331"/>
                  <a:pt x="959" y="331"/>
                  <a:pt x="959" y="331"/>
                </a:cubicBezTo>
                <a:cubicBezTo>
                  <a:pt x="958" y="331"/>
                  <a:pt x="958" y="331"/>
                  <a:pt x="958" y="331"/>
                </a:cubicBezTo>
                <a:cubicBezTo>
                  <a:pt x="960" y="332"/>
                  <a:pt x="960" y="332"/>
                  <a:pt x="960" y="332"/>
                </a:cubicBezTo>
                <a:cubicBezTo>
                  <a:pt x="960" y="333"/>
                  <a:pt x="960" y="333"/>
                  <a:pt x="960" y="333"/>
                </a:cubicBezTo>
                <a:cubicBezTo>
                  <a:pt x="961" y="332"/>
                  <a:pt x="961" y="332"/>
                  <a:pt x="961" y="332"/>
                </a:cubicBezTo>
                <a:cubicBezTo>
                  <a:pt x="961" y="333"/>
                  <a:pt x="961" y="333"/>
                  <a:pt x="961" y="333"/>
                </a:cubicBezTo>
                <a:cubicBezTo>
                  <a:pt x="962" y="333"/>
                  <a:pt x="962" y="333"/>
                  <a:pt x="962" y="333"/>
                </a:cubicBezTo>
                <a:cubicBezTo>
                  <a:pt x="964" y="334"/>
                  <a:pt x="964" y="334"/>
                  <a:pt x="964" y="334"/>
                </a:cubicBezTo>
                <a:cubicBezTo>
                  <a:pt x="965" y="334"/>
                  <a:pt x="965" y="334"/>
                  <a:pt x="965" y="334"/>
                </a:cubicBezTo>
                <a:cubicBezTo>
                  <a:pt x="965" y="335"/>
                  <a:pt x="965" y="335"/>
                  <a:pt x="965" y="335"/>
                </a:cubicBezTo>
                <a:cubicBezTo>
                  <a:pt x="966" y="334"/>
                  <a:pt x="966" y="334"/>
                  <a:pt x="966" y="334"/>
                </a:cubicBezTo>
                <a:cubicBezTo>
                  <a:pt x="968" y="335"/>
                  <a:pt x="968" y="335"/>
                  <a:pt x="968" y="335"/>
                </a:cubicBezTo>
                <a:cubicBezTo>
                  <a:pt x="968" y="337"/>
                  <a:pt x="968" y="337"/>
                  <a:pt x="968" y="337"/>
                </a:cubicBezTo>
                <a:cubicBezTo>
                  <a:pt x="968" y="338"/>
                  <a:pt x="968" y="338"/>
                  <a:pt x="968" y="338"/>
                </a:cubicBezTo>
                <a:cubicBezTo>
                  <a:pt x="970" y="337"/>
                  <a:pt x="970" y="337"/>
                  <a:pt x="970" y="337"/>
                </a:cubicBezTo>
                <a:cubicBezTo>
                  <a:pt x="970" y="335"/>
                  <a:pt x="970" y="335"/>
                  <a:pt x="970" y="335"/>
                </a:cubicBezTo>
                <a:cubicBezTo>
                  <a:pt x="971" y="335"/>
                  <a:pt x="971" y="335"/>
                  <a:pt x="971" y="335"/>
                </a:cubicBezTo>
                <a:cubicBezTo>
                  <a:pt x="971" y="337"/>
                  <a:pt x="971" y="337"/>
                  <a:pt x="971" y="337"/>
                </a:cubicBezTo>
                <a:cubicBezTo>
                  <a:pt x="971" y="339"/>
                  <a:pt x="971" y="339"/>
                  <a:pt x="971" y="339"/>
                </a:cubicBezTo>
                <a:cubicBezTo>
                  <a:pt x="969" y="339"/>
                  <a:pt x="969" y="339"/>
                  <a:pt x="969" y="339"/>
                </a:cubicBezTo>
                <a:cubicBezTo>
                  <a:pt x="968" y="341"/>
                  <a:pt x="968" y="341"/>
                  <a:pt x="968" y="341"/>
                </a:cubicBezTo>
                <a:cubicBezTo>
                  <a:pt x="968" y="344"/>
                  <a:pt x="968" y="344"/>
                  <a:pt x="968" y="344"/>
                </a:cubicBezTo>
                <a:cubicBezTo>
                  <a:pt x="967" y="345"/>
                  <a:pt x="967" y="345"/>
                  <a:pt x="967" y="345"/>
                </a:cubicBezTo>
                <a:cubicBezTo>
                  <a:pt x="967" y="346"/>
                  <a:pt x="967" y="346"/>
                  <a:pt x="967" y="346"/>
                </a:cubicBezTo>
                <a:cubicBezTo>
                  <a:pt x="964" y="346"/>
                  <a:pt x="964" y="346"/>
                  <a:pt x="964" y="346"/>
                </a:cubicBezTo>
                <a:cubicBezTo>
                  <a:pt x="961" y="345"/>
                  <a:pt x="961" y="345"/>
                  <a:pt x="961" y="345"/>
                </a:cubicBezTo>
                <a:cubicBezTo>
                  <a:pt x="964" y="347"/>
                  <a:pt x="964" y="347"/>
                  <a:pt x="964" y="347"/>
                </a:cubicBezTo>
                <a:cubicBezTo>
                  <a:pt x="966" y="347"/>
                  <a:pt x="966" y="347"/>
                  <a:pt x="966" y="347"/>
                </a:cubicBezTo>
                <a:cubicBezTo>
                  <a:pt x="968" y="348"/>
                  <a:pt x="968" y="348"/>
                  <a:pt x="968" y="348"/>
                </a:cubicBezTo>
                <a:cubicBezTo>
                  <a:pt x="967" y="351"/>
                  <a:pt x="967" y="351"/>
                  <a:pt x="967" y="351"/>
                </a:cubicBezTo>
                <a:cubicBezTo>
                  <a:pt x="966" y="352"/>
                  <a:pt x="966" y="352"/>
                  <a:pt x="966" y="352"/>
                </a:cubicBezTo>
                <a:cubicBezTo>
                  <a:pt x="966" y="353"/>
                  <a:pt x="966" y="353"/>
                  <a:pt x="966" y="353"/>
                </a:cubicBezTo>
                <a:cubicBezTo>
                  <a:pt x="965" y="355"/>
                  <a:pt x="965" y="355"/>
                  <a:pt x="965" y="355"/>
                </a:cubicBezTo>
                <a:cubicBezTo>
                  <a:pt x="967" y="357"/>
                  <a:pt x="967" y="357"/>
                  <a:pt x="967" y="357"/>
                </a:cubicBezTo>
                <a:cubicBezTo>
                  <a:pt x="968" y="358"/>
                  <a:pt x="968" y="358"/>
                  <a:pt x="968" y="358"/>
                </a:cubicBezTo>
                <a:cubicBezTo>
                  <a:pt x="967" y="358"/>
                  <a:pt x="967" y="358"/>
                  <a:pt x="967" y="358"/>
                </a:cubicBezTo>
                <a:cubicBezTo>
                  <a:pt x="965" y="357"/>
                  <a:pt x="965" y="357"/>
                  <a:pt x="965" y="357"/>
                </a:cubicBezTo>
                <a:cubicBezTo>
                  <a:pt x="966" y="359"/>
                  <a:pt x="966" y="359"/>
                  <a:pt x="966" y="359"/>
                </a:cubicBezTo>
                <a:cubicBezTo>
                  <a:pt x="968" y="360"/>
                  <a:pt x="968" y="360"/>
                  <a:pt x="968" y="360"/>
                </a:cubicBezTo>
                <a:cubicBezTo>
                  <a:pt x="968" y="358"/>
                  <a:pt x="968" y="358"/>
                  <a:pt x="968" y="358"/>
                </a:cubicBezTo>
                <a:cubicBezTo>
                  <a:pt x="969" y="358"/>
                  <a:pt x="969" y="358"/>
                  <a:pt x="969" y="358"/>
                </a:cubicBezTo>
                <a:cubicBezTo>
                  <a:pt x="970" y="360"/>
                  <a:pt x="970" y="360"/>
                  <a:pt x="970" y="360"/>
                </a:cubicBezTo>
                <a:cubicBezTo>
                  <a:pt x="971" y="361"/>
                  <a:pt x="971" y="361"/>
                  <a:pt x="971" y="361"/>
                </a:cubicBezTo>
                <a:cubicBezTo>
                  <a:pt x="970" y="362"/>
                  <a:pt x="970" y="362"/>
                  <a:pt x="970" y="362"/>
                </a:cubicBezTo>
                <a:cubicBezTo>
                  <a:pt x="970" y="364"/>
                  <a:pt x="970" y="364"/>
                  <a:pt x="970" y="364"/>
                </a:cubicBezTo>
                <a:cubicBezTo>
                  <a:pt x="969" y="366"/>
                  <a:pt x="969" y="366"/>
                  <a:pt x="969" y="366"/>
                </a:cubicBezTo>
                <a:cubicBezTo>
                  <a:pt x="969" y="367"/>
                  <a:pt x="969" y="367"/>
                  <a:pt x="969" y="367"/>
                </a:cubicBezTo>
                <a:cubicBezTo>
                  <a:pt x="968" y="368"/>
                  <a:pt x="968" y="368"/>
                  <a:pt x="968" y="368"/>
                </a:cubicBezTo>
                <a:cubicBezTo>
                  <a:pt x="969" y="368"/>
                  <a:pt x="969" y="368"/>
                  <a:pt x="969" y="368"/>
                </a:cubicBezTo>
                <a:cubicBezTo>
                  <a:pt x="971" y="364"/>
                  <a:pt x="971" y="364"/>
                  <a:pt x="971" y="364"/>
                </a:cubicBezTo>
                <a:cubicBezTo>
                  <a:pt x="973" y="363"/>
                  <a:pt x="973" y="363"/>
                  <a:pt x="973" y="363"/>
                </a:cubicBezTo>
                <a:cubicBezTo>
                  <a:pt x="973" y="364"/>
                  <a:pt x="973" y="364"/>
                  <a:pt x="973" y="364"/>
                </a:cubicBezTo>
                <a:cubicBezTo>
                  <a:pt x="973" y="366"/>
                  <a:pt x="973" y="366"/>
                  <a:pt x="973" y="366"/>
                </a:cubicBezTo>
                <a:cubicBezTo>
                  <a:pt x="972" y="367"/>
                  <a:pt x="972" y="367"/>
                  <a:pt x="972" y="367"/>
                </a:cubicBezTo>
                <a:cubicBezTo>
                  <a:pt x="973" y="368"/>
                  <a:pt x="973" y="368"/>
                  <a:pt x="973" y="368"/>
                </a:cubicBezTo>
                <a:cubicBezTo>
                  <a:pt x="974" y="366"/>
                  <a:pt x="974" y="366"/>
                  <a:pt x="974" y="366"/>
                </a:cubicBezTo>
                <a:cubicBezTo>
                  <a:pt x="975" y="365"/>
                  <a:pt x="975" y="365"/>
                  <a:pt x="975" y="365"/>
                </a:cubicBezTo>
                <a:cubicBezTo>
                  <a:pt x="976" y="365"/>
                  <a:pt x="976" y="365"/>
                  <a:pt x="976" y="365"/>
                </a:cubicBezTo>
                <a:cubicBezTo>
                  <a:pt x="977" y="364"/>
                  <a:pt x="977" y="364"/>
                  <a:pt x="977" y="364"/>
                </a:cubicBezTo>
                <a:cubicBezTo>
                  <a:pt x="978" y="364"/>
                  <a:pt x="978" y="364"/>
                  <a:pt x="978" y="364"/>
                </a:cubicBezTo>
                <a:cubicBezTo>
                  <a:pt x="978" y="365"/>
                  <a:pt x="978" y="365"/>
                  <a:pt x="978" y="365"/>
                </a:cubicBezTo>
                <a:cubicBezTo>
                  <a:pt x="979" y="364"/>
                  <a:pt x="979" y="364"/>
                  <a:pt x="979" y="364"/>
                </a:cubicBezTo>
                <a:cubicBezTo>
                  <a:pt x="980" y="364"/>
                  <a:pt x="980" y="364"/>
                  <a:pt x="980" y="364"/>
                </a:cubicBezTo>
                <a:cubicBezTo>
                  <a:pt x="980" y="363"/>
                  <a:pt x="980" y="363"/>
                  <a:pt x="980" y="363"/>
                </a:cubicBezTo>
                <a:cubicBezTo>
                  <a:pt x="981" y="362"/>
                  <a:pt x="981" y="362"/>
                  <a:pt x="981" y="362"/>
                </a:cubicBezTo>
                <a:cubicBezTo>
                  <a:pt x="983" y="360"/>
                  <a:pt x="983" y="360"/>
                  <a:pt x="983" y="360"/>
                </a:cubicBezTo>
                <a:cubicBezTo>
                  <a:pt x="983" y="361"/>
                  <a:pt x="983" y="361"/>
                  <a:pt x="983" y="361"/>
                </a:cubicBezTo>
                <a:cubicBezTo>
                  <a:pt x="984" y="363"/>
                  <a:pt x="984" y="363"/>
                  <a:pt x="984" y="363"/>
                </a:cubicBezTo>
                <a:cubicBezTo>
                  <a:pt x="984" y="362"/>
                  <a:pt x="984" y="362"/>
                  <a:pt x="984" y="362"/>
                </a:cubicBezTo>
                <a:cubicBezTo>
                  <a:pt x="984" y="361"/>
                  <a:pt x="984" y="361"/>
                  <a:pt x="984" y="361"/>
                </a:cubicBezTo>
                <a:cubicBezTo>
                  <a:pt x="985" y="360"/>
                  <a:pt x="985" y="360"/>
                  <a:pt x="985" y="360"/>
                </a:cubicBezTo>
                <a:cubicBezTo>
                  <a:pt x="986" y="359"/>
                  <a:pt x="986" y="359"/>
                  <a:pt x="986" y="359"/>
                </a:cubicBezTo>
                <a:cubicBezTo>
                  <a:pt x="987" y="358"/>
                  <a:pt x="987" y="358"/>
                  <a:pt x="987" y="358"/>
                </a:cubicBezTo>
                <a:cubicBezTo>
                  <a:pt x="987" y="357"/>
                  <a:pt x="987" y="357"/>
                  <a:pt x="987" y="357"/>
                </a:cubicBezTo>
                <a:cubicBezTo>
                  <a:pt x="988" y="356"/>
                  <a:pt x="988" y="356"/>
                  <a:pt x="988" y="356"/>
                </a:cubicBezTo>
                <a:cubicBezTo>
                  <a:pt x="989" y="355"/>
                  <a:pt x="989" y="355"/>
                  <a:pt x="989" y="355"/>
                </a:cubicBezTo>
                <a:cubicBezTo>
                  <a:pt x="989" y="354"/>
                  <a:pt x="989" y="354"/>
                  <a:pt x="989" y="354"/>
                </a:cubicBezTo>
                <a:cubicBezTo>
                  <a:pt x="989" y="353"/>
                  <a:pt x="989" y="353"/>
                  <a:pt x="989" y="353"/>
                </a:cubicBezTo>
                <a:cubicBezTo>
                  <a:pt x="990" y="351"/>
                  <a:pt x="990" y="351"/>
                  <a:pt x="990" y="351"/>
                </a:cubicBezTo>
                <a:cubicBezTo>
                  <a:pt x="991" y="351"/>
                  <a:pt x="991" y="351"/>
                  <a:pt x="991" y="351"/>
                </a:cubicBezTo>
                <a:cubicBezTo>
                  <a:pt x="991" y="350"/>
                  <a:pt x="991" y="350"/>
                  <a:pt x="991" y="350"/>
                </a:cubicBezTo>
                <a:cubicBezTo>
                  <a:pt x="992" y="350"/>
                  <a:pt x="992" y="350"/>
                  <a:pt x="992" y="350"/>
                </a:cubicBezTo>
                <a:cubicBezTo>
                  <a:pt x="992" y="349"/>
                  <a:pt x="992" y="349"/>
                  <a:pt x="992" y="349"/>
                </a:cubicBezTo>
                <a:cubicBezTo>
                  <a:pt x="993" y="347"/>
                  <a:pt x="993" y="347"/>
                  <a:pt x="993" y="347"/>
                </a:cubicBezTo>
                <a:cubicBezTo>
                  <a:pt x="994" y="346"/>
                  <a:pt x="994" y="346"/>
                  <a:pt x="994" y="346"/>
                </a:cubicBezTo>
                <a:cubicBezTo>
                  <a:pt x="994" y="345"/>
                  <a:pt x="994" y="345"/>
                  <a:pt x="994" y="345"/>
                </a:cubicBezTo>
                <a:cubicBezTo>
                  <a:pt x="995" y="344"/>
                  <a:pt x="995" y="344"/>
                  <a:pt x="995" y="344"/>
                </a:cubicBezTo>
                <a:cubicBezTo>
                  <a:pt x="996" y="343"/>
                  <a:pt x="996" y="343"/>
                  <a:pt x="996" y="343"/>
                </a:cubicBezTo>
                <a:cubicBezTo>
                  <a:pt x="997" y="344"/>
                  <a:pt x="997" y="344"/>
                  <a:pt x="997" y="344"/>
                </a:cubicBezTo>
                <a:cubicBezTo>
                  <a:pt x="997" y="345"/>
                  <a:pt x="997" y="345"/>
                  <a:pt x="997" y="345"/>
                </a:cubicBezTo>
                <a:cubicBezTo>
                  <a:pt x="996" y="345"/>
                  <a:pt x="996" y="345"/>
                  <a:pt x="996" y="345"/>
                </a:cubicBezTo>
                <a:cubicBezTo>
                  <a:pt x="996" y="346"/>
                  <a:pt x="996" y="346"/>
                  <a:pt x="996" y="346"/>
                </a:cubicBezTo>
                <a:cubicBezTo>
                  <a:pt x="997" y="347"/>
                  <a:pt x="997" y="347"/>
                  <a:pt x="997" y="347"/>
                </a:cubicBezTo>
                <a:cubicBezTo>
                  <a:pt x="996" y="348"/>
                  <a:pt x="996" y="348"/>
                  <a:pt x="996" y="348"/>
                </a:cubicBezTo>
                <a:cubicBezTo>
                  <a:pt x="997" y="348"/>
                  <a:pt x="997" y="348"/>
                  <a:pt x="997" y="348"/>
                </a:cubicBezTo>
                <a:cubicBezTo>
                  <a:pt x="997" y="350"/>
                  <a:pt x="997" y="350"/>
                  <a:pt x="997" y="350"/>
                </a:cubicBezTo>
                <a:cubicBezTo>
                  <a:pt x="997" y="351"/>
                  <a:pt x="997" y="351"/>
                  <a:pt x="997" y="351"/>
                </a:cubicBezTo>
                <a:cubicBezTo>
                  <a:pt x="997" y="352"/>
                  <a:pt x="997" y="352"/>
                  <a:pt x="997" y="352"/>
                </a:cubicBezTo>
                <a:cubicBezTo>
                  <a:pt x="997" y="353"/>
                  <a:pt x="997" y="353"/>
                  <a:pt x="997" y="353"/>
                </a:cubicBezTo>
                <a:cubicBezTo>
                  <a:pt x="998" y="354"/>
                  <a:pt x="998" y="354"/>
                  <a:pt x="998" y="354"/>
                </a:cubicBezTo>
                <a:cubicBezTo>
                  <a:pt x="998" y="355"/>
                  <a:pt x="998" y="355"/>
                  <a:pt x="998" y="355"/>
                </a:cubicBezTo>
                <a:cubicBezTo>
                  <a:pt x="998" y="356"/>
                  <a:pt x="998" y="356"/>
                  <a:pt x="998" y="356"/>
                </a:cubicBezTo>
                <a:cubicBezTo>
                  <a:pt x="997" y="355"/>
                  <a:pt x="997" y="355"/>
                  <a:pt x="997" y="355"/>
                </a:cubicBezTo>
                <a:cubicBezTo>
                  <a:pt x="996" y="356"/>
                  <a:pt x="996" y="356"/>
                  <a:pt x="996" y="356"/>
                </a:cubicBezTo>
                <a:cubicBezTo>
                  <a:pt x="997" y="357"/>
                  <a:pt x="997" y="357"/>
                  <a:pt x="997" y="357"/>
                </a:cubicBezTo>
                <a:cubicBezTo>
                  <a:pt x="998" y="357"/>
                  <a:pt x="998" y="357"/>
                  <a:pt x="998" y="357"/>
                </a:cubicBezTo>
                <a:cubicBezTo>
                  <a:pt x="999" y="356"/>
                  <a:pt x="999" y="356"/>
                  <a:pt x="999" y="356"/>
                </a:cubicBezTo>
                <a:cubicBezTo>
                  <a:pt x="999" y="357"/>
                  <a:pt x="999" y="357"/>
                  <a:pt x="999" y="357"/>
                </a:cubicBezTo>
                <a:cubicBezTo>
                  <a:pt x="1000" y="358"/>
                  <a:pt x="1000" y="358"/>
                  <a:pt x="1000" y="358"/>
                </a:cubicBezTo>
                <a:cubicBezTo>
                  <a:pt x="999" y="359"/>
                  <a:pt x="999" y="359"/>
                  <a:pt x="999" y="359"/>
                </a:cubicBezTo>
                <a:cubicBezTo>
                  <a:pt x="998" y="360"/>
                  <a:pt x="998" y="360"/>
                  <a:pt x="998" y="360"/>
                </a:cubicBezTo>
                <a:cubicBezTo>
                  <a:pt x="996" y="359"/>
                  <a:pt x="996" y="359"/>
                  <a:pt x="996" y="359"/>
                </a:cubicBezTo>
                <a:cubicBezTo>
                  <a:pt x="996" y="360"/>
                  <a:pt x="996" y="360"/>
                  <a:pt x="996" y="360"/>
                </a:cubicBezTo>
                <a:cubicBezTo>
                  <a:pt x="997" y="361"/>
                  <a:pt x="997" y="361"/>
                  <a:pt x="997" y="361"/>
                </a:cubicBezTo>
                <a:cubicBezTo>
                  <a:pt x="999" y="360"/>
                  <a:pt x="999" y="360"/>
                  <a:pt x="999" y="360"/>
                </a:cubicBezTo>
                <a:cubicBezTo>
                  <a:pt x="1000" y="360"/>
                  <a:pt x="1000" y="360"/>
                  <a:pt x="1000" y="360"/>
                </a:cubicBezTo>
                <a:cubicBezTo>
                  <a:pt x="1000" y="361"/>
                  <a:pt x="1000" y="361"/>
                  <a:pt x="1000" y="361"/>
                </a:cubicBezTo>
                <a:cubicBezTo>
                  <a:pt x="999" y="363"/>
                  <a:pt x="999" y="363"/>
                  <a:pt x="999" y="363"/>
                </a:cubicBezTo>
                <a:cubicBezTo>
                  <a:pt x="1000" y="363"/>
                  <a:pt x="1000" y="363"/>
                  <a:pt x="1000" y="363"/>
                </a:cubicBezTo>
                <a:cubicBezTo>
                  <a:pt x="1001" y="362"/>
                  <a:pt x="1001" y="362"/>
                  <a:pt x="1001" y="362"/>
                </a:cubicBezTo>
                <a:cubicBezTo>
                  <a:pt x="1001" y="364"/>
                  <a:pt x="1001" y="364"/>
                  <a:pt x="1001" y="364"/>
                </a:cubicBezTo>
                <a:cubicBezTo>
                  <a:pt x="1000" y="365"/>
                  <a:pt x="1000" y="365"/>
                  <a:pt x="1000" y="365"/>
                </a:cubicBezTo>
                <a:cubicBezTo>
                  <a:pt x="998" y="365"/>
                  <a:pt x="998" y="365"/>
                  <a:pt x="998" y="365"/>
                </a:cubicBezTo>
                <a:cubicBezTo>
                  <a:pt x="997" y="365"/>
                  <a:pt x="997" y="365"/>
                  <a:pt x="997" y="365"/>
                </a:cubicBezTo>
                <a:cubicBezTo>
                  <a:pt x="997" y="366"/>
                  <a:pt x="997" y="366"/>
                  <a:pt x="997" y="366"/>
                </a:cubicBezTo>
                <a:cubicBezTo>
                  <a:pt x="996" y="367"/>
                  <a:pt x="996" y="367"/>
                  <a:pt x="996" y="367"/>
                </a:cubicBezTo>
                <a:cubicBezTo>
                  <a:pt x="998" y="367"/>
                  <a:pt x="998" y="367"/>
                  <a:pt x="998" y="367"/>
                </a:cubicBezTo>
                <a:cubicBezTo>
                  <a:pt x="1000" y="367"/>
                  <a:pt x="1000" y="367"/>
                  <a:pt x="1000" y="367"/>
                </a:cubicBezTo>
                <a:cubicBezTo>
                  <a:pt x="1001" y="366"/>
                  <a:pt x="1001" y="366"/>
                  <a:pt x="1001" y="366"/>
                </a:cubicBezTo>
                <a:cubicBezTo>
                  <a:pt x="1002" y="366"/>
                  <a:pt x="1002" y="366"/>
                  <a:pt x="1002" y="366"/>
                </a:cubicBezTo>
                <a:cubicBezTo>
                  <a:pt x="1001" y="367"/>
                  <a:pt x="1001" y="367"/>
                  <a:pt x="1001" y="367"/>
                </a:cubicBezTo>
                <a:cubicBezTo>
                  <a:pt x="1001" y="368"/>
                  <a:pt x="1001" y="368"/>
                  <a:pt x="1001" y="368"/>
                </a:cubicBezTo>
                <a:cubicBezTo>
                  <a:pt x="1000" y="368"/>
                  <a:pt x="1000" y="368"/>
                  <a:pt x="1000" y="368"/>
                </a:cubicBezTo>
                <a:cubicBezTo>
                  <a:pt x="999" y="368"/>
                  <a:pt x="999" y="368"/>
                  <a:pt x="999" y="368"/>
                </a:cubicBezTo>
                <a:cubicBezTo>
                  <a:pt x="997" y="371"/>
                  <a:pt x="997" y="371"/>
                  <a:pt x="997" y="371"/>
                </a:cubicBezTo>
                <a:cubicBezTo>
                  <a:pt x="999" y="370"/>
                  <a:pt x="999" y="370"/>
                  <a:pt x="999" y="370"/>
                </a:cubicBezTo>
                <a:cubicBezTo>
                  <a:pt x="1000" y="370"/>
                  <a:pt x="1000" y="370"/>
                  <a:pt x="1000" y="370"/>
                </a:cubicBezTo>
                <a:cubicBezTo>
                  <a:pt x="1001" y="369"/>
                  <a:pt x="1001" y="369"/>
                  <a:pt x="1001" y="369"/>
                </a:cubicBezTo>
                <a:cubicBezTo>
                  <a:pt x="1002" y="370"/>
                  <a:pt x="1002" y="370"/>
                  <a:pt x="1002" y="370"/>
                </a:cubicBezTo>
                <a:cubicBezTo>
                  <a:pt x="1002" y="371"/>
                  <a:pt x="1002" y="371"/>
                  <a:pt x="1002" y="371"/>
                </a:cubicBezTo>
                <a:cubicBezTo>
                  <a:pt x="1001" y="371"/>
                  <a:pt x="1001" y="371"/>
                  <a:pt x="1001" y="371"/>
                </a:cubicBezTo>
                <a:cubicBezTo>
                  <a:pt x="1000" y="372"/>
                  <a:pt x="1000" y="372"/>
                  <a:pt x="1000" y="372"/>
                </a:cubicBezTo>
                <a:cubicBezTo>
                  <a:pt x="1002" y="373"/>
                  <a:pt x="1002" y="373"/>
                  <a:pt x="1002" y="373"/>
                </a:cubicBezTo>
                <a:cubicBezTo>
                  <a:pt x="1002" y="372"/>
                  <a:pt x="1002" y="372"/>
                  <a:pt x="1002" y="372"/>
                </a:cubicBezTo>
                <a:cubicBezTo>
                  <a:pt x="1003" y="373"/>
                  <a:pt x="1003" y="373"/>
                  <a:pt x="1003" y="373"/>
                </a:cubicBezTo>
                <a:cubicBezTo>
                  <a:pt x="1004" y="375"/>
                  <a:pt x="1004" y="375"/>
                  <a:pt x="1004" y="375"/>
                </a:cubicBezTo>
                <a:cubicBezTo>
                  <a:pt x="1003" y="376"/>
                  <a:pt x="1003" y="376"/>
                  <a:pt x="1003" y="376"/>
                </a:cubicBezTo>
                <a:cubicBezTo>
                  <a:pt x="1002" y="376"/>
                  <a:pt x="1002" y="376"/>
                  <a:pt x="1002" y="376"/>
                </a:cubicBezTo>
                <a:cubicBezTo>
                  <a:pt x="1001" y="376"/>
                  <a:pt x="1001" y="376"/>
                  <a:pt x="1001" y="376"/>
                </a:cubicBezTo>
                <a:cubicBezTo>
                  <a:pt x="1000" y="376"/>
                  <a:pt x="1000" y="376"/>
                  <a:pt x="1000" y="376"/>
                </a:cubicBezTo>
                <a:cubicBezTo>
                  <a:pt x="1001" y="377"/>
                  <a:pt x="1001" y="377"/>
                  <a:pt x="1001" y="377"/>
                </a:cubicBezTo>
                <a:cubicBezTo>
                  <a:pt x="1002" y="377"/>
                  <a:pt x="1002" y="377"/>
                  <a:pt x="1002" y="377"/>
                </a:cubicBezTo>
                <a:cubicBezTo>
                  <a:pt x="1004" y="377"/>
                  <a:pt x="1004" y="377"/>
                  <a:pt x="1004" y="377"/>
                </a:cubicBezTo>
                <a:cubicBezTo>
                  <a:pt x="1004" y="378"/>
                  <a:pt x="1004" y="378"/>
                  <a:pt x="1004" y="378"/>
                </a:cubicBezTo>
                <a:cubicBezTo>
                  <a:pt x="1004" y="379"/>
                  <a:pt x="1004" y="379"/>
                  <a:pt x="1004" y="379"/>
                </a:cubicBezTo>
                <a:cubicBezTo>
                  <a:pt x="1003" y="379"/>
                  <a:pt x="1003" y="379"/>
                  <a:pt x="1003" y="379"/>
                </a:cubicBezTo>
                <a:cubicBezTo>
                  <a:pt x="1004" y="380"/>
                  <a:pt x="1004" y="380"/>
                  <a:pt x="1004" y="380"/>
                </a:cubicBezTo>
                <a:cubicBezTo>
                  <a:pt x="1005" y="380"/>
                  <a:pt x="1005" y="380"/>
                  <a:pt x="1005" y="380"/>
                </a:cubicBezTo>
                <a:cubicBezTo>
                  <a:pt x="1006" y="381"/>
                  <a:pt x="1006" y="381"/>
                  <a:pt x="1006" y="381"/>
                </a:cubicBezTo>
                <a:cubicBezTo>
                  <a:pt x="1006" y="382"/>
                  <a:pt x="1006" y="382"/>
                  <a:pt x="1006" y="382"/>
                </a:cubicBezTo>
                <a:cubicBezTo>
                  <a:pt x="1005" y="382"/>
                  <a:pt x="1005" y="382"/>
                  <a:pt x="1005" y="382"/>
                </a:cubicBezTo>
                <a:cubicBezTo>
                  <a:pt x="1003" y="384"/>
                  <a:pt x="1003" y="384"/>
                  <a:pt x="1003" y="384"/>
                </a:cubicBezTo>
                <a:cubicBezTo>
                  <a:pt x="1003" y="383"/>
                  <a:pt x="1003" y="383"/>
                  <a:pt x="1003" y="383"/>
                </a:cubicBezTo>
                <a:cubicBezTo>
                  <a:pt x="1002" y="384"/>
                  <a:pt x="1002" y="384"/>
                  <a:pt x="1002" y="384"/>
                </a:cubicBezTo>
                <a:cubicBezTo>
                  <a:pt x="1003" y="384"/>
                  <a:pt x="1003" y="384"/>
                  <a:pt x="1003" y="384"/>
                </a:cubicBezTo>
                <a:cubicBezTo>
                  <a:pt x="1003" y="385"/>
                  <a:pt x="1003" y="385"/>
                  <a:pt x="1003" y="385"/>
                </a:cubicBezTo>
                <a:cubicBezTo>
                  <a:pt x="1002" y="385"/>
                  <a:pt x="1002" y="385"/>
                  <a:pt x="1002" y="385"/>
                </a:cubicBezTo>
                <a:cubicBezTo>
                  <a:pt x="1000" y="384"/>
                  <a:pt x="1000" y="384"/>
                  <a:pt x="1000" y="384"/>
                </a:cubicBezTo>
                <a:cubicBezTo>
                  <a:pt x="999" y="384"/>
                  <a:pt x="999" y="384"/>
                  <a:pt x="999" y="384"/>
                </a:cubicBezTo>
                <a:cubicBezTo>
                  <a:pt x="1000" y="385"/>
                  <a:pt x="1000" y="385"/>
                  <a:pt x="1000" y="385"/>
                </a:cubicBezTo>
                <a:cubicBezTo>
                  <a:pt x="1000" y="386"/>
                  <a:pt x="1000" y="386"/>
                  <a:pt x="1000" y="386"/>
                </a:cubicBezTo>
                <a:cubicBezTo>
                  <a:pt x="1002" y="387"/>
                  <a:pt x="1002" y="387"/>
                  <a:pt x="1002" y="387"/>
                </a:cubicBezTo>
                <a:cubicBezTo>
                  <a:pt x="1002" y="388"/>
                  <a:pt x="1002" y="388"/>
                  <a:pt x="1002" y="388"/>
                </a:cubicBezTo>
                <a:cubicBezTo>
                  <a:pt x="1002" y="389"/>
                  <a:pt x="1002" y="389"/>
                  <a:pt x="1002" y="389"/>
                </a:cubicBezTo>
                <a:cubicBezTo>
                  <a:pt x="1001" y="389"/>
                  <a:pt x="1001" y="389"/>
                  <a:pt x="1001" y="389"/>
                </a:cubicBezTo>
                <a:cubicBezTo>
                  <a:pt x="1000" y="390"/>
                  <a:pt x="1000" y="390"/>
                  <a:pt x="1000" y="390"/>
                </a:cubicBezTo>
                <a:cubicBezTo>
                  <a:pt x="1001" y="390"/>
                  <a:pt x="1001" y="390"/>
                  <a:pt x="1001" y="390"/>
                </a:cubicBezTo>
                <a:cubicBezTo>
                  <a:pt x="1002" y="390"/>
                  <a:pt x="1002" y="390"/>
                  <a:pt x="1002" y="390"/>
                </a:cubicBezTo>
                <a:cubicBezTo>
                  <a:pt x="1003" y="389"/>
                  <a:pt x="1003" y="389"/>
                  <a:pt x="1003" y="389"/>
                </a:cubicBezTo>
                <a:cubicBezTo>
                  <a:pt x="1004" y="389"/>
                  <a:pt x="1004" y="389"/>
                  <a:pt x="1004" y="389"/>
                </a:cubicBezTo>
                <a:cubicBezTo>
                  <a:pt x="1004" y="390"/>
                  <a:pt x="1004" y="390"/>
                  <a:pt x="1004" y="390"/>
                </a:cubicBezTo>
                <a:cubicBezTo>
                  <a:pt x="1004" y="391"/>
                  <a:pt x="1004" y="391"/>
                  <a:pt x="1004" y="391"/>
                </a:cubicBezTo>
                <a:cubicBezTo>
                  <a:pt x="1005" y="391"/>
                  <a:pt x="1005" y="391"/>
                  <a:pt x="1005" y="391"/>
                </a:cubicBezTo>
                <a:cubicBezTo>
                  <a:pt x="1005" y="392"/>
                  <a:pt x="1005" y="392"/>
                  <a:pt x="1005" y="392"/>
                </a:cubicBezTo>
                <a:cubicBezTo>
                  <a:pt x="1005" y="393"/>
                  <a:pt x="1005" y="393"/>
                  <a:pt x="1005" y="393"/>
                </a:cubicBezTo>
                <a:cubicBezTo>
                  <a:pt x="1006" y="392"/>
                  <a:pt x="1006" y="392"/>
                  <a:pt x="1006" y="392"/>
                </a:cubicBezTo>
                <a:cubicBezTo>
                  <a:pt x="1007" y="393"/>
                  <a:pt x="1007" y="393"/>
                  <a:pt x="1007" y="393"/>
                </a:cubicBezTo>
                <a:cubicBezTo>
                  <a:pt x="1007" y="394"/>
                  <a:pt x="1007" y="394"/>
                  <a:pt x="1007" y="394"/>
                </a:cubicBezTo>
                <a:cubicBezTo>
                  <a:pt x="1007" y="395"/>
                  <a:pt x="1007" y="395"/>
                  <a:pt x="1007" y="395"/>
                </a:cubicBezTo>
                <a:cubicBezTo>
                  <a:pt x="1007" y="396"/>
                  <a:pt x="1007" y="396"/>
                  <a:pt x="1007" y="396"/>
                </a:cubicBezTo>
                <a:cubicBezTo>
                  <a:pt x="1009" y="394"/>
                  <a:pt x="1009" y="394"/>
                  <a:pt x="1009" y="394"/>
                </a:cubicBezTo>
                <a:cubicBezTo>
                  <a:pt x="1009" y="395"/>
                  <a:pt x="1009" y="395"/>
                  <a:pt x="1009" y="395"/>
                </a:cubicBezTo>
                <a:cubicBezTo>
                  <a:pt x="1009" y="396"/>
                  <a:pt x="1009" y="396"/>
                  <a:pt x="1009" y="396"/>
                </a:cubicBezTo>
                <a:cubicBezTo>
                  <a:pt x="1008" y="397"/>
                  <a:pt x="1008" y="397"/>
                  <a:pt x="1008" y="397"/>
                </a:cubicBezTo>
                <a:cubicBezTo>
                  <a:pt x="1006" y="399"/>
                  <a:pt x="1006" y="399"/>
                  <a:pt x="1006" y="399"/>
                </a:cubicBezTo>
                <a:cubicBezTo>
                  <a:pt x="1005" y="400"/>
                  <a:pt x="1005" y="400"/>
                  <a:pt x="1005" y="400"/>
                </a:cubicBezTo>
                <a:cubicBezTo>
                  <a:pt x="1004" y="400"/>
                  <a:pt x="1004" y="400"/>
                  <a:pt x="1004" y="400"/>
                </a:cubicBezTo>
                <a:cubicBezTo>
                  <a:pt x="1005" y="401"/>
                  <a:pt x="1005" y="401"/>
                  <a:pt x="1005" y="401"/>
                </a:cubicBezTo>
                <a:cubicBezTo>
                  <a:pt x="1006" y="400"/>
                  <a:pt x="1006" y="400"/>
                  <a:pt x="1006" y="400"/>
                </a:cubicBezTo>
                <a:cubicBezTo>
                  <a:pt x="1008" y="398"/>
                  <a:pt x="1008" y="398"/>
                  <a:pt x="1008" y="398"/>
                </a:cubicBezTo>
                <a:cubicBezTo>
                  <a:pt x="1009" y="398"/>
                  <a:pt x="1009" y="398"/>
                  <a:pt x="1009" y="398"/>
                </a:cubicBezTo>
                <a:cubicBezTo>
                  <a:pt x="1009" y="399"/>
                  <a:pt x="1009" y="399"/>
                  <a:pt x="1009" y="399"/>
                </a:cubicBezTo>
                <a:cubicBezTo>
                  <a:pt x="1008" y="400"/>
                  <a:pt x="1008" y="400"/>
                  <a:pt x="1008" y="400"/>
                </a:cubicBezTo>
                <a:cubicBezTo>
                  <a:pt x="1008" y="401"/>
                  <a:pt x="1008" y="401"/>
                  <a:pt x="1008" y="401"/>
                </a:cubicBezTo>
                <a:cubicBezTo>
                  <a:pt x="1009" y="400"/>
                  <a:pt x="1009" y="400"/>
                  <a:pt x="1009" y="400"/>
                </a:cubicBezTo>
                <a:cubicBezTo>
                  <a:pt x="1011" y="398"/>
                  <a:pt x="1011" y="398"/>
                  <a:pt x="1011" y="398"/>
                </a:cubicBezTo>
                <a:cubicBezTo>
                  <a:pt x="1012" y="398"/>
                  <a:pt x="1012" y="398"/>
                  <a:pt x="1012" y="398"/>
                </a:cubicBezTo>
                <a:cubicBezTo>
                  <a:pt x="1012" y="399"/>
                  <a:pt x="1012" y="399"/>
                  <a:pt x="1012" y="399"/>
                </a:cubicBezTo>
                <a:cubicBezTo>
                  <a:pt x="1011" y="399"/>
                  <a:pt x="1011" y="399"/>
                  <a:pt x="1011" y="399"/>
                </a:cubicBezTo>
                <a:cubicBezTo>
                  <a:pt x="1010" y="400"/>
                  <a:pt x="1010" y="400"/>
                  <a:pt x="1010" y="400"/>
                </a:cubicBezTo>
                <a:cubicBezTo>
                  <a:pt x="1011" y="400"/>
                  <a:pt x="1011" y="400"/>
                  <a:pt x="1011" y="400"/>
                </a:cubicBezTo>
                <a:cubicBezTo>
                  <a:pt x="1013" y="399"/>
                  <a:pt x="1013" y="399"/>
                  <a:pt x="1013" y="399"/>
                </a:cubicBezTo>
                <a:cubicBezTo>
                  <a:pt x="1013" y="400"/>
                  <a:pt x="1013" y="400"/>
                  <a:pt x="1013" y="400"/>
                </a:cubicBezTo>
                <a:cubicBezTo>
                  <a:pt x="1011" y="401"/>
                  <a:pt x="1011" y="401"/>
                  <a:pt x="1011" y="401"/>
                </a:cubicBezTo>
                <a:cubicBezTo>
                  <a:pt x="1010" y="402"/>
                  <a:pt x="1010" y="402"/>
                  <a:pt x="1010" y="402"/>
                </a:cubicBezTo>
                <a:cubicBezTo>
                  <a:pt x="1011" y="402"/>
                  <a:pt x="1011" y="402"/>
                  <a:pt x="1011" y="402"/>
                </a:cubicBezTo>
                <a:cubicBezTo>
                  <a:pt x="1012" y="401"/>
                  <a:pt x="1012" y="401"/>
                  <a:pt x="1012" y="401"/>
                </a:cubicBezTo>
                <a:cubicBezTo>
                  <a:pt x="1013" y="400"/>
                  <a:pt x="1013" y="400"/>
                  <a:pt x="1013" y="400"/>
                </a:cubicBezTo>
                <a:cubicBezTo>
                  <a:pt x="1014" y="399"/>
                  <a:pt x="1014" y="399"/>
                  <a:pt x="1014" y="399"/>
                </a:cubicBezTo>
                <a:cubicBezTo>
                  <a:pt x="1015" y="399"/>
                  <a:pt x="1015" y="399"/>
                  <a:pt x="1015" y="399"/>
                </a:cubicBezTo>
                <a:cubicBezTo>
                  <a:pt x="1014" y="400"/>
                  <a:pt x="1014" y="400"/>
                  <a:pt x="1014" y="400"/>
                </a:cubicBezTo>
                <a:cubicBezTo>
                  <a:pt x="1014" y="401"/>
                  <a:pt x="1014" y="401"/>
                  <a:pt x="1014" y="401"/>
                </a:cubicBezTo>
                <a:cubicBezTo>
                  <a:pt x="1016" y="399"/>
                  <a:pt x="1016" y="399"/>
                  <a:pt x="1016" y="399"/>
                </a:cubicBezTo>
                <a:cubicBezTo>
                  <a:pt x="1016" y="400"/>
                  <a:pt x="1016" y="400"/>
                  <a:pt x="1016" y="400"/>
                </a:cubicBezTo>
                <a:cubicBezTo>
                  <a:pt x="1016" y="402"/>
                  <a:pt x="1016" y="402"/>
                  <a:pt x="1016" y="402"/>
                </a:cubicBezTo>
                <a:cubicBezTo>
                  <a:pt x="1015" y="402"/>
                  <a:pt x="1015" y="402"/>
                  <a:pt x="1015" y="402"/>
                </a:cubicBezTo>
                <a:cubicBezTo>
                  <a:pt x="1015" y="403"/>
                  <a:pt x="1015" y="403"/>
                  <a:pt x="1015" y="403"/>
                </a:cubicBezTo>
                <a:cubicBezTo>
                  <a:pt x="1016" y="403"/>
                  <a:pt x="1016" y="403"/>
                  <a:pt x="1016" y="403"/>
                </a:cubicBezTo>
                <a:cubicBezTo>
                  <a:pt x="1018" y="404"/>
                  <a:pt x="1018" y="404"/>
                  <a:pt x="1018" y="404"/>
                </a:cubicBezTo>
                <a:cubicBezTo>
                  <a:pt x="1019" y="403"/>
                  <a:pt x="1019" y="403"/>
                  <a:pt x="1019" y="403"/>
                </a:cubicBezTo>
                <a:cubicBezTo>
                  <a:pt x="1021" y="402"/>
                  <a:pt x="1021" y="402"/>
                  <a:pt x="1021" y="402"/>
                </a:cubicBezTo>
                <a:cubicBezTo>
                  <a:pt x="1021" y="403"/>
                  <a:pt x="1021" y="403"/>
                  <a:pt x="1021" y="403"/>
                </a:cubicBezTo>
                <a:cubicBezTo>
                  <a:pt x="1021" y="404"/>
                  <a:pt x="1021" y="404"/>
                  <a:pt x="1021" y="404"/>
                </a:cubicBezTo>
                <a:cubicBezTo>
                  <a:pt x="1020" y="404"/>
                  <a:pt x="1020" y="404"/>
                  <a:pt x="1020" y="404"/>
                </a:cubicBezTo>
                <a:cubicBezTo>
                  <a:pt x="1023" y="405"/>
                  <a:pt x="1023" y="405"/>
                  <a:pt x="1023" y="405"/>
                </a:cubicBezTo>
                <a:cubicBezTo>
                  <a:pt x="1024" y="406"/>
                  <a:pt x="1024" y="406"/>
                  <a:pt x="1024" y="406"/>
                </a:cubicBezTo>
                <a:cubicBezTo>
                  <a:pt x="1022" y="406"/>
                  <a:pt x="1022" y="406"/>
                  <a:pt x="1022" y="406"/>
                </a:cubicBezTo>
                <a:cubicBezTo>
                  <a:pt x="1022" y="407"/>
                  <a:pt x="1022" y="407"/>
                  <a:pt x="1022" y="407"/>
                </a:cubicBezTo>
                <a:cubicBezTo>
                  <a:pt x="1019" y="407"/>
                  <a:pt x="1019" y="407"/>
                  <a:pt x="1019" y="407"/>
                </a:cubicBezTo>
                <a:cubicBezTo>
                  <a:pt x="1017" y="408"/>
                  <a:pt x="1017" y="408"/>
                  <a:pt x="1017" y="408"/>
                </a:cubicBezTo>
                <a:cubicBezTo>
                  <a:pt x="1016" y="409"/>
                  <a:pt x="1016" y="409"/>
                  <a:pt x="1016" y="409"/>
                </a:cubicBezTo>
                <a:cubicBezTo>
                  <a:pt x="1016" y="410"/>
                  <a:pt x="1016" y="410"/>
                  <a:pt x="1016" y="410"/>
                </a:cubicBezTo>
                <a:cubicBezTo>
                  <a:pt x="1013" y="410"/>
                  <a:pt x="1013" y="410"/>
                  <a:pt x="1013" y="410"/>
                </a:cubicBezTo>
                <a:cubicBezTo>
                  <a:pt x="1011" y="411"/>
                  <a:pt x="1011" y="411"/>
                  <a:pt x="1011" y="411"/>
                </a:cubicBezTo>
                <a:cubicBezTo>
                  <a:pt x="1009" y="412"/>
                  <a:pt x="1009" y="412"/>
                  <a:pt x="1009" y="412"/>
                </a:cubicBezTo>
                <a:cubicBezTo>
                  <a:pt x="1008" y="412"/>
                  <a:pt x="1008" y="412"/>
                  <a:pt x="1008" y="412"/>
                </a:cubicBezTo>
                <a:cubicBezTo>
                  <a:pt x="1007" y="412"/>
                  <a:pt x="1007" y="412"/>
                  <a:pt x="1007" y="412"/>
                </a:cubicBezTo>
                <a:cubicBezTo>
                  <a:pt x="1007" y="414"/>
                  <a:pt x="1007" y="414"/>
                  <a:pt x="1007" y="414"/>
                </a:cubicBezTo>
                <a:cubicBezTo>
                  <a:pt x="1006" y="414"/>
                  <a:pt x="1006" y="414"/>
                  <a:pt x="1006" y="414"/>
                </a:cubicBezTo>
                <a:cubicBezTo>
                  <a:pt x="1004" y="413"/>
                  <a:pt x="1004" y="413"/>
                  <a:pt x="1004" y="413"/>
                </a:cubicBezTo>
                <a:cubicBezTo>
                  <a:pt x="1003" y="410"/>
                  <a:pt x="1003" y="410"/>
                  <a:pt x="1003" y="410"/>
                </a:cubicBezTo>
                <a:cubicBezTo>
                  <a:pt x="1003" y="412"/>
                  <a:pt x="1003" y="412"/>
                  <a:pt x="1003" y="412"/>
                </a:cubicBezTo>
                <a:cubicBezTo>
                  <a:pt x="1002" y="412"/>
                  <a:pt x="1002" y="412"/>
                  <a:pt x="1002" y="412"/>
                </a:cubicBezTo>
                <a:cubicBezTo>
                  <a:pt x="1003" y="413"/>
                  <a:pt x="1003" y="413"/>
                  <a:pt x="1003" y="413"/>
                </a:cubicBezTo>
                <a:cubicBezTo>
                  <a:pt x="1006" y="415"/>
                  <a:pt x="1006" y="415"/>
                  <a:pt x="1006" y="415"/>
                </a:cubicBezTo>
                <a:cubicBezTo>
                  <a:pt x="1006" y="416"/>
                  <a:pt x="1006" y="416"/>
                  <a:pt x="1006" y="416"/>
                </a:cubicBezTo>
                <a:cubicBezTo>
                  <a:pt x="1005" y="416"/>
                  <a:pt x="1005" y="416"/>
                  <a:pt x="1005" y="416"/>
                </a:cubicBezTo>
                <a:cubicBezTo>
                  <a:pt x="1004" y="416"/>
                  <a:pt x="1004" y="416"/>
                  <a:pt x="1004" y="416"/>
                </a:cubicBezTo>
                <a:cubicBezTo>
                  <a:pt x="1005" y="417"/>
                  <a:pt x="1005" y="417"/>
                  <a:pt x="1005" y="417"/>
                </a:cubicBezTo>
                <a:cubicBezTo>
                  <a:pt x="1005" y="418"/>
                  <a:pt x="1005" y="418"/>
                  <a:pt x="1005" y="418"/>
                </a:cubicBezTo>
                <a:cubicBezTo>
                  <a:pt x="1006" y="417"/>
                  <a:pt x="1006" y="417"/>
                  <a:pt x="1006" y="417"/>
                </a:cubicBezTo>
                <a:cubicBezTo>
                  <a:pt x="1007" y="415"/>
                  <a:pt x="1007" y="415"/>
                  <a:pt x="1007" y="415"/>
                </a:cubicBezTo>
                <a:cubicBezTo>
                  <a:pt x="1009" y="415"/>
                  <a:pt x="1009" y="415"/>
                  <a:pt x="1009" y="415"/>
                </a:cubicBezTo>
                <a:cubicBezTo>
                  <a:pt x="1011" y="414"/>
                  <a:pt x="1011" y="414"/>
                  <a:pt x="1011" y="414"/>
                </a:cubicBezTo>
                <a:cubicBezTo>
                  <a:pt x="1012" y="414"/>
                  <a:pt x="1012" y="414"/>
                  <a:pt x="1012" y="414"/>
                </a:cubicBezTo>
                <a:cubicBezTo>
                  <a:pt x="1012" y="413"/>
                  <a:pt x="1012" y="413"/>
                  <a:pt x="1012" y="413"/>
                </a:cubicBezTo>
                <a:cubicBezTo>
                  <a:pt x="1013" y="411"/>
                  <a:pt x="1013" y="411"/>
                  <a:pt x="1013" y="411"/>
                </a:cubicBezTo>
                <a:cubicBezTo>
                  <a:pt x="1015" y="411"/>
                  <a:pt x="1015" y="411"/>
                  <a:pt x="1015" y="411"/>
                </a:cubicBezTo>
                <a:cubicBezTo>
                  <a:pt x="1017" y="410"/>
                  <a:pt x="1017" y="410"/>
                  <a:pt x="1017" y="410"/>
                </a:cubicBezTo>
                <a:cubicBezTo>
                  <a:pt x="1018" y="409"/>
                  <a:pt x="1018" y="409"/>
                  <a:pt x="1018" y="409"/>
                </a:cubicBezTo>
                <a:cubicBezTo>
                  <a:pt x="1021" y="409"/>
                  <a:pt x="1021" y="409"/>
                  <a:pt x="1021" y="409"/>
                </a:cubicBezTo>
                <a:cubicBezTo>
                  <a:pt x="1023" y="409"/>
                  <a:pt x="1023" y="409"/>
                  <a:pt x="1023" y="409"/>
                </a:cubicBezTo>
                <a:cubicBezTo>
                  <a:pt x="1024" y="411"/>
                  <a:pt x="1024" y="411"/>
                  <a:pt x="1024" y="411"/>
                </a:cubicBezTo>
                <a:cubicBezTo>
                  <a:pt x="1024" y="413"/>
                  <a:pt x="1024" y="413"/>
                  <a:pt x="1024" y="413"/>
                </a:cubicBezTo>
                <a:cubicBezTo>
                  <a:pt x="1022" y="414"/>
                  <a:pt x="1022" y="414"/>
                  <a:pt x="1022" y="414"/>
                </a:cubicBezTo>
                <a:cubicBezTo>
                  <a:pt x="1021" y="415"/>
                  <a:pt x="1021" y="415"/>
                  <a:pt x="1021" y="415"/>
                </a:cubicBezTo>
                <a:cubicBezTo>
                  <a:pt x="1022" y="415"/>
                  <a:pt x="1022" y="415"/>
                  <a:pt x="1022" y="415"/>
                </a:cubicBezTo>
                <a:cubicBezTo>
                  <a:pt x="1023" y="416"/>
                  <a:pt x="1023" y="416"/>
                  <a:pt x="1023" y="416"/>
                </a:cubicBezTo>
                <a:cubicBezTo>
                  <a:pt x="1023" y="415"/>
                  <a:pt x="1023" y="415"/>
                  <a:pt x="1023" y="415"/>
                </a:cubicBezTo>
                <a:cubicBezTo>
                  <a:pt x="1024" y="414"/>
                  <a:pt x="1024" y="414"/>
                  <a:pt x="1024" y="414"/>
                </a:cubicBezTo>
                <a:cubicBezTo>
                  <a:pt x="1026" y="413"/>
                  <a:pt x="1026" y="413"/>
                  <a:pt x="1026" y="413"/>
                </a:cubicBezTo>
                <a:cubicBezTo>
                  <a:pt x="1027" y="413"/>
                  <a:pt x="1027" y="413"/>
                  <a:pt x="1027" y="413"/>
                </a:cubicBezTo>
                <a:cubicBezTo>
                  <a:pt x="1027" y="414"/>
                  <a:pt x="1027" y="414"/>
                  <a:pt x="1027" y="414"/>
                </a:cubicBezTo>
                <a:cubicBezTo>
                  <a:pt x="1027" y="415"/>
                  <a:pt x="1027" y="415"/>
                  <a:pt x="1027" y="415"/>
                </a:cubicBezTo>
                <a:cubicBezTo>
                  <a:pt x="1028" y="415"/>
                  <a:pt x="1028" y="415"/>
                  <a:pt x="1028" y="415"/>
                </a:cubicBezTo>
                <a:cubicBezTo>
                  <a:pt x="1030" y="416"/>
                  <a:pt x="1030" y="416"/>
                  <a:pt x="1030" y="416"/>
                </a:cubicBezTo>
                <a:cubicBezTo>
                  <a:pt x="1029" y="416"/>
                  <a:pt x="1029" y="416"/>
                  <a:pt x="1029" y="416"/>
                </a:cubicBezTo>
                <a:cubicBezTo>
                  <a:pt x="1028" y="416"/>
                  <a:pt x="1028" y="416"/>
                  <a:pt x="1028" y="416"/>
                </a:cubicBezTo>
                <a:cubicBezTo>
                  <a:pt x="1029" y="417"/>
                  <a:pt x="1029" y="417"/>
                  <a:pt x="1029" y="417"/>
                </a:cubicBezTo>
                <a:cubicBezTo>
                  <a:pt x="1030" y="418"/>
                  <a:pt x="1030" y="418"/>
                  <a:pt x="1030" y="418"/>
                </a:cubicBezTo>
                <a:cubicBezTo>
                  <a:pt x="1031" y="419"/>
                  <a:pt x="1031" y="419"/>
                  <a:pt x="1031" y="419"/>
                </a:cubicBezTo>
                <a:cubicBezTo>
                  <a:pt x="1030" y="419"/>
                  <a:pt x="1030" y="419"/>
                  <a:pt x="1030" y="419"/>
                </a:cubicBezTo>
                <a:cubicBezTo>
                  <a:pt x="1029" y="419"/>
                  <a:pt x="1029" y="419"/>
                  <a:pt x="1029" y="419"/>
                </a:cubicBezTo>
                <a:cubicBezTo>
                  <a:pt x="1028" y="420"/>
                  <a:pt x="1028" y="420"/>
                  <a:pt x="1028" y="420"/>
                </a:cubicBezTo>
                <a:cubicBezTo>
                  <a:pt x="1030" y="421"/>
                  <a:pt x="1030" y="421"/>
                  <a:pt x="1030" y="421"/>
                </a:cubicBezTo>
                <a:cubicBezTo>
                  <a:pt x="1029" y="422"/>
                  <a:pt x="1029" y="422"/>
                  <a:pt x="1029" y="422"/>
                </a:cubicBezTo>
                <a:cubicBezTo>
                  <a:pt x="1028" y="422"/>
                  <a:pt x="1028" y="422"/>
                  <a:pt x="1028" y="422"/>
                </a:cubicBezTo>
                <a:cubicBezTo>
                  <a:pt x="1028" y="423"/>
                  <a:pt x="1028" y="423"/>
                  <a:pt x="1028" y="423"/>
                </a:cubicBezTo>
                <a:cubicBezTo>
                  <a:pt x="1027" y="424"/>
                  <a:pt x="1027" y="424"/>
                  <a:pt x="1027" y="424"/>
                </a:cubicBezTo>
                <a:cubicBezTo>
                  <a:pt x="1025" y="423"/>
                  <a:pt x="1025" y="423"/>
                  <a:pt x="1025" y="423"/>
                </a:cubicBezTo>
                <a:cubicBezTo>
                  <a:pt x="1026" y="424"/>
                  <a:pt x="1026" y="424"/>
                  <a:pt x="1026" y="424"/>
                </a:cubicBezTo>
                <a:cubicBezTo>
                  <a:pt x="1028" y="425"/>
                  <a:pt x="1028" y="425"/>
                  <a:pt x="1028" y="425"/>
                </a:cubicBezTo>
                <a:cubicBezTo>
                  <a:pt x="1029" y="424"/>
                  <a:pt x="1029" y="424"/>
                  <a:pt x="1029" y="424"/>
                </a:cubicBezTo>
                <a:cubicBezTo>
                  <a:pt x="1030" y="425"/>
                  <a:pt x="1030" y="425"/>
                  <a:pt x="1030" y="425"/>
                </a:cubicBezTo>
                <a:cubicBezTo>
                  <a:pt x="1029" y="426"/>
                  <a:pt x="1029" y="426"/>
                  <a:pt x="1029" y="426"/>
                </a:cubicBezTo>
                <a:cubicBezTo>
                  <a:pt x="1030" y="426"/>
                  <a:pt x="1030" y="426"/>
                  <a:pt x="1030" y="426"/>
                </a:cubicBezTo>
                <a:cubicBezTo>
                  <a:pt x="1029" y="428"/>
                  <a:pt x="1029" y="428"/>
                  <a:pt x="1029" y="428"/>
                </a:cubicBezTo>
                <a:cubicBezTo>
                  <a:pt x="1029" y="429"/>
                  <a:pt x="1029" y="429"/>
                  <a:pt x="1029" y="429"/>
                </a:cubicBezTo>
                <a:cubicBezTo>
                  <a:pt x="1028" y="429"/>
                  <a:pt x="1028" y="429"/>
                  <a:pt x="1028" y="429"/>
                </a:cubicBezTo>
                <a:cubicBezTo>
                  <a:pt x="1027" y="430"/>
                  <a:pt x="1027" y="430"/>
                  <a:pt x="1027" y="430"/>
                </a:cubicBezTo>
                <a:cubicBezTo>
                  <a:pt x="1026" y="431"/>
                  <a:pt x="1026" y="431"/>
                  <a:pt x="1026" y="431"/>
                </a:cubicBezTo>
                <a:cubicBezTo>
                  <a:pt x="1024" y="431"/>
                  <a:pt x="1024" y="431"/>
                  <a:pt x="1024" y="431"/>
                </a:cubicBezTo>
                <a:cubicBezTo>
                  <a:pt x="1023" y="432"/>
                  <a:pt x="1023" y="432"/>
                  <a:pt x="1023" y="432"/>
                </a:cubicBezTo>
                <a:cubicBezTo>
                  <a:pt x="1022" y="433"/>
                  <a:pt x="1022" y="433"/>
                  <a:pt x="1022" y="433"/>
                </a:cubicBezTo>
                <a:cubicBezTo>
                  <a:pt x="1021" y="433"/>
                  <a:pt x="1021" y="433"/>
                  <a:pt x="1021" y="433"/>
                </a:cubicBezTo>
                <a:cubicBezTo>
                  <a:pt x="1021" y="434"/>
                  <a:pt x="1021" y="434"/>
                  <a:pt x="1021" y="434"/>
                </a:cubicBezTo>
                <a:cubicBezTo>
                  <a:pt x="1020" y="434"/>
                  <a:pt x="1020" y="434"/>
                  <a:pt x="1020" y="434"/>
                </a:cubicBezTo>
                <a:cubicBezTo>
                  <a:pt x="1019" y="433"/>
                  <a:pt x="1019" y="433"/>
                  <a:pt x="1019" y="433"/>
                </a:cubicBezTo>
                <a:cubicBezTo>
                  <a:pt x="1018" y="434"/>
                  <a:pt x="1018" y="434"/>
                  <a:pt x="1018" y="434"/>
                </a:cubicBezTo>
                <a:cubicBezTo>
                  <a:pt x="1017" y="434"/>
                  <a:pt x="1017" y="434"/>
                  <a:pt x="1017" y="434"/>
                </a:cubicBezTo>
                <a:cubicBezTo>
                  <a:pt x="1017" y="433"/>
                  <a:pt x="1017" y="433"/>
                  <a:pt x="1017" y="433"/>
                </a:cubicBezTo>
                <a:cubicBezTo>
                  <a:pt x="1015" y="434"/>
                  <a:pt x="1015" y="434"/>
                  <a:pt x="1015" y="434"/>
                </a:cubicBezTo>
                <a:cubicBezTo>
                  <a:pt x="1014" y="434"/>
                  <a:pt x="1014" y="434"/>
                  <a:pt x="1014" y="434"/>
                </a:cubicBezTo>
                <a:cubicBezTo>
                  <a:pt x="1013" y="433"/>
                  <a:pt x="1013" y="433"/>
                  <a:pt x="1013" y="433"/>
                </a:cubicBezTo>
                <a:cubicBezTo>
                  <a:pt x="1013" y="434"/>
                  <a:pt x="1013" y="434"/>
                  <a:pt x="1013" y="434"/>
                </a:cubicBezTo>
                <a:cubicBezTo>
                  <a:pt x="1012" y="435"/>
                  <a:pt x="1012" y="435"/>
                  <a:pt x="1012" y="435"/>
                </a:cubicBezTo>
                <a:cubicBezTo>
                  <a:pt x="1011" y="434"/>
                  <a:pt x="1011" y="434"/>
                  <a:pt x="1011" y="434"/>
                </a:cubicBezTo>
                <a:cubicBezTo>
                  <a:pt x="1010" y="435"/>
                  <a:pt x="1010" y="435"/>
                  <a:pt x="1010" y="435"/>
                </a:cubicBezTo>
                <a:cubicBezTo>
                  <a:pt x="1011" y="435"/>
                  <a:pt x="1011" y="435"/>
                  <a:pt x="1011" y="435"/>
                </a:cubicBezTo>
                <a:cubicBezTo>
                  <a:pt x="1011" y="436"/>
                  <a:pt x="1011" y="436"/>
                  <a:pt x="1011" y="436"/>
                </a:cubicBezTo>
                <a:cubicBezTo>
                  <a:pt x="1010" y="437"/>
                  <a:pt x="1010" y="437"/>
                  <a:pt x="1010" y="437"/>
                </a:cubicBezTo>
                <a:cubicBezTo>
                  <a:pt x="1009" y="437"/>
                  <a:pt x="1009" y="437"/>
                  <a:pt x="1009" y="437"/>
                </a:cubicBezTo>
                <a:cubicBezTo>
                  <a:pt x="1009" y="438"/>
                  <a:pt x="1009" y="438"/>
                  <a:pt x="1009" y="438"/>
                </a:cubicBezTo>
                <a:cubicBezTo>
                  <a:pt x="1008" y="439"/>
                  <a:pt x="1008" y="439"/>
                  <a:pt x="1008" y="439"/>
                </a:cubicBezTo>
                <a:cubicBezTo>
                  <a:pt x="1007" y="439"/>
                  <a:pt x="1007" y="439"/>
                  <a:pt x="1007" y="439"/>
                </a:cubicBezTo>
                <a:cubicBezTo>
                  <a:pt x="1007" y="440"/>
                  <a:pt x="1007" y="440"/>
                  <a:pt x="1007" y="440"/>
                </a:cubicBezTo>
                <a:cubicBezTo>
                  <a:pt x="1006" y="440"/>
                  <a:pt x="1006" y="440"/>
                  <a:pt x="1006" y="440"/>
                </a:cubicBezTo>
                <a:cubicBezTo>
                  <a:pt x="1005" y="442"/>
                  <a:pt x="1005" y="442"/>
                  <a:pt x="1005" y="442"/>
                </a:cubicBezTo>
                <a:cubicBezTo>
                  <a:pt x="1004" y="441"/>
                  <a:pt x="1004" y="441"/>
                  <a:pt x="1004" y="441"/>
                </a:cubicBezTo>
                <a:cubicBezTo>
                  <a:pt x="1004" y="442"/>
                  <a:pt x="1004" y="442"/>
                  <a:pt x="1004" y="442"/>
                </a:cubicBezTo>
                <a:cubicBezTo>
                  <a:pt x="1002" y="442"/>
                  <a:pt x="1002" y="442"/>
                  <a:pt x="1002" y="442"/>
                </a:cubicBezTo>
                <a:cubicBezTo>
                  <a:pt x="1002" y="443"/>
                  <a:pt x="1002" y="443"/>
                  <a:pt x="1002" y="443"/>
                </a:cubicBezTo>
                <a:cubicBezTo>
                  <a:pt x="1001" y="443"/>
                  <a:pt x="1001" y="443"/>
                  <a:pt x="1001" y="443"/>
                </a:cubicBezTo>
                <a:cubicBezTo>
                  <a:pt x="1000" y="443"/>
                  <a:pt x="1000" y="443"/>
                  <a:pt x="1000" y="443"/>
                </a:cubicBezTo>
                <a:cubicBezTo>
                  <a:pt x="998" y="443"/>
                  <a:pt x="998" y="443"/>
                  <a:pt x="998" y="443"/>
                </a:cubicBezTo>
                <a:cubicBezTo>
                  <a:pt x="998" y="442"/>
                  <a:pt x="998" y="442"/>
                  <a:pt x="998" y="442"/>
                </a:cubicBezTo>
                <a:cubicBezTo>
                  <a:pt x="996" y="443"/>
                  <a:pt x="996" y="443"/>
                  <a:pt x="996" y="443"/>
                </a:cubicBezTo>
                <a:cubicBezTo>
                  <a:pt x="995" y="443"/>
                  <a:pt x="995" y="443"/>
                  <a:pt x="995" y="443"/>
                </a:cubicBezTo>
                <a:cubicBezTo>
                  <a:pt x="993" y="444"/>
                  <a:pt x="993" y="444"/>
                  <a:pt x="993" y="444"/>
                </a:cubicBezTo>
                <a:cubicBezTo>
                  <a:pt x="991" y="443"/>
                  <a:pt x="991" y="443"/>
                  <a:pt x="991" y="443"/>
                </a:cubicBezTo>
                <a:cubicBezTo>
                  <a:pt x="992" y="443"/>
                  <a:pt x="992" y="443"/>
                  <a:pt x="992" y="443"/>
                </a:cubicBezTo>
                <a:cubicBezTo>
                  <a:pt x="991" y="442"/>
                  <a:pt x="991" y="442"/>
                  <a:pt x="991" y="442"/>
                </a:cubicBezTo>
                <a:cubicBezTo>
                  <a:pt x="990" y="443"/>
                  <a:pt x="990" y="443"/>
                  <a:pt x="990" y="443"/>
                </a:cubicBezTo>
                <a:cubicBezTo>
                  <a:pt x="989" y="443"/>
                  <a:pt x="989" y="443"/>
                  <a:pt x="989" y="443"/>
                </a:cubicBezTo>
                <a:cubicBezTo>
                  <a:pt x="987" y="442"/>
                  <a:pt x="987" y="442"/>
                  <a:pt x="987" y="442"/>
                </a:cubicBezTo>
                <a:cubicBezTo>
                  <a:pt x="986" y="442"/>
                  <a:pt x="986" y="442"/>
                  <a:pt x="986" y="442"/>
                </a:cubicBezTo>
                <a:cubicBezTo>
                  <a:pt x="985" y="442"/>
                  <a:pt x="985" y="442"/>
                  <a:pt x="985" y="442"/>
                </a:cubicBezTo>
                <a:cubicBezTo>
                  <a:pt x="984" y="441"/>
                  <a:pt x="984" y="441"/>
                  <a:pt x="984" y="441"/>
                </a:cubicBezTo>
                <a:cubicBezTo>
                  <a:pt x="983" y="441"/>
                  <a:pt x="983" y="441"/>
                  <a:pt x="983" y="441"/>
                </a:cubicBezTo>
                <a:cubicBezTo>
                  <a:pt x="982" y="442"/>
                  <a:pt x="982" y="442"/>
                  <a:pt x="982" y="442"/>
                </a:cubicBezTo>
                <a:cubicBezTo>
                  <a:pt x="980" y="442"/>
                  <a:pt x="980" y="442"/>
                  <a:pt x="980" y="442"/>
                </a:cubicBezTo>
                <a:cubicBezTo>
                  <a:pt x="979" y="441"/>
                  <a:pt x="979" y="441"/>
                  <a:pt x="979" y="441"/>
                </a:cubicBezTo>
                <a:cubicBezTo>
                  <a:pt x="978" y="442"/>
                  <a:pt x="978" y="442"/>
                  <a:pt x="978" y="442"/>
                </a:cubicBezTo>
                <a:cubicBezTo>
                  <a:pt x="977" y="442"/>
                  <a:pt x="977" y="442"/>
                  <a:pt x="977" y="442"/>
                </a:cubicBezTo>
                <a:cubicBezTo>
                  <a:pt x="976" y="441"/>
                  <a:pt x="976" y="441"/>
                  <a:pt x="976" y="441"/>
                </a:cubicBezTo>
                <a:cubicBezTo>
                  <a:pt x="975" y="442"/>
                  <a:pt x="975" y="442"/>
                  <a:pt x="975" y="442"/>
                </a:cubicBezTo>
                <a:cubicBezTo>
                  <a:pt x="974" y="441"/>
                  <a:pt x="974" y="441"/>
                  <a:pt x="974" y="441"/>
                </a:cubicBezTo>
                <a:cubicBezTo>
                  <a:pt x="973" y="441"/>
                  <a:pt x="973" y="441"/>
                  <a:pt x="973" y="441"/>
                </a:cubicBezTo>
                <a:cubicBezTo>
                  <a:pt x="971" y="441"/>
                  <a:pt x="971" y="441"/>
                  <a:pt x="971" y="441"/>
                </a:cubicBezTo>
                <a:cubicBezTo>
                  <a:pt x="969" y="441"/>
                  <a:pt x="969" y="441"/>
                  <a:pt x="969" y="441"/>
                </a:cubicBezTo>
                <a:cubicBezTo>
                  <a:pt x="967" y="441"/>
                  <a:pt x="967" y="441"/>
                  <a:pt x="967" y="441"/>
                </a:cubicBezTo>
                <a:cubicBezTo>
                  <a:pt x="966" y="439"/>
                  <a:pt x="966" y="439"/>
                  <a:pt x="966" y="439"/>
                </a:cubicBezTo>
                <a:cubicBezTo>
                  <a:pt x="965" y="440"/>
                  <a:pt x="965" y="440"/>
                  <a:pt x="965" y="440"/>
                </a:cubicBezTo>
                <a:cubicBezTo>
                  <a:pt x="964" y="441"/>
                  <a:pt x="964" y="441"/>
                  <a:pt x="964" y="441"/>
                </a:cubicBezTo>
                <a:cubicBezTo>
                  <a:pt x="965" y="441"/>
                  <a:pt x="965" y="441"/>
                  <a:pt x="965" y="441"/>
                </a:cubicBezTo>
                <a:cubicBezTo>
                  <a:pt x="964" y="442"/>
                  <a:pt x="964" y="442"/>
                  <a:pt x="964" y="442"/>
                </a:cubicBezTo>
                <a:cubicBezTo>
                  <a:pt x="963" y="442"/>
                  <a:pt x="963" y="442"/>
                  <a:pt x="963" y="442"/>
                </a:cubicBezTo>
                <a:cubicBezTo>
                  <a:pt x="961" y="444"/>
                  <a:pt x="961" y="444"/>
                  <a:pt x="961" y="444"/>
                </a:cubicBezTo>
                <a:cubicBezTo>
                  <a:pt x="959" y="445"/>
                  <a:pt x="959" y="445"/>
                  <a:pt x="959" y="445"/>
                </a:cubicBezTo>
                <a:cubicBezTo>
                  <a:pt x="959" y="446"/>
                  <a:pt x="959" y="446"/>
                  <a:pt x="959" y="446"/>
                </a:cubicBezTo>
                <a:cubicBezTo>
                  <a:pt x="959" y="448"/>
                  <a:pt x="959" y="448"/>
                  <a:pt x="959" y="448"/>
                </a:cubicBezTo>
                <a:cubicBezTo>
                  <a:pt x="958" y="449"/>
                  <a:pt x="958" y="449"/>
                  <a:pt x="958" y="449"/>
                </a:cubicBezTo>
                <a:cubicBezTo>
                  <a:pt x="956" y="449"/>
                  <a:pt x="956" y="449"/>
                  <a:pt x="956" y="449"/>
                </a:cubicBezTo>
                <a:cubicBezTo>
                  <a:pt x="955" y="449"/>
                  <a:pt x="955" y="449"/>
                  <a:pt x="955" y="449"/>
                </a:cubicBezTo>
                <a:cubicBezTo>
                  <a:pt x="953" y="450"/>
                  <a:pt x="953" y="450"/>
                  <a:pt x="953" y="450"/>
                </a:cubicBezTo>
                <a:cubicBezTo>
                  <a:pt x="952" y="451"/>
                  <a:pt x="952" y="451"/>
                  <a:pt x="952" y="451"/>
                </a:cubicBezTo>
                <a:cubicBezTo>
                  <a:pt x="951" y="451"/>
                  <a:pt x="951" y="451"/>
                  <a:pt x="951" y="451"/>
                </a:cubicBezTo>
                <a:cubicBezTo>
                  <a:pt x="950" y="451"/>
                  <a:pt x="950" y="451"/>
                  <a:pt x="950" y="451"/>
                </a:cubicBezTo>
                <a:cubicBezTo>
                  <a:pt x="949" y="453"/>
                  <a:pt x="949" y="453"/>
                  <a:pt x="949" y="453"/>
                </a:cubicBezTo>
                <a:cubicBezTo>
                  <a:pt x="948" y="453"/>
                  <a:pt x="948" y="453"/>
                  <a:pt x="948" y="453"/>
                </a:cubicBezTo>
                <a:cubicBezTo>
                  <a:pt x="946" y="454"/>
                  <a:pt x="946" y="454"/>
                  <a:pt x="946" y="454"/>
                </a:cubicBezTo>
                <a:cubicBezTo>
                  <a:pt x="945" y="455"/>
                  <a:pt x="945" y="455"/>
                  <a:pt x="945" y="455"/>
                </a:cubicBezTo>
                <a:cubicBezTo>
                  <a:pt x="944" y="457"/>
                  <a:pt x="944" y="457"/>
                  <a:pt x="944" y="457"/>
                </a:cubicBezTo>
                <a:cubicBezTo>
                  <a:pt x="941" y="458"/>
                  <a:pt x="941" y="458"/>
                  <a:pt x="941" y="458"/>
                </a:cubicBezTo>
                <a:cubicBezTo>
                  <a:pt x="941" y="460"/>
                  <a:pt x="941" y="460"/>
                  <a:pt x="941" y="460"/>
                </a:cubicBezTo>
                <a:cubicBezTo>
                  <a:pt x="939" y="461"/>
                  <a:pt x="939" y="461"/>
                  <a:pt x="939" y="461"/>
                </a:cubicBezTo>
                <a:cubicBezTo>
                  <a:pt x="938" y="463"/>
                  <a:pt x="938" y="463"/>
                  <a:pt x="938" y="463"/>
                </a:cubicBezTo>
                <a:cubicBezTo>
                  <a:pt x="937" y="463"/>
                  <a:pt x="937" y="463"/>
                  <a:pt x="937" y="463"/>
                </a:cubicBezTo>
                <a:cubicBezTo>
                  <a:pt x="936" y="465"/>
                  <a:pt x="936" y="465"/>
                  <a:pt x="936" y="465"/>
                </a:cubicBezTo>
                <a:cubicBezTo>
                  <a:pt x="935" y="466"/>
                  <a:pt x="935" y="466"/>
                  <a:pt x="935" y="466"/>
                </a:cubicBezTo>
                <a:cubicBezTo>
                  <a:pt x="932" y="468"/>
                  <a:pt x="932" y="468"/>
                  <a:pt x="932" y="468"/>
                </a:cubicBezTo>
                <a:cubicBezTo>
                  <a:pt x="932" y="469"/>
                  <a:pt x="932" y="469"/>
                  <a:pt x="932" y="469"/>
                </a:cubicBezTo>
                <a:cubicBezTo>
                  <a:pt x="929" y="470"/>
                  <a:pt x="929" y="470"/>
                  <a:pt x="929" y="470"/>
                </a:cubicBezTo>
                <a:cubicBezTo>
                  <a:pt x="927" y="470"/>
                  <a:pt x="927" y="470"/>
                  <a:pt x="927" y="470"/>
                </a:cubicBezTo>
                <a:cubicBezTo>
                  <a:pt x="928" y="471"/>
                  <a:pt x="928" y="471"/>
                  <a:pt x="928" y="471"/>
                </a:cubicBezTo>
                <a:cubicBezTo>
                  <a:pt x="932" y="469"/>
                  <a:pt x="932" y="469"/>
                  <a:pt x="932" y="469"/>
                </a:cubicBezTo>
                <a:cubicBezTo>
                  <a:pt x="934" y="468"/>
                  <a:pt x="934" y="468"/>
                  <a:pt x="934" y="468"/>
                </a:cubicBezTo>
                <a:cubicBezTo>
                  <a:pt x="937" y="466"/>
                  <a:pt x="937" y="466"/>
                  <a:pt x="937" y="466"/>
                </a:cubicBezTo>
                <a:cubicBezTo>
                  <a:pt x="938" y="464"/>
                  <a:pt x="938" y="464"/>
                  <a:pt x="938" y="464"/>
                </a:cubicBezTo>
                <a:cubicBezTo>
                  <a:pt x="940" y="463"/>
                  <a:pt x="940" y="463"/>
                  <a:pt x="940" y="463"/>
                </a:cubicBezTo>
                <a:cubicBezTo>
                  <a:pt x="941" y="462"/>
                  <a:pt x="941" y="462"/>
                  <a:pt x="941" y="462"/>
                </a:cubicBezTo>
                <a:cubicBezTo>
                  <a:pt x="944" y="459"/>
                  <a:pt x="944" y="459"/>
                  <a:pt x="944" y="459"/>
                </a:cubicBezTo>
                <a:cubicBezTo>
                  <a:pt x="948" y="457"/>
                  <a:pt x="948" y="457"/>
                  <a:pt x="948" y="457"/>
                </a:cubicBezTo>
                <a:cubicBezTo>
                  <a:pt x="951" y="455"/>
                  <a:pt x="951" y="455"/>
                  <a:pt x="951" y="455"/>
                </a:cubicBezTo>
                <a:cubicBezTo>
                  <a:pt x="953" y="454"/>
                  <a:pt x="953" y="454"/>
                  <a:pt x="953" y="454"/>
                </a:cubicBezTo>
                <a:cubicBezTo>
                  <a:pt x="954" y="454"/>
                  <a:pt x="954" y="454"/>
                  <a:pt x="954" y="454"/>
                </a:cubicBezTo>
                <a:cubicBezTo>
                  <a:pt x="958" y="453"/>
                  <a:pt x="958" y="453"/>
                  <a:pt x="958" y="453"/>
                </a:cubicBezTo>
                <a:cubicBezTo>
                  <a:pt x="961" y="452"/>
                  <a:pt x="961" y="452"/>
                  <a:pt x="961" y="452"/>
                </a:cubicBezTo>
                <a:cubicBezTo>
                  <a:pt x="963" y="452"/>
                  <a:pt x="963" y="452"/>
                  <a:pt x="963" y="452"/>
                </a:cubicBezTo>
                <a:cubicBezTo>
                  <a:pt x="964" y="451"/>
                  <a:pt x="964" y="451"/>
                  <a:pt x="964" y="451"/>
                </a:cubicBezTo>
                <a:cubicBezTo>
                  <a:pt x="968" y="451"/>
                  <a:pt x="968" y="451"/>
                  <a:pt x="968" y="451"/>
                </a:cubicBezTo>
                <a:cubicBezTo>
                  <a:pt x="971" y="452"/>
                  <a:pt x="971" y="452"/>
                  <a:pt x="971" y="452"/>
                </a:cubicBezTo>
                <a:cubicBezTo>
                  <a:pt x="973" y="453"/>
                  <a:pt x="973" y="453"/>
                  <a:pt x="973" y="453"/>
                </a:cubicBezTo>
                <a:cubicBezTo>
                  <a:pt x="973" y="454"/>
                  <a:pt x="973" y="454"/>
                  <a:pt x="973" y="454"/>
                </a:cubicBezTo>
                <a:cubicBezTo>
                  <a:pt x="972" y="454"/>
                  <a:pt x="972" y="454"/>
                  <a:pt x="972" y="454"/>
                </a:cubicBezTo>
                <a:cubicBezTo>
                  <a:pt x="973" y="455"/>
                  <a:pt x="973" y="455"/>
                  <a:pt x="973" y="455"/>
                </a:cubicBezTo>
                <a:cubicBezTo>
                  <a:pt x="974" y="455"/>
                  <a:pt x="974" y="455"/>
                  <a:pt x="974" y="455"/>
                </a:cubicBezTo>
                <a:cubicBezTo>
                  <a:pt x="973" y="456"/>
                  <a:pt x="973" y="456"/>
                  <a:pt x="973" y="456"/>
                </a:cubicBezTo>
                <a:cubicBezTo>
                  <a:pt x="974" y="456"/>
                  <a:pt x="974" y="456"/>
                  <a:pt x="974" y="456"/>
                </a:cubicBezTo>
                <a:cubicBezTo>
                  <a:pt x="973" y="458"/>
                  <a:pt x="973" y="458"/>
                  <a:pt x="973" y="458"/>
                </a:cubicBezTo>
                <a:cubicBezTo>
                  <a:pt x="971" y="459"/>
                  <a:pt x="971" y="459"/>
                  <a:pt x="971" y="459"/>
                </a:cubicBezTo>
                <a:cubicBezTo>
                  <a:pt x="970" y="460"/>
                  <a:pt x="970" y="460"/>
                  <a:pt x="970" y="460"/>
                </a:cubicBezTo>
                <a:cubicBezTo>
                  <a:pt x="969" y="460"/>
                  <a:pt x="969" y="460"/>
                  <a:pt x="969" y="460"/>
                </a:cubicBezTo>
                <a:cubicBezTo>
                  <a:pt x="968" y="461"/>
                  <a:pt x="968" y="461"/>
                  <a:pt x="968" y="461"/>
                </a:cubicBezTo>
                <a:cubicBezTo>
                  <a:pt x="966" y="461"/>
                  <a:pt x="966" y="461"/>
                  <a:pt x="966" y="461"/>
                </a:cubicBezTo>
                <a:cubicBezTo>
                  <a:pt x="965" y="460"/>
                  <a:pt x="965" y="460"/>
                  <a:pt x="965" y="460"/>
                </a:cubicBezTo>
                <a:cubicBezTo>
                  <a:pt x="964" y="460"/>
                  <a:pt x="964" y="460"/>
                  <a:pt x="964" y="460"/>
                </a:cubicBezTo>
                <a:cubicBezTo>
                  <a:pt x="963" y="460"/>
                  <a:pt x="963" y="460"/>
                  <a:pt x="963" y="460"/>
                </a:cubicBezTo>
                <a:cubicBezTo>
                  <a:pt x="961" y="461"/>
                  <a:pt x="961" y="461"/>
                  <a:pt x="961" y="461"/>
                </a:cubicBezTo>
                <a:cubicBezTo>
                  <a:pt x="960" y="460"/>
                  <a:pt x="960" y="460"/>
                  <a:pt x="960" y="460"/>
                </a:cubicBezTo>
                <a:cubicBezTo>
                  <a:pt x="958" y="461"/>
                  <a:pt x="958" y="461"/>
                  <a:pt x="958" y="461"/>
                </a:cubicBezTo>
                <a:cubicBezTo>
                  <a:pt x="960" y="461"/>
                  <a:pt x="960" y="461"/>
                  <a:pt x="960" y="461"/>
                </a:cubicBezTo>
                <a:cubicBezTo>
                  <a:pt x="961" y="461"/>
                  <a:pt x="961" y="461"/>
                  <a:pt x="961" y="461"/>
                </a:cubicBezTo>
                <a:cubicBezTo>
                  <a:pt x="962" y="461"/>
                  <a:pt x="962" y="461"/>
                  <a:pt x="962" y="461"/>
                </a:cubicBezTo>
                <a:cubicBezTo>
                  <a:pt x="964" y="462"/>
                  <a:pt x="964" y="462"/>
                  <a:pt x="964" y="462"/>
                </a:cubicBezTo>
                <a:cubicBezTo>
                  <a:pt x="965" y="463"/>
                  <a:pt x="965" y="463"/>
                  <a:pt x="965" y="463"/>
                </a:cubicBezTo>
                <a:cubicBezTo>
                  <a:pt x="965" y="464"/>
                  <a:pt x="965" y="464"/>
                  <a:pt x="965" y="464"/>
                </a:cubicBezTo>
                <a:cubicBezTo>
                  <a:pt x="967" y="463"/>
                  <a:pt x="967" y="463"/>
                  <a:pt x="967" y="463"/>
                </a:cubicBezTo>
                <a:cubicBezTo>
                  <a:pt x="968" y="462"/>
                  <a:pt x="968" y="462"/>
                  <a:pt x="968" y="462"/>
                </a:cubicBezTo>
                <a:cubicBezTo>
                  <a:pt x="969" y="462"/>
                  <a:pt x="969" y="462"/>
                  <a:pt x="969" y="462"/>
                </a:cubicBezTo>
                <a:cubicBezTo>
                  <a:pt x="969" y="463"/>
                  <a:pt x="969" y="463"/>
                  <a:pt x="969" y="463"/>
                </a:cubicBezTo>
                <a:cubicBezTo>
                  <a:pt x="970" y="463"/>
                  <a:pt x="970" y="463"/>
                  <a:pt x="970" y="463"/>
                </a:cubicBezTo>
                <a:cubicBezTo>
                  <a:pt x="971" y="463"/>
                  <a:pt x="971" y="463"/>
                  <a:pt x="971" y="463"/>
                </a:cubicBezTo>
                <a:cubicBezTo>
                  <a:pt x="969" y="464"/>
                  <a:pt x="969" y="464"/>
                  <a:pt x="969" y="464"/>
                </a:cubicBezTo>
                <a:cubicBezTo>
                  <a:pt x="968" y="468"/>
                  <a:pt x="968" y="468"/>
                  <a:pt x="968" y="468"/>
                </a:cubicBezTo>
                <a:cubicBezTo>
                  <a:pt x="967" y="468"/>
                  <a:pt x="967" y="468"/>
                  <a:pt x="967" y="468"/>
                </a:cubicBezTo>
                <a:cubicBezTo>
                  <a:pt x="966" y="469"/>
                  <a:pt x="966" y="469"/>
                  <a:pt x="966" y="469"/>
                </a:cubicBezTo>
                <a:cubicBezTo>
                  <a:pt x="969" y="469"/>
                  <a:pt x="969" y="469"/>
                  <a:pt x="969" y="469"/>
                </a:cubicBezTo>
                <a:cubicBezTo>
                  <a:pt x="968" y="470"/>
                  <a:pt x="968" y="470"/>
                  <a:pt x="968" y="470"/>
                </a:cubicBezTo>
                <a:cubicBezTo>
                  <a:pt x="969" y="471"/>
                  <a:pt x="969" y="471"/>
                  <a:pt x="969" y="471"/>
                </a:cubicBezTo>
                <a:cubicBezTo>
                  <a:pt x="969" y="472"/>
                  <a:pt x="969" y="472"/>
                  <a:pt x="969" y="472"/>
                </a:cubicBezTo>
                <a:cubicBezTo>
                  <a:pt x="969" y="474"/>
                  <a:pt x="969" y="474"/>
                  <a:pt x="969" y="474"/>
                </a:cubicBezTo>
                <a:cubicBezTo>
                  <a:pt x="970" y="476"/>
                  <a:pt x="970" y="476"/>
                  <a:pt x="970" y="476"/>
                </a:cubicBezTo>
                <a:cubicBezTo>
                  <a:pt x="971" y="476"/>
                  <a:pt x="971" y="476"/>
                  <a:pt x="971" y="476"/>
                </a:cubicBezTo>
                <a:cubicBezTo>
                  <a:pt x="972" y="477"/>
                  <a:pt x="972" y="477"/>
                  <a:pt x="972" y="477"/>
                </a:cubicBezTo>
                <a:cubicBezTo>
                  <a:pt x="974" y="477"/>
                  <a:pt x="974" y="477"/>
                  <a:pt x="974" y="477"/>
                </a:cubicBezTo>
                <a:cubicBezTo>
                  <a:pt x="973" y="478"/>
                  <a:pt x="973" y="478"/>
                  <a:pt x="973" y="478"/>
                </a:cubicBezTo>
                <a:cubicBezTo>
                  <a:pt x="972" y="478"/>
                  <a:pt x="972" y="478"/>
                  <a:pt x="972" y="478"/>
                </a:cubicBezTo>
                <a:cubicBezTo>
                  <a:pt x="974" y="479"/>
                  <a:pt x="974" y="479"/>
                  <a:pt x="974" y="479"/>
                </a:cubicBezTo>
                <a:cubicBezTo>
                  <a:pt x="976" y="479"/>
                  <a:pt x="976" y="479"/>
                  <a:pt x="976" y="479"/>
                </a:cubicBezTo>
                <a:cubicBezTo>
                  <a:pt x="977" y="480"/>
                  <a:pt x="977" y="480"/>
                  <a:pt x="977" y="480"/>
                </a:cubicBezTo>
                <a:cubicBezTo>
                  <a:pt x="977" y="479"/>
                  <a:pt x="977" y="479"/>
                  <a:pt x="977" y="479"/>
                </a:cubicBezTo>
                <a:cubicBezTo>
                  <a:pt x="979" y="480"/>
                  <a:pt x="979" y="480"/>
                  <a:pt x="979" y="480"/>
                </a:cubicBezTo>
                <a:cubicBezTo>
                  <a:pt x="979" y="481"/>
                  <a:pt x="979" y="481"/>
                  <a:pt x="979" y="481"/>
                </a:cubicBezTo>
                <a:cubicBezTo>
                  <a:pt x="981" y="481"/>
                  <a:pt x="981" y="481"/>
                  <a:pt x="981" y="481"/>
                </a:cubicBezTo>
                <a:cubicBezTo>
                  <a:pt x="982" y="480"/>
                  <a:pt x="982" y="480"/>
                  <a:pt x="982" y="480"/>
                </a:cubicBezTo>
                <a:cubicBezTo>
                  <a:pt x="984" y="479"/>
                  <a:pt x="984" y="479"/>
                  <a:pt x="984" y="479"/>
                </a:cubicBezTo>
                <a:cubicBezTo>
                  <a:pt x="984" y="480"/>
                  <a:pt x="984" y="480"/>
                  <a:pt x="984" y="480"/>
                </a:cubicBezTo>
                <a:cubicBezTo>
                  <a:pt x="983" y="481"/>
                  <a:pt x="983" y="481"/>
                  <a:pt x="983" y="481"/>
                </a:cubicBezTo>
                <a:cubicBezTo>
                  <a:pt x="985" y="481"/>
                  <a:pt x="985" y="481"/>
                  <a:pt x="985" y="481"/>
                </a:cubicBezTo>
                <a:cubicBezTo>
                  <a:pt x="987" y="482"/>
                  <a:pt x="987" y="482"/>
                  <a:pt x="987" y="482"/>
                </a:cubicBezTo>
                <a:cubicBezTo>
                  <a:pt x="987" y="483"/>
                  <a:pt x="987" y="483"/>
                  <a:pt x="987" y="483"/>
                </a:cubicBezTo>
                <a:cubicBezTo>
                  <a:pt x="986" y="483"/>
                  <a:pt x="986" y="483"/>
                  <a:pt x="986" y="483"/>
                </a:cubicBezTo>
                <a:cubicBezTo>
                  <a:pt x="987" y="484"/>
                  <a:pt x="987" y="484"/>
                  <a:pt x="987" y="484"/>
                </a:cubicBezTo>
                <a:cubicBezTo>
                  <a:pt x="986" y="485"/>
                  <a:pt x="986" y="485"/>
                  <a:pt x="986" y="485"/>
                </a:cubicBezTo>
                <a:cubicBezTo>
                  <a:pt x="984" y="485"/>
                  <a:pt x="984" y="485"/>
                  <a:pt x="984" y="485"/>
                </a:cubicBezTo>
                <a:cubicBezTo>
                  <a:pt x="981" y="487"/>
                  <a:pt x="981" y="487"/>
                  <a:pt x="981" y="487"/>
                </a:cubicBezTo>
                <a:cubicBezTo>
                  <a:pt x="980" y="487"/>
                  <a:pt x="980" y="487"/>
                  <a:pt x="980" y="487"/>
                </a:cubicBezTo>
                <a:cubicBezTo>
                  <a:pt x="978" y="487"/>
                  <a:pt x="978" y="487"/>
                  <a:pt x="978" y="487"/>
                </a:cubicBezTo>
                <a:cubicBezTo>
                  <a:pt x="976" y="488"/>
                  <a:pt x="976" y="488"/>
                  <a:pt x="976" y="488"/>
                </a:cubicBezTo>
                <a:cubicBezTo>
                  <a:pt x="974" y="489"/>
                  <a:pt x="974" y="489"/>
                  <a:pt x="974" y="489"/>
                </a:cubicBezTo>
                <a:cubicBezTo>
                  <a:pt x="973" y="489"/>
                  <a:pt x="973" y="489"/>
                  <a:pt x="973" y="489"/>
                </a:cubicBezTo>
                <a:cubicBezTo>
                  <a:pt x="971" y="489"/>
                  <a:pt x="971" y="489"/>
                  <a:pt x="971" y="489"/>
                </a:cubicBezTo>
                <a:cubicBezTo>
                  <a:pt x="971" y="488"/>
                  <a:pt x="971" y="488"/>
                  <a:pt x="971" y="488"/>
                </a:cubicBezTo>
                <a:cubicBezTo>
                  <a:pt x="970" y="488"/>
                  <a:pt x="970" y="488"/>
                  <a:pt x="970" y="488"/>
                </a:cubicBezTo>
                <a:cubicBezTo>
                  <a:pt x="970" y="489"/>
                  <a:pt x="970" y="489"/>
                  <a:pt x="970" y="489"/>
                </a:cubicBezTo>
                <a:cubicBezTo>
                  <a:pt x="969" y="488"/>
                  <a:pt x="969" y="488"/>
                  <a:pt x="969" y="488"/>
                </a:cubicBezTo>
                <a:cubicBezTo>
                  <a:pt x="968" y="490"/>
                  <a:pt x="968" y="490"/>
                  <a:pt x="968" y="490"/>
                </a:cubicBezTo>
                <a:cubicBezTo>
                  <a:pt x="969" y="491"/>
                  <a:pt x="969" y="491"/>
                  <a:pt x="969" y="491"/>
                </a:cubicBezTo>
                <a:cubicBezTo>
                  <a:pt x="967" y="492"/>
                  <a:pt x="967" y="492"/>
                  <a:pt x="967" y="492"/>
                </a:cubicBezTo>
                <a:cubicBezTo>
                  <a:pt x="965" y="494"/>
                  <a:pt x="965" y="494"/>
                  <a:pt x="965" y="494"/>
                </a:cubicBezTo>
                <a:cubicBezTo>
                  <a:pt x="964" y="495"/>
                  <a:pt x="964" y="495"/>
                  <a:pt x="964" y="495"/>
                </a:cubicBezTo>
                <a:cubicBezTo>
                  <a:pt x="962" y="496"/>
                  <a:pt x="962" y="496"/>
                  <a:pt x="962" y="496"/>
                </a:cubicBezTo>
                <a:cubicBezTo>
                  <a:pt x="961" y="496"/>
                  <a:pt x="961" y="496"/>
                  <a:pt x="961" y="496"/>
                </a:cubicBezTo>
                <a:cubicBezTo>
                  <a:pt x="961" y="497"/>
                  <a:pt x="961" y="497"/>
                  <a:pt x="961" y="497"/>
                </a:cubicBezTo>
                <a:cubicBezTo>
                  <a:pt x="960" y="497"/>
                  <a:pt x="960" y="497"/>
                  <a:pt x="960" y="497"/>
                </a:cubicBezTo>
                <a:cubicBezTo>
                  <a:pt x="959" y="497"/>
                  <a:pt x="959" y="497"/>
                  <a:pt x="959" y="497"/>
                </a:cubicBezTo>
                <a:cubicBezTo>
                  <a:pt x="958" y="497"/>
                  <a:pt x="958" y="497"/>
                  <a:pt x="958" y="497"/>
                </a:cubicBezTo>
                <a:cubicBezTo>
                  <a:pt x="958" y="495"/>
                  <a:pt x="958" y="495"/>
                  <a:pt x="958" y="495"/>
                </a:cubicBezTo>
                <a:cubicBezTo>
                  <a:pt x="957" y="495"/>
                  <a:pt x="957" y="495"/>
                  <a:pt x="957" y="495"/>
                </a:cubicBezTo>
                <a:cubicBezTo>
                  <a:pt x="957" y="494"/>
                  <a:pt x="957" y="494"/>
                  <a:pt x="957" y="494"/>
                </a:cubicBezTo>
                <a:cubicBezTo>
                  <a:pt x="956" y="493"/>
                  <a:pt x="956" y="493"/>
                  <a:pt x="956" y="493"/>
                </a:cubicBezTo>
                <a:cubicBezTo>
                  <a:pt x="956" y="491"/>
                  <a:pt x="956" y="491"/>
                  <a:pt x="956" y="491"/>
                </a:cubicBezTo>
                <a:cubicBezTo>
                  <a:pt x="957" y="489"/>
                  <a:pt x="957" y="489"/>
                  <a:pt x="957" y="489"/>
                </a:cubicBezTo>
                <a:cubicBezTo>
                  <a:pt x="959" y="488"/>
                  <a:pt x="959" y="488"/>
                  <a:pt x="959" y="488"/>
                </a:cubicBezTo>
                <a:cubicBezTo>
                  <a:pt x="959" y="487"/>
                  <a:pt x="959" y="487"/>
                  <a:pt x="959" y="487"/>
                </a:cubicBezTo>
                <a:cubicBezTo>
                  <a:pt x="961" y="486"/>
                  <a:pt x="961" y="486"/>
                  <a:pt x="961" y="486"/>
                </a:cubicBezTo>
                <a:cubicBezTo>
                  <a:pt x="964" y="485"/>
                  <a:pt x="964" y="485"/>
                  <a:pt x="964" y="485"/>
                </a:cubicBezTo>
                <a:cubicBezTo>
                  <a:pt x="966" y="484"/>
                  <a:pt x="966" y="484"/>
                  <a:pt x="966" y="484"/>
                </a:cubicBezTo>
                <a:cubicBezTo>
                  <a:pt x="968" y="483"/>
                  <a:pt x="968" y="483"/>
                  <a:pt x="968" y="483"/>
                </a:cubicBezTo>
                <a:cubicBezTo>
                  <a:pt x="969" y="484"/>
                  <a:pt x="969" y="484"/>
                  <a:pt x="969" y="484"/>
                </a:cubicBezTo>
                <a:cubicBezTo>
                  <a:pt x="969" y="485"/>
                  <a:pt x="969" y="485"/>
                  <a:pt x="969" y="485"/>
                </a:cubicBezTo>
                <a:cubicBezTo>
                  <a:pt x="970" y="485"/>
                  <a:pt x="970" y="485"/>
                  <a:pt x="970" y="485"/>
                </a:cubicBezTo>
                <a:cubicBezTo>
                  <a:pt x="970" y="484"/>
                  <a:pt x="970" y="484"/>
                  <a:pt x="970" y="484"/>
                </a:cubicBezTo>
                <a:cubicBezTo>
                  <a:pt x="971" y="484"/>
                  <a:pt x="971" y="484"/>
                  <a:pt x="971" y="484"/>
                </a:cubicBezTo>
                <a:cubicBezTo>
                  <a:pt x="973" y="483"/>
                  <a:pt x="973" y="483"/>
                  <a:pt x="973" y="483"/>
                </a:cubicBezTo>
                <a:cubicBezTo>
                  <a:pt x="972" y="483"/>
                  <a:pt x="972" y="483"/>
                  <a:pt x="972" y="483"/>
                </a:cubicBezTo>
                <a:cubicBezTo>
                  <a:pt x="970" y="483"/>
                  <a:pt x="970" y="483"/>
                  <a:pt x="970" y="483"/>
                </a:cubicBezTo>
                <a:cubicBezTo>
                  <a:pt x="969" y="482"/>
                  <a:pt x="969" y="482"/>
                  <a:pt x="969" y="482"/>
                </a:cubicBezTo>
                <a:cubicBezTo>
                  <a:pt x="968" y="482"/>
                  <a:pt x="968" y="482"/>
                  <a:pt x="968" y="482"/>
                </a:cubicBezTo>
                <a:cubicBezTo>
                  <a:pt x="967" y="483"/>
                  <a:pt x="967" y="483"/>
                  <a:pt x="967" y="483"/>
                </a:cubicBezTo>
                <a:cubicBezTo>
                  <a:pt x="965" y="483"/>
                  <a:pt x="965" y="483"/>
                  <a:pt x="965" y="483"/>
                </a:cubicBezTo>
                <a:cubicBezTo>
                  <a:pt x="967" y="481"/>
                  <a:pt x="967" y="481"/>
                  <a:pt x="967" y="481"/>
                </a:cubicBezTo>
                <a:cubicBezTo>
                  <a:pt x="968" y="481"/>
                  <a:pt x="968" y="481"/>
                  <a:pt x="968" y="481"/>
                </a:cubicBezTo>
                <a:cubicBezTo>
                  <a:pt x="969" y="480"/>
                  <a:pt x="969" y="480"/>
                  <a:pt x="969" y="480"/>
                </a:cubicBezTo>
                <a:cubicBezTo>
                  <a:pt x="969" y="479"/>
                  <a:pt x="969" y="479"/>
                  <a:pt x="969" y="479"/>
                </a:cubicBezTo>
                <a:cubicBezTo>
                  <a:pt x="968" y="479"/>
                  <a:pt x="968" y="479"/>
                  <a:pt x="968" y="479"/>
                </a:cubicBezTo>
                <a:cubicBezTo>
                  <a:pt x="967" y="480"/>
                  <a:pt x="967" y="480"/>
                  <a:pt x="967" y="480"/>
                </a:cubicBezTo>
                <a:cubicBezTo>
                  <a:pt x="966" y="481"/>
                  <a:pt x="966" y="481"/>
                  <a:pt x="966" y="481"/>
                </a:cubicBezTo>
                <a:cubicBezTo>
                  <a:pt x="965" y="482"/>
                  <a:pt x="965" y="482"/>
                  <a:pt x="965" y="482"/>
                </a:cubicBezTo>
                <a:cubicBezTo>
                  <a:pt x="963" y="482"/>
                  <a:pt x="963" y="482"/>
                  <a:pt x="963" y="482"/>
                </a:cubicBezTo>
                <a:cubicBezTo>
                  <a:pt x="963" y="483"/>
                  <a:pt x="963" y="483"/>
                  <a:pt x="963" y="483"/>
                </a:cubicBezTo>
                <a:cubicBezTo>
                  <a:pt x="960" y="484"/>
                  <a:pt x="960" y="484"/>
                  <a:pt x="960" y="484"/>
                </a:cubicBezTo>
                <a:cubicBezTo>
                  <a:pt x="959" y="483"/>
                  <a:pt x="959" y="483"/>
                  <a:pt x="959" y="483"/>
                </a:cubicBezTo>
                <a:cubicBezTo>
                  <a:pt x="958" y="484"/>
                  <a:pt x="958" y="484"/>
                  <a:pt x="958" y="484"/>
                </a:cubicBezTo>
                <a:cubicBezTo>
                  <a:pt x="957" y="484"/>
                  <a:pt x="957" y="484"/>
                  <a:pt x="957" y="484"/>
                </a:cubicBezTo>
                <a:cubicBezTo>
                  <a:pt x="956" y="484"/>
                  <a:pt x="956" y="484"/>
                  <a:pt x="956" y="484"/>
                </a:cubicBezTo>
                <a:cubicBezTo>
                  <a:pt x="955" y="485"/>
                  <a:pt x="955" y="485"/>
                  <a:pt x="955" y="485"/>
                </a:cubicBezTo>
                <a:cubicBezTo>
                  <a:pt x="954" y="484"/>
                  <a:pt x="954" y="484"/>
                  <a:pt x="954" y="484"/>
                </a:cubicBezTo>
                <a:cubicBezTo>
                  <a:pt x="954" y="483"/>
                  <a:pt x="954" y="483"/>
                  <a:pt x="954" y="483"/>
                </a:cubicBezTo>
                <a:cubicBezTo>
                  <a:pt x="953" y="484"/>
                  <a:pt x="953" y="484"/>
                  <a:pt x="953" y="484"/>
                </a:cubicBezTo>
                <a:cubicBezTo>
                  <a:pt x="951" y="483"/>
                  <a:pt x="951" y="483"/>
                  <a:pt x="951" y="483"/>
                </a:cubicBezTo>
                <a:cubicBezTo>
                  <a:pt x="953" y="485"/>
                  <a:pt x="953" y="485"/>
                  <a:pt x="953" y="485"/>
                </a:cubicBezTo>
                <a:cubicBezTo>
                  <a:pt x="953" y="486"/>
                  <a:pt x="953" y="486"/>
                  <a:pt x="953" y="486"/>
                </a:cubicBezTo>
                <a:cubicBezTo>
                  <a:pt x="954" y="487"/>
                  <a:pt x="954" y="487"/>
                  <a:pt x="954" y="487"/>
                </a:cubicBezTo>
                <a:cubicBezTo>
                  <a:pt x="954" y="486"/>
                  <a:pt x="954" y="486"/>
                  <a:pt x="954" y="486"/>
                </a:cubicBezTo>
                <a:cubicBezTo>
                  <a:pt x="955" y="487"/>
                  <a:pt x="955" y="487"/>
                  <a:pt x="955" y="487"/>
                </a:cubicBezTo>
                <a:cubicBezTo>
                  <a:pt x="955" y="488"/>
                  <a:pt x="955" y="488"/>
                  <a:pt x="955" y="488"/>
                </a:cubicBezTo>
                <a:cubicBezTo>
                  <a:pt x="953" y="488"/>
                  <a:pt x="953" y="488"/>
                  <a:pt x="953" y="488"/>
                </a:cubicBezTo>
                <a:cubicBezTo>
                  <a:pt x="953" y="487"/>
                  <a:pt x="953" y="487"/>
                  <a:pt x="953" y="487"/>
                </a:cubicBezTo>
                <a:cubicBezTo>
                  <a:pt x="951" y="488"/>
                  <a:pt x="951" y="488"/>
                  <a:pt x="951" y="488"/>
                </a:cubicBezTo>
                <a:cubicBezTo>
                  <a:pt x="950" y="488"/>
                  <a:pt x="950" y="488"/>
                  <a:pt x="950" y="488"/>
                </a:cubicBezTo>
                <a:cubicBezTo>
                  <a:pt x="949" y="489"/>
                  <a:pt x="949" y="489"/>
                  <a:pt x="949" y="489"/>
                </a:cubicBezTo>
                <a:cubicBezTo>
                  <a:pt x="948" y="489"/>
                  <a:pt x="948" y="489"/>
                  <a:pt x="948" y="489"/>
                </a:cubicBezTo>
                <a:cubicBezTo>
                  <a:pt x="947" y="490"/>
                  <a:pt x="947" y="490"/>
                  <a:pt x="947" y="490"/>
                </a:cubicBezTo>
                <a:cubicBezTo>
                  <a:pt x="946" y="490"/>
                  <a:pt x="946" y="490"/>
                  <a:pt x="946" y="490"/>
                </a:cubicBezTo>
                <a:cubicBezTo>
                  <a:pt x="945" y="489"/>
                  <a:pt x="945" y="489"/>
                  <a:pt x="945" y="489"/>
                </a:cubicBezTo>
                <a:cubicBezTo>
                  <a:pt x="944" y="489"/>
                  <a:pt x="944" y="489"/>
                  <a:pt x="944" y="489"/>
                </a:cubicBezTo>
                <a:cubicBezTo>
                  <a:pt x="943" y="490"/>
                  <a:pt x="943" y="490"/>
                  <a:pt x="943" y="490"/>
                </a:cubicBezTo>
                <a:cubicBezTo>
                  <a:pt x="942" y="490"/>
                  <a:pt x="942" y="490"/>
                  <a:pt x="942" y="490"/>
                </a:cubicBezTo>
                <a:cubicBezTo>
                  <a:pt x="941" y="489"/>
                  <a:pt x="941" y="489"/>
                  <a:pt x="941" y="489"/>
                </a:cubicBezTo>
                <a:cubicBezTo>
                  <a:pt x="940" y="490"/>
                  <a:pt x="940" y="490"/>
                  <a:pt x="940" y="490"/>
                </a:cubicBezTo>
                <a:cubicBezTo>
                  <a:pt x="939" y="492"/>
                  <a:pt x="939" y="492"/>
                  <a:pt x="939" y="492"/>
                </a:cubicBezTo>
                <a:cubicBezTo>
                  <a:pt x="938" y="492"/>
                  <a:pt x="938" y="492"/>
                  <a:pt x="938" y="492"/>
                </a:cubicBezTo>
                <a:cubicBezTo>
                  <a:pt x="937" y="493"/>
                  <a:pt x="937" y="493"/>
                  <a:pt x="937" y="493"/>
                </a:cubicBezTo>
                <a:cubicBezTo>
                  <a:pt x="936" y="492"/>
                  <a:pt x="936" y="492"/>
                  <a:pt x="936" y="492"/>
                </a:cubicBezTo>
                <a:cubicBezTo>
                  <a:pt x="936" y="493"/>
                  <a:pt x="936" y="493"/>
                  <a:pt x="936" y="493"/>
                </a:cubicBezTo>
                <a:cubicBezTo>
                  <a:pt x="935" y="494"/>
                  <a:pt x="935" y="494"/>
                  <a:pt x="935" y="494"/>
                </a:cubicBezTo>
                <a:cubicBezTo>
                  <a:pt x="934" y="494"/>
                  <a:pt x="934" y="494"/>
                  <a:pt x="934" y="494"/>
                </a:cubicBezTo>
                <a:cubicBezTo>
                  <a:pt x="934" y="493"/>
                  <a:pt x="934" y="493"/>
                  <a:pt x="934" y="493"/>
                </a:cubicBezTo>
                <a:cubicBezTo>
                  <a:pt x="933" y="494"/>
                  <a:pt x="933" y="494"/>
                  <a:pt x="933" y="494"/>
                </a:cubicBezTo>
                <a:cubicBezTo>
                  <a:pt x="932" y="496"/>
                  <a:pt x="932" y="496"/>
                  <a:pt x="932" y="496"/>
                </a:cubicBezTo>
                <a:cubicBezTo>
                  <a:pt x="930" y="497"/>
                  <a:pt x="930" y="497"/>
                  <a:pt x="930" y="497"/>
                </a:cubicBezTo>
                <a:cubicBezTo>
                  <a:pt x="929" y="500"/>
                  <a:pt x="929" y="500"/>
                  <a:pt x="929" y="500"/>
                </a:cubicBezTo>
                <a:cubicBezTo>
                  <a:pt x="928" y="501"/>
                  <a:pt x="928" y="501"/>
                  <a:pt x="928" y="501"/>
                </a:cubicBezTo>
                <a:cubicBezTo>
                  <a:pt x="928" y="502"/>
                  <a:pt x="928" y="502"/>
                  <a:pt x="928" y="502"/>
                </a:cubicBezTo>
                <a:cubicBezTo>
                  <a:pt x="927" y="502"/>
                  <a:pt x="927" y="502"/>
                  <a:pt x="927" y="502"/>
                </a:cubicBezTo>
                <a:cubicBezTo>
                  <a:pt x="927" y="503"/>
                  <a:pt x="927" y="503"/>
                  <a:pt x="927" y="503"/>
                </a:cubicBezTo>
                <a:cubicBezTo>
                  <a:pt x="928" y="503"/>
                  <a:pt x="928" y="503"/>
                  <a:pt x="928" y="503"/>
                </a:cubicBezTo>
                <a:cubicBezTo>
                  <a:pt x="928" y="504"/>
                  <a:pt x="928" y="504"/>
                  <a:pt x="928" y="504"/>
                </a:cubicBezTo>
                <a:cubicBezTo>
                  <a:pt x="926" y="506"/>
                  <a:pt x="926" y="506"/>
                  <a:pt x="926" y="506"/>
                </a:cubicBezTo>
                <a:cubicBezTo>
                  <a:pt x="927" y="507"/>
                  <a:pt x="927" y="507"/>
                  <a:pt x="927" y="507"/>
                </a:cubicBezTo>
                <a:cubicBezTo>
                  <a:pt x="928" y="509"/>
                  <a:pt x="928" y="509"/>
                  <a:pt x="928" y="509"/>
                </a:cubicBezTo>
                <a:cubicBezTo>
                  <a:pt x="928" y="510"/>
                  <a:pt x="928" y="510"/>
                  <a:pt x="928" y="510"/>
                </a:cubicBezTo>
                <a:cubicBezTo>
                  <a:pt x="930" y="510"/>
                  <a:pt x="930" y="510"/>
                  <a:pt x="930" y="510"/>
                </a:cubicBezTo>
                <a:cubicBezTo>
                  <a:pt x="930" y="509"/>
                  <a:pt x="930" y="509"/>
                  <a:pt x="930" y="509"/>
                </a:cubicBezTo>
                <a:cubicBezTo>
                  <a:pt x="930" y="508"/>
                  <a:pt x="930" y="508"/>
                  <a:pt x="930" y="508"/>
                </a:cubicBezTo>
                <a:cubicBezTo>
                  <a:pt x="931" y="508"/>
                  <a:pt x="931" y="508"/>
                  <a:pt x="931" y="508"/>
                </a:cubicBezTo>
                <a:cubicBezTo>
                  <a:pt x="931" y="510"/>
                  <a:pt x="931" y="510"/>
                  <a:pt x="931" y="510"/>
                </a:cubicBezTo>
                <a:cubicBezTo>
                  <a:pt x="931" y="511"/>
                  <a:pt x="931" y="511"/>
                  <a:pt x="931" y="511"/>
                </a:cubicBezTo>
                <a:cubicBezTo>
                  <a:pt x="928" y="512"/>
                  <a:pt x="928" y="512"/>
                  <a:pt x="928" y="512"/>
                </a:cubicBezTo>
                <a:cubicBezTo>
                  <a:pt x="927" y="512"/>
                  <a:pt x="927" y="512"/>
                  <a:pt x="927" y="512"/>
                </a:cubicBezTo>
                <a:cubicBezTo>
                  <a:pt x="927" y="511"/>
                  <a:pt x="927" y="511"/>
                  <a:pt x="927" y="511"/>
                </a:cubicBezTo>
                <a:cubicBezTo>
                  <a:pt x="926" y="510"/>
                  <a:pt x="926" y="510"/>
                  <a:pt x="926" y="510"/>
                </a:cubicBezTo>
                <a:cubicBezTo>
                  <a:pt x="925" y="512"/>
                  <a:pt x="925" y="512"/>
                  <a:pt x="925" y="512"/>
                </a:cubicBezTo>
                <a:cubicBezTo>
                  <a:pt x="924" y="514"/>
                  <a:pt x="924" y="514"/>
                  <a:pt x="924" y="514"/>
                </a:cubicBezTo>
                <a:cubicBezTo>
                  <a:pt x="923" y="513"/>
                  <a:pt x="923" y="513"/>
                  <a:pt x="923" y="513"/>
                </a:cubicBezTo>
                <a:cubicBezTo>
                  <a:pt x="923" y="511"/>
                  <a:pt x="923" y="511"/>
                  <a:pt x="923" y="511"/>
                </a:cubicBezTo>
                <a:cubicBezTo>
                  <a:pt x="922" y="510"/>
                  <a:pt x="922" y="510"/>
                  <a:pt x="922" y="510"/>
                </a:cubicBezTo>
                <a:cubicBezTo>
                  <a:pt x="922" y="511"/>
                  <a:pt x="922" y="511"/>
                  <a:pt x="922" y="511"/>
                </a:cubicBezTo>
                <a:cubicBezTo>
                  <a:pt x="922" y="513"/>
                  <a:pt x="922" y="513"/>
                  <a:pt x="922" y="513"/>
                </a:cubicBezTo>
                <a:cubicBezTo>
                  <a:pt x="923" y="514"/>
                  <a:pt x="923" y="514"/>
                  <a:pt x="923" y="514"/>
                </a:cubicBezTo>
                <a:cubicBezTo>
                  <a:pt x="922" y="514"/>
                  <a:pt x="922" y="514"/>
                  <a:pt x="922" y="514"/>
                </a:cubicBezTo>
                <a:cubicBezTo>
                  <a:pt x="919" y="514"/>
                  <a:pt x="919" y="514"/>
                  <a:pt x="919" y="514"/>
                </a:cubicBezTo>
                <a:cubicBezTo>
                  <a:pt x="918" y="514"/>
                  <a:pt x="918" y="514"/>
                  <a:pt x="918" y="514"/>
                </a:cubicBezTo>
                <a:cubicBezTo>
                  <a:pt x="916" y="514"/>
                  <a:pt x="916" y="514"/>
                  <a:pt x="916" y="514"/>
                </a:cubicBezTo>
                <a:cubicBezTo>
                  <a:pt x="914" y="514"/>
                  <a:pt x="914" y="514"/>
                  <a:pt x="914" y="514"/>
                </a:cubicBezTo>
                <a:cubicBezTo>
                  <a:pt x="913" y="514"/>
                  <a:pt x="913" y="514"/>
                  <a:pt x="913" y="514"/>
                </a:cubicBezTo>
                <a:cubicBezTo>
                  <a:pt x="911" y="515"/>
                  <a:pt x="911" y="515"/>
                  <a:pt x="911" y="515"/>
                </a:cubicBezTo>
                <a:cubicBezTo>
                  <a:pt x="909" y="515"/>
                  <a:pt x="909" y="515"/>
                  <a:pt x="909" y="515"/>
                </a:cubicBezTo>
                <a:cubicBezTo>
                  <a:pt x="907" y="516"/>
                  <a:pt x="907" y="516"/>
                  <a:pt x="907" y="516"/>
                </a:cubicBezTo>
                <a:cubicBezTo>
                  <a:pt x="906" y="517"/>
                  <a:pt x="906" y="517"/>
                  <a:pt x="906" y="517"/>
                </a:cubicBezTo>
                <a:cubicBezTo>
                  <a:pt x="905" y="518"/>
                  <a:pt x="905" y="518"/>
                  <a:pt x="905" y="518"/>
                </a:cubicBezTo>
                <a:cubicBezTo>
                  <a:pt x="905" y="519"/>
                  <a:pt x="905" y="519"/>
                  <a:pt x="905" y="519"/>
                </a:cubicBezTo>
                <a:cubicBezTo>
                  <a:pt x="904" y="519"/>
                  <a:pt x="904" y="519"/>
                  <a:pt x="904" y="519"/>
                </a:cubicBezTo>
                <a:cubicBezTo>
                  <a:pt x="904" y="520"/>
                  <a:pt x="904" y="520"/>
                  <a:pt x="904" y="520"/>
                </a:cubicBezTo>
                <a:cubicBezTo>
                  <a:pt x="905" y="521"/>
                  <a:pt x="905" y="521"/>
                  <a:pt x="905" y="521"/>
                </a:cubicBezTo>
                <a:cubicBezTo>
                  <a:pt x="905" y="522"/>
                  <a:pt x="905" y="522"/>
                  <a:pt x="905" y="522"/>
                </a:cubicBezTo>
                <a:cubicBezTo>
                  <a:pt x="904" y="523"/>
                  <a:pt x="904" y="523"/>
                  <a:pt x="904" y="523"/>
                </a:cubicBezTo>
                <a:cubicBezTo>
                  <a:pt x="904" y="524"/>
                  <a:pt x="904" y="524"/>
                  <a:pt x="904" y="524"/>
                </a:cubicBezTo>
                <a:cubicBezTo>
                  <a:pt x="904" y="525"/>
                  <a:pt x="904" y="525"/>
                  <a:pt x="904" y="525"/>
                </a:cubicBezTo>
                <a:cubicBezTo>
                  <a:pt x="904" y="526"/>
                  <a:pt x="904" y="526"/>
                  <a:pt x="904" y="526"/>
                </a:cubicBezTo>
                <a:cubicBezTo>
                  <a:pt x="903" y="527"/>
                  <a:pt x="903" y="527"/>
                  <a:pt x="903" y="527"/>
                </a:cubicBezTo>
                <a:cubicBezTo>
                  <a:pt x="902" y="528"/>
                  <a:pt x="902" y="528"/>
                  <a:pt x="902" y="528"/>
                </a:cubicBezTo>
                <a:cubicBezTo>
                  <a:pt x="901" y="530"/>
                  <a:pt x="901" y="530"/>
                  <a:pt x="901" y="530"/>
                </a:cubicBezTo>
                <a:cubicBezTo>
                  <a:pt x="900" y="531"/>
                  <a:pt x="900" y="531"/>
                  <a:pt x="900" y="531"/>
                </a:cubicBezTo>
                <a:cubicBezTo>
                  <a:pt x="900" y="530"/>
                  <a:pt x="900" y="530"/>
                  <a:pt x="900" y="530"/>
                </a:cubicBezTo>
                <a:cubicBezTo>
                  <a:pt x="899" y="531"/>
                  <a:pt x="899" y="531"/>
                  <a:pt x="899" y="531"/>
                </a:cubicBezTo>
                <a:cubicBezTo>
                  <a:pt x="898" y="533"/>
                  <a:pt x="898" y="533"/>
                  <a:pt x="898" y="533"/>
                </a:cubicBezTo>
                <a:cubicBezTo>
                  <a:pt x="898" y="532"/>
                  <a:pt x="898" y="532"/>
                  <a:pt x="898" y="532"/>
                </a:cubicBezTo>
                <a:cubicBezTo>
                  <a:pt x="897" y="533"/>
                  <a:pt x="897" y="533"/>
                  <a:pt x="897" y="533"/>
                </a:cubicBezTo>
                <a:cubicBezTo>
                  <a:pt x="898" y="531"/>
                  <a:pt x="898" y="531"/>
                  <a:pt x="898" y="531"/>
                </a:cubicBezTo>
                <a:cubicBezTo>
                  <a:pt x="897" y="531"/>
                  <a:pt x="897" y="531"/>
                  <a:pt x="897" y="531"/>
                </a:cubicBezTo>
                <a:cubicBezTo>
                  <a:pt x="895" y="529"/>
                  <a:pt x="895" y="529"/>
                  <a:pt x="895" y="529"/>
                </a:cubicBezTo>
                <a:cubicBezTo>
                  <a:pt x="895" y="528"/>
                  <a:pt x="895" y="528"/>
                  <a:pt x="895" y="528"/>
                </a:cubicBezTo>
                <a:cubicBezTo>
                  <a:pt x="897" y="525"/>
                  <a:pt x="897" y="525"/>
                  <a:pt x="897" y="525"/>
                </a:cubicBezTo>
                <a:cubicBezTo>
                  <a:pt x="896" y="526"/>
                  <a:pt x="896" y="526"/>
                  <a:pt x="896" y="526"/>
                </a:cubicBezTo>
                <a:cubicBezTo>
                  <a:pt x="895" y="527"/>
                  <a:pt x="895" y="527"/>
                  <a:pt x="895" y="527"/>
                </a:cubicBezTo>
                <a:cubicBezTo>
                  <a:pt x="894" y="528"/>
                  <a:pt x="894" y="528"/>
                  <a:pt x="894" y="528"/>
                </a:cubicBezTo>
                <a:cubicBezTo>
                  <a:pt x="894" y="530"/>
                  <a:pt x="894" y="530"/>
                  <a:pt x="894" y="530"/>
                </a:cubicBezTo>
                <a:cubicBezTo>
                  <a:pt x="895" y="530"/>
                  <a:pt x="895" y="530"/>
                  <a:pt x="895" y="530"/>
                </a:cubicBezTo>
                <a:cubicBezTo>
                  <a:pt x="895" y="532"/>
                  <a:pt x="895" y="532"/>
                  <a:pt x="895" y="532"/>
                </a:cubicBezTo>
                <a:cubicBezTo>
                  <a:pt x="895" y="533"/>
                  <a:pt x="895" y="533"/>
                  <a:pt x="895" y="533"/>
                </a:cubicBezTo>
                <a:cubicBezTo>
                  <a:pt x="896" y="535"/>
                  <a:pt x="896" y="535"/>
                  <a:pt x="896" y="535"/>
                </a:cubicBezTo>
                <a:cubicBezTo>
                  <a:pt x="896" y="536"/>
                  <a:pt x="896" y="536"/>
                  <a:pt x="896" y="536"/>
                </a:cubicBezTo>
                <a:cubicBezTo>
                  <a:pt x="895" y="539"/>
                  <a:pt x="895" y="539"/>
                  <a:pt x="895" y="539"/>
                </a:cubicBezTo>
                <a:cubicBezTo>
                  <a:pt x="894" y="539"/>
                  <a:pt x="894" y="539"/>
                  <a:pt x="894" y="539"/>
                </a:cubicBezTo>
                <a:cubicBezTo>
                  <a:pt x="893" y="542"/>
                  <a:pt x="893" y="542"/>
                  <a:pt x="893" y="542"/>
                </a:cubicBezTo>
                <a:cubicBezTo>
                  <a:pt x="892" y="543"/>
                  <a:pt x="892" y="543"/>
                  <a:pt x="892" y="543"/>
                </a:cubicBezTo>
                <a:cubicBezTo>
                  <a:pt x="892" y="544"/>
                  <a:pt x="892" y="544"/>
                  <a:pt x="892" y="544"/>
                </a:cubicBezTo>
                <a:cubicBezTo>
                  <a:pt x="891" y="543"/>
                  <a:pt x="891" y="543"/>
                  <a:pt x="891" y="543"/>
                </a:cubicBezTo>
                <a:cubicBezTo>
                  <a:pt x="890" y="542"/>
                  <a:pt x="890" y="542"/>
                  <a:pt x="890" y="542"/>
                </a:cubicBezTo>
                <a:cubicBezTo>
                  <a:pt x="891" y="541"/>
                  <a:pt x="891" y="541"/>
                  <a:pt x="891" y="541"/>
                </a:cubicBezTo>
                <a:cubicBezTo>
                  <a:pt x="892" y="540"/>
                  <a:pt x="892" y="540"/>
                  <a:pt x="892" y="540"/>
                </a:cubicBezTo>
                <a:cubicBezTo>
                  <a:pt x="891" y="540"/>
                  <a:pt x="891" y="540"/>
                  <a:pt x="891" y="540"/>
                </a:cubicBezTo>
                <a:cubicBezTo>
                  <a:pt x="890" y="539"/>
                  <a:pt x="890" y="539"/>
                  <a:pt x="890" y="539"/>
                </a:cubicBezTo>
                <a:cubicBezTo>
                  <a:pt x="890" y="538"/>
                  <a:pt x="890" y="538"/>
                  <a:pt x="890" y="538"/>
                </a:cubicBezTo>
                <a:cubicBezTo>
                  <a:pt x="889" y="539"/>
                  <a:pt x="889" y="539"/>
                  <a:pt x="889" y="539"/>
                </a:cubicBezTo>
                <a:cubicBezTo>
                  <a:pt x="888" y="537"/>
                  <a:pt x="888" y="537"/>
                  <a:pt x="888" y="537"/>
                </a:cubicBezTo>
                <a:cubicBezTo>
                  <a:pt x="888" y="536"/>
                  <a:pt x="888" y="536"/>
                  <a:pt x="888" y="536"/>
                </a:cubicBezTo>
                <a:cubicBezTo>
                  <a:pt x="889" y="535"/>
                  <a:pt x="889" y="535"/>
                  <a:pt x="889" y="535"/>
                </a:cubicBezTo>
                <a:cubicBezTo>
                  <a:pt x="890" y="533"/>
                  <a:pt x="890" y="533"/>
                  <a:pt x="890" y="533"/>
                </a:cubicBezTo>
                <a:cubicBezTo>
                  <a:pt x="889" y="531"/>
                  <a:pt x="889" y="531"/>
                  <a:pt x="889" y="531"/>
                </a:cubicBezTo>
                <a:cubicBezTo>
                  <a:pt x="889" y="530"/>
                  <a:pt x="889" y="530"/>
                  <a:pt x="889" y="530"/>
                </a:cubicBezTo>
                <a:cubicBezTo>
                  <a:pt x="890" y="529"/>
                  <a:pt x="890" y="529"/>
                  <a:pt x="890" y="529"/>
                </a:cubicBezTo>
                <a:cubicBezTo>
                  <a:pt x="888" y="530"/>
                  <a:pt x="888" y="530"/>
                  <a:pt x="888" y="530"/>
                </a:cubicBezTo>
                <a:cubicBezTo>
                  <a:pt x="887" y="530"/>
                  <a:pt x="887" y="530"/>
                  <a:pt x="887" y="530"/>
                </a:cubicBezTo>
                <a:cubicBezTo>
                  <a:pt x="888" y="531"/>
                  <a:pt x="888" y="531"/>
                  <a:pt x="888" y="531"/>
                </a:cubicBezTo>
                <a:cubicBezTo>
                  <a:pt x="887" y="532"/>
                  <a:pt x="887" y="532"/>
                  <a:pt x="887" y="532"/>
                </a:cubicBezTo>
                <a:cubicBezTo>
                  <a:pt x="887" y="534"/>
                  <a:pt x="887" y="534"/>
                  <a:pt x="887" y="534"/>
                </a:cubicBezTo>
                <a:cubicBezTo>
                  <a:pt x="887" y="535"/>
                  <a:pt x="887" y="535"/>
                  <a:pt x="887" y="535"/>
                </a:cubicBezTo>
                <a:cubicBezTo>
                  <a:pt x="887" y="537"/>
                  <a:pt x="887" y="537"/>
                  <a:pt x="887" y="537"/>
                </a:cubicBezTo>
                <a:cubicBezTo>
                  <a:pt x="887" y="539"/>
                  <a:pt x="887" y="539"/>
                  <a:pt x="887" y="539"/>
                </a:cubicBezTo>
                <a:cubicBezTo>
                  <a:pt x="885" y="537"/>
                  <a:pt x="885" y="537"/>
                  <a:pt x="885" y="537"/>
                </a:cubicBezTo>
                <a:cubicBezTo>
                  <a:pt x="884" y="537"/>
                  <a:pt x="884" y="537"/>
                  <a:pt x="884" y="537"/>
                </a:cubicBezTo>
                <a:cubicBezTo>
                  <a:pt x="883" y="536"/>
                  <a:pt x="883" y="536"/>
                  <a:pt x="883" y="536"/>
                </a:cubicBezTo>
                <a:cubicBezTo>
                  <a:pt x="883" y="535"/>
                  <a:pt x="883" y="535"/>
                  <a:pt x="883" y="535"/>
                </a:cubicBezTo>
                <a:cubicBezTo>
                  <a:pt x="883" y="534"/>
                  <a:pt x="883" y="534"/>
                  <a:pt x="883" y="534"/>
                </a:cubicBezTo>
                <a:cubicBezTo>
                  <a:pt x="882" y="535"/>
                  <a:pt x="882" y="535"/>
                  <a:pt x="882" y="535"/>
                </a:cubicBezTo>
                <a:cubicBezTo>
                  <a:pt x="882" y="536"/>
                  <a:pt x="882" y="536"/>
                  <a:pt x="882" y="536"/>
                </a:cubicBezTo>
                <a:cubicBezTo>
                  <a:pt x="883" y="537"/>
                  <a:pt x="883" y="537"/>
                  <a:pt x="883" y="537"/>
                </a:cubicBezTo>
                <a:cubicBezTo>
                  <a:pt x="884" y="538"/>
                  <a:pt x="884" y="538"/>
                  <a:pt x="884" y="538"/>
                </a:cubicBezTo>
                <a:cubicBezTo>
                  <a:pt x="885" y="538"/>
                  <a:pt x="885" y="538"/>
                  <a:pt x="885" y="538"/>
                </a:cubicBezTo>
                <a:cubicBezTo>
                  <a:pt x="887" y="540"/>
                  <a:pt x="887" y="540"/>
                  <a:pt x="887" y="540"/>
                </a:cubicBezTo>
                <a:cubicBezTo>
                  <a:pt x="888" y="541"/>
                  <a:pt x="888" y="541"/>
                  <a:pt x="888" y="541"/>
                </a:cubicBezTo>
                <a:cubicBezTo>
                  <a:pt x="888" y="542"/>
                  <a:pt x="888" y="542"/>
                  <a:pt x="888" y="542"/>
                </a:cubicBezTo>
                <a:cubicBezTo>
                  <a:pt x="887" y="543"/>
                  <a:pt x="887" y="543"/>
                  <a:pt x="887" y="543"/>
                </a:cubicBezTo>
                <a:cubicBezTo>
                  <a:pt x="886" y="543"/>
                  <a:pt x="886" y="543"/>
                  <a:pt x="886" y="543"/>
                </a:cubicBezTo>
                <a:cubicBezTo>
                  <a:pt x="886" y="542"/>
                  <a:pt x="886" y="542"/>
                  <a:pt x="886" y="542"/>
                </a:cubicBezTo>
                <a:cubicBezTo>
                  <a:pt x="885" y="541"/>
                  <a:pt x="885" y="541"/>
                  <a:pt x="885" y="541"/>
                </a:cubicBezTo>
                <a:cubicBezTo>
                  <a:pt x="886" y="543"/>
                  <a:pt x="886" y="543"/>
                  <a:pt x="886" y="543"/>
                </a:cubicBezTo>
                <a:cubicBezTo>
                  <a:pt x="887" y="544"/>
                  <a:pt x="887" y="544"/>
                  <a:pt x="887" y="544"/>
                </a:cubicBezTo>
                <a:cubicBezTo>
                  <a:pt x="888" y="545"/>
                  <a:pt x="888" y="545"/>
                  <a:pt x="888" y="545"/>
                </a:cubicBezTo>
                <a:cubicBezTo>
                  <a:pt x="887" y="545"/>
                  <a:pt x="887" y="545"/>
                  <a:pt x="887" y="545"/>
                </a:cubicBezTo>
                <a:cubicBezTo>
                  <a:pt x="887" y="546"/>
                  <a:pt x="887" y="546"/>
                  <a:pt x="887" y="546"/>
                </a:cubicBezTo>
                <a:cubicBezTo>
                  <a:pt x="888" y="547"/>
                  <a:pt x="888" y="547"/>
                  <a:pt x="888" y="547"/>
                </a:cubicBezTo>
                <a:cubicBezTo>
                  <a:pt x="887" y="548"/>
                  <a:pt x="887" y="548"/>
                  <a:pt x="887" y="548"/>
                </a:cubicBezTo>
                <a:cubicBezTo>
                  <a:pt x="886" y="547"/>
                  <a:pt x="886" y="547"/>
                  <a:pt x="886" y="547"/>
                </a:cubicBezTo>
                <a:cubicBezTo>
                  <a:pt x="886" y="546"/>
                  <a:pt x="886" y="546"/>
                  <a:pt x="886" y="546"/>
                </a:cubicBezTo>
                <a:cubicBezTo>
                  <a:pt x="884" y="546"/>
                  <a:pt x="884" y="546"/>
                  <a:pt x="884" y="546"/>
                </a:cubicBezTo>
                <a:cubicBezTo>
                  <a:pt x="883" y="546"/>
                  <a:pt x="883" y="546"/>
                  <a:pt x="883" y="546"/>
                </a:cubicBezTo>
                <a:cubicBezTo>
                  <a:pt x="884" y="547"/>
                  <a:pt x="884" y="547"/>
                  <a:pt x="884" y="547"/>
                </a:cubicBezTo>
                <a:cubicBezTo>
                  <a:pt x="885" y="547"/>
                  <a:pt x="885" y="547"/>
                  <a:pt x="885" y="547"/>
                </a:cubicBezTo>
                <a:cubicBezTo>
                  <a:pt x="886" y="547"/>
                  <a:pt x="886" y="547"/>
                  <a:pt x="886" y="547"/>
                </a:cubicBezTo>
                <a:cubicBezTo>
                  <a:pt x="886" y="549"/>
                  <a:pt x="886" y="549"/>
                  <a:pt x="886" y="549"/>
                </a:cubicBezTo>
                <a:cubicBezTo>
                  <a:pt x="887" y="549"/>
                  <a:pt x="887" y="549"/>
                  <a:pt x="887" y="549"/>
                </a:cubicBezTo>
                <a:cubicBezTo>
                  <a:pt x="888" y="549"/>
                  <a:pt x="888" y="549"/>
                  <a:pt x="888" y="549"/>
                </a:cubicBezTo>
                <a:cubicBezTo>
                  <a:pt x="889" y="549"/>
                  <a:pt x="889" y="549"/>
                  <a:pt x="889" y="549"/>
                </a:cubicBezTo>
                <a:cubicBezTo>
                  <a:pt x="889" y="550"/>
                  <a:pt x="889" y="550"/>
                  <a:pt x="889" y="550"/>
                </a:cubicBezTo>
                <a:cubicBezTo>
                  <a:pt x="889" y="551"/>
                  <a:pt x="889" y="551"/>
                  <a:pt x="889" y="551"/>
                </a:cubicBezTo>
                <a:cubicBezTo>
                  <a:pt x="888" y="551"/>
                  <a:pt x="888" y="551"/>
                  <a:pt x="888" y="551"/>
                </a:cubicBezTo>
                <a:cubicBezTo>
                  <a:pt x="888" y="552"/>
                  <a:pt x="888" y="552"/>
                  <a:pt x="888" y="552"/>
                </a:cubicBezTo>
                <a:cubicBezTo>
                  <a:pt x="889" y="554"/>
                  <a:pt x="889" y="554"/>
                  <a:pt x="889" y="554"/>
                </a:cubicBezTo>
                <a:cubicBezTo>
                  <a:pt x="888" y="554"/>
                  <a:pt x="888" y="554"/>
                  <a:pt x="888" y="554"/>
                </a:cubicBezTo>
                <a:cubicBezTo>
                  <a:pt x="887" y="554"/>
                  <a:pt x="887" y="554"/>
                  <a:pt x="887" y="554"/>
                </a:cubicBezTo>
                <a:cubicBezTo>
                  <a:pt x="887" y="555"/>
                  <a:pt x="887" y="555"/>
                  <a:pt x="887" y="555"/>
                </a:cubicBezTo>
                <a:cubicBezTo>
                  <a:pt x="885" y="555"/>
                  <a:pt x="885" y="555"/>
                  <a:pt x="885" y="555"/>
                </a:cubicBezTo>
                <a:cubicBezTo>
                  <a:pt x="885" y="556"/>
                  <a:pt x="885" y="556"/>
                  <a:pt x="885" y="556"/>
                </a:cubicBezTo>
                <a:cubicBezTo>
                  <a:pt x="884" y="555"/>
                  <a:pt x="884" y="555"/>
                  <a:pt x="884" y="555"/>
                </a:cubicBezTo>
                <a:cubicBezTo>
                  <a:pt x="883" y="554"/>
                  <a:pt x="883" y="554"/>
                  <a:pt x="883" y="554"/>
                </a:cubicBezTo>
                <a:cubicBezTo>
                  <a:pt x="883" y="556"/>
                  <a:pt x="883" y="556"/>
                  <a:pt x="883" y="556"/>
                </a:cubicBezTo>
                <a:cubicBezTo>
                  <a:pt x="883" y="557"/>
                  <a:pt x="883" y="557"/>
                  <a:pt x="883" y="557"/>
                </a:cubicBezTo>
                <a:cubicBezTo>
                  <a:pt x="884" y="557"/>
                  <a:pt x="884" y="557"/>
                  <a:pt x="884" y="557"/>
                </a:cubicBezTo>
                <a:cubicBezTo>
                  <a:pt x="886" y="556"/>
                  <a:pt x="886" y="556"/>
                  <a:pt x="886" y="556"/>
                </a:cubicBezTo>
                <a:cubicBezTo>
                  <a:pt x="887" y="556"/>
                  <a:pt x="887" y="556"/>
                  <a:pt x="887" y="556"/>
                </a:cubicBezTo>
                <a:cubicBezTo>
                  <a:pt x="887" y="558"/>
                  <a:pt x="887" y="558"/>
                  <a:pt x="887" y="558"/>
                </a:cubicBezTo>
                <a:cubicBezTo>
                  <a:pt x="888" y="559"/>
                  <a:pt x="888" y="559"/>
                  <a:pt x="888" y="559"/>
                </a:cubicBezTo>
                <a:cubicBezTo>
                  <a:pt x="888" y="558"/>
                  <a:pt x="888" y="558"/>
                  <a:pt x="888" y="558"/>
                </a:cubicBezTo>
                <a:cubicBezTo>
                  <a:pt x="888" y="557"/>
                  <a:pt x="888" y="557"/>
                  <a:pt x="888" y="557"/>
                </a:cubicBezTo>
                <a:cubicBezTo>
                  <a:pt x="889" y="556"/>
                  <a:pt x="889" y="556"/>
                  <a:pt x="889" y="556"/>
                </a:cubicBezTo>
                <a:cubicBezTo>
                  <a:pt x="889" y="557"/>
                  <a:pt x="889" y="557"/>
                  <a:pt x="889" y="557"/>
                </a:cubicBezTo>
                <a:cubicBezTo>
                  <a:pt x="889" y="559"/>
                  <a:pt x="889" y="559"/>
                  <a:pt x="889" y="559"/>
                </a:cubicBezTo>
                <a:cubicBezTo>
                  <a:pt x="887" y="560"/>
                  <a:pt x="887" y="560"/>
                  <a:pt x="887" y="560"/>
                </a:cubicBezTo>
                <a:cubicBezTo>
                  <a:pt x="887" y="561"/>
                  <a:pt x="887" y="561"/>
                  <a:pt x="887" y="561"/>
                </a:cubicBezTo>
                <a:cubicBezTo>
                  <a:pt x="886" y="561"/>
                  <a:pt x="886" y="561"/>
                  <a:pt x="886" y="561"/>
                </a:cubicBezTo>
                <a:cubicBezTo>
                  <a:pt x="885" y="561"/>
                  <a:pt x="885" y="561"/>
                  <a:pt x="885" y="561"/>
                </a:cubicBezTo>
                <a:cubicBezTo>
                  <a:pt x="884" y="560"/>
                  <a:pt x="884" y="560"/>
                  <a:pt x="884" y="560"/>
                </a:cubicBezTo>
                <a:cubicBezTo>
                  <a:pt x="883" y="561"/>
                  <a:pt x="883" y="561"/>
                  <a:pt x="883" y="561"/>
                </a:cubicBezTo>
                <a:cubicBezTo>
                  <a:pt x="882" y="560"/>
                  <a:pt x="882" y="560"/>
                  <a:pt x="882" y="560"/>
                </a:cubicBezTo>
                <a:cubicBezTo>
                  <a:pt x="881" y="560"/>
                  <a:pt x="881" y="560"/>
                  <a:pt x="881" y="560"/>
                </a:cubicBezTo>
                <a:cubicBezTo>
                  <a:pt x="882" y="561"/>
                  <a:pt x="882" y="561"/>
                  <a:pt x="882" y="561"/>
                </a:cubicBezTo>
                <a:cubicBezTo>
                  <a:pt x="883" y="561"/>
                  <a:pt x="883" y="561"/>
                  <a:pt x="883" y="561"/>
                </a:cubicBezTo>
                <a:cubicBezTo>
                  <a:pt x="884" y="561"/>
                  <a:pt x="884" y="561"/>
                  <a:pt x="884" y="561"/>
                </a:cubicBezTo>
                <a:cubicBezTo>
                  <a:pt x="884" y="562"/>
                  <a:pt x="884" y="562"/>
                  <a:pt x="884" y="562"/>
                </a:cubicBezTo>
                <a:cubicBezTo>
                  <a:pt x="883" y="563"/>
                  <a:pt x="883" y="563"/>
                  <a:pt x="883" y="563"/>
                </a:cubicBezTo>
                <a:cubicBezTo>
                  <a:pt x="884" y="563"/>
                  <a:pt x="884" y="563"/>
                  <a:pt x="884" y="563"/>
                </a:cubicBezTo>
                <a:cubicBezTo>
                  <a:pt x="882" y="564"/>
                  <a:pt x="882" y="564"/>
                  <a:pt x="882" y="564"/>
                </a:cubicBezTo>
                <a:cubicBezTo>
                  <a:pt x="883" y="564"/>
                  <a:pt x="883" y="564"/>
                  <a:pt x="883" y="564"/>
                </a:cubicBezTo>
                <a:cubicBezTo>
                  <a:pt x="884" y="563"/>
                  <a:pt x="884" y="563"/>
                  <a:pt x="884" y="563"/>
                </a:cubicBezTo>
                <a:cubicBezTo>
                  <a:pt x="885" y="564"/>
                  <a:pt x="885" y="564"/>
                  <a:pt x="885" y="564"/>
                </a:cubicBezTo>
                <a:cubicBezTo>
                  <a:pt x="884" y="565"/>
                  <a:pt x="884" y="565"/>
                  <a:pt x="884" y="565"/>
                </a:cubicBezTo>
                <a:cubicBezTo>
                  <a:pt x="883" y="565"/>
                  <a:pt x="883" y="565"/>
                  <a:pt x="883" y="565"/>
                </a:cubicBezTo>
                <a:cubicBezTo>
                  <a:pt x="882" y="565"/>
                  <a:pt x="882" y="565"/>
                  <a:pt x="882" y="565"/>
                </a:cubicBezTo>
                <a:cubicBezTo>
                  <a:pt x="880" y="566"/>
                  <a:pt x="880" y="566"/>
                  <a:pt x="880" y="566"/>
                </a:cubicBezTo>
                <a:cubicBezTo>
                  <a:pt x="877" y="567"/>
                  <a:pt x="877" y="567"/>
                  <a:pt x="877" y="567"/>
                </a:cubicBezTo>
                <a:cubicBezTo>
                  <a:pt x="874" y="570"/>
                  <a:pt x="874" y="570"/>
                  <a:pt x="874" y="570"/>
                </a:cubicBezTo>
                <a:cubicBezTo>
                  <a:pt x="873" y="572"/>
                  <a:pt x="873" y="572"/>
                  <a:pt x="873" y="572"/>
                </a:cubicBezTo>
                <a:cubicBezTo>
                  <a:pt x="872" y="572"/>
                  <a:pt x="872" y="572"/>
                  <a:pt x="872" y="572"/>
                </a:cubicBezTo>
                <a:cubicBezTo>
                  <a:pt x="872" y="571"/>
                  <a:pt x="872" y="571"/>
                  <a:pt x="872" y="571"/>
                </a:cubicBezTo>
                <a:cubicBezTo>
                  <a:pt x="870" y="572"/>
                  <a:pt x="870" y="572"/>
                  <a:pt x="870" y="572"/>
                </a:cubicBezTo>
                <a:cubicBezTo>
                  <a:pt x="869" y="573"/>
                  <a:pt x="869" y="573"/>
                  <a:pt x="869" y="573"/>
                </a:cubicBezTo>
                <a:cubicBezTo>
                  <a:pt x="866" y="576"/>
                  <a:pt x="866" y="576"/>
                  <a:pt x="866" y="576"/>
                </a:cubicBezTo>
                <a:cubicBezTo>
                  <a:pt x="866" y="577"/>
                  <a:pt x="866" y="577"/>
                  <a:pt x="866" y="577"/>
                </a:cubicBezTo>
                <a:cubicBezTo>
                  <a:pt x="865" y="577"/>
                  <a:pt x="865" y="577"/>
                  <a:pt x="865" y="577"/>
                </a:cubicBezTo>
                <a:cubicBezTo>
                  <a:pt x="865" y="578"/>
                  <a:pt x="865" y="578"/>
                  <a:pt x="865" y="578"/>
                </a:cubicBezTo>
                <a:cubicBezTo>
                  <a:pt x="864" y="579"/>
                  <a:pt x="864" y="579"/>
                  <a:pt x="864" y="579"/>
                </a:cubicBezTo>
                <a:cubicBezTo>
                  <a:pt x="863" y="579"/>
                  <a:pt x="863" y="579"/>
                  <a:pt x="863" y="579"/>
                </a:cubicBezTo>
                <a:cubicBezTo>
                  <a:pt x="862" y="579"/>
                  <a:pt x="862" y="579"/>
                  <a:pt x="862" y="579"/>
                </a:cubicBezTo>
                <a:cubicBezTo>
                  <a:pt x="862" y="580"/>
                  <a:pt x="862" y="580"/>
                  <a:pt x="862" y="580"/>
                </a:cubicBezTo>
                <a:cubicBezTo>
                  <a:pt x="860" y="580"/>
                  <a:pt x="860" y="580"/>
                  <a:pt x="860" y="580"/>
                </a:cubicBezTo>
                <a:cubicBezTo>
                  <a:pt x="860" y="581"/>
                  <a:pt x="860" y="581"/>
                  <a:pt x="860" y="581"/>
                </a:cubicBezTo>
                <a:cubicBezTo>
                  <a:pt x="858" y="581"/>
                  <a:pt x="858" y="581"/>
                  <a:pt x="858" y="581"/>
                </a:cubicBezTo>
                <a:cubicBezTo>
                  <a:pt x="858" y="582"/>
                  <a:pt x="858" y="582"/>
                  <a:pt x="858" y="582"/>
                </a:cubicBezTo>
                <a:cubicBezTo>
                  <a:pt x="856" y="582"/>
                  <a:pt x="856" y="582"/>
                  <a:pt x="856" y="582"/>
                </a:cubicBezTo>
                <a:cubicBezTo>
                  <a:pt x="855" y="582"/>
                  <a:pt x="855" y="582"/>
                  <a:pt x="855" y="582"/>
                </a:cubicBezTo>
                <a:cubicBezTo>
                  <a:pt x="854" y="583"/>
                  <a:pt x="854" y="583"/>
                  <a:pt x="854" y="583"/>
                </a:cubicBezTo>
                <a:cubicBezTo>
                  <a:pt x="855" y="583"/>
                  <a:pt x="855" y="583"/>
                  <a:pt x="855" y="583"/>
                </a:cubicBezTo>
                <a:cubicBezTo>
                  <a:pt x="855" y="584"/>
                  <a:pt x="855" y="584"/>
                  <a:pt x="855" y="584"/>
                </a:cubicBezTo>
                <a:cubicBezTo>
                  <a:pt x="854" y="585"/>
                  <a:pt x="854" y="585"/>
                  <a:pt x="854" y="585"/>
                </a:cubicBezTo>
                <a:cubicBezTo>
                  <a:pt x="853" y="585"/>
                  <a:pt x="853" y="585"/>
                  <a:pt x="853" y="585"/>
                </a:cubicBezTo>
                <a:cubicBezTo>
                  <a:pt x="853" y="586"/>
                  <a:pt x="853" y="586"/>
                  <a:pt x="853" y="586"/>
                </a:cubicBezTo>
                <a:cubicBezTo>
                  <a:pt x="852" y="586"/>
                  <a:pt x="852" y="586"/>
                  <a:pt x="852" y="586"/>
                </a:cubicBezTo>
                <a:cubicBezTo>
                  <a:pt x="851" y="588"/>
                  <a:pt x="851" y="588"/>
                  <a:pt x="851" y="588"/>
                </a:cubicBezTo>
                <a:cubicBezTo>
                  <a:pt x="850" y="590"/>
                  <a:pt x="850" y="590"/>
                  <a:pt x="850" y="590"/>
                </a:cubicBezTo>
                <a:cubicBezTo>
                  <a:pt x="850" y="592"/>
                  <a:pt x="850" y="592"/>
                  <a:pt x="850" y="592"/>
                </a:cubicBezTo>
                <a:cubicBezTo>
                  <a:pt x="849" y="596"/>
                  <a:pt x="849" y="596"/>
                  <a:pt x="849" y="596"/>
                </a:cubicBezTo>
                <a:cubicBezTo>
                  <a:pt x="849" y="598"/>
                  <a:pt x="849" y="598"/>
                  <a:pt x="849" y="598"/>
                </a:cubicBezTo>
                <a:cubicBezTo>
                  <a:pt x="849" y="600"/>
                  <a:pt x="849" y="600"/>
                  <a:pt x="849" y="600"/>
                </a:cubicBezTo>
                <a:cubicBezTo>
                  <a:pt x="850" y="602"/>
                  <a:pt x="850" y="602"/>
                  <a:pt x="850" y="602"/>
                </a:cubicBezTo>
                <a:cubicBezTo>
                  <a:pt x="850" y="605"/>
                  <a:pt x="850" y="605"/>
                  <a:pt x="850" y="605"/>
                </a:cubicBezTo>
                <a:cubicBezTo>
                  <a:pt x="851" y="606"/>
                  <a:pt x="851" y="606"/>
                  <a:pt x="851" y="606"/>
                </a:cubicBezTo>
                <a:cubicBezTo>
                  <a:pt x="851" y="609"/>
                  <a:pt x="851" y="609"/>
                  <a:pt x="851" y="609"/>
                </a:cubicBezTo>
                <a:cubicBezTo>
                  <a:pt x="852" y="610"/>
                  <a:pt x="852" y="610"/>
                  <a:pt x="852" y="610"/>
                </a:cubicBezTo>
                <a:cubicBezTo>
                  <a:pt x="853" y="611"/>
                  <a:pt x="853" y="611"/>
                  <a:pt x="853" y="611"/>
                </a:cubicBezTo>
                <a:cubicBezTo>
                  <a:pt x="852" y="613"/>
                  <a:pt x="852" y="613"/>
                  <a:pt x="852" y="613"/>
                </a:cubicBezTo>
                <a:cubicBezTo>
                  <a:pt x="852" y="615"/>
                  <a:pt x="852" y="615"/>
                  <a:pt x="852" y="615"/>
                </a:cubicBezTo>
                <a:cubicBezTo>
                  <a:pt x="853" y="619"/>
                  <a:pt x="853" y="619"/>
                  <a:pt x="853" y="619"/>
                </a:cubicBezTo>
                <a:cubicBezTo>
                  <a:pt x="854" y="620"/>
                  <a:pt x="854" y="620"/>
                  <a:pt x="854" y="620"/>
                </a:cubicBezTo>
                <a:cubicBezTo>
                  <a:pt x="855" y="622"/>
                  <a:pt x="855" y="622"/>
                  <a:pt x="855" y="622"/>
                </a:cubicBezTo>
                <a:cubicBezTo>
                  <a:pt x="854" y="623"/>
                  <a:pt x="854" y="623"/>
                  <a:pt x="854" y="623"/>
                </a:cubicBezTo>
                <a:cubicBezTo>
                  <a:pt x="854" y="625"/>
                  <a:pt x="854" y="625"/>
                  <a:pt x="854" y="625"/>
                </a:cubicBezTo>
                <a:cubicBezTo>
                  <a:pt x="854" y="626"/>
                  <a:pt x="854" y="626"/>
                  <a:pt x="854" y="626"/>
                </a:cubicBezTo>
                <a:cubicBezTo>
                  <a:pt x="854" y="627"/>
                  <a:pt x="854" y="627"/>
                  <a:pt x="854" y="627"/>
                </a:cubicBezTo>
                <a:cubicBezTo>
                  <a:pt x="853" y="629"/>
                  <a:pt x="853" y="629"/>
                  <a:pt x="853" y="629"/>
                </a:cubicBezTo>
                <a:cubicBezTo>
                  <a:pt x="852" y="631"/>
                  <a:pt x="852" y="631"/>
                  <a:pt x="852" y="631"/>
                </a:cubicBezTo>
                <a:cubicBezTo>
                  <a:pt x="851" y="632"/>
                  <a:pt x="851" y="632"/>
                  <a:pt x="851" y="632"/>
                </a:cubicBezTo>
                <a:cubicBezTo>
                  <a:pt x="851" y="633"/>
                  <a:pt x="851" y="633"/>
                  <a:pt x="851" y="633"/>
                </a:cubicBezTo>
                <a:cubicBezTo>
                  <a:pt x="850" y="634"/>
                  <a:pt x="850" y="634"/>
                  <a:pt x="850" y="634"/>
                </a:cubicBezTo>
                <a:cubicBezTo>
                  <a:pt x="849" y="634"/>
                  <a:pt x="849" y="634"/>
                  <a:pt x="849" y="634"/>
                </a:cubicBezTo>
                <a:cubicBezTo>
                  <a:pt x="848" y="634"/>
                  <a:pt x="848" y="634"/>
                  <a:pt x="848" y="634"/>
                </a:cubicBezTo>
                <a:cubicBezTo>
                  <a:pt x="847" y="633"/>
                  <a:pt x="847" y="633"/>
                  <a:pt x="847" y="633"/>
                </a:cubicBezTo>
                <a:cubicBezTo>
                  <a:pt x="846" y="633"/>
                  <a:pt x="846" y="633"/>
                  <a:pt x="846" y="633"/>
                </a:cubicBezTo>
                <a:cubicBezTo>
                  <a:pt x="847" y="632"/>
                  <a:pt x="847" y="632"/>
                  <a:pt x="847" y="632"/>
                </a:cubicBezTo>
                <a:cubicBezTo>
                  <a:pt x="845" y="631"/>
                  <a:pt x="845" y="631"/>
                  <a:pt x="845" y="631"/>
                </a:cubicBezTo>
                <a:cubicBezTo>
                  <a:pt x="845" y="630"/>
                  <a:pt x="845" y="630"/>
                  <a:pt x="845" y="630"/>
                </a:cubicBezTo>
                <a:cubicBezTo>
                  <a:pt x="845" y="629"/>
                  <a:pt x="845" y="629"/>
                  <a:pt x="845" y="629"/>
                </a:cubicBezTo>
                <a:cubicBezTo>
                  <a:pt x="844" y="629"/>
                  <a:pt x="844" y="629"/>
                  <a:pt x="844" y="629"/>
                </a:cubicBezTo>
                <a:cubicBezTo>
                  <a:pt x="843" y="629"/>
                  <a:pt x="843" y="629"/>
                  <a:pt x="843" y="629"/>
                </a:cubicBezTo>
                <a:cubicBezTo>
                  <a:pt x="843" y="627"/>
                  <a:pt x="843" y="627"/>
                  <a:pt x="843" y="627"/>
                </a:cubicBezTo>
                <a:cubicBezTo>
                  <a:pt x="843" y="626"/>
                  <a:pt x="843" y="626"/>
                  <a:pt x="843" y="626"/>
                </a:cubicBezTo>
                <a:cubicBezTo>
                  <a:pt x="842" y="625"/>
                  <a:pt x="842" y="625"/>
                  <a:pt x="842" y="625"/>
                </a:cubicBezTo>
                <a:cubicBezTo>
                  <a:pt x="841" y="624"/>
                  <a:pt x="841" y="624"/>
                  <a:pt x="841" y="624"/>
                </a:cubicBezTo>
                <a:cubicBezTo>
                  <a:pt x="842" y="623"/>
                  <a:pt x="842" y="623"/>
                  <a:pt x="842" y="623"/>
                </a:cubicBezTo>
                <a:cubicBezTo>
                  <a:pt x="842" y="622"/>
                  <a:pt x="842" y="622"/>
                  <a:pt x="842" y="622"/>
                </a:cubicBezTo>
                <a:cubicBezTo>
                  <a:pt x="841" y="621"/>
                  <a:pt x="841" y="621"/>
                  <a:pt x="841" y="621"/>
                </a:cubicBezTo>
                <a:cubicBezTo>
                  <a:pt x="840" y="621"/>
                  <a:pt x="840" y="621"/>
                  <a:pt x="840" y="621"/>
                </a:cubicBezTo>
                <a:cubicBezTo>
                  <a:pt x="839" y="620"/>
                  <a:pt x="839" y="620"/>
                  <a:pt x="839" y="620"/>
                </a:cubicBezTo>
                <a:cubicBezTo>
                  <a:pt x="839" y="619"/>
                  <a:pt x="839" y="619"/>
                  <a:pt x="839" y="619"/>
                </a:cubicBezTo>
                <a:cubicBezTo>
                  <a:pt x="839" y="618"/>
                  <a:pt x="839" y="618"/>
                  <a:pt x="839" y="618"/>
                </a:cubicBezTo>
                <a:cubicBezTo>
                  <a:pt x="840" y="616"/>
                  <a:pt x="840" y="616"/>
                  <a:pt x="840" y="616"/>
                </a:cubicBezTo>
                <a:cubicBezTo>
                  <a:pt x="840" y="615"/>
                  <a:pt x="840" y="615"/>
                  <a:pt x="840" y="615"/>
                </a:cubicBezTo>
                <a:cubicBezTo>
                  <a:pt x="839" y="614"/>
                  <a:pt x="839" y="614"/>
                  <a:pt x="839" y="614"/>
                </a:cubicBezTo>
                <a:cubicBezTo>
                  <a:pt x="839" y="615"/>
                  <a:pt x="839" y="615"/>
                  <a:pt x="839" y="615"/>
                </a:cubicBezTo>
                <a:cubicBezTo>
                  <a:pt x="838" y="616"/>
                  <a:pt x="838" y="616"/>
                  <a:pt x="838" y="616"/>
                </a:cubicBezTo>
                <a:cubicBezTo>
                  <a:pt x="837" y="615"/>
                  <a:pt x="837" y="615"/>
                  <a:pt x="837" y="615"/>
                </a:cubicBezTo>
                <a:cubicBezTo>
                  <a:pt x="837" y="614"/>
                  <a:pt x="837" y="614"/>
                  <a:pt x="837" y="614"/>
                </a:cubicBezTo>
                <a:cubicBezTo>
                  <a:pt x="839" y="612"/>
                  <a:pt x="839" y="612"/>
                  <a:pt x="839" y="612"/>
                </a:cubicBezTo>
                <a:cubicBezTo>
                  <a:pt x="839" y="609"/>
                  <a:pt x="839" y="609"/>
                  <a:pt x="839" y="609"/>
                </a:cubicBezTo>
                <a:cubicBezTo>
                  <a:pt x="839" y="608"/>
                  <a:pt x="839" y="608"/>
                  <a:pt x="839" y="608"/>
                </a:cubicBezTo>
                <a:cubicBezTo>
                  <a:pt x="839" y="606"/>
                  <a:pt x="839" y="606"/>
                  <a:pt x="839" y="606"/>
                </a:cubicBezTo>
                <a:cubicBezTo>
                  <a:pt x="838" y="606"/>
                  <a:pt x="838" y="606"/>
                  <a:pt x="838" y="606"/>
                </a:cubicBezTo>
                <a:cubicBezTo>
                  <a:pt x="837" y="605"/>
                  <a:pt x="837" y="605"/>
                  <a:pt x="837" y="605"/>
                </a:cubicBezTo>
                <a:cubicBezTo>
                  <a:pt x="837" y="604"/>
                  <a:pt x="837" y="604"/>
                  <a:pt x="837" y="604"/>
                </a:cubicBezTo>
                <a:cubicBezTo>
                  <a:pt x="836" y="604"/>
                  <a:pt x="836" y="604"/>
                  <a:pt x="836" y="604"/>
                </a:cubicBezTo>
                <a:cubicBezTo>
                  <a:pt x="836" y="602"/>
                  <a:pt x="836" y="602"/>
                  <a:pt x="836" y="602"/>
                </a:cubicBezTo>
                <a:cubicBezTo>
                  <a:pt x="835" y="602"/>
                  <a:pt x="835" y="602"/>
                  <a:pt x="835" y="602"/>
                </a:cubicBezTo>
                <a:cubicBezTo>
                  <a:pt x="834" y="599"/>
                  <a:pt x="834" y="599"/>
                  <a:pt x="834" y="599"/>
                </a:cubicBezTo>
                <a:cubicBezTo>
                  <a:pt x="832" y="599"/>
                  <a:pt x="832" y="599"/>
                  <a:pt x="832" y="599"/>
                </a:cubicBezTo>
                <a:cubicBezTo>
                  <a:pt x="830" y="599"/>
                  <a:pt x="830" y="599"/>
                  <a:pt x="830" y="599"/>
                </a:cubicBezTo>
                <a:cubicBezTo>
                  <a:pt x="830" y="600"/>
                  <a:pt x="830" y="600"/>
                  <a:pt x="830" y="600"/>
                </a:cubicBezTo>
                <a:cubicBezTo>
                  <a:pt x="829" y="600"/>
                  <a:pt x="829" y="600"/>
                  <a:pt x="829" y="600"/>
                </a:cubicBezTo>
                <a:cubicBezTo>
                  <a:pt x="827" y="601"/>
                  <a:pt x="827" y="601"/>
                  <a:pt x="827" y="601"/>
                </a:cubicBezTo>
                <a:cubicBezTo>
                  <a:pt x="826" y="601"/>
                  <a:pt x="826" y="601"/>
                  <a:pt x="826" y="601"/>
                </a:cubicBezTo>
                <a:cubicBezTo>
                  <a:pt x="824" y="602"/>
                  <a:pt x="824" y="602"/>
                  <a:pt x="824" y="602"/>
                </a:cubicBezTo>
                <a:cubicBezTo>
                  <a:pt x="824" y="601"/>
                  <a:pt x="824" y="601"/>
                  <a:pt x="824" y="601"/>
                </a:cubicBezTo>
                <a:cubicBezTo>
                  <a:pt x="825" y="601"/>
                  <a:pt x="825" y="601"/>
                  <a:pt x="825" y="601"/>
                </a:cubicBezTo>
                <a:cubicBezTo>
                  <a:pt x="824" y="600"/>
                  <a:pt x="824" y="600"/>
                  <a:pt x="824" y="600"/>
                </a:cubicBezTo>
                <a:cubicBezTo>
                  <a:pt x="822" y="599"/>
                  <a:pt x="822" y="599"/>
                  <a:pt x="822" y="599"/>
                </a:cubicBezTo>
                <a:cubicBezTo>
                  <a:pt x="822" y="598"/>
                  <a:pt x="822" y="598"/>
                  <a:pt x="822" y="598"/>
                </a:cubicBezTo>
                <a:cubicBezTo>
                  <a:pt x="823" y="599"/>
                  <a:pt x="823" y="599"/>
                  <a:pt x="823" y="599"/>
                </a:cubicBezTo>
                <a:cubicBezTo>
                  <a:pt x="823" y="598"/>
                  <a:pt x="823" y="598"/>
                  <a:pt x="823" y="598"/>
                </a:cubicBezTo>
                <a:cubicBezTo>
                  <a:pt x="822" y="598"/>
                  <a:pt x="822" y="598"/>
                  <a:pt x="822" y="598"/>
                </a:cubicBezTo>
                <a:cubicBezTo>
                  <a:pt x="822" y="597"/>
                  <a:pt x="822" y="597"/>
                  <a:pt x="822" y="597"/>
                </a:cubicBezTo>
                <a:cubicBezTo>
                  <a:pt x="821" y="597"/>
                  <a:pt x="821" y="597"/>
                  <a:pt x="821" y="597"/>
                </a:cubicBezTo>
                <a:cubicBezTo>
                  <a:pt x="822" y="598"/>
                  <a:pt x="822" y="598"/>
                  <a:pt x="822" y="598"/>
                </a:cubicBezTo>
                <a:cubicBezTo>
                  <a:pt x="821" y="598"/>
                  <a:pt x="821" y="598"/>
                  <a:pt x="821" y="598"/>
                </a:cubicBezTo>
                <a:cubicBezTo>
                  <a:pt x="820" y="597"/>
                  <a:pt x="820" y="597"/>
                  <a:pt x="820" y="597"/>
                </a:cubicBezTo>
                <a:cubicBezTo>
                  <a:pt x="818" y="597"/>
                  <a:pt x="818" y="597"/>
                  <a:pt x="818" y="597"/>
                </a:cubicBezTo>
                <a:cubicBezTo>
                  <a:pt x="817" y="597"/>
                  <a:pt x="817" y="597"/>
                  <a:pt x="817" y="597"/>
                </a:cubicBezTo>
                <a:cubicBezTo>
                  <a:pt x="817" y="596"/>
                  <a:pt x="817" y="596"/>
                  <a:pt x="817" y="596"/>
                </a:cubicBezTo>
                <a:cubicBezTo>
                  <a:pt x="816" y="597"/>
                  <a:pt x="816" y="597"/>
                  <a:pt x="816" y="597"/>
                </a:cubicBezTo>
                <a:cubicBezTo>
                  <a:pt x="816" y="596"/>
                  <a:pt x="816" y="596"/>
                  <a:pt x="816" y="596"/>
                </a:cubicBezTo>
                <a:cubicBezTo>
                  <a:pt x="814" y="597"/>
                  <a:pt x="814" y="597"/>
                  <a:pt x="814" y="597"/>
                </a:cubicBezTo>
                <a:cubicBezTo>
                  <a:pt x="813" y="596"/>
                  <a:pt x="813" y="596"/>
                  <a:pt x="813" y="596"/>
                </a:cubicBezTo>
                <a:cubicBezTo>
                  <a:pt x="812" y="596"/>
                  <a:pt x="812" y="596"/>
                  <a:pt x="812" y="596"/>
                </a:cubicBezTo>
                <a:cubicBezTo>
                  <a:pt x="810" y="596"/>
                  <a:pt x="810" y="596"/>
                  <a:pt x="810" y="596"/>
                </a:cubicBezTo>
                <a:cubicBezTo>
                  <a:pt x="809" y="597"/>
                  <a:pt x="809" y="597"/>
                  <a:pt x="809" y="597"/>
                </a:cubicBezTo>
                <a:cubicBezTo>
                  <a:pt x="808" y="596"/>
                  <a:pt x="808" y="596"/>
                  <a:pt x="808" y="596"/>
                </a:cubicBezTo>
                <a:cubicBezTo>
                  <a:pt x="808" y="595"/>
                  <a:pt x="808" y="595"/>
                  <a:pt x="808" y="595"/>
                </a:cubicBezTo>
                <a:cubicBezTo>
                  <a:pt x="808" y="594"/>
                  <a:pt x="808" y="594"/>
                  <a:pt x="808" y="594"/>
                </a:cubicBezTo>
                <a:cubicBezTo>
                  <a:pt x="807" y="594"/>
                  <a:pt x="807" y="594"/>
                  <a:pt x="807" y="594"/>
                </a:cubicBezTo>
                <a:cubicBezTo>
                  <a:pt x="807" y="595"/>
                  <a:pt x="807" y="595"/>
                  <a:pt x="807" y="595"/>
                </a:cubicBezTo>
                <a:cubicBezTo>
                  <a:pt x="806" y="596"/>
                  <a:pt x="806" y="596"/>
                  <a:pt x="806" y="596"/>
                </a:cubicBezTo>
                <a:cubicBezTo>
                  <a:pt x="805" y="596"/>
                  <a:pt x="805" y="596"/>
                  <a:pt x="805" y="596"/>
                </a:cubicBezTo>
                <a:cubicBezTo>
                  <a:pt x="803" y="596"/>
                  <a:pt x="803" y="596"/>
                  <a:pt x="803" y="596"/>
                </a:cubicBezTo>
                <a:cubicBezTo>
                  <a:pt x="799" y="597"/>
                  <a:pt x="799" y="597"/>
                  <a:pt x="799" y="597"/>
                </a:cubicBezTo>
                <a:cubicBezTo>
                  <a:pt x="798" y="598"/>
                  <a:pt x="798" y="598"/>
                  <a:pt x="798" y="598"/>
                </a:cubicBezTo>
                <a:cubicBezTo>
                  <a:pt x="796" y="598"/>
                  <a:pt x="796" y="598"/>
                  <a:pt x="796" y="598"/>
                </a:cubicBezTo>
                <a:cubicBezTo>
                  <a:pt x="795" y="600"/>
                  <a:pt x="795" y="600"/>
                  <a:pt x="795" y="600"/>
                </a:cubicBezTo>
                <a:cubicBezTo>
                  <a:pt x="795" y="601"/>
                  <a:pt x="795" y="601"/>
                  <a:pt x="795" y="601"/>
                </a:cubicBezTo>
                <a:cubicBezTo>
                  <a:pt x="796" y="600"/>
                  <a:pt x="796" y="600"/>
                  <a:pt x="796" y="600"/>
                </a:cubicBezTo>
                <a:cubicBezTo>
                  <a:pt x="797" y="599"/>
                  <a:pt x="797" y="599"/>
                  <a:pt x="797" y="599"/>
                </a:cubicBezTo>
                <a:cubicBezTo>
                  <a:pt x="797" y="600"/>
                  <a:pt x="797" y="600"/>
                  <a:pt x="797" y="600"/>
                </a:cubicBezTo>
                <a:cubicBezTo>
                  <a:pt x="798" y="600"/>
                  <a:pt x="798" y="600"/>
                  <a:pt x="798" y="600"/>
                </a:cubicBezTo>
                <a:cubicBezTo>
                  <a:pt x="799" y="601"/>
                  <a:pt x="799" y="601"/>
                  <a:pt x="799" y="601"/>
                </a:cubicBezTo>
                <a:cubicBezTo>
                  <a:pt x="798" y="601"/>
                  <a:pt x="798" y="601"/>
                  <a:pt x="798" y="601"/>
                </a:cubicBezTo>
                <a:cubicBezTo>
                  <a:pt x="796" y="602"/>
                  <a:pt x="796" y="602"/>
                  <a:pt x="796" y="602"/>
                </a:cubicBezTo>
                <a:cubicBezTo>
                  <a:pt x="796" y="603"/>
                  <a:pt x="796" y="603"/>
                  <a:pt x="796" y="603"/>
                </a:cubicBezTo>
                <a:cubicBezTo>
                  <a:pt x="797" y="604"/>
                  <a:pt x="797" y="604"/>
                  <a:pt x="797" y="604"/>
                </a:cubicBezTo>
                <a:cubicBezTo>
                  <a:pt x="799" y="604"/>
                  <a:pt x="799" y="604"/>
                  <a:pt x="799" y="604"/>
                </a:cubicBezTo>
                <a:cubicBezTo>
                  <a:pt x="800" y="606"/>
                  <a:pt x="800" y="606"/>
                  <a:pt x="800" y="606"/>
                </a:cubicBezTo>
                <a:cubicBezTo>
                  <a:pt x="799" y="606"/>
                  <a:pt x="799" y="606"/>
                  <a:pt x="799" y="606"/>
                </a:cubicBezTo>
                <a:cubicBezTo>
                  <a:pt x="798" y="605"/>
                  <a:pt x="798" y="605"/>
                  <a:pt x="798" y="605"/>
                </a:cubicBezTo>
                <a:cubicBezTo>
                  <a:pt x="797" y="606"/>
                  <a:pt x="797" y="606"/>
                  <a:pt x="797" y="606"/>
                </a:cubicBezTo>
                <a:cubicBezTo>
                  <a:pt x="797" y="605"/>
                  <a:pt x="797" y="605"/>
                  <a:pt x="797" y="605"/>
                </a:cubicBezTo>
                <a:cubicBezTo>
                  <a:pt x="796" y="604"/>
                  <a:pt x="796" y="604"/>
                  <a:pt x="796" y="604"/>
                </a:cubicBezTo>
                <a:cubicBezTo>
                  <a:pt x="795" y="603"/>
                  <a:pt x="795" y="603"/>
                  <a:pt x="795" y="603"/>
                </a:cubicBezTo>
                <a:cubicBezTo>
                  <a:pt x="794" y="603"/>
                  <a:pt x="794" y="603"/>
                  <a:pt x="794" y="603"/>
                </a:cubicBezTo>
                <a:cubicBezTo>
                  <a:pt x="794" y="604"/>
                  <a:pt x="794" y="604"/>
                  <a:pt x="794" y="604"/>
                </a:cubicBezTo>
                <a:cubicBezTo>
                  <a:pt x="794" y="606"/>
                  <a:pt x="794" y="606"/>
                  <a:pt x="794" y="606"/>
                </a:cubicBezTo>
                <a:cubicBezTo>
                  <a:pt x="793" y="606"/>
                  <a:pt x="793" y="606"/>
                  <a:pt x="793" y="606"/>
                </a:cubicBezTo>
                <a:cubicBezTo>
                  <a:pt x="793" y="605"/>
                  <a:pt x="793" y="605"/>
                  <a:pt x="793" y="605"/>
                </a:cubicBezTo>
                <a:cubicBezTo>
                  <a:pt x="792" y="605"/>
                  <a:pt x="792" y="605"/>
                  <a:pt x="792" y="605"/>
                </a:cubicBezTo>
                <a:cubicBezTo>
                  <a:pt x="791" y="605"/>
                  <a:pt x="791" y="605"/>
                  <a:pt x="791" y="605"/>
                </a:cubicBezTo>
                <a:cubicBezTo>
                  <a:pt x="790" y="606"/>
                  <a:pt x="790" y="606"/>
                  <a:pt x="790" y="606"/>
                </a:cubicBezTo>
                <a:cubicBezTo>
                  <a:pt x="789" y="606"/>
                  <a:pt x="789" y="606"/>
                  <a:pt x="789" y="606"/>
                </a:cubicBezTo>
                <a:cubicBezTo>
                  <a:pt x="788" y="605"/>
                  <a:pt x="788" y="605"/>
                  <a:pt x="788" y="605"/>
                </a:cubicBezTo>
                <a:cubicBezTo>
                  <a:pt x="787" y="605"/>
                  <a:pt x="787" y="605"/>
                  <a:pt x="787" y="605"/>
                </a:cubicBezTo>
                <a:cubicBezTo>
                  <a:pt x="786" y="605"/>
                  <a:pt x="786" y="605"/>
                  <a:pt x="786" y="605"/>
                </a:cubicBezTo>
                <a:cubicBezTo>
                  <a:pt x="787" y="604"/>
                  <a:pt x="787" y="604"/>
                  <a:pt x="787" y="604"/>
                </a:cubicBezTo>
                <a:cubicBezTo>
                  <a:pt x="787" y="603"/>
                  <a:pt x="787" y="603"/>
                  <a:pt x="787" y="603"/>
                </a:cubicBezTo>
                <a:cubicBezTo>
                  <a:pt x="786" y="603"/>
                  <a:pt x="786" y="603"/>
                  <a:pt x="786" y="603"/>
                </a:cubicBezTo>
                <a:cubicBezTo>
                  <a:pt x="785" y="603"/>
                  <a:pt x="785" y="603"/>
                  <a:pt x="785" y="603"/>
                </a:cubicBezTo>
                <a:cubicBezTo>
                  <a:pt x="785" y="602"/>
                  <a:pt x="785" y="602"/>
                  <a:pt x="785" y="602"/>
                </a:cubicBezTo>
                <a:cubicBezTo>
                  <a:pt x="785" y="601"/>
                  <a:pt x="785" y="601"/>
                  <a:pt x="785" y="601"/>
                </a:cubicBezTo>
                <a:cubicBezTo>
                  <a:pt x="784" y="602"/>
                  <a:pt x="784" y="602"/>
                  <a:pt x="784" y="602"/>
                </a:cubicBezTo>
                <a:cubicBezTo>
                  <a:pt x="783" y="601"/>
                  <a:pt x="783" y="601"/>
                  <a:pt x="783" y="601"/>
                </a:cubicBezTo>
                <a:cubicBezTo>
                  <a:pt x="784" y="601"/>
                  <a:pt x="784" y="601"/>
                  <a:pt x="784" y="601"/>
                </a:cubicBezTo>
                <a:cubicBezTo>
                  <a:pt x="783" y="600"/>
                  <a:pt x="783" y="600"/>
                  <a:pt x="783" y="600"/>
                </a:cubicBezTo>
                <a:cubicBezTo>
                  <a:pt x="782" y="601"/>
                  <a:pt x="782" y="601"/>
                  <a:pt x="782" y="601"/>
                </a:cubicBezTo>
                <a:cubicBezTo>
                  <a:pt x="782" y="602"/>
                  <a:pt x="782" y="602"/>
                  <a:pt x="782" y="602"/>
                </a:cubicBezTo>
                <a:cubicBezTo>
                  <a:pt x="781" y="602"/>
                  <a:pt x="781" y="602"/>
                  <a:pt x="781" y="602"/>
                </a:cubicBezTo>
                <a:cubicBezTo>
                  <a:pt x="777" y="602"/>
                  <a:pt x="777" y="602"/>
                  <a:pt x="777" y="602"/>
                </a:cubicBezTo>
                <a:cubicBezTo>
                  <a:pt x="777" y="601"/>
                  <a:pt x="777" y="601"/>
                  <a:pt x="777" y="601"/>
                </a:cubicBezTo>
                <a:cubicBezTo>
                  <a:pt x="774" y="601"/>
                  <a:pt x="774" y="601"/>
                  <a:pt x="774" y="601"/>
                </a:cubicBezTo>
                <a:cubicBezTo>
                  <a:pt x="772" y="601"/>
                  <a:pt x="772" y="601"/>
                  <a:pt x="772" y="601"/>
                </a:cubicBezTo>
                <a:cubicBezTo>
                  <a:pt x="770" y="601"/>
                  <a:pt x="770" y="601"/>
                  <a:pt x="770" y="601"/>
                </a:cubicBezTo>
                <a:cubicBezTo>
                  <a:pt x="769" y="602"/>
                  <a:pt x="769" y="602"/>
                  <a:pt x="769" y="602"/>
                </a:cubicBezTo>
                <a:cubicBezTo>
                  <a:pt x="768" y="602"/>
                  <a:pt x="768" y="602"/>
                  <a:pt x="768" y="602"/>
                </a:cubicBezTo>
                <a:cubicBezTo>
                  <a:pt x="767" y="603"/>
                  <a:pt x="767" y="603"/>
                  <a:pt x="767" y="603"/>
                </a:cubicBezTo>
                <a:cubicBezTo>
                  <a:pt x="766" y="603"/>
                  <a:pt x="766" y="603"/>
                  <a:pt x="766" y="603"/>
                </a:cubicBezTo>
                <a:cubicBezTo>
                  <a:pt x="766" y="602"/>
                  <a:pt x="766" y="602"/>
                  <a:pt x="766" y="602"/>
                </a:cubicBezTo>
                <a:cubicBezTo>
                  <a:pt x="766" y="601"/>
                  <a:pt x="766" y="601"/>
                  <a:pt x="766" y="601"/>
                </a:cubicBezTo>
                <a:cubicBezTo>
                  <a:pt x="767" y="600"/>
                  <a:pt x="767" y="600"/>
                  <a:pt x="767" y="600"/>
                </a:cubicBezTo>
                <a:cubicBezTo>
                  <a:pt x="766" y="599"/>
                  <a:pt x="766" y="599"/>
                  <a:pt x="766" y="599"/>
                </a:cubicBezTo>
                <a:cubicBezTo>
                  <a:pt x="766" y="600"/>
                  <a:pt x="766" y="600"/>
                  <a:pt x="766" y="600"/>
                </a:cubicBezTo>
                <a:cubicBezTo>
                  <a:pt x="765" y="601"/>
                  <a:pt x="765" y="601"/>
                  <a:pt x="765" y="601"/>
                </a:cubicBezTo>
                <a:cubicBezTo>
                  <a:pt x="764" y="601"/>
                  <a:pt x="764" y="601"/>
                  <a:pt x="764" y="601"/>
                </a:cubicBezTo>
                <a:cubicBezTo>
                  <a:pt x="763" y="600"/>
                  <a:pt x="763" y="600"/>
                  <a:pt x="763" y="600"/>
                </a:cubicBezTo>
                <a:cubicBezTo>
                  <a:pt x="764" y="602"/>
                  <a:pt x="764" y="602"/>
                  <a:pt x="764" y="602"/>
                </a:cubicBezTo>
                <a:cubicBezTo>
                  <a:pt x="764" y="603"/>
                  <a:pt x="764" y="603"/>
                  <a:pt x="764" y="603"/>
                </a:cubicBezTo>
                <a:cubicBezTo>
                  <a:pt x="764" y="604"/>
                  <a:pt x="764" y="604"/>
                  <a:pt x="764" y="604"/>
                </a:cubicBezTo>
                <a:cubicBezTo>
                  <a:pt x="764" y="605"/>
                  <a:pt x="764" y="605"/>
                  <a:pt x="764" y="605"/>
                </a:cubicBezTo>
                <a:cubicBezTo>
                  <a:pt x="763" y="605"/>
                  <a:pt x="763" y="605"/>
                  <a:pt x="763" y="605"/>
                </a:cubicBezTo>
                <a:cubicBezTo>
                  <a:pt x="761" y="607"/>
                  <a:pt x="761" y="607"/>
                  <a:pt x="761" y="607"/>
                </a:cubicBezTo>
                <a:cubicBezTo>
                  <a:pt x="758" y="608"/>
                  <a:pt x="758" y="608"/>
                  <a:pt x="758" y="608"/>
                </a:cubicBezTo>
                <a:cubicBezTo>
                  <a:pt x="757" y="608"/>
                  <a:pt x="757" y="608"/>
                  <a:pt x="757" y="608"/>
                </a:cubicBezTo>
                <a:cubicBezTo>
                  <a:pt x="756" y="609"/>
                  <a:pt x="756" y="609"/>
                  <a:pt x="756" y="609"/>
                </a:cubicBezTo>
                <a:cubicBezTo>
                  <a:pt x="755" y="609"/>
                  <a:pt x="755" y="609"/>
                  <a:pt x="755" y="609"/>
                </a:cubicBezTo>
                <a:cubicBezTo>
                  <a:pt x="756" y="608"/>
                  <a:pt x="756" y="608"/>
                  <a:pt x="756" y="608"/>
                </a:cubicBezTo>
                <a:cubicBezTo>
                  <a:pt x="755" y="608"/>
                  <a:pt x="755" y="608"/>
                  <a:pt x="755" y="608"/>
                </a:cubicBezTo>
                <a:cubicBezTo>
                  <a:pt x="754" y="608"/>
                  <a:pt x="754" y="608"/>
                  <a:pt x="754" y="608"/>
                </a:cubicBezTo>
                <a:cubicBezTo>
                  <a:pt x="753" y="608"/>
                  <a:pt x="753" y="608"/>
                  <a:pt x="753" y="608"/>
                </a:cubicBezTo>
                <a:cubicBezTo>
                  <a:pt x="754" y="609"/>
                  <a:pt x="754" y="609"/>
                  <a:pt x="754" y="609"/>
                </a:cubicBezTo>
                <a:cubicBezTo>
                  <a:pt x="753" y="609"/>
                  <a:pt x="753" y="609"/>
                  <a:pt x="753" y="609"/>
                </a:cubicBezTo>
                <a:cubicBezTo>
                  <a:pt x="752" y="609"/>
                  <a:pt x="752" y="609"/>
                  <a:pt x="752" y="609"/>
                </a:cubicBezTo>
                <a:cubicBezTo>
                  <a:pt x="752" y="610"/>
                  <a:pt x="752" y="610"/>
                  <a:pt x="752" y="610"/>
                </a:cubicBezTo>
                <a:cubicBezTo>
                  <a:pt x="751" y="611"/>
                  <a:pt x="751" y="611"/>
                  <a:pt x="751" y="611"/>
                </a:cubicBezTo>
                <a:cubicBezTo>
                  <a:pt x="750" y="611"/>
                  <a:pt x="750" y="611"/>
                  <a:pt x="750" y="611"/>
                </a:cubicBezTo>
                <a:cubicBezTo>
                  <a:pt x="749" y="612"/>
                  <a:pt x="749" y="612"/>
                  <a:pt x="749" y="612"/>
                </a:cubicBezTo>
                <a:cubicBezTo>
                  <a:pt x="750" y="613"/>
                  <a:pt x="750" y="613"/>
                  <a:pt x="750" y="613"/>
                </a:cubicBezTo>
                <a:cubicBezTo>
                  <a:pt x="749" y="614"/>
                  <a:pt x="749" y="614"/>
                  <a:pt x="749" y="614"/>
                </a:cubicBezTo>
                <a:cubicBezTo>
                  <a:pt x="748" y="614"/>
                  <a:pt x="748" y="614"/>
                  <a:pt x="748" y="614"/>
                </a:cubicBezTo>
                <a:cubicBezTo>
                  <a:pt x="748" y="617"/>
                  <a:pt x="748" y="617"/>
                  <a:pt x="748" y="617"/>
                </a:cubicBezTo>
                <a:cubicBezTo>
                  <a:pt x="747" y="618"/>
                  <a:pt x="747" y="618"/>
                  <a:pt x="747" y="618"/>
                </a:cubicBezTo>
                <a:cubicBezTo>
                  <a:pt x="747" y="620"/>
                  <a:pt x="747" y="620"/>
                  <a:pt x="747" y="620"/>
                </a:cubicBezTo>
                <a:cubicBezTo>
                  <a:pt x="746" y="621"/>
                  <a:pt x="746" y="621"/>
                  <a:pt x="746" y="621"/>
                </a:cubicBezTo>
                <a:cubicBezTo>
                  <a:pt x="746" y="622"/>
                  <a:pt x="746" y="622"/>
                  <a:pt x="746" y="622"/>
                </a:cubicBezTo>
                <a:cubicBezTo>
                  <a:pt x="746" y="625"/>
                  <a:pt x="746" y="625"/>
                  <a:pt x="746" y="625"/>
                </a:cubicBezTo>
                <a:cubicBezTo>
                  <a:pt x="747" y="626"/>
                  <a:pt x="747" y="626"/>
                  <a:pt x="747" y="626"/>
                </a:cubicBezTo>
                <a:cubicBezTo>
                  <a:pt x="746" y="627"/>
                  <a:pt x="746" y="627"/>
                  <a:pt x="746" y="627"/>
                </a:cubicBezTo>
                <a:cubicBezTo>
                  <a:pt x="746" y="629"/>
                  <a:pt x="746" y="629"/>
                  <a:pt x="746" y="629"/>
                </a:cubicBezTo>
                <a:cubicBezTo>
                  <a:pt x="746" y="629"/>
                  <a:pt x="746" y="629"/>
                  <a:pt x="747" y="627"/>
                </a:cubicBezTo>
                <a:cubicBezTo>
                  <a:pt x="747" y="627"/>
                  <a:pt x="747" y="627"/>
                  <a:pt x="747" y="629"/>
                </a:cubicBezTo>
                <a:cubicBezTo>
                  <a:pt x="747" y="629"/>
                  <a:pt x="747" y="629"/>
                  <a:pt x="746" y="631"/>
                </a:cubicBezTo>
                <a:cubicBezTo>
                  <a:pt x="746" y="631"/>
                  <a:pt x="746" y="631"/>
                  <a:pt x="745" y="632"/>
                </a:cubicBezTo>
                <a:cubicBezTo>
                  <a:pt x="745" y="632"/>
                  <a:pt x="745" y="632"/>
                  <a:pt x="744" y="631"/>
                </a:cubicBezTo>
                <a:cubicBezTo>
                  <a:pt x="744" y="631"/>
                  <a:pt x="744" y="631"/>
                  <a:pt x="744" y="633"/>
                </a:cubicBezTo>
                <a:cubicBezTo>
                  <a:pt x="744" y="633"/>
                  <a:pt x="744" y="633"/>
                  <a:pt x="743" y="634"/>
                </a:cubicBezTo>
                <a:cubicBezTo>
                  <a:pt x="743" y="634"/>
                  <a:pt x="743" y="634"/>
                  <a:pt x="744" y="635"/>
                </a:cubicBezTo>
                <a:cubicBezTo>
                  <a:pt x="744" y="635"/>
                  <a:pt x="744" y="635"/>
                  <a:pt x="743" y="637"/>
                </a:cubicBezTo>
                <a:cubicBezTo>
                  <a:pt x="743" y="637"/>
                  <a:pt x="743" y="637"/>
                  <a:pt x="743" y="638"/>
                </a:cubicBezTo>
                <a:cubicBezTo>
                  <a:pt x="743" y="638"/>
                  <a:pt x="743" y="638"/>
                  <a:pt x="743" y="639"/>
                </a:cubicBezTo>
                <a:cubicBezTo>
                  <a:pt x="743" y="639"/>
                  <a:pt x="743" y="639"/>
                  <a:pt x="743" y="640"/>
                </a:cubicBezTo>
                <a:cubicBezTo>
                  <a:pt x="743" y="640"/>
                  <a:pt x="743" y="640"/>
                  <a:pt x="743" y="641"/>
                </a:cubicBezTo>
                <a:cubicBezTo>
                  <a:pt x="743" y="641"/>
                  <a:pt x="743" y="641"/>
                  <a:pt x="743" y="642"/>
                </a:cubicBezTo>
                <a:cubicBezTo>
                  <a:pt x="743" y="642"/>
                  <a:pt x="743" y="642"/>
                  <a:pt x="742" y="645"/>
                </a:cubicBezTo>
                <a:cubicBezTo>
                  <a:pt x="742" y="645"/>
                  <a:pt x="742" y="645"/>
                  <a:pt x="742" y="647"/>
                </a:cubicBezTo>
                <a:cubicBezTo>
                  <a:pt x="742" y="647"/>
                  <a:pt x="742" y="647"/>
                  <a:pt x="742" y="650"/>
                </a:cubicBezTo>
                <a:cubicBezTo>
                  <a:pt x="742" y="650"/>
                  <a:pt x="742" y="650"/>
                  <a:pt x="741" y="651"/>
                </a:cubicBezTo>
                <a:cubicBezTo>
                  <a:pt x="741" y="651"/>
                  <a:pt x="741" y="651"/>
                  <a:pt x="741" y="652"/>
                </a:cubicBezTo>
                <a:cubicBezTo>
                  <a:pt x="741" y="652"/>
                  <a:pt x="741" y="652"/>
                  <a:pt x="742" y="654"/>
                </a:cubicBezTo>
                <a:cubicBezTo>
                  <a:pt x="742" y="654"/>
                  <a:pt x="742" y="654"/>
                  <a:pt x="741" y="656"/>
                </a:cubicBezTo>
                <a:cubicBezTo>
                  <a:pt x="741" y="656"/>
                  <a:pt x="741" y="656"/>
                  <a:pt x="741" y="658"/>
                </a:cubicBezTo>
                <a:cubicBezTo>
                  <a:pt x="741" y="658"/>
                  <a:pt x="741" y="658"/>
                  <a:pt x="742" y="659"/>
                </a:cubicBezTo>
                <a:cubicBezTo>
                  <a:pt x="742" y="659"/>
                  <a:pt x="742" y="659"/>
                  <a:pt x="743" y="661"/>
                </a:cubicBezTo>
                <a:cubicBezTo>
                  <a:pt x="743" y="661"/>
                  <a:pt x="743" y="661"/>
                  <a:pt x="743" y="662"/>
                </a:cubicBezTo>
                <a:cubicBezTo>
                  <a:pt x="743" y="662"/>
                  <a:pt x="743" y="662"/>
                  <a:pt x="743" y="663"/>
                </a:cubicBezTo>
                <a:cubicBezTo>
                  <a:pt x="743" y="663"/>
                  <a:pt x="743" y="663"/>
                  <a:pt x="743" y="664"/>
                </a:cubicBezTo>
                <a:cubicBezTo>
                  <a:pt x="743" y="664"/>
                  <a:pt x="743" y="664"/>
                  <a:pt x="744" y="665"/>
                </a:cubicBezTo>
                <a:cubicBezTo>
                  <a:pt x="744" y="665"/>
                  <a:pt x="744" y="665"/>
                  <a:pt x="747" y="669"/>
                </a:cubicBezTo>
                <a:cubicBezTo>
                  <a:pt x="747" y="669"/>
                  <a:pt x="747" y="669"/>
                  <a:pt x="748" y="670"/>
                </a:cubicBezTo>
                <a:cubicBezTo>
                  <a:pt x="748" y="670"/>
                  <a:pt x="748" y="670"/>
                  <a:pt x="749" y="672"/>
                </a:cubicBezTo>
                <a:cubicBezTo>
                  <a:pt x="749" y="672"/>
                  <a:pt x="749" y="672"/>
                  <a:pt x="749" y="673"/>
                </a:cubicBezTo>
                <a:cubicBezTo>
                  <a:pt x="749" y="673"/>
                  <a:pt x="749" y="673"/>
                  <a:pt x="749" y="674"/>
                </a:cubicBezTo>
                <a:cubicBezTo>
                  <a:pt x="749" y="674"/>
                  <a:pt x="749" y="674"/>
                  <a:pt x="752" y="677"/>
                </a:cubicBezTo>
                <a:cubicBezTo>
                  <a:pt x="752" y="677"/>
                  <a:pt x="752" y="677"/>
                  <a:pt x="752" y="678"/>
                </a:cubicBezTo>
                <a:cubicBezTo>
                  <a:pt x="752" y="678"/>
                  <a:pt x="752" y="678"/>
                  <a:pt x="753" y="678"/>
                </a:cubicBezTo>
                <a:cubicBezTo>
                  <a:pt x="753" y="678"/>
                  <a:pt x="753" y="678"/>
                  <a:pt x="755" y="678"/>
                </a:cubicBezTo>
                <a:cubicBezTo>
                  <a:pt x="755" y="678"/>
                  <a:pt x="755" y="678"/>
                  <a:pt x="757" y="679"/>
                </a:cubicBezTo>
                <a:cubicBezTo>
                  <a:pt x="757" y="679"/>
                  <a:pt x="757" y="679"/>
                  <a:pt x="758" y="681"/>
                </a:cubicBezTo>
                <a:cubicBezTo>
                  <a:pt x="758" y="681"/>
                  <a:pt x="758" y="681"/>
                  <a:pt x="759" y="683"/>
                </a:cubicBezTo>
                <a:cubicBezTo>
                  <a:pt x="759" y="683"/>
                  <a:pt x="759" y="683"/>
                  <a:pt x="760" y="682"/>
                </a:cubicBezTo>
                <a:cubicBezTo>
                  <a:pt x="760" y="682"/>
                  <a:pt x="760" y="682"/>
                  <a:pt x="762" y="682"/>
                </a:cubicBezTo>
                <a:cubicBezTo>
                  <a:pt x="762" y="682"/>
                  <a:pt x="762" y="682"/>
                  <a:pt x="763" y="682"/>
                </a:cubicBezTo>
                <a:cubicBezTo>
                  <a:pt x="763" y="682"/>
                  <a:pt x="763" y="682"/>
                  <a:pt x="764" y="682"/>
                </a:cubicBezTo>
                <a:cubicBezTo>
                  <a:pt x="764" y="682"/>
                  <a:pt x="764" y="682"/>
                  <a:pt x="766" y="681"/>
                </a:cubicBezTo>
                <a:cubicBezTo>
                  <a:pt x="766" y="681"/>
                  <a:pt x="766" y="681"/>
                  <a:pt x="767" y="680"/>
                </a:cubicBezTo>
                <a:cubicBezTo>
                  <a:pt x="767" y="680"/>
                  <a:pt x="767" y="680"/>
                  <a:pt x="769" y="680"/>
                </a:cubicBezTo>
                <a:cubicBezTo>
                  <a:pt x="769" y="680"/>
                  <a:pt x="769" y="680"/>
                  <a:pt x="770" y="680"/>
                </a:cubicBezTo>
                <a:cubicBezTo>
                  <a:pt x="770" y="680"/>
                  <a:pt x="770" y="680"/>
                  <a:pt x="772" y="679"/>
                </a:cubicBezTo>
                <a:cubicBezTo>
                  <a:pt x="772" y="679"/>
                  <a:pt x="772" y="679"/>
                  <a:pt x="773" y="679"/>
                </a:cubicBezTo>
                <a:cubicBezTo>
                  <a:pt x="773" y="679"/>
                  <a:pt x="773" y="679"/>
                  <a:pt x="775" y="679"/>
                </a:cubicBezTo>
                <a:cubicBezTo>
                  <a:pt x="775" y="679"/>
                  <a:pt x="775" y="679"/>
                  <a:pt x="777" y="679"/>
                </a:cubicBezTo>
                <a:cubicBezTo>
                  <a:pt x="777" y="679"/>
                  <a:pt x="777" y="679"/>
                  <a:pt x="776" y="680"/>
                </a:cubicBezTo>
                <a:cubicBezTo>
                  <a:pt x="776" y="680"/>
                  <a:pt x="776" y="680"/>
                  <a:pt x="775" y="681"/>
                </a:cubicBezTo>
                <a:cubicBezTo>
                  <a:pt x="775" y="681"/>
                  <a:pt x="775" y="681"/>
                  <a:pt x="777" y="681"/>
                </a:cubicBezTo>
                <a:cubicBezTo>
                  <a:pt x="777" y="681"/>
                  <a:pt x="777" y="681"/>
                  <a:pt x="778" y="682"/>
                </a:cubicBezTo>
                <a:cubicBezTo>
                  <a:pt x="778" y="682"/>
                  <a:pt x="778" y="682"/>
                  <a:pt x="778" y="681"/>
                </a:cubicBezTo>
                <a:cubicBezTo>
                  <a:pt x="778" y="681"/>
                  <a:pt x="778" y="681"/>
                  <a:pt x="779" y="681"/>
                </a:cubicBezTo>
                <a:cubicBezTo>
                  <a:pt x="779" y="681"/>
                  <a:pt x="779" y="681"/>
                  <a:pt x="780" y="680"/>
                </a:cubicBezTo>
                <a:cubicBezTo>
                  <a:pt x="780" y="680"/>
                  <a:pt x="780" y="680"/>
                  <a:pt x="780" y="678"/>
                </a:cubicBezTo>
                <a:cubicBezTo>
                  <a:pt x="780" y="678"/>
                  <a:pt x="780" y="678"/>
                  <a:pt x="780" y="677"/>
                </a:cubicBezTo>
                <a:cubicBezTo>
                  <a:pt x="780" y="677"/>
                  <a:pt x="780" y="677"/>
                  <a:pt x="779" y="678"/>
                </a:cubicBezTo>
                <a:cubicBezTo>
                  <a:pt x="779" y="678"/>
                  <a:pt x="779" y="678"/>
                  <a:pt x="779" y="677"/>
                </a:cubicBezTo>
                <a:cubicBezTo>
                  <a:pt x="779" y="677"/>
                  <a:pt x="779" y="677"/>
                  <a:pt x="781" y="676"/>
                </a:cubicBezTo>
                <a:cubicBezTo>
                  <a:pt x="781" y="676"/>
                  <a:pt x="781" y="676"/>
                  <a:pt x="782" y="676"/>
                </a:cubicBezTo>
                <a:cubicBezTo>
                  <a:pt x="782" y="676"/>
                  <a:pt x="782" y="676"/>
                  <a:pt x="784" y="674"/>
                </a:cubicBezTo>
                <a:cubicBezTo>
                  <a:pt x="784" y="674"/>
                  <a:pt x="784" y="674"/>
                  <a:pt x="784" y="672"/>
                </a:cubicBezTo>
                <a:cubicBezTo>
                  <a:pt x="784" y="672"/>
                  <a:pt x="784" y="672"/>
                  <a:pt x="786" y="670"/>
                </a:cubicBezTo>
                <a:cubicBezTo>
                  <a:pt x="786" y="670"/>
                  <a:pt x="786" y="670"/>
                  <a:pt x="786" y="669"/>
                </a:cubicBezTo>
                <a:cubicBezTo>
                  <a:pt x="786" y="669"/>
                  <a:pt x="786" y="669"/>
                  <a:pt x="786" y="665"/>
                </a:cubicBezTo>
                <a:cubicBezTo>
                  <a:pt x="786" y="665"/>
                  <a:pt x="786" y="665"/>
                  <a:pt x="788" y="663"/>
                </a:cubicBezTo>
                <a:cubicBezTo>
                  <a:pt x="788" y="663"/>
                  <a:pt x="788" y="663"/>
                  <a:pt x="787" y="663"/>
                </a:cubicBezTo>
                <a:cubicBezTo>
                  <a:pt x="787" y="663"/>
                  <a:pt x="787" y="663"/>
                  <a:pt x="787" y="662"/>
                </a:cubicBezTo>
                <a:cubicBezTo>
                  <a:pt x="787" y="662"/>
                  <a:pt x="787" y="662"/>
                  <a:pt x="791" y="661"/>
                </a:cubicBezTo>
                <a:cubicBezTo>
                  <a:pt x="791" y="661"/>
                  <a:pt x="791" y="661"/>
                  <a:pt x="797" y="661"/>
                </a:cubicBezTo>
                <a:cubicBezTo>
                  <a:pt x="797" y="661"/>
                  <a:pt x="797" y="661"/>
                  <a:pt x="798" y="659"/>
                </a:cubicBezTo>
                <a:cubicBezTo>
                  <a:pt x="798" y="659"/>
                  <a:pt x="798" y="659"/>
                  <a:pt x="799" y="659"/>
                </a:cubicBezTo>
                <a:cubicBezTo>
                  <a:pt x="799" y="659"/>
                  <a:pt x="799" y="659"/>
                  <a:pt x="800" y="660"/>
                </a:cubicBezTo>
                <a:cubicBezTo>
                  <a:pt x="800" y="660"/>
                  <a:pt x="800" y="660"/>
                  <a:pt x="801" y="659"/>
                </a:cubicBezTo>
                <a:cubicBezTo>
                  <a:pt x="801" y="659"/>
                  <a:pt x="801" y="659"/>
                  <a:pt x="801" y="658"/>
                </a:cubicBezTo>
                <a:cubicBezTo>
                  <a:pt x="801" y="658"/>
                  <a:pt x="801" y="658"/>
                  <a:pt x="804" y="658"/>
                </a:cubicBezTo>
                <a:cubicBezTo>
                  <a:pt x="804" y="658"/>
                  <a:pt x="804" y="658"/>
                  <a:pt x="806" y="659"/>
                </a:cubicBezTo>
                <a:cubicBezTo>
                  <a:pt x="806" y="659"/>
                  <a:pt x="806" y="659"/>
                  <a:pt x="807" y="659"/>
                </a:cubicBezTo>
                <a:cubicBezTo>
                  <a:pt x="807" y="659"/>
                  <a:pt x="807" y="659"/>
                  <a:pt x="807" y="658"/>
                </a:cubicBezTo>
                <a:cubicBezTo>
                  <a:pt x="807" y="658"/>
                  <a:pt x="807" y="658"/>
                  <a:pt x="808" y="658"/>
                </a:cubicBezTo>
                <a:cubicBezTo>
                  <a:pt x="808" y="658"/>
                  <a:pt x="808" y="658"/>
                  <a:pt x="810" y="660"/>
                </a:cubicBezTo>
                <a:cubicBezTo>
                  <a:pt x="810" y="660"/>
                  <a:pt x="810" y="660"/>
                  <a:pt x="810" y="662"/>
                </a:cubicBezTo>
                <a:cubicBezTo>
                  <a:pt x="810" y="662"/>
                  <a:pt x="810" y="662"/>
                  <a:pt x="809" y="663"/>
                </a:cubicBezTo>
                <a:cubicBezTo>
                  <a:pt x="809" y="663"/>
                  <a:pt x="809" y="663"/>
                  <a:pt x="808" y="666"/>
                </a:cubicBezTo>
                <a:cubicBezTo>
                  <a:pt x="808" y="666"/>
                  <a:pt x="808" y="666"/>
                  <a:pt x="805" y="668"/>
                </a:cubicBezTo>
                <a:cubicBezTo>
                  <a:pt x="805" y="668"/>
                  <a:pt x="805" y="668"/>
                  <a:pt x="804" y="669"/>
                </a:cubicBezTo>
                <a:cubicBezTo>
                  <a:pt x="804" y="669"/>
                  <a:pt x="804" y="669"/>
                  <a:pt x="804" y="671"/>
                </a:cubicBezTo>
                <a:cubicBezTo>
                  <a:pt x="804" y="671"/>
                  <a:pt x="804" y="671"/>
                  <a:pt x="803" y="671"/>
                </a:cubicBezTo>
                <a:cubicBezTo>
                  <a:pt x="803" y="671"/>
                  <a:pt x="803" y="671"/>
                  <a:pt x="803" y="672"/>
                </a:cubicBezTo>
                <a:cubicBezTo>
                  <a:pt x="803" y="672"/>
                  <a:pt x="803" y="672"/>
                  <a:pt x="803" y="673"/>
                </a:cubicBezTo>
                <a:cubicBezTo>
                  <a:pt x="803" y="673"/>
                  <a:pt x="803" y="673"/>
                  <a:pt x="804" y="673"/>
                </a:cubicBezTo>
                <a:cubicBezTo>
                  <a:pt x="804" y="673"/>
                  <a:pt x="804" y="673"/>
                  <a:pt x="804" y="674"/>
                </a:cubicBezTo>
                <a:cubicBezTo>
                  <a:pt x="804" y="674"/>
                  <a:pt x="804" y="674"/>
                  <a:pt x="803" y="675"/>
                </a:cubicBezTo>
                <a:cubicBezTo>
                  <a:pt x="803" y="675"/>
                  <a:pt x="803" y="675"/>
                  <a:pt x="803" y="676"/>
                </a:cubicBezTo>
                <a:cubicBezTo>
                  <a:pt x="803" y="676"/>
                  <a:pt x="803" y="676"/>
                  <a:pt x="804" y="675"/>
                </a:cubicBezTo>
                <a:cubicBezTo>
                  <a:pt x="804" y="675"/>
                  <a:pt x="804" y="675"/>
                  <a:pt x="805" y="675"/>
                </a:cubicBezTo>
                <a:cubicBezTo>
                  <a:pt x="805" y="675"/>
                  <a:pt x="805" y="675"/>
                  <a:pt x="804" y="676"/>
                </a:cubicBezTo>
                <a:cubicBezTo>
                  <a:pt x="804" y="676"/>
                  <a:pt x="804" y="676"/>
                  <a:pt x="803" y="680"/>
                </a:cubicBezTo>
                <a:cubicBezTo>
                  <a:pt x="803" y="680"/>
                  <a:pt x="803" y="680"/>
                  <a:pt x="802" y="682"/>
                </a:cubicBezTo>
                <a:cubicBezTo>
                  <a:pt x="802" y="682"/>
                  <a:pt x="802" y="682"/>
                  <a:pt x="801" y="682"/>
                </a:cubicBezTo>
                <a:cubicBezTo>
                  <a:pt x="801" y="682"/>
                  <a:pt x="801" y="682"/>
                  <a:pt x="801" y="681"/>
                </a:cubicBezTo>
                <a:cubicBezTo>
                  <a:pt x="801" y="681"/>
                  <a:pt x="801" y="681"/>
                  <a:pt x="800" y="680"/>
                </a:cubicBezTo>
                <a:cubicBezTo>
                  <a:pt x="800" y="680"/>
                  <a:pt x="800" y="680"/>
                  <a:pt x="799" y="680"/>
                </a:cubicBezTo>
                <a:cubicBezTo>
                  <a:pt x="799" y="680"/>
                  <a:pt x="799" y="680"/>
                  <a:pt x="800" y="679"/>
                </a:cubicBezTo>
                <a:cubicBezTo>
                  <a:pt x="800" y="679"/>
                  <a:pt x="800" y="679"/>
                  <a:pt x="800" y="678"/>
                </a:cubicBezTo>
                <a:cubicBezTo>
                  <a:pt x="800" y="678"/>
                  <a:pt x="800" y="678"/>
                  <a:pt x="799" y="678"/>
                </a:cubicBezTo>
                <a:cubicBezTo>
                  <a:pt x="799" y="678"/>
                  <a:pt x="799" y="678"/>
                  <a:pt x="798" y="680"/>
                </a:cubicBezTo>
                <a:cubicBezTo>
                  <a:pt x="798" y="680"/>
                  <a:pt x="798" y="680"/>
                  <a:pt x="797" y="681"/>
                </a:cubicBezTo>
                <a:cubicBezTo>
                  <a:pt x="797" y="681"/>
                  <a:pt x="797" y="681"/>
                  <a:pt x="798" y="681"/>
                </a:cubicBezTo>
                <a:cubicBezTo>
                  <a:pt x="798" y="681"/>
                  <a:pt x="798" y="681"/>
                  <a:pt x="799" y="681"/>
                </a:cubicBezTo>
                <a:cubicBezTo>
                  <a:pt x="799" y="681"/>
                  <a:pt x="799" y="681"/>
                  <a:pt x="799" y="682"/>
                </a:cubicBezTo>
                <a:cubicBezTo>
                  <a:pt x="799" y="682"/>
                  <a:pt x="799" y="682"/>
                  <a:pt x="799" y="685"/>
                </a:cubicBezTo>
                <a:cubicBezTo>
                  <a:pt x="799" y="685"/>
                  <a:pt x="799" y="685"/>
                  <a:pt x="798" y="686"/>
                </a:cubicBezTo>
                <a:cubicBezTo>
                  <a:pt x="798" y="686"/>
                  <a:pt x="798" y="686"/>
                  <a:pt x="798" y="688"/>
                </a:cubicBezTo>
                <a:cubicBezTo>
                  <a:pt x="798" y="688"/>
                  <a:pt x="798" y="688"/>
                  <a:pt x="798" y="689"/>
                </a:cubicBezTo>
                <a:cubicBezTo>
                  <a:pt x="798" y="689"/>
                  <a:pt x="798" y="689"/>
                  <a:pt x="798" y="691"/>
                </a:cubicBezTo>
                <a:cubicBezTo>
                  <a:pt x="798" y="691"/>
                  <a:pt x="798" y="691"/>
                  <a:pt x="798" y="693"/>
                </a:cubicBezTo>
                <a:cubicBezTo>
                  <a:pt x="798" y="693"/>
                  <a:pt x="798" y="693"/>
                  <a:pt x="796" y="695"/>
                </a:cubicBezTo>
                <a:cubicBezTo>
                  <a:pt x="796" y="695"/>
                  <a:pt x="796" y="695"/>
                  <a:pt x="795" y="695"/>
                </a:cubicBezTo>
                <a:cubicBezTo>
                  <a:pt x="795" y="695"/>
                  <a:pt x="795" y="695"/>
                  <a:pt x="794" y="696"/>
                </a:cubicBezTo>
                <a:cubicBezTo>
                  <a:pt x="794" y="696"/>
                  <a:pt x="794" y="696"/>
                  <a:pt x="794" y="697"/>
                </a:cubicBezTo>
                <a:cubicBezTo>
                  <a:pt x="794" y="697"/>
                  <a:pt x="794" y="697"/>
                  <a:pt x="794" y="698"/>
                </a:cubicBezTo>
                <a:cubicBezTo>
                  <a:pt x="794" y="698"/>
                  <a:pt x="794" y="698"/>
                  <a:pt x="795" y="698"/>
                </a:cubicBezTo>
                <a:cubicBezTo>
                  <a:pt x="795" y="698"/>
                  <a:pt x="795" y="698"/>
                  <a:pt x="796" y="698"/>
                </a:cubicBezTo>
                <a:cubicBezTo>
                  <a:pt x="796" y="698"/>
                  <a:pt x="796" y="698"/>
                  <a:pt x="797" y="698"/>
                </a:cubicBezTo>
                <a:cubicBezTo>
                  <a:pt x="797" y="698"/>
                  <a:pt x="797" y="698"/>
                  <a:pt x="798" y="698"/>
                </a:cubicBezTo>
                <a:cubicBezTo>
                  <a:pt x="798" y="698"/>
                  <a:pt x="798" y="698"/>
                  <a:pt x="799" y="699"/>
                </a:cubicBezTo>
                <a:cubicBezTo>
                  <a:pt x="799" y="699"/>
                  <a:pt x="799" y="699"/>
                  <a:pt x="800" y="698"/>
                </a:cubicBezTo>
                <a:cubicBezTo>
                  <a:pt x="800" y="698"/>
                  <a:pt x="800" y="698"/>
                  <a:pt x="804" y="698"/>
                </a:cubicBezTo>
                <a:cubicBezTo>
                  <a:pt x="804" y="698"/>
                  <a:pt x="804" y="698"/>
                  <a:pt x="807" y="698"/>
                </a:cubicBezTo>
                <a:cubicBezTo>
                  <a:pt x="807" y="698"/>
                  <a:pt x="807" y="698"/>
                  <a:pt x="809" y="697"/>
                </a:cubicBezTo>
                <a:cubicBezTo>
                  <a:pt x="809" y="697"/>
                  <a:pt x="809" y="697"/>
                  <a:pt x="810" y="698"/>
                </a:cubicBezTo>
                <a:cubicBezTo>
                  <a:pt x="810" y="698"/>
                  <a:pt x="810" y="698"/>
                  <a:pt x="810" y="697"/>
                </a:cubicBezTo>
                <a:cubicBezTo>
                  <a:pt x="810" y="697"/>
                  <a:pt x="810" y="697"/>
                  <a:pt x="811" y="697"/>
                </a:cubicBezTo>
                <a:cubicBezTo>
                  <a:pt x="811" y="697"/>
                  <a:pt x="811" y="697"/>
                  <a:pt x="811" y="696"/>
                </a:cubicBezTo>
                <a:cubicBezTo>
                  <a:pt x="811" y="696"/>
                  <a:pt x="811" y="696"/>
                  <a:pt x="812" y="696"/>
                </a:cubicBezTo>
                <a:cubicBezTo>
                  <a:pt x="812" y="696"/>
                  <a:pt x="812" y="696"/>
                  <a:pt x="814" y="698"/>
                </a:cubicBezTo>
                <a:cubicBezTo>
                  <a:pt x="814" y="698"/>
                  <a:pt x="814" y="698"/>
                  <a:pt x="817" y="698"/>
                </a:cubicBezTo>
                <a:cubicBezTo>
                  <a:pt x="817" y="698"/>
                  <a:pt x="817" y="698"/>
                  <a:pt x="819" y="698"/>
                </a:cubicBezTo>
                <a:cubicBezTo>
                  <a:pt x="819" y="698"/>
                  <a:pt x="819" y="698"/>
                  <a:pt x="820" y="699"/>
                </a:cubicBezTo>
                <a:cubicBezTo>
                  <a:pt x="820" y="699"/>
                  <a:pt x="820" y="699"/>
                  <a:pt x="820" y="698"/>
                </a:cubicBezTo>
                <a:cubicBezTo>
                  <a:pt x="820" y="698"/>
                  <a:pt x="820" y="698"/>
                  <a:pt x="821" y="698"/>
                </a:cubicBezTo>
                <a:cubicBezTo>
                  <a:pt x="821" y="698"/>
                  <a:pt x="821" y="698"/>
                  <a:pt x="822" y="698"/>
                </a:cubicBezTo>
                <a:cubicBezTo>
                  <a:pt x="822" y="698"/>
                  <a:pt x="822" y="698"/>
                  <a:pt x="823" y="698"/>
                </a:cubicBezTo>
                <a:cubicBezTo>
                  <a:pt x="823" y="698"/>
                  <a:pt x="823" y="698"/>
                  <a:pt x="825" y="699"/>
                </a:cubicBezTo>
                <a:cubicBezTo>
                  <a:pt x="825" y="699"/>
                  <a:pt x="825" y="699"/>
                  <a:pt x="826" y="700"/>
                </a:cubicBezTo>
                <a:cubicBezTo>
                  <a:pt x="826" y="700"/>
                  <a:pt x="826" y="700"/>
                  <a:pt x="824" y="699"/>
                </a:cubicBezTo>
                <a:cubicBezTo>
                  <a:pt x="824" y="699"/>
                  <a:pt x="824" y="699"/>
                  <a:pt x="823" y="699"/>
                </a:cubicBezTo>
                <a:cubicBezTo>
                  <a:pt x="823" y="699"/>
                  <a:pt x="823" y="699"/>
                  <a:pt x="822" y="699"/>
                </a:cubicBezTo>
                <a:cubicBezTo>
                  <a:pt x="822" y="699"/>
                  <a:pt x="822" y="699"/>
                  <a:pt x="822" y="700"/>
                </a:cubicBezTo>
                <a:cubicBezTo>
                  <a:pt x="822" y="700"/>
                  <a:pt x="822" y="700"/>
                  <a:pt x="821" y="701"/>
                </a:cubicBezTo>
                <a:cubicBezTo>
                  <a:pt x="821" y="701"/>
                  <a:pt x="821" y="701"/>
                  <a:pt x="822" y="701"/>
                </a:cubicBezTo>
                <a:cubicBezTo>
                  <a:pt x="822" y="701"/>
                  <a:pt x="822" y="701"/>
                  <a:pt x="824" y="701"/>
                </a:cubicBezTo>
                <a:cubicBezTo>
                  <a:pt x="824" y="701"/>
                  <a:pt x="824" y="701"/>
                  <a:pt x="826" y="701"/>
                </a:cubicBezTo>
                <a:cubicBezTo>
                  <a:pt x="826" y="701"/>
                  <a:pt x="826" y="701"/>
                  <a:pt x="827" y="702"/>
                </a:cubicBezTo>
                <a:cubicBezTo>
                  <a:pt x="827" y="702"/>
                  <a:pt x="827" y="702"/>
                  <a:pt x="827" y="700"/>
                </a:cubicBezTo>
                <a:cubicBezTo>
                  <a:pt x="827" y="700"/>
                  <a:pt x="827" y="700"/>
                  <a:pt x="828" y="701"/>
                </a:cubicBezTo>
                <a:cubicBezTo>
                  <a:pt x="828" y="701"/>
                  <a:pt x="828" y="701"/>
                  <a:pt x="830" y="702"/>
                </a:cubicBezTo>
                <a:cubicBezTo>
                  <a:pt x="830" y="702"/>
                  <a:pt x="830" y="702"/>
                  <a:pt x="830" y="703"/>
                </a:cubicBezTo>
                <a:cubicBezTo>
                  <a:pt x="830" y="703"/>
                  <a:pt x="830" y="703"/>
                  <a:pt x="829" y="703"/>
                </a:cubicBezTo>
                <a:cubicBezTo>
                  <a:pt x="829" y="703"/>
                  <a:pt x="829" y="703"/>
                  <a:pt x="829" y="704"/>
                </a:cubicBezTo>
                <a:cubicBezTo>
                  <a:pt x="829" y="704"/>
                  <a:pt x="829" y="704"/>
                  <a:pt x="829" y="706"/>
                </a:cubicBezTo>
                <a:cubicBezTo>
                  <a:pt x="829" y="706"/>
                  <a:pt x="829" y="706"/>
                  <a:pt x="829" y="707"/>
                </a:cubicBezTo>
                <a:cubicBezTo>
                  <a:pt x="829" y="707"/>
                  <a:pt x="829" y="707"/>
                  <a:pt x="829" y="708"/>
                </a:cubicBezTo>
                <a:cubicBezTo>
                  <a:pt x="829" y="708"/>
                  <a:pt x="829" y="708"/>
                  <a:pt x="829" y="709"/>
                </a:cubicBezTo>
                <a:cubicBezTo>
                  <a:pt x="829" y="709"/>
                  <a:pt x="829" y="709"/>
                  <a:pt x="829" y="710"/>
                </a:cubicBezTo>
                <a:cubicBezTo>
                  <a:pt x="829" y="710"/>
                  <a:pt x="829" y="710"/>
                  <a:pt x="828" y="711"/>
                </a:cubicBezTo>
                <a:cubicBezTo>
                  <a:pt x="828" y="711"/>
                  <a:pt x="828" y="711"/>
                  <a:pt x="827" y="713"/>
                </a:cubicBezTo>
                <a:cubicBezTo>
                  <a:pt x="827" y="713"/>
                  <a:pt x="827" y="713"/>
                  <a:pt x="826" y="713"/>
                </a:cubicBezTo>
                <a:cubicBezTo>
                  <a:pt x="826" y="713"/>
                  <a:pt x="826" y="713"/>
                  <a:pt x="826" y="714"/>
                </a:cubicBezTo>
                <a:cubicBezTo>
                  <a:pt x="826" y="714"/>
                  <a:pt x="826" y="714"/>
                  <a:pt x="827" y="714"/>
                </a:cubicBezTo>
                <a:cubicBezTo>
                  <a:pt x="827" y="714"/>
                  <a:pt x="827" y="714"/>
                  <a:pt x="827" y="715"/>
                </a:cubicBezTo>
                <a:cubicBezTo>
                  <a:pt x="827" y="715"/>
                  <a:pt x="827" y="715"/>
                  <a:pt x="827" y="718"/>
                </a:cubicBezTo>
                <a:cubicBezTo>
                  <a:pt x="827" y="718"/>
                  <a:pt x="827" y="718"/>
                  <a:pt x="827" y="721"/>
                </a:cubicBezTo>
                <a:cubicBezTo>
                  <a:pt x="827" y="721"/>
                  <a:pt x="827" y="721"/>
                  <a:pt x="826" y="721"/>
                </a:cubicBezTo>
                <a:cubicBezTo>
                  <a:pt x="826" y="721"/>
                  <a:pt x="826" y="721"/>
                  <a:pt x="826" y="720"/>
                </a:cubicBezTo>
                <a:cubicBezTo>
                  <a:pt x="826" y="720"/>
                  <a:pt x="826" y="720"/>
                  <a:pt x="826" y="719"/>
                </a:cubicBezTo>
                <a:cubicBezTo>
                  <a:pt x="826" y="719"/>
                  <a:pt x="826" y="719"/>
                  <a:pt x="826" y="718"/>
                </a:cubicBezTo>
                <a:cubicBezTo>
                  <a:pt x="826" y="718"/>
                  <a:pt x="826" y="718"/>
                  <a:pt x="825" y="718"/>
                </a:cubicBezTo>
                <a:cubicBezTo>
                  <a:pt x="825" y="718"/>
                  <a:pt x="825" y="718"/>
                  <a:pt x="825" y="720"/>
                </a:cubicBezTo>
                <a:cubicBezTo>
                  <a:pt x="825" y="720"/>
                  <a:pt x="825" y="720"/>
                  <a:pt x="825" y="721"/>
                </a:cubicBezTo>
                <a:cubicBezTo>
                  <a:pt x="825" y="721"/>
                  <a:pt x="825" y="721"/>
                  <a:pt x="825" y="722"/>
                </a:cubicBezTo>
                <a:cubicBezTo>
                  <a:pt x="825" y="722"/>
                  <a:pt x="825" y="722"/>
                  <a:pt x="824" y="723"/>
                </a:cubicBezTo>
                <a:cubicBezTo>
                  <a:pt x="824" y="723"/>
                  <a:pt x="824" y="723"/>
                  <a:pt x="824" y="724"/>
                </a:cubicBezTo>
                <a:cubicBezTo>
                  <a:pt x="824" y="724"/>
                  <a:pt x="824" y="724"/>
                  <a:pt x="824" y="725"/>
                </a:cubicBezTo>
                <a:cubicBezTo>
                  <a:pt x="824" y="725"/>
                  <a:pt x="824" y="725"/>
                  <a:pt x="825" y="725"/>
                </a:cubicBezTo>
                <a:cubicBezTo>
                  <a:pt x="825" y="725"/>
                  <a:pt x="825" y="725"/>
                  <a:pt x="825" y="726"/>
                </a:cubicBezTo>
                <a:cubicBezTo>
                  <a:pt x="825" y="726"/>
                  <a:pt x="825" y="726"/>
                  <a:pt x="824" y="727"/>
                </a:cubicBezTo>
                <a:cubicBezTo>
                  <a:pt x="824" y="727"/>
                  <a:pt x="824" y="727"/>
                  <a:pt x="824" y="729"/>
                </a:cubicBezTo>
                <a:cubicBezTo>
                  <a:pt x="824" y="729"/>
                  <a:pt x="824" y="729"/>
                  <a:pt x="825" y="729"/>
                </a:cubicBezTo>
                <a:cubicBezTo>
                  <a:pt x="825" y="729"/>
                  <a:pt x="825" y="729"/>
                  <a:pt x="825" y="730"/>
                </a:cubicBezTo>
                <a:cubicBezTo>
                  <a:pt x="825" y="730"/>
                  <a:pt x="825" y="730"/>
                  <a:pt x="824" y="731"/>
                </a:cubicBezTo>
                <a:cubicBezTo>
                  <a:pt x="824" y="731"/>
                  <a:pt x="824" y="731"/>
                  <a:pt x="825" y="731"/>
                </a:cubicBezTo>
                <a:cubicBezTo>
                  <a:pt x="825" y="731"/>
                  <a:pt x="825" y="731"/>
                  <a:pt x="826" y="731"/>
                </a:cubicBezTo>
                <a:cubicBezTo>
                  <a:pt x="826" y="731"/>
                  <a:pt x="826" y="731"/>
                  <a:pt x="827" y="732"/>
                </a:cubicBezTo>
                <a:cubicBezTo>
                  <a:pt x="827" y="732"/>
                  <a:pt x="827" y="732"/>
                  <a:pt x="827" y="733"/>
                </a:cubicBezTo>
                <a:cubicBezTo>
                  <a:pt x="827" y="733"/>
                  <a:pt x="827" y="733"/>
                  <a:pt x="828" y="734"/>
                </a:cubicBezTo>
                <a:cubicBezTo>
                  <a:pt x="828" y="734"/>
                  <a:pt x="828" y="734"/>
                  <a:pt x="829" y="736"/>
                </a:cubicBezTo>
                <a:cubicBezTo>
                  <a:pt x="829" y="736"/>
                  <a:pt x="829" y="736"/>
                  <a:pt x="829" y="737"/>
                </a:cubicBezTo>
                <a:cubicBezTo>
                  <a:pt x="829" y="737"/>
                  <a:pt x="829" y="737"/>
                  <a:pt x="830" y="737"/>
                </a:cubicBezTo>
                <a:cubicBezTo>
                  <a:pt x="830" y="737"/>
                  <a:pt x="830" y="737"/>
                  <a:pt x="831" y="738"/>
                </a:cubicBezTo>
                <a:cubicBezTo>
                  <a:pt x="831" y="738"/>
                  <a:pt x="831" y="738"/>
                  <a:pt x="832" y="738"/>
                </a:cubicBezTo>
                <a:cubicBezTo>
                  <a:pt x="832" y="738"/>
                  <a:pt x="832" y="738"/>
                  <a:pt x="832" y="739"/>
                </a:cubicBezTo>
                <a:cubicBezTo>
                  <a:pt x="832" y="739"/>
                  <a:pt x="832" y="739"/>
                  <a:pt x="833" y="740"/>
                </a:cubicBezTo>
                <a:cubicBezTo>
                  <a:pt x="833" y="740"/>
                  <a:pt x="833" y="740"/>
                  <a:pt x="834" y="740"/>
                </a:cubicBezTo>
                <a:cubicBezTo>
                  <a:pt x="834" y="740"/>
                  <a:pt x="834" y="740"/>
                  <a:pt x="834" y="741"/>
                </a:cubicBezTo>
                <a:cubicBezTo>
                  <a:pt x="834" y="741"/>
                  <a:pt x="834" y="741"/>
                  <a:pt x="834" y="742"/>
                </a:cubicBezTo>
                <a:cubicBezTo>
                  <a:pt x="834" y="742"/>
                  <a:pt x="834" y="742"/>
                  <a:pt x="835" y="742"/>
                </a:cubicBezTo>
                <a:cubicBezTo>
                  <a:pt x="835" y="742"/>
                  <a:pt x="835" y="742"/>
                  <a:pt x="836" y="742"/>
                </a:cubicBezTo>
                <a:cubicBezTo>
                  <a:pt x="836" y="742"/>
                  <a:pt x="836" y="742"/>
                  <a:pt x="836" y="741"/>
                </a:cubicBezTo>
                <a:cubicBezTo>
                  <a:pt x="836" y="741"/>
                  <a:pt x="836" y="741"/>
                  <a:pt x="837" y="741"/>
                </a:cubicBezTo>
                <a:cubicBezTo>
                  <a:pt x="837" y="741"/>
                  <a:pt x="837" y="741"/>
                  <a:pt x="839" y="743"/>
                </a:cubicBezTo>
                <a:cubicBezTo>
                  <a:pt x="839" y="743"/>
                  <a:pt x="839" y="743"/>
                  <a:pt x="841" y="743"/>
                </a:cubicBezTo>
                <a:cubicBezTo>
                  <a:pt x="841" y="743"/>
                  <a:pt x="841" y="743"/>
                  <a:pt x="843" y="743"/>
                </a:cubicBezTo>
                <a:cubicBezTo>
                  <a:pt x="843" y="743"/>
                  <a:pt x="843" y="743"/>
                  <a:pt x="844" y="742"/>
                </a:cubicBezTo>
                <a:cubicBezTo>
                  <a:pt x="844" y="742"/>
                  <a:pt x="844" y="742"/>
                  <a:pt x="847" y="740"/>
                </a:cubicBezTo>
                <a:cubicBezTo>
                  <a:pt x="847" y="740"/>
                  <a:pt x="847" y="740"/>
                  <a:pt x="849" y="739"/>
                </a:cubicBezTo>
                <a:cubicBezTo>
                  <a:pt x="849" y="739"/>
                  <a:pt x="849" y="739"/>
                  <a:pt x="851" y="738"/>
                </a:cubicBezTo>
                <a:cubicBezTo>
                  <a:pt x="851" y="738"/>
                  <a:pt x="851" y="738"/>
                  <a:pt x="852" y="738"/>
                </a:cubicBezTo>
                <a:cubicBezTo>
                  <a:pt x="852" y="738"/>
                  <a:pt x="852" y="738"/>
                  <a:pt x="853" y="738"/>
                </a:cubicBezTo>
                <a:cubicBezTo>
                  <a:pt x="853" y="738"/>
                  <a:pt x="853" y="738"/>
                  <a:pt x="853" y="739"/>
                </a:cubicBezTo>
                <a:cubicBezTo>
                  <a:pt x="853" y="739"/>
                  <a:pt x="853" y="739"/>
                  <a:pt x="854" y="739"/>
                </a:cubicBezTo>
                <a:cubicBezTo>
                  <a:pt x="854" y="739"/>
                  <a:pt x="854" y="739"/>
                  <a:pt x="857" y="739"/>
                </a:cubicBezTo>
                <a:cubicBezTo>
                  <a:pt x="857" y="739"/>
                  <a:pt x="857" y="739"/>
                  <a:pt x="858" y="739"/>
                </a:cubicBezTo>
                <a:cubicBezTo>
                  <a:pt x="858" y="739"/>
                  <a:pt x="858" y="739"/>
                  <a:pt x="861" y="741"/>
                </a:cubicBezTo>
                <a:cubicBezTo>
                  <a:pt x="861" y="741"/>
                  <a:pt x="861" y="741"/>
                  <a:pt x="862" y="742"/>
                </a:cubicBezTo>
                <a:cubicBezTo>
                  <a:pt x="862" y="742"/>
                  <a:pt x="862" y="742"/>
                  <a:pt x="862" y="743"/>
                </a:cubicBezTo>
                <a:cubicBezTo>
                  <a:pt x="862" y="743"/>
                  <a:pt x="862" y="743"/>
                  <a:pt x="863" y="743"/>
                </a:cubicBezTo>
                <a:cubicBezTo>
                  <a:pt x="863" y="743"/>
                  <a:pt x="863" y="743"/>
                  <a:pt x="864" y="744"/>
                </a:cubicBezTo>
                <a:cubicBezTo>
                  <a:pt x="864" y="744"/>
                  <a:pt x="864" y="744"/>
                  <a:pt x="865" y="745"/>
                </a:cubicBezTo>
                <a:cubicBezTo>
                  <a:pt x="865" y="745"/>
                  <a:pt x="865" y="745"/>
                  <a:pt x="865" y="746"/>
                </a:cubicBezTo>
                <a:cubicBezTo>
                  <a:pt x="865" y="746"/>
                  <a:pt x="865" y="746"/>
                  <a:pt x="866" y="747"/>
                </a:cubicBezTo>
                <a:cubicBezTo>
                  <a:pt x="866" y="747"/>
                  <a:pt x="866" y="747"/>
                  <a:pt x="866" y="748"/>
                </a:cubicBezTo>
                <a:cubicBezTo>
                  <a:pt x="866" y="748"/>
                  <a:pt x="866" y="748"/>
                  <a:pt x="867" y="749"/>
                </a:cubicBezTo>
                <a:cubicBezTo>
                  <a:pt x="867" y="749"/>
                  <a:pt x="867" y="749"/>
                  <a:pt x="868" y="749"/>
                </a:cubicBezTo>
                <a:cubicBezTo>
                  <a:pt x="868" y="749"/>
                  <a:pt x="868" y="749"/>
                  <a:pt x="868" y="747"/>
                </a:cubicBezTo>
                <a:cubicBezTo>
                  <a:pt x="868" y="747"/>
                  <a:pt x="868" y="747"/>
                  <a:pt x="868" y="746"/>
                </a:cubicBezTo>
                <a:cubicBezTo>
                  <a:pt x="868" y="746"/>
                  <a:pt x="868" y="746"/>
                  <a:pt x="867" y="745"/>
                </a:cubicBezTo>
                <a:cubicBezTo>
                  <a:pt x="867" y="745"/>
                  <a:pt x="867" y="745"/>
                  <a:pt x="867" y="744"/>
                </a:cubicBezTo>
                <a:cubicBezTo>
                  <a:pt x="867" y="744"/>
                  <a:pt x="867" y="744"/>
                  <a:pt x="868" y="744"/>
                </a:cubicBezTo>
                <a:cubicBezTo>
                  <a:pt x="868" y="744"/>
                  <a:pt x="868" y="744"/>
                  <a:pt x="869" y="743"/>
                </a:cubicBezTo>
                <a:cubicBezTo>
                  <a:pt x="869" y="743"/>
                  <a:pt x="869" y="743"/>
                  <a:pt x="870" y="742"/>
                </a:cubicBezTo>
                <a:cubicBezTo>
                  <a:pt x="870" y="742"/>
                  <a:pt x="870" y="742"/>
                  <a:pt x="871" y="741"/>
                </a:cubicBezTo>
                <a:cubicBezTo>
                  <a:pt x="871" y="741"/>
                  <a:pt x="871" y="741"/>
                  <a:pt x="872" y="740"/>
                </a:cubicBezTo>
                <a:cubicBezTo>
                  <a:pt x="872" y="740"/>
                  <a:pt x="872" y="740"/>
                  <a:pt x="873" y="739"/>
                </a:cubicBezTo>
                <a:cubicBezTo>
                  <a:pt x="873" y="739"/>
                  <a:pt x="873" y="739"/>
                  <a:pt x="874" y="739"/>
                </a:cubicBezTo>
                <a:cubicBezTo>
                  <a:pt x="874" y="739"/>
                  <a:pt x="874" y="739"/>
                  <a:pt x="875" y="739"/>
                </a:cubicBezTo>
                <a:cubicBezTo>
                  <a:pt x="875" y="739"/>
                  <a:pt x="875" y="739"/>
                  <a:pt x="875" y="737"/>
                </a:cubicBezTo>
                <a:cubicBezTo>
                  <a:pt x="875" y="737"/>
                  <a:pt x="875" y="737"/>
                  <a:pt x="875" y="736"/>
                </a:cubicBezTo>
                <a:cubicBezTo>
                  <a:pt x="875" y="736"/>
                  <a:pt x="875" y="736"/>
                  <a:pt x="874" y="736"/>
                </a:cubicBezTo>
                <a:cubicBezTo>
                  <a:pt x="874" y="736"/>
                  <a:pt x="874" y="736"/>
                  <a:pt x="875" y="735"/>
                </a:cubicBezTo>
                <a:cubicBezTo>
                  <a:pt x="875" y="735"/>
                  <a:pt x="875" y="735"/>
                  <a:pt x="876" y="732"/>
                </a:cubicBezTo>
                <a:cubicBezTo>
                  <a:pt x="876" y="732"/>
                  <a:pt x="876" y="732"/>
                  <a:pt x="878" y="730"/>
                </a:cubicBezTo>
                <a:cubicBezTo>
                  <a:pt x="878" y="730"/>
                  <a:pt x="878" y="730"/>
                  <a:pt x="880" y="728"/>
                </a:cubicBezTo>
                <a:cubicBezTo>
                  <a:pt x="880" y="728"/>
                  <a:pt x="880" y="728"/>
                  <a:pt x="881" y="728"/>
                </a:cubicBezTo>
                <a:cubicBezTo>
                  <a:pt x="881" y="728"/>
                  <a:pt x="881" y="728"/>
                  <a:pt x="883" y="729"/>
                </a:cubicBezTo>
                <a:cubicBezTo>
                  <a:pt x="883" y="729"/>
                  <a:pt x="883" y="729"/>
                  <a:pt x="883" y="730"/>
                </a:cubicBezTo>
                <a:cubicBezTo>
                  <a:pt x="883" y="730"/>
                  <a:pt x="883" y="730"/>
                  <a:pt x="883" y="731"/>
                </a:cubicBezTo>
                <a:cubicBezTo>
                  <a:pt x="883" y="731"/>
                  <a:pt x="883" y="731"/>
                  <a:pt x="884" y="731"/>
                </a:cubicBezTo>
                <a:cubicBezTo>
                  <a:pt x="884" y="731"/>
                  <a:pt x="884" y="731"/>
                  <a:pt x="885" y="730"/>
                </a:cubicBezTo>
                <a:cubicBezTo>
                  <a:pt x="885" y="730"/>
                  <a:pt x="885" y="730"/>
                  <a:pt x="885" y="729"/>
                </a:cubicBezTo>
                <a:cubicBezTo>
                  <a:pt x="885" y="729"/>
                  <a:pt x="885" y="729"/>
                  <a:pt x="884" y="728"/>
                </a:cubicBezTo>
                <a:cubicBezTo>
                  <a:pt x="884" y="728"/>
                  <a:pt x="884" y="728"/>
                  <a:pt x="884" y="727"/>
                </a:cubicBezTo>
                <a:cubicBezTo>
                  <a:pt x="884" y="727"/>
                  <a:pt x="884" y="727"/>
                  <a:pt x="885" y="727"/>
                </a:cubicBezTo>
                <a:cubicBezTo>
                  <a:pt x="885" y="727"/>
                  <a:pt x="885" y="727"/>
                  <a:pt x="887" y="727"/>
                </a:cubicBezTo>
                <a:cubicBezTo>
                  <a:pt x="887" y="727"/>
                  <a:pt x="887" y="727"/>
                  <a:pt x="889" y="727"/>
                </a:cubicBezTo>
                <a:cubicBezTo>
                  <a:pt x="889" y="727"/>
                  <a:pt x="889" y="727"/>
                  <a:pt x="891" y="726"/>
                </a:cubicBezTo>
                <a:cubicBezTo>
                  <a:pt x="891" y="726"/>
                  <a:pt x="891" y="726"/>
                  <a:pt x="892" y="725"/>
                </a:cubicBezTo>
                <a:cubicBezTo>
                  <a:pt x="892" y="725"/>
                  <a:pt x="892" y="725"/>
                  <a:pt x="895" y="724"/>
                </a:cubicBezTo>
                <a:cubicBezTo>
                  <a:pt x="895" y="724"/>
                  <a:pt x="895" y="724"/>
                  <a:pt x="896" y="723"/>
                </a:cubicBezTo>
                <a:cubicBezTo>
                  <a:pt x="896" y="723"/>
                  <a:pt x="896" y="723"/>
                  <a:pt x="897" y="723"/>
                </a:cubicBezTo>
                <a:cubicBezTo>
                  <a:pt x="897" y="723"/>
                  <a:pt x="897" y="723"/>
                  <a:pt x="896" y="722"/>
                </a:cubicBezTo>
                <a:cubicBezTo>
                  <a:pt x="896" y="722"/>
                  <a:pt x="896" y="722"/>
                  <a:pt x="897" y="721"/>
                </a:cubicBezTo>
                <a:cubicBezTo>
                  <a:pt x="897" y="721"/>
                  <a:pt x="897" y="721"/>
                  <a:pt x="898" y="721"/>
                </a:cubicBezTo>
                <a:cubicBezTo>
                  <a:pt x="898" y="721"/>
                  <a:pt x="898" y="721"/>
                  <a:pt x="899" y="721"/>
                </a:cubicBezTo>
                <a:cubicBezTo>
                  <a:pt x="899" y="721"/>
                  <a:pt x="899" y="721"/>
                  <a:pt x="900" y="721"/>
                </a:cubicBezTo>
                <a:cubicBezTo>
                  <a:pt x="900" y="721"/>
                  <a:pt x="900" y="721"/>
                  <a:pt x="900" y="720"/>
                </a:cubicBezTo>
                <a:cubicBezTo>
                  <a:pt x="900" y="720"/>
                  <a:pt x="900" y="720"/>
                  <a:pt x="901" y="720"/>
                </a:cubicBezTo>
                <a:cubicBezTo>
                  <a:pt x="901" y="720"/>
                  <a:pt x="901" y="720"/>
                  <a:pt x="904" y="721"/>
                </a:cubicBezTo>
                <a:cubicBezTo>
                  <a:pt x="904" y="721"/>
                  <a:pt x="904" y="721"/>
                  <a:pt x="904" y="722"/>
                </a:cubicBezTo>
                <a:cubicBezTo>
                  <a:pt x="904" y="722"/>
                  <a:pt x="904" y="722"/>
                  <a:pt x="904" y="723"/>
                </a:cubicBezTo>
                <a:cubicBezTo>
                  <a:pt x="904" y="723"/>
                  <a:pt x="904" y="723"/>
                  <a:pt x="903" y="723"/>
                </a:cubicBezTo>
                <a:cubicBezTo>
                  <a:pt x="903" y="723"/>
                  <a:pt x="903" y="723"/>
                  <a:pt x="902" y="725"/>
                </a:cubicBezTo>
                <a:cubicBezTo>
                  <a:pt x="902" y="725"/>
                  <a:pt x="902" y="725"/>
                  <a:pt x="900" y="725"/>
                </a:cubicBezTo>
                <a:cubicBezTo>
                  <a:pt x="900" y="725"/>
                  <a:pt x="900" y="725"/>
                  <a:pt x="899" y="726"/>
                </a:cubicBezTo>
                <a:cubicBezTo>
                  <a:pt x="899" y="726"/>
                  <a:pt x="899" y="726"/>
                  <a:pt x="899" y="727"/>
                </a:cubicBezTo>
                <a:cubicBezTo>
                  <a:pt x="899" y="727"/>
                  <a:pt x="899" y="727"/>
                  <a:pt x="899" y="728"/>
                </a:cubicBezTo>
                <a:cubicBezTo>
                  <a:pt x="899" y="728"/>
                  <a:pt x="899" y="728"/>
                  <a:pt x="900" y="728"/>
                </a:cubicBezTo>
                <a:cubicBezTo>
                  <a:pt x="900" y="728"/>
                  <a:pt x="900" y="728"/>
                  <a:pt x="900" y="729"/>
                </a:cubicBezTo>
                <a:cubicBezTo>
                  <a:pt x="900" y="729"/>
                  <a:pt x="900" y="729"/>
                  <a:pt x="900" y="730"/>
                </a:cubicBezTo>
                <a:cubicBezTo>
                  <a:pt x="900" y="730"/>
                  <a:pt x="900" y="730"/>
                  <a:pt x="901" y="731"/>
                </a:cubicBezTo>
                <a:cubicBezTo>
                  <a:pt x="901" y="731"/>
                  <a:pt x="901" y="731"/>
                  <a:pt x="902" y="730"/>
                </a:cubicBezTo>
                <a:cubicBezTo>
                  <a:pt x="902" y="730"/>
                  <a:pt x="902" y="730"/>
                  <a:pt x="905" y="728"/>
                </a:cubicBezTo>
                <a:cubicBezTo>
                  <a:pt x="905" y="728"/>
                  <a:pt x="905" y="728"/>
                  <a:pt x="908" y="728"/>
                </a:cubicBezTo>
                <a:cubicBezTo>
                  <a:pt x="908" y="728"/>
                  <a:pt x="908" y="728"/>
                  <a:pt x="909" y="727"/>
                </a:cubicBezTo>
                <a:cubicBezTo>
                  <a:pt x="909" y="727"/>
                  <a:pt x="909" y="727"/>
                  <a:pt x="910" y="726"/>
                </a:cubicBezTo>
                <a:cubicBezTo>
                  <a:pt x="910" y="726"/>
                  <a:pt x="910" y="726"/>
                  <a:pt x="910" y="727"/>
                </a:cubicBezTo>
                <a:cubicBezTo>
                  <a:pt x="910" y="727"/>
                  <a:pt x="910" y="727"/>
                  <a:pt x="911" y="727"/>
                </a:cubicBezTo>
                <a:cubicBezTo>
                  <a:pt x="911" y="727"/>
                  <a:pt x="911" y="727"/>
                  <a:pt x="912" y="727"/>
                </a:cubicBezTo>
                <a:cubicBezTo>
                  <a:pt x="912" y="727"/>
                  <a:pt x="912" y="727"/>
                  <a:pt x="913" y="726"/>
                </a:cubicBezTo>
                <a:cubicBezTo>
                  <a:pt x="913" y="726"/>
                  <a:pt x="913" y="726"/>
                  <a:pt x="912" y="725"/>
                </a:cubicBezTo>
                <a:cubicBezTo>
                  <a:pt x="912" y="725"/>
                  <a:pt x="912" y="725"/>
                  <a:pt x="911" y="725"/>
                </a:cubicBezTo>
                <a:cubicBezTo>
                  <a:pt x="911" y="725"/>
                  <a:pt x="911" y="725"/>
                  <a:pt x="909" y="726"/>
                </a:cubicBezTo>
                <a:cubicBezTo>
                  <a:pt x="909" y="726"/>
                  <a:pt x="909" y="726"/>
                  <a:pt x="909" y="725"/>
                </a:cubicBezTo>
                <a:cubicBezTo>
                  <a:pt x="909" y="725"/>
                  <a:pt x="909" y="725"/>
                  <a:pt x="908" y="724"/>
                </a:cubicBezTo>
                <a:cubicBezTo>
                  <a:pt x="908" y="724"/>
                  <a:pt x="908" y="724"/>
                  <a:pt x="910" y="722"/>
                </a:cubicBezTo>
                <a:cubicBezTo>
                  <a:pt x="910" y="722"/>
                  <a:pt x="910" y="722"/>
                  <a:pt x="912" y="721"/>
                </a:cubicBezTo>
                <a:cubicBezTo>
                  <a:pt x="912" y="721"/>
                  <a:pt x="912" y="721"/>
                  <a:pt x="913" y="723"/>
                </a:cubicBezTo>
                <a:cubicBezTo>
                  <a:pt x="913" y="723"/>
                  <a:pt x="913" y="723"/>
                  <a:pt x="913" y="725"/>
                </a:cubicBezTo>
                <a:cubicBezTo>
                  <a:pt x="913" y="725"/>
                  <a:pt x="913" y="725"/>
                  <a:pt x="914" y="727"/>
                </a:cubicBezTo>
                <a:cubicBezTo>
                  <a:pt x="914" y="727"/>
                  <a:pt x="914" y="727"/>
                  <a:pt x="915" y="726"/>
                </a:cubicBezTo>
                <a:cubicBezTo>
                  <a:pt x="915" y="726"/>
                  <a:pt x="915" y="726"/>
                  <a:pt x="916" y="726"/>
                </a:cubicBezTo>
                <a:cubicBezTo>
                  <a:pt x="916" y="726"/>
                  <a:pt x="916" y="726"/>
                  <a:pt x="917" y="727"/>
                </a:cubicBezTo>
                <a:cubicBezTo>
                  <a:pt x="917" y="727"/>
                  <a:pt x="917" y="727"/>
                  <a:pt x="920" y="727"/>
                </a:cubicBezTo>
                <a:cubicBezTo>
                  <a:pt x="920" y="727"/>
                  <a:pt x="920" y="727"/>
                  <a:pt x="921" y="727"/>
                </a:cubicBezTo>
                <a:cubicBezTo>
                  <a:pt x="921" y="727"/>
                  <a:pt x="921" y="727"/>
                  <a:pt x="923" y="729"/>
                </a:cubicBezTo>
                <a:cubicBezTo>
                  <a:pt x="923" y="729"/>
                  <a:pt x="923" y="729"/>
                  <a:pt x="923" y="730"/>
                </a:cubicBezTo>
                <a:cubicBezTo>
                  <a:pt x="923" y="730"/>
                  <a:pt x="923" y="730"/>
                  <a:pt x="922" y="730"/>
                </a:cubicBezTo>
                <a:cubicBezTo>
                  <a:pt x="922" y="730"/>
                  <a:pt x="922" y="730"/>
                  <a:pt x="922" y="731"/>
                </a:cubicBezTo>
                <a:cubicBezTo>
                  <a:pt x="922" y="731"/>
                  <a:pt x="922" y="731"/>
                  <a:pt x="922" y="732"/>
                </a:cubicBezTo>
                <a:cubicBezTo>
                  <a:pt x="922" y="732"/>
                  <a:pt x="922" y="732"/>
                  <a:pt x="924" y="733"/>
                </a:cubicBezTo>
                <a:cubicBezTo>
                  <a:pt x="924" y="733"/>
                  <a:pt x="924" y="733"/>
                  <a:pt x="926" y="733"/>
                </a:cubicBezTo>
                <a:cubicBezTo>
                  <a:pt x="926" y="733"/>
                  <a:pt x="926" y="733"/>
                  <a:pt x="932" y="732"/>
                </a:cubicBezTo>
                <a:cubicBezTo>
                  <a:pt x="932" y="732"/>
                  <a:pt x="932" y="732"/>
                  <a:pt x="935" y="732"/>
                </a:cubicBezTo>
                <a:cubicBezTo>
                  <a:pt x="935" y="732"/>
                  <a:pt x="935" y="732"/>
                  <a:pt x="936" y="732"/>
                </a:cubicBezTo>
                <a:cubicBezTo>
                  <a:pt x="936" y="732"/>
                  <a:pt x="936" y="732"/>
                  <a:pt x="937" y="733"/>
                </a:cubicBezTo>
                <a:cubicBezTo>
                  <a:pt x="937" y="733"/>
                  <a:pt x="937" y="733"/>
                  <a:pt x="940" y="735"/>
                </a:cubicBezTo>
                <a:cubicBezTo>
                  <a:pt x="940" y="735"/>
                  <a:pt x="940" y="735"/>
                  <a:pt x="941" y="735"/>
                </a:cubicBezTo>
                <a:cubicBezTo>
                  <a:pt x="941" y="735"/>
                  <a:pt x="941" y="735"/>
                  <a:pt x="943" y="734"/>
                </a:cubicBezTo>
                <a:cubicBezTo>
                  <a:pt x="943" y="734"/>
                  <a:pt x="943" y="734"/>
                  <a:pt x="945" y="733"/>
                </a:cubicBezTo>
                <a:cubicBezTo>
                  <a:pt x="945" y="733"/>
                  <a:pt x="945" y="733"/>
                  <a:pt x="946" y="733"/>
                </a:cubicBezTo>
                <a:cubicBezTo>
                  <a:pt x="946" y="733"/>
                  <a:pt x="946" y="733"/>
                  <a:pt x="948" y="731"/>
                </a:cubicBezTo>
                <a:cubicBezTo>
                  <a:pt x="948" y="731"/>
                  <a:pt x="948" y="731"/>
                  <a:pt x="950" y="731"/>
                </a:cubicBezTo>
                <a:cubicBezTo>
                  <a:pt x="950" y="731"/>
                  <a:pt x="950" y="731"/>
                  <a:pt x="953" y="730"/>
                </a:cubicBezTo>
                <a:cubicBezTo>
                  <a:pt x="953" y="730"/>
                  <a:pt x="953" y="730"/>
                  <a:pt x="955" y="731"/>
                </a:cubicBezTo>
                <a:cubicBezTo>
                  <a:pt x="955" y="731"/>
                  <a:pt x="955" y="731"/>
                  <a:pt x="957" y="730"/>
                </a:cubicBezTo>
                <a:cubicBezTo>
                  <a:pt x="957" y="730"/>
                  <a:pt x="957" y="730"/>
                  <a:pt x="959" y="731"/>
                </a:cubicBezTo>
                <a:cubicBezTo>
                  <a:pt x="959" y="731"/>
                  <a:pt x="959" y="731"/>
                  <a:pt x="961" y="731"/>
                </a:cubicBezTo>
                <a:cubicBezTo>
                  <a:pt x="961" y="731"/>
                  <a:pt x="961" y="731"/>
                  <a:pt x="961" y="732"/>
                </a:cubicBezTo>
                <a:cubicBezTo>
                  <a:pt x="961" y="732"/>
                  <a:pt x="961" y="732"/>
                  <a:pt x="959" y="732"/>
                </a:cubicBezTo>
                <a:cubicBezTo>
                  <a:pt x="959" y="732"/>
                  <a:pt x="959" y="732"/>
                  <a:pt x="958" y="732"/>
                </a:cubicBezTo>
                <a:cubicBezTo>
                  <a:pt x="958" y="732"/>
                  <a:pt x="958" y="732"/>
                  <a:pt x="955" y="732"/>
                </a:cubicBezTo>
                <a:cubicBezTo>
                  <a:pt x="955" y="732"/>
                  <a:pt x="955" y="732"/>
                  <a:pt x="955" y="733"/>
                </a:cubicBezTo>
                <a:cubicBezTo>
                  <a:pt x="955" y="733"/>
                  <a:pt x="955" y="733"/>
                  <a:pt x="955" y="734"/>
                </a:cubicBezTo>
                <a:cubicBezTo>
                  <a:pt x="955" y="734"/>
                  <a:pt x="955" y="734"/>
                  <a:pt x="956" y="734"/>
                </a:cubicBezTo>
                <a:cubicBezTo>
                  <a:pt x="956" y="734"/>
                  <a:pt x="956" y="734"/>
                  <a:pt x="957" y="735"/>
                </a:cubicBezTo>
                <a:cubicBezTo>
                  <a:pt x="957" y="735"/>
                  <a:pt x="957" y="735"/>
                  <a:pt x="958" y="735"/>
                </a:cubicBezTo>
                <a:cubicBezTo>
                  <a:pt x="958" y="735"/>
                  <a:pt x="958" y="735"/>
                  <a:pt x="959" y="736"/>
                </a:cubicBezTo>
                <a:cubicBezTo>
                  <a:pt x="959" y="736"/>
                  <a:pt x="959" y="736"/>
                  <a:pt x="960" y="737"/>
                </a:cubicBezTo>
                <a:cubicBezTo>
                  <a:pt x="960" y="737"/>
                  <a:pt x="960" y="737"/>
                  <a:pt x="961" y="737"/>
                </a:cubicBezTo>
                <a:cubicBezTo>
                  <a:pt x="961" y="737"/>
                  <a:pt x="961" y="737"/>
                  <a:pt x="962" y="737"/>
                </a:cubicBezTo>
                <a:cubicBezTo>
                  <a:pt x="962" y="737"/>
                  <a:pt x="962" y="737"/>
                  <a:pt x="962" y="738"/>
                </a:cubicBezTo>
                <a:cubicBezTo>
                  <a:pt x="962" y="738"/>
                  <a:pt x="962" y="738"/>
                  <a:pt x="965" y="738"/>
                </a:cubicBezTo>
                <a:cubicBezTo>
                  <a:pt x="965" y="738"/>
                  <a:pt x="965" y="738"/>
                  <a:pt x="966" y="739"/>
                </a:cubicBezTo>
                <a:cubicBezTo>
                  <a:pt x="966" y="739"/>
                  <a:pt x="966" y="739"/>
                  <a:pt x="967" y="740"/>
                </a:cubicBezTo>
                <a:cubicBezTo>
                  <a:pt x="967" y="740"/>
                  <a:pt x="967" y="740"/>
                  <a:pt x="967" y="741"/>
                </a:cubicBezTo>
                <a:cubicBezTo>
                  <a:pt x="967" y="741"/>
                  <a:pt x="967" y="741"/>
                  <a:pt x="967" y="742"/>
                </a:cubicBezTo>
                <a:cubicBezTo>
                  <a:pt x="967" y="742"/>
                  <a:pt x="967" y="742"/>
                  <a:pt x="966" y="743"/>
                </a:cubicBezTo>
                <a:cubicBezTo>
                  <a:pt x="966" y="743"/>
                  <a:pt x="966" y="743"/>
                  <a:pt x="965" y="744"/>
                </a:cubicBezTo>
                <a:cubicBezTo>
                  <a:pt x="965" y="744"/>
                  <a:pt x="965" y="744"/>
                  <a:pt x="964" y="744"/>
                </a:cubicBezTo>
                <a:cubicBezTo>
                  <a:pt x="964" y="744"/>
                  <a:pt x="964" y="744"/>
                  <a:pt x="962" y="745"/>
                </a:cubicBezTo>
                <a:cubicBezTo>
                  <a:pt x="962" y="745"/>
                  <a:pt x="962" y="745"/>
                  <a:pt x="963" y="745"/>
                </a:cubicBezTo>
                <a:cubicBezTo>
                  <a:pt x="963" y="745"/>
                  <a:pt x="963" y="745"/>
                  <a:pt x="965" y="745"/>
                </a:cubicBezTo>
                <a:cubicBezTo>
                  <a:pt x="965" y="745"/>
                  <a:pt x="965" y="745"/>
                  <a:pt x="967" y="744"/>
                </a:cubicBezTo>
                <a:cubicBezTo>
                  <a:pt x="967" y="744"/>
                  <a:pt x="967" y="744"/>
                  <a:pt x="968" y="744"/>
                </a:cubicBezTo>
                <a:cubicBezTo>
                  <a:pt x="968" y="744"/>
                  <a:pt x="968" y="744"/>
                  <a:pt x="970" y="744"/>
                </a:cubicBezTo>
                <a:cubicBezTo>
                  <a:pt x="970" y="744"/>
                  <a:pt x="970" y="744"/>
                  <a:pt x="971" y="744"/>
                </a:cubicBezTo>
                <a:cubicBezTo>
                  <a:pt x="971" y="744"/>
                  <a:pt x="971" y="744"/>
                  <a:pt x="974" y="745"/>
                </a:cubicBezTo>
                <a:cubicBezTo>
                  <a:pt x="974" y="745"/>
                  <a:pt x="974" y="745"/>
                  <a:pt x="975" y="746"/>
                </a:cubicBezTo>
                <a:cubicBezTo>
                  <a:pt x="975" y="746"/>
                  <a:pt x="975" y="746"/>
                  <a:pt x="977" y="747"/>
                </a:cubicBezTo>
                <a:cubicBezTo>
                  <a:pt x="977" y="747"/>
                  <a:pt x="977" y="747"/>
                  <a:pt x="977" y="748"/>
                </a:cubicBezTo>
                <a:cubicBezTo>
                  <a:pt x="977" y="748"/>
                  <a:pt x="977" y="748"/>
                  <a:pt x="978" y="750"/>
                </a:cubicBezTo>
                <a:cubicBezTo>
                  <a:pt x="978" y="750"/>
                  <a:pt x="978" y="750"/>
                  <a:pt x="981" y="751"/>
                </a:cubicBezTo>
                <a:cubicBezTo>
                  <a:pt x="981" y="751"/>
                  <a:pt x="981" y="751"/>
                  <a:pt x="982" y="752"/>
                </a:cubicBezTo>
                <a:cubicBezTo>
                  <a:pt x="982" y="752"/>
                  <a:pt x="982" y="752"/>
                  <a:pt x="983" y="754"/>
                </a:cubicBezTo>
                <a:cubicBezTo>
                  <a:pt x="983" y="754"/>
                  <a:pt x="983" y="754"/>
                  <a:pt x="982" y="755"/>
                </a:cubicBezTo>
                <a:cubicBezTo>
                  <a:pt x="982" y="755"/>
                  <a:pt x="982" y="755"/>
                  <a:pt x="982" y="757"/>
                </a:cubicBezTo>
                <a:cubicBezTo>
                  <a:pt x="982" y="757"/>
                  <a:pt x="982" y="757"/>
                  <a:pt x="983" y="756"/>
                </a:cubicBezTo>
                <a:cubicBezTo>
                  <a:pt x="983" y="756"/>
                  <a:pt x="983" y="756"/>
                  <a:pt x="984" y="756"/>
                </a:cubicBezTo>
                <a:cubicBezTo>
                  <a:pt x="984" y="756"/>
                  <a:pt x="984" y="756"/>
                  <a:pt x="985" y="756"/>
                </a:cubicBezTo>
                <a:cubicBezTo>
                  <a:pt x="985" y="756"/>
                  <a:pt x="985" y="756"/>
                  <a:pt x="986" y="757"/>
                </a:cubicBezTo>
                <a:cubicBezTo>
                  <a:pt x="986" y="757"/>
                  <a:pt x="986" y="757"/>
                  <a:pt x="988" y="759"/>
                </a:cubicBezTo>
                <a:cubicBezTo>
                  <a:pt x="988" y="759"/>
                  <a:pt x="988" y="759"/>
                  <a:pt x="991" y="759"/>
                </a:cubicBezTo>
                <a:cubicBezTo>
                  <a:pt x="991" y="759"/>
                  <a:pt x="991" y="759"/>
                  <a:pt x="991" y="760"/>
                </a:cubicBezTo>
                <a:cubicBezTo>
                  <a:pt x="991" y="760"/>
                  <a:pt x="991" y="760"/>
                  <a:pt x="991" y="762"/>
                </a:cubicBezTo>
                <a:cubicBezTo>
                  <a:pt x="991" y="762"/>
                  <a:pt x="991" y="762"/>
                  <a:pt x="992" y="763"/>
                </a:cubicBezTo>
                <a:cubicBezTo>
                  <a:pt x="992" y="763"/>
                  <a:pt x="992" y="763"/>
                  <a:pt x="992" y="762"/>
                </a:cubicBezTo>
                <a:cubicBezTo>
                  <a:pt x="992" y="762"/>
                  <a:pt x="992" y="762"/>
                  <a:pt x="993" y="761"/>
                </a:cubicBezTo>
                <a:cubicBezTo>
                  <a:pt x="993" y="761"/>
                  <a:pt x="993" y="761"/>
                  <a:pt x="996" y="761"/>
                </a:cubicBezTo>
                <a:cubicBezTo>
                  <a:pt x="996" y="761"/>
                  <a:pt x="996" y="761"/>
                  <a:pt x="998" y="762"/>
                </a:cubicBezTo>
                <a:cubicBezTo>
                  <a:pt x="998" y="762"/>
                  <a:pt x="998" y="762"/>
                  <a:pt x="1001" y="761"/>
                </a:cubicBezTo>
                <a:cubicBezTo>
                  <a:pt x="1001" y="761"/>
                  <a:pt x="1001" y="761"/>
                  <a:pt x="1003" y="761"/>
                </a:cubicBezTo>
                <a:cubicBezTo>
                  <a:pt x="1003" y="761"/>
                  <a:pt x="1003" y="761"/>
                  <a:pt x="1004" y="761"/>
                </a:cubicBezTo>
                <a:cubicBezTo>
                  <a:pt x="1004" y="761"/>
                  <a:pt x="1004" y="761"/>
                  <a:pt x="1005" y="761"/>
                </a:cubicBezTo>
                <a:cubicBezTo>
                  <a:pt x="1005" y="761"/>
                  <a:pt x="1005" y="761"/>
                  <a:pt x="1007" y="762"/>
                </a:cubicBezTo>
                <a:cubicBezTo>
                  <a:pt x="1007" y="762"/>
                  <a:pt x="1007" y="762"/>
                  <a:pt x="1009" y="762"/>
                </a:cubicBezTo>
                <a:cubicBezTo>
                  <a:pt x="1009" y="762"/>
                  <a:pt x="1009" y="762"/>
                  <a:pt x="1011" y="763"/>
                </a:cubicBezTo>
                <a:cubicBezTo>
                  <a:pt x="1011" y="763"/>
                  <a:pt x="1011" y="763"/>
                  <a:pt x="1009" y="765"/>
                </a:cubicBezTo>
                <a:cubicBezTo>
                  <a:pt x="1009" y="765"/>
                  <a:pt x="1009" y="765"/>
                  <a:pt x="1011" y="764"/>
                </a:cubicBezTo>
                <a:cubicBezTo>
                  <a:pt x="1011" y="764"/>
                  <a:pt x="1011" y="764"/>
                  <a:pt x="1012" y="763"/>
                </a:cubicBezTo>
                <a:cubicBezTo>
                  <a:pt x="1012" y="763"/>
                  <a:pt x="1012" y="763"/>
                  <a:pt x="1014" y="764"/>
                </a:cubicBezTo>
                <a:cubicBezTo>
                  <a:pt x="1014" y="764"/>
                  <a:pt x="1014" y="764"/>
                  <a:pt x="1015" y="765"/>
                </a:cubicBezTo>
                <a:cubicBezTo>
                  <a:pt x="1015" y="765"/>
                  <a:pt x="1015" y="765"/>
                  <a:pt x="1019" y="766"/>
                </a:cubicBezTo>
                <a:cubicBezTo>
                  <a:pt x="1019" y="766"/>
                  <a:pt x="1019" y="766"/>
                  <a:pt x="1020" y="767"/>
                </a:cubicBezTo>
                <a:cubicBezTo>
                  <a:pt x="1020" y="767"/>
                  <a:pt x="1020" y="767"/>
                  <a:pt x="1021" y="767"/>
                </a:cubicBezTo>
                <a:cubicBezTo>
                  <a:pt x="1021" y="767"/>
                  <a:pt x="1021" y="767"/>
                  <a:pt x="1023" y="769"/>
                </a:cubicBezTo>
                <a:cubicBezTo>
                  <a:pt x="1023" y="769"/>
                  <a:pt x="1023" y="769"/>
                  <a:pt x="1023" y="770"/>
                </a:cubicBezTo>
                <a:cubicBezTo>
                  <a:pt x="1023" y="770"/>
                  <a:pt x="1023" y="770"/>
                  <a:pt x="1024" y="771"/>
                </a:cubicBezTo>
                <a:cubicBezTo>
                  <a:pt x="1024" y="771"/>
                  <a:pt x="1024" y="771"/>
                  <a:pt x="1025" y="772"/>
                </a:cubicBezTo>
                <a:cubicBezTo>
                  <a:pt x="1025" y="772"/>
                  <a:pt x="1025" y="772"/>
                  <a:pt x="1026" y="773"/>
                </a:cubicBezTo>
                <a:cubicBezTo>
                  <a:pt x="1026" y="773"/>
                  <a:pt x="1026" y="773"/>
                  <a:pt x="1024" y="775"/>
                </a:cubicBezTo>
                <a:cubicBezTo>
                  <a:pt x="1024" y="775"/>
                  <a:pt x="1024" y="775"/>
                  <a:pt x="1026" y="774"/>
                </a:cubicBezTo>
                <a:cubicBezTo>
                  <a:pt x="1026" y="774"/>
                  <a:pt x="1026" y="774"/>
                  <a:pt x="1026" y="773"/>
                </a:cubicBezTo>
                <a:cubicBezTo>
                  <a:pt x="1026" y="773"/>
                  <a:pt x="1026" y="773"/>
                  <a:pt x="1026" y="772"/>
                </a:cubicBezTo>
                <a:cubicBezTo>
                  <a:pt x="1026" y="772"/>
                  <a:pt x="1026" y="772"/>
                  <a:pt x="1027" y="772"/>
                </a:cubicBezTo>
                <a:cubicBezTo>
                  <a:pt x="1027" y="772"/>
                  <a:pt x="1027" y="772"/>
                  <a:pt x="1027" y="773"/>
                </a:cubicBezTo>
                <a:cubicBezTo>
                  <a:pt x="1027" y="773"/>
                  <a:pt x="1027" y="773"/>
                  <a:pt x="1028" y="775"/>
                </a:cubicBezTo>
                <a:cubicBezTo>
                  <a:pt x="1028" y="775"/>
                  <a:pt x="1028" y="775"/>
                  <a:pt x="1028" y="776"/>
                </a:cubicBezTo>
                <a:cubicBezTo>
                  <a:pt x="1028" y="776"/>
                  <a:pt x="1028" y="776"/>
                  <a:pt x="1028" y="778"/>
                </a:cubicBezTo>
                <a:cubicBezTo>
                  <a:pt x="1028" y="778"/>
                  <a:pt x="1028" y="778"/>
                  <a:pt x="1029" y="780"/>
                </a:cubicBezTo>
                <a:cubicBezTo>
                  <a:pt x="1029" y="780"/>
                  <a:pt x="1029" y="780"/>
                  <a:pt x="1031" y="782"/>
                </a:cubicBezTo>
                <a:cubicBezTo>
                  <a:pt x="1031" y="782"/>
                  <a:pt x="1031" y="782"/>
                  <a:pt x="1032" y="785"/>
                </a:cubicBezTo>
                <a:cubicBezTo>
                  <a:pt x="1032" y="785"/>
                  <a:pt x="1032" y="785"/>
                  <a:pt x="1033" y="788"/>
                </a:cubicBezTo>
                <a:cubicBezTo>
                  <a:pt x="1033" y="788"/>
                  <a:pt x="1033" y="788"/>
                  <a:pt x="1033" y="789"/>
                </a:cubicBezTo>
                <a:cubicBezTo>
                  <a:pt x="1033" y="789"/>
                  <a:pt x="1033" y="789"/>
                  <a:pt x="1034" y="788"/>
                </a:cubicBezTo>
                <a:cubicBezTo>
                  <a:pt x="1034" y="788"/>
                  <a:pt x="1034" y="788"/>
                  <a:pt x="1035" y="788"/>
                </a:cubicBezTo>
                <a:cubicBezTo>
                  <a:pt x="1035" y="788"/>
                  <a:pt x="1035" y="788"/>
                  <a:pt x="1036" y="789"/>
                </a:cubicBezTo>
                <a:cubicBezTo>
                  <a:pt x="1036" y="789"/>
                  <a:pt x="1036" y="789"/>
                  <a:pt x="1036" y="790"/>
                </a:cubicBezTo>
                <a:cubicBezTo>
                  <a:pt x="1036" y="790"/>
                  <a:pt x="1036" y="790"/>
                  <a:pt x="1036" y="791"/>
                </a:cubicBezTo>
                <a:cubicBezTo>
                  <a:pt x="1036" y="791"/>
                  <a:pt x="1036" y="791"/>
                  <a:pt x="1036" y="792"/>
                </a:cubicBezTo>
                <a:cubicBezTo>
                  <a:pt x="1036" y="792"/>
                  <a:pt x="1036" y="792"/>
                  <a:pt x="1036" y="793"/>
                </a:cubicBezTo>
                <a:cubicBezTo>
                  <a:pt x="1036" y="793"/>
                  <a:pt x="1036" y="793"/>
                  <a:pt x="1035" y="794"/>
                </a:cubicBezTo>
                <a:cubicBezTo>
                  <a:pt x="1035" y="794"/>
                  <a:pt x="1035" y="794"/>
                  <a:pt x="1033" y="797"/>
                </a:cubicBezTo>
                <a:cubicBezTo>
                  <a:pt x="1033" y="797"/>
                  <a:pt x="1033" y="797"/>
                  <a:pt x="1031" y="798"/>
                </a:cubicBezTo>
                <a:cubicBezTo>
                  <a:pt x="1031" y="798"/>
                  <a:pt x="1031" y="798"/>
                  <a:pt x="1030" y="799"/>
                </a:cubicBezTo>
                <a:cubicBezTo>
                  <a:pt x="1030" y="799"/>
                  <a:pt x="1030" y="799"/>
                  <a:pt x="1029" y="800"/>
                </a:cubicBezTo>
                <a:cubicBezTo>
                  <a:pt x="1029" y="800"/>
                  <a:pt x="1029" y="800"/>
                  <a:pt x="1028" y="800"/>
                </a:cubicBezTo>
                <a:cubicBezTo>
                  <a:pt x="1028" y="800"/>
                  <a:pt x="1028" y="800"/>
                  <a:pt x="1027" y="801"/>
                </a:cubicBezTo>
                <a:cubicBezTo>
                  <a:pt x="1027" y="801"/>
                  <a:pt x="1027" y="801"/>
                  <a:pt x="1027" y="803"/>
                </a:cubicBezTo>
                <a:cubicBezTo>
                  <a:pt x="1027" y="803"/>
                  <a:pt x="1027" y="803"/>
                  <a:pt x="1024" y="806"/>
                </a:cubicBezTo>
                <a:cubicBezTo>
                  <a:pt x="1024" y="806"/>
                  <a:pt x="1024" y="806"/>
                  <a:pt x="1024" y="808"/>
                </a:cubicBezTo>
                <a:cubicBezTo>
                  <a:pt x="1024" y="808"/>
                  <a:pt x="1024" y="808"/>
                  <a:pt x="1023" y="809"/>
                </a:cubicBezTo>
                <a:cubicBezTo>
                  <a:pt x="1023" y="809"/>
                  <a:pt x="1023" y="809"/>
                  <a:pt x="1024" y="809"/>
                </a:cubicBezTo>
                <a:cubicBezTo>
                  <a:pt x="1024" y="809"/>
                  <a:pt x="1024" y="809"/>
                  <a:pt x="1025" y="807"/>
                </a:cubicBezTo>
                <a:cubicBezTo>
                  <a:pt x="1025" y="807"/>
                  <a:pt x="1025" y="807"/>
                  <a:pt x="1025" y="806"/>
                </a:cubicBezTo>
                <a:cubicBezTo>
                  <a:pt x="1025" y="806"/>
                  <a:pt x="1025" y="806"/>
                  <a:pt x="1027" y="805"/>
                </a:cubicBezTo>
                <a:cubicBezTo>
                  <a:pt x="1027" y="805"/>
                  <a:pt x="1027" y="805"/>
                  <a:pt x="1027" y="806"/>
                </a:cubicBezTo>
                <a:cubicBezTo>
                  <a:pt x="1027" y="806"/>
                  <a:pt x="1027" y="806"/>
                  <a:pt x="1027" y="807"/>
                </a:cubicBezTo>
                <a:cubicBezTo>
                  <a:pt x="1025" y="810"/>
                  <a:pt x="1025" y="810"/>
                  <a:pt x="1025" y="810"/>
                </a:cubicBezTo>
                <a:cubicBezTo>
                  <a:pt x="1027" y="808"/>
                  <a:pt x="1027" y="808"/>
                  <a:pt x="1027" y="808"/>
                </a:cubicBezTo>
                <a:cubicBezTo>
                  <a:pt x="1027" y="807"/>
                  <a:pt x="1027" y="807"/>
                  <a:pt x="1027" y="807"/>
                </a:cubicBezTo>
                <a:cubicBezTo>
                  <a:pt x="1027" y="807"/>
                  <a:pt x="1027" y="807"/>
                  <a:pt x="1029" y="805"/>
                </a:cubicBezTo>
                <a:cubicBezTo>
                  <a:pt x="1029" y="805"/>
                  <a:pt x="1029" y="805"/>
                  <a:pt x="1030" y="805"/>
                </a:cubicBezTo>
                <a:cubicBezTo>
                  <a:pt x="1030" y="805"/>
                  <a:pt x="1030" y="805"/>
                  <a:pt x="1031" y="805"/>
                </a:cubicBezTo>
                <a:cubicBezTo>
                  <a:pt x="1031" y="805"/>
                  <a:pt x="1031" y="805"/>
                  <a:pt x="1031" y="806"/>
                </a:cubicBezTo>
                <a:cubicBezTo>
                  <a:pt x="1031" y="806"/>
                  <a:pt x="1031" y="806"/>
                  <a:pt x="1032" y="805"/>
                </a:cubicBezTo>
                <a:cubicBezTo>
                  <a:pt x="1032" y="805"/>
                  <a:pt x="1032" y="805"/>
                  <a:pt x="1033" y="805"/>
                </a:cubicBezTo>
                <a:cubicBezTo>
                  <a:pt x="1033" y="805"/>
                  <a:pt x="1033" y="805"/>
                  <a:pt x="1033" y="804"/>
                </a:cubicBezTo>
                <a:cubicBezTo>
                  <a:pt x="1033" y="804"/>
                  <a:pt x="1033" y="804"/>
                  <a:pt x="1032" y="804"/>
                </a:cubicBezTo>
                <a:cubicBezTo>
                  <a:pt x="1032" y="804"/>
                  <a:pt x="1032" y="804"/>
                  <a:pt x="1032" y="803"/>
                </a:cubicBezTo>
                <a:cubicBezTo>
                  <a:pt x="1032" y="803"/>
                  <a:pt x="1032" y="803"/>
                  <a:pt x="1034" y="801"/>
                </a:cubicBezTo>
                <a:cubicBezTo>
                  <a:pt x="1034" y="801"/>
                  <a:pt x="1034" y="801"/>
                  <a:pt x="1036" y="801"/>
                </a:cubicBezTo>
                <a:cubicBezTo>
                  <a:pt x="1036" y="801"/>
                  <a:pt x="1036" y="801"/>
                  <a:pt x="1038" y="802"/>
                </a:cubicBezTo>
                <a:cubicBezTo>
                  <a:pt x="1038" y="802"/>
                  <a:pt x="1038" y="802"/>
                  <a:pt x="1040" y="802"/>
                </a:cubicBezTo>
                <a:cubicBezTo>
                  <a:pt x="1040" y="802"/>
                  <a:pt x="1040" y="802"/>
                  <a:pt x="1041" y="801"/>
                </a:cubicBezTo>
                <a:cubicBezTo>
                  <a:pt x="1041" y="801"/>
                  <a:pt x="1041" y="801"/>
                  <a:pt x="1043" y="801"/>
                </a:cubicBezTo>
                <a:cubicBezTo>
                  <a:pt x="1043" y="801"/>
                  <a:pt x="1043" y="801"/>
                  <a:pt x="1044" y="802"/>
                </a:cubicBezTo>
                <a:cubicBezTo>
                  <a:pt x="1044" y="802"/>
                  <a:pt x="1044" y="802"/>
                  <a:pt x="1046" y="802"/>
                </a:cubicBezTo>
                <a:cubicBezTo>
                  <a:pt x="1046" y="802"/>
                  <a:pt x="1046" y="802"/>
                  <a:pt x="1046" y="803"/>
                </a:cubicBezTo>
                <a:cubicBezTo>
                  <a:pt x="1046" y="803"/>
                  <a:pt x="1046" y="803"/>
                  <a:pt x="1045" y="804"/>
                </a:cubicBezTo>
                <a:cubicBezTo>
                  <a:pt x="1045" y="804"/>
                  <a:pt x="1045" y="804"/>
                  <a:pt x="1045" y="806"/>
                </a:cubicBezTo>
                <a:cubicBezTo>
                  <a:pt x="1045" y="806"/>
                  <a:pt x="1045" y="806"/>
                  <a:pt x="1043" y="808"/>
                </a:cubicBezTo>
                <a:cubicBezTo>
                  <a:pt x="1043" y="808"/>
                  <a:pt x="1043" y="808"/>
                  <a:pt x="1043" y="809"/>
                </a:cubicBezTo>
                <a:cubicBezTo>
                  <a:pt x="1043" y="809"/>
                  <a:pt x="1043" y="809"/>
                  <a:pt x="1042" y="810"/>
                </a:cubicBezTo>
                <a:cubicBezTo>
                  <a:pt x="1042" y="810"/>
                  <a:pt x="1042" y="810"/>
                  <a:pt x="1041" y="810"/>
                </a:cubicBezTo>
                <a:cubicBezTo>
                  <a:pt x="1041" y="810"/>
                  <a:pt x="1041" y="810"/>
                  <a:pt x="1040" y="811"/>
                </a:cubicBezTo>
                <a:cubicBezTo>
                  <a:pt x="1040" y="811"/>
                  <a:pt x="1040" y="811"/>
                  <a:pt x="1039" y="810"/>
                </a:cubicBezTo>
                <a:cubicBezTo>
                  <a:pt x="1039" y="810"/>
                  <a:pt x="1039" y="810"/>
                  <a:pt x="1038" y="811"/>
                </a:cubicBezTo>
                <a:cubicBezTo>
                  <a:pt x="1038" y="811"/>
                  <a:pt x="1038" y="811"/>
                  <a:pt x="1037" y="812"/>
                </a:cubicBezTo>
                <a:cubicBezTo>
                  <a:pt x="1037" y="812"/>
                  <a:pt x="1037" y="812"/>
                  <a:pt x="1035" y="811"/>
                </a:cubicBezTo>
                <a:cubicBezTo>
                  <a:pt x="1035" y="811"/>
                  <a:pt x="1035" y="811"/>
                  <a:pt x="1034" y="812"/>
                </a:cubicBezTo>
                <a:cubicBezTo>
                  <a:pt x="1034" y="812"/>
                  <a:pt x="1034" y="812"/>
                  <a:pt x="1033" y="812"/>
                </a:cubicBezTo>
                <a:cubicBezTo>
                  <a:pt x="1033" y="812"/>
                  <a:pt x="1033" y="812"/>
                  <a:pt x="1032" y="812"/>
                </a:cubicBezTo>
                <a:cubicBezTo>
                  <a:pt x="1032" y="812"/>
                  <a:pt x="1032" y="812"/>
                  <a:pt x="1033" y="813"/>
                </a:cubicBezTo>
                <a:cubicBezTo>
                  <a:pt x="1033" y="813"/>
                  <a:pt x="1033" y="813"/>
                  <a:pt x="1034" y="813"/>
                </a:cubicBezTo>
                <a:cubicBezTo>
                  <a:pt x="1034" y="813"/>
                  <a:pt x="1034" y="813"/>
                  <a:pt x="1035" y="813"/>
                </a:cubicBezTo>
                <a:cubicBezTo>
                  <a:pt x="1035" y="813"/>
                  <a:pt x="1035" y="813"/>
                  <a:pt x="1037" y="813"/>
                </a:cubicBezTo>
                <a:cubicBezTo>
                  <a:pt x="1037" y="813"/>
                  <a:pt x="1037" y="813"/>
                  <a:pt x="1038" y="812"/>
                </a:cubicBezTo>
                <a:cubicBezTo>
                  <a:pt x="1038" y="812"/>
                  <a:pt x="1038" y="812"/>
                  <a:pt x="1039" y="812"/>
                </a:cubicBezTo>
                <a:cubicBezTo>
                  <a:pt x="1039" y="812"/>
                  <a:pt x="1039" y="812"/>
                  <a:pt x="1039" y="813"/>
                </a:cubicBezTo>
                <a:cubicBezTo>
                  <a:pt x="1039" y="813"/>
                  <a:pt x="1039" y="813"/>
                  <a:pt x="1039" y="815"/>
                </a:cubicBezTo>
                <a:cubicBezTo>
                  <a:pt x="1039" y="815"/>
                  <a:pt x="1039" y="815"/>
                  <a:pt x="1039" y="816"/>
                </a:cubicBezTo>
                <a:cubicBezTo>
                  <a:pt x="1039" y="816"/>
                  <a:pt x="1039" y="816"/>
                  <a:pt x="1038" y="817"/>
                </a:cubicBezTo>
                <a:cubicBezTo>
                  <a:pt x="1038" y="817"/>
                  <a:pt x="1038" y="817"/>
                  <a:pt x="1037" y="818"/>
                </a:cubicBezTo>
                <a:cubicBezTo>
                  <a:pt x="1037" y="818"/>
                  <a:pt x="1037" y="818"/>
                  <a:pt x="1037" y="819"/>
                </a:cubicBezTo>
                <a:cubicBezTo>
                  <a:pt x="1037" y="819"/>
                  <a:pt x="1037" y="819"/>
                  <a:pt x="1038" y="821"/>
                </a:cubicBezTo>
                <a:cubicBezTo>
                  <a:pt x="1038" y="820"/>
                  <a:pt x="1038" y="820"/>
                  <a:pt x="1038" y="820"/>
                </a:cubicBezTo>
                <a:cubicBezTo>
                  <a:pt x="1038" y="820"/>
                  <a:pt x="1038" y="820"/>
                  <a:pt x="1038" y="819"/>
                </a:cubicBezTo>
                <a:cubicBezTo>
                  <a:pt x="1038" y="819"/>
                  <a:pt x="1038" y="819"/>
                  <a:pt x="1038" y="818"/>
                </a:cubicBezTo>
                <a:cubicBezTo>
                  <a:pt x="1038" y="818"/>
                  <a:pt x="1038" y="818"/>
                  <a:pt x="1039" y="817"/>
                </a:cubicBezTo>
                <a:cubicBezTo>
                  <a:pt x="1039" y="817"/>
                  <a:pt x="1039" y="817"/>
                  <a:pt x="1040" y="816"/>
                </a:cubicBezTo>
                <a:cubicBezTo>
                  <a:pt x="1040" y="816"/>
                  <a:pt x="1040" y="816"/>
                  <a:pt x="1040" y="814"/>
                </a:cubicBezTo>
                <a:cubicBezTo>
                  <a:pt x="1040" y="814"/>
                  <a:pt x="1040" y="814"/>
                  <a:pt x="1041" y="812"/>
                </a:cubicBezTo>
                <a:cubicBezTo>
                  <a:pt x="1041" y="812"/>
                  <a:pt x="1041" y="812"/>
                  <a:pt x="1042" y="811"/>
                </a:cubicBezTo>
                <a:cubicBezTo>
                  <a:pt x="1042" y="811"/>
                  <a:pt x="1042" y="811"/>
                  <a:pt x="1044" y="810"/>
                </a:cubicBezTo>
                <a:cubicBezTo>
                  <a:pt x="1044" y="810"/>
                  <a:pt x="1044" y="810"/>
                  <a:pt x="1046" y="809"/>
                </a:cubicBezTo>
                <a:cubicBezTo>
                  <a:pt x="1046" y="809"/>
                  <a:pt x="1046" y="809"/>
                  <a:pt x="1047" y="807"/>
                </a:cubicBezTo>
                <a:cubicBezTo>
                  <a:pt x="1047" y="807"/>
                  <a:pt x="1047" y="807"/>
                  <a:pt x="1048" y="805"/>
                </a:cubicBezTo>
                <a:cubicBezTo>
                  <a:pt x="1048" y="805"/>
                  <a:pt x="1048" y="805"/>
                  <a:pt x="1049" y="805"/>
                </a:cubicBezTo>
                <a:cubicBezTo>
                  <a:pt x="1049" y="805"/>
                  <a:pt x="1049" y="805"/>
                  <a:pt x="1050" y="805"/>
                </a:cubicBezTo>
                <a:cubicBezTo>
                  <a:pt x="1050" y="805"/>
                  <a:pt x="1050" y="805"/>
                  <a:pt x="1051" y="806"/>
                </a:cubicBezTo>
                <a:cubicBezTo>
                  <a:pt x="1051" y="806"/>
                  <a:pt x="1051" y="806"/>
                  <a:pt x="1051" y="805"/>
                </a:cubicBezTo>
                <a:cubicBezTo>
                  <a:pt x="1051" y="805"/>
                  <a:pt x="1051" y="805"/>
                  <a:pt x="1052" y="805"/>
                </a:cubicBezTo>
                <a:cubicBezTo>
                  <a:pt x="1052" y="805"/>
                  <a:pt x="1052" y="805"/>
                  <a:pt x="1053" y="805"/>
                </a:cubicBezTo>
                <a:cubicBezTo>
                  <a:pt x="1053" y="805"/>
                  <a:pt x="1053" y="805"/>
                  <a:pt x="1054" y="805"/>
                </a:cubicBezTo>
                <a:cubicBezTo>
                  <a:pt x="1054" y="805"/>
                  <a:pt x="1054" y="805"/>
                  <a:pt x="1056" y="806"/>
                </a:cubicBezTo>
                <a:cubicBezTo>
                  <a:pt x="1056" y="806"/>
                  <a:pt x="1056" y="806"/>
                  <a:pt x="1057" y="806"/>
                </a:cubicBezTo>
                <a:cubicBezTo>
                  <a:pt x="1057" y="806"/>
                  <a:pt x="1057" y="806"/>
                  <a:pt x="1058" y="806"/>
                </a:cubicBezTo>
                <a:cubicBezTo>
                  <a:pt x="1058" y="806"/>
                  <a:pt x="1058" y="806"/>
                  <a:pt x="1059" y="807"/>
                </a:cubicBezTo>
                <a:cubicBezTo>
                  <a:pt x="1059" y="807"/>
                  <a:pt x="1059" y="807"/>
                  <a:pt x="1059" y="808"/>
                </a:cubicBezTo>
                <a:cubicBezTo>
                  <a:pt x="1059" y="808"/>
                  <a:pt x="1059" y="808"/>
                  <a:pt x="1060" y="807"/>
                </a:cubicBezTo>
                <a:cubicBezTo>
                  <a:pt x="1060" y="807"/>
                  <a:pt x="1060" y="807"/>
                  <a:pt x="1061" y="808"/>
                </a:cubicBezTo>
                <a:cubicBezTo>
                  <a:pt x="1061" y="808"/>
                  <a:pt x="1061" y="808"/>
                  <a:pt x="1062" y="808"/>
                </a:cubicBezTo>
                <a:cubicBezTo>
                  <a:pt x="1062" y="808"/>
                  <a:pt x="1062" y="808"/>
                  <a:pt x="1063" y="809"/>
                </a:cubicBezTo>
                <a:cubicBezTo>
                  <a:pt x="1063" y="809"/>
                  <a:pt x="1063" y="809"/>
                  <a:pt x="1063" y="810"/>
                </a:cubicBezTo>
                <a:cubicBezTo>
                  <a:pt x="1063" y="810"/>
                  <a:pt x="1063" y="810"/>
                  <a:pt x="1064" y="810"/>
                </a:cubicBezTo>
                <a:cubicBezTo>
                  <a:pt x="1064" y="810"/>
                  <a:pt x="1064" y="810"/>
                  <a:pt x="1064" y="811"/>
                </a:cubicBezTo>
                <a:cubicBezTo>
                  <a:pt x="1064" y="811"/>
                  <a:pt x="1064" y="811"/>
                  <a:pt x="1065" y="811"/>
                </a:cubicBezTo>
                <a:cubicBezTo>
                  <a:pt x="1065" y="811"/>
                  <a:pt x="1065" y="811"/>
                  <a:pt x="1066" y="810"/>
                </a:cubicBezTo>
                <a:cubicBezTo>
                  <a:pt x="1066" y="810"/>
                  <a:pt x="1066" y="810"/>
                  <a:pt x="1067" y="810"/>
                </a:cubicBezTo>
                <a:cubicBezTo>
                  <a:pt x="1067" y="810"/>
                  <a:pt x="1067" y="810"/>
                  <a:pt x="1068" y="810"/>
                </a:cubicBezTo>
                <a:cubicBezTo>
                  <a:pt x="1068" y="810"/>
                  <a:pt x="1068" y="810"/>
                  <a:pt x="1069" y="811"/>
                </a:cubicBezTo>
                <a:cubicBezTo>
                  <a:pt x="1069" y="811"/>
                  <a:pt x="1069" y="811"/>
                  <a:pt x="1071" y="813"/>
                </a:cubicBezTo>
                <a:cubicBezTo>
                  <a:pt x="1071" y="813"/>
                  <a:pt x="1071" y="813"/>
                  <a:pt x="1070" y="815"/>
                </a:cubicBezTo>
                <a:cubicBezTo>
                  <a:pt x="1070" y="815"/>
                  <a:pt x="1070" y="815"/>
                  <a:pt x="1071" y="815"/>
                </a:cubicBezTo>
                <a:cubicBezTo>
                  <a:pt x="1071" y="815"/>
                  <a:pt x="1071" y="815"/>
                  <a:pt x="1070" y="816"/>
                </a:cubicBezTo>
                <a:cubicBezTo>
                  <a:pt x="1070" y="816"/>
                  <a:pt x="1070" y="816"/>
                  <a:pt x="1070" y="818"/>
                </a:cubicBezTo>
                <a:cubicBezTo>
                  <a:pt x="1070" y="818"/>
                  <a:pt x="1070" y="818"/>
                  <a:pt x="1070" y="819"/>
                </a:cubicBezTo>
                <a:cubicBezTo>
                  <a:pt x="1070" y="819"/>
                  <a:pt x="1070" y="819"/>
                  <a:pt x="1070" y="821"/>
                </a:cubicBezTo>
                <a:cubicBezTo>
                  <a:pt x="1070" y="821"/>
                  <a:pt x="1070" y="821"/>
                  <a:pt x="1071" y="819"/>
                </a:cubicBezTo>
                <a:cubicBezTo>
                  <a:pt x="1071" y="819"/>
                  <a:pt x="1071" y="819"/>
                  <a:pt x="1071" y="817"/>
                </a:cubicBezTo>
                <a:cubicBezTo>
                  <a:pt x="1071" y="817"/>
                  <a:pt x="1071" y="817"/>
                  <a:pt x="1072" y="817"/>
                </a:cubicBezTo>
                <a:cubicBezTo>
                  <a:pt x="1072" y="817"/>
                  <a:pt x="1072" y="817"/>
                  <a:pt x="1072" y="818"/>
                </a:cubicBezTo>
                <a:cubicBezTo>
                  <a:pt x="1072" y="818"/>
                  <a:pt x="1072" y="818"/>
                  <a:pt x="1073" y="819"/>
                </a:cubicBezTo>
                <a:cubicBezTo>
                  <a:pt x="1073" y="819"/>
                  <a:pt x="1073" y="819"/>
                  <a:pt x="1073" y="818"/>
                </a:cubicBezTo>
                <a:cubicBezTo>
                  <a:pt x="1073" y="818"/>
                  <a:pt x="1073" y="818"/>
                  <a:pt x="1073" y="817"/>
                </a:cubicBezTo>
                <a:cubicBezTo>
                  <a:pt x="1073" y="817"/>
                  <a:pt x="1073" y="817"/>
                  <a:pt x="1074" y="816"/>
                </a:cubicBezTo>
                <a:cubicBezTo>
                  <a:pt x="1074" y="816"/>
                  <a:pt x="1074" y="816"/>
                  <a:pt x="1075" y="816"/>
                </a:cubicBezTo>
                <a:cubicBezTo>
                  <a:pt x="1075" y="816"/>
                  <a:pt x="1075" y="816"/>
                  <a:pt x="1076" y="816"/>
                </a:cubicBezTo>
                <a:cubicBezTo>
                  <a:pt x="1076" y="816"/>
                  <a:pt x="1076" y="816"/>
                  <a:pt x="1076" y="815"/>
                </a:cubicBezTo>
                <a:cubicBezTo>
                  <a:pt x="1076" y="815"/>
                  <a:pt x="1076" y="815"/>
                  <a:pt x="1077" y="815"/>
                </a:cubicBezTo>
                <a:cubicBezTo>
                  <a:pt x="1077" y="815"/>
                  <a:pt x="1077" y="815"/>
                  <a:pt x="1081" y="816"/>
                </a:cubicBezTo>
                <a:cubicBezTo>
                  <a:pt x="1081" y="816"/>
                  <a:pt x="1081" y="816"/>
                  <a:pt x="1082" y="817"/>
                </a:cubicBezTo>
                <a:cubicBezTo>
                  <a:pt x="1082" y="817"/>
                  <a:pt x="1082" y="817"/>
                  <a:pt x="1083" y="816"/>
                </a:cubicBezTo>
                <a:cubicBezTo>
                  <a:pt x="1083" y="816"/>
                  <a:pt x="1083" y="816"/>
                  <a:pt x="1085" y="817"/>
                </a:cubicBezTo>
                <a:cubicBezTo>
                  <a:pt x="1085" y="817"/>
                  <a:pt x="1085" y="817"/>
                  <a:pt x="1086" y="817"/>
                </a:cubicBezTo>
                <a:cubicBezTo>
                  <a:pt x="1086" y="817"/>
                  <a:pt x="1086" y="817"/>
                  <a:pt x="1087" y="818"/>
                </a:cubicBezTo>
                <a:cubicBezTo>
                  <a:pt x="1087" y="818"/>
                  <a:pt x="1087" y="818"/>
                  <a:pt x="1087" y="817"/>
                </a:cubicBezTo>
                <a:cubicBezTo>
                  <a:pt x="1087" y="817"/>
                  <a:pt x="1087" y="817"/>
                  <a:pt x="1088" y="817"/>
                </a:cubicBezTo>
                <a:cubicBezTo>
                  <a:pt x="1088" y="817"/>
                  <a:pt x="1088" y="817"/>
                  <a:pt x="1090" y="818"/>
                </a:cubicBezTo>
                <a:cubicBezTo>
                  <a:pt x="1090" y="818"/>
                  <a:pt x="1090" y="818"/>
                  <a:pt x="1090" y="819"/>
                </a:cubicBezTo>
                <a:cubicBezTo>
                  <a:pt x="1090" y="819"/>
                  <a:pt x="1090" y="819"/>
                  <a:pt x="1091" y="818"/>
                </a:cubicBezTo>
                <a:cubicBezTo>
                  <a:pt x="1091" y="818"/>
                  <a:pt x="1091" y="818"/>
                  <a:pt x="1092" y="817"/>
                </a:cubicBezTo>
                <a:cubicBezTo>
                  <a:pt x="1092" y="817"/>
                  <a:pt x="1092" y="817"/>
                  <a:pt x="1093" y="818"/>
                </a:cubicBezTo>
                <a:cubicBezTo>
                  <a:pt x="1093" y="818"/>
                  <a:pt x="1093" y="818"/>
                  <a:pt x="1095" y="818"/>
                </a:cubicBezTo>
                <a:cubicBezTo>
                  <a:pt x="1095" y="818"/>
                  <a:pt x="1095" y="818"/>
                  <a:pt x="1096" y="817"/>
                </a:cubicBezTo>
                <a:cubicBezTo>
                  <a:pt x="1096" y="817"/>
                  <a:pt x="1096" y="817"/>
                  <a:pt x="1098" y="818"/>
                </a:cubicBezTo>
                <a:cubicBezTo>
                  <a:pt x="1098" y="818"/>
                  <a:pt x="1098" y="818"/>
                  <a:pt x="1100" y="818"/>
                </a:cubicBezTo>
                <a:cubicBezTo>
                  <a:pt x="1100" y="818"/>
                  <a:pt x="1100" y="818"/>
                  <a:pt x="1104" y="821"/>
                </a:cubicBezTo>
                <a:cubicBezTo>
                  <a:pt x="1104" y="821"/>
                  <a:pt x="1104" y="821"/>
                  <a:pt x="1105" y="821"/>
                </a:cubicBezTo>
                <a:cubicBezTo>
                  <a:pt x="1105" y="821"/>
                  <a:pt x="1105" y="821"/>
                  <a:pt x="1106" y="822"/>
                </a:cubicBezTo>
                <a:cubicBezTo>
                  <a:pt x="1106" y="822"/>
                  <a:pt x="1106" y="822"/>
                  <a:pt x="1108" y="822"/>
                </a:cubicBezTo>
                <a:cubicBezTo>
                  <a:pt x="1108" y="822"/>
                  <a:pt x="1108" y="822"/>
                  <a:pt x="1110" y="825"/>
                </a:cubicBezTo>
                <a:cubicBezTo>
                  <a:pt x="1110" y="825"/>
                  <a:pt x="1110" y="825"/>
                  <a:pt x="1113" y="828"/>
                </a:cubicBezTo>
                <a:cubicBezTo>
                  <a:pt x="1113" y="828"/>
                  <a:pt x="1113" y="828"/>
                  <a:pt x="1114" y="829"/>
                </a:cubicBezTo>
                <a:cubicBezTo>
                  <a:pt x="1114" y="829"/>
                  <a:pt x="1114" y="829"/>
                  <a:pt x="1116" y="830"/>
                </a:cubicBezTo>
                <a:cubicBezTo>
                  <a:pt x="1116" y="830"/>
                  <a:pt x="1116" y="830"/>
                  <a:pt x="1117" y="831"/>
                </a:cubicBezTo>
                <a:cubicBezTo>
                  <a:pt x="1117" y="831"/>
                  <a:pt x="1117" y="831"/>
                  <a:pt x="1118" y="831"/>
                </a:cubicBezTo>
                <a:cubicBezTo>
                  <a:pt x="1118" y="831"/>
                  <a:pt x="1118" y="831"/>
                  <a:pt x="1120" y="833"/>
                </a:cubicBezTo>
                <a:cubicBezTo>
                  <a:pt x="1120" y="833"/>
                  <a:pt x="1120" y="833"/>
                  <a:pt x="1121" y="832"/>
                </a:cubicBezTo>
                <a:cubicBezTo>
                  <a:pt x="1121" y="832"/>
                  <a:pt x="1121" y="832"/>
                  <a:pt x="1124" y="832"/>
                </a:cubicBezTo>
                <a:cubicBezTo>
                  <a:pt x="1124" y="832"/>
                  <a:pt x="1124" y="832"/>
                  <a:pt x="1128" y="834"/>
                </a:cubicBezTo>
                <a:cubicBezTo>
                  <a:pt x="1128" y="834"/>
                  <a:pt x="1128" y="834"/>
                  <a:pt x="1128" y="836"/>
                </a:cubicBezTo>
                <a:cubicBezTo>
                  <a:pt x="1128" y="836"/>
                  <a:pt x="1128" y="836"/>
                  <a:pt x="1128" y="838"/>
                </a:cubicBezTo>
                <a:close/>
                <a:moveTo>
                  <a:pt x="1010" y="409"/>
                </a:moveTo>
                <a:cubicBezTo>
                  <a:pt x="1010" y="410"/>
                  <a:pt x="1010" y="410"/>
                  <a:pt x="1010" y="410"/>
                </a:cubicBezTo>
                <a:cubicBezTo>
                  <a:pt x="1012" y="410"/>
                  <a:pt x="1012" y="410"/>
                  <a:pt x="1012" y="410"/>
                </a:cubicBezTo>
                <a:cubicBezTo>
                  <a:pt x="1015" y="409"/>
                  <a:pt x="1015" y="409"/>
                  <a:pt x="1015" y="409"/>
                </a:cubicBezTo>
                <a:cubicBezTo>
                  <a:pt x="1013" y="409"/>
                  <a:pt x="1013" y="409"/>
                  <a:pt x="1013" y="409"/>
                </a:cubicBezTo>
                <a:cubicBezTo>
                  <a:pt x="1010" y="409"/>
                  <a:pt x="1010" y="409"/>
                  <a:pt x="1010" y="409"/>
                </a:cubicBezTo>
                <a:close/>
                <a:moveTo>
                  <a:pt x="856" y="293"/>
                </a:moveTo>
                <a:cubicBezTo>
                  <a:pt x="856" y="294"/>
                  <a:pt x="856" y="294"/>
                  <a:pt x="856" y="294"/>
                </a:cubicBezTo>
                <a:cubicBezTo>
                  <a:pt x="857" y="293"/>
                  <a:pt x="857" y="293"/>
                  <a:pt x="857" y="293"/>
                </a:cubicBezTo>
                <a:cubicBezTo>
                  <a:pt x="856" y="293"/>
                  <a:pt x="856" y="293"/>
                  <a:pt x="856" y="293"/>
                </a:cubicBezTo>
                <a:close/>
                <a:moveTo>
                  <a:pt x="821" y="352"/>
                </a:moveTo>
                <a:cubicBezTo>
                  <a:pt x="821" y="354"/>
                  <a:pt x="821" y="354"/>
                  <a:pt x="821" y="354"/>
                </a:cubicBezTo>
                <a:cubicBezTo>
                  <a:pt x="822" y="352"/>
                  <a:pt x="822" y="352"/>
                  <a:pt x="822" y="352"/>
                </a:cubicBezTo>
                <a:cubicBezTo>
                  <a:pt x="821" y="352"/>
                  <a:pt x="821" y="352"/>
                  <a:pt x="821" y="352"/>
                </a:cubicBezTo>
                <a:close/>
                <a:moveTo>
                  <a:pt x="457" y="242"/>
                </a:moveTo>
                <a:cubicBezTo>
                  <a:pt x="457" y="242"/>
                  <a:pt x="457" y="242"/>
                  <a:pt x="459" y="240"/>
                </a:cubicBezTo>
                <a:cubicBezTo>
                  <a:pt x="458" y="240"/>
                  <a:pt x="458" y="240"/>
                  <a:pt x="458" y="240"/>
                </a:cubicBezTo>
                <a:cubicBezTo>
                  <a:pt x="458" y="240"/>
                  <a:pt x="458" y="240"/>
                  <a:pt x="457" y="241"/>
                </a:cubicBezTo>
                <a:cubicBezTo>
                  <a:pt x="457" y="241"/>
                  <a:pt x="457" y="241"/>
                  <a:pt x="457" y="242"/>
                </a:cubicBezTo>
                <a:close/>
                <a:moveTo>
                  <a:pt x="552" y="270"/>
                </a:moveTo>
                <a:cubicBezTo>
                  <a:pt x="552" y="270"/>
                  <a:pt x="552" y="270"/>
                  <a:pt x="552" y="269"/>
                </a:cubicBezTo>
                <a:cubicBezTo>
                  <a:pt x="552" y="269"/>
                  <a:pt x="552" y="269"/>
                  <a:pt x="551" y="269"/>
                </a:cubicBezTo>
                <a:cubicBezTo>
                  <a:pt x="551" y="269"/>
                  <a:pt x="551" y="269"/>
                  <a:pt x="552" y="270"/>
                </a:cubicBezTo>
                <a:close/>
                <a:moveTo>
                  <a:pt x="614" y="349"/>
                </a:moveTo>
                <a:cubicBezTo>
                  <a:pt x="615" y="347"/>
                  <a:pt x="615" y="347"/>
                  <a:pt x="615" y="347"/>
                </a:cubicBezTo>
                <a:cubicBezTo>
                  <a:pt x="614" y="347"/>
                  <a:pt x="614" y="347"/>
                  <a:pt x="614" y="347"/>
                </a:cubicBezTo>
                <a:cubicBezTo>
                  <a:pt x="614" y="347"/>
                  <a:pt x="614" y="347"/>
                  <a:pt x="614" y="348"/>
                </a:cubicBezTo>
                <a:cubicBezTo>
                  <a:pt x="614" y="348"/>
                  <a:pt x="614" y="348"/>
                  <a:pt x="612" y="351"/>
                </a:cubicBezTo>
                <a:cubicBezTo>
                  <a:pt x="612" y="351"/>
                  <a:pt x="612" y="351"/>
                  <a:pt x="612" y="352"/>
                </a:cubicBezTo>
                <a:cubicBezTo>
                  <a:pt x="614" y="349"/>
                  <a:pt x="614" y="349"/>
                  <a:pt x="614" y="349"/>
                </a:cubicBezTo>
                <a:close/>
                <a:moveTo>
                  <a:pt x="901" y="733"/>
                </a:moveTo>
                <a:cubicBezTo>
                  <a:pt x="901" y="733"/>
                  <a:pt x="901" y="733"/>
                  <a:pt x="898" y="735"/>
                </a:cubicBezTo>
                <a:cubicBezTo>
                  <a:pt x="898" y="735"/>
                  <a:pt x="898" y="735"/>
                  <a:pt x="898" y="736"/>
                </a:cubicBezTo>
                <a:cubicBezTo>
                  <a:pt x="898" y="736"/>
                  <a:pt x="898" y="736"/>
                  <a:pt x="897" y="737"/>
                </a:cubicBezTo>
                <a:cubicBezTo>
                  <a:pt x="897" y="737"/>
                  <a:pt x="897" y="737"/>
                  <a:pt x="897" y="738"/>
                </a:cubicBezTo>
                <a:cubicBezTo>
                  <a:pt x="897" y="738"/>
                  <a:pt x="897" y="738"/>
                  <a:pt x="899" y="740"/>
                </a:cubicBezTo>
                <a:cubicBezTo>
                  <a:pt x="899" y="740"/>
                  <a:pt x="899" y="740"/>
                  <a:pt x="899" y="742"/>
                </a:cubicBezTo>
                <a:cubicBezTo>
                  <a:pt x="899" y="742"/>
                  <a:pt x="899" y="742"/>
                  <a:pt x="900" y="742"/>
                </a:cubicBezTo>
                <a:cubicBezTo>
                  <a:pt x="900" y="742"/>
                  <a:pt x="900" y="742"/>
                  <a:pt x="902" y="741"/>
                </a:cubicBezTo>
                <a:cubicBezTo>
                  <a:pt x="902" y="741"/>
                  <a:pt x="902" y="741"/>
                  <a:pt x="903" y="739"/>
                </a:cubicBezTo>
                <a:cubicBezTo>
                  <a:pt x="903" y="739"/>
                  <a:pt x="903" y="739"/>
                  <a:pt x="902" y="737"/>
                </a:cubicBezTo>
                <a:cubicBezTo>
                  <a:pt x="902" y="737"/>
                  <a:pt x="902" y="737"/>
                  <a:pt x="902" y="736"/>
                </a:cubicBezTo>
                <a:cubicBezTo>
                  <a:pt x="902" y="736"/>
                  <a:pt x="902" y="736"/>
                  <a:pt x="902" y="733"/>
                </a:cubicBezTo>
                <a:cubicBezTo>
                  <a:pt x="902" y="733"/>
                  <a:pt x="902" y="733"/>
                  <a:pt x="901" y="732"/>
                </a:cubicBezTo>
                <a:cubicBezTo>
                  <a:pt x="901" y="733"/>
                  <a:pt x="901" y="733"/>
                  <a:pt x="901" y="733"/>
                </a:cubicBezTo>
                <a:close/>
                <a:moveTo>
                  <a:pt x="1035" y="797"/>
                </a:moveTo>
                <a:cubicBezTo>
                  <a:pt x="1035" y="797"/>
                  <a:pt x="1035" y="797"/>
                  <a:pt x="1036" y="796"/>
                </a:cubicBezTo>
                <a:cubicBezTo>
                  <a:pt x="1036" y="796"/>
                  <a:pt x="1036" y="796"/>
                  <a:pt x="1036" y="795"/>
                </a:cubicBezTo>
                <a:cubicBezTo>
                  <a:pt x="1036" y="795"/>
                  <a:pt x="1036" y="795"/>
                  <a:pt x="1035" y="796"/>
                </a:cubicBezTo>
                <a:cubicBezTo>
                  <a:pt x="1035" y="796"/>
                  <a:pt x="1035" y="796"/>
                  <a:pt x="1034" y="796"/>
                </a:cubicBezTo>
                <a:cubicBezTo>
                  <a:pt x="1034" y="796"/>
                  <a:pt x="1034" y="796"/>
                  <a:pt x="1033" y="797"/>
                </a:cubicBezTo>
                <a:cubicBezTo>
                  <a:pt x="1033" y="797"/>
                  <a:pt x="1033" y="797"/>
                  <a:pt x="1034" y="798"/>
                </a:cubicBezTo>
                <a:cubicBezTo>
                  <a:pt x="1034" y="798"/>
                  <a:pt x="1034" y="798"/>
                  <a:pt x="1035" y="797"/>
                </a:cubicBezTo>
                <a:close/>
                <a:moveTo>
                  <a:pt x="1040" y="801"/>
                </a:moveTo>
                <a:cubicBezTo>
                  <a:pt x="1040" y="801"/>
                  <a:pt x="1040" y="801"/>
                  <a:pt x="1040" y="800"/>
                </a:cubicBezTo>
                <a:cubicBezTo>
                  <a:pt x="1040" y="800"/>
                  <a:pt x="1040" y="800"/>
                  <a:pt x="1039" y="800"/>
                </a:cubicBezTo>
                <a:cubicBezTo>
                  <a:pt x="1039" y="800"/>
                  <a:pt x="1039" y="800"/>
                  <a:pt x="1038" y="801"/>
                </a:cubicBezTo>
                <a:cubicBezTo>
                  <a:pt x="1038" y="801"/>
                  <a:pt x="1038" y="801"/>
                  <a:pt x="1039" y="801"/>
                </a:cubicBezTo>
                <a:cubicBezTo>
                  <a:pt x="1039" y="801"/>
                  <a:pt x="1039" y="801"/>
                  <a:pt x="1040" y="801"/>
                </a:cubicBezTo>
                <a:close/>
                <a:moveTo>
                  <a:pt x="1030" y="802"/>
                </a:moveTo>
                <a:cubicBezTo>
                  <a:pt x="1031" y="802"/>
                  <a:pt x="1031" y="802"/>
                  <a:pt x="1031" y="802"/>
                </a:cubicBezTo>
                <a:cubicBezTo>
                  <a:pt x="1032" y="801"/>
                  <a:pt x="1032" y="801"/>
                  <a:pt x="1032" y="801"/>
                </a:cubicBezTo>
                <a:cubicBezTo>
                  <a:pt x="1031" y="801"/>
                  <a:pt x="1031" y="801"/>
                  <a:pt x="1031" y="801"/>
                </a:cubicBezTo>
                <a:cubicBezTo>
                  <a:pt x="1030" y="801"/>
                  <a:pt x="1030" y="801"/>
                  <a:pt x="1030" y="801"/>
                </a:cubicBezTo>
                <a:cubicBezTo>
                  <a:pt x="1029" y="802"/>
                  <a:pt x="1029" y="802"/>
                  <a:pt x="1029" y="802"/>
                </a:cubicBezTo>
                <a:cubicBezTo>
                  <a:pt x="1028" y="804"/>
                  <a:pt x="1028" y="804"/>
                  <a:pt x="1028" y="804"/>
                </a:cubicBezTo>
                <a:cubicBezTo>
                  <a:pt x="1029" y="804"/>
                  <a:pt x="1029" y="804"/>
                  <a:pt x="1029" y="804"/>
                </a:cubicBezTo>
                <a:cubicBezTo>
                  <a:pt x="1029" y="803"/>
                  <a:pt x="1029" y="803"/>
                  <a:pt x="1029" y="803"/>
                </a:cubicBezTo>
                <a:cubicBezTo>
                  <a:pt x="1030" y="802"/>
                  <a:pt x="1030" y="802"/>
                  <a:pt x="1030" y="802"/>
                </a:cubicBezTo>
                <a:close/>
                <a:moveTo>
                  <a:pt x="1035" y="799"/>
                </a:moveTo>
                <a:cubicBezTo>
                  <a:pt x="1036" y="800"/>
                  <a:pt x="1036" y="800"/>
                  <a:pt x="1036" y="800"/>
                </a:cubicBezTo>
                <a:cubicBezTo>
                  <a:pt x="1037" y="800"/>
                  <a:pt x="1037" y="800"/>
                  <a:pt x="1037" y="800"/>
                </a:cubicBezTo>
                <a:cubicBezTo>
                  <a:pt x="1037" y="799"/>
                  <a:pt x="1037" y="799"/>
                  <a:pt x="1037" y="799"/>
                </a:cubicBezTo>
                <a:cubicBezTo>
                  <a:pt x="1038" y="799"/>
                  <a:pt x="1038" y="799"/>
                  <a:pt x="1038" y="799"/>
                </a:cubicBezTo>
                <a:cubicBezTo>
                  <a:pt x="1037" y="798"/>
                  <a:pt x="1037" y="798"/>
                  <a:pt x="1037" y="798"/>
                </a:cubicBezTo>
                <a:cubicBezTo>
                  <a:pt x="1035" y="799"/>
                  <a:pt x="1035" y="799"/>
                  <a:pt x="1035" y="799"/>
                </a:cubicBezTo>
                <a:close/>
                <a:moveTo>
                  <a:pt x="1034" y="1008"/>
                </a:moveTo>
                <a:cubicBezTo>
                  <a:pt x="1033" y="1009"/>
                  <a:pt x="1033" y="1009"/>
                  <a:pt x="1033" y="1009"/>
                </a:cubicBezTo>
                <a:cubicBezTo>
                  <a:pt x="1033" y="1010"/>
                  <a:pt x="1033" y="1010"/>
                  <a:pt x="1033" y="1010"/>
                </a:cubicBezTo>
                <a:cubicBezTo>
                  <a:pt x="1032" y="1010"/>
                  <a:pt x="1032" y="1010"/>
                  <a:pt x="1032" y="1010"/>
                </a:cubicBezTo>
                <a:cubicBezTo>
                  <a:pt x="1031" y="1011"/>
                  <a:pt x="1031" y="1011"/>
                  <a:pt x="1031" y="1011"/>
                </a:cubicBezTo>
                <a:cubicBezTo>
                  <a:pt x="1033" y="1012"/>
                  <a:pt x="1033" y="1012"/>
                  <a:pt x="1033" y="1012"/>
                </a:cubicBezTo>
                <a:cubicBezTo>
                  <a:pt x="1036" y="1008"/>
                  <a:pt x="1036" y="1008"/>
                  <a:pt x="1036" y="1008"/>
                </a:cubicBezTo>
                <a:cubicBezTo>
                  <a:pt x="1035" y="1008"/>
                  <a:pt x="1035" y="1008"/>
                  <a:pt x="1035" y="1008"/>
                </a:cubicBezTo>
                <a:cubicBezTo>
                  <a:pt x="1034" y="1008"/>
                  <a:pt x="1034" y="1008"/>
                  <a:pt x="1034" y="1008"/>
                </a:cubicBezTo>
                <a:close/>
                <a:moveTo>
                  <a:pt x="1033" y="800"/>
                </a:moveTo>
                <a:cubicBezTo>
                  <a:pt x="1034" y="800"/>
                  <a:pt x="1034" y="800"/>
                  <a:pt x="1034" y="800"/>
                </a:cubicBezTo>
                <a:cubicBezTo>
                  <a:pt x="1033" y="799"/>
                  <a:pt x="1033" y="799"/>
                  <a:pt x="1033" y="799"/>
                </a:cubicBezTo>
                <a:cubicBezTo>
                  <a:pt x="1033" y="800"/>
                  <a:pt x="1033" y="800"/>
                  <a:pt x="1033" y="800"/>
                </a:cubicBezTo>
                <a:close/>
                <a:moveTo>
                  <a:pt x="1031" y="804"/>
                </a:moveTo>
                <a:cubicBezTo>
                  <a:pt x="1031" y="804"/>
                  <a:pt x="1031" y="804"/>
                  <a:pt x="1031" y="803"/>
                </a:cubicBezTo>
                <a:cubicBezTo>
                  <a:pt x="1031" y="803"/>
                  <a:pt x="1031" y="803"/>
                  <a:pt x="1030" y="803"/>
                </a:cubicBezTo>
                <a:cubicBezTo>
                  <a:pt x="1030" y="803"/>
                  <a:pt x="1030" y="803"/>
                  <a:pt x="1029" y="804"/>
                </a:cubicBezTo>
                <a:cubicBezTo>
                  <a:pt x="1029" y="804"/>
                  <a:pt x="1029" y="804"/>
                  <a:pt x="1030" y="804"/>
                </a:cubicBezTo>
                <a:cubicBezTo>
                  <a:pt x="1030" y="804"/>
                  <a:pt x="1030" y="804"/>
                  <a:pt x="1031" y="804"/>
                </a:cubicBezTo>
                <a:close/>
                <a:moveTo>
                  <a:pt x="910" y="719"/>
                </a:moveTo>
                <a:cubicBezTo>
                  <a:pt x="911" y="720"/>
                  <a:pt x="911" y="720"/>
                  <a:pt x="911" y="720"/>
                </a:cubicBezTo>
                <a:cubicBezTo>
                  <a:pt x="912" y="720"/>
                  <a:pt x="912" y="720"/>
                  <a:pt x="912" y="720"/>
                </a:cubicBezTo>
                <a:cubicBezTo>
                  <a:pt x="911" y="719"/>
                  <a:pt x="911" y="719"/>
                  <a:pt x="911" y="719"/>
                </a:cubicBezTo>
                <a:cubicBezTo>
                  <a:pt x="910" y="719"/>
                  <a:pt x="910" y="719"/>
                  <a:pt x="910" y="719"/>
                </a:cubicBezTo>
                <a:close/>
                <a:moveTo>
                  <a:pt x="923" y="722"/>
                </a:moveTo>
                <a:cubicBezTo>
                  <a:pt x="923" y="722"/>
                  <a:pt x="923" y="722"/>
                  <a:pt x="922" y="721"/>
                </a:cubicBezTo>
                <a:cubicBezTo>
                  <a:pt x="922" y="721"/>
                  <a:pt x="922" y="721"/>
                  <a:pt x="920" y="721"/>
                </a:cubicBezTo>
                <a:cubicBezTo>
                  <a:pt x="920" y="721"/>
                  <a:pt x="920" y="721"/>
                  <a:pt x="921" y="722"/>
                </a:cubicBezTo>
                <a:cubicBezTo>
                  <a:pt x="921" y="722"/>
                  <a:pt x="921" y="722"/>
                  <a:pt x="922" y="722"/>
                </a:cubicBezTo>
                <a:cubicBezTo>
                  <a:pt x="922" y="722"/>
                  <a:pt x="922" y="722"/>
                  <a:pt x="922" y="723"/>
                </a:cubicBezTo>
                <a:cubicBezTo>
                  <a:pt x="922" y="723"/>
                  <a:pt x="922" y="723"/>
                  <a:pt x="923" y="722"/>
                </a:cubicBezTo>
                <a:close/>
                <a:moveTo>
                  <a:pt x="949" y="730"/>
                </a:moveTo>
                <a:cubicBezTo>
                  <a:pt x="949" y="730"/>
                  <a:pt x="949" y="730"/>
                  <a:pt x="950" y="729"/>
                </a:cubicBezTo>
                <a:cubicBezTo>
                  <a:pt x="950" y="729"/>
                  <a:pt x="950" y="729"/>
                  <a:pt x="949" y="728"/>
                </a:cubicBezTo>
                <a:cubicBezTo>
                  <a:pt x="949" y="728"/>
                  <a:pt x="949" y="728"/>
                  <a:pt x="947" y="729"/>
                </a:cubicBezTo>
                <a:cubicBezTo>
                  <a:pt x="947" y="729"/>
                  <a:pt x="947" y="729"/>
                  <a:pt x="947" y="728"/>
                </a:cubicBezTo>
                <a:cubicBezTo>
                  <a:pt x="947" y="728"/>
                  <a:pt x="947" y="728"/>
                  <a:pt x="946" y="729"/>
                </a:cubicBezTo>
                <a:cubicBezTo>
                  <a:pt x="946" y="730"/>
                  <a:pt x="946" y="730"/>
                  <a:pt x="946" y="730"/>
                </a:cubicBezTo>
                <a:cubicBezTo>
                  <a:pt x="946" y="730"/>
                  <a:pt x="946" y="730"/>
                  <a:pt x="948" y="730"/>
                </a:cubicBezTo>
                <a:cubicBezTo>
                  <a:pt x="948" y="730"/>
                  <a:pt x="948" y="730"/>
                  <a:pt x="949" y="730"/>
                </a:cubicBezTo>
                <a:close/>
                <a:moveTo>
                  <a:pt x="916" y="720"/>
                </a:moveTo>
                <a:cubicBezTo>
                  <a:pt x="916" y="720"/>
                  <a:pt x="916" y="720"/>
                  <a:pt x="916" y="721"/>
                </a:cubicBezTo>
                <a:cubicBezTo>
                  <a:pt x="916" y="721"/>
                  <a:pt x="916" y="721"/>
                  <a:pt x="916" y="722"/>
                </a:cubicBezTo>
                <a:cubicBezTo>
                  <a:pt x="916" y="722"/>
                  <a:pt x="916" y="722"/>
                  <a:pt x="918" y="722"/>
                </a:cubicBezTo>
                <a:cubicBezTo>
                  <a:pt x="918" y="722"/>
                  <a:pt x="918" y="722"/>
                  <a:pt x="917" y="721"/>
                </a:cubicBezTo>
                <a:cubicBezTo>
                  <a:pt x="917" y="721"/>
                  <a:pt x="917" y="721"/>
                  <a:pt x="916" y="720"/>
                </a:cubicBezTo>
                <a:close/>
                <a:moveTo>
                  <a:pt x="845" y="821"/>
                </a:moveTo>
                <a:cubicBezTo>
                  <a:pt x="846" y="821"/>
                  <a:pt x="846" y="821"/>
                  <a:pt x="846" y="821"/>
                </a:cubicBezTo>
                <a:cubicBezTo>
                  <a:pt x="846" y="820"/>
                  <a:pt x="846" y="820"/>
                  <a:pt x="846" y="820"/>
                </a:cubicBezTo>
                <a:cubicBezTo>
                  <a:pt x="846" y="819"/>
                  <a:pt x="846" y="819"/>
                  <a:pt x="846" y="819"/>
                </a:cubicBezTo>
                <a:cubicBezTo>
                  <a:pt x="846" y="818"/>
                  <a:pt x="846" y="818"/>
                  <a:pt x="846" y="818"/>
                </a:cubicBezTo>
                <a:cubicBezTo>
                  <a:pt x="845" y="819"/>
                  <a:pt x="845" y="819"/>
                  <a:pt x="845" y="819"/>
                </a:cubicBezTo>
                <a:cubicBezTo>
                  <a:pt x="845" y="820"/>
                  <a:pt x="845" y="820"/>
                  <a:pt x="845" y="820"/>
                </a:cubicBezTo>
                <a:cubicBezTo>
                  <a:pt x="845" y="821"/>
                  <a:pt x="845" y="821"/>
                  <a:pt x="845" y="821"/>
                </a:cubicBezTo>
                <a:close/>
                <a:moveTo>
                  <a:pt x="988" y="1199"/>
                </a:moveTo>
                <a:cubicBezTo>
                  <a:pt x="986" y="1199"/>
                  <a:pt x="986" y="1199"/>
                  <a:pt x="986" y="1199"/>
                </a:cubicBezTo>
                <a:cubicBezTo>
                  <a:pt x="985" y="1200"/>
                  <a:pt x="985" y="1200"/>
                  <a:pt x="985" y="1200"/>
                </a:cubicBezTo>
                <a:cubicBezTo>
                  <a:pt x="986" y="1201"/>
                  <a:pt x="986" y="1201"/>
                  <a:pt x="986" y="1201"/>
                </a:cubicBezTo>
                <a:cubicBezTo>
                  <a:pt x="988" y="1200"/>
                  <a:pt x="988" y="1200"/>
                  <a:pt x="988" y="1200"/>
                </a:cubicBezTo>
                <a:cubicBezTo>
                  <a:pt x="989" y="1200"/>
                  <a:pt x="989" y="1200"/>
                  <a:pt x="989" y="1200"/>
                </a:cubicBezTo>
                <a:cubicBezTo>
                  <a:pt x="990" y="1198"/>
                  <a:pt x="990" y="1198"/>
                  <a:pt x="990" y="1198"/>
                </a:cubicBezTo>
                <a:cubicBezTo>
                  <a:pt x="989" y="1198"/>
                  <a:pt x="989" y="1198"/>
                  <a:pt x="989" y="1198"/>
                </a:cubicBezTo>
                <a:cubicBezTo>
                  <a:pt x="988" y="1199"/>
                  <a:pt x="988" y="1199"/>
                  <a:pt x="988" y="1199"/>
                </a:cubicBezTo>
                <a:close/>
                <a:moveTo>
                  <a:pt x="913" y="1111"/>
                </a:moveTo>
                <a:cubicBezTo>
                  <a:pt x="913" y="1111"/>
                  <a:pt x="913" y="1111"/>
                  <a:pt x="912" y="1112"/>
                </a:cubicBezTo>
                <a:cubicBezTo>
                  <a:pt x="912" y="1112"/>
                  <a:pt x="912" y="1112"/>
                  <a:pt x="913" y="1113"/>
                </a:cubicBezTo>
                <a:cubicBezTo>
                  <a:pt x="913" y="1113"/>
                  <a:pt x="913" y="1113"/>
                  <a:pt x="913" y="1111"/>
                </a:cubicBezTo>
                <a:close/>
                <a:moveTo>
                  <a:pt x="911" y="1110"/>
                </a:moveTo>
                <a:cubicBezTo>
                  <a:pt x="911" y="1110"/>
                  <a:pt x="911" y="1110"/>
                  <a:pt x="912" y="1109"/>
                </a:cubicBezTo>
                <a:cubicBezTo>
                  <a:pt x="912" y="1109"/>
                  <a:pt x="912" y="1109"/>
                  <a:pt x="911" y="1109"/>
                </a:cubicBezTo>
                <a:cubicBezTo>
                  <a:pt x="911" y="1109"/>
                  <a:pt x="911" y="1109"/>
                  <a:pt x="911" y="1110"/>
                </a:cubicBezTo>
                <a:close/>
                <a:moveTo>
                  <a:pt x="911" y="1106"/>
                </a:moveTo>
                <a:cubicBezTo>
                  <a:pt x="911" y="1106"/>
                  <a:pt x="911" y="1106"/>
                  <a:pt x="910" y="1107"/>
                </a:cubicBezTo>
                <a:cubicBezTo>
                  <a:pt x="910" y="1107"/>
                  <a:pt x="910" y="1107"/>
                  <a:pt x="911" y="1107"/>
                </a:cubicBezTo>
                <a:cubicBezTo>
                  <a:pt x="911" y="1107"/>
                  <a:pt x="911" y="1107"/>
                  <a:pt x="912" y="1107"/>
                </a:cubicBezTo>
                <a:cubicBezTo>
                  <a:pt x="912" y="1107"/>
                  <a:pt x="912" y="1107"/>
                  <a:pt x="911" y="1106"/>
                </a:cubicBezTo>
                <a:close/>
                <a:moveTo>
                  <a:pt x="909" y="1111"/>
                </a:moveTo>
                <a:cubicBezTo>
                  <a:pt x="909" y="1111"/>
                  <a:pt x="909" y="1111"/>
                  <a:pt x="910" y="1111"/>
                </a:cubicBezTo>
                <a:cubicBezTo>
                  <a:pt x="910" y="1111"/>
                  <a:pt x="910" y="1111"/>
                  <a:pt x="911" y="1111"/>
                </a:cubicBezTo>
                <a:cubicBezTo>
                  <a:pt x="911" y="1111"/>
                  <a:pt x="911" y="1111"/>
                  <a:pt x="910" y="1110"/>
                </a:cubicBezTo>
                <a:cubicBezTo>
                  <a:pt x="910" y="1110"/>
                  <a:pt x="910" y="1110"/>
                  <a:pt x="909" y="1111"/>
                </a:cubicBezTo>
                <a:close/>
                <a:moveTo>
                  <a:pt x="910" y="1115"/>
                </a:moveTo>
                <a:cubicBezTo>
                  <a:pt x="911" y="1116"/>
                  <a:pt x="911" y="1116"/>
                  <a:pt x="911" y="1116"/>
                </a:cubicBezTo>
                <a:cubicBezTo>
                  <a:pt x="911" y="1116"/>
                  <a:pt x="911" y="1116"/>
                  <a:pt x="911" y="1115"/>
                </a:cubicBezTo>
                <a:cubicBezTo>
                  <a:pt x="911" y="1115"/>
                  <a:pt x="911" y="1115"/>
                  <a:pt x="913" y="1115"/>
                </a:cubicBezTo>
                <a:cubicBezTo>
                  <a:pt x="913" y="1115"/>
                  <a:pt x="913" y="1115"/>
                  <a:pt x="913" y="1114"/>
                </a:cubicBezTo>
                <a:cubicBezTo>
                  <a:pt x="913" y="1114"/>
                  <a:pt x="913" y="1114"/>
                  <a:pt x="911" y="1114"/>
                </a:cubicBezTo>
                <a:cubicBezTo>
                  <a:pt x="911" y="1114"/>
                  <a:pt x="911" y="1114"/>
                  <a:pt x="910" y="1115"/>
                </a:cubicBezTo>
                <a:close/>
                <a:moveTo>
                  <a:pt x="912" y="1118"/>
                </a:moveTo>
                <a:cubicBezTo>
                  <a:pt x="912" y="1118"/>
                  <a:pt x="912" y="1118"/>
                  <a:pt x="913" y="1119"/>
                </a:cubicBezTo>
                <a:cubicBezTo>
                  <a:pt x="913" y="1119"/>
                  <a:pt x="913" y="1119"/>
                  <a:pt x="913" y="1120"/>
                </a:cubicBezTo>
                <a:cubicBezTo>
                  <a:pt x="913" y="1120"/>
                  <a:pt x="913" y="1120"/>
                  <a:pt x="914" y="1121"/>
                </a:cubicBezTo>
                <a:cubicBezTo>
                  <a:pt x="914" y="1121"/>
                  <a:pt x="914" y="1121"/>
                  <a:pt x="915" y="1120"/>
                </a:cubicBezTo>
                <a:cubicBezTo>
                  <a:pt x="915" y="1120"/>
                  <a:pt x="915" y="1120"/>
                  <a:pt x="915" y="1118"/>
                </a:cubicBezTo>
                <a:cubicBezTo>
                  <a:pt x="915" y="1118"/>
                  <a:pt x="915" y="1118"/>
                  <a:pt x="913" y="1118"/>
                </a:cubicBezTo>
                <a:cubicBezTo>
                  <a:pt x="913" y="1118"/>
                  <a:pt x="913" y="1118"/>
                  <a:pt x="912" y="1118"/>
                </a:cubicBezTo>
                <a:close/>
                <a:moveTo>
                  <a:pt x="912" y="1092"/>
                </a:moveTo>
                <a:cubicBezTo>
                  <a:pt x="912" y="1092"/>
                  <a:pt x="912" y="1092"/>
                  <a:pt x="911" y="1091"/>
                </a:cubicBezTo>
                <a:cubicBezTo>
                  <a:pt x="911" y="1091"/>
                  <a:pt x="911" y="1091"/>
                  <a:pt x="910" y="1090"/>
                </a:cubicBezTo>
                <a:cubicBezTo>
                  <a:pt x="910" y="1090"/>
                  <a:pt x="910" y="1090"/>
                  <a:pt x="909" y="1090"/>
                </a:cubicBezTo>
                <a:cubicBezTo>
                  <a:pt x="909" y="1090"/>
                  <a:pt x="909" y="1090"/>
                  <a:pt x="908" y="1091"/>
                </a:cubicBezTo>
                <a:cubicBezTo>
                  <a:pt x="908" y="1091"/>
                  <a:pt x="908" y="1091"/>
                  <a:pt x="908" y="1092"/>
                </a:cubicBezTo>
                <a:cubicBezTo>
                  <a:pt x="908" y="1092"/>
                  <a:pt x="908" y="1092"/>
                  <a:pt x="908" y="1093"/>
                </a:cubicBezTo>
                <a:cubicBezTo>
                  <a:pt x="908" y="1093"/>
                  <a:pt x="908" y="1093"/>
                  <a:pt x="907" y="1094"/>
                </a:cubicBezTo>
                <a:cubicBezTo>
                  <a:pt x="907" y="1094"/>
                  <a:pt x="907" y="1094"/>
                  <a:pt x="907" y="1095"/>
                </a:cubicBezTo>
                <a:cubicBezTo>
                  <a:pt x="907" y="1095"/>
                  <a:pt x="907" y="1095"/>
                  <a:pt x="907" y="1096"/>
                </a:cubicBezTo>
                <a:cubicBezTo>
                  <a:pt x="907" y="1096"/>
                  <a:pt x="907" y="1096"/>
                  <a:pt x="908" y="1096"/>
                </a:cubicBezTo>
                <a:cubicBezTo>
                  <a:pt x="908" y="1096"/>
                  <a:pt x="908" y="1096"/>
                  <a:pt x="908" y="1097"/>
                </a:cubicBezTo>
                <a:cubicBezTo>
                  <a:pt x="908" y="1097"/>
                  <a:pt x="908" y="1097"/>
                  <a:pt x="908" y="1101"/>
                </a:cubicBezTo>
                <a:cubicBezTo>
                  <a:pt x="908" y="1101"/>
                  <a:pt x="908" y="1101"/>
                  <a:pt x="908" y="1103"/>
                </a:cubicBezTo>
                <a:cubicBezTo>
                  <a:pt x="908" y="1103"/>
                  <a:pt x="908" y="1103"/>
                  <a:pt x="909" y="1103"/>
                </a:cubicBezTo>
                <a:cubicBezTo>
                  <a:pt x="909" y="1103"/>
                  <a:pt x="909" y="1103"/>
                  <a:pt x="911" y="1103"/>
                </a:cubicBezTo>
                <a:cubicBezTo>
                  <a:pt x="911" y="1103"/>
                  <a:pt x="911" y="1103"/>
                  <a:pt x="911" y="1101"/>
                </a:cubicBezTo>
                <a:cubicBezTo>
                  <a:pt x="911" y="1101"/>
                  <a:pt x="911" y="1101"/>
                  <a:pt x="912" y="1100"/>
                </a:cubicBezTo>
                <a:cubicBezTo>
                  <a:pt x="912" y="1100"/>
                  <a:pt x="912" y="1100"/>
                  <a:pt x="913" y="1101"/>
                </a:cubicBezTo>
                <a:cubicBezTo>
                  <a:pt x="913" y="1101"/>
                  <a:pt x="913" y="1101"/>
                  <a:pt x="912" y="1099"/>
                </a:cubicBezTo>
                <a:cubicBezTo>
                  <a:pt x="912" y="1099"/>
                  <a:pt x="912" y="1099"/>
                  <a:pt x="911" y="1097"/>
                </a:cubicBezTo>
                <a:cubicBezTo>
                  <a:pt x="911" y="1097"/>
                  <a:pt x="911" y="1097"/>
                  <a:pt x="912" y="1097"/>
                </a:cubicBezTo>
                <a:cubicBezTo>
                  <a:pt x="912" y="1097"/>
                  <a:pt x="912" y="1097"/>
                  <a:pt x="913" y="1097"/>
                </a:cubicBezTo>
                <a:cubicBezTo>
                  <a:pt x="913" y="1097"/>
                  <a:pt x="913" y="1097"/>
                  <a:pt x="912" y="1096"/>
                </a:cubicBezTo>
                <a:cubicBezTo>
                  <a:pt x="912" y="1096"/>
                  <a:pt x="912" y="1096"/>
                  <a:pt x="912" y="1094"/>
                </a:cubicBezTo>
                <a:cubicBezTo>
                  <a:pt x="912" y="1094"/>
                  <a:pt x="912" y="1094"/>
                  <a:pt x="912" y="1092"/>
                </a:cubicBezTo>
                <a:close/>
                <a:moveTo>
                  <a:pt x="915" y="1095"/>
                </a:moveTo>
                <a:cubicBezTo>
                  <a:pt x="915" y="1095"/>
                  <a:pt x="915" y="1095"/>
                  <a:pt x="915" y="1094"/>
                </a:cubicBezTo>
                <a:cubicBezTo>
                  <a:pt x="915" y="1094"/>
                  <a:pt x="915" y="1094"/>
                  <a:pt x="914" y="1094"/>
                </a:cubicBezTo>
                <a:cubicBezTo>
                  <a:pt x="914" y="1094"/>
                  <a:pt x="914" y="1094"/>
                  <a:pt x="915" y="1095"/>
                </a:cubicBezTo>
                <a:close/>
                <a:moveTo>
                  <a:pt x="914" y="1143"/>
                </a:moveTo>
                <a:cubicBezTo>
                  <a:pt x="914" y="1143"/>
                  <a:pt x="914" y="1143"/>
                  <a:pt x="913" y="1141"/>
                </a:cubicBezTo>
                <a:cubicBezTo>
                  <a:pt x="913" y="1141"/>
                  <a:pt x="913" y="1141"/>
                  <a:pt x="912" y="1141"/>
                </a:cubicBezTo>
                <a:cubicBezTo>
                  <a:pt x="912" y="1141"/>
                  <a:pt x="912" y="1141"/>
                  <a:pt x="911" y="1141"/>
                </a:cubicBezTo>
                <a:cubicBezTo>
                  <a:pt x="911" y="1141"/>
                  <a:pt x="911" y="1141"/>
                  <a:pt x="911" y="1142"/>
                </a:cubicBezTo>
                <a:cubicBezTo>
                  <a:pt x="911" y="1142"/>
                  <a:pt x="911" y="1142"/>
                  <a:pt x="912" y="1143"/>
                </a:cubicBezTo>
                <a:cubicBezTo>
                  <a:pt x="912" y="1143"/>
                  <a:pt x="912" y="1143"/>
                  <a:pt x="914" y="1145"/>
                </a:cubicBezTo>
                <a:cubicBezTo>
                  <a:pt x="914" y="1145"/>
                  <a:pt x="914" y="1145"/>
                  <a:pt x="914" y="1146"/>
                </a:cubicBezTo>
                <a:cubicBezTo>
                  <a:pt x="914" y="1146"/>
                  <a:pt x="914" y="1146"/>
                  <a:pt x="914" y="1147"/>
                </a:cubicBezTo>
                <a:cubicBezTo>
                  <a:pt x="914" y="1147"/>
                  <a:pt x="914" y="1147"/>
                  <a:pt x="915" y="1147"/>
                </a:cubicBezTo>
                <a:cubicBezTo>
                  <a:pt x="915" y="1147"/>
                  <a:pt x="915" y="1147"/>
                  <a:pt x="917" y="1147"/>
                </a:cubicBezTo>
                <a:cubicBezTo>
                  <a:pt x="917" y="1147"/>
                  <a:pt x="917" y="1147"/>
                  <a:pt x="916" y="1145"/>
                </a:cubicBezTo>
                <a:cubicBezTo>
                  <a:pt x="916" y="1145"/>
                  <a:pt x="916" y="1145"/>
                  <a:pt x="915" y="1144"/>
                </a:cubicBezTo>
                <a:cubicBezTo>
                  <a:pt x="915" y="1144"/>
                  <a:pt x="915" y="1144"/>
                  <a:pt x="915" y="1143"/>
                </a:cubicBezTo>
                <a:cubicBezTo>
                  <a:pt x="915" y="1143"/>
                  <a:pt x="915" y="1143"/>
                  <a:pt x="914" y="1143"/>
                </a:cubicBezTo>
                <a:close/>
                <a:moveTo>
                  <a:pt x="913" y="1117"/>
                </a:moveTo>
                <a:cubicBezTo>
                  <a:pt x="913" y="1117"/>
                  <a:pt x="913" y="1117"/>
                  <a:pt x="913" y="1116"/>
                </a:cubicBezTo>
                <a:cubicBezTo>
                  <a:pt x="913" y="1116"/>
                  <a:pt x="913" y="1116"/>
                  <a:pt x="912" y="1116"/>
                </a:cubicBezTo>
                <a:cubicBezTo>
                  <a:pt x="912" y="1116"/>
                  <a:pt x="912" y="1116"/>
                  <a:pt x="911" y="1117"/>
                </a:cubicBezTo>
                <a:cubicBezTo>
                  <a:pt x="911" y="1117"/>
                  <a:pt x="911" y="1117"/>
                  <a:pt x="912" y="1117"/>
                </a:cubicBezTo>
                <a:cubicBezTo>
                  <a:pt x="912" y="1117"/>
                  <a:pt x="912" y="1117"/>
                  <a:pt x="913" y="1117"/>
                </a:cubicBezTo>
                <a:close/>
                <a:moveTo>
                  <a:pt x="922" y="1180"/>
                </a:moveTo>
                <a:cubicBezTo>
                  <a:pt x="922" y="1180"/>
                  <a:pt x="922" y="1180"/>
                  <a:pt x="922" y="1181"/>
                </a:cubicBezTo>
                <a:cubicBezTo>
                  <a:pt x="922" y="1181"/>
                  <a:pt x="922" y="1181"/>
                  <a:pt x="923" y="1181"/>
                </a:cubicBezTo>
                <a:cubicBezTo>
                  <a:pt x="923" y="1181"/>
                  <a:pt x="923" y="1181"/>
                  <a:pt x="923" y="1179"/>
                </a:cubicBezTo>
                <a:cubicBezTo>
                  <a:pt x="923" y="1179"/>
                  <a:pt x="923" y="1179"/>
                  <a:pt x="923" y="1178"/>
                </a:cubicBezTo>
                <a:cubicBezTo>
                  <a:pt x="923" y="1178"/>
                  <a:pt x="923" y="1178"/>
                  <a:pt x="922" y="1179"/>
                </a:cubicBezTo>
                <a:cubicBezTo>
                  <a:pt x="922" y="1179"/>
                  <a:pt x="922" y="1179"/>
                  <a:pt x="922" y="1180"/>
                </a:cubicBezTo>
                <a:close/>
                <a:moveTo>
                  <a:pt x="915" y="1108"/>
                </a:moveTo>
                <a:cubicBezTo>
                  <a:pt x="915" y="1108"/>
                  <a:pt x="915" y="1108"/>
                  <a:pt x="916" y="1107"/>
                </a:cubicBezTo>
                <a:cubicBezTo>
                  <a:pt x="916" y="1107"/>
                  <a:pt x="916" y="1107"/>
                  <a:pt x="915" y="1107"/>
                </a:cubicBezTo>
                <a:cubicBezTo>
                  <a:pt x="915" y="1107"/>
                  <a:pt x="915" y="1107"/>
                  <a:pt x="915" y="1108"/>
                </a:cubicBezTo>
                <a:close/>
                <a:moveTo>
                  <a:pt x="945" y="1198"/>
                </a:moveTo>
                <a:cubicBezTo>
                  <a:pt x="945" y="1198"/>
                  <a:pt x="945" y="1198"/>
                  <a:pt x="946" y="1197"/>
                </a:cubicBezTo>
                <a:cubicBezTo>
                  <a:pt x="946" y="1197"/>
                  <a:pt x="946" y="1197"/>
                  <a:pt x="946" y="1198"/>
                </a:cubicBezTo>
                <a:cubicBezTo>
                  <a:pt x="946" y="1198"/>
                  <a:pt x="946" y="1198"/>
                  <a:pt x="947" y="1198"/>
                </a:cubicBezTo>
                <a:cubicBezTo>
                  <a:pt x="947" y="1198"/>
                  <a:pt x="947" y="1198"/>
                  <a:pt x="948" y="1198"/>
                </a:cubicBezTo>
                <a:cubicBezTo>
                  <a:pt x="948" y="1198"/>
                  <a:pt x="948" y="1198"/>
                  <a:pt x="948" y="1197"/>
                </a:cubicBezTo>
                <a:cubicBezTo>
                  <a:pt x="948" y="1197"/>
                  <a:pt x="948" y="1197"/>
                  <a:pt x="948" y="1196"/>
                </a:cubicBezTo>
                <a:cubicBezTo>
                  <a:pt x="948" y="1196"/>
                  <a:pt x="948" y="1196"/>
                  <a:pt x="947" y="1196"/>
                </a:cubicBezTo>
                <a:cubicBezTo>
                  <a:pt x="947" y="1196"/>
                  <a:pt x="947" y="1196"/>
                  <a:pt x="946" y="1196"/>
                </a:cubicBezTo>
                <a:cubicBezTo>
                  <a:pt x="946" y="1196"/>
                  <a:pt x="946" y="1196"/>
                  <a:pt x="944" y="1195"/>
                </a:cubicBezTo>
                <a:cubicBezTo>
                  <a:pt x="944" y="1195"/>
                  <a:pt x="944" y="1195"/>
                  <a:pt x="943" y="1195"/>
                </a:cubicBezTo>
                <a:cubicBezTo>
                  <a:pt x="943" y="1195"/>
                  <a:pt x="943" y="1195"/>
                  <a:pt x="942" y="1196"/>
                </a:cubicBezTo>
                <a:cubicBezTo>
                  <a:pt x="942" y="1196"/>
                  <a:pt x="942" y="1196"/>
                  <a:pt x="942" y="1197"/>
                </a:cubicBezTo>
                <a:cubicBezTo>
                  <a:pt x="942" y="1197"/>
                  <a:pt x="942" y="1197"/>
                  <a:pt x="943" y="1198"/>
                </a:cubicBezTo>
                <a:cubicBezTo>
                  <a:pt x="943" y="1198"/>
                  <a:pt x="943" y="1198"/>
                  <a:pt x="943" y="1197"/>
                </a:cubicBezTo>
                <a:cubicBezTo>
                  <a:pt x="943" y="1197"/>
                  <a:pt x="943" y="1197"/>
                  <a:pt x="945" y="1197"/>
                </a:cubicBezTo>
                <a:cubicBezTo>
                  <a:pt x="945" y="1197"/>
                  <a:pt x="945" y="1197"/>
                  <a:pt x="945" y="1198"/>
                </a:cubicBezTo>
                <a:close/>
                <a:moveTo>
                  <a:pt x="934" y="1191"/>
                </a:moveTo>
                <a:cubicBezTo>
                  <a:pt x="934" y="1191"/>
                  <a:pt x="934" y="1191"/>
                  <a:pt x="934" y="1190"/>
                </a:cubicBezTo>
                <a:cubicBezTo>
                  <a:pt x="934" y="1190"/>
                  <a:pt x="934" y="1190"/>
                  <a:pt x="933" y="1190"/>
                </a:cubicBezTo>
                <a:cubicBezTo>
                  <a:pt x="933" y="1190"/>
                  <a:pt x="933" y="1190"/>
                  <a:pt x="932" y="1189"/>
                </a:cubicBezTo>
                <a:cubicBezTo>
                  <a:pt x="932" y="1189"/>
                  <a:pt x="932" y="1189"/>
                  <a:pt x="930" y="1189"/>
                </a:cubicBezTo>
                <a:cubicBezTo>
                  <a:pt x="930" y="1189"/>
                  <a:pt x="930" y="1189"/>
                  <a:pt x="929" y="1188"/>
                </a:cubicBezTo>
                <a:cubicBezTo>
                  <a:pt x="929" y="1188"/>
                  <a:pt x="929" y="1188"/>
                  <a:pt x="928" y="1188"/>
                </a:cubicBezTo>
                <a:cubicBezTo>
                  <a:pt x="928" y="1188"/>
                  <a:pt x="928" y="1188"/>
                  <a:pt x="927" y="1188"/>
                </a:cubicBezTo>
                <a:cubicBezTo>
                  <a:pt x="927" y="1188"/>
                  <a:pt x="927" y="1188"/>
                  <a:pt x="926" y="1187"/>
                </a:cubicBezTo>
                <a:cubicBezTo>
                  <a:pt x="926" y="1187"/>
                  <a:pt x="926" y="1187"/>
                  <a:pt x="925" y="1186"/>
                </a:cubicBezTo>
                <a:cubicBezTo>
                  <a:pt x="925" y="1186"/>
                  <a:pt x="925" y="1186"/>
                  <a:pt x="924" y="1185"/>
                </a:cubicBezTo>
                <a:cubicBezTo>
                  <a:pt x="924" y="1185"/>
                  <a:pt x="924" y="1185"/>
                  <a:pt x="924" y="1186"/>
                </a:cubicBezTo>
                <a:cubicBezTo>
                  <a:pt x="924" y="1186"/>
                  <a:pt x="924" y="1186"/>
                  <a:pt x="924" y="1187"/>
                </a:cubicBezTo>
                <a:cubicBezTo>
                  <a:pt x="924" y="1187"/>
                  <a:pt x="924" y="1187"/>
                  <a:pt x="925" y="1189"/>
                </a:cubicBezTo>
                <a:cubicBezTo>
                  <a:pt x="925" y="1189"/>
                  <a:pt x="925" y="1189"/>
                  <a:pt x="926" y="1189"/>
                </a:cubicBezTo>
                <a:cubicBezTo>
                  <a:pt x="926" y="1189"/>
                  <a:pt x="926" y="1189"/>
                  <a:pt x="928" y="1190"/>
                </a:cubicBezTo>
                <a:cubicBezTo>
                  <a:pt x="928" y="1190"/>
                  <a:pt x="928" y="1190"/>
                  <a:pt x="929" y="1190"/>
                </a:cubicBezTo>
                <a:cubicBezTo>
                  <a:pt x="929" y="1190"/>
                  <a:pt x="929" y="1190"/>
                  <a:pt x="930" y="1190"/>
                </a:cubicBezTo>
                <a:cubicBezTo>
                  <a:pt x="930" y="1190"/>
                  <a:pt x="930" y="1190"/>
                  <a:pt x="932" y="1191"/>
                </a:cubicBezTo>
                <a:cubicBezTo>
                  <a:pt x="932" y="1191"/>
                  <a:pt x="932" y="1191"/>
                  <a:pt x="933" y="1191"/>
                </a:cubicBezTo>
                <a:cubicBezTo>
                  <a:pt x="933" y="1191"/>
                  <a:pt x="933" y="1191"/>
                  <a:pt x="934" y="1191"/>
                </a:cubicBezTo>
                <a:close/>
                <a:moveTo>
                  <a:pt x="912" y="1121"/>
                </a:moveTo>
                <a:cubicBezTo>
                  <a:pt x="912" y="1121"/>
                  <a:pt x="912" y="1121"/>
                  <a:pt x="912" y="1120"/>
                </a:cubicBezTo>
                <a:cubicBezTo>
                  <a:pt x="912" y="1120"/>
                  <a:pt x="912" y="1120"/>
                  <a:pt x="911" y="1120"/>
                </a:cubicBezTo>
                <a:cubicBezTo>
                  <a:pt x="911" y="1120"/>
                  <a:pt x="911" y="1120"/>
                  <a:pt x="912" y="1121"/>
                </a:cubicBezTo>
                <a:close/>
                <a:moveTo>
                  <a:pt x="940" y="1198"/>
                </a:moveTo>
                <a:cubicBezTo>
                  <a:pt x="940" y="1199"/>
                  <a:pt x="940" y="1199"/>
                  <a:pt x="940" y="1199"/>
                </a:cubicBezTo>
                <a:cubicBezTo>
                  <a:pt x="941" y="1199"/>
                  <a:pt x="941" y="1199"/>
                  <a:pt x="941" y="1199"/>
                </a:cubicBezTo>
                <a:cubicBezTo>
                  <a:pt x="942" y="1198"/>
                  <a:pt x="942" y="1198"/>
                  <a:pt x="942" y="1198"/>
                </a:cubicBezTo>
                <a:cubicBezTo>
                  <a:pt x="942" y="1197"/>
                  <a:pt x="942" y="1197"/>
                  <a:pt x="942" y="1197"/>
                </a:cubicBezTo>
                <a:cubicBezTo>
                  <a:pt x="941" y="1197"/>
                  <a:pt x="941" y="1197"/>
                  <a:pt x="941" y="1197"/>
                </a:cubicBezTo>
                <a:cubicBezTo>
                  <a:pt x="940" y="1198"/>
                  <a:pt x="940" y="1198"/>
                  <a:pt x="940" y="1198"/>
                </a:cubicBezTo>
                <a:close/>
                <a:moveTo>
                  <a:pt x="940" y="1196"/>
                </a:moveTo>
                <a:cubicBezTo>
                  <a:pt x="940" y="1196"/>
                  <a:pt x="940" y="1196"/>
                  <a:pt x="940" y="1195"/>
                </a:cubicBezTo>
                <a:cubicBezTo>
                  <a:pt x="940" y="1195"/>
                  <a:pt x="940" y="1195"/>
                  <a:pt x="941" y="1195"/>
                </a:cubicBezTo>
                <a:cubicBezTo>
                  <a:pt x="941" y="1195"/>
                  <a:pt x="941" y="1195"/>
                  <a:pt x="941" y="1194"/>
                </a:cubicBezTo>
                <a:cubicBezTo>
                  <a:pt x="941" y="1194"/>
                  <a:pt x="941" y="1194"/>
                  <a:pt x="940" y="1194"/>
                </a:cubicBezTo>
                <a:cubicBezTo>
                  <a:pt x="940" y="1194"/>
                  <a:pt x="940" y="1194"/>
                  <a:pt x="939" y="1194"/>
                </a:cubicBezTo>
                <a:cubicBezTo>
                  <a:pt x="939" y="1194"/>
                  <a:pt x="939" y="1194"/>
                  <a:pt x="938" y="1193"/>
                </a:cubicBezTo>
                <a:cubicBezTo>
                  <a:pt x="938" y="1193"/>
                  <a:pt x="938" y="1193"/>
                  <a:pt x="937" y="1193"/>
                </a:cubicBezTo>
                <a:cubicBezTo>
                  <a:pt x="937" y="1193"/>
                  <a:pt x="937" y="1193"/>
                  <a:pt x="936" y="1192"/>
                </a:cubicBezTo>
                <a:cubicBezTo>
                  <a:pt x="936" y="1192"/>
                  <a:pt x="936" y="1192"/>
                  <a:pt x="934" y="1192"/>
                </a:cubicBezTo>
                <a:cubicBezTo>
                  <a:pt x="934" y="1192"/>
                  <a:pt x="934" y="1192"/>
                  <a:pt x="933" y="1192"/>
                </a:cubicBezTo>
                <a:cubicBezTo>
                  <a:pt x="933" y="1192"/>
                  <a:pt x="933" y="1192"/>
                  <a:pt x="932" y="1191"/>
                </a:cubicBezTo>
                <a:cubicBezTo>
                  <a:pt x="932" y="1191"/>
                  <a:pt x="932" y="1191"/>
                  <a:pt x="931" y="1191"/>
                </a:cubicBezTo>
                <a:cubicBezTo>
                  <a:pt x="931" y="1191"/>
                  <a:pt x="931" y="1191"/>
                  <a:pt x="931" y="1192"/>
                </a:cubicBezTo>
                <a:cubicBezTo>
                  <a:pt x="931" y="1192"/>
                  <a:pt x="931" y="1192"/>
                  <a:pt x="932" y="1193"/>
                </a:cubicBezTo>
                <a:cubicBezTo>
                  <a:pt x="932" y="1193"/>
                  <a:pt x="932" y="1193"/>
                  <a:pt x="932" y="1194"/>
                </a:cubicBezTo>
                <a:cubicBezTo>
                  <a:pt x="932" y="1194"/>
                  <a:pt x="932" y="1194"/>
                  <a:pt x="934" y="1195"/>
                </a:cubicBezTo>
                <a:cubicBezTo>
                  <a:pt x="934" y="1195"/>
                  <a:pt x="934" y="1195"/>
                  <a:pt x="935" y="1196"/>
                </a:cubicBezTo>
                <a:cubicBezTo>
                  <a:pt x="935" y="1196"/>
                  <a:pt x="935" y="1196"/>
                  <a:pt x="936" y="1196"/>
                </a:cubicBezTo>
                <a:cubicBezTo>
                  <a:pt x="936" y="1196"/>
                  <a:pt x="936" y="1196"/>
                  <a:pt x="937" y="1196"/>
                </a:cubicBezTo>
                <a:cubicBezTo>
                  <a:pt x="937" y="1196"/>
                  <a:pt x="937" y="1196"/>
                  <a:pt x="938" y="1196"/>
                </a:cubicBezTo>
                <a:cubicBezTo>
                  <a:pt x="938" y="1196"/>
                  <a:pt x="938" y="1196"/>
                  <a:pt x="938" y="1197"/>
                </a:cubicBezTo>
                <a:cubicBezTo>
                  <a:pt x="938" y="1197"/>
                  <a:pt x="938" y="1197"/>
                  <a:pt x="939" y="1198"/>
                </a:cubicBezTo>
                <a:cubicBezTo>
                  <a:pt x="939" y="1198"/>
                  <a:pt x="939" y="1198"/>
                  <a:pt x="940" y="1198"/>
                </a:cubicBezTo>
                <a:cubicBezTo>
                  <a:pt x="940" y="1198"/>
                  <a:pt x="940" y="1198"/>
                  <a:pt x="939" y="1197"/>
                </a:cubicBezTo>
                <a:cubicBezTo>
                  <a:pt x="939" y="1197"/>
                  <a:pt x="939" y="1197"/>
                  <a:pt x="940" y="1196"/>
                </a:cubicBezTo>
                <a:close/>
                <a:moveTo>
                  <a:pt x="937" y="1197"/>
                </a:moveTo>
                <a:cubicBezTo>
                  <a:pt x="937" y="1196"/>
                  <a:pt x="937" y="1196"/>
                  <a:pt x="937" y="1196"/>
                </a:cubicBezTo>
                <a:cubicBezTo>
                  <a:pt x="936" y="1197"/>
                  <a:pt x="936" y="1197"/>
                  <a:pt x="936" y="1197"/>
                </a:cubicBezTo>
                <a:cubicBezTo>
                  <a:pt x="937" y="1197"/>
                  <a:pt x="937" y="1197"/>
                  <a:pt x="937" y="1197"/>
                </a:cubicBezTo>
                <a:close/>
                <a:moveTo>
                  <a:pt x="927" y="1192"/>
                </a:moveTo>
                <a:cubicBezTo>
                  <a:pt x="927" y="1192"/>
                  <a:pt x="927" y="1192"/>
                  <a:pt x="929" y="1192"/>
                </a:cubicBezTo>
                <a:cubicBezTo>
                  <a:pt x="928" y="1191"/>
                  <a:pt x="928" y="1191"/>
                  <a:pt x="928" y="1191"/>
                </a:cubicBezTo>
                <a:cubicBezTo>
                  <a:pt x="928" y="1191"/>
                  <a:pt x="928" y="1191"/>
                  <a:pt x="927" y="1192"/>
                </a:cubicBezTo>
                <a:close/>
                <a:moveTo>
                  <a:pt x="917" y="1162"/>
                </a:moveTo>
                <a:cubicBezTo>
                  <a:pt x="917" y="1162"/>
                  <a:pt x="917" y="1162"/>
                  <a:pt x="917" y="1161"/>
                </a:cubicBezTo>
                <a:cubicBezTo>
                  <a:pt x="917" y="1161"/>
                  <a:pt x="917" y="1161"/>
                  <a:pt x="916" y="1161"/>
                </a:cubicBezTo>
                <a:cubicBezTo>
                  <a:pt x="916" y="1161"/>
                  <a:pt x="916" y="1161"/>
                  <a:pt x="915" y="1161"/>
                </a:cubicBezTo>
                <a:cubicBezTo>
                  <a:pt x="915" y="1161"/>
                  <a:pt x="915" y="1161"/>
                  <a:pt x="915" y="1162"/>
                </a:cubicBezTo>
                <a:cubicBezTo>
                  <a:pt x="915" y="1162"/>
                  <a:pt x="915" y="1162"/>
                  <a:pt x="914" y="1162"/>
                </a:cubicBezTo>
                <a:cubicBezTo>
                  <a:pt x="914" y="1162"/>
                  <a:pt x="914" y="1162"/>
                  <a:pt x="915" y="1163"/>
                </a:cubicBezTo>
                <a:cubicBezTo>
                  <a:pt x="915" y="1163"/>
                  <a:pt x="915" y="1163"/>
                  <a:pt x="915" y="1164"/>
                </a:cubicBezTo>
                <a:cubicBezTo>
                  <a:pt x="915" y="1164"/>
                  <a:pt x="915" y="1164"/>
                  <a:pt x="916" y="1164"/>
                </a:cubicBezTo>
                <a:cubicBezTo>
                  <a:pt x="916" y="1164"/>
                  <a:pt x="916" y="1164"/>
                  <a:pt x="917" y="1163"/>
                </a:cubicBezTo>
                <a:cubicBezTo>
                  <a:pt x="917" y="1163"/>
                  <a:pt x="917" y="1163"/>
                  <a:pt x="917" y="1162"/>
                </a:cubicBezTo>
                <a:close/>
                <a:moveTo>
                  <a:pt x="910" y="1113"/>
                </a:moveTo>
                <a:cubicBezTo>
                  <a:pt x="910" y="1113"/>
                  <a:pt x="910" y="1113"/>
                  <a:pt x="911" y="1113"/>
                </a:cubicBezTo>
                <a:cubicBezTo>
                  <a:pt x="911" y="1113"/>
                  <a:pt x="911" y="1113"/>
                  <a:pt x="910" y="1112"/>
                </a:cubicBezTo>
                <a:cubicBezTo>
                  <a:pt x="910" y="1112"/>
                  <a:pt x="910" y="1112"/>
                  <a:pt x="909" y="1112"/>
                </a:cubicBezTo>
                <a:cubicBezTo>
                  <a:pt x="909" y="1112"/>
                  <a:pt x="909" y="1112"/>
                  <a:pt x="909" y="1113"/>
                </a:cubicBezTo>
                <a:cubicBezTo>
                  <a:pt x="909" y="1113"/>
                  <a:pt x="909" y="1113"/>
                  <a:pt x="909" y="1114"/>
                </a:cubicBezTo>
                <a:cubicBezTo>
                  <a:pt x="909" y="1114"/>
                  <a:pt x="909" y="1114"/>
                  <a:pt x="910" y="1113"/>
                </a:cubicBezTo>
                <a:close/>
                <a:moveTo>
                  <a:pt x="906" y="1106"/>
                </a:moveTo>
                <a:cubicBezTo>
                  <a:pt x="906" y="1106"/>
                  <a:pt x="906" y="1106"/>
                  <a:pt x="907" y="1107"/>
                </a:cubicBezTo>
                <a:cubicBezTo>
                  <a:pt x="907" y="1107"/>
                  <a:pt x="907" y="1107"/>
                  <a:pt x="909" y="1106"/>
                </a:cubicBezTo>
                <a:cubicBezTo>
                  <a:pt x="909" y="1106"/>
                  <a:pt x="909" y="1106"/>
                  <a:pt x="908" y="1105"/>
                </a:cubicBezTo>
                <a:cubicBezTo>
                  <a:pt x="908" y="1105"/>
                  <a:pt x="908" y="1105"/>
                  <a:pt x="907" y="1105"/>
                </a:cubicBezTo>
                <a:cubicBezTo>
                  <a:pt x="907" y="1105"/>
                  <a:pt x="907" y="1105"/>
                  <a:pt x="906" y="1106"/>
                </a:cubicBezTo>
                <a:close/>
                <a:moveTo>
                  <a:pt x="912" y="1108"/>
                </a:moveTo>
                <a:cubicBezTo>
                  <a:pt x="912" y="1108"/>
                  <a:pt x="912" y="1108"/>
                  <a:pt x="913" y="1108"/>
                </a:cubicBezTo>
                <a:cubicBezTo>
                  <a:pt x="913" y="1108"/>
                  <a:pt x="913" y="1108"/>
                  <a:pt x="913" y="1109"/>
                </a:cubicBezTo>
                <a:cubicBezTo>
                  <a:pt x="913" y="1109"/>
                  <a:pt x="913" y="1109"/>
                  <a:pt x="914" y="1109"/>
                </a:cubicBezTo>
                <a:cubicBezTo>
                  <a:pt x="914" y="1109"/>
                  <a:pt x="914" y="1109"/>
                  <a:pt x="914" y="1107"/>
                </a:cubicBezTo>
                <a:cubicBezTo>
                  <a:pt x="914" y="1107"/>
                  <a:pt x="914" y="1107"/>
                  <a:pt x="913" y="1107"/>
                </a:cubicBezTo>
                <a:cubicBezTo>
                  <a:pt x="913" y="1107"/>
                  <a:pt x="913" y="1107"/>
                  <a:pt x="912" y="1108"/>
                </a:cubicBezTo>
                <a:close/>
                <a:moveTo>
                  <a:pt x="905" y="1115"/>
                </a:moveTo>
                <a:cubicBezTo>
                  <a:pt x="905" y="1115"/>
                  <a:pt x="905" y="1115"/>
                  <a:pt x="907" y="1116"/>
                </a:cubicBezTo>
                <a:cubicBezTo>
                  <a:pt x="907" y="1116"/>
                  <a:pt x="907" y="1116"/>
                  <a:pt x="907" y="1115"/>
                </a:cubicBezTo>
                <a:cubicBezTo>
                  <a:pt x="907" y="1115"/>
                  <a:pt x="907" y="1115"/>
                  <a:pt x="907" y="1114"/>
                </a:cubicBezTo>
                <a:cubicBezTo>
                  <a:pt x="907" y="1114"/>
                  <a:pt x="907" y="1114"/>
                  <a:pt x="905" y="1114"/>
                </a:cubicBezTo>
                <a:cubicBezTo>
                  <a:pt x="905" y="1114"/>
                  <a:pt x="905" y="1114"/>
                  <a:pt x="905" y="1115"/>
                </a:cubicBezTo>
                <a:close/>
                <a:moveTo>
                  <a:pt x="924" y="1174"/>
                </a:moveTo>
                <a:cubicBezTo>
                  <a:pt x="924" y="1174"/>
                  <a:pt x="924" y="1174"/>
                  <a:pt x="924" y="1176"/>
                </a:cubicBezTo>
                <a:cubicBezTo>
                  <a:pt x="924" y="1176"/>
                  <a:pt x="924" y="1176"/>
                  <a:pt x="925" y="1177"/>
                </a:cubicBezTo>
                <a:cubicBezTo>
                  <a:pt x="925" y="1177"/>
                  <a:pt x="925" y="1177"/>
                  <a:pt x="926" y="1177"/>
                </a:cubicBezTo>
                <a:cubicBezTo>
                  <a:pt x="926" y="1177"/>
                  <a:pt x="926" y="1177"/>
                  <a:pt x="925" y="1175"/>
                </a:cubicBezTo>
                <a:cubicBezTo>
                  <a:pt x="925" y="1175"/>
                  <a:pt x="925" y="1175"/>
                  <a:pt x="925" y="1174"/>
                </a:cubicBezTo>
                <a:cubicBezTo>
                  <a:pt x="925" y="1174"/>
                  <a:pt x="925" y="1174"/>
                  <a:pt x="924" y="1174"/>
                </a:cubicBezTo>
                <a:close/>
                <a:moveTo>
                  <a:pt x="909" y="1113"/>
                </a:moveTo>
                <a:cubicBezTo>
                  <a:pt x="909" y="1113"/>
                  <a:pt x="909" y="1113"/>
                  <a:pt x="908" y="1113"/>
                </a:cubicBezTo>
                <a:cubicBezTo>
                  <a:pt x="908" y="1113"/>
                  <a:pt x="908" y="1113"/>
                  <a:pt x="907" y="1114"/>
                </a:cubicBezTo>
                <a:cubicBezTo>
                  <a:pt x="907" y="1114"/>
                  <a:pt x="907" y="1114"/>
                  <a:pt x="908" y="1114"/>
                </a:cubicBezTo>
                <a:cubicBezTo>
                  <a:pt x="908" y="1114"/>
                  <a:pt x="908" y="1114"/>
                  <a:pt x="909" y="1113"/>
                </a:cubicBezTo>
                <a:close/>
                <a:moveTo>
                  <a:pt x="913" y="1122"/>
                </a:moveTo>
                <a:cubicBezTo>
                  <a:pt x="913" y="1122"/>
                  <a:pt x="913" y="1122"/>
                  <a:pt x="914" y="1121"/>
                </a:cubicBezTo>
                <a:cubicBezTo>
                  <a:pt x="914" y="1121"/>
                  <a:pt x="914" y="1121"/>
                  <a:pt x="913" y="1121"/>
                </a:cubicBezTo>
                <a:cubicBezTo>
                  <a:pt x="913" y="1121"/>
                  <a:pt x="913" y="1121"/>
                  <a:pt x="913" y="1122"/>
                </a:cubicBezTo>
                <a:close/>
                <a:moveTo>
                  <a:pt x="925" y="1178"/>
                </a:moveTo>
                <a:cubicBezTo>
                  <a:pt x="925" y="1178"/>
                  <a:pt x="925" y="1178"/>
                  <a:pt x="926" y="1179"/>
                </a:cubicBezTo>
                <a:cubicBezTo>
                  <a:pt x="926" y="1179"/>
                  <a:pt x="926" y="1179"/>
                  <a:pt x="927" y="1179"/>
                </a:cubicBezTo>
                <a:cubicBezTo>
                  <a:pt x="927" y="1179"/>
                  <a:pt x="927" y="1179"/>
                  <a:pt x="926" y="1178"/>
                </a:cubicBezTo>
                <a:cubicBezTo>
                  <a:pt x="926" y="1178"/>
                  <a:pt x="926" y="1178"/>
                  <a:pt x="925" y="1178"/>
                </a:cubicBezTo>
                <a:close/>
                <a:moveTo>
                  <a:pt x="911" y="1156"/>
                </a:moveTo>
                <a:cubicBezTo>
                  <a:pt x="911" y="1156"/>
                  <a:pt x="911" y="1156"/>
                  <a:pt x="912" y="1157"/>
                </a:cubicBezTo>
                <a:cubicBezTo>
                  <a:pt x="912" y="1157"/>
                  <a:pt x="912" y="1157"/>
                  <a:pt x="912" y="1158"/>
                </a:cubicBezTo>
                <a:cubicBezTo>
                  <a:pt x="912" y="1158"/>
                  <a:pt x="912" y="1158"/>
                  <a:pt x="913" y="1158"/>
                </a:cubicBezTo>
                <a:cubicBezTo>
                  <a:pt x="913" y="1158"/>
                  <a:pt x="913" y="1158"/>
                  <a:pt x="914" y="1157"/>
                </a:cubicBezTo>
                <a:cubicBezTo>
                  <a:pt x="914" y="1157"/>
                  <a:pt x="914" y="1157"/>
                  <a:pt x="913" y="1156"/>
                </a:cubicBezTo>
                <a:cubicBezTo>
                  <a:pt x="913" y="1156"/>
                  <a:pt x="913" y="1156"/>
                  <a:pt x="911" y="1156"/>
                </a:cubicBezTo>
                <a:close/>
                <a:moveTo>
                  <a:pt x="918" y="1169"/>
                </a:moveTo>
                <a:cubicBezTo>
                  <a:pt x="918" y="1169"/>
                  <a:pt x="918" y="1169"/>
                  <a:pt x="917" y="1170"/>
                </a:cubicBezTo>
                <a:cubicBezTo>
                  <a:pt x="917" y="1170"/>
                  <a:pt x="917" y="1170"/>
                  <a:pt x="918" y="1171"/>
                </a:cubicBezTo>
                <a:cubicBezTo>
                  <a:pt x="918" y="1171"/>
                  <a:pt x="918" y="1171"/>
                  <a:pt x="918" y="1172"/>
                </a:cubicBezTo>
                <a:cubicBezTo>
                  <a:pt x="918" y="1172"/>
                  <a:pt x="918" y="1172"/>
                  <a:pt x="917" y="1172"/>
                </a:cubicBezTo>
                <a:cubicBezTo>
                  <a:pt x="917" y="1172"/>
                  <a:pt x="917" y="1172"/>
                  <a:pt x="918" y="1173"/>
                </a:cubicBezTo>
                <a:cubicBezTo>
                  <a:pt x="918" y="1173"/>
                  <a:pt x="918" y="1173"/>
                  <a:pt x="919" y="1173"/>
                </a:cubicBezTo>
                <a:cubicBezTo>
                  <a:pt x="919" y="1173"/>
                  <a:pt x="919" y="1173"/>
                  <a:pt x="921" y="1172"/>
                </a:cubicBezTo>
                <a:cubicBezTo>
                  <a:pt x="921" y="1172"/>
                  <a:pt x="921" y="1172"/>
                  <a:pt x="922" y="1172"/>
                </a:cubicBezTo>
                <a:cubicBezTo>
                  <a:pt x="922" y="1172"/>
                  <a:pt x="922" y="1172"/>
                  <a:pt x="922" y="1171"/>
                </a:cubicBezTo>
                <a:cubicBezTo>
                  <a:pt x="922" y="1171"/>
                  <a:pt x="922" y="1171"/>
                  <a:pt x="920" y="1170"/>
                </a:cubicBezTo>
                <a:cubicBezTo>
                  <a:pt x="920" y="1170"/>
                  <a:pt x="920" y="1170"/>
                  <a:pt x="919" y="1170"/>
                </a:cubicBezTo>
                <a:cubicBezTo>
                  <a:pt x="919" y="1170"/>
                  <a:pt x="919" y="1170"/>
                  <a:pt x="918" y="1169"/>
                </a:cubicBezTo>
                <a:close/>
                <a:moveTo>
                  <a:pt x="956" y="1204"/>
                </a:moveTo>
                <a:cubicBezTo>
                  <a:pt x="957" y="1205"/>
                  <a:pt x="957" y="1205"/>
                  <a:pt x="957" y="1205"/>
                </a:cubicBezTo>
                <a:cubicBezTo>
                  <a:pt x="957" y="1205"/>
                  <a:pt x="957" y="1205"/>
                  <a:pt x="958" y="1204"/>
                </a:cubicBezTo>
                <a:cubicBezTo>
                  <a:pt x="958" y="1204"/>
                  <a:pt x="958" y="1204"/>
                  <a:pt x="957" y="1204"/>
                </a:cubicBezTo>
                <a:cubicBezTo>
                  <a:pt x="957" y="1204"/>
                  <a:pt x="957" y="1204"/>
                  <a:pt x="956" y="1204"/>
                </a:cubicBezTo>
                <a:close/>
                <a:moveTo>
                  <a:pt x="917" y="1165"/>
                </a:moveTo>
                <a:cubicBezTo>
                  <a:pt x="917" y="1165"/>
                  <a:pt x="917" y="1165"/>
                  <a:pt x="917" y="1166"/>
                </a:cubicBezTo>
                <a:cubicBezTo>
                  <a:pt x="917" y="1166"/>
                  <a:pt x="917" y="1166"/>
                  <a:pt x="917" y="1167"/>
                </a:cubicBezTo>
                <a:cubicBezTo>
                  <a:pt x="917" y="1167"/>
                  <a:pt x="917" y="1167"/>
                  <a:pt x="918" y="1167"/>
                </a:cubicBezTo>
                <a:cubicBezTo>
                  <a:pt x="918" y="1168"/>
                  <a:pt x="918" y="1168"/>
                  <a:pt x="918" y="1168"/>
                </a:cubicBezTo>
                <a:cubicBezTo>
                  <a:pt x="918" y="1168"/>
                  <a:pt x="918" y="1168"/>
                  <a:pt x="920" y="1170"/>
                </a:cubicBezTo>
                <a:cubicBezTo>
                  <a:pt x="920" y="1170"/>
                  <a:pt x="920" y="1170"/>
                  <a:pt x="921" y="1170"/>
                </a:cubicBezTo>
                <a:cubicBezTo>
                  <a:pt x="921" y="1170"/>
                  <a:pt x="921" y="1170"/>
                  <a:pt x="921" y="1169"/>
                </a:cubicBezTo>
                <a:cubicBezTo>
                  <a:pt x="921" y="1169"/>
                  <a:pt x="921" y="1169"/>
                  <a:pt x="920" y="1167"/>
                </a:cubicBezTo>
                <a:cubicBezTo>
                  <a:pt x="920" y="1167"/>
                  <a:pt x="920" y="1167"/>
                  <a:pt x="919" y="1166"/>
                </a:cubicBezTo>
                <a:cubicBezTo>
                  <a:pt x="919" y="1166"/>
                  <a:pt x="919" y="1166"/>
                  <a:pt x="918" y="1166"/>
                </a:cubicBezTo>
                <a:cubicBezTo>
                  <a:pt x="918" y="1166"/>
                  <a:pt x="918" y="1166"/>
                  <a:pt x="917" y="1165"/>
                </a:cubicBezTo>
                <a:close/>
                <a:moveTo>
                  <a:pt x="918" y="1164"/>
                </a:moveTo>
                <a:cubicBezTo>
                  <a:pt x="918" y="1164"/>
                  <a:pt x="918" y="1164"/>
                  <a:pt x="919" y="1166"/>
                </a:cubicBezTo>
                <a:cubicBezTo>
                  <a:pt x="919" y="1166"/>
                  <a:pt x="919" y="1166"/>
                  <a:pt x="920" y="1166"/>
                </a:cubicBezTo>
                <a:cubicBezTo>
                  <a:pt x="920" y="1166"/>
                  <a:pt x="920" y="1166"/>
                  <a:pt x="922" y="1168"/>
                </a:cubicBezTo>
                <a:cubicBezTo>
                  <a:pt x="922" y="1168"/>
                  <a:pt x="922" y="1168"/>
                  <a:pt x="921" y="1166"/>
                </a:cubicBezTo>
                <a:cubicBezTo>
                  <a:pt x="921" y="1166"/>
                  <a:pt x="921" y="1166"/>
                  <a:pt x="920" y="1164"/>
                </a:cubicBezTo>
                <a:cubicBezTo>
                  <a:pt x="920" y="1164"/>
                  <a:pt x="920" y="1164"/>
                  <a:pt x="919" y="1164"/>
                </a:cubicBezTo>
                <a:cubicBezTo>
                  <a:pt x="919" y="1164"/>
                  <a:pt x="919" y="1164"/>
                  <a:pt x="918" y="1164"/>
                </a:cubicBezTo>
                <a:close/>
                <a:moveTo>
                  <a:pt x="923" y="1176"/>
                </a:moveTo>
                <a:cubicBezTo>
                  <a:pt x="923" y="1176"/>
                  <a:pt x="923" y="1176"/>
                  <a:pt x="922" y="1175"/>
                </a:cubicBezTo>
                <a:cubicBezTo>
                  <a:pt x="922" y="1175"/>
                  <a:pt x="922" y="1175"/>
                  <a:pt x="921" y="1175"/>
                </a:cubicBezTo>
                <a:cubicBezTo>
                  <a:pt x="921" y="1175"/>
                  <a:pt x="921" y="1175"/>
                  <a:pt x="920" y="1174"/>
                </a:cubicBezTo>
                <a:cubicBezTo>
                  <a:pt x="920" y="1174"/>
                  <a:pt x="920" y="1174"/>
                  <a:pt x="919" y="1174"/>
                </a:cubicBezTo>
                <a:cubicBezTo>
                  <a:pt x="919" y="1174"/>
                  <a:pt x="919" y="1174"/>
                  <a:pt x="920" y="1175"/>
                </a:cubicBezTo>
                <a:cubicBezTo>
                  <a:pt x="920" y="1175"/>
                  <a:pt x="920" y="1175"/>
                  <a:pt x="919" y="1176"/>
                </a:cubicBezTo>
                <a:cubicBezTo>
                  <a:pt x="919" y="1176"/>
                  <a:pt x="919" y="1176"/>
                  <a:pt x="919" y="1177"/>
                </a:cubicBezTo>
                <a:cubicBezTo>
                  <a:pt x="919" y="1177"/>
                  <a:pt x="919" y="1177"/>
                  <a:pt x="920" y="1178"/>
                </a:cubicBezTo>
                <a:cubicBezTo>
                  <a:pt x="920" y="1178"/>
                  <a:pt x="920" y="1178"/>
                  <a:pt x="921" y="1178"/>
                </a:cubicBezTo>
                <a:cubicBezTo>
                  <a:pt x="921" y="1178"/>
                  <a:pt x="921" y="1178"/>
                  <a:pt x="920" y="1177"/>
                </a:cubicBezTo>
                <a:cubicBezTo>
                  <a:pt x="920" y="1177"/>
                  <a:pt x="920" y="1177"/>
                  <a:pt x="921" y="1176"/>
                </a:cubicBezTo>
                <a:cubicBezTo>
                  <a:pt x="921" y="1176"/>
                  <a:pt x="921" y="1176"/>
                  <a:pt x="921" y="1177"/>
                </a:cubicBezTo>
                <a:cubicBezTo>
                  <a:pt x="921" y="1177"/>
                  <a:pt x="921" y="1177"/>
                  <a:pt x="922" y="1178"/>
                </a:cubicBezTo>
                <a:cubicBezTo>
                  <a:pt x="922" y="1178"/>
                  <a:pt x="922" y="1178"/>
                  <a:pt x="923" y="1177"/>
                </a:cubicBezTo>
                <a:cubicBezTo>
                  <a:pt x="923" y="1177"/>
                  <a:pt x="923" y="1177"/>
                  <a:pt x="924" y="1178"/>
                </a:cubicBezTo>
                <a:cubicBezTo>
                  <a:pt x="924" y="1178"/>
                  <a:pt x="924" y="1178"/>
                  <a:pt x="925" y="1178"/>
                </a:cubicBezTo>
                <a:cubicBezTo>
                  <a:pt x="925" y="1178"/>
                  <a:pt x="925" y="1178"/>
                  <a:pt x="924" y="1177"/>
                </a:cubicBezTo>
                <a:cubicBezTo>
                  <a:pt x="924" y="1177"/>
                  <a:pt x="924" y="1177"/>
                  <a:pt x="923" y="1176"/>
                </a:cubicBezTo>
                <a:close/>
                <a:moveTo>
                  <a:pt x="965" y="1202"/>
                </a:moveTo>
                <a:cubicBezTo>
                  <a:pt x="965" y="1202"/>
                  <a:pt x="965" y="1202"/>
                  <a:pt x="963" y="1203"/>
                </a:cubicBezTo>
                <a:cubicBezTo>
                  <a:pt x="963" y="1203"/>
                  <a:pt x="963" y="1203"/>
                  <a:pt x="960" y="1204"/>
                </a:cubicBezTo>
                <a:cubicBezTo>
                  <a:pt x="960" y="1204"/>
                  <a:pt x="960" y="1204"/>
                  <a:pt x="959" y="1204"/>
                </a:cubicBezTo>
                <a:cubicBezTo>
                  <a:pt x="959" y="1204"/>
                  <a:pt x="959" y="1204"/>
                  <a:pt x="958" y="1204"/>
                </a:cubicBezTo>
                <a:cubicBezTo>
                  <a:pt x="958" y="1204"/>
                  <a:pt x="958" y="1204"/>
                  <a:pt x="959" y="1205"/>
                </a:cubicBezTo>
                <a:cubicBezTo>
                  <a:pt x="959" y="1205"/>
                  <a:pt x="959" y="1205"/>
                  <a:pt x="957" y="1206"/>
                </a:cubicBezTo>
                <a:cubicBezTo>
                  <a:pt x="957" y="1206"/>
                  <a:pt x="957" y="1206"/>
                  <a:pt x="956" y="1206"/>
                </a:cubicBezTo>
                <a:cubicBezTo>
                  <a:pt x="956" y="1206"/>
                  <a:pt x="956" y="1206"/>
                  <a:pt x="956" y="1207"/>
                </a:cubicBezTo>
                <a:cubicBezTo>
                  <a:pt x="956" y="1207"/>
                  <a:pt x="956" y="1207"/>
                  <a:pt x="957" y="1207"/>
                </a:cubicBezTo>
                <a:cubicBezTo>
                  <a:pt x="957" y="1207"/>
                  <a:pt x="957" y="1207"/>
                  <a:pt x="958" y="1207"/>
                </a:cubicBezTo>
                <a:cubicBezTo>
                  <a:pt x="958" y="1207"/>
                  <a:pt x="958" y="1207"/>
                  <a:pt x="957" y="1208"/>
                </a:cubicBezTo>
                <a:cubicBezTo>
                  <a:pt x="957" y="1208"/>
                  <a:pt x="957" y="1208"/>
                  <a:pt x="958" y="1208"/>
                </a:cubicBezTo>
                <a:cubicBezTo>
                  <a:pt x="958" y="1208"/>
                  <a:pt x="958" y="1208"/>
                  <a:pt x="959" y="1209"/>
                </a:cubicBezTo>
                <a:cubicBezTo>
                  <a:pt x="959" y="1209"/>
                  <a:pt x="959" y="1209"/>
                  <a:pt x="959" y="1208"/>
                </a:cubicBezTo>
                <a:cubicBezTo>
                  <a:pt x="959" y="1208"/>
                  <a:pt x="959" y="1208"/>
                  <a:pt x="961" y="1209"/>
                </a:cubicBezTo>
                <a:cubicBezTo>
                  <a:pt x="961" y="1209"/>
                  <a:pt x="961" y="1209"/>
                  <a:pt x="962" y="1208"/>
                </a:cubicBezTo>
                <a:cubicBezTo>
                  <a:pt x="962" y="1208"/>
                  <a:pt x="962" y="1208"/>
                  <a:pt x="961" y="1207"/>
                </a:cubicBezTo>
                <a:cubicBezTo>
                  <a:pt x="961" y="1207"/>
                  <a:pt x="961" y="1207"/>
                  <a:pt x="962" y="1207"/>
                </a:cubicBezTo>
                <a:cubicBezTo>
                  <a:pt x="962" y="1207"/>
                  <a:pt x="962" y="1207"/>
                  <a:pt x="962" y="1208"/>
                </a:cubicBezTo>
                <a:cubicBezTo>
                  <a:pt x="962" y="1208"/>
                  <a:pt x="962" y="1208"/>
                  <a:pt x="963" y="1208"/>
                </a:cubicBezTo>
                <a:cubicBezTo>
                  <a:pt x="963" y="1208"/>
                  <a:pt x="963" y="1208"/>
                  <a:pt x="964" y="1208"/>
                </a:cubicBezTo>
                <a:cubicBezTo>
                  <a:pt x="964" y="1208"/>
                  <a:pt x="964" y="1208"/>
                  <a:pt x="965" y="1208"/>
                </a:cubicBezTo>
                <a:cubicBezTo>
                  <a:pt x="965" y="1208"/>
                  <a:pt x="965" y="1208"/>
                  <a:pt x="967" y="1209"/>
                </a:cubicBezTo>
                <a:cubicBezTo>
                  <a:pt x="967" y="1209"/>
                  <a:pt x="967" y="1209"/>
                  <a:pt x="967" y="1208"/>
                </a:cubicBezTo>
                <a:cubicBezTo>
                  <a:pt x="967" y="1208"/>
                  <a:pt x="967" y="1208"/>
                  <a:pt x="966" y="1207"/>
                </a:cubicBezTo>
                <a:cubicBezTo>
                  <a:pt x="966" y="1207"/>
                  <a:pt x="966" y="1207"/>
                  <a:pt x="965" y="1207"/>
                </a:cubicBezTo>
                <a:cubicBezTo>
                  <a:pt x="965" y="1207"/>
                  <a:pt x="965" y="1207"/>
                  <a:pt x="965" y="1206"/>
                </a:cubicBezTo>
                <a:cubicBezTo>
                  <a:pt x="965" y="1206"/>
                  <a:pt x="965" y="1206"/>
                  <a:pt x="963" y="1206"/>
                </a:cubicBezTo>
                <a:cubicBezTo>
                  <a:pt x="963" y="1206"/>
                  <a:pt x="963" y="1206"/>
                  <a:pt x="962" y="1205"/>
                </a:cubicBezTo>
                <a:cubicBezTo>
                  <a:pt x="962" y="1205"/>
                  <a:pt x="962" y="1205"/>
                  <a:pt x="963" y="1205"/>
                </a:cubicBezTo>
                <a:cubicBezTo>
                  <a:pt x="963" y="1205"/>
                  <a:pt x="963" y="1205"/>
                  <a:pt x="964" y="1205"/>
                </a:cubicBezTo>
                <a:cubicBezTo>
                  <a:pt x="964" y="1205"/>
                  <a:pt x="964" y="1205"/>
                  <a:pt x="965" y="1204"/>
                </a:cubicBezTo>
                <a:cubicBezTo>
                  <a:pt x="965" y="1204"/>
                  <a:pt x="965" y="1204"/>
                  <a:pt x="966" y="1204"/>
                </a:cubicBezTo>
                <a:cubicBezTo>
                  <a:pt x="966" y="1204"/>
                  <a:pt x="966" y="1204"/>
                  <a:pt x="966" y="1205"/>
                </a:cubicBezTo>
                <a:cubicBezTo>
                  <a:pt x="966" y="1205"/>
                  <a:pt x="966" y="1205"/>
                  <a:pt x="967" y="1206"/>
                </a:cubicBezTo>
                <a:cubicBezTo>
                  <a:pt x="967" y="1206"/>
                  <a:pt x="967" y="1206"/>
                  <a:pt x="968" y="1205"/>
                </a:cubicBezTo>
                <a:cubicBezTo>
                  <a:pt x="968" y="1205"/>
                  <a:pt x="968" y="1205"/>
                  <a:pt x="969" y="1205"/>
                </a:cubicBezTo>
                <a:cubicBezTo>
                  <a:pt x="969" y="1205"/>
                  <a:pt x="969" y="1205"/>
                  <a:pt x="970" y="1205"/>
                </a:cubicBezTo>
                <a:cubicBezTo>
                  <a:pt x="970" y="1205"/>
                  <a:pt x="970" y="1205"/>
                  <a:pt x="971" y="1206"/>
                </a:cubicBezTo>
                <a:cubicBezTo>
                  <a:pt x="971" y="1206"/>
                  <a:pt x="971" y="1206"/>
                  <a:pt x="972" y="1205"/>
                </a:cubicBezTo>
                <a:cubicBezTo>
                  <a:pt x="972" y="1205"/>
                  <a:pt x="972" y="1205"/>
                  <a:pt x="972" y="1204"/>
                </a:cubicBezTo>
                <a:cubicBezTo>
                  <a:pt x="972" y="1204"/>
                  <a:pt x="972" y="1204"/>
                  <a:pt x="971" y="1203"/>
                </a:cubicBezTo>
                <a:cubicBezTo>
                  <a:pt x="971" y="1203"/>
                  <a:pt x="971" y="1203"/>
                  <a:pt x="970" y="1202"/>
                </a:cubicBezTo>
                <a:cubicBezTo>
                  <a:pt x="970" y="1202"/>
                  <a:pt x="970" y="1202"/>
                  <a:pt x="968" y="1202"/>
                </a:cubicBezTo>
                <a:cubicBezTo>
                  <a:pt x="968" y="1202"/>
                  <a:pt x="968" y="1202"/>
                  <a:pt x="967" y="1203"/>
                </a:cubicBezTo>
                <a:cubicBezTo>
                  <a:pt x="967" y="1203"/>
                  <a:pt x="967" y="1203"/>
                  <a:pt x="965" y="1202"/>
                </a:cubicBezTo>
                <a:close/>
                <a:moveTo>
                  <a:pt x="948" y="1206"/>
                </a:moveTo>
                <a:cubicBezTo>
                  <a:pt x="948" y="1206"/>
                  <a:pt x="948" y="1206"/>
                  <a:pt x="948" y="1205"/>
                </a:cubicBezTo>
                <a:cubicBezTo>
                  <a:pt x="948" y="1205"/>
                  <a:pt x="948" y="1205"/>
                  <a:pt x="947" y="1205"/>
                </a:cubicBezTo>
                <a:cubicBezTo>
                  <a:pt x="947" y="1205"/>
                  <a:pt x="947" y="1205"/>
                  <a:pt x="948" y="1206"/>
                </a:cubicBezTo>
                <a:close/>
                <a:moveTo>
                  <a:pt x="927" y="1182"/>
                </a:moveTo>
                <a:cubicBezTo>
                  <a:pt x="927" y="1182"/>
                  <a:pt x="927" y="1182"/>
                  <a:pt x="926" y="1182"/>
                </a:cubicBezTo>
                <a:cubicBezTo>
                  <a:pt x="926" y="1182"/>
                  <a:pt x="926" y="1182"/>
                  <a:pt x="925" y="1183"/>
                </a:cubicBezTo>
                <a:cubicBezTo>
                  <a:pt x="925" y="1183"/>
                  <a:pt x="925" y="1183"/>
                  <a:pt x="927" y="1183"/>
                </a:cubicBezTo>
                <a:cubicBezTo>
                  <a:pt x="927" y="1183"/>
                  <a:pt x="927" y="1183"/>
                  <a:pt x="927" y="1184"/>
                </a:cubicBezTo>
                <a:cubicBezTo>
                  <a:pt x="927" y="1184"/>
                  <a:pt x="927" y="1184"/>
                  <a:pt x="928" y="1184"/>
                </a:cubicBezTo>
                <a:cubicBezTo>
                  <a:pt x="928" y="1184"/>
                  <a:pt x="928" y="1184"/>
                  <a:pt x="929" y="1183"/>
                </a:cubicBezTo>
                <a:cubicBezTo>
                  <a:pt x="929" y="1183"/>
                  <a:pt x="929" y="1183"/>
                  <a:pt x="928" y="1182"/>
                </a:cubicBezTo>
                <a:cubicBezTo>
                  <a:pt x="928" y="1182"/>
                  <a:pt x="928" y="1182"/>
                  <a:pt x="927" y="1182"/>
                </a:cubicBezTo>
                <a:close/>
                <a:moveTo>
                  <a:pt x="927" y="1180"/>
                </a:moveTo>
                <a:cubicBezTo>
                  <a:pt x="927" y="1180"/>
                  <a:pt x="927" y="1180"/>
                  <a:pt x="925" y="1179"/>
                </a:cubicBezTo>
                <a:cubicBezTo>
                  <a:pt x="925" y="1179"/>
                  <a:pt x="925" y="1179"/>
                  <a:pt x="925" y="1180"/>
                </a:cubicBezTo>
                <a:cubicBezTo>
                  <a:pt x="925" y="1180"/>
                  <a:pt x="925" y="1180"/>
                  <a:pt x="927" y="1182"/>
                </a:cubicBezTo>
                <a:cubicBezTo>
                  <a:pt x="927" y="1182"/>
                  <a:pt x="927" y="1182"/>
                  <a:pt x="927" y="1181"/>
                </a:cubicBezTo>
                <a:cubicBezTo>
                  <a:pt x="927" y="1181"/>
                  <a:pt x="927" y="1181"/>
                  <a:pt x="927" y="1180"/>
                </a:cubicBezTo>
                <a:close/>
                <a:moveTo>
                  <a:pt x="953" y="1182"/>
                </a:moveTo>
                <a:cubicBezTo>
                  <a:pt x="953" y="1182"/>
                  <a:pt x="953" y="1182"/>
                  <a:pt x="953" y="1183"/>
                </a:cubicBezTo>
                <a:cubicBezTo>
                  <a:pt x="953" y="1183"/>
                  <a:pt x="953" y="1183"/>
                  <a:pt x="952" y="1184"/>
                </a:cubicBezTo>
                <a:cubicBezTo>
                  <a:pt x="952" y="1184"/>
                  <a:pt x="952" y="1184"/>
                  <a:pt x="951" y="1184"/>
                </a:cubicBezTo>
                <a:cubicBezTo>
                  <a:pt x="951" y="1184"/>
                  <a:pt x="951" y="1184"/>
                  <a:pt x="950" y="1184"/>
                </a:cubicBezTo>
                <a:cubicBezTo>
                  <a:pt x="950" y="1184"/>
                  <a:pt x="950" y="1184"/>
                  <a:pt x="949" y="1183"/>
                </a:cubicBezTo>
                <a:cubicBezTo>
                  <a:pt x="949" y="1183"/>
                  <a:pt x="949" y="1183"/>
                  <a:pt x="949" y="1184"/>
                </a:cubicBezTo>
                <a:cubicBezTo>
                  <a:pt x="949" y="1184"/>
                  <a:pt x="949" y="1184"/>
                  <a:pt x="949" y="1185"/>
                </a:cubicBezTo>
                <a:cubicBezTo>
                  <a:pt x="949" y="1185"/>
                  <a:pt x="949" y="1185"/>
                  <a:pt x="950" y="1185"/>
                </a:cubicBezTo>
                <a:cubicBezTo>
                  <a:pt x="950" y="1185"/>
                  <a:pt x="950" y="1185"/>
                  <a:pt x="950" y="1186"/>
                </a:cubicBezTo>
                <a:cubicBezTo>
                  <a:pt x="950" y="1186"/>
                  <a:pt x="950" y="1186"/>
                  <a:pt x="949" y="1187"/>
                </a:cubicBezTo>
                <a:cubicBezTo>
                  <a:pt x="949" y="1187"/>
                  <a:pt x="949" y="1187"/>
                  <a:pt x="949" y="1188"/>
                </a:cubicBezTo>
                <a:cubicBezTo>
                  <a:pt x="949" y="1188"/>
                  <a:pt x="949" y="1188"/>
                  <a:pt x="950" y="1189"/>
                </a:cubicBezTo>
                <a:cubicBezTo>
                  <a:pt x="950" y="1189"/>
                  <a:pt x="950" y="1189"/>
                  <a:pt x="951" y="1191"/>
                </a:cubicBezTo>
                <a:cubicBezTo>
                  <a:pt x="951" y="1191"/>
                  <a:pt x="951" y="1191"/>
                  <a:pt x="952" y="1190"/>
                </a:cubicBezTo>
                <a:cubicBezTo>
                  <a:pt x="952" y="1190"/>
                  <a:pt x="952" y="1190"/>
                  <a:pt x="953" y="1189"/>
                </a:cubicBezTo>
                <a:cubicBezTo>
                  <a:pt x="953" y="1189"/>
                  <a:pt x="953" y="1189"/>
                  <a:pt x="954" y="1188"/>
                </a:cubicBezTo>
                <a:cubicBezTo>
                  <a:pt x="954" y="1188"/>
                  <a:pt x="954" y="1188"/>
                  <a:pt x="956" y="1188"/>
                </a:cubicBezTo>
                <a:cubicBezTo>
                  <a:pt x="956" y="1188"/>
                  <a:pt x="956" y="1188"/>
                  <a:pt x="956" y="1190"/>
                </a:cubicBezTo>
                <a:cubicBezTo>
                  <a:pt x="956" y="1190"/>
                  <a:pt x="956" y="1190"/>
                  <a:pt x="955" y="1191"/>
                </a:cubicBezTo>
                <a:cubicBezTo>
                  <a:pt x="955" y="1191"/>
                  <a:pt x="955" y="1191"/>
                  <a:pt x="954" y="1191"/>
                </a:cubicBezTo>
                <a:cubicBezTo>
                  <a:pt x="954" y="1191"/>
                  <a:pt x="954" y="1191"/>
                  <a:pt x="954" y="1192"/>
                </a:cubicBezTo>
                <a:cubicBezTo>
                  <a:pt x="954" y="1192"/>
                  <a:pt x="954" y="1192"/>
                  <a:pt x="952" y="1193"/>
                </a:cubicBezTo>
                <a:cubicBezTo>
                  <a:pt x="952" y="1193"/>
                  <a:pt x="952" y="1193"/>
                  <a:pt x="952" y="1194"/>
                </a:cubicBezTo>
                <a:cubicBezTo>
                  <a:pt x="952" y="1194"/>
                  <a:pt x="952" y="1194"/>
                  <a:pt x="953" y="1195"/>
                </a:cubicBezTo>
                <a:cubicBezTo>
                  <a:pt x="953" y="1195"/>
                  <a:pt x="953" y="1195"/>
                  <a:pt x="954" y="1196"/>
                </a:cubicBezTo>
                <a:cubicBezTo>
                  <a:pt x="954" y="1196"/>
                  <a:pt x="954" y="1196"/>
                  <a:pt x="956" y="1196"/>
                </a:cubicBezTo>
                <a:cubicBezTo>
                  <a:pt x="956" y="1196"/>
                  <a:pt x="956" y="1196"/>
                  <a:pt x="958" y="1197"/>
                </a:cubicBezTo>
                <a:cubicBezTo>
                  <a:pt x="958" y="1197"/>
                  <a:pt x="958" y="1197"/>
                  <a:pt x="961" y="1199"/>
                </a:cubicBezTo>
                <a:cubicBezTo>
                  <a:pt x="961" y="1199"/>
                  <a:pt x="961" y="1199"/>
                  <a:pt x="962" y="1199"/>
                </a:cubicBezTo>
                <a:cubicBezTo>
                  <a:pt x="963" y="1199"/>
                  <a:pt x="963" y="1199"/>
                  <a:pt x="963" y="1199"/>
                </a:cubicBezTo>
                <a:cubicBezTo>
                  <a:pt x="965" y="1199"/>
                  <a:pt x="965" y="1199"/>
                  <a:pt x="965" y="1199"/>
                </a:cubicBezTo>
                <a:cubicBezTo>
                  <a:pt x="966" y="1199"/>
                  <a:pt x="966" y="1199"/>
                  <a:pt x="966" y="1199"/>
                </a:cubicBezTo>
                <a:cubicBezTo>
                  <a:pt x="968" y="1198"/>
                  <a:pt x="968" y="1198"/>
                  <a:pt x="968" y="1198"/>
                </a:cubicBezTo>
                <a:cubicBezTo>
                  <a:pt x="968" y="1199"/>
                  <a:pt x="968" y="1199"/>
                  <a:pt x="968" y="1199"/>
                </a:cubicBezTo>
                <a:cubicBezTo>
                  <a:pt x="967" y="1199"/>
                  <a:pt x="967" y="1199"/>
                  <a:pt x="967" y="1199"/>
                </a:cubicBezTo>
                <a:cubicBezTo>
                  <a:pt x="965" y="1200"/>
                  <a:pt x="965" y="1200"/>
                  <a:pt x="965" y="1200"/>
                </a:cubicBezTo>
                <a:cubicBezTo>
                  <a:pt x="962" y="1200"/>
                  <a:pt x="962" y="1200"/>
                  <a:pt x="962" y="1200"/>
                </a:cubicBezTo>
                <a:cubicBezTo>
                  <a:pt x="960" y="1199"/>
                  <a:pt x="960" y="1199"/>
                  <a:pt x="960" y="1199"/>
                </a:cubicBezTo>
                <a:cubicBezTo>
                  <a:pt x="958" y="1198"/>
                  <a:pt x="958" y="1198"/>
                  <a:pt x="958" y="1198"/>
                </a:cubicBezTo>
                <a:cubicBezTo>
                  <a:pt x="955" y="1197"/>
                  <a:pt x="955" y="1197"/>
                  <a:pt x="955" y="1197"/>
                </a:cubicBezTo>
                <a:cubicBezTo>
                  <a:pt x="954" y="1197"/>
                  <a:pt x="954" y="1197"/>
                  <a:pt x="954" y="1197"/>
                </a:cubicBezTo>
                <a:cubicBezTo>
                  <a:pt x="953" y="1197"/>
                  <a:pt x="953" y="1197"/>
                  <a:pt x="953" y="1197"/>
                </a:cubicBezTo>
                <a:cubicBezTo>
                  <a:pt x="954" y="1198"/>
                  <a:pt x="954" y="1198"/>
                  <a:pt x="954" y="1198"/>
                </a:cubicBezTo>
                <a:cubicBezTo>
                  <a:pt x="953" y="1198"/>
                  <a:pt x="953" y="1198"/>
                  <a:pt x="953" y="1198"/>
                </a:cubicBezTo>
                <a:cubicBezTo>
                  <a:pt x="951" y="1197"/>
                  <a:pt x="951" y="1197"/>
                  <a:pt x="951" y="1197"/>
                </a:cubicBezTo>
                <a:cubicBezTo>
                  <a:pt x="950" y="1196"/>
                  <a:pt x="950" y="1196"/>
                  <a:pt x="950" y="1196"/>
                </a:cubicBezTo>
                <a:cubicBezTo>
                  <a:pt x="949" y="1197"/>
                  <a:pt x="949" y="1197"/>
                  <a:pt x="949" y="1197"/>
                </a:cubicBezTo>
                <a:cubicBezTo>
                  <a:pt x="950" y="1197"/>
                  <a:pt x="950" y="1197"/>
                  <a:pt x="950" y="1197"/>
                </a:cubicBezTo>
                <a:cubicBezTo>
                  <a:pt x="952" y="1199"/>
                  <a:pt x="952" y="1199"/>
                  <a:pt x="952" y="1199"/>
                </a:cubicBezTo>
                <a:cubicBezTo>
                  <a:pt x="952" y="1200"/>
                  <a:pt x="952" y="1200"/>
                  <a:pt x="952" y="1200"/>
                </a:cubicBezTo>
                <a:cubicBezTo>
                  <a:pt x="951" y="1200"/>
                  <a:pt x="951" y="1200"/>
                  <a:pt x="951" y="1200"/>
                </a:cubicBezTo>
                <a:cubicBezTo>
                  <a:pt x="951" y="1199"/>
                  <a:pt x="951" y="1199"/>
                  <a:pt x="951" y="1199"/>
                </a:cubicBezTo>
                <a:cubicBezTo>
                  <a:pt x="949" y="1198"/>
                  <a:pt x="949" y="1198"/>
                  <a:pt x="949" y="1198"/>
                </a:cubicBezTo>
                <a:cubicBezTo>
                  <a:pt x="949" y="1199"/>
                  <a:pt x="949" y="1199"/>
                  <a:pt x="949" y="1199"/>
                </a:cubicBezTo>
                <a:cubicBezTo>
                  <a:pt x="948" y="1200"/>
                  <a:pt x="948" y="1200"/>
                  <a:pt x="948" y="1200"/>
                </a:cubicBezTo>
                <a:cubicBezTo>
                  <a:pt x="946" y="1200"/>
                  <a:pt x="946" y="1200"/>
                  <a:pt x="946" y="1200"/>
                </a:cubicBezTo>
                <a:cubicBezTo>
                  <a:pt x="946" y="1201"/>
                  <a:pt x="946" y="1201"/>
                  <a:pt x="946" y="1201"/>
                </a:cubicBezTo>
                <a:cubicBezTo>
                  <a:pt x="945" y="1201"/>
                  <a:pt x="945" y="1201"/>
                  <a:pt x="945" y="1201"/>
                </a:cubicBezTo>
                <a:cubicBezTo>
                  <a:pt x="944" y="1201"/>
                  <a:pt x="944" y="1201"/>
                  <a:pt x="944" y="1201"/>
                </a:cubicBezTo>
                <a:cubicBezTo>
                  <a:pt x="944" y="1202"/>
                  <a:pt x="944" y="1202"/>
                  <a:pt x="944" y="1202"/>
                </a:cubicBezTo>
                <a:cubicBezTo>
                  <a:pt x="945" y="1202"/>
                  <a:pt x="945" y="1202"/>
                  <a:pt x="945" y="1202"/>
                </a:cubicBezTo>
                <a:cubicBezTo>
                  <a:pt x="947" y="1202"/>
                  <a:pt x="947" y="1202"/>
                  <a:pt x="947" y="1202"/>
                </a:cubicBezTo>
                <a:cubicBezTo>
                  <a:pt x="947" y="1201"/>
                  <a:pt x="947" y="1201"/>
                  <a:pt x="947" y="1201"/>
                </a:cubicBezTo>
                <a:cubicBezTo>
                  <a:pt x="948" y="1201"/>
                  <a:pt x="948" y="1201"/>
                  <a:pt x="948" y="1201"/>
                </a:cubicBezTo>
                <a:cubicBezTo>
                  <a:pt x="949" y="1202"/>
                  <a:pt x="949" y="1202"/>
                  <a:pt x="949" y="1202"/>
                </a:cubicBezTo>
                <a:cubicBezTo>
                  <a:pt x="950" y="1202"/>
                  <a:pt x="950" y="1202"/>
                  <a:pt x="950" y="1202"/>
                </a:cubicBezTo>
                <a:cubicBezTo>
                  <a:pt x="950" y="1203"/>
                  <a:pt x="950" y="1203"/>
                  <a:pt x="950" y="1203"/>
                </a:cubicBezTo>
                <a:cubicBezTo>
                  <a:pt x="951" y="1203"/>
                  <a:pt x="951" y="1203"/>
                  <a:pt x="951" y="1203"/>
                </a:cubicBezTo>
                <a:cubicBezTo>
                  <a:pt x="950" y="1204"/>
                  <a:pt x="950" y="1204"/>
                  <a:pt x="950" y="1204"/>
                </a:cubicBezTo>
                <a:cubicBezTo>
                  <a:pt x="950" y="1205"/>
                  <a:pt x="950" y="1205"/>
                  <a:pt x="950" y="1205"/>
                </a:cubicBezTo>
                <a:cubicBezTo>
                  <a:pt x="950" y="1206"/>
                  <a:pt x="950" y="1206"/>
                  <a:pt x="950" y="1206"/>
                </a:cubicBezTo>
                <a:cubicBezTo>
                  <a:pt x="951" y="1206"/>
                  <a:pt x="951" y="1206"/>
                  <a:pt x="951" y="1206"/>
                </a:cubicBezTo>
                <a:cubicBezTo>
                  <a:pt x="952" y="1206"/>
                  <a:pt x="952" y="1206"/>
                  <a:pt x="952" y="1206"/>
                </a:cubicBezTo>
                <a:cubicBezTo>
                  <a:pt x="953" y="1207"/>
                  <a:pt x="953" y="1207"/>
                  <a:pt x="953" y="1207"/>
                </a:cubicBezTo>
                <a:cubicBezTo>
                  <a:pt x="954" y="1207"/>
                  <a:pt x="954" y="1207"/>
                  <a:pt x="954" y="1207"/>
                </a:cubicBezTo>
                <a:cubicBezTo>
                  <a:pt x="953" y="1206"/>
                  <a:pt x="953" y="1206"/>
                  <a:pt x="953" y="1206"/>
                </a:cubicBezTo>
                <a:cubicBezTo>
                  <a:pt x="952" y="1205"/>
                  <a:pt x="952" y="1205"/>
                  <a:pt x="952" y="1205"/>
                </a:cubicBezTo>
                <a:cubicBezTo>
                  <a:pt x="953" y="1205"/>
                  <a:pt x="953" y="1205"/>
                  <a:pt x="953" y="1205"/>
                </a:cubicBezTo>
                <a:cubicBezTo>
                  <a:pt x="954" y="1205"/>
                  <a:pt x="954" y="1205"/>
                  <a:pt x="954" y="1205"/>
                </a:cubicBezTo>
                <a:cubicBezTo>
                  <a:pt x="954" y="1204"/>
                  <a:pt x="954" y="1204"/>
                  <a:pt x="954" y="1204"/>
                </a:cubicBezTo>
                <a:cubicBezTo>
                  <a:pt x="953" y="1204"/>
                  <a:pt x="953" y="1204"/>
                  <a:pt x="953" y="1204"/>
                </a:cubicBezTo>
                <a:cubicBezTo>
                  <a:pt x="952" y="1203"/>
                  <a:pt x="952" y="1203"/>
                  <a:pt x="952" y="1203"/>
                </a:cubicBezTo>
                <a:cubicBezTo>
                  <a:pt x="955" y="1202"/>
                  <a:pt x="955" y="1202"/>
                  <a:pt x="955" y="1202"/>
                </a:cubicBezTo>
                <a:cubicBezTo>
                  <a:pt x="956" y="1202"/>
                  <a:pt x="956" y="1202"/>
                  <a:pt x="956" y="1202"/>
                </a:cubicBezTo>
                <a:cubicBezTo>
                  <a:pt x="961" y="1203"/>
                  <a:pt x="961" y="1203"/>
                  <a:pt x="961" y="1203"/>
                </a:cubicBezTo>
                <a:cubicBezTo>
                  <a:pt x="962" y="1203"/>
                  <a:pt x="962" y="1203"/>
                  <a:pt x="962" y="1203"/>
                </a:cubicBezTo>
                <a:cubicBezTo>
                  <a:pt x="961" y="1202"/>
                  <a:pt x="961" y="1202"/>
                  <a:pt x="961" y="1202"/>
                </a:cubicBezTo>
                <a:cubicBezTo>
                  <a:pt x="963" y="1202"/>
                  <a:pt x="963" y="1202"/>
                  <a:pt x="963" y="1202"/>
                </a:cubicBezTo>
                <a:cubicBezTo>
                  <a:pt x="964" y="1202"/>
                  <a:pt x="964" y="1202"/>
                  <a:pt x="964" y="1202"/>
                </a:cubicBezTo>
                <a:cubicBezTo>
                  <a:pt x="966" y="1201"/>
                  <a:pt x="966" y="1201"/>
                  <a:pt x="966" y="1201"/>
                </a:cubicBezTo>
                <a:cubicBezTo>
                  <a:pt x="968" y="1202"/>
                  <a:pt x="968" y="1202"/>
                  <a:pt x="968" y="1202"/>
                </a:cubicBezTo>
                <a:cubicBezTo>
                  <a:pt x="970" y="1201"/>
                  <a:pt x="970" y="1201"/>
                  <a:pt x="970" y="1201"/>
                </a:cubicBezTo>
                <a:cubicBezTo>
                  <a:pt x="973" y="1202"/>
                  <a:pt x="973" y="1202"/>
                  <a:pt x="973" y="1202"/>
                </a:cubicBezTo>
                <a:cubicBezTo>
                  <a:pt x="974" y="1202"/>
                  <a:pt x="974" y="1202"/>
                  <a:pt x="974" y="1202"/>
                </a:cubicBezTo>
                <a:cubicBezTo>
                  <a:pt x="976" y="1203"/>
                  <a:pt x="976" y="1203"/>
                  <a:pt x="976" y="1203"/>
                </a:cubicBezTo>
                <a:cubicBezTo>
                  <a:pt x="977" y="1203"/>
                  <a:pt x="977" y="1203"/>
                  <a:pt x="977" y="1203"/>
                </a:cubicBezTo>
                <a:cubicBezTo>
                  <a:pt x="978" y="1201"/>
                  <a:pt x="978" y="1201"/>
                  <a:pt x="978" y="1201"/>
                </a:cubicBezTo>
                <a:cubicBezTo>
                  <a:pt x="978" y="1200"/>
                  <a:pt x="978" y="1200"/>
                  <a:pt x="978" y="1200"/>
                </a:cubicBezTo>
                <a:cubicBezTo>
                  <a:pt x="980" y="1200"/>
                  <a:pt x="980" y="1200"/>
                  <a:pt x="980" y="1200"/>
                </a:cubicBezTo>
                <a:cubicBezTo>
                  <a:pt x="982" y="1200"/>
                  <a:pt x="982" y="1200"/>
                  <a:pt x="982" y="1200"/>
                </a:cubicBezTo>
                <a:cubicBezTo>
                  <a:pt x="982" y="1198"/>
                  <a:pt x="982" y="1198"/>
                  <a:pt x="982" y="1198"/>
                </a:cubicBezTo>
                <a:cubicBezTo>
                  <a:pt x="981" y="1198"/>
                  <a:pt x="981" y="1198"/>
                  <a:pt x="981" y="1198"/>
                </a:cubicBezTo>
                <a:cubicBezTo>
                  <a:pt x="978" y="1199"/>
                  <a:pt x="978" y="1199"/>
                  <a:pt x="978" y="1199"/>
                </a:cubicBezTo>
                <a:cubicBezTo>
                  <a:pt x="977" y="1198"/>
                  <a:pt x="977" y="1198"/>
                  <a:pt x="977" y="1198"/>
                </a:cubicBezTo>
                <a:cubicBezTo>
                  <a:pt x="975" y="1197"/>
                  <a:pt x="975" y="1197"/>
                  <a:pt x="975" y="1197"/>
                </a:cubicBezTo>
                <a:cubicBezTo>
                  <a:pt x="974" y="1197"/>
                  <a:pt x="974" y="1197"/>
                  <a:pt x="974" y="1197"/>
                </a:cubicBezTo>
                <a:cubicBezTo>
                  <a:pt x="973" y="1196"/>
                  <a:pt x="973" y="1196"/>
                  <a:pt x="973" y="1196"/>
                </a:cubicBezTo>
                <a:cubicBezTo>
                  <a:pt x="968" y="1194"/>
                  <a:pt x="968" y="1194"/>
                  <a:pt x="968" y="1194"/>
                </a:cubicBezTo>
                <a:cubicBezTo>
                  <a:pt x="967" y="1194"/>
                  <a:pt x="967" y="1194"/>
                  <a:pt x="967" y="1194"/>
                </a:cubicBezTo>
                <a:cubicBezTo>
                  <a:pt x="967" y="1192"/>
                  <a:pt x="967" y="1192"/>
                  <a:pt x="967" y="1192"/>
                </a:cubicBezTo>
                <a:cubicBezTo>
                  <a:pt x="965" y="1191"/>
                  <a:pt x="965" y="1191"/>
                  <a:pt x="965" y="1191"/>
                </a:cubicBezTo>
                <a:cubicBezTo>
                  <a:pt x="963" y="1191"/>
                  <a:pt x="963" y="1191"/>
                  <a:pt x="963" y="1191"/>
                </a:cubicBezTo>
                <a:cubicBezTo>
                  <a:pt x="963" y="1189"/>
                  <a:pt x="963" y="1189"/>
                  <a:pt x="963" y="1189"/>
                </a:cubicBezTo>
                <a:cubicBezTo>
                  <a:pt x="962" y="1188"/>
                  <a:pt x="962" y="1188"/>
                  <a:pt x="962" y="1188"/>
                </a:cubicBezTo>
                <a:cubicBezTo>
                  <a:pt x="960" y="1188"/>
                  <a:pt x="960" y="1188"/>
                  <a:pt x="960" y="1188"/>
                </a:cubicBezTo>
                <a:cubicBezTo>
                  <a:pt x="959" y="1187"/>
                  <a:pt x="959" y="1187"/>
                  <a:pt x="959" y="1187"/>
                </a:cubicBezTo>
                <a:cubicBezTo>
                  <a:pt x="960" y="1186"/>
                  <a:pt x="960" y="1186"/>
                  <a:pt x="960" y="1186"/>
                </a:cubicBezTo>
                <a:cubicBezTo>
                  <a:pt x="961" y="1186"/>
                  <a:pt x="961" y="1186"/>
                  <a:pt x="961" y="1186"/>
                </a:cubicBezTo>
                <a:cubicBezTo>
                  <a:pt x="960" y="1183"/>
                  <a:pt x="960" y="1183"/>
                  <a:pt x="960" y="1183"/>
                </a:cubicBezTo>
                <a:cubicBezTo>
                  <a:pt x="958" y="1181"/>
                  <a:pt x="958" y="1181"/>
                  <a:pt x="958" y="1181"/>
                </a:cubicBezTo>
                <a:cubicBezTo>
                  <a:pt x="958" y="1180"/>
                  <a:pt x="958" y="1180"/>
                  <a:pt x="958" y="1180"/>
                </a:cubicBezTo>
                <a:cubicBezTo>
                  <a:pt x="957" y="1180"/>
                  <a:pt x="957" y="1180"/>
                  <a:pt x="957" y="1180"/>
                </a:cubicBezTo>
                <a:cubicBezTo>
                  <a:pt x="957" y="1180"/>
                  <a:pt x="957" y="1180"/>
                  <a:pt x="956" y="1181"/>
                </a:cubicBezTo>
                <a:cubicBezTo>
                  <a:pt x="956" y="1181"/>
                  <a:pt x="956" y="1181"/>
                  <a:pt x="955" y="1181"/>
                </a:cubicBezTo>
                <a:cubicBezTo>
                  <a:pt x="955" y="1181"/>
                  <a:pt x="955" y="1181"/>
                  <a:pt x="954" y="1180"/>
                </a:cubicBezTo>
                <a:cubicBezTo>
                  <a:pt x="954" y="1180"/>
                  <a:pt x="954" y="1180"/>
                  <a:pt x="953" y="1180"/>
                </a:cubicBezTo>
                <a:cubicBezTo>
                  <a:pt x="953" y="1180"/>
                  <a:pt x="953" y="1180"/>
                  <a:pt x="953" y="1181"/>
                </a:cubicBezTo>
                <a:cubicBezTo>
                  <a:pt x="953" y="1181"/>
                  <a:pt x="953" y="1181"/>
                  <a:pt x="953" y="1182"/>
                </a:cubicBezTo>
                <a:close/>
                <a:moveTo>
                  <a:pt x="952" y="1196"/>
                </a:moveTo>
                <a:cubicBezTo>
                  <a:pt x="950" y="1195"/>
                  <a:pt x="950" y="1195"/>
                  <a:pt x="950" y="1195"/>
                </a:cubicBezTo>
                <a:cubicBezTo>
                  <a:pt x="951" y="1194"/>
                  <a:pt x="951" y="1194"/>
                  <a:pt x="951" y="1194"/>
                </a:cubicBezTo>
                <a:cubicBezTo>
                  <a:pt x="951" y="1193"/>
                  <a:pt x="951" y="1193"/>
                  <a:pt x="951" y="1193"/>
                </a:cubicBezTo>
                <a:cubicBezTo>
                  <a:pt x="950" y="1191"/>
                  <a:pt x="950" y="1191"/>
                  <a:pt x="950" y="1191"/>
                </a:cubicBezTo>
                <a:cubicBezTo>
                  <a:pt x="950" y="1190"/>
                  <a:pt x="950" y="1190"/>
                  <a:pt x="950" y="1190"/>
                </a:cubicBezTo>
                <a:cubicBezTo>
                  <a:pt x="949" y="1190"/>
                  <a:pt x="949" y="1190"/>
                  <a:pt x="949" y="1190"/>
                </a:cubicBezTo>
                <a:cubicBezTo>
                  <a:pt x="949" y="1191"/>
                  <a:pt x="949" y="1191"/>
                  <a:pt x="949" y="1191"/>
                </a:cubicBezTo>
                <a:cubicBezTo>
                  <a:pt x="948" y="1192"/>
                  <a:pt x="948" y="1192"/>
                  <a:pt x="948" y="1192"/>
                </a:cubicBezTo>
                <a:cubicBezTo>
                  <a:pt x="949" y="1193"/>
                  <a:pt x="949" y="1193"/>
                  <a:pt x="949" y="1193"/>
                </a:cubicBezTo>
                <a:cubicBezTo>
                  <a:pt x="948" y="1194"/>
                  <a:pt x="948" y="1194"/>
                  <a:pt x="948" y="1194"/>
                </a:cubicBezTo>
                <a:cubicBezTo>
                  <a:pt x="948" y="1195"/>
                  <a:pt x="948" y="1195"/>
                  <a:pt x="948" y="1195"/>
                </a:cubicBezTo>
                <a:cubicBezTo>
                  <a:pt x="950" y="1196"/>
                  <a:pt x="950" y="1196"/>
                  <a:pt x="950" y="1196"/>
                </a:cubicBezTo>
                <a:cubicBezTo>
                  <a:pt x="951" y="1196"/>
                  <a:pt x="951" y="1196"/>
                  <a:pt x="951" y="1196"/>
                </a:cubicBezTo>
                <a:cubicBezTo>
                  <a:pt x="952" y="1196"/>
                  <a:pt x="952" y="1196"/>
                  <a:pt x="952" y="1196"/>
                </a:cubicBezTo>
                <a:close/>
                <a:moveTo>
                  <a:pt x="913" y="1123"/>
                </a:moveTo>
                <a:cubicBezTo>
                  <a:pt x="913" y="1123"/>
                  <a:pt x="913" y="1123"/>
                  <a:pt x="912" y="1122"/>
                </a:cubicBezTo>
                <a:cubicBezTo>
                  <a:pt x="912" y="1122"/>
                  <a:pt x="912" y="1122"/>
                  <a:pt x="911" y="1121"/>
                </a:cubicBezTo>
                <a:cubicBezTo>
                  <a:pt x="911" y="1121"/>
                  <a:pt x="911" y="1121"/>
                  <a:pt x="910" y="1122"/>
                </a:cubicBezTo>
                <a:cubicBezTo>
                  <a:pt x="910" y="1122"/>
                  <a:pt x="910" y="1122"/>
                  <a:pt x="912" y="1123"/>
                </a:cubicBezTo>
                <a:cubicBezTo>
                  <a:pt x="912" y="1123"/>
                  <a:pt x="912" y="1123"/>
                  <a:pt x="913" y="1123"/>
                </a:cubicBezTo>
                <a:close/>
                <a:moveTo>
                  <a:pt x="932" y="1173"/>
                </a:moveTo>
                <a:cubicBezTo>
                  <a:pt x="930" y="1173"/>
                  <a:pt x="930" y="1173"/>
                  <a:pt x="930" y="1173"/>
                </a:cubicBezTo>
                <a:cubicBezTo>
                  <a:pt x="932" y="1174"/>
                  <a:pt x="932" y="1174"/>
                  <a:pt x="932" y="1174"/>
                </a:cubicBezTo>
                <a:cubicBezTo>
                  <a:pt x="933" y="1174"/>
                  <a:pt x="933" y="1174"/>
                  <a:pt x="933" y="1174"/>
                </a:cubicBezTo>
                <a:cubicBezTo>
                  <a:pt x="934" y="1175"/>
                  <a:pt x="934" y="1175"/>
                  <a:pt x="934" y="1175"/>
                </a:cubicBezTo>
                <a:cubicBezTo>
                  <a:pt x="934" y="1174"/>
                  <a:pt x="934" y="1174"/>
                  <a:pt x="934" y="1173"/>
                </a:cubicBezTo>
                <a:cubicBezTo>
                  <a:pt x="933" y="1173"/>
                  <a:pt x="933" y="1173"/>
                  <a:pt x="933" y="1173"/>
                </a:cubicBezTo>
                <a:cubicBezTo>
                  <a:pt x="932" y="1173"/>
                  <a:pt x="932" y="1173"/>
                  <a:pt x="932" y="1173"/>
                </a:cubicBezTo>
                <a:close/>
                <a:moveTo>
                  <a:pt x="971" y="1210"/>
                </a:moveTo>
                <a:cubicBezTo>
                  <a:pt x="971" y="1210"/>
                  <a:pt x="971" y="1210"/>
                  <a:pt x="972" y="1210"/>
                </a:cubicBezTo>
                <a:cubicBezTo>
                  <a:pt x="972" y="1210"/>
                  <a:pt x="972" y="1210"/>
                  <a:pt x="973" y="1211"/>
                </a:cubicBezTo>
                <a:cubicBezTo>
                  <a:pt x="973" y="1211"/>
                  <a:pt x="973" y="1211"/>
                  <a:pt x="973" y="1209"/>
                </a:cubicBezTo>
                <a:cubicBezTo>
                  <a:pt x="973" y="1209"/>
                  <a:pt x="973" y="1209"/>
                  <a:pt x="972" y="1209"/>
                </a:cubicBezTo>
                <a:cubicBezTo>
                  <a:pt x="972" y="1209"/>
                  <a:pt x="972" y="1209"/>
                  <a:pt x="971" y="1210"/>
                </a:cubicBezTo>
                <a:close/>
                <a:moveTo>
                  <a:pt x="917" y="1152"/>
                </a:moveTo>
                <a:cubicBezTo>
                  <a:pt x="917" y="1152"/>
                  <a:pt x="917" y="1152"/>
                  <a:pt x="917" y="1149"/>
                </a:cubicBezTo>
                <a:cubicBezTo>
                  <a:pt x="917" y="1149"/>
                  <a:pt x="917" y="1149"/>
                  <a:pt x="916" y="1148"/>
                </a:cubicBezTo>
                <a:cubicBezTo>
                  <a:pt x="916" y="1148"/>
                  <a:pt x="916" y="1148"/>
                  <a:pt x="914" y="1148"/>
                </a:cubicBezTo>
                <a:cubicBezTo>
                  <a:pt x="914" y="1148"/>
                  <a:pt x="914" y="1148"/>
                  <a:pt x="913" y="1149"/>
                </a:cubicBezTo>
                <a:cubicBezTo>
                  <a:pt x="913" y="1149"/>
                  <a:pt x="913" y="1149"/>
                  <a:pt x="913" y="1150"/>
                </a:cubicBezTo>
                <a:cubicBezTo>
                  <a:pt x="913" y="1150"/>
                  <a:pt x="913" y="1150"/>
                  <a:pt x="914" y="1151"/>
                </a:cubicBezTo>
                <a:cubicBezTo>
                  <a:pt x="914" y="1151"/>
                  <a:pt x="914" y="1151"/>
                  <a:pt x="914" y="1152"/>
                </a:cubicBezTo>
                <a:cubicBezTo>
                  <a:pt x="914" y="1152"/>
                  <a:pt x="914" y="1152"/>
                  <a:pt x="914" y="1153"/>
                </a:cubicBezTo>
                <a:cubicBezTo>
                  <a:pt x="914" y="1153"/>
                  <a:pt x="914" y="1153"/>
                  <a:pt x="915" y="1153"/>
                </a:cubicBezTo>
                <a:cubicBezTo>
                  <a:pt x="915" y="1153"/>
                  <a:pt x="915" y="1153"/>
                  <a:pt x="914" y="1154"/>
                </a:cubicBezTo>
                <a:cubicBezTo>
                  <a:pt x="914" y="1154"/>
                  <a:pt x="914" y="1154"/>
                  <a:pt x="913" y="1154"/>
                </a:cubicBezTo>
                <a:cubicBezTo>
                  <a:pt x="913" y="1154"/>
                  <a:pt x="913" y="1154"/>
                  <a:pt x="914" y="1157"/>
                </a:cubicBezTo>
                <a:cubicBezTo>
                  <a:pt x="914" y="1157"/>
                  <a:pt x="914" y="1157"/>
                  <a:pt x="914" y="1158"/>
                </a:cubicBezTo>
                <a:cubicBezTo>
                  <a:pt x="914" y="1158"/>
                  <a:pt x="914" y="1158"/>
                  <a:pt x="916" y="1159"/>
                </a:cubicBezTo>
                <a:cubicBezTo>
                  <a:pt x="916" y="1159"/>
                  <a:pt x="916" y="1159"/>
                  <a:pt x="916" y="1157"/>
                </a:cubicBezTo>
                <a:cubicBezTo>
                  <a:pt x="916" y="1157"/>
                  <a:pt x="916" y="1157"/>
                  <a:pt x="917" y="1158"/>
                </a:cubicBezTo>
                <a:cubicBezTo>
                  <a:pt x="917" y="1158"/>
                  <a:pt x="917" y="1158"/>
                  <a:pt x="917" y="1160"/>
                </a:cubicBezTo>
                <a:cubicBezTo>
                  <a:pt x="917" y="1160"/>
                  <a:pt x="917" y="1160"/>
                  <a:pt x="918" y="1160"/>
                </a:cubicBezTo>
                <a:cubicBezTo>
                  <a:pt x="918" y="1160"/>
                  <a:pt x="918" y="1160"/>
                  <a:pt x="919" y="1159"/>
                </a:cubicBezTo>
                <a:cubicBezTo>
                  <a:pt x="919" y="1159"/>
                  <a:pt x="919" y="1159"/>
                  <a:pt x="919" y="1158"/>
                </a:cubicBezTo>
                <a:cubicBezTo>
                  <a:pt x="919" y="1158"/>
                  <a:pt x="919" y="1158"/>
                  <a:pt x="918" y="1156"/>
                </a:cubicBezTo>
                <a:cubicBezTo>
                  <a:pt x="918" y="1156"/>
                  <a:pt x="918" y="1156"/>
                  <a:pt x="918" y="1155"/>
                </a:cubicBezTo>
                <a:cubicBezTo>
                  <a:pt x="918" y="1155"/>
                  <a:pt x="918" y="1155"/>
                  <a:pt x="918" y="1154"/>
                </a:cubicBezTo>
                <a:cubicBezTo>
                  <a:pt x="918" y="1153"/>
                  <a:pt x="918" y="1153"/>
                  <a:pt x="918" y="1153"/>
                </a:cubicBezTo>
                <a:cubicBezTo>
                  <a:pt x="918" y="1153"/>
                  <a:pt x="918" y="1153"/>
                  <a:pt x="917" y="1152"/>
                </a:cubicBezTo>
                <a:close/>
                <a:moveTo>
                  <a:pt x="947" y="1204"/>
                </a:moveTo>
                <a:cubicBezTo>
                  <a:pt x="947" y="1204"/>
                  <a:pt x="947" y="1204"/>
                  <a:pt x="948" y="1204"/>
                </a:cubicBezTo>
                <a:cubicBezTo>
                  <a:pt x="948" y="1204"/>
                  <a:pt x="948" y="1204"/>
                  <a:pt x="948" y="1203"/>
                </a:cubicBezTo>
                <a:cubicBezTo>
                  <a:pt x="948" y="1203"/>
                  <a:pt x="948" y="1203"/>
                  <a:pt x="947" y="1203"/>
                </a:cubicBezTo>
                <a:cubicBezTo>
                  <a:pt x="947" y="1203"/>
                  <a:pt x="947" y="1203"/>
                  <a:pt x="947" y="1204"/>
                </a:cubicBezTo>
                <a:close/>
                <a:moveTo>
                  <a:pt x="910" y="1122"/>
                </a:moveTo>
                <a:cubicBezTo>
                  <a:pt x="910" y="1122"/>
                  <a:pt x="910" y="1122"/>
                  <a:pt x="909" y="1122"/>
                </a:cubicBezTo>
                <a:cubicBezTo>
                  <a:pt x="909" y="1122"/>
                  <a:pt x="909" y="1122"/>
                  <a:pt x="909" y="1123"/>
                </a:cubicBezTo>
                <a:cubicBezTo>
                  <a:pt x="909" y="1123"/>
                  <a:pt x="909" y="1123"/>
                  <a:pt x="910" y="1123"/>
                </a:cubicBezTo>
                <a:cubicBezTo>
                  <a:pt x="910" y="1123"/>
                  <a:pt x="910" y="1123"/>
                  <a:pt x="910" y="1122"/>
                </a:cubicBezTo>
                <a:close/>
                <a:moveTo>
                  <a:pt x="911" y="1152"/>
                </a:moveTo>
                <a:cubicBezTo>
                  <a:pt x="911" y="1152"/>
                  <a:pt x="911" y="1152"/>
                  <a:pt x="911" y="1153"/>
                </a:cubicBezTo>
                <a:cubicBezTo>
                  <a:pt x="911" y="1153"/>
                  <a:pt x="911" y="1153"/>
                  <a:pt x="912" y="1153"/>
                </a:cubicBezTo>
                <a:cubicBezTo>
                  <a:pt x="912" y="1153"/>
                  <a:pt x="912" y="1153"/>
                  <a:pt x="913" y="1151"/>
                </a:cubicBezTo>
                <a:cubicBezTo>
                  <a:pt x="913" y="1151"/>
                  <a:pt x="913" y="1151"/>
                  <a:pt x="913" y="1150"/>
                </a:cubicBezTo>
                <a:cubicBezTo>
                  <a:pt x="913" y="1150"/>
                  <a:pt x="913" y="1150"/>
                  <a:pt x="911" y="1150"/>
                </a:cubicBezTo>
                <a:cubicBezTo>
                  <a:pt x="911" y="1150"/>
                  <a:pt x="911" y="1150"/>
                  <a:pt x="911" y="1152"/>
                </a:cubicBezTo>
                <a:close/>
                <a:moveTo>
                  <a:pt x="970" y="1212"/>
                </a:moveTo>
                <a:cubicBezTo>
                  <a:pt x="971" y="1211"/>
                  <a:pt x="971" y="1211"/>
                  <a:pt x="971" y="1211"/>
                </a:cubicBezTo>
                <a:cubicBezTo>
                  <a:pt x="970" y="1211"/>
                  <a:pt x="970" y="1211"/>
                  <a:pt x="970" y="1211"/>
                </a:cubicBezTo>
                <a:cubicBezTo>
                  <a:pt x="970" y="1212"/>
                  <a:pt x="970" y="1212"/>
                  <a:pt x="970" y="1212"/>
                </a:cubicBezTo>
                <a:close/>
                <a:moveTo>
                  <a:pt x="913" y="1147"/>
                </a:moveTo>
                <a:cubicBezTo>
                  <a:pt x="913" y="1147"/>
                  <a:pt x="913" y="1147"/>
                  <a:pt x="912" y="1145"/>
                </a:cubicBezTo>
                <a:cubicBezTo>
                  <a:pt x="912" y="1145"/>
                  <a:pt x="912" y="1145"/>
                  <a:pt x="911" y="1143"/>
                </a:cubicBezTo>
                <a:cubicBezTo>
                  <a:pt x="911" y="1143"/>
                  <a:pt x="911" y="1143"/>
                  <a:pt x="909" y="1142"/>
                </a:cubicBezTo>
                <a:cubicBezTo>
                  <a:pt x="909" y="1142"/>
                  <a:pt x="909" y="1142"/>
                  <a:pt x="909" y="1143"/>
                </a:cubicBezTo>
                <a:cubicBezTo>
                  <a:pt x="909" y="1143"/>
                  <a:pt x="909" y="1143"/>
                  <a:pt x="909" y="1144"/>
                </a:cubicBezTo>
                <a:cubicBezTo>
                  <a:pt x="909" y="1144"/>
                  <a:pt x="909" y="1144"/>
                  <a:pt x="909" y="1145"/>
                </a:cubicBezTo>
                <a:cubicBezTo>
                  <a:pt x="909" y="1145"/>
                  <a:pt x="909" y="1145"/>
                  <a:pt x="911" y="1145"/>
                </a:cubicBezTo>
                <a:cubicBezTo>
                  <a:pt x="911" y="1145"/>
                  <a:pt x="911" y="1145"/>
                  <a:pt x="911" y="1146"/>
                </a:cubicBezTo>
                <a:cubicBezTo>
                  <a:pt x="911" y="1146"/>
                  <a:pt x="911" y="1146"/>
                  <a:pt x="912" y="1148"/>
                </a:cubicBezTo>
                <a:cubicBezTo>
                  <a:pt x="912" y="1148"/>
                  <a:pt x="912" y="1148"/>
                  <a:pt x="913" y="1149"/>
                </a:cubicBezTo>
                <a:cubicBezTo>
                  <a:pt x="913" y="1149"/>
                  <a:pt x="913" y="1149"/>
                  <a:pt x="913" y="1148"/>
                </a:cubicBezTo>
                <a:cubicBezTo>
                  <a:pt x="913" y="1148"/>
                  <a:pt x="913" y="1148"/>
                  <a:pt x="913" y="1147"/>
                </a:cubicBezTo>
                <a:close/>
                <a:moveTo>
                  <a:pt x="909" y="1146"/>
                </a:moveTo>
                <a:cubicBezTo>
                  <a:pt x="909" y="1146"/>
                  <a:pt x="909" y="1146"/>
                  <a:pt x="909" y="1147"/>
                </a:cubicBezTo>
                <a:cubicBezTo>
                  <a:pt x="909" y="1147"/>
                  <a:pt x="909" y="1147"/>
                  <a:pt x="910" y="1148"/>
                </a:cubicBezTo>
                <a:cubicBezTo>
                  <a:pt x="910" y="1148"/>
                  <a:pt x="910" y="1148"/>
                  <a:pt x="911" y="1148"/>
                </a:cubicBezTo>
                <a:cubicBezTo>
                  <a:pt x="911" y="1148"/>
                  <a:pt x="911" y="1148"/>
                  <a:pt x="911" y="1147"/>
                </a:cubicBezTo>
                <a:cubicBezTo>
                  <a:pt x="911" y="1147"/>
                  <a:pt x="911" y="1147"/>
                  <a:pt x="911" y="1146"/>
                </a:cubicBezTo>
                <a:cubicBezTo>
                  <a:pt x="911" y="1146"/>
                  <a:pt x="911" y="1146"/>
                  <a:pt x="910" y="1146"/>
                </a:cubicBezTo>
                <a:cubicBezTo>
                  <a:pt x="910" y="1146"/>
                  <a:pt x="910" y="1146"/>
                  <a:pt x="909" y="1146"/>
                </a:cubicBezTo>
                <a:close/>
                <a:moveTo>
                  <a:pt x="905" y="1132"/>
                </a:moveTo>
                <a:cubicBezTo>
                  <a:pt x="907" y="1134"/>
                  <a:pt x="907" y="1134"/>
                  <a:pt x="907" y="1134"/>
                </a:cubicBezTo>
                <a:cubicBezTo>
                  <a:pt x="908" y="1134"/>
                  <a:pt x="908" y="1134"/>
                  <a:pt x="908" y="1134"/>
                </a:cubicBezTo>
                <a:cubicBezTo>
                  <a:pt x="908" y="1133"/>
                  <a:pt x="908" y="1133"/>
                  <a:pt x="908" y="1133"/>
                </a:cubicBezTo>
                <a:cubicBezTo>
                  <a:pt x="908" y="1132"/>
                  <a:pt x="908" y="1132"/>
                  <a:pt x="908" y="1132"/>
                </a:cubicBezTo>
                <a:cubicBezTo>
                  <a:pt x="907" y="1132"/>
                  <a:pt x="907" y="1132"/>
                  <a:pt x="907" y="1132"/>
                </a:cubicBezTo>
                <a:cubicBezTo>
                  <a:pt x="907" y="1131"/>
                  <a:pt x="907" y="1131"/>
                  <a:pt x="907" y="1131"/>
                </a:cubicBezTo>
                <a:cubicBezTo>
                  <a:pt x="907" y="1130"/>
                  <a:pt x="907" y="1130"/>
                  <a:pt x="907" y="1130"/>
                </a:cubicBezTo>
                <a:cubicBezTo>
                  <a:pt x="905" y="1131"/>
                  <a:pt x="905" y="1131"/>
                  <a:pt x="905" y="1131"/>
                </a:cubicBezTo>
                <a:cubicBezTo>
                  <a:pt x="905" y="1132"/>
                  <a:pt x="905" y="1132"/>
                  <a:pt x="905" y="1132"/>
                </a:cubicBezTo>
                <a:close/>
                <a:moveTo>
                  <a:pt x="918" y="1112"/>
                </a:moveTo>
                <a:cubicBezTo>
                  <a:pt x="918" y="1112"/>
                  <a:pt x="918" y="1112"/>
                  <a:pt x="917" y="1111"/>
                </a:cubicBezTo>
                <a:cubicBezTo>
                  <a:pt x="917" y="1111"/>
                  <a:pt x="917" y="1111"/>
                  <a:pt x="916" y="1112"/>
                </a:cubicBezTo>
                <a:cubicBezTo>
                  <a:pt x="916" y="1112"/>
                  <a:pt x="916" y="1112"/>
                  <a:pt x="915" y="1114"/>
                </a:cubicBezTo>
                <a:cubicBezTo>
                  <a:pt x="915" y="1114"/>
                  <a:pt x="915" y="1114"/>
                  <a:pt x="916" y="1115"/>
                </a:cubicBezTo>
                <a:cubicBezTo>
                  <a:pt x="916" y="1115"/>
                  <a:pt x="916" y="1115"/>
                  <a:pt x="916" y="1116"/>
                </a:cubicBezTo>
                <a:cubicBezTo>
                  <a:pt x="916" y="1116"/>
                  <a:pt x="916" y="1116"/>
                  <a:pt x="917" y="1115"/>
                </a:cubicBezTo>
                <a:cubicBezTo>
                  <a:pt x="917" y="1115"/>
                  <a:pt x="917" y="1115"/>
                  <a:pt x="918" y="1116"/>
                </a:cubicBezTo>
                <a:cubicBezTo>
                  <a:pt x="918" y="1116"/>
                  <a:pt x="918" y="1116"/>
                  <a:pt x="919" y="1115"/>
                </a:cubicBezTo>
                <a:cubicBezTo>
                  <a:pt x="919" y="1115"/>
                  <a:pt x="919" y="1115"/>
                  <a:pt x="920" y="1114"/>
                </a:cubicBezTo>
                <a:cubicBezTo>
                  <a:pt x="920" y="1114"/>
                  <a:pt x="920" y="1114"/>
                  <a:pt x="919" y="1112"/>
                </a:cubicBezTo>
                <a:cubicBezTo>
                  <a:pt x="919" y="1112"/>
                  <a:pt x="919" y="1112"/>
                  <a:pt x="918" y="1112"/>
                </a:cubicBezTo>
                <a:close/>
                <a:moveTo>
                  <a:pt x="915" y="1110"/>
                </a:moveTo>
                <a:cubicBezTo>
                  <a:pt x="915" y="1110"/>
                  <a:pt x="915" y="1110"/>
                  <a:pt x="915" y="1111"/>
                </a:cubicBezTo>
                <a:cubicBezTo>
                  <a:pt x="915" y="1111"/>
                  <a:pt x="915" y="1111"/>
                  <a:pt x="917" y="1111"/>
                </a:cubicBezTo>
                <a:cubicBezTo>
                  <a:pt x="917" y="1111"/>
                  <a:pt x="917" y="1111"/>
                  <a:pt x="916" y="1110"/>
                </a:cubicBezTo>
                <a:cubicBezTo>
                  <a:pt x="916" y="1110"/>
                  <a:pt x="916" y="1110"/>
                  <a:pt x="915" y="1110"/>
                </a:cubicBezTo>
                <a:close/>
                <a:moveTo>
                  <a:pt x="960" y="692"/>
                </a:moveTo>
                <a:cubicBezTo>
                  <a:pt x="961" y="692"/>
                  <a:pt x="961" y="692"/>
                  <a:pt x="961" y="692"/>
                </a:cubicBezTo>
                <a:cubicBezTo>
                  <a:pt x="960" y="691"/>
                  <a:pt x="960" y="691"/>
                  <a:pt x="960" y="691"/>
                </a:cubicBezTo>
                <a:cubicBezTo>
                  <a:pt x="960" y="692"/>
                  <a:pt x="960" y="692"/>
                  <a:pt x="960" y="692"/>
                </a:cubicBezTo>
                <a:close/>
                <a:moveTo>
                  <a:pt x="965" y="693"/>
                </a:moveTo>
                <a:cubicBezTo>
                  <a:pt x="966" y="695"/>
                  <a:pt x="966" y="695"/>
                  <a:pt x="966" y="695"/>
                </a:cubicBezTo>
                <a:cubicBezTo>
                  <a:pt x="967" y="695"/>
                  <a:pt x="967" y="695"/>
                  <a:pt x="967" y="695"/>
                </a:cubicBezTo>
                <a:cubicBezTo>
                  <a:pt x="966" y="692"/>
                  <a:pt x="966" y="692"/>
                  <a:pt x="966" y="692"/>
                </a:cubicBezTo>
                <a:cubicBezTo>
                  <a:pt x="965" y="693"/>
                  <a:pt x="965" y="693"/>
                  <a:pt x="965" y="693"/>
                </a:cubicBezTo>
                <a:close/>
                <a:moveTo>
                  <a:pt x="963" y="694"/>
                </a:moveTo>
                <a:cubicBezTo>
                  <a:pt x="963" y="695"/>
                  <a:pt x="963" y="695"/>
                  <a:pt x="963" y="695"/>
                </a:cubicBezTo>
                <a:cubicBezTo>
                  <a:pt x="964" y="697"/>
                  <a:pt x="964" y="697"/>
                  <a:pt x="964" y="697"/>
                </a:cubicBezTo>
                <a:cubicBezTo>
                  <a:pt x="965" y="695"/>
                  <a:pt x="965" y="695"/>
                  <a:pt x="965" y="695"/>
                </a:cubicBezTo>
                <a:cubicBezTo>
                  <a:pt x="964" y="694"/>
                  <a:pt x="964" y="694"/>
                  <a:pt x="964" y="694"/>
                </a:cubicBezTo>
                <a:cubicBezTo>
                  <a:pt x="963" y="694"/>
                  <a:pt x="963" y="694"/>
                  <a:pt x="963" y="694"/>
                </a:cubicBezTo>
                <a:close/>
                <a:moveTo>
                  <a:pt x="966" y="697"/>
                </a:moveTo>
                <a:cubicBezTo>
                  <a:pt x="967" y="698"/>
                  <a:pt x="967" y="698"/>
                  <a:pt x="967" y="698"/>
                </a:cubicBezTo>
                <a:cubicBezTo>
                  <a:pt x="967" y="696"/>
                  <a:pt x="967" y="696"/>
                  <a:pt x="967" y="696"/>
                </a:cubicBezTo>
                <a:cubicBezTo>
                  <a:pt x="966" y="697"/>
                  <a:pt x="966" y="697"/>
                  <a:pt x="966" y="697"/>
                </a:cubicBezTo>
                <a:close/>
                <a:moveTo>
                  <a:pt x="965" y="699"/>
                </a:moveTo>
                <a:cubicBezTo>
                  <a:pt x="965" y="699"/>
                  <a:pt x="965" y="699"/>
                  <a:pt x="965" y="699"/>
                </a:cubicBezTo>
                <a:cubicBezTo>
                  <a:pt x="965" y="699"/>
                  <a:pt x="965" y="699"/>
                  <a:pt x="965" y="699"/>
                </a:cubicBezTo>
                <a:close/>
                <a:moveTo>
                  <a:pt x="965" y="702"/>
                </a:moveTo>
                <a:cubicBezTo>
                  <a:pt x="965" y="702"/>
                  <a:pt x="965" y="702"/>
                  <a:pt x="966" y="702"/>
                </a:cubicBezTo>
                <a:cubicBezTo>
                  <a:pt x="966" y="702"/>
                  <a:pt x="966" y="702"/>
                  <a:pt x="966" y="700"/>
                </a:cubicBezTo>
                <a:cubicBezTo>
                  <a:pt x="966" y="700"/>
                  <a:pt x="966" y="700"/>
                  <a:pt x="965" y="699"/>
                </a:cubicBezTo>
                <a:cubicBezTo>
                  <a:pt x="965" y="700"/>
                  <a:pt x="965" y="700"/>
                  <a:pt x="965" y="700"/>
                </a:cubicBezTo>
                <a:cubicBezTo>
                  <a:pt x="965" y="700"/>
                  <a:pt x="965" y="700"/>
                  <a:pt x="965" y="702"/>
                </a:cubicBezTo>
                <a:close/>
                <a:moveTo>
                  <a:pt x="968" y="711"/>
                </a:moveTo>
                <a:cubicBezTo>
                  <a:pt x="968" y="709"/>
                  <a:pt x="968" y="709"/>
                  <a:pt x="968" y="709"/>
                </a:cubicBezTo>
                <a:cubicBezTo>
                  <a:pt x="966" y="711"/>
                  <a:pt x="966" y="711"/>
                  <a:pt x="966" y="711"/>
                </a:cubicBezTo>
                <a:cubicBezTo>
                  <a:pt x="967" y="712"/>
                  <a:pt x="967" y="712"/>
                  <a:pt x="967" y="712"/>
                </a:cubicBezTo>
                <a:cubicBezTo>
                  <a:pt x="968" y="713"/>
                  <a:pt x="968" y="713"/>
                  <a:pt x="968" y="713"/>
                </a:cubicBezTo>
                <a:cubicBezTo>
                  <a:pt x="968" y="711"/>
                  <a:pt x="968" y="711"/>
                  <a:pt x="968" y="711"/>
                </a:cubicBezTo>
                <a:close/>
                <a:moveTo>
                  <a:pt x="968" y="708"/>
                </a:moveTo>
                <a:cubicBezTo>
                  <a:pt x="969" y="707"/>
                  <a:pt x="969" y="707"/>
                  <a:pt x="969" y="707"/>
                </a:cubicBezTo>
                <a:cubicBezTo>
                  <a:pt x="968" y="704"/>
                  <a:pt x="968" y="704"/>
                  <a:pt x="968" y="704"/>
                </a:cubicBezTo>
                <a:cubicBezTo>
                  <a:pt x="965" y="704"/>
                  <a:pt x="965" y="704"/>
                  <a:pt x="965" y="704"/>
                </a:cubicBezTo>
                <a:cubicBezTo>
                  <a:pt x="965" y="705"/>
                  <a:pt x="965" y="705"/>
                  <a:pt x="965" y="705"/>
                </a:cubicBezTo>
                <a:cubicBezTo>
                  <a:pt x="967" y="706"/>
                  <a:pt x="967" y="706"/>
                  <a:pt x="967" y="706"/>
                </a:cubicBezTo>
                <a:cubicBezTo>
                  <a:pt x="967" y="707"/>
                  <a:pt x="967" y="707"/>
                  <a:pt x="967" y="707"/>
                </a:cubicBezTo>
                <a:cubicBezTo>
                  <a:pt x="968" y="708"/>
                  <a:pt x="968" y="708"/>
                  <a:pt x="968" y="708"/>
                </a:cubicBezTo>
                <a:close/>
                <a:moveTo>
                  <a:pt x="977" y="716"/>
                </a:moveTo>
                <a:cubicBezTo>
                  <a:pt x="978" y="716"/>
                  <a:pt x="978" y="716"/>
                  <a:pt x="978" y="716"/>
                </a:cubicBezTo>
                <a:cubicBezTo>
                  <a:pt x="978" y="715"/>
                  <a:pt x="978" y="715"/>
                  <a:pt x="978" y="715"/>
                </a:cubicBezTo>
                <a:cubicBezTo>
                  <a:pt x="977" y="714"/>
                  <a:pt x="977" y="714"/>
                  <a:pt x="977" y="714"/>
                </a:cubicBezTo>
                <a:cubicBezTo>
                  <a:pt x="976" y="715"/>
                  <a:pt x="976" y="715"/>
                  <a:pt x="976" y="715"/>
                </a:cubicBezTo>
                <a:cubicBezTo>
                  <a:pt x="977" y="716"/>
                  <a:pt x="977" y="716"/>
                  <a:pt x="977" y="716"/>
                </a:cubicBezTo>
                <a:close/>
                <a:moveTo>
                  <a:pt x="965" y="720"/>
                </a:moveTo>
                <a:cubicBezTo>
                  <a:pt x="965" y="720"/>
                  <a:pt x="965" y="720"/>
                  <a:pt x="966" y="720"/>
                </a:cubicBezTo>
                <a:cubicBezTo>
                  <a:pt x="966" y="720"/>
                  <a:pt x="966" y="720"/>
                  <a:pt x="965" y="719"/>
                </a:cubicBezTo>
                <a:lnTo>
                  <a:pt x="965" y="720"/>
                </a:lnTo>
                <a:close/>
                <a:moveTo>
                  <a:pt x="966" y="713"/>
                </a:moveTo>
                <a:cubicBezTo>
                  <a:pt x="966" y="717"/>
                  <a:pt x="966" y="717"/>
                  <a:pt x="966" y="717"/>
                </a:cubicBezTo>
                <a:cubicBezTo>
                  <a:pt x="966" y="717"/>
                  <a:pt x="966" y="717"/>
                  <a:pt x="967" y="715"/>
                </a:cubicBezTo>
                <a:cubicBezTo>
                  <a:pt x="967" y="715"/>
                  <a:pt x="967" y="715"/>
                  <a:pt x="966" y="713"/>
                </a:cubicBezTo>
                <a:close/>
                <a:moveTo>
                  <a:pt x="964" y="723"/>
                </a:moveTo>
                <a:cubicBezTo>
                  <a:pt x="965" y="722"/>
                  <a:pt x="965" y="722"/>
                  <a:pt x="965" y="722"/>
                </a:cubicBezTo>
                <a:cubicBezTo>
                  <a:pt x="964" y="721"/>
                  <a:pt x="964" y="721"/>
                  <a:pt x="964" y="721"/>
                </a:cubicBezTo>
                <a:cubicBezTo>
                  <a:pt x="963" y="721"/>
                  <a:pt x="963" y="721"/>
                  <a:pt x="963" y="721"/>
                </a:cubicBezTo>
                <a:cubicBezTo>
                  <a:pt x="962" y="723"/>
                  <a:pt x="962" y="723"/>
                  <a:pt x="962" y="723"/>
                </a:cubicBezTo>
                <a:cubicBezTo>
                  <a:pt x="964" y="723"/>
                  <a:pt x="964" y="723"/>
                  <a:pt x="964" y="723"/>
                </a:cubicBezTo>
                <a:close/>
                <a:moveTo>
                  <a:pt x="965" y="731"/>
                </a:moveTo>
                <a:cubicBezTo>
                  <a:pt x="964" y="730"/>
                  <a:pt x="964" y="730"/>
                  <a:pt x="964" y="730"/>
                </a:cubicBezTo>
                <a:cubicBezTo>
                  <a:pt x="963" y="731"/>
                  <a:pt x="963" y="731"/>
                  <a:pt x="963" y="731"/>
                </a:cubicBezTo>
                <a:cubicBezTo>
                  <a:pt x="962" y="731"/>
                  <a:pt x="962" y="731"/>
                  <a:pt x="962" y="731"/>
                </a:cubicBezTo>
                <a:cubicBezTo>
                  <a:pt x="964" y="732"/>
                  <a:pt x="964" y="732"/>
                  <a:pt x="964" y="732"/>
                </a:cubicBezTo>
                <a:cubicBezTo>
                  <a:pt x="964" y="734"/>
                  <a:pt x="964" y="734"/>
                  <a:pt x="964" y="734"/>
                </a:cubicBezTo>
                <a:cubicBezTo>
                  <a:pt x="963" y="735"/>
                  <a:pt x="963" y="735"/>
                  <a:pt x="963" y="735"/>
                </a:cubicBezTo>
                <a:cubicBezTo>
                  <a:pt x="961" y="735"/>
                  <a:pt x="961" y="735"/>
                  <a:pt x="961" y="735"/>
                </a:cubicBezTo>
                <a:cubicBezTo>
                  <a:pt x="963" y="736"/>
                  <a:pt x="963" y="736"/>
                  <a:pt x="963" y="736"/>
                </a:cubicBezTo>
                <a:cubicBezTo>
                  <a:pt x="966" y="735"/>
                  <a:pt x="966" y="735"/>
                  <a:pt x="966" y="735"/>
                </a:cubicBezTo>
                <a:cubicBezTo>
                  <a:pt x="967" y="734"/>
                  <a:pt x="967" y="734"/>
                  <a:pt x="967" y="734"/>
                </a:cubicBezTo>
                <a:cubicBezTo>
                  <a:pt x="967" y="733"/>
                  <a:pt x="967" y="733"/>
                  <a:pt x="967" y="733"/>
                </a:cubicBezTo>
                <a:cubicBezTo>
                  <a:pt x="966" y="732"/>
                  <a:pt x="966" y="732"/>
                  <a:pt x="966" y="732"/>
                </a:cubicBezTo>
                <a:cubicBezTo>
                  <a:pt x="968" y="730"/>
                  <a:pt x="968" y="730"/>
                  <a:pt x="968" y="730"/>
                </a:cubicBezTo>
                <a:cubicBezTo>
                  <a:pt x="965" y="731"/>
                  <a:pt x="965" y="731"/>
                  <a:pt x="965" y="731"/>
                </a:cubicBezTo>
                <a:close/>
                <a:moveTo>
                  <a:pt x="970" y="728"/>
                </a:moveTo>
                <a:cubicBezTo>
                  <a:pt x="968" y="729"/>
                  <a:pt x="968" y="729"/>
                  <a:pt x="968" y="729"/>
                </a:cubicBezTo>
                <a:cubicBezTo>
                  <a:pt x="969" y="729"/>
                  <a:pt x="969" y="729"/>
                  <a:pt x="969" y="729"/>
                </a:cubicBezTo>
                <a:cubicBezTo>
                  <a:pt x="970" y="728"/>
                  <a:pt x="970" y="728"/>
                  <a:pt x="970" y="728"/>
                </a:cubicBezTo>
                <a:close/>
                <a:moveTo>
                  <a:pt x="878" y="483"/>
                </a:moveTo>
                <a:cubicBezTo>
                  <a:pt x="879" y="484"/>
                  <a:pt x="879" y="484"/>
                  <a:pt x="879" y="484"/>
                </a:cubicBezTo>
                <a:cubicBezTo>
                  <a:pt x="879" y="484"/>
                  <a:pt x="879" y="484"/>
                  <a:pt x="879" y="484"/>
                </a:cubicBezTo>
                <a:cubicBezTo>
                  <a:pt x="880" y="484"/>
                  <a:pt x="880" y="484"/>
                  <a:pt x="880" y="484"/>
                </a:cubicBezTo>
                <a:cubicBezTo>
                  <a:pt x="879" y="483"/>
                  <a:pt x="879" y="483"/>
                  <a:pt x="879" y="483"/>
                </a:cubicBezTo>
                <a:cubicBezTo>
                  <a:pt x="879" y="482"/>
                  <a:pt x="879" y="482"/>
                  <a:pt x="879" y="482"/>
                </a:cubicBezTo>
                <a:cubicBezTo>
                  <a:pt x="878" y="481"/>
                  <a:pt x="878" y="481"/>
                  <a:pt x="878" y="481"/>
                </a:cubicBezTo>
                <a:cubicBezTo>
                  <a:pt x="878" y="480"/>
                  <a:pt x="878" y="480"/>
                  <a:pt x="878" y="480"/>
                </a:cubicBezTo>
                <a:cubicBezTo>
                  <a:pt x="877" y="479"/>
                  <a:pt x="877" y="479"/>
                  <a:pt x="877" y="479"/>
                </a:cubicBezTo>
                <a:cubicBezTo>
                  <a:pt x="877" y="479"/>
                  <a:pt x="877" y="479"/>
                  <a:pt x="877" y="479"/>
                </a:cubicBezTo>
                <a:cubicBezTo>
                  <a:pt x="876" y="478"/>
                  <a:pt x="876" y="478"/>
                  <a:pt x="876" y="478"/>
                </a:cubicBezTo>
                <a:cubicBezTo>
                  <a:pt x="876" y="477"/>
                  <a:pt x="876" y="477"/>
                  <a:pt x="876" y="477"/>
                </a:cubicBezTo>
                <a:cubicBezTo>
                  <a:pt x="875" y="477"/>
                  <a:pt x="875" y="477"/>
                  <a:pt x="875" y="477"/>
                </a:cubicBezTo>
                <a:cubicBezTo>
                  <a:pt x="875" y="476"/>
                  <a:pt x="875" y="476"/>
                  <a:pt x="875" y="476"/>
                </a:cubicBezTo>
                <a:cubicBezTo>
                  <a:pt x="875" y="475"/>
                  <a:pt x="875" y="475"/>
                  <a:pt x="875" y="475"/>
                </a:cubicBezTo>
                <a:cubicBezTo>
                  <a:pt x="875" y="474"/>
                  <a:pt x="875" y="474"/>
                  <a:pt x="875" y="474"/>
                </a:cubicBezTo>
                <a:cubicBezTo>
                  <a:pt x="874" y="473"/>
                  <a:pt x="874" y="473"/>
                  <a:pt x="874" y="473"/>
                </a:cubicBezTo>
                <a:cubicBezTo>
                  <a:pt x="873" y="473"/>
                  <a:pt x="873" y="473"/>
                  <a:pt x="873" y="473"/>
                </a:cubicBezTo>
                <a:cubicBezTo>
                  <a:pt x="872" y="473"/>
                  <a:pt x="872" y="473"/>
                  <a:pt x="872" y="473"/>
                </a:cubicBezTo>
                <a:cubicBezTo>
                  <a:pt x="870" y="473"/>
                  <a:pt x="870" y="473"/>
                  <a:pt x="870" y="473"/>
                </a:cubicBezTo>
                <a:cubicBezTo>
                  <a:pt x="869" y="472"/>
                  <a:pt x="869" y="472"/>
                  <a:pt x="869" y="472"/>
                </a:cubicBezTo>
                <a:cubicBezTo>
                  <a:pt x="869" y="472"/>
                  <a:pt x="869" y="472"/>
                  <a:pt x="869" y="472"/>
                </a:cubicBezTo>
                <a:cubicBezTo>
                  <a:pt x="868" y="472"/>
                  <a:pt x="868" y="472"/>
                  <a:pt x="868" y="472"/>
                </a:cubicBezTo>
                <a:cubicBezTo>
                  <a:pt x="868" y="472"/>
                  <a:pt x="868" y="472"/>
                  <a:pt x="868" y="472"/>
                </a:cubicBezTo>
                <a:cubicBezTo>
                  <a:pt x="866" y="471"/>
                  <a:pt x="866" y="471"/>
                  <a:pt x="866" y="471"/>
                </a:cubicBezTo>
                <a:cubicBezTo>
                  <a:pt x="865" y="471"/>
                  <a:pt x="865" y="471"/>
                  <a:pt x="865" y="471"/>
                </a:cubicBezTo>
                <a:cubicBezTo>
                  <a:pt x="863" y="471"/>
                  <a:pt x="863" y="471"/>
                  <a:pt x="863" y="471"/>
                </a:cubicBezTo>
                <a:cubicBezTo>
                  <a:pt x="859" y="470"/>
                  <a:pt x="859" y="470"/>
                  <a:pt x="859" y="470"/>
                </a:cubicBezTo>
                <a:cubicBezTo>
                  <a:pt x="859" y="470"/>
                  <a:pt x="859" y="470"/>
                  <a:pt x="859" y="470"/>
                </a:cubicBezTo>
                <a:cubicBezTo>
                  <a:pt x="858" y="469"/>
                  <a:pt x="858" y="469"/>
                  <a:pt x="858" y="469"/>
                </a:cubicBezTo>
                <a:cubicBezTo>
                  <a:pt x="857" y="469"/>
                  <a:pt x="857" y="469"/>
                  <a:pt x="857" y="469"/>
                </a:cubicBezTo>
                <a:cubicBezTo>
                  <a:pt x="856" y="469"/>
                  <a:pt x="856" y="469"/>
                  <a:pt x="856" y="469"/>
                </a:cubicBezTo>
                <a:cubicBezTo>
                  <a:pt x="856" y="468"/>
                  <a:pt x="856" y="468"/>
                  <a:pt x="856" y="468"/>
                </a:cubicBezTo>
                <a:cubicBezTo>
                  <a:pt x="853" y="467"/>
                  <a:pt x="853" y="467"/>
                  <a:pt x="853" y="467"/>
                </a:cubicBezTo>
                <a:cubicBezTo>
                  <a:pt x="853" y="466"/>
                  <a:pt x="853" y="466"/>
                  <a:pt x="853" y="466"/>
                </a:cubicBezTo>
                <a:cubicBezTo>
                  <a:pt x="854" y="466"/>
                  <a:pt x="854" y="466"/>
                  <a:pt x="854" y="466"/>
                </a:cubicBezTo>
                <a:cubicBezTo>
                  <a:pt x="855" y="465"/>
                  <a:pt x="855" y="465"/>
                  <a:pt x="855" y="465"/>
                </a:cubicBezTo>
                <a:cubicBezTo>
                  <a:pt x="855" y="464"/>
                  <a:pt x="855" y="464"/>
                  <a:pt x="855" y="464"/>
                </a:cubicBezTo>
                <a:cubicBezTo>
                  <a:pt x="854" y="463"/>
                  <a:pt x="854" y="463"/>
                  <a:pt x="854" y="463"/>
                </a:cubicBezTo>
                <a:cubicBezTo>
                  <a:pt x="853" y="464"/>
                  <a:pt x="853" y="464"/>
                  <a:pt x="853" y="464"/>
                </a:cubicBezTo>
                <a:cubicBezTo>
                  <a:pt x="853" y="463"/>
                  <a:pt x="853" y="463"/>
                  <a:pt x="853" y="463"/>
                </a:cubicBezTo>
                <a:cubicBezTo>
                  <a:pt x="853" y="462"/>
                  <a:pt x="853" y="462"/>
                  <a:pt x="853" y="462"/>
                </a:cubicBezTo>
                <a:cubicBezTo>
                  <a:pt x="853" y="462"/>
                  <a:pt x="853" y="462"/>
                  <a:pt x="853" y="462"/>
                </a:cubicBezTo>
                <a:cubicBezTo>
                  <a:pt x="854" y="461"/>
                  <a:pt x="854" y="461"/>
                  <a:pt x="854" y="461"/>
                </a:cubicBezTo>
                <a:cubicBezTo>
                  <a:pt x="854" y="460"/>
                  <a:pt x="854" y="460"/>
                  <a:pt x="854" y="460"/>
                </a:cubicBezTo>
                <a:cubicBezTo>
                  <a:pt x="853" y="459"/>
                  <a:pt x="853" y="459"/>
                  <a:pt x="853" y="459"/>
                </a:cubicBezTo>
                <a:cubicBezTo>
                  <a:pt x="853" y="458"/>
                  <a:pt x="853" y="458"/>
                  <a:pt x="853" y="458"/>
                </a:cubicBezTo>
                <a:cubicBezTo>
                  <a:pt x="853" y="457"/>
                  <a:pt x="853" y="457"/>
                  <a:pt x="853" y="457"/>
                </a:cubicBezTo>
                <a:cubicBezTo>
                  <a:pt x="853" y="456"/>
                  <a:pt x="853" y="456"/>
                  <a:pt x="853" y="456"/>
                </a:cubicBezTo>
                <a:cubicBezTo>
                  <a:pt x="854" y="456"/>
                  <a:pt x="854" y="456"/>
                  <a:pt x="854" y="456"/>
                </a:cubicBezTo>
                <a:cubicBezTo>
                  <a:pt x="854" y="456"/>
                  <a:pt x="854" y="456"/>
                  <a:pt x="854" y="456"/>
                </a:cubicBezTo>
                <a:cubicBezTo>
                  <a:pt x="854" y="455"/>
                  <a:pt x="854" y="455"/>
                  <a:pt x="854" y="455"/>
                </a:cubicBezTo>
                <a:cubicBezTo>
                  <a:pt x="853" y="455"/>
                  <a:pt x="853" y="455"/>
                  <a:pt x="853" y="455"/>
                </a:cubicBezTo>
                <a:cubicBezTo>
                  <a:pt x="851" y="454"/>
                  <a:pt x="851" y="454"/>
                  <a:pt x="851" y="454"/>
                </a:cubicBezTo>
                <a:cubicBezTo>
                  <a:pt x="850" y="455"/>
                  <a:pt x="850" y="455"/>
                  <a:pt x="850" y="455"/>
                </a:cubicBezTo>
                <a:cubicBezTo>
                  <a:pt x="848" y="454"/>
                  <a:pt x="848" y="454"/>
                  <a:pt x="848" y="454"/>
                </a:cubicBezTo>
                <a:cubicBezTo>
                  <a:pt x="847" y="452"/>
                  <a:pt x="847" y="452"/>
                  <a:pt x="847" y="452"/>
                </a:cubicBezTo>
                <a:cubicBezTo>
                  <a:pt x="847" y="451"/>
                  <a:pt x="847" y="451"/>
                  <a:pt x="847" y="451"/>
                </a:cubicBezTo>
                <a:cubicBezTo>
                  <a:pt x="844" y="449"/>
                  <a:pt x="840" y="448"/>
                  <a:pt x="836" y="446"/>
                </a:cubicBezTo>
                <a:cubicBezTo>
                  <a:pt x="836" y="448"/>
                  <a:pt x="836" y="448"/>
                  <a:pt x="836" y="448"/>
                </a:cubicBezTo>
                <a:cubicBezTo>
                  <a:pt x="835" y="448"/>
                  <a:pt x="835" y="448"/>
                  <a:pt x="835" y="448"/>
                </a:cubicBezTo>
                <a:cubicBezTo>
                  <a:pt x="835" y="449"/>
                  <a:pt x="835" y="449"/>
                  <a:pt x="835" y="449"/>
                </a:cubicBezTo>
                <a:cubicBezTo>
                  <a:pt x="834" y="449"/>
                  <a:pt x="834" y="449"/>
                  <a:pt x="834" y="449"/>
                </a:cubicBezTo>
                <a:cubicBezTo>
                  <a:pt x="834" y="448"/>
                  <a:pt x="834" y="448"/>
                  <a:pt x="834" y="448"/>
                </a:cubicBezTo>
                <a:cubicBezTo>
                  <a:pt x="835" y="446"/>
                  <a:pt x="835" y="446"/>
                  <a:pt x="835" y="446"/>
                </a:cubicBezTo>
                <a:cubicBezTo>
                  <a:pt x="835" y="446"/>
                  <a:pt x="835" y="446"/>
                  <a:pt x="835" y="446"/>
                </a:cubicBezTo>
                <a:cubicBezTo>
                  <a:pt x="835" y="446"/>
                  <a:pt x="835" y="446"/>
                  <a:pt x="834" y="446"/>
                </a:cubicBezTo>
                <a:cubicBezTo>
                  <a:pt x="834" y="446"/>
                  <a:pt x="834" y="446"/>
                  <a:pt x="834" y="446"/>
                </a:cubicBezTo>
                <a:cubicBezTo>
                  <a:pt x="834" y="448"/>
                  <a:pt x="834" y="448"/>
                  <a:pt x="834" y="448"/>
                </a:cubicBezTo>
                <a:cubicBezTo>
                  <a:pt x="833" y="449"/>
                  <a:pt x="833" y="449"/>
                  <a:pt x="833" y="449"/>
                </a:cubicBezTo>
                <a:cubicBezTo>
                  <a:pt x="833" y="450"/>
                  <a:pt x="833" y="450"/>
                  <a:pt x="833" y="450"/>
                </a:cubicBezTo>
                <a:cubicBezTo>
                  <a:pt x="832" y="450"/>
                  <a:pt x="832" y="450"/>
                  <a:pt x="832" y="450"/>
                </a:cubicBezTo>
                <a:cubicBezTo>
                  <a:pt x="831" y="450"/>
                  <a:pt x="831" y="450"/>
                  <a:pt x="831" y="450"/>
                </a:cubicBezTo>
                <a:cubicBezTo>
                  <a:pt x="832" y="449"/>
                  <a:pt x="832" y="449"/>
                  <a:pt x="832" y="449"/>
                </a:cubicBezTo>
                <a:cubicBezTo>
                  <a:pt x="832" y="449"/>
                  <a:pt x="832" y="449"/>
                  <a:pt x="832" y="449"/>
                </a:cubicBezTo>
                <a:cubicBezTo>
                  <a:pt x="831" y="449"/>
                  <a:pt x="831" y="449"/>
                  <a:pt x="831" y="449"/>
                </a:cubicBezTo>
                <a:cubicBezTo>
                  <a:pt x="829" y="450"/>
                  <a:pt x="829" y="450"/>
                  <a:pt x="829" y="450"/>
                </a:cubicBezTo>
                <a:cubicBezTo>
                  <a:pt x="828" y="451"/>
                  <a:pt x="828" y="451"/>
                  <a:pt x="828" y="451"/>
                </a:cubicBezTo>
                <a:cubicBezTo>
                  <a:pt x="827" y="452"/>
                  <a:pt x="827" y="452"/>
                  <a:pt x="827" y="452"/>
                </a:cubicBezTo>
                <a:cubicBezTo>
                  <a:pt x="826" y="453"/>
                  <a:pt x="826" y="453"/>
                  <a:pt x="826" y="453"/>
                </a:cubicBezTo>
                <a:cubicBezTo>
                  <a:pt x="825" y="453"/>
                  <a:pt x="825" y="453"/>
                  <a:pt x="825" y="453"/>
                </a:cubicBezTo>
                <a:cubicBezTo>
                  <a:pt x="824" y="454"/>
                  <a:pt x="824" y="454"/>
                  <a:pt x="824" y="454"/>
                </a:cubicBezTo>
                <a:cubicBezTo>
                  <a:pt x="822" y="454"/>
                  <a:pt x="822" y="454"/>
                  <a:pt x="822" y="454"/>
                </a:cubicBezTo>
                <a:cubicBezTo>
                  <a:pt x="819" y="455"/>
                  <a:pt x="819" y="455"/>
                  <a:pt x="819" y="455"/>
                </a:cubicBezTo>
                <a:cubicBezTo>
                  <a:pt x="815" y="457"/>
                  <a:pt x="815" y="457"/>
                  <a:pt x="815" y="457"/>
                </a:cubicBezTo>
                <a:cubicBezTo>
                  <a:pt x="814" y="459"/>
                  <a:pt x="814" y="459"/>
                  <a:pt x="814" y="459"/>
                </a:cubicBezTo>
                <a:cubicBezTo>
                  <a:pt x="813" y="460"/>
                  <a:pt x="813" y="460"/>
                  <a:pt x="813" y="460"/>
                </a:cubicBezTo>
                <a:cubicBezTo>
                  <a:pt x="812" y="460"/>
                  <a:pt x="812" y="460"/>
                  <a:pt x="812" y="460"/>
                </a:cubicBezTo>
                <a:cubicBezTo>
                  <a:pt x="811" y="460"/>
                  <a:pt x="811" y="460"/>
                  <a:pt x="811" y="460"/>
                </a:cubicBezTo>
                <a:cubicBezTo>
                  <a:pt x="810" y="462"/>
                  <a:pt x="810" y="462"/>
                  <a:pt x="810" y="462"/>
                </a:cubicBezTo>
                <a:cubicBezTo>
                  <a:pt x="809" y="462"/>
                  <a:pt x="809" y="462"/>
                  <a:pt x="809" y="462"/>
                </a:cubicBezTo>
                <a:cubicBezTo>
                  <a:pt x="808" y="463"/>
                  <a:pt x="808" y="463"/>
                  <a:pt x="808" y="463"/>
                </a:cubicBezTo>
                <a:cubicBezTo>
                  <a:pt x="809" y="463"/>
                  <a:pt x="809" y="463"/>
                  <a:pt x="809" y="463"/>
                </a:cubicBezTo>
                <a:cubicBezTo>
                  <a:pt x="809" y="464"/>
                  <a:pt x="809" y="464"/>
                  <a:pt x="809" y="464"/>
                </a:cubicBezTo>
                <a:cubicBezTo>
                  <a:pt x="810" y="464"/>
                  <a:pt x="810" y="464"/>
                  <a:pt x="810" y="464"/>
                </a:cubicBezTo>
                <a:cubicBezTo>
                  <a:pt x="812" y="463"/>
                  <a:pt x="812" y="463"/>
                  <a:pt x="812" y="463"/>
                </a:cubicBezTo>
                <a:cubicBezTo>
                  <a:pt x="812" y="462"/>
                  <a:pt x="812" y="462"/>
                  <a:pt x="812" y="462"/>
                </a:cubicBezTo>
                <a:cubicBezTo>
                  <a:pt x="814" y="462"/>
                  <a:pt x="814" y="462"/>
                  <a:pt x="814" y="462"/>
                </a:cubicBezTo>
                <a:cubicBezTo>
                  <a:pt x="815" y="461"/>
                  <a:pt x="815" y="461"/>
                  <a:pt x="815" y="461"/>
                </a:cubicBezTo>
                <a:cubicBezTo>
                  <a:pt x="815" y="461"/>
                  <a:pt x="815" y="461"/>
                  <a:pt x="815" y="461"/>
                </a:cubicBezTo>
                <a:cubicBezTo>
                  <a:pt x="817" y="461"/>
                  <a:pt x="817" y="461"/>
                  <a:pt x="817" y="461"/>
                </a:cubicBezTo>
                <a:cubicBezTo>
                  <a:pt x="817" y="462"/>
                  <a:pt x="817" y="462"/>
                  <a:pt x="817" y="462"/>
                </a:cubicBezTo>
                <a:cubicBezTo>
                  <a:pt x="816" y="462"/>
                  <a:pt x="816" y="462"/>
                  <a:pt x="816" y="462"/>
                </a:cubicBezTo>
                <a:cubicBezTo>
                  <a:pt x="816" y="464"/>
                  <a:pt x="816" y="464"/>
                  <a:pt x="816" y="464"/>
                </a:cubicBezTo>
                <a:cubicBezTo>
                  <a:pt x="816" y="464"/>
                  <a:pt x="816" y="464"/>
                  <a:pt x="816" y="464"/>
                </a:cubicBezTo>
                <a:cubicBezTo>
                  <a:pt x="816" y="464"/>
                  <a:pt x="816" y="464"/>
                  <a:pt x="816" y="464"/>
                </a:cubicBezTo>
                <a:cubicBezTo>
                  <a:pt x="816" y="464"/>
                  <a:pt x="816" y="464"/>
                  <a:pt x="816" y="464"/>
                </a:cubicBezTo>
                <a:cubicBezTo>
                  <a:pt x="817" y="464"/>
                  <a:pt x="817" y="464"/>
                  <a:pt x="817" y="464"/>
                </a:cubicBezTo>
                <a:cubicBezTo>
                  <a:pt x="817" y="465"/>
                  <a:pt x="817" y="465"/>
                  <a:pt x="817" y="465"/>
                </a:cubicBezTo>
                <a:cubicBezTo>
                  <a:pt x="818" y="465"/>
                  <a:pt x="818" y="465"/>
                  <a:pt x="818" y="465"/>
                </a:cubicBezTo>
                <a:cubicBezTo>
                  <a:pt x="819" y="465"/>
                  <a:pt x="819" y="465"/>
                  <a:pt x="819" y="465"/>
                </a:cubicBezTo>
                <a:cubicBezTo>
                  <a:pt x="820" y="465"/>
                  <a:pt x="820" y="465"/>
                  <a:pt x="820" y="465"/>
                </a:cubicBezTo>
                <a:cubicBezTo>
                  <a:pt x="823" y="463"/>
                  <a:pt x="823" y="463"/>
                  <a:pt x="823" y="463"/>
                </a:cubicBezTo>
                <a:cubicBezTo>
                  <a:pt x="824" y="463"/>
                  <a:pt x="824" y="463"/>
                  <a:pt x="824" y="463"/>
                </a:cubicBezTo>
                <a:cubicBezTo>
                  <a:pt x="825" y="463"/>
                  <a:pt x="825" y="463"/>
                  <a:pt x="825" y="463"/>
                </a:cubicBezTo>
                <a:cubicBezTo>
                  <a:pt x="826" y="463"/>
                  <a:pt x="826" y="463"/>
                  <a:pt x="826" y="463"/>
                </a:cubicBezTo>
                <a:cubicBezTo>
                  <a:pt x="827" y="462"/>
                  <a:pt x="827" y="462"/>
                  <a:pt x="827" y="462"/>
                </a:cubicBezTo>
                <a:cubicBezTo>
                  <a:pt x="828" y="461"/>
                  <a:pt x="828" y="461"/>
                  <a:pt x="828" y="461"/>
                </a:cubicBezTo>
                <a:cubicBezTo>
                  <a:pt x="829" y="461"/>
                  <a:pt x="829" y="461"/>
                  <a:pt x="829" y="461"/>
                </a:cubicBezTo>
                <a:cubicBezTo>
                  <a:pt x="829" y="461"/>
                  <a:pt x="829" y="461"/>
                  <a:pt x="829" y="461"/>
                </a:cubicBezTo>
                <a:cubicBezTo>
                  <a:pt x="830" y="460"/>
                  <a:pt x="830" y="460"/>
                  <a:pt x="830" y="460"/>
                </a:cubicBezTo>
                <a:cubicBezTo>
                  <a:pt x="831" y="459"/>
                  <a:pt x="831" y="459"/>
                  <a:pt x="831" y="459"/>
                </a:cubicBezTo>
                <a:cubicBezTo>
                  <a:pt x="832" y="459"/>
                  <a:pt x="832" y="459"/>
                  <a:pt x="832" y="459"/>
                </a:cubicBezTo>
                <a:cubicBezTo>
                  <a:pt x="832" y="458"/>
                  <a:pt x="832" y="458"/>
                  <a:pt x="832" y="458"/>
                </a:cubicBezTo>
                <a:cubicBezTo>
                  <a:pt x="834" y="458"/>
                  <a:pt x="834" y="458"/>
                  <a:pt x="834" y="458"/>
                </a:cubicBezTo>
                <a:cubicBezTo>
                  <a:pt x="834" y="458"/>
                  <a:pt x="834" y="458"/>
                  <a:pt x="834" y="458"/>
                </a:cubicBezTo>
                <a:cubicBezTo>
                  <a:pt x="836" y="458"/>
                  <a:pt x="836" y="458"/>
                  <a:pt x="836" y="458"/>
                </a:cubicBezTo>
                <a:cubicBezTo>
                  <a:pt x="836" y="458"/>
                  <a:pt x="836" y="458"/>
                  <a:pt x="836" y="458"/>
                </a:cubicBezTo>
                <a:cubicBezTo>
                  <a:pt x="836" y="459"/>
                  <a:pt x="836" y="459"/>
                  <a:pt x="836" y="459"/>
                </a:cubicBezTo>
                <a:cubicBezTo>
                  <a:pt x="835" y="459"/>
                  <a:pt x="835" y="459"/>
                  <a:pt x="835" y="459"/>
                </a:cubicBezTo>
                <a:cubicBezTo>
                  <a:pt x="834" y="460"/>
                  <a:pt x="834" y="460"/>
                  <a:pt x="834" y="460"/>
                </a:cubicBezTo>
                <a:cubicBezTo>
                  <a:pt x="832" y="461"/>
                  <a:pt x="832" y="461"/>
                  <a:pt x="832" y="461"/>
                </a:cubicBezTo>
                <a:cubicBezTo>
                  <a:pt x="832" y="462"/>
                  <a:pt x="832" y="462"/>
                  <a:pt x="832" y="462"/>
                </a:cubicBezTo>
                <a:cubicBezTo>
                  <a:pt x="832" y="463"/>
                  <a:pt x="832" y="463"/>
                  <a:pt x="832" y="463"/>
                </a:cubicBezTo>
                <a:cubicBezTo>
                  <a:pt x="831" y="463"/>
                  <a:pt x="831" y="463"/>
                  <a:pt x="831" y="463"/>
                </a:cubicBezTo>
                <a:cubicBezTo>
                  <a:pt x="832" y="463"/>
                  <a:pt x="832" y="463"/>
                  <a:pt x="832" y="463"/>
                </a:cubicBezTo>
                <a:cubicBezTo>
                  <a:pt x="832" y="463"/>
                  <a:pt x="832" y="463"/>
                  <a:pt x="832" y="463"/>
                </a:cubicBezTo>
                <a:cubicBezTo>
                  <a:pt x="833" y="462"/>
                  <a:pt x="833" y="462"/>
                  <a:pt x="833" y="462"/>
                </a:cubicBezTo>
                <a:cubicBezTo>
                  <a:pt x="835" y="463"/>
                  <a:pt x="835" y="463"/>
                  <a:pt x="835" y="463"/>
                </a:cubicBezTo>
                <a:cubicBezTo>
                  <a:pt x="835" y="463"/>
                  <a:pt x="835" y="463"/>
                  <a:pt x="835" y="463"/>
                </a:cubicBezTo>
                <a:cubicBezTo>
                  <a:pt x="836" y="465"/>
                  <a:pt x="836" y="465"/>
                  <a:pt x="836" y="465"/>
                </a:cubicBezTo>
                <a:cubicBezTo>
                  <a:pt x="837" y="466"/>
                  <a:pt x="837" y="466"/>
                  <a:pt x="837" y="466"/>
                </a:cubicBezTo>
                <a:cubicBezTo>
                  <a:pt x="837" y="466"/>
                  <a:pt x="837" y="466"/>
                  <a:pt x="837" y="466"/>
                </a:cubicBezTo>
                <a:cubicBezTo>
                  <a:pt x="839" y="466"/>
                  <a:pt x="839" y="466"/>
                  <a:pt x="839" y="466"/>
                </a:cubicBezTo>
                <a:cubicBezTo>
                  <a:pt x="840" y="467"/>
                  <a:pt x="840" y="467"/>
                  <a:pt x="840" y="467"/>
                </a:cubicBezTo>
                <a:cubicBezTo>
                  <a:pt x="841" y="467"/>
                  <a:pt x="841" y="467"/>
                  <a:pt x="841" y="467"/>
                </a:cubicBezTo>
                <a:cubicBezTo>
                  <a:pt x="842" y="466"/>
                  <a:pt x="842" y="466"/>
                  <a:pt x="842" y="466"/>
                </a:cubicBezTo>
                <a:cubicBezTo>
                  <a:pt x="843" y="466"/>
                  <a:pt x="843" y="466"/>
                  <a:pt x="843" y="466"/>
                </a:cubicBezTo>
                <a:cubicBezTo>
                  <a:pt x="843" y="466"/>
                  <a:pt x="843" y="466"/>
                  <a:pt x="843" y="466"/>
                </a:cubicBezTo>
                <a:cubicBezTo>
                  <a:pt x="844" y="465"/>
                  <a:pt x="844" y="465"/>
                  <a:pt x="844" y="465"/>
                </a:cubicBezTo>
                <a:cubicBezTo>
                  <a:pt x="844" y="466"/>
                  <a:pt x="844" y="466"/>
                  <a:pt x="844" y="466"/>
                </a:cubicBezTo>
                <a:cubicBezTo>
                  <a:pt x="845" y="465"/>
                  <a:pt x="845" y="465"/>
                  <a:pt x="845" y="465"/>
                </a:cubicBezTo>
                <a:cubicBezTo>
                  <a:pt x="846" y="466"/>
                  <a:pt x="846" y="466"/>
                  <a:pt x="846" y="466"/>
                </a:cubicBezTo>
                <a:cubicBezTo>
                  <a:pt x="847" y="466"/>
                  <a:pt x="847" y="466"/>
                  <a:pt x="847" y="466"/>
                </a:cubicBezTo>
                <a:cubicBezTo>
                  <a:pt x="848" y="466"/>
                  <a:pt x="848" y="466"/>
                  <a:pt x="848" y="466"/>
                </a:cubicBezTo>
                <a:cubicBezTo>
                  <a:pt x="849" y="465"/>
                  <a:pt x="849" y="465"/>
                  <a:pt x="849" y="465"/>
                </a:cubicBezTo>
                <a:cubicBezTo>
                  <a:pt x="850" y="465"/>
                  <a:pt x="850" y="465"/>
                  <a:pt x="850" y="465"/>
                </a:cubicBezTo>
                <a:cubicBezTo>
                  <a:pt x="850" y="465"/>
                  <a:pt x="850" y="465"/>
                  <a:pt x="850" y="465"/>
                </a:cubicBezTo>
                <a:cubicBezTo>
                  <a:pt x="851" y="466"/>
                  <a:pt x="851" y="466"/>
                  <a:pt x="851" y="466"/>
                </a:cubicBezTo>
                <a:cubicBezTo>
                  <a:pt x="850" y="467"/>
                  <a:pt x="850" y="467"/>
                  <a:pt x="850" y="467"/>
                </a:cubicBezTo>
                <a:cubicBezTo>
                  <a:pt x="851" y="468"/>
                  <a:pt x="851" y="468"/>
                  <a:pt x="851" y="468"/>
                </a:cubicBezTo>
                <a:cubicBezTo>
                  <a:pt x="852" y="468"/>
                  <a:pt x="852" y="468"/>
                  <a:pt x="852" y="468"/>
                </a:cubicBezTo>
                <a:cubicBezTo>
                  <a:pt x="852" y="468"/>
                  <a:pt x="852" y="468"/>
                  <a:pt x="852" y="468"/>
                </a:cubicBezTo>
                <a:cubicBezTo>
                  <a:pt x="853" y="468"/>
                  <a:pt x="853" y="468"/>
                  <a:pt x="853" y="468"/>
                </a:cubicBezTo>
                <a:cubicBezTo>
                  <a:pt x="854" y="469"/>
                  <a:pt x="854" y="469"/>
                  <a:pt x="854" y="469"/>
                </a:cubicBezTo>
                <a:cubicBezTo>
                  <a:pt x="855" y="470"/>
                  <a:pt x="855" y="470"/>
                  <a:pt x="855" y="470"/>
                </a:cubicBezTo>
                <a:cubicBezTo>
                  <a:pt x="855" y="471"/>
                  <a:pt x="855" y="471"/>
                  <a:pt x="855" y="471"/>
                </a:cubicBezTo>
                <a:cubicBezTo>
                  <a:pt x="856" y="471"/>
                  <a:pt x="856" y="471"/>
                  <a:pt x="856" y="471"/>
                </a:cubicBezTo>
                <a:cubicBezTo>
                  <a:pt x="856" y="472"/>
                  <a:pt x="856" y="472"/>
                  <a:pt x="856" y="472"/>
                </a:cubicBezTo>
                <a:cubicBezTo>
                  <a:pt x="856" y="472"/>
                  <a:pt x="856" y="472"/>
                  <a:pt x="856" y="472"/>
                </a:cubicBezTo>
                <a:cubicBezTo>
                  <a:pt x="855" y="472"/>
                  <a:pt x="855" y="472"/>
                  <a:pt x="855" y="472"/>
                </a:cubicBezTo>
                <a:cubicBezTo>
                  <a:pt x="854" y="472"/>
                  <a:pt x="854" y="472"/>
                  <a:pt x="854" y="472"/>
                </a:cubicBezTo>
                <a:cubicBezTo>
                  <a:pt x="853" y="471"/>
                  <a:pt x="853" y="471"/>
                  <a:pt x="853" y="471"/>
                </a:cubicBezTo>
                <a:cubicBezTo>
                  <a:pt x="852" y="471"/>
                  <a:pt x="852" y="471"/>
                  <a:pt x="852" y="471"/>
                </a:cubicBezTo>
                <a:cubicBezTo>
                  <a:pt x="852" y="471"/>
                  <a:pt x="852" y="471"/>
                  <a:pt x="852" y="471"/>
                </a:cubicBezTo>
                <a:cubicBezTo>
                  <a:pt x="852" y="472"/>
                  <a:pt x="852" y="472"/>
                  <a:pt x="852" y="472"/>
                </a:cubicBezTo>
                <a:cubicBezTo>
                  <a:pt x="851" y="473"/>
                  <a:pt x="851" y="473"/>
                  <a:pt x="851" y="473"/>
                </a:cubicBezTo>
                <a:cubicBezTo>
                  <a:pt x="851" y="473"/>
                  <a:pt x="851" y="473"/>
                  <a:pt x="851" y="473"/>
                </a:cubicBezTo>
                <a:cubicBezTo>
                  <a:pt x="851" y="474"/>
                  <a:pt x="851" y="474"/>
                  <a:pt x="851" y="474"/>
                </a:cubicBezTo>
                <a:cubicBezTo>
                  <a:pt x="850" y="473"/>
                  <a:pt x="850" y="473"/>
                  <a:pt x="850" y="473"/>
                </a:cubicBezTo>
                <a:cubicBezTo>
                  <a:pt x="850" y="472"/>
                  <a:pt x="850" y="472"/>
                  <a:pt x="850" y="472"/>
                </a:cubicBezTo>
                <a:cubicBezTo>
                  <a:pt x="849" y="471"/>
                  <a:pt x="849" y="471"/>
                  <a:pt x="849" y="471"/>
                </a:cubicBezTo>
                <a:cubicBezTo>
                  <a:pt x="848" y="471"/>
                  <a:pt x="848" y="471"/>
                  <a:pt x="848" y="471"/>
                </a:cubicBezTo>
                <a:cubicBezTo>
                  <a:pt x="847" y="471"/>
                  <a:pt x="847" y="471"/>
                  <a:pt x="847" y="471"/>
                </a:cubicBezTo>
                <a:cubicBezTo>
                  <a:pt x="846" y="471"/>
                  <a:pt x="846" y="471"/>
                  <a:pt x="846" y="471"/>
                </a:cubicBezTo>
                <a:cubicBezTo>
                  <a:pt x="845" y="471"/>
                  <a:pt x="845" y="471"/>
                  <a:pt x="845" y="471"/>
                </a:cubicBezTo>
                <a:cubicBezTo>
                  <a:pt x="844" y="471"/>
                  <a:pt x="844" y="471"/>
                  <a:pt x="844" y="471"/>
                </a:cubicBezTo>
                <a:cubicBezTo>
                  <a:pt x="842" y="471"/>
                  <a:pt x="842" y="471"/>
                  <a:pt x="842" y="471"/>
                </a:cubicBezTo>
                <a:cubicBezTo>
                  <a:pt x="841" y="471"/>
                  <a:pt x="841" y="471"/>
                  <a:pt x="841" y="471"/>
                </a:cubicBezTo>
                <a:cubicBezTo>
                  <a:pt x="841" y="472"/>
                  <a:pt x="841" y="472"/>
                  <a:pt x="841" y="472"/>
                </a:cubicBezTo>
                <a:cubicBezTo>
                  <a:pt x="840" y="472"/>
                  <a:pt x="840" y="472"/>
                  <a:pt x="840" y="472"/>
                </a:cubicBezTo>
                <a:cubicBezTo>
                  <a:pt x="840" y="472"/>
                  <a:pt x="840" y="472"/>
                  <a:pt x="840" y="472"/>
                </a:cubicBezTo>
                <a:cubicBezTo>
                  <a:pt x="840" y="472"/>
                  <a:pt x="840" y="472"/>
                  <a:pt x="840" y="472"/>
                </a:cubicBezTo>
                <a:cubicBezTo>
                  <a:pt x="839" y="471"/>
                  <a:pt x="839" y="471"/>
                  <a:pt x="839" y="471"/>
                </a:cubicBezTo>
                <a:cubicBezTo>
                  <a:pt x="839" y="472"/>
                  <a:pt x="839" y="472"/>
                  <a:pt x="839" y="472"/>
                </a:cubicBezTo>
                <a:cubicBezTo>
                  <a:pt x="838" y="472"/>
                  <a:pt x="838" y="472"/>
                  <a:pt x="838" y="472"/>
                </a:cubicBezTo>
                <a:cubicBezTo>
                  <a:pt x="837" y="473"/>
                  <a:pt x="837" y="473"/>
                  <a:pt x="837" y="473"/>
                </a:cubicBezTo>
                <a:cubicBezTo>
                  <a:pt x="836" y="474"/>
                  <a:pt x="836" y="474"/>
                  <a:pt x="836" y="474"/>
                </a:cubicBezTo>
                <a:cubicBezTo>
                  <a:pt x="836" y="474"/>
                  <a:pt x="836" y="474"/>
                  <a:pt x="836" y="474"/>
                </a:cubicBezTo>
                <a:cubicBezTo>
                  <a:pt x="834" y="477"/>
                  <a:pt x="834" y="477"/>
                  <a:pt x="834" y="477"/>
                </a:cubicBezTo>
                <a:cubicBezTo>
                  <a:pt x="832" y="478"/>
                  <a:pt x="832" y="478"/>
                  <a:pt x="832" y="478"/>
                </a:cubicBezTo>
                <a:cubicBezTo>
                  <a:pt x="831" y="479"/>
                  <a:pt x="831" y="479"/>
                  <a:pt x="831" y="479"/>
                </a:cubicBezTo>
                <a:cubicBezTo>
                  <a:pt x="830" y="480"/>
                  <a:pt x="830" y="480"/>
                  <a:pt x="830" y="480"/>
                </a:cubicBezTo>
                <a:cubicBezTo>
                  <a:pt x="830" y="482"/>
                  <a:pt x="830" y="482"/>
                  <a:pt x="830" y="482"/>
                </a:cubicBezTo>
                <a:cubicBezTo>
                  <a:pt x="829" y="482"/>
                  <a:pt x="829" y="482"/>
                  <a:pt x="829" y="482"/>
                </a:cubicBezTo>
                <a:cubicBezTo>
                  <a:pt x="829" y="483"/>
                  <a:pt x="829" y="483"/>
                  <a:pt x="829" y="483"/>
                </a:cubicBezTo>
                <a:cubicBezTo>
                  <a:pt x="830" y="483"/>
                  <a:pt x="830" y="483"/>
                  <a:pt x="830" y="483"/>
                </a:cubicBezTo>
                <a:cubicBezTo>
                  <a:pt x="831" y="482"/>
                  <a:pt x="831" y="482"/>
                  <a:pt x="831" y="482"/>
                </a:cubicBezTo>
                <a:cubicBezTo>
                  <a:pt x="831" y="481"/>
                  <a:pt x="831" y="481"/>
                  <a:pt x="831" y="481"/>
                </a:cubicBezTo>
                <a:cubicBezTo>
                  <a:pt x="832" y="481"/>
                  <a:pt x="832" y="481"/>
                  <a:pt x="832" y="481"/>
                </a:cubicBezTo>
                <a:cubicBezTo>
                  <a:pt x="832" y="481"/>
                  <a:pt x="832" y="481"/>
                  <a:pt x="832" y="481"/>
                </a:cubicBezTo>
                <a:cubicBezTo>
                  <a:pt x="833" y="481"/>
                  <a:pt x="833" y="481"/>
                  <a:pt x="833" y="481"/>
                </a:cubicBezTo>
                <a:cubicBezTo>
                  <a:pt x="832" y="483"/>
                  <a:pt x="832" y="483"/>
                  <a:pt x="832" y="483"/>
                </a:cubicBezTo>
                <a:cubicBezTo>
                  <a:pt x="832" y="485"/>
                  <a:pt x="832" y="485"/>
                  <a:pt x="832" y="485"/>
                </a:cubicBezTo>
                <a:cubicBezTo>
                  <a:pt x="832" y="485"/>
                  <a:pt x="832" y="485"/>
                  <a:pt x="832" y="485"/>
                </a:cubicBezTo>
                <a:cubicBezTo>
                  <a:pt x="831" y="487"/>
                  <a:pt x="831" y="487"/>
                  <a:pt x="831" y="487"/>
                </a:cubicBezTo>
                <a:cubicBezTo>
                  <a:pt x="830" y="488"/>
                  <a:pt x="830" y="488"/>
                  <a:pt x="830" y="488"/>
                </a:cubicBezTo>
                <a:cubicBezTo>
                  <a:pt x="830" y="489"/>
                  <a:pt x="830" y="489"/>
                  <a:pt x="830" y="489"/>
                </a:cubicBezTo>
                <a:cubicBezTo>
                  <a:pt x="830" y="490"/>
                  <a:pt x="830" y="490"/>
                  <a:pt x="830" y="490"/>
                </a:cubicBezTo>
                <a:cubicBezTo>
                  <a:pt x="830" y="491"/>
                  <a:pt x="830" y="491"/>
                  <a:pt x="830" y="491"/>
                </a:cubicBezTo>
                <a:cubicBezTo>
                  <a:pt x="828" y="493"/>
                  <a:pt x="828" y="493"/>
                  <a:pt x="828" y="493"/>
                </a:cubicBezTo>
                <a:cubicBezTo>
                  <a:pt x="828" y="494"/>
                  <a:pt x="828" y="494"/>
                  <a:pt x="828" y="494"/>
                </a:cubicBezTo>
                <a:cubicBezTo>
                  <a:pt x="827" y="496"/>
                  <a:pt x="827" y="496"/>
                  <a:pt x="827" y="496"/>
                </a:cubicBezTo>
                <a:cubicBezTo>
                  <a:pt x="827" y="498"/>
                  <a:pt x="827" y="498"/>
                  <a:pt x="827" y="498"/>
                </a:cubicBezTo>
                <a:cubicBezTo>
                  <a:pt x="827" y="498"/>
                  <a:pt x="827" y="498"/>
                  <a:pt x="827" y="498"/>
                </a:cubicBezTo>
                <a:cubicBezTo>
                  <a:pt x="827" y="500"/>
                  <a:pt x="827" y="500"/>
                  <a:pt x="827" y="500"/>
                </a:cubicBezTo>
                <a:cubicBezTo>
                  <a:pt x="826" y="502"/>
                  <a:pt x="826" y="502"/>
                  <a:pt x="826" y="502"/>
                </a:cubicBezTo>
                <a:cubicBezTo>
                  <a:pt x="827" y="502"/>
                  <a:pt x="827" y="502"/>
                  <a:pt x="827" y="502"/>
                </a:cubicBezTo>
                <a:cubicBezTo>
                  <a:pt x="827" y="505"/>
                  <a:pt x="827" y="505"/>
                  <a:pt x="827" y="505"/>
                </a:cubicBezTo>
                <a:cubicBezTo>
                  <a:pt x="827" y="505"/>
                  <a:pt x="827" y="505"/>
                  <a:pt x="827" y="505"/>
                </a:cubicBezTo>
                <a:cubicBezTo>
                  <a:pt x="827" y="506"/>
                  <a:pt x="827" y="506"/>
                  <a:pt x="827" y="506"/>
                </a:cubicBezTo>
                <a:cubicBezTo>
                  <a:pt x="828" y="507"/>
                  <a:pt x="828" y="507"/>
                  <a:pt x="828" y="507"/>
                </a:cubicBezTo>
                <a:cubicBezTo>
                  <a:pt x="828" y="507"/>
                  <a:pt x="828" y="507"/>
                  <a:pt x="828" y="507"/>
                </a:cubicBezTo>
                <a:cubicBezTo>
                  <a:pt x="829" y="508"/>
                  <a:pt x="829" y="508"/>
                  <a:pt x="829" y="508"/>
                </a:cubicBezTo>
                <a:cubicBezTo>
                  <a:pt x="830" y="507"/>
                  <a:pt x="830" y="507"/>
                  <a:pt x="830" y="507"/>
                </a:cubicBezTo>
                <a:cubicBezTo>
                  <a:pt x="830" y="507"/>
                  <a:pt x="830" y="507"/>
                  <a:pt x="830" y="507"/>
                </a:cubicBezTo>
                <a:cubicBezTo>
                  <a:pt x="831" y="507"/>
                  <a:pt x="831" y="507"/>
                  <a:pt x="831" y="507"/>
                </a:cubicBezTo>
                <a:cubicBezTo>
                  <a:pt x="832" y="507"/>
                  <a:pt x="832" y="507"/>
                  <a:pt x="832" y="507"/>
                </a:cubicBezTo>
                <a:cubicBezTo>
                  <a:pt x="833" y="506"/>
                  <a:pt x="833" y="506"/>
                  <a:pt x="833" y="506"/>
                </a:cubicBezTo>
                <a:cubicBezTo>
                  <a:pt x="833" y="505"/>
                  <a:pt x="833" y="505"/>
                  <a:pt x="833" y="505"/>
                </a:cubicBezTo>
                <a:cubicBezTo>
                  <a:pt x="833" y="505"/>
                  <a:pt x="833" y="505"/>
                  <a:pt x="833" y="505"/>
                </a:cubicBezTo>
                <a:cubicBezTo>
                  <a:pt x="834" y="504"/>
                  <a:pt x="834" y="504"/>
                  <a:pt x="834" y="504"/>
                </a:cubicBezTo>
                <a:cubicBezTo>
                  <a:pt x="835" y="502"/>
                  <a:pt x="835" y="502"/>
                  <a:pt x="835" y="502"/>
                </a:cubicBezTo>
                <a:cubicBezTo>
                  <a:pt x="837" y="500"/>
                  <a:pt x="837" y="500"/>
                  <a:pt x="837" y="500"/>
                </a:cubicBezTo>
                <a:cubicBezTo>
                  <a:pt x="837" y="499"/>
                  <a:pt x="837" y="499"/>
                  <a:pt x="837" y="499"/>
                </a:cubicBezTo>
                <a:cubicBezTo>
                  <a:pt x="837" y="498"/>
                  <a:pt x="837" y="498"/>
                  <a:pt x="837" y="498"/>
                </a:cubicBezTo>
                <a:cubicBezTo>
                  <a:pt x="837" y="497"/>
                  <a:pt x="837" y="497"/>
                  <a:pt x="837" y="497"/>
                </a:cubicBezTo>
                <a:cubicBezTo>
                  <a:pt x="837" y="495"/>
                  <a:pt x="837" y="495"/>
                  <a:pt x="837" y="495"/>
                </a:cubicBezTo>
                <a:cubicBezTo>
                  <a:pt x="837" y="494"/>
                  <a:pt x="837" y="494"/>
                  <a:pt x="837" y="494"/>
                </a:cubicBezTo>
                <a:cubicBezTo>
                  <a:pt x="837" y="492"/>
                  <a:pt x="837" y="492"/>
                  <a:pt x="837" y="492"/>
                </a:cubicBezTo>
                <a:cubicBezTo>
                  <a:pt x="837" y="491"/>
                  <a:pt x="837" y="491"/>
                  <a:pt x="837" y="491"/>
                </a:cubicBezTo>
                <a:cubicBezTo>
                  <a:pt x="838" y="490"/>
                  <a:pt x="838" y="490"/>
                  <a:pt x="838" y="490"/>
                </a:cubicBezTo>
                <a:cubicBezTo>
                  <a:pt x="839" y="489"/>
                  <a:pt x="839" y="489"/>
                  <a:pt x="839" y="489"/>
                </a:cubicBezTo>
                <a:cubicBezTo>
                  <a:pt x="838" y="489"/>
                  <a:pt x="838" y="489"/>
                  <a:pt x="838" y="489"/>
                </a:cubicBezTo>
                <a:cubicBezTo>
                  <a:pt x="838" y="488"/>
                  <a:pt x="838" y="488"/>
                  <a:pt x="838" y="488"/>
                </a:cubicBezTo>
                <a:cubicBezTo>
                  <a:pt x="838" y="487"/>
                  <a:pt x="838" y="487"/>
                  <a:pt x="838" y="487"/>
                </a:cubicBezTo>
                <a:cubicBezTo>
                  <a:pt x="839" y="485"/>
                  <a:pt x="839" y="485"/>
                  <a:pt x="839" y="485"/>
                </a:cubicBezTo>
                <a:cubicBezTo>
                  <a:pt x="840" y="483"/>
                  <a:pt x="840" y="483"/>
                  <a:pt x="840" y="483"/>
                </a:cubicBezTo>
                <a:cubicBezTo>
                  <a:pt x="840" y="482"/>
                  <a:pt x="840" y="482"/>
                  <a:pt x="840" y="482"/>
                </a:cubicBezTo>
                <a:cubicBezTo>
                  <a:pt x="841" y="482"/>
                  <a:pt x="841" y="482"/>
                  <a:pt x="841" y="482"/>
                </a:cubicBezTo>
                <a:cubicBezTo>
                  <a:pt x="842" y="481"/>
                  <a:pt x="842" y="481"/>
                  <a:pt x="842" y="481"/>
                </a:cubicBezTo>
                <a:cubicBezTo>
                  <a:pt x="842" y="480"/>
                  <a:pt x="842" y="480"/>
                  <a:pt x="842" y="480"/>
                </a:cubicBezTo>
                <a:cubicBezTo>
                  <a:pt x="842" y="480"/>
                  <a:pt x="842" y="480"/>
                  <a:pt x="842" y="480"/>
                </a:cubicBezTo>
                <a:cubicBezTo>
                  <a:pt x="842" y="480"/>
                  <a:pt x="842" y="480"/>
                  <a:pt x="842" y="480"/>
                </a:cubicBezTo>
                <a:cubicBezTo>
                  <a:pt x="843" y="480"/>
                  <a:pt x="843" y="480"/>
                  <a:pt x="843" y="480"/>
                </a:cubicBezTo>
                <a:cubicBezTo>
                  <a:pt x="844" y="479"/>
                  <a:pt x="844" y="479"/>
                  <a:pt x="844" y="479"/>
                </a:cubicBezTo>
                <a:cubicBezTo>
                  <a:pt x="844" y="479"/>
                  <a:pt x="844" y="479"/>
                  <a:pt x="844" y="479"/>
                </a:cubicBezTo>
                <a:cubicBezTo>
                  <a:pt x="845" y="480"/>
                  <a:pt x="845" y="480"/>
                  <a:pt x="845" y="480"/>
                </a:cubicBezTo>
                <a:cubicBezTo>
                  <a:pt x="844" y="480"/>
                  <a:pt x="844" y="480"/>
                  <a:pt x="844" y="480"/>
                </a:cubicBezTo>
                <a:cubicBezTo>
                  <a:pt x="845" y="481"/>
                  <a:pt x="845" y="481"/>
                  <a:pt x="845" y="481"/>
                </a:cubicBezTo>
                <a:cubicBezTo>
                  <a:pt x="845" y="480"/>
                  <a:pt x="845" y="480"/>
                  <a:pt x="845" y="480"/>
                </a:cubicBezTo>
                <a:cubicBezTo>
                  <a:pt x="845" y="480"/>
                  <a:pt x="845" y="480"/>
                  <a:pt x="845" y="480"/>
                </a:cubicBezTo>
                <a:cubicBezTo>
                  <a:pt x="845" y="480"/>
                  <a:pt x="845" y="480"/>
                  <a:pt x="845" y="480"/>
                </a:cubicBezTo>
                <a:cubicBezTo>
                  <a:pt x="845" y="480"/>
                  <a:pt x="845" y="480"/>
                  <a:pt x="845" y="480"/>
                </a:cubicBezTo>
                <a:cubicBezTo>
                  <a:pt x="845" y="481"/>
                  <a:pt x="845" y="481"/>
                  <a:pt x="845" y="481"/>
                </a:cubicBezTo>
                <a:cubicBezTo>
                  <a:pt x="845" y="481"/>
                  <a:pt x="845" y="481"/>
                  <a:pt x="845" y="481"/>
                </a:cubicBezTo>
                <a:cubicBezTo>
                  <a:pt x="846" y="481"/>
                  <a:pt x="846" y="481"/>
                  <a:pt x="846" y="481"/>
                </a:cubicBezTo>
                <a:cubicBezTo>
                  <a:pt x="846" y="480"/>
                  <a:pt x="846" y="480"/>
                  <a:pt x="846" y="480"/>
                </a:cubicBezTo>
                <a:cubicBezTo>
                  <a:pt x="846" y="479"/>
                  <a:pt x="846" y="479"/>
                  <a:pt x="846" y="479"/>
                </a:cubicBezTo>
                <a:cubicBezTo>
                  <a:pt x="846" y="478"/>
                  <a:pt x="846" y="478"/>
                  <a:pt x="846" y="478"/>
                </a:cubicBezTo>
                <a:cubicBezTo>
                  <a:pt x="847" y="477"/>
                  <a:pt x="847" y="477"/>
                  <a:pt x="847" y="477"/>
                </a:cubicBezTo>
                <a:cubicBezTo>
                  <a:pt x="848" y="477"/>
                  <a:pt x="848" y="477"/>
                  <a:pt x="848" y="477"/>
                </a:cubicBezTo>
                <a:cubicBezTo>
                  <a:pt x="849" y="477"/>
                  <a:pt x="849" y="477"/>
                  <a:pt x="849" y="477"/>
                </a:cubicBezTo>
                <a:cubicBezTo>
                  <a:pt x="849" y="477"/>
                  <a:pt x="849" y="477"/>
                  <a:pt x="849" y="477"/>
                </a:cubicBezTo>
                <a:cubicBezTo>
                  <a:pt x="848" y="476"/>
                  <a:pt x="848" y="476"/>
                  <a:pt x="848" y="476"/>
                </a:cubicBezTo>
                <a:cubicBezTo>
                  <a:pt x="848" y="476"/>
                  <a:pt x="848" y="476"/>
                  <a:pt x="848" y="476"/>
                </a:cubicBezTo>
                <a:cubicBezTo>
                  <a:pt x="849" y="475"/>
                  <a:pt x="849" y="475"/>
                  <a:pt x="849" y="475"/>
                </a:cubicBezTo>
                <a:cubicBezTo>
                  <a:pt x="849" y="475"/>
                  <a:pt x="849" y="475"/>
                  <a:pt x="849" y="475"/>
                </a:cubicBezTo>
                <a:cubicBezTo>
                  <a:pt x="850" y="474"/>
                  <a:pt x="850" y="474"/>
                  <a:pt x="850" y="474"/>
                </a:cubicBezTo>
                <a:cubicBezTo>
                  <a:pt x="850" y="474"/>
                  <a:pt x="850" y="474"/>
                  <a:pt x="850" y="474"/>
                </a:cubicBezTo>
                <a:cubicBezTo>
                  <a:pt x="850" y="475"/>
                  <a:pt x="850" y="475"/>
                  <a:pt x="850" y="475"/>
                </a:cubicBezTo>
                <a:cubicBezTo>
                  <a:pt x="851" y="475"/>
                  <a:pt x="851" y="475"/>
                  <a:pt x="851" y="475"/>
                </a:cubicBezTo>
                <a:cubicBezTo>
                  <a:pt x="852" y="476"/>
                  <a:pt x="852" y="476"/>
                  <a:pt x="852" y="476"/>
                </a:cubicBezTo>
                <a:cubicBezTo>
                  <a:pt x="853" y="476"/>
                  <a:pt x="853" y="476"/>
                  <a:pt x="853" y="476"/>
                </a:cubicBezTo>
                <a:cubicBezTo>
                  <a:pt x="854" y="477"/>
                  <a:pt x="854" y="477"/>
                  <a:pt x="854" y="477"/>
                </a:cubicBezTo>
                <a:cubicBezTo>
                  <a:pt x="854" y="477"/>
                  <a:pt x="854" y="477"/>
                  <a:pt x="854" y="477"/>
                </a:cubicBezTo>
                <a:cubicBezTo>
                  <a:pt x="855" y="478"/>
                  <a:pt x="855" y="478"/>
                  <a:pt x="855" y="478"/>
                </a:cubicBezTo>
                <a:cubicBezTo>
                  <a:pt x="856" y="478"/>
                  <a:pt x="856" y="478"/>
                  <a:pt x="856" y="478"/>
                </a:cubicBezTo>
                <a:cubicBezTo>
                  <a:pt x="857" y="479"/>
                  <a:pt x="857" y="479"/>
                  <a:pt x="857" y="479"/>
                </a:cubicBezTo>
                <a:cubicBezTo>
                  <a:pt x="857" y="480"/>
                  <a:pt x="857" y="480"/>
                  <a:pt x="857" y="480"/>
                </a:cubicBezTo>
                <a:cubicBezTo>
                  <a:pt x="857" y="480"/>
                  <a:pt x="857" y="480"/>
                  <a:pt x="857" y="480"/>
                </a:cubicBezTo>
                <a:cubicBezTo>
                  <a:pt x="857" y="481"/>
                  <a:pt x="857" y="481"/>
                  <a:pt x="857" y="481"/>
                </a:cubicBezTo>
                <a:cubicBezTo>
                  <a:pt x="858" y="482"/>
                  <a:pt x="858" y="482"/>
                  <a:pt x="858" y="482"/>
                </a:cubicBezTo>
                <a:cubicBezTo>
                  <a:pt x="858" y="484"/>
                  <a:pt x="858" y="484"/>
                  <a:pt x="858" y="484"/>
                </a:cubicBezTo>
                <a:cubicBezTo>
                  <a:pt x="857" y="486"/>
                  <a:pt x="857" y="486"/>
                  <a:pt x="857" y="486"/>
                </a:cubicBezTo>
                <a:cubicBezTo>
                  <a:pt x="856" y="487"/>
                  <a:pt x="856" y="487"/>
                  <a:pt x="856" y="487"/>
                </a:cubicBezTo>
                <a:cubicBezTo>
                  <a:pt x="855" y="487"/>
                  <a:pt x="855" y="487"/>
                  <a:pt x="855" y="487"/>
                </a:cubicBezTo>
                <a:cubicBezTo>
                  <a:pt x="855" y="488"/>
                  <a:pt x="855" y="488"/>
                  <a:pt x="855" y="488"/>
                </a:cubicBezTo>
                <a:cubicBezTo>
                  <a:pt x="855" y="489"/>
                  <a:pt x="855" y="489"/>
                  <a:pt x="855" y="489"/>
                </a:cubicBezTo>
                <a:cubicBezTo>
                  <a:pt x="853" y="489"/>
                  <a:pt x="853" y="489"/>
                  <a:pt x="853" y="489"/>
                </a:cubicBezTo>
                <a:cubicBezTo>
                  <a:pt x="853" y="490"/>
                  <a:pt x="853" y="490"/>
                  <a:pt x="853" y="490"/>
                </a:cubicBezTo>
                <a:cubicBezTo>
                  <a:pt x="853" y="491"/>
                  <a:pt x="853" y="491"/>
                  <a:pt x="853" y="491"/>
                </a:cubicBezTo>
                <a:cubicBezTo>
                  <a:pt x="853" y="492"/>
                  <a:pt x="853" y="492"/>
                  <a:pt x="853" y="492"/>
                </a:cubicBezTo>
                <a:cubicBezTo>
                  <a:pt x="854" y="493"/>
                  <a:pt x="854" y="493"/>
                  <a:pt x="854" y="493"/>
                </a:cubicBezTo>
                <a:cubicBezTo>
                  <a:pt x="855" y="492"/>
                  <a:pt x="855" y="492"/>
                  <a:pt x="855" y="492"/>
                </a:cubicBezTo>
                <a:cubicBezTo>
                  <a:pt x="855" y="492"/>
                  <a:pt x="855" y="492"/>
                  <a:pt x="855" y="492"/>
                </a:cubicBezTo>
                <a:cubicBezTo>
                  <a:pt x="856" y="491"/>
                  <a:pt x="856" y="491"/>
                  <a:pt x="856" y="491"/>
                </a:cubicBezTo>
                <a:cubicBezTo>
                  <a:pt x="856" y="490"/>
                  <a:pt x="856" y="490"/>
                  <a:pt x="856" y="490"/>
                </a:cubicBezTo>
                <a:cubicBezTo>
                  <a:pt x="856" y="490"/>
                  <a:pt x="856" y="490"/>
                  <a:pt x="856" y="490"/>
                </a:cubicBezTo>
                <a:cubicBezTo>
                  <a:pt x="857" y="490"/>
                  <a:pt x="857" y="490"/>
                  <a:pt x="857" y="490"/>
                </a:cubicBezTo>
                <a:cubicBezTo>
                  <a:pt x="858" y="489"/>
                  <a:pt x="858" y="489"/>
                  <a:pt x="858" y="489"/>
                </a:cubicBezTo>
                <a:cubicBezTo>
                  <a:pt x="859" y="489"/>
                  <a:pt x="859" y="489"/>
                  <a:pt x="859" y="489"/>
                </a:cubicBezTo>
                <a:cubicBezTo>
                  <a:pt x="859" y="489"/>
                  <a:pt x="859" y="489"/>
                  <a:pt x="859" y="489"/>
                </a:cubicBezTo>
                <a:cubicBezTo>
                  <a:pt x="860" y="489"/>
                  <a:pt x="860" y="489"/>
                  <a:pt x="860" y="489"/>
                </a:cubicBezTo>
                <a:cubicBezTo>
                  <a:pt x="861" y="490"/>
                  <a:pt x="861" y="490"/>
                  <a:pt x="861" y="490"/>
                </a:cubicBezTo>
                <a:cubicBezTo>
                  <a:pt x="861" y="492"/>
                  <a:pt x="861" y="492"/>
                  <a:pt x="861" y="492"/>
                </a:cubicBezTo>
                <a:cubicBezTo>
                  <a:pt x="860" y="495"/>
                  <a:pt x="860" y="495"/>
                  <a:pt x="860" y="495"/>
                </a:cubicBezTo>
                <a:cubicBezTo>
                  <a:pt x="860" y="497"/>
                  <a:pt x="860" y="497"/>
                  <a:pt x="860" y="497"/>
                </a:cubicBezTo>
                <a:cubicBezTo>
                  <a:pt x="860" y="498"/>
                  <a:pt x="860" y="498"/>
                  <a:pt x="860" y="498"/>
                </a:cubicBezTo>
                <a:cubicBezTo>
                  <a:pt x="860" y="500"/>
                  <a:pt x="860" y="500"/>
                  <a:pt x="860" y="500"/>
                </a:cubicBezTo>
                <a:cubicBezTo>
                  <a:pt x="861" y="498"/>
                  <a:pt x="861" y="498"/>
                  <a:pt x="861" y="498"/>
                </a:cubicBezTo>
                <a:cubicBezTo>
                  <a:pt x="861" y="497"/>
                  <a:pt x="861" y="497"/>
                  <a:pt x="861" y="497"/>
                </a:cubicBezTo>
                <a:cubicBezTo>
                  <a:pt x="864" y="496"/>
                  <a:pt x="864" y="496"/>
                  <a:pt x="864" y="496"/>
                </a:cubicBezTo>
                <a:cubicBezTo>
                  <a:pt x="865" y="496"/>
                  <a:pt x="865" y="496"/>
                  <a:pt x="865" y="496"/>
                </a:cubicBezTo>
                <a:cubicBezTo>
                  <a:pt x="865" y="495"/>
                  <a:pt x="865" y="495"/>
                  <a:pt x="865" y="495"/>
                </a:cubicBezTo>
                <a:cubicBezTo>
                  <a:pt x="865" y="494"/>
                  <a:pt x="865" y="494"/>
                  <a:pt x="865" y="494"/>
                </a:cubicBezTo>
                <a:cubicBezTo>
                  <a:pt x="866" y="493"/>
                  <a:pt x="866" y="493"/>
                  <a:pt x="866" y="493"/>
                </a:cubicBezTo>
                <a:cubicBezTo>
                  <a:pt x="866" y="493"/>
                  <a:pt x="866" y="493"/>
                  <a:pt x="866" y="493"/>
                </a:cubicBezTo>
                <a:cubicBezTo>
                  <a:pt x="866" y="491"/>
                  <a:pt x="866" y="491"/>
                  <a:pt x="866" y="491"/>
                </a:cubicBezTo>
                <a:cubicBezTo>
                  <a:pt x="866" y="491"/>
                  <a:pt x="866" y="491"/>
                  <a:pt x="866" y="491"/>
                </a:cubicBezTo>
                <a:cubicBezTo>
                  <a:pt x="866" y="490"/>
                  <a:pt x="866" y="490"/>
                  <a:pt x="866" y="490"/>
                </a:cubicBezTo>
                <a:cubicBezTo>
                  <a:pt x="866" y="489"/>
                  <a:pt x="866" y="489"/>
                  <a:pt x="866" y="489"/>
                </a:cubicBezTo>
                <a:cubicBezTo>
                  <a:pt x="867" y="488"/>
                  <a:pt x="867" y="488"/>
                  <a:pt x="867" y="488"/>
                </a:cubicBezTo>
                <a:cubicBezTo>
                  <a:pt x="867" y="487"/>
                  <a:pt x="867" y="487"/>
                  <a:pt x="867" y="487"/>
                </a:cubicBezTo>
                <a:cubicBezTo>
                  <a:pt x="868" y="486"/>
                  <a:pt x="868" y="486"/>
                  <a:pt x="868" y="486"/>
                </a:cubicBezTo>
                <a:cubicBezTo>
                  <a:pt x="869" y="485"/>
                  <a:pt x="869" y="485"/>
                  <a:pt x="869" y="485"/>
                </a:cubicBezTo>
                <a:cubicBezTo>
                  <a:pt x="870" y="484"/>
                  <a:pt x="870" y="484"/>
                  <a:pt x="870" y="484"/>
                </a:cubicBezTo>
                <a:cubicBezTo>
                  <a:pt x="870" y="483"/>
                  <a:pt x="870" y="483"/>
                  <a:pt x="870" y="483"/>
                </a:cubicBezTo>
                <a:cubicBezTo>
                  <a:pt x="869" y="480"/>
                  <a:pt x="869" y="480"/>
                  <a:pt x="869" y="480"/>
                </a:cubicBezTo>
                <a:cubicBezTo>
                  <a:pt x="868" y="480"/>
                  <a:pt x="868" y="480"/>
                  <a:pt x="868" y="480"/>
                </a:cubicBezTo>
                <a:cubicBezTo>
                  <a:pt x="869" y="479"/>
                  <a:pt x="869" y="479"/>
                  <a:pt x="869" y="479"/>
                </a:cubicBezTo>
                <a:cubicBezTo>
                  <a:pt x="870" y="480"/>
                  <a:pt x="870" y="480"/>
                  <a:pt x="870" y="480"/>
                </a:cubicBezTo>
                <a:cubicBezTo>
                  <a:pt x="870" y="480"/>
                  <a:pt x="870" y="480"/>
                  <a:pt x="870" y="480"/>
                </a:cubicBezTo>
                <a:cubicBezTo>
                  <a:pt x="870" y="481"/>
                  <a:pt x="870" y="481"/>
                  <a:pt x="870" y="481"/>
                </a:cubicBezTo>
                <a:cubicBezTo>
                  <a:pt x="871" y="481"/>
                  <a:pt x="871" y="481"/>
                  <a:pt x="871" y="481"/>
                </a:cubicBezTo>
                <a:cubicBezTo>
                  <a:pt x="871" y="482"/>
                  <a:pt x="871" y="482"/>
                  <a:pt x="871" y="482"/>
                </a:cubicBezTo>
                <a:cubicBezTo>
                  <a:pt x="871" y="483"/>
                  <a:pt x="871" y="483"/>
                  <a:pt x="871" y="483"/>
                </a:cubicBezTo>
                <a:cubicBezTo>
                  <a:pt x="872" y="484"/>
                  <a:pt x="872" y="484"/>
                  <a:pt x="872" y="484"/>
                </a:cubicBezTo>
                <a:cubicBezTo>
                  <a:pt x="872" y="485"/>
                  <a:pt x="872" y="485"/>
                  <a:pt x="872" y="485"/>
                </a:cubicBezTo>
                <a:cubicBezTo>
                  <a:pt x="873" y="484"/>
                  <a:pt x="873" y="484"/>
                  <a:pt x="873" y="484"/>
                </a:cubicBezTo>
                <a:cubicBezTo>
                  <a:pt x="873" y="484"/>
                  <a:pt x="873" y="484"/>
                  <a:pt x="873" y="484"/>
                </a:cubicBezTo>
                <a:cubicBezTo>
                  <a:pt x="874" y="484"/>
                  <a:pt x="874" y="484"/>
                  <a:pt x="874" y="484"/>
                </a:cubicBezTo>
                <a:cubicBezTo>
                  <a:pt x="874" y="485"/>
                  <a:pt x="874" y="485"/>
                  <a:pt x="874" y="485"/>
                </a:cubicBezTo>
                <a:cubicBezTo>
                  <a:pt x="874" y="485"/>
                  <a:pt x="874" y="485"/>
                  <a:pt x="874" y="485"/>
                </a:cubicBezTo>
                <a:cubicBezTo>
                  <a:pt x="875" y="486"/>
                  <a:pt x="875" y="486"/>
                  <a:pt x="875" y="486"/>
                </a:cubicBezTo>
                <a:cubicBezTo>
                  <a:pt x="876" y="486"/>
                  <a:pt x="876" y="486"/>
                  <a:pt x="876" y="486"/>
                </a:cubicBezTo>
                <a:cubicBezTo>
                  <a:pt x="877" y="487"/>
                  <a:pt x="877" y="487"/>
                  <a:pt x="877" y="487"/>
                </a:cubicBezTo>
                <a:cubicBezTo>
                  <a:pt x="877" y="486"/>
                  <a:pt x="877" y="486"/>
                  <a:pt x="877" y="486"/>
                </a:cubicBezTo>
                <a:cubicBezTo>
                  <a:pt x="877" y="485"/>
                  <a:pt x="877" y="485"/>
                  <a:pt x="877" y="485"/>
                </a:cubicBezTo>
                <a:cubicBezTo>
                  <a:pt x="877" y="484"/>
                  <a:pt x="877" y="484"/>
                  <a:pt x="877" y="484"/>
                </a:cubicBezTo>
                <a:cubicBezTo>
                  <a:pt x="877" y="484"/>
                  <a:pt x="877" y="484"/>
                  <a:pt x="877" y="484"/>
                </a:cubicBezTo>
                <a:cubicBezTo>
                  <a:pt x="877" y="483"/>
                  <a:pt x="877" y="483"/>
                  <a:pt x="877" y="483"/>
                </a:cubicBezTo>
                <a:lnTo>
                  <a:pt x="878" y="483"/>
                </a:lnTo>
                <a:close/>
                <a:moveTo>
                  <a:pt x="180" y="447"/>
                </a:moveTo>
                <a:cubicBezTo>
                  <a:pt x="179" y="448"/>
                  <a:pt x="179" y="448"/>
                  <a:pt x="179" y="448"/>
                </a:cubicBezTo>
                <a:cubicBezTo>
                  <a:pt x="180" y="448"/>
                  <a:pt x="180" y="448"/>
                  <a:pt x="180" y="448"/>
                </a:cubicBezTo>
                <a:cubicBezTo>
                  <a:pt x="181" y="448"/>
                  <a:pt x="181" y="448"/>
                  <a:pt x="181" y="448"/>
                </a:cubicBezTo>
                <a:cubicBezTo>
                  <a:pt x="182" y="448"/>
                  <a:pt x="182" y="448"/>
                  <a:pt x="182" y="448"/>
                </a:cubicBezTo>
                <a:cubicBezTo>
                  <a:pt x="181" y="447"/>
                  <a:pt x="181" y="447"/>
                  <a:pt x="181" y="447"/>
                </a:cubicBezTo>
                <a:cubicBezTo>
                  <a:pt x="180" y="447"/>
                  <a:pt x="180" y="447"/>
                  <a:pt x="180" y="447"/>
                </a:cubicBezTo>
                <a:close/>
                <a:moveTo>
                  <a:pt x="170" y="451"/>
                </a:moveTo>
                <a:cubicBezTo>
                  <a:pt x="171" y="451"/>
                  <a:pt x="171" y="451"/>
                  <a:pt x="171" y="451"/>
                </a:cubicBezTo>
                <a:cubicBezTo>
                  <a:pt x="170" y="450"/>
                  <a:pt x="170" y="450"/>
                  <a:pt x="170" y="450"/>
                </a:cubicBezTo>
                <a:cubicBezTo>
                  <a:pt x="169" y="451"/>
                  <a:pt x="169" y="451"/>
                  <a:pt x="169" y="451"/>
                </a:cubicBezTo>
                <a:cubicBezTo>
                  <a:pt x="170" y="451"/>
                  <a:pt x="170" y="451"/>
                  <a:pt x="170" y="451"/>
                </a:cubicBezTo>
                <a:close/>
                <a:moveTo>
                  <a:pt x="136" y="500"/>
                </a:moveTo>
                <a:cubicBezTo>
                  <a:pt x="136" y="500"/>
                  <a:pt x="136" y="500"/>
                  <a:pt x="137" y="500"/>
                </a:cubicBezTo>
                <a:cubicBezTo>
                  <a:pt x="137" y="500"/>
                  <a:pt x="137" y="500"/>
                  <a:pt x="138" y="498"/>
                </a:cubicBezTo>
                <a:cubicBezTo>
                  <a:pt x="138" y="498"/>
                  <a:pt x="138" y="498"/>
                  <a:pt x="136" y="499"/>
                </a:cubicBezTo>
                <a:cubicBezTo>
                  <a:pt x="136" y="499"/>
                  <a:pt x="136" y="499"/>
                  <a:pt x="136" y="500"/>
                </a:cubicBezTo>
                <a:close/>
                <a:moveTo>
                  <a:pt x="2" y="549"/>
                </a:moveTo>
                <a:cubicBezTo>
                  <a:pt x="4" y="547"/>
                  <a:pt x="4" y="547"/>
                  <a:pt x="4" y="547"/>
                </a:cubicBezTo>
                <a:cubicBezTo>
                  <a:pt x="4" y="546"/>
                  <a:pt x="4" y="546"/>
                  <a:pt x="4" y="546"/>
                </a:cubicBezTo>
                <a:cubicBezTo>
                  <a:pt x="3" y="547"/>
                  <a:pt x="3" y="547"/>
                  <a:pt x="3" y="547"/>
                </a:cubicBezTo>
                <a:cubicBezTo>
                  <a:pt x="2" y="549"/>
                  <a:pt x="2" y="549"/>
                  <a:pt x="2" y="549"/>
                </a:cubicBezTo>
                <a:close/>
                <a:moveTo>
                  <a:pt x="140" y="482"/>
                </a:moveTo>
                <a:cubicBezTo>
                  <a:pt x="140" y="482"/>
                  <a:pt x="140" y="482"/>
                  <a:pt x="141" y="481"/>
                </a:cubicBezTo>
                <a:cubicBezTo>
                  <a:pt x="141" y="481"/>
                  <a:pt x="141" y="481"/>
                  <a:pt x="139" y="480"/>
                </a:cubicBezTo>
                <a:cubicBezTo>
                  <a:pt x="139" y="480"/>
                  <a:pt x="139" y="480"/>
                  <a:pt x="139" y="481"/>
                </a:cubicBezTo>
                <a:cubicBezTo>
                  <a:pt x="139" y="481"/>
                  <a:pt x="139" y="481"/>
                  <a:pt x="140" y="482"/>
                </a:cubicBezTo>
                <a:close/>
                <a:moveTo>
                  <a:pt x="51" y="541"/>
                </a:moveTo>
                <a:cubicBezTo>
                  <a:pt x="51" y="541"/>
                  <a:pt x="51" y="541"/>
                  <a:pt x="52" y="541"/>
                </a:cubicBezTo>
                <a:cubicBezTo>
                  <a:pt x="52" y="541"/>
                  <a:pt x="52" y="541"/>
                  <a:pt x="53" y="540"/>
                </a:cubicBezTo>
                <a:cubicBezTo>
                  <a:pt x="53" y="540"/>
                  <a:pt x="53" y="540"/>
                  <a:pt x="51" y="539"/>
                </a:cubicBezTo>
                <a:cubicBezTo>
                  <a:pt x="51" y="539"/>
                  <a:pt x="51" y="539"/>
                  <a:pt x="49" y="539"/>
                </a:cubicBezTo>
                <a:cubicBezTo>
                  <a:pt x="49" y="539"/>
                  <a:pt x="49" y="539"/>
                  <a:pt x="50" y="540"/>
                </a:cubicBezTo>
                <a:cubicBezTo>
                  <a:pt x="50" y="540"/>
                  <a:pt x="50" y="540"/>
                  <a:pt x="51" y="541"/>
                </a:cubicBezTo>
                <a:close/>
                <a:moveTo>
                  <a:pt x="208" y="420"/>
                </a:moveTo>
                <a:cubicBezTo>
                  <a:pt x="208" y="420"/>
                  <a:pt x="208" y="420"/>
                  <a:pt x="207" y="421"/>
                </a:cubicBezTo>
                <a:cubicBezTo>
                  <a:pt x="207" y="421"/>
                  <a:pt x="207" y="421"/>
                  <a:pt x="207" y="422"/>
                </a:cubicBezTo>
                <a:cubicBezTo>
                  <a:pt x="207" y="422"/>
                  <a:pt x="207" y="422"/>
                  <a:pt x="208" y="421"/>
                </a:cubicBezTo>
                <a:cubicBezTo>
                  <a:pt x="208" y="421"/>
                  <a:pt x="208" y="421"/>
                  <a:pt x="209" y="420"/>
                </a:cubicBezTo>
                <a:cubicBezTo>
                  <a:pt x="209" y="420"/>
                  <a:pt x="209" y="420"/>
                  <a:pt x="208" y="420"/>
                </a:cubicBezTo>
                <a:close/>
                <a:moveTo>
                  <a:pt x="1" y="550"/>
                </a:moveTo>
                <a:cubicBezTo>
                  <a:pt x="0" y="552"/>
                  <a:pt x="0" y="552"/>
                  <a:pt x="0" y="552"/>
                </a:cubicBezTo>
                <a:cubicBezTo>
                  <a:pt x="1" y="552"/>
                  <a:pt x="1" y="552"/>
                  <a:pt x="1" y="552"/>
                </a:cubicBezTo>
                <a:cubicBezTo>
                  <a:pt x="1" y="550"/>
                  <a:pt x="1" y="550"/>
                  <a:pt x="1" y="550"/>
                </a:cubicBezTo>
                <a:close/>
              </a:path>
            </a:pathLst>
          </a:custGeom>
          <a:solidFill>
            <a:srgbClr val="00BCF2"/>
          </a:solidFill>
          <a:ln>
            <a:noFill/>
          </a:ln>
        </p:spPr>
        <p:txBody>
          <a:bodyPr vert="horz" wrap="square" lIns="87880" tIns="43940" rIns="87880" bIns="43940" numCol="1" anchor="t" anchorCtr="0" compatLnSpc="1">
            <a:prstTxWarp prst="textNoShape">
              <a:avLst/>
            </a:prstTxWarp>
          </a:bodyPr>
          <a:lstStyle/>
          <a:p>
            <a:pPr defTabSz="896354"/>
            <a:endParaRPr lang="en-US" sz="1730">
              <a:solidFill>
                <a:srgbClr val="FFFFFF"/>
              </a:solidFill>
            </a:endParaRPr>
          </a:p>
        </p:txBody>
      </p:sp>
      <p:sp>
        <p:nvSpPr>
          <p:cNvPr id="2" name="Title 1"/>
          <p:cNvSpPr>
            <a:spLocks noGrp="1"/>
          </p:cNvSpPr>
          <p:nvPr>
            <p:ph type="title"/>
          </p:nvPr>
        </p:nvSpPr>
        <p:spPr/>
        <p:txBody>
          <a:bodyPr/>
          <a:lstStyle/>
          <a:p>
            <a:r>
              <a:rPr lang="en-US" dirty="0" smtClean="0"/>
              <a:t>Microsoft Azure global footprint </a:t>
            </a:r>
            <a:endParaRPr lang="en-US" dirty="0"/>
          </a:p>
        </p:txBody>
      </p:sp>
      <p:sp>
        <p:nvSpPr>
          <p:cNvPr id="87" name="Oval 86"/>
          <p:cNvSpPr/>
          <p:nvPr/>
        </p:nvSpPr>
        <p:spPr bwMode="auto">
          <a:xfrm>
            <a:off x="8806443" y="4645414"/>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88" name="Oval 87"/>
          <p:cNvSpPr/>
          <p:nvPr/>
        </p:nvSpPr>
        <p:spPr bwMode="auto">
          <a:xfrm>
            <a:off x="3249487" y="3704447"/>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89" name="Oval 88"/>
          <p:cNvSpPr/>
          <p:nvPr/>
        </p:nvSpPr>
        <p:spPr bwMode="auto">
          <a:xfrm>
            <a:off x="3691231" y="3889152"/>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90" name="Oval 89"/>
          <p:cNvSpPr/>
          <p:nvPr/>
        </p:nvSpPr>
        <p:spPr bwMode="auto">
          <a:xfrm>
            <a:off x="3989179" y="3462544"/>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91" name="Oval 90"/>
          <p:cNvSpPr/>
          <p:nvPr/>
        </p:nvSpPr>
        <p:spPr bwMode="auto">
          <a:xfrm>
            <a:off x="4181162" y="3731635"/>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92" name="Oval 91"/>
          <p:cNvSpPr/>
          <p:nvPr/>
        </p:nvSpPr>
        <p:spPr bwMode="auto">
          <a:xfrm>
            <a:off x="6232229" y="3153443"/>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93" name="Oval 92"/>
          <p:cNvSpPr/>
          <p:nvPr/>
        </p:nvSpPr>
        <p:spPr bwMode="auto">
          <a:xfrm>
            <a:off x="5946238" y="3152865"/>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109" name="Oval 108"/>
          <p:cNvSpPr/>
          <p:nvPr/>
        </p:nvSpPr>
        <p:spPr bwMode="auto">
          <a:xfrm>
            <a:off x="8392850" y="3733843"/>
            <a:ext cx="154629" cy="154629"/>
          </a:xfrm>
          <a:prstGeom prst="ellipse">
            <a:avLst/>
          </a:prstGeom>
          <a:solidFill>
            <a:srgbClr val="68217A"/>
          </a:solidFill>
          <a:ln w="38100" cmpd="sng">
            <a:solidFill>
              <a:srgbClr val="F2F2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20" name="Rectangle 19"/>
          <p:cNvSpPr/>
          <p:nvPr/>
        </p:nvSpPr>
        <p:spPr>
          <a:xfrm>
            <a:off x="664662" y="4459943"/>
            <a:ext cx="6094444" cy="633625"/>
          </a:xfrm>
          <a:prstGeom prst="rect">
            <a:avLst/>
          </a:prstGeom>
        </p:spPr>
        <p:txBody>
          <a:bodyPr>
            <a:spAutoFit/>
          </a:bodyPr>
          <a:lstStyle/>
          <a:p>
            <a:pPr defTabSz="914367"/>
            <a:r>
              <a:rPr lang="en-US" sz="882" dirty="0">
                <a:solidFill>
                  <a:srgbClr val="FFFFFF"/>
                </a:solidFill>
                <a:ea typeface="Calibri" panose="020F0502020204030204" pitchFamily="34" charset="0"/>
                <a:cs typeface="Segoe UI"/>
              </a:rPr>
              <a:t>Operated by 21Vianet</a:t>
            </a:r>
          </a:p>
          <a:p>
            <a:pPr defTabSz="914367"/>
            <a:endParaRPr lang="en-US" sz="882" dirty="0">
              <a:solidFill>
                <a:srgbClr val="FFFFFF"/>
              </a:solidFill>
              <a:ea typeface="Calibri" panose="020F0502020204030204" pitchFamily="34" charset="0"/>
              <a:cs typeface="Segoe UI"/>
            </a:endParaRPr>
          </a:p>
          <a:p>
            <a:pPr defTabSz="914367"/>
            <a:r>
              <a:rPr lang="en-US" sz="882" dirty="0">
                <a:solidFill>
                  <a:srgbClr val="FFFFFF"/>
                </a:solidFill>
                <a:ea typeface="Calibri" panose="020F0502020204030204" pitchFamily="34" charset="0"/>
                <a:cs typeface="Segoe UI"/>
              </a:rPr>
              <a:t>Azure in China is operated and sold by </a:t>
            </a:r>
          </a:p>
          <a:p>
            <a:pPr defTabSz="914367"/>
            <a:r>
              <a:rPr lang="en-US" sz="882" dirty="0">
                <a:solidFill>
                  <a:srgbClr val="FFFFFF"/>
                </a:solidFill>
                <a:ea typeface="Calibri" panose="020F0502020204030204" pitchFamily="34" charset="0"/>
                <a:cs typeface="Segoe UI"/>
              </a:rPr>
              <a:t>21Vianet </a:t>
            </a:r>
            <a:r>
              <a:rPr lang="en-US" sz="882" u="sng" dirty="0">
                <a:solidFill>
                  <a:srgbClr val="FFFFFF"/>
                </a:solidFill>
                <a:ea typeface="Calibri" panose="020F0502020204030204" pitchFamily="34" charset="0"/>
                <a:cs typeface="Segoe UI"/>
              </a:rPr>
              <a:t>www.windowsazure.cn</a:t>
            </a:r>
            <a:endParaRPr lang="en-US" sz="882" dirty="0">
              <a:solidFill>
                <a:srgbClr val="FFFFFF"/>
              </a:solidFill>
              <a:ea typeface="Calibri" panose="020F0502020204030204" pitchFamily="34" charset="0"/>
              <a:cs typeface="Segoe UI"/>
            </a:endParaRPr>
          </a:p>
        </p:txBody>
      </p:sp>
      <p:sp>
        <p:nvSpPr>
          <p:cNvPr id="23" name="Rectangle 22"/>
          <p:cNvSpPr/>
          <p:nvPr/>
        </p:nvSpPr>
        <p:spPr bwMode="auto">
          <a:xfrm>
            <a:off x="104049" y="6307201"/>
            <a:ext cx="11952332" cy="453494"/>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369104" y="6266900"/>
            <a:ext cx="11433804" cy="523558"/>
          </a:xfrm>
          <a:prstGeom prst="rect">
            <a:avLst/>
          </a:prstGeom>
          <a:noFill/>
        </p:spPr>
        <p:txBody>
          <a:bodyPr wrap="square" lIns="175761" tIns="140609" rIns="175761" bIns="140609" rtlCol="0">
            <a:spAutoFit/>
          </a:bodyPr>
          <a:lstStyle/>
          <a:p>
            <a:pPr algn="ctr" defTabSz="896354">
              <a:lnSpc>
                <a:spcPct val="90000"/>
              </a:lnSpc>
              <a:spcAft>
                <a:spcPts val="576"/>
              </a:spcAft>
            </a:pPr>
            <a:r>
              <a:rPr lang="en-US" sz="1730" b="1" dirty="0">
                <a:gradFill>
                  <a:gsLst>
                    <a:gs pos="2917">
                      <a:srgbClr val="FFFFFF"/>
                    </a:gs>
                    <a:gs pos="30000">
                      <a:srgbClr val="FFFFFF"/>
                    </a:gs>
                  </a:gsLst>
                  <a:lin ang="5400000" scaled="0"/>
                </a:gradFill>
              </a:rPr>
              <a:t>280 years </a:t>
            </a:r>
            <a:r>
              <a:rPr lang="en-US" sz="1730" dirty="0">
                <a:gradFill>
                  <a:gsLst>
                    <a:gs pos="2917">
                      <a:srgbClr val="FFFFFF"/>
                    </a:gs>
                    <a:gs pos="30000">
                      <a:srgbClr val="FFFFFF"/>
                    </a:gs>
                  </a:gsLst>
                  <a:lin ang="5400000" scaled="0"/>
                </a:gradFill>
              </a:rPr>
              <a:t>of combined industry experience in infrastructure, security, product </a:t>
            </a:r>
            <a:r>
              <a:rPr lang="en-US" sz="1730" dirty="0" err="1">
                <a:gradFill>
                  <a:gsLst>
                    <a:gs pos="2917">
                      <a:srgbClr val="FFFFFF"/>
                    </a:gs>
                    <a:gs pos="30000">
                      <a:srgbClr val="FFFFFF"/>
                    </a:gs>
                  </a:gsLst>
                  <a:lin ang="5400000" scaled="0"/>
                </a:gradFill>
              </a:rPr>
              <a:t>dev</a:t>
            </a:r>
            <a:r>
              <a:rPr lang="en-US" sz="1730" dirty="0">
                <a:gradFill>
                  <a:gsLst>
                    <a:gs pos="2917">
                      <a:srgbClr val="FFFFFF"/>
                    </a:gs>
                    <a:gs pos="30000">
                      <a:srgbClr val="FFFFFF"/>
                    </a:gs>
                  </a:gsLst>
                  <a:lin ang="5400000" scaled="0"/>
                </a:gradFill>
              </a:rPr>
              <a:t>, and global ops</a:t>
            </a:r>
          </a:p>
        </p:txBody>
      </p:sp>
      <p:sp>
        <p:nvSpPr>
          <p:cNvPr id="25" name="Rectangle 24"/>
          <p:cNvSpPr/>
          <p:nvPr/>
        </p:nvSpPr>
        <p:spPr bwMode="auto">
          <a:xfrm>
            <a:off x="104049" y="5799517"/>
            <a:ext cx="2943990" cy="453494"/>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3105809" y="5799517"/>
            <a:ext cx="2943990" cy="453494"/>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6107570" y="5799517"/>
            <a:ext cx="2943990" cy="453494"/>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9109331" y="5799517"/>
            <a:ext cx="2943990" cy="453494"/>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p:cNvSpPr txBox="1"/>
          <p:nvPr/>
        </p:nvSpPr>
        <p:spPr>
          <a:xfrm>
            <a:off x="369104" y="5778051"/>
            <a:ext cx="2188271" cy="523558"/>
          </a:xfrm>
          <a:prstGeom prst="rect">
            <a:avLst/>
          </a:prstGeom>
          <a:noFill/>
        </p:spPr>
        <p:txBody>
          <a:bodyPr wrap="square" lIns="175761" tIns="140609" rIns="175761" bIns="140609" rtlCol="0">
            <a:spAutoFit/>
          </a:bodyPr>
          <a:lstStyle/>
          <a:p>
            <a:pPr defTabSz="896354">
              <a:lnSpc>
                <a:spcPct val="90000"/>
              </a:lnSpc>
              <a:spcAft>
                <a:spcPts val="576"/>
              </a:spcAft>
            </a:pPr>
            <a:r>
              <a:rPr lang="en-US" sz="1730" b="1" dirty="0">
                <a:gradFill>
                  <a:gsLst>
                    <a:gs pos="2917">
                      <a:srgbClr val="FFFFFF"/>
                    </a:gs>
                    <a:gs pos="30000">
                      <a:srgbClr val="FFFFFF"/>
                    </a:gs>
                  </a:gsLst>
                  <a:lin ang="5400000" scaled="0"/>
                </a:gradFill>
              </a:rPr>
              <a:t>24x7x365</a:t>
            </a:r>
            <a:r>
              <a:rPr lang="en-US" sz="1730" dirty="0">
                <a:gradFill>
                  <a:gsLst>
                    <a:gs pos="2917">
                      <a:srgbClr val="FFFFFF"/>
                    </a:gs>
                    <a:gs pos="30000">
                      <a:srgbClr val="FFFFFF"/>
                    </a:gs>
                  </a:gsLst>
                  <a:lin ang="5400000" scaled="0"/>
                </a:gradFill>
              </a:rPr>
              <a:t> support</a:t>
            </a:r>
          </a:p>
        </p:txBody>
      </p:sp>
      <p:sp>
        <p:nvSpPr>
          <p:cNvPr id="30" name="TextBox 29"/>
          <p:cNvSpPr txBox="1"/>
          <p:nvPr/>
        </p:nvSpPr>
        <p:spPr>
          <a:xfrm>
            <a:off x="3105809" y="5778051"/>
            <a:ext cx="2846289" cy="523558"/>
          </a:xfrm>
          <a:prstGeom prst="rect">
            <a:avLst/>
          </a:prstGeom>
          <a:noFill/>
        </p:spPr>
        <p:txBody>
          <a:bodyPr wrap="square" lIns="175761" tIns="140609" rIns="175761" bIns="140609" rtlCol="0">
            <a:spAutoFit/>
          </a:bodyPr>
          <a:lstStyle/>
          <a:p>
            <a:pPr defTabSz="896354">
              <a:lnSpc>
                <a:spcPct val="90000"/>
              </a:lnSpc>
              <a:spcAft>
                <a:spcPts val="576"/>
              </a:spcAft>
            </a:pPr>
            <a:r>
              <a:rPr lang="en-US" sz="1730" dirty="0">
                <a:gradFill>
                  <a:gsLst>
                    <a:gs pos="2917">
                      <a:srgbClr val="FFFFFF"/>
                    </a:gs>
                    <a:gs pos="30000">
                      <a:srgbClr val="FFFFFF"/>
                    </a:gs>
                  </a:gsLst>
                  <a:lin ang="5400000" scaled="0"/>
                </a:gradFill>
              </a:rPr>
              <a:t>Over </a:t>
            </a:r>
            <a:r>
              <a:rPr lang="en-US" sz="1730" b="1" dirty="0">
                <a:gradFill>
                  <a:gsLst>
                    <a:gs pos="2917">
                      <a:srgbClr val="FFFFFF"/>
                    </a:gs>
                    <a:gs pos="30000">
                      <a:srgbClr val="FFFFFF"/>
                    </a:gs>
                  </a:gsLst>
                  <a:lin ang="5400000" scaled="0"/>
                </a:gradFill>
              </a:rPr>
              <a:t>1 billion </a:t>
            </a:r>
            <a:r>
              <a:rPr lang="en-US" sz="1730" dirty="0">
                <a:gradFill>
                  <a:gsLst>
                    <a:gs pos="2917">
                      <a:srgbClr val="FFFFFF"/>
                    </a:gs>
                    <a:gs pos="30000">
                      <a:srgbClr val="FFFFFF"/>
                    </a:gs>
                  </a:gsLst>
                  <a:lin ang="5400000" scaled="0"/>
                </a:gradFill>
              </a:rPr>
              <a:t>customers</a:t>
            </a:r>
          </a:p>
        </p:txBody>
      </p:sp>
      <p:sp>
        <p:nvSpPr>
          <p:cNvPr id="31" name="TextBox 30"/>
          <p:cNvSpPr txBox="1"/>
          <p:nvPr/>
        </p:nvSpPr>
        <p:spPr>
          <a:xfrm>
            <a:off x="6096362" y="5778051"/>
            <a:ext cx="2534579" cy="523558"/>
          </a:xfrm>
          <a:prstGeom prst="rect">
            <a:avLst/>
          </a:prstGeom>
          <a:noFill/>
        </p:spPr>
        <p:txBody>
          <a:bodyPr wrap="square" lIns="175761" tIns="140609" rIns="175761" bIns="140609" rtlCol="0">
            <a:spAutoFit/>
          </a:bodyPr>
          <a:lstStyle/>
          <a:p>
            <a:pPr defTabSz="896354">
              <a:lnSpc>
                <a:spcPct val="90000"/>
              </a:lnSpc>
              <a:spcAft>
                <a:spcPts val="576"/>
              </a:spcAft>
            </a:pPr>
            <a:r>
              <a:rPr lang="en-US" sz="1730" b="1" dirty="0">
                <a:gradFill>
                  <a:gsLst>
                    <a:gs pos="2917">
                      <a:srgbClr val="FFFFFF"/>
                    </a:gs>
                    <a:gs pos="30000">
                      <a:srgbClr val="FFFFFF"/>
                    </a:gs>
                  </a:gsLst>
                  <a:lin ang="5400000" scaled="0"/>
                </a:gradFill>
              </a:rPr>
              <a:t>20 million </a:t>
            </a:r>
            <a:r>
              <a:rPr lang="en-US" sz="1730" dirty="0">
                <a:gradFill>
                  <a:gsLst>
                    <a:gs pos="2917">
                      <a:srgbClr val="FFFFFF"/>
                    </a:gs>
                    <a:gs pos="30000">
                      <a:srgbClr val="FFFFFF"/>
                    </a:gs>
                  </a:gsLst>
                  <a:lin ang="5400000" scaled="0"/>
                </a:gradFill>
              </a:rPr>
              <a:t>businesses</a:t>
            </a:r>
          </a:p>
        </p:txBody>
      </p:sp>
      <p:sp>
        <p:nvSpPr>
          <p:cNvPr id="32" name="TextBox 31"/>
          <p:cNvSpPr txBox="1"/>
          <p:nvPr/>
        </p:nvSpPr>
        <p:spPr>
          <a:xfrm>
            <a:off x="9115870" y="5778051"/>
            <a:ext cx="2662627" cy="523558"/>
          </a:xfrm>
          <a:prstGeom prst="rect">
            <a:avLst/>
          </a:prstGeom>
          <a:noFill/>
        </p:spPr>
        <p:txBody>
          <a:bodyPr wrap="square" lIns="175761" tIns="140609" rIns="175761" bIns="140609" rtlCol="0">
            <a:spAutoFit/>
          </a:bodyPr>
          <a:lstStyle/>
          <a:p>
            <a:pPr defTabSz="896354">
              <a:lnSpc>
                <a:spcPct val="90000"/>
              </a:lnSpc>
              <a:spcAft>
                <a:spcPts val="576"/>
              </a:spcAft>
            </a:pPr>
            <a:r>
              <a:rPr lang="en-US" sz="1730" b="1" dirty="0">
                <a:gradFill>
                  <a:gsLst>
                    <a:gs pos="2917">
                      <a:srgbClr val="FFFFFF"/>
                    </a:gs>
                    <a:gs pos="30000">
                      <a:srgbClr val="FFFFFF"/>
                    </a:gs>
                  </a:gsLst>
                  <a:lin ang="5400000" scaled="0"/>
                </a:gradFill>
              </a:rPr>
              <a:t>76</a:t>
            </a:r>
            <a:r>
              <a:rPr lang="en-US" sz="1730" dirty="0">
                <a:gradFill>
                  <a:gsLst>
                    <a:gs pos="2917">
                      <a:srgbClr val="FFFFFF"/>
                    </a:gs>
                    <a:gs pos="30000">
                      <a:srgbClr val="FFFFFF"/>
                    </a:gs>
                  </a:gsLst>
                  <a:lin ang="5400000" scaled="0"/>
                </a:gradFill>
              </a:rPr>
              <a:t> markets worldwide</a:t>
            </a:r>
          </a:p>
        </p:txBody>
      </p:sp>
      <p:sp>
        <p:nvSpPr>
          <p:cNvPr id="35" name="Oval 34"/>
          <p:cNvSpPr/>
          <p:nvPr/>
        </p:nvSpPr>
        <p:spPr bwMode="auto">
          <a:xfrm>
            <a:off x="4900169" y="5029583"/>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37" name="Oval 36"/>
          <p:cNvSpPr/>
          <p:nvPr/>
        </p:nvSpPr>
        <p:spPr bwMode="auto">
          <a:xfrm>
            <a:off x="8850400" y="3976625"/>
            <a:ext cx="154629" cy="154629"/>
          </a:xfrm>
          <a:prstGeom prst="ellipse">
            <a:avLst/>
          </a:prstGeom>
          <a:solidFill>
            <a:srgbClr val="68217A"/>
          </a:solidFill>
          <a:ln w="38100" cmpd="sng">
            <a:solidFill>
              <a:srgbClr val="F2F2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40" name="Oval 39"/>
          <p:cNvSpPr/>
          <p:nvPr/>
        </p:nvSpPr>
        <p:spPr bwMode="auto">
          <a:xfrm>
            <a:off x="9273331" y="5373759"/>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41" name="Oval 40"/>
          <p:cNvSpPr/>
          <p:nvPr/>
        </p:nvSpPr>
        <p:spPr bwMode="auto">
          <a:xfrm>
            <a:off x="9282669" y="3636936"/>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42" name="Oval 41"/>
          <p:cNvSpPr/>
          <p:nvPr/>
        </p:nvSpPr>
        <p:spPr bwMode="auto">
          <a:xfrm>
            <a:off x="462585" y="4487589"/>
            <a:ext cx="154629" cy="154629"/>
          </a:xfrm>
          <a:prstGeom prst="ellipse">
            <a:avLst/>
          </a:prstGeom>
          <a:solidFill>
            <a:srgbClr val="68217A"/>
          </a:solidFill>
          <a:ln w="38100" cmpd="sng">
            <a:solidFill>
              <a:srgbClr val="F2F2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38156559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 security and trust</a:t>
            </a:r>
            <a:endParaRPr lang="en-US" dirty="0"/>
          </a:p>
        </p:txBody>
      </p:sp>
      <p:sp>
        <p:nvSpPr>
          <p:cNvPr id="17" name="TextBox 16"/>
          <p:cNvSpPr txBox="1"/>
          <p:nvPr/>
        </p:nvSpPr>
        <p:spPr>
          <a:xfrm>
            <a:off x="445227" y="1578595"/>
            <a:ext cx="7043656" cy="1468340"/>
          </a:xfrm>
          <a:prstGeom prst="rect">
            <a:avLst/>
          </a:prstGeom>
          <a:solidFill>
            <a:schemeClr val="accent1"/>
          </a:solidFill>
        </p:spPr>
        <p:txBody>
          <a:bodyPr wrap="square" lIns="627497" tIns="143428" rIns="179285" bIns="143428" rtlCol="0" anchor="ctr">
            <a:noAutofit/>
          </a:bodyPr>
          <a:lstStyle/>
          <a:p>
            <a:pPr marL="336145" defTabSz="914367" fontAlgn="base">
              <a:lnSpc>
                <a:spcPct val="90000"/>
              </a:lnSpc>
              <a:spcBef>
                <a:spcPct val="0"/>
              </a:spcBef>
              <a:spcAft>
                <a:spcPts val="588"/>
              </a:spcAft>
            </a:pPr>
            <a:r>
              <a:rPr lang="en-US" sz="3137" dirty="0">
                <a:solidFill>
                  <a:srgbClr val="FFFFFF"/>
                </a:solidFill>
                <a:latin typeface="Segoe UI Light"/>
              </a:rPr>
              <a:t>Security</a:t>
            </a:r>
          </a:p>
          <a:p>
            <a:pPr marL="336145" defTabSz="914367" fontAlgn="base">
              <a:lnSpc>
                <a:spcPct val="90000"/>
              </a:lnSpc>
              <a:spcBef>
                <a:spcPct val="0"/>
              </a:spcBef>
              <a:spcAft>
                <a:spcPts val="588"/>
              </a:spcAft>
            </a:pPr>
            <a:r>
              <a:rPr lang="en-US" sz="1961" spc="-49" dirty="0">
                <a:solidFill>
                  <a:srgbClr val="FFFFFF"/>
                </a:solidFill>
                <a:cs typeface="Segoe UI"/>
              </a:rPr>
              <a:t>Secure development, operations, and threat mitigation practices provide a trusted foundation</a:t>
            </a:r>
          </a:p>
        </p:txBody>
      </p:sp>
      <p:sp>
        <p:nvSpPr>
          <p:cNvPr id="18" name="Oval 17"/>
          <p:cNvSpPr/>
          <p:nvPr/>
        </p:nvSpPr>
        <p:spPr bwMode="auto">
          <a:xfrm>
            <a:off x="730169" y="2043128"/>
            <a:ext cx="490189" cy="490189"/>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19" name="Isosceles Triangle 18"/>
          <p:cNvSpPr/>
          <p:nvPr/>
        </p:nvSpPr>
        <p:spPr bwMode="auto">
          <a:xfrm rot="5400000">
            <a:off x="882509" y="2234546"/>
            <a:ext cx="204518" cy="13853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sp>
        <p:nvSpPr>
          <p:cNvPr id="21" name="TextBox 20"/>
          <p:cNvSpPr txBox="1"/>
          <p:nvPr/>
        </p:nvSpPr>
        <p:spPr>
          <a:xfrm>
            <a:off x="445227" y="3189769"/>
            <a:ext cx="7043656" cy="1468340"/>
          </a:xfrm>
          <a:prstGeom prst="rect">
            <a:avLst/>
          </a:prstGeom>
          <a:solidFill>
            <a:schemeClr val="accent1">
              <a:lumMod val="75000"/>
            </a:schemeClr>
          </a:solidFill>
        </p:spPr>
        <p:txBody>
          <a:bodyPr wrap="square" lIns="627497" tIns="143428" rIns="179285" bIns="143428" rtlCol="0" anchor="ctr">
            <a:noAutofit/>
          </a:bodyPr>
          <a:lstStyle/>
          <a:p>
            <a:pPr marL="336145" defTabSz="914367" fontAlgn="base">
              <a:lnSpc>
                <a:spcPct val="90000"/>
              </a:lnSpc>
              <a:spcBef>
                <a:spcPct val="0"/>
              </a:spcBef>
              <a:spcAft>
                <a:spcPts val="588"/>
              </a:spcAft>
            </a:pPr>
            <a:r>
              <a:rPr lang="en-US" sz="3137" dirty="0">
                <a:solidFill>
                  <a:srgbClr val="FFFFFF"/>
                </a:solidFill>
                <a:latin typeface="Segoe UI Light"/>
              </a:rPr>
              <a:t>Privacy</a:t>
            </a:r>
          </a:p>
          <a:p>
            <a:pPr marL="336145" defTabSz="914367" fontAlgn="base">
              <a:lnSpc>
                <a:spcPct val="90000"/>
              </a:lnSpc>
              <a:spcBef>
                <a:spcPct val="0"/>
              </a:spcBef>
              <a:spcAft>
                <a:spcPts val="588"/>
              </a:spcAft>
            </a:pPr>
            <a:r>
              <a:rPr lang="en-US" sz="1961" spc="-49" dirty="0">
                <a:solidFill>
                  <a:srgbClr val="FFFFFF"/>
                </a:solidFill>
                <a:cs typeface="Segoe UI"/>
              </a:rPr>
              <a:t>Unmatched legal commitments govern data privacy, access, and use</a:t>
            </a:r>
          </a:p>
        </p:txBody>
      </p:sp>
      <p:sp>
        <p:nvSpPr>
          <p:cNvPr id="22" name="Oval 21"/>
          <p:cNvSpPr/>
          <p:nvPr/>
        </p:nvSpPr>
        <p:spPr bwMode="auto">
          <a:xfrm>
            <a:off x="680377" y="3673331"/>
            <a:ext cx="490189" cy="490189"/>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23" name="Isosceles Triangle 22"/>
          <p:cNvSpPr/>
          <p:nvPr/>
        </p:nvSpPr>
        <p:spPr bwMode="auto">
          <a:xfrm rot="5400000">
            <a:off x="851716" y="3849161"/>
            <a:ext cx="204518" cy="13853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sp>
        <p:nvSpPr>
          <p:cNvPr id="25" name="TextBox 24"/>
          <p:cNvSpPr txBox="1"/>
          <p:nvPr/>
        </p:nvSpPr>
        <p:spPr>
          <a:xfrm>
            <a:off x="445227" y="4800944"/>
            <a:ext cx="7043656" cy="1437166"/>
          </a:xfrm>
          <a:prstGeom prst="rect">
            <a:avLst/>
          </a:prstGeom>
          <a:solidFill>
            <a:schemeClr val="accent1">
              <a:lumMod val="50000"/>
            </a:schemeClr>
          </a:solidFill>
        </p:spPr>
        <p:txBody>
          <a:bodyPr wrap="square" lIns="627497" tIns="143428" rIns="179285" bIns="143428" rtlCol="0" anchor="ctr">
            <a:noAutofit/>
          </a:bodyPr>
          <a:lstStyle/>
          <a:p>
            <a:pPr marL="336145" defTabSz="914367" fontAlgn="base">
              <a:lnSpc>
                <a:spcPct val="90000"/>
              </a:lnSpc>
              <a:spcBef>
                <a:spcPct val="0"/>
              </a:spcBef>
              <a:spcAft>
                <a:spcPts val="588"/>
              </a:spcAft>
            </a:pPr>
            <a:r>
              <a:rPr lang="en-US" sz="3137" dirty="0">
                <a:solidFill>
                  <a:srgbClr val="FFFFFF"/>
                </a:solidFill>
                <a:latin typeface="Segoe UI Light"/>
              </a:rPr>
              <a:t>Compliance</a:t>
            </a:r>
          </a:p>
          <a:p>
            <a:pPr marL="336145" defTabSz="914367"/>
            <a:r>
              <a:rPr lang="en-US" sz="1961" spc="-49" dirty="0">
                <a:solidFill>
                  <a:srgbClr val="FFFFFF"/>
                </a:solidFill>
                <a:cs typeface="Segoe UI"/>
              </a:rPr>
              <a:t>Independent audits demonstrate compliance </a:t>
            </a:r>
            <a:br>
              <a:rPr lang="en-US" sz="1961" spc="-49" dirty="0">
                <a:solidFill>
                  <a:srgbClr val="FFFFFF"/>
                </a:solidFill>
                <a:cs typeface="Segoe UI"/>
              </a:rPr>
            </a:br>
            <a:r>
              <a:rPr lang="en-US" sz="1961" spc="-49" dirty="0">
                <a:solidFill>
                  <a:srgbClr val="FFFFFF"/>
                </a:solidFill>
                <a:cs typeface="Segoe UI"/>
              </a:rPr>
              <a:t>with a broad range of regulatory standards</a:t>
            </a:r>
          </a:p>
        </p:txBody>
      </p:sp>
      <p:sp>
        <p:nvSpPr>
          <p:cNvPr id="26" name="Oval 25"/>
          <p:cNvSpPr/>
          <p:nvPr/>
        </p:nvSpPr>
        <p:spPr bwMode="auto">
          <a:xfrm>
            <a:off x="680377" y="5303182"/>
            <a:ext cx="490189" cy="490189"/>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27" name="Isosceles Triangle 26"/>
          <p:cNvSpPr/>
          <p:nvPr/>
        </p:nvSpPr>
        <p:spPr bwMode="auto">
          <a:xfrm rot="5400000">
            <a:off x="851716" y="5479012"/>
            <a:ext cx="204518" cy="13853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b="1" dirty="0">
              <a:solidFill>
                <a:srgbClr val="FFFFFF"/>
              </a:solidFill>
              <a:latin typeface="Segoe UI 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7329012" y="3768795"/>
            <a:ext cx="4596069" cy="2838925"/>
          </a:xfrm>
          <a:prstGeom prst="rect">
            <a:avLst/>
          </a:prstGeom>
        </p:spPr>
      </p:pic>
    </p:spTree>
    <p:extLst>
      <p:ext uri="{BB962C8B-B14F-4D97-AF65-F5344CB8AC3E}">
        <p14:creationId xmlns:p14="http://schemas.microsoft.com/office/powerpoint/2010/main" val="1892333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1218814" y="6284191"/>
            <a:ext cx="11115668" cy="0"/>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617823" y="2381379"/>
            <a:ext cx="10574188" cy="0"/>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1527276158"/>
              </p:ext>
            </p:extLst>
          </p:nvPr>
        </p:nvGraphicFramePr>
        <p:xfrm>
          <a:off x="2277985" y="319900"/>
          <a:ext cx="9143533" cy="6561792"/>
        </p:xfrm>
        <a:graphic>
          <a:graphicData uri="http://schemas.openxmlformats.org/drawingml/2006/table">
            <a:tbl>
              <a:tblPr firstRow="1" bandRow="1"/>
              <a:tblGrid>
                <a:gridCol w="1523922"/>
                <a:gridCol w="4482124"/>
                <a:gridCol w="3137487"/>
              </a:tblGrid>
              <a:tr h="501998">
                <a:tc>
                  <a:txBody>
                    <a:bodyPr/>
                    <a:lstStyle/>
                    <a:p>
                      <a:pPr marL="0" marR="0" algn="l">
                        <a:lnSpc>
                          <a:spcPct val="90000"/>
                        </a:lnSpc>
                        <a:spcBef>
                          <a:spcPts val="0"/>
                        </a:spcBef>
                        <a:spcAft>
                          <a:spcPts val="0"/>
                        </a:spcAft>
                      </a:pPr>
                      <a:r>
                        <a:rPr lang="en-US" sz="1600" b="0" kern="1200" spc="-30" baseline="0" dirty="0" smtClean="0">
                          <a:gradFill>
                            <a:gsLst>
                              <a:gs pos="61062">
                                <a:schemeClr val="tx1"/>
                              </a:gs>
                              <a:gs pos="32000">
                                <a:schemeClr val="tx1"/>
                              </a:gs>
                            </a:gsLst>
                          </a:gradFill>
                          <a:effectLst/>
                          <a:latin typeface="Segoe UI Semibold" panose="020B0702040204020203" pitchFamily="34" charset="0"/>
                          <a:ea typeface="Calibri"/>
                          <a:cs typeface="Times New Roman"/>
                        </a:rPr>
                        <a:t>TIME</a:t>
                      </a:r>
                      <a:endParaRPr lang="en-US" sz="1600" b="0" kern="1200" spc="-30" baseline="0" dirty="0">
                        <a:gradFill>
                          <a:gsLst>
                            <a:gs pos="61062">
                              <a:schemeClr val="tx1"/>
                            </a:gs>
                            <a:gs pos="32000">
                              <a:schemeClr val="tx1"/>
                            </a:gs>
                          </a:gsLst>
                        </a:gradFill>
                        <a:effectLst/>
                        <a:latin typeface="Segoe UI Semibold" panose="020B0702040204020203" pitchFamily="34" charset="0"/>
                        <a:ea typeface="Calibri"/>
                        <a:cs typeface="Times New Roman"/>
                      </a:endParaRPr>
                    </a:p>
                  </a:txBody>
                  <a:tcPr marL="179285"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90000"/>
                        </a:lnSpc>
                        <a:spcBef>
                          <a:spcPts val="0"/>
                        </a:spcBef>
                        <a:spcAft>
                          <a:spcPts val="0"/>
                        </a:spcAft>
                      </a:pPr>
                      <a:r>
                        <a:rPr lang="en-US" sz="1600" b="0" kern="1200" spc="-30" baseline="0" dirty="0" smtClean="0">
                          <a:gradFill>
                            <a:gsLst>
                              <a:gs pos="61062">
                                <a:schemeClr val="tx1"/>
                              </a:gs>
                              <a:gs pos="32000">
                                <a:schemeClr val="tx1"/>
                              </a:gs>
                            </a:gsLst>
                          </a:gradFill>
                          <a:effectLst/>
                          <a:latin typeface="Segoe UI Semibold" panose="020B0702040204020203" pitchFamily="34" charset="0"/>
                          <a:ea typeface="Calibri"/>
                          <a:cs typeface="Times New Roman"/>
                        </a:rPr>
                        <a:t>ACTIVITY</a:t>
                      </a:r>
                      <a:endParaRPr lang="en-US" sz="1600" b="0" kern="1200" spc="-30" baseline="0" dirty="0">
                        <a:gradFill>
                          <a:gsLst>
                            <a:gs pos="61062">
                              <a:schemeClr val="tx1"/>
                            </a:gs>
                            <a:gs pos="32000">
                              <a:schemeClr val="tx1"/>
                            </a:gs>
                          </a:gsLst>
                        </a:gradFill>
                        <a:effectLst/>
                        <a:latin typeface="Segoe UI Semibold" panose="020B0702040204020203" pitchFamily="34" charset="0"/>
                        <a:ea typeface="Calibri"/>
                        <a:cs typeface="Times New Roman"/>
                      </a:endParaRPr>
                    </a:p>
                  </a:txBody>
                  <a:tcPr marL="89642"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90000"/>
                        </a:lnSpc>
                        <a:spcBef>
                          <a:spcPts val="0"/>
                        </a:spcBef>
                        <a:spcAft>
                          <a:spcPts val="0"/>
                        </a:spcAft>
                      </a:pPr>
                      <a:r>
                        <a:rPr lang="en-US" sz="1600" b="0" kern="1200" spc="-30" baseline="0" dirty="0" smtClean="0">
                          <a:gradFill>
                            <a:gsLst>
                              <a:gs pos="61062">
                                <a:schemeClr val="tx1"/>
                              </a:gs>
                              <a:gs pos="32000">
                                <a:schemeClr val="tx1"/>
                              </a:gs>
                            </a:gsLst>
                          </a:gradFill>
                          <a:effectLst/>
                          <a:latin typeface="Segoe UI Semibold" panose="020B0702040204020203" pitchFamily="34" charset="0"/>
                          <a:ea typeface="Calibri"/>
                          <a:cs typeface="Times New Roman"/>
                        </a:rPr>
                        <a:t>PRESENTERS</a:t>
                      </a:r>
                      <a:endParaRPr lang="en-US" sz="1600" b="0" kern="1200" spc="-30" baseline="0" dirty="0">
                        <a:gradFill>
                          <a:gsLst>
                            <a:gs pos="61062">
                              <a:schemeClr val="tx1"/>
                            </a:gs>
                            <a:gs pos="32000">
                              <a:schemeClr val="tx1"/>
                            </a:gs>
                          </a:gsLst>
                        </a:gradFill>
                        <a:effectLst/>
                        <a:latin typeface="Segoe UI Semibold" panose="020B0702040204020203" pitchFamily="34" charset="0"/>
                        <a:ea typeface="Calibri"/>
                        <a:cs typeface="Times New Roman"/>
                      </a:endParaRPr>
                    </a:p>
                  </a:txBody>
                  <a:tcPr marL="89642"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793834">
                <a:tc>
                  <a:txBody>
                    <a:bodyPr/>
                    <a:lstStyle/>
                    <a:p>
                      <a:pPr marL="0" marR="0" algn="l" defTabSz="914363" rtl="0" eaLnBrk="1" latinLnBrk="0" hangingPunct="1">
                        <a:lnSpc>
                          <a:spcPct val="90000"/>
                        </a:lnSpc>
                        <a:spcBef>
                          <a:spcPts val="0"/>
                        </a:spcBef>
                        <a:spcAft>
                          <a:spcPts val="0"/>
                        </a:spcAft>
                      </a:pPr>
                      <a:r>
                        <a:rPr lang="en-US" sz="1600" b="0" kern="1200" dirty="0" smtClean="0">
                          <a:gradFill>
                            <a:gsLst>
                              <a:gs pos="61062">
                                <a:schemeClr val="tx1"/>
                              </a:gs>
                              <a:gs pos="32000">
                                <a:schemeClr val="tx1"/>
                              </a:gs>
                            </a:gsLst>
                            <a:lin ang="0" scaled="0"/>
                          </a:gradFill>
                          <a:effectLst/>
                          <a:latin typeface="+mn-lt"/>
                          <a:ea typeface="Calibri"/>
                          <a:cs typeface="Times New Roman"/>
                        </a:rPr>
                        <a:t>09:00 – 09:10</a:t>
                      </a:r>
                      <a:endParaRPr lang="en-US" sz="1600" b="0" kern="1200" dirty="0">
                        <a:gradFill>
                          <a:gsLst>
                            <a:gs pos="61062">
                              <a:schemeClr val="tx1"/>
                            </a:gs>
                            <a:gs pos="32000">
                              <a:schemeClr val="tx1"/>
                            </a:gs>
                          </a:gsLst>
                          <a:lin ang="0" scaled="0"/>
                        </a:gradFill>
                        <a:effectLst/>
                        <a:latin typeface="+mn-lt"/>
                        <a:ea typeface="Calibri"/>
                        <a:cs typeface="Times New Roman"/>
                      </a:endParaRPr>
                    </a:p>
                  </a:txBody>
                  <a:tcPr marL="179285"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932742" rtl="0" eaLnBrk="1" latinLnBrk="0" hangingPunct="1">
                        <a:lnSpc>
                          <a:spcPct val="90000"/>
                        </a:lnSpc>
                        <a:spcBef>
                          <a:spcPts val="0"/>
                        </a:spcBef>
                        <a:spcAft>
                          <a:spcPts val="0"/>
                        </a:spcAft>
                      </a:pPr>
                      <a:r>
                        <a:rPr lang="en-US" sz="1800" b="0" kern="1200" spc="-50" baseline="0" dirty="0" smtClean="0">
                          <a:gradFill>
                            <a:gsLst>
                              <a:gs pos="10619">
                                <a:schemeClr val="accent5"/>
                              </a:gs>
                              <a:gs pos="32000">
                                <a:schemeClr val="accent5"/>
                              </a:gs>
                            </a:gsLst>
                          </a:gradFill>
                          <a:effectLst/>
                          <a:latin typeface="+mn-lt"/>
                          <a:ea typeface="Times New Roman"/>
                          <a:cs typeface="Calibri"/>
                        </a:rPr>
                        <a:t>Overview</a:t>
                      </a:r>
                      <a:endParaRPr lang="en-US" sz="1800" b="0" kern="1200" spc="-50" baseline="0" dirty="0">
                        <a:gradFill>
                          <a:gsLst>
                            <a:gs pos="10619">
                              <a:schemeClr val="accent5"/>
                            </a:gs>
                            <a:gs pos="32000">
                              <a:schemeClr val="accent5"/>
                            </a:gs>
                          </a:gsLst>
                        </a:gradFill>
                        <a:effectLst/>
                        <a:latin typeface="+mn-lt"/>
                        <a:ea typeface="Times New Roman"/>
                        <a:cs typeface="Calibri"/>
                      </a:endParaRPr>
                    </a:p>
                  </a:txBody>
                  <a:tcPr marL="89642"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latinLnBrk="0" hangingPunct="1">
                        <a:lnSpc>
                          <a:spcPct val="90000"/>
                        </a:lnSpc>
                        <a:spcBef>
                          <a:spcPts val="0"/>
                        </a:spcBef>
                        <a:spcAft>
                          <a:spcPts val="0"/>
                        </a:spcAft>
                        <a:buFont typeface="Arial" pitchFamily="34" charset="0"/>
                        <a:buNone/>
                      </a:pPr>
                      <a:r>
                        <a:rPr lang="en-US" sz="1800" b="0" kern="1200" spc="-50" baseline="0" dirty="0" smtClean="0">
                          <a:gradFill>
                            <a:gsLst>
                              <a:gs pos="10619">
                                <a:schemeClr val="accent5"/>
                              </a:gs>
                              <a:gs pos="32000">
                                <a:schemeClr val="accent5"/>
                              </a:gs>
                            </a:gsLst>
                          </a:gradFill>
                          <a:effectLst/>
                          <a:latin typeface="+mn-lt"/>
                          <a:ea typeface="Times New Roman"/>
                          <a:cs typeface="Calibri"/>
                        </a:rPr>
                        <a:t>Beth Jones</a:t>
                      </a:r>
                    </a:p>
                    <a:p>
                      <a:pPr marL="0" marR="0" indent="0" algn="l" defTabSz="914363" rtl="0" eaLnBrk="1" latinLnBrk="0" hangingPunct="1">
                        <a:lnSpc>
                          <a:spcPct val="90000"/>
                        </a:lnSpc>
                        <a:spcBef>
                          <a:spcPts val="400"/>
                        </a:spcBef>
                        <a:spcAft>
                          <a:spcPts val="0"/>
                        </a:spcAft>
                        <a:buFont typeface="Arial" pitchFamily="34" charset="0"/>
                        <a:buNone/>
                      </a:pPr>
                      <a:r>
                        <a:rPr lang="en-US" sz="1600" b="0" kern="1200" dirty="0" smtClean="0">
                          <a:gradFill>
                            <a:gsLst>
                              <a:gs pos="61062">
                                <a:schemeClr val="tx1"/>
                              </a:gs>
                              <a:gs pos="32000">
                                <a:schemeClr val="tx1"/>
                              </a:gs>
                            </a:gsLst>
                          </a:gradFill>
                          <a:effectLst/>
                          <a:latin typeface="+mn-lt"/>
                          <a:ea typeface="Calibri"/>
                          <a:cs typeface="Times New Roman"/>
                        </a:rPr>
                        <a:t>AE, Microsoft</a:t>
                      </a:r>
                      <a:endParaRPr lang="en-US" sz="1600" b="0" kern="1200" dirty="0">
                        <a:gradFill>
                          <a:gsLst>
                            <a:gs pos="61062">
                              <a:schemeClr val="tx1"/>
                            </a:gs>
                            <a:gs pos="32000">
                              <a:schemeClr val="tx1"/>
                            </a:gs>
                          </a:gsLst>
                        </a:gradFill>
                        <a:effectLst/>
                        <a:latin typeface="+mn-lt"/>
                        <a:ea typeface="Calibri"/>
                        <a:cs typeface="Times New Roman"/>
                      </a:endParaRPr>
                    </a:p>
                  </a:txBody>
                  <a:tcPr marL="89642"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793834">
                <a:tc>
                  <a:txBody>
                    <a:bodyPr/>
                    <a:lstStyle/>
                    <a:p>
                      <a:pPr marL="0" marR="0" algn="l" defTabSz="914363" rtl="0" eaLnBrk="1" latinLnBrk="0" hangingPunct="1">
                        <a:lnSpc>
                          <a:spcPct val="90000"/>
                        </a:lnSpc>
                        <a:spcBef>
                          <a:spcPts val="0"/>
                        </a:spcBef>
                        <a:spcAft>
                          <a:spcPts val="0"/>
                        </a:spcAft>
                      </a:pPr>
                      <a:r>
                        <a:rPr lang="en-US" sz="1600" b="0" kern="1200" dirty="0" smtClean="0">
                          <a:gradFill>
                            <a:gsLst>
                              <a:gs pos="61062">
                                <a:schemeClr val="tx1"/>
                              </a:gs>
                              <a:gs pos="32000">
                                <a:schemeClr val="tx1"/>
                              </a:gs>
                            </a:gsLst>
                            <a:lin ang="0" scaled="0"/>
                          </a:gradFill>
                          <a:effectLst/>
                          <a:latin typeface="+mn-lt"/>
                          <a:ea typeface="Calibri"/>
                          <a:cs typeface="Times New Roman"/>
                        </a:rPr>
                        <a:t>09:10 – 10:40</a:t>
                      </a:r>
                      <a:endParaRPr lang="en-US" sz="1600" b="0" kern="1200" dirty="0">
                        <a:gradFill>
                          <a:gsLst>
                            <a:gs pos="61062">
                              <a:schemeClr val="tx1"/>
                            </a:gs>
                            <a:gs pos="32000">
                              <a:schemeClr val="tx1"/>
                            </a:gs>
                          </a:gsLst>
                          <a:lin ang="0" scaled="0"/>
                        </a:gradFill>
                        <a:effectLst/>
                        <a:latin typeface="+mn-lt"/>
                        <a:ea typeface="Calibri"/>
                        <a:cs typeface="Times New Roman"/>
                      </a:endParaRPr>
                    </a:p>
                  </a:txBody>
                  <a:tcPr marL="179285"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932742" rtl="0" eaLnBrk="1" latinLnBrk="0" hangingPunct="1">
                        <a:lnSpc>
                          <a:spcPct val="90000"/>
                        </a:lnSpc>
                        <a:spcBef>
                          <a:spcPts val="0"/>
                        </a:spcBef>
                        <a:spcAft>
                          <a:spcPts val="0"/>
                        </a:spcAft>
                      </a:pPr>
                      <a:r>
                        <a:rPr lang="en-US" sz="1800" b="0" kern="1200" spc="-50" baseline="0" dirty="0" smtClean="0">
                          <a:gradFill>
                            <a:gsLst>
                              <a:gs pos="10619">
                                <a:schemeClr val="accent5"/>
                              </a:gs>
                              <a:gs pos="32000">
                                <a:schemeClr val="accent5"/>
                              </a:gs>
                            </a:gsLst>
                          </a:gradFill>
                          <a:effectLst/>
                          <a:latin typeface="+mn-lt"/>
                          <a:ea typeface="Times New Roman"/>
                          <a:cs typeface="Calibri"/>
                        </a:rPr>
                        <a:t>Envision and Evolve</a:t>
                      </a:r>
                    </a:p>
                  </a:txBody>
                  <a:tcPr marL="89642"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latinLnBrk="0" hangingPunct="1">
                        <a:lnSpc>
                          <a:spcPct val="90000"/>
                        </a:lnSpc>
                        <a:spcBef>
                          <a:spcPts val="0"/>
                        </a:spcBef>
                        <a:spcAft>
                          <a:spcPts val="0"/>
                        </a:spcAft>
                        <a:buFont typeface="Arial" pitchFamily="34" charset="0"/>
                        <a:buNone/>
                      </a:pPr>
                      <a:r>
                        <a:rPr lang="en-US" sz="1800" b="0" kern="1200" spc="-50" baseline="0" dirty="0" smtClean="0">
                          <a:gradFill>
                            <a:gsLst>
                              <a:gs pos="10619">
                                <a:schemeClr val="accent5"/>
                              </a:gs>
                              <a:gs pos="32000">
                                <a:schemeClr val="accent5"/>
                              </a:gs>
                            </a:gsLst>
                          </a:gradFill>
                          <a:effectLst/>
                          <a:latin typeface="+mn-lt"/>
                          <a:ea typeface="Times New Roman"/>
                          <a:cs typeface="Calibri"/>
                        </a:rPr>
                        <a:t>Michael Doe</a:t>
                      </a:r>
                    </a:p>
                    <a:p>
                      <a:pPr marL="0" marR="0" indent="0" algn="l" defTabSz="914363" rtl="0" eaLnBrk="1" latinLnBrk="0" hangingPunct="1">
                        <a:lnSpc>
                          <a:spcPct val="90000"/>
                        </a:lnSpc>
                        <a:spcBef>
                          <a:spcPts val="400"/>
                        </a:spcBef>
                        <a:spcAft>
                          <a:spcPts val="0"/>
                        </a:spcAft>
                        <a:buFont typeface="Arial" pitchFamily="34" charset="0"/>
                        <a:buNone/>
                      </a:pPr>
                      <a:r>
                        <a:rPr lang="en-US" sz="1600" b="0" kern="1200" dirty="0" smtClean="0">
                          <a:gradFill>
                            <a:gsLst>
                              <a:gs pos="61062">
                                <a:schemeClr val="tx1"/>
                              </a:gs>
                              <a:gs pos="32000">
                                <a:schemeClr val="tx1"/>
                              </a:gs>
                            </a:gsLst>
                          </a:gradFill>
                          <a:effectLst/>
                          <a:latin typeface="+mn-lt"/>
                          <a:ea typeface="Calibri"/>
                          <a:cs typeface="Times New Roman"/>
                        </a:rPr>
                        <a:t>SSP, Microsoft</a:t>
                      </a:r>
                    </a:p>
                  </a:txBody>
                  <a:tcPr marL="89642"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475105">
                <a:tc>
                  <a:txBody>
                    <a:bodyPr/>
                    <a:lstStyle/>
                    <a:p>
                      <a:pPr marL="0" marR="0" algn="l" defTabSz="914363" rtl="0" eaLnBrk="1" latinLnBrk="0" hangingPunct="1">
                        <a:lnSpc>
                          <a:spcPct val="90000"/>
                        </a:lnSpc>
                        <a:spcBef>
                          <a:spcPts val="0"/>
                        </a:spcBef>
                        <a:spcAft>
                          <a:spcPts val="0"/>
                        </a:spcAft>
                      </a:pPr>
                      <a:r>
                        <a:rPr lang="en-US" sz="1600" b="0" kern="1200" dirty="0" smtClean="0">
                          <a:gradFill>
                            <a:gsLst>
                              <a:gs pos="61062">
                                <a:schemeClr val="tx1"/>
                              </a:gs>
                              <a:gs pos="32000">
                                <a:schemeClr val="tx1"/>
                              </a:gs>
                            </a:gsLst>
                            <a:lin ang="0" scaled="0"/>
                          </a:gradFill>
                          <a:effectLst/>
                          <a:latin typeface="+mn-lt"/>
                          <a:ea typeface="Calibri"/>
                          <a:cs typeface="Times New Roman"/>
                        </a:rPr>
                        <a:t>10:40 – 11:00</a:t>
                      </a:r>
                      <a:endParaRPr lang="en-US" sz="1600" b="0" kern="1200" dirty="0">
                        <a:gradFill>
                          <a:gsLst>
                            <a:gs pos="61062">
                              <a:schemeClr val="tx1"/>
                            </a:gs>
                            <a:gs pos="32000">
                              <a:schemeClr val="tx1"/>
                            </a:gs>
                          </a:gsLst>
                          <a:lin ang="0" scaled="0"/>
                        </a:gradFill>
                        <a:effectLst/>
                        <a:latin typeface="+mn-lt"/>
                        <a:ea typeface="Calibri"/>
                        <a:cs typeface="Times New Roman"/>
                      </a:endParaRPr>
                    </a:p>
                  </a:txBody>
                  <a:tcPr marL="179285" marR="89642" marT="143428"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932742" rtl="0" eaLnBrk="1" latinLnBrk="0" hangingPunct="1">
                        <a:lnSpc>
                          <a:spcPct val="90000"/>
                        </a:lnSpc>
                        <a:spcBef>
                          <a:spcPts val="0"/>
                        </a:spcBef>
                        <a:spcAft>
                          <a:spcPts val="0"/>
                        </a:spcAft>
                      </a:pPr>
                      <a:r>
                        <a:rPr lang="en-US" sz="1800" b="0" kern="1200" spc="-50" baseline="0" dirty="0" smtClean="0">
                          <a:gradFill>
                            <a:gsLst>
                              <a:gs pos="10619">
                                <a:schemeClr val="accent5"/>
                              </a:gs>
                              <a:gs pos="32000">
                                <a:schemeClr val="accent5"/>
                              </a:gs>
                            </a:gsLst>
                          </a:gradFill>
                          <a:effectLst/>
                          <a:latin typeface="+mn-lt"/>
                          <a:ea typeface="Times New Roman"/>
                          <a:cs typeface="Calibri"/>
                        </a:rPr>
                        <a:t>Hands-on experience | Connecting and break</a:t>
                      </a:r>
                      <a:endParaRPr lang="en-US" sz="1800" b="0" kern="1200" spc="-50" baseline="0" dirty="0">
                        <a:gradFill>
                          <a:gsLst>
                            <a:gs pos="10619">
                              <a:schemeClr val="accent5"/>
                            </a:gs>
                            <a:gs pos="32000">
                              <a:schemeClr val="accent5"/>
                            </a:gs>
                          </a:gsLst>
                        </a:gradFill>
                        <a:effectLst/>
                        <a:latin typeface="+mn-lt"/>
                        <a:ea typeface="Times New Roman"/>
                        <a:cs typeface="Calibri"/>
                      </a:endParaRPr>
                    </a:p>
                  </a:txBody>
                  <a:tcPr marL="89642" marR="89642" marT="143428"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rowSpan="8">
                  <a:txBody>
                    <a:bodyPr/>
                    <a:lstStyle/>
                    <a:p>
                      <a:pPr marL="0" marR="0" algn="l" defTabSz="932742" rtl="0" eaLnBrk="1" latinLnBrk="0" hangingPunct="1">
                        <a:lnSpc>
                          <a:spcPct val="90000"/>
                        </a:lnSpc>
                        <a:spcBef>
                          <a:spcPts val="600"/>
                        </a:spcBef>
                        <a:spcAft>
                          <a:spcPts val="0"/>
                        </a:spcAft>
                      </a:pPr>
                      <a:r>
                        <a:rPr lang="en-US" sz="1800" b="0" kern="1200" spc="-50" baseline="0" dirty="0" smtClean="0">
                          <a:gradFill>
                            <a:gsLst>
                              <a:gs pos="10619">
                                <a:schemeClr val="accent5"/>
                              </a:gs>
                              <a:gs pos="32000">
                                <a:schemeClr val="accent5"/>
                              </a:gs>
                            </a:gsLst>
                          </a:gradFill>
                          <a:effectLst/>
                          <a:latin typeface="+mn-lt"/>
                          <a:ea typeface="Times New Roman"/>
                          <a:cs typeface="Calibri"/>
                        </a:rPr>
                        <a:t>Kyle Brown</a:t>
                      </a:r>
                    </a:p>
                    <a:p>
                      <a:pPr marL="0" marR="0" algn="l" defTabSz="914363" rtl="0" eaLnBrk="1" latinLnBrk="0" hangingPunct="1">
                        <a:lnSpc>
                          <a:spcPct val="90000"/>
                        </a:lnSpc>
                        <a:spcBef>
                          <a:spcPts val="400"/>
                        </a:spcBef>
                        <a:spcAft>
                          <a:spcPts val="0"/>
                        </a:spcAft>
                      </a:pPr>
                      <a:r>
                        <a:rPr lang="en-US" sz="1600" b="0" kern="1200" dirty="0" smtClean="0">
                          <a:gradFill>
                            <a:gsLst>
                              <a:gs pos="61062">
                                <a:schemeClr val="tx1"/>
                              </a:gs>
                              <a:gs pos="32000">
                                <a:schemeClr val="tx1"/>
                              </a:gs>
                            </a:gsLst>
                          </a:gradFill>
                          <a:effectLst/>
                          <a:latin typeface="+mn-lt"/>
                          <a:ea typeface="Calibri"/>
                          <a:cs typeface="Times New Roman"/>
                        </a:rPr>
                        <a:t>TSP, Microsoft</a:t>
                      </a:r>
                    </a:p>
                    <a:p>
                      <a:pPr marL="0" marR="0" algn="l" defTabSz="932742" rtl="0" eaLnBrk="1" latinLnBrk="0" hangingPunct="1">
                        <a:lnSpc>
                          <a:spcPct val="90000"/>
                        </a:lnSpc>
                        <a:spcBef>
                          <a:spcPts val="600"/>
                        </a:spcBef>
                        <a:spcAft>
                          <a:spcPts val="0"/>
                        </a:spcAft>
                      </a:pPr>
                      <a:r>
                        <a:rPr lang="en-US" sz="1800" b="0" kern="1200" spc="-50" baseline="0" dirty="0" smtClean="0">
                          <a:gradFill>
                            <a:gsLst>
                              <a:gs pos="10619">
                                <a:schemeClr val="accent5"/>
                              </a:gs>
                              <a:gs pos="32000">
                                <a:schemeClr val="accent5"/>
                              </a:gs>
                            </a:gsLst>
                          </a:gradFill>
                          <a:effectLst/>
                          <a:latin typeface="+mn-lt"/>
                          <a:ea typeface="Times New Roman"/>
                          <a:cs typeface="Calibri"/>
                        </a:rPr>
                        <a:t>Martin Rogers</a:t>
                      </a:r>
                    </a:p>
                    <a:p>
                      <a:pPr marL="0" marR="0" algn="l" defTabSz="914363" rtl="0" eaLnBrk="1" latinLnBrk="0" hangingPunct="1">
                        <a:lnSpc>
                          <a:spcPct val="90000"/>
                        </a:lnSpc>
                        <a:spcBef>
                          <a:spcPts val="400"/>
                        </a:spcBef>
                        <a:spcAft>
                          <a:spcPts val="0"/>
                        </a:spcAft>
                      </a:pPr>
                      <a:r>
                        <a:rPr lang="en-US" sz="1600" b="0" kern="1200" dirty="0" smtClean="0">
                          <a:gradFill>
                            <a:gsLst>
                              <a:gs pos="61062">
                                <a:schemeClr val="tx1"/>
                              </a:gs>
                              <a:gs pos="32000">
                                <a:schemeClr val="tx1"/>
                              </a:gs>
                            </a:gsLst>
                          </a:gradFill>
                          <a:effectLst/>
                          <a:latin typeface="+mn-lt"/>
                          <a:ea typeface="Calibri"/>
                          <a:cs typeface="Times New Roman"/>
                        </a:rPr>
                        <a:t>DB Architect, Microsoft</a:t>
                      </a:r>
                    </a:p>
                  </a:txBody>
                  <a:tcPr marL="89642" marR="89642" marT="143428"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r>
              <a:tr h="636462">
                <a:tc>
                  <a:txBody>
                    <a:bodyPr/>
                    <a:lstStyle/>
                    <a:p>
                      <a:pPr marL="0" marR="0" algn="l" defTabSz="914363" rtl="0" eaLnBrk="1" latinLnBrk="0" hangingPunct="1">
                        <a:lnSpc>
                          <a:spcPct val="90000"/>
                        </a:lnSpc>
                        <a:spcBef>
                          <a:spcPts val="0"/>
                        </a:spcBef>
                        <a:spcAft>
                          <a:spcPts val="0"/>
                        </a:spcAft>
                      </a:pPr>
                      <a:r>
                        <a:rPr lang="en-US" sz="1600" b="0" kern="1200" dirty="0" smtClean="0">
                          <a:gradFill>
                            <a:gsLst>
                              <a:gs pos="61062">
                                <a:schemeClr val="tx1"/>
                              </a:gs>
                              <a:gs pos="32000">
                                <a:schemeClr val="tx1"/>
                              </a:gs>
                            </a:gsLst>
                            <a:lin ang="0" scaled="0"/>
                          </a:gradFill>
                          <a:effectLst/>
                          <a:latin typeface="+mn-lt"/>
                          <a:ea typeface="Calibri"/>
                          <a:cs typeface="Times New Roman"/>
                        </a:rPr>
                        <a:t>11:00 – 12:15</a:t>
                      </a:r>
                      <a:endParaRPr lang="en-US" sz="1600" b="0" kern="1200" dirty="0">
                        <a:gradFill>
                          <a:gsLst>
                            <a:gs pos="61062">
                              <a:schemeClr val="tx1"/>
                            </a:gs>
                            <a:gs pos="32000">
                              <a:schemeClr val="tx1"/>
                            </a:gs>
                          </a:gsLst>
                          <a:lin ang="0" scaled="0"/>
                        </a:gradFill>
                        <a:effectLst/>
                        <a:latin typeface="+mn-lt"/>
                        <a:ea typeface="Calibri"/>
                        <a:cs typeface="Times New Roman"/>
                      </a:endParaRPr>
                    </a:p>
                  </a:txBody>
                  <a:tcPr marL="179285" marR="89642" marT="89642"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932742" rtl="0" eaLnBrk="1" latinLnBrk="0" hangingPunct="1">
                        <a:lnSpc>
                          <a:spcPct val="90000"/>
                        </a:lnSpc>
                        <a:spcBef>
                          <a:spcPts val="0"/>
                        </a:spcBef>
                        <a:spcAft>
                          <a:spcPts val="0"/>
                        </a:spcAft>
                      </a:pPr>
                      <a:r>
                        <a:rPr lang="en-US" sz="1800" b="0" kern="1200" spc="-50" baseline="0" dirty="0" smtClean="0">
                          <a:gradFill>
                            <a:gsLst>
                              <a:gs pos="10619">
                                <a:schemeClr val="accent5"/>
                              </a:gs>
                              <a:gs pos="32000">
                                <a:schemeClr val="accent5"/>
                              </a:gs>
                            </a:gsLst>
                          </a:gradFill>
                          <a:effectLst/>
                          <a:latin typeface="+mn-lt"/>
                          <a:ea typeface="Times New Roman"/>
                          <a:cs typeface="Calibri"/>
                        </a:rPr>
                        <a:t>Hands-on</a:t>
                      </a:r>
                    </a:p>
                    <a:p>
                      <a:pPr marL="0" marR="0" lvl="0" indent="0" algn="l" defTabSz="914363" rtl="0" eaLnBrk="1" fontAlgn="auto" latinLnBrk="0" hangingPunct="1">
                        <a:lnSpc>
                          <a:spcPct val="90000"/>
                        </a:lnSpc>
                        <a:spcBef>
                          <a:spcPts val="0"/>
                        </a:spcBef>
                        <a:spcAft>
                          <a:spcPts val="0"/>
                        </a:spcAft>
                        <a:buClrTx/>
                        <a:buSzTx/>
                        <a:buFontTx/>
                        <a:buNone/>
                        <a:tabLst/>
                        <a:defRPr/>
                      </a:pPr>
                      <a:r>
                        <a:rPr lang="en-US" sz="1600" b="0" kern="1200" noProof="0" dirty="0" smtClean="0">
                          <a:gradFill>
                            <a:gsLst>
                              <a:gs pos="61062">
                                <a:schemeClr val="tx1"/>
                              </a:gs>
                              <a:gs pos="32000">
                                <a:schemeClr val="tx1"/>
                              </a:gs>
                            </a:gsLst>
                          </a:gradFill>
                          <a:effectLst/>
                          <a:latin typeface="+mn-lt"/>
                          <a:ea typeface="Calibri"/>
                          <a:cs typeface="Times New Roman"/>
                        </a:rPr>
                        <a:t>Cloud and Datacenter Infrastructure</a:t>
                      </a:r>
                      <a:endParaRPr lang="en-US" sz="1600" b="0" kern="1200" noProof="0" dirty="0" smtClean="0">
                        <a:gradFill>
                          <a:gsLst>
                            <a:gs pos="61062">
                              <a:schemeClr val="tx1"/>
                            </a:gs>
                            <a:gs pos="32000">
                              <a:schemeClr val="tx1"/>
                            </a:gs>
                          </a:gsLst>
                        </a:gradFill>
                        <a:effectLst/>
                        <a:latin typeface="+mn-lt"/>
                        <a:ea typeface="Calibri"/>
                        <a:cs typeface="Times New Roman"/>
                      </a:endParaRPr>
                    </a:p>
                  </a:txBody>
                  <a:tcPr marL="89642" marR="89642" marT="89642"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algn="l">
                        <a:lnSpc>
                          <a:spcPts val="1430"/>
                        </a:lnSpc>
                        <a:spcBef>
                          <a:spcPts val="0"/>
                        </a:spcBef>
                        <a:spcAft>
                          <a:spcPts val="0"/>
                        </a:spcAft>
                      </a:pPr>
                      <a:endParaRPr lang="en-US" sz="1400" b="1" kern="1200" baseline="0" dirty="0">
                        <a:solidFill>
                          <a:schemeClr val="tx2">
                            <a:lumMod val="25000"/>
                          </a:schemeClr>
                        </a:solidFill>
                        <a:effectLst/>
                        <a:latin typeface="+mn-lt"/>
                        <a:ea typeface="Times New Roman"/>
                        <a:cs typeface="Calibri"/>
                      </a:endParaRPr>
                    </a:p>
                  </a:txBody>
                  <a:tcPr marL="365760" marT="6024" marB="6024" anchor="ctr">
                    <a:lnL w="6350" cap="flat" cmpd="sng" algn="ctr">
                      <a:solidFill>
                        <a:schemeClr val="bg1">
                          <a:lumMod val="65000"/>
                          <a:lumOff val="35000"/>
                        </a:schemeClr>
                      </a:solidFill>
                      <a:prstDash val="sysDot"/>
                      <a:round/>
                      <a:headEnd type="none" w="med" len="med"/>
                      <a:tailEnd type="none" w="med" len="med"/>
                    </a:lnL>
                    <a:lnR w="6350" cap="flat" cmpd="sng" algn="ctr">
                      <a:solidFill>
                        <a:schemeClr val="bg1">
                          <a:lumMod val="65000"/>
                          <a:lumOff val="35000"/>
                        </a:schemeClr>
                      </a:solidFill>
                      <a:prstDash val="sysDot"/>
                      <a:round/>
                      <a:headEnd type="none" w="med" len="med"/>
                      <a:tailEnd type="none" w="med" len="med"/>
                    </a:lnR>
                    <a:lnT w="6350" cap="flat" cmpd="sng" algn="ctr">
                      <a:solidFill>
                        <a:schemeClr val="bg1">
                          <a:lumMod val="65000"/>
                          <a:lumOff val="35000"/>
                        </a:schemeClr>
                      </a:solidFill>
                      <a:prstDash val="sysDot"/>
                      <a:round/>
                      <a:headEnd type="none" w="med" len="med"/>
                      <a:tailEnd type="none" w="med" len="med"/>
                    </a:lnT>
                    <a:lnB w="6350" cap="flat" cmpd="sng" algn="ctr">
                      <a:solidFill>
                        <a:schemeClr val="bg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r>
              <a:tr h="394427">
                <a:tc>
                  <a:txBody>
                    <a:bodyPr/>
                    <a:lstStyle/>
                    <a:p>
                      <a:pPr marL="0" marR="0" algn="l" defTabSz="914363" rtl="0" eaLnBrk="1" latinLnBrk="0" hangingPunct="1">
                        <a:lnSpc>
                          <a:spcPct val="90000"/>
                        </a:lnSpc>
                        <a:spcBef>
                          <a:spcPts val="0"/>
                        </a:spcBef>
                        <a:spcAft>
                          <a:spcPts val="0"/>
                        </a:spcAft>
                      </a:pPr>
                      <a:r>
                        <a:rPr lang="en-US" sz="1600" b="0" i="0" kern="1200" dirty="0" smtClean="0">
                          <a:gradFill>
                            <a:gsLst>
                              <a:gs pos="61062">
                                <a:schemeClr val="tx1"/>
                              </a:gs>
                              <a:gs pos="32000">
                                <a:schemeClr val="tx1"/>
                              </a:gs>
                            </a:gsLst>
                            <a:lin ang="0" scaled="0"/>
                          </a:gradFill>
                          <a:effectLst/>
                          <a:latin typeface="+mn-lt"/>
                          <a:ea typeface="Calibri"/>
                          <a:cs typeface="Times New Roman"/>
                        </a:rPr>
                        <a:t>12:15 - 12:45</a:t>
                      </a:r>
                      <a:endParaRPr lang="en-US" sz="1600" b="0" i="0" kern="1200" dirty="0">
                        <a:gradFill>
                          <a:gsLst>
                            <a:gs pos="61062">
                              <a:schemeClr val="tx1"/>
                            </a:gs>
                            <a:gs pos="32000">
                              <a:schemeClr val="tx1"/>
                            </a:gs>
                          </a:gsLst>
                          <a:lin ang="0" scaled="0"/>
                        </a:gradFill>
                        <a:effectLst/>
                        <a:latin typeface="+mn-lt"/>
                        <a:ea typeface="Calibri"/>
                        <a:cs typeface="Times New Roman"/>
                      </a:endParaRPr>
                    </a:p>
                  </a:txBody>
                  <a:tcPr marL="179285" marR="89642" marT="89642"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3" rtl="0" eaLnBrk="1" fontAlgn="auto" latinLnBrk="0" hangingPunct="1">
                        <a:lnSpc>
                          <a:spcPct val="90000"/>
                        </a:lnSpc>
                        <a:spcBef>
                          <a:spcPts val="0"/>
                        </a:spcBef>
                        <a:spcAft>
                          <a:spcPts val="0"/>
                        </a:spcAft>
                        <a:buClrTx/>
                        <a:buSzTx/>
                        <a:buFontTx/>
                        <a:buNone/>
                        <a:tabLst/>
                        <a:defRPr/>
                      </a:pPr>
                      <a:r>
                        <a:rPr lang="en-US" sz="1600" b="1" i="0" kern="1200" dirty="0" smtClean="0">
                          <a:gradFill>
                            <a:gsLst>
                              <a:gs pos="61062">
                                <a:schemeClr val="tx1"/>
                              </a:gs>
                              <a:gs pos="32000">
                                <a:schemeClr val="tx1"/>
                              </a:gs>
                            </a:gsLst>
                          </a:gradFill>
                          <a:effectLst/>
                          <a:latin typeface="+mn-lt"/>
                          <a:ea typeface="Calibri"/>
                          <a:cs typeface="Times New Roman"/>
                        </a:rPr>
                        <a:t>Lunch</a:t>
                      </a:r>
                      <a:endParaRPr lang="en-US" sz="1600" b="1" i="0" kern="1200" dirty="0">
                        <a:gradFill>
                          <a:gsLst>
                            <a:gs pos="61062">
                              <a:schemeClr val="tx1"/>
                            </a:gs>
                            <a:gs pos="32000">
                              <a:schemeClr val="tx1"/>
                            </a:gs>
                          </a:gsLst>
                        </a:gradFill>
                        <a:effectLst/>
                        <a:latin typeface="+mn-lt"/>
                        <a:ea typeface="Calibri"/>
                        <a:cs typeface="Times New Roman"/>
                      </a:endParaRPr>
                    </a:p>
                  </a:txBody>
                  <a:tcPr marL="89642" marR="89642" marT="89642"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algn="l" defTabSz="914363" rtl="0" eaLnBrk="1" latinLnBrk="0" hangingPunct="1">
                        <a:lnSpc>
                          <a:spcPts val="1430"/>
                        </a:lnSpc>
                        <a:spcBef>
                          <a:spcPts val="0"/>
                        </a:spcBef>
                        <a:spcAft>
                          <a:spcPts val="0"/>
                        </a:spcAft>
                      </a:pPr>
                      <a:endParaRPr lang="en-US" sz="1600" b="0" kern="1200" dirty="0">
                        <a:solidFill>
                          <a:schemeClr val="tx2">
                            <a:lumMod val="25000"/>
                          </a:schemeClr>
                        </a:solidFill>
                        <a:effectLst/>
                        <a:latin typeface="+mn-lt"/>
                        <a:ea typeface="Calibri"/>
                        <a:cs typeface="Times New Roman"/>
                      </a:endParaRPr>
                    </a:p>
                  </a:txBody>
                  <a:tcPr marL="365760" marT="6024" marB="6024" anchor="ctr">
                    <a:lnL w="6350" cap="flat" cmpd="sng" algn="ctr">
                      <a:solidFill>
                        <a:schemeClr val="bg1">
                          <a:lumMod val="65000"/>
                          <a:lumOff val="35000"/>
                        </a:schemeClr>
                      </a:solidFill>
                      <a:prstDash val="sysDot"/>
                      <a:round/>
                      <a:headEnd type="none" w="med" len="med"/>
                      <a:tailEnd type="none" w="med" len="med"/>
                    </a:lnL>
                    <a:lnR w="6350" cap="flat" cmpd="sng" algn="ctr">
                      <a:solidFill>
                        <a:schemeClr val="bg1">
                          <a:lumMod val="65000"/>
                          <a:lumOff val="35000"/>
                        </a:schemeClr>
                      </a:solidFill>
                      <a:prstDash val="sysDot"/>
                      <a:round/>
                      <a:headEnd type="none" w="med" len="med"/>
                      <a:tailEnd type="none" w="med" len="med"/>
                    </a:lnR>
                    <a:lnT w="6350" cap="flat" cmpd="sng" algn="ctr">
                      <a:solidFill>
                        <a:schemeClr val="bg1">
                          <a:lumMod val="65000"/>
                          <a:lumOff val="35000"/>
                        </a:schemeClr>
                      </a:solidFill>
                      <a:prstDash val="sysDot"/>
                      <a:round/>
                      <a:headEnd type="none" w="med" len="med"/>
                      <a:tailEnd type="none" w="med" len="med"/>
                    </a:lnT>
                    <a:lnB w="6350" cap="flat" cmpd="sng" algn="ctr">
                      <a:solidFill>
                        <a:schemeClr val="bg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rgbClr val="00AEEF">
                        <a:alpha val="25098"/>
                      </a:srgbClr>
                    </a:solidFill>
                  </a:tcPr>
                </a:tc>
              </a:tr>
              <a:tr h="636462">
                <a:tc>
                  <a:txBody>
                    <a:bodyPr/>
                    <a:lstStyle/>
                    <a:p>
                      <a:pPr marL="0" marR="0" algn="l" defTabSz="914363" rtl="0" eaLnBrk="1" latinLnBrk="0" hangingPunct="1">
                        <a:lnSpc>
                          <a:spcPct val="90000"/>
                        </a:lnSpc>
                        <a:spcBef>
                          <a:spcPts val="0"/>
                        </a:spcBef>
                        <a:spcAft>
                          <a:spcPts val="0"/>
                        </a:spcAft>
                      </a:pPr>
                      <a:r>
                        <a:rPr lang="en-US" sz="1600" b="0" i="0" kern="1200" dirty="0" smtClean="0">
                          <a:gradFill>
                            <a:gsLst>
                              <a:gs pos="61062">
                                <a:schemeClr val="tx1"/>
                              </a:gs>
                              <a:gs pos="32000">
                                <a:schemeClr val="tx1"/>
                              </a:gs>
                            </a:gsLst>
                            <a:lin ang="0" scaled="0"/>
                          </a:gradFill>
                          <a:effectLst/>
                          <a:latin typeface="+mn-lt"/>
                          <a:ea typeface="Calibri"/>
                          <a:cs typeface="Times New Roman"/>
                        </a:rPr>
                        <a:t>12:45 – 2:00</a:t>
                      </a:r>
                      <a:endParaRPr lang="en-US" sz="1600" b="0" i="0" kern="1200" dirty="0">
                        <a:gradFill>
                          <a:gsLst>
                            <a:gs pos="61062">
                              <a:schemeClr val="tx1"/>
                            </a:gs>
                            <a:gs pos="32000">
                              <a:schemeClr val="tx1"/>
                            </a:gs>
                          </a:gsLst>
                          <a:lin ang="0" scaled="0"/>
                        </a:gradFill>
                        <a:effectLst/>
                        <a:latin typeface="+mn-lt"/>
                        <a:ea typeface="Calibri"/>
                        <a:cs typeface="Times New Roman"/>
                      </a:endParaRPr>
                    </a:p>
                  </a:txBody>
                  <a:tcPr marL="179285" marR="89642" marT="89642"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latinLnBrk="0" hangingPunct="1">
                        <a:lnSpc>
                          <a:spcPct val="90000"/>
                        </a:lnSpc>
                        <a:spcBef>
                          <a:spcPts val="0"/>
                        </a:spcBef>
                        <a:spcAft>
                          <a:spcPts val="0"/>
                        </a:spcAft>
                        <a:buFont typeface="Arial" pitchFamily="34" charset="0"/>
                        <a:buNone/>
                      </a:pPr>
                      <a:r>
                        <a:rPr lang="en-US" sz="1800" b="0" kern="1200" spc="-50" baseline="0" dirty="0" smtClean="0">
                          <a:gradFill>
                            <a:gsLst>
                              <a:gs pos="10619">
                                <a:schemeClr val="accent5"/>
                              </a:gs>
                              <a:gs pos="32000">
                                <a:schemeClr val="accent5"/>
                              </a:gs>
                            </a:gsLst>
                          </a:gradFill>
                          <a:effectLst/>
                          <a:latin typeface="+mn-lt"/>
                          <a:ea typeface="Times New Roman"/>
                          <a:cs typeface="Calibri"/>
                        </a:rPr>
                        <a:t>Hands-on</a:t>
                      </a:r>
                    </a:p>
                    <a:p>
                      <a:pPr marL="0" marR="0" lvl="0" indent="0" algn="l" defTabSz="914363" rtl="0" eaLnBrk="1" fontAlgn="auto" latinLnBrk="0" hangingPunct="1">
                        <a:lnSpc>
                          <a:spcPct val="90000"/>
                        </a:lnSpc>
                        <a:spcBef>
                          <a:spcPts val="0"/>
                        </a:spcBef>
                        <a:spcAft>
                          <a:spcPts val="0"/>
                        </a:spcAft>
                        <a:buClrTx/>
                        <a:buSzTx/>
                        <a:buFontTx/>
                        <a:buNone/>
                        <a:tabLst/>
                        <a:defRPr/>
                      </a:pPr>
                      <a:r>
                        <a:rPr lang="en-US" sz="1600" b="0" kern="1200" dirty="0" smtClean="0">
                          <a:gradFill>
                            <a:gsLst>
                              <a:gs pos="61062">
                                <a:schemeClr val="tx1"/>
                              </a:gs>
                              <a:gs pos="32000">
                                <a:schemeClr val="tx1"/>
                              </a:gs>
                            </a:gsLst>
                          </a:gradFill>
                          <a:effectLst/>
                          <a:latin typeface="+mn-lt"/>
                          <a:ea typeface="Calibri"/>
                          <a:cs typeface="Times New Roman"/>
                        </a:rPr>
                        <a:t>Service Delivery</a:t>
                      </a:r>
                      <a:endParaRPr lang="en-US" sz="1600" b="0" kern="1200" dirty="0" smtClean="0">
                        <a:gradFill>
                          <a:gsLst>
                            <a:gs pos="61062">
                              <a:schemeClr val="tx1"/>
                            </a:gs>
                            <a:gs pos="32000">
                              <a:schemeClr val="tx1"/>
                            </a:gs>
                          </a:gsLst>
                        </a:gradFill>
                        <a:effectLst/>
                        <a:latin typeface="+mn-lt"/>
                        <a:ea typeface="Calibri"/>
                        <a:cs typeface="Times New Roman"/>
                      </a:endParaRPr>
                    </a:p>
                  </a:txBody>
                  <a:tcPr marL="89642" marR="89642" marT="89642"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a:lnSpc>
                          <a:spcPts val="1430"/>
                        </a:lnSpc>
                        <a:spcBef>
                          <a:spcPts val="0"/>
                        </a:spcBef>
                        <a:spcAft>
                          <a:spcPts val="0"/>
                        </a:spcAft>
                        <a:buFont typeface="Arial" pitchFamily="34" charset="0"/>
                        <a:buNone/>
                      </a:pPr>
                      <a:endParaRPr lang="en-US" sz="1600" b="1" kern="1200" dirty="0" smtClean="0">
                        <a:solidFill>
                          <a:schemeClr val="tx2">
                            <a:lumMod val="25000"/>
                          </a:schemeClr>
                        </a:solidFill>
                        <a:effectLst/>
                        <a:latin typeface="+mn-lt"/>
                        <a:ea typeface="Calibri"/>
                        <a:cs typeface="Times New Roman"/>
                      </a:endParaRPr>
                    </a:p>
                  </a:txBody>
                  <a:tcPr marL="365760" marT="6024" marB="6024" anchor="ctr">
                    <a:lnL w="6350" cap="flat" cmpd="sng" algn="ctr">
                      <a:solidFill>
                        <a:schemeClr val="bg1">
                          <a:lumMod val="65000"/>
                          <a:lumOff val="35000"/>
                        </a:schemeClr>
                      </a:solidFill>
                      <a:prstDash val="sysDot"/>
                      <a:round/>
                      <a:headEnd type="none" w="med" len="med"/>
                      <a:tailEnd type="none" w="med" len="med"/>
                    </a:lnL>
                    <a:lnR w="6350" cap="flat" cmpd="sng" algn="ctr">
                      <a:solidFill>
                        <a:schemeClr val="bg1">
                          <a:lumMod val="65000"/>
                          <a:lumOff val="35000"/>
                        </a:schemeClr>
                      </a:solidFill>
                      <a:prstDash val="sysDot"/>
                      <a:round/>
                      <a:headEnd type="none" w="med" len="med"/>
                      <a:tailEnd type="none" w="med" len="med"/>
                    </a:lnR>
                    <a:lnT w="6350" cap="flat" cmpd="sng" algn="ctr">
                      <a:solidFill>
                        <a:schemeClr val="bg1">
                          <a:lumMod val="65000"/>
                          <a:lumOff val="35000"/>
                        </a:schemeClr>
                      </a:solidFill>
                      <a:prstDash val="sysDot"/>
                      <a:round/>
                      <a:headEnd type="none" w="med" len="med"/>
                      <a:tailEnd type="none" w="med" len="med"/>
                    </a:lnT>
                    <a:lnB w="6350" cap="flat" cmpd="sng" algn="ctr">
                      <a:solidFill>
                        <a:schemeClr val="bg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tx1">
                        <a:alpha val="25098"/>
                      </a:schemeClr>
                    </a:solidFill>
                  </a:tcPr>
                </a:tc>
              </a:tr>
              <a:tr h="636462">
                <a:tc>
                  <a:txBody>
                    <a:bodyPr/>
                    <a:lstStyle/>
                    <a:p>
                      <a:pPr marL="0" marR="0" algn="l" defTabSz="914363" rtl="0" eaLnBrk="1" latinLnBrk="0" hangingPunct="1">
                        <a:lnSpc>
                          <a:spcPct val="90000"/>
                        </a:lnSpc>
                        <a:spcBef>
                          <a:spcPts val="0"/>
                        </a:spcBef>
                        <a:spcAft>
                          <a:spcPts val="0"/>
                        </a:spcAft>
                      </a:pPr>
                      <a:r>
                        <a:rPr lang="en-US" sz="1600" b="0" i="0" kern="1200" dirty="0" smtClean="0">
                          <a:gradFill>
                            <a:gsLst>
                              <a:gs pos="61062">
                                <a:schemeClr val="tx1"/>
                              </a:gs>
                              <a:gs pos="32000">
                                <a:schemeClr val="tx1"/>
                              </a:gs>
                            </a:gsLst>
                            <a:lin ang="0" scaled="0"/>
                          </a:gradFill>
                          <a:effectLst/>
                          <a:latin typeface="+mn-lt"/>
                          <a:ea typeface="Calibri"/>
                          <a:cs typeface="Times New Roman"/>
                        </a:rPr>
                        <a:t>2:00 – 3:15</a:t>
                      </a:r>
                      <a:endParaRPr lang="en-US" sz="1600" b="0" i="0" kern="1200" dirty="0">
                        <a:gradFill>
                          <a:gsLst>
                            <a:gs pos="61062">
                              <a:schemeClr val="tx1"/>
                            </a:gs>
                            <a:gs pos="32000">
                              <a:schemeClr val="tx1"/>
                            </a:gs>
                          </a:gsLst>
                          <a:lin ang="0" scaled="0"/>
                        </a:gradFill>
                        <a:effectLst/>
                        <a:latin typeface="+mn-lt"/>
                        <a:ea typeface="Calibri"/>
                        <a:cs typeface="Times New Roman"/>
                      </a:endParaRPr>
                    </a:p>
                  </a:txBody>
                  <a:tcPr marL="179285" marR="89642" marT="89642"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932742" rtl="0" eaLnBrk="1" latinLnBrk="0" hangingPunct="1">
                        <a:lnSpc>
                          <a:spcPct val="90000"/>
                        </a:lnSpc>
                        <a:spcBef>
                          <a:spcPts val="0"/>
                        </a:spcBef>
                        <a:spcAft>
                          <a:spcPts val="0"/>
                        </a:spcAft>
                      </a:pPr>
                      <a:r>
                        <a:rPr lang="en-US" sz="1800" b="0" kern="1200" spc="-50" baseline="0" dirty="0" smtClean="0">
                          <a:gradFill>
                            <a:gsLst>
                              <a:gs pos="10619">
                                <a:schemeClr val="accent5"/>
                              </a:gs>
                              <a:gs pos="32000">
                                <a:schemeClr val="accent5"/>
                              </a:gs>
                            </a:gsLst>
                          </a:gradFill>
                          <a:effectLst/>
                          <a:latin typeface="+mn-lt"/>
                          <a:ea typeface="Times New Roman"/>
                          <a:cs typeface="Calibri"/>
                        </a:rPr>
                        <a:t>Hands-on</a:t>
                      </a:r>
                    </a:p>
                    <a:p>
                      <a:pPr marL="0" marR="0" lvl="0" indent="0" algn="l" defTabSz="914363" rtl="0" eaLnBrk="1" fontAlgn="auto" latinLnBrk="0" hangingPunct="1">
                        <a:lnSpc>
                          <a:spcPct val="90000"/>
                        </a:lnSpc>
                        <a:spcBef>
                          <a:spcPts val="0"/>
                        </a:spcBef>
                        <a:spcAft>
                          <a:spcPts val="0"/>
                        </a:spcAft>
                        <a:buClrTx/>
                        <a:buSzTx/>
                        <a:buFontTx/>
                        <a:buNone/>
                        <a:tabLst/>
                        <a:defRPr/>
                      </a:pPr>
                      <a:r>
                        <a:rPr lang="en-US" sz="1600" b="0" kern="1200" dirty="0" smtClean="0">
                          <a:gradFill>
                            <a:gsLst>
                              <a:gs pos="61062">
                                <a:schemeClr val="tx1"/>
                              </a:gs>
                              <a:gs pos="32000">
                                <a:schemeClr val="tx1"/>
                              </a:gs>
                            </a:gsLst>
                          </a:gradFill>
                          <a:effectLst/>
                          <a:latin typeface="+mn-lt"/>
                          <a:ea typeface="Calibri"/>
                          <a:cs typeface="Times New Roman"/>
                        </a:rPr>
                        <a:t>IT Management</a:t>
                      </a:r>
                      <a:endParaRPr lang="en-US" sz="1600" b="0" kern="1200" dirty="0">
                        <a:gradFill>
                          <a:gsLst>
                            <a:gs pos="61062">
                              <a:schemeClr val="tx1"/>
                            </a:gs>
                            <a:gs pos="32000">
                              <a:schemeClr val="tx1"/>
                            </a:gs>
                          </a:gsLst>
                        </a:gradFill>
                        <a:effectLst/>
                        <a:latin typeface="+mn-lt"/>
                        <a:ea typeface="Calibri"/>
                        <a:cs typeface="Times New Roman"/>
                      </a:endParaRPr>
                    </a:p>
                  </a:txBody>
                  <a:tcPr marL="89642" marR="89642" marT="89642" marB="8964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448212">
                <a:tc>
                  <a:txBody>
                    <a:bodyPr/>
                    <a:lstStyle/>
                    <a:p>
                      <a:pPr marL="0" marR="0" algn="l" defTabSz="914363" rtl="0" eaLnBrk="1" latinLnBrk="0" hangingPunct="1">
                        <a:lnSpc>
                          <a:spcPct val="90000"/>
                        </a:lnSpc>
                        <a:spcBef>
                          <a:spcPts val="0"/>
                        </a:spcBef>
                        <a:spcAft>
                          <a:spcPts val="0"/>
                        </a:spcAft>
                      </a:pPr>
                      <a:r>
                        <a:rPr lang="en-US" sz="1600" b="0" i="0" kern="1200" dirty="0" smtClean="0">
                          <a:gradFill>
                            <a:gsLst>
                              <a:gs pos="61062">
                                <a:schemeClr val="tx1"/>
                              </a:gs>
                              <a:gs pos="32000">
                                <a:schemeClr val="tx1"/>
                              </a:gs>
                            </a:gsLst>
                            <a:lin ang="0" scaled="0"/>
                          </a:gradFill>
                          <a:effectLst/>
                          <a:latin typeface="+mn-lt"/>
                          <a:ea typeface="Calibri"/>
                          <a:cs typeface="Times New Roman"/>
                        </a:rPr>
                        <a:t>3:15</a:t>
                      </a:r>
                      <a:r>
                        <a:rPr lang="en-US" sz="1600" b="0" i="0" kern="1200" baseline="0" dirty="0" smtClean="0">
                          <a:gradFill>
                            <a:gsLst>
                              <a:gs pos="61062">
                                <a:schemeClr val="tx1"/>
                              </a:gs>
                              <a:gs pos="32000">
                                <a:schemeClr val="tx1"/>
                              </a:gs>
                            </a:gsLst>
                            <a:lin ang="0" scaled="0"/>
                          </a:gradFill>
                          <a:effectLst/>
                          <a:latin typeface="+mn-lt"/>
                          <a:ea typeface="Calibri"/>
                          <a:cs typeface="Times New Roman"/>
                        </a:rPr>
                        <a:t> – 3:30</a:t>
                      </a:r>
                      <a:endParaRPr lang="en-US" sz="1600" b="0" i="0" kern="1200" dirty="0">
                        <a:gradFill>
                          <a:gsLst>
                            <a:gs pos="61062">
                              <a:schemeClr val="tx1"/>
                            </a:gs>
                            <a:gs pos="32000">
                              <a:schemeClr val="tx1"/>
                            </a:gs>
                          </a:gsLst>
                          <a:lin ang="0" scaled="0"/>
                        </a:gradFill>
                        <a:effectLst/>
                        <a:latin typeface="+mn-lt"/>
                        <a:ea typeface="Calibri"/>
                        <a:cs typeface="Times New Roman"/>
                      </a:endParaRPr>
                    </a:p>
                  </a:txBody>
                  <a:tcPr marL="179285" marR="89642" marT="89642"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3" rtl="0" eaLnBrk="1" fontAlgn="auto" latinLnBrk="0" hangingPunct="1">
                        <a:lnSpc>
                          <a:spcPct val="90000"/>
                        </a:lnSpc>
                        <a:spcBef>
                          <a:spcPts val="0"/>
                        </a:spcBef>
                        <a:spcAft>
                          <a:spcPts val="0"/>
                        </a:spcAft>
                        <a:buClrTx/>
                        <a:buSzTx/>
                        <a:buFontTx/>
                        <a:buNone/>
                        <a:tabLst/>
                        <a:defRPr/>
                      </a:pPr>
                      <a:r>
                        <a:rPr lang="en-US" sz="1600" b="1" kern="1200" dirty="0" smtClean="0">
                          <a:solidFill>
                            <a:schemeClr val="tx1"/>
                          </a:solidFill>
                          <a:effectLst/>
                          <a:latin typeface="+mn-lt"/>
                          <a:ea typeface="Calibri"/>
                          <a:cs typeface="Times New Roman"/>
                        </a:rPr>
                        <a:t>Break</a:t>
                      </a:r>
                      <a:endParaRPr lang="en-US" sz="1600" b="1" kern="1200" dirty="0">
                        <a:solidFill>
                          <a:schemeClr val="tx1"/>
                        </a:solidFill>
                        <a:effectLst/>
                        <a:latin typeface="+mn-lt"/>
                        <a:ea typeface="Calibri"/>
                        <a:cs typeface="Times New Roman"/>
                      </a:endParaRPr>
                    </a:p>
                  </a:txBody>
                  <a:tcPr marL="89642" marR="89642" marT="89642"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690247">
                <a:tc>
                  <a:txBody>
                    <a:bodyPr/>
                    <a:lstStyle/>
                    <a:p>
                      <a:pPr marL="0" marR="0" algn="l" defTabSz="914363" rtl="0" eaLnBrk="1" latinLnBrk="0" hangingPunct="1">
                        <a:lnSpc>
                          <a:spcPct val="90000"/>
                        </a:lnSpc>
                        <a:spcBef>
                          <a:spcPts val="0"/>
                        </a:spcBef>
                        <a:spcAft>
                          <a:spcPts val="0"/>
                        </a:spcAft>
                      </a:pPr>
                      <a:r>
                        <a:rPr lang="en-US" sz="1600" b="0" i="0" kern="1200" dirty="0" smtClean="0">
                          <a:gradFill>
                            <a:gsLst>
                              <a:gs pos="61062">
                                <a:schemeClr val="tx1"/>
                              </a:gs>
                              <a:gs pos="32000">
                                <a:schemeClr val="tx1"/>
                              </a:gs>
                            </a:gsLst>
                            <a:lin ang="0" scaled="0"/>
                          </a:gradFill>
                          <a:effectLst/>
                          <a:latin typeface="+mn-lt"/>
                          <a:ea typeface="Calibri"/>
                          <a:cs typeface="Times New Roman"/>
                        </a:rPr>
                        <a:t>3:30 – 4:30</a:t>
                      </a:r>
                      <a:endParaRPr lang="en-US" sz="1600" b="0" i="0" kern="1200" dirty="0">
                        <a:gradFill>
                          <a:gsLst>
                            <a:gs pos="61062">
                              <a:schemeClr val="tx1"/>
                            </a:gs>
                            <a:gs pos="32000">
                              <a:schemeClr val="tx1"/>
                            </a:gs>
                          </a:gsLst>
                          <a:lin ang="0" scaled="0"/>
                        </a:gradFill>
                        <a:effectLst/>
                        <a:latin typeface="+mn-lt"/>
                        <a:ea typeface="Calibri"/>
                        <a:cs typeface="Times New Roman"/>
                      </a:endParaRPr>
                    </a:p>
                  </a:txBody>
                  <a:tcPr marL="179285" marR="89642" marT="89642"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932742" rtl="0" eaLnBrk="1" latinLnBrk="0" hangingPunct="1">
                        <a:lnSpc>
                          <a:spcPct val="90000"/>
                        </a:lnSpc>
                        <a:spcBef>
                          <a:spcPts val="0"/>
                        </a:spcBef>
                        <a:spcAft>
                          <a:spcPts val="0"/>
                        </a:spcAft>
                      </a:pPr>
                      <a:r>
                        <a:rPr lang="en-US" sz="1800" b="0" kern="1200" spc="-50" baseline="0" dirty="0" smtClean="0">
                          <a:gradFill>
                            <a:gsLst>
                              <a:gs pos="10619">
                                <a:schemeClr val="accent5"/>
                              </a:gs>
                              <a:gs pos="32000">
                                <a:schemeClr val="accent5"/>
                              </a:gs>
                            </a:gsLst>
                            <a:lin ang="0" scaled="1"/>
                          </a:gradFill>
                          <a:effectLst/>
                          <a:latin typeface="+mn-lt"/>
                          <a:ea typeface="Times New Roman"/>
                          <a:cs typeface="Calibri"/>
                        </a:rPr>
                        <a:t>Hands-on</a:t>
                      </a:r>
                    </a:p>
                    <a:p>
                      <a:pPr marL="0" marR="0" lvl="0" indent="0" algn="l" defTabSz="914363" rtl="0" eaLnBrk="1" fontAlgn="auto" latinLnBrk="0" hangingPunct="1">
                        <a:lnSpc>
                          <a:spcPct val="90000"/>
                        </a:lnSpc>
                        <a:spcBef>
                          <a:spcPts val="0"/>
                        </a:spcBef>
                        <a:spcAft>
                          <a:spcPts val="0"/>
                        </a:spcAft>
                        <a:buClrTx/>
                        <a:buSzTx/>
                        <a:buFontTx/>
                        <a:buNone/>
                        <a:tabLst/>
                        <a:defRPr/>
                      </a:pPr>
                      <a:r>
                        <a:rPr lang="en-US" sz="1600" b="0" kern="1200" dirty="0" smtClean="0">
                          <a:gradFill>
                            <a:gsLst>
                              <a:gs pos="61062">
                                <a:schemeClr val="tx1"/>
                              </a:gs>
                              <a:gs pos="32000">
                                <a:schemeClr val="tx1"/>
                              </a:gs>
                            </a:gsLst>
                          </a:gradFill>
                          <a:effectLst/>
                          <a:latin typeface="+mn-lt"/>
                          <a:ea typeface="Calibri"/>
                          <a:cs typeface="Times New Roman"/>
                        </a:rPr>
                        <a:t>Data Protection</a:t>
                      </a:r>
                      <a:endParaRPr lang="en-US" sz="1600" b="0" kern="1200" dirty="0">
                        <a:gradFill>
                          <a:gsLst>
                            <a:gs pos="61062">
                              <a:schemeClr val="tx1"/>
                            </a:gs>
                            <a:gs pos="32000">
                              <a:schemeClr val="tx1"/>
                            </a:gs>
                          </a:gsLst>
                        </a:gradFill>
                        <a:effectLst/>
                        <a:latin typeface="+mn-lt"/>
                        <a:ea typeface="Calibri"/>
                        <a:cs typeface="Times New Roman"/>
                      </a:endParaRPr>
                    </a:p>
                  </a:txBody>
                  <a:tcPr marL="89642" marR="89642" marT="89642"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475105">
                <a:tc>
                  <a:txBody>
                    <a:bodyPr/>
                    <a:lstStyle/>
                    <a:p>
                      <a:pPr marL="0" marR="0" algn="l" defTabSz="914363" rtl="0" eaLnBrk="1" latinLnBrk="0" hangingPunct="1">
                        <a:lnSpc>
                          <a:spcPct val="90000"/>
                        </a:lnSpc>
                        <a:spcBef>
                          <a:spcPts val="0"/>
                        </a:spcBef>
                        <a:spcAft>
                          <a:spcPts val="0"/>
                        </a:spcAft>
                      </a:pPr>
                      <a:r>
                        <a:rPr lang="en-US" sz="1600" b="0" i="0" kern="1200" dirty="0" smtClean="0">
                          <a:gradFill>
                            <a:gsLst>
                              <a:gs pos="61062">
                                <a:schemeClr val="tx1"/>
                              </a:gs>
                              <a:gs pos="32000">
                                <a:schemeClr val="tx1"/>
                              </a:gs>
                            </a:gsLst>
                            <a:lin ang="0" scaled="0"/>
                          </a:gradFill>
                          <a:effectLst/>
                          <a:latin typeface="+mn-lt"/>
                          <a:ea typeface="Calibri"/>
                          <a:cs typeface="Times New Roman"/>
                        </a:rPr>
                        <a:t>4:30</a:t>
                      </a:r>
                      <a:endParaRPr lang="en-US" sz="1600" b="0" i="0" kern="1200" dirty="0">
                        <a:gradFill>
                          <a:gsLst>
                            <a:gs pos="61062">
                              <a:schemeClr val="tx1"/>
                            </a:gs>
                            <a:gs pos="32000">
                              <a:schemeClr val="tx1"/>
                            </a:gs>
                          </a:gsLst>
                          <a:lin ang="0" scaled="0"/>
                        </a:gradFill>
                        <a:effectLst/>
                        <a:latin typeface="+mn-lt"/>
                        <a:ea typeface="Calibri"/>
                        <a:cs typeface="Times New Roman"/>
                      </a:endParaRPr>
                    </a:p>
                  </a:txBody>
                  <a:tcPr marL="179285" marR="89642" marT="89642" marB="14342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932742" rtl="0" eaLnBrk="1" latinLnBrk="0" hangingPunct="1">
                        <a:lnSpc>
                          <a:spcPct val="90000"/>
                        </a:lnSpc>
                        <a:spcBef>
                          <a:spcPts val="0"/>
                        </a:spcBef>
                        <a:spcAft>
                          <a:spcPts val="0"/>
                        </a:spcAft>
                      </a:pPr>
                      <a:r>
                        <a:rPr lang="en-US" sz="1800" b="0" kern="1200" spc="-50" baseline="0" dirty="0" smtClean="0">
                          <a:gradFill>
                            <a:gsLst>
                              <a:gs pos="10619">
                                <a:schemeClr val="accent5"/>
                              </a:gs>
                              <a:gs pos="32000">
                                <a:schemeClr val="accent5"/>
                              </a:gs>
                            </a:gsLst>
                          </a:gradFill>
                          <a:effectLst/>
                          <a:latin typeface="+mn-lt"/>
                          <a:ea typeface="Times New Roman"/>
                          <a:cs typeface="Calibri"/>
                        </a:rPr>
                        <a:t>Wrap-up</a:t>
                      </a:r>
                      <a:endParaRPr lang="en-US" sz="1800" b="0" kern="1200" spc="-50" baseline="0" dirty="0">
                        <a:gradFill>
                          <a:gsLst>
                            <a:gs pos="10619">
                              <a:schemeClr val="accent5"/>
                            </a:gs>
                            <a:gs pos="32000">
                              <a:schemeClr val="accent5"/>
                            </a:gs>
                          </a:gsLst>
                        </a:gradFill>
                        <a:effectLst/>
                        <a:latin typeface="+mn-lt"/>
                        <a:ea typeface="Times New Roman"/>
                        <a:cs typeface="Calibri"/>
                      </a:endParaRPr>
                    </a:p>
                  </a:txBody>
                  <a:tcPr marL="89642" marR="89642" marT="89642" marB="143428">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algn="l">
                        <a:lnSpc>
                          <a:spcPts val="1430"/>
                        </a:lnSpc>
                        <a:spcBef>
                          <a:spcPts val="0"/>
                        </a:spcBef>
                        <a:spcAft>
                          <a:spcPts val="0"/>
                        </a:spcAft>
                      </a:pPr>
                      <a:endParaRPr lang="en-US" sz="1600" b="1" kern="1200" dirty="0">
                        <a:solidFill>
                          <a:schemeClr val="tx2">
                            <a:lumMod val="25000"/>
                          </a:schemeClr>
                        </a:solidFill>
                        <a:effectLst/>
                        <a:latin typeface="+mn-lt"/>
                        <a:ea typeface="Calibri"/>
                        <a:cs typeface="Times New Roman"/>
                      </a:endParaRPr>
                    </a:p>
                  </a:txBody>
                  <a:tcPr marL="365760" marT="6024" marB="6024" anchor="ctr">
                    <a:lnL w="6350" cap="flat" cmpd="sng" algn="ctr">
                      <a:solidFill>
                        <a:schemeClr val="bg1">
                          <a:lumMod val="65000"/>
                          <a:lumOff val="35000"/>
                        </a:schemeClr>
                      </a:solidFill>
                      <a:prstDash val="sysDot"/>
                      <a:round/>
                      <a:headEnd type="none" w="med" len="med"/>
                      <a:tailEnd type="none" w="med" len="med"/>
                    </a:lnL>
                    <a:lnR w="6350" cap="flat" cmpd="sng" algn="ctr">
                      <a:solidFill>
                        <a:schemeClr val="bg1">
                          <a:lumMod val="65000"/>
                          <a:lumOff val="35000"/>
                        </a:schemeClr>
                      </a:solidFill>
                      <a:prstDash val="sysDot"/>
                      <a:round/>
                      <a:headEnd type="none" w="med" len="med"/>
                      <a:tailEnd type="none" w="med" len="med"/>
                    </a:lnR>
                    <a:lnT w="6350" cap="flat" cmpd="sng" algn="ctr">
                      <a:solidFill>
                        <a:schemeClr val="bg1">
                          <a:lumMod val="65000"/>
                          <a:lumOff val="35000"/>
                        </a:schemeClr>
                      </a:solidFill>
                      <a:prstDash val="sysDot"/>
                      <a:round/>
                      <a:headEnd type="none" w="med" len="med"/>
                      <a:tailEnd type="none" w="med" len="med"/>
                    </a:lnT>
                    <a:lnB w="6350" cap="flat" cmpd="sng" algn="ctr">
                      <a:solidFill>
                        <a:schemeClr val="bg1">
                          <a:lumMod val="65000"/>
                          <a:lumOff val="35000"/>
                        </a:schemeClr>
                      </a:solidFill>
                      <a:prstDash val="sysDot"/>
                      <a:round/>
                      <a:headEnd type="none" w="med" len="med"/>
                      <a:tailEnd type="none" w="med" len="med"/>
                    </a:lnB>
                    <a:lnTlToBr w="12700" cmpd="sng">
                      <a:noFill/>
                      <a:prstDash val="solid"/>
                    </a:lnTlToBr>
                    <a:lnBlToTr w="12700" cmpd="sng">
                      <a:noFill/>
                      <a:prstDash val="solid"/>
                    </a:lnBlToTr>
                    <a:solidFill>
                      <a:schemeClr val="tx1">
                        <a:alpha val="25098"/>
                      </a:schemeClr>
                    </a:solidFill>
                  </a:tcPr>
                </a:tc>
              </a:tr>
            </a:tbl>
          </a:graphicData>
        </a:graphic>
      </p:graphicFrame>
      <p:cxnSp>
        <p:nvCxnSpPr>
          <p:cNvPr id="11" name="Straight Connector 10"/>
          <p:cNvCxnSpPr/>
          <p:nvPr/>
        </p:nvCxnSpPr>
        <p:spPr>
          <a:xfrm>
            <a:off x="1538089" y="1589422"/>
            <a:ext cx="10653924" cy="0"/>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377677" y="794126"/>
            <a:ext cx="10814337" cy="0"/>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Pentagon 4"/>
          <p:cNvSpPr/>
          <p:nvPr/>
        </p:nvSpPr>
        <p:spPr bwMode="auto">
          <a:xfrm>
            <a:off x="0" y="487"/>
            <a:ext cx="2062089" cy="6857027"/>
          </a:xfrm>
          <a:prstGeom prst="homePlate">
            <a:avLst>
              <a:gd name="adj" fmla="val 43026"/>
            </a:avLst>
          </a:prstGeom>
          <a:solidFill>
            <a:schemeClr val="accent5"/>
          </a:solidFill>
          <a:ln w="952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bodyPr>
          <a:lstStyle/>
          <a:p>
            <a:pPr algn="ctr" defTabSz="913225"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7" name="Title 5"/>
          <p:cNvSpPr txBox="1">
            <a:spLocks/>
          </p:cNvSpPr>
          <p:nvPr/>
        </p:nvSpPr>
        <p:spPr>
          <a:xfrm rot="16200000">
            <a:off x="364074" y="3211765"/>
            <a:ext cx="2300647" cy="434486"/>
          </a:xfrm>
          <a:prstGeom prst="rect">
            <a:avLst/>
          </a:prstGeom>
        </p:spPr>
        <p:txBody>
          <a:bodyPr vert="horz" wrap="square" lIns="0" tIns="0" rIns="0" bIns="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137" spc="-49">
                <a:gradFill>
                  <a:gsLst>
                    <a:gs pos="7965">
                      <a:srgbClr val="FFFFFF"/>
                    </a:gs>
                    <a:gs pos="32743">
                      <a:srgbClr val="FFFFFF"/>
                    </a:gs>
                  </a:gsLst>
                  <a:lin ang="5400000" scaled="0"/>
                </a:gradFill>
              </a:rPr>
              <a:t>Agenda</a:t>
            </a:r>
          </a:p>
        </p:txBody>
      </p:sp>
      <p:sp>
        <p:nvSpPr>
          <p:cNvPr id="8" name="Title 5"/>
          <p:cNvSpPr txBox="1">
            <a:spLocks/>
          </p:cNvSpPr>
          <p:nvPr/>
        </p:nvSpPr>
        <p:spPr>
          <a:xfrm rot="16200000">
            <a:off x="-2659469" y="2979233"/>
            <a:ext cx="6857029" cy="899537"/>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4313" spc="-196">
                <a:gradFill>
                  <a:gsLst>
                    <a:gs pos="7965">
                      <a:srgbClr val="FFFFFF"/>
                    </a:gs>
                    <a:gs pos="32743">
                      <a:srgbClr val="FFFFFF"/>
                    </a:gs>
                  </a:gsLst>
                  <a:lin ang="5400000" scaled="0"/>
                </a:gradFill>
              </a:rPr>
              <a:t>Immersion | </a:t>
            </a:r>
            <a:r>
              <a:rPr sz="3137" spc="-196">
                <a:gradFill>
                  <a:gsLst>
                    <a:gs pos="7965">
                      <a:srgbClr val="FFFFFF"/>
                    </a:gs>
                    <a:gs pos="32743">
                      <a:srgbClr val="FFFFFF"/>
                    </a:gs>
                  </a:gsLst>
                  <a:lin ang="5400000" scaled="0"/>
                </a:gradFill>
              </a:rPr>
              <a:t>Transform the Datacenter</a:t>
            </a:r>
            <a:endParaRPr sz="3137" spc="-196">
              <a:gradFill>
                <a:gsLst>
                  <a:gs pos="7965">
                    <a:srgbClr val="FFFFFF"/>
                  </a:gs>
                  <a:gs pos="32743">
                    <a:srgbClr val="FFFFFF"/>
                  </a:gs>
                </a:gsLst>
                <a:lin ang="5400000" scaled="0"/>
              </a:gradFill>
              <a:latin typeface="Segoe UI"/>
            </a:endParaRPr>
          </a:p>
        </p:txBody>
      </p:sp>
    </p:spTree>
    <p:extLst>
      <p:ext uri="{BB962C8B-B14F-4D97-AF65-F5344CB8AC3E}">
        <p14:creationId xmlns:p14="http://schemas.microsoft.com/office/powerpoint/2010/main" val="3569387786"/>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00" fill="hold"/>
                                        <p:tgtEl>
                                          <p:spTgt spid="7"/>
                                        </p:tgtEl>
                                        <p:attrNameLst>
                                          <p:attrName>ppt_x</p:attrName>
                                        </p:attrNameLst>
                                      </p:cBhvr>
                                      <p:tavLst>
                                        <p:tav tm="0">
                                          <p:val>
                                            <p:strVal val="0-#ppt_w/2"/>
                                          </p:val>
                                        </p:tav>
                                        <p:tav tm="100000">
                                          <p:val>
                                            <p:strVal val="#ppt_x"/>
                                          </p:val>
                                        </p:tav>
                                      </p:tavLst>
                                    </p:anim>
                                    <p:anim calcmode="lin" valueType="num">
                                      <p:cBhvr additive="base">
                                        <p:cTn id="8" dur="7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0-#ppt_w/2"/>
                                          </p:val>
                                        </p:tav>
                                        <p:tav tm="100000">
                                          <p:val>
                                            <p:strVal val="#ppt_x"/>
                                          </p:val>
                                        </p:tav>
                                      </p:tavLst>
                                    </p:anim>
                                    <p:anim calcmode="lin" valueType="num">
                                      <p:cBhvr additive="base">
                                        <p:cTn id="12" dur="7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 hybrid capabilities part</a:t>
            </a:r>
            <a:br>
              <a:rPr lang="en-US" dirty="0" smtClean="0"/>
            </a:br>
            <a:r>
              <a:rPr lang="en-US" dirty="0" smtClean="0"/>
              <a:t>of your infrastructure</a:t>
            </a:r>
            <a:endParaRPr lang="en-US" dirty="0"/>
          </a:p>
        </p:txBody>
      </p:sp>
      <p:sp>
        <p:nvSpPr>
          <p:cNvPr id="78" name="Oval 77"/>
          <p:cNvSpPr/>
          <p:nvPr/>
        </p:nvSpPr>
        <p:spPr bwMode="auto">
          <a:xfrm>
            <a:off x="1883654" y="3038423"/>
            <a:ext cx="8205718" cy="2773504"/>
          </a:xfrm>
          <a:prstGeom prst="ellipse">
            <a:avLst/>
          </a:prstGeom>
          <a:noFill/>
          <a:ln w="101600">
            <a:solidFill>
              <a:srgbClr val="D9D9D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100"/>
          <p:cNvGrpSpPr/>
          <p:nvPr/>
        </p:nvGrpSpPr>
        <p:grpSpPr>
          <a:xfrm>
            <a:off x="4191205" y="2138629"/>
            <a:ext cx="3178731" cy="2045183"/>
            <a:chOff x="4071978" y="1929296"/>
            <a:chExt cx="3355441" cy="2158878"/>
          </a:xfrm>
        </p:grpSpPr>
        <p:sp>
          <p:nvSpPr>
            <p:cNvPr id="62" name="Oval 60"/>
            <p:cNvSpPr/>
            <p:nvPr/>
          </p:nvSpPr>
          <p:spPr bwMode="auto">
            <a:xfrm>
              <a:off x="4071978" y="1929296"/>
              <a:ext cx="3355441" cy="2158878"/>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0072C6"/>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a:xfrm>
              <a:off x="4592092" y="3086130"/>
              <a:ext cx="2640786" cy="828460"/>
            </a:xfrm>
            <a:prstGeom prst="rect">
              <a:avLst/>
            </a:prstGeom>
            <a:ln>
              <a:noFill/>
            </a:ln>
          </p:spPr>
          <p:txBody>
            <a:bodyPr wrap="square">
              <a:spAutoFit/>
            </a:bodyPr>
            <a:lstStyle/>
            <a:p>
              <a:pPr defTabSz="896091" fontAlgn="base">
                <a:lnSpc>
                  <a:spcPts val="2745"/>
                </a:lnSpc>
                <a:spcBef>
                  <a:spcPct val="0"/>
                </a:spcBef>
                <a:spcAft>
                  <a:spcPct val="0"/>
                </a:spcAft>
              </a:pPr>
              <a:r>
                <a:rPr lang="en-US" sz="2745" spc="-49" dirty="0">
                  <a:gradFill>
                    <a:gsLst>
                      <a:gs pos="0">
                        <a:srgbClr val="FFFFFF"/>
                      </a:gs>
                      <a:gs pos="59000">
                        <a:srgbClr val="FFFFFF"/>
                      </a:gs>
                    </a:gsLst>
                    <a:lin ang="5400000" scaled="1"/>
                  </a:gradFill>
                  <a:latin typeface="Segoe UI Light"/>
                  <a:cs typeface="Segoe UI Light"/>
                </a:rPr>
                <a:t>Hybrid</a:t>
              </a:r>
              <a:br>
                <a:rPr lang="en-US" sz="2745" spc="-49" dirty="0">
                  <a:gradFill>
                    <a:gsLst>
                      <a:gs pos="0">
                        <a:srgbClr val="FFFFFF"/>
                      </a:gs>
                      <a:gs pos="59000">
                        <a:srgbClr val="FFFFFF"/>
                      </a:gs>
                    </a:gsLst>
                    <a:lin ang="5400000" scaled="1"/>
                  </a:gradFill>
                  <a:latin typeface="Segoe UI Light"/>
                  <a:cs typeface="Segoe UI Light"/>
                </a:rPr>
              </a:br>
              <a:r>
                <a:rPr lang="en-US" sz="2745" spc="-49" dirty="0">
                  <a:gradFill>
                    <a:gsLst>
                      <a:gs pos="0">
                        <a:srgbClr val="FFFFFF"/>
                      </a:gs>
                      <a:gs pos="59000">
                        <a:srgbClr val="FFFFFF"/>
                      </a:gs>
                    </a:gsLst>
                    <a:lin ang="5400000" scaled="1"/>
                  </a:gradFill>
                  <a:latin typeface="Segoe UI Light"/>
                  <a:cs typeface="Segoe UI Light"/>
                </a:rPr>
                <a:t>cloud storage</a:t>
              </a:r>
            </a:p>
          </p:txBody>
        </p:sp>
      </p:grpSp>
      <p:grpSp>
        <p:nvGrpSpPr>
          <p:cNvPr id="102" name="Group 101"/>
          <p:cNvGrpSpPr/>
          <p:nvPr/>
        </p:nvGrpSpPr>
        <p:grpSpPr>
          <a:xfrm>
            <a:off x="760071" y="2138629"/>
            <a:ext cx="3178731" cy="2045183"/>
            <a:chOff x="4071978" y="1929296"/>
            <a:chExt cx="3355441" cy="2158878"/>
          </a:xfrm>
        </p:grpSpPr>
        <p:sp>
          <p:nvSpPr>
            <p:cNvPr id="103" name="Oval 60"/>
            <p:cNvSpPr/>
            <p:nvPr/>
          </p:nvSpPr>
          <p:spPr bwMode="auto">
            <a:xfrm>
              <a:off x="4071978" y="1929296"/>
              <a:ext cx="3355441" cy="2158878"/>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4E195C"/>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a:xfrm>
              <a:off x="4592092" y="3086130"/>
              <a:ext cx="2640786" cy="828460"/>
            </a:xfrm>
            <a:prstGeom prst="rect">
              <a:avLst/>
            </a:prstGeom>
            <a:ln>
              <a:noFill/>
            </a:ln>
          </p:spPr>
          <p:txBody>
            <a:bodyPr wrap="square">
              <a:spAutoFit/>
            </a:bodyPr>
            <a:lstStyle/>
            <a:p>
              <a:pPr defTabSz="896091" fontAlgn="base">
                <a:lnSpc>
                  <a:spcPts val="2745"/>
                </a:lnSpc>
                <a:spcBef>
                  <a:spcPct val="0"/>
                </a:spcBef>
                <a:spcAft>
                  <a:spcPct val="0"/>
                </a:spcAft>
              </a:pPr>
              <a:r>
                <a:rPr lang="en-US" sz="2745" spc="-49" dirty="0">
                  <a:gradFill>
                    <a:gsLst>
                      <a:gs pos="0">
                        <a:srgbClr val="FFFFFF"/>
                      </a:gs>
                      <a:gs pos="59000">
                        <a:srgbClr val="FFFFFF"/>
                      </a:gs>
                    </a:gsLst>
                    <a:lin ang="5400000" scaled="1"/>
                  </a:gradFill>
                  <a:latin typeface="Segoe UI Light"/>
                  <a:cs typeface="Segoe UI Light"/>
                </a:rPr>
                <a:t>Business</a:t>
              </a:r>
            </a:p>
            <a:p>
              <a:pPr defTabSz="896091" fontAlgn="base">
                <a:lnSpc>
                  <a:spcPts val="2745"/>
                </a:lnSpc>
                <a:spcBef>
                  <a:spcPct val="0"/>
                </a:spcBef>
                <a:spcAft>
                  <a:spcPct val="0"/>
                </a:spcAft>
              </a:pPr>
              <a:r>
                <a:rPr lang="en-US" sz="2745" spc="-49" dirty="0">
                  <a:gradFill>
                    <a:gsLst>
                      <a:gs pos="0">
                        <a:srgbClr val="FFFFFF"/>
                      </a:gs>
                      <a:gs pos="59000">
                        <a:srgbClr val="FFFFFF"/>
                      </a:gs>
                    </a:gsLst>
                    <a:lin ang="5400000" scaled="1"/>
                  </a:gradFill>
                  <a:latin typeface="Segoe UI Light"/>
                  <a:cs typeface="Segoe UI Light"/>
                </a:rPr>
                <a:t>continuity</a:t>
              </a:r>
            </a:p>
          </p:txBody>
        </p:sp>
      </p:grpSp>
      <p:grpSp>
        <p:nvGrpSpPr>
          <p:cNvPr id="105" name="Group 104"/>
          <p:cNvGrpSpPr/>
          <p:nvPr/>
        </p:nvGrpSpPr>
        <p:grpSpPr>
          <a:xfrm>
            <a:off x="1390933" y="4454917"/>
            <a:ext cx="3178731" cy="2045183"/>
            <a:chOff x="4071978" y="1929296"/>
            <a:chExt cx="3355441" cy="2158878"/>
          </a:xfrm>
        </p:grpSpPr>
        <p:sp>
          <p:nvSpPr>
            <p:cNvPr id="106" name="Oval 60"/>
            <p:cNvSpPr/>
            <p:nvPr/>
          </p:nvSpPr>
          <p:spPr bwMode="auto">
            <a:xfrm>
              <a:off x="4071978" y="1929296"/>
              <a:ext cx="3355441" cy="2158878"/>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00BCF2"/>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a:xfrm>
              <a:off x="4592091" y="3086130"/>
              <a:ext cx="2835327" cy="828460"/>
            </a:xfrm>
            <a:prstGeom prst="rect">
              <a:avLst/>
            </a:prstGeom>
            <a:ln>
              <a:noFill/>
            </a:ln>
          </p:spPr>
          <p:txBody>
            <a:bodyPr wrap="square">
              <a:spAutoFit/>
            </a:bodyPr>
            <a:lstStyle/>
            <a:p>
              <a:pPr defTabSz="896091" fontAlgn="base">
                <a:lnSpc>
                  <a:spcPts val="2745"/>
                </a:lnSpc>
                <a:spcBef>
                  <a:spcPct val="0"/>
                </a:spcBef>
                <a:spcAft>
                  <a:spcPct val="0"/>
                </a:spcAft>
              </a:pPr>
              <a:r>
                <a:rPr lang="en-US" sz="2745" spc="-49" dirty="0">
                  <a:gradFill>
                    <a:gsLst>
                      <a:gs pos="0">
                        <a:srgbClr val="FFFFFF"/>
                      </a:gs>
                      <a:gs pos="59000">
                        <a:srgbClr val="FFFFFF"/>
                      </a:gs>
                    </a:gsLst>
                    <a:lin ang="5400000" scaled="1"/>
                  </a:gradFill>
                  <a:latin typeface="Segoe UI Light"/>
                  <a:cs typeface="Segoe UI Light"/>
                </a:rPr>
                <a:t>Service-provider</a:t>
              </a:r>
            </a:p>
            <a:p>
              <a:pPr defTabSz="896091" fontAlgn="base">
                <a:lnSpc>
                  <a:spcPts val="2745"/>
                </a:lnSpc>
                <a:spcBef>
                  <a:spcPct val="0"/>
                </a:spcBef>
                <a:spcAft>
                  <a:spcPct val="0"/>
                </a:spcAft>
              </a:pPr>
              <a:r>
                <a:rPr lang="en-US" sz="2745" spc="-49" dirty="0">
                  <a:gradFill>
                    <a:gsLst>
                      <a:gs pos="0">
                        <a:srgbClr val="FFFFFF"/>
                      </a:gs>
                      <a:gs pos="59000">
                        <a:srgbClr val="FFFFFF"/>
                      </a:gs>
                    </a:gsLst>
                    <a:lin ang="5400000" scaled="1"/>
                  </a:gradFill>
                  <a:latin typeface="Segoe UI Light"/>
                  <a:cs typeface="Segoe UI Light"/>
                </a:rPr>
                <a:t>cloud</a:t>
              </a:r>
            </a:p>
          </p:txBody>
        </p:sp>
      </p:grpSp>
      <p:grpSp>
        <p:nvGrpSpPr>
          <p:cNvPr id="108" name="Group 107"/>
          <p:cNvGrpSpPr/>
          <p:nvPr/>
        </p:nvGrpSpPr>
        <p:grpSpPr>
          <a:xfrm>
            <a:off x="4822067" y="4454917"/>
            <a:ext cx="3178731" cy="2045183"/>
            <a:chOff x="4071978" y="1929296"/>
            <a:chExt cx="3355441" cy="2158878"/>
          </a:xfrm>
        </p:grpSpPr>
        <p:sp>
          <p:nvSpPr>
            <p:cNvPr id="109" name="Oval 60"/>
            <p:cNvSpPr/>
            <p:nvPr/>
          </p:nvSpPr>
          <p:spPr bwMode="auto">
            <a:xfrm>
              <a:off x="4071978" y="1929296"/>
              <a:ext cx="3355441" cy="2158878"/>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00569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Rectangle 109"/>
            <p:cNvSpPr/>
            <p:nvPr/>
          </p:nvSpPr>
          <p:spPr>
            <a:xfrm>
              <a:off x="4592091" y="3086130"/>
              <a:ext cx="2835327" cy="828460"/>
            </a:xfrm>
            <a:prstGeom prst="rect">
              <a:avLst/>
            </a:prstGeom>
            <a:ln>
              <a:noFill/>
            </a:ln>
          </p:spPr>
          <p:txBody>
            <a:bodyPr wrap="square">
              <a:spAutoFit/>
            </a:bodyPr>
            <a:lstStyle/>
            <a:p>
              <a:pPr defTabSz="896091" fontAlgn="base">
                <a:lnSpc>
                  <a:spcPts val="2745"/>
                </a:lnSpc>
                <a:spcBef>
                  <a:spcPct val="0"/>
                </a:spcBef>
                <a:spcAft>
                  <a:spcPct val="0"/>
                </a:spcAft>
              </a:pPr>
              <a:r>
                <a:rPr lang="en-US" sz="2745" spc="-49" dirty="0">
                  <a:gradFill>
                    <a:gsLst>
                      <a:gs pos="0">
                        <a:srgbClr val="FFFFFF"/>
                      </a:gs>
                      <a:gs pos="59000">
                        <a:srgbClr val="FFFFFF"/>
                      </a:gs>
                    </a:gsLst>
                    <a:lin ang="5400000" scaled="1"/>
                  </a:gradFill>
                  <a:latin typeface="Segoe UI Light"/>
                  <a:cs typeface="Segoe UI Light"/>
                </a:rPr>
                <a:t>Hybrid</a:t>
              </a:r>
              <a:br>
                <a:rPr lang="en-US" sz="2745" spc="-49" dirty="0">
                  <a:gradFill>
                    <a:gsLst>
                      <a:gs pos="0">
                        <a:srgbClr val="FFFFFF"/>
                      </a:gs>
                      <a:gs pos="59000">
                        <a:srgbClr val="FFFFFF"/>
                      </a:gs>
                    </a:gsLst>
                    <a:lin ang="5400000" scaled="1"/>
                  </a:gradFill>
                  <a:latin typeface="Segoe UI Light"/>
                  <a:cs typeface="Segoe UI Light"/>
                </a:rPr>
              </a:br>
              <a:r>
                <a:rPr lang="en-US" sz="2745" spc="-49" dirty="0">
                  <a:gradFill>
                    <a:gsLst>
                      <a:gs pos="0">
                        <a:srgbClr val="FFFFFF"/>
                      </a:gs>
                      <a:gs pos="59000">
                        <a:srgbClr val="FFFFFF"/>
                      </a:gs>
                    </a:gsLst>
                    <a:lin ang="5400000" scaled="1"/>
                  </a:gradFill>
                  <a:latin typeface="Segoe UI Light"/>
                  <a:cs typeface="Segoe UI Light"/>
                </a:rPr>
                <a:t>networking</a:t>
              </a:r>
            </a:p>
          </p:txBody>
        </p:sp>
      </p:grpSp>
      <p:grpSp>
        <p:nvGrpSpPr>
          <p:cNvPr id="112" name="Group 111"/>
          <p:cNvGrpSpPr/>
          <p:nvPr/>
        </p:nvGrpSpPr>
        <p:grpSpPr>
          <a:xfrm>
            <a:off x="8253200" y="4454917"/>
            <a:ext cx="3178731" cy="2045183"/>
            <a:chOff x="4071978" y="1929296"/>
            <a:chExt cx="3355441" cy="2158878"/>
          </a:xfrm>
        </p:grpSpPr>
        <p:sp>
          <p:nvSpPr>
            <p:cNvPr id="113" name="Oval 60"/>
            <p:cNvSpPr/>
            <p:nvPr/>
          </p:nvSpPr>
          <p:spPr bwMode="auto">
            <a:xfrm>
              <a:off x="4071978" y="1929296"/>
              <a:ext cx="3355441" cy="2158878"/>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68217A"/>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p:cNvSpPr/>
            <p:nvPr/>
          </p:nvSpPr>
          <p:spPr>
            <a:xfrm>
              <a:off x="4592091" y="3086130"/>
              <a:ext cx="2835327" cy="838716"/>
            </a:xfrm>
            <a:prstGeom prst="rect">
              <a:avLst/>
            </a:prstGeom>
            <a:ln>
              <a:noFill/>
            </a:ln>
          </p:spPr>
          <p:txBody>
            <a:bodyPr wrap="square">
              <a:spAutoFit/>
            </a:bodyPr>
            <a:lstStyle/>
            <a:p>
              <a:pPr defTabSz="896091" fontAlgn="base">
                <a:lnSpc>
                  <a:spcPts val="2745"/>
                </a:lnSpc>
                <a:spcBef>
                  <a:spcPct val="0"/>
                </a:spcBef>
                <a:spcAft>
                  <a:spcPct val="0"/>
                </a:spcAft>
              </a:pPr>
              <a:r>
                <a:rPr lang="en-US" sz="2745" spc="-49" dirty="0">
                  <a:gradFill>
                    <a:gsLst>
                      <a:gs pos="0">
                        <a:srgbClr val="FFFFFF"/>
                      </a:gs>
                      <a:gs pos="59000">
                        <a:srgbClr val="FFFFFF"/>
                      </a:gs>
                    </a:gsLst>
                    <a:lin ang="5400000" scaled="1"/>
                  </a:gradFill>
                  <a:latin typeface="Segoe UI Light"/>
                  <a:cs typeface="Segoe UI Light"/>
                </a:rPr>
                <a:t>Hybrid</a:t>
              </a:r>
              <a:br>
                <a:rPr lang="en-US" sz="2745" spc="-49" dirty="0">
                  <a:gradFill>
                    <a:gsLst>
                      <a:gs pos="0">
                        <a:srgbClr val="FFFFFF"/>
                      </a:gs>
                      <a:gs pos="59000">
                        <a:srgbClr val="FFFFFF"/>
                      </a:gs>
                    </a:gsLst>
                    <a:lin ang="5400000" scaled="1"/>
                  </a:gradFill>
                  <a:latin typeface="Segoe UI Light"/>
                  <a:cs typeface="Segoe UI Light"/>
                </a:rPr>
              </a:br>
              <a:r>
                <a:rPr lang="en-US" sz="2745" spc="-49" dirty="0">
                  <a:gradFill>
                    <a:gsLst>
                      <a:gs pos="0">
                        <a:srgbClr val="FFFFFF"/>
                      </a:gs>
                      <a:gs pos="59000">
                        <a:srgbClr val="FFFFFF"/>
                      </a:gs>
                    </a:gsLst>
                    <a:lin ang="5400000" scaled="1"/>
                  </a:gradFill>
                  <a:latin typeface="Segoe UI Light"/>
                  <a:cs typeface="Segoe UI Light"/>
                </a:rPr>
                <a:t>identity</a:t>
              </a:r>
            </a:p>
          </p:txBody>
        </p:sp>
      </p:grpSp>
      <p:grpSp>
        <p:nvGrpSpPr>
          <p:cNvPr id="115" name="Group 114"/>
          <p:cNvGrpSpPr/>
          <p:nvPr/>
        </p:nvGrpSpPr>
        <p:grpSpPr>
          <a:xfrm>
            <a:off x="7622338" y="2138629"/>
            <a:ext cx="3178731" cy="2045183"/>
            <a:chOff x="4071978" y="1929296"/>
            <a:chExt cx="3355441" cy="2158878"/>
          </a:xfrm>
        </p:grpSpPr>
        <p:sp>
          <p:nvSpPr>
            <p:cNvPr id="116" name="Oval 60"/>
            <p:cNvSpPr/>
            <p:nvPr/>
          </p:nvSpPr>
          <p:spPr bwMode="auto">
            <a:xfrm>
              <a:off x="4071978" y="1929296"/>
              <a:ext cx="3355441" cy="2158878"/>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003963"/>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a:xfrm>
              <a:off x="4592092" y="3086130"/>
              <a:ext cx="2640786" cy="838716"/>
            </a:xfrm>
            <a:prstGeom prst="rect">
              <a:avLst/>
            </a:prstGeom>
            <a:ln>
              <a:noFill/>
            </a:ln>
          </p:spPr>
          <p:txBody>
            <a:bodyPr wrap="square">
              <a:spAutoFit/>
            </a:bodyPr>
            <a:lstStyle/>
            <a:p>
              <a:pPr defTabSz="896091" fontAlgn="base">
                <a:lnSpc>
                  <a:spcPts val="2745"/>
                </a:lnSpc>
                <a:spcBef>
                  <a:spcPct val="0"/>
                </a:spcBef>
                <a:spcAft>
                  <a:spcPct val="0"/>
                </a:spcAft>
              </a:pPr>
              <a:r>
                <a:rPr lang="en-US" sz="2745" spc="-49" dirty="0">
                  <a:gradFill>
                    <a:gsLst>
                      <a:gs pos="0">
                        <a:srgbClr val="FFFFFF"/>
                      </a:gs>
                      <a:gs pos="59000">
                        <a:srgbClr val="FFFFFF"/>
                      </a:gs>
                    </a:gsLst>
                    <a:lin ang="5400000" scaled="1"/>
                  </a:gradFill>
                  <a:latin typeface="Segoe UI Light"/>
                  <a:cs typeface="Segoe UI Light"/>
                </a:rPr>
                <a:t>Microsoft Azure</a:t>
              </a:r>
              <a:br>
                <a:rPr lang="en-US" sz="2745" spc="-49" dirty="0">
                  <a:gradFill>
                    <a:gsLst>
                      <a:gs pos="0">
                        <a:srgbClr val="FFFFFF"/>
                      </a:gs>
                      <a:gs pos="59000">
                        <a:srgbClr val="FFFFFF"/>
                      </a:gs>
                    </a:gsLst>
                    <a:lin ang="5400000" scaled="1"/>
                  </a:gradFill>
                  <a:latin typeface="Segoe UI Light"/>
                  <a:cs typeface="Segoe UI Light"/>
                </a:rPr>
              </a:br>
              <a:r>
                <a:rPr lang="en-US" sz="2745" spc="-49" dirty="0" err="1">
                  <a:gradFill>
                    <a:gsLst>
                      <a:gs pos="0">
                        <a:srgbClr val="FFFFFF"/>
                      </a:gs>
                      <a:gs pos="59000">
                        <a:srgbClr val="FFFFFF"/>
                      </a:gs>
                    </a:gsLst>
                    <a:lin ang="5400000" scaled="1"/>
                  </a:gradFill>
                  <a:latin typeface="Segoe UI Light"/>
                  <a:cs typeface="Segoe UI Light"/>
                </a:rPr>
                <a:t>IaaS</a:t>
              </a:r>
              <a:endParaRPr lang="en-US" sz="2745" spc="-49" dirty="0">
                <a:gradFill>
                  <a:gsLst>
                    <a:gs pos="0">
                      <a:srgbClr val="FFFFFF"/>
                    </a:gs>
                    <a:gs pos="59000">
                      <a:srgbClr val="FFFFFF"/>
                    </a:gs>
                  </a:gsLst>
                  <a:lin ang="5400000" scaled="1"/>
                </a:gradFill>
                <a:latin typeface="Segoe UI Light"/>
                <a:cs typeface="Segoe UI Light"/>
              </a:endParaRPr>
            </a:p>
          </p:txBody>
        </p:sp>
      </p:grpSp>
    </p:spTree>
    <p:extLst>
      <p:ext uri="{BB962C8B-B14F-4D97-AF65-F5344CB8AC3E}">
        <p14:creationId xmlns:p14="http://schemas.microsoft.com/office/powerpoint/2010/main" val="4484308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wheel(1)">
                                      <p:cBhvr>
                                        <p:cTn id="7" dur="1500"/>
                                        <p:tgtEl>
                                          <p:spTgt spid="78"/>
                                        </p:tgtEl>
                                      </p:cBhvr>
                                    </p:animEffect>
                                  </p:childTnLst>
                                </p:cTn>
                              </p:par>
                              <p:par>
                                <p:cTn id="8" presetID="10" presetClass="entr" presetSubtype="0" fill="hold" nodeType="withEffect">
                                  <p:stCondLst>
                                    <p:cond delay="250"/>
                                  </p:stCondLst>
                                  <p:childTnLst>
                                    <p:set>
                                      <p:cBhvr>
                                        <p:cTn id="9" dur="1" fill="hold">
                                          <p:stCondLst>
                                            <p:cond delay="0"/>
                                          </p:stCondLst>
                                        </p:cTn>
                                        <p:tgtEl>
                                          <p:spTgt spid="101"/>
                                        </p:tgtEl>
                                        <p:attrNameLst>
                                          <p:attrName>style.visibility</p:attrName>
                                        </p:attrNameLst>
                                      </p:cBhvr>
                                      <p:to>
                                        <p:strVal val="visible"/>
                                      </p:to>
                                    </p:set>
                                    <p:animEffect transition="in" filter="fade">
                                      <p:cBhvr>
                                        <p:cTn id="10" dur="500"/>
                                        <p:tgtEl>
                                          <p:spTgt spid="101"/>
                                        </p:tgtEl>
                                      </p:cBhvr>
                                    </p:animEffect>
                                  </p:childTnLst>
                                </p:cTn>
                              </p:par>
                              <p:par>
                                <p:cTn id="11" presetID="10" presetClass="entr" presetSubtype="0" fill="hold" nodeType="withEffect">
                                  <p:stCondLst>
                                    <p:cond delay="500"/>
                                  </p:stCondLst>
                                  <p:childTnLst>
                                    <p:set>
                                      <p:cBhvr>
                                        <p:cTn id="12" dur="1" fill="hold">
                                          <p:stCondLst>
                                            <p:cond delay="0"/>
                                          </p:stCondLst>
                                        </p:cTn>
                                        <p:tgtEl>
                                          <p:spTgt spid="115"/>
                                        </p:tgtEl>
                                        <p:attrNameLst>
                                          <p:attrName>style.visibility</p:attrName>
                                        </p:attrNameLst>
                                      </p:cBhvr>
                                      <p:to>
                                        <p:strVal val="visible"/>
                                      </p:to>
                                    </p:set>
                                    <p:animEffect transition="in" filter="fade">
                                      <p:cBhvr>
                                        <p:cTn id="13" dur="500"/>
                                        <p:tgtEl>
                                          <p:spTgt spid="115"/>
                                        </p:tgtEl>
                                      </p:cBhvr>
                                    </p:animEffect>
                                  </p:childTnLst>
                                </p:cTn>
                              </p:par>
                              <p:par>
                                <p:cTn id="14" presetID="10" presetClass="entr" presetSubtype="0" fill="hold" nodeType="withEffect">
                                  <p:stCondLst>
                                    <p:cond delay="75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nodeType="withEffect">
                                  <p:stCondLst>
                                    <p:cond delay="1000"/>
                                  </p:stCondLst>
                                  <p:childTnLst>
                                    <p:set>
                                      <p:cBhvr>
                                        <p:cTn id="18" dur="1" fill="hold">
                                          <p:stCondLst>
                                            <p:cond delay="0"/>
                                          </p:stCondLst>
                                        </p:cTn>
                                        <p:tgtEl>
                                          <p:spTgt spid="108"/>
                                        </p:tgtEl>
                                        <p:attrNameLst>
                                          <p:attrName>style.visibility</p:attrName>
                                        </p:attrNameLst>
                                      </p:cBhvr>
                                      <p:to>
                                        <p:strVal val="visible"/>
                                      </p:to>
                                    </p:set>
                                    <p:animEffect transition="in" filter="fade">
                                      <p:cBhvr>
                                        <p:cTn id="19" dur="500"/>
                                        <p:tgtEl>
                                          <p:spTgt spid="108"/>
                                        </p:tgtEl>
                                      </p:cBhvr>
                                    </p:animEffect>
                                  </p:childTnLst>
                                </p:cTn>
                              </p:par>
                              <p:par>
                                <p:cTn id="20" presetID="10" presetClass="entr" presetSubtype="0" fill="hold" nodeType="withEffect">
                                  <p:stCondLst>
                                    <p:cond delay="1250"/>
                                  </p:stCondLst>
                                  <p:childTnLst>
                                    <p:set>
                                      <p:cBhvr>
                                        <p:cTn id="21" dur="1" fill="hold">
                                          <p:stCondLst>
                                            <p:cond delay="0"/>
                                          </p:stCondLst>
                                        </p:cTn>
                                        <p:tgtEl>
                                          <p:spTgt spid="105"/>
                                        </p:tgtEl>
                                        <p:attrNameLst>
                                          <p:attrName>style.visibility</p:attrName>
                                        </p:attrNameLst>
                                      </p:cBhvr>
                                      <p:to>
                                        <p:strVal val="visible"/>
                                      </p:to>
                                    </p:set>
                                    <p:animEffect transition="in" filter="fade">
                                      <p:cBhvr>
                                        <p:cTn id="22" dur="500"/>
                                        <p:tgtEl>
                                          <p:spTgt spid="105"/>
                                        </p:tgtEl>
                                      </p:cBhvr>
                                    </p:animEffect>
                                  </p:childTnLst>
                                </p:cTn>
                              </p:par>
                              <p:par>
                                <p:cTn id="23" presetID="10" presetClass="entr" presetSubtype="0" fill="hold" nodeType="withEffect">
                                  <p:stCondLst>
                                    <p:cond delay="1500"/>
                                  </p:stCondLst>
                                  <p:childTnLst>
                                    <p:set>
                                      <p:cBhvr>
                                        <p:cTn id="24" dur="1" fill="hold">
                                          <p:stCondLst>
                                            <p:cond delay="0"/>
                                          </p:stCondLst>
                                        </p:cTn>
                                        <p:tgtEl>
                                          <p:spTgt spid="102"/>
                                        </p:tgtEl>
                                        <p:attrNameLst>
                                          <p:attrName>style.visibility</p:attrName>
                                        </p:attrNameLst>
                                      </p:cBhvr>
                                      <p:to>
                                        <p:strVal val="visible"/>
                                      </p:to>
                                    </p:set>
                                    <p:animEffect transition="in" filter="fade">
                                      <p:cBhvr>
                                        <p:cTn id="25"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p:cNvSpPr txBox="1"/>
          <p:nvPr/>
        </p:nvSpPr>
        <p:spPr>
          <a:xfrm>
            <a:off x="269240" y="291514"/>
            <a:ext cx="11653522" cy="6274973"/>
          </a:xfrm>
          <a:prstGeom prst="rect">
            <a:avLst/>
          </a:prstGeom>
          <a:solidFill>
            <a:srgbClr val="0072C6"/>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sp>
        <p:nvSpPr>
          <p:cNvPr id="58" name="Freeform 1718"/>
          <p:cNvSpPr>
            <a:spLocks noEditPoints="1"/>
          </p:cNvSpPr>
          <p:nvPr/>
        </p:nvSpPr>
        <p:spPr bwMode="auto">
          <a:xfrm>
            <a:off x="947968" y="1662388"/>
            <a:ext cx="9521694" cy="4843800"/>
          </a:xfrm>
          <a:custGeom>
            <a:avLst/>
            <a:gdLst>
              <a:gd name="T0" fmla="*/ 1521 w 2475"/>
              <a:gd name="T1" fmla="*/ 81 h 1258"/>
              <a:gd name="T2" fmla="*/ 1596 w 2475"/>
              <a:gd name="T3" fmla="*/ 196 h 1258"/>
              <a:gd name="T4" fmla="*/ 1981 w 2475"/>
              <a:gd name="T5" fmla="*/ 64 h 1258"/>
              <a:gd name="T6" fmla="*/ 1759 w 2475"/>
              <a:gd name="T7" fmla="*/ 80 h 1258"/>
              <a:gd name="T8" fmla="*/ 1411 w 2475"/>
              <a:gd name="T9" fmla="*/ 143 h 1258"/>
              <a:gd name="T10" fmla="*/ 2179 w 2475"/>
              <a:gd name="T11" fmla="*/ 552 h 1258"/>
              <a:gd name="T12" fmla="*/ 2342 w 2475"/>
              <a:gd name="T13" fmla="*/ 858 h 1258"/>
              <a:gd name="T14" fmla="*/ 2267 w 2475"/>
              <a:gd name="T15" fmla="*/ 831 h 1258"/>
              <a:gd name="T16" fmla="*/ 2108 w 2475"/>
              <a:gd name="T17" fmla="*/ 702 h 1258"/>
              <a:gd name="T18" fmla="*/ 2123 w 2475"/>
              <a:gd name="T19" fmla="*/ 867 h 1258"/>
              <a:gd name="T20" fmla="*/ 2102 w 2475"/>
              <a:gd name="T21" fmla="*/ 805 h 1258"/>
              <a:gd name="T22" fmla="*/ 1899 w 2475"/>
              <a:gd name="T23" fmla="*/ 655 h 1258"/>
              <a:gd name="T24" fmla="*/ 1547 w 2475"/>
              <a:gd name="T25" fmla="*/ 614 h 1258"/>
              <a:gd name="T26" fmla="*/ 1264 w 2475"/>
              <a:gd name="T27" fmla="*/ 740 h 1258"/>
              <a:gd name="T28" fmla="*/ 1526 w 2475"/>
              <a:gd name="T29" fmla="*/ 480 h 1258"/>
              <a:gd name="T30" fmla="*/ 1337 w 2475"/>
              <a:gd name="T31" fmla="*/ 465 h 1258"/>
              <a:gd name="T32" fmla="*/ 1421 w 2475"/>
              <a:gd name="T33" fmla="*/ 406 h 1258"/>
              <a:gd name="T34" fmla="*/ 1472 w 2475"/>
              <a:gd name="T35" fmla="*/ 241 h 1258"/>
              <a:gd name="T36" fmla="*/ 1695 w 2475"/>
              <a:gd name="T37" fmla="*/ 221 h 1258"/>
              <a:gd name="T38" fmla="*/ 1836 w 2475"/>
              <a:gd name="T39" fmla="*/ 91 h 1258"/>
              <a:gd name="T40" fmla="*/ 2188 w 2475"/>
              <a:gd name="T41" fmla="*/ 94 h 1258"/>
              <a:gd name="T42" fmla="*/ 2250 w 2475"/>
              <a:gd name="T43" fmla="*/ 373 h 1258"/>
              <a:gd name="T44" fmla="*/ 2103 w 2475"/>
              <a:gd name="T45" fmla="*/ 524 h 1258"/>
              <a:gd name="T46" fmla="*/ 1978 w 2475"/>
              <a:gd name="T47" fmla="*/ 747 h 1258"/>
              <a:gd name="T48" fmla="*/ 1397 w 2475"/>
              <a:gd name="T49" fmla="*/ 410 h 1258"/>
              <a:gd name="T50" fmla="*/ 1465 w 2475"/>
              <a:gd name="T51" fmla="*/ 377 h 1258"/>
              <a:gd name="T52" fmla="*/ 1325 w 2475"/>
              <a:gd name="T53" fmla="*/ 451 h 1258"/>
              <a:gd name="T54" fmla="*/ 1507 w 2475"/>
              <a:gd name="T55" fmla="*/ 555 h 1258"/>
              <a:gd name="T56" fmla="*/ 2234 w 2475"/>
              <a:gd name="T57" fmla="*/ 1114 h 1258"/>
              <a:gd name="T58" fmla="*/ 2057 w 2475"/>
              <a:gd name="T59" fmla="*/ 951 h 1258"/>
              <a:gd name="T60" fmla="*/ 2413 w 2475"/>
              <a:gd name="T61" fmla="*/ 1091 h 1258"/>
              <a:gd name="T62" fmla="*/ 958 w 2475"/>
              <a:gd name="T63" fmla="*/ 688 h 1258"/>
              <a:gd name="T64" fmla="*/ 1269 w 2475"/>
              <a:gd name="T65" fmla="*/ 123 h 1258"/>
              <a:gd name="T66" fmla="*/ 1098 w 2475"/>
              <a:gd name="T67" fmla="*/ 344 h 1258"/>
              <a:gd name="T68" fmla="*/ 1086 w 2475"/>
              <a:gd name="T69" fmla="*/ 204 h 1258"/>
              <a:gd name="T70" fmla="*/ 1184 w 2475"/>
              <a:gd name="T71" fmla="*/ 28 h 1258"/>
              <a:gd name="T72" fmla="*/ 1261 w 2475"/>
              <a:gd name="T73" fmla="*/ 148 h 1258"/>
              <a:gd name="T74" fmla="*/ 1089 w 2475"/>
              <a:gd name="T75" fmla="*/ 213 h 1258"/>
              <a:gd name="T76" fmla="*/ 595 w 2475"/>
              <a:gd name="T77" fmla="*/ 336 h 1258"/>
              <a:gd name="T78" fmla="*/ 887 w 2475"/>
              <a:gd name="T79" fmla="*/ 643 h 1258"/>
              <a:gd name="T80" fmla="*/ 859 w 2475"/>
              <a:gd name="T81" fmla="*/ 143 h 1258"/>
              <a:gd name="T82" fmla="*/ 869 w 2475"/>
              <a:gd name="T83" fmla="*/ 216 h 1258"/>
              <a:gd name="T84" fmla="*/ 962 w 2475"/>
              <a:gd name="T85" fmla="*/ 220 h 1258"/>
              <a:gd name="T86" fmla="*/ 1006 w 2475"/>
              <a:gd name="T87" fmla="*/ 232 h 1258"/>
              <a:gd name="T88" fmla="*/ 963 w 2475"/>
              <a:gd name="T89" fmla="*/ 61 h 1258"/>
              <a:gd name="T90" fmla="*/ 612 w 2475"/>
              <a:gd name="T91" fmla="*/ 372 h 1258"/>
              <a:gd name="T92" fmla="*/ 1019 w 2475"/>
              <a:gd name="T93" fmla="*/ 19 h 1258"/>
              <a:gd name="T94" fmla="*/ 979 w 2475"/>
              <a:gd name="T95" fmla="*/ 120 h 1258"/>
              <a:gd name="T96" fmla="*/ 930 w 2475"/>
              <a:gd name="T97" fmla="*/ 314 h 1258"/>
              <a:gd name="T98" fmla="*/ 887 w 2475"/>
              <a:gd name="T99" fmla="*/ 146 h 1258"/>
              <a:gd name="T100" fmla="*/ 820 w 2475"/>
              <a:gd name="T101" fmla="*/ 79 h 1258"/>
              <a:gd name="T102" fmla="*/ 749 w 2475"/>
              <a:gd name="T103" fmla="*/ 617 h 1258"/>
              <a:gd name="T104" fmla="*/ 932 w 2475"/>
              <a:gd name="T105" fmla="*/ 1186 h 1258"/>
              <a:gd name="T106" fmla="*/ 781 w 2475"/>
              <a:gd name="T107" fmla="*/ 711 h 1258"/>
              <a:gd name="T108" fmla="*/ 617 w 2475"/>
              <a:gd name="T109" fmla="*/ 387 h 1258"/>
              <a:gd name="T110" fmla="*/ 427 w 2475"/>
              <a:gd name="T111" fmla="*/ 321 h 1258"/>
              <a:gd name="T112" fmla="*/ 625 w 2475"/>
              <a:gd name="T113" fmla="*/ 136 h 1258"/>
              <a:gd name="T114" fmla="*/ 873 w 2475"/>
              <a:gd name="T115" fmla="*/ 211 h 1258"/>
              <a:gd name="T116" fmla="*/ 898 w 2475"/>
              <a:gd name="T117" fmla="*/ 403 h 1258"/>
              <a:gd name="T118" fmla="*/ 981 w 2475"/>
              <a:gd name="T119" fmla="*/ 487 h 1258"/>
              <a:gd name="T120" fmla="*/ 803 w 2475"/>
              <a:gd name="T121" fmla="*/ 675 h 1258"/>
              <a:gd name="T122" fmla="*/ 947 w 2475"/>
              <a:gd name="T123" fmla="*/ 728 h 1258"/>
              <a:gd name="T124" fmla="*/ 970 w 2475"/>
              <a:gd name="T125" fmla="*/ 121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75" h="1258">
                <a:moveTo>
                  <a:pt x="1627" y="880"/>
                </a:moveTo>
                <a:cubicBezTo>
                  <a:pt x="1628" y="881"/>
                  <a:pt x="1628" y="881"/>
                  <a:pt x="1628" y="881"/>
                </a:cubicBezTo>
                <a:cubicBezTo>
                  <a:pt x="1627" y="883"/>
                  <a:pt x="1627" y="883"/>
                  <a:pt x="1627" y="883"/>
                </a:cubicBezTo>
                <a:cubicBezTo>
                  <a:pt x="1627" y="882"/>
                  <a:pt x="1627" y="882"/>
                  <a:pt x="1627" y="882"/>
                </a:cubicBezTo>
                <a:cubicBezTo>
                  <a:pt x="1627" y="881"/>
                  <a:pt x="1627" y="881"/>
                  <a:pt x="1627" y="881"/>
                </a:cubicBezTo>
                <a:cubicBezTo>
                  <a:pt x="1627" y="880"/>
                  <a:pt x="1627" y="880"/>
                  <a:pt x="1627" y="880"/>
                </a:cubicBezTo>
                <a:close/>
                <a:moveTo>
                  <a:pt x="1624" y="878"/>
                </a:moveTo>
                <a:cubicBezTo>
                  <a:pt x="1623" y="876"/>
                  <a:pt x="1623" y="876"/>
                  <a:pt x="1623" y="876"/>
                </a:cubicBezTo>
                <a:cubicBezTo>
                  <a:pt x="1623" y="877"/>
                  <a:pt x="1623" y="877"/>
                  <a:pt x="1623" y="877"/>
                </a:cubicBezTo>
                <a:cubicBezTo>
                  <a:pt x="1622" y="877"/>
                  <a:pt x="1622" y="877"/>
                  <a:pt x="1622" y="877"/>
                </a:cubicBezTo>
                <a:cubicBezTo>
                  <a:pt x="1623" y="878"/>
                  <a:pt x="1623" y="878"/>
                  <a:pt x="1623" y="878"/>
                </a:cubicBezTo>
                <a:cubicBezTo>
                  <a:pt x="1624" y="878"/>
                  <a:pt x="1624" y="878"/>
                  <a:pt x="1624" y="878"/>
                </a:cubicBezTo>
                <a:close/>
                <a:moveTo>
                  <a:pt x="1616" y="871"/>
                </a:moveTo>
                <a:cubicBezTo>
                  <a:pt x="1615" y="871"/>
                  <a:pt x="1615" y="871"/>
                  <a:pt x="1615" y="871"/>
                </a:cubicBezTo>
                <a:cubicBezTo>
                  <a:pt x="1614" y="873"/>
                  <a:pt x="1614" y="873"/>
                  <a:pt x="1614" y="873"/>
                </a:cubicBezTo>
                <a:cubicBezTo>
                  <a:pt x="1615" y="874"/>
                  <a:pt x="1615" y="874"/>
                  <a:pt x="1615" y="874"/>
                </a:cubicBezTo>
                <a:cubicBezTo>
                  <a:pt x="1615" y="875"/>
                  <a:pt x="1615" y="875"/>
                  <a:pt x="1615" y="875"/>
                </a:cubicBezTo>
                <a:cubicBezTo>
                  <a:pt x="1616" y="875"/>
                  <a:pt x="1616" y="875"/>
                  <a:pt x="1616" y="875"/>
                </a:cubicBezTo>
                <a:cubicBezTo>
                  <a:pt x="1617" y="874"/>
                  <a:pt x="1617" y="874"/>
                  <a:pt x="1617" y="874"/>
                </a:cubicBezTo>
                <a:cubicBezTo>
                  <a:pt x="1616" y="873"/>
                  <a:pt x="1616" y="873"/>
                  <a:pt x="1616" y="873"/>
                </a:cubicBezTo>
                <a:cubicBezTo>
                  <a:pt x="1617" y="873"/>
                  <a:pt x="1617" y="873"/>
                  <a:pt x="1617" y="873"/>
                </a:cubicBezTo>
                <a:cubicBezTo>
                  <a:pt x="1616" y="871"/>
                  <a:pt x="1616" y="871"/>
                  <a:pt x="1616" y="871"/>
                </a:cubicBezTo>
                <a:close/>
                <a:moveTo>
                  <a:pt x="1637" y="862"/>
                </a:moveTo>
                <a:cubicBezTo>
                  <a:pt x="1637" y="861"/>
                  <a:pt x="1637" y="861"/>
                  <a:pt x="1637" y="861"/>
                </a:cubicBezTo>
                <a:cubicBezTo>
                  <a:pt x="1636" y="861"/>
                  <a:pt x="1636" y="861"/>
                  <a:pt x="1636" y="861"/>
                </a:cubicBezTo>
                <a:cubicBezTo>
                  <a:pt x="1637" y="862"/>
                  <a:pt x="1637" y="862"/>
                  <a:pt x="1637" y="862"/>
                </a:cubicBezTo>
                <a:close/>
                <a:moveTo>
                  <a:pt x="1693" y="829"/>
                </a:moveTo>
                <a:cubicBezTo>
                  <a:pt x="1693" y="830"/>
                  <a:pt x="1693" y="830"/>
                  <a:pt x="1693" y="830"/>
                </a:cubicBezTo>
                <a:cubicBezTo>
                  <a:pt x="1693" y="831"/>
                  <a:pt x="1693" y="831"/>
                  <a:pt x="1693" y="831"/>
                </a:cubicBezTo>
                <a:cubicBezTo>
                  <a:pt x="1695" y="830"/>
                  <a:pt x="1695" y="830"/>
                  <a:pt x="1695" y="830"/>
                </a:cubicBezTo>
                <a:cubicBezTo>
                  <a:pt x="1694" y="830"/>
                  <a:pt x="1694" y="830"/>
                  <a:pt x="1694" y="830"/>
                </a:cubicBezTo>
                <a:cubicBezTo>
                  <a:pt x="1693" y="829"/>
                  <a:pt x="1693" y="829"/>
                  <a:pt x="1693" y="829"/>
                </a:cubicBezTo>
                <a:close/>
                <a:moveTo>
                  <a:pt x="1636" y="858"/>
                </a:moveTo>
                <a:cubicBezTo>
                  <a:pt x="1635" y="859"/>
                  <a:pt x="1635" y="859"/>
                  <a:pt x="1635" y="859"/>
                </a:cubicBezTo>
                <a:cubicBezTo>
                  <a:pt x="1636" y="859"/>
                  <a:pt x="1636" y="859"/>
                  <a:pt x="1636" y="859"/>
                </a:cubicBezTo>
                <a:cubicBezTo>
                  <a:pt x="1637" y="859"/>
                  <a:pt x="1637" y="859"/>
                  <a:pt x="1637" y="859"/>
                </a:cubicBezTo>
                <a:cubicBezTo>
                  <a:pt x="1636" y="858"/>
                  <a:pt x="1636" y="858"/>
                  <a:pt x="1636" y="858"/>
                </a:cubicBezTo>
                <a:close/>
                <a:moveTo>
                  <a:pt x="1930" y="741"/>
                </a:moveTo>
                <a:cubicBezTo>
                  <a:pt x="1930" y="740"/>
                  <a:pt x="1930" y="740"/>
                  <a:pt x="1930" y="740"/>
                </a:cubicBezTo>
                <a:cubicBezTo>
                  <a:pt x="1929" y="741"/>
                  <a:pt x="1929" y="741"/>
                  <a:pt x="1929" y="741"/>
                </a:cubicBezTo>
                <a:cubicBezTo>
                  <a:pt x="1930" y="741"/>
                  <a:pt x="1930" y="741"/>
                  <a:pt x="1930" y="741"/>
                </a:cubicBezTo>
                <a:close/>
                <a:moveTo>
                  <a:pt x="1928" y="727"/>
                </a:moveTo>
                <a:cubicBezTo>
                  <a:pt x="1928" y="725"/>
                  <a:pt x="1928" y="725"/>
                  <a:pt x="1928" y="725"/>
                </a:cubicBezTo>
                <a:cubicBezTo>
                  <a:pt x="1927" y="726"/>
                  <a:pt x="1927" y="726"/>
                  <a:pt x="1927" y="726"/>
                </a:cubicBezTo>
                <a:cubicBezTo>
                  <a:pt x="1928" y="727"/>
                  <a:pt x="1928" y="727"/>
                  <a:pt x="1928" y="727"/>
                </a:cubicBezTo>
                <a:close/>
                <a:moveTo>
                  <a:pt x="1929" y="720"/>
                </a:moveTo>
                <a:cubicBezTo>
                  <a:pt x="1927" y="721"/>
                  <a:pt x="1927" y="721"/>
                  <a:pt x="1927" y="721"/>
                </a:cubicBezTo>
                <a:cubicBezTo>
                  <a:pt x="1927" y="723"/>
                  <a:pt x="1927" y="723"/>
                  <a:pt x="1927" y="723"/>
                </a:cubicBezTo>
                <a:cubicBezTo>
                  <a:pt x="1927" y="724"/>
                  <a:pt x="1927" y="724"/>
                  <a:pt x="1927" y="724"/>
                </a:cubicBezTo>
                <a:cubicBezTo>
                  <a:pt x="1928" y="725"/>
                  <a:pt x="1928" y="725"/>
                  <a:pt x="1928" y="725"/>
                </a:cubicBezTo>
                <a:cubicBezTo>
                  <a:pt x="1928" y="724"/>
                  <a:pt x="1928" y="724"/>
                  <a:pt x="1928" y="724"/>
                </a:cubicBezTo>
                <a:cubicBezTo>
                  <a:pt x="1928" y="723"/>
                  <a:pt x="1928" y="723"/>
                  <a:pt x="1928" y="723"/>
                </a:cubicBezTo>
                <a:cubicBezTo>
                  <a:pt x="1928" y="722"/>
                  <a:pt x="1928" y="722"/>
                  <a:pt x="1928" y="722"/>
                </a:cubicBezTo>
                <a:cubicBezTo>
                  <a:pt x="1929" y="721"/>
                  <a:pt x="1929" y="721"/>
                  <a:pt x="1929" y="721"/>
                </a:cubicBezTo>
                <a:cubicBezTo>
                  <a:pt x="1929" y="720"/>
                  <a:pt x="1929" y="720"/>
                  <a:pt x="1929" y="720"/>
                </a:cubicBezTo>
                <a:close/>
                <a:moveTo>
                  <a:pt x="1925" y="725"/>
                </a:moveTo>
                <a:cubicBezTo>
                  <a:pt x="1924" y="726"/>
                  <a:pt x="1924" y="726"/>
                  <a:pt x="1924" y="726"/>
                </a:cubicBezTo>
                <a:cubicBezTo>
                  <a:pt x="1926" y="726"/>
                  <a:pt x="1926" y="726"/>
                  <a:pt x="1926" y="726"/>
                </a:cubicBezTo>
                <a:cubicBezTo>
                  <a:pt x="1925" y="725"/>
                  <a:pt x="1925" y="725"/>
                  <a:pt x="1925" y="725"/>
                </a:cubicBezTo>
                <a:close/>
                <a:moveTo>
                  <a:pt x="1929" y="711"/>
                </a:moveTo>
                <a:cubicBezTo>
                  <a:pt x="1928" y="713"/>
                  <a:pt x="1928" y="713"/>
                  <a:pt x="1928" y="713"/>
                </a:cubicBezTo>
                <a:cubicBezTo>
                  <a:pt x="1928" y="715"/>
                  <a:pt x="1928" y="715"/>
                  <a:pt x="1928" y="715"/>
                </a:cubicBezTo>
                <a:cubicBezTo>
                  <a:pt x="1928" y="716"/>
                  <a:pt x="1928" y="716"/>
                  <a:pt x="1928" y="716"/>
                </a:cubicBezTo>
                <a:cubicBezTo>
                  <a:pt x="1928" y="719"/>
                  <a:pt x="1928" y="719"/>
                  <a:pt x="1928" y="719"/>
                </a:cubicBezTo>
                <a:cubicBezTo>
                  <a:pt x="1928" y="720"/>
                  <a:pt x="1928" y="720"/>
                  <a:pt x="1928" y="720"/>
                </a:cubicBezTo>
                <a:cubicBezTo>
                  <a:pt x="1930" y="719"/>
                  <a:pt x="1930" y="719"/>
                  <a:pt x="1930" y="719"/>
                </a:cubicBezTo>
                <a:cubicBezTo>
                  <a:pt x="1930" y="717"/>
                  <a:pt x="1930" y="717"/>
                  <a:pt x="1930" y="717"/>
                </a:cubicBezTo>
                <a:cubicBezTo>
                  <a:pt x="1929" y="716"/>
                  <a:pt x="1929" y="716"/>
                  <a:pt x="1929" y="716"/>
                </a:cubicBezTo>
                <a:cubicBezTo>
                  <a:pt x="1930" y="715"/>
                  <a:pt x="1930" y="715"/>
                  <a:pt x="1930" y="715"/>
                </a:cubicBezTo>
                <a:cubicBezTo>
                  <a:pt x="1930" y="714"/>
                  <a:pt x="1930" y="714"/>
                  <a:pt x="1930" y="714"/>
                </a:cubicBezTo>
                <a:cubicBezTo>
                  <a:pt x="1929" y="713"/>
                  <a:pt x="1929" y="713"/>
                  <a:pt x="1929" y="713"/>
                </a:cubicBezTo>
                <a:cubicBezTo>
                  <a:pt x="1930" y="712"/>
                  <a:pt x="1930" y="712"/>
                  <a:pt x="1930" y="712"/>
                </a:cubicBezTo>
                <a:cubicBezTo>
                  <a:pt x="1929" y="711"/>
                  <a:pt x="1929" y="711"/>
                  <a:pt x="1929" y="711"/>
                </a:cubicBezTo>
                <a:close/>
                <a:moveTo>
                  <a:pt x="1937" y="752"/>
                </a:moveTo>
                <a:cubicBezTo>
                  <a:pt x="1936" y="752"/>
                  <a:pt x="1936" y="752"/>
                  <a:pt x="1936" y="752"/>
                </a:cubicBezTo>
                <a:cubicBezTo>
                  <a:pt x="1935" y="752"/>
                  <a:pt x="1935" y="752"/>
                  <a:pt x="1935" y="752"/>
                </a:cubicBezTo>
                <a:cubicBezTo>
                  <a:pt x="1936" y="753"/>
                  <a:pt x="1936" y="753"/>
                  <a:pt x="1936" y="753"/>
                </a:cubicBezTo>
                <a:cubicBezTo>
                  <a:pt x="1937" y="752"/>
                  <a:pt x="1937" y="752"/>
                  <a:pt x="1937" y="752"/>
                </a:cubicBezTo>
                <a:close/>
                <a:moveTo>
                  <a:pt x="1926" y="732"/>
                </a:moveTo>
                <a:cubicBezTo>
                  <a:pt x="1926" y="733"/>
                  <a:pt x="1926" y="733"/>
                  <a:pt x="1926" y="733"/>
                </a:cubicBezTo>
                <a:cubicBezTo>
                  <a:pt x="1928" y="733"/>
                  <a:pt x="1928" y="733"/>
                  <a:pt x="1928" y="733"/>
                </a:cubicBezTo>
                <a:cubicBezTo>
                  <a:pt x="1928" y="731"/>
                  <a:pt x="1928" y="731"/>
                  <a:pt x="1928" y="731"/>
                </a:cubicBezTo>
                <a:cubicBezTo>
                  <a:pt x="1928" y="730"/>
                  <a:pt x="1928" y="730"/>
                  <a:pt x="1928" y="730"/>
                </a:cubicBezTo>
                <a:cubicBezTo>
                  <a:pt x="1927" y="730"/>
                  <a:pt x="1927" y="730"/>
                  <a:pt x="1927" y="730"/>
                </a:cubicBezTo>
                <a:cubicBezTo>
                  <a:pt x="1926" y="732"/>
                  <a:pt x="1926" y="732"/>
                  <a:pt x="1926" y="732"/>
                </a:cubicBezTo>
                <a:close/>
                <a:moveTo>
                  <a:pt x="1935" y="747"/>
                </a:moveTo>
                <a:cubicBezTo>
                  <a:pt x="1935" y="746"/>
                  <a:pt x="1935" y="746"/>
                  <a:pt x="1935" y="746"/>
                </a:cubicBezTo>
                <a:cubicBezTo>
                  <a:pt x="1934" y="747"/>
                  <a:pt x="1934" y="747"/>
                  <a:pt x="1934" y="747"/>
                </a:cubicBezTo>
                <a:cubicBezTo>
                  <a:pt x="1935" y="748"/>
                  <a:pt x="1935" y="748"/>
                  <a:pt x="1935" y="748"/>
                </a:cubicBezTo>
                <a:cubicBezTo>
                  <a:pt x="1935" y="747"/>
                  <a:pt x="1935" y="747"/>
                  <a:pt x="1935" y="747"/>
                </a:cubicBezTo>
                <a:close/>
                <a:moveTo>
                  <a:pt x="1934" y="748"/>
                </a:moveTo>
                <a:cubicBezTo>
                  <a:pt x="1933" y="749"/>
                  <a:pt x="1933" y="749"/>
                  <a:pt x="1933" y="749"/>
                </a:cubicBezTo>
                <a:cubicBezTo>
                  <a:pt x="1933" y="750"/>
                  <a:pt x="1933" y="750"/>
                  <a:pt x="1933" y="750"/>
                </a:cubicBezTo>
                <a:cubicBezTo>
                  <a:pt x="1934" y="750"/>
                  <a:pt x="1934" y="750"/>
                  <a:pt x="1934" y="750"/>
                </a:cubicBezTo>
                <a:cubicBezTo>
                  <a:pt x="1935" y="750"/>
                  <a:pt x="1935" y="750"/>
                  <a:pt x="1935" y="750"/>
                </a:cubicBezTo>
                <a:cubicBezTo>
                  <a:pt x="1934" y="748"/>
                  <a:pt x="1934" y="748"/>
                  <a:pt x="1934" y="748"/>
                </a:cubicBezTo>
                <a:close/>
                <a:moveTo>
                  <a:pt x="1937" y="754"/>
                </a:moveTo>
                <a:cubicBezTo>
                  <a:pt x="1937" y="753"/>
                  <a:pt x="1937" y="753"/>
                  <a:pt x="1937" y="753"/>
                </a:cubicBezTo>
                <a:cubicBezTo>
                  <a:pt x="1936" y="754"/>
                  <a:pt x="1936" y="754"/>
                  <a:pt x="1936" y="754"/>
                </a:cubicBezTo>
                <a:cubicBezTo>
                  <a:pt x="1936" y="755"/>
                  <a:pt x="1936" y="755"/>
                  <a:pt x="1936" y="755"/>
                </a:cubicBezTo>
                <a:cubicBezTo>
                  <a:pt x="1936" y="755"/>
                  <a:pt x="1936" y="755"/>
                  <a:pt x="1936" y="756"/>
                </a:cubicBezTo>
                <a:cubicBezTo>
                  <a:pt x="1937" y="757"/>
                  <a:pt x="1937" y="757"/>
                  <a:pt x="1937" y="757"/>
                </a:cubicBezTo>
                <a:cubicBezTo>
                  <a:pt x="1938" y="756"/>
                  <a:pt x="1938" y="756"/>
                  <a:pt x="1938" y="756"/>
                </a:cubicBezTo>
                <a:cubicBezTo>
                  <a:pt x="1937" y="755"/>
                  <a:pt x="1937" y="755"/>
                  <a:pt x="1937" y="755"/>
                </a:cubicBezTo>
                <a:cubicBezTo>
                  <a:pt x="1937" y="754"/>
                  <a:pt x="1937" y="754"/>
                  <a:pt x="1937" y="754"/>
                </a:cubicBezTo>
                <a:close/>
                <a:moveTo>
                  <a:pt x="2255" y="713"/>
                </a:moveTo>
                <a:cubicBezTo>
                  <a:pt x="2256" y="711"/>
                  <a:pt x="2256" y="711"/>
                  <a:pt x="2256" y="711"/>
                </a:cubicBezTo>
                <a:cubicBezTo>
                  <a:pt x="2255" y="710"/>
                  <a:pt x="2255" y="710"/>
                  <a:pt x="2255" y="710"/>
                </a:cubicBezTo>
                <a:cubicBezTo>
                  <a:pt x="2254" y="711"/>
                  <a:pt x="2254" y="711"/>
                  <a:pt x="2254" y="711"/>
                </a:cubicBezTo>
                <a:cubicBezTo>
                  <a:pt x="2254" y="712"/>
                  <a:pt x="2254" y="712"/>
                  <a:pt x="2254" y="712"/>
                </a:cubicBezTo>
                <a:cubicBezTo>
                  <a:pt x="2253" y="712"/>
                  <a:pt x="2253" y="712"/>
                  <a:pt x="2253" y="712"/>
                </a:cubicBezTo>
                <a:cubicBezTo>
                  <a:pt x="2254" y="713"/>
                  <a:pt x="2254" y="713"/>
                  <a:pt x="2254" y="713"/>
                </a:cubicBezTo>
                <a:cubicBezTo>
                  <a:pt x="2255" y="713"/>
                  <a:pt x="2255" y="713"/>
                  <a:pt x="2255" y="713"/>
                </a:cubicBezTo>
                <a:close/>
                <a:moveTo>
                  <a:pt x="2261" y="698"/>
                </a:moveTo>
                <a:cubicBezTo>
                  <a:pt x="2259" y="699"/>
                  <a:pt x="2259" y="699"/>
                  <a:pt x="2259" y="699"/>
                </a:cubicBezTo>
                <a:cubicBezTo>
                  <a:pt x="2260" y="701"/>
                  <a:pt x="2260" y="701"/>
                  <a:pt x="2260" y="701"/>
                </a:cubicBezTo>
                <a:cubicBezTo>
                  <a:pt x="2260" y="699"/>
                  <a:pt x="2260" y="699"/>
                  <a:pt x="2260" y="699"/>
                </a:cubicBezTo>
                <a:cubicBezTo>
                  <a:pt x="2261" y="698"/>
                  <a:pt x="2261" y="698"/>
                  <a:pt x="2261" y="698"/>
                </a:cubicBezTo>
                <a:close/>
                <a:moveTo>
                  <a:pt x="2259" y="707"/>
                </a:moveTo>
                <a:cubicBezTo>
                  <a:pt x="2258" y="706"/>
                  <a:pt x="2258" y="706"/>
                  <a:pt x="2258" y="706"/>
                </a:cubicBezTo>
                <a:cubicBezTo>
                  <a:pt x="2257" y="707"/>
                  <a:pt x="2257" y="707"/>
                  <a:pt x="2257" y="707"/>
                </a:cubicBezTo>
                <a:cubicBezTo>
                  <a:pt x="2258" y="707"/>
                  <a:pt x="2258" y="707"/>
                  <a:pt x="2258" y="707"/>
                </a:cubicBezTo>
                <a:cubicBezTo>
                  <a:pt x="2259" y="707"/>
                  <a:pt x="2259" y="707"/>
                  <a:pt x="2259" y="707"/>
                </a:cubicBezTo>
                <a:close/>
                <a:moveTo>
                  <a:pt x="2224" y="233"/>
                </a:moveTo>
                <a:cubicBezTo>
                  <a:pt x="2223" y="232"/>
                  <a:pt x="2223" y="232"/>
                  <a:pt x="2223" y="232"/>
                </a:cubicBezTo>
                <a:cubicBezTo>
                  <a:pt x="2222" y="232"/>
                  <a:pt x="2222" y="232"/>
                  <a:pt x="2222" y="232"/>
                </a:cubicBezTo>
                <a:cubicBezTo>
                  <a:pt x="2222" y="233"/>
                  <a:pt x="2222" y="233"/>
                  <a:pt x="2222" y="233"/>
                </a:cubicBezTo>
                <a:cubicBezTo>
                  <a:pt x="2223" y="234"/>
                  <a:pt x="2223" y="234"/>
                  <a:pt x="2223" y="234"/>
                </a:cubicBezTo>
                <a:cubicBezTo>
                  <a:pt x="2224" y="234"/>
                  <a:pt x="2224" y="234"/>
                  <a:pt x="2224" y="234"/>
                </a:cubicBezTo>
                <a:cubicBezTo>
                  <a:pt x="2224" y="233"/>
                  <a:pt x="2224" y="233"/>
                  <a:pt x="2224" y="233"/>
                </a:cubicBezTo>
                <a:close/>
                <a:moveTo>
                  <a:pt x="1900" y="134"/>
                </a:moveTo>
                <a:cubicBezTo>
                  <a:pt x="1901" y="134"/>
                  <a:pt x="1901" y="134"/>
                  <a:pt x="1901" y="134"/>
                </a:cubicBezTo>
                <a:cubicBezTo>
                  <a:pt x="1902" y="134"/>
                  <a:pt x="1902" y="134"/>
                  <a:pt x="1902" y="134"/>
                </a:cubicBezTo>
                <a:cubicBezTo>
                  <a:pt x="1901" y="133"/>
                  <a:pt x="1901" y="133"/>
                  <a:pt x="1901" y="133"/>
                </a:cubicBezTo>
                <a:cubicBezTo>
                  <a:pt x="1900" y="132"/>
                  <a:pt x="1900" y="132"/>
                  <a:pt x="1900" y="132"/>
                </a:cubicBezTo>
                <a:cubicBezTo>
                  <a:pt x="1899" y="132"/>
                  <a:pt x="1899" y="132"/>
                  <a:pt x="1899" y="132"/>
                </a:cubicBezTo>
                <a:cubicBezTo>
                  <a:pt x="1899" y="133"/>
                  <a:pt x="1899" y="133"/>
                  <a:pt x="1899" y="133"/>
                </a:cubicBezTo>
                <a:cubicBezTo>
                  <a:pt x="1900" y="133"/>
                  <a:pt x="1900" y="133"/>
                  <a:pt x="1900" y="133"/>
                </a:cubicBezTo>
                <a:lnTo>
                  <a:pt x="1900" y="134"/>
                </a:lnTo>
                <a:close/>
                <a:moveTo>
                  <a:pt x="2248" y="275"/>
                </a:moveTo>
                <a:cubicBezTo>
                  <a:pt x="2248" y="274"/>
                  <a:pt x="2248" y="274"/>
                  <a:pt x="2248" y="274"/>
                </a:cubicBezTo>
                <a:cubicBezTo>
                  <a:pt x="2249" y="273"/>
                  <a:pt x="2249" y="273"/>
                  <a:pt x="2249" y="273"/>
                </a:cubicBezTo>
                <a:cubicBezTo>
                  <a:pt x="2250" y="272"/>
                  <a:pt x="2250" y="272"/>
                  <a:pt x="2250" y="272"/>
                </a:cubicBezTo>
                <a:cubicBezTo>
                  <a:pt x="2251" y="271"/>
                  <a:pt x="2251" y="271"/>
                  <a:pt x="2251" y="271"/>
                </a:cubicBezTo>
                <a:cubicBezTo>
                  <a:pt x="2252" y="270"/>
                  <a:pt x="2252" y="270"/>
                  <a:pt x="2252" y="270"/>
                </a:cubicBezTo>
                <a:cubicBezTo>
                  <a:pt x="2252" y="269"/>
                  <a:pt x="2252" y="269"/>
                  <a:pt x="2252" y="269"/>
                </a:cubicBezTo>
                <a:cubicBezTo>
                  <a:pt x="2251" y="267"/>
                  <a:pt x="2251" y="267"/>
                  <a:pt x="2251" y="267"/>
                </a:cubicBezTo>
                <a:cubicBezTo>
                  <a:pt x="2249" y="266"/>
                  <a:pt x="2249" y="266"/>
                  <a:pt x="2249" y="266"/>
                </a:cubicBezTo>
                <a:cubicBezTo>
                  <a:pt x="2249" y="265"/>
                  <a:pt x="2249" y="265"/>
                  <a:pt x="2249" y="265"/>
                </a:cubicBezTo>
                <a:cubicBezTo>
                  <a:pt x="2248" y="266"/>
                  <a:pt x="2248" y="266"/>
                  <a:pt x="2248" y="266"/>
                </a:cubicBezTo>
                <a:cubicBezTo>
                  <a:pt x="2248" y="267"/>
                  <a:pt x="2248" y="267"/>
                  <a:pt x="2248" y="267"/>
                </a:cubicBezTo>
                <a:cubicBezTo>
                  <a:pt x="2247" y="267"/>
                  <a:pt x="2247" y="267"/>
                  <a:pt x="2247" y="267"/>
                </a:cubicBezTo>
                <a:cubicBezTo>
                  <a:pt x="2246" y="269"/>
                  <a:pt x="2246" y="269"/>
                  <a:pt x="2246" y="269"/>
                </a:cubicBezTo>
                <a:cubicBezTo>
                  <a:pt x="2245" y="269"/>
                  <a:pt x="2245" y="269"/>
                  <a:pt x="2245" y="269"/>
                </a:cubicBezTo>
                <a:cubicBezTo>
                  <a:pt x="2245" y="270"/>
                  <a:pt x="2245" y="270"/>
                  <a:pt x="2245" y="270"/>
                </a:cubicBezTo>
                <a:cubicBezTo>
                  <a:pt x="2246" y="270"/>
                  <a:pt x="2246" y="270"/>
                  <a:pt x="2246" y="270"/>
                </a:cubicBezTo>
                <a:cubicBezTo>
                  <a:pt x="2247" y="270"/>
                  <a:pt x="2247" y="270"/>
                  <a:pt x="2247" y="270"/>
                </a:cubicBezTo>
                <a:cubicBezTo>
                  <a:pt x="2246" y="271"/>
                  <a:pt x="2246" y="271"/>
                  <a:pt x="2246" y="271"/>
                </a:cubicBezTo>
                <a:cubicBezTo>
                  <a:pt x="2247" y="273"/>
                  <a:pt x="2247" y="273"/>
                  <a:pt x="2247" y="273"/>
                </a:cubicBezTo>
                <a:cubicBezTo>
                  <a:pt x="2247" y="274"/>
                  <a:pt x="2247" y="274"/>
                  <a:pt x="2247" y="274"/>
                </a:cubicBezTo>
                <a:cubicBezTo>
                  <a:pt x="2247" y="275"/>
                  <a:pt x="2247" y="275"/>
                  <a:pt x="2247" y="275"/>
                </a:cubicBezTo>
                <a:cubicBezTo>
                  <a:pt x="2247" y="276"/>
                  <a:pt x="2247" y="276"/>
                  <a:pt x="2247" y="276"/>
                </a:cubicBezTo>
                <a:cubicBezTo>
                  <a:pt x="2247" y="277"/>
                  <a:pt x="2247" y="277"/>
                  <a:pt x="2247" y="277"/>
                </a:cubicBezTo>
                <a:cubicBezTo>
                  <a:pt x="2248" y="278"/>
                  <a:pt x="2248" y="278"/>
                  <a:pt x="2248" y="278"/>
                </a:cubicBezTo>
                <a:cubicBezTo>
                  <a:pt x="2249" y="278"/>
                  <a:pt x="2249" y="278"/>
                  <a:pt x="2249" y="278"/>
                </a:cubicBezTo>
                <a:cubicBezTo>
                  <a:pt x="2248" y="277"/>
                  <a:pt x="2248" y="277"/>
                  <a:pt x="2248" y="277"/>
                </a:cubicBezTo>
                <a:cubicBezTo>
                  <a:pt x="2248" y="276"/>
                  <a:pt x="2248" y="276"/>
                  <a:pt x="2248" y="276"/>
                </a:cubicBezTo>
                <a:cubicBezTo>
                  <a:pt x="2248" y="275"/>
                  <a:pt x="2248" y="275"/>
                  <a:pt x="2248" y="275"/>
                </a:cubicBezTo>
                <a:close/>
                <a:moveTo>
                  <a:pt x="1565" y="65"/>
                </a:moveTo>
                <a:cubicBezTo>
                  <a:pt x="1565" y="65"/>
                  <a:pt x="1565" y="65"/>
                  <a:pt x="1565" y="64"/>
                </a:cubicBezTo>
                <a:cubicBezTo>
                  <a:pt x="1565" y="64"/>
                  <a:pt x="1565" y="64"/>
                  <a:pt x="1565" y="63"/>
                </a:cubicBezTo>
                <a:cubicBezTo>
                  <a:pt x="1565" y="63"/>
                  <a:pt x="1565" y="63"/>
                  <a:pt x="1563" y="63"/>
                </a:cubicBezTo>
                <a:cubicBezTo>
                  <a:pt x="1563" y="63"/>
                  <a:pt x="1563" y="63"/>
                  <a:pt x="1563" y="62"/>
                </a:cubicBezTo>
                <a:cubicBezTo>
                  <a:pt x="1563" y="62"/>
                  <a:pt x="1563" y="62"/>
                  <a:pt x="1562" y="62"/>
                </a:cubicBezTo>
                <a:cubicBezTo>
                  <a:pt x="1562" y="62"/>
                  <a:pt x="1562" y="62"/>
                  <a:pt x="1562" y="63"/>
                </a:cubicBezTo>
                <a:cubicBezTo>
                  <a:pt x="1562" y="63"/>
                  <a:pt x="1562" y="63"/>
                  <a:pt x="1562" y="64"/>
                </a:cubicBezTo>
                <a:cubicBezTo>
                  <a:pt x="1562" y="64"/>
                  <a:pt x="1562" y="64"/>
                  <a:pt x="1564" y="65"/>
                </a:cubicBezTo>
                <a:cubicBezTo>
                  <a:pt x="1564" y="65"/>
                  <a:pt x="1564" y="65"/>
                  <a:pt x="1565" y="65"/>
                </a:cubicBezTo>
                <a:close/>
                <a:moveTo>
                  <a:pt x="1556" y="56"/>
                </a:moveTo>
                <a:cubicBezTo>
                  <a:pt x="1557" y="56"/>
                  <a:pt x="1557" y="56"/>
                  <a:pt x="1557" y="56"/>
                </a:cubicBezTo>
                <a:cubicBezTo>
                  <a:pt x="1558" y="56"/>
                  <a:pt x="1558" y="56"/>
                  <a:pt x="1558" y="56"/>
                </a:cubicBezTo>
                <a:cubicBezTo>
                  <a:pt x="1558" y="57"/>
                  <a:pt x="1558" y="57"/>
                  <a:pt x="1558" y="57"/>
                </a:cubicBezTo>
                <a:cubicBezTo>
                  <a:pt x="1559" y="56"/>
                  <a:pt x="1559" y="56"/>
                  <a:pt x="1559" y="56"/>
                </a:cubicBezTo>
                <a:cubicBezTo>
                  <a:pt x="1560" y="55"/>
                  <a:pt x="1560" y="55"/>
                  <a:pt x="1560" y="55"/>
                </a:cubicBezTo>
                <a:cubicBezTo>
                  <a:pt x="1560" y="54"/>
                  <a:pt x="1560" y="54"/>
                  <a:pt x="1560" y="54"/>
                </a:cubicBezTo>
                <a:cubicBezTo>
                  <a:pt x="1558" y="54"/>
                  <a:pt x="1558" y="54"/>
                  <a:pt x="1558" y="54"/>
                </a:cubicBezTo>
                <a:cubicBezTo>
                  <a:pt x="1558" y="53"/>
                  <a:pt x="1558" y="53"/>
                  <a:pt x="1558" y="53"/>
                </a:cubicBezTo>
                <a:cubicBezTo>
                  <a:pt x="1557" y="53"/>
                  <a:pt x="1557" y="53"/>
                  <a:pt x="1557" y="53"/>
                </a:cubicBezTo>
                <a:cubicBezTo>
                  <a:pt x="1556" y="53"/>
                  <a:pt x="1556" y="53"/>
                  <a:pt x="1556" y="53"/>
                </a:cubicBezTo>
                <a:cubicBezTo>
                  <a:pt x="1554" y="54"/>
                  <a:pt x="1554" y="54"/>
                  <a:pt x="1554" y="54"/>
                </a:cubicBezTo>
                <a:cubicBezTo>
                  <a:pt x="1554" y="55"/>
                  <a:pt x="1554" y="55"/>
                  <a:pt x="1554" y="55"/>
                </a:cubicBezTo>
                <a:cubicBezTo>
                  <a:pt x="1555" y="56"/>
                  <a:pt x="1555" y="56"/>
                  <a:pt x="1555" y="56"/>
                </a:cubicBezTo>
                <a:cubicBezTo>
                  <a:pt x="1556" y="56"/>
                  <a:pt x="1556" y="56"/>
                  <a:pt x="1556" y="56"/>
                </a:cubicBezTo>
                <a:close/>
                <a:moveTo>
                  <a:pt x="2232" y="435"/>
                </a:moveTo>
                <a:cubicBezTo>
                  <a:pt x="2232" y="434"/>
                  <a:pt x="2232" y="434"/>
                  <a:pt x="2232" y="434"/>
                </a:cubicBezTo>
                <a:cubicBezTo>
                  <a:pt x="2233" y="432"/>
                  <a:pt x="2233" y="432"/>
                  <a:pt x="2233" y="432"/>
                </a:cubicBezTo>
                <a:cubicBezTo>
                  <a:pt x="2234" y="431"/>
                  <a:pt x="2234" y="431"/>
                  <a:pt x="2234" y="431"/>
                </a:cubicBezTo>
                <a:cubicBezTo>
                  <a:pt x="2233" y="431"/>
                  <a:pt x="2233" y="431"/>
                  <a:pt x="2233" y="431"/>
                </a:cubicBezTo>
                <a:cubicBezTo>
                  <a:pt x="2232" y="431"/>
                  <a:pt x="2232" y="431"/>
                  <a:pt x="2232" y="431"/>
                </a:cubicBezTo>
                <a:cubicBezTo>
                  <a:pt x="2232" y="432"/>
                  <a:pt x="2232" y="432"/>
                  <a:pt x="2232" y="432"/>
                </a:cubicBezTo>
                <a:cubicBezTo>
                  <a:pt x="2231" y="433"/>
                  <a:pt x="2231" y="433"/>
                  <a:pt x="2231" y="433"/>
                </a:cubicBezTo>
                <a:cubicBezTo>
                  <a:pt x="2231" y="434"/>
                  <a:pt x="2231" y="434"/>
                  <a:pt x="2231" y="434"/>
                </a:cubicBezTo>
                <a:cubicBezTo>
                  <a:pt x="2230" y="434"/>
                  <a:pt x="2230" y="434"/>
                  <a:pt x="2230" y="434"/>
                </a:cubicBezTo>
                <a:cubicBezTo>
                  <a:pt x="2230" y="435"/>
                  <a:pt x="2230" y="435"/>
                  <a:pt x="2230" y="435"/>
                </a:cubicBezTo>
                <a:cubicBezTo>
                  <a:pt x="2229" y="436"/>
                  <a:pt x="2229" y="436"/>
                  <a:pt x="2229" y="436"/>
                </a:cubicBezTo>
                <a:cubicBezTo>
                  <a:pt x="2229" y="438"/>
                  <a:pt x="2229" y="438"/>
                  <a:pt x="2229" y="438"/>
                </a:cubicBezTo>
                <a:cubicBezTo>
                  <a:pt x="2231" y="437"/>
                  <a:pt x="2231" y="437"/>
                  <a:pt x="2231" y="437"/>
                </a:cubicBezTo>
                <a:cubicBezTo>
                  <a:pt x="2232" y="435"/>
                  <a:pt x="2232" y="435"/>
                  <a:pt x="2232" y="435"/>
                </a:cubicBezTo>
                <a:close/>
                <a:moveTo>
                  <a:pt x="1560" y="61"/>
                </a:moveTo>
                <a:cubicBezTo>
                  <a:pt x="1560" y="61"/>
                  <a:pt x="1560" y="61"/>
                  <a:pt x="1558" y="62"/>
                </a:cubicBezTo>
                <a:cubicBezTo>
                  <a:pt x="1558" y="62"/>
                  <a:pt x="1558" y="62"/>
                  <a:pt x="1558" y="63"/>
                </a:cubicBezTo>
                <a:cubicBezTo>
                  <a:pt x="1558" y="63"/>
                  <a:pt x="1558" y="63"/>
                  <a:pt x="1559" y="63"/>
                </a:cubicBezTo>
                <a:cubicBezTo>
                  <a:pt x="1559" y="63"/>
                  <a:pt x="1559" y="63"/>
                  <a:pt x="1560" y="63"/>
                </a:cubicBezTo>
                <a:cubicBezTo>
                  <a:pt x="1560" y="63"/>
                  <a:pt x="1560" y="63"/>
                  <a:pt x="1561" y="62"/>
                </a:cubicBezTo>
                <a:cubicBezTo>
                  <a:pt x="1561" y="62"/>
                  <a:pt x="1561" y="62"/>
                  <a:pt x="1561" y="61"/>
                </a:cubicBezTo>
                <a:cubicBezTo>
                  <a:pt x="1561" y="61"/>
                  <a:pt x="1561" y="61"/>
                  <a:pt x="1560" y="60"/>
                </a:cubicBezTo>
                <a:cubicBezTo>
                  <a:pt x="1560" y="60"/>
                  <a:pt x="1560" y="60"/>
                  <a:pt x="1560" y="61"/>
                </a:cubicBezTo>
                <a:close/>
                <a:moveTo>
                  <a:pt x="1560" y="53"/>
                </a:moveTo>
                <a:cubicBezTo>
                  <a:pt x="1560" y="54"/>
                  <a:pt x="1560" y="54"/>
                  <a:pt x="1560" y="54"/>
                </a:cubicBezTo>
                <a:cubicBezTo>
                  <a:pt x="1561" y="54"/>
                  <a:pt x="1561" y="54"/>
                  <a:pt x="1561" y="54"/>
                </a:cubicBezTo>
                <a:cubicBezTo>
                  <a:pt x="1560" y="53"/>
                  <a:pt x="1560" y="53"/>
                  <a:pt x="1560" y="53"/>
                </a:cubicBezTo>
                <a:close/>
                <a:moveTo>
                  <a:pt x="1559" y="84"/>
                </a:moveTo>
                <a:cubicBezTo>
                  <a:pt x="1560" y="84"/>
                  <a:pt x="1560" y="84"/>
                  <a:pt x="1560" y="84"/>
                </a:cubicBezTo>
                <a:cubicBezTo>
                  <a:pt x="1559" y="83"/>
                  <a:pt x="1559" y="83"/>
                  <a:pt x="1559" y="83"/>
                </a:cubicBezTo>
                <a:cubicBezTo>
                  <a:pt x="1559" y="82"/>
                  <a:pt x="1559" y="82"/>
                  <a:pt x="1559" y="82"/>
                </a:cubicBezTo>
                <a:cubicBezTo>
                  <a:pt x="1558" y="82"/>
                  <a:pt x="1558" y="82"/>
                  <a:pt x="1558" y="82"/>
                </a:cubicBezTo>
                <a:cubicBezTo>
                  <a:pt x="1557" y="83"/>
                  <a:pt x="1557" y="83"/>
                  <a:pt x="1557" y="83"/>
                </a:cubicBezTo>
                <a:cubicBezTo>
                  <a:pt x="1557" y="84"/>
                  <a:pt x="1557" y="84"/>
                  <a:pt x="1557" y="84"/>
                </a:cubicBezTo>
                <a:cubicBezTo>
                  <a:pt x="1558" y="84"/>
                  <a:pt x="1558" y="84"/>
                  <a:pt x="1558" y="84"/>
                </a:cubicBezTo>
                <a:cubicBezTo>
                  <a:pt x="1559" y="84"/>
                  <a:pt x="1559" y="84"/>
                  <a:pt x="1559" y="84"/>
                </a:cubicBezTo>
                <a:close/>
                <a:moveTo>
                  <a:pt x="1561" y="80"/>
                </a:moveTo>
                <a:cubicBezTo>
                  <a:pt x="1561" y="79"/>
                  <a:pt x="1561" y="79"/>
                  <a:pt x="1561" y="79"/>
                </a:cubicBezTo>
                <a:cubicBezTo>
                  <a:pt x="1560" y="79"/>
                  <a:pt x="1560" y="79"/>
                  <a:pt x="1560" y="79"/>
                </a:cubicBezTo>
                <a:cubicBezTo>
                  <a:pt x="1560" y="80"/>
                  <a:pt x="1560" y="80"/>
                  <a:pt x="1560" y="80"/>
                </a:cubicBezTo>
                <a:cubicBezTo>
                  <a:pt x="1559" y="80"/>
                  <a:pt x="1559" y="80"/>
                  <a:pt x="1559" y="80"/>
                </a:cubicBezTo>
                <a:cubicBezTo>
                  <a:pt x="1560" y="81"/>
                  <a:pt x="1560" y="81"/>
                  <a:pt x="1560" y="81"/>
                </a:cubicBezTo>
                <a:cubicBezTo>
                  <a:pt x="1561" y="80"/>
                  <a:pt x="1561" y="80"/>
                  <a:pt x="1561" y="80"/>
                </a:cubicBezTo>
                <a:close/>
                <a:moveTo>
                  <a:pt x="1558" y="81"/>
                </a:moveTo>
                <a:cubicBezTo>
                  <a:pt x="1558" y="80"/>
                  <a:pt x="1558" y="80"/>
                  <a:pt x="1558" y="80"/>
                </a:cubicBezTo>
                <a:cubicBezTo>
                  <a:pt x="1557" y="81"/>
                  <a:pt x="1557" y="81"/>
                  <a:pt x="1557" y="81"/>
                </a:cubicBezTo>
                <a:cubicBezTo>
                  <a:pt x="1558" y="81"/>
                  <a:pt x="1558" y="81"/>
                  <a:pt x="1558" y="81"/>
                </a:cubicBezTo>
                <a:close/>
                <a:moveTo>
                  <a:pt x="1566" y="75"/>
                </a:moveTo>
                <a:cubicBezTo>
                  <a:pt x="1567" y="75"/>
                  <a:pt x="1567" y="75"/>
                  <a:pt x="1567" y="75"/>
                </a:cubicBezTo>
                <a:cubicBezTo>
                  <a:pt x="1567" y="74"/>
                  <a:pt x="1567" y="74"/>
                  <a:pt x="1567" y="74"/>
                </a:cubicBezTo>
                <a:cubicBezTo>
                  <a:pt x="1566" y="73"/>
                  <a:pt x="1566" y="73"/>
                  <a:pt x="1566" y="73"/>
                </a:cubicBezTo>
                <a:cubicBezTo>
                  <a:pt x="1566" y="74"/>
                  <a:pt x="1566" y="74"/>
                  <a:pt x="1566" y="74"/>
                </a:cubicBezTo>
                <a:cubicBezTo>
                  <a:pt x="1565" y="74"/>
                  <a:pt x="1565" y="74"/>
                  <a:pt x="1565" y="74"/>
                </a:cubicBezTo>
                <a:cubicBezTo>
                  <a:pt x="1564" y="74"/>
                  <a:pt x="1564" y="74"/>
                  <a:pt x="1564" y="74"/>
                </a:cubicBezTo>
                <a:cubicBezTo>
                  <a:pt x="1565" y="75"/>
                  <a:pt x="1565" y="75"/>
                  <a:pt x="1565" y="75"/>
                </a:cubicBezTo>
                <a:cubicBezTo>
                  <a:pt x="1566" y="75"/>
                  <a:pt x="1566" y="75"/>
                  <a:pt x="1566" y="75"/>
                </a:cubicBezTo>
                <a:close/>
                <a:moveTo>
                  <a:pt x="1564" y="56"/>
                </a:moveTo>
                <a:cubicBezTo>
                  <a:pt x="1564" y="56"/>
                  <a:pt x="1564" y="56"/>
                  <a:pt x="1564" y="55"/>
                </a:cubicBezTo>
                <a:cubicBezTo>
                  <a:pt x="1564" y="55"/>
                  <a:pt x="1564" y="55"/>
                  <a:pt x="1564" y="54"/>
                </a:cubicBezTo>
                <a:cubicBezTo>
                  <a:pt x="1564" y="54"/>
                  <a:pt x="1564" y="54"/>
                  <a:pt x="1563" y="54"/>
                </a:cubicBezTo>
                <a:cubicBezTo>
                  <a:pt x="1563" y="54"/>
                  <a:pt x="1563" y="54"/>
                  <a:pt x="1562" y="54"/>
                </a:cubicBezTo>
                <a:cubicBezTo>
                  <a:pt x="1562" y="54"/>
                  <a:pt x="1562" y="54"/>
                  <a:pt x="1562" y="55"/>
                </a:cubicBezTo>
                <a:cubicBezTo>
                  <a:pt x="1562" y="55"/>
                  <a:pt x="1562" y="55"/>
                  <a:pt x="1562" y="56"/>
                </a:cubicBezTo>
                <a:cubicBezTo>
                  <a:pt x="1562" y="56"/>
                  <a:pt x="1562" y="56"/>
                  <a:pt x="1563" y="56"/>
                </a:cubicBezTo>
                <a:cubicBezTo>
                  <a:pt x="1563" y="56"/>
                  <a:pt x="1563" y="56"/>
                  <a:pt x="1564" y="56"/>
                </a:cubicBezTo>
                <a:close/>
                <a:moveTo>
                  <a:pt x="1565" y="68"/>
                </a:moveTo>
                <a:cubicBezTo>
                  <a:pt x="1565" y="68"/>
                  <a:pt x="1565" y="68"/>
                  <a:pt x="1564" y="69"/>
                </a:cubicBezTo>
                <a:cubicBezTo>
                  <a:pt x="1564" y="69"/>
                  <a:pt x="1564" y="69"/>
                  <a:pt x="1564" y="70"/>
                </a:cubicBezTo>
                <a:cubicBezTo>
                  <a:pt x="1564" y="70"/>
                  <a:pt x="1564" y="70"/>
                  <a:pt x="1565" y="70"/>
                </a:cubicBezTo>
                <a:cubicBezTo>
                  <a:pt x="1565" y="70"/>
                  <a:pt x="1565" y="70"/>
                  <a:pt x="1566" y="70"/>
                </a:cubicBezTo>
                <a:cubicBezTo>
                  <a:pt x="1566" y="70"/>
                  <a:pt x="1566" y="70"/>
                  <a:pt x="1567" y="69"/>
                </a:cubicBezTo>
                <a:cubicBezTo>
                  <a:pt x="1567" y="69"/>
                  <a:pt x="1567" y="69"/>
                  <a:pt x="1567" y="68"/>
                </a:cubicBezTo>
                <a:cubicBezTo>
                  <a:pt x="1567" y="68"/>
                  <a:pt x="1567" y="68"/>
                  <a:pt x="1566" y="66"/>
                </a:cubicBezTo>
                <a:cubicBezTo>
                  <a:pt x="1566" y="66"/>
                  <a:pt x="1566" y="66"/>
                  <a:pt x="1565" y="67"/>
                </a:cubicBezTo>
                <a:cubicBezTo>
                  <a:pt x="1565" y="67"/>
                  <a:pt x="1565" y="67"/>
                  <a:pt x="1565" y="68"/>
                </a:cubicBezTo>
                <a:close/>
                <a:moveTo>
                  <a:pt x="1559" y="76"/>
                </a:moveTo>
                <a:cubicBezTo>
                  <a:pt x="1559" y="76"/>
                  <a:pt x="1559" y="76"/>
                  <a:pt x="1559" y="75"/>
                </a:cubicBezTo>
                <a:cubicBezTo>
                  <a:pt x="1559" y="75"/>
                  <a:pt x="1559" y="75"/>
                  <a:pt x="1560" y="75"/>
                </a:cubicBezTo>
                <a:cubicBezTo>
                  <a:pt x="1560" y="75"/>
                  <a:pt x="1560" y="75"/>
                  <a:pt x="1561" y="75"/>
                </a:cubicBezTo>
                <a:cubicBezTo>
                  <a:pt x="1561" y="75"/>
                  <a:pt x="1561" y="75"/>
                  <a:pt x="1562" y="75"/>
                </a:cubicBezTo>
                <a:cubicBezTo>
                  <a:pt x="1562" y="75"/>
                  <a:pt x="1562" y="75"/>
                  <a:pt x="1562" y="74"/>
                </a:cubicBezTo>
                <a:cubicBezTo>
                  <a:pt x="1562" y="74"/>
                  <a:pt x="1562" y="74"/>
                  <a:pt x="1561" y="73"/>
                </a:cubicBezTo>
                <a:cubicBezTo>
                  <a:pt x="1561" y="73"/>
                  <a:pt x="1561" y="73"/>
                  <a:pt x="1560" y="73"/>
                </a:cubicBezTo>
                <a:cubicBezTo>
                  <a:pt x="1560" y="73"/>
                  <a:pt x="1560" y="73"/>
                  <a:pt x="1559" y="72"/>
                </a:cubicBezTo>
                <a:cubicBezTo>
                  <a:pt x="1559" y="72"/>
                  <a:pt x="1559" y="72"/>
                  <a:pt x="1558" y="73"/>
                </a:cubicBezTo>
                <a:cubicBezTo>
                  <a:pt x="1558" y="73"/>
                  <a:pt x="1558" y="73"/>
                  <a:pt x="1557" y="74"/>
                </a:cubicBezTo>
                <a:cubicBezTo>
                  <a:pt x="1557" y="74"/>
                  <a:pt x="1557" y="74"/>
                  <a:pt x="1557" y="75"/>
                </a:cubicBezTo>
                <a:cubicBezTo>
                  <a:pt x="1557" y="75"/>
                  <a:pt x="1557" y="75"/>
                  <a:pt x="1558" y="76"/>
                </a:cubicBezTo>
                <a:cubicBezTo>
                  <a:pt x="1558" y="76"/>
                  <a:pt x="1558" y="76"/>
                  <a:pt x="1559" y="76"/>
                </a:cubicBezTo>
                <a:close/>
                <a:moveTo>
                  <a:pt x="1557" y="72"/>
                </a:moveTo>
                <a:cubicBezTo>
                  <a:pt x="1557" y="72"/>
                  <a:pt x="1557" y="72"/>
                  <a:pt x="1556" y="72"/>
                </a:cubicBezTo>
                <a:cubicBezTo>
                  <a:pt x="1556" y="72"/>
                  <a:pt x="1556" y="72"/>
                  <a:pt x="1555" y="72"/>
                </a:cubicBezTo>
                <a:cubicBezTo>
                  <a:pt x="1555" y="72"/>
                  <a:pt x="1555" y="72"/>
                  <a:pt x="1554" y="71"/>
                </a:cubicBezTo>
                <a:cubicBezTo>
                  <a:pt x="1554" y="71"/>
                  <a:pt x="1554" y="71"/>
                  <a:pt x="1552" y="71"/>
                </a:cubicBezTo>
                <a:cubicBezTo>
                  <a:pt x="1552" y="71"/>
                  <a:pt x="1552" y="71"/>
                  <a:pt x="1551" y="72"/>
                </a:cubicBezTo>
                <a:cubicBezTo>
                  <a:pt x="1551" y="72"/>
                  <a:pt x="1551" y="72"/>
                  <a:pt x="1550" y="72"/>
                </a:cubicBezTo>
                <a:cubicBezTo>
                  <a:pt x="1550" y="72"/>
                  <a:pt x="1550" y="72"/>
                  <a:pt x="1550" y="73"/>
                </a:cubicBezTo>
                <a:cubicBezTo>
                  <a:pt x="1550" y="73"/>
                  <a:pt x="1550" y="73"/>
                  <a:pt x="1551" y="74"/>
                </a:cubicBezTo>
                <a:cubicBezTo>
                  <a:pt x="1551" y="74"/>
                  <a:pt x="1551" y="74"/>
                  <a:pt x="1553" y="74"/>
                </a:cubicBezTo>
                <a:cubicBezTo>
                  <a:pt x="1554" y="74"/>
                  <a:pt x="1554" y="74"/>
                  <a:pt x="1554" y="74"/>
                </a:cubicBezTo>
                <a:cubicBezTo>
                  <a:pt x="1554" y="74"/>
                  <a:pt x="1554" y="74"/>
                  <a:pt x="1557" y="73"/>
                </a:cubicBezTo>
                <a:cubicBezTo>
                  <a:pt x="1557" y="73"/>
                  <a:pt x="1557" y="73"/>
                  <a:pt x="1557" y="72"/>
                </a:cubicBezTo>
                <a:close/>
                <a:moveTo>
                  <a:pt x="1560" y="288"/>
                </a:moveTo>
                <a:cubicBezTo>
                  <a:pt x="1559" y="287"/>
                  <a:pt x="1559" y="287"/>
                  <a:pt x="1559" y="287"/>
                </a:cubicBezTo>
                <a:cubicBezTo>
                  <a:pt x="1558" y="287"/>
                  <a:pt x="1558" y="287"/>
                  <a:pt x="1558" y="287"/>
                </a:cubicBezTo>
                <a:cubicBezTo>
                  <a:pt x="1558" y="288"/>
                  <a:pt x="1558" y="288"/>
                  <a:pt x="1558" y="288"/>
                </a:cubicBezTo>
                <a:cubicBezTo>
                  <a:pt x="1559" y="288"/>
                  <a:pt x="1559" y="288"/>
                  <a:pt x="1559" y="288"/>
                </a:cubicBezTo>
                <a:cubicBezTo>
                  <a:pt x="1560" y="288"/>
                  <a:pt x="1560" y="288"/>
                  <a:pt x="1560" y="288"/>
                </a:cubicBezTo>
                <a:close/>
                <a:moveTo>
                  <a:pt x="1749" y="215"/>
                </a:moveTo>
                <a:cubicBezTo>
                  <a:pt x="1749" y="216"/>
                  <a:pt x="1749" y="216"/>
                  <a:pt x="1749" y="216"/>
                </a:cubicBezTo>
                <a:cubicBezTo>
                  <a:pt x="1749" y="217"/>
                  <a:pt x="1749" y="217"/>
                  <a:pt x="1749" y="217"/>
                </a:cubicBezTo>
                <a:cubicBezTo>
                  <a:pt x="1750" y="216"/>
                  <a:pt x="1750" y="216"/>
                  <a:pt x="1750" y="216"/>
                </a:cubicBezTo>
                <a:cubicBezTo>
                  <a:pt x="1749" y="215"/>
                  <a:pt x="1749" y="215"/>
                  <a:pt x="1749" y="215"/>
                </a:cubicBezTo>
                <a:close/>
                <a:moveTo>
                  <a:pt x="1555" y="79"/>
                </a:moveTo>
                <a:cubicBezTo>
                  <a:pt x="1556" y="80"/>
                  <a:pt x="1556" y="80"/>
                  <a:pt x="1556" y="80"/>
                </a:cubicBezTo>
                <a:cubicBezTo>
                  <a:pt x="1556" y="79"/>
                  <a:pt x="1556" y="79"/>
                  <a:pt x="1556" y="79"/>
                </a:cubicBezTo>
                <a:cubicBezTo>
                  <a:pt x="1556" y="78"/>
                  <a:pt x="1556" y="78"/>
                  <a:pt x="1556" y="78"/>
                </a:cubicBezTo>
                <a:cubicBezTo>
                  <a:pt x="1555" y="78"/>
                  <a:pt x="1555" y="78"/>
                  <a:pt x="1555" y="78"/>
                </a:cubicBezTo>
                <a:cubicBezTo>
                  <a:pt x="1554" y="78"/>
                  <a:pt x="1554" y="78"/>
                  <a:pt x="1554" y="78"/>
                </a:cubicBezTo>
                <a:cubicBezTo>
                  <a:pt x="1555" y="79"/>
                  <a:pt x="1555" y="79"/>
                  <a:pt x="1555" y="79"/>
                </a:cubicBezTo>
                <a:close/>
                <a:moveTo>
                  <a:pt x="1557" y="50"/>
                </a:moveTo>
                <a:cubicBezTo>
                  <a:pt x="1559" y="49"/>
                  <a:pt x="1559" y="49"/>
                  <a:pt x="1559" y="49"/>
                </a:cubicBezTo>
                <a:cubicBezTo>
                  <a:pt x="1560" y="49"/>
                  <a:pt x="1560" y="49"/>
                  <a:pt x="1560" y="49"/>
                </a:cubicBezTo>
                <a:cubicBezTo>
                  <a:pt x="1560" y="48"/>
                  <a:pt x="1560" y="48"/>
                  <a:pt x="1560" y="48"/>
                </a:cubicBezTo>
                <a:cubicBezTo>
                  <a:pt x="1561" y="48"/>
                  <a:pt x="1561" y="48"/>
                  <a:pt x="1561" y="48"/>
                </a:cubicBezTo>
                <a:cubicBezTo>
                  <a:pt x="1560" y="47"/>
                  <a:pt x="1560" y="47"/>
                  <a:pt x="1560" y="47"/>
                </a:cubicBezTo>
                <a:cubicBezTo>
                  <a:pt x="1560" y="46"/>
                  <a:pt x="1560" y="46"/>
                  <a:pt x="1560" y="46"/>
                </a:cubicBezTo>
                <a:cubicBezTo>
                  <a:pt x="1559" y="45"/>
                  <a:pt x="1559" y="45"/>
                  <a:pt x="1559" y="45"/>
                </a:cubicBezTo>
                <a:cubicBezTo>
                  <a:pt x="1558" y="46"/>
                  <a:pt x="1558" y="46"/>
                  <a:pt x="1558" y="46"/>
                </a:cubicBezTo>
                <a:cubicBezTo>
                  <a:pt x="1557" y="46"/>
                  <a:pt x="1557" y="46"/>
                  <a:pt x="1557" y="46"/>
                </a:cubicBezTo>
                <a:cubicBezTo>
                  <a:pt x="1556" y="47"/>
                  <a:pt x="1556" y="47"/>
                  <a:pt x="1556" y="47"/>
                </a:cubicBezTo>
                <a:cubicBezTo>
                  <a:pt x="1556" y="48"/>
                  <a:pt x="1556" y="48"/>
                  <a:pt x="1556" y="48"/>
                </a:cubicBezTo>
                <a:cubicBezTo>
                  <a:pt x="1557" y="49"/>
                  <a:pt x="1557" y="49"/>
                  <a:pt x="1557" y="49"/>
                </a:cubicBezTo>
                <a:lnTo>
                  <a:pt x="1557" y="50"/>
                </a:lnTo>
                <a:close/>
                <a:moveTo>
                  <a:pt x="2242" y="410"/>
                </a:moveTo>
                <a:cubicBezTo>
                  <a:pt x="2242" y="411"/>
                  <a:pt x="2242" y="411"/>
                  <a:pt x="2242" y="411"/>
                </a:cubicBezTo>
                <a:cubicBezTo>
                  <a:pt x="2243" y="411"/>
                  <a:pt x="2243" y="411"/>
                  <a:pt x="2243" y="411"/>
                </a:cubicBezTo>
                <a:cubicBezTo>
                  <a:pt x="2242" y="410"/>
                  <a:pt x="2242" y="410"/>
                  <a:pt x="2242" y="410"/>
                </a:cubicBezTo>
                <a:close/>
                <a:moveTo>
                  <a:pt x="2247" y="380"/>
                </a:moveTo>
                <a:cubicBezTo>
                  <a:pt x="2247" y="382"/>
                  <a:pt x="2247" y="382"/>
                  <a:pt x="2247" y="382"/>
                </a:cubicBezTo>
                <a:cubicBezTo>
                  <a:pt x="2247" y="383"/>
                  <a:pt x="2247" y="383"/>
                  <a:pt x="2247" y="383"/>
                </a:cubicBezTo>
                <a:cubicBezTo>
                  <a:pt x="2246" y="383"/>
                  <a:pt x="2246" y="383"/>
                  <a:pt x="2246" y="383"/>
                </a:cubicBezTo>
                <a:cubicBezTo>
                  <a:pt x="2245" y="385"/>
                  <a:pt x="2245" y="385"/>
                  <a:pt x="2245" y="385"/>
                </a:cubicBezTo>
                <a:cubicBezTo>
                  <a:pt x="2244" y="385"/>
                  <a:pt x="2244" y="385"/>
                  <a:pt x="2244" y="385"/>
                </a:cubicBezTo>
                <a:cubicBezTo>
                  <a:pt x="2245" y="386"/>
                  <a:pt x="2245" y="386"/>
                  <a:pt x="2245" y="386"/>
                </a:cubicBezTo>
                <a:cubicBezTo>
                  <a:pt x="2245" y="387"/>
                  <a:pt x="2245" y="387"/>
                  <a:pt x="2245" y="387"/>
                </a:cubicBezTo>
                <a:cubicBezTo>
                  <a:pt x="2244" y="387"/>
                  <a:pt x="2244" y="387"/>
                  <a:pt x="2244" y="387"/>
                </a:cubicBezTo>
                <a:cubicBezTo>
                  <a:pt x="2245" y="388"/>
                  <a:pt x="2245" y="388"/>
                  <a:pt x="2245" y="388"/>
                </a:cubicBezTo>
                <a:cubicBezTo>
                  <a:pt x="2246" y="388"/>
                  <a:pt x="2246" y="388"/>
                  <a:pt x="2246" y="388"/>
                </a:cubicBezTo>
                <a:cubicBezTo>
                  <a:pt x="2247" y="388"/>
                  <a:pt x="2247" y="388"/>
                  <a:pt x="2247" y="388"/>
                </a:cubicBezTo>
                <a:cubicBezTo>
                  <a:pt x="2247" y="387"/>
                  <a:pt x="2247" y="387"/>
                  <a:pt x="2247" y="387"/>
                </a:cubicBezTo>
                <a:cubicBezTo>
                  <a:pt x="2247" y="386"/>
                  <a:pt x="2247" y="386"/>
                  <a:pt x="2247" y="386"/>
                </a:cubicBezTo>
                <a:cubicBezTo>
                  <a:pt x="2248" y="386"/>
                  <a:pt x="2248" y="386"/>
                  <a:pt x="2248" y="386"/>
                </a:cubicBezTo>
                <a:cubicBezTo>
                  <a:pt x="2249" y="384"/>
                  <a:pt x="2249" y="384"/>
                  <a:pt x="2249" y="384"/>
                </a:cubicBezTo>
                <a:cubicBezTo>
                  <a:pt x="2249" y="383"/>
                  <a:pt x="2249" y="383"/>
                  <a:pt x="2249" y="383"/>
                </a:cubicBezTo>
                <a:cubicBezTo>
                  <a:pt x="2249" y="382"/>
                  <a:pt x="2249" y="382"/>
                  <a:pt x="2249" y="382"/>
                </a:cubicBezTo>
                <a:cubicBezTo>
                  <a:pt x="2250" y="381"/>
                  <a:pt x="2250" y="381"/>
                  <a:pt x="2250" y="381"/>
                </a:cubicBezTo>
                <a:cubicBezTo>
                  <a:pt x="2249" y="380"/>
                  <a:pt x="2249" y="380"/>
                  <a:pt x="2249" y="380"/>
                </a:cubicBezTo>
                <a:cubicBezTo>
                  <a:pt x="2247" y="379"/>
                  <a:pt x="2247" y="379"/>
                  <a:pt x="2247" y="379"/>
                </a:cubicBezTo>
                <a:cubicBezTo>
                  <a:pt x="2247" y="380"/>
                  <a:pt x="2247" y="380"/>
                  <a:pt x="2247" y="380"/>
                </a:cubicBezTo>
                <a:close/>
                <a:moveTo>
                  <a:pt x="2245" y="394"/>
                </a:moveTo>
                <a:cubicBezTo>
                  <a:pt x="2244" y="395"/>
                  <a:pt x="2244" y="395"/>
                  <a:pt x="2244" y="395"/>
                </a:cubicBezTo>
                <a:cubicBezTo>
                  <a:pt x="2245" y="396"/>
                  <a:pt x="2245" y="396"/>
                  <a:pt x="2245" y="396"/>
                </a:cubicBezTo>
                <a:cubicBezTo>
                  <a:pt x="2246" y="395"/>
                  <a:pt x="2246" y="395"/>
                  <a:pt x="2246" y="395"/>
                </a:cubicBezTo>
                <a:cubicBezTo>
                  <a:pt x="2245" y="394"/>
                  <a:pt x="2245" y="394"/>
                  <a:pt x="2245" y="394"/>
                </a:cubicBezTo>
                <a:close/>
                <a:moveTo>
                  <a:pt x="1563" y="87"/>
                </a:moveTo>
                <a:cubicBezTo>
                  <a:pt x="1564" y="87"/>
                  <a:pt x="1564" y="87"/>
                  <a:pt x="1564" y="87"/>
                </a:cubicBezTo>
                <a:cubicBezTo>
                  <a:pt x="1565" y="86"/>
                  <a:pt x="1565" y="86"/>
                  <a:pt x="1565" y="86"/>
                </a:cubicBezTo>
                <a:cubicBezTo>
                  <a:pt x="1567" y="86"/>
                  <a:pt x="1567" y="86"/>
                  <a:pt x="1567" y="86"/>
                </a:cubicBezTo>
                <a:cubicBezTo>
                  <a:pt x="1567" y="85"/>
                  <a:pt x="1567" y="85"/>
                  <a:pt x="1567" y="85"/>
                </a:cubicBezTo>
                <a:cubicBezTo>
                  <a:pt x="1566" y="84"/>
                  <a:pt x="1566" y="84"/>
                  <a:pt x="1566" y="84"/>
                </a:cubicBezTo>
                <a:cubicBezTo>
                  <a:pt x="1566" y="83"/>
                  <a:pt x="1566" y="83"/>
                  <a:pt x="1566" y="83"/>
                </a:cubicBezTo>
                <a:cubicBezTo>
                  <a:pt x="1566" y="82"/>
                  <a:pt x="1566" y="82"/>
                  <a:pt x="1566" y="82"/>
                </a:cubicBezTo>
                <a:cubicBezTo>
                  <a:pt x="1565" y="80"/>
                  <a:pt x="1565" y="80"/>
                  <a:pt x="1565" y="80"/>
                </a:cubicBezTo>
                <a:cubicBezTo>
                  <a:pt x="1564" y="80"/>
                  <a:pt x="1564" y="80"/>
                  <a:pt x="1564" y="80"/>
                </a:cubicBezTo>
                <a:cubicBezTo>
                  <a:pt x="1562" y="80"/>
                  <a:pt x="1562" y="80"/>
                  <a:pt x="1562" y="80"/>
                </a:cubicBezTo>
                <a:cubicBezTo>
                  <a:pt x="1561" y="81"/>
                  <a:pt x="1561" y="81"/>
                  <a:pt x="1561" y="81"/>
                </a:cubicBezTo>
                <a:cubicBezTo>
                  <a:pt x="1561" y="82"/>
                  <a:pt x="1561" y="82"/>
                  <a:pt x="1561" y="82"/>
                </a:cubicBezTo>
                <a:cubicBezTo>
                  <a:pt x="1562" y="84"/>
                  <a:pt x="1562" y="84"/>
                  <a:pt x="1562" y="84"/>
                </a:cubicBezTo>
                <a:cubicBezTo>
                  <a:pt x="1562" y="86"/>
                  <a:pt x="1562" y="86"/>
                  <a:pt x="1562" y="86"/>
                </a:cubicBezTo>
                <a:cubicBezTo>
                  <a:pt x="1563" y="87"/>
                  <a:pt x="1563" y="87"/>
                  <a:pt x="1563" y="87"/>
                </a:cubicBezTo>
                <a:close/>
                <a:moveTo>
                  <a:pt x="2250" y="379"/>
                </a:moveTo>
                <a:cubicBezTo>
                  <a:pt x="2250" y="378"/>
                  <a:pt x="2250" y="378"/>
                  <a:pt x="2250" y="378"/>
                </a:cubicBezTo>
                <a:cubicBezTo>
                  <a:pt x="2249" y="377"/>
                  <a:pt x="2249" y="377"/>
                  <a:pt x="2249" y="377"/>
                </a:cubicBezTo>
                <a:cubicBezTo>
                  <a:pt x="2249" y="378"/>
                  <a:pt x="2249" y="378"/>
                  <a:pt x="2249" y="378"/>
                </a:cubicBezTo>
                <a:cubicBezTo>
                  <a:pt x="2249" y="379"/>
                  <a:pt x="2249" y="379"/>
                  <a:pt x="2249" y="379"/>
                </a:cubicBezTo>
                <a:cubicBezTo>
                  <a:pt x="2249" y="380"/>
                  <a:pt x="2249" y="380"/>
                  <a:pt x="2249" y="380"/>
                </a:cubicBezTo>
                <a:cubicBezTo>
                  <a:pt x="2250" y="380"/>
                  <a:pt x="2250" y="380"/>
                  <a:pt x="2250" y="380"/>
                </a:cubicBezTo>
                <a:cubicBezTo>
                  <a:pt x="2250" y="379"/>
                  <a:pt x="2250" y="379"/>
                  <a:pt x="2250" y="379"/>
                </a:cubicBezTo>
                <a:close/>
                <a:moveTo>
                  <a:pt x="2219" y="445"/>
                </a:moveTo>
                <a:cubicBezTo>
                  <a:pt x="2218" y="445"/>
                  <a:pt x="2218" y="445"/>
                  <a:pt x="2218" y="445"/>
                </a:cubicBezTo>
                <a:cubicBezTo>
                  <a:pt x="2218" y="446"/>
                  <a:pt x="2218" y="446"/>
                  <a:pt x="2218" y="446"/>
                </a:cubicBezTo>
                <a:cubicBezTo>
                  <a:pt x="2218" y="447"/>
                  <a:pt x="2218" y="447"/>
                  <a:pt x="2218" y="447"/>
                </a:cubicBezTo>
                <a:cubicBezTo>
                  <a:pt x="2217" y="448"/>
                  <a:pt x="2217" y="448"/>
                  <a:pt x="2217" y="448"/>
                </a:cubicBezTo>
                <a:cubicBezTo>
                  <a:pt x="2217" y="449"/>
                  <a:pt x="2217" y="449"/>
                  <a:pt x="2217" y="449"/>
                </a:cubicBezTo>
                <a:cubicBezTo>
                  <a:pt x="2217" y="450"/>
                  <a:pt x="2217" y="450"/>
                  <a:pt x="2217" y="450"/>
                </a:cubicBezTo>
                <a:cubicBezTo>
                  <a:pt x="2217" y="451"/>
                  <a:pt x="2217" y="451"/>
                  <a:pt x="2217" y="451"/>
                </a:cubicBezTo>
                <a:cubicBezTo>
                  <a:pt x="2217" y="452"/>
                  <a:pt x="2217" y="452"/>
                  <a:pt x="2217" y="452"/>
                </a:cubicBezTo>
                <a:cubicBezTo>
                  <a:pt x="2218" y="452"/>
                  <a:pt x="2218" y="452"/>
                  <a:pt x="2218" y="452"/>
                </a:cubicBezTo>
                <a:cubicBezTo>
                  <a:pt x="2218" y="450"/>
                  <a:pt x="2218" y="450"/>
                  <a:pt x="2218" y="450"/>
                </a:cubicBezTo>
                <a:cubicBezTo>
                  <a:pt x="2219" y="450"/>
                  <a:pt x="2219" y="450"/>
                  <a:pt x="2219" y="450"/>
                </a:cubicBezTo>
                <a:cubicBezTo>
                  <a:pt x="2219" y="448"/>
                  <a:pt x="2219" y="448"/>
                  <a:pt x="2219" y="448"/>
                </a:cubicBezTo>
                <a:cubicBezTo>
                  <a:pt x="2219" y="447"/>
                  <a:pt x="2219" y="447"/>
                  <a:pt x="2219" y="447"/>
                </a:cubicBezTo>
                <a:cubicBezTo>
                  <a:pt x="2220" y="446"/>
                  <a:pt x="2220" y="446"/>
                  <a:pt x="2220" y="446"/>
                </a:cubicBezTo>
                <a:cubicBezTo>
                  <a:pt x="2220" y="447"/>
                  <a:pt x="2220" y="447"/>
                  <a:pt x="2220" y="447"/>
                </a:cubicBezTo>
                <a:cubicBezTo>
                  <a:pt x="2221" y="446"/>
                  <a:pt x="2221" y="446"/>
                  <a:pt x="2221" y="446"/>
                </a:cubicBezTo>
                <a:cubicBezTo>
                  <a:pt x="2222" y="444"/>
                  <a:pt x="2222" y="444"/>
                  <a:pt x="2222" y="444"/>
                </a:cubicBezTo>
                <a:cubicBezTo>
                  <a:pt x="2223" y="442"/>
                  <a:pt x="2223" y="442"/>
                  <a:pt x="2223" y="442"/>
                </a:cubicBezTo>
                <a:cubicBezTo>
                  <a:pt x="2222" y="442"/>
                  <a:pt x="2222" y="442"/>
                  <a:pt x="2222" y="442"/>
                </a:cubicBezTo>
                <a:cubicBezTo>
                  <a:pt x="2221" y="442"/>
                  <a:pt x="2221" y="442"/>
                  <a:pt x="2221" y="442"/>
                </a:cubicBezTo>
                <a:cubicBezTo>
                  <a:pt x="2220" y="441"/>
                  <a:pt x="2220" y="441"/>
                  <a:pt x="2220" y="441"/>
                </a:cubicBezTo>
                <a:cubicBezTo>
                  <a:pt x="2219" y="442"/>
                  <a:pt x="2219" y="442"/>
                  <a:pt x="2219" y="442"/>
                </a:cubicBezTo>
                <a:cubicBezTo>
                  <a:pt x="2220" y="443"/>
                  <a:pt x="2220" y="443"/>
                  <a:pt x="2220" y="443"/>
                </a:cubicBezTo>
                <a:cubicBezTo>
                  <a:pt x="2219" y="444"/>
                  <a:pt x="2219" y="444"/>
                  <a:pt x="2219" y="444"/>
                </a:cubicBezTo>
                <a:cubicBezTo>
                  <a:pt x="2219" y="445"/>
                  <a:pt x="2219" y="445"/>
                  <a:pt x="2219" y="445"/>
                </a:cubicBezTo>
                <a:close/>
                <a:moveTo>
                  <a:pt x="2218" y="459"/>
                </a:moveTo>
                <a:cubicBezTo>
                  <a:pt x="2219" y="458"/>
                  <a:pt x="2219" y="458"/>
                  <a:pt x="2219" y="458"/>
                </a:cubicBezTo>
                <a:cubicBezTo>
                  <a:pt x="2219" y="457"/>
                  <a:pt x="2219" y="457"/>
                  <a:pt x="2219" y="457"/>
                </a:cubicBezTo>
                <a:cubicBezTo>
                  <a:pt x="2218" y="457"/>
                  <a:pt x="2218" y="457"/>
                  <a:pt x="2218" y="457"/>
                </a:cubicBezTo>
                <a:cubicBezTo>
                  <a:pt x="2217" y="459"/>
                  <a:pt x="2217" y="459"/>
                  <a:pt x="2217" y="459"/>
                </a:cubicBezTo>
                <a:cubicBezTo>
                  <a:pt x="2218" y="459"/>
                  <a:pt x="2218" y="459"/>
                  <a:pt x="2218" y="459"/>
                </a:cubicBezTo>
                <a:close/>
                <a:moveTo>
                  <a:pt x="2240" y="423"/>
                </a:moveTo>
                <a:cubicBezTo>
                  <a:pt x="2240" y="422"/>
                  <a:pt x="2240" y="422"/>
                  <a:pt x="2240" y="422"/>
                </a:cubicBezTo>
                <a:cubicBezTo>
                  <a:pt x="2239" y="424"/>
                  <a:pt x="2239" y="424"/>
                  <a:pt x="2239" y="424"/>
                </a:cubicBezTo>
                <a:cubicBezTo>
                  <a:pt x="2240" y="424"/>
                  <a:pt x="2240" y="424"/>
                  <a:pt x="2240" y="424"/>
                </a:cubicBezTo>
                <a:cubicBezTo>
                  <a:pt x="2240" y="423"/>
                  <a:pt x="2240" y="423"/>
                  <a:pt x="2240" y="423"/>
                </a:cubicBezTo>
                <a:close/>
                <a:moveTo>
                  <a:pt x="2226" y="442"/>
                </a:moveTo>
                <a:cubicBezTo>
                  <a:pt x="2226" y="440"/>
                  <a:pt x="2226" y="440"/>
                  <a:pt x="2226" y="440"/>
                </a:cubicBezTo>
                <a:cubicBezTo>
                  <a:pt x="2225" y="439"/>
                  <a:pt x="2225" y="439"/>
                  <a:pt x="2225" y="439"/>
                </a:cubicBezTo>
                <a:cubicBezTo>
                  <a:pt x="2223" y="441"/>
                  <a:pt x="2223" y="441"/>
                  <a:pt x="2223" y="441"/>
                </a:cubicBezTo>
                <a:cubicBezTo>
                  <a:pt x="2223" y="442"/>
                  <a:pt x="2223" y="442"/>
                  <a:pt x="2223" y="442"/>
                </a:cubicBezTo>
                <a:cubicBezTo>
                  <a:pt x="2225" y="442"/>
                  <a:pt x="2225" y="442"/>
                  <a:pt x="2225" y="442"/>
                </a:cubicBezTo>
                <a:cubicBezTo>
                  <a:pt x="2226" y="442"/>
                  <a:pt x="2226" y="442"/>
                  <a:pt x="2226" y="442"/>
                </a:cubicBezTo>
                <a:close/>
                <a:moveTo>
                  <a:pt x="2244" y="403"/>
                </a:moveTo>
                <a:cubicBezTo>
                  <a:pt x="2245" y="402"/>
                  <a:pt x="2245" y="402"/>
                  <a:pt x="2245" y="402"/>
                </a:cubicBezTo>
                <a:cubicBezTo>
                  <a:pt x="2245" y="401"/>
                  <a:pt x="2245" y="401"/>
                  <a:pt x="2245" y="401"/>
                </a:cubicBezTo>
                <a:cubicBezTo>
                  <a:pt x="2244" y="402"/>
                  <a:pt x="2244" y="402"/>
                  <a:pt x="2244" y="402"/>
                </a:cubicBezTo>
                <a:cubicBezTo>
                  <a:pt x="2244" y="403"/>
                  <a:pt x="2244" y="403"/>
                  <a:pt x="2244" y="403"/>
                </a:cubicBezTo>
                <a:close/>
                <a:moveTo>
                  <a:pt x="1554" y="82"/>
                </a:moveTo>
                <a:cubicBezTo>
                  <a:pt x="1555" y="83"/>
                  <a:pt x="1555" y="83"/>
                  <a:pt x="1555" y="83"/>
                </a:cubicBezTo>
                <a:cubicBezTo>
                  <a:pt x="1555" y="82"/>
                  <a:pt x="1555" y="82"/>
                  <a:pt x="1555" y="82"/>
                </a:cubicBezTo>
                <a:cubicBezTo>
                  <a:pt x="1556" y="81"/>
                  <a:pt x="1556" y="81"/>
                  <a:pt x="1556" y="81"/>
                </a:cubicBezTo>
                <a:cubicBezTo>
                  <a:pt x="1555" y="80"/>
                  <a:pt x="1555" y="80"/>
                  <a:pt x="1555" y="80"/>
                </a:cubicBezTo>
                <a:cubicBezTo>
                  <a:pt x="1554" y="80"/>
                  <a:pt x="1554" y="80"/>
                  <a:pt x="1554" y="80"/>
                </a:cubicBezTo>
                <a:cubicBezTo>
                  <a:pt x="1554" y="81"/>
                  <a:pt x="1554" y="81"/>
                  <a:pt x="1554" y="81"/>
                </a:cubicBezTo>
                <a:cubicBezTo>
                  <a:pt x="1554" y="82"/>
                  <a:pt x="1554" y="82"/>
                  <a:pt x="1554" y="82"/>
                </a:cubicBezTo>
                <a:close/>
                <a:moveTo>
                  <a:pt x="1799" y="82"/>
                </a:moveTo>
                <a:cubicBezTo>
                  <a:pt x="1799" y="83"/>
                  <a:pt x="1799" y="83"/>
                  <a:pt x="1799" y="83"/>
                </a:cubicBezTo>
                <a:cubicBezTo>
                  <a:pt x="1800" y="82"/>
                  <a:pt x="1800" y="82"/>
                  <a:pt x="1800" y="82"/>
                </a:cubicBezTo>
                <a:cubicBezTo>
                  <a:pt x="1801" y="81"/>
                  <a:pt x="1801" y="81"/>
                  <a:pt x="1801" y="81"/>
                </a:cubicBezTo>
                <a:cubicBezTo>
                  <a:pt x="1800" y="79"/>
                  <a:pt x="1800" y="79"/>
                  <a:pt x="1800" y="79"/>
                </a:cubicBezTo>
                <a:cubicBezTo>
                  <a:pt x="1799" y="79"/>
                  <a:pt x="1799" y="79"/>
                  <a:pt x="1799" y="79"/>
                </a:cubicBezTo>
                <a:cubicBezTo>
                  <a:pt x="1798" y="79"/>
                  <a:pt x="1798" y="79"/>
                  <a:pt x="1798" y="79"/>
                </a:cubicBezTo>
                <a:cubicBezTo>
                  <a:pt x="1798" y="80"/>
                  <a:pt x="1798" y="80"/>
                  <a:pt x="1798" y="80"/>
                </a:cubicBezTo>
                <a:cubicBezTo>
                  <a:pt x="1799" y="81"/>
                  <a:pt x="1799" y="81"/>
                  <a:pt x="1799" y="81"/>
                </a:cubicBezTo>
                <a:cubicBezTo>
                  <a:pt x="1799" y="82"/>
                  <a:pt x="1799" y="82"/>
                  <a:pt x="1799" y="82"/>
                </a:cubicBezTo>
                <a:close/>
                <a:moveTo>
                  <a:pt x="1853" y="126"/>
                </a:moveTo>
                <a:cubicBezTo>
                  <a:pt x="1856" y="127"/>
                  <a:pt x="1856" y="127"/>
                  <a:pt x="1856" y="127"/>
                </a:cubicBezTo>
                <a:cubicBezTo>
                  <a:pt x="1857" y="127"/>
                  <a:pt x="1857" y="127"/>
                  <a:pt x="1857" y="127"/>
                </a:cubicBezTo>
                <a:cubicBezTo>
                  <a:pt x="1858" y="127"/>
                  <a:pt x="1858" y="127"/>
                  <a:pt x="1858" y="127"/>
                </a:cubicBezTo>
                <a:cubicBezTo>
                  <a:pt x="1859" y="127"/>
                  <a:pt x="1859" y="127"/>
                  <a:pt x="1859" y="127"/>
                </a:cubicBezTo>
                <a:cubicBezTo>
                  <a:pt x="1859" y="126"/>
                  <a:pt x="1859" y="126"/>
                  <a:pt x="1859" y="126"/>
                </a:cubicBezTo>
                <a:cubicBezTo>
                  <a:pt x="1860" y="125"/>
                  <a:pt x="1860" y="125"/>
                  <a:pt x="1860" y="125"/>
                </a:cubicBezTo>
                <a:cubicBezTo>
                  <a:pt x="1859" y="124"/>
                  <a:pt x="1859" y="124"/>
                  <a:pt x="1859" y="124"/>
                </a:cubicBezTo>
                <a:cubicBezTo>
                  <a:pt x="1859" y="122"/>
                  <a:pt x="1859" y="122"/>
                  <a:pt x="1859" y="122"/>
                </a:cubicBezTo>
                <a:cubicBezTo>
                  <a:pt x="1858" y="121"/>
                  <a:pt x="1858" y="121"/>
                  <a:pt x="1858" y="121"/>
                </a:cubicBezTo>
                <a:cubicBezTo>
                  <a:pt x="1858" y="120"/>
                  <a:pt x="1858" y="120"/>
                  <a:pt x="1858" y="120"/>
                </a:cubicBezTo>
                <a:cubicBezTo>
                  <a:pt x="1858" y="119"/>
                  <a:pt x="1858" y="119"/>
                  <a:pt x="1858" y="119"/>
                </a:cubicBezTo>
                <a:cubicBezTo>
                  <a:pt x="1857" y="119"/>
                  <a:pt x="1857" y="119"/>
                  <a:pt x="1857" y="119"/>
                </a:cubicBezTo>
                <a:cubicBezTo>
                  <a:pt x="1854" y="119"/>
                  <a:pt x="1854" y="119"/>
                  <a:pt x="1854" y="119"/>
                </a:cubicBezTo>
                <a:cubicBezTo>
                  <a:pt x="1852" y="121"/>
                  <a:pt x="1852" y="121"/>
                  <a:pt x="1852" y="121"/>
                </a:cubicBezTo>
                <a:cubicBezTo>
                  <a:pt x="1851" y="121"/>
                  <a:pt x="1851" y="121"/>
                  <a:pt x="1851" y="121"/>
                </a:cubicBezTo>
                <a:cubicBezTo>
                  <a:pt x="1851" y="123"/>
                  <a:pt x="1851" y="123"/>
                  <a:pt x="1851" y="123"/>
                </a:cubicBezTo>
                <a:cubicBezTo>
                  <a:pt x="1852" y="123"/>
                  <a:pt x="1852" y="123"/>
                  <a:pt x="1852" y="123"/>
                </a:cubicBezTo>
                <a:cubicBezTo>
                  <a:pt x="1852" y="124"/>
                  <a:pt x="1852" y="124"/>
                  <a:pt x="1852" y="124"/>
                </a:cubicBezTo>
                <a:cubicBezTo>
                  <a:pt x="1852" y="125"/>
                  <a:pt x="1852" y="125"/>
                  <a:pt x="1852" y="125"/>
                </a:cubicBezTo>
                <a:cubicBezTo>
                  <a:pt x="1851" y="125"/>
                  <a:pt x="1851" y="125"/>
                  <a:pt x="1851" y="125"/>
                </a:cubicBezTo>
                <a:cubicBezTo>
                  <a:pt x="1850" y="125"/>
                  <a:pt x="1850" y="125"/>
                  <a:pt x="1850" y="125"/>
                </a:cubicBezTo>
                <a:cubicBezTo>
                  <a:pt x="1851" y="126"/>
                  <a:pt x="1851" y="126"/>
                  <a:pt x="1851" y="126"/>
                </a:cubicBezTo>
                <a:cubicBezTo>
                  <a:pt x="1853" y="126"/>
                  <a:pt x="1853" y="126"/>
                  <a:pt x="1853" y="126"/>
                </a:cubicBezTo>
                <a:close/>
                <a:moveTo>
                  <a:pt x="2245" y="398"/>
                </a:moveTo>
                <a:cubicBezTo>
                  <a:pt x="2245" y="399"/>
                  <a:pt x="2245" y="399"/>
                  <a:pt x="2245" y="399"/>
                </a:cubicBezTo>
                <a:cubicBezTo>
                  <a:pt x="2246" y="398"/>
                  <a:pt x="2246" y="398"/>
                  <a:pt x="2246" y="398"/>
                </a:cubicBezTo>
                <a:cubicBezTo>
                  <a:pt x="2245" y="397"/>
                  <a:pt x="2245" y="397"/>
                  <a:pt x="2245" y="397"/>
                </a:cubicBezTo>
                <a:cubicBezTo>
                  <a:pt x="2245" y="398"/>
                  <a:pt x="2245" y="398"/>
                  <a:pt x="2245" y="398"/>
                </a:cubicBezTo>
                <a:close/>
                <a:moveTo>
                  <a:pt x="1786" y="68"/>
                </a:moveTo>
                <a:cubicBezTo>
                  <a:pt x="1786" y="68"/>
                  <a:pt x="1786" y="68"/>
                  <a:pt x="1787" y="68"/>
                </a:cubicBezTo>
                <a:cubicBezTo>
                  <a:pt x="1787" y="68"/>
                  <a:pt x="1787" y="68"/>
                  <a:pt x="1789" y="68"/>
                </a:cubicBezTo>
                <a:cubicBezTo>
                  <a:pt x="1789" y="68"/>
                  <a:pt x="1789" y="68"/>
                  <a:pt x="1790" y="67"/>
                </a:cubicBezTo>
                <a:cubicBezTo>
                  <a:pt x="1790" y="67"/>
                  <a:pt x="1790" y="67"/>
                  <a:pt x="1791" y="68"/>
                </a:cubicBezTo>
                <a:cubicBezTo>
                  <a:pt x="1791" y="68"/>
                  <a:pt x="1791" y="68"/>
                  <a:pt x="1791" y="67"/>
                </a:cubicBezTo>
                <a:cubicBezTo>
                  <a:pt x="1791" y="67"/>
                  <a:pt x="1791" y="67"/>
                  <a:pt x="1791" y="65"/>
                </a:cubicBezTo>
                <a:cubicBezTo>
                  <a:pt x="1791" y="65"/>
                  <a:pt x="1791" y="65"/>
                  <a:pt x="1790" y="65"/>
                </a:cubicBezTo>
                <a:cubicBezTo>
                  <a:pt x="1790" y="65"/>
                  <a:pt x="1790" y="65"/>
                  <a:pt x="1789" y="65"/>
                </a:cubicBezTo>
                <a:cubicBezTo>
                  <a:pt x="1789" y="65"/>
                  <a:pt x="1789" y="65"/>
                  <a:pt x="1788" y="65"/>
                </a:cubicBezTo>
                <a:cubicBezTo>
                  <a:pt x="1788" y="65"/>
                  <a:pt x="1788" y="65"/>
                  <a:pt x="1788" y="66"/>
                </a:cubicBezTo>
                <a:cubicBezTo>
                  <a:pt x="1788" y="66"/>
                  <a:pt x="1788" y="66"/>
                  <a:pt x="1786" y="66"/>
                </a:cubicBezTo>
                <a:cubicBezTo>
                  <a:pt x="1786" y="66"/>
                  <a:pt x="1786" y="66"/>
                  <a:pt x="1785" y="67"/>
                </a:cubicBezTo>
                <a:cubicBezTo>
                  <a:pt x="1785" y="67"/>
                  <a:pt x="1785" y="67"/>
                  <a:pt x="1786" y="68"/>
                </a:cubicBezTo>
                <a:close/>
                <a:moveTo>
                  <a:pt x="1541" y="93"/>
                </a:moveTo>
                <a:cubicBezTo>
                  <a:pt x="1541" y="94"/>
                  <a:pt x="1541" y="94"/>
                  <a:pt x="1541" y="94"/>
                </a:cubicBezTo>
                <a:cubicBezTo>
                  <a:pt x="1542" y="94"/>
                  <a:pt x="1542" y="94"/>
                  <a:pt x="1542" y="94"/>
                </a:cubicBezTo>
                <a:cubicBezTo>
                  <a:pt x="1543" y="93"/>
                  <a:pt x="1543" y="93"/>
                  <a:pt x="1543" y="93"/>
                </a:cubicBezTo>
                <a:cubicBezTo>
                  <a:pt x="1545" y="94"/>
                  <a:pt x="1545" y="94"/>
                  <a:pt x="1545" y="94"/>
                </a:cubicBezTo>
                <a:cubicBezTo>
                  <a:pt x="1546" y="93"/>
                  <a:pt x="1546" y="93"/>
                  <a:pt x="1546" y="93"/>
                </a:cubicBezTo>
                <a:cubicBezTo>
                  <a:pt x="1545" y="92"/>
                  <a:pt x="1545" y="92"/>
                  <a:pt x="1545" y="92"/>
                </a:cubicBezTo>
                <a:cubicBezTo>
                  <a:pt x="1544" y="92"/>
                  <a:pt x="1544" y="92"/>
                  <a:pt x="1544" y="92"/>
                </a:cubicBezTo>
                <a:cubicBezTo>
                  <a:pt x="1544" y="90"/>
                  <a:pt x="1544" y="90"/>
                  <a:pt x="1544" y="90"/>
                </a:cubicBezTo>
                <a:cubicBezTo>
                  <a:pt x="1542" y="88"/>
                  <a:pt x="1542" y="88"/>
                  <a:pt x="1542" y="88"/>
                </a:cubicBezTo>
                <a:cubicBezTo>
                  <a:pt x="1542" y="89"/>
                  <a:pt x="1542" y="89"/>
                  <a:pt x="1542" y="89"/>
                </a:cubicBezTo>
                <a:cubicBezTo>
                  <a:pt x="1542" y="91"/>
                  <a:pt x="1542" y="91"/>
                  <a:pt x="1542" y="91"/>
                </a:cubicBezTo>
                <a:cubicBezTo>
                  <a:pt x="1542" y="92"/>
                  <a:pt x="1542" y="92"/>
                  <a:pt x="1542" y="92"/>
                </a:cubicBezTo>
                <a:cubicBezTo>
                  <a:pt x="1540" y="92"/>
                  <a:pt x="1540" y="92"/>
                  <a:pt x="1540" y="92"/>
                </a:cubicBezTo>
                <a:cubicBezTo>
                  <a:pt x="1541" y="93"/>
                  <a:pt x="1541" y="93"/>
                  <a:pt x="1541" y="93"/>
                </a:cubicBezTo>
                <a:close/>
                <a:moveTo>
                  <a:pt x="1550" y="69"/>
                </a:moveTo>
                <a:cubicBezTo>
                  <a:pt x="1552" y="69"/>
                  <a:pt x="1552" y="69"/>
                  <a:pt x="1552" y="69"/>
                </a:cubicBezTo>
                <a:cubicBezTo>
                  <a:pt x="1553" y="68"/>
                  <a:pt x="1553" y="68"/>
                  <a:pt x="1553" y="68"/>
                </a:cubicBezTo>
                <a:cubicBezTo>
                  <a:pt x="1554" y="69"/>
                  <a:pt x="1554" y="69"/>
                  <a:pt x="1554" y="69"/>
                </a:cubicBezTo>
                <a:cubicBezTo>
                  <a:pt x="1555" y="70"/>
                  <a:pt x="1555" y="70"/>
                  <a:pt x="1555" y="70"/>
                </a:cubicBezTo>
                <a:cubicBezTo>
                  <a:pt x="1556" y="70"/>
                  <a:pt x="1556" y="70"/>
                  <a:pt x="1556" y="70"/>
                </a:cubicBezTo>
                <a:cubicBezTo>
                  <a:pt x="1557" y="71"/>
                  <a:pt x="1557" y="71"/>
                  <a:pt x="1557" y="71"/>
                </a:cubicBezTo>
                <a:cubicBezTo>
                  <a:pt x="1558" y="72"/>
                  <a:pt x="1558" y="72"/>
                  <a:pt x="1558" y="72"/>
                </a:cubicBezTo>
                <a:cubicBezTo>
                  <a:pt x="1560" y="71"/>
                  <a:pt x="1560" y="71"/>
                  <a:pt x="1560" y="71"/>
                </a:cubicBezTo>
                <a:cubicBezTo>
                  <a:pt x="1561" y="72"/>
                  <a:pt x="1561" y="72"/>
                  <a:pt x="1561" y="72"/>
                </a:cubicBezTo>
                <a:cubicBezTo>
                  <a:pt x="1563" y="73"/>
                  <a:pt x="1563" y="73"/>
                  <a:pt x="1563" y="73"/>
                </a:cubicBezTo>
                <a:cubicBezTo>
                  <a:pt x="1563" y="72"/>
                  <a:pt x="1563" y="72"/>
                  <a:pt x="1563" y="72"/>
                </a:cubicBezTo>
                <a:cubicBezTo>
                  <a:pt x="1564" y="71"/>
                  <a:pt x="1564" y="71"/>
                  <a:pt x="1564" y="71"/>
                </a:cubicBezTo>
                <a:cubicBezTo>
                  <a:pt x="1563" y="69"/>
                  <a:pt x="1563" y="69"/>
                  <a:pt x="1563" y="69"/>
                </a:cubicBezTo>
                <a:cubicBezTo>
                  <a:pt x="1563" y="69"/>
                  <a:pt x="1563" y="69"/>
                  <a:pt x="1564" y="67"/>
                </a:cubicBezTo>
                <a:cubicBezTo>
                  <a:pt x="1564" y="67"/>
                  <a:pt x="1564" y="67"/>
                  <a:pt x="1564" y="66"/>
                </a:cubicBezTo>
                <a:cubicBezTo>
                  <a:pt x="1564" y="66"/>
                  <a:pt x="1564" y="66"/>
                  <a:pt x="1563" y="66"/>
                </a:cubicBezTo>
                <a:cubicBezTo>
                  <a:pt x="1563" y="66"/>
                  <a:pt x="1563" y="66"/>
                  <a:pt x="1562" y="66"/>
                </a:cubicBezTo>
                <a:cubicBezTo>
                  <a:pt x="1562" y="66"/>
                  <a:pt x="1562" y="66"/>
                  <a:pt x="1560" y="65"/>
                </a:cubicBezTo>
                <a:cubicBezTo>
                  <a:pt x="1560" y="65"/>
                  <a:pt x="1560" y="65"/>
                  <a:pt x="1558" y="64"/>
                </a:cubicBezTo>
                <a:cubicBezTo>
                  <a:pt x="1558" y="64"/>
                  <a:pt x="1558" y="64"/>
                  <a:pt x="1557" y="64"/>
                </a:cubicBezTo>
                <a:cubicBezTo>
                  <a:pt x="1557" y="64"/>
                  <a:pt x="1557" y="64"/>
                  <a:pt x="1555" y="64"/>
                </a:cubicBezTo>
                <a:cubicBezTo>
                  <a:pt x="1555" y="64"/>
                  <a:pt x="1555" y="64"/>
                  <a:pt x="1555" y="65"/>
                </a:cubicBezTo>
                <a:cubicBezTo>
                  <a:pt x="1555" y="65"/>
                  <a:pt x="1555" y="65"/>
                  <a:pt x="1556" y="65"/>
                </a:cubicBezTo>
                <a:cubicBezTo>
                  <a:pt x="1556" y="65"/>
                  <a:pt x="1556" y="65"/>
                  <a:pt x="1557" y="65"/>
                </a:cubicBezTo>
                <a:cubicBezTo>
                  <a:pt x="1557" y="65"/>
                  <a:pt x="1557" y="65"/>
                  <a:pt x="1559" y="66"/>
                </a:cubicBezTo>
                <a:cubicBezTo>
                  <a:pt x="1559" y="66"/>
                  <a:pt x="1559" y="66"/>
                  <a:pt x="1561" y="68"/>
                </a:cubicBezTo>
                <a:cubicBezTo>
                  <a:pt x="1561" y="68"/>
                  <a:pt x="1561" y="68"/>
                  <a:pt x="1562" y="69"/>
                </a:cubicBezTo>
                <a:cubicBezTo>
                  <a:pt x="1560" y="69"/>
                  <a:pt x="1560" y="69"/>
                  <a:pt x="1560" y="69"/>
                </a:cubicBezTo>
                <a:cubicBezTo>
                  <a:pt x="1558" y="67"/>
                  <a:pt x="1558" y="67"/>
                  <a:pt x="1558" y="67"/>
                </a:cubicBezTo>
                <a:cubicBezTo>
                  <a:pt x="1557" y="67"/>
                  <a:pt x="1557" y="67"/>
                  <a:pt x="1557" y="67"/>
                </a:cubicBezTo>
                <a:cubicBezTo>
                  <a:pt x="1556" y="67"/>
                  <a:pt x="1556" y="67"/>
                  <a:pt x="1556" y="67"/>
                </a:cubicBezTo>
                <a:cubicBezTo>
                  <a:pt x="1555" y="67"/>
                  <a:pt x="1555" y="67"/>
                  <a:pt x="1555" y="67"/>
                </a:cubicBezTo>
                <a:cubicBezTo>
                  <a:pt x="1554" y="66"/>
                  <a:pt x="1554" y="66"/>
                  <a:pt x="1554" y="66"/>
                </a:cubicBezTo>
                <a:cubicBezTo>
                  <a:pt x="1551" y="66"/>
                  <a:pt x="1551" y="66"/>
                  <a:pt x="1551" y="66"/>
                </a:cubicBezTo>
                <a:cubicBezTo>
                  <a:pt x="1549" y="66"/>
                  <a:pt x="1549" y="66"/>
                  <a:pt x="1549" y="66"/>
                </a:cubicBezTo>
                <a:cubicBezTo>
                  <a:pt x="1550" y="68"/>
                  <a:pt x="1550" y="68"/>
                  <a:pt x="1550" y="68"/>
                </a:cubicBezTo>
                <a:cubicBezTo>
                  <a:pt x="1550" y="69"/>
                  <a:pt x="1550" y="69"/>
                  <a:pt x="1550" y="69"/>
                </a:cubicBezTo>
                <a:close/>
                <a:moveTo>
                  <a:pt x="2243" y="378"/>
                </a:moveTo>
                <a:cubicBezTo>
                  <a:pt x="2243" y="379"/>
                  <a:pt x="2243" y="379"/>
                  <a:pt x="2243" y="379"/>
                </a:cubicBezTo>
                <a:cubicBezTo>
                  <a:pt x="2245" y="379"/>
                  <a:pt x="2245" y="379"/>
                  <a:pt x="2245" y="379"/>
                </a:cubicBezTo>
                <a:cubicBezTo>
                  <a:pt x="2245" y="378"/>
                  <a:pt x="2245" y="378"/>
                  <a:pt x="2245" y="378"/>
                </a:cubicBezTo>
                <a:cubicBezTo>
                  <a:pt x="2244" y="377"/>
                  <a:pt x="2244" y="377"/>
                  <a:pt x="2244" y="377"/>
                </a:cubicBezTo>
                <a:cubicBezTo>
                  <a:pt x="2243" y="378"/>
                  <a:pt x="2243" y="378"/>
                  <a:pt x="2243" y="378"/>
                </a:cubicBezTo>
                <a:close/>
                <a:moveTo>
                  <a:pt x="1555" y="62"/>
                </a:moveTo>
                <a:cubicBezTo>
                  <a:pt x="1552" y="63"/>
                  <a:pt x="1552" y="63"/>
                  <a:pt x="1552" y="63"/>
                </a:cubicBezTo>
                <a:cubicBezTo>
                  <a:pt x="1553" y="64"/>
                  <a:pt x="1553" y="64"/>
                  <a:pt x="1553" y="64"/>
                </a:cubicBezTo>
                <a:cubicBezTo>
                  <a:pt x="1554" y="64"/>
                  <a:pt x="1554" y="64"/>
                  <a:pt x="1554" y="64"/>
                </a:cubicBezTo>
                <a:cubicBezTo>
                  <a:pt x="1555" y="63"/>
                  <a:pt x="1555" y="63"/>
                  <a:pt x="1555" y="63"/>
                </a:cubicBezTo>
                <a:cubicBezTo>
                  <a:pt x="1557" y="63"/>
                  <a:pt x="1557" y="63"/>
                  <a:pt x="1557" y="63"/>
                </a:cubicBezTo>
                <a:cubicBezTo>
                  <a:pt x="1558" y="61"/>
                  <a:pt x="1558" y="61"/>
                  <a:pt x="1558" y="61"/>
                </a:cubicBezTo>
                <a:cubicBezTo>
                  <a:pt x="1559" y="59"/>
                  <a:pt x="1559" y="59"/>
                  <a:pt x="1559" y="59"/>
                </a:cubicBezTo>
                <a:cubicBezTo>
                  <a:pt x="1560" y="58"/>
                  <a:pt x="1560" y="58"/>
                  <a:pt x="1560" y="58"/>
                </a:cubicBezTo>
                <a:cubicBezTo>
                  <a:pt x="1559" y="57"/>
                  <a:pt x="1559" y="57"/>
                  <a:pt x="1559" y="57"/>
                </a:cubicBezTo>
                <a:cubicBezTo>
                  <a:pt x="1558" y="58"/>
                  <a:pt x="1558" y="58"/>
                  <a:pt x="1558" y="58"/>
                </a:cubicBezTo>
                <a:cubicBezTo>
                  <a:pt x="1556" y="58"/>
                  <a:pt x="1556" y="58"/>
                  <a:pt x="1556" y="58"/>
                </a:cubicBezTo>
                <a:cubicBezTo>
                  <a:pt x="1555" y="57"/>
                  <a:pt x="1555" y="57"/>
                  <a:pt x="1555" y="57"/>
                </a:cubicBezTo>
                <a:cubicBezTo>
                  <a:pt x="1554" y="58"/>
                  <a:pt x="1554" y="58"/>
                  <a:pt x="1554" y="58"/>
                </a:cubicBezTo>
                <a:cubicBezTo>
                  <a:pt x="1554" y="59"/>
                  <a:pt x="1554" y="59"/>
                  <a:pt x="1554" y="59"/>
                </a:cubicBezTo>
                <a:cubicBezTo>
                  <a:pt x="1554" y="60"/>
                  <a:pt x="1554" y="60"/>
                  <a:pt x="1554" y="60"/>
                </a:cubicBezTo>
                <a:cubicBezTo>
                  <a:pt x="1555" y="60"/>
                  <a:pt x="1555" y="60"/>
                  <a:pt x="1555" y="60"/>
                </a:cubicBezTo>
                <a:cubicBezTo>
                  <a:pt x="1556" y="61"/>
                  <a:pt x="1556" y="61"/>
                  <a:pt x="1556" y="61"/>
                </a:cubicBezTo>
                <a:cubicBezTo>
                  <a:pt x="1556" y="62"/>
                  <a:pt x="1556" y="62"/>
                  <a:pt x="1556" y="62"/>
                </a:cubicBezTo>
                <a:cubicBezTo>
                  <a:pt x="1555" y="62"/>
                  <a:pt x="1555" y="62"/>
                  <a:pt x="1555" y="62"/>
                </a:cubicBezTo>
                <a:close/>
                <a:moveTo>
                  <a:pt x="1577" y="49"/>
                </a:moveTo>
                <a:cubicBezTo>
                  <a:pt x="1577" y="49"/>
                  <a:pt x="1577" y="49"/>
                  <a:pt x="1578" y="49"/>
                </a:cubicBezTo>
                <a:cubicBezTo>
                  <a:pt x="1578" y="49"/>
                  <a:pt x="1578" y="49"/>
                  <a:pt x="1579" y="48"/>
                </a:cubicBezTo>
                <a:cubicBezTo>
                  <a:pt x="1579" y="48"/>
                  <a:pt x="1579" y="48"/>
                  <a:pt x="1579" y="47"/>
                </a:cubicBezTo>
                <a:cubicBezTo>
                  <a:pt x="1579" y="47"/>
                  <a:pt x="1579" y="47"/>
                  <a:pt x="1578" y="47"/>
                </a:cubicBezTo>
                <a:cubicBezTo>
                  <a:pt x="1578" y="47"/>
                  <a:pt x="1578" y="47"/>
                  <a:pt x="1577" y="46"/>
                </a:cubicBezTo>
                <a:cubicBezTo>
                  <a:pt x="1577" y="46"/>
                  <a:pt x="1577" y="46"/>
                  <a:pt x="1576" y="46"/>
                </a:cubicBezTo>
                <a:cubicBezTo>
                  <a:pt x="1576" y="46"/>
                  <a:pt x="1576" y="46"/>
                  <a:pt x="1575" y="47"/>
                </a:cubicBezTo>
                <a:cubicBezTo>
                  <a:pt x="1575" y="47"/>
                  <a:pt x="1575" y="47"/>
                  <a:pt x="1574" y="48"/>
                </a:cubicBezTo>
                <a:cubicBezTo>
                  <a:pt x="1574" y="48"/>
                  <a:pt x="1574" y="48"/>
                  <a:pt x="1576" y="48"/>
                </a:cubicBezTo>
                <a:cubicBezTo>
                  <a:pt x="1576" y="48"/>
                  <a:pt x="1576" y="48"/>
                  <a:pt x="1577" y="49"/>
                </a:cubicBezTo>
                <a:close/>
                <a:moveTo>
                  <a:pt x="1536" y="67"/>
                </a:moveTo>
                <a:cubicBezTo>
                  <a:pt x="1536" y="67"/>
                  <a:pt x="1536" y="67"/>
                  <a:pt x="1535" y="66"/>
                </a:cubicBezTo>
                <a:cubicBezTo>
                  <a:pt x="1535" y="66"/>
                  <a:pt x="1535" y="66"/>
                  <a:pt x="1534" y="67"/>
                </a:cubicBezTo>
                <a:cubicBezTo>
                  <a:pt x="1534" y="67"/>
                  <a:pt x="1534" y="67"/>
                  <a:pt x="1534" y="68"/>
                </a:cubicBezTo>
                <a:cubicBezTo>
                  <a:pt x="1534" y="68"/>
                  <a:pt x="1534" y="68"/>
                  <a:pt x="1536" y="68"/>
                </a:cubicBezTo>
                <a:cubicBezTo>
                  <a:pt x="1536" y="68"/>
                  <a:pt x="1536" y="68"/>
                  <a:pt x="1536" y="67"/>
                </a:cubicBezTo>
                <a:close/>
                <a:moveTo>
                  <a:pt x="1517" y="84"/>
                </a:moveTo>
                <a:cubicBezTo>
                  <a:pt x="1519" y="85"/>
                  <a:pt x="1519" y="85"/>
                  <a:pt x="1519" y="85"/>
                </a:cubicBezTo>
                <a:cubicBezTo>
                  <a:pt x="1519" y="86"/>
                  <a:pt x="1519" y="86"/>
                  <a:pt x="1519" y="86"/>
                </a:cubicBezTo>
                <a:cubicBezTo>
                  <a:pt x="1520" y="86"/>
                  <a:pt x="1520" y="86"/>
                  <a:pt x="1520" y="86"/>
                </a:cubicBezTo>
                <a:cubicBezTo>
                  <a:pt x="1520" y="85"/>
                  <a:pt x="1520" y="85"/>
                  <a:pt x="1520" y="85"/>
                </a:cubicBezTo>
                <a:cubicBezTo>
                  <a:pt x="1521" y="84"/>
                  <a:pt x="1521" y="84"/>
                  <a:pt x="1521" y="84"/>
                </a:cubicBezTo>
                <a:cubicBezTo>
                  <a:pt x="1522" y="85"/>
                  <a:pt x="1522" y="85"/>
                  <a:pt x="1522" y="85"/>
                </a:cubicBezTo>
                <a:cubicBezTo>
                  <a:pt x="1523" y="87"/>
                  <a:pt x="1523" y="87"/>
                  <a:pt x="1523" y="87"/>
                </a:cubicBezTo>
                <a:cubicBezTo>
                  <a:pt x="1524" y="87"/>
                  <a:pt x="1524" y="87"/>
                  <a:pt x="1524" y="87"/>
                </a:cubicBezTo>
                <a:cubicBezTo>
                  <a:pt x="1523" y="85"/>
                  <a:pt x="1523" y="85"/>
                  <a:pt x="1523" y="85"/>
                </a:cubicBezTo>
                <a:cubicBezTo>
                  <a:pt x="1523" y="83"/>
                  <a:pt x="1523" y="83"/>
                  <a:pt x="1523" y="83"/>
                </a:cubicBezTo>
                <a:cubicBezTo>
                  <a:pt x="1522" y="83"/>
                  <a:pt x="1522" y="83"/>
                  <a:pt x="1522" y="83"/>
                </a:cubicBezTo>
                <a:cubicBezTo>
                  <a:pt x="1522" y="82"/>
                  <a:pt x="1522" y="82"/>
                  <a:pt x="1522" y="82"/>
                </a:cubicBezTo>
                <a:cubicBezTo>
                  <a:pt x="1521" y="81"/>
                  <a:pt x="1521" y="81"/>
                  <a:pt x="1521" y="81"/>
                </a:cubicBezTo>
                <a:cubicBezTo>
                  <a:pt x="1522" y="80"/>
                  <a:pt x="1522" y="80"/>
                  <a:pt x="1522" y="80"/>
                </a:cubicBezTo>
                <a:cubicBezTo>
                  <a:pt x="1523" y="79"/>
                  <a:pt x="1523" y="79"/>
                  <a:pt x="1523" y="79"/>
                </a:cubicBezTo>
                <a:cubicBezTo>
                  <a:pt x="1525" y="78"/>
                  <a:pt x="1525" y="78"/>
                  <a:pt x="1525" y="78"/>
                </a:cubicBezTo>
                <a:cubicBezTo>
                  <a:pt x="1526" y="78"/>
                  <a:pt x="1526" y="78"/>
                  <a:pt x="1526" y="78"/>
                </a:cubicBezTo>
                <a:cubicBezTo>
                  <a:pt x="1527" y="78"/>
                  <a:pt x="1527" y="78"/>
                  <a:pt x="1527" y="78"/>
                </a:cubicBezTo>
                <a:cubicBezTo>
                  <a:pt x="1527" y="79"/>
                  <a:pt x="1527" y="79"/>
                  <a:pt x="1527" y="79"/>
                </a:cubicBezTo>
                <a:cubicBezTo>
                  <a:pt x="1529" y="80"/>
                  <a:pt x="1529" y="80"/>
                  <a:pt x="1529" y="80"/>
                </a:cubicBezTo>
                <a:cubicBezTo>
                  <a:pt x="1530" y="80"/>
                  <a:pt x="1530" y="80"/>
                  <a:pt x="1530" y="80"/>
                </a:cubicBezTo>
                <a:cubicBezTo>
                  <a:pt x="1530" y="79"/>
                  <a:pt x="1530" y="79"/>
                  <a:pt x="1530" y="79"/>
                </a:cubicBezTo>
                <a:cubicBezTo>
                  <a:pt x="1531" y="79"/>
                  <a:pt x="1531" y="79"/>
                  <a:pt x="1531" y="79"/>
                </a:cubicBezTo>
                <a:cubicBezTo>
                  <a:pt x="1530" y="78"/>
                  <a:pt x="1530" y="78"/>
                  <a:pt x="1530" y="78"/>
                </a:cubicBezTo>
                <a:cubicBezTo>
                  <a:pt x="1529" y="78"/>
                  <a:pt x="1529" y="78"/>
                  <a:pt x="1529" y="78"/>
                </a:cubicBezTo>
                <a:cubicBezTo>
                  <a:pt x="1526" y="76"/>
                  <a:pt x="1526" y="76"/>
                  <a:pt x="1526" y="76"/>
                </a:cubicBezTo>
                <a:cubicBezTo>
                  <a:pt x="1523" y="75"/>
                  <a:pt x="1523" y="75"/>
                  <a:pt x="1523" y="75"/>
                </a:cubicBezTo>
                <a:cubicBezTo>
                  <a:pt x="1521" y="76"/>
                  <a:pt x="1521" y="76"/>
                  <a:pt x="1521" y="76"/>
                </a:cubicBezTo>
                <a:cubicBezTo>
                  <a:pt x="1519" y="78"/>
                  <a:pt x="1519" y="78"/>
                  <a:pt x="1519" y="78"/>
                </a:cubicBezTo>
                <a:cubicBezTo>
                  <a:pt x="1518" y="79"/>
                  <a:pt x="1518" y="79"/>
                  <a:pt x="1518" y="79"/>
                </a:cubicBezTo>
                <a:cubicBezTo>
                  <a:pt x="1516" y="80"/>
                  <a:pt x="1516" y="80"/>
                  <a:pt x="1516" y="80"/>
                </a:cubicBezTo>
                <a:cubicBezTo>
                  <a:pt x="1515" y="81"/>
                  <a:pt x="1515" y="81"/>
                  <a:pt x="1515" y="81"/>
                </a:cubicBezTo>
                <a:cubicBezTo>
                  <a:pt x="1515" y="84"/>
                  <a:pt x="1515" y="84"/>
                  <a:pt x="1515" y="84"/>
                </a:cubicBezTo>
                <a:cubicBezTo>
                  <a:pt x="1516" y="85"/>
                  <a:pt x="1516" y="85"/>
                  <a:pt x="1516" y="85"/>
                </a:cubicBezTo>
                <a:cubicBezTo>
                  <a:pt x="1517" y="84"/>
                  <a:pt x="1517" y="84"/>
                  <a:pt x="1517" y="84"/>
                </a:cubicBezTo>
                <a:close/>
                <a:moveTo>
                  <a:pt x="1578" y="88"/>
                </a:moveTo>
                <a:cubicBezTo>
                  <a:pt x="1579" y="86"/>
                  <a:pt x="1579" y="86"/>
                  <a:pt x="1579" y="86"/>
                </a:cubicBezTo>
                <a:cubicBezTo>
                  <a:pt x="1579" y="84"/>
                  <a:pt x="1579" y="84"/>
                  <a:pt x="1579" y="84"/>
                </a:cubicBezTo>
                <a:cubicBezTo>
                  <a:pt x="1577" y="84"/>
                  <a:pt x="1577" y="84"/>
                  <a:pt x="1577" y="84"/>
                </a:cubicBezTo>
                <a:cubicBezTo>
                  <a:pt x="1576" y="84"/>
                  <a:pt x="1576" y="84"/>
                  <a:pt x="1576" y="84"/>
                </a:cubicBezTo>
                <a:cubicBezTo>
                  <a:pt x="1574" y="85"/>
                  <a:pt x="1574" y="85"/>
                  <a:pt x="1574" y="85"/>
                </a:cubicBezTo>
                <a:cubicBezTo>
                  <a:pt x="1574" y="86"/>
                  <a:pt x="1574" y="86"/>
                  <a:pt x="1574" y="86"/>
                </a:cubicBezTo>
                <a:cubicBezTo>
                  <a:pt x="1575" y="87"/>
                  <a:pt x="1575" y="87"/>
                  <a:pt x="1575" y="87"/>
                </a:cubicBezTo>
                <a:cubicBezTo>
                  <a:pt x="1576" y="88"/>
                  <a:pt x="1576" y="88"/>
                  <a:pt x="1576" y="88"/>
                </a:cubicBezTo>
                <a:cubicBezTo>
                  <a:pt x="1578" y="88"/>
                  <a:pt x="1578" y="88"/>
                  <a:pt x="1578" y="88"/>
                </a:cubicBezTo>
                <a:close/>
                <a:moveTo>
                  <a:pt x="2222" y="236"/>
                </a:moveTo>
                <a:cubicBezTo>
                  <a:pt x="2222" y="236"/>
                  <a:pt x="2222" y="236"/>
                  <a:pt x="2221" y="236"/>
                </a:cubicBezTo>
                <a:cubicBezTo>
                  <a:pt x="2221" y="236"/>
                  <a:pt x="2221" y="236"/>
                  <a:pt x="2222" y="237"/>
                </a:cubicBezTo>
                <a:cubicBezTo>
                  <a:pt x="2222" y="237"/>
                  <a:pt x="2222" y="237"/>
                  <a:pt x="2222" y="236"/>
                </a:cubicBezTo>
                <a:close/>
                <a:moveTo>
                  <a:pt x="1530" y="82"/>
                </a:moveTo>
                <a:cubicBezTo>
                  <a:pt x="1528" y="81"/>
                  <a:pt x="1528" y="81"/>
                  <a:pt x="1528" y="81"/>
                </a:cubicBezTo>
                <a:cubicBezTo>
                  <a:pt x="1527" y="82"/>
                  <a:pt x="1527" y="82"/>
                  <a:pt x="1527" y="82"/>
                </a:cubicBezTo>
                <a:cubicBezTo>
                  <a:pt x="1526" y="81"/>
                  <a:pt x="1526" y="81"/>
                  <a:pt x="1526" y="81"/>
                </a:cubicBezTo>
                <a:cubicBezTo>
                  <a:pt x="1525" y="80"/>
                  <a:pt x="1525" y="80"/>
                  <a:pt x="1525" y="80"/>
                </a:cubicBezTo>
                <a:cubicBezTo>
                  <a:pt x="1525" y="81"/>
                  <a:pt x="1525" y="81"/>
                  <a:pt x="1525" y="81"/>
                </a:cubicBezTo>
                <a:cubicBezTo>
                  <a:pt x="1525" y="82"/>
                  <a:pt x="1525" y="82"/>
                  <a:pt x="1525" y="82"/>
                </a:cubicBezTo>
                <a:cubicBezTo>
                  <a:pt x="1524" y="83"/>
                  <a:pt x="1524" y="83"/>
                  <a:pt x="1524" y="83"/>
                </a:cubicBezTo>
                <a:cubicBezTo>
                  <a:pt x="1525" y="84"/>
                  <a:pt x="1525" y="84"/>
                  <a:pt x="1525" y="84"/>
                </a:cubicBezTo>
                <a:cubicBezTo>
                  <a:pt x="1526" y="83"/>
                  <a:pt x="1526" y="83"/>
                  <a:pt x="1526" y="83"/>
                </a:cubicBezTo>
                <a:cubicBezTo>
                  <a:pt x="1527" y="83"/>
                  <a:pt x="1527" y="83"/>
                  <a:pt x="1527" y="83"/>
                </a:cubicBezTo>
                <a:cubicBezTo>
                  <a:pt x="1528" y="85"/>
                  <a:pt x="1528" y="85"/>
                  <a:pt x="1528" y="85"/>
                </a:cubicBezTo>
                <a:cubicBezTo>
                  <a:pt x="1529" y="85"/>
                  <a:pt x="1529" y="85"/>
                  <a:pt x="1529" y="85"/>
                </a:cubicBezTo>
                <a:cubicBezTo>
                  <a:pt x="1529" y="86"/>
                  <a:pt x="1529" y="86"/>
                  <a:pt x="1529" y="86"/>
                </a:cubicBezTo>
                <a:cubicBezTo>
                  <a:pt x="1528" y="86"/>
                  <a:pt x="1528" y="86"/>
                  <a:pt x="1528" y="86"/>
                </a:cubicBezTo>
                <a:cubicBezTo>
                  <a:pt x="1527" y="86"/>
                  <a:pt x="1527" y="86"/>
                  <a:pt x="1527" y="86"/>
                </a:cubicBezTo>
                <a:cubicBezTo>
                  <a:pt x="1526" y="87"/>
                  <a:pt x="1526" y="87"/>
                  <a:pt x="1526" y="87"/>
                </a:cubicBezTo>
                <a:cubicBezTo>
                  <a:pt x="1526" y="90"/>
                  <a:pt x="1526" y="90"/>
                  <a:pt x="1526" y="90"/>
                </a:cubicBezTo>
                <a:cubicBezTo>
                  <a:pt x="1527" y="91"/>
                  <a:pt x="1527" y="91"/>
                  <a:pt x="1527" y="91"/>
                </a:cubicBezTo>
                <a:cubicBezTo>
                  <a:pt x="1527" y="92"/>
                  <a:pt x="1527" y="92"/>
                  <a:pt x="1527" y="92"/>
                </a:cubicBezTo>
                <a:cubicBezTo>
                  <a:pt x="1528" y="92"/>
                  <a:pt x="1528" y="92"/>
                  <a:pt x="1528" y="92"/>
                </a:cubicBezTo>
                <a:cubicBezTo>
                  <a:pt x="1529" y="92"/>
                  <a:pt x="1529" y="92"/>
                  <a:pt x="1529" y="92"/>
                </a:cubicBezTo>
                <a:cubicBezTo>
                  <a:pt x="1529" y="91"/>
                  <a:pt x="1529" y="91"/>
                  <a:pt x="1529" y="91"/>
                </a:cubicBezTo>
                <a:cubicBezTo>
                  <a:pt x="1529" y="90"/>
                  <a:pt x="1529" y="90"/>
                  <a:pt x="1529" y="90"/>
                </a:cubicBezTo>
                <a:cubicBezTo>
                  <a:pt x="1530" y="90"/>
                  <a:pt x="1530" y="90"/>
                  <a:pt x="1530" y="90"/>
                </a:cubicBezTo>
                <a:cubicBezTo>
                  <a:pt x="1531" y="91"/>
                  <a:pt x="1531" y="91"/>
                  <a:pt x="1531" y="91"/>
                </a:cubicBezTo>
                <a:cubicBezTo>
                  <a:pt x="1531" y="93"/>
                  <a:pt x="1531" y="93"/>
                  <a:pt x="1531" y="93"/>
                </a:cubicBezTo>
                <a:cubicBezTo>
                  <a:pt x="1532" y="93"/>
                  <a:pt x="1532" y="93"/>
                  <a:pt x="1532" y="93"/>
                </a:cubicBezTo>
                <a:cubicBezTo>
                  <a:pt x="1533" y="92"/>
                  <a:pt x="1533" y="92"/>
                  <a:pt x="1533" y="92"/>
                </a:cubicBezTo>
                <a:cubicBezTo>
                  <a:pt x="1533" y="91"/>
                  <a:pt x="1533" y="91"/>
                  <a:pt x="1533" y="91"/>
                </a:cubicBezTo>
                <a:cubicBezTo>
                  <a:pt x="1533" y="90"/>
                  <a:pt x="1533" y="90"/>
                  <a:pt x="1533" y="90"/>
                </a:cubicBezTo>
                <a:cubicBezTo>
                  <a:pt x="1534" y="91"/>
                  <a:pt x="1534" y="91"/>
                  <a:pt x="1534" y="91"/>
                </a:cubicBezTo>
                <a:cubicBezTo>
                  <a:pt x="1535" y="90"/>
                  <a:pt x="1535" y="90"/>
                  <a:pt x="1535" y="90"/>
                </a:cubicBezTo>
                <a:cubicBezTo>
                  <a:pt x="1535" y="88"/>
                  <a:pt x="1535" y="88"/>
                  <a:pt x="1535" y="88"/>
                </a:cubicBezTo>
                <a:cubicBezTo>
                  <a:pt x="1535" y="87"/>
                  <a:pt x="1535" y="87"/>
                  <a:pt x="1535" y="87"/>
                </a:cubicBezTo>
                <a:cubicBezTo>
                  <a:pt x="1534" y="86"/>
                  <a:pt x="1534" y="86"/>
                  <a:pt x="1534" y="86"/>
                </a:cubicBezTo>
                <a:cubicBezTo>
                  <a:pt x="1533" y="85"/>
                  <a:pt x="1533" y="85"/>
                  <a:pt x="1533" y="85"/>
                </a:cubicBezTo>
                <a:cubicBezTo>
                  <a:pt x="1535" y="85"/>
                  <a:pt x="1535" y="85"/>
                  <a:pt x="1535" y="85"/>
                </a:cubicBezTo>
                <a:cubicBezTo>
                  <a:pt x="1536" y="85"/>
                  <a:pt x="1536" y="85"/>
                  <a:pt x="1536" y="85"/>
                </a:cubicBezTo>
                <a:cubicBezTo>
                  <a:pt x="1538" y="84"/>
                  <a:pt x="1538" y="84"/>
                  <a:pt x="1538" y="84"/>
                </a:cubicBezTo>
                <a:cubicBezTo>
                  <a:pt x="1538" y="83"/>
                  <a:pt x="1538" y="83"/>
                  <a:pt x="1538" y="83"/>
                </a:cubicBezTo>
                <a:cubicBezTo>
                  <a:pt x="1537" y="82"/>
                  <a:pt x="1537" y="82"/>
                  <a:pt x="1537" y="82"/>
                </a:cubicBezTo>
                <a:cubicBezTo>
                  <a:pt x="1536" y="82"/>
                  <a:pt x="1536" y="82"/>
                  <a:pt x="1536" y="82"/>
                </a:cubicBezTo>
                <a:cubicBezTo>
                  <a:pt x="1536" y="81"/>
                  <a:pt x="1536" y="81"/>
                  <a:pt x="1536" y="81"/>
                </a:cubicBezTo>
                <a:cubicBezTo>
                  <a:pt x="1537" y="80"/>
                  <a:pt x="1537" y="80"/>
                  <a:pt x="1537" y="80"/>
                </a:cubicBezTo>
                <a:cubicBezTo>
                  <a:pt x="1538" y="80"/>
                  <a:pt x="1538" y="80"/>
                  <a:pt x="1538" y="80"/>
                </a:cubicBezTo>
                <a:cubicBezTo>
                  <a:pt x="1538" y="81"/>
                  <a:pt x="1538" y="81"/>
                  <a:pt x="1538" y="81"/>
                </a:cubicBezTo>
                <a:cubicBezTo>
                  <a:pt x="1539" y="81"/>
                  <a:pt x="1539" y="81"/>
                  <a:pt x="1539" y="81"/>
                </a:cubicBezTo>
                <a:cubicBezTo>
                  <a:pt x="1540" y="79"/>
                  <a:pt x="1540" y="79"/>
                  <a:pt x="1540" y="79"/>
                </a:cubicBezTo>
                <a:cubicBezTo>
                  <a:pt x="1541" y="79"/>
                  <a:pt x="1541" y="79"/>
                  <a:pt x="1541" y="79"/>
                </a:cubicBezTo>
                <a:cubicBezTo>
                  <a:pt x="1541" y="78"/>
                  <a:pt x="1541" y="78"/>
                  <a:pt x="1541" y="78"/>
                </a:cubicBezTo>
                <a:cubicBezTo>
                  <a:pt x="1541" y="77"/>
                  <a:pt x="1541" y="77"/>
                  <a:pt x="1541" y="77"/>
                </a:cubicBezTo>
                <a:cubicBezTo>
                  <a:pt x="1539" y="76"/>
                  <a:pt x="1539" y="76"/>
                  <a:pt x="1539" y="76"/>
                </a:cubicBezTo>
                <a:cubicBezTo>
                  <a:pt x="1539" y="75"/>
                  <a:pt x="1539" y="75"/>
                  <a:pt x="1539" y="75"/>
                </a:cubicBezTo>
                <a:cubicBezTo>
                  <a:pt x="1539" y="74"/>
                  <a:pt x="1539" y="74"/>
                  <a:pt x="1539" y="74"/>
                </a:cubicBezTo>
                <a:cubicBezTo>
                  <a:pt x="1537" y="75"/>
                  <a:pt x="1537" y="75"/>
                  <a:pt x="1537" y="75"/>
                </a:cubicBezTo>
                <a:cubicBezTo>
                  <a:pt x="1536" y="76"/>
                  <a:pt x="1536" y="76"/>
                  <a:pt x="1536" y="76"/>
                </a:cubicBezTo>
                <a:cubicBezTo>
                  <a:pt x="1536" y="75"/>
                  <a:pt x="1536" y="75"/>
                  <a:pt x="1536" y="75"/>
                </a:cubicBezTo>
                <a:cubicBezTo>
                  <a:pt x="1537" y="74"/>
                  <a:pt x="1537" y="74"/>
                  <a:pt x="1537" y="74"/>
                </a:cubicBezTo>
                <a:cubicBezTo>
                  <a:pt x="1537" y="73"/>
                  <a:pt x="1537" y="73"/>
                  <a:pt x="1537" y="73"/>
                </a:cubicBezTo>
                <a:cubicBezTo>
                  <a:pt x="1538" y="71"/>
                  <a:pt x="1538" y="71"/>
                  <a:pt x="1538" y="71"/>
                </a:cubicBezTo>
                <a:cubicBezTo>
                  <a:pt x="1537" y="71"/>
                  <a:pt x="1537" y="71"/>
                  <a:pt x="1537" y="71"/>
                </a:cubicBezTo>
                <a:cubicBezTo>
                  <a:pt x="1536" y="72"/>
                  <a:pt x="1536" y="72"/>
                  <a:pt x="1536" y="72"/>
                </a:cubicBezTo>
                <a:cubicBezTo>
                  <a:pt x="1535" y="74"/>
                  <a:pt x="1535" y="74"/>
                  <a:pt x="1535" y="74"/>
                </a:cubicBezTo>
                <a:cubicBezTo>
                  <a:pt x="1535" y="72"/>
                  <a:pt x="1535" y="72"/>
                  <a:pt x="1535" y="72"/>
                </a:cubicBezTo>
                <a:cubicBezTo>
                  <a:pt x="1534" y="72"/>
                  <a:pt x="1534" y="72"/>
                  <a:pt x="1534" y="72"/>
                </a:cubicBezTo>
                <a:cubicBezTo>
                  <a:pt x="1534" y="74"/>
                  <a:pt x="1534" y="74"/>
                  <a:pt x="1534" y="74"/>
                </a:cubicBezTo>
                <a:cubicBezTo>
                  <a:pt x="1533" y="74"/>
                  <a:pt x="1533" y="74"/>
                  <a:pt x="1533" y="74"/>
                </a:cubicBezTo>
                <a:cubicBezTo>
                  <a:pt x="1533" y="75"/>
                  <a:pt x="1533" y="75"/>
                  <a:pt x="1533" y="75"/>
                </a:cubicBezTo>
                <a:cubicBezTo>
                  <a:pt x="1533" y="76"/>
                  <a:pt x="1533" y="76"/>
                  <a:pt x="1533" y="76"/>
                </a:cubicBezTo>
                <a:cubicBezTo>
                  <a:pt x="1534" y="75"/>
                  <a:pt x="1534" y="75"/>
                  <a:pt x="1534" y="75"/>
                </a:cubicBezTo>
                <a:cubicBezTo>
                  <a:pt x="1535" y="76"/>
                  <a:pt x="1535" y="76"/>
                  <a:pt x="1535" y="76"/>
                </a:cubicBezTo>
                <a:cubicBezTo>
                  <a:pt x="1534" y="77"/>
                  <a:pt x="1534" y="77"/>
                  <a:pt x="1534" y="77"/>
                </a:cubicBezTo>
                <a:cubicBezTo>
                  <a:pt x="1533" y="78"/>
                  <a:pt x="1533" y="78"/>
                  <a:pt x="1533" y="78"/>
                </a:cubicBezTo>
                <a:cubicBezTo>
                  <a:pt x="1533" y="79"/>
                  <a:pt x="1533" y="79"/>
                  <a:pt x="1533" y="79"/>
                </a:cubicBezTo>
                <a:cubicBezTo>
                  <a:pt x="1532" y="80"/>
                  <a:pt x="1532" y="80"/>
                  <a:pt x="1532" y="80"/>
                </a:cubicBezTo>
                <a:cubicBezTo>
                  <a:pt x="1531" y="81"/>
                  <a:pt x="1531" y="81"/>
                  <a:pt x="1531" y="81"/>
                </a:cubicBezTo>
                <a:cubicBezTo>
                  <a:pt x="1530" y="82"/>
                  <a:pt x="1530" y="82"/>
                  <a:pt x="1530" y="82"/>
                </a:cubicBezTo>
                <a:close/>
                <a:moveTo>
                  <a:pt x="2138" y="120"/>
                </a:moveTo>
                <a:cubicBezTo>
                  <a:pt x="2138" y="119"/>
                  <a:pt x="2138" y="119"/>
                  <a:pt x="2138" y="119"/>
                </a:cubicBezTo>
                <a:cubicBezTo>
                  <a:pt x="2137" y="118"/>
                  <a:pt x="2137" y="118"/>
                  <a:pt x="2137" y="118"/>
                </a:cubicBezTo>
                <a:cubicBezTo>
                  <a:pt x="2137" y="119"/>
                  <a:pt x="2137" y="119"/>
                  <a:pt x="2137" y="119"/>
                </a:cubicBezTo>
                <a:cubicBezTo>
                  <a:pt x="2138" y="121"/>
                  <a:pt x="2138" y="121"/>
                  <a:pt x="2138" y="121"/>
                </a:cubicBezTo>
                <a:cubicBezTo>
                  <a:pt x="2138" y="120"/>
                  <a:pt x="2138" y="120"/>
                  <a:pt x="2138" y="120"/>
                </a:cubicBezTo>
                <a:close/>
                <a:moveTo>
                  <a:pt x="2212" y="452"/>
                </a:moveTo>
                <a:cubicBezTo>
                  <a:pt x="2212" y="454"/>
                  <a:pt x="2212" y="454"/>
                  <a:pt x="2212" y="454"/>
                </a:cubicBezTo>
                <a:cubicBezTo>
                  <a:pt x="2211" y="455"/>
                  <a:pt x="2211" y="455"/>
                  <a:pt x="2211" y="455"/>
                </a:cubicBezTo>
                <a:cubicBezTo>
                  <a:pt x="2211" y="457"/>
                  <a:pt x="2211" y="457"/>
                  <a:pt x="2211" y="457"/>
                </a:cubicBezTo>
                <a:cubicBezTo>
                  <a:pt x="2210" y="458"/>
                  <a:pt x="2210" y="458"/>
                  <a:pt x="2210" y="458"/>
                </a:cubicBezTo>
                <a:cubicBezTo>
                  <a:pt x="2211" y="459"/>
                  <a:pt x="2211" y="459"/>
                  <a:pt x="2211" y="459"/>
                </a:cubicBezTo>
                <a:cubicBezTo>
                  <a:pt x="2212" y="460"/>
                  <a:pt x="2212" y="460"/>
                  <a:pt x="2212" y="460"/>
                </a:cubicBezTo>
                <a:cubicBezTo>
                  <a:pt x="2212" y="458"/>
                  <a:pt x="2212" y="458"/>
                  <a:pt x="2212" y="458"/>
                </a:cubicBezTo>
                <a:cubicBezTo>
                  <a:pt x="2212" y="455"/>
                  <a:pt x="2212" y="455"/>
                  <a:pt x="2212" y="455"/>
                </a:cubicBezTo>
                <a:cubicBezTo>
                  <a:pt x="2213" y="455"/>
                  <a:pt x="2213" y="455"/>
                  <a:pt x="2213" y="455"/>
                </a:cubicBezTo>
                <a:cubicBezTo>
                  <a:pt x="2214" y="454"/>
                  <a:pt x="2214" y="454"/>
                  <a:pt x="2214" y="454"/>
                </a:cubicBezTo>
                <a:cubicBezTo>
                  <a:pt x="2215" y="452"/>
                  <a:pt x="2215" y="452"/>
                  <a:pt x="2215" y="452"/>
                </a:cubicBezTo>
                <a:cubicBezTo>
                  <a:pt x="2214" y="452"/>
                  <a:pt x="2214" y="452"/>
                  <a:pt x="2214" y="452"/>
                </a:cubicBezTo>
                <a:cubicBezTo>
                  <a:pt x="2213" y="453"/>
                  <a:pt x="2213" y="453"/>
                  <a:pt x="2213" y="453"/>
                </a:cubicBezTo>
                <a:cubicBezTo>
                  <a:pt x="2213" y="452"/>
                  <a:pt x="2213" y="452"/>
                  <a:pt x="2213" y="452"/>
                </a:cubicBezTo>
                <a:cubicBezTo>
                  <a:pt x="2212" y="452"/>
                  <a:pt x="2212" y="452"/>
                  <a:pt x="2212" y="452"/>
                </a:cubicBezTo>
                <a:close/>
                <a:moveTo>
                  <a:pt x="2163" y="384"/>
                </a:moveTo>
                <a:cubicBezTo>
                  <a:pt x="2164" y="384"/>
                  <a:pt x="2164" y="384"/>
                  <a:pt x="2164" y="384"/>
                </a:cubicBezTo>
                <a:cubicBezTo>
                  <a:pt x="2165" y="386"/>
                  <a:pt x="2165" y="386"/>
                  <a:pt x="2165" y="386"/>
                </a:cubicBezTo>
                <a:cubicBezTo>
                  <a:pt x="2165" y="388"/>
                  <a:pt x="2165" y="388"/>
                  <a:pt x="2165" y="388"/>
                </a:cubicBezTo>
                <a:cubicBezTo>
                  <a:pt x="2165" y="390"/>
                  <a:pt x="2165" y="390"/>
                  <a:pt x="2165" y="390"/>
                </a:cubicBezTo>
                <a:cubicBezTo>
                  <a:pt x="2166" y="392"/>
                  <a:pt x="2166" y="392"/>
                  <a:pt x="2166" y="392"/>
                </a:cubicBezTo>
                <a:cubicBezTo>
                  <a:pt x="2166" y="393"/>
                  <a:pt x="2166" y="393"/>
                  <a:pt x="2166" y="393"/>
                </a:cubicBezTo>
                <a:cubicBezTo>
                  <a:pt x="2167" y="394"/>
                  <a:pt x="2167" y="394"/>
                  <a:pt x="2167" y="394"/>
                </a:cubicBezTo>
                <a:cubicBezTo>
                  <a:pt x="2169" y="395"/>
                  <a:pt x="2169" y="395"/>
                  <a:pt x="2169" y="395"/>
                </a:cubicBezTo>
                <a:cubicBezTo>
                  <a:pt x="2168" y="395"/>
                  <a:pt x="2168" y="395"/>
                  <a:pt x="2168" y="395"/>
                </a:cubicBezTo>
                <a:cubicBezTo>
                  <a:pt x="2168" y="396"/>
                  <a:pt x="2168" y="396"/>
                  <a:pt x="2168" y="396"/>
                </a:cubicBezTo>
                <a:cubicBezTo>
                  <a:pt x="2170" y="398"/>
                  <a:pt x="2170" y="398"/>
                  <a:pt x="2170" y="398"/>
                </a:cubicBezTo>
                <a:cubicBezTo>
                  <a:pt x="2170" y="400"/>
                  <a:pt x="2170" y="400"/>
                  <a:pt x="2170" y="400"/>
                </a:cubicBezTo>
                <a:cubicBezTo>
                  <a:pt x="2171" y="401"/>
                  <a:pt x="2171" y="401"/>
                  <a:pt x="2171" y="401"/>
                </a:cubicBezTo>
                <a:cubicBezTo>
                  <a:pt x="2171" y="404"/>
                  <a:pt x="2171" y="404"/>
                  <a:pt x="2171" y="404"/>
                </a:cubicBezTo>
                <a:cubicBezTo>
                  <a:pt x="2171" y="405"/>
                  <a:pt x="2171" y="405"/>
                  <a:pt x="2171" y="405"/>
                </a:cubicBezTo>
                <a:cubicBezTo>
                  <a:pt x="2171" y="406"/>
                  <a:pt x="2171" y="406"/>
                  <a:pt x="2171" y="406"/>
                </a:cubicBezTo>
                <a:cubicBezTo>
                  <a:pt x="2171" y="408"/>
                  <a:pt x="2171" y="408"/>
                  <a:pt x="2171" y="408"/>
                </a:cubicBezTo>
                <a:cubicBezTo>
                  <a:pt x="2172" y="410"/>
                  <a:pt x="2172" y="410"/>
                  <a:pt x="2172" y="410"/>
                </a:cubicBezTo>
                <a:cubicBezTo>
                  <a:pt x="2172" y="411"/>
                  <a:pt x="2172" y="411"/>
                  <a:pt x="2172" y="411"/>
                </a:cubicBezTo>
                <a:cubicBezTo>
                  <a:pt x="2172" y="413"/>
                  <a:pt x="2172" y="413"/>
                  <a:pt x="2172" y="413"/>
                </a:cubicBezTo>
                <a:cubicBezTo>
                  <a:pt x="2173" y="414"/>
                  <a:pt x="2173" y="414"/>
                  <a:pt x="2173" y="414"/>
                </a:cubicBezTo>
                <a:cubicBezTo>
                  <a:pt x="2176" y="417"/>
                  <a:pt x="2176" y="417"/>
                  <a:pt x="2176" y="417"/>
                </a:cubicBezTo>
                <a:cubicBezTo>
                  <a:pt x="2176" y="418"/>
                  <a:pt x="2176" y="418"/>
                  <a:pt x="2176" y="418"/>
                </a:cubicBezTo>
                <a:cubicBezTo>
                  <a:pt x="2177" y="420"/>
                  <a:pt x="2177" y="420"/>
                  <a:pt x="2177" y="420"/>
                </a:cubicBezTo>
                <a:cubicBezTo>
                  <a:pt x="2177" y="422"/>
                  <a:pt x="2177" y="422"/>
                  <a:pt x="2177" y="422"/>
                </a:cubicBezTo>
                <a:cubicBezTo>
                  <a:pt x="2177" y="425"/>
                  <a:pt x="2177" y="425"/>
                  <a:pt x="2177" y="425"/>
                </a:cubicBezTo>
                <a:cubicBezTo>
                  <a:pt x="2178" y="427"/>
                  <a:pt x="2178" y="427"/>
                  <a:pt x="2178" y="427"/>
                </a:cubicBezTo>
                <a:cubicBezTo>
                  <a:pt x="2178" y="428"/>
                  <a:pt x="2178" y="428"/>
                  <a:pt x="2178" y="428"/>
                </a:cubicBezTo>
                <a:cubicBezTo>
                  <a:pt x="2180" y="430"/>
                  <a:pt x="2180" y="430"/>
                  <a:pt x="2180" y="430"/>
                </a:cubicBezTo>
                <a:cubicBezTo>
                  <a:pt x="2180" y="431"/>
                  <a:pt x="2180" y="431"/>
                  <a:pt x="2180" y="431"/>
                </a:cubicBezTo>
                <a:cubicBezTo>
                  <a:pt x="2180" y="433"/>
                  <a:pt x="2180" y="433"/>
                  <a:pt x="2180" y="433"/>
                </a:cubicBezTo>
                <a:cubicBezTo>
                  <a:pt x="2180" y="436"/>
                  <a:pt x="2180" y="436"/>
                  <a:pt x="2180" y="436"/>
                </a:cubicBezTo>
                <a:cubicBezTo>
                  <a:pt x="2180" y="437"/>
                  <a:pt x="2180" y="437"/>
                  <a:pt x="2180" y="437"/>
                </a:cubicBezTo>
                <a:cubicBezTo>
                  <a:pt x="2181" y="438"/>
                  <a:pt x="2181" y="438"/>
                  <a:pt x="2181" y="438"/>
                </a:cubicBezTo>
                <a:cubicBezTo>
                  <a:pt x="2182" y="440"/>
                  <a:pt x="2182" y="440"/>
                  <a:pt x="2182" y="440"/>
                </a:cubicBezTo>
                <a:cubicBezTo>
                  <a:pt x="2184" y="441"/>
                  <a:pt x="2184" y="441"/>
                  <a:pt x="2184" y="441"/>
                </a:cubicBezTo>
                <a:cubicBezTo>
                  <a:pt x="2184" y="440"/>
                  <a:pt x="2184" y="440"/>
                  <a:pt x="2184" y="440"/>
                </a:cubicBezTo>
                <a:cubicBezTo>
                  <a:pt x="2184" y="438"/>
                  <a:pt x="2184" y="438"/>
                  <a:pt x="2184" y="438"/>
                </a:cubicBezTo>
                <a:cubicBezTo>
                  <a:pt x="2183" y="437"/>
                  <a:pt x="2183" y="437"/>
                  <a:pt x="2183" y="437"/>
                </a:cubicBezTo>
                <a:cubicBezTo>
                  <a:pt x="2183" y="436"/>
                  <a:pt x="2183" y="436"/>
                  <a:pt x="2183" y="436"/>
                </a:cubicBezTo>
                <a:cubicBezTo>
                  <a:pt x="2183" y="434"/>
                  <a:pt x="2183" y="434"/>
                  <a:pt x="2183" y="434"/>
                </a:cubicBezTo>
                <a:cubicBezTo>
                  <a:pt x="2184" y="433"/>
                  <a:pt x="2184" y="433"/>
                  <a:pt x="2184" y="433"/>
                </a:cubicBezTo>
                <a:cubicBezTo>
                  <a:pt x="2185" y="433"/>
                  <a:pt x="2185" y="433"/>
                  <a:pt x="2185" y="433"/>
                </a:cubicBezTo>
                <a:cubicBezTo>
                  <a:pt x="2185" y="434"/>
                  <a:pt x="2185" y="434"/>
                  <a:pt x="2185" y="434"/>
                </a:cubicBezTo>
                <a:cubicBezTo>
                  <a:pt x="2186" y="434"/>
                  <a:pt x="2186" y="434"/>
                  <a:pt x="2186" y="434"/>
                </a:cubicBezTo>
                <a:cubicBezTo>
                  <a:pt x="2188" y="434"/>
                  <a:pt x="2188" y="434"/>
                  <a:pt x="2188" y="434"/>
                </a:cubicBezTo>
                <a:cubicBezTo>
                  <a:pt x="2188" y="433"/>
                  <a:pt x="2188" y="433"/>
                  <a:pt x="2188" y="433"/>
                </a:cubicBezTo>
                <a:cubicBezTo>
                  <a:pt x="2189" y="433"/>
                  <a:pt x="2189" y="433"/>
                  <a:pt x="2189" y="433"/>
                </a:cubicBezTo>
                <a:cubicBezTo>
                  <a:pt x="2189" y="434"/>
                  <a:pt x="2189" y="434"/>
                  <a:pt x="2189" y="434"/>
                </a:cubicBezTo>
                <a:cubicBezTo>
                  <a:pt x="2189" y="435"/>
                  <a:pt x="2189" y="435"/>
                  <a:pt x="2189" y="435"/>
                </a:cubicBezTo>
                <a:cubicBezTo>
                  <a:pt x="2190" y="437"/>
                  <a:pt x="2190" y="437"/>
                  <a:pt x="2190" y="437"/>
                </a:cubicBezTo>
                <a:cubicBezTo>
                  <a:pt x="2191" y="438"/>
                  <a:pt x="2191" y="438"/>
                  <a:pt x="2191" y="438"/>
                </a:cubicBezTo>
                <a:cubicBezTo>
                  <a:pt x="2191" y="437"/>
                  <a:pt x="2191" y="437"/>
                  <a:pt x="2191" y="437"/>
                </a:cubicBezTo>
                <a:cubicBezTo>
                  <a:pt x="2191" y="436"/>
                  <a:pt x="2191" y="436"/>
                  <a:pt x="2191" y="436"/>
                </a:cubicBezTo>
                <a:cubicBezTo>
                  <a:pt x="2191" y="434"/>
                  <a:pt x="2191" y="434"/>
                  <a:pt x="2191" y="434"/>
                </a:cubicBezTo>
                <a:cubicBezTo>
                  <a:pt x="2190" y="433"/>
                  <a:pt x="2190" y="433"/>
                  <a:pt x="2190" y="433"/>
                </a:cubicBezTo>
                <a:cubicBezTo>
                  <a:pt x="2190" y="432"/>
                  <a:pt x="2190" y="432"/>
                  <a:pt x="2190" y="432"/>
                </a:cubicBezTo>
                <a:cubicBezTo>
                  <a:pt x="2189" y="431"/>
                  <a:pt x="2189" y="431"/>
                  <a:pt x="2189" y="431"/>
                </a:cubicBezTo>
                <a:cubicBezTo>
                  <a:pt x="2188" y="431"/>
                  <a:pt x="2188" y="431"/>
                  <a:pt x="2188" y="431"/>
                </a:cubicBezTo>
                <a:cubicBezTo>
                  <a:pt x="2186" y="430"/>
                  <a:pt x="2186" y="430"/>
                  <a:pt x="2186" y="430"/>
                </a:cubicBezTo>
                <a:cubicBezTo>
                  <a:pt x="2186" y="428"/>
                  <a:pt x="2186" y="428"/>
                  <a:pt x="2186" y="428"/>
                </a:cubicBezTo>
                <a:cubicBezTo>
                  <a:pt x="2185" y="427"/>
                  <a:pt x="2185" y="427"/>
                  <a:pt x="2185" y="427"/>
                </a:cubicBezTo>
                <a:cubicBezTo>
                  <a:pt x="2183" y="425"/>
                  <a:pt x="2183" y="425"/>
                  <a:pt x="2183" y="425"/>
                </a:cubicBezTo>
                <a:cubicBezTo>
                  <a:pt x="2182" y="425"/>
                  <a:pt x="2182" y="425"/>
                  <a:pt x="2182" y="425"/>
                </a:cubicBezTo>
                <a:cubicBezTo>
                  <a:pt x="2181" y="424"/>
                  <a:pt x="2181" y="424"/>
                  <a:pt x="2181" y="424"/>
                </a:cubicBezTo>
                <a:cubicBezTo>
                  <a:pt x="2181" y="422"/>
                  <a:pt x="2181" y="422"/>
                  <a:pt x="2181" y="422"/>
                </a:cubicBezTo>
                <a:cubicBezTo>
                  <a:pt x="2180" y="420"/>
                  <a:pt x="2180" y="420"/>
                  <a:pt x="2180" y="420"/>
                </a:cubicBezTo>
                <a:cubicBezTo>
                  <a:pt x="2179" y="419"/>
                  <a:pt x="2179" y="419"/>
                  <a:pt x="2179" y="419"/>
                </a:cubicBezTo>
                <a:cubicBezTo>
                  <a:pt x="2179" y="416"/>
                  <a:pt x="2179" y="416"/>
                  <a:pt x="2179" y="416"/>
                </a:cubicBezTo>
                <a:cubicBezTo>
                  <a:pt x="2179" y="414"/>
                  <a:pt x="2179" y="414"/>
                  <a:pt x="2179" y="414"/>
                </a:cubicBezTo>
                <a:cubicBezTo>
                  <a:pt x="2178" y="413"/>
                  <a:pt x="2178" y="413"/>
                  <a:pt x="2178" y="413"/>
                </a:cubicBezTo>
                <a:cubicBezTo>
                  <a:pt x="2179" y="411"/>
                  <a:pt x="2179" y="411"/>
                  <a:pt x="2179" y="411"/>
                </a:cubicBezTo>
                <a:cubicBezTo>
                  <a:pt x="2179" y="409"/>
                  <a:pt x="2179" y="409"/>
                  <a:pt x="2179" y="409"/>
                </a:cubicBezTo>
                <a:cubicBezTo>
                  <a:pt x="2178" y="408"/>
                  <a:pt x="2178" y="408"/>
                  <a:pt x="2178" y="408"/>
                </a:cubicBezTo>
                <a:cubicBezTo>
                  <a:pt x="2178" y="407"/>
                  <a:pt x="2178" y="407"/>
                  <a:pt x="2178" y="407"/>
                </a:cubicBezTo>
                <a:cubicBezTo>
                  <a:pt x="2178" y="406"/>
                  <a:pt x="2178" y="406"/>
                  <a:pt x="2178" y="406"/>
                </a:cubicBezTo>
                <a:cubicBezTo>
                  <a:pt x="2178" y="405"/>
                  <a:pt x="2178" y="405"/>
                  <a:pt x="2178" y="405"/>
                </a:cubicBezTo>
                <a:cubicBezTo>
                  <a:pt x="2179" y="405"/>
                  <a:pt x="2179" y="405"/>
                  <a:pt x="2179" y="405"/>
                </a:cubicBezTo>
                <a:cubicBezTo>
                  <a:pt x="2180" y="405"/>
                  <a:pt x="2180" y="405"/>
                  <a:pt x="2180" y="405"/>
                </a:cubicBezTo>
                <a:cubicBezTo>
                  <a:pt x="2181" y="405"/>
                  <a:pt x="2181" y="405"/>
                  <a:pt x="2181" y="405"/>
                </a:cubicBezTo>
                <a:cubicBezTo>
                  <a:pt x="2183" y="405"/>
                  <a:pt x="2183" y="405"/>
                  <a:pt x="2183" y="405"/>
                </a:cubicBezTo>
                <a:cubicBezTo>
                  <a:pt x="2184" y="406"/>
                  <a:pt x="2184" y="406"/>
                  <a:pt x="2184" y="406"/>
                </a:cubicBezTo>
                <a:cubicBezTo>
                  <a:pt x="2185" y="408"/>
                  <a:pt x="2185" y="408"/>
                  <a:pt x="2185" y="408"/>
                </a:cubicBezTo>
                <a:cubicBezTo>
                  <a:pt x="2186" y="408"/>
                  <a:pt x="2186" y="408"/>
                  <a:pt x="2186" y="408"/>
                </a:cubicBezTo>
                <a:cubicBezTo>
                  <a:pt x="2187" y="409"/>
                  <a:pt x="2187" y="409"/>
                  <a:pt x="2187" y="409"/>
                </a:cubicBezTo>
                <a:cubicBezTo>
                  <a:pt x="2189" y="411"/>
                  <a:pt x="2189" y="411"/>
                  <a:pt x="2189" y="411"/>
                </a:cubicBezTo>
                <a:cubicBezTo>
                  <a:pt x="2189" y="410"/>
                  <a:pt x="2189" y="410"/>
                  <a:pt x="2189" y="410"/>
                </a:cubicBezTo>
                <a:cubicBezTo>
                  <a:pt x="2187" y="408"/>
                  <a:pt x="2187" y="408"/>
                  <a:pt x="2187" y="408"/>
                </a:cubicBezTo>
                <a:cubicBezTo>
                  <a:pt x="2186" y="407"/>
                  <a:pt x="2186" y="407"/>
                  <a:pt x="2186" y="407"/>
                </a:cubicBezTo>
                <a:cubicBezTo>
                  <a:pt x="2185" y="405"/>
                  <a:pt x="2185" y="405"/>
                  <a:pt x="2185" y="405"/>
                </a:cubicBezTo>
                <a:cubicBezTo>
                  <a:pt x="2183" y="403"/>
                  <a:pt x="2183" y="403"/>
                  <a:pt x="2183" y="403"/>
                </a:cubicBezTo>
                <a:cubicBezTo>
                  <a:pt x="2183" y="402"/>
                  <a:pt x="2183" y="402"/>
                  <a:pt x="2183" y="402"/>
                </a:cubicBezTo>
                <a:cubicBezTo>
                  <a:pt x="2182" y="400"/>
                  <a:pt x="2182" y="400"/>
                  <a:pt x="2182" y="400"/>
                </a:cubicBezTo>
                <a:cubicBezTo>
                  <a:pt x="2181" y="398"/>
                  <a:pt x="2181" y="398"/>
                  <a:pt x="2181" y="398"/>
                </a:cubicBezTo>
                <a:cubicBezTo>
                  <a:pt x="2180" y="398"/>
                  <a:pt x="2180" y="398"/>
                  <a:pt x="2180" y="398"/>
                </a:cubicBezTo>
                <a:cubicBezTo>
                  <a:pt x="2180" y="397"/>
                  <a:pt x="2180" y="397"/>
                  <a:pt x="2180" y="397"/>
                </a:cubicBezTo>
                <a:cubicBezTo>
                  <a:pt x="2178" y="394"/>
                  <a:pt x="2178" y="394"/>
                  <a:pt x="2178" y="394"/>
                </a:cubicBezTo>
                <a:cubicBezTo>
                  <a:pt x="2176" y="391"/>
                  <a:pt x="2176" y="391"/>
                  <a:pt x="2176" y="391"/>
                </a:cubicBezTo>
                <a:cubicBezTo>
                  <a:pt x="2176" y="390"/>
                  <a:pt x="2176" y="390"/>
                  <a:pt x="2176" y="390"/>
                </a:cubicBezTo>
                <a:cubicBezTo>
                  <a:pt x="2174" y="387"/>
                  <a:pt x="2174" y="387"/>
                  <a:pt x="2174" y="387"/>
                </a:cubicBezTo>
                <a:cubicBezTo>
                  <a:pt x="2173" y="385"/>
                  <a:pt x="2173" y="385"/>
                  <a:pt x="2173" y="385"/>
                </a:cubicBezTo>
                <a:cubicBezTo>
                  <a:pt x="2172" y="384"/>
                  <a:pt x="2172" y="384"/>
                  <a:pt x="2172" y="384"/>
                </a:cubicBezTo>
                <a:cubicBezTo>
                  <a:pt x="2172" y="383"/>
                  <a:pt x="2172" y="383"/>
                  <a:pt x="2172" y="383"/>
                </a:cubicBezTo>
                <a:cubicBezTo>
                  <a:pt x="2171" y="382"/>
                  <a:pt x="2171" y="382"/>
                  <a:pt x="2171" y="382"/>
                </a:cubicBezTo>
                <a:cubicBezTo>
                  <a:pt x="2170" y="381"/>
                  <a:pt x="2170" y="381"/>
                  <a:pt x="2170" y="381"/>
                </a:cubicBezTo>
                <a:cubicBezTo>
                  <a:pt x="2170" y="382"/>
                  <a:pt x="2170" y="382"/>
                  <a:pt x="2170" y="382"/>
                </a:cubicBezTo>
                <a:cubicBezTo>
                  <a:pt x="2169" y="382"/>
                  <a:pt x="2169" y="382"/>
                  <a:pt x="2169" y="382"/>
                </a:cubicBezTo>
                <a:cubicBezTo>
                  <a:pt x="2169" y="381"/>
                  <a:pt x="2169" y="381"/>
                  <a:pt x="2169" y="381"/>
                </a:cubicBezTo>
                <a:cubicBezTo>
                  <a:pt x="2169" y="380"/>
                  <a:pt x="2169" y="380"/>
                  <a:pt x="2169" y="380"/>
                </a:cubicBezTo>
                <a:cubicBezTo>
                  <a:pt x="2169" y="379"/>
                  <a:pt x="2169" y="379"/>
                  <a:pt x="2169" y="379"/>
                </a:cubicBezTo>
                <a:cubicBezTo>
                  <a:pt x="2168" y="379"/>
                  <a:pt x="2168" y="379"/>
                  <a:pt x="2168" y="379"/>
                </a:cubicBezTo>
                <a:cubicBezTo>
                  <a:pt x="2167" y="377"/>
                  <a:pt x="2167" y="377"/>
                  <a:pt x="2167" y="377"/>
                </a:cubicBezTo>
                <a:cubicBezTo>
                  <a:pt x="2166" y="376"/>
                  <a:pt x="2166" y="376"/>
                  <a:pt x="2166" y="376"/>
                </a:cubicBezTo>
                <a:cubicBezTo>
                  <a:pt x="2165" y="375"/>
                  <a:pt x="2165" y="375"/>
                  <a:pt x="2165" y="375"/>
                </a:cubicBezTo>
                <a:cubicBezTo>
                  <a:pt x="2165" y="373"/>
                  <a:pt x="2165" y="373"/>
                  <a:pt x="2165" y="373"/>
                </a:cubicBezTo>
                <a:cubicBezTo>
                  <a:pt x="2166" y="372"/>
                  <a:pt x="2166" y="372"/>
                  <a:pt x="2166" y="372"/>
                </a:cubicBezTo>
                <a:cubicBezTo>
                  <a:pt x="2166" y="371"/>
                  <a:pt x="2166" y="371"/>
                  <a:pt x="2166" y="371"/>
                </a:cubicBezTo>
                <a:cubicBezTo>
                  <a:pt x="2165" y="369"/>
                  <a:pt x="2165" y="369"/>
                  <a:pt x="2165" y="369"/>
                </a:cubicBezTo>
                <a:cubicBezTo>
                  <a:pt x="2165" y="367"/>
                  <a:pt x="2165" y="367"/>
                  <a:pt x="2165" y="367"/>
                </a:cubicBezTo>
                <a:cubicBezTo>
                  <a:pt x="2164" y="367"/>
                  <a:pt x="2164" y="367"/>
                  <a:pt x="2164" y="367"/>
                </a:cubicBezTo>
                <a:cubicBezTo>
                  <a:pt x="2162" y="365"/>
                  <a:pt x="2162" y="365"/>
                  <a:pt x="2162" y="365"/>
                </a:cubicBezTo>
                <a:cubicBezTo>
                  <a:pt x="2162" y="364"/>
                  <a:pt x="2162" y="364"/>
                  <a:pt x="2162" y="364"/>
                </a:cubicBezTo>
                <a:cubicBezTo>
                  <a:pt x="2162" y="363"/>
                  <a:pt x="2162" y="363"/>
                  <a:pt x="2162" y="363"/>
                </a:cubicBezTo>
                <a:cubicBezTo>
                  <a:pt x="2163" y="364"/>
                  <a:pt x="2163" y="364"/>
                  <a:pt x="2163" y="364"/>
                </a:cubicBezTo>
                <a:cubicBezTo>
                  <a:pt x="2164" y="366"/>
                  <a:pt x="2164" y="366"/>
                  <a:pt x="2164" y="366"/>
                </a:cubicBezTo>
                <a:cubicBezTo>
                  <a:pt x="2164" y="364"/>
                  <a:pt x="2164" y="364"/>
                  <a:pt x="2164" y="364"/>
                </a:cubicBezTo>
                <a:cubicBezTo>
                  <a:pt x="2162" y="362"/>
                  <a:pt x="2162" y="362"/>
                  <a:pt x="2162" y="362"/>
                </a:cubicBezTo>
                <a:cubicBezTo>
                  <a:pt x="2161" y="361"/>
                  <a:pt x="2161" y="361"/>
                  <a:pt x="2161" y="361"/>
                </a:cubicBezTo>
                <a:cubicBezTo>
                  <a:pt x="2160" y="361"/>
                  <a:pt x="2160" y="361"/>
                  <a:pt x="2160" y="361"/>
                </a:cubicBezTo>
                <a:cubicBezTo>
                  <a:pt x="2160" y="359"/>
                  <a:pt x="2160" y="359"/>
                  <a:pt x="2160" y="359"/>
                </a:cubicBezTo>
                <a:cubicBezTo>
                  <a:pt x="2158" y="357"/>
                  <a:pt x="2158" y="357"/>
                  <a:pt x="2158" y="357"/>
                </a:cubicBezTo>
                <a:cubicBezTo>
                  <a:pt x="2157" y="356"/>
                  <a:pt x="2157" y="356"/>
                  <a:pt x="2157" y="356"/>
                </a:cubicBezTo>
                <a:cubicBezTo>
                  <a:pt x="2157" y="354"/>
                  <a:pt x="2157" y="354"/>
                  <a:pt x="2157" y="354"/>
                </a:cubicBezTo>
                <a:cubicBezTo>
                  <a:pt x="2156" y="353"/>
                  <a:pt x="2156" y="353"/>
                  <a:pt x="2156" y="353"/>
                </a:cubicBezTo>
                <a:cubicBezTo>
                  <a:pt x="2154" y="352"/>
                  <a:pt x="2154" y="352"/>
                  <a:pt x="2154" y="352"/>
                </a:cubicBezTo>
                <a:cubicBezTo>
                  <a:pt x="2153" y="351"/>
                  <a:pt x="2153" y="351"/>
                  <a:pt x="2153" y="351"/>
                </a:cubicBezTo>
                <a:cubicBezTo>
                  <a:pt x="2153" y="352"/>
                  <a:pt x="2153" y="352"/>
                  <a:pt x="2153" y="352"/>
                </a:cubicBezTo>
                <a:cubicBezTo>
                  <a:pt x="2152" y="352"/>
                  <a:pt x="2152" y="352"/>
                  <a:pt x="2152" y="352"/>
                </a:cubicBezTo>
                <a:cubicBezTo>
                  <a:pt x="2151" y="352"/>
                  <a:pt x="2151" y="352"/>
                  <a:pt x="2151" y="352"/>
                </a:cubicBezTo>
                <a:cubicBezTo>
                  <a:pt x="2150" y="352"/>
                  <a:pt x="2150" y="352"/>
                  <a:pt x="2150" y="352"/>
                </a:cubicBezTo>
                <a:cubicBezTo>
                  <a:pt x="2152" y="354"/>
                  <a:pt x="2152" y="354"/>
                  <a:pt x="2152" y="354"/>
                </a:cubicBezTo>
                <a:cubicBezTo>
                  <a:pt x="2154" y="355"/>
                  <a:pt x="2154" y="355"/>
                  <a:pt x="2154" y="355"/>
                </a:cubicBezTo>
                <a:cubicBezTo>
                  <a:pt x="2155" y="356"/>
                  <a:pt x="2155" y="356"/>
                  <a:pt x="2155" y="356"/>
                </a:cubicBezTo>
                <a:cubicBezTo>
                  <a:pt x="2154" y="357"/>
                  <a:pt x="2154" y="357"/>
                  <a:pt x="2154" y="357"/>
                </a:cubicBezTo>
                <a:cubicBezTo>
                  <a:pt x="2155" y="357"/>
                  <a:pt x="2155" y="357"/>
                  <a:pt x="2155" y="357"/>
                </a:cubicBezTo>
                <a:cubicBezTo>
                  <a:pt x="2156" y="357"/>
                  <a:pt x="2156" y="357"/>
                  <a:pt x="2156" y="357"/>
                </a:cubicBezTo>
                <a:cubicBezTo>
                  <a:pt x="2156" y="358"/>
                  <a:pt x="2156" y="358"/>
                  <a:pt x="2156" y="358"/>
                </a:cubicBezTo>
                <a:cubicBezTo>
                  <a:pt x="2155" y="358"/>
                  <a:pt x="2155" y="358"/>
                  <a:pt x="2155" y="358"/>
                </a:cubicBezTo>
                <a:cubicBezTo>
                  <a:pt x="2155" y="359"/>
                  <a:pt x="2155" y="359"/>
                  <a:pt x="2155" y="359"/>
                </a:cubicBezTo>
                <a:cubicBezTo>
                  <a:pt x="2156" y="359"/>
                  <a:pt x="2156" y="359"/>
                  <a:pt x="2156" y="359"/>
                </a:cubicBezTo>
                <a:cubicBezTo>
                  <a:pt x="2156" y="361"/>
                  <a:pt x="2156" y="361"/>
                  <a:pt x="2156" y="361"/>
                </a:cubicBezTo>
                <a:cubicBezTo>
                  <a:pt x="2155" y="361"/>
                  <a:pt x="2155" y="361"/>
                  <a:pt x="2155" y="361"/>
                </a:cubicBezTo>
                <a:cubicBezTo>
                  <a:pt x="2154" y="361"/>
                  <a:pt x="2154" y="361"/>
                  <a:pt x="2154" y="361"/>
                </a:cubicBezTo>
                <a:cubicBezTo>
                  <a:pt x="2154" y="360"/>
                  <a:pt x="2154" y="360"/>
                  <a:pt x="2154" y="360"/>
                </a:cubicBezTo>
                <a:cubicBezTo>
                  <a:pt x="2153" y="361"/>
                  <a:pt x="2153" y="361"/>
                  <a:pt x="2153" y="361"/>
                </a:cubicBezTo>
                <a:cubicBezTo>
                  <a:pt x="2152" y="362"/>
                  <a:pt x="2152" y="362"/>
                  <a:pt x="2152" y="362"/>
                </a:cubicBezTo>
                <a:cubicBezTo>
                  <a:pt x="2153" y="364"/>
                  <a:pt x="2153" y="364"/>
                  <a:pt x="2153" y="364"/>
                </a:cubicBezTo>
                <a:cubicBezTo>
                  <a:pt x="2154" y="365"/>
                  <a:pt x="2154" y="365"/>
                  <a:pt x="2154" y="365"/>
                </a:cubicBezTo>
                <a:cubicBezTo>
                  <a:pt x="2155" y="367"/>
                  <a:pt x="2155" y="367"/>
                  <a:pt x="2155" y="367"/>
                </a:cubicBezTo>
                <a:cubicBezTo>
                  <a:pt x="2156" y="369"/>
                  <a:pt x="2156" y="369"/>
                  <a:pt x="2156" y="369"/>
                </a:cubicBezTo>
                <a:cubicBezTo>
                  <a:pt x="2156" y="371"/>
                  <a:pt x="2156" y="371"/>
                  <a:pt x="2156" y="371"/>
                </a:cubicBezTo>
                <a:cubicBezTo>
                  <a:pt x="2156" y="372"/>
                  <a:pt x="2156" y="372"/>
                  <a:pt x="2156" y="372"/>
                </a:cubicBezTo>
                <a:cubicBezTo>
                  <a:pt x="2157" y="374"/>
                  <a:pt x="2157" y="374"/>
                  <a:pt x="2157" y="374"/>
                </a:cubicBezTo>
                <a:cubicBezTo>
                  <a:pt x="2158" y="377"/>
                  <a:pt x="2158" y="377"/>
                  <a:pt x="2158" y="377"/>
                </a:cubicBezTo>
                <a:cubicBezTo>
                  <a:pt x="2159" y="379"/>
                  <a:pt x="2159" y="379"/>
                  <a:pt x="2159" y="379"/>
                </a:cubicBezTo>
                <a:cubicBezTo>
                  <a:pt x="2160" y="380"/>
                  <a:pt x="2160" y="380"/>
                  <a:pt x="2160" y="380"/>
                </a:cubicBezTo>
                <a:cubicBezTo>
                  <a:pt x="2159" y="381"/>
                  <a:pt x="2159" y="381"/>
                  <a:pt x="2159" y="381"/>
                </a:cubicBezTo>
                <a:cubicBezTo>
                  <a:pt x="2163" y="384"/>
                  <a:pt x="2163" y="384"/>
                  <a:pt x="2163" y="384"/>
                </a:cubicBezTo>
                <a:close/>
                <a:moveTo>
                  <a:pt x="1583" y="262"/>
                </a:moveTo>
                <a:cubicBezTo>
                  <a:pt x="1584" y="261"/>
                  <a:pt x="1584" y="261"/>
                  <a:pt x="1584" y="261"/>
                </a:cubicBezTo>
                <a:cubicBezTo>
                  <a:pt x="1586" y="261"/>
                  <a:pt x="1586" y="261"/>
                  <a:pt x="1586" y="261"/>
                </a:cubicBezTo>
                <a:cubicBezTo>
                  <a:pt x="1587" y="260"/>
                  <a:pt x="1587" y="260"/>
                  <a:pt x="1587" y="260"/>
                </a:cubicBezTo>
                <a:cubicBezTo>
                  <a:pt x="1588" y="258"/>
                  <a:pt x="1588" y="258"/>
                  <a:pt x="1588" y="258"/>
                </a:cubicBezTo>
                <a:cubicBezTo>
                  <a:pt x="1588" y="256"/>
                  <a:pt x="1588" y="256"/>
                  <a:pt x="1588" y="256"/>
                </a:cubicBezTo>
                <a:cubicBezTo>
                  <a:pt x="1589" y="255"/>
                  <a:pt x="1589" y="255"/>
                  <a:pt x="1589" y="255"/>
                </a:cubicBezTo>
                <a:cubicBezTo>
                  <a:pt x="1590" y="256"/>
                  <a:pt x="1590" y="256"/>
                  <a:pt x="1590" y="256"/>
                </a:cubicBezTo>
                <a:cubicBezTo>
                  <a:pt x="1590" y="255"/>
                  <a:pt x="1590" y="255"/>
                  <a:pt x="1590" y="255"/>
                </a:cubicBezTo>
                <a:cubicBezTo>
                  <a:pt x="1589" y="254"/>
                  <a:pt x="1589" y="254"/>
                  <a:pt x="1589" y="254"/>
                </a:cubicBezTo>
                <a:cubicBezTo>
                  <a:pt x="1584" y="252"/>
                  <a:pt x="1584" y="252"/>
                  <a:pt x="1584" y="252"/>
                </a:cubicBezTo>
                <a:cubicBezTo>
                  <a:pt x="1582" y="251"/>
                  <a:pt x="1582" y="251"/>
                  <a:pt x="1582" y="251"/>
                </a:cubicBezTo>
                <a:cubicBezTo>
                  <a:pt x="1581" y="252"/>
                  <a:pt x="1581" y="252"/>
                  <a:pt x="1581" y="252"/>
                </a:cubicBezTo>
                <a:cubicBezTo>
                  <a:pt x="1580" y="255"/>
                  <a:pt x="1580" y="255"/>
                  <a:pt x="1580" y="255"/>
                </a:cubicBezTo>
                <a:cubicBezTo>
                  <a:pt x="1580" y="258"/>
                  <a:pt x="1580" y="258"/>
                  <a:pt x="1580" y="258"/>
                </a:cubicBezTo>
                <a:cubicBezTo>
                  <a:pt x="1581" y="259"/>
                  <a:pt x="1581" y="259"/>
                  <a:pt x="1581" y="259"/>
                </a:cubicBezTo>
                <a:cubicBezTo>
                  <a:pt x="1581" y="261"/>
                  <a:pt x="1581" y="261"/>
                  <a:pt x="1581" y="261"/>
                </a:cubicBezTo>
                <a:cubicBezTo>
                  <a:pt x="1582" y="261"/>
                  <a:pt x="1582" y="261"/>
                  <a:pt x="1582" y="261"/>
                </a:cubicBezTo>
                <a:cubicBezTo>
                  <a:pt x="1583" y="261"/>
                  <a:pt x="1583" y="261"/>
                  <a:pt x="1583" y="261"/>
                </a:cubicBezTo>
                <a:cubicBezTo>
                  <a:pt x="1582" y="262"/>
                  <a:pt x="1582" y="262"/>
                  <a:pt x="1582" y="262"/>
                </a:cubicBezTo>
                <a:cubicBezTo>
                  <a:pt x="1583" y="262"/>
                  <a:pt x="1583" y="262"/>
                  <a:pt x="1583" y="262"/>
                </a:cubicBezTo>
                <a:close/>
                <a:moveTo>
                  <a:pt x="2152" y="351"/>
                </a:moveTo>
                <a:cubicBezTo>
                  <a:pt x="2153" y="351"/>
                  <a:pt x="2153" y="351"/>
                  <a:pt x="2153" y="351"/>
                </a:cubicBezTo>
                <a:cubicBezTo>
                  <a:pt x="2153" y="350"/>
                  <a:pt x="2153" y="350"/>
                  <a:pt x="2153" y="350"/>
                </a:cubicBezTo>
                <a:cubicBezTo>
                  <a:pt x="2152" y="351"/>
                  <a:pt x="2152" y="351"/>
                  <a:pt x="2152" y="351"/>
                </a:cubicBezTo>
                <a:close/>
                <a:moveTo>
                  <a:pt x="1579" y="64"/>
                </a:moveTo>
                <a:cubicBezTo>
                  <a:pt x="1579" y="65"/>
                  <a:pt x="1579" y="65"/>
                  <a:pt x="1579" y="65"/>
                </a:cubicBezTo>
                <a:cubicBezTo>
                  <a:pt x="1578" y="66"/>
                  <a:pt x="1578" y="66"/>
                  <a:pt x="1578" y="66"/>
                </a:cubicBezTo>
                <a:cubicBezTo>
                  <a:pt x="1577" y="66"/>
                  <a:pt x="1577" y="66"/>
                  <a:pt x="1577" y="66"/>
                </a:cubicBezTo>
                <a:cubicBezTo>
                  <a:pt x="1575" y="67"/>
                  <a:pt x="1575" y="67"/>
                  <a:pt x="1575" y="67"/>
                </a:cubicBezTo>
                <a:cubicBezTo>
                  <a:pt x="1574" y="68"/>
                  <a:pt x="1574" y="68"/>
                  <a:pt x="1574" y="68"/>
                </a:cubicBezTo>
                <a:cubicBezTo>
                  <a:pt x="1573" y="67"/>
                  <a:pt x="1573" y="67"/>
                  <a:pt x="1573" y="67"/>
                </a:cubicBezTo>
                <a:cubicBezTo>
                  <a:pt x="1572" y="67"/>
                  <a:pt x="1572" y="67"/>
                  <a:pt x="1572" y="67"/>
                </a:cubicBezTo>
                <a:cubicBezTo>
                  <a:pt x="1572" y="68"/>
                  <a:pt x="1572" y="68"/>
                  <a:pt x="1572" y="68"/>
                </a:cubicBezTo>
                <a:cubicBezTo>
                  <a:pt x="1573" y="70"/>
                  <a:pt x="1573" y="70"/>
                  <a:pt x="1573" y="70"/>
                </a:cubicBezTo>
                <a:cubicBezTo>
                  <a:pt x="1573" y="73"/>
                  <a:pt x="1573" y="73"/>
                  <a:pt x="1573" y="73"/>
                </a:cubicBezTo>
                <a:cubicBezTo>
                  <a:pt x="1573" y="75"/>
                  <a:pt x="1573" y="75"/>
                  <a:pt x="1573" y="75"/>
                </a:cubicBezTo>
                <a:cubicBezTo>
                  <a:pt x="1575" y="77"/>
                  <a:pt x="1575" y="77"/>
                  <a:pt x="1575" y="77"/>
                </a:cubicBezTo>
                <a:cubicBezTo>
                  <a:pt x="1576" y="77"/>
                  <a:pt x="1576" y="77"/>
                  <a:pt x="1576" y="77"/>
                </a:cubicBezTo>
                <a:cubicBezTo>
                  <a:pt x="1578" y="76"/>
                  <a:pt x="1578" y="76"/>
                  <a:pt x="1578" y="76"/>
                </a:cubicBezTo>
                <a:cubicBezTo>
                  <a:pt x="1580" y="76"/>
                  <a:pt x="1580" y="76"/>
                  <a:pt x="1580" y="76"/>
                </a:cubicBezTo>
                <a:cubicBezTo>
                  <a:pt x="1581" y="75"/>
                  <a:pt x="1581" y="75"/>
                  <a:pt x="1581" y="75"/>
                </a:cubicBezTo>
                <a:cubicBezTo>
                  <a:pt x="1583" y="75"/>
                  <a:pt x="1583" y="75"/>
                  <a:pt x="1583" y="75"/>
                </a:cubicBezTo>
                <a:cubicBezTo>
                  <a:pt x="1583" y="74"/>
                  <a:pt x="1583" y="74"/>
                  <a:pt x="1583" y="74"/>
                </a:cubicBezTo>
                <a:cubicBezTo>
                  <a:pt x="1582" y="73"/>
                  <a:pt x="1582" y="73"/>
                  <a:pt x="1582" y="73"/>
                </a:cubicBezTo>
                <a:cubicBezTo>
                  <a:pt x="1581" y="72"/>
                  <a:pt x="1581" y="72"/>
                  <a:pt x="1581" y="72"/>
                </a:cubicBezTo>
                <a:cubicBezTo>
                  <a:pt x="1579" y="71"/>
                  <a:pt x="1579" y="71"/>
                  <a:pt x="1579" y="71"/>
                </a:cubicBezTo>
                <a:cubicBezTo>
                  <a:pt x="1579" y="70"/>
                  <a:pt x="1579" y="70"/>
                  <a:pt x="1579" y="70"/>
                </a:cubicBezTo>
                <a:cubicBezTo>
                  <a:pt x="1579" y="69"/>
                  <a:pt x="1579" y="69"/>
                  <a:pt x="1579" y="69"/>
                </a:cubicBezTo>
                <a:cubicBezTo>
                  <a:pt x="1580" y="68"/>
                  <a:pt x="1580" y="68"/>
                  <a:pt x="1580" y="68"/>
                </a:cubicBezTo>
                <a:cubicBezTo>
                  <a:pt x="1581" y="68"/>
                  <a:pt x="1581" y="68"/>
                  <a:pt x="1581" y="68"/>
                </a:cubicBezTo>
                <a:cubicBezTo>
                  <a:pt x="1582" y="68"/>
                  <a:pt x="1582" y="68"/>
                  <a:pt x="1582" y="68"/>
                </a:cubicBezTo>
                <a:cubicBezTo>
                  <a:pt x="1582" y="67"/>
                  <a:pt x="1582" y="67"/>
                  <a:pt x="1582" y="67"/>
                </a:cubicBezTo>
                <a:cubicBezTo>
                  <a:pt x="1581" y="65"/>
                  <a:pt x="1581" y="65"/>
                  <a:pt x="1581" y="65"/>
                </a:cubicBezTo>
                <a:cubicBezTo>
                  <a:pt x="1580" y="65"/>
                  <a:pt x="1580" y="65"/>
                  <a:pt x="1580" y="65"/>
                </a:cubicBezTo>
                <a:cubicBezTo>
                  <a:pt x="1579" y="63"/>
                  <a:pt x="1579" y="63"/>
                  <a:pt x="1579" y="63"/>
                </a:cubicBezTo>
                <a:cubicBezTo>
                  <a:pt x="1579" y="64"/>
                  <a:pt x="1579" y="64"/>
                  <a:pt x="1579" y="64"/>
                </a:cubicBezTo>
                <a:close/>
                <a:moveTo>
                  <a:pt x="1616" y="255"/>
                </a:moveTo>
                <a:cubicBezTo>
                  <a:pt x="1615" y="255"/>
                  <a:pt x="1615" y="255"/>
                  <a:pt x="1615" y="255"/>
                </a:cubicBezTo>
                <a:cubicBezTo>
                  <a:pt x="1614" y="256"/>
                  <a:pt x="1614" y="256"/>
                  <a:pt x="1614" y="256"/>
                </a:cubicBezTo>
                <a:cubicBezTo>
                  <a:pt x="1615" y="256"/>
                  <a:pt x="1615" y="256"/>
                  <a:pt x="1615" y="256"/>
                </a:cubicBezTo>
                <a:cubicBezTo>
                  <a:pt x="1616" y="255"/>
                  <a:pt x="1616" y="255"/>
                  <a:pt x="1616" y="255"/>
                </a:cubicBezTo>
                <a:close/>
                <a:moveTo>
                  <a:pt x="1614" y="263"/>
                </a:moveTo>
                <a:cubicBezTo>
                  <a:pt x="1614" y="264"/>
                  <a:pt x="1614" y="264"/>
                  <a:pt x="1614" y="264"/>
                </a:cubicBezTo>
                <a:cubicBezTo>
                  <a:pt x="1615" y="262"/>
                  <a:pt x="1615" y="262"/>
                  <a:pt x="1615" y="262"/>
                </a:cubicBezTo>
                <a:cubicBezTo>
                  <a:pt x="1614" y="262"/>
                  <a:pt x="1614" y="262"/>
                  <a:pt x="1614" y="262"/>
                </a:cubicBezTo>
                <a:cubicBezTo>
                  <a:pt x="1614" y="263"/>
                  <a:pt x="1614" y="263"/>
                  <a:pt x="1614" y="263"/>
                </a:cubicBezTo>
                <a:close/>
                <a:moveTo>
                  <a:pt x="1596" y="263"/>
                </a:moveTo>
                <a:cubicBezTo>
                  <a:pt x="1598" y="263"/>
                  <a:pt x="1598" y="263"/>
                  <a:pt x="1598" y="263"/>
                </a:cubicBezTo>
                <a:cubicBezTo>
                  <a:pt x="1598" y="262"/>
                  <a:pt x="1598" y="262"/>
                  <a:pt x="1598" y="262"/>
                </a:cubicBezTo>
                <a:cubicBezTo>
                  <a:pt x="1597" y="262"/>
                  <a:pt x="1597" y="262"/>
                  <a:pt x="1597" y="262"/>
                </a:cubicBezTo>
                <a:cubicBezTo>
                  <a:pt x="1596" y="263"/>
                  <a:pt x="1596" y="263"/>
                  <a:pt x="1596" y="263"/>
                </a:cubicBezTo>
                <a:close/>
                <a:moveTo>
                  <a:pt x="1618" y="256"/>
                </a:moveTo>
                <a:cubicBezTo>
                  <a:pt x="1619" y="257"/>
                  <a:pt x="1619" y="257"/>
                  <a:pt x="1619" y="257"/>
                </a:cubicBezTo>
                <a:cubicBezTo>
                  <a:pt x="1618" y="255"/>
                  <a:pt x="1618" y="255"/>
                  <a:pt x="1618" y="255"/>
                </a:cubicBezTo>
                <a:cubicBezTo>
                  <a:pt x="1617" y="255"/>
                  <a:pt x="1617" y="255"/>
                  <a:pt x="1617" y="255"/>
                </a:cubicBezTo>
                <a:cubicBezTo>
                  <a:pt x="1616" y="255"/>
                  <a:pt x="1616" y="255"/>
                  <a:pt x="1616" y="255"/>
                </a:cubicBezTo>
                <a:cubicBezTo>
                  <a:pt x="1617" y="256"/>
                  <a:pt x="1617" y="256"/>
                  <a:pt x="1617" y="256"/>
                </a:cubicBezTo>
                <a:cubicBezTo>
                  <a:pt x="1618" y="256"/>
                  <a:pt x="1618" y="256"/>
                  <a:pt x="1618" y="256"/>
                </a:cubicBezTo>
                <a:close/>
                <a:moveTo>
                  <a:pt x="2137" y="121"/>
                </a:moveTo>
                <a:cubicBezTo>
                  <a:pt x="2137" y="120"/>
                  <a:pt x="2137" y="120"/>
                  <a:pt x="2137" y="120"/>
                </a:cubicBezTo>
                <a:cubicBezTo>
                  <a:pt x="2136" y="120"/>
                  <a:pt x="2136" y="120"/>
                  <a:pt x="2136" y="120"/>
                </a:cubicBezTo>
                <a:cubicBezTo>
                  <a:pt x="2137" y="122"/>
                  <a:pt x="2137" y="122"/>
                  <a:pt x="2137" y="122"/>
                </a:cubicBezTo>
                <a:cubicBezTo>
                  <a:pt x="2137" y="121"/>
                  <a:pt x="2137" y="121"/>
                  <a:pt x="2137" y="121"/>
                </a:cubicBezTo>
                <a:close/>
                <a:moveTo>
                  <a:pt x="1599" y="227"/>
                </a:moveTo>
                <a:cubicBezTo>
                  <a:pt x="1597" y="227"/>
                  <a:pt x="1597" y="227"/>
                  <a:pt x="1597" y="227"/>
                </a:cubicBezTo>
                <a:cubicBezTo>
                  <a:pt x="1597" y="226"/>
                  <a:pt x="1597" y="226"/>
                  <a:pt x="1597" y="226"/>
                </a:cubicBezTo>
                <a:cubicBezTo>
                  <a:pt x="1596" y="226"/>
                  <a:pt x="1596" y="226"/>
                  <a:pt x="1596" y="226"/>
                </a:cubicBezTo>
                <a:cubicBezTo>
                  <a:pt x="1595" y="226"/>
                  <a:pt x="1595" y="226"/>
                  <a:pt x="1595" y="226"/>
                </a:cubicBezTo>
                <a:cubicBezTo>
                  <a:pt x="1594" y="227"/>
                  <a:pt x="1594" y="227"/>
                  <a:pt x="1594" y="227"/>
                </a:cubicBezTo>
                <a:cubicBezTo>
                  <a:pt x="1595" y="228"/>
                  <a:pt x="1595" y="228"/>
                  <a:pt x="1595" y="228"/>
                </a:cubicBezTo>
                <a:cubicBezTo>
                  <a:pt x="1596" y="228"/>
                  <a:pt x="1596" y="228"/>
                  <a:pt x="1596" y="228"/>
                </a:cubicBezTo>
                <a:cubicBezTo>
                  <a:pt x="1596" y="229"/>
                  <a:pt x="1596" y="229"/>
                  <a:pt x="1596" y="229"/>
                </a:cubicBezTo>
                <a:cubicBezTo>
                  <a:pt x="1597" y="229"/>
                  <a:pt x="1597" y="229"/>
                  <a:pt x="1597" y="229"/>
                </a:cubicBezTo>
                <a:cubicBezTo>
                  <a:pt x="1598" y="231"/>
                  <a:pt x="1598" y="231"/>
                  <a:pt x="1598" y="231"/>
                </a:cubicBezTo>
                <a:cubicBezTo>
                  <a:pt x="1599" y="231"/>
                  <a:pt x="1599" y="231"/>
                  <a:pt x="1599" y="231"/>
                </a:cubicBezTo>
                <a:cubicBezTo>
                  <a:pt x="1599" y="230"/>
                  <a:pt x="1599" y="230"/>
                  <a:pt x="1599" y="230"/>
                </a:cubicBezTo>
                <a:cubicBezTo>
                  <a:pt x="1598" y="229"/>
                  <a:pt x="1598" y="229"/>
                  <a:pt x="1598" y="229"/>
                </a:cubicBezTo>
                <a:cubicBezTo>
                  <a:pt x="1599" y="228"/>
                  <a:pt x="1599" y="228"/>
                  <a:pt x="1599" y="228"/>
                </a:cubicBezTo>
                <a:cubicBezTo>
                  <a:pt x="1599" y="227"/>
                  <a:pt x="1599" y="227"/>
                  <a:pt x="1599" y="227"/>
                </a:cubicBezTo>
                <a:close/>
                <a:moveTo>
                  <a:pt x="1540" y="88"/>
                </a:moveTo>
                <a:cubicBezTo>
                  <a:pt x="1539" y="87"/>
                  <a:pt x="1539" y="87"/>
                  <a:pt x="1539" y="87"/>
                </a:cubicBezTo>
                <a:cubicBezTo>
                  <a:pt x="1538" y="87"/>
                  <a:pt x="1538" y="87"/>
                  <a:pt x="1538" y="87"/>
                </a:cubicBezTo>
                <a:cubicBezTo>
                  <a:pt x="1537" y="88"/>
                  <a:pt x="1537" y="88"/>
                  <a:pt x="1537" y="88"/>
                </a:cubicBezTo>
                <a:cubicBezTo>
                  <a:pt x="1537" y="89"/>
                  <a:pt x="1537" y="89"/>
                  <a:pt x="1537" y="89"/>
                </a:cubicBezTo>
                <a:cubicBezTo>
                  <a:pt x="1538" y="90"/>
                  <a:pt x="1538" y="90"/>
                  <a:pt x="1538" y="90"/>
                </a:cubicBezTo>
                <a:cubicBezTo>
                  <a:pt x="1539" y="91"/>
                  <a:pt x="1539" y="91"/>
                  <a:pt x="1539" y="91"/>
                </a:cubicBezTo>
                <a:cubicBezTo>
                  <a:pt x="1540" y="90"/>
                  <a:pt x="1540" y="90"/>
                  <a:pt x="1540" y="90"/>
                </a:cubicBezTo>
                <a:cubicBezTo>
                  <a:pt x="1540" y="89"/>
                  <a:pt x="1540" y="89"/>
                  <a:pt x="1540" y="89"/>
                </a:cubicBezTo>
                <a:cubicBezTo>
                  <a:pt x="1540" y="88"/>
                  <a:pt x="1540" y="88"/>
                  <a:pt x="1540" y="88"/>
                </a:cubicBezTo>
                <a:close/>
                <a:moveTo>
                  <a:pt x="1581" y="60"/>
                </a:moveTo>
                <a:cubicBezTo>
                  <a:pt x="1581" y="60"/>
                  <a:pt x="1581" y="60"/>
                  <a:pt x="1581" y="61"/>
                </a:cubicBezTo>
                <a:cubicBezTo>
                  <a:pt x="1581" y="61"/>
                  <a:pt x="1581" y="61"/>
                  <a:pt x="1581" y="62"/>
                </a:cubicBezTo>
                <a:cubicBezTo>
                  <a:pt x="1581" y="62"/>
                  <a:pt x="1581" y="62"/>
                  <a:pt x="1582" y="63"/>
                </a:cubicBezTo>
                <a:cubicBezTo>
                  <a:pt x="1582" y="63"/>
                  <a:pt x="1582" y="63"/>
                  <a:pt x="1583" y="63"/>
                </a:cubicBezTo>
                <a:cubicBezTo>
                  <a:pt x="1583" y="63"/>
                  <a:pt x="1583" y="63"/>
                  <a:pt x="1584" y="64"/>
                </a:cubicBezTo>
                <a:cubicBezTo>
                  <a:pt x="1584" y="64"/>
                  <a:pt x="1584" y="64"/>
                  <a:pt x="1584" y="65"/>
                </a:cubicBezTo>
                <a:cubicBezTo>
                  <a:pt x="1584" y="65"/>
                  <a:pt x="1584" y="65"/>
                  <a:pt x="1585" y="66"/>
                </a:cubicBezTo>
                <a:cubicBezTo>
                  <a:pt x="1585" y="66"/>
                  <a:pt x="1585" y="66"/>
                  <a:pt x="1586" y="64"/>
                </a:cubicBezTo>
                <a:cubicBezTo>
                  <a:pt x="1586" y="64"/>
                  <a:pt x="1586" y="64"/>
                  <a:pt x="1586" y="63"/>
                </a:cubicBezTo>
                <a:cubicBezTo>
                  <a:pt x="1586" y="63"/>
                  <a:pt x="1586" y="63"/>
                  <a:pt x="1586" y="62"/>
                </a:cubicBezTo>
                <a:cubicBezTo>
                  <a:pt x="1586" y="62"/>
                  <a:pt x="1586" y="62"/>
                  <a:pt x="1586" y="61"/>
                </a:cubicBezTo>
                <a:cubicBezTo>
                  <a:pt x="1586" y="61"/>
                  <a:pt x="1586" y="61"/>
                  <a:pt x="1588" y="60"/>
                </a:cubicBezTo>
                <a:cubicBezTo>
                  <a:pt x="1588" y="60"/>
                  <a:pt x="1588" y="60"/>
                  <a:pt x="1590" y="59"/>
                </a:cubicBezTo>
                <a:cubicBezTo>
                  <a:pt x="1590" y="59"/>
                  <a:pt x="1590" y="59"/>
                  <a:pt x="1590" y="58"/>
                </a:cubicBezTo>
                <a:cubicBezTo>
                  <a:pt x="1590" y="58"/>
                  <a:pt x="1590" y="58"/>
                  <a:pt x="1588" y="57"/>
                </a:cubicBezTo>
                <a:cubicBezTo>
                  <a:pt x="1588" y="57"/>
                  <a:pt x="1588" y="57"/>
                  <a:pt x="1587" y="56"/>
                </a:cubicBezTo>
                <a:cubicBezTo>
                  <a:pt x="1587" y="56"/>
                  <a:pt x="1587" y="56"/>
                  <a:pt x="1587" y="54"/>
                </a:cubicBezTo>
                <a:cubicBezTo>
                  <a:pt x="1587" y="54"/>
                  <a:pt x="1587" y="54"/>
                  <a:pt x="1586" y="52"/>
                </a:cubicBezTo>
                <a:cubicBezTo>
                  <a:pt x="1586" y="52"/>
                  <a:pt x="1586" y="52"/>
                  <a:pt x="1585" y="52"/>
                </a:cubicBezTo>
                <a:cubicBezTo>
                  <a:pt x="1585" y="52"/>
                  <a:pt x="1585" y="52"/>
                  <a:pt x="1584" y="52"/>
                </a:cubicBezTo>
                <a:cubicBezTo>
                  <a:pt x="1584" y="52"/>
                  <a:pt x="1584" y="52"/>
                  <a:pt x="1583" y="52"/>
                </a:cubicBezTo>
                <a:cubicBezTo>
                  <a:pt x="1583" y="52"/>
                  <a:pt x="1583" y="52"/>
                  <a:pt x="1583" y="53"/>
                </a:cubicBezTo>
                <a:cubicBezTo>
                  <a:pt x="1583" y="53"/>
                  <a:pt x="1583" y="53"/>
                  <a:pt x="1582" y="55"/>
                </a:cubicBezTo>
                <a:cubicBezTo>
                  <a:pt x="1582" y="55"/>
                  <a:pt x="1582" y="55"/>
                  <a:pt x="1581" y="56"/>
                </a:cubicBezTo>
                <a:cubicBezTo>
                  <a:pt x="1581" y="56"/>
                  <a:pt x="1581" y="56"/>
                  <a:pt x="1580" y="57"/>
                </a:cubicBezTo>
                <a:cubicBezTo>
                  <a:pt x="1580" y="57"/>
                  <a:pt x="1580" y="57"/>
                  <a:pt x="1581" y="59"/>
                </a:cubicBezTo>
                <a:cubicBezTo>
                  <a:pt x="1581" y="59"/>
                  <a:pt x="1581" y="59"/>
                  <a:pt x="1581" y="60"/>
                </a:cubicBezTo>
                <a:close/>
                <a:moveTo>
                  <a:pt x="1590" y="191"/>
                </a:moveTo>
                <a:cubicBezTo>
                  <a:pt x="1589" y="191"/>
                  <a:pt x="1589" y="191"/>
                  <a:pt x="1589" y="191"/>
                </a:cubicBezTo>
                <a:cubicBezTo>
                  <a:pt x="1590" y="193"/>
                  <a:pt x="1590" y="193"/>
                  <a:pt x="1590" y="193"/>
                </a:cubicBezTo>
                <a:cubicBezTo>
                  <a:pt x="1591" y="193"/>
                  <a:pt x="1591" y="193"/>
                  <a:pt x="1591" y="193"/>
                </a:cubicBezTo>
                <a:cubicBezTo>
                  <a:pt x="1592" y="193"/>
                  <a:pt x="1592" y="193"/>
                  <a:pt x="1592" y="193"/>
                </a:cubicBezTo>
                <a:cubicBezTo>
                  <a:pt x="1592" y="192"/>
                  <a:pt x="1592" y="192"/>
                  <a:pt x="1592" y="192"/>
                </a:cubicBezTo>
                <a:cubicBezTo>
                  <a:pt x="1593" y="192"/>
                  <a:pt x="1593" y="192"/>
                  <a:pt x="1593" y="192"/>
                </a:cubicBezTo>
                <a:cubicBezTo>
                  <a:pt x="1595" y="190"/>
                  <a:pt x="1595" y="190"/>
                  <a:pt x="1595" y="190"/>
                </a:cubicBezTo>
                <a:cubicBezTo>
                  <a:pt x="1596" y="190"/>
                  <a:pt x="1596" y="190"/>
                  <a:pt x="1596" y="190"/>
                </a:cubicBezTo>
                <a:cubicBezTo>
                  <a:pt x="1597" y="190"/>
                  <a:pt x="1597" y="190"/>
                  <a:pt x="1597" y="190"/>
                </a:cubicBezTo>
                <a:cubicBezTo>
                  <a:pt x="1598" y="191"/>
                  <a:pt x="1598" y="191"/>
                  <a:pt x="1598" y="191"/>
                </a:cubicBezTo>
                <a:cubicBezTo>
                  <a:pt x="1597" y="191"/>
                  <a:pt x="1597" y="191"/>
                  <a:pt x="1597" y="191"/>
                </a:cubicBezTo>
                <a:cubicBezTo>
                  <a:pt x="1596" y="191"/>
                  <a:pt x="1596" y="191"/>
                  <a:pt x="1596" y="191"/>
                </a:cubicBezTo>
                <a:cubicBezTo>
                  <a:pt x="1595" y="191"/>
                  <a:pt x="1595" y="191"/>
                  <a:pt x="1595" y="191"/>
                </a:cubicBezTo>
                <a:cubicBezTo>
                  <a:pt x="1594" y="192"/>
                  <a:pt x="1594" y="192"/>
                  <a:pt x="1594" y="192"/>
                </a:cubicBezTo>
                <a:cubicBezTo>
                  <a:pt x="1593" y="193"/>
                  <a:pt x="1593" y="193"/>
                  <a:pt x="1593" y="193"/>
                </a:cubicBezTo>
                <a:cubicBezTo>
                  <a:pt x="1593" y="195"/>
                  <a:pt x="1593" y="195"/>
                  <a:pt x="1593" y="195"/>
                </a:cubicBezTo>
                <a:cubicBezTo>
                  <a:pt x="1593" y="196"/>
                  <a:pt x="1593" y="196"/>
                  <a:pt x="1593" y="196"/>
                </a:cubicBezTo>
                <a:cubicBezTo>
                  <a:pt x="1593" y="197"/>
                  <a:pt x="1593" y="197"/>
                  <a:pt x="1593" y="197"/>
                </a:cubicBezTo>
                <a:cubicBezTo>
                  <a:pt x="1592" y="198"/>
                  <a:pt x="1592" y="198"/>
                  <a:pt x="1592" y="198"/>
                </a:cubicBezTo>
                <a:cubicBezTo>
                  <a:pt x="1590" y="199"/>
                  <a:pt x="1590" y="199"/>
                  <a:pt x="1590" y="199"/>
                </a:cubicBezTo>
                <a:cubicBezTo>
                  <a:pt x="1590" y="201"/>
                  <a:pt x="1590" y="201"/>
                  <a:pt x="1590" y="201"/>
                </a:cubicBezTo>
                <a:cubicBezTo>
                  <a:pt x="1590" y="203"/>
                  <a:pt x="1590" y="203"/>
                  <a:pt x="1590" y="203"/>
                </a:cubicBezTo>
                <a:cubicBezTo>
                  <a:pt x="1591" y="203"/>
                  <a:pt x="1591" y="203"/>
                  <a:pt x="1591" y="203"/>
                </a:cubicBezTo>
                <a:cubicBezTo>
                  <a:pt x="1592" y="203"/>
                  <a:pt x="1592" y="203"/>
                  <a:pt x="1592" y="203"/>
                </a:cubicBezTo>
                <a:cubicBezTo>
                  <a:pt x="1591" y="204"/>
                  <a:pt x="1591" y="204"/>
                  <a:pt x="1591" y="204"/>
                </a:cubicBezTo>
                <a:cubicBezTo>
                  <a:pt x="1590" y="204"/>
                  <a:pt x="1590" y="204"/>
                  <a:pt x="1590" y="204"/>
                </a:cubicBezTo>
                <a:cubicBezTo>
                  <a:pt x="1589" y="204"/>
                  <a:pt x="1589" y="204"/>
                  <a:pt x="1589" y="204"/>
                </a:cubicBezTo>
                <a:cubicBezTo>
                  <a:pt x="1588" y="206"/>
                  <a:pt x="1588" y="206"/>
                  <a:pt x="1588" y="206"/>
                </a:cubicBezTo>
                <a:cubicBezTo>
                  <a:pt x="1588" y="207"/>
                  <a:pt x="1588" y="207"/>
                  <a:pt x="1588" y="207"/>
                </a:cubicBezTo>
                <a:cubicBezTo>
                  <a:pt x="1588" y="208"/>
                  <a:pt x="1588" y="208"/>
                  <a:pt x="1588" y="208"/>
                </a:cubicBezTo>
                <a:cubicBezTo>
                  <a:pt x="1589" y="208"/>
                  <a:pt x="1589" y="208"/>
                  <a:pt x="1589" y="208"/>
                </a:cubicBezTo>
                <a:cubicBezTo>
                  <a:pt x="1591" y="207"/>
                  <a:pt x="1591" y="207"/>
                  <a:pt x="1591" y="207"/>
                </a:cubicBezTo>
                <a:cubicBezTo>
                  <a:pt x="1590" y="208"/>
                  <a:pt x="1590" y="208"/>
                  <a:pt x="1590" y="208"/>
                </a:cubicBezTo>
                <a:cubicBezTo>
                  <a:pt x="1590" y="210"/>
                  <a:pt x="1590" y="210"/>
                  <a:pt x="1590" y="210"/>
                </a:cubicBezTo>
                <a:cubicBezTo>
                  <a:pt x="1591" y="210"/>
                  <a:pt x="1591" y="210"/>
                  <a:pt x="1591" y="210"/>
                </a:cubicBezTo>
                <a:cubicBezTo>
                  <a:pt x="1591" y="209"/>
                  <a:pt x="1591" y="209"/>
                  <a:pt x="1591" y="209"/>
                </a:cubicBezTo>
                <a:cubicBezTo>
                  <a:pt x="1592" y="208"/>
                  <a:pt x="1592" y="208"/>
                  <a:pt x="1592" y="208"/>
                </a:cubicBezTo>
                <a:cubicBezTo>
                  <a:pt x="1593" y="209"/>
                  <a:pt x="1593" y="209"/>
                  <a:pt x="1593" y="209"/>
                </a:cubicBezTo>
                <a:cubicBezTo>
                  <a:pt x="1592" y="210"/>
                  <a:pt x="1592" y="210"/>
                  <a:pt x="1592" y="210"/>
                </a:cubicBezTo>
                <a:cubicBezTo>
                  <a:pt x="1591" y="211"/>
                  <a:pt x="1591" y="211"/>
                  <a:pt x="1591" y="211"/>
                </a:cubicBezTo>
                <a:cubicBezTo>
                  <a:pt x="1592" y="212"/>
                  <a:pt x="1592" y="212"/>
                  <a:pt x="1592" y="212"/>
                </a:cubicBezTo>
                <a:cubicBezTo>
                  <a:pt x="1591" y="213"/>
                  <a:pt x="1591" y="213"/>
                  <a:pt x="1591" y="213"/>
                </a:cubicBezTo>
                <a:cubicBezTo>
                  <a:pt x="1591" y="214"/>
                  <a:pt x="1591" y="214"/>
                  <a:pt x="1591" y="214"/>
                </a:cubicBezTo>
                <a:cubicBezTo>
                  <a:pt x="1592" y="215"/>
                  <a:pt x="1592" y="215"/>
                  <a:pt x="1592" y="215"/>
                </a:cubicBezTo>
                <a:cubicBezTo>
                  <a:pt x="1591" y="215"/>
                  <a:pt x="1591" y="215"/>
                  <a:pt x="1591" y="215"/>
                </a:cubicBezTo>
                <a:cubicBezTo>
                  <a:pt x="1590" y="215"/>
                  <a:pt x="1590" y="215"/>
                  <a:pt x="1590" y="215"/>
                </a:cubicBezTo>
                <a:cubicBezTo>
                  <a:pt x="1589" y="215"/>
                  <a:pt x="1589" y="215"/>
                  <a:pt x="1589" y="215"/>
                </a:cubicBezTo>
                <a:cubicBezTo>
                  <a:pt x="1588" y="215"/>
                  <a:pt x="1588" y="215"/>
                  <a:pt x="1588" y="215"/>
                </a:cubicBezTo>
                <a:cubicBezTo>
                  <a:pt x="1587" y="216"/>
                  <a:pt x="1587" y="216"/>
                  <a:pt x="1587" y="216"/>
                </a:cubicBezTo>
                <a:cubicBezTo>
                  <a:pt x="1587" y="218"/>
                  <a:pt x="1587" y="218"/>
                  <a:pt x="1587" y="218"/>
                </a:cubicBezTo>
                <a:cubicBezTo>
                  <a:pt x="1587" y="219"/>
                  <a:pt x="1587" y="219"/>
                  <a:pt x="1587" y="219"/>
                </a:cubicBezTo>
                <a:cubicBezTo>
                  <a:pt x="1587" y="221"/>
                  <a:pt x="1587" y="221"/>
                  <a:pt x="1587" y="221"/>
                </a:cubicBezTo>
                <a:cubicBezTo>
                  <a:pt x="1587" y="222"/>
                  <a:pt x="1587" y="222"/>
                  <a:pt x="1587" y="222"/>
                </a:cubicBezTo>
                <a:cubicBezTo>
                  <a:pt x="1589" y="223"/>
                  <a:pt x="1589" y="223"/>
                  <a:pt x="1589" y="223"/>
                </a:cubicBezTo>
                <a:cubicBezTo>
                  <a:pt x="1589" y="224"/>
                  <a:pt x="1589" y="224"/>
                  <a:pt x="1589" y="224"/>
                </a:cubicBezTo>
                <a:cubicBezTo>
                  <a:pt x="1591" y="225"/>
                  <a:pt x="1591" y="225"/>
                  <a:pt x="1591" y="225"/>
                </a:cubicBezTo>
                <a:cubicBezTo>
                  <a:pt x="1592" y="226"/>
                  <a:pt x="1592" y="226"/>
                  <a:pt x="1592" y="226"/>
                </a:cubicBezTo>
                <a:cubicBezTo>
                  <a:pt x="1592" y="225"/>
                  <a:pt x="1592" y="225"/>
                  <a:pt x="1592" y="225"/>
                </a:cubicBezTo>
                <a:cubicBezTo>
                  <a:pt x="1593" y="225"/>
                  <a:pt x="1593" y="225"/>
                  <a:pt x="1593" y="225"/>
                </a:cubicBezTo>
                <a:cubicBezTo>
                  <a:pt x="1594" y="224"/>
                  <a:pt x="1594" y="224"/>
                  <a:pt x="1594" y="224"/>
                </a:cubicBezTo>
                <a:cubicBezTo>
                  <a:pt x="1594" y="222"/>
                  <a:pt x="1594" y="222"/>
                  <a:pt x="1594" y="222"/>
                </a:cubicBezTo>
                <a:cubicBezTo>
                  <a:pt x="1595" y="223"/>
                  <a:pt x="1595" y="223"/>
                  <a:pt x="1595" y="223"/>
                </a:cubicBezTo>
                <a:cubicBezTo>
                  <a:pt x="1595" y="224"/>
                  <a:pt x="1595" y="224"/>
                  <a:pt x="1595" y="224"/>
                </a:cubicBezTo>
                <a:cubicBezTo>
                  <a:pt x="1596" y="225"/>
                  <a:pt x="1596" y="225"/>
                  <a:pt x="1596" y="225"/>
                </a:cubicBezTo>
                <a:cubicBezTo>
                  <a:pt x="1597" y="224"/>
                  <a:pt x="1597" y="224"/>
                  <a:pt x="1597" y="224"/>
                </a:cubicBezTo>
                <a:cubicBezTo>
                  <a:pt x="1597" y="223"/>
                  <a:pt x="1597" y="223"/>
                  <a:pt x="1597" y="223"/>
                </a:cubicBezTo>
                <a:cubicBezTo>
                  <a:pt x="1598" y="222"/>
                  <a:pt x="1598" y="222"/>
                  <a:pt x="1598" y="222"/>
                </a:cubicBezTo>
                <a:cubicBezTo>
                  <a:pt x="1598" y="223"/>
                  <a:pt x="1598" y="223"/>
                  <a:pt x="1598" y="223"/>
                </a:cubicBezTo>
                <a:cubicBezTo>
                  <a:pt x="1598" y="224"/>
                  <a:pt x="1598" y="224"/>
                  <a:pt x="1598" y="224"/>
                </a:cubicBezTo>
                <a:cubicBezTo>
                  <a:pt x="1599" y="226"/>
                  <a:pt x="1599" y="226"/>
                  <a:pt x="1599" y="226"/>
                </a:cubicBezTo>
                <a:cubicBezTo>
                  <a:pt x="1600" y="227"/>
                  <a:pt x="1600" y="227"/>
                  <a:pt x="1600" y="227"/>
                </a:cubicBezTo>
                <a:cubicBezTo>
                  <a:pt x="1601" y="227"/>
                  <a:pt x="1601" y="227"/>
                  <a:pt x="1601" y="227"/>
                </a:cubicBezTo>
                <a:cubicBezTo>
                  <a:pt x="1602" y="226"/>
                  <a:pt x="1602" y="226"/>
                  <a:pt x="1602" y="226"/>
                </a:cubicBezTo>
                <a:cubicBezTo>
                  <a:pt x="1603" y="227"/>
                  <a:pt x="1603" y="227"/>
                  <a:pt x="1603" y="227"/>
                </a:cubicBezTo>
                <a:cubicBezTo>
                  <a:pt x="1602" y="227"/>
                  <a:pt x="1602" y="227"/>
                  <a:pt x="1602" y="227"/>
                </a:cubicBezTo>
                <a:cubicBezTo>
                  <a:pt x="1602" y="228"/>
                  <a:pt x="1602" y="228"/>
                  <a:pt x="1602" y="228"/>
                </a:cubicBezTo>
                <a:cubicBezTo>
                  <a:pt x="1601" y="228"/>
                  <a:pt x="1601" y="228"/>
                  <a:pt x="1601" y="228"/>
                </a:cubicBezTo>
                <a:cubicBezTo>
                  <a:pt x="1600" y="229"/>
                  <a:pt x="1600" y="229"/>
                  <a:pt x="1600" y="229"/>
                </a:cubicBezTo>
                <a:cubicBezTo>
                  <a:pt x="1602" y="230"/>
                  <a:pt x="1602" y="230"/>
                  <a:pt x="1602" y="230"/>
                </a:cubicBezTo>
                <a:cubicBezTo>
                  <a:pt x="1602" y="231"/>
                  <a:pt x="1602" y="231"/>
                  <a:pt x="1602" y="231"/>
                </a:cubicBezTo>
                <a:cubicBezTo>
                  <a:pt x="1601" y="231"/>
                  <a:pt x="1601" y="231"/>
                  <a:pt x="1601" y="231"/>
                </a:cubicBezTo>
                <a:cubicBezTo>
                  <a:pt x="1600" y="231"/>
                  <a:pt x="1600" y="231"/>
                  <a:pt x="1600" y="231"/>
                </a:cubicBezTo>
                <a:cubicBezTo>
                  <a:pt x="1600" y="232"/>
                  <a:pt x="1600" y="232"/>
                  <a:pt x="1600" y="232"/>
                </a:cubicBezTo>
                <a:cubicBezTo>
                  <a:pt x="1601" y="232"/>
                  <a:pt x="1601" y="232"/>
                  <a:pt x="1601" y="232"/>
                </a:cubicBezTo>
                <a:cubicBezTo>
                  <a:pt x="1603" y="232"/>
                  <a:pt x="1603" y="232"/>
                  <a:pt x="1603" y="232"/>
                </a:cubicBezTo>
                <a:cubicBezTo>
                  <a:pt x="1604" y="233"/>
                  <a:pt x="1604" y="233"/>
                  <a:pt x="1604" y="233"/>
                </a:cubicBezTo>
                <a:cubicBezTo>
                  <a:pt x="1605" y="233"/>
                  <a:pt x="1605" y="233"/>
                  <a:pt x="1605" y="233"/>
                </a:cubicBezTo>
                <a:cubicBezTo>
                  <a:pt x="1607" y="233"/>
                  <a:pt x="1607" y="233"/>
                  <a:pt x="1607" y="233"/>
                </a:cubicBezTo>
                <a:cubicBezTo>
                  <a:pt x="1607" y="232"/>
                  <a:pt x="1607" y="232"/>
                  <a:pt x="1607" y="232"/>
                </a:cubicBezTo>
                <a:cubicBezTo>
                  <a:pt x="1608" y="232"/>
                  <a:pt x="1608" y="232"/>
                  <a:pt x="1608" y="232"/>
                </a:cubicBezTo>
                <a:cubicBezTo>
                  <a:pt x="1608" y="233"/>
                  <a:pt x="1608" y="233"/>
                  <a:pt x="1608" y="233"/>
                </a:cubicBezTo>
                <a:cubicBezTo>
                  <a:pt x="1608" y="235"/>
                  <a:pt x="1608" y="235"/>
                  <a:pt x="1608" y="235"/>
                </a:cubicBezTo>
                <a:cubicBezTo>
                  <a:pt x="1609" y="236"/>
                  <a:pt x="1609" y="236"/>
                  <a:pt x="1609" y="236"/>
                </a:cubicBezTo>
                <a:cubicBezTo>
                  <a:pt x="1610" y="236"/>
                  <a:pt x="1610" y="236"/>
                  <a:pt x="1610" y="236"/>
                </a:cubicBezTo>
                <a:cubicBezTo>
                  <a:pt x="1611" y="235"/>
                  <a:pt x="1611" y="235"/>
                  <a:pt x="1611" y="235"/>
                </a:cubicBezTo>
                <a:cubicBezTo>
                  <a:pt x="1611" y="233"/>
                  <a:pt x="1611" y="233"/>
                  <a:pt x="1611" y="233"/>
                </a:cubicBezTo>
                <a:cubicBezTo>
                  <a:pt x="1609" y="233"/>
                  <a:pt x="1609" y="233"/>
                  <a:pt x="1609" y="233"/>
                </a:cubicBezTo>
                <a:cubicBezTo>
                  <a:pt x="1609" y="232"/>
                  <a:pt x="1609" y="232"/>
                  <a:pt x="1609" y="232"/>
                </a:cubicBezTo>
                <a:cubicBezTo>
                  <a:pt x="1610" y="232"/>
                  <a:pt x="1610" y="232"/>
                  <a:pt x="1610" y="232"/>
                </a:cubicBezTo>
                <a:cubicBezTo>
                  <a:pt x="1611" y="233"/>
                  <a:pt x="1611" y="233"/>
                  <a:pt x="1611" y="233"/>
                </a:cubicBezTo>
                <a:cubicBezTo>
                  <a:pt x="1612" y="234"/>
                  <a:pt x="1612" y="234"/>
                  <a:pt x="1612" y="234"/>
                </a:cubicBezTo>
                <a:cubicBezTo>
                  <a:pt x="1612" y="235"/>
                  <a:pt x="1612" y="235"/>
                  <a:pt x="1612" y="235"/>
                </a:cubicBezTo>
                <a:cubicBezTo>
                  <a:pt x="1613" y="235"/>
                  <a:pt x="1613" y="235"/>
                  <a:pt x="1613" y="235"/>
                </a:cubicBezTo>
                <a:cubicBezTo>
                  <a:pt x="1613" y="234"/>
                  <a:pt x="1613" y="234"/>
                  <a:pt x="1613" y="234"/>
                </a:cubicBezTo>
                <a:cubicBezTo>
                  <a:pt x="1614" y="234"/>
                  <a:pt x="1614" y="234"/>
                  <a:pt x="1614" y="234"/>
                </a:cubicBezTo>
                <a:cubicBezTo>
                  <a:pt x="1614" y="235"/>
                  <a:pt x="1614" y="235"/>
                  <a:pt x="1614" y="235"/>
                </a:cubicBezTo>
                <a:cubicBezTo>
                  <a:pt x="1616" y="235"/>
                  <a:pt x="1616" y="235"/>
                  <a:pt x="1616" y="235"/>
                </a:cubicBezTo>
                <a:cubicBezTo>
                  <a:pt x="1617" y="235"/>
                  <a:pt x="1617" y="235"/>
                  <a:pt x="1617" y="235"/>
                </a:cubicBezTo>
                <a:cubicBezTo>
                  <a:pt x="1616" y="234"/>
                  <a:pt x="1616" y="234"/>
                  <a:pt x="1616" y="234"/>
                </a:cubicBezTo>
                <a:cubicBezTo>
                  <a:pt x="1616" y="233"/>
                  <a:pt x="1616" y="233"/>
                  <a:pt x="1616" y="233"/>
                </a:cubicBezTo>
                <a:cubicBezTo>
                  <a:pt x="1617" y="234"/>
                  <a:pt x="1617" y="234"/>
                  <a:pt x="1617" y="234"/>
                </a:cubicBezTo>
                <a:cubicBezTo>
                  <a:pt x="1618" y="234"/>
                  <a:pt x="1618" y="234"/>
                  <a:pt x="1618" y="234"/>
                </a:cubicBezTo>
                <a:cubicBezTo>
                  <a:pt x="1619" y="235"/>
                  <a:pt x="1619" y="235"/>
                  <a:pt x="1619" y="235"/>
                </a:cubicBezTo>
                <a:cubicBezTo>
                  <a:pt x="1619" y="236"/>
                  <a:pt x="1619" y="236"/>
                  <a:pt x="1619" y="236"/>
                </a:cubicBezTo>
                <a:cubicBezTo>
                  <a:pt x="1620" y="236"/>
                  <a:pt x="1620" y="236"/>
                  <a:pt x="1620" y="236"/>
                </a:cubicBezTo>
                <a:cubicBezTo>
                  <a:pt x="1620" y="235"/>
                  <a:pt x="1620" y="235"/>
                  <a:pt x="1620" y="235"/>
                </a:cubicBezTo>
                <a:cubicBezTo>
                  <a:pt x="1620" y="234"/>
                  <a:pt x="1620" y="234"/>
                  <a:pt x="1620" y="234"/>
                </a:cubicBezTo>
                <a:cubicBezTo>
                  <a:pt x="1619" y="234"/>
                  <a:pt x="1619" y="234"/>
                  <a:pt x="1619" y="234"/>
                </a:cubicBezTo>
                <a:cubicBezTo>
                  <a:pt x="1618" y="233"/>
                  <a:pt x="1618" y="233"/>
                  <a:pt x="1618" y="233"/>
                </a:cubicBezTo>
                <a:cubicBezTo>
                  <a:pt x="1619" y="233"/>
                  <a:pt x="1619" y="233"/>
                  <a:pt x="1619" y="233"/>
                </a:cubicBezTo>
                <a:cubicBezTo>
                  <a:pt x="1620" y="233"/>
                  <a:pt x="1620" y="233"/>
                  <a:pt x="1620" y="233"/>
                </a:cubicBezTo>
                <a:cubicBezTo>
                  <a:pt x="1621" y="232"/>
                  <a:pt x="1621" y="232"/>
                  <a:pt x="1621" y="232"/>
                </a:cubicBezTo>
                <a:cubicBezTo>
                  <a:pt x="1621" y="231"/>
                  <a:pt x="1621" y="231"/>
                  <a:pt x="1621" y="231"/>
                </a:cubicBezTo>
                <a:cubicBezTo>
                  <a:pt x="1620" y="230"/>
                  <a:pt x="1620" y="230"/>
                  <a:pt x="1620" y="230"/>
                </a:cubicBezTo>
                <a:cubicBezTo>
                  <a:pt x="1619" y="230"/>
                  <a:pt x="1619" y="230"/>
                  <a:pt x="1619" y="230"/>
                </a:cubicBezTo>
                <a:cubicBezTo>
                  <a:pt x="1618" y="230"/>
                  <a:pt x="1618" y="230"/>
                  <a:pt x="1618" y="230"/>
                </a:cubicBezTo>
                <a:cubicBezTo>
                  <a:pt x="1617" y="228"/>
                  <a:pt x="1617" y="228"/>
                  <a:pt x="1617" y="228"/>
                </a:cubicBezTo>
                <a:cubicBezTo>
                  <a:pt x="1616" y="228"/>
                  <a:pt x="1616" y="228"/>
                  <a:pt x="1616" y="228"/>
                </a:cubicBezTo>
                <a:cubicBezTo>
                  <a:pt x="1614" y="226"/>
                  <a:pt x="1614" y="226"/>
                  <a:pt x="1614" y="226"/>
                </a:cubicBezTo>
                <a:cubicBezTo>
                  <a:pt x="1613" y="225"/>
                  <a:pt x="1613" y="225"/>
                  <a:pt x="1613" y="225"/>
                </a:cubicBezTo>
                <a:cubicBezTo>
                  <a:pt x="1611" y="225"/>
                  <a:pt x="1611" y="225"/>
                  <a:pt x="1611" y="225"/>
                </a:cubicBezTo>
                <a:cubicBezTo>
                  <a:pt x="1610" y="222"/>
                  <a:pt x="1610" y="222"/>
                  <a:pt x="1610" y="222"/>
                </a:cubicBezTo>
                <a:cubicBezTo>
                  <a:pt x="1608" y="220"/>
                  <a:pt x="1608" y="220"/>
                  <a:pt x="1608" y="220"/>
                </a:cubicBezTo>
                <a:cubicBezTo>
                  <a:pt x="1607" y="217"/>
                  <a:pt x="1607" y="217"/>
                  <a:pt x="1607" y="217"/>
                </a:cubicBezTo>
                <a:cubicBezTo>
                  <a:pt x="1606" y="215"/>
                  <a:pt x="1606" y="215"/>
                  <a:pt x="1606" y="215"/>
                </a:cubicBezTo>
                <a:cubicBezTo>
                  <a:pt x="1606" y="212"/>
                  <a:pt x="1606" y="212"/>
                  <a:pt x="1606" y="212"/>
                </a:cubicBezTo>
                <a:cubicBezTo>
                  <a:pt x="1605" y="210"/>
                  <a:pt x="1605" y="210"/>
                  <a:pt x="1605" y="210"/>
                </a:cubicBezTo>
                <a:cubicBezTo>
                  <a:pt x="1604" y="207"/>
                  <a:pt x="1604" y="207"/>
                  <a:pt x="1604" y="207"/>
                </a:cubicBezTo>
                <a:cubicBezTo>
                  <a:pt x="1604" y="206"/>
                  <a:pt x="1604" y="206"/>
                  <a:pt x="1604" y="206"/>
                </a:cubicBezTo>
                <a:cubicBezTo>
                  <a:pt x="1605" y="205"/>
                  <a:pt x="1605" y="205"/>
                  <a:pt x="1605" y="205"/>
                </a:cubicBezTo>
                <a:cubicBezTo>
                  <a:pt x="1604" y="204"/>
                  <a:pt x="1604" y="204"/>
                  <a:pt x="1604" y="204"/>
                </a:cubicBezTo>
                <a:cubicBezTo>
                  <a:pt x="1603" y="204"/>
                  <a:pt x="1603" y="204"/>
                  <a:pt x="1603" y="204"/>
                </a:cubicBezTo>
                <a:cubicBezTo>
                  <a:pt x="1602" y="204"/>
                  <a:pt x="1602" y="204"/>
                  <a:pt x="1602" y="204"/>
                </a:cubicBezTo>
                <a:cubicBezTo>
                  <a:pt x="1602" y="203"/>
                  <a:pt x="1602" y="203"/>
                  <a:pt x="1602" y="203"/>
                </a:cubicBezTo>
                <a:cubicBezTo>
                  <a:pt x="1604" y="203"/>
                  <a:pt x="1604" y="203"/>
                  <a:pt x="1604" y="203"/>
                </a:cubicBezTo>
                <a:cubicBezTo>
                  <a:pt x="1605" y="203"/>
                  <a:pt x="1605" y="203"/>
                  <a:pt x="1605" y="203"/>
                </a:cubicBezTo>
                <a:cubicBezTo>
                  <a:pt x="1605" y="200"/>
                  <a:pt x="1605" y="200"/>
                  <a:pt x="1605" y="200"/>
                </a:cubicBezTo>
                <a:cubicBezTo>
                  <a:pt x="1605" y="199"/>
                  <a:pt x="1605" y="199"/>
                  <a:pt x="1605" y="199"/>
                </a:cubicBezTo>
                <a:cubicBezTo>
                  <a:pt x="1604" y="199"/>
                  <a:pt x="1604" y="199"/>
                  <a:pt x="1604" y="199"/>
                </a:cubicBezTo>
                <a:cubicBezTo>
                  <a:pt x="1603" y="200"/>
                  <a:pt x="1603" y="200"/>
                  <a:pt x="1603" y="200"/>
                </a:cubicBezTo>
                <a:cubicBezTo>
                  <a:pt x="1603" y="199"/>
                  <a:pt x="1603" y="199"/>
                  <a:pt x="1603" y="199"/>
                </a:cubicBezTo>
                <a:cubicBezTo>
                  <a:pt x="1605" y="198"/>
                  <a:pt x="1605" y="198"/>
                  <a:pt x="1605" y="198"/>
                </a:cubicBezTo>
                <a:cubicBezTo>
                  <a:pt x="1605" y="197"/>
                  <a:pt x="1605" y="197"/>
                  <a:pt x="1605" y="197"/>
                </a:cubicBezTo>
                <a:cubicBezTo>
                  <a:pt x="1602" y="197"/>
                  <a:pt x="1602" y="197"/>
                  <a:pt x="1602" y="197"/>
                </a:cubicBezTo>
                <a:cubicBezTo>
                  <a:pt x="1599" y="197"/>
                  <a:pt x="1599" y="197"/>
                  <a:pt x="1599" y="197"/>
                </a:cubicBezTo>
                <a:cubicBezTo>
                  <a:pt x="1598" y="196"/>
                  <a:pt x="1598" y="196"/>
                  <a:pt x="1598" y="196"/>
                </a:cubicBezTo>
                <a:cubicBezTo>
                  <a:pt x="1597" y="196"/>
                  <a:pt x="1597" y="196"/>
                  <a:pt x="1597" y="196"/>
                </a:cubicBezTo>
                <a:cubicBezTo>
                  <a:pt x="1595" y="197"/>
                  <a:pt x="1595" y="197"/>
                  <a:pt x="1595" y="197"/>
                </a:cubicBezTo>
                <a:cubicBezTo>
                  <a:pt x="1596" y="196"/>
                  <a:pt x="1596" y="196"/>
                  <a:pt x="1596" y="196"/>
                </a:cubicBezTo>
                <a:cubicBezTo>
                  <a:pt x="1598" y="195"/>
                  <a:pt x="1598" y="195"/>
                  <a:pt x="1598" y="195"/>
                </a:cubicBezTo>
                <a:cubicBezTo>
                  <a:pt x="1599" y="195"/>
                  <a:pt x="1599" y="195"/>
                  <a:pt x="1599" y="195"/>
                </a:cubicBezTo>
                <a:cubicBezTo>
                  <a:pt x="1600" y="196"/>
                  <a:pt x="1600" y="196"/>
                  <a:pt x="1600" y="196"/>
                </a:cubicBezTo>
                <a:cubicBezTo>
                  <a:pt x="1601" y="196"/>
                  <a:pt x="1601" y="196"/>
                  <a:pt x="1601" y="196"/>
                </a:cubicBezTo>
                <a:cubicBezTo>
                  <a:pt x="1602" y="196"/>
                  <a:pt x="1602" y="196"/>
                  <a:pt x="1602" y="196"/>
                </a:cubicBezTo>
                <a:cubicBezTo>
                  <a:pt x="1601" y="195"/>
                  <a:pt x="1601" y="195"/>
                  <a:pt x="1601" y="195"/>
                </a:cubicBezTo>
                <a:cubicBezTo>
                  <a:pt x="1602" y="194"/>
                  <a:pt x="1602" y="194"/>
                  <a:pt x="1602" y="194"/>
                </a:cubicBezTo>
                <a:cubicBezTo>
                  <a:pt x="1602" y="195"/>
                  <a:pt x="1602" y="195"/>
                  <a:pt x="1602" y="195"/>
                </a:cubicBezTo>
                <a:cubicBezTo>
                  <a:pt x="1603" y="196"/>
                  <a:pt x="1603" y="196"/>
                  <a:pt x="1603" y="196"/>
                </a:cubicBezTo>
                <a:cubicBezTo>
                  <a:pt x="1604" y="196"/>
                  <a:pt x="1604" y="196"/>
                  <a:pt x="1604" y="196"/>
                </a:cubicBezTo>
                <a:cubicBezTo>
                  <a:pt x="1606" y="196"/>
                  <a:pt x="1606" y="196"/>
                  <a:pt x="1606" y="196"/>
                </a:cubicBezTo>
                <a:cubicBezTo>
                  <a:pt x="1607" y="195"/>
                  <a:pt x="1607" y="195"/>
                  <a:pt x="1607" y="195"/>
                </a:cubicBezTo>
                <a:cubicBezTo>
                  <a:pt x="1607" y="194"/>
                  <a:pt x="1607" y="194"/>
                  <a:pt x="1607" y="194"/>
                </a:cubicBezTo>
                <a:cubicBezTo>
                  <a:pt x="1607" y="192"/>
                  <a:pt x="1607" y="192"/>
                  <a:pt x="1607" y="192"/>
                </a:cubicBezTo>
                <a:cubicBezTo>
                  <a:pt x="1608" y="191"/>
                  <a:pt x="1608" y="191"/>
                  <a:pt x="1608" y="191"/>
                </a:cubicBezTo>
                <a:cubicBezTo>
                  <a:pt x="1608" y="190"/>
                  <a:pt x="1608" y="190"/>
                  <a:pt x="1608" y="190"/>
                </a:cubicBezTo>
                <a:cubicBezTo>
                  <a:pt x="1607" y="189"/>
                  <a:pt x="1607" y="189"/>
                  <a:pt x="1607" y="189"/>
                </a:cubicBezTo>
                <a:cubicBezTo>
                  <a:pt x="1607" y="188"/>
                  <a:pt x="1607" y="188"/>
                  <a:pt x="1607" y="188"/>
                </a:cubicBezTo>
                <a:cubicBezTo>
                  <a:pt x="1606" y="187"/>
                  <a:pt x="1606" y="187"/>
                  <a:pt x="1606" y="187"/>
                </a:cubicBezTo>
                <a:cubicBezTo>
                  <a:pt x="1605" y="187"/>
                  <a:pt x="1605" y="187"/>
                  <a:pt x="1605" y="187"/>
                </a:cubicBezTo>
                <a:cubicBezTo>
                  <a:pt x="1604" y="187"/>
                  <a:pt x="1604" y="187"/>
                  <a:pt x="1604" y="187"/>
                </a:cubicBezTo>
                <a:cubicBezTo>
                  <a:pt x="1605" y="186"/>
                  <a:pt x="1605" y="186"/>
                  <a:pt x="1605" y="186"/>
                </a:cubicBezTo>
                <a:cubicBezTo>
                  <a:pt x="1606" y="187"/>
                  <a:pt x="1606" y="187"/>
                  <a:pt x="1606" y="187"/>
                </a:cubicBezTo>
                <a:cubicBezTo>
                  <a:pt x="1607" y="186"/>
                  <a:pt x="1607" y="186"/>
                  <a:pt x="1607" y="186"/>
                </a:cubicBezTo>
                <a:cubicBezTo>
                  <a:pt x="1608" y="187"/>
                  <a:pt x="1608" y="187"/>
                  <a:pt x="1608" y="187"/>
                </a:cubicBezTo>
                <a:cubicBezTo>
                  <a:pt x="1608" y="188"/>
                  <a:pt x="1608" y="188"/>
                  <a:pt x="1608" y="188"/>
                </a:cubicBezTo>
                <a:cubicBezTo>
                  <a:pt x="1608" y="189"/>
                  <a:pt x="1608" y="189"/>
                  <a:pt x="1608" y="189"/>
                </a:cubicBezTo>
                <a:cubicBezTo>
                  <a:pt x="1609" y="188"/>
                  <a:pt x="1609" y="188"/>
                  <a:pt x="1609" y="188"/>
                </a:cubicBezTo>
                <a:cubicBezTo>
                  <a:pt x="1608" y="186"/>
                  <a:pt x="1608" y="186"/>
                  <a:pt x="1608" y="186"/>
                </a:cubicBezTo>
                <a:cubicBezTo>
                  <a:pt x="1607" y="184"/>
                  <a:pt x="1607" y="184"/>
                  <a:pt x="1607" y="184"/>
                </a:cubicBezTo>
                <a:cubicBezTo>
                  <a:pt x="1606" y="182"/>
                  <a:pt x="1606" y="182"/>
                  <a:pt x="1606" y="182"/>
                </a:cubicBezTo>
                <a:cubicBezTo>
                  <a:pt x="1607" y="183"/>
                  <a:pt x="1607" y="183"/>
                  <a:pt x="1607" y="183"/>
                </a:cubicBezTo>
                <a:cubicBezTo>
                  <a:pt x="1607" y="184"/>
                  <a:pt x="1607" y="184"/>
                  <a:pt x="1607" y="184"/>
                </a:cubicBezTo>
                <a:cubicBezTo>
                  <a:pt x="1608" y="184"/>
                  <a:pt x="1608" y="184"/>
                  <a:pt x="1608" y="184"/>
                </a:cubicBezTo>
                <a:cubicBezTo>
                  <a:pt x="1609" y="185"/>
                  <a:pt x="1609" y="185"/>
                  <a:pt x="1609" y="185"/>
                </a:cubicBezTo>
                <a:cubicBezTo>
                  <a:pt x="1610" y="184"/>
                  <a:pt x="1610" y="184"/>
                  <a:pt x="1610" y="184"/>
                </a:cubicBezTo>
                <a:cubicBezTo>
                  <a:pt x="1610" y="183"/>
                  <a:pt x="1610" y="183"/>
                  <a:pt x="1610" y="183"/>
                </a:cubicBezTo>
                <a:cubicBezTo>
                  <a:pt x="1609" y="182"/>
                  <a:pt x="1609" y="182"/>
                  <a:pt x="1609" y="182"/>
                </a:cubicBezTo>
                <a:cubicBezTo>
                  <a:pt x="1610" y="180"/>
                  <a:pt x="1610" y="180"/>
                  <a:pt x="1610" y="180"/>
                </a:cubicBezTo>
                <a:cubicBezTo>
                  <a:pt x="1610" y="179"/>
                  <a:pt x="1610" y="179"/>
                  <a:pt x="1610" y="179"/>
                </a:cubicBezTo>
                <a:cubicBezTo>
                  <a:pt x="1609" y="178"/>
                  <a:pt x="1609" y="178"/>
                  <a:pt x="1609" y="178"/>
                </a:cubicBezTo>
                <a:cubicBezTo>
                  <a:pt x="1607" y="176"/>
                  <a:pt x="1607" y="176"/>
                  <a:pt x="1607" y="176"/>
                </a:cubicBezTo>
                <a:cubicBezTo>
                  <a:pt x="1608" y="176"/>
                  <a:pt x="1608" y="176"/>
                  <a:pt x="1608" y="176"/>
                </a:cubicBezTo>
                <a:cubicBezTo>
                  <a:pt x="1609" y="177"/>
                  <a:pt x="1609" y="177"/>
                  <a:pt x="1609" y="177"/>
                </a:cubicBezTo>
                <a:cubicBezTo>
                  <a:pt x="1610" y="177"/>
                  <a:pt x="1610" y="177"/>
                  <a:pt x="1610" y="177"/>
                </a:cubicBezTo>
                <a:cubicBezTo>
                  <a:pt x="1611" y="176"/>
                  <a:pt x="1611" y="176"/>
                  <a:pt x="1611" y="176"/>
                </a:cubicBezTo>
                <a:cubicBezTo>
                  <a:pt x="1610" y="175"/>
                  <a:pt x="1610" y="175"/>
                  <a:pt x="1610" y="175"/>
                </a:cubicBezTo>
                <a:cubicBezTo>
                  <a:pt x="1610" y="174"/>
                  <a:pt x="1610" y="174"/>
                  <a:pt x="1610" y="174"/>
                </a:cubicBezTo>
                <a:cubicBezTo>
                  <a:pt x="1610" y="173"/>
                  <a:pt x="1610" y="173"/>
                  <a:pt x="1610" y="173"/>
                </a:cubicBezTo>
                <a:cubicBezTo>
                  <a:pt x="1612" y="174"/>
                  <a:pt x="1612" y="174"/>
                  <a:pt x="1612" y="174"/>
                </a:cubicBezTo>
                <a:cubicBezTo>
                  <a:pt x="1613" y="175"/>
                  <a:pt x="1613" y="175"/>
                  <a:pt x="1613" y="175"/>
                </a:cubicBezTo>
                <a:cubicBezTo>
                  <a:pt x="1614" y="174"/>
                  <a:pt x="1614" y="174"/>
                  <a:pt x="1614" y="174"/>
                </a:cubicBezTo>
                <a:cubicBezTo>
                  <a:pt x="1613" y="174"/>
                  <a:pt x="1613" y="174"/>
                  <a:pt x="1613" y="174"/>
                </a:cubicBezTo>
                <a:cubicBezTo>
                  <a:pt x="1613" y="173"/>
                  <a:pt x="1613" y="173"/>
                  <a:pt x="1613" y="173"/>
                </a:cubicBezTo>
                <a:cubicBezTo>
                  <a:pt x="1614" y="173"/>
                  <a:pt x="1614" y="173"/>
                  <a:pt x="1614" y="173"/>
                </a:cubicBezTo>
                <a:cubicBezTo>
                  <a:pt x="1615" y="172"/>
                  <a:pt x="1615" y="172"/>
                  <a:pt x="1615" y="172"/>
                </a:cubicBezTo>
                <a:cubicBezTo>
                  <a:pt x="1615" y="171"/>
                  <a:pt x="1615" y="171"/>
                  <a:pt x="1615" y="171"/>
                </a:cubicBezTo>
                <a:cubicBezTo>
                  <a:pt x="1615" y="170"/>
                  <a:pt x="1615" y="170"/>
                  <a:pt x="1615" y="170"/>
                </a:cubicBezTo>
                <a:cubicBezTo>
                  <a:pt x="1617" y="169"/>
                  <a:pt x="1617" y="169"/>
                  <a:pt x="1617" y="169"/>
                </a:cubicBezTo>
                <a:cubicBezTo>
                  <a:pt x="1616" y="168"/>
                  <a:pt x="1616" y="168"/>
                  <a:pt x="1616" y="168"/>
                </a:cubicBezTo>
                <a:cubicBezTo>
                  <a:pt x="1616" y="167"/>
                  <a:pt x="1616" y="167"/>
                  <a:pt x="1616" y="167"/>
                </a:cubicBezTo>
                <a:cubicBezTo>
                  <a:pt x="1616" y="166"/>
                  <a:pt x="1616" y="166"/>
                  <a:pt x="1616" y="166"/>
                </a:cubicBezTo>
                <a:cubicBezTo>
                  <a:pt x="1617" y="167"/>
                  <a:pt x="1617" y="167"/>
                  <a:pt x="1617" y="167"/>
                </a:cubicBezTo>
                <a:cubicBezTo>
                  <a:pt x="1618" y="166"/>
                  <a:pt x="1618" y="166"/>
                  <a:pt x="1618" y="166"/>
                </a:cubicBezTo>
                <a:cubicBezTo>
                  <a:pt x="1619" y="164"/>
                  <a:pt x="1619" y="164"/>
                  <a:pt x="1619" y="164"/>
                </a:cubicBezTo>
                <a:cubicBezTo>
                  <a:pt x="1620" y="163"/>
                  <a:pt x="1620" y="163"/>
                  <a:pt x="1620" y="163"/>
                </a:cubicBezTo>
                <a:cubicBezTo>
                  <a:pt x="1621" y="162"/>
                  <a:pt x="1621" y="162"/>
                  <a:pt x="1621" y="162"/>
                </a:cubicBezTo>
                <a:cubicBezTo>
                  <a:pt x="1621" y="160"/>
                  <a:pt x="1621" y="160"/>
                  <a:pt x="1621" y="160"/>
                </a:cubicBezTo>
                <a:cubicBezTo>
                  <a:pt x="1622" y="159"/>
                  <a:pt x="1622" y="159"/>
                  <a:pt x="1622" y="159"/>
                </a:cubicBezTo>
                <a:cubicBezTo>
                  <a:pt x="1623" y="158"/>
                  <a:pt x="1623" y="158"/>
                  <a:pt x="1623" y="158"/>
                </a:cubicBezTo>
                <a:cubicBezTo>
                  <a:pt x="1624" y="155"/>
                  <a:pt x="1624" y="155"/>
                  <a:pt x="1624" y="155"/>
                </a:cubicBezTo>
                <a:cubicBezTo>
                  <a:pt x="1625" y="155"/>
                  <a:pt x="1625" y="155"/>
                  <a:pt x="1625" y="155"/>
                </a:cubicBezTo>
                <a:cubicBezTo>
                  <a:pt x="1628" y="153"/>
                  <a:pt x="1628" y="153"/>
                  <a:pt x="1628" y="153"/>
                </a:cubicBezTo>
                <a:cubicBezTo>
                  <a:pt x="1630" y="151"/>
                  <a:pt x="1630" y="151"/>
                  <a:pt x="1630" y="151"/>
                </a:cubicBezTo>
                <a:cubicBezTo>
                  <a:pt x="1632" y="149"/>
                  <a:pt x="1632" y="149"/>
                  <a:pt x="1632" y="149"/>
                </a:cubicBezTo>
                <a:cubicBezTo>
                  <a:pt x="1633" y="149"/>
                  <a:pt x="1633" y="149"/>
                  <a:pt x="1633" y="149"/>
                </a:cubicBezTo>
                <a:cubicBezTo>
                  <a:pt x="1634" y="147"/>
                  <a:pt x="1634" y="147"/>
                  <a:pt x="1634" y="147"/>
                </a:cubicBezTo>
                <a:cubicBezTo>
                  <a:pt x="1636" y="147"/>
                  <a:pt x="1636" y="147"/>
                  <a:pt x="1636" y="147"/>
                </a:cubicBezTo>
                <a:cubicBezTo>
                  <a:pt x="1638" y="146"/>
                  <a:pt x="1638" y="146"/>
                  <a:pt x="1638" y="146"/>
                </a:cubicBezTo>
                <a:cubicBezTo>
                  <a:pt x="1639" y="144"/>
                  <a:pt x="1639" y="144"/>
                  <a:pt x="1639" y="144"/>
                </a:cubicBezTo>
                <a:cubicBezTo>
                  <a:pt x="1640" y="143"/>
                  <a:pt x="1640" y="143"/>
                  <a:pt x="1640" y="143"/>
                </a:cubicBezTo>
                <a:cubicBezTo>
                  <a:pt x="1641" y="143"/>
                  <a:pt x="1641" y="143"/>
                  <a:pt x="1641" y="143"/>
                </a:cubicBezTo>
                <a:cubicBezTo>
                  <a:pt x="1642" y="143"/>
                  <a:pt x="1642" y="143"/>
                  <a:pt x="1642" y="143"/>
                </a:cubicBezTo>
                <a:cubicBezTo>
                  <a:pt x="1642" y="142"/>
                  <a:pt x="1642" y="142"/>
                  <a:pt x="1642" y="142"/>
                </a:cubicBezTo>
                <a:cubicBezTo>
                  <a:pt x="1642" y="141"/>
                  <a:pt x="1642" y="141"/>
                  <a:pt x="1642" y="141"/>
                </a:cubicBezTo>
                <a:cubicBezTo>
                  <a:pt x="1642" y="140"/>
                  <a:pt x="1642" y="140"/>
                  <a:pt x="1642" y="140"/>
                </a:cubicBezTo>
                <a:cubicBezTo>
                  <a:pt x="1642" y="139"/>
                  <a:pt x="1642" y="139"/>
                  <a:pt x="1642" y="139"/>
                </a:cubicBezTo>
                <a:cubicBezTo>
                  <a:pt x="1642" y="137"/>
                  <a:pt x="1642" y="137"/>
                  <a:pt x="1642" y="137"/>
                </a:cubicBezTo>
                <a:cubicBezTo>
                  <a:pt x="1641" y="137"/>
                  <a:pt x="1641" y="137"/>
                  <a:pt x="1641" y="137"/>
                </a:cubicBezTo>
                <a:cubicBezTo>
                  <a:pt x="1641" y="135"/>
                  <a:pt x="1641" y="135"/>
                  <a:pt x="1641" y="135"/>
                </a:cubicBezTo>
                <a:cubicBezTo>
                  <a:pt x="1641" y="134"/>
                  <a:pt x="1641" y="134"/>
                  <a:pt x="1641" y="134"/>
                </a:cubicBezTo>
                <a:cubicBezTo>
                  <a:pt x="1641" y="133"/>
                  <a:pt x="1641" y="133"/>
                  <a:pt x="1641" y="133"/>
                </a:cubicBezTo>
                <a:cubicBezTo>
                  <a:pt x="1640" y="133"/>
                  <a:pt x="1640" y="133"/>
                  <a:pt x="1640" y="133"/>
                </a:cubicBezTo>
                <a:cubicBezTo>
                  <a:pt x="1639" y="132"/>
                  <a:pt x="1639" y="132"/>
                  <a:pt x="1639" y="132"/>
                </a:cubicBezTo>
                <a:cubicBezTo>
                  <a:pt x="1638" y="132"/>
                  <a:pt x="1638" y="132"/>
                  <a:pt x="1638" y="132"/>
                </a:cubicBezTo>
                <a:cubicBezTo>
                  <a:pt x="1637" y="131"/>
                  <a:pt x="1637" y="131"/>
                  <a:pt x="1637" y="131"/>
                </a:cubicBezTo>
                <a:cubicBezTo>
                  <a:pt x="1637" y="130"/>
                  <a:pt x="1637" y="130"/>
                  <a:pt x="1637" y="130"/>
                </a:cubicBezTo>
                <a:cubicBezTo>
                  <a:pt x="1635" y="131"/>
                  <a:pt x="1635" y="131"/>
                  <a:pt x="1635" y="131"/>
                </a:cubicBezTo>
                <a:cubicBezTo>
                  <a:pt x="1634" y="131"/>
                  <a:pt x="1634" y="131"/>
                  <a:pt x="1634" y="131"/>
                </a:cubicBezTo>
                <a:cubicBezTo>
                  <a:pt x="1633" y="130"/>
                  <a:pt x="1633" y="130"/>
                  <a:pt x="1633" y="130"/>
                </a:cubicBezTo>
                <a:cubicBezTo>
                  <a:pt x="1632" y="131"/>
                  <a:pt x="1632" y="131"/>
                  <a:pt x="1632" y="131"/>
                </a:cubicBezTo>
                <a:cubicBezTo>
                  <a:pt x="1631" y="132"/>
                  <a:pt x="1631" y="132"/>
                  <a:pt x="1631" y="132"/>
                </a:cubicBezTo>
                <a:cubicBezTo>
                  <a:pt x="1630" y="133"/>
                  <a:pt x="1630" y="133"/>
                  <a:pt x="1630" y="133"/>
                </a:cubicBezTo>
                <a:cubicBezTo>
                  <a:pt x="1629" y="134"/>
                  <a:pt x="1629" y="134"/>
                  <a:pt x="1629" y="134"/>
                </a:cubicBezTo>
                <a:cubicBezTo>
                  <a:pt x="1628" y="134"/>
                  <a:pt x="1628" y="134"/>
                  <a:pt x="1628" y="134"/>
                </a:cubicBezTo>
                <a:cubicBezTo>
                  <a:pt x="1628" y="135"/>
                  <a:pt x="1628" y="135"/>
                  <a:pt x="1628" y="135"/>
                </a:cubicBezTo>
                <a:cubicBezTo>
                  <a:pt x="1627" y="136"/>
                  <a:pt x="1627" y="136"/>
                  <a:pt x="1627" y="136"/>
                </a:cubicBezTo>
                <a:cubicBezTo>
                  <a:pt x="1627" y="137"/>
                  <a:pt x="1627" y="137"/>
                  <a:pt x="1627" y="137"/>
                </a:cubicBezTo>
                <a:cubicBezTo>
                  <a:pt x="1628" y="138"/>
                  <a:pt x="1628" y="138"/>
                  <a:pt x="1628" y="138"/>
                </a:cubicBezTo>
                <a:cubicBezTo>
                  <a:pt x="1628" y="139"/>
                  <a:pt x="1628" y="139"/>
                  <a:pt x="1628" y="139"/>
                </a:cubicBezTo>
                <a:cubicBezTo>
                  <a:pt x="1627" y="139"/>
                  <a:pt x="1627" y="139"/>
                  <a:pt x="1627" y="139"/>
                </a:cubicBezTo>
                <a:cubicBezTo>
                  <a:pt x="1626" y="140"/>
                  <a:pt x="1626" y="140"/>
                  <a:pt x="1626" y="140"/>
                </a:cubicBezTo>
                <a:cubicBezTo>
                  <a:pt x="1626" y="141"/>
                  <a:pt x="1626" y="141"/>
                  <a:pt x="1626" y="141"/>
                </a:cubicBezTo>
                <a:cubicBezTo>
                  <a:pt x="1625" y="141"/>
                  <a:pt x="1625" y="141"/>
                  <a:pt x="1625" y="141"/>
                </a:cubicBezTo>
                <a:cubicBezTo>
                  <a:pt x="1625" y="142"/>
                  <a:pt x="1625" y="142"/>
                  <a:pt x="1625" y="142"/>
                </a:cubicBezTo>
                <a:cubicBezTo>
                  <a:pt x="1623" y="143"/>
                  <a:pt x="1623" y="143"/>
                  <a:pt x="1623" y="143"/>
                </a:cubicBezTo>
                <a:cubicBezTo>
                  <a:pt x="1622" y="144"/>
                  <a:pt x="1622" y="144"/>
                  <a:pt x="1622" y="144"/>
                </a:cubicBezTo>
                <a:cubicBezTo>
                  <a:pt x="1621" y="144"/>
                  <a:pt x="1621" y="144"/>
                  <a:pt x="1621" y="144"/>
                </a:cubicBezTo>
                <a:cubicBezTo>
                  <a:pt x="1620" y="144"/>
                  <a:pt x="1620" y="144"/>
                  <a:pt x="1620" y="144"/>
                </a:cubicBezTo>
                <a:cubicBezTo>
                  <a:pt x="1619" y="144"/>
                  <a:pt x="1619" y="144"/>
                  <a:pt x="1619" y="144"/>
                </a:cubicBezTo>
                <a:cubicBezTo>
                  <a:pt x="1618" y="146"/>
                  <a:pt x="1618" y="146"/>
                  <a:pt x="1618" y="146"/>
                </a:cubicBezTo>
                <a:cubicBezTo>
                  <a:pt x="1617" y="147"/>
                  <a:pt x="1617" y="147"/>
                  <a:pt x="1617" y="147"/>
                </a:cubicBezTo>
                <a:cubicBezTo>
                  <a:pt x="1617" y="146"/>
                  <a:pt x="1617" y="146"/>
                  <a:pt x="1617" y="146"/>
                </a:cubicBezTo>
                <a:cubicBezTo>
                  <a:pt x="1616" y="145"/>
                  <a:pt x="1616" y="145"/>
                  <a:pt x="1616" y="145"/>
                </a:cubicBezTo>
                <a:cubicBezTo>
                  <a:pt x="1616" y="146"/>
                  <a:pt x="1616" y="146"/>
                  <a:pt x="1616" y="146"/>
                </a:cubicBezTo>
                <a:cubicBezTo>
                  <a:pt x="1616" y="148"/>
                  <a:pt x="1616" y="148"/>
                  <a:pt x="1616" y="148"/>
                </a:cubicBezTo>
                <a:cubicBezTo>
                  <a:pt x="1615" y="147"/>
                  <a:pt x="1615" y="147"/>
                  <a:pt x="1615" y="147"/>
                </a:cubicBezTo>
                <a:cubicBezTo>
                  <a:pt x="1615" y="146"/>
                  <a:pt x="1615" y="146"/>
                  <a:pt x="1615" y="146"/>
                </a:cubicBezTo>
                <a:cubicBezTo>
                  <a:pt x="1613" y="146"/>
                  <a:pt x="1613" y="146"/>
                  <a:pt x="1613" y="146"/>
                </a:cubicBezTo>
                <a:cubicBezTo>
                  <a:pt x="1610" y="147"/>
                  <a:pt x="1610" y="147"/>
                  <a:pt x="1610" y="147"/>
                </a:cubicBezTo>
                <a:cubicBezTo>
                  <a:pt x="1609" y="147"/>
                  <a:pt x="1609" y="147"/>
                  <a:pt x="1609" y="147"/>
                </a:cubicBezTo>
                <a:cubicBezTo>
                  <a:pt x="1609" y="148"/>
                  <a:pt x="1609" y="148"/>
                  <a:pt x="1609" y="148"/>
                </a:cubicBezTo>
                <a:cubicBezTo>
                  <a:pt x="1609" y="150"/>
                  <a:pt x="1609" y="150"/>
                  <a:pt x="1609" y="150"/>
                </a:cubicBezTo>
                <a:cubicBezTo>
                  <a:pt x="1610" y="150"/>
                  <a:pt x="1610" y="150"/>
                  <a:pt x="1610" y="150"/>
                </a:cubicBezTo>
                <a:cubicBezTo>
                  <a:pt x="1610" y="151"/>
                  <a:pt x="1610" y="151"/>
                  <a:pt x="1610" y="151"/>
                </a:cubicBezTo>
                <a:cubicBezTo>
                  <a:pt x="1609" y="151"/>
                  <a:pt x="1609" y="151"/>
                  <a:pt x="1609" y="151"/>
                </a:cubicBezTo>
                <a:cubicBezTo>
                  <a:pt x="1608" y="152"/>
                  <a:pt x="1608" y="152"/>
                  <a:pt x="1608" y="152"/>
                </a:cubicBezTo>
                <a:cubicBezTo>
                  <a:pt x="1608" y="151"/>
                  <a:pt x="1608" y="151"/>
                  <a:pt x="1608" y="151"/>
                </a:cubicBezTo>
                <a:cubicBezTo>
                  <a:pt x="1608" y="150"/>
                  <a:pt x="1608" y="150"/>
                  <a:pt x="1608" y="150"/>
                </a:cubicBezTo>
                <a:cubicBezTo>
                  <a:pt x="1607" y="151"/>
                  <a:pt x="1607" y="151"/>
                  <a:pt x="1607" y="151"/>
                </a:cubicBezTo>
                <a:cubicBezTo>
                  <a:pt x="1606" y="152"/>
                  <a:pt x="1606" y="152"/>
                  <a:pt x="1606" y="152"/>
                </a:cubicBezTo>
                <a:cubicBezTo>
                  <a:pt x="1606" y="153"/>
                  <a:pt x="1606" y="153"/>
                  <a:pt x="1606" y="153"/>
                </a:cubicBezTo>
                <a:cubicBezTo>
                  <a:pt x="1606" y="154"/>
                  <a:pt x="1606" y="154"/>
                  <a:pt x="1606" y="154"/>
                </a:cubicBezTo>
                <a:cubicBezTo>
                  <a:pt x="1605" y="155"/>
                  <a:pt x="1605" y="155"/>
                  <a:pt x="1605" y="155"/>
                </a:cubicBezTo>
                <a:cubicBezTo>
                  <a:pt x="1604" y="155"/>
                  <a:pt x="1604" y="155"/>
                  <a:pt x="1604" y="155"/>
                </a:cubicBezTo>
                <a:cubicBezTo>
                  <a:pt x="1603" y="155"/>
                  <a:pt x="1603" y="155"/>
                  <a:pt x="1603" y="155"/>
                </a:cubicBezTo>
                <a:cubicBezTo>
                  <a:pt x="1603" y="156"/>
                  <a:pt x="1603" y="156"/>
                  <a:pt x="1603" y="156"/>
                </a:cubicBezTo>
                <a:cubicBezTo>
                  <a:pt x="1602" y="156"/>
                  <a:pt x="1602" y="156"/>
                  <a:pt x="1602" y="156"/>
                </a:cubicBezTo>
                <a:cubicBezTo>
                  <a:pt x="1601" y="157"/>
                  <a:pt x="1601" y="157"/>
                  <a:pt x="1601" y="157"/>
                </a:cubicBezTo>
                <a:cubicBezTo>
                  <a:pt x="1601" y="159"/>
                  <a:pt x="1601" y="159"/>
                  <a:pt x="1601" y="159"/>
                </a:cubicBezTo>
                <a:cubicBezTo>
                  <a:pt x="1602" y="159"/>
                  <a:pt x="1602" y="159"/>
                  <a:pt x="1602" y="159"/>
                </a:cubicBezTo>
                <a:cubicBezTo>
                  <a:pt x="1601" y="160"/>
                  <a:pt x="1601" y="160"/>
                  <a:pt x="1601" y="160"/>
                </a:cubicBezTo>
                <a:cubicBezTo>
                  <a:pt x="1599" y="160"/>
                  <a:pt x="1599" y="160"/>
                  <a:pt x="1599" y="160"/>
                </a:cubicBezTo>
                <a:cubicBezTo>
                  <a:pt x="1599" y="161"/>
                  <a:pt x="1599" y="161"/>
                  <a:pt x="1599" y="161"/>
                </a:cubicBezTo>
                <a:cubicBezTo>
                  <a:pt x="1598" y="162"/>
                  <a:pt x="1598" y="162"/>
                  <a:pt x="1598" y="162"/>
                </a:cubicBezTo>
                <a:cubicBezTo>
                  <a:pt x="1598" y="163"/>
                  <a:pt x="1598" y="163"/>
                  <a:pt x="1598" y="163"/>
                </a:cubicBezTo>
                <a:cubicBezTo>
                  <a:pt x="1599" y="163"/>
                  <a:pt x="1599" y="163"/>
                  <a:pt x="1599" y="163"/>
                </a:cubicBezTo>
                <a:cubicBezTo>
                  <a:pt x="1600" y="163"/>
                  <a:pt x="1600" y="163"/>
                  <a:pt x="1600" y="163"/>
                </a:cubicBezTo>
                <a:cubicBezTo>
                  <a:pt x="1600" y="164"/>
                  <a:pt x="1600" y="164"/>
                  <a:pt x="1600" y="164"/>
                </a:cubicBezTo>
                <a:cubicBezTo>
                  <a:pt x="1600" y="165"/>
                  <a:pt x="1600" y="165"/>
                  <a:pt x="1600" y="165"/>
                </a:cubicBezTo>
                <a:cubicBezTo>
                  <a:pt x="1599" y="166"/>
                  <a:pt x="1599" y="166"/>
                  <a:pt x="1599" y="166"/>
                </a:cubicBezTo>
                <a:cubicBezTo>
                  <a:pt x="1597" y="166"/>
                  <a:pt x="1597" y="166"/>
                  <a:pt x="1597" y="166"/>
                </a:cubicBezTo>
                <a:cubicBezTo>
                  <a:pt x="1596" y="166"/>
                  <a:pt x="1596" y="166"/>
                  <a:pt x="1596" y="166"/>
                </a:cubicBezTo>
                <a:cubicBezTo>
                  <a:pt x="1595" y="167"/>
                  <a:pt x="1595" y="167"/>
                  <a:pt x="1595" y="167"/>
                </a:cubicBezTo>
                <a:cubicBezTo>
                  <a:pt x="1596" y="168"/>
                  <a:pt x="1596" y="168"/>
                  <a:pt x="1596" y="168"/>
                </a:cubicBezTo>
                <a:cubicBezTo>
                  <a:pt x="1595" y="169"/>
                  <a:pt x="1595" y="169"/>
                  <a:pt x="1595" y="169"/>
                </a:cubicBezTo>
                <a:cubicBezTo>
                  <a:pt x="1594" y="170"/>
                  <a:pt x="1594" y="170"/>
                  <a:pt x="1594" y="170"/>
                </a:cubicBezTo>
                <a:cubicBezTo>
                  <a:pt x="1593" y="170"/>
                  <a:pt x="1593" y="170"/>
                  <a:pt x="1593" y="170"/>
                </a:cubicBezTo>
                <a:cubicBezTo>
                  <a:pt x="1592" y="169"/>
                  <a:pt x="1592" y="169"/>
                  <a:pt x="1592" y="169"/>
                </a:cubicBezTo>
                <a:cubicBezTo>
                  <a:pt x="1592" y="168"/>
                  <a:pt x="1592" y="168"/>
                  <a:pt x="1592" y="168"/>
                </a:cubicBezTo>
                <a:cubicBezTo>
                  <a:pt x="1591" y="170"/>
                  <a:pt x="1591" y="170"/>
                  <a:pt x="1591" y="170"/>
                </a:cubicBezTo>
                <a:cubicBezTo>
                  <a:pt x="1591" y="171"/>
                  <a:pt x="1591" y="171"/>
                  <a:pt x="1591" y="171"/>
                </a:cubicBezTo>
                <a:cubicBezTo>
                  <a:pt x="1593" y="172"/>
                  <a:pt x="1593" y="172"/>
                  <a:pt x="1593" y="172"/>
                </a:cubicBezTo>
                <a:cubicBezTo>
                  <a:pt x="1594" y="172"/>
                  <a:pt x="1594" y="172"/>
                  <a:pt x="1594" y="172"/>
                </a:cubicBezTo>
                <a:cubicBezTo>
                  <a:pt x="1594" y="173"/>
                  <a:pt x="1594" y="173"/>
                  <a:pt x="1594" y="173"/>
                </a:cubicBezTo>
                <a:cubicBezTo>
                  <a:pt x="1593" y="174"/>
                  <a:pt x="1593" y="174"/>
                  <a:pt x="1593" y="174"/>
                </a:cubicBezTo>
                <a:cubicBezTo>
                  <a:pt x="1593" y="175"/>
                  <a:pt x="1593" y="175"/>
                  <a:pt x="1593" y="175"/>
                </a:cubicBezTo>
                <a:cubicBezTo>
                  <a:pt x="1594" y="175"/>
                  <a:pt x="1594" y="175"/>
                  <a:pt x="1594" y="175"/>
                </a:cubicBezTo>
                <a:cubicBezTo>
                  <a:pt x="1595" y="174"/>
                  <a:pt x="1595" y="174"/>
                  <a:pt x="1595" y="174"/>
                </a:cubicBezTo>
                <a:cubicBezTo>
                  <a:pt x="1596" y="175"/>
                  <a:pt x="1596" y="175"/>
                  <a:pt x="1596" y="175"/>
                </a:cubicBezTo>
                <a:cubicBezTo>
                  <a:pt x="1597" y="175"/>
                  <a:pt x="1597" y="175"/>
                  <a:pt x="1597" y="175"/>
                </a:cubicBezTo>
                <a:cubicBezTo>
                  <a:pt x="1598" y="174"/>
                  <a:pt x="1598" y="174"/>
                  <a:pt x="1598" y="174"/>
                </a:cubicBezTo>
                <a:cubicBezTo>
                  <a:pt x="1598" y="175"/>
                  <a:pt x="1598" y="175"/>
                  <a:pt x="1598" y="175"/>
                </a:cubicBezTo>
                <a:cubicBezTo>
                  <a:pt x="1597" y="176"/>
                  <a:pt x="1597" y="176"/>
                  <a:pt x="1597" y="176"/>
                </a:cubicBezTo>
                <a:cubicBezTo>
                  <a:pt x="1595" y="175"/>
                  <a:pt x="1595" y="175"/>
                  <a:pt x="1595" y="175"/>
                </a:cubicBezTo>
                <a:cubicBezTo>
                  <a:pt x="1595" y="176"/>
                  <a:pt x="1595" y="176"/>
                  <a:pt x="1595" y="176"/>
                </a:cubicBezTo>
                <a:cubicBezTo>
                  <a:pt x="1594" y="176"/>
                  <a:pt x="1594" y="176"/>
                  <a:pt x="1594" y="176"/>
                </a:cubicBezTo>
                <a:cubicBezTo>
                  <a:pt x="1594" y="177"/>
                  <a:pt x="1594" y="177"/>
                  <a:pt x="1594" y="177"/>
                </a:cubicBezTo>
                <a:cubicBezTo>
                  <a:pt x="1594" y="178"/>
                  <a:pt x="1594" y="178"/>
                  <a:pt x="1594" y="178"/>
                </a:cubicBezTo>
                <a:cubicBezTo>
                  <a:pt x="1595" y="179"/>
                  <a:pt x="1595" y="179"/>
                  <a:pt x="1595" y="179"/>
                </a:cubicBezTo>
                <a:cubicBezTo>
                  <a:pt x="1596" y="179"/>
                  <a:pt x="1596" y="179"/>
                  <a:pt x="1596" y="179"/>
                </a:cubicBezTo>
                <a:cubicBezTo>
                  <a:pt x="1597" y="178"/>
                  <a:pt x="1597" y="178"/>
                  <a:pt x="1597" y="178"/>
                </a:cubicBezTo>
                <a:cubicBezTo>
                  <a:pt x="1597" y="179"/>
                  <a:pt x="1597" y="179"/>
                  <a:pt x="1597" y="179"/>
                </a:cubicBezTo>
                <a:cubicBezTo>
                  <a:pt x="1595" y="180"/>
                  <a:pt x="1595" y="180"/>
                  <a:pt x="1595" y="180"/>
                </a:cubicBezTo>
                <a:cubicBezTo>
                  <a:pt x="1594" y="180"/>
                  <a:pt x="1594" y="180"/>
                  <a:pt x="1594" y="180"/>
                </a:cubicBezTo>
                <a:cubicBezTo>
                  <a:pt x="1593" y="180"/>
                  <a:pt x="1593" y="180"/>
                  <a:pt x="1593" y="180"/>
                </a:cubicBezTo>
                <a:cubicBezTo>
                  <a:pt x="1593" y="181"/>
                  <a:pt x="1593" y="181"/>
                  <a:pt x="1593" y="181"/>
                </a:cubicBezTo>
                <a:cubicBezTo>
                  <a:pt x="1594" y="181"/>
                  <a:pt x="1594" y="181"/>
                  <a:pt x="1594" y="181"/>
                </a:cubicBezTo>
                <a:cubicBezTo>
                  <a:pt x="1595" y="181"/>
                  <a:pt x="1595" y="181"/>
                  <a:pt x="1595" y="181"/>
                </a:cubicBezTo>
                <a:cubicBezTo>
                  <a:pt x="1596" y="181"/>
                  <a:pt x="1596" y="181"/>
                  <a:pt x="1596" y="181"/>
                </a:cubicBezTo>
                <a:cubicBezTo>
                  <a:pt x="1596" y="182"/>
                  <a:pt x="1596" y="182"/>
                  <a:pt x="1596" y="182"/>
                </a:cubicBezTo>
                <a:cubicBezTo>
                  <a:pt x="1595" y="182"/>
                  <a:pt x="1595" y="182"/>
                  <a:pt x="1595" y="182"/>
                </a:cubicBezTo>
                <a:cubicBezTo>
                  <a:pt x="1594" y="182"/>
                  <a:pt x="1594" y="182"/>
                  <a:pt x="1594" y="182"/>
                </a:cubicBezTo>
                <a:cubicBezTo>
                  <a:pt x="1594" y="183"/>
                  <a:pt x="1594" y="183"/>
                  <a:pt x="1594" y="183"/>
                </a:cubicBezTo>
                <a:cubicBezTo>
                  <a:pt x="1596" y="183"/>
                  <a:pt x="1596" y="183"/>
                  <a:pt x="1596" y="183"/>
                </a:cubicBezTo>
                <a:cubicBezTo>
                  <a:pt x="1598" y="185"/>
                  <a:pt x="1598" y="185"/>
                  <a:pt x="1598" y="185"/>
                </a:cubicBezTo>
                <a:cubicBezTo>
                  <a:pt x="1599" y="185"/>
                  <a:pt x="1599" y="185"/>
                  <a:pt x="1599" y="185"/>
                </a:cubicBezTo>
                <a:cubicBezTo>
                  <a:pt x="1599" y="186"/>
                  <a:pt x="1599" y="186"/>
                  <a:pt x="1599" y="186"/>
                </a:cubicBezTo>
                <a:cubicBezTo>
                  <a:pt x="1598" y="185"/>
                  <a:pt x="1598" y="185"/>
                  <a:pt x="1598" y="185"/>
                </a:cubicBezTo>
                <a:cubicBezTo>
                  <a:pt x="1597" y="185"/>
                  <a:pt x="1597" y="185"/>
                  <a:pt x="1597" y="185"/>
                </a:cubicBezTo>
                <a:cubicBezTo>
                  <a:pt x="1596" y="185"/>
                  <a:pt x="1596" y="185"/>
                  <a:pt x="1596" y="185"/>
                </a:cubicBezTo>
                <a:cubicBezTo>
                  <a:pt x="1595" y="184"/>
                  <a:pt x="1595" y="184"/>
                  <a:pt x="1595" y="184"/>
                </a:cubicBezTo>
                <a:cubicBezTo>
                  <a:pt x="1594" y="184"/>
                  <a:pt x="1594" y="184"/>
                  <a:pt x="1594" y="184"/>
                </a:cubicBezTo>
                <a:cubicBezTo>
                  <a:pt x="1593" y="185"/>
                  <a:pt x="1593" y="185"/>
                  <a:pt x="1593" y="185"/>
                </a:cubicBezTo>
                <a:cubicBezTo>
                  <a:pt x="1592" y="186"/>
                  <a:pt x="1592" y="186"/>
                  <a:pt x="1592" y="186"/>
                </a:cubicBezTo>
                <a:cubicBezTo>
                  <a:pt x="1592" y="187"/>
                  <a:pt x="1592" y="187"/>
                  <a:pt x="1592" y="187"/>
                </a:cubicBezTo>
                <a:cubicBezTo>
                  <a:pt x="1593" y="187"/>
                  <a:pt x="1593" y="187"/>
                  <a:pt x="1593" y="187"/>
                </a:cubicBezTo>
                <a:cubicBezTo>
                  <a:pt x="1592" y="188"/>
                  <a:pt x="1592" y="188"/>
                  <a:pt x="1592" y="188"/>
                </a:cubicBezTo>
                <a:cubicBezTo>
                  <a:pt x="1591" y="188"/>
                  <a:pt x="1591" y="188"/>
                  <a:pt x="1591" y="188"/>
                </a:cubicBezTo>
                <a:cubicBezTo>
                  <a:pt x="1591" y="189"/>
                  <a:pt x="1591" y="189"/>
                  <a:pt x="1591" y="189"/>
                </a:cubicBezTo>
                <a:cubicBezTo>
                  <a:pt x="1590" y="190"/>
                  <a:pt x="1590" y="190"/>
                  <a:pt x="1590" y="190"/>
                </a:cubicBezTo>
                <a:cubicBezTo>
                  <a:pt x="1590" y="191"/>
                  <a:pt x="1590" y="191"/>
                  <a:pt x="1590" y="191"/>
                </a:cubicBezTo>
                <a:close/>
                <a:moveTo>
                  <a:pt x="1620" y="256"/>
                </a:moveTo>
                <a:cubicBezTo>
                  <a:pt x="1621" y="256"/>
                  <a:pt x="1621" y="256"/>
                  <a:pt x="1621" y="256"/>
                </a:cubicBezTo>
                <a:cubicBezTo>
                  <a:pt x="1622" y="256"/>
                  <a:pt x="1622" y="256"/>
                  <a:pt x="1622" y="256"/>
                </a:cubicBezTo>
                <a:cubicBezTo>
                  <a:pt x="1621" y="255"/>
                  <a:pt x="1621" y="255"/>
                  <a:pt x="1621" y="255"/>
                </a:cubicBezTo>
                <a:cubicBezTo>
                  <a:pt x="1620" y="256"/>
                  <a:pt x="1620" y="256"/>
                  <a:pt x="1620" y="256"/>
                </a:cubicBezTo>
                <a:close/>
                <a:moveTo>
                  <a:pt x="1576" y="89"/>
                </a:moveTo>
                <a:cubicBezTo>
                  <a:pt x="1575" y="88"/>
                  <a:pt x="1575" y="88"/>
                  <a:pt x="1575" y="88"/>
                </a:cubicBezTo>
                <a:cubicBezTo>
                  <a:pt x="1574" y="88"/>
                  <a:pt x="1574" y="88"/>
                  <a:pt x="1574" y="88"/>
                </a:cubicBezTo>
                <a:cubicBezTo>
                  <a:pt x="1574" y="89"/>
                  <a:pt x="1574" y="89"/>
                  <a:pt x="1574" y="89"/>
                </a:cubicBezTo>
                <a:cubicBezTo>
                  <a:pt x="1575" y="89"/>
                  <a:pt x="1575" y="89"/>
                  <a:pt x="1575" y="89"/>
                </a:cubicBezTo>
                <a:cubicBezTo>
                  <a:pt x="1575" y="90"/>
                  <a:pt x="1575" y="90"/>
                  <a:pt x="1575" y="90"/>
                </a:cubicBezTo>
                <a:cubicBezTo>
                  <a:pt x="1576" y="89"/>
                  <a:pt x="1576" y="89"/>
                  <a:pt x="1576" y="89"/>
                </a:cubicBezTo>
                <a:close/>
                <a:moveTo>
                  <a:pt x="1566" y="77"/>
                </a:moveTo>
                <a:cubicBezTo>
                  <a:pt x="1566" y="78"/>
                  <a:pt x="1566" y="78"/>
                  <a:pt x="1566" y="78"/>
                </a:cubicBezTo>
                <a:cubicBezTo>
                  <a:pt x="1567" y="81"/>
                  <a:pt x="1567" y="81"/>
                  <a:pt x="1567" y="81"/>
                </a:cubicBezTo>
                <a:cubicBezTo>
                  <a:pt x="1567" y="83"/>
                  <a:pt x="1567" y="83"/>
                  <a:pt x="1567" y="83"/>
                </a:cubicBezTo>
                <a:cubicBezTo>
                  <a:pt x="1568" y="85"/>
                  <a:pt x="1568" y="85"/>
                  <a:pt x="1568" y="85"/>
                </a:cubicBezTo>
                <a:cubicBezTo>
                  <a:pt x="1569" y="85"/>
                  <a:pt x="1569" y="85"/>
                  <a:pt x="1569" y="85"/>
                </a:cubicBezTo>
                <a:cubicBezTo>
                  <a:pt x="1570" y="85"/>
                  <a:pt x="1570" y="85"/>
                  <a:pt x="1570" y="85"/>
                </a:cubicBezTo>
                <a:cubicBezTo>
                  <a:pt x="1569" y="84"/>
                  <a:pt x="1569" y="84"/>
                  <a:pt x="1569" y="84"/>
                </a:cubicBezTo>
                <a:cubicBezTo>
                  <a:pt x="1569" y="83"/>
                  <a:pt x="1569" y="83"/>
                  <a:pt x="1569" y="83"/>
                </a:cubicBezTo>
                <a:cubicBezTo>
                  <a:pt x="1570" y="83"/>
                  <a:pt x="1570" y="83"/>
                  <a:pt x="1570" y="83"/>
                </a:cubicBezTo>
                <a:cubicBezTo>
                  <a:pt x="1571" y="81"/>
                  <a:pt x="1571" y="81"/>
                  <a:pt x="1571" y="81"/>
                </a:cubicBezTo>
                <a:cubicBezTo>
                  <a:pt x="1573" y="80"/>
                  <a:pt x="1573" y="80"/>
                  <a:pt x="1573" y="80"/>
                </a:cubicBezTo>
                <a:cubicBezTo>
                  <a:pt x="1574" y="79"/>
                  <a:pt x="1574" y="79"/>
                  <a:pt x="1574" y="79"/>
                </a:cubicBezTo>
                <a:cubicBezTo>
                  <a:pt x="1573" y="79"/>
                  <a:pt x="1573" y="79"/>
                  <a:pt x="1573" y="79"/>
                </a:cubicBezTo>
                <a:cubicBezTo>
                  <a:pt x="1572" y="79"/>
                  <a:pt x="1572" y="79"/>
                  <a:pt x="1572" y="79"/>
                </a:cubicBezTo>
                <a:cubicBezTo>
                  <a:pt x="1569" y="78"/>
                  <a:pt x="1569" y="78"/>
                  <a:pt x="1569" y="78"/>
                </a:cubicBezTo>
                <a:cubicBezTo>
                  <a:pt x="1568" y="76"/>
                  <a:pt x="1568" y="76"/>
                  <a:pt x="1568" y="76"/>
                </a:cubicBezTo>
                <a:cubicBezTo>
                  <a:pt x="1567" y="77"/>
                  <a:pt x="1567" y="77"/>
                  <a:pt x="1567" y="77"/>
                </a:cubicBezTo>
                <a:cubicBezTo>
                  <a:pt x="1566" y="77"/>
                  <a:pt x="1566" y="77"/>
                  <a:pt x="1566" y="77"/>
                </a:cubicBezTo>
                <a:close/>
                <a:moveTo>
                  <a:pt x="1639" y="240"/>
                </a:moveTo>
                <a:cubicBezTo>
                  <a:pt x="1637" y="239"/>
                  <a:pt x="1637" y="239"/>
                  <a:pt x="1637" y="239"/>
                </a:cubicBezTo>
                <a:cubicBezTo>
                  <a:pt x="1635" y="237"/>
                  <a:pt x="1635" y="237"/>
                  <a:pt x="1635" y="237"/>
                </a:cubicBezTo>
                <a:cubicBezTo>
                  <a:pt x="1634" y="237"/>
                  <a:pt x="1634" y="237"/>
                  <a:pt x="1634" y="237"/>
                </a:cubicBezTo>
                <a:cubicBezTo>
                  <a:pt x="1632" y="236"/>
                  <a:pt x="1632" y="236"/>
                  <a:pt x="1632" y="236"/>
                </a:cubicBezTo>
                <a:cubicBezTo>
                  <a:pt x="1631" y="235"/>
                  <a:pt x="1631" y="235"/>
                  <a:pt x="1631" y="235"/>
                </a:cubicBezTo>
                <a:cubicBezTo>
                  <a:pt x="1631" y="234"/>
                  <a:pt x="1631" y="234"/>
                  <a:pt x="1631" y="234"/>
                </a:cubicBezTo>
                <a:cubicBezTo>
                  <a:pt x="1629" y="233"/>
                  <a:pt x="1629" y="233"/>
                  <a:pt x="1629" y="233"/>
                </a:cubicBezTo>
                <a:cubicBezTo>
                  <a:pt x="1628" y="233"/>
                  <a:pt x="1628" y="233"/>
                  <a:pt x="1628" y="233"/>
                </a:cubicBezTo>
                <a:cubicBezTo>
                  <a:pt x="1628" y="234"/>
                  <a:pt x="1628" y="234"/>
                  <a:pt x="1628" y="234"/>
                </a:cubicBezTo>
                <a:cubicBezTo>
                  <a:pt x="1627" y="235"/>
                  <a:pt x="1627" y="235"/>
                  <a:pt x="1627" y="235"/>
                </a:cubicBezTo>
                <a:cubicBezTo>
                  <a:pt x="1628" y="236"/>
                  <a:pt x="1628" y="236"/>
                  <a:pt x="1628" y="236"/>
                </a:cubicBezTo>
                <a:cubicBezTo>
                  <a:pt x="1629" y="236"/>
                  <a:pt x="1629" y="236"/>
                  <a:pt x="1629" y="236"/>
                </a:cubicBezTo>
                <a:cubicBezTo>
                  <a:pt x="1628" y="237"/>
                  <a:pt x="1628" y="237"/>
                  <a:pt x="1628" y="237"/>
                </a:cubicBezTo>
                <a:cubicBezTo>
                  <a:pt x="1627" y="236"/>
                  <a:pt x="1627" y="236"/>
                  <a:pt x="1627" y="236"/>
                </a:cubicBezTo>
                <a:cubicBezTo>
                  <a:pt x="1626" y="236"/>
                  <a:pt x="1626" y="236"/>
                  <a:pt x="1626" y="236"/>
                </a:cubicBezTo>
                <a:cubicBezTo>
                  <a:pt x="1627" y="237"/>
                  <a:pt x="1627" y="237"/>
                  <a:pt x="1627" y="237"/>
                </a:cubicBezTo>
                <a:cubicBezTo>
                  <a:pt x="1629" y="240"/>
                  <a:pt x="1629" y="240"/>
                  <a:pt x="1629" y="240"/>
                </a:cubicBezTo>
                <a:cubicBezTo>
                  <a:pt x="1630" y="240"/>
                  <a:pt x="1630" y="240"/>
                  <a:pt x="1630" y="240"/>
                </a:cubicBezTo>
                <a:cubicBezTo>
                  <a:pt x="1631" y="242"/>
                  <a:pt x="1631" y="242"/>
                  <a:pt x="1631" y="242"/>
                </a:cubicBezTo>
                <a:cubicBezTo>
                  <a:pt x="1632" y="242"/>
                  <a:pt x="1632" y="242"/>
                  <a:pt x="1632" y="242"/>
                </a:cubicBezTo>
                <a:cubicBezTo>
                  <a:pt x="1632" y="240"/>
                  <a:pt x="1632" y="240"/>
                  <a:pt x="1632" y="240"/>
                </a:cubicBezTo>
                <a:cubicBezTo>
                  <a:pt x="1633" y="241"/>
                  <a:pt x="1633" y="241"/>
                  <a:pt x="1633" y="241"/>
                </a:cubicBezTo>
                <a:cubicBezTo>
                  <a:pt x="1634" y="240"/>
                  <a:pt x="1634" y="240"/>
                  <a:pt x="1634" y="240"/>
                </a:cubicBezTo>
                <a:cubicBezTo>
                  <a:pt x="1634" y="241"/>
                  <a:pt x="1634" y="241"/>
                  <a:pt x="1634" y="241"/>
                </a:cubicBezTo>
                <a:cubicBezTo>
                  <a:pt x="1634" y="243"/>
                  <a:pt x="1634" y="243"/>
                  <a:pt x="1634" y="243"/>
                </a:cubicBezTo>
                <a:cubicBezTo>
                  <a:pt x="1635" y="244"/>
                  <a:pt x="1635" y="244"/>
                  <a:pt x="1635" y="244"/>
                </a:cubicBezTo>
                <a:cubicBezTo>
                  <a:pt x="1637" y="244"/>
                  <a:pt x="1637" y="244"/>
                  <a:pt x="1637" y="244"/>
                </a:cubicBezTo>
                <a:cubicBezTo>
                  <a:pt x="1637" y="243"/>
                  <a:pt x="1637" y="243"/>
                  <a:pt x="1637" y="243"/>
                </a:cubicBezTo>
                <a:cubicBezTo>
                  <a:pt x="1639" y="244"/>
                  <a:pt x="1639" y="244"/>
                  <a:pt x="1639" y="244"/>
                </a:cubicBezTo>
                <a:cubicBezTo>
                  <a:pt x="1639" y="242"/>
                  <a:pt x="1639" y="242"/>
                  <a:pt x="1639" y="242"/>
                </a:cubicBezTo>
                <a:cubicBezTo>
                  <a:pt x="1639" y="240"/>
                  <a:pt x="1639" y="240"/>
                  <a:pt x="1639" y="240"/>
                </a:cubicBezTo>
                <a:close/>
                <a:moveTo>
                  <a:pt x="1540" y="270"/>
                </a:moveTo>
                <a:cubicBezTo>
                  <a:pt x="1540" y="270"/>
                  <a:pt x="1540" y="270"/>
                  <a:pt x="1539" y="270"/>
                </a:cubicBezTo>
                <a:cubicBezTo>
                  <a:pt x="1539" y="270"/>
                  <a:pt x="1539" y="270"/>
                  <a:pt x="1540" y="271"/>
                </a:cubicBezTo>
                <a:cubicBezTo>
                  <a:pt x="1540" y="271"/>
                  <a:pt x="1540" y="271"/>
                  <a:pt x="1541" y="273"/>
                </a:cubicBezTo>
                <a:cubicBezTo>
                  <a:pt x="1541" y="273"/>
                  <a:pt x="1541" y="273"/>
                  <a:pt x="1541" y="272"/>
                </a:cubicBezTo>
                <a:cubicBezTo>
                  <a:pt x="1541" y="272"/>
                  <a:pt x="1541" y="272"/>
                  <a:pt x="1540" y="270"/>
                </a:cubicBezTo>
                <a:close/>
                <a:moveTo>
                  <a:pt x="1574" y="65"/>
                </a:moveTo>
                <a:cubicBezTo>
                  <a:pt x="1575" y="66"/>
                  <a:pt x="1575" y="66"/>
                  <a:pt x="1575" y="66"/>
                </a:cubicBezTo>
                <a:cubicBezTo>
                  <a:pt x="1576" y="65"/>
                  <a:pt x="1576" y="65"/>
                  <a:pt x="1576" y="65"/>
                </a:cubicBezTo>
                <a:cubicBezTo>
                  <a:pt x="1577" y="64"/>
                  <a:pt x="1577" y="64"/>
                  <a:pt x="1577" y="64"/>
                </a:cubicBezTo>
                <a:cubicBezTo>
                  <a:pt x="1578" y="63"/>
                  <a:pt x="1578" y="63"/>
                  <a:pt x="1578" y="63"/>
                </a:cubicBezTo>
                <a:cubicBezTo>
                  <a:pt x="1577" y="62"/>
                  <a:pt x="1577" y="62"/>
                  <a:pt x="1577" y="62"/>
                </a:cubicBezTo>
                <a:cubicBezTo>
                  <a:pt x="1576" y="61"/>
                  <a:pt x="1576" y="61"/>
                  <a:pt x="1576" y="61"/>
                </a:cubicBezTo>
                <a:cubicBezTo>
                  <a:pt x="1575" y="61"/>
                  <a:pt x="1575" y="61"/>
                  <a:pt x="1575" y="61"/>
                </a:cubicBezTo>
                <a:cubicBezTo>
                  <a:pt x="1573" y="61"/>
                  <a:pt x="1573" y="61"/>
                  <a:pt x="1573" y="61"/>
                </a:cubicBezTo>
                <a:cubicBezTo>
                  <a:pt x="1572" y="62"/>
                  <a:pt x="1572" y="62"/>
                  <a:pt x="1572" y="62"/>
                </a:cubicBezTo>
                <a:cubicBezTo>
                  <a:pt x="1571" y="63"/>
                  <a:pt x="1571" y="63"/>
                  <a:pt x="1571" y="63"/>
                </a:cubicBezTo>
                <a:cubicBezTo>
                  <a:pt x="1572" y="64"/>
                  <a:pt x="1572" y="64"/>
                  <a:pt x="1572" y="64"/>
                </a:cubicBezTo>
                <a:cubicBezTo>
                  <a:pt x="1574" y="65"/>
                  <a:pt x="1574" y="65"/>
                  <a:pt x="1574" y="65"/>
                </a:cubicBezTo>
                <a:close/>
                <a:moveTo>
                  <a:pt x="1915" y="117"/>
                </a:moveTo>
                <a:cubicBezTo>
                  <a:pt x="1916" y="117"/>
                  <a:pt x="1916" y="117"/>
                  <a:pt x="1916" y="117"/>
                </a:cubicBezTo>
                <a:cubicBezTo>
                  <a:pt x="1916" y="115"/>
                  <a:pt x="1916" y="115"/>
                  <a:pt x="1916" y="115"/>
                </a:cubicBezTo>
                <a:cubicBezTo>
                  <a:pt x="1916" y="114"/>
                  <a:pt x="1916" y="114"/>
                  <a:pt x="1916" y="114"/>
                </a:cubicBezTo>
                <a:cubicBezTo>
                  <a:pt x="1914" y="115"/>
                  <a:pt x="1914" y="115"/>
                  <a:pt x="1914" y="115"/>
                </a:cubicBezTo>
                <a:cubicBezTo>
                  <a:pt x="1914" y="116"/>
                  <a:pt x="1914" y="116"/>
                  <a:pt x="1914" y="116"/>
                </a:cubicBezTo>
                <a:cubicBezTo>
                  <a:pt x="1915" y="116"/>
                  <a:pt x="1915" y="116"/>
                  <a:pt x="1915" y="116"/>
                </a:cubicBezTo>
                <a:cubicBezTo>
                  <a:pt x="1915" y="117"/>
                  <a:pt x="1915" y="117"/>
                  <a:pt x="1915" y="117"/>
                </a:cubicBezTo>
                <a:close/>
                <a:moveTo>
                  <a:pt x="1939" y="66"/>
                </a:moveTo>
                <a:cubicBezTo>
                  <a:pt x="1941" y="69"/>
                  <a:pt x="1941" y="69"/>
                  <a:pt x="1941" y="69"/>
                </a:cubicBezTo>
                <a:cubicBezTo>
                  <a:pt x="1941" y="71"/>
                  <a:pt x="1941" y="71"/>
                  <a:pt x="1941" y="71"/>
                </a:cubicBezTo>
                <a:cubicBezTo>
                  <a:pt x="1943" y="72"/>
                  <a:pt x="1943" y="72"/>
                  <a:pt x="1943" y="72"/>
                </a:cubicBezTo>
                <a:cubicBezTo>
                  <a:pt x="1943" y="71"/>
                  <a:pt x="1943" y="71"/>
                  <a:pt x="1943" y="71"/>
                </a:cubicBezTo>
                <a:cubicBezTo>
                  <a:pt x="1943" y="70"/>
                  <a:pt x="1943" y="70"/>
                  <a:pt x="1943" y="70"/>
                </a:cubicBezTo>
                <a:cubicBezTo>
                  <a:pt x="1942" y="67"/>
                  <a:pt x="1942" y="67"/>
                  <a:pt x="1942" y="67"/>
                </a:cubicBezTo>
                <a:cubicBezTo>
                  <a:pt x="1942" y="65"/>
                  <a:pt x="1942" y="65"/>
                  <a:pt x="1942" y="65"/>
                </a:cubicBezTo>
                <a:cubicBezTo>
                  <a:pt x="1941" y="65"/>
                  <a:pt x="1941" y="65"/>
                  <a:pt x="1941" y="65"/>
                </a:cubicBezTo>
                <a:cubicBezTo>
                  <a:pt x="1938" y="64"/>
                  <a:pt x="1938" y="64"/>
                  <a:pt x="1938" y="64"/>
                </a:cubicBezTo>
                <a:cubicBezTo>
                  <a:pt x="1937" y="63"/>
                  <a:pt x="1937" y="63"/>
                  <a:pt x="1937" y="63"/>
                </a:cubicBezTo>
                <a:cubicBezTo>
                  <a:pt x="1936" y="62"/>
                  <a:pt x="1936" y="62"/>
                  <a:pt x="1936" y="62"/>
                </a:cubicBezTo>
                <a:cubicBezTo>
                  <a:pt x="1936" y="63"/>
                  <a:pt x="1936" y="63"/>
                  <a:pt x="1936" y="63"/>
                </a:cubicBezTo>
                <a:cubicBezTo>
                  <a:pt x="1937" y="65"/>
                  <a:pt x="1937" y="65"/>
                  <a:pt x="1937" y="65"/>
                </a:cubicBezTo>
                <a:cubicBezTo>
                  <a:pt x="1939" y="66"/>
                  <a:pt x="1939" y="66"/>
                  <a:pt x="1939" y="66"/>
                </a:cubicBezTo>
                <a:close/>
                <a:moveTo>
                  <a:pt x="2135" y="122"/>
                </a:moveTo>
                <a:cubicBezTo>
                  <a:pt x="2134" y="121"/>
                  <a:pt x="2134" y="121"/>
                  <a:pt x="2134" y="121"/>
                </a:cubicBezTo>
                <a:cubicBezTo>
                  <a:pt x="2133" y="121"/>
                  <a:pt x="2133" y="121"/>
                  <a:pt x="2133" y="121"/>
                </a:cubicBezTo>
                <a:cubicBezTo>
                  <a:pt x="2133" y="123"/>
                  <a:pt x="2133" y="123"/>
                  <a:pt x="2133" y="123"/>
                </a:cubicBezTo>
                <a:cubicBezTo>
                  <a:pt x="2134" y="123"/>
                  <a:pt x="2134" y="123"/>
                  <a:pt x="2134" y="123"/>
                </a:cubicBezTo>
                <a:cubicBezTo>
                  <a:pt x="2135" y="122"/>
                  <a:pt x="2135" y="122"/>
                  <a:pt x="2135" y="122"/>
                </a:cubicBezTo>
                <a:close/>
                <a:moveTo>
                  <a:pt x="2001" y="129"/>
                </a:moveTo>
                <a:cubicBezTo>
                  <a:pt x="2000" y="130"/>
                  <a:pt x="2000" y="130"/>
                  <a:pt x="2000" y="130"/>
                </a:cubicBezTo>
                <a:cubicBezTo>
                  <a:pt x="2000" y="131"/>
                  <a:pt x="2000" y="131"/>
                  <a:pt x="2000" y="131"/>
                </a:cubicBezTo>
                <a:cubicBezTo>
                  <a:pt x="1999" y="131"/>
                  <a:pt x="1999" y="131"/>
                  <a:pt x="1999" y="131"/>
                </a:cubicBezTo>
                <a:cubicBezTo>
                  <a:pt x="1999" y="131"/>
                  <a:pt x="1998" y="132"/>
                  <a:pt x="1997" y="131"/>
                </a:cubicBezTo>
                <a:cubicBezTo>
                  <a:pt x="1999" y="133"/>
                  <a:pt x="1999" y="133"/>
                  <a:pt x="1999" y="133"/>
                </a:cubicBezTo>
                <a:cubicBezTo>
                  <a:pt x="2000" y="133"/>
                  <a:pt x="2000" y="133"/>
                  <a:pt x="2000" y="133"/>
                </a:cubicBezTo>
                <a:cubicBezTo>
                  <a:pt x="2001" y="132"/>
                  <a:pt x="2001" y="132"/>
                  <a:pt x="2001" y="132"/>
                </a:cubicBezTo>
                <a:cubicBezTo>
                  <a:pt x="2002" y="132"/>
                  <a:pt x="2002" y="132"/>
                  <a:pt x="2002" y="132"/>
                </a:cubicBezTo>
                <a:cubicBezTo>
                  <a:pt x="2001" y="131"/>
                  <a:pt x="2001" y="131"/>
                  <a:pt x="2001" y="131"/>
                </a:cubicBezTo>
                <a:cubicBezTo>
                  <a:pt x="2001" y="129"/>
                  <a:pt x="2001" y="129"/>
                  <a:pt x="2001" y="129"/>
                </a:cubicBezTo>
                <a:close/>
                <a:moveTo>
                  <a:pt x="1733" y="152"/>
                </a:moveTo>
                <a:cubicBezTo>
                  <a:pt x="1732" y="152"/>
                  <a:pt x="1732" y="152"/>
                  <a:pt x="1732" y="152"/>
                </a:cubicBezTo>
                <a:cubicBezTo>
                  <a:pt x="1732" y="153"/>
                  <a:pt x="1732" y="153"/>
                  <a:pt x="1732" y="153"/>
                </a:cubicBezTo>
                <a:cubicBezTo>
                  <a:pt x="1732" y="154"/>
                  <a:pt x="1732" y="154"/>
                  <a:pt x="1732" y="154"/>
                </a:cubicBezTo>
                <a:cubicBezTo>
                  <a:pt x="1732" y="155"/>
                  <a:pt x="1732" y="155"/>
                  <a:pt x="1732" y="155"/>
                </a:cubicBezTo>
                <a:cubicBezTo>
                  <a:pt x="1733" y="155"/>
                  <a:pt x="1733" y="155"/>
                  <a:pt x="1733" y="155"/>
                </a:cubicBezTo>
                <a:cubicBezTo>
                  <a:pt x="1734" y="154"/>
                  <a:pt x="1734" y="154"/>
                  <a:pt x="1734" y="154"/>
                </a:cubicBezTo>
                <a:cubicBezTo>
                  <a:pt x="1734" y="153"/>
                  <a:pt x="1734" y="153"/>
                  <a:pt x="1734" y="153"/>
                </a:cubicBezTo>
                <a:cubicBezTo>
                  <a:pt x="1733" y="152"/>
                  <a:pt x="1733" y="152"/>
                  <a:pt x="1733" y="152"/>
                </a:cubicBezTo>
                <a:close/>
                <a:moveTo>
                  <a:pt x="1672" y="243"/>
                </a:moveTo>
                <a:cubicBezTo>
                  <a:pt x="1672" y="244"/>
                  <a:pt x="1672" y="244"/>
                  <a:pt x="1672" y="244"/>
                </a:cubicBezTo>
                <a:cubicBezTo>
                  <a:pt x="1673" y="244"/>
                  <a:pt x="1673" y="244"/>
                  <a:pt x="1673" y="244"/>
                </a:cubicBezTo>
                <a:cubicBezTo>
                  <a:pt x="1674" y="243"/>
                  <a:pt x="1674" y="243"/>
                  <a:pt x="1674" y="243"/>
                </a:cubicBezTo>
                <a:cubicBezTo>
                  <a:pt x="1674" y="242"/>
                  <a:pt x="1674" y="242"/>
                  <a:pt x="1674" y="242"/>
                </a:cubicBezTo>
                <a:cubicBezTo>
                  <a:pt x="1673" y="241"/>
                  <a:pt x="1673" y="241"/>
                  <a:pt x="1673" y="241"/>
                </a:cubicBezTo>
                <a:cubicBezTo>
                  <a:pt x="1672" y="242"/>
                  <a:pt x="1672" y="242"/>
                  <a:pt x="1672" y="242"/>
                </a:cubicBezTo>
                <a:cubicBezTo>
                  <a:pt x="1672" y="243"/>
                  <a:pt x="1672" y="243"/>
                  <a:pt x="1672" y="243"/>
                </a:cubicBezTo>
                <a:close/>
                <a:moveTo>
                  <a:pt x="1958" y="140"/>
                </a:moveTo>
                <a:cubicBezTo>
                  <a:pt x="1958" y="140"/>
                  <a:pt x="1958" y="140"/>
                  <a:pt x="1958" y="142"/>
                </a:cubicBezTo>
                <a:cubicBezTo>
                  <a:pt x="1958" y="142"/>
                  <a:pt x="1958" y="142"/>
                  <a:pt x="1957" y="143"/>
                </a:cubicBezTo>
                <a:cubicBezTo>
                  <a:pt x="1957" y="143"/>
                  <a:pt x="1957" y="143"/>
                  <a:pt x="1960" y="141"/>
                </a:cubicBezTo>
                <a:cubicBezTo>
                  <a:pt x="1960" y="141"/>
                  <a:pt x="1960" y="141"/>
                  <a:pt x="1958" y="140"/>
                </a:cubicBezTo>
                <a:close/>
                <a:moveTo>
                  <a:pt x="1945" y="60"/>
                </a:moveTo>
                <a:cubicBezTo>
                  <a:pt x="1946" y="61"/>
                  <a:pt x="1946" y="61"/>
                  <a:pt x="1946" y="61"/>
                </a:cubicBezTo>
                <a:cubicBezTo>
                  <a:pt x="1945" y="61"/>
                  <a:pt x="1945" y="61"/>
                  <a:pt x="1945" y="61"/>
                </a:cubicBezTo>
                <a:cubicBezTo>
                  <a:pt x="1944" y="61"/>
                  <a:pt x="1944" y="61"/>
                  <a:pt x="1944" y="61"/>
                </a:cubicBezTo>
                <a:cubicBezTo>
                  <a:pt x="1945" y="63"/>
                  <a:pt x="1945" y="63"/>
                  <a:pt x="1945" y="63"/>
                </a:cubicBezTo>
                <a:cubicBezTo>
                  <a:pt x="1946" y="63"/>
                  <a:pt x="1946" y="63"/>
                  <a:pt x="1946" y="63"/>
                </a:cubicBezTo>
                <a:cubicBezTo>
                  <a:pt x="1946" y="64"/>
                  <a:pt x="1946" y="64"/>
                  <a:pt x="1946" y="64"/>
                </a:cubicBezTo>
                <a:cubicBezTo>
                  <a:pt x="1946" y="65"/>
                  <a:pt x="1946" y="65"/>
                  <a:pt x="1946" y="65"/>
                </a:cubicBezTo>
                <a:cubicBezTo>
                  <a:pt x="1947" y="66"/>
                  <a:pt x="1947" y="66"/>
                  <a:pt x="1947" y="66"/>
                </a:cubicBezTo>
                <a:cubicBezTo>
                  <a:pt x="1948" y="66"/>
                  <a:pt x="1948" y="66"/>
                  <a:pt x="1948" y="66"/>
                </a:cubicBezTo>
                <a:cubicBezTo>
                  <a:pt x="1949" y="67"/>
                  <a:pt x="1949" y="67"/>
                  <a:pt x="1949" y="67"/>
                </a:cubicBezTo>
                <a:cubicBezTo>
                  <a:pt x="1949" y="68"/>
                  <a:pt x="1949" y="68"/>
                  <a:pt x="1949" y="68"/>
                </a:cubicBezTo>
                <a:cubicBezTo>
                  <a:pt x="1950" y="68"/>
                  <a:pt x="1950" y="68"/>
                  <a:pt x="1950" y="68"/>
                </a:cubicBezTo>
                <a:cubicBezTo>
                  <a:pt x="1951" y="68"/>
                  <a:pt x="1951" y="68"/>
                  <a:pt x="1951" y="68"/>
                </a:cubicBezTo>
                <a:cubicBezTo>
                  <a:pt x="1950" y="69"/>
                  <a:pt x="1950" y="69"/>
                  <a:pt x="1950" y="69"/>
                </a:cubicBezTo>
                <a:cubicBezTo>
                  <a:pt x="1949" y="69"/>
                  <a:pt x="1949" y="69"/>
                  <a:pt x="1949" y="69"/>
                </a:cubicBezTo>
                <a:cubicBezTo>
                  <a:pt x="1949" y="71"/>
                  <a:pt x="1949" y="71"/>
                  <a:pt x="1949" y="71"/>
                </a:cubicBezTo>
                <a:cubicBezTo>
                  <a:pt x="1953" y="73"/>
                  <a:pt x="1953" y="73"/>
                  <a:pt x="1953" y="73"/>
                </a:cubicBezTo>
                <a:cubicBezTo>
                  <a:pt x="1955" y="74"/>
                  <a:pt x="1955" y="74"/>
                  <a:pt x="1955" y="74"/>
                </a:cubicBezTo>
                <a:cubicBezTo>
                  <a:pt x="1957" y="74"/>
                  <a:pt x="1957" y="74"/>
                  <a:pt x="1957" y="74"/>
                </a:cubicBezTo>
                <a:cubicBezTo>
                  <a:pt x="1958" y="75"/>
                  <a:pt x="1958" y="75"/>
                  <a:pt x="1958" y="75"/>
                </a:cubicBezTo>
                <a:cubicBezTo>
                  <a:pt x="1959" y="75"/>
                  <a:pt x="1959" y="75"/>
                  <a:pt x="1959" y="75"/>
                </a:cubicBezTo>
                <a:cubicBezTo>
                  <a:pt x="1959" y="77"/>
                  <a:pt x="1959" y="77"/>
                  <a:pt x="1959" y="77"/>
                </a:cubicBezTo>
                <a:cubicBezTo>
                  <a:pt x="1960" y="78"/>
                  <a:pt x="1960" y="78"/>
                  <a:pt x="1960" y="78"/>
                </a:cubicBezTo>
                <a:cubicBezTo>
                  <a:pt x="1962" y="78"/>
                  <a:pt x="1962" y="78"/>
                  <a:pt x="1962" y="78"/>
                </a:cubicBezTo>
                <a:cubicBezTo>
                  <a:pt x="1964" y="77"/>
                  <a:pt x="1964" y="77"/>
                  <a:pt x="1964" y="77"/>
                </a:cubicBezTo>
                <a:cubicBezTo>
                  <a:pt x="1966" y="77"/>
                  <a:pt x="1966" y="77"/>
                  <a:pt x="1966" y="77"/>
                </a:cubicBezTo>
                <a:cubicBezTo>
                  <a:pt x="1967" y="78"/>
                  <a:pt x="1967" y="78"/>
                  <a:pt x="1967" y="78"/>
                </a:cubicBezTo>
                <a:cubicBezTo>
                  <a:pt x="1968" y="78"/>
                  <a:pt x="1968" y="78"/>
                  <a:pt x="1968" y="78"/>
                </a:cubicBezTo>
                <a:cubicBezTo>
                  <a:pt x="1969" y="76"/>
                  <a:pt x="1969" y="76"/>
                  <a:pt x="1969" y="76"/>
                </a:cubicBezTo>
                <a:cubicBezTo>
                  <a:pt x="1969" y="75"/>
                  <a:pt x="1969" y="75"/>
                  <a:pt x="1969" y="75"/>
                </a:cubicBezTo>
                <a:cubicBezTo>
                  <a:pt x="1968" y="74"/>
                  <a:pt x="1968" y="74"/>
                  <a:pt x="1968" y="74"/>
                </a:cubicBezTo>
                <a:cubicBezTo>
                  <a:pt x="1968" y="73"/>
                  <a:pt x="1968" y="73"/>
                  <a:pt x="1968" y="73"/>
                </a:cubicBezTo>
                <a:cubicBezTo>
                  <a:pt x="1967" y="73"/>
                  <a:pt x="1967" y="73"/>
                  <a:pt x="1967" y="73"/>
                </a:cubicBezTo>
                <a:cubicBezTo>
                  <a:pt x="1966" y="72"/>
                  <a:pt x="1966" y="72"/>
                  <a:pt x="1966" y="72"/>
                </a:cubicBezTo>
                <a:cubicBezTo>
                  <a:pt x="1966" y="71"/>
                  <a:pt x="1966" y="71"/>
                  <a:pt x="1966" y="71"/>
                </a:cubicBezTo>
                <a:cubicBezTo>
                  <a:pt x="1967" y="71"/>
                  <a:pt x="1967" y="71"/>
                  <a:pt x="1967" y="71"/>
                </a:cubicBezTo>
                <a:cubicBezTo>
                  <a:pt x="1968" y="72"/>
                  <a:pt x="1968" y="72"/>
                  <a:pt x="1968" y="72"/>
                </a:cubicBezTo>
                <a:cubicBezTo>
                  <a:pt x="1969" y="72"/>
                  <a:pt x="1969" y="72"/>
                  <a:pt x="1969" y="72"/>
                </a:cubicBezTo>
                <a:cubicBezTo>
                  <a:pt x="1969" y="73"/>
                  <a:pt x="1969" y="73"/>
                  <a:pt x="1969" y="73"/>
                </a:cubicBezTo>
                <a:cubicBezTo>
                  <a:pt x="1969" y="74"/>
                  <a:pt x="1969" y="74"/>
                  <a:pt x="1969" y="74"/>
                </a:cubicBezTo>
                <a:cubicBezTo>
                  <a:pt x="1970" y="74"/>
                  <a:pt x="1970" y="74"/>
                  <a:pt x="1970" y="74"/>
                </a:cubicBezTo>
                <a:cubicBezTo>
                  <a:pt x="1971" y="72"/>
                  <a:pt x="1971" y="72"/>
                  <a:pt x="1971" y="72"/>
                </a:cubicBezTo>
                <a:cubicBezTo>
                  <a:pt x="1973" y="70"/>
                  <a:pt x="1973" y="70"/>
                  <a:pt x="1973" y="70"/>
                </a:cubicBezTo>
                <a:cubicBezTo>
                  <a:pt x="1975" y="68"/>
                  <a:pt x="1975" y="68"/>
                  <a:pt x="1975" y="68"/>
                </a:cubicBezTo>
                <a:cubicBezTo>
                  <a:pt x="1976" y="67"/>
                  <a:pt x="1976" y="67"/>
                  <a:pt x="1976" y="67"/>
                </a:cubicBezTo>
                <a:cubicBezTo>
                  <a:pt x="1977" y="66"/>
                  <a:pt x="1977" y="66"/>
                  <a:pt x="1977" y="66"/>
                </a:cubicBezTo>
                <a:cubicBezTo>
                  <a:pt x="1978" y="67"/>
                  <a:pt x="1978" y="67"/>
                  <a:pt x="1978" y="67"/>
                </a:cubicBezTo>
                <a:cubicBezTo>
                  <a:pt x="1977" y="68"/>
                  <a:pt x="1977" y="68"/>
                  <a:pt x="1977" y="68"/>
                </a:cubicBezTo>
                <a:cubicBezTo>
                  <a:pt x="1979" y="68"/>
                  <a:pt x="1979" y="68"/>
                  <a:pt x="1979" y="68"/>
                </a:cubicBezTo>
                <a:cubicBezTo>
                  <a:pt x="1980" y="68"/>
                  <a:pt x="1980" y="68"/>
                  <a:pt x="1980" y="68"/>
                </a:cubicBezTo>
                <a:cubicBezTo>
                  <a:pt x="1981" y="68"/>
                  <a:pt x="1981" y="68"/>
                  <a:pt x="1981" y="68"/>
                </a:cubicBezTo>
                <a:cubicBezTo>
                  <a:pt x="1981" y="67"/>
                  <a:pt x="1981" y="67"/>
                  <a:pt x="1981" y="67"/>
                </a:cubicBezTo>
                <a:cubicBezTo>
                  <a:pt x="1982" y="66"/>
                  <a:pt x="1982" y="66"/>
                  <a:pt x="1982" y="66"/>
                </a:cubicBezTo>
                <a:cubicBezTo>
                  <a:pt x="1983" y="65"/>
                  <a:pt x="1983" y="65"/>
                  <a:pt x="1983" y="65"/>
                </a:cubicBezTo>
                <a:cubicBezTo>
                  <a:pt x="1983" y="64"/>
                  <a:pt x="1983" y="64"/>
                  <a:pt x="1983" y="64"/>
                </a:cubicBezTo>
                <a:cubicBezTo>
                  <a:pt x="1981" y="64"/>
                  <a:pt x="1981" y="64"/>
                  <a:pt x="1981" y="64"/>
                </a:cubicBezTo>
                <a:cubicBezTo>
                  <a:pt x="1979" y="65"/>
                  <a:pt x="1979" y="65"/>
                  <a:pt x="1979" y="65"/>
                </a:cubicBezTo>
                <a:cubicBezTo>
                  <a:pt x="1978" y="64"/>
                  <a:pt x="1978" y="64"/>
                  <a:pt x="1978" y="64"/>
                </a:cubicBezTo>
                <a:cubicBezTo>
                  <a:pt x="1976" y="64"/>
                  <a:pt x="1976" y="64"/>
                  <a:pt x="1976" y="64"/>
                </a:cubicBezTo>
                <a:cubicBezTo>
                  <a:pt x="1975" y="63"/>
                  <a:pt x="1975" y="63"/>
                  <a:pt x="1975" y="63"/>
                </a:cubicBezTo>
                <a:cubicBezTo>
                  <a:pt x="1973" y="63"/>
                  <a:pt x="1973" y="63"/>
                  <a:pt x="1973" y="63"/>
                </a:cubicBezTo>
                <a:cubicBezTo>
                  <a:pt x="1973" y="62"/>
                  <a:pt x="1973" y="62"/>
                  <a:pt x="1973" y="62"/>
                </a:cubicBezTo>
                <a:cubicBezTo>
                  <a:pt x="1971" y="60"/>
                  <a:pt x="1971" y="60"/>
                  <a:pt x="1971" y="60"/>
                </a:cubicBezTo>
                <a:cubicBezTo>
                  <a:pt x="1970" y="59"/>
                  <a:pt x="1970" y="59"/>
                  <a:pt x="1970" y="59"/>
                </a:cubicBezTo>
                <a:cubicBezTo>
                  <a:pt x="1970" y="57"/>
                  <a:pt x="1970" y="57"/>
                  <a:pt x="1970" y="57"/>
                </a:cubicBezTo>
                <a:cubicBezTo>
                  <a:pt x="1969" y="56"/>
                  <a:pt x="1969" y="56"/>
                  <a:pt x="1969" y="56"/>
                </a:cubicBezTo>
                <a:cubicBezTo>
                  <a:pt x="1968" y="55"/>
                  <a:pt x="1968" y="55"/>
                  <a:pt x="1968" y="55"/>
                </a:cubicBezTo>
                <a:cubicBezTo>
                  <a:pt x="1968" y="54"/>
                  <a:pt x="1968" y="54"/>
                  <a:pt x="1968" y="54"/>
                </a:cubicBezTo>
                <a:cubicBezTo>
                  <a:pt x="1967" y="53"/>
                  <a:pt x="1967" y="53"/>
                  <a:pt x="1967" y="53"/>
                </a:cubicBezTo>
                <a:cubicBezTo>
                  <a:pt x="1968" y="52"/>
                  <a:pt x="1968" y="52"/>
                  <a:pt x="1968" y="52"/>
                </a:cubicBezTo>
                <a:cubicBezTo>
                  <a:pt x="1967" y="51"/>
                  <a:pt x="1967" y="51"/>
                  <a:pt x="1967" y="51"/>
                </a:cubicBezTo>
                <a:cubicBezTo>
                  <a:pt x="1968" y="51"/>
                  <a:pt x="1968" y="51"/>
                  <a:pt x="1968" y="51"/>
                </a:cubicBezTo>
                <a:cubicBezTo>
                  <a:pt x="1968" y="50"/>
                  <a:pt x="1968" y="50"/>
                  <a:pt x="1968" y="50"/>
                </a:cubicBezTo>
                <a:cubicBezTo>
                  <a:pt x="1967" y="49"/>
                  <a:pt x="1967" y="49"/>
                  <a:pt x="1967" y="49"/>
                </a:cubicBezTo>
                <a:cubicBezTo>
                  <a:pt x="1966" y="49"/>
                  <a:pt x="1966" y="49"/>
                  <a:pt x="1966" y="49"/>
                </a:cubicBezTo>
                <a:cubicBezTo>
                  <a:pt x="1964" y="49"/>
                  <a:pt x="1964" y="49"/>
                  <a:pt x="1964" y="49"/>
                </a:cubicBezTo>
                <a:cubicBezTo>
                  <a:pt x="1962" y="48"/>
                  <a:pt x="1962" y="48"/>
                  <a:pt x="1962" y="48"/>
                </a:cubicBezTo>
                <a:cubicBezTo>
                  <a:pt x="1961" y="47"/>
                  <a:pt x="1961" y="47"/>
                  <a:pt x="1961" y="47"/>
                </a:cubicBezTo>
                <a:cubicBezTo>
                  <a:pt x="1960" y="47"/>
                  <a:pt x="1960" y="47"/>
                  <a:pt x="1960" y="47"/>
                </a:cubicBezTo>
                <a:cubicBezTo>
                  <a:pt x="1959" y="47"/>
                  <a:pt x="1959" y="47"/>
                  <a:pt x="1959" y="47"/>
                </a:cubicBezTo>
                <a:cubicBezTo>
                  <a:pt x="1958" y="47"/>
                  <a:pt x="1958" y="47"/>
                  <a:pt x="1958" y="47"/>
                </a:cubicBezTo>
                <a:cubicBezTo>
                  <a:pt x="1960" y="49"/>
                  <a:pt x="1960" y="49"/>
                  <a:pt x="1960" y="49"/>
                </a:cubicBezTo>
                <a:cubicBezTo>
                  <a:pt x="1961" y="49"/>
                  <a:pt x="1961" y="49"/>
                  <a:pt x="1961" y="49"/>
                </a:cubicBezTo>
                <a:cubicBezTo>
                  <a:pt x="1962" y="50"/>
                  <a:pt x="1962" y="50"/>
                  <a:pt x="1962" y="50"/>
                </a:cubicBezTo>
                <a:cubicBezTo>
                  <a:pt x="1960" y="50"/>
                  <a:pt x="1960" y="50"/>
                  <a:pt x="1960" y="50"/>
                </a:cubicBezTo>
                <a:cubicBezTo>
                  <a:pt x="1959" y="50"/>
                  <a:pt x="1959" y="50"/>
                  <a:pt x="1959" y="50"/>
                </a:cubicBezTo>
                <a:cubicBezTo>
                  <a:pt x="1958" y="50"/>
                  <a:pt x="1958" y="50"/>
                  <a:pt x="1958" y="50"/>
                </a:cubicBezTo>
                <a:cubicBezTo>
                  <a:pt x="1958" y="52"/>
                  <a:pt x="1958" y="52"/>
                  <a:pt x="1958" y="52"/>
                </a:cubicBezTo>
                <a:cubicBezTo>
                  <a:pt x="1959" y="53"/>
                  <a:pt x="1959" y="53"/>
                  <a:pt x="1959" y="53"/>
                </a:cubicBezTo>
                <a:cubicBezTo>
                  <a:pt x="1960" y="55"/>
                  <a:pt x="1960" y="55"/>
                  <a:pt x="1960" y="55"/>
                </a:cubicBezTo>
                <a:cubicBezTo>
                  <a:pt x="1961" y="57"/>
                  <a:pt x="1961" y="57"/>
                  <a:pt x="1961" y="57"/>
                </a:cubicBezTo>
                <a:cubicBezTo>
                  <a:pt x="1962" y="58"/>
                  <a:pt x="1962" y="58"/>
                  <a:pt x="1962" y="58"/>
                </a:cubicBezTo>
                <a:cubicBezTo>
                  <a:pt x="1961" y="58"/>
                  <a:pt x="1961" y="58"/>
                  <a:pt x="1961" y="58"/>
                </a:cubicBezTo>
                <a:cubicBezTo>
                  <a:pt x="1960" y="58"/>
                  <a:pt x="1960" y="58"/>
                  <a:pt x="1960" y="58"/>
                </a:cubicBezTo>
                <a:cubicBezTo>
                  <a:pt x="1958" y="57"/>
                  <a:pt x="1958" y="57"/>
                  <a:pt x="1958" y="57"/>
                </a:cubicBezTo>
                <a:cubicBezTo>
                  <a:pt x="1958" y="55"/>
                  <a:pt x="1958" y="55"/>
                  <a:pt x="1958" y="55"/>
                </a:cubicBezTo>
                <a:cubicBezTo>
                  <a:pt x="1957" y="55"/>
                  <a:pt x="1957" y="55"/>
                  <a:pt x="1957" y="55"/>
                </a:cubicBezTo>
                <a:cubicBezTo>
                  <a:pt x="1956" y="55"/>
                  <a:pt x="1956" y="55"/>
                  <a:pt x="1956" y="55"/>
                </a:cubicBezTo>
                <a:cubicBezTo>
                  <a:pt x="1955" y="55"/>
                  <a:pt x="1955" y="55"/>
                  <a:pt x="1955" y="55"/>
                </a:cubicBezTo>
                <a:cubicBezTo>
                  <a:pt x="1954" y="55"/>
                  <a:pt x="1954" y="55"/>
                  <a:pt x="1954" y="55"/>
                </a:cubicBezTo>
                <a:cubicBezTo>
                  <a:pt x="1953" y="55"/>
                  <a:pt x="1953" y="55"/>
                  <a:pt x="1953" y="55"/>
                </a:cubicBezTo>
                <a:cubicBezTo>
                  <a:pt x="1953" y="53"/>
                  <a:pt x="1953" y="53"/>
                  <a:pt x="1953" y="53"/>
                </a:cubicBezTo>
                <a:cubicBezTo>
                  <a:pt x="1953" y="52"/>
                  <a:pt x="1953" y="52"/>
                  <a:pt x="1953" y="52"/>
                </a:cubicBezTo>
                <a:cubicBezTo>
                  <a:pt x="1952" y="52"/>
                  <a:pt x="1952" y="52"/>
                  <a:pt x="1952" y="52"/>
                </a:cubicBezTo>
                <a:cubicBezTo>
                  <a:pt x="1950" y="51"/>
                  <a:pt x="1950" y="51"/>
                  <a:pt x="1950" y="51"/>
                </a:cubicBezTo>
                <a:cubicBezTo>
                  <a:pt x="1948" y="51"/>
                  <a:pt x="1948" y="51"/>
                  <a:pt x="1948" y="51"/>
                </a:cubicBezTo>
                <a:cubicBezTo>
                  <a:pt x="1948" y="50"/>
                  <a:pt x="1948" y="50"/>
                  <a:pt x="1948" y="50"/>
                </a:cubicBezTo>
                <a:cubicBezTo>
                  <a:pt x="1947" y="49"/>
                  <a:pt x="1947" y="49"/>
                  <a:pt x="1947" y="49"/>
                </a:cubicBezTo>
                <a:cubicBezTo>
                  <a:pt x="1946" y="50"/>
                  <a:pt x="1946" y="50"/>
                  <a:pt x="1946" y="50"/>
                </a:cubicBezTo>
                <a:cubicBezTo>
                  <a:pt x="1945" y="51"/>
                  <a:pt x="1945" y="51"/>
                  <a:pt x="1945" y="51"/>
                </a:cubicBezTo>
                <a:cubicBezTo>
                  <a:pt x="1945" y="52"/>
                  <a:pt x="1945" y="52"/>
                  <a:pt x="1945" y="52"/>
                </a:cubicBezTo>
                <a:cubicBezTo>
                  <a:pt x="1944" y="53"/>
                  <a:pt x="1944" y="53"/>
                  <a:pt x="1944" y="53"/>
                </a:cubicBezTo>
                <a:cubicBezTo>
                  <a:pt x="1945" y="54"/>
                  <a:pt x="1945" y="54"/>
                  <a:pt x="1945" y="54"/>
                </a:cubicBezTo>
                <a:cubicBezTo>
                  <a:pt x="1944" y="56"/>
                  <a:pt x="1944" y="56"/>
                  <a:pt x="1944" y="56"/>
                </a:cubicBezTo>
                <a:cubicBezTo>
                  <a:pt x="1943" y="57"/>
                  <a:pt x="1943" y="57"/>
                  <a:pt x="1943" y="57"/>
                </a:cubicBezTo>
                <a:cubicBezTo>
                  <a:pt x="1943" y="58"/>
                  <a:pt x="1943" y="58"/>
                  <a:pt x="1943" y="58"/>
                </a:cubicBezTo>
                <a:cubicBezTo>
                  <a:pt x="1944" y="60"/>
                  <a:pt x="1944" y="60"/>
                  <a:pt x="1944" y="60"/>
                </a:cubicBezTo>
                <a:cubicBezTo>
                  <a:pt x="1945" y="60"/>
                  <a:pt x="1945" y="60"/>
                  <a:pt x="1945" y="60"/>
                </a:cubicBezTo>
                <a:close/>
                <a:moveTo>
                  <a:pt x="1995" y="55"/>
                </a:moveTo>
                <a:cubicBezTo>
                  <a:pt x="1999" y="56"/>
                  <a:pt x="1999" y="56"/>
                  <a:pt x="1999" y="56"/>
                </a:cubicBezTo>
                <a:cubicBezTo>
                  <a:pt x="2003" y="57"/>
                  <a:pt x="2003" y="57"/>
                  <a:pt x="2003" y="57"/>
                </a:cubicBezTo>
                <a:cubicBezTo>
                  <a:pt x="2005" y="58"/>
                  <a:pt x="2005" y="58"/>
                  <a:pt x="2005" y="58"/>
                </a:cubicBezTo>
                <a:cubicBezTo>
                  <a:pt x="2007" y="58"/>
                  <a:pt x="2007" y="58"/>
                  <a:pt x="2007" y="58"/>
                </a:cubicBezTo>
                <a:cubicBezTo>
                  <a:pt x="2009" y="57"/>
                  <a:pt x="2009" y="57"/>
                  <a:pt x="2009" y="57"/>
                </a:cubicBezTo>
                <a:cubicBezTo>
                  <a:pt x="2010" y="58"/>
                  <a:pt x="2010" y="58"/>
                  <a:pt x="2010" y="58"/>
                </a:cubicBezTo>
                <a:cubicBezTo>
                  <a:pt x="2012" y="57"/>
                  <a:pt x="2012" y="57"/>
                  <a:pt x="2012" y="57"/>
                </a:cubicBezTo>
                <a:cubicBezTo>
                  <a:pt x="2014" y="56"/>
                  <a:pt x="2014" y="56"/>
                  <a:pt x="2014" y="56"/>
                </a:cubicBezTo>
                <a:cubicBezTo>
                  <a:pt x="2015" y="54"/>
                  <a:pt x="2015" y="54"/>
                  <a:pt x="2015" y="54"/>
                </a:cubicBezTo>
                <a:cubicBezTo>
                  <a:pt x="2015" y="53"/>
                  <a:pt x="2015" y="53"/>
                  <a:pt x="2015" y="53"/>
                </a:cubicBezTo>
                <a:cubicBezTo>
                  <a:pt x="2015" y="51"/>
                  <a:pt x="2015" y="51"/>
                  <a:pt x="2015" y="51"/>
                </a:cubicBezTo>
                <a:cubicBezTo>
                  <a:pt x="2014" y="51"/>
                  <a:pt x="2014" y="51"/>
                  <a:pt x="2014" y="51"/>
                </a:cubicBezTo>
                <a:cubicBezTo>
                  <a:pt x="2013" y="51"/>
                  <a:pt x="2013" y="51"/>
                  <a:pt x="2013" y="51"/>
                </a:cubicBezTo>
                <a:cubicBezTo>
                  <a:pt x="2013" y="50"/>
                  <a:pt x="2013" y="50"/>
                  <a:pt x="2013" y="50"/>
                </a:cubicBezTo>
                <a:cubicBezTo>
                  <a:pt x="2013" y="49"/>
                  <a:pt x="2013" y="49"/>
                  <a:pt x="2013" y="49"/>
                </a:cubicBezTo>
                <a:cubicBezTo>
                  <a:pt x="2012" y="48"/>
                  <a:pt x="2012" y="48"/>
                  <a:pt x="2012" y="48"/>
                </a:cubicBezTo>
                <a:cubicBezTo>
                  <a:pt x="2011" y="49"/>
                  <a:pt x="2011" y="49"/>
                  <a:pt x="2011" y="49"/>
                </a:cubicBezTo>
                <a:cubicBezTo>
                  <a:pt x="2009" y="48"/>
                  <a:pt x="2009" y="48"/>
                  <a:pt x="2009" y="48"/>
                </a:cubicBezTo>
                <a:cubicBezTo>
                  <a:pt x="2006" y="49"/>
                  <a:pt x="2006" y="49"/>
                  <a:pt x="2006" y="49"/>
                </a:cubicBezTo>
                <a:cubicBezTo>
                  <a:pt x="2004" y="50"/>
                  <a:pt x="2004" y="50"/>
                  <a:pt x="2004" y="50"/>
                </a:cubicBezTo>
                <a:cubicBezTo>
                  <a:pt x="2003" y="51"/>
                  <a:pt x="2003" y="51"/>
                  <a:pt x="2003" y="51"/>
                </a:cubicBezTo>
                <a:cubicBezTo>
                  <a:pt x="2003" y="50"/>
                  <a:pt x="2003" y="50"/>
                  <a:pt x="2003" y="50"/>
                </a:cubicBezTo>
                <a:cubicBezTo>
                  <a:pt x="2002" y="49"/>
                  <a:pt x="2002" y="49"/>
                  <a:pt x="2002" y="49"/>
                </a:cubicBezTo>
                <a:cubicBezTo>
                  <a:pt x="2001" y="49"/>
                  <a:pt x="2001" y="49"/>
                  <a:pt x="2001" y="49"/>
                </a:cubicBezTo>
                <a:cubicBezTo>
                  <a:pt x="2000" y="49"/>
                  <a:pt x="2000" y="49"/>
                  <a:pt x="2000" y="49"/>
                </a:cubicBezTo>
                <a:cubicBezTo>
                  <a:pt x="1998" y="49"/>
                  <a:pt x="1998" y="49"/>
                  <a:pt x="1998" y="49"/>
                </a:cubicBezTo>
                <a:cubicBezTo>
                  <a:pt x="1997" y="49"/>
                  <a:pt x="1997" y="49"/>
                  <a:pt x="1997" y="49"/>
                </a:cubicBezTo>
                <a:cubicBezTo>
                  <a:pt x="1997" y="50"/>
                  <a:pt x="1997" y="50"/>
                  <a:pt x="1997" y="50"/>
                </a:cubicBezTo>
                <a:cubicBezTo>
                  <a:pt x="1996" y="51"/>
                  <a:pt x="1996" y="51"/>
                  <a:pt x="1996" y="51"/>
                </a:cubicBezTo>
                <a:cubicBezTo>
                  <a:pt x="1994" y="50"/>
                  <a:pt x="1994" y="50"/>
                  <a:pt x="1994" y="50"/>
                </a:cubicBezTo>
                <a:cubicBezTo>
                  <a:pt x="1993" y="50"/>
                  <a:pt x="1993" y="50"/>
                  <a:pt x="1993" y="50"/>
                </a:cubicBezTo>
                <a:cubicBezTo>
                  <a:pt x="1993" y="49"/>
                  <a:pt x="1993" y="49"/>
                  <a:pt x="1993" y="49"/>
                </a:cubicBezTo>
                <a:cubicBezTo>
                  <a:pt x="1992" y="48"/>
                  <a:pt x="1992" y="48"/>
                  <a:pt x="1992" y="48"/>
                </a:cubicBezTo>
                <a:cubicBezTo>
                  <a:pt x="1992" y="51"/>
                  <a:pt x="1992" y="51"/>
                  <a:pt x="1992" y="51"/>
                </a:cubicBezTo>
                <a:cubicBezTo>
                  <a:pt x="1994" y="54"/>
                  <a:pt x="1994" y="54"/>
                  <a:pt x="1994" y="54"/>
                </a:cubicBezTo>
                <a:cubicBezTo>
                  <a:pt x="1995" y="55"/>
                  <a:pt x="1995" y="55"/>
                  <a:pt x="1995" y="55"/>
                </a:cubicBezTo>
                <a:close/>
                <a:moveTo>
                  <a:pt x="2116" y="101"/>
                </a:moveTo>
                <a:cubicBezTo>
                  <a:pt x="2115" y="100"/>
                  <a:pt x="2115" y="100"/>
                  <a:pt x="2115" y="100"/>
                </a:cubicBezTo>
                <a:cubicBezTo>
                  <a:pt x="2114" y="100"/>
                  <a:pt x="2114" y="100"/>
                  <a:pt x="2114" y="100"/>
                </a:cubicBezTo>
                <a:cubicBezTo>
                  <a:pt x="2114" y="101"/>
                  <a:pt x="2114" y="101"/>
                  <a:pt x="2114" y="101"/>
                </a:cubicBezTo>
                <a:cubicBezTo>
                  <a:pt x="2115" y="102"/>
                  <a:pt x="2115" y="102"/>
                  <a:pt x="2115" y="102"/>
                </a:cubicBezTo>
                <a:cubicBezTo>
                  <a:pt x="2116" y="101"/>
                  <a:pt x="2116" y="101"/>
                  <a:pt x="2116" y="101"/>
                </a:cubicBezTo>
                <a:close/>
                <a:moveTo>
                  <a:pt x="2125" y="100"/>
                </a:moveTo>
                <a:cubicBezTo>
                  <a:pt x="2124" y="100"/>
                  <a:pt x="2124" y="100"/>
                  <a:pt x="2124" y="100"/>
                </a:cubicBezTo>
                <a:cubicBezTo>
                  <a:pt x="2124" y="101"/>
                  <a:pt x="2124" y="101"/>
                  <a:pt x="2124" y="101"/>
                </a:cubicBezTo>
                <a:cubicBezTo>
                  <a:pt x="2125" y="101"/>
                  <a:pt x="2125" y="101"/>
                  <a:pt x="2125" y="101"/>
                </a:cubicBezTo>
                <a:cubicBezTo>
                  <a:pt x="2125" y="100"/>
                  <a:pt x="2125" y="100"/>
                  <a:pt x="2125" y="100"/>
                </a:cubicBezTo>
                <a:close/>
                <a:moveTo>
                  <a:pt x="1989" y="96"/>
                </a:moveTo>
                <a:cubicBezTo>
                  <a:pt x="1991" y="95"/>
                  <a:pt x="1991" y="95"/>
                  <a:pt x="1991" y="95"/>
                </a:cubicBezTo>
                <a:cubicBezTo>
                  <a:pt x="1993" y="95"/>
                  <a:pt x="1993" y="95"/>
                  <a:pt x="1993" y="95"/>
                </a:cubicBezTo>
                <a:cubicBezTo>
                  <a:pt x="1996" y="95"/>
                  <a:pt x="1996" y="95"/>
                  <a:pt x="1996" y="95"/>
                </a:cubicBezTo>
                <a:cubicBezTo>
                  <a:pt x="1997" y="95"/>
                  <a:pt x="1997" y="95"/>
                  <a:pt x="1997" y="95"/>
                </a:cubicBezTo>
                <a:cubicBezTo>
                  <a:pt x="2000" y="95"/>
                  <a:pt x="2000" y="95"/>
                  <a:pt x="2000" y="95"/>
                </a:cubicBezTo>
                <a:cubicBezTo>
                  <a:pt x="2001" y="94"/>
                  <a:pt x="2001" y="94"/>
                  <a:pt x="2001" y="94"/>
                </a:cubicBezTo>
                <a:cubicBezTo>
                  <a:pt x="2003" y="94"/>
                  <a:pt x="2003" y="94"/>
                  <a:pt x="2003" y="94"/>
                </a:cubicBezTo>
                <a:cubicBezTo>
                  <a:pt x="2005" y="94"/>
                  <a:pt x="2005" y="94"/>
                  <a:pt x="2005" y="94"/>
                </a:cubicBezTo>
                <a:cubicBezTo>
                  <a:pt x="2006" y="93"/>
                  <a:pt x="2006" y="93"/>
                  <a:pt x="2006" y="93"/>
                </a:cubicBezTo>
                <a:cubicBezTo>
                  <a:pt x="2005" y="92"/>
                  <a:pt x="2005" y="92"/>
                  <a:pt x="2005" y="92"/>
                </a:cubicBezTo>
                <a:cubicBezTo>
                  <a:pt x="2004" y="91"/>
                  <a:pt x="2004" y="91"/>
                  <a:pt x="2004" y="91"/>
                </a:cubicBezTo>
                <a:cubicBezTo>
                  <a:pt x="2003" y="89"/>
                  <a:pt x="2003" y="89"/>
                  <a:pt x="2003" y="89"/>
                </a:cubicBezTo>
                <a:cubicBezTo>
                  <a:pt x="2000" y="87"/>
                  <a:pt x="2000" y="87"/>
                  <a:pt x="2000" y="87"/>
                </a:cubicBezTo>
                <a:cubicBezTo>
                  <a:pt x="1998" y="87"/>
                  <a:pt x="1998" y="87"/>
                  <a:pt x="1998" y="87"/>
                </a:cubicBezTo>
                <a:cubicBezTo>
                  <a:pt x="1997" y="87"/>
                  <a:pt x="1997" y="87"/>
                  <a:pt x="1997" y="87"/>
                </a:cubicBezTo>
                <a:cubicBezTo>
                  <a:pt x="1995" y="85"/>
                  <a:pt x="1995" y="85"/>
                  <a:pt x="1995" y="85"/>
                </a:cubicBezTo>
                <a:cubicBezTo>
                  <a:pt x="1994" y="85"/>
                  <a:pt x="1994" y="85"/>
                  <a:pt x="1994" y="85"/>
                </a:cubicBezTo>
                <a:cubicBezTo>
                  <a:pt x="1993" y="86"/>
                  <a:pt x="1993" y="86"/>
                  <a:pt x="1993" y="86"/>
                </a:cubicBezTo>
                <a:cubicBezTo>
                  <a:pt x="1992" y="85"/>
                  <a:pt x="1992" y="85"/>
                  <a:pt x="1992" y="85"/>
                </a:cubicBezTo>
                <a:cubicBezTo>
                  <a:pt x="1991" y="85"/>
                  <a:pt x="1991" y="85"/>
                  <a:pt x="1991" y="85"/>
                </a:cubicBezTo>
                <a:cubicBezTo>
                  <a:pt x="1990" y="87"/>
                  <a:pt x="1990" y="87"/>
                  <a:pt x="1990" y="87"/>
                </a:cubicBezTo>
                <a:cubicBezTo>
                  <a:pt x="1988" y="89"/>
                  <a:pt x="1988" y="89"/>
                  <a:pt x="1988" y="89"/>
                </a:cubicBezTo>
                <a:cubicBezTo>
                  <a:pt x="1989" y="90"/>
                  <a:pt x="1989" y="90"/>
                  <a:pt x="1989" y="90"/>
                </a:cubicBezTo>
                <a:cubicBezTo>
                  <a:pt x="1989" y="93"/>
                  <a:pt x="1989" y="93"/>
                  <a:pt x="1989" y="93"/>
                </a:cubicBezTo>
                <a:cubicBezTo>
                  <a:pt x="1988" y="96"/>
                  <a:pt x="1988" y="96"/>
                  <a:pt x="1988" y="96"/>
                </a:cubicBezTo>
                <a:cubicBezTo>
                  <a:pt x="1987" y="97"/>
                  <a:pt x="1987" y="97"/>
                  <a:pt x="1987" y="97"/>
                </a:cubicBezTo>
                <a:cubicBezTo>
                  <a:pt x="1987" y="98"/>
                  <a:pt x="1987" y="98"/>
                  <a:pt x="1987" y="98"/>
                </a:cubicBezTo>
                <a:cubicBezTo>
                  <a:pt x="1988" y="97"/>
                  <a:pt x="1988" y="97"/>
                  <a:pt x="1988" y="97"/>
                </a:cubicBezTo>
                <a:cubicBezTo>
                  <a:pt x="1989" y="96"/>
                  <a:pt x="1989" y="96"/>
                  <a:pt x="1989" y="96"/>
                </a:cubicBezTo>
                <a:close/>
                <a:moveTo>
                  <a:pt x="2120" y="99"/>
                </a:moveTo>
                <a:cubicBezTo>
                  <a:pt x="2119" y="99"/>
                  <a:pt x="2119" y="99"/>
                  <a:pt x="2119" y="99"/>
                </a:cubicBezTo>
                <a:cubicBezTo>
                  <a:pt x="2119" y="100"/>
                  <a:pt x="2119" y="100"/>
                  <a:pt x="2119" y="100"/>
                </a:cubicBezTo>
                <a:cubicBezTo>
                  <a:pt x="2120" y="100"/>
                  <a:pt x="2120" y="100"/>
                  <a:pt x="2120" y="100"/>
                </a:cubicBezTo>
                <a:cubicBezTo>
                  <a:pt x="2120" y="99"/>
                  <a:pt x="2120" y="99"/>
                  <a:pt x="2120" y="99"/>
                </a:cubicBezTo>
                <a:close/>
                <a:moveTo>
                  <a:pt x="1983" y="62"/>
                </a:moveTo>
                <a:cubicBezTo>
                  <a:pt x="1983" y="62"/>
                  <a:pt x="1983" y="62"/>
                  <a:pt x="1984" y="63"/>
                </a:cubicBezTo>
                <a:cubicBezTo>
                  <a:pt x="1984" y="63"/>
                  <a:pt x="1984" y="63"/>
                  <a:pt x="1985" y="62"/>
                </a:cubicBezTo>
                <a:cubicBezTo>
                  <a:pt x="1985" y="62"/>
                  <a:pt x="1985" y="62"/>
                  <a:pt x="1986" y="60"/>
                </a:cubicBezTo>
                <a:cubicBezTo>
                  <a:pt x="1986" y="60"/>
                  <a:pt x="1986" y="60"/>
                  <a:pt x="1986" y="59"/>
                </a:cubicBezTo>
                <a:cubicBezTo>
                  <a:pt x="1986" y="59"/>
                  <a:pt x="1986" y="59"/>
                  <a:pt x="1986" y="58"/>
                </a:cubicBezTo>
                <a:cubicBezTo>
                  <a:pt x="1986" y="58"/>
                  <a:pt x="1986" y="58"/>
                  <a:pt x="1986" y="56"/>
                </a:cubicBezTo>
                <a:cubicBezTo>
                  <a:pt x="1986" y="56"/>
                  <a:pt x="1986" y="56"/>
                  <a:pt x="1984" y="56"/>
                </a:cubicBezTo>
                <a:cubicBezTo>
                  <a:pt x="1984" y="56"/>
                  <a:pt x="1984" y="56"/>
                  <a:pt x="1983" y="54"/>
                </a:cubicBezTo>
                <a:cubicBezTo>
                  <a:pt x="1983" y="54"/>
                  <a:pt x="1983" y="54"/>
                  <a:pt x="1983" y="53"/>
                </a:cubicBezTo>
                <a:cubicBezTo>
                  <a:pt x="1983" y="53"/>
                  <a:pt x="1983" y="53"/>
                  <a:pt x="1984" y="52"/>
                </a:cubicBezTo>
                <a:cubicBezTo>
                  <a:pt x="1984" y="52"/>
                  <a:pt x="1984" y="52"/>
                  <a:pt x="1985" y="52"/>
                </a:cubicBezTo>
                <a:cubicBezTo>
                  <a:pt x="1985" y="52"/>
                  <a:pt x="1985" y="52"/>
                  <a:pt x="1985" y="51"/>
                </a:cubicBezTo>
                <a:cubicBezTo>
                  <a:pt x="1985" y="51"/>
                  <a:pt x="1985" y="51"/>
                  <a:pt x="1982" y="50"/>
                </a:cubicBezTo>
                <a:cubicBezTo>
                  <a:pt x="1982" y="50"/>
                  <a:pt x="1982" y="50"/>
                  <a:pt x="1979" y="50"/>
                </a:cubicBezTo>
                <a:cubicBezTo>
                  <a:pt x="1979" y="50"/>
                  <a:pt x="1979" y="50"/>
                  <a:pt x="1978" y="50"/>
                </a:cubicBezTo>
                <a:cubicBezTo>
                  <a:pt x="1978" y="50"/>
                  <a:pt x="1978" y="50"/>
                  <a:pt x="1977" y="50"/>
                </a:cubicBezTo>
                <a:cubicBezTo>
                  <a:pt x="1977" y="50"/>
                  <a:pt x="1977" y="50"/>
                  <a:pt x="1974" y="48"/>
                </a:cubicBezTo>
                <a:cubicBezTo>
                  <a:pt x="1974" y="48"/>
                  <a:pt x="1974" y="48"/>
                  <a:pt x="1972" y="48"/>
                </a:cubicBezTo>
                <a:cubicBezTo>
                  <a:pt x="1972" y="48"/>
                  <a:pt x="1972" y="48"/>
                  <a:pt x="1970" y="48"/>
                </a:cubicBezTo>
                <a:cubicBezTo>
                  <a:pt x="1970" y="48"/>
                  <a:pt x="1970" y="48"/>
                  <a:pt x="1968" y="48"/>
                </a:cubicBezTo>
                <a:cubicBezTo>
                  <a:pt x="1968" y="48"/>
                  <a:pt x="1968" y="48"/>
                  <a:pt x="1969" y="50"/>
                </a:cubicBezTo>
                <a:cubicBezTo>
                  <a:pt x="1969" y="50"/>
                  <a:pt x="1969" y="50"/>
                  <a:pt x="1970" y="51"/>
                </a:cubicBezTo>
                <a:cubicBezTo>
                  <a:pt x="1970" y="51"/>
                  <a:pt x="1970" y="51"/>
                  <a:pt x="1971" y="51"/>
                </a:cubicBezTo>
                <a:cubicBezTo>
                  <a:pt x="1971" y="51"/>
                  <a:pt x="1971" y="51"/>
                  <a:pt x="1971" y="52"/>
                </a:cubicBezTo>
                <a:cubicBezTo>
                  <a:pt x="1971" y="52"/>
                  <a:pt x="1971" y="52"/>
                  <a:pt x="1972" y="53"/>
                </a:cubicBezTo>
                <a:cubicBezTo>
                  <a:pt x="1972" y="53"/>
                  <a:pt x="1972" y="53"/>
                  <a:pt x="1973" y="54"/>
                </a:cubicBezTo>
                <a:cubicBezTo>
                  <a:pt x="1973" y="54"/>
                  <a:pt x="1973" y="54"/>
                  <a:pt x="1972" y="55"/>
                </a:cubicBezTo>
                <a:cubicBezTo>
                  <a:pt x="1972" y="55"/>
                  <a:pt x="1972" y="55"/>
                  <a:pt x="1972" y="56"/>
                </a:cubicBezTo>
                <a:cubicBezTo>
                  <a:pt x="1972" y="56"/>
                  <a:pt x="1972" y="56"/>
                  <a:pt x="1972" y="57"/>
                </a:cubicBezTo>
                <a:cubicBezTo>
                  <a:pt x="1972" y="57"/>
                  <a:pt x="1972" y="57"/>
                  <a:pt x="1972" y="59"/>
                </a:cubicBezTo>
                <a:cubicBezTo>
                  <a:pt x="1972" y="59"/>
                  <a:pt x="1972" y="59"/>
                  <a:pt x="1975" y="61"/>
                </a:cubicBezTo>
                <a:cubicBezTo>
                  <a:pt x="1975" y="61"/>
                  <a:pt x="1975" y="61"/>
                  <a:pt x="1976" y="62"/>
                </a:cubicBezTo>
                <a:cubicBezTo>
                  <a:pt x="1976" y="62"/>
                  <a:pt x="1976" y="62"/>
                  <a:pt x="1979" y="64"/>
                </a:cubicBezTo>
                <a:cubicBezTo>
                  <a:pt x="1979" y="64"/>
                  <a:pt x="1979" y="64"/>
                  <a:pt x="1981" y="64"/>
                </a:cubicBezTo>
                <a:cubicBezTo>
                  <a:pt x="1981" y="64"/>
                  <a:pt x="1981" y="64"/>
                  <a:pt x="1982" y="63"/>
                </a:cubicBezTo>
                <a:cubicBezTo>
                  <a:pt x="1982" y="63"/>
                  <a:pt x="1982" y="63"/>
                  <a:pt x="1983" y="62"/>
                </a:cubicBezTo>
                <a:close/>
                <a:moveTo>
                  <a:pt x="2137" y="125"/>
                </a:moveTo>
                <a:cubicBezTo>
                  <a:pt x="2138" y="124"/>
                  <a:pt x="2138" y="124"/>
                  <a:pt x="2138" y="124"/>
                </a:cubicBezTo>
                <a:cubicBezTo>
                  <a:pt x="2137" y="123"/>
                  <a:pt x="2137" y="123"/>
                  <a:pt x="2137" y="123"/>
                </a:cubicBezTo>
                <a:cubicBezTo>
                  <a:pt x="2136" y="122"/>
                  <a:pt x="2136" y="122"/>
                  <a:pt x="2136" y="122"/>
                </a:cubicBezTo>
                <a:cubicBezTo>
                  <a:pt x="2137" y="124"/>
                  <a:pt x="2137" y="124"/>
                  <a:pt x="2137" y="124"/>
                </a:cubicBezTo>
                <a:cubicBezTo>
                  <a:pt x="2137" y="125"/>
                  <a:pt x="2137" y="125"/>
                  <a:pt x="2137" y="125"/>
                </a:cubicBezTo>
                <a:close/>
                <a:moveTo>
                  <a:pt x="1980" y="25"/>
                </a:moveTo>
                <a:cubicBezTo>
                  <a:pt x="1980" y="25"/>
                  <a:pt x="1980" y="25"/>
                  <a:pt x="1981" y="25"/>
                </a:cubicBezTo>
                <a:cubicBezTo>
                  <a:pt x="1981" y="25"/>
                  <a:pt x="1981" y="25"/>
                  <a:pt x="1981" y="24"/>
                </a:cubicBezTo>
                <a:cubicBezTo>
                  <a:pt x="1981" y="24"/>
                  <a:pt x="1981" y="24"/>
                  <a:pt x="1981" y="23"/>
                </a:cubicBezTo>
                <a:cubicBezTo>
                  <a:pt x="1981" y="23"/>
                  <a:pt x="1981" y="23"/>
                  <a:pt x="1979" y="25"/>
                </a:cubicBezTo>
                <a:cubicBezTo>
                  <a:pt x="1979" y="25"/>
                  <a:pt x="1979" y="25"/>
                  <a:pt x="1978" y="27"/>
                </a:cubicBezTo>
                <a:cubicBezTo>
                  <a:pt x="1978" y="27"/>
                  <a:pt x="1978" y="27"/>
                  <a:pt x="1980" y="26"/>
                </a:cubicBezTo>
                <a:cubicBezTo>
                  <a:pt x="1980" y="26"/>
                  <a:pt x="1980" y="26"/>
                  <a:pt x="1980" y="25"/>
                </a:cubicBezTo>
                <a:close/>
                <a:moveTo>
                  <a:pt x="1981" y="86"/>
                </a:moveTo>
                <a:cubicBezTo>
                  <a:pt x="1983" y="88"/>
                  <a:pt x="1983" y="88"/>
                  <a:pt x="1983" y="88"/>
                </a:cubicBezTo>
                <a:cubicBezTo>
                  <a:pt x="1984" y="89"/>
                  <a:pt x="1984" y="89"/>
                  <a:pt x="1984" y="89"/>
                </a:cubicBezTo>
                <a:cubicBezTo>
                  <a:pt x="1984" y="88"/>
                  <a:pt x="1984" y="88"/>
                  <a:pt x="1984" y="88"/>
                </a:cubicBezTo>
                <a:cubicBezTo>
                  <a:pt x="1985" y="86"/>
                  <a:pt x="1985" y="86"/>
                  <a:pt x="1985" y="86"/>
                </a:cubicBezTo>
                <a:cubicBezTo>
                  <a:pt x="1985" y="85"/>
                  <a:pt x="1985" y="85"/>
                  <a:pt x="1985" y="85"/>
                </a:cubicBezTo>
                <a:cubicBezTo>
                  <a:pt x="1985" y="84"/>
                  <a:pt x="1985" y="84"/>
                  <a:pt x="1985" y="84"/>
                </a:cubicBezTo>
                <a:cubicBezTo>
                  <a:pt x="1983" y="82"/>
                  <a:pt x="1983" y="82"/>
                  <a:pt x="1983" y="82"/>
                </a:cubicBezTo>
                <a:cubicBezTo>
                  <a:pt x="1983" y="81"/>
                  <a:pt x="1983" y="81"/>
                  <a:pt x="1983" y="81"/>
                </a:cubicBezTo>
                <a:cubicBezTo>
                  <a:pt x="1982" y="81"/>
                  <a:pt x="1982" y="81"/>
                  <a:pt x="1982" y="81"/>
                </a:cubicBezTo>
                <a:cubicBezTo>
                  <a:pt x="1980" y="81"/>
                  <a:pt x="1980" y="81"/>
                  <a:pt x="1980" y="81"/>
                </a:cubicBezTo>
                <a:cubicBezTo>
                  <a:pt x="1979" y="82"/>
                  <a:pt x="1979" y="82"/>
                  <a:pt x="1979" y="82"/>
                </a:cubicBezTo>
                <a:cubicBezTo>
                  <a:pt x="1979" y="83"/>
                  <a:pt x="1979" y="83"/>
                  <a:pt x="1979" y="83"/>
                </a:cubicBezTo>
                <a:cubicBezTo>
                  <a:pt x="1980" y="85"/>
                  <a:pt x="1980" y="85"/>
                  <a:pt x="1980" y="85"/>
                </a:cubicBezTo>
                <a:cubicBezTo>
                  <a:pt x="1980" y="86"/>
                  <a:pt x="1980" y="86"/>
                  <a:pt x="1980" y="86"/>
                </a:cubicBezTo>
                <a:cubicBezTo>
                  <a:pt x="1981" y="86"/>
                  <a:pt x="1981" y="86"/>
                  <a:pt x="1981" y="86"/>
                </a:cubicBezTo>
                <a:close/>
                <a:moveTo>
                  <a:pt x="1962" y="93"/>
                </a:moveTo>
                <a:cubicBezTo>
                  <a:pt x="1960" y="93"/>
                  <a:pt x="1960" y="93"/>
                  <a:pt x="1960" y="93"/>
                </a:cubicBezTo>
                <a:cubicBezTo>
                  <a:pt x="1959" y="92"/>
                  <a:pt x="1959" y="92"/>
                  <a:pt x="1959" y="92"/>
                </a:cubicBezTo>
                <a:cubicBezTo>
                  <a:pt x="1958" y="91"/>
                  <a:pt x="1958" y="91"/>
                  <a:pt x="1958" y="91"/>
                </a:cubicBezTo>
                <a:cubicBezTo>
                  <a:pt x="1957" y="92"/>
                  <a:pt x="1957" y="92"/>
                  <a:pt x="1957" y="92"/>
                </a:cubicBezTo>
                <a:cubicBezTo>
                  <a:pt x="1958" y="93"/>
                  <a:pt x="1958" y="93"/>
                  <a:pt x="1958" y="93"/>
                </a:cubicBezTo>
                <a:cubicBezTo>
                  <a:pt x="1959" y="94"/>
                  <a:pt x="1959" y="94"/>
                  <a:pt x="1959" y="94"/>
                </a:cubicBezTo>
                <a:cubicBezTo>
                  <a:pt x="1960" y="94"/>
                  <a:pt x="1960" y="94"/>
                  <a:pt x="1960" y="94"/>
                </a:cubicBezTo>
                <a:cubicBezTo>
                  <a:pt x="1961" y="95"/>
                  <a:pt x="1961" y="95"/>
                  <a:pt x="1961" y="95"/>
                </a:cubicBezTo>
                <a:cubicBezTo>
                  <a:pt x="1963" y="95"/>
                  <a:pt x="1963" y="95"/>
                  <a:pt x="1963" y="95"/>
                </a:cubicBezTo>
                <a:cubicBezTo>
                  <a:pt x="1964" y="96"/>
                  <a:pt x="1964" y="96"/>
                  <a:pt x="1964" y="96"/>
                </a:cubicBezTo>
                <a:cubicBezTo>
                  <a:pt x="1965" y="96"/>
                  <a:pt x="1965" y="96"/>
                  <a:pt x="1965" y="96"/>
                </a:cubicBezTo>
                <a:cubicBezTo>
                  <a:pt x="1965" y="95"/>
                  <a:pt x="1965" y="95"/>
                  <a:pt x="1965" y="95"/>
                </a:cubicBezTo>
                <a:cubicBezTo>
                  <a:pt x="1963" y="93"/>
                  <a:pt x="1963" y="93"/>
                  <a:pt x="1963" y="93"/>
                </a:cubicBezTo>
                <a:cubicBezTo>
                  <a:pt x="1962" y="93"/>
                  <a:pt x="1962" y="93"/>
                  <a:pt x="1962" y="93"/>
                </a:cubicBezTo>
                <a:close/>
                <a:moveTo>
                  <a:pt x="2173" y="285"/>
                </a:moveTo>
                <a:cubicBezTo>
                  <a:pt x="2173" y="284"/>
                  <a:pt x="2173" y="284"/>
                  <a:pt x="2173" y="284"/>
                </a:cubicBezTo>
                <a:cubicBezTo>
                  <a:pt x="2172" y="284"/>
                  <a:pt x="2172" y="284"/>
                  <a:pt x="2172" y="284"/>
                </a:cubicBezTo>
                <a:cubicBezTo>
                  <a:pt x="2171" y="285"/>
                  <a:pt x="2171" y="285"/>
                  <a:pt x="2171" y="285"/>
                </a:cubicBezTo>
                <a:cubicBezTo>
                  <a:pt x="2171" y="286"/>
                  <a:pt x="2171" y="286"/>
                  <a:pt x="2171" y="286"/>
                </a:cubicBezTo>
                <a:cubicBezTo>
                  <a:pt x="2172" y="286"/>
                  <a:pt x="2172" y="286"/>
                  <a:pt x="2172" y="286"/>
                </a:cubicBezTo>
                <a:cubicBezTo>
                  <a:pt x="2173" y="285"/>
                  <a:pt x="2173" y="285"/>
                  <a:pt x="2173" y="285"/>
                </a:cubicBezTo>
                <a:close/>
                <a:moveTo>
                  <a:pt x="1718" y="162"/>
                </a:moveTo>
                <a:cubicBezTo>
                  <a:pt x="1718" y="163"/>
                  <a:pt x="1718" y="163"/>
                  <a:pt x="1718" y="163"/>
                </a:cubicBezTo>
                <a:cubicBezTo>
                  <a:pt x="1718" y="164"/>
                  <a:pt x="1718" y="164"/>
                  <a:pt x="1718" y="164"/>
                </a:cubicBezTo>
                <a:cubicBezTo>
                  <a:pt x="1719" y="164"/>
                  <a:pt x="1719" y="164"/>
                  <a:pt x="1719" y="164"/>
                </a:cubicBezTo>
                <a:cubicBezTo>
                  <a:pt x="1720" y="163"/>
                  <a:pt x="1720" y="163"/>
                  <a:pt x="1720" y="163"/>
                </a:cubicBezTo>
                <a:cubicBezTo>
                  <a:pt x="1719" y="162"/>
                  <a:pt x="1719" y="162"/>
                  <a:pt x="1719" y="162"/>
                </a:cubicBezTo>
                <a:cubicBezTo>
                  <a:pt x="1718" y="162"/>
                  <a:pt x="1718" y="162"/>
                  <a:pt x="1718" y="162"/>
                </a:cubicBezTo>
                <a:close/>
                <a:moveTo>
                  <a:pt x="1710" y="59"/>
                </a:moveTo>
                <a:cubicBezTo>
                  <a:pt x="1711" y="57"/>
                  <a:pt x="1711" y="57"/>
                  <a:pt x="1711" y="57"/>
                </a:cubicBezTo>
                <a:cubicBezTo>
                  <a:pt x="1712" y="57"/>
                  <a:pt x="1712" y="57"/>
                  <a:pt x="1712" y="57"/>
                </a:cubicBezTo>
                <a:cubicBezTo>
                  <a:pt x="1713" y="55"/>
                  <a:pt x="1713" y="55"/>
                  <a:pt x="1713" y="55"/>
                </a:cubicBezTo>
                <a:cubicBezTo>
                  <a:pt x="1713" y="53"/>
                  <a:pt x="1713" y="53"/>
                  <a:pt x="1713" y="53"/>
                </a:cubicBezTo>
                <a:cubicBezTo>
                  <a:pt x="1713" y="52"/>
                  <a:pt x="1713" y="52"/>
                  <a:pt x="1713" y="52"/>
                </a:cubicBezTo>
                <a:cubicBezTo>
                  <a:pt x="1710" y="51"/>
                  <a:pt x="1710" y="51"/>
                  <a:pt x="1710" y="51"/>
                </a:cubicBezTo>
                <a:cubicBezTo>
                  <a:pt x="1708" y="51"/>
                  <a:pt x="1708" y="51"/>
                  <a:pt x="1708" y="51"/>
                </a:cubicBezTo>
                <a:cubicBezTo>
                  <a:pt x="1706" y="51"/>
                  <a:pt x="1706" y="51"/>
                  <a:pt x="1706" y="51"/>
                </a:cubicBezTo>
                <a:cubicBezTo>
                  <a:pt x="1705" y="52"/>
                  <a:pt x="1705" y="52"/>
                  <a:pt x="1705" y="52"/>
                </a:cubicBezTo>
                <a:cubicBezTo>
                  <a:pt x="1704" y="51"/>
                  <a:pt x="1704" y="51"/>
                  <a:pt x="1704" y="51"/>
                </a:cubicBezTo>
                <a:cubicBezTo>
                  <a:pt x="1703" y="51"/>
                  <a:pt x="1703" y="51"/>
                  <a:pt x="1703" y="51"/>
                </a:cubicBezTo>
                <a:cubicBezTo>
                  <a:pt x="1702" y="52"/>
                  <a:pt x="1702" y="52"/>
                  <a:pt x="1702" y="52"/>
                </a:cubicBezTo>
                <a:cubicBezTo>
                  <a:pt x="1701" y="52"/>
                  <a:pt x="1701" y="52"/>
                  <a:pt x="1701" y="52"/>
                </a:cubicBezTo>
                <a:cubicBezTo>
                  <a:pt x="1700" y="52"/>
                  <a:pt x="1700" y="52"/>
                  <a:pt x="1700" y="52"/>
                </a:cubicBezTo>
                <a:cubicBezTo>
                  <a:pt x="1701" y="53"/>
                  <a:pt x="1701" y="53"/>
                  <a:pt x="1701" y="53"/>
                </a:cubicBezTo>
                <a:cubicBezTo>
                  <a:pt x="1702" y="54"/>
                  <a:pt x="1702" y="54"/>
                  <a:pt x="1702" y="54"/>
                </a:cubicBezTo>
                <a:cubicBezTo>
                  <a:pt x="1703" y="55"/>
                  <a:pt x="1703" y="55"/>
                  <a:pt x="1703" y="55"/>
                </a:cubicBezTo>
                <a:cubicBezTo>
                  <a:pt x="1704" y="55"/>
                  <a:pt x="1704" y="55"/>
                  <a:pt x="1704" y="55"/>
                </a:cubicBezTo>
                <a:cubicBezTo>
                  <a:pt x="1705" y="57"/>
                  <a:pt x="1705" y="57"/>
                  <a:pt x="1705" y="57"/>
                </a:cubicBezTo>
                <a:cubicBezTo>
                  <a:pt x="1707" y="57"/>
                  <a:pt x="1707" y="57"/>
                  <a:pt x="1707" y="57"/>
                </a:cubicBezTo>
                <a:cubicBezTo>
                  <a:pt x="1709" y="57"/>
                  <a:pt x="1709" y="57"/>
                  <a:pt x="1709" y="57"/>
                </a:cubicBezTo>
                <a:cubicBezTo>
                  <a:pt x="1710" y="57"/>
                  <a:pt x="1710" y="57"/>
                  <a:pt x="1710" y="57"/>
                </a:cubicBezTo>
                <a:cubicBezTo>
                  <a:pt x="1709" y="58"/>
                  <a:pt x="1709" y="58"/>
                  <a:pt x="1709" y="58"/>
                </a:cubicBezTo>
                <a:cubicBezTo>
                  <a:pt x="1708" y="58"/>
                  <a:pt x="1708" y="58"/>
                  <a:pt x="1708" y="58"/>
                </a:cubicBezTo>
                <a:cubicBezTo>
                  <a:pt x="1706" y="58"/>
                  <a:pt x="1706" y="58"/>
                  <a:pt x="1706" y="58"/>
                </a:cubicBezTo>
                <a:cubicBezTo>
                  <a:pt x="1706" y="59"/>
                  <a:pt x="1706" y="59"/>
                  <a:pt x="1706" y="59"/>
                </a:cubicBezTo>
                <a:cubicBezTo>
                  <a:pt x="1707" y="59"/>
                  <a:pt x="1707" y="59"/>
                  <a:pt x="1707" y="59"/>
                </a:cubicBezTo>
                <a:cubicBezTo>
                  <a:pt x="1709" y="60"/>
                  <a:pt x="1709" y="60"/>
                  <a:pt x="1709" y="60"/>
                </a:cubicBezTo>
                <a:cubicBezTo>
                  <a:pt x="1710" y="59"/>
                  <a:pt x="1710" y="59"/>
                  <a:pt x="1710" y="59"/>
                </a:cubicBezTo>
                <a:close/>
                <a:moveTo>
                  <a:pt x="1704" y="136"/>
                </a:moveTo>
                <a:cubicBezTo>
                  <a:pt x="1705" y="135"/>
                  <a:pt x="1705" y="135"/>
                  <a:pt x="1705" y="135"/>
                </a:cubicBezTo>
                <a:cubicBezTo>
                  <a:pt x="1703" y="135"/>
                  <a:pt x="1703" y="135"/>
                  <a:pt x="1703" y="135"/>
                </a:cubicBezTo>
                <a:cubicBezTo>
                  <a:pt x="1703" y="134"/>
                  <a:pt x="1703" y="134"/>
                  <a:pt x="1703" y="134"/>
                </a:cubicBezTo>
                <a:cubicBezTo>
                  <a:pt x="1702" y="134"/>
                  <a:pt x="1702" y="134"/>
                  <a:pt x="1702" y="134"/>
                </a:cubicBezTo>
                <a:cubicBezTo>
                  <a:pt x="1701" y="134"/>
                  <a:pt x="1701" y="134"/>
                  <a:pt x="1701" y="134"/>
                </a:cubicBezTo>
                <a:cubicBezTo>
                  <a:pt x="1701" y="135"/>
                  <a:pt x="1701" y="135"/>
                  <a:pt x="1701" y="135"/>
                </a:cubicBezTo>
                <a:cubicBezTo>
                  <a:pt x="1703" y="136"/>
                  <a:pt x="1703" y="136"/>
                  <a:pt x="1703" y="136"/>
                </a:cubicBezTo>
                <a:cubicBezTo>
                  <a:pt x="1704" y="136"/>
                  <a:pt x="1704" y="136"/>
                  <a:pt x="1704" y="136"/>
                </a:cubicBezTo>
                <a:close/>
                <a:moveTo>
                  <a:pt x="1689" y="180"/>
                </a:moveTo>
                <a:cubicBezTo>
                  <a:pt x="1690" y="179"/>
                  <a:pt x="1690" y="179"/>
                  <a:pt x="1690" y="179"/>
                </a:cubicBezTo>
                <a:cubicBezTo>
                  <a:pt x="1691" y="180"/>
                  <a:pt x="1691" y="180"/>
                  <a:pt x="1691" y="180"/>
                </a:cubicBezTo>
                <a:cubicBezTo>
                  <a:pt x="1692" y="179"/>
                  <a:pt x="1692" y="179"/>
                  <a:pt x="1692" y="179"/>
                </a:cubicBezTo>
                <a:cubicBezTo>
                  <a:pt x="1692" y="178"/>
                  <a:pt x="1692" y="178"/>
                  <a:pt x="1692" y="178"/>
                </a:cubicBezTo>
                <a:cubicBezTo>
                  <a:pt x="1692" y="177"/>
                  <a:pt x="1692" y="177"/>
                  <a:pt x="1692" y="177"/>
                </a:cubicBezTo>
                <a:cubicBezTo>
                  <a:pt x="1690" y="178"/>
                  <a:pt x="1690" y="178"/>
                  <a:pt x="1690" y="178"/>
                </a:cubicBezTo>
                <a:cubicBezTo>
                  <a:pt x="1689" y="179"/>
                  <a:pt x="1689" y="179"/>
                  <a:pt x="1689" y="179"/>
                </a:cubicBezTo>
                <a:cubicBezTo>
                  <a:pt x="1689" y="180"/>
                  <a:pt x="1689" y="180"/>
                  <a:pt x="1689" y="180"/>
                </a:cubicBezTo>
                <a:close/>
                <a:moveTo>
                  <a:pt x="1752" y="109"/>
                </a:moveTo>
                <a:cubicBezTo>
                  <a:pt x="1753" y="109"/>
                  <a:pt x="1753" y="109"/>
                  <a:pt x="1753" y="109"/>
                </a:cubicBezTo>
                <a:cubicBezTo>
                  <a:pt x="1754" y="109"/>
                  <a:pt x="1754" y="109"/>
                  <a:pt x="1754" y="109"/>
                </a:cubicBezTo>
                <a:cubicBezTo>
                  <a:pt x="1755" y="109"/>
                  <a:pt x="1755" y="109"/>
                  <a:pt x="1755" y="109"/>
                </a:cubicBezTo>
                <a:cubicBezTo>
                  <a:pt x="1755" y="108"/>
                  <a:pt x="1755" y="108"/>
                  <a:pt x="1755" y="108"/>
                </a:cubicBezTo>
                <a:cubicBezTo>
                  <a:pt x="1754" y="108"/>
                  <a:pt x="1754" y="108"/>
                  <a:pt x="1754" y="108"/>
                </a:cubicBezTo>
                <a:cubicBezTo>
                  <a:pt x="1752" y="109"/>
                  <a:pt x="1752" y="109"/>
                  <a:pt x="1752" y="109"/>
                </a:cubicBezTo>
                <a:close/>
                <a:moveTo>
                  <a:pt x="1709" y="133"/>
                </a:moveTo>
                <a:cubicBezTo>
                  <a:pt x="1707" y="133"/>
                  <a:pt x="1707" y="133"/>
                  <a:pt x="1707" y="133"/>
                </a:cubicBezTo>
                <a:cubicBezTo>
                  <a:pt x="1706" y="132"/>
                  <a:pt x="1706" y="132"/>
                  <a:pt x="1706" y="132"/>
                </a:cubicBezTo>
                <a:cubicBezTo>
                  <a:pt x="1705" y="133"/>
                  <a:pt x="1705" y="133"/>
                  <a:pt x="1705" y="133"/>
                </a:cubicBezTo>
                <a:cubicBezTo>
                  <a:pt x="1705" y="134"/>
                  <a:pt x="1705" y="134"/>
                  <a:pt x="1705" y="134"/>
                </a:cubicBezTo>
                <a:cubicBezTo>
                  <a:pt x="1707" y="134"/>
                  <a:pt x="1707" y="134"/>
                  <a:pt x="1707" y="134"/>
                </a:cubicBezTo>
                <a:cubicBezTo>
                  <a:pt x="1708" y="134"/>
                  <a:pt x="1708" y="134"/>
                  <a:pt x="1708" y="134"/>
                </a:cubicBezTo>
                <a:cubicBezTo>
                  <a:pt x="1709" y="134"/>
                  <a:pt x="1709" y="134"/>
                  <a:pt x="1709" y="134"/>
                </a:cubicBezTo>
                <a:cubicBezTo>
                  <a:pt x="1709" y="133"/>
                  <a:pt x="1709" y="133"/>
                  <a:pt x="1709" y="133"/>
                </a:cubicBezTo>
                <a:close/>
                <a:moveTo>
                  <a:pt x="1698" y="183"/>
                </a:moveTo>
                <a:cubicBezTo>
                  <a:pt x="1699" y="183"/>
                  <a:pt x="1699" y="183"/>
                  <a:pt x="1699" y="183"/>
                </a:cubicBezTo>
                <a:cubicBezTo>
                  <a:pt x="1698" y="182"/>
                  <a:pt x="1698" y="182"/>
                  <a:pt x="1698" y="182"/>
                </a:cubicBezTo>
                <a:cubicBezTo>
                  <a:pt x="1697" y="182"/>
                  <a:pt x="1697" y="182"/>
                  <a:pt x="1697" y="182"/>
                </a:cubicBezTo>
                <a:cubicBezTo>
                  <a:pt x="1695" y="182"/>
                  <a:pt x="1695" y="182"/>
                  <a:pt x="1695" y="182"/>
                </a:cubicBezTo>
                <a:cubicBezTo>
                  <a:pt x="1696" y="183"/>
                  <a:pt x="1696" y="183"/>
                  <a:pt x="1696" y="183"/>
                </a:cubicBezTo>
                <a:cubicBezTo>
                  <a:pt x="1698" y="183"/>
                  <a:pt x="1698" y="183"/>
                  <a:pt x="1698" y="183"/>
                </a:cubicBezTo>
                <a:close/>
                <a:moveTo>
                  <a:pt x="1699" y="45"/>
                </a:moveTo>
                <a:cubicBezTo>
                  <a:pt x="1699" y="46"/>
                  <a:pt x="1699" y="46"/>
                  <a:pt x="1699" y="46"/>
                </a:cubicBezTo>
                <a:cubicBezTo>
                  <a:pt x="1698" y="47"/>
                  <a:pt x="1698" y="47"/>
                  <a:pt x="1698" y="47"/>
                </a:cubicBezTo>
                <a:cubicBezTo>
                  <a:pt x="1699" y="48"/>
                  <a:pt x="1699" y="48"/>
                  <a:pt x="1699" y="48"/>
                </a:cubicBezTo>
                <a:cubicBezTo>
                  <a:pt x="1700" y="47"/>
                  <a:pt x="1700" y="47"/>
                  <a:pt x="1700" y="47"/>
                </a:cubicBezTo>
                <a:cubicBezTo>
                  <a:pt x="1702" y="46"/>
                  <a:pt x="1702" y="46"/>
                  <a:pt x="1702" y="46"/>
                </a:cubicBezTo>
                <a:cubicBezTo>
                  <a:pt x="1703" y="48"/>
                  <a:pt x="1703" y="48"/>
                  <a:pt x="1703" y="48"/>
                </a:cubicBezTo>
                <a:cubicBezTo>
                  <a:pt x="1705" y="49"/>
                  <a:pt x="1705" y="49"/>
                  <a:pt x="1705" y="49"/>
                </a:cubicBezTo>
                <a:cubicBezTo>
                  <a:pt x="1706" y="49"/>
                  <a:pt x="1706" y="49"/>
                  <a:pt x="1706" y="49"/>
                </a:cubicBezTo>
                <a:cubicBezTo>
                  <a:pt x="1706" y="48"/>
                  <a:pt x="1706" y="48"/>
                  <a:pt x="1706" y="48"/>
                </a:cubicBezTo>
                <a:cubicBezTo>
                  <a:pt x="1707" y="48"/>
                  <a:pt x="1707" y="48"/>
                  <a:pt x="1707" y="48"/>
                </a:cubicBezTo>
                <a:cubicBezTo>
                  <a:pt x="1709" y="49"/>
                  <a:pt x="1709" y="49"/>
                  <a:pt x="1709" y="49"/>
                </a:cubicBezTo>
                <a:cubicBezTo>
                  <a:pt x="1710" y="50"/>
                  <a:pt x="1710" y="50"/>
                  <a:pt x="1710" y="50"/>
                </a:cubicBezTo>
                <a:cubicBezTo>
                  <a:pt x="1712" y="50"/>
                  <a:pt x="1712" y="50"/>
                  <a:pt x="1712" y="50"/>
                </a:cubicBezTo>
                <a:cubicBezTo>
                  <a:pt x="1714" y="48"/>
                  <a:pt x="1714" y="48"/>
                  <a:pt x="1714" y="48"/>
                </a:cubicBezTo>
                <a:cubicBezTo>
                  <a:pt x="1715" y="47"/>
                  <a:pt x="1715" y="47"/>
                  <a:pt x="1715" y="47"/>
                </a:cubicBezTo>
                <a:cubicBezTo>
                  <a:pt x="1715" y="46"/>
                  <a:pt x="1715" y="46"/>
                  <a:pt x="1715" y="46"/>
                </a:cubicBezTo>
                <a:cubicBezTo>
                  <a:pt x="1717" y="44"/>
                  <a:pt x="1717" y="44"/>
                  <a:pt x="1717" y="44"/>
                </a:cubicBezTo>
                <a:cubicBezTo>
                  <a:pt x="1719" y="43"/>
                  <a:pt x="1719" y="43"/>
                  <a:pt x="1719" y="43"/>
                </a:cubicBezTo>
                <a:cubicBezTo>
                  <a:pt x="1721" y="42"/>
                  <a:pt x="1721" y="42"/>
                  <a:pt x="1721" y="42"/>
                </a:cubicBezTo>
                <a:cubicBezTo>
                  <a:pt x="1721" y="41"/>
                  <a:pt x="1721" y="41"/>
                  <a:pt x="1721" y="41"/>
                </a:cubicBezTo>
                <a:cubicBezTo>
                  <a:pt x="1721" y="39"/>
                  <a:pt x="1721" y="39"/>
                  <a:pt x="1721" y="39"/>
                </a:cubicBezTo>
                <a:cubicBezTo>
                  <a:pt x="1719" y="38"/>
                  <a:pt x="1719" y="38"/>
                  <a:pt x="1719" y="38"/>
                </a:cubicBezTo>
                <a:cubicBezTo>
                  <a:pt x="1717" y="36"/>
                  <a:pt x="1717" y="36"/>
                  <a:pt x="1717" y="36"/>
                </a:cubicBezTo>
                <a:cubicBezTo>
                  <a:pt x="1716" y="34"/>
                  <a:pt x="1716" y="34"/>
                  <a:pt x="1716" y="34"/>
                </a:cubicBezTo>
                <a:cubicBezTo>
                  <a:pt x="1716" y="33"/>
                  <a:pt x="1716" y="33"/>
                  <a:pt x="1716" y="33"/>
                </a:cubicBezTo>
                <a:cubicBezTo>
                  <a:pt x="1717" y="32"/>
                  <a:pt x="1717" y="32"/>
                  <a:pt x="1717" y="32"/>
                </a:cubicBezTo>
                <a:cubicBezTo>
                  <a:pt x="1717" y="30"/>
                  <a:pt x="1717" y="30"/>
                  <a:pt x="1717" y="30"/>
                </a:cubicBezTo>
                <a:cubicBezTo>
                  <a:pt x="1716" y="30"/>
                  <a:pt x="1716" y="30"/>
                  <a:pt x="1716" y="30"/>
                </a:cubicBezTo>
                <a:cubicBezTo>
                  <a:pt x="1713" y="30"/>
                  <a:pt x="1713" y="30"/>
                  <a:pt x="1713" y="30"/>
                </a:cubicBezTo>
                <a:cubicBezTo>
                  <a:pt x="1711" y="29"/>
                  <a:pt x="1711" y="29"/>
                  <a:pt x="1711" y="29"/>
                </a:cubicBezTo>
                <a:cubicBezTo>
                  <a:pt x="1709" y="28"/>
                  <a:pt x="1709" y="28"/>
                  <a:pt x="1709" y="28"/>
                </a:cubicBezTo>
                <a:cubicBezTo>
                  <a:pt x="1707" y="25"/>
                  <a:pt x="1707" y="25"/>
                  <a:pt x="1707" y="25"/>
                </a:cubicBezTo>
                <a:cubicBezTo>
                  <a:pt x="1705" y="24"/>
                  <a:pt x="1705" y="24"/>
                  <a:pt x="1705" y="24"/>
                </a:cubicBezTo>
                <a:cubicBezTo>
                  <a:pt x="1703" y="23"/>
                  <a:pt x="1703" y="23"/>
                  <a:pt x="1703" y="23"/>
                </a:cubicBezTo>
                <a:cubicBezTo>
                  <a:pt x="1702" y="23"/>
                  <a:pt x="1702" y="23"/>
                  <a:pt x="1702" y="23"/>
                </a:cubicBezTo>
                <a:cubicBezTo>
                  <a:pt x="1701" y="23"/>
                  <a:pt x="1701" y="23"/>
                  <a:pt x="1701" y="23"/>
                </a:cubicBezTo>
                <a:cubicBezTo>
                  <a:pt x="1701" y="24"/>
                  <a:pt x="1701" y="24"/>
                  <a:pt x="1701" y="24"/>
                </a:cubicBezTo>
                <a:cubicBezTo>
                  <a:pt x="1701" y="25"/>
                  <a:pt x="1701" y="25"/>
                  <a:pt x="1701" y="25"/>
                </a:cubicBezTo>
                <a:cubicBezTo>
                  <a:pt x="1701" y="27"/>
                  <a:pt x="1701" y="27"/>
                  <a:pt x="1701" y="27"/>
                </a:cubicBezTo>
                <a:cubicBezTo>
                  <a:pt x="1700" y="28"/>
                  <a:pt x="1700" y="28"/>
                  <a:pt x="1700" y="28"/>
                </a:cubicBezTo>
                <a:cubicBezTo>
                  <a:pt x="1699" y="30"/>
                  <a:pt x="1699" y="30"/>
                  <a:pt x="1699" y="30"/>
                </a:cubicBezTo>
                <a:cubicBezTo>
                  <a:pt x="1698" y="32"/>
                  <a:pt x="1698" y="32"/>
                  <a:pt x="1698" y="32"/>
                </a:cubicBezTo>
                <a:cubicBezTo>
                  <a:pt x="1698" y="33"/>
                  <a:pt x="1698" y="33"/>
                  <a:pt x="1698" y="33"/>
                </a:cubicBezTo>
                <a:cubicBezTo>
                  <a:pt x="1698" y="38"/>
                  <a:pt x="1698" y="38"/>
                  <a:pt x="1698" y="38"/>
                </a:cubicBezTo>
                <a:cubicBezTo>
                  <a:pt x="1699" y="39"/>
                  <a:pt x="1699" y="39"/>
                  <a:pt x="1699" y="39"/>
                </a:cubicBezTo>
                <a:cubicBezTo>
                  <a:pt x="1700" y="40"/>
                  <a:pt x="1700" y="40"/>
                  <a:pt x="1700" y="40"/>
                </a:cubicBezTo>
                <a:cubicBezTo>
                  <a:pt x="1700" y="41"/>
                  <a:pt x="1700" y="41"/>
                  <a:pt x="1700" y="41"/>
                </a:cubicBezTo>
                <a:cubicBezTo>
                  <a:pt x="1699" y="45"/>
                  <a:pt x="1699" y="45"/>
                  <a:pt x="1699" y="45"/>
                </a:cubicBezTo>
                <a:close/>
                <a:moveTo>
                  <a:pt x="1714" y="187"/>
                </a:moveTo>
                <a:cubicBezTo>
                  <a:pt x="1715" y="186"/>
                  <a:pt x="1715" y="186"/>
                  <a:pt x="1715" y="186"/>
                </a:cubicBezTo>
                <a:cubicBezTo>
                  <a:pt x="1714" y="184"/>
                  <a:pt x="1714" y="184"/>
                  <a:pt x="1714" y="184"/>
                </a:cubicBezTo>
                <a:cubicBezTo>
                  <a:pt x="1713" y="182"/>
                  <a:pt x="1713" y="182"/>
                  <a:pt x="1713" y="182"/>
                </a:cubicBezTo>
                <a:cubicBezTo>
                  <a:pt x="1712" y="181"/>
                  <a:pt x="1712" y="181"/>
                  <a:pt x="1712" y="181"/>
                </a:cubicBezTo>
                <a:cubicBezTo>
                  <a:pt x="1711" y="179"/>
                  <a:pt x="1711" y="179"/>
                  <a:pt x="1711" y="179"/>
                </a:cubicBezTo>
                <a:cubicBezTo>
                  <a:pt x="1710" y="181"/>
                  <a:pt x="1710" y="181"/>
                  <a:pt x="1710" y="181"/>
                </a:cubicBezTo>
                <a:cubicBezTo>
                  <a:pt x="1710" y="183"/>
                  <a:pt x="1710" y="183"/>
                  <a:pt x="1710" y="183"/>
                </a:cubicBezTo>
                <a:cubicBezTo>
                  <a:pt x="1709" y="184"/>
                  <a:pt x="1709" y="184"/>
                  <a:pt x="1709" y="184"/>
                </a:cubicBezTo>
                <a:cubicBezTo>
                  <a:pt x="1709" y="185"/>
                  <a:pt x="1709" y="185"/>
                  <a:pt x="1709" y="185"/>
                </a:cubicBezTo>
                <a:cubicBezTo>
                  <a:pt x="1711" y="185"/>
                  <a:pt x="1711" y="185"/>
                  <a:pt x="1711" y="185"/>
                </a:cubicBezTo>
                <a:cubicBezTo>
                  <a:pt x="1711" y="186"/>
                  <a:pt x="1711" y="186"/>
                  <a:pt x="1711" y="186"/>
                </a:cubicBezTo>
                <a:cubicBezTo>
                  <a:pt x="1713" y="186"/>
                  <a:pt x="1713" y="186"/>
                  <a:pt x="1713" y="186"/>
                </a:cubicBezTo>
                <a:cubicBezTo>
                  <a:pt x="1714" y="187"/>
                  <a:pt x="1714" y="187"/>
                  <a:pt x="1714" y="187"/>
                </a:cubicBezTo>
                <a:close/>
                <a:moveTo>
                  <a:pt x="1707" y="196"/>
                </a:moveTo>
                <a:cubicBezTo>
                  <a:pt x="1708" y="194"/>
                  <a:pt x="1708" y="194"/>
                  <a:pt x="1708" y="194"/>
                </a:cubicBezTo>
                <a:cubicBezTo>
                  <a:pt x="1709" y="194"/>
                  <a:pt x="1709" y="194"/>
                  <a:pt x="1709" y="194"/>
                </a:cubicBezTo>
                <a:cubicBezTo>
                  <a:pt x="1709" y="193"/>
                  <a:pt x="1709" y="193"/>
                  <a:pt x="1709" y="193"/>
                </a:cubicBezTo>
                <a:cubicBezTo>
                  <a:pt x="1710" y="192"/>
                  <a:pt x="1710" y="192"/>
                  <a:pt x="1710" y="192"/>
                </a:cubicBezTo>
                <a:cubicBezTo>
                  <a:pt x="1712" y="191"/>
                  <a:pt x="1712" y="191"/>
                  <a:pt x="1712" y="191"/>
                </a:cubicBezTo>
                <a:cubicBezTo>
                  <a:pt x="1711" y="190"/>
                  <a:pt x="1711" y="190"/>
                  <a:pt x="1711" y="190"/>
                </a:cubicBezTo>
                <a:cubicBezTo>
                  <a:pt x="1711" y="189"/>
                  <a:pt x="1711" y="189"/>
                  <a:pt x="1711" y="189"/>
                </a:cubicBezTo>
                <a:cubicBezTo>
                  <a:pt x="1710" y="189"/>
                  <a:pt x="1710" y="189"/>
                  <a:pt x="1710" y="189"/>
                </a:cubicBezTo>
                <a:cubicBezTo>
                  <a:pt x="1708" y="190"/>
                  <a:pt x="1708" y="190"/>
                  <a:pt x="1708" y="190"/>
                </a:cubicBezTo>
                <a:cubicBezTo>
                  <a:pt x="1707" y="191"/>
                  <a:pt x="1707" y="191"/>
                  <a:pt x="1707" y="191"/>
                </a:cubicBezTo>
                <a:cubicBezTo>
                  <a:pt x="1707" y="192"/>
                  <a:pt x="1707" y="192"/>
                  <a:pt x="1707" y="192"/>
                </a:cubicBezTo>
                <a:cubicBezTo>
                  <a:pt x="1706" y="193"/>
                  <a:pt x="1706" y="193"/>
                  <a:pt x="1706" y="193"/>
                </a:cubicBezTo>
                <a:cubicBezTo>
                  <a:pt x="1705" y="194"/>
                  <a:pt x="1705" y="194"/>
                  <a:pt x="1705" y="194"/>
                </a:cubicBezTo>
                <a:cubicBezTo>
                  <a:pt x="1705" y="195"/>
                  <a:pt x="1705" y="195"/>
                  <a:pt x="1705" y="195"/>
                </a:cubicBezTo>
                <a:cubicBezTo>
                  <a:pt x="1706" y="196"/>
                  <a:pt x="1706" y="196"/>
                  <a:pt x="1706" y="196"/>
                </a:cubicBezTo>
                <a:cubicBezTo>
                  <a:pt x="1707" y="196"/>
                  <a:pt x="1707" y="196"/>
                  <a:pt x="1707" y="196"/>
                </a:cubicBezTo>
                <a:close/>
                <a:moveTo>
                  <a:pt x="1702" y="156"/>
                </a:moveTo>
                <a:cubicBezTo>
                  <a:pt x="1700" y="156"/>
                  <a:pt x="1700" y="156"/>
                  <a:pt x="1700" y="156"/>
                </a:cubicBezTo>
                <a:cubicBezTo>
                  <a:pt x="1700" y="157"/>
                  <a:pt x="1700" y="157"/>
                  <a:pt x="1700" y="157"/>
                </a:cubicBezTo>
                <a:cubicBezTo>
                  <a:pt x="1701" y="157"/>
                  <a:pt x="1701" y="157"/>
                  <a:pt x="1701" y="157"/>
                </a:cubicBezTo>
                <a:cubicBezTo>
                  <a:pt x="1701" y="158"/>
                  <a:pt x="1701" y="158"/>
                  <a:pt x="1701" y="158"/>
                </a:cubicBezTo>
                <a:cubicBezTo>
                  <a:pt x="1702" y="159"/>
                  <a:pt x="1702" y="159"/>
                  <a:pt x="1702" y="159"/>
                </a:cubicBezTo>
                <a:cubicBezTo>
                  <a:pt x="1703" y="158"/>
                  <a:pt x="1703" y="158"/>
                  <a:pt x="1703" y="158"/>
                </a:cubicBezTo>
                <a:cubicBezTo>
                  <a:pt x="1702" y="157"/>
                  <a:pt x="1702" y="157"/>
                  <a:pt x="1702" y="157"/>
                </a:cubicBezTo>
                <a:cubicBezTo>
                  <a:pt x="1703" y="157"/>
                  <a:pt x="1703" y="157"/>
                  <a:pt x="1703" y="157"/>
                </a:cubicBezTo>
                <a:cubicBezTo>
                  <a:pt x="1702" y="156"/>
                  <a:pt x="1702" y="156"/>
                  <a:pt x="1702" y="156"/>
                </a:cubicBezTo>
                <a:close/>
                <a:moveTo>
                  <a:pt x="1734" y="145"/>
                </a:moveTo>
                <a:cubicBezTo>
                  <a:pt x="1733" y="145"/>
                  <a:pt x="1733" y="145"/>
                  <a:pt x="1733" y="145"/>
                </a:cubicBezTo>
                <a:cubicBezTo>
                  <a:pt x="1732" y="145"/>
                  <a:pt x="1732" y="145"/>
                  <a:pt x="1732" y="145"/>
                </a:cubicBezTo>
                <a:cubicBezTo>
                  <a:pt x="1732" y="146"/>
                  <a:pt x="1732" y="146"/>
                  <a:pt x="1732" y="146"/>
                </a:cubicBezTo>
                <a:cubicBezTo>
                  <a:pt x="1731" y="145"/>
                  <a:pt x="1731" y="145"/>
                  <a:pt x="1731" y="145"/>
                </a:cubicBezTo>
                <a:cubicBezTo>
                  <a:pt x="1731" y="146"/>
                  <a:pt x="1731" y="146"/>
                  <a:pt x="1731" y="146"/>
                </a:cubicBezTo>
                <a:cubicBezTo>
                  <a:pt x="1731" y="147"/>
                  <a:pt x="1731" y="147"/>
                  <a:pt x="1731" y="147"/>
                </a:cubicBezTo>
                <a:cubicBezTo>
                  <a:pt x="1732" y="147"/>
                  <a:pt x="1732" y="147"/>
                  <a:pt x="1732" y="147"/>
                </a:cubicBezTo>
                <a:cubicBezTo>
                  <a:pt x="1733" y="147"/>
                  <a:pt x="1733" y="147"/>
                  <a:pt x="1733" y="147"/>
                </a:cubicBezTo>
                <a:cubicBezTo>
                  <a:pt x="1734" y="148"/>
                  <a:pt x="1734" y="148"/>
                  <a:pt x="1734" y="148"/>
                </a:cubicBezTo>
                <a:cubicBezTo>
                  <a:pt x="1735" y="148"/>
                  <a:pt x="1735" y="148"/>
                  <a:pt x="1735" y="148"/>
                </a:cubicBezTo>
                <a:cubicBezTo>
                  <a:pt x="1734" y="147"/>
                  <a:pt x="1734" y="147"/>
                  <a:pt x="1734" y="147"/>
                </a:cubicBezTo>
                <a:cubicBezTo>
                  <a:pt x="1735" y="146"/>
                  <a:pt x="1735" y="146"/>
                  <a:pt x="1735" y="146"/>
                </a:cubicBezTo>
                <a:cubicBezTo>
                  <a:pt x="1734" y="145"/>
                  <a:pt x="1734" y="145"/>
                  <a:pt x="1734" y="145"/>
                </a:cubicBezTo>
                <a:close/>
                <a:moveTo>
                  <a:pt x="1729" y="94"/>
                </a:moveTo>
                <a:cubicBezTo>
                  <a:pt x="1730" y="94"/>
                  <a:pt x="1730" y="94"/>
                  <a:pt x="1730" y="94"/>
                </a:cubicBezTo>
                <a:cubicBezTo>
                  <a:pt x="1730" y="93"/>
                  <a:pt x="1730" y="93"/>
                  <a:pt x="1730" y="93"/>
                </a:cubicBezTo>
                <a:cubicBezTo>
                  <a:pt x="1729" y="93"/>
                  <a:pt x="1729" y="93"/>
                  <a:pt x="1729" y="93"/>
                </a:cubicBezTo>
                <a:cubicBezTo>
                  <a:pt x="1729" y="94"/>
                  <a:pt x="1729" y="94"/>
                  <a:pt x="1729" y="94"/>
                </a:cubicBezTo>
                <a:close/>
                <a:moveTo>
                  <a:pt x="1727" y="149"/>
                </a:moveTo>
                <a:cubicBezTo>
                  <a:pt x="1726" y="150"/>
                  <a:pt x="1726" y="150"/>
                  <a:pt x="1726" y="150"/>
                </a:cubicBezTo>
                <a:cubicBezTo>
                  <a:pt x="1728" y="150"/>
                  <a:pt x="1728" y="150"/>
                  <a:pt x="1728" y="150"/>
                </a:cubicBezTo>
                <a:cubicBezTo>
                  <a:pt x="1728" y="151"/>
                  <a:pt x="1728" y="151"/>
                  <a:pt x="1728" y="151"/>
                </a:cubicBezTo>
                <a:cubicBezTo>
                  <a:pt x="1729" y="150"/>
                  <a:pt x="1729" y="150"/>
                  <a:pt x="1729" y="150"/>
                </a:cubicBezTo>
                <a:cubicBezTo>
                  <a:pt x="1729" y="149"/>
                  <a:pt x="1729" y="149"/>
                  <a:pt x="1729" y="149"/>
                </a:cubicBezTo>
                <a:cubicBezTo>
                  <a:pt x="1728" y="149"/>
                  <a:pt x="1728" y="149"/>
                  <a:pt x="1728" y="149"/>
                </a:cubicBezTo>
                <a:cubicBezTo>
                  <a:pt x="1727" y="149"/>
                  <a:pt x="1727" y="149"/>
                  <a:pt x="1727" y="149"/>
                </a:cubicBezTo>
                <a:close/>
                <a:moveTo>
                  <a:pt x="1719" y="45"/>
                </a:moveTo>
                <a:cubicBezTo>
                  <a:pt x="1719" y="45"/>
                  <a:pt x="1719" y="45"/>
                  <a:pt x="1718" y="46"/>
                </a:cubicBezTo>
                <a:cubicBezTo>
                  <a:pt x="1718" y="46"/>
                  <a:pt x="1718" y="46"/>
                  <a:pt x="1718" y="47"/>
                </a:cubicBezTo>
                <a:cubicBezTo>
                  <a:pt x="1718" y="47"/>
                  <a:pt x="1718" y="47"/>
                  <a:pt x="1717" y="47"/>
                </a:cubicBezTo>
                <a:cubicBezTo>
                  <a:pt x="1717" y="47"/>
                  <a:pt x="1717" y="47"/>
                  <a:pt x="1715" y="48"/>
                </a:cubicBezTo>
                <a:cubicBezTo>
                  <a:pt x="1715" y="48"/>
                  <a:pt x="1715" y="48"/>
                  <a:pt x="1715" y="50"/>
                </a:cubicBezTo>
                <a:cubicBezTo>
                  <a:pt x="1715" y="50"/>
                  <a:pt x="1715" y="50"/>
                  <a:pt x="1715" y="51"/>
                </a:cubicBezTo>
                <a:cubicBezTo>
                  <a:pt x="1715" y="51"/>
                  <a:pt x="1715" y="51"/>
                  <a:pt x="1716" y="52"/>
                </a:cubicBezTo>
                <a:cubicBezTo>
                  <a:pt x="1716" y="52"/>
                  <a:pt x="1716" y="52"/>
                  <a:pt x="1717" y="52"/>
                </a:cubicBezTo>
                <a:cubicBezTo>
                  <a:pt x="1717" y="52"/>
                  <a:pt x="1717" y="52"/>
                  <a:pt x="1718" y="53"/>
                </a:cubicBezTo>
                <a:cubicBezTo>
                  <a:pt x="1718" y="53"/>
                  <a:pt x="1718" y="53"/>
                  <a:pt x="1716" y="54"/>
                </a:cubicBezTo>
                <a:cubicBezTo>
                  <a:pt x="1716" y="54"/>
                  <a:pt x="1716" y="54"/>
                  <a:pt x="1716" y="55"/>
                </a:cubicBezTo>
                <a:cubicBezTo>
                  <a:pt x="1716" y="55"/>
                  <a:pt x="1716" y="55"/>
                  <a:pt x="1716" y="57"/>
                </a:cubicBezTo>
                <a:cubicBezTo>
                  <a:pt x="1716" y="57"/>
                  <a:pt x="1716" y="57"/>
                  <a:pt x="1716" y="58"/>
                </a:cubicBezTo>
                <a:cubicBezTo>
                  <a:pt x="1716" y="58"/>
                  <a:pt x="1716" y="58"/>
                  <a:pt x="1715" y="59"/>
                </a:cubicBezTo>
                <a:cubicBezTo>
                  <a:pt x="1715" y="59"/>
                  <a:pt x="1715" y="59"/>
                  <a:pt x="1714" y="60"/>
                </a:cubicBezTo>
                <a:cubicBezTo>
                  <a:pt x="1714" y="60"/>
                  <a:pt x="1714" y="60"/>
                  <a:pt x="1716" y="61"/>
                </a:cubicBezTo>
                <a:cubicBezTo>
                  <a:pt x="1716" y="61"/>
                  <a:pt x="1716" y="61"/>
                  <a:pt x="1717" y="61"/>
                </a:cubicBezTo>
                <a:cubicBezTo>
                  <a:pt x="1717" y="61"/>
                  <a:pt x="1717" y="61"/>
                  <a:pt x="1716" y="60"/>
                </a:cubicBezTo>
                <a:cubicBezTo>
                  <a:pt x="1716" y="60"/>
                  <a:pt x="1716" y="60"/>
                  <a:pt x="1717" y="59"/>
                </a:cubicBezTo>
                <a:cubicBezTo>
                  <a:pt x="1717" y="59"/>
                  <a:pt x="1717" y="59"/>
                  <a:pt x="1718" y="60"/>
                </a:cubicBezTo>
                <a:cubicBezTo>
                  <a:pt x="1718" y="60"/>
                  <a:pt x="1718" y="60"/>
                  <a:pt x="1719" y="61"/>
                </a:cubicBezTo>
                <a:cubicBezTo>
                  <a:pt x="1719" y="61"/>
                  <a:pt x="1719" y="61"/>
                  <a:pt x="1720" y="60"/>
                </a:cubicBezTo>
                <a:cubicBezTo>
                  <a:pt x="1720" y="60"/>
                  <a:pt x="1720" y="60"/>
                  <a:pt x="1721" y="60"/>
                </a:cubicBezTo>
                <a:cubicBezTo>
                  <a:pt x="1721" y="60"/>
                  <a:pt x="1721" y="60"/>
                  <a:pt x="1722" y="61"/>
                </a:cubicBezTo>
                <a:cubicBezTo>
                  <a:pt x="1722" y="61"/>
                  <a:pt x="1722" y="61"/>
                  <a:pt x="1723" y="64"/>
                </a:cubicBezTo>
                <a:cubicBezTo>
                  <a:pt x="1723" y="64"/>
                  <a:pt x="1723" y="64"/>
                  <a:pt x="1723" y="65"/>
                </a:cubicBezTo>
                <a:cubicBezTo>
                  <a:pt x="1723" y="65"/>
                  <a:pt x="1723" y="65"/>
                  <a:pt x="1725" y="65"/>
                </a:cubicBezTo>
                <a:cubicBezTo>
                  <a:pt x="1725" y="65"/>
                  <a:pt x="1725" y="65"/>
                  <a:pt x="1726" y="66"/>
                </a:cubicBezTo>
                <a:cubicBezTo>
                  <a:pt x="1726" y="66"/>
                  <a:pt x="1726" y="66"/>
                  <a:pt x="1727" y="66"/>
                </a:cubicBezTo>
                <a:cubicBezTo>
                  <a:pt x="1727" y="66"/>
                  <a:pt x="1727" y="66"/>
                  <a:pt x="1729" y="65"/>
                </a:cubicBezTo>
                <a:cubicBezTo>
                  <a:pt x="1729" y="65"/>
                  <a:pt x="1729" y="65"/>
                  <a:pt x="1731" y="65"/>
                </a:cubicBezTo>
                <a:cubicBezTo>
                  <a:pt x="1731" y="65"/>
                  <a:pt x="1731" y="65"/>
                  <a:pt x="1733" y="66"/>
                </a:cubicBezTo>
                <a:cubicBezTo>
                  <a:pt x="1733" y="66"/>
                  <a:pt x="1733" y="66"/>
                  <a:pt x="1736" y="66"/>
                </a:cubicBezTo>
                <a:cubicBezTo>
                  <a:pt x="1736" y="66"/>
                  <a:pt x="1736" y="66"/>
                  <a:pt x="1737" y="66"/>
                </a:cubicBezTo>
                <a:cubicBezTo>
                  <a:pt x="1737" y="66"/>
                  <a:pt x="1737" y="66"/>
                  <a:pt x="1738" y="66"/>
                </a:cubicBezTo>
                <a:cubicBezTo>
                  <a:pt x="1738" y="66"/>
                  <a:pt x="1738" y="66"/>
                  <a:pt x="1739" y="66"/>
                </a:cubicBezTo>
                <a:cubicBezTo>
                  <a:pt x="1739" y="66"/>
                  <a:pt x="1739" y="66"/>
                  <a:pt x="1740" y="67"/>
                </a:cubicBezTo>
                <a:cubicBezTo>
                  <a:pt x="1740" y="67"/>
                  <a:pt x="1740" y="67"/>
                  <a:pt x="1741" y="68"/>
                </a:cubicBezTo>
                <a:cubicBezTo>
                  <a:pt x="1741" y="68"/>
                  <a:pt x="1741" y="68"/>
                  <a:pt x="1743" y="68"/>
                </a:cubicBezTo>
                <a:cubicBezTo>
                  <a:pt x="1743" y="68"/>
                  <a:pt x="1743" y="68"/>
                  <a:pt x="1744" y="67"/>
                </a:cubicBezTo>
                <a:cubicBezTo>
                  <a:pt x="1744" y="67"/>
                  <a:pt x="1744" y="67"/>
                  <a:pt x="1745" y="66"/>
                </a:cubicBezTo>
                <a:cubicBezTo>
                  <a:pt x="1745" y="66"/>
                  <a:pt x="1745" y="66"/>
                  <a:pt x="1747" y="65"/>
                </a:cubicBezTo>
                <a:cubicBezTo>
                  <a:pt x="1747" y="65"/>
                  <a:pt x="1747" y="65"/>
                  <a:pt x="1749" y="63"/>
                </a:cubicBezTo>
                <a:cubicBezTo>
                  <a:pt x="1749" y="63"/>
                  <a:pt x="1749" y="63"/>
                  <a:pt x="1749" y="62"/>
                </a:cubicBezTo>
                <a:cubicBezTo>
                  <a:pt x="1749" y="62"/>
                  <a:pt x="1749" y="62"/>
                  <a:pt x="1747" y="60"/>
                </a:cubicBezTo>
                <a:cubicBezTo>
                  <a:pt x="1747" y="60"/>
                  <a:pt x="1747" y="60"/>
                  <a:pt x="1746" y="60"/>
                </a:cubicBezTo>
                <a:cubicBezTo>
                  <a:pt x="1746" y="60"/>
                  <a:pt x="1746" y="60"/>
                  <a:pt x="1745" y="58"/>
                </a:cubicBezTo>
                <a:cubicBezTo>
                  <a:pt x="1745" y="58"/>
                  <a:pt x="1745" y="58"/>
                  <a:pt x="1743" y="58"/>
                </a:cubicBezTo>
                <a:cubicBezTo>
                  <a:pt x="1743" y="58"/>
                  <a:pt x="1743" y="58"/>
                  <a:pt x="1742" y="57"/>
                </a:cubicBezTo>
                <a:cubicBezTo>
                  <a:pt x="1742" y="57"/>
                  <a:pt x="1742" y="57"/>
                  <a:pt x="1741" y="56"/>
                </a:cubicBezTo>
                <a:cubicBezTo>
                  <a:pt x="1741" y="56"/>
                  <a:pt x="1741" y="56"/>
                  <a:pt x="1742" y="56"/>
                </a:cubicBezTo>
                <a:cubicBezTo>
                  <a:pt x="1742" y="56"/>
                  <a:pt x="1742" y="56"/>
                  <a:pt x="1743" y="56"/>
                </a:cubicBezTo>
                <a:cubicBezTo>
                  <a:pt x="1743" y="56"/>
                  <a:pt x="1743" y="56"/>
                  <a:pt x="1744" y="56"/>
                </a:cubicBezTo>
                <a:cubicBezTo>
                  <a:pt x="1744" y="56"/>
                  <a:pt x="1744" y="56"/>
                  <a:pt x="1744" y="55"/>
                </a:cubicBezTo>
                <a:cubicBezTo>
                  <a:pt x="1744" y="55"/>
                  <a:pt x="1744" y="55"/>
                  <a:pt x="1743" y="54"/>
                </a:cubicBezTo>
                <a:cubicBezTo>
                  <a:pt x="1743" y="54"/>
                  <a:pt x="1743" y="54"/>
                  <a:pt x="1741" y="52"/>
                </a:cubicBezTo>
                <a:cubicBezTo>
                  <a:pt x="1741" y="52"/>
                  <a:pt x="1741" y="52"/>
                  <a:pt x="1741" y="50"/>
                </a:cubicBezTo>
                <a:cubicBezTo>
                  <a:pt x="1741" y="50"/>
                  <a:pt x="1741" y="50"/>
                  <a:pt x="1741" y="48"/>
                </a:cubicBezTo>
                <a:cubicBezTo>
                  <a:pt x="1741" y="48"/>
                  <a:pt x="1741" y="48"/>
                  <a:pt x="1740" y="48"/>
                </a:cubicBezTo>
                <a:cubicBezTo>
                  <a:pt x="1740" y="48"/>
                  <a:pt x="1740" y="48"/>
                  <a:pt x="1740" y="46"/>
                </a:cubicBezTo>
                <a:cubicBezTo>
                  <a:pt x="1740" y="46"/>
                  <a:pt x="1740" y="46"/>
                  <a:pt x="1739" y="46"/>
                </a:cubicBezTo>
                <a:cubicBezTo>
                  <a:pt x="1739" y="46"/>
                  <a:pt x="1739" y="46"/>
                  <a:pt x="1738" y="46"/>
                </a:cubicBezTo>
                <a:cubicBezTo>
                  <a:pt x="1738" y="46"/>
                  <a:pt x="1738" y="46"/>
                  <a:pt x="1734" y="42"/>
                </a:cubicBezTo>
                <a:cubicBezTo>
                  <a:pt x="1734" y="42"/>
                  <a:pt x="1734" y="42"/>
                  <a:pt x="1732" y="42"/>
                </a:cubicBezTo>
                <a:cubicBezTo>
                  <a:pt x="1732" y="42"/>
                  <a:pt x="1732" y="42"/>
                  <a:pt x="1730" y="42"/>
                </a:cubicBezTo>
                <a:cubicBezTo>
                  <a:pt x="1730" y="42"/>
                  <a:pt x="1730" y="42"/>
                  <a:pt x="1730" y="43"/>
                </a:cubicBezTo>
                <a:cubicBezTo>
                  <a:pt x="1730" y="43"/>
                  <a:pt x="1730" y="43"/>
                  <a:pt x="1730" y="44"/>
                </a:cubicBezTo>
                <a:cubicBezTo>
                  <a:pt x="1730" y="44"/>
                  <a:pt x="1730" y="44"/>
                  <a:pt x="1731" y="46"/>
                </a:cubicBezTo>
                <a:cubicBezTo>
                  <a:pt x="1731" y="46"/>
                  <a:pt x="1731" y="46"/>
                  <a:pt x="1732" y="47"/>
                </a:cubicBezTo>
                <a:cubicBezTo>
                  <a:pt x="1732" y="47"/>
                  <a:pt x="1732" y="47"/>
                  <a:pt x="1731" y="48"/>
                </a:cubicBezTo>
                <a:cubicBezTo>
                  <a:pt x="1731" y="48"/>
                  <a:pt x="1731" y="48"/>
                  <a:pt x="1731" y="49"/>
                </a:cubicBezTo>
                <a:cubicBezTo>
                  <a:pt x="1731" y="49"/>
                  <a:pt x="1731" y="49"/>
                  <a:pt x="1731" y="50"/>
                </a:cubicBezTo>
                <a:cubicBezTo>
                  <a:pt x="1731" y="50"/>
                  <a:pt x="1731" y="50"/>
                  <a:pt x="1730" y="52"/>
                </a:cubicBezTo>
                <a:cubicBezTo>
                  <a:pt x="1730" y="52"/>
                  <a:pt x="1730" y="52"/>
                  <a:pt x="1729" y="52"/>
                </a:cubicBezTo>
                <a:cubicBezTo>
                  <a:pt x="1729" y="52"/>
                  <a:pt x="1729" y="52"/>
                  <a:pt x="1730" y="51"/>
                </a:cubicBezTo>
                <a:cubicBezTo>
                  <a:pt x="1730" y="51"/>
                  <a:pt x="1730" y="51"/>
                  <a:pt x="1730" y="49"/>
                </a:cubicBezTo>
                <a:cubicBezTo>
                  <a:pt x="1730" y="49"/>
                  <a:pt x="1730" y="49"/>
                  <a:pt x="1730" y="47"/>
                </a:cubicBezTo>
                <a:cubicBezTo>
                  <a:pt x="1730" y="47"/>
                  <a:pt x="1730" y="47"/>
                  <a:pt x="1730" y="46"/>
                </a:cubicBezTo>
                <a:cubicBezTo>
                  <a:pt x="1730" y="46"/>
                  <a:pt x="1730" y="46"/>
                  <a:pt x="1728" y="43"/>
                </a:cubicBezTo>
                <a:cubicBezTo>
                  <a:pt x="1728" y="43"/>
                  <a:pt x="1728" y="43"/>
                  <a:pt x="1726" y="42"/>
                </a:cubicBezTo>
                <a:cubicBezTo>
                  <a:pt x="1726" y="42"/>
                  <a:pt x="1726" y="42"/>
                  <a:pt x="1724" y="41"/>
                </a:cubicBezTo>
                <a:cubicBezTo>
                  <a:pt x="1724" y="41"/>
                  <a:pt x="1724" y="41"/>
                  <a:pt x="1723" y="42"/>
                </a:cubicBezTo>
                <a:cubicBezTo>
                  <a:pt x="1723" y="42"/>
                  <a:pt x="1723" y="42"/>
                  <a:pt x="1723" y="43"/>
                </a:cubicBezTo>
                <a:cubicBezTo>
                  <a:pt x="1723" y="43"/>
                  <a:pt x="1723" y="43"/>
                  <a:pt x="1720" y="45"/>
                </a:cubicBezTo>
                <a:cubicBezTo>
                  <a:pt x="1720" y="45"/>
                  <a:pt x="1720" y="45"/>
                  <a:pt x="1719" y="45"/>
                </a:cubicBezTo>
                <a:close/>
                <a:moveTo>
                  <a:pt x="1722" y="162"/>
                </a:moveTo>
                <a:cubicBezTo>
                  <a:pt x="1721" y="162"/>
                  <a:pt x="1721" y="162"/>
                  <a:pt x="1721" y="162"/>
                </a:cubicBezTo>
                <a:cubicBezTo>
                  <a:pt x="1721" y="163"/>
                  <a:pt x="1721" y="163"/>
                  <a:pt x="1721" y="163"/>
                </a:cubicBezTo>
                <a:cubicBezTo>
                  <a:pt x="1723" y="163"/>
                  <a:pt x="1723" y="163"/>
                  <a:pt x="1723" y="163"/>
                </a:cubicBezTo>
                <a:cubicBezTo>
                  <a:pt x="1724" y="162"/>
                  <a:pt x="1724" y="162"/>
                  <a:pt x="1724" y="162"/>
                </a:cubicBezTo>
                <a:cubicBezTo>
                  <a:pt x="1722" y="161"/>
                  <a:pt x="1722" y="161"/>
                  <a:pt x="1722" y="161"/>
                </a:cubicBezTo>
                <a:cubicBezTo>
                  <a:pt x="1722" y="162"/>
                  <a:pt x="1722" y="162"/>
                  <a:pt x="1722" y="162"/>
                </a:cubicBezTo>
                <a:close/>
                <a:moveTo>
                  <a:pt x="1727" y="155"/>
                </a:moveTo>
                <a:cubicBezTo>
                  <a:pt x="1728" y="155"/>
                  <a:pt x="1728" y="155"/>
                  <a:pt x="1728" y="155"/>
                </a:cubicBezTo>
                <a:cubicBezTo>
                  <a:pt x="1728" y="154"/>
                  <a:pt x="1728" y="154"/>
                  <a:pt x="1728" y="154"/>
                </a:cubicBezTo>
                <a:cubicBezTo>
                  <a:pt x="1727" y="154"/>
                  <a:pt x="1727" y="154"/>
                  <a:pt x="1727" y="154"/>
                </a:cubicBezTo>
                <a:cubicBezTo>
                  <a:pt x="1726" y="155"/>
                  <a:pt x="1726" y="155"/>
                  <a:pt x="1726" y="155"/>
                </a:cubicBezTo>
                <a:cubicBezTo>
                  <a:pt x="1726" y="156"/>
                  <a:pt x="1726" y="156"/>
                  <a:pt x="1726" y="156"/>
                </a:cubicBezTo>
                <a:cubicBezTo>
                  <a:pt x="1727" y="157"/>
                  <a:pt x="1727" y="157"/>
                  <a:pt x="1727" y="157"/>
                </a:cubicBezTo>
                <a:cubicBezTo>
                  <a:pt x="1727" y="156"/>
                  <a:pt x="1727" y="156"/>
                  <a:pt x="1727" y="156"/>
                </a:cubicBezTo>
                <a:cubicBezTo>
                  <a:pt x="1727" y="155"/>
                  <a:pt x="1727" y="155"/>
                  <a:pt x="1727" y="155"/>
                </a:cubicBezTo>
                <a:close/>
                <a:moveTo>
                  <a:pt x="1730" y="155"/>
                </a:moveTo>
                <a:cubicBezTo>
                  <a:pt x="1731" y="155"/>
                  <a:pt x="1731" y="155"/>
                  <a:pt x="1731" y="155"/>
                </a:cubicBezTo>
                <a:cubicBezTo>
                  <a:pt x="1731" y="154"/>
                  <a:pt x="1731" y="154"/>
                  <a:pt x="1731" y="154"/>
                </a:cubicBezTo>
                <a:cubicBezTo>
                  <a:pt x="1731" y="153"/>
                  <a:pt x="1731" y="153"/>
                  <a:pt x="1731" y="153"/>
                </a:cubicBezTo>
                <a:cubicBezTo>
                  <a:pt x="1730" y="153"/>
                  <a:pt x="1730" y="153"/>
                  <a:pt x="1730" y="153"/>
                </a:cubicBezTo>
                <a:cubicBezTo>
                  <a:pt x="1729" y="154"/>
                  <a:pt x="1729" y="154"/>
                  <a:pt x="1729" y="154"/>
                </a:cubicBezTo>
                <a:cubicBezTo>
                  <a:pt x="1730" y="155"/>
                  <a:pt x="1730" y="155"/>
                  <a:pt x="1730" y="155"/>
                </a:cubicBezTo>
                <a:close/>
                <a:moveTo>
                  <a:pt x="1725" y="104"/>
                </a:moveTo>
                <a:cubicBezTo>
                  <a:pt x="1725" y="103"/>
                  <a:pt x="1725" y="103"/>
                  <a:pt x="1725" y="103"/>
                </a:cubicBezTo>
                <a:cubicBezTo>
                  <a:pt x="1724" y="102"/>
                  <a:pt x="1724" y="102"/>
                  <a:pt x="1724" y="102"/>
                </a:cubicBezTo>
                <a:cubicBezTo>
                  <a:pt x="1723" y="102"/>
                  <a:pt x="1723" y="102"/>
                  <a:pt x="1723" y="102"/>
                </a:cubicBezTo>
                <a:cubicBezTo>
                  <a:pt x="1722" y="103"/>
                  <a:pt x="1722" y="103"/>
                  <a:pt x="1722" y="103"/>
                </a:cubicBezTo>
                <a:cubicBezTo>
                  <a:pt x="1723" y="104"/>
                  <a:pt x="1723" y="104"/>
                  <a:pt x="1723" y="104"/>
                </a:cubicBezTo>
                <a:cubicBezTo>
                  <a:pt x="1722" y="105"/>
                  <a:pt x="1722" y="105"/>
                  <a:pt x="1722" y="105"/>
                </a:cubicBezTo>
                <a:cubicBezTo>
                  <a:pt x="1723" y="106"/>
                  <a:pt x="1723" y="106"/>
                  <a:pt x="1723" y="106"/>
                </a:cubicBezTo>
                <a:cubicBezTo>
                  <a:pt x="1724" y="105"/>
                  <a:pt x="1724" y="105"/>
                  <a:pt x="1724" y="105"/>
                </a:cubicBezTo>
                <a:cubicBezTo>
                  <a:pt x="1725" y="104"/>
                  <a:pt x="1725" y="104"/>
                  <a:pt x="1725" y="104"/>
                </a:cubicBezTo>
                <a:close/>
                <a:moveTo>
                  <a:pt x="1727" y="164"/>
                </a:moveTo>
                <a:cubicBezTo>
                  <a:pt x="1728" y="164"/>
                  <a:pt x="1728" y="164"/>
                  <a:pt x="1728" y="164"/>
                </a:cubicBezTo>
                <a:cubicBezTo>
                  <a:pt x="1729" y="164"/>
                  <a:pt x="1729" y="164"/>
                  <a:pt x="1729" y="164"/>
                </a:cubicBezTo>
                <a:cubicBezTo>
                  <a:pt x="1728" y="163"/>
                  <a:pt x="1728" y="163"/>
                  <a:pt x="1728" y="163"/>
                </a:cubicBezTo>
                <a:cubicBezTo>
                  <a:pt x="1726" y="164"/>
                  <a:pt x="1726" y="164"/>
                  <a:pt x="1726" y="164"/>
                </a:cubicBezTo>
                <a:cubicBezTo>
                  <a:pt x="1727" y="164"/>
                  <a:pt x="1727" y="164"/>
                  <a:pt x="1727" y="164"/>
                </a:cubicBezTo>
                <a:close/>
                <a:moveTo>
                  <a:pt x="1706" y="142"/>
                </a:moveTo>
                <a:cubicBezTo>
                  <a:pt x="1705" y="142"/>
                  <a:pt x="1705" y="142"/>
                  <a:pt x="1705" y="142"/>
                </a:cubicBezTo>
                <a:cubicBezTo>
                  <a:pt x="1706" y="144"/>
                  <a:pt x="1706" y="144"/>
                  <a:pt x="1706" y="144"/>
                </a:cubicBezTo>
                <a:cubicBezTo>
                  <a:pt x="1707" y="144"/>
                  <a:pt x="1707" y="144"/>
                  <a:pt x="1707" y="144"/>
                </a:cubicBezTo>
                <a:cubicBezTo>
                  <a:pt x="1708" y="144"/>
                  <a:pt x="1708" y="144"/>
                  <a:pt x="1708" y="144"/>
                </a:cubicBezTo>
                <a:cubicBezTo>
                  <a:pt x="1709" y="143"/>
                  <a:pt x="1709" y="143"/>
                  <a:pt x="1709" y="143"/>
                </a:cubicBezTo>
                <a:cubicBezTo>
                  <a:pt x="1709" y="142"/>
                  <a:pt x="1709" y="142"/>
                  <a:pt x="1709" y="142"/>
                </a:cubicBezTo>
                <a:cubicBezTo>
                  <a:pt x="1708" y="142"/>
                  <a:pt x="1708" y="142"/>
                  <a:pt x="1708" y="142"/>
                </a:cubicBezTo>
                <a:cubicBezTo>
                  <a:pt x="1708" y="141"/>
                  <a:pt x="1708" y="141"/>
                  <a:pt x="1708" y="141"/>
                </a:cubicBezTo>
                <a:cubicBezTo>
                  <a:pt x="1708" y="140"/>
                  <a:pt x="1708" y="140"/>
                  <a:pt x="1708" y="140"/>
                </a:cubicBezTo>
                <a:cubicBezTo>
                  <a:pt x="1707" y="140"/>
                  <a:pt x="1707" y="140"/>
                  <a:pt x="1707" y="140"/>
                </a:cubicBezTo>
                <a:cubicBezTo>
                  <a:pt x="1706" y="140"/>
                  <a:pt x="1706" y="140"/>
                  <a:pt x="1706" y="140"/>
                </a:cubicBezTo>
                <a:cubicBezTo>
                  <a:pt x="1706" y="141"/>
                  <a:pt x="1706" y="141"/>
                  <a:pt x="1706" y="141"/>
                </a:cubicBezTo>
                <a:cubicBezTo>
                  <a:pt x="1707" y="142"/>
                  <a:pt x="1707" y="142"/>
                  <a:pt x="1707" y="142"/>
                </a:cubicBezTo>
                <a:cubicBezTo>
                  <a:pt x="1707" y="143"/>
                  <a:pt x="1707" y="143"/>
                  <a:pt x="1707" y="143"/>
                </a:cubicBezTo>
                <a:cubicBezTo>
                  <a:pt x="1706" y="142"/>
                  <a:pt x="1706" y="142"/>
                  <a:pt x="1706" y="142"/>
                </a:cubicBezTo>
                <a:close/>
                <a:moveTo>
                  <a:pt x="1631" y="245"/>
                </a:moveTo>
                <a:cubicBezTo>
                  <a:pt x="1630" y="245"/>
                  <a:pt x="1630" y="245"/>
                  <a:pt x="1630" y="245"/>
                </a:cubicBezTo>
                <a:cubicBezTo>
                  <a:pt x="1630" y="246"/>
                  <a:pt x="1630" y="246"/>
                  <a:pt x="1630" y="246"/>
                </a:cubicBezTo>
                <a:cubicBezTo>
                  <a:pt x="1631" y="246"/>
                  <a:pt x="1631" y="246"/>
                  <a:pt x="1631" y="246"/>
                </a:cubicBezTo>
                <a:cubicBezTo>
                  <a:pt x="1631" y="245"/>
                  <a:pt x="1631" y="245"/>
                  <a:pt x="1631" y="245"/>
                </a:cubicBezTo>
                <a:close/>
                <a:moveTo>
                  <a:pt x="1734" y="159"/>
                </a:moveTo>
                <a:cubicBezTo>
                  <a:pt x="1733" y="159"/>
                  <a:pt x="1733" y="159"/>
                  <a:pt x="1733" y="159"/>
                </a:cubicBezTo>
                <a:cubicBezTo>
                  <a:pt x="1732" y="159"/>
                  <a:pt x="1732" y="159"/>
                  <a:pt x="1732" y="159"/>
                </a:cubicBezTo>
                <a:cubicBezTo>
                  <a:pt x="1732" y="160"/>
                  <a:pt x="1732" y="160"/>
                  <a:pt x="1732" y="160"/>
                </a:cubicBezTo>
                <a:cubicBezTo>
                  <a:pt x="1733" y="160"/>
                  <a:pt x="1733" y="160"/>
                  <a:pt x="1733" y="160"/>
                </a:cubicBezTo>
                <a:cubicBezTo>
                  <a:pt x="1734" y="159"/>
                  <a:pt x="1734" y="159"/>
                  <a:pt x="1734" y="159"/>
                </a:cubicBezTo>
                <a:close/>
                <a:moveTo>
                  <a:pt x="1697" y="273"/>
                </a:moveTo>
                <a:cubicBezTo>
                  <a:pt x="1696" y="273"/>
                  <a:pt x="1696" y="273"/>
                  <a:pt x="1696" y="273"/>
                </a:cubicBezTo>
                <a:cubicBezTo>
                  <a:pt x="1697" y="274"/>
                  <a:pt x="1697" y="274"/>
                  <a:pt x="1697" y="274"/>
                </a:cubicBezTo>
                <a:cubicBezTo>
                  <a:pt x="1698" y="275"/>
                  <a:pt x="1698" y="275"/>
                  <a:pt x="1698" y="275"/>
                </a:cubicBezTo>
                <a:cubicBezTo>
                  <a:pt x="1699" y="275"/>
                  <a:pt x="1699" y="275"/>
                  <a:pt x="1699" y="275"/>
                </a:cubicBezTo>
                <a:cubicBezTo>
                  <a:pt x="1700" y="274"/>
                  <a:pt x="1700" y="274"/>
                  <a:pt x="1700" y="274"/>
                </a:cubicBezTo>
                <a:cubicBezTo>
                  <a:pt x="1699" y="273"/>
                  <a:pt x="1699" y="273"/>
                  <a:pt x="1699" y="273"/>
                </a:cubicBezTo>
                <a:cubicBezTo>
                  <a:pt x="1698" y="273"/>
                  <a:pt x="1698" y="273"/>
                  <a:pt x="1698" y="273"/>
                </a:cubicBezTo>
                <a:cubicBezTo>
                  <a:pt x="1697" y="273"/>
                  <a:pt x="1697" y="273"/>
                  <a:pt x="1697" y="273"/>
                </a:cubicBezTo>
                <a:close/>
                <a:moveTo>
                  <a:pt x="1689" y="185"/>
                </a:moveTo>
                <a:cubicBezTo>
                  <a:pt x="1688" y="188"/>
                  <a:pt x="1688" y="188"/>
                  <a:pt x="1688" y="188"/>
                </a:cubicBezTo>
                <a:cubicBezTo>
                  <a:pt x="1689" y="189"/>
                  <a:pt x="1689" y="189"/>
                  <a:pt x="1689" y="189"/>
                </a:cubicBezTo>
                <a:cubicBezTo>
                  <a:pt x="1690" y="189"/>
                  <a:pt x="1690" y="189"/>
                  <a:pt x="1690" y="189"/>
                </a:cubicBezTo>
                <a:cubicBezTo>
                  <a:pt x="1691" y="189"/>
                  <a:pt x="1691" y="189"/>
                  <a:pt x="1691" y="189"/>
                </a:cubicBezTo>
                <a:cubicBezTo>
                  <a:pt x="1691" y="188"/>
                  <a:pt x="1691" y="188"/>
                  <a:pt x="1691" y="188"/>
                </a:cubicBezTo>
                <a:cubicBezTo>
                  <a:pt x="1691" y="187"/>
                  <a:pt x="1691" y="187"/>
                  <a:pt x="1691" y="187"/>
                </a:cubicBezTo>
                <a:cubicBezTo>
                  <a:pt x="1691" y="186"/>
                  <a:pt x="1691" y="186"/>
                  <a:pt x="1691" y="186"/>
                </a:cubicBezTo>
                <a:cubicBezTo>
                  <a:pt x="1691" y="185"/>
                  <a:pt x="1691" y="185"/>
                  <a:pt x="1691" y="185"/>
                </a:cubicBezTo>
                <a:cubicBezTo>
                  <a:pt x="1690" y="185"/>
                  <a:pt x="1690" y="185"/>
                  <a:pt x="1690" y="185"/>
                </a:cubicBezTo>
                <a:cubicBezTo>
                  <a:pt x="1689" y="185"/>
                  <a:pt x="1689" y="185"/>
                  <a:pt x="1689" y="185"/>
                </a:cubicBezTo>
                <a:close/>
                <a:moveTo>
                  <a:pt x="1635" y="250"/>
                </a:moveTo>
                <a:cubicBezTo>
                  <a:pt x="1635" y="248"/>
                  <a:pt x="1635" y="248"/>
                  <a:pt x="1635" y="248"/>
                </a:cubicBezTo>
                <a:cubicBezTo>
                  <a:pt x="1633" y="247"/>
                  <a:pt x="1633" y="247"/>
                  <a:pt x="1633" y="247"/>
                </a:cubicBezTo>
                <a:cubicBezTo>
                  <a:pt x="1632" y="246"/>
                  <a:pt x="1632" y="246"/>
                  <a:pt x="1632" y="246"/>
                </a:cubicBezTo>
                <a:cubicBezTo>
                  <a:pt x="1632" y="247"/>
                  <a:pt x="1632" y="247"/>
                  <a:pt x="1632" y="247"/>
                </a:cubicBezTo>
                <a:cubicBezTo>
                  <a:pt x="1633" y="248"/>
                  <a:pt x="1633" y="248"/>
                  <a:pt x="1633" y="248"/>
                </a:cubicBezTo>
                <a:cubicBezTo>
                  <a:pt x="1635" y="250"/>
                  <a:pt x="1635" y="250"/>
                  <a:pt x="1635" y="250"/>
                </a:cubicBezTo>
                <a:close/>
                <a:moveTo>
                  <a:pt x="1746" y="209"/>
                </a:moveTo>
                <a:cubicBezTo>
                  <a:pt x="1745" y="208"/>
                  <a:pt x="1745" y="208"/>
                  <a:pt x="1745" y="208"/>
                </a:cubicBezTo>
                <a:cubicBezTo>
                  <a:pt x="1745" y="209"/>
                  <a:pt x="1745" y="209"/>
                  <a:pt x="1745" y="209"/>
                </a:cubicBezTo>
                <a:cubicBezTo>
                  <a:pt x="1745" y="210"/>
                  <a:pt x="1745" y="210"/>
                  <a:pt x="1745" y="210"/>
                </a:cubicBezTo>
                <a:cubicBezTo>
                  <a:pt x="1746" y="210"/>
                  <a:pt x="1746" y="210"/>
                  <a:pt x="1746" y="210"/>
                </a:cubicBezTo>
                <a:cubicBezTo>
                  <a:pt x="1746" y="209"/>
                  <a:pt x="1746" y="209"/>
                  <a:pt x="1746" y="209"/>
                </a:cubicBezTo>
                <a:close/>
                <a:moveTo>
                  <a:pt x="2297" y="320"/>
                </a:moveTo>
                <a:cubicBezTo>
                  <a:pt x="2298" y="321"/>
                  <a:pt x="2298" y="321"/>
                  <a:pt x="2298" y="321"/>
                </a:cubicBezTo>
                <a:cubicBezTo>
                  <a:pt x="2299" y="321"/>
                  <a:pt x="2299" y="321"/>
                  <a:pt x="2299" y="321"/>
                </a:cubicBezTo>
                <a:cubicBezTo>
                  <a:pt x="2301" y="321"/>
                  <a:pt x="2301" y="321"/>
                  <a:pt x="2301" y="321"/>
                </a:cubicBezTo>
                <a:cubicBezTo>
                  <a:pt x="2300" y="320"/>
                  <a:pt x="2300" y="320"/>
                  <a:pt x="2300" y="320"/>
                </a:cubicBezTo>
                <a:cubicBezTo>
                  <a:pt x="2298" y="320"/>
                  <a:pt x="2298" y="320"/>
                  <a:pt x="2298" y="320"/>
                </a:cubicBezTo>
                <a:cubicBezTo>
                  <a:pt x="2298" y="319"/>
                  <a:pt x="2298" y="319"/>
                  <a:pt x="2298" y="319"/>
                </a:cubicBezTo>
                <a:cubicBezTo>
                  <a:pt x="2296" y="319"/>
                  <a:pt x="2296" y="319"/>
                  <a:pt x="2296" y="319"/>
                </a:cubicBezTo>
                <a:cubicBezTo>
                  <a:pt x="2295" y="318"/>
                  <a:pt x="2295" y="318"/>
                  <a:pt x="2295" y="318"/>
                </a:cubicBezTo>
                <a:cubicBezTo>
                  <a:pt x="2294" y="317"/>
                  <a:pt x="2294" y="317"/>
                  <a:pt x="2294" y="317"/>
                </a:cubicBezTo>
                <a:cubicBezTo>
                  <a:pt x="2293" y="318"/>
                  <a:pt x="2293" y="318"/>
                  <a:pt x="2293" y="318"/>
                </a:cubicBezTo>
                <a:cubicBezTo>
                  <a:pt x="2294" y="319"/>
                  <a:pt x="2294" y="319"/>
                  <a:pt x="2294" y="319"/>
                </a:cubicBezTo>
                <a:cubicBezTo>
                  <a:pt x="2295" y="319"/>
                  <a:pt x="2295" y="319"/>
                  <a:pt x="2295" y="319"/>
                </a:cubicBezTo>
                <a:cubicBezTo>
                  <a:pt x="2297" y="320"/>
                  <a:pt x="2297" y="320"/>
                  <a:pt x="2297" y="320"/>
                </a:cubicBezTo>
                <a:close/>
                <a:moveTo>
                  <a:pt x="2175" y="104"/>
                </a:moveTo>
                <a:cubicBezTo>
                  <a:pt x="2176" y="103"/>
                  <a:pt x="2176" y="103"/>
                  <a:pt x="2176" y="103"/>
                </a:cubicBezTo>
                <a:cubicBezTo>
                  <a:pt x="2175" y="103"/>
                  <a:pt x="2175" y="103"/>
                  <a:pt x="2175" y="103"/>
                </a:cubicBezTo>
                <a:cubicBezTo>
                  <a:pt x="2175" y="104"/>
                  <a:pt x="2175" y="104"/>
                  <a:pt x="2175" y="104"/>
                </a:cubicBezTo>
                <a:close/>
                <a:moveTo>
                  <a:pt x="2289" y="318"/>
                </a:moveTo>
                <a:cubicBezTo>
                  <a:pt x="2288" y="318"/>
                  <a:pt x="2288" y="318"/>
                  <a:pt x="2288" y="318"/>
                </a:cubicBezTo>
                <a:cubicBezTo>
                  <a:pt x="2286" y="317"/>
                  <a:pt x="2286" y="317"/>
                  <a:pt x="2286" y="317"/>
                </a:cubicBezTo>
                <a:cubicBezTo>
                  <a:pt x="2286" y="316"/>
                  <a:pt x="2286" y="316"/>
                  <a:pt x="2286" y="316"/>
                </a:cubicBezTo>
                <a:cubicBezTo>
                  <a:pt x="2285" y="315"/>
                  <a:pt x="2285" y="315"/>
                  <a:pt x="2285" y="315"/>
                </a:cubicBezTo>
                <a:cubicBezTo>
                  <a:pt x="2284" y="314"/>
                  <a:pt x="2284" y="314"/>
                  <a:pt x="2284" y="314"/>
                </a:cubicBezTo>
                <a:cubicBezTo>
                  <a:pt x="2284" y="313"/>
                  <a:pt x="2284" y="313"/>
                  <a:pt x="2284" y="313"/>
                </a:cubicBezTo>
                <a:cubicBezTo>
                  <a:pt x="2283" y="313"/>
                  <a:pt x="2283" y="313"/>
                  <a:pt x="2283" y="313"/>
                </a:cubicBezTo>
                <a:cubicBezTo>
                  <a:pt x="2282" y="313"/>
                  <a:pt x="2282" y="313"/>
                  <a:pt x="2282" y="313"/>
                </a:cubicBezTo>
                <a:cubicBezTo>
                  <a:pt x="2281" y="313"/>
                  <a:pt x="2281" y="313"/>
                  <a:pt x="2281" y="313"/>
                </a:cubicBezTo>
                <a:cubicBezTo>
                  <a:pt x="2280" y="314"/>
                  <a:pt x="2280" y="314"/>
                  <a:pt x="2280" y="314"/>
                </a:cubicBezTo>
                <a:cubicBezTo>
                  <a:pt x="2280" y="315"/>
                  <a:pt x="2280" y="315"/>
                  <a:pt x="2280" y="315"/>
                </a:cubicBezTo>
                <a:cubicBezTo>
                  <a:pt x="2281" y="315"/>
                  <a:pt x="2281" y="315"/>
                  <a:pt x="2281" y="315"/>
                </a:cubicBezTo>
                <a:cubicBezTo>
                  <a:pt x="2282" y="315"/>
                  <a:pt x="2282" y="315"/>
                  <a:pt x="2282" y="315"/>
                </a:cubicBezTo>
                <a:cubicBezTo>
                  <a:pt x="2283" y="316"/>
                  <a:pt x="2283" y="316"/>
                  <a:pt x="2283" y="316"/>
                </a:cubicBezTo>
                <a:cubicBezTo>
                  <a:pt x="2284" y="318"/>
                  <a:pt x="2284" y="318"/>
                  <a:pt x="2284" y="318"/>
                </a:cubicBezTo>
                <a:cubicBezTo>
                  <a:pt x="2285" y="318"/>
                  <a:pt x="2285" y="318"/>
                  <a:pt x="2285" y="318"/>
                </a:cubicBezTo>
                <a:cubicBezTo>
                  <a:pt x="2286" y="319"/>
                  <a:pt x="2286" y="319"/>
                  <a:pt x="2286" y="319"/>
                </a:cubicBezTo>
                <a:cubicBezTo>
                  <a:pt x="2287" y="319"/>
                  <a:pt x="2287" y="319"/>
                  <a:pt x="2287" y="319"/>
                </a:cubicBezTo>
                <a:cubicBezTo>
                  <a:pt x="2288" y="320"/>
                  <a:pt x="2288" y="320"/>
                  <a:pt x="2288" y="320"/>
                </a:cubicBezTo>
                <a:cubicBezTo>
                  <a:pt x="2290" y="320"/>
                  <a:pt x="2290" y="320"/>
                  <a:pt x="2290" y="320"/>
                </a:cubicBezTo>
                <a:cubicBezTo>
                  <a:pt x="2289" y="318"/>
                  <a:pt x="2289" y="318"/>
                  <a:pt x="2289" y="318"/>
                </a:cubicBezTo>
                <a:close/>
                <a:moveTo>
                  <a:pt x="1603" y="154"/>
                </a:moveTo>
                <a:cubicBezTo>
                  <a:pt x="1601" y="155"/>
                  <a:pt x="1601" y="155"/>
                  <a:pt x="1601" y="155"/>
                </a:cubicBezTo>
                <a:cubicBezTo>
                  <a:pt x="1600" y="156"/>
                  <a:pt x="1600" y="156"/>
                  <a:pt x="1600" y="156"/>
                </a:cubicBezTo>
                <a:cubicBezTo>
                  <a:pt x="1601" y="156"/>
                  <a:pt x="1601" y="156"/>
                  <a:pt x="1601" y="156"/>
                </a:cubicBezTo>
                <a:cubicBezTo>
                  <a:pt x="1603" y="154"/>
                  <a:pt x="1603" y="154"/>
                  <a:pt x="1603" y="154"/>
                </a:cubicBezTo>
                <a:close/>
                <a:moveTo>
                  <a:pt x="1739" y="162"/>
                </a:moveTo>
                <a:cubicBezTo>
                  <a:pt x="1738" y="162"/>
                  <a:pt x="1738" y="162"/>
                  <a:pt x="1738" y="162"/>
                </a:cubicBezTo>
                <a:cubicBezTo>
                  <a:pt x="1737" y="161"/>
                  <a:pt x="1737" y="161"/>
                  <a:pt x="1737" y="161"/>
                </a:cubicBezTo>
                <a:cubicBezTo>
                  <a:pt x="1738" y="163"/>
                  <a:pt x="1738" y="163"/>
                  <a:pt x="1738" y="163"/>
                </a:cubicBezTo>
                <a:cubicBezTo>
                  <a:pt x="1739" y="162"/>
                  <a:pt x="1739" y="162"/>
                  <a:pt x="1739" y="162"/>
                </a:cubicBezTo>
                <a:close/>
                <a:moveTo>
                  <a:pt x="1646" y="52"/>
                </a:moveTo>
                <a:cubicBezTo>
                  <a:pt x="1646" y="52"/>
                  <a:pt x="1646" y="52"/>
                  <a:pt x="1648" y="52"/>
                </a:cubicBezTo>
                <a:cubicBezTo>
                  <a:pt x="1648" y="52"/>
                  <a:pt x="1648" y="52"/>
                  <a:pt x="1650" y="52"/>
                </a:cubicBezTo>
                <a:cubicBezTo>
                  <a:pt x="1650" y="52"/>
                  <a:pt x="1650" y="52"/>
                  <a:pt x="1650" y="51"/>
                </a:cubicBezTo>
                <a:cubicBezTo>
                  <a:pt x="1650" y="51"/>
                  <a:pt x="1650" y="51"/>
                  <a:pt x="1650" y="49"/>
                </a:cubicBezTo>
                <a:cubicBezTo>
                  <a:pt x="1650" y="49"/>
                  <a:pt x="1650" y="49"/>
                  <a:pt x="1648" y="49"/>
                </a:cubicBezTo>
                <a:cubicBezTo>
                  <a:pt x="1648" y="49"/>
                  <a:pt x="1648" y="49"/>
                  <a:pt x="1646" y="49"/>
                </a:cubicBezTo>
                <a:cubicBezTo>
                  <a:pt x="1646" y="49"/>
                  <a:pt x="1646" y="49"/>
                  <a:pt x="1644" y="50"/>
                </a:cubicBezTo>
                <a:cubicBezTo>
                  <a:pt x="1644" y="50"/>
                  <a:pt x="1644" y="50"/>
                  <a:pt x="1644" y="51"/>
                </a:cubicBezTo>
                <a:cubicBezTo>
                  <a:pt x="1644" y="51"/>
                  <a:pt x="1644" y="51"/>
                  <a:pt x="1645" y="52"/>
                </a:cubicBezTo>
                <a:lnTo>
                  <a:pt x="1646" y="52"/>
                </a:lnTo>
                <a:close/>
                <a:moveTo>
                  <a:pt x="1649" y="78"/>
                </a:moveTo>
                <a:cubicBezTo>
                  <a:pt x="1648" y="77"/>
                  <a:pt x="1648" y="77"/>
                  <a:pt x="1648" y="77"/>
                </a:cubicBezTo>
                <a:cubicBezTo>
                  <a:pt x="1648" y="78"/>
                  <a:pt x="1648" y="78"/>
                  <a:pt x="1648" y="78"/>
                </a:cubicBezTo>
                <a:cubicBezTo>
                  <a:pt x="1647" y="78"/>
                  <a:pt x="1647" y="78"/>
                  <a:pt x="1647" y="78"/>
                </a:cubicBezTo>
                <a:cubicBezTo>
                  <a:pt x="1648" y="79"/>
                  <a:pt x="1648" y="79"/>
                  <a:pt x="1648" y="79"/>
                </a:cubicBezTo>
                <a:cubicBezTo>
                  <a:pt x="1649" y="79"/>
                  <a:pt x="1649" y="79"/>
                  <a:pt x="1649" y="79"/>
                </a:cubicBezTo>
                <a:cubicBezTo>
                  <a:pt x="1650" y="80"/>
                  <a:pt x="1650" y="80"/>
                  <a:pt x="1650" y="80"/>
                </a:cubicBezTo>
                <a:cubicBezTo>
                  <a:pt x="1651" y="80"/>
                  <a:pt x="1651" y="80"/>
                  <a:pt x="1651" y="80"/>
                </a:cubicBezTo>
                <a:cubicBezTo>
                  <a:pt x="1652" y="79"/>
                  <a:pt x="1652" y="79"/>
                  <a:pt x="1652" y="79"/>
                </a:cubicBezTo>
                <a:cubicBezTo>
                  <a:pt x="1652" y="78"/>
                  <a:pt x="1652" y="78"/>
                  <a:pt x="1652" y="78"/>
                </a:cubicBezTo>
                <a:cubicBezTo>
                  <a:pt x="1650" y="78"/>
                  <a:pt x="1650" y="78"/>
                  <a:pt x="1650" y="78"/>
                </a:cubicBezTo>
                <a:cubicBezTo>
                  <a:pt x="1649" y="78"/>
                  <a:pt x="1649" y="78"/>
                  <a:pt x="1649" y="78"/>
                </a:cubicBezTo>
                <a:close/>
                <a:moveTo>
                  <a:pt x="1667" y="188"/>
                </a:moveTo>
                <a:cubicBezTo>
                  <a:pt x="1667" y="189"/>
                  <a:pt x="1667" y="189"/>
                  <a:pt x="1667" y="189"/>
                </a:cubicBezTo>
                <a:cubicBezTo>
                  <a:pt x="1668" y="190"/>
                  <a:pt x="1668" y="190"/>
                  <a:pt x="1668" y="190"/>
                </a:cubicBezTo>
                <a:cubicBezTo>
                  <a:pt x="1669" y="190"/>
                  <a:pt x="1669" y="190"/>
                  <a:pt x="1669" y="190"/>
                </a:cubicBezTo>
                <a:cubicBezTo>
                  <a:pt x="1669" y="189"/>
                  <a:pt x="1669" y="189"/>
                  <a:pt x="1669" y="189"/>
                </a:cubicBezTo>
                <a:cubicBezTo>
                  <a:pt x="1670" y="190"/>
                  <a:pt x="1670" y="190"/>
                  <a:pt x="1670" y="190"/>
                </a:cubicBezTo>
                <a:cubicBezTo>
                  <a:pt x="1671" y="190"/>
                  <a:pt x="1671" y="190"/>
                  <a:pt x="1671" y="190"/>
                </a:cubicBezTo>
                <a:cubicBezTo>
                  <a:pt x="1672" y="190"/>
                  <a:pt x="1672" y="190"/>
                  <a:pt x="1672" y="190"/>
                </a:cubicBezTo>
                <a:cubicBezTo>
                  <a:pt x="1672" y="189"/>
                  <a:pt x="1672" y="189"/>
                  <a:pt x="1672" y="189"/>
                </a:cubicBezTo>
                <a:cubicBezTo>
                  <a:pt x="1674" y="188"/>
                  <a:pt x="1674" y="188"/>
                  <a:pt x="1674" y="188"/>
                </a:cubicBezTo>
                <a:cubicBezTo>
                  <a:pt x="1675" y="187"/>
                  <a:pt x="1675" y="187"/>
                  <a:pt x="1675" y="187"/>
                </a:cubicBezTo>
                <a:cubicBezTo>
                  <a:pt x="1674" y="185"/>
                  <a:pt x="1674" y="185"/>
                  <a:pt x="1674" y="185"/>
                </a:cubicBezTo>
                <a:cubicBezTo>
                  <a:pt x="1673" y="184"/>
                  <a:pt x="1673" y="184"/>
                  <a:pt x="1673" y="184"/>
                </a:cubicBezTo>
                <a:cubicBezTo>
                  <a:pt x="1673" y="183"/>
                  <a:pt x="1673" y="183"/>
                  <a:pt x="1673" y="183"/>
                </a:cubicBezTo>
                <a:cubicBezTo>
                  <a:pt x="1671" y="182"/>
                  <a:pt x="1671" y="182"/>
                  <a:pt x="1671" y="182"/>
                </a:cubicBezTo>
                <a:cubicBezTo>
                  <a:pt x="1670" y="182"/>
                  <a:pt x="1670" y="182"/>
                  <a:pt x="1670" y="182"/>
                </a:cubicBezTo>
                <a:cubicBezTo>
                  <a:pt x="1669" y="183"/>
                  <a:pt x="1669" y="183"/>
                  <a:pt x="1669" y="183"/>
                </a:cubicBezTo>
                <a:cubicBezTo>
                  <a:pt x="1668" y="183"/>
                  <a:pt x="1668" y="183"/>
                  <a:pt x="1668" y="183"/>
                </a:cubicBezTo>
                <a:cubicBezTo>
                  <a:pt x="1666" y="184"/>
                  <a:pt x="1666" y="184"/>
                  <a:pt x="1666" y="184"/>
                </a:cubicBezTo>
                <a:cubicBezTo>
                  <a:pt x="1666" y="185"/>
                  <a:pt x="1666" y="185"/>
                  <a:pt x="1666" y="185"/>
                </a:cubicBezTo>
                <a:cubicBezTo>
                  <a:pt x="1667" y="186"/>
                  <a:pt x="1667" y="186"/>
                  <a:pt x="1667" y="186"/>
                </a:cubicBezTo>
                <a:cubicBezTo>
                  <a:pt x="1667" y="188"/>
                  <a:pt x="1667" y="188"/>
                  <a:pt x="1667" y="188"/>
                </a:cubicBezTo>
                <a:close/>
                <a:moveTo>
                  <a:pt x="1554" y="85"/>
                </a:moveTo>
                <a:cubicBezTo>
                  <a:pt x="1555" y="86"/>
                  <a:pt x="1555" y="86"/>
                  <a:pt x="1555" y="86"/>
                </a:cubicBezTo>
                <a:cubicBezTo>
                  <a:pt x="1555" y="85"/>
                  <a:pt x="1555" y="85"/>
                  <a:pt x="1555" y="85"/>
                </a:cubicBezTo>
                <a:cubicBezTo>
                  <a:pt x="1555" y="84"/>
                  <a:pt x="1555" y="84"/>
                  <a:pt x="1555" y="84"/>
                </a:cubicBezTo>
                <a:cubicBezTo>
                  <a:pt x="1554" y="84"/>
                  <a:pt x="1554" y="84"/>
                  <a:pt x="1554" y="84"/>
                </a:cubicBezTo>
                <a:cubicBezTo>
                  <a:pt x="1554" y="85"/>
                  <a:pt x="1554" y="85"/>
                  <a:pt x="1554" y="85"/>
                </a:cubicBezTo>
                <a:close/>
                <a:moveTo>
                  <a:pt x="1497" y="361"/>
                </a:moveTo>
                <a:cubicBezTo>
                  <a:pt x="1495" y="359"/>
                  <a:pt x="1495" y="359"/>
                  <a:pt x="1495" y="359"/>
                </a:cubicBezTo>
                <a:cubicBezTo>
                  <a:pt x="1495" y="361"/>
                  <a:pt x="1495" y="361"/>
                  <a:pt x="1495" y="361"/>
                </a:cubicBezTo>
                <a:cubicBezTo>
                  <a:pt x="1496" y="361"/>
                  <a:pt x="1496" y="361"/>
                  <a:pt x="1496" y="361"/>
                </a:cubicBezTo>
                <a:cubicBezTo>
                  <a:pt x="1497" y="361"/>
                  <a:pt x="1497" y="361"/>
                  <a:pt x="1497" y="361"/>
                </a:cubicBezTo>
                <a:close/>
                <a:moveTo>
                  <a:pt x="1611" y="263"/>
                </a:moveTo>
                <a:cubicBezTo>
                  <a:pt x="1612" y="263"/>
                  <a:pt x="1612" y="263"/>
                  <a:pt x="1612" y="263"/>
                </a:cubicBezTo>
                <a:cubicBezTo>
                  <a:pt x="1613" y="263"/>
                  <a:pt x="1613" y="263"/>
                  <a:pt x="1613" y="263"/>
                </a:cubicBezTo>
                <a:cubicBezTo>
                  <a:pt x="1612" y="262"/>
                  <a:pt x="1612" y="262"/>
                  <a:pt x="1612" y="262"/>
                </a:cubicBezTo>
                <a:cubicBezTo>
                  <a:pt x="1611" y="263"/>
                  <a:pt x="1611" y="263"/>
                  <a:pt x="1611" y="263"/>
                </a:cubicBezTo>
                <a:close/>
                <a:moveTo>
                  <a:pt x="1527" y="309"/>
                </a:moveTo>
                <a:cubicBezTo>
                  <a:pt x="1526" y="308"/>
                  <a:pt x="1526" y="308"/>
                  <a:pt x="1526" y="308"/>
                </a:cubicBezTo>
                <a:cubicBezTo>
                  <a:pt x="1526" y="307"/>
                  <a:pt x="1526" y="307"/>
                  <a:pt x="1526" y="307"/>
                </a:cubicBezTo>
                <a:cubicBezTo>
                  <a:pt x="1525" y="307"/>
                  <a:pt x="1525" y="307"/>
                  <a:pt x="1525" y="307"/>
                </a:cubicBezTo>
                <a:cubicBezTo>
                  <a:pt x="1525" y="308"/>
                  <a:pt x="1525" y="308"/>
                  <a:pt x="1525" y="308"/>
                </a:cubicBezTo>
                <a:cubicBezTo>
                  <a:pt x="1526" y="309"/>
                  <a:pt x="1526" y="309"/>
                  <a:pt x="1526" y="309"/>
                </a:cubicBezTo>
                <a:cubicBezTo>
                  <a:pt x="1526" y="310"/>
                  <a:pt x="1526" y="310"/>
                  <a:pt x="1526" y="310"/>
                </a:cubicBezTo>
                <a:cubicBezTo>
                  <a:pt x="1527" y="309"/>
                  <a:pt x="1527" y="309"/>
                  <a:pt x="1527" y="309"/>
                </a:cubicBezTo>
                <a:close/>
                <a:moveTo>
                  <a:pt x="1629" y="256"/>
                </a:moveTo>
                <a:cubicBezTo>
                  <a:pt x="1630" y="256"/>
                  <a:pt x="1630" y="256"/>
                  <a:pt x="1630" y="256"/>
                </a:cubicBezTo>
                <a:cubicBezTo>
                  <a:pt x="1629" y="255"/>
                  <a:pt x="1629" y="255"/>
                  <a:pt x="1629" y="255"/>
                </a:cubicBezTo>
                <a:cubicBezTo>
                  <a:pt x="1627" y="256"/>
                  <a:pt x="1627" y="256"/>
                  <a:pt x="1627" y="256"/>
                </a:cubicBezTo>
                <a:cubicBezTo>
                  <a:pt x="1626" y="257"/>
                  <a:pt x="1626" y="257"/>
                  <a:pt x="1626" y="257"/>
                </a:cubicBezTo>
                <a:cubicBezTo>
                  <a:pt x="1627" y="257"/>
                  <a:pt x="1627" y="257"/>
                  <a:pt x="1627" y="257"/>
                </a:cubicBezTo>
                <a:cubicBezTo>
                  <a:pt x="1629" y="256"/>
                  <a:pt x="1629" y="256"/>
                  <a:pt x="1629" y="256"/>
                </a:cubicBezTo>
                <a:close/>
                <a:moveTo>
                  <a:pt x="1553" y="87"/>
                </a:moveTo>
                <a:cubicBezTo>
                  <a:pt x="1553" y="86"/>
                  <a:pt x="1553" y="86"/>
                  <a:pt x="1553" y="86"/>
                </a:cubicBezTo>
                <a:cubicBezTo>
                  <a:pt x="1553" y="85"/>
                  <a:pt x="1553" y="85"/>
                  <a:pt x="1553" y="85"/>
                </a:cubicBezTo>
                <a:cubicBezTo>
                  <a:pt x="1552" y="85"/>
                  <a:pt x="1552" y="85"/>
                  <a:pt x="1552" y="85"/>
                </a:cubicBezTo>
                <a:cubicBezTo>
                  <a:pt x="1551" y="84"/>
                  <a:pt x="1551" y="84"/>
                  <a:pt x="1551" y="84"/>
                </a:cubicBezTo>
                <a:cubicBezTo>
                  <a:pt x="1550" y="84"/>
                  <a:pt x="1550" y="84"/>
                  <a:pt x="1550" y="84"/>
                </a:cubicBezTo>
                <a:cubicBezTo>
                  <a:pt x="1549" y="84"/>
                  <a:pt x="1549" y="84"/>
                  <a:pt x="1549" y="84"/>
                </a:cubicBezTo>
                <a:cubicBezTo>
                  <a:pt x="1550" y="85"/>
                  <a:pt x="1550" y="85"/>
                  <a:pt x="1550" y="85"/>
                </a:cubicBezTo>
                <a:cubicBezTo>
                  <a:pt x="1550" y="86"/>
                  <a:pt x="1550" y="86"/>
                  <a:pt x="1550" y="86"/>
                </a:cubicBezTo>
                <a:cubicBezTo>
                  <a:pt x="1549" y="87"/>
                  <a:pt x="1549" y="87"/>
                  <a:pt x="1549" y="87"/>
                </a:cubicBezTo>
                <a:cubicBezTo>
                  <a:pt x="1549" y="88"/>
                  <a:pt x="1549" y="88"/>
                  <a:pt x="1549" y="88"/>
                </a:cubicBezTo>
                <a:cubicBezTo>
                  <a:pt x="1551" y="88"/>
                  <a:pt x="1551" y="88"/>
                  <a:pt x="1551" y="88"/>
                </a:cubicBezTo>
                <a:cubicBezTo>
                  <a:pt x="1553" y="87"/>
                  <a:pt x="1553" y="87"/>
                  <a:pt x="1553" y="87"/>
                </a:cubicBezTo>
                <a:close/>
                <a:moveTo>
                  <a:pt x="1687" y="32"/>
                </a:moveTo>
                <a:cubicBezTo>
                  <a:pt x="1687" y="32"/>
                  <a:pt x="1687" y="32"/>
                  <a:pt x="1688" y="31"/>
                </a:cubicBezTo>
                <a:cubicBezTo>
                  <a:pt x="1688" y="31"/>
                  <a:pt x="1688" y="31"/>
                  <a:pt x="1689" y="30"/>
                </a:cubicBezTo>
                <a:cubicBezTo>
                  <a:pt x="1689" y="30"/>
                  <a:pt x="1689" y="30"/>
                  <a:pt x="1687" y="29"/>
                </a:cubicBezTo>
                <a:cubicBezTo>
                  <a:pt x="1687" y="29"/>
                  <a:pt x="1687" y="29"/>
                  <a:pt x="1686" y="29"/>
                </a:cubicBezTo>
                <a:cubicBezTo>
                  <a:pt x="1686" y="29"/>
                  <a:pt x="1686" y="29"/>
                  <a:pt x="1685" y="31"/>
                </a:cubicBezTo>
                <a:cubicBezTo>
                  <a:pt x="1685" y="31"/>
                  <a:pt x="1685" y="31"/>
                  <a:pt x="1684" y="32"/>
                </a:cubicBezTo>
                <a:cubicBezTo>
                  <a:pt x="1684" y="32"/>
                  <a:pt x="1684" y="32"/>
                  <a:pt x="1686" y="33"/>
                </a:cubicBezTo>
                <a:cubicBezTo>
                  <a:pt x="1686" y="33"/>
                  <a:pt x="1686" y="33"/>
                  <a:pt x="1687" y="32"/>
                </a:cubicBezTo>
                <a:close/>
                <a:moveTo>
                  <a:pt x="1752" y="55"/>
                </a:moveTo>
                <a:cubicBezTo>
                  <a:pt x="1752" y="57"/>
                  <a:pt x="1752" y="57"/>
                  <a:pt x="1752" y="57"/>
                </a:cubicBezTo>
                <a:cubicBezTo>
                  <a:pt x="1753" y="57"/>
                  <a:pt x="1753" y="57"/>
                  <a:pt x="1753" y="57"/>
                </a:cubicBezTo>
                <a:cubicBezTo>
                  <a:pt x="1754" y="58"/>
                  <a:pt x="1754" y="58"/>
                  <a:pt x="1754" y="58"/>
                </a:cubicBezTo>
                <a:cubicBezTo>
                  <a:pt x="1754" y="59"/>
                  <a:pt x="1754" y="59"/>
                  <a:pt x="1754" y="59"/>
                </a:cubicBezTo>
                <a:cubicBezTo>
                  <a:pt x="1755" y="62"/>
                  <a:pt x="1755" y="62"/>
                  <a:pt x="1755" y="62"/>
                </a:cubicBezTo>
                <a:cubicBezTo>
                  <a:pt x="1756" y="63"/>
                  <a:pt x="1756" y="63"/>
                  <a:pt x="1756" y="63"/>
                </a:cubicBezTo>
                <a:cubicBezTo>
                  <a:pt x="1757" y="63"/>
                  <a:pt x="1757" y="63"/>
                  <a:pt x="1757" y="63"/>
                </a:cubicBezTo>
                <a:cubicBezTo>
                  <a:pt x="1756" y="64"/>
                  <a:pt x="1756" y="64"/>
                  <a:pt x="1756" y="64"/>
                </a:cubicBezTo>
                <a:cubicBezTo>
                  <a:pt x="1755" y="64"/>
                  <a:pt x="1755" y="64"/>
                  <a:pt x="1755" y="64"/>
                </a:cubicBezTo>
                <a:cubicBezTo>
                  <a:pt x="1754" y="66"/>
                  <a:pt x="1754" y="66"/>
                  <a:pt x="1754" y="66"/>
                </a:cubicBezTo>
                <a:cubicBezTo>
                  <a:pt x="1756" y="69"/>
                  <a:pt x="1756" y="69"/>
                  <a:pt x="1756" y="69"/>
                </a:cubicBezTo>
                <a:cubicBezTo>
                  <a:pt x="1756" y="70"/>
                  <a:pt x="1756" y="70"/>
                  <a:pt x="1756" y="70"/>
                </a:cubicBezTo>
                <a:cubicBezTo>
                  <a:pt x="1756" y="72"/>
                  <a:pt x="1756" y="72"/>
                  <a:pt x="1756" y="72"/>
                </a:cubicBezTo>
                <a:cubicBezTo>
                  <a:pt x="1757" y="72"/>
                  <a:pt x="1757" y="72"/>
                  <a:pt x="1757" y="72"/>
                </a:cubicBezTo>
                <a:cubicBezTo>
                  <a:pt x="1757" y="73"/>
                  <a:pt x="1757" y="73"/>
                  <a:pt x="1757" y="73"/>
                </a:cubicBezTo>
                <a:cubicBezTo>
                  <a:pt x="1756" y="74"/>
                  <a:pt x="1756" y="74"/>
                  <a:pt x="1756" y="74"/>
                </a:cubicBezTo>
                <a:cubicBezTo>
                  <a:pt x="1757" y="76"/>
                  <a:pt x="1757" y="76"/>
                  <a:pt x="1757" y="76"/>
                </a:cubicBezTo>
                <a:cubicBezTo>
                  <a:pt x="1758" y="78"/>
                  <a:pt x="1758" y="78"/>
                  <a:pt x="1758" y="78"/>
                </a:cubicBezTo>
                <a:cubicBezTo>
                  <a:pt x="1759" y="79"/>
                  <a:pt x="1759" y="79"/>
                  <a:pt x="1759" y="79"/>
                </a:cubicBezTo>
                <a:cubicBezTo>
                  <a:pt x="1759" y="80"/>
                  <a:pt x="1759" y="80"/>
                  <a:pt x="1759" y="80"/>
                </a:cubicBezTo>
                <a:cubicBezTo>
                  <a:pt x="1760" y="81"/>
                  <a:pt x="1760" y="81"/>
                  <a:pt x="1760" y="81"/>
                </a:cubicBezTo>
                <a:cubicBezTo>
                  <a:pt x="1760" y="80"/>
                  <a:pt x="1761" y="80"/>
                  <a:pt x="1761" y="80"/>
                </a:cubicBezTo>
                <a:cubicBezTo>
                  <a:pt x="1762" y="79"/>
                  <a:pt x="1762" y="79"/>
                  <a:pt x="1762" y="79"/>
                </a:cubicBezTo>
                <a:cubicBezTo>
                  <a:pt x="1763" y="77"/>
                  <a:pt x="1763" y="77"/>
                  <a:pt x="1763" y="77"/>
                </a:cubicBezTo>
                <a:cubicBezTo>
                  <a:pt x="1764" y="76"/>
                  <a:pt x="1764" y="76"/>
                  <a:pt x="1764" y="76"/>
                </a:cubicBezTo>
                <a:cubicBezTo>
                  <a:pt x="1764" y="75"/>
                  <a:pt x="1764" y="75"/>
                  <a:pt x="1764" y="75"/>
                </a:cubicBezTo>
                <a:cubicBezTo>
                  <a:pt x="1764" y="74"/>
                  <a:pt x="1764" y="74"/>
                  <a:pt x="1764" y="74"/>
                </a:cubicBezTo>
                <a:cubicBezTo>
                  <a:pt x="1767" y="73"/>
                  <a:pt x="1767" y="73"/>
                  <a:pt x="1767" y="73"/>
                </a:cubicBezTo>
                <a:cubicBezTo>
                  <a:pt x="1768" y="72"/>
                  <a:pt x="1768" y="72"/>
                  <a:pt x="1768" y="72"/>
                </a:cubicBezTo>
                <a:cubicBezTo>
                  <a:pt x="1769" y="73"/>
                  <a:pt x="1769" y="73"/>
                  <a:pt x="1769" y="73"/>
                </a:cubicBezTo>
                <a:cubicBezTo>
                  <a:pt x="1770" y="73"/>
                  <a:pt x="1770" y="73"/>
                  <a:pt x="1770" y="73"/>
                </a:cubicBezTo>
                <a:cubicBezTo>
                  <a:pt x="1770" y="72"/>
                  <a:pt x="1770" y="72"/>
                  <a:pt x="1770" y="72"/>
                </a:cubicBezTo>
                <a:cubicBezTo>
                  <a:pt x="1771" y="71"/>
                  <a:pt x="1771" y="71"/>
                  <a:pt x="1771" y="71"/>
                </a:cubicBezTo>
                <a:cubicBezTo>
                  <a:pt x="1772" y="70"/>
                  <a:pt x="1772" y="70"/>
                  <a:pt x="1772" y="70"/>
                </a:cubicBezTo>
                <a:cubicBezTo>
                  <a:pt x="1774" y="69"/>
                  <a:pt x="1774" y="69"/>
                  <a:pt x="1774" y="69"/>
                </a:cubicBezTo>
                <a:cubicBezTo>
                  <a:pt x="1775" y="68"/>
                  <a:pt x="1775" y="68"/>
                  <a:pt x="1775" y="68"/>
                </a:cubicBezTo>
                <a:cubicBezTo>
                  <a:pt x="1776" y="67"/>
                  <a:pt x="1776" y="67"/>
                  <a:pt x="1776" y="67"/>
                </a:cubicBezTo>
                <a:cubicBezTo>
                  <a:pt x="1777" y="65"/>
                  <a:pt x="1777" y="65"/>
                  <a:pt x="1777" y="65"/>
                </a:cubicBezTo>
                <a:cubicBezTo>
                  <a:pt x="1776" y="63"/>
                  <a:pt x="1776" y="63"/>
                  <a:pt x="1776" y="63"/>
                </a:cubicBezTo>
                <a:cubicBezTo>
                  <a:pt x="1775" y="61"/>
                  <a:pt x="1775" y="61"/>
                  <a:pt x="1775" y="61"/>
                </a:cubicBezTo>
                <a:cubicBezTo>
                  <a:pt x="1774" y="60"/>
                  <a:pt x="1774" y="60"/>
                  <a:pt x="1774" y="60"/>
                </a:cubicBezTo>
                <a:cubicBezTo>
                  <a:pt x="1774" y="59"/>
                  <a:pt x="1774" y="59"/>
                  <a:pt x="1774" y="59"/>
                </a:cubicBezTo>
                <a:cubicBezTo>
                  <a:pt x="1772" y="57"/>
                  <a:pt x="1772" y="57"/>
                  <a:pt x="1772" y="57"/>
                </a:cubicBezTo>
                <a:cubicBezTo>
                  <a:pt x="1771" y="57"/>
                  <a:pt x="1771" y="57"/>
                  <a:pt x="1771" y="57"/>
                </a:cubicBezTo>
                <a:cubicBezTo>
                  <a:pt x="1770" y="58"/>
                  <a:pt x="1770" y="58"/>
                  <a:pt x="1770" y="58"/>
                </a:cubicBezTo>
                <a:cubicBezTo>
                  <a:pt x="1769" y="57"/>
                  <a:pt x="1769" y="57"/>
                  <a:pt x="1769" y="57"/>
                </a:cubicBezTo>
                <a:cubicBezTo>
                  <a:pt x="1768" y="56"/>
                  <a:pt x="1768" y="56"/>
                  <a:pt x="1768" y="56"/>
                </a:cubicBezTo>
                <a:cubicBezTo>
                  <a:pt x="1766" y="55"/>
                  <a:pt x="1766" y="55"/>
                  <a:pt x="1766" y="55"/>
                </a:cubicBezTo>
                <a:cubicBezTo>
                  <a:pt x="1765" y="55"/>
                  <a:pt x="1765" y="55"/>
                  <a:pt x="1765" y="55"/>
                </a:cubicBezTo>
                <a:cubicBezTo>
                  <a:pt x="1764" y="55"/>
                  <a:pt x="1764" y="55"/>
                  <a:pt x="1764" y="55"/>
                </a:cubicBezTo>
                <a:cubicBezTo>
                  <a:pt x="1764" y="54"/>
                  <a:pt x="1764" y="54"/>
                  <a:pt x="1764" y="54"/>
                </a:cubicBezTo>
                <a:cubicBezTo>
                  <a:pt x="1763" y="53"/>
                  <a:pt x="1763" y="53"/>
                  <a:pt x="1763" y="53"/>
                </a:cubicBezTo>
                <a:cubicBezTo>
                  <a:pt x="1762" y="53"/>
                  <a:pt x="1762" y="53"/>
                  <a:pt x="1762" y="53"/>
                </a:cubicBezTo>
                <a:cubicBezTo>
                  <a:pt x="1762" y="54"/>
                  <a:pt x="1762" y="54"/>
                  <a:pt x="1762" y="54"/>
                </a:cubicBezTo>
                <a:cubicBezTo>
                  <a:pt x="1761" y="54"/>
                  <a:pt x="1761" y="54"/>
                  <a:pt x="1761" y="54"/>
                </a:cubicBezTo>
                <a:cubicBezTo>
                  <a:pt x="1760" y="52"/>
                  <a:pt x="1760" y="52"/>
                  <a:pt x="1760" y="52"/>
                </a:cubicBezTo>
                <a:cubicBezTo>
                  <a:pt x="1759" y="52"/>
                  <a:pt x="1759" y="52"/>
                  <a:pt x="1759" y="52"/>
                </a:cubicBezTo>
                <a:cubicBezTo>
                  <a:pt x="1759" y="53"/>
                  <a:pt x="1759" y="53"/>
                  <a:pt x="1759" y="53"/>
                </a:cubicBezTo>
                <a:cubicBezTo>
                  <a:pt x="1760" y="54"/>
                  <a:pt x="1760" y="54"/>
                  <a:pt x="1760" y="54"/>
                </a:cubicBezTo>
                <a:cubicBezTo>
                  <a:pt x="1759" y="55"/>
                  <a:pt x="1759" y="55"/>
                  <a:pt x="1759" y="55"/>
                </a:cubicBezTo>
                <a:cubicBezTo>
                  <a:pt x="1759" y="56"/>
                  <a:pt x="1759" y="56"/>
                  <a:pt x="1759" y="56"/>
                </a:cubicBezTo>
                <a:cubicBezTo>
                  <a:pt x="1758" y="55"/>
                  <a:pt x="1758" y="55"/>
                  <a:pt x="1758" y="55"/>
                </a:cubicBezTo>
                <a:cubicBezTo>
                  <a:pt x="1758" y="51"/>
                  <a:pt x="1758" y="51"/>
                  <a:pt x="1758" y="51"/>
                </a:cubicBezTo>
                <a:cubicBezTo>
                  <a:pt x="1757" y="51"/>
                  <a:pt x="1757" y="51"/>
                  <a:pt x="1757" y="51"/>
                </a:cubicBezTo>
                <a:cubicBezTo>
                  <a:pt x="1756" y="50"/>
                  <a:pt x="1756" y="50"/>
                  <a:pt x="1756" y="50"/>
                </a:cubicBezTo>
                <a:cubicBezTo>
                  <a:pt x="1754" y="50"/>
                  <a:pt x="1754" y="50"/>
                  <a:pt x="1754" y="50"/>
                </a:cubicBezTo>
                <a:cubicBezTo>
                  <a:pt x="1753" y="50"/>
                  <a:pt x="1753" y="50"/>
                  <a:pt x="1753" y="50"/>
                </a:cubicBezTo>
                <a:cubicBezTo>
                  <a:pt x="1752" y="51"/>
                  <a:pt x="1752" y="51"/>
                  <a:pt x="1752" y="51"/>
                </a:cubicBezTo>
                <a:cubicBezTo>
                  <a:pt x="1753" y="52"/>
                  <a:pt x="1753" y="52"/>
                  <a:pt x="1753" y="52"/>
                </a:cubicBezTo>
                <a:cubicBezTo>
                  <a:pt x="1754" y="53"/>
                  <a:pt x="1754" y="53"/>
                  <a:pt x="1754" y="53"/>
                </a:cubicBezTo>
                <a:cubicBezTo>
                  <a:pt x="1755" y="54"/>
                  <a:pt x="1755" y="54"/>
                  <a:pt x="1755" y="54"/>
                </a:cubicBezTo>
                <a:cubicBezTo>
                  <a:pt x="1754" y="54"/>
                  <a:pt x="1754" y="54"/>
                  <a:pt x="1754" y="54"/>
                </a:cubicBezTo>
                <a:cubicBezTo>
                  <a:pt x="1753" y="54"/>
                  <a:pt x="1753" y="54"/>
                  <a:pt x="1753" y="54"/>
                </a:cubicBezTo>
                <a:cubicBezTo>
                  <a:pt x="1753" y="53"/>
                  <a:pt x="1753" y="53"/>
                  <a:pt x="1753" y="53"/>
                </a:cubicBezTo>
                <a:cubicBezTo>
                  <a:pt x="1752" y="53"/>
                  <a:pt x="1752" y="53"/>
                  <a:pt x="1752" y="53"/>
                </a:cubicBezTo>
                <a:cubicBezTo>
                  <a:pt x="1751" y="53"/>
                  <a:pt x="1751" y="53"/>
                  <a:pt x="1751" y="53"/>
                </a:cubicBezTo>
                <a:cubicBezTo>
                  <a:pt x="1752" y="54"/>
                  <a:pt x="1752" y="54"/>
                  <a:pt x="1752" y="54"/>
                </a:cubicBezTo>
                <a:cubicBezTo>
                  <a:pt x="1752" y="55"/>
                  <a:pt x="1752" y="55"/>
                  <a:pt x="1752" y="55"/>
                </a:cubicBezTo>
                <a:close/>
                <a:moveTo>
                  <a:pt x="1551" y="82"/>
                </a:moveTo>
                <a:cubicBezTo>
                  <a:pt x="1551" y="81"/>
                  <a:pt x="1551" y="81"/>
                  <a:pt x="1551" y="81"/>
                </a:cubicBezTo>
                <a:cubicBezTo>
                  <a:pt x="1551" y="80"/>
                  <a:pt x="1551" y="80"/>
                  <a:pt x="1551" y="80"/>
                </a:cubicBezTo>
                <a:cubicBezTo>
                  <a:pt x="1551" y="79"/>
                  <a:pt x="1551" y="79"/>
                  <a:pt x="1551" y="79"/>
                </a:cubicBezTo>
                <a:cubicBezTo>
                  <a:pt x="1553" y="81"/>
                  <a:pt x="1553" y="81"/>
                  <a:pt x="1553" y="81"/>
                </a:cubicBezTo>
                <a:cubicBezTo>
                  <a:pt x="1554" y="80"/>
                  <a:pt x="1554" y="80"/>
                  <a:pt x="1554" y="80"/>
                </a:cubicBezTo>
                <a:cubicBezTo>
                  <a:pt x="1553" y="79"/>
                  <a:pt x="1553" y="79"/>
                  <a:pt x="1553" y="79"/>
                </a:cubicBezTo>
                <a:cubicBezTo>
                  <a:pt x="1552" y="78"/>
                  <a:pt x="1552" y="78"/>
                  <a:pt x="1552" y="78"/>
                </a:cubicBezTo>
                <a:cubicBezTo>
                  <a:pt x="1551" y="78"/>
                  <a:pt x="1551" y="78"/>
                  <a:pt x="1551" y="78"/>
                </a:cubicBezTo>
                <a:cubicBezTo>
                  <a:pt x="1550" y="78"/>
                  <a:pt x="1550" y="78"/>
                  <a:pt x="1550" y="78"/>
                </a:cubicBezTo>
                <a:cubicBezTo>
                  <a:pt x="1550" y="80"/>
                  <a:pt x="1550" y="80"/>
                  <a:pt x="1550" y="80"/>
                </a:cubicBezTo>
                <a:cubicBezTo>
                  <a:pt x="1549" y="80"/>
                  <a:pt x="1549" y="80"/>
                  <a:pt x="1549" y="80"/>
                </a:cubicBezTo>
                <a:cubicBezTo>
                  <a:pt x="1550" y="81"/>
                  <a:pt x="1550" y="81"/>
                  <a:pt x="1550" y="81"/>
                </a:cubicBezTo>
                <a:cubicBezTo>
                  <a:pt x="1551" y="82"/>
                  <a:pt x="1551" y="82"/>
                  <a:pt x="1551" y="82"/>
                </a:cubicBezTo>
                <a:close/>
                <a:moveTo>
                  <a:pt x="1760" y="81"/>
                </a:moveTo>
                <a:cubicBezTo>
                  <a:pt x="1760" y="81"/>
                  <a:pt x="1760" y="81"/>
                  <a:pt x="1760" y="81"/>
                </a:cubicBezTo>
                <a:cubicBezTo>
                  <a:pt x="1760" y="81"/>
                  <a:pt x="1760" y="81"/>
                  <a:pt x="1760" y="81"/>
                </a:cubicBezTo>
                <a:close/>
                <a:moveTo>
                  <a:pt x="1766" y="113"/>
                </a:moveTo>
                <a:cubicBezTo>
                  <a:pt x="1765" y="113"/>
                  <a:pt x="1765" y="113"/>
                  <a:pt x="1765" y="113"/>
                </a:cubicBezTo>
                <a:cubicBezTo>
                  <a:pt x="1765" y="114"/>
                  <a:pt x="1765" y="114"/>
                  <a:pt x="1765" y="114"/>
                </a:cubicBezTo>
                <a:cubicBezTo>
                  <a:pt x="1764" y="114"/>
                  <a:pt x="1764" y="114"/>
                  <a:pt x="1764" y="114"/>
                </a:cubicBezTo>
                <a:cubicBezTo>
                  <a:pt x="1763" y="114"/>
                  <a:pt x="1763" y="114"/>
                  <a:pt x="1763" y="114"/>
                </a:cubicBezTo>
                <a:cubicBezTo>
                  <a:pt x="1762" y="114"/>
                  <a:pt x="1762" y="114"/>
                  <a:pt x="1762" y="114"/>
                </a:cubicBezTo>
                <a:cubicBezTo>
                  <a:pt x="1762" y="115"/>
                  <a:pt x="1762" y="115"/>
                  <a:pt x="1762" y="115"/>
                </a:cubicBezTo>
                <a:cubicBezTo>
                  <a:pt x="1761" y="114"/>
                  <a:pt x="1761" y="114"/>
                  <a:pt x="1761" y="114"/>
                </a:cubicBezTo>
                <a:cubicBezTo>
                  <a:pt x="1760" y="115"/>
                  <a:pt x="1760" y="115"/>
                  <a:pt x="1760" y="115"/>
                </a:cubicBezTo>
                <a:cubicBezTo>
                  <a:pt x="1760" y="116"/>
                  <a:pt x="1760" y="116"/>
                  <a:pt x="1760" y="116"/>
                </a:cubicBezTo>
                <a:cubicBezTo>
                  <a:pt x="1761" y="116"/>
                  <a:pt x="1761" y="116"/>
                  <a:pt x="1761" y="116"/>
                </a:cubicBezTo>
                <a:cubicBezTo>
                  <a:pt x="1762" y="116"/>
                  <a:pt x="1762" y="116"/>
                  <a:pt x="1762" y="116"/>
                </a:cubicBezTo>
                <a:cubicBezTo>
                  <a:pt x="1763" y="116"/>
                  <a:pt x="1763" y="116"/>
                  <a:pt x="1763" y="116"/>
                </a:cubicBezTo>
                <a:cubicBezTo>
                  <a:pt x="1764" y="116"/>
                  <a:pt x="1764" y="116"/>
                  <a:pt x="1764" y="116"/>
                </a:cubicBezTo>
                <a:cubicBezTo>
                  <a:pt x="1765" y="116"/>
                  <a:pt x="1765" y="116"/>
                  <a:pt x="1765" y="116"/>
                </a:cubicBezTo>
                <a:cubicBezTo>
                  <a:pt x="1766" y="116"/>
                  <a:pt x="1766" y="116"/>
                  <a:pt x="1766" y="116"/>
                </a:cubicBezTo>
                <a:cubicBezTo>
                  <a:pt x="1767" y="115"/>
                  <a:pt x="1767" y="115"/>
                  <a:pt x="1767" y="115"/>
                </a:cubicBezTo>
                <a:cubicBezTo>
                  <a:pt x="1766" y="114"/>
                  <a:pt x="1766" y="114"/>
                  <a:pt x="1766" y="114"/>
                </a:cubicBezTo>
                <a:cubicBezTo>
                  <a:pt x="1767" y="114"/>
                  <a:pt x="1767" y="114"/>
                  <a:pt x="1767" y="114"/>
                </a:cubicBezTo>
                <a:cubicBezTo>
                  <a:pt x="1766" y="113"/>
                  <a:pt x="1766" y="113"/>
                  <a:pt x="1766" y="113"/>
                </a:cubicBezTo>
                <a:close/>
                <a:moveTo>
                  <a:pt x="1761" y="108"/>
                </a:moveTo>
                <a:cubicBezTo>
                  <a:pt x="1760" y="108"/>
                  <a:pt x="1760" y="108"/>
                  <a:pt x="1760" y="108"/>
                </a:cubicBezTo>
                <a:cubicBezTo>
                  <a:pt x="1760" y="109"/>
                  <a:pt x="1760" y="109"/>
                  <a:pt x="1760" y="109"/>
                </a:cubicBezTo>
                <a:cubicBezTo>
                  <a:pt x="1761" y="108"/>
                  <a:pt x="1761" y="108"/>
                  <a:pt x="1761" y="108"/>
                </a:cubicBezTo>
                <a:close/>
                <a:moveTo>
                  <a:pt x="2224" y="237"/>
                </a:moveTo>
                <a:cubicBezTo>
                  <a:pt x="2224" y="236"/>
                  <a:pt x="2224" y="236"/>
                  <a:pt x="2224" y="236"/>
                </a:cubicBezTo>
                <a:cubicBezTo>
                  <a:pt x="2224" y="235"/>
                  <a:pt x="2224" y="235"/>
                  <a:pt x="2224" y="235"/>
                </a:cubicBezTo>
                <a:cubicBezTo>
                  <a:pt x="2223" y="235"/>
                  <a:pt x="2223" y="235"/>
                  <a:pt x="2223" y="235"/>
                </a:cubicBezTo>
                <a:cubicBezTo>
                  <a:pt x="2224" y="237"/>
                  <a:pt x="2224" y="237"/>
                  <a:pt x="2224" y="237"/>
                </a:cubicBezTo>
                <a:close/>
                <a:moveTo>
                  <a:pt x="1758" y="109"/>
                </a:moveTo>
                <a:cubicBezTo>
                  <a:pt x="1759" y="108"/>
                  <a:pt x="1759" y="108"/>
                  <a:pt x="1759" y="108"/>
                </a:cubicBezTo>
                <a:cubicBezTo>
                  <a:pt x="1757" y="108"/>
                  <a:pt x="1757" y="108"/>
                  <a:pt x="1757" y="108"/>
                </a:cubicBezTo>
                <a:cubicBezTo>
                  <a:pt x="1758" y="109"/>
                  <a:pt x="1758" y="109"/>
                  <a:pt x="1758" y="109"/>
                </a:cubicBezTo>
                <a:close/>
                <a:moveTo>
                  <a:pt x="2123" y="353"/>
                </a:moveTo>
                <a:cubicBezTo>
                  <a:pt x="2123" y="354"/>
                  <a:pt x="2123" y="354"/>
                  <a:pt x="2123" y="354"/>
                </a:cubicBezTo>
                <a:cubicBezTo>
                  <a:pt x="2123" y="355"/>
                  <a:pt x="2123" y="355"/>
                  <a:pt x="2123" y="355"/>
                </a:cubicBezTo>
                <a:cubicBezTo>
                  <a:pt x="2124" y="355"/>
                  <a:pt x="2124" y="355"/>
                  <a:pt x="2124" y="355"/>
                </a:cubicBezTo>
                <a:cubicBezTo>
                  <a:pt x="2124" y="354"/>
                  <a:pt x="2124" y="354"/>
                  <a:pt x="2124" y="354"/>
                </a:cubicBezTo>
                <a:cubicBezTo>
                  <a:pt x="2123" y="353"/>
                  <a:pt x="2123" y="353"/>
                  <a:pt x="2123" y="353"/>
                </a:cubicBezTo>
                <a:close/>
                <a:moveTo>
                  <a:pt x="2118" y="348"/>
                </a:moveTo>
                <a:cubicBezTo>
                  <a:pt x="2117" y="348"/>
                  <a:pt x="2117" y="348"/>
                  <a:pt x="2117" y="348"/>
                </a:cubicBezTo>
                <a:cubicBezTo>
                  <a:pt x="2116" y="349"/>
                  <a:pt x="2116" y="349"/>
                  <a:pt x="2116" y="349"/>
                </a:cubicBezTo>
                <a:cubicBezTo>
                  <a:pt x="2115" y="349"/>
                  <a:pt x="2115" y="349"/>
                  <a:pt x="2115" y="349"/>
                </a:cubicBezTo>
                <a:cubicBezTo>
                  <a:pt x="2115" y="350"/>
                  <a:pt x="2115" y="350"/>
                  <a:pt x="2115" y="350"/>
                </a:cubicBezTo>
                <a:cubicBezTo>
                  <a:pt x="2116" y="351"/>
                  <a:pt x="2116" y="351"/>
                  <a:pt x="2116" y="351"/>
                </a:cubicBezTo>
                <a:cubicBezTo>
                  <a:pt x="2117" y="350"/>
                  <a:pt x="2117" y="350"/>
                  <a:pt x="2117" y="350"/>
                </a:cubicBezTo>
                <a:cubicBezTo>
                  <a:pt x="2117" y="351"/>
                  <a:pt x="2117" y="351"/>
                  <a:pt x="2117" y="351"/>
                </a:cubicBezTo>
                <a:cubicBezTo>
                  <a:pt x="2118" y="350"/>
                  <a:pt x="2118" y="350"/>
                  <a:pt x="2118" y="350"/>
                </a:cubicBezTo>
                <a:cubicBezTo>
                  <a:pt x="2117" y="349"/>
                  <a:pt x="2117" y="349"/>
                  <a:pt x="2117" y="349"/>
                </a:cubicBezTo>
                <a:cubicBezTo>
                  <a:pt x="2118" y="349"/>
                  <a:pt x="2118" y="349"/>
                  <a:pt x="2118" y="349"/>
                </a:cubicBezTo>
                <a:cubicBezTo>
                  <a:pt x="2118" y="348"/>
                  <a:pt x="2118" y="348"/>
                  <a:pt x="2118" y="348"/>
                </a:cubicBezTo>
                <a:close/>
                <a:moveTo>
                  <a:pt x="2125" y="354"/>
                </a:moveTo>
                <a:cubicBezTo>
                  <a:pt x="2124" y="355"/>
                  <a:pt x="2124" y="355"/>
                  <a:pt x="2124" y="355"/>
                </a:cubicBezTo>
                <a:cubicBezTo>
                  <a:pt x="2124" y="356"/>
                  <a:pt x="2124" y="356"/>
                  <a:pt x="2124" y="356"/>
                </a:cubicBezTo>
                <a:cubicBezTo>
                  <a:pt x="2125" y="355"/>
                  <a:pt x="2125" y="355"/>
                  <a:pt x="2125" y="355"/>
                </a:cubicBezTo>
                <a:cubicBezTo>
                  <a:pt x="2125" y="354"/>
                  <a:pt x="2125" y="354"/>
                  <a:pt x="2125" y="354"/>
                </a:cubicBezTo>
                <a:close/>
                <a:moveTo>
                  <a:pt x="2122" y="358"/>
                </a:moveTo>
                <a:cubicBezTo>
                  <a:pt x="2122" y="359"/>
                  <a:pt x="2122" y="359"/>
                  <a:pt x="2122" y="359"/>
                </a:cubicBezTo>
                <a:cubicBezTo>
                  <a:pt x="2123" y="360"/>
                  <a:pt x="2123" y="360"/>
                  <a:pt x="2123" y="360"/>
                </a:cubicBezTo>
                <a:cubicBezTo>
                  <a:pt x="2124" y="358"/>
                  <a:pt x="2124" y="358"/>
                  <a:pt x="2124" y="358"/>
                </a:cubicBezTo>
                <a:cubicBezTo>
                  <a:pt x="2125" y="358"/>
                  <a:pt x="2125" y="358"/>
                  <a:pt x="2125" y="358"/>
                </a:cubicBezTo>
                <a:cubicBezTo>
                  <a:pt x="2125" y="357"/>
                  <a:pt x="2125" y="357"/>
                  <a:pt x="2125" y="357"/>
                </a:cubicBezTo>
                <a:cubicBezTo>
                  <a:pt x="2125" y="356"/>
                  <a:pt x="2125" y="356"/>
                  <a:pt x="2125" y="356"/>
                </a:cubicBezTo>
                <a:cubicBezTo>
                  <a:pt x="2123" y="357"/>
                  <a:pt x="2123" y="357"/>
                  <a:pt x="2123" y="357"/>
                </a:cubicBezTo>
                <a:cubicBezTo>
                  <a:pt x="2122" y="358"/>
                  <a:pt x="2122" y="358"/>
                  <a:pt x="2122" y="358"/>
                </a:cubicBezTo>
                <a:close/>
                <a:moveTo>
                  <a:pt x="2125" y="348"/>
                </a:moveTo>
                <a:cubicBezTo>
                  <a:pt x="2124" y="348"/>
                  <a:pt x="2124" y="348"/>
                  <a:pt x="2124" y="348"/>
                </a:cubicBezTo>
                <a:cubicBezTo>
                  <a:pt x="2123" y="349"/>
                  <a:pt x="2123" y="349"/>
                  <a:pt x="2123" y="349"/>
                </a:cubicBezTo>
                <a:cubicBezTo>
                  <a:pt x="2123" y="348"/>
                  <a:pt x="2123" y="348"/>
                  <a:pt x="2123" y="348"/>
                </a:cubicBezTo>
                <a:cubicBezTo>
                  <a:pt x="2123" y="347"/>
                  <a:pt x="2123" y="347"/>
                  <a:pt x="2123" y="347"/>
                </a:cubicBezTo>
                <a:cubicBezTo>
                  <a:pt x="2121" y="347"/>
                  <a:pt x="2121" y="347"/>
                  <a:pt x="2121" y="347"/>
                </a:cubicBezTo>
                <a:cubicBezTo>
                  <a:pt x="2120" y="348"/>
                  <a:pt x="2120" y="348"/>
                  <a:pt x="2120" y="348"/>
                </a:cubicBezTo>
                <a:cubicBezTo>
                  <a:pt x="2120" y="349"/>
                  <a:pt x="2120" y="349"/>
                  <a:pt x="2120" y="349"/>
                </a:cubicBezTo>
                <a:cubicBezTo>
                  <a:pt x="2119" y="349"/>
                  <a:pt x="2119" y="349"/>
                  <a:pt x="2119" y="349"/>
                </a:cubicBezTo>
                <a:cubicBezTo>
                  <a:pt x="2119" y="350"/>
                  <a:pt x="2119" y="350"/>
                  <a:pt x="2119" y="350"/>
                </a:cubicBezTo>
                <a:cubicBezTo>
                  <a:pt x="2120" y="352"/>
                  <a:pt x="2120" y="352"/>
                  <a:pt x="2120" y="352"/>
                </a:cubicBezTo>
                <a:cubicBezTo>
                  <a:pt x="2120" y="351"/>
                  <a:pt x="2120" y="351"/>
                  <a:pt x="2120" y="351"/>
                </a:cubicBezTo>
                <a:cubicBezTo>
                  <a:pt x="2121" y="351"/>
                  <a:pt x="2121" y="351"/>
                  <a:pt x="2121" y="351"/>
                </a:cubicBezTo>
                <a:cubicBezTo>
                  <a:pt x="2122" y="352"/>
                  <a:pt x="2122" y="352"/>
                  <a:pt x="2122" y="352"/>
                </a:cubicBezTo>
                <a:cubicBezTo>
                  <a:pt x="2123" y="352"/>
                  <a:pt x="2123" y="352"/>
                  <a:pt x="2123" y="352"/>
                </a:cubicBezTo>
                <a:cubicBezTo>
                  <a:pt x="2124" y="352"/>
                  <a:pt x="2124" y="352"/>
                  <a:pt x="2124" y="352"/>
                </a:cubicBezTo>
                <a:cubicBezTo>
                  <a:pt x="2124" y="351"/>
                  <a:pt x="2124" y="351"/>
                  <a:pt x="2124" y="351"/>
                </a:cubicBezTo>
                <a:cubicBezTo>
                  <a:pt x="2124" y="350"/>
                  <a:pt x="2124" y="350"/>
                  <a:pt x="2124" y="350"/>
                </a:cubicBezTo>
                <a:cubicBezTo>
                  <a:pt x="2124" y="349"/>
                  <a:pt x="2124" y="349"/>
                  <a:pt x="2124" y="349"/>
                </a:cubicBezTo>
                <a:cubicBezTo>
                  <a:pt x="2125" y="349"/>
                  <a:pt x="2125" y="349"/>
                  <a:pt x="2125" y="349"/>
                </a:cubicBezTo>
                <a:cubicBezTo>
                  <a:pt x="2125" y="348"/>
                  <a:pt x="2125" y="348"/>
                  <a:pt x="2125" y="348"/>
                </a:cubicBezTo>
                <a:close/>
                <a:moveTo>
                  <a:pt x="1785" y="66"/>
                </a:moveTo>
                <a:cubicBezTo>
                  <a:pt x="1785" y="65"/>
                  <a:pt x="1785" y="65"/>
                  <a:pt x="1785" y="65"/>
                </a:cubicBezTo>
                <a:cubicBezTo>
                  <a:pt x="1784" y="65"/>
                  <a:pt x="1784" y="65"/>
                  <a:pt x="1784" y="65"/>
                </a:cubicBezTo>
                <a:cubicBezTo>
                  <a:pt x="1785" y="64"/>
                  <a:pt x="1785" y="64"/>
                  <a:pt x="1785" y="64"/>
                </a:cubicBezTo>
                <a:cubicBezTo>
                  <a:pt x="1784" y="64"/>
                  <a:pt x="1784" y="64"/>
                  <a:pt x="1784" y="64"/>
                </a:cubicBezTo>
                <a:cubicBezTo>
                  <a:pt x="1783" y="65"/>
                  <a:pt x="1783" y="65"/>
                  <a:pt x="1783" y="65"/>
                </a:cubicBezTo>
                <a:cubicBezTo>
                  <a:pt x="1784" y="66"/>
                  <a:pt x="1784" y="66"/>
                  <a:pt x="1784" y="66"/>
                </a:cubicBezTo>
                <a:cubicBezTo>
                  <a:pt x="1783" y="66"/>
                  <a:pt x="1783" y="66"/>
                  <a:pt x="1783" y="66"/>
                </a:cubicBezTo>
                <a:cubicBezTo>
                  <a:pt x="1783" y="67"/>
                  <a:pt x="1783" y="67"/>
                  <a:pt x="1783" y="67"/>
                </a:cubicBezTo>
                <a:cubicBezTo>
                  <a:pt x="1784" y="67"/>
                  <a:pt x="1784" y="67"/>
                  <a:pt x="1784" y="67"/>
                </a:cubicBezTo>
                <a:cubicBezTo>
                  <a:pt x="1785" y="66"/>
                  <a:pt x="1785" y="66"/>
                  <a:pt x="1785" y="66"/>
                </a:cubicBezTo>
                <a:close/>
                <a:moveTo>
                  <a:pt x="1763" y="103"/>
                </a:moveTo>
                <a:cubicBezTo>
                  <a:pt x="1762" y="103"/>
                  <a:pt x="1762" y="103"/>
                  <a:pt x="1762" y="103"/>
                </a:cubicBezTo>
                <a:cubicBezTo>
                  <a:pt x="1763" y="104"/>
                  <a:pt x="1763" y="104"/>
                  <a:pt x="1763" y="104"/>
                </a:cubicBezTo>
                <a:cubicBezTo>
                  <a:pt x="1764" y="103"/>
                  <a:pt x="1764" y="103"/>
                  <a:pt x="1764" y="103"/>
                </a:cubicBezTo>
                <a:cubicBezTo>
                  <a:pt x="1765" y="102"/>
                  <a:pt x="1765" y="102"/>
                  <a:pt x="1765" y="102"/>
                </a:cubicBezTo>
                <a:cubicBezTo>
                  <a:pt x="1764" y="102"/>
                  <a:pt x="1764" y="102"/>
                  <a:pt x="1764" y="102"/>
                </a:cubicBezTo>
                <a:cubicBezTo>
                  <a:pt x="1763" y="103"/>
                  <a:pt x="1763" y="103"/>
                  <a:pt x="1763" y="103"/>
                </a:cubicBezTo>
                <a:close/>
                <a:moveTo>
                  <a:pt x="1752" y="102"/>
                </a:moveTo>
                <a:cubicBezTo>
                  <a:pt x="1753" y="101"/>
                  <a:pt x="1753" y="101"/>
                  <a:pt x="1753" y="101"/>
                </a:cubicBezTo>
                <a:cubicBezTo>
                  <a:pt x="1754" y="102"/>
                  <a:pt x="1754" y="102"/>
                  <a:pt x="1754" y="102"/>
                </a:cubicBezTo>
                <a:cubicBezTo>
                  <a:pt x="1756" y="100"/>
                  <a:pt x="1756" y="100"/>
                  <a:pt x="1756" y="100"/>
                </a:cubicBezTo>
                <a:cubicBezTo>
                  <a:pt x="1756" y="99"/>
                  <a:pt x="1756" y="99"/>
                  <a:pt x="1756" y="99"/>
                </a:cubicBezTo>
                <a:cubicBezTo>
                  <a:pt x="1756" y="97"/>
                  <a:pt x="1756" y="97"/>
                  <a:pt x="1756" y="97"/>
                </a:cubicBezTo>
                <a:cubicBezTo>
                  <a:pt x="1755" y="97"/>
                  <a:pt x="1755" y="97"/>
                  <a:pt x="1755" y="97"/>
                </a:cubicBezTo>
                <a:cubicBezTo>
                  <a:pt x="1755" y="98"/>
                  <a:pt x="1755" y="98"/>
                  <a:pt x="1755" y="98"/>
                </a:cubicBezTo>
                <a:cubicBezTo>
                  <a:pt x="1754" y="99"/>
                  <a:pt x="1754" y="99"/>
                  <a:pt x="1754" y="99"/>
                </a:cubicBezTo>
                <a:cubicBezTo>
                  <a:pt x="1752" y="100"/>
                  <a:pt x="1752" y="100"/>
                  <a:pt x="1752" y="100"/>
                </a:cubicBezTo>
                <a:cubicBezTo>
                  <a:pt x="1751" y="101"/>
                  <a:pt x="1751" y="101"/>
                  <a:pt x="1751" y="101"/>
                </a:cubicBezTo>
                <a:cubicBezTo>
                  <a:pt x="1750" y="103"/>
                  <a:pt x="1750" y="103"/>
                  <a:pt x="1750" y="103"/>
                </a:cubicBezTo>
                <a:cubicBezTo>
                  <a:pt x="1751" y="103"/>
                  <a:pt x="1751" y="103"/>
                  <a:pt x="1751" y="103"/>
                </a:cubicBezTo>
                <a:cubicBezTo>
                  <a:pt x="1752" y="102"/>
                  <a:pt x="1752" y="102"/>
                  <a:pt x="1752" y="102"/>
                </a:cubicBezTo>
                <a:close/>
                <a:moveTo>
                  <a:pt x="1759" y="106"/>
                </a:moveTo>
                <a:cubicBezTo>
                  <a:pt x="1759" y="107"/>
                  <a:pt x="1759" y="107"/>
                  <a:pt x="1759" y="107"/>
                </a:cubicBezTo>
                <a:cubicBezTo>
                  <a:pt x="1759" y="108"/>
                  <a:pt x="1759" y="108"/>
                  <a:pt x="1759" y="108"/>
                </a:cubicBezTo>
                <a:cubicBezTo>
                  <a:pt x="1760" y="108"/>
                  <a:pt x="1760" y="108"/>
                  <a:pt x="1760" y="108"/>
                </a:cubicBezTo>
                <a:cubicBezTo>
                  <a:pt x="1760" y="106"/>
                  <a:pt x="1760" y="106"/>
                  <a:pt x="1760" y="106"/>
                </a:cubicBezTo>
                <a:cubicBezTo>
                  <a:pt x="1759" y="106"/>
                  <a:pt x="1759" y="106"/>
                  <a:pt x="1759" y="106"/>
                </a:cubicBezTo>
                <a:close/>
                <a:moveTo>
                  <a:pt x="1764" y="105"/>
                </a:moveTo>
                <a:cubicBezTo>
                  <a:pt x="1765" y="106"/>
                  <a:pt x="1765" y="106"/>
                  <a:pt x="1765" y="106"/>
                </a:cubicBezTo>
                <a:cubicBezTo>
                  <a:pt x="1766" y="106"/>
                  <a:pt x="1766" y="106"/>
                  <a:pt x="1766" y="106"/>
                </a:cubicBezTo>
                <a:cubicBezTo>
                  <a:pt x="1766" y="105"/>
                  <a:pt x="1766" y="105"/>
                  <a:pt x="1766" y="105"/>
                </a:cubicBezTo>
                <a:cubicBezTo>
                  <a:pt x="1765" y="105"/>
                  <a:pt x="1765" y="105"/>
                  <a:pt x="1765" y="105"/>
                </a:cubicBezTo>
                <a:cubicBezTo>
                  <a:pt x="1764" y="104"/>
                  <a:pt x="1764" y="104"/>
                  <a:pt x="1764" y="104"/>
                </a:cubicBezTo>
                <a:cubicBezTo>
                  <a:pt x="1764" y="105"/>
                  <a:pt x="1764" y="105"/>
                  <a:pt x="1764" y="105"/>
                </a:cubicBezTo>
                <a:close/>
                <a:moveTo>
                  <a:pt x="2086" y="628"/>
                </a:moveTo>
                <a:cubicBezTo>
                  <a:pt x="2086" y="627"/>
                  <a:pt x="2086" y="627"/>
                  <a:pt x="2086" y="627"/>
                </a:cubicBezTo>
                <a:cubicBezTo>
                  <a:pt x="2086" y="627"/>
                  <a:pt x="2086" y="627"/>
                  <a:pt x="2085" y="627"/>
                </a:cubicBezTo>
                <a:cubicBezTo>
                  <a:pt x="2085" y="627"/>
                  <a:pt x="2085" y="627"/>
                  <a:pt x="2085" y="628"/>
                </a:cubicBezTo>
                <a:cubicBezTo>
                  <a:pt x="2085" y="628"/>
                  <a:pt x="2085" y="628"/>
                  <a:pt x="2086" y="628"/>
                </a:cubicBezTo>
                <a:close/>
                <a:moveTo>
                  <a:pt x="2075" y="642"/>
                </a:moveTo>
                <a:cubicBezTo>
                  <a:pt x="2074" y="641"/>
                  <a:pt x="2074" y="641"/>
                  <a:pt x="2074" y="641"/>
                </a:cubicBezTo>
                <a:cubicBezTo>
                  <a:pt x="2073" y="642"/>
                  <a:pt x="2073" y="642"/>
                  <a:pt x="2073" y="642"/>
                </a:cubicBezTo>
                <a:cubicBezTo>
                  <a:pt x="2074" y="642"/>
                  <a:pt x="2074" y="642"/>
                  <a:pt x="2074" y="642"/>
                </a:cubicBezTo>
                <a:cubicBezTo>
                  <a:pt x="2075" y="642"/>
                  <a:pt x="2075" y="642"/>
                  <a:pt x="2075" y="642"/>
                </a:cubicBezTo>
                <a:close/>
                <a:moveTo>
                  <a:pt x="2088" y="626"/>
                </a:moveTo>
                <a:cubicBezTo>
                  <a:pt x="2087" y="625"/>
                  <a:pt x="2087" y="625"/>
                  <a:pt x="2087" y="625"/>
                </a:cubicBezTo>
                <a:cubicBezTo>
                  <a:pt x="2087" y="626"/>
                  <a:pt x="2087" y="626"/>
                  <a:pt x="2087" y="626"/>
                </a:cubicBezTo>
                <a:cubicBezTo>
                  <a:pt x="2087" y="627"/>
                  <a:pt x="2087" y="627"/>
                  <a:pt x="2087" y="627"/>
                </a:cubicBezTo>
                <a:cubicBezTo>
                  <a:pt x="2088" y="627"/>
                  <a:pt x="2088" y="627"/>
                  <a:pt x="2088" y="627"/>
                </a:cubicBezTo>
                <a:cubicBezTo>
                  <a:pt x="2088" y="626"/>
                  <a:pt x="2088" y="626"/>
                  <a:pt x="2088" y="626"/>
                </a:cubicBezTo>
                <a:close/>
                <a:moveTo>
                  <a:pt x="2090" y="577"/>
                </a:moveTo>
                <a:cubicBezTo>
                  <a:pt x="2090" y="578"/>
                  <a:pt x="2090" y="578"/>
                  <a:pt x="2090" y="578"/>
                </a:cubicBezTo>
                <a:cubicBezTo>
                  <a:pt x="2092" y="578"/>
                  <a:pt x="2092" y="578"/>
                  <a:pt x="2092" y="578"/>
                </a:cubicBezTo>
                <a:cubicBezTo>
                  <a:pt x="2091" y="577"/>
                  <a:pt x="2091" y="577"/>
                  <a:pt x="2091" y="577"/>
                </a:cubicBezTo>
                <a:cubicBezTo>
                  <a:pt x="2090" y="577"/>
                  <a:pt x="2090" y="577"/>
                  <a:pt x="2090" y="577"/>
                </a:cubicBezTo>
                <a:close/>
                <a:moveTo>
                  <a:pt x="2093" y="578"/>
                </a:moveTo>
                <a:cubicBezTo>
                  <a:pt x="2092" y="578"/>
                  <a:pt x="2092" y="578"/>
                  <a:pt x="2092" y="578"/>
                </a:cubicBezTo>
                <a:cubicBezTo>
                  <a:pt x="2093" y="579"/>
                  <a:pt x="2093" y="579"/>
                  <a:pt x="2093" y="579"/>
                </a:cubicBezTo>
                <a:cubicBezTo>
                  <a:pt x="2093" y="578"/>
                  <a:pt x="2093" y="578"/>
                  <a:pt x="2093" y="578"/>
                </a:cubicBezTo>
                <a:close/>
                <a:moveTo>
                  <a:pt x="2025" y="676"/>
                </a:moveTo>
                <a:cubicBezTo>
                  <a:pt x="2025" y="677"/>
                  <a:pt x="2025" y="677"/>
                  <a:pt x="2025" y="677"/>
                </a:cubicBezTo>
                <a:cubicBezTo>
                  <a:pt x="2026" y="678"/>
                  <a:pt x="2026" y="678"/>
                  <a:pt x="2026" y="678"/>
                </a:cubicBezTo>
                <a:cubicBezTo>
                  <a:pt x="2028" y="678"/>
                  <a:pt x="2028" y="678"/>
                  <a:pt x="2028" y="678"/>
                </a:cubicBezTo>
                <a:cubicBezTo>
                  <a:pt x="2029" y="679"/>
                  <a:pt x="2029" y="679"/>
                  <a:pt x="2029" y="679"/>
                </a:cubicBezTo>
                <a:cubicBezTo>
                  <a:pt x="2030" y="679"/>
                  <a:pt x="2030" y="679"/>
                  <a:pt x="2030" y="679"/>
                </a:cubicBezTo>
                <a:cubicBezTo>
                  <a:pt x="2031" y="679"/>
                  <a:pt x="2031" y="679"/>
                  <a:pt x="2031" y="679"/>
                </a:cubicBezTo>
                <a:cubicBezTo>
                  <a:pt x="2032" y="678"/>
                  <a:pt x="2032" y="678"/>
                  <a:pt x="2032" y="678"/>
                </a:cubicBezTo>
                <a:cubicBezTo>
                  <a:pt x="2033" y="678"/>
                  <a:pt x="2033" y="678"/>
                  <a:pt x="2033" y="678"/>
                </a:cubicBezTo>
                <a:cubicBezTo>
                  <a:pt x="2034" y="678"/>
                  <a:pt x="2034" y="678"/>
                  <a:pt x="2034" y="678"/>
                </a:cubicBezTo>
                <a:cubicBezTo>
                  <a:pt x="2035" y="677"/>
                  <a:pt x="2035" y="677"/>
                  <a:pt x="2035" y="677"/>
                </a:cubicBezTo>
                <a:cubicBezTo>
                  <a:pt x="2035" y="676"/>
                  <a:pt x="2035" y="676"/>
                  <a:pt x="2035" y="676"/>
                </a:cubicBezTo>
                <a:cubicBezTo>
                  <a:pt x="2036" y="676"/>
                  <a:pt x="2036" y="676"/>
                  <a:pt x="2036" y="676"/>
                </a:cubicBezTo>
                <a:cubicBezTo>
                  <a:pt x="2037" y="675"/>
                  <a:pt x="2037" y="675"/>
                  <a:pt x="2037" y="675"/>
                </a:cubicBezTo>
                <a:cubicBezTo>
                  <a:pt x="2037" y="674"/>
                  <a:pt x="2037" y="674"/>
                  <a:pt x="2037" y="674"/>
                </a:cubicBezTo>
                <a:cubicBezTo>
                  <a:pt x="2037" y="672"/>
                  <a:pt x="2037" y="672"/>
                  <a:pt x="2037" y="672"/>
                </a:cubicBezTo>
                <a:cubicBezTo>
                  <a:pt x="2038" y="672"/>
                  <a:pt x="2038" y="672"/>
                  <a:pt x="2038" y="672"/>
                </a:cubicBezTo>
                <a:cubicBezTo>
                  <a:pt x="2038" y="671"/>
                  <a:pt x="2038" y="671"/>
                  <a:pt x="2038" y="671"/>
                </a:cubicBezTo>
                <a:cubicBezTo>
                  <a:pt x="2039" y="669"/>
                  <a:pt x="2039" y="669"/>
                  <a:pt x="2039" y="669"/>
                </a:cubicBezTo>
                <a:cubicBezTo>
                  <a:pt x="2038" y="667"/>
                  <a:pt x="2038" y="667"/>
                  <a:pt x="2038" y="667"/>
                </a:cubicBezTo>
                <a:cubicBezTo>
                  <a:pt x="2037" y="667"/>
                  <a:pt x="2037" y="667"/>
                  <a:pt x="2037" y="667"/>
                </a:cubicBezTo>
                <a:cubicBezTo>
                  <a:pt x="2036" y="666"/>
                  <a:pt x="2036" y="666"/>
                  <a:pt x="2036" y="666"/>
                </a:cubicBezTo>
                <a:cubicBezTo>
                  <a:pt x="2035" y="667"/>
                  <a:pt x="2035" y="667"/>
                  <a:pt x="2035" y="667"/>
                </a:cubicBezTo>
                <a:cubicBezTo>
                  <a:pt x="2034" y="666"/>
                  <a:pt x="2034" y="666"/>
                  <a:pt x="2034" y="666"/>
                </a:cubicBezTo>
                <a:cubicBezTo>
                  <a:pt x="2033" y="666"/>
                  <a:pt x="2033" y="666"/>
                  <a:pt x="2033" y="666"/>
                </a:cubicBezTo>
                <a:cubicBezTo>
                  <a:pt x="2032" y="666"/>
                  <a:pt x="2032" y="666"/>
                  <a:pt x="2032" y="666"/>
                </a:cubicBezTo>
                <a:cubicBezTo>
                  <a:pt x="2031" y="667"/>
                  <a:pt x="2031" y="667"/>
                  <a:pt x="2031" y="667"/>
                </a:cubicBezTo>
                <a:cubicBezTo>
                  <a:pt x="2030" y="667"/>
                  <a:pt x="2030" y="667"/>
                  <a:pt x="2030" y="667"/>
                </a:cubicBezTo>
                <a:cubicBezTo>
                  <a:pt x="2029" y="667"/>
                  <a:pt x="2029" y="667"/>
                  <a:pt x="2029" y="667"/>
                </a:cubicBezTo>
                <a:cubicBezTo>
                  <a:pt x="2028" y="668"/>
                  <a:pt x="2028" y="668"/>
                  <a:pt x="2028" y="668"/>
                </a:cubicBezTo>
                <a:cubicBezTo>
                  <a:pt x="2028" y="669"/>
                  <a:pt x="2028" y="669"/>
                  <a:pt x="2028" y="669"/>
                </a:cubicBezTo>
                <a:cubicBezTo>
                  <a:pt x="2026" y="670"/>
                  <a:pt x="2026" y="670"/>
                  <a:pt x="2026" y="670"/>
                </a:cubicBezTo>
                <a:cubicBezTo>
                  <a:pt x="2024" y="672"/>
                  <a:pt x="2024" y="672"/>
                  <a:pt x="2024" y="672"/>
                </a:cubicBezTo>
                <a:cubicBezTo>
                  <a:pt x="2025" y="673"/>
                  <a:pt x="2025" y="673"/>
                  <a:pt x="2025" y="673"/>
                </a:cubicBezTo>
                <a:cubicBezTo>
                  <a:pt x="2025" y="675"/>
                  <a:pt x="2025" y="675"/>
                  <a:pt x="2025" y="675"/>
                </a:cubicBezTo>
                <a:cubicBezTo>
                  <a:pt x="2025" y="676"/>
                  <a:pt x="2025" y="676"/>
                  <a:pt x="2025" y="676"/>
                </a:cubicBezTo>
                <a:close/>
                <a:moveTo>
                  <a:pt x="2099" y="590"/>
                </a:moveTo>
                <a:cubicBezTo>
                  <a:pt x="2098" y="589"/>
                  <a:pt x="2098" y="589"/>
                  <a:pt x="2098" y="589"/>
                </a:cubicBezTo>
                <a:cubicBezTo>
                  <a:pt x="2097" y="590"/>
                  <a:pt x="2097" y="590"/>
                  <a:pt x="2097" y="590"/>
                </a:cubicBezTo>
                <a:cubicBezTo>
                  <a:pt x="2098" y="591"/>
                  <a:pt x="2098" y="591"/>
                  <a:pt x="2098" y="591"/>
                </a:cubicBezTo>
                <a:cubicBezTo>
                  <a:pt x="2099" y="591"/>
                  <a:pt x="2099" y="591"/>
                  <a:pt x="2099" y="591"/>
                </a:cubicBezTo>
                <a:cubicBezTo>
                  <a:pt x="2099" y="590"/>
                  <a:pt x="2099" y="590"/>
                  <a:pt x="2099" y="590"/>
                </a:cubicBezTo>
                <a:close/>
                <a:moveTo>
                  <a:pt x="2037" y="660"/>
                </a:moveTo>
                <a:cubicBezTo>
                  <a:pt x="2036" y="660"/>
                  <a:pt x="2036" y="660"/>
                  <a:pt x="2036" y="660"/>
                </a:cubicBezTo>
                <a:cubicBezTo>
                  <a:pt x="2035" y="660"/>
                  <a:pt x="2035" y="660"/>
                  <a:pt x="2035" y="660"/>
                </a:cubicBezTo>
                <a:cubicBezTo>
                  <a:pt x="2037" y="661"/>
                  <a:pt x="2037" y="661"/>
                  <a:pt x="2037" y="661"/>
                </a:cubicBezTo>
                <a:cubicBezTo>
                  <a:pt x="2037" y="660"/>
                  <a:pt x="2037" y="660"/>
                  <a:pt x="2037" y="660"/>
                </a:cubicBezTo>
                <a:close/>
                <a:moveTo>
                  <a:pt x="2096" y="630"/>
                </a:moveTo>
                <a:cubicBezTo>
                  <a:pt x="2095" y="632"/>
                  <a:pt x="2095" y="632"/>
                  <a:pt x="2095" y="632"/>
                </a:cubicBezTo>
                <a:cubicBezTo>
                  <a:pt x="2095" y="633"/>
                  <a:pt x="2095" y="633"/>
                  <a:pt x="2095" y="633"/>
                </a:cubicBezTo>
                <a:cubicBezTo>
                  <a:pt x="2094" y="634"/>
                  <a:pt x="2094" y="634"/>
                  <a:pt x="2094" y="634"/>
                </a:cubicBezTo>
                <a:cubicBezTo>
                  <a:pt x="2093" y="636"/>
                  <a:pt x="2093" y="636"/>
                  <a:pt x="2093" y="636"/>
                </a:cubicBezTo>
                <a:cubicBezTo>
                  <a:pt x="2092" y="639"/>
                  <a:pt x="2092" y="639"/>
                  <a:pt x="2092" y="639"/>
                </a:cubicBezTo>
                <a:cubicBezTo>
                  <a:pt x="2092" y="640"/>
                  <a:pt x="2092" y="640"/>
                  <a:pt x="2092" y="640"/>
                </a:cubicBezTo>
                <a:cubicBezTo>
                  <a:pt x="2092" y="642"/>
                  <a:pt x="2092" y="642"/>
                  <a:pt x="2092" y="642"/>
                </a:cubicBezTo>
                <a:cubicBezTo>
                  <a:pt x="2093" y="644"/>
                  <a:pt x="2093" y="644"/>
                  <a:pt x="2093" y="644"/>
                </a:cubicBezTo>
                <a:cubicBezTo>
                  <a:pt x="2093" y="645"/>
                  <a:pt x="2093" y="645"/>
                  <a:pt x="2093" y="645"/>
                </a:cubicBezTo>
                <a:cubicBezTo>
                  <a:pt x="2093" y="646"/>
                  <a:pt x="2093" y="646"/>
                  <a:pt x="2093" y="646"/>
                </a:cubicBezTo>
                <a:cubicBezTo>
                  <a:pt x="2094" y="648"/>
                  <a:pt x="2094" y="648"/>
                  <a:pt x="2094" y="648"/>
                </a:cubicBezTo>
                <a:cubicBezTo>
                  <a:pt x="2095" y="649"/>
                  <a:pt x="2095" y="649"/>
                  <a:pt x="2095" y="649"/>
                </a:cubicBezTo>
                <a:cubicBezTo>
                  <a:pt x="2096" y="649"/>
                  <a:pt x="2096" y="649"/>
                  <a:pt x="2096" y="649"/>
                </a:cubicBezTo>
                <a:cubicBezTo>
                  <a:pt x="2097" y="650"/>
                  <a:pt x="2097" y="650"/>
                  <a:pt x="2097" y="650"/>
                </a:cubicBezTo>
                <a:cubicBezTo>
                  <a:pt x="2097" y="652"/>
                  <a:pt x="2097" y="652"/>
                  <a:pt x="2097" y="652"/>
                </a:cubicBezTo>
                <a:cubicBezTo>
                  <a:pt x="2097" y="653"/>
                  <a:pt x="2097" y="653"/>
                  <a:pt x="2097" y="653"/>
                </a:cubicBezTo>
                <a:cubicBezTo>
                  <a:pt x="2098" y="653"/>
                  <a:pt x="2098" y="653"/>
                  <a:pt x="2098" y="653"/>
                </a:cubicBezTo>
                <a:cubicBezTo>
                  <a:pt x="2099" y="653"/>
                  <a:pt x="2099" y="653"/>
                  <a:pt x="2099" y="653"/>
                </a:cubicBezTo>
                <a:cubicBezTo>
                  <a:pt x="2099" y="652"/>
                  <a:pt x="2099" y="652"/>
                  <a:pt x="2099" y="652"/>
                </a:cubicBezTo>
                <a:cubicBezTo>
                  <a:pt x="2099" y="650"/>
                  <a:pt x="2099" y="650"/>
                  <a:pt x="2099" y="650"/>
                </a:cubicBezTo>
                <a:cubicBezTo>
                  <a:pt x="2099" y="648"/>
                  <a:pt x="2099" y="648"/>
                  <a:pt x="2099" y="648"/>
                </a:cubicBezTo>
                <a:cubicBezTo>
                  <a:pt x="2100" y="647"/>
                  <a:pt x="2100" y="647"/>
                  <a:pt x="2100" y="647"/>
                </a:cubicBezTo>
                <a:cubicBezTo>
                  <a:pt x="2101" y="645"/>
                  <a:pt x="2101" y="645"/>
                  <a:pt x="2101" y="645"/>
                </a:cubicBezTo>
                <a:cubicBezTo>
                  <a:pt x="2101" y="643"/>
                  <a:pt x="2101" y="643"/>
                  <a:pt x="2101" y="643"/>
                </a:cubicBezTo>
                <a:cubicBezTo>
                  <a:pt x="2102" y="643"/>
                  <a:pt x="2102" y="643"/>
                  <a:pt x="2102" y="643"/>
                </a:cubicBezTo>
                <a:cubicBezTo>
                  <a:pt x="2101" y="642"/>
                  <a:pt x="2101" y="642"/>
                  <a:pt x="2101" y="642"/>
                </a:cubicBezTo>
                <a:cubicBezTo>
                  <a:pt x="2101" y="640"/>
                  <a:pt x="2101" y="640"/>
                  <a:pt x="2101" y="640"/>
                </a:cubicBezTo>
                <a:cubicBezTo>
                  <a:pt x="2102" y="638"/>
                  <a:pt x="2102" y="638"/>
                  <a:pt x="2102" y="638"/>
                </a:cubicBezTo>
                <a:cubicBezTo>
                  <a:pt x="2101" y="636"/>
                  <a:pt x="2101" y="636"/>
                  <a:pt x="2101" y="636"/>
                </a:cubicBezTo>
                <a:cubicBezTo>
                  <a:pt x="2102" y="635"/>
                  <a:pt x="2102" y="635"/>
                  <a:pt x="2102" y="635"/>
                </a:cubicBezTo>
                <a:cubicBezTo>
                  <a:pt x="2102" y="632"/>
                  <a:pt x="2102" y="632"/>
                  <a:pt x="2102" y="632"/>
                </a:cubicBezTo>
                <a:cubicBezTo>
                  <a:pt x="2103" y="630"/>
                  <a:pt x="2103" y="630"/>
                  <a:pt x="2103" y="630"/>
                </a:cubicBezTo>
                <a:cubicBezTo>
                  <a:pt x="2103" y="629"/>
                  <a:pt x="2103" y="629"/>
                  <a:pt x="2103" y="629"/>
                </a:cubicBezTo>
                <a:cubicBezTo>
                  <a:pt x="2102" y="628"/>
                  <a:pt x="2102" y="628"/>
                  <a:pt x="2102" y="628"/>
                </a:cubicBezTo>
                <a:cubicBezTo>
                  <a:pt x="2101" y="628"/>
                  <a:pt x="2101" y="628"/>
                  <a:pt x="2101" y="628"/>
                </a:cubicBezTo>
                <a:cubicBezTo>
                  <a:pt x="2101" y="627"/>
                  <a:pt x="2101" y="627"/>
                  <a:pt x="2101" y="627"/>
                </a:cubicBezTo>
                <a:cubicBezTo>
                  <a:pt x="2099" y="626"/>
                  <a:pt x="2099" y="626"/>
                  <a:pt x="2099" y="626"/>
                </a:cubicBezTo>
                <a:cubicBezTo>
                  <a:pt x="2099" y="627"/>
                  <a:pt x="2099" y="627"/>
                  <a:pt x="2099" y="627"/>
                </a:cubicBezTo>
                <a:cubicBezTo>
                  <a:pt x="2099" y="628"/>
                  <a:pt x="2099" y="628"/>
                  <a:pt x="2099" y="628"/>
                </a:cubicBezTo>
                <a:cubicBezTo>
                  <a:pt x="2098" y="628"/>
                  <a:pt x="2098" y="628"/>
                  <a:pt x="2098" y="628"/>
                </a:cubicBezTo>
                <a:cubicBezTo>
                  <a:pt x="2096" y="630"/>
                  <a:pt x="2096" y="630"/>
                  <a:pt x="2096" y="630"/>
                </a:cubicBezTo>
                <a:close/>
                <a:moveTo>
                  <a:pt x="1425" y="123"/>
                </a:moveTo>
                <a:cubicBezTo>
                  <a:pt x="1427" y="123"/>
                  <a:pt x="1427" y="123"/>
                  <a:pt x="1427" y="123"/>
                </a:cubicBezTo>
                <a:cubicBezTo>
                  <a:pt x="1427" y="122"/>
                  <a:pt x="1427" y="122"/>
                  <a:pt x="1427" y="122"/>
                </a:cubicBezTo>
                <a:cubicBezTo>
                  <a:pt x="1426" y="121"/>
                  <a:pt x="1426" y="121"/>
                  <a:pt x="1426" y="121"/>
                </a:cubicBezTo>
                <a:cubicBezTo>
                  <a:pt x="1424" y="120"/>
                  <a:pt x="1424" y="120"/>
                  <a:pt x="1424" y="120"/>
                </a:cubicBezTo>
                <a:cubicBezTo>
                  <a:pt x="1423" y="120"/>
                  <a:pt x="1423" y="120"/>
                  <a:pt x="1423" y="120"/>
                </a:cubicBezTo>
                <a:cubicBezTo>
                  <a:pt x="1423" y="121"/>
                  <a:pt x="1423" y="121"/>
                  <a:pt x="1423" y="121"/>
                </a:cubicBezTo>
                <a:cubicBezTo>
                  <a:pt x="1424" y="122"/>
                  <a:pt x="1424" y="122"/>
                  <a:pt x="1424" y="122"/>
                </a:cubicBezTo>
                <a:cubicBezTo>
                  <a:pt x="1424" y="123"/>
                  <a:pt x="1424" y="123"/>
                  <a:pt x="1424" y="123"/>
                </a:cubicBezTo>
                <a:cubicBezTo>
                  <a:pt x="1425" y="123"/>
                  <a:pt x="1425" y="123"/>
                  <a:pt x="1425" y="123"/>
                </a:cubicBezTo>
                <a:close/>
                <a:moveTo>
                  <a:pt x="1469" y="99"/>
                </a:moveTo>
                <a:cubicBezTo>
                  <a:pt x="1469" y="99"/>
                  <a:pt x="1469" y="99"/>
                  <a:pt x="1471" y="97"/>
                </a:cubicBezTo>
                <a:cubicBezTo>
                  <a:pt x="1471" y="97"/>
                  <a:pt x="1471" y="97"/>
                  <a:pt x="1472" y="97"/>
                </a:cubicBezTo>
                <a:cubicBezTo>
                  <a:pt x="1472" y="97"/>
                  <a:pt x="1472" y="97"/>
                  <a:pt x="1473" y="96"/>
                </a:cubicBezTo>
                <a:cubicBezTo>
                  <a:pt x="1473" y="96"/>
                  <a:pt x="1473" y="96"/>
                  <a:pt x="1473" y="95"/>
                </a:cubicBezTo>
                <a:cubicBezTo>
                  <a:pt x="1473" y="95"/>
                  <a:pt x="1473" y="95"/>
                  <a:pt x="1472" y="95"/>
                </a:cubicBezTo>
                <a:cubicBezTo>
                  <a:pt x="1472" y="95"/>
                  <a:pt x="1472" y="95"/>
                  <a:pt x="1471" y="95"/>
                </a:cubicBezTo>
                <a:cubicBezTo>
                  <a:pt x="1471" y="95"/>
                  <a:pt x="1471" y="95"/>
                  <a:pt x="1470" y="97"/>
                </a:cubicBezTo>
                <a:cubicBezTo>
                  <a:pt x="1470" y="97"/>
                  <a:pt x="1470" y="97"/>
                  <a:pt x="1469" y="97"/>
                </a:cubicBezTo>
                <a:cubicBezTo>
                  <a:pt x="1469" y="97"/>
                  <a:pt x="1469" y="97"/>
                  <a:pt x="1468" y="98"/>
                </a:cubicBezTo>
                <a:cubicBezTo>
                  <a:pt x="1468" y="98"/>
                  <a:pt x="1467" y="98"/>
                  <a:pt x="1467" y="99"/>
                </a:cubicBezTo>
                <a:cubicBezTo>
                  <a:pt x="1467" y="99"/>
                  <a:pt x="1467" y="99"/>
                  <a:pt x="1468" y="99"/>
                </a:cubicBezTo>
                <a:cubicBezTo>
                  <a:pt x="1468" y="99"/>
                  <a:pt x="1468" y="99"/>
                  <a:pt x="1469" y="99"/>
                </a:cubicBezTo>
                <a:close/>
                <a:moveTo>
                  <a:pt x="1458" y="123"/>
                </a:moveTo>
                <a:cubicBezTo>
                  <a:pt x="1458" y="123"/>
                  <a:pt x="1458" y="123"/>
                  <a:pt x="1459" y="123"/>
                </a:cubicBezTo>
                <a:cubicBezTo>
                  <a:pt x="1459" y="123"/>
                  <a:pt x="1459" y="123"/>
                  <a:pt x="1460" y="123"/>
                </a:cubicBezTo>
                <a:cubicBezTo>
                  <a:pt x="1460" y="123"/>
                  <a:pt x="1460" y="123"/>
                  <a:pt x="1461" y="124"/>
                </a:cubicBezTo>
                <a:cubicBezTo>
                  <a:pt x="1461" y="124"/>
                  <a:pt x="1461" y="124"/>
                  <a:pt x="1462" y="123"/>
                </a:cubicBezTo>
                <a:cubicBezTo>
                  <a:pt x="1462" y="123"/>
                  <a:pt x="1462" y="123"/>
                  <a:pt x="1463" y="122"/>
                </a:cubicBezTo>
                <a:cubicBezTo>
                  <a:pt x="1463" y="122"/>
                  <a:pt x="1463" y="122"/>
                  <a:pt x="1462" y="122"/>
                </a:cubicBezTo>
                <a:cubicBezTo>
                  <a:pt x="1462" y="122"/>
                  <a:pt x="1462" y="122"/>
                  <a:pt x="1460" y="122"/>
                </a:cubicBezTo>
                <a:cubicBezTo>
                  <a:pt x="1460" y="122"/>
                  <a:pt x="1460" y="122"/>
                  <a:pt x="1460" y="121"/>
                </a:cubicBezTo>
                <a:cubicBezTo>
                  <a:pt x="1460" y="121"/>
                  <a:pt x="1460" y="121"/>
                  <a:pt x="1459" y="122"/>
                </a:cubicBezTo>
                <a:cubicBezTo>
                  <a:pt x="1459" y="122"/>
                  <a:pt x="1459" y="122"/>
                  <a:pt x="1458" y="122"/>
                </a:cubicBezTo>
                <a:cubicBezTo>
                  <a:pt x="1458" y="122"/>
                  <a:pt x="1458" y="122"/>
                  <a:pt x="1457" y="123"/>
                </a:cubicBezTo>
                <a:cubicBezTo>
                  <a:pt x="1457" y="123"/>
                  <a:pt x="1457" y="123"/>
                  <a:pt x="1456" y="124"/>
                </a:cubicBezTo>
                <a:cubicBezTo>
                  <a:pt x="1456" y="124"/>
                  <a:pt x="1456" y="124"/>
                  <a:pt x="1457" y="125"/>
                </a:cubicBezTo>
                <a:cubicBezTo>
                  <a:pt x="1457" y="125"/>
                  <a:pt x="1457" y="125"/>
                  <a:pt x="1458" y="123"/>
                </a:cubicBezTo>
                <a:close/>
                <a:moveTo>
                  <a:pt x="1429" y="197"/>
                </a:moveTo>
                <a:cubicBezTo>
                  <a:pt x="1429" y="196"/>
                  <a:pt x="1429" y="196"/>
                  <a:pt x="1429" y="196"/>
                </a:cubicBezTo>
                <a:cubicBezTo>
                  <a:pt x="1428" y="195"/>
                  <a:pt x="1428" y="195"/>
                  <a:pt x="1428" y="195"/>
                </a:cubicBezTo>
                <a:cubicBezTo>
                  <a:pt x="1427" y="195"/>
                  <a:pt x="1427" y="195"/>
                  <a:pt x="1427" y="195"/>
                </a:cubicBezTo>
                <a:cubicBezTo>
                  <a:pt x="1427" y="196"/>
                  <a:pt x="1427" y="196"/>
                  <a:pt x="1427" y="196"/>
                </a:cubicBezTo>
                <a:cubicBezTo>
                  <a:pt x="1428" y="197"/>
                  <a:pt x="1428" y="197"/>
                  <a:pt x="1428" y="197"/>
                </a:cubicBezTo>
                <a:cubicBezTo>
                  <a:pt x="1428" y="198"/>
                  <a:pt x="1428" y="198"/>
                  <a:pt x="1428" y="198"/>
                </a:cubicBezTo>
                <a:cubicBezTo>
                  <a:pt x="1429" y="197"/>
                  <a:pt x="1429" y="197"/>
                  <a:pt x="1429" y="197"/>
                </a:cubicBezTo>
                <a:close/>
                <a:moveTo>
                  <a:pt x="1451" y="125"/>
                </a:moveTo>
                <a:cubicBezTo>
                  <a:pt x="1451" y="125"/>
                  <a:pt x="1451" y="125"/>
                  <a:pt x="1451" y="127"/>
                </a:cubicBezTo>
                <a:cubicBezTo>
                  <a:pt x="1451" y="127"/>
                  <a:pt x="1451" y="127"/>
                  <a:pt x="1451" y="128"/>
                </a:cubicBezTo>
                <a:cubicBezTo>
                  <a:pt x="1451" y="128"/>
                  <a:pt x="1451" y="128"/>
                  <a:pt x="1451" y="129"/>
                </a:cubicBezTo>
                <a:cubicBezTo>
                  <a:pt x="1451" y="129"/>
                  <a:pt x="1451" y="129"/>
                  <a:pt x="1452" y="129"/>
                </a:cubicBezTo>
                <a:cubicBezTo>
                  <a:pt x="1452" y="129"/>
                  <a:pt x="1452" y="129"/>
                  <a:pt x="1453" y="128"/>
                </a:cubicBezTo>
                <a:cubicBezTo>
                  <a:pt x="1453" y="128"/>
                  <a:pt x="1453" y="128"/>
                  <a:pt x="1453" y="127"/>
                </a:cubicBezTo>
                <a:cubicBezTo>
                  <a:pt x="1453" y="127"/>
                  <a:pt x="1453" y="127"/>
                  <a:pt x="1452" y="126"/>
                </a:cubicBezTo>
                <a:cubicBezTo>
                  <a:pt x="1452" y="126"/>
                  <a:pt x="1452" y="126"/>
                  <a:pt x="1452" y="125"/>
                </a:cubicBezTo>
                <a:cubicBezTo>
                  <a:pt x="1452" y="125"/>
                  <a:pt x="1452" y="125"/>
                  <a:pt x="1451" y="125"/>
                </a:cubicBezTo>
                <a:close/>
                <a:moveTo>
                  <a:pt x="1429" y="130"/>
                </a:moveTo>
                <a:cubicBezTo>
                  <a:pt x="1428" y="131"/>
                  <a:pt x="1428" y="131"/>
                  <a:pt x="1428" y="131"/>
                </a:cubicBezTo>
                <a:cubicBezTo>
                  <a:pt x="1427" y="130"/>
                  <a:pt x="1427" y="130"/>
                  <a:pt x="1427" y="130"/>
                </a:cubicBezTo>
                <a:cubicBezTo>
                  <a:pt x="1426" y="131"/>
                  <a:pt x="1426" y="131"/>
                  <a:pt x="1426" y="131"/>
                </a:cubicBezTo>
                <a:cubicBezTo>
                  <a:pt x="1426" y="132"/>
                  <a:pt x="1426" y="132"/>
                  <a:pt x="1426" y="132"/>
                </a:cubicBezTo>
                <a:cubicBezTo>
                  <a:pt x="1427" y="132"/>
                  <a:pt x="1427" y="132"/>
                  <a:pt x="1427" y="132"/>
                </a:cubicBezTo>
                <a:cubicBezTo>
                  <a:pt x="1428" y="133"/>
                  <a:pt x="1428" y="133"/>
                  <a:pt x="1428" y="133"/>
                </a:cubicBezTo>
                <a:cubicBezTo>
                  <a:pt x="1428" y="134"/>
                  <a:pt x="1428" y="134"/>
                  <a:pt x="1428" y="134"/>
                </a:cubicBezTo>
                <a:cubicBezTo>
                  <a:pt x="1429" y="134"/>
                  <a:pt x="1429" y="134"/>
                  <a:pt x="1429" y="134"/>
                </a:cubicBezTo>
                <a:cubicBezTo>
                  <a:pt x="1429" y="135"/>
                  <a:pt x="1429" y="135"/>
                  <a:pt x="1429" y="135"/>
                </a:cubicBezTo>
                <a:cubicBezTo>
                  <a:pt x="1429" y="136"/>
                  <a:pt x="1429" y="136"/>
                  <a:pt x="1429" y="136"/>
                </a:cubicBezTo>
                <a:cubicBezTo>
                  <a:pt x="1430" y="136"/>
                  <a:pt x="1430" y="136"/>
                  <a:pt x="1430" y="136"/>
                </a:cubicBezTo>
                <a:cubicBezTo>
                  <a:pt x="1431" y="136"/>
                  <a:pt x="1431" y="136"/>
                  <a:pt x="1431" y="136"/>
                </a:cubicBezTo>
                <a:cubicBezTo>
                  <a:pt x="1432" y="135"/>
                  <a:pt x="1432" y="135"/>
                  <a:pt x="1432" y="135"/>
                </a:cubicBezTo>
                <a:cubicBezTo>
                  <a:pt x="1433" y="135"/>
                  <a:pt x="1433" y="135"/>
                  <a:pt x="1433" y="135"/>
                </a:cubicBezTo>
                <a:cubicBezTo>
                  <a:pt x="1434" y="134"/>
                  <a:pt x="1434" y="134"/>
                  <a:pt x="1434" y="134"/>
                </a:cubicBezTo>
                <a:cubicBezTo>
                  <a:pt x="1434" y="132"/>
                  <a:pt x="1434" y="132"/>
                  <a:pt x="1434" y="132"/>
                </a:cubicBezTo>
                <a:cubicBezTo>
                  <a:pt x="1435" y="131"/>
                  <a:pt x="1435" y="131"/>
                  <a:pt x="1435" y="131"/>
                </a:cubicBezTo>
                <a:cubicBezTo>
                  <a:pt x="1435" y="130"/>
                  <a:pt x="1435" y="130"/>
                  <a:pt x="1435" y="130"/>
                </a:cubicBezTo>
                <a:cubicBezTo>
                  <a:pt x="1435" y="129"/>
                  <a:pt x="1435" y="129"/>
                  <a:pt x="1435" y="129"/>
                </a:cubicBezTo>
                <a:cubicBezTo>
                  <a:pt x="1434" y="129"/>
                  <a:pt x="1434" y="129"/>
                  <a:pt x="1434" y="129"/>
                </a:cubicBezTo>
                <a:cubicBezTo>
                  <a:pt x="1433" y="129"/>
                  <a:pt x="1433" y="129"/>
                  <a:pt x="1433" y="129"/>
                </a:cubicBezTo>
                <a:cubicBezTo>
                  <a:pt x="1433" y="128"/>
                  <a:pt x="1433" y="128"/>
                  <a:pt x="1433" y="128"/>
                </a:cubicBezTo>
                <a:cubicBezTo>
                  <a:pt x="1432" y="129"/>
                  <a:pt x="1432" y="129"/>
                  <a:pt x="1432" y="129"/>
                </a:cubicBezTo>
                <a:cubicBezTo>
                  <a:pt x="1430" y="130"/>
                  <a:pt x="1430" y="130"/>
                  <a:pt x="1430" y="130"/>
                </a:cubicBezTo>
                <a:cubicBezTo>
                  <a:pt x="1430" y="129"/>
                  <a:pt x="1430" y="129"/>
                  <a:pt x="1430" y="129"/>
                </a:cubicBezTo>
                <a:cubicBezTo>
                  <a:pt x="1429" y="130"/>
                  <a:pt x="1429" y="130"/>
                  <a:pt x="1429" y="130"/>
                </a:cubicBezTo>
                <a:close/>
                <a:moveTo>
                  <a:pt x="1453" y="100"/>
                </a:moveTo>
                <a:cubicBezTo>
                  <a:pt x="1452" y="99"/>
                  <a:pt x="1452" y="99"/>
                  <a:pt x="1452" y="99"/>
                </a:cubicBezTo>
                <a:cubicBezTo>
                  <a:pt x="1451" y="99"/>
                  <a:pt x="1451" y="99"/>
                  <a:pt x="1451" y="99"/>
                </a:cubicBezTo>
                <a:cubicBezTo>
                  <a:pt x="1451" y="100"/>
                  <a:pt x="1451" y="100"/>
                  <a:pt x="1451" y="100"/>
                </a:cubicBezTo>
                <a:cubicBezTo>
                  <a:pt x="1452" y="101"/>
                  <a:pt x="1452" y="101"/>
                  <a:pt x="1452" y="101"/>
                </a:cubicBezTo>
                <a:cubicBezTo>
                  <a:pt x="1453" y="100"/>
                  <a:pt x="1453" y="100"/>
                  <a:pt x="1453" y="100"/>
                </a:cubicBezTo>
                <a:close/>
                <a:moveTo>
                  <a:pt x="1443" y="145"/>
                </a:moveTo>
                <a:cubicBezTo>
                  <a:pt x="1443" y="145"/>
                  <a:pt x="1443" y="145"/>
                  <a:pt x="1444" y="143"/>
                </a:cubicBezTo>
                <a:cubicBezTo>
                  <a:pt x="1444" y="143"/>
                  <a:pt x="1444" y="143"/>
                  <a:pt x="1446" y="143"/>
                </a:cubicBezTo>
                <a:cubicBezTo>
                  <a:pt x="1446" y="143"/>
                  <a:pt x="1446" y="143"/>
                  <a:pt x="1446" y="142"/>
                </a:cubicBezTo>
                <a:cubicBezTo>
                  <a:pt x="1446" y="142"/>
                  <a:pt x="1446" y="142"/>
                  <a:pt x="1445" y="142"/>
                </a:cubicBezTo>
                <a:cubicBezTo>
                  <a:pt x="1445" y="142"/>
                  <a:pt x="1445" y="142"/>
                  <a:pt x="1444" y="141"/>
                </a:cubicBezTo>
                <a:cubicBezTo>
                  <a:pt x="1444" y="141"/>
                  <a:pt x="1444" y="141"/>
                  <a:pt x="1443" y="140"/>
                </a:cubicBezTo>
                <a:cubicBezTo>
                  <a:pt x="1443" y="140"/>
                  <a:pt x="1443" y="140"/>
                  <a:pt x="1442" y="141"/>
                </a:cubicBezTo>
                <a:cubicBezTo>
                  <a:pt x="1442" y="141"/>
                  <a:pt x="1442" y="141"/>
                  <a:pt x="1441" y="142"/>
                </a:cubicBezTo>
                <a:cubicBezTo>
                  <a:pt x="1441" y="142"/>
                  <a:pt x="1441" y="142"/>
                  <a:pt x="1440" y="141"/>
                </a:cubicBezTo>
                <a:cubicBezTo>
                  <a:pt x="1440" y="141"/>
                  <a:pt x="1440" y="141"/>
                  <a:pt x="1438" y="140"/>
                </a:cubicBezTo>
                <a:cubicBezTo>
                  <a:pt x="1438" y="140"/>
                  <a:pt x="1438" y="140"/>
                  <a:pt x="1438" y="138"/>
                </a:cubicBezTo>
                <a:cubicBezTo>
                  <a:pt x="1438" y="138"/>
                  <a:pt x="1438" y="138"/>
                  <a:pt x="1438" y="137"/>
                </a:cubicBezTo>
                <a:cubicBezTo>
                  <a:pt x="1438" y="137"/>
                  <a:pt x="1438" y="137"/>
                  <a:pt x="1439" y="137"/>
                </a:cubicBezTo>
                <a:cubicBezTo>
                  <a:pt x="1439" y="137"/>
                  <a:pt x="1439" y="137"/>
                  <a:pt x="1438" y="135"/>
                </a:cubicBezTo>
                <a:cubicBezTo>
                  <a:pt x="1438" y="135"/>
                  <a:pt x="1438" y="135"/>
                  <a:pt x="1438" y="134"/>
                </a:cubicBezTo>
                <a:cubicBezTo>
                  <a:pt x="1438" y="134"/>
                  <a:pt x="1438" y="134"/>
                  <a:pt x="1436" y="135"/>
                </a:cubicBezTo>
                <a:cubicBezTo>
                  <a:pt x="1436" y="135"/>
                  <a:pt x="1436" y="135"/>
                  <a:pt x="1435" y="136"/>
                </a:cubicBezTo>
                <a:cubicBezTo>
                  <a:pt x="1435" y="136"/>
                  <a:pt x="1435" y="136"/>
                  <a:pt x="1433" y="136"/>
                </a:cubicBezTo>
                <a:cubicBezTo>
                  <a:pt x="1433" y="136"/>
                  <a:pt x="1433" y="136"/>
                  <a:pt x="1431" y="137"/>
                </a:cubicBezTo>
                <a:cubicBezTo>
                  <a:pt x="1431" y="137"/>
                  <a:pt x="1431" y="137"/>
                  <a:pt x="1430" y="138"/>
                </a:cubicBezTo>
                <a:cubicBezTo>
                  <a:pt x="1430" y="138"/>
                  <a:pt x="1430" y="138"/>
                  <a:pt x="1429" y="139"/>
                </a:cubicBezTo>
                <a:cubicBezTo>
                  <a:pt x="1429" y="139"/>
                  <a:pt x="1429" y="139"/>
                  <a:pt x="1430" y="140"/>
                </a:cubicBezTo>
                <a:cubicBezTo>
                  <a:pt x="1430" y="140"/>
                  <a:pt x="1430" y="140"/>
                  <a:pt x="1431" y="141"/>
                </a:cubicBezTo>
                <a:cubicBezTo>
                  <a:pt x="1431" y="141"/>
                  <a:pt x="1431" y="141"/>
                  <a:pt x="1432" y="141"/>
                </a:cubicBezTo>
                <a:cubicBezTo>
                  <a:pt x="1432" y="141"/>
                  <a:pt x="1432" y="141"/>
                  <a:pt x="1432" y="142"/>
                </a:cubicBezTo>
                <a:cubicBezTo>
                  <a:pt x="1432" y="142"/>
                  <a:pt x="1432" y="142"/>
                  <a:pt x="1432" y="143"/>
                </a:cubicBezTo>
                <a:cubicBezTo>
                  <a:pt x="1432" y="143"/>
                  <a:pt x="1432" y="143"/>
                  <a:pt x="1431" y="145"/>
                </a:cubicBezTo>
                <a:cubicBezTo>
                  <a:pt x="1431" y="145"/>
                  <a:pt x="1431" y="145"/>
                  <a:pt x="1431" y="147"/>
                </a:cubicBezTo>
                <a:cubicBezTo>
                  <a:pt x="1431" y="147"/>
                  <a:pt x="1431" y="147"/>
                  <a:pt x="1430" y="148"/>
                </a:cubicBezTo>
                <a:cubicBezTo>
                  <a:pt x="1430" y="148"/>
                  <a:pt x="1430" y="148"/>
                  <a:pt x="1430" y="149"/>
                </a:cubicBezTo>
                <a:cubicBezTo>
                  <a:pt x="1430" y="149"/>
                  <a:pt x="1430" y="149"/>
                  <a:pt x="1430" y="150"/>
                </a:cubicBezTo>
                <a:cubicBezTo>
                  <a:pt x="1430" y="150"/>
                  <a:pt x="1430" y="150"/>
                  <a:pt x="1431" y="150"/>
                </a:cubicBezTo>
                <a:cubicBezTo>
                  <a:pt x="1431" y="150"/>
                  <a:pt x="1431" y="150"/>
                  <a:pt x="1433" y="150"/>
                </a:cubicBezTo>
                <a:cubicBezTo>
                  <a:pt x="1433" y="150"/>
                  <a:pt x="1433" y="150"/>
                  <a:pt x="1434" y="149"/>
                </a:cubicBezTo>
                <a:cubicBezTo>
                  <a:pt x="1434" y="149"/>
                  <a:pt x="1434" y="149"/>
                  <a:pt x="1435" y="149"/>
                </a:cubicBezTo>
                <a:cubicBezTo>
                  <a:pt x="1435" y="149"/>
                  <a:pt x="1435" y="149"/>
                  <a:pt x="1436" y="148"/>
                </a:cubicBezTo>
                <a:cubicBezTo>
                  <a:pt x="1436" y="148"/>
                  <a:pt x="1436" y="148"/>
                  <a:pt x="1436" y="147"/>
                </a:cubicBezTo>
                <a:cubicBezTo>
                  <a:pt x="1436" y="147"/>
                  <a:pt x="1436" y="147"/>
                  <a:pt x="1437" y="146"/>
                </a:cubicBezTo>
                <a:cubicBezTo>
                  <a:pt x="1437" y="146"/>
                  <a:pt x="1437" y="146"/>
                  <a:pt x="1438" y="146"/>
                </a:cubicBezTo>
                <a:cubicBezTo>
                  <a:pt x="1438" y="146"/>
                  <a:pt x="1438" y="146"/>
                  <a:pt x="1438" y="147"/>
                </a:cubicBezTo>
                <a:cubicBezTo>
                  <a:pt x="1438" y="147"/>
                  <a:pt x="1438" y="147"/>
                  <a:pt x="1438" y="149"/>
                </a:cubicBezTo>
                <a:cubicBezTo>
                  <a:pt x="1438" y="149"/>
                  <a:pt x="1438" y="149"/>
                  <a:pt x="1438" y="150"/>
                </a:cubicBezTo>
                <a:cubicBezTo>
                  <a:pt x="1438" y="150"/>
                  <a:pt x="1438" y="150"/>
                  <a:pt x="1437" y="151"/>
                </a:cubicBezTo>
                <a:cubicBezTo>
                  <a:pt x="1437" y="151"/>
                  <a:pt x="1437" y="151"/>
                  <a:pt x="1438" y="152"/>
                </a:cubicBezTo>
                <a:cubicBezTo>
                  <a:pt x="1438" y="152"/>
                  <a:pt x="1438" y="152"/>
                  <a:pt x="1439" y="152"/>
                </a:cubicBezTo>
                <a:cubicBezTo>
                  <a:pt x="1439" y="152"/>
                  <a:pt x="1439" y="152"/>
                  <a:pt x="1439" y="151"/>
                </a:cubicBezTo>
                <a:cubicBezTo>
                  <a:pt x="1439" y="151"/>
                  <a:pt x="1439" y="151"/>
                  <a:pt x="1440" y="150"/>
                </a:cubicBezTo>
                <a:cubicBezTo>
                  <a:pt x="1440" y="150"/>
                  <a:pt x="1440" y="150"/>
                  <a:pt x="1441" y="149"/>
                </a:cubicBezTo>
                <a:cubicBezTo>
                  <a:pt x="1441" y="149"/>
                  <a:pt x="1441" y="149"/>
                  <a:pt x="1442" y="149"/>
                </a:cubicBezTo>
                <a:cubicBezTo>
                  <a:pt x="1442" y="149"/>
                  <a:pt x="1442" y="149"/>
                  <a:pt x="1443" y="146"/>
                </a:cubicBezTo>
                <a:cubicBezTo>
                  <a:pt x="1443" y="146"/>
                  <a:pt x="1443" y="146"/>
                  <a:pt x="1443" y="145"/>
                </a:cubicBezTo>
                <a:close/>
                <a:moveTo>
                  <a:pt x="1387" y="131"/>
                </a:moveTo>
                <a:cubicBezTo>
                  <a:pt x="1387" y="131"/>
                  <a:pt x="1387" y="131"/>
                  <a:pt x="1387" y="133"/>
                </a:cubicBezTo>
                <a:cubicBezTo>
                  <a:pt x="1387" y="133"/>
                  <a:pt x="1387" y="133"/>
                  <a:pt x="1387" y="134"/>
                </a:cubicBezTo>
                <a:cubicBezTo>
                  <a:pt x="1387" y="134"/>
                  <a:pt x="1387" y="134"/>
                  <a:pt x="1388" y="134"/>
                </a:cubicBezTo>
                <a:cubicBezTo>
                  <a:pt x="1388" y="134"/>
                  <a:pt x="1388" y="134"/>
                  <a:pt x="1389" y="135"/>
                </a:cubicBezTo>
                <a:cubicBezTo>
                  <a:pt x="1389" y="135"/>
                  <a:pt x="1389" y="135"/>
                  <a:pt x="1390" y="136"/>
                </a:cubicBezTo>
                <a:cubicBezTo>
                  <a:pt x="1390" y="136"/>
                  <a:pt x="1390" y="136"/>
                  <a:pt x="1391" y="138"/>
                </a:cubicBezTo>
                <a:cubicBezTo>
                  <a:pt x="1391" y="138"/>
                  <a:pt x="1391" y="138"/>
                  <a:pt x="1392" y="138"/>
                </a:cubicBezTo>
                <a:cubicBezTo>
                  <a:pt x="1392" y="138"/>
                  <a:pt x="1392" y="138"/>
                  <a:pt x="1392" y="137"/>
                </a:cubicBezTo>
                <a:cubicBezTo>
                  <a:pt x="1392" y="137"/>
                  <a:pt x="1392" y="137"/>
                  <a:pt x="1392" y="136"/>
                </a:cubicBezTo>
                <a:cubicBezTo>
                  <a:pt x="1392" y="136"/>
                  <a:pt x="1392" y="136"/>
                  <a:pt x="1391" y="134"/>
                </a:cubicBezTo>
                <a:cubicBezTo>
                  <a:pt x="1391" y="134"/>
                  <a:pt x="1391" y="134"/>
                  <a:pt x="1390" y="133"/>
                </a:cubicBezTo>
                <a:cubicBezTo>
                  <a:pt x="1390" y="133"/>
                  <a:pt x="1390" y="133"/>
                  <a:pt x="1389" y="133"/>
                </a:cubicBezTo>
                <a:cubicBezTo>
                  <a:pt x="1389" y="133"/>
                  <a:pt x="1389" y="133"/>
                  <a:pt x="1388" y="132"/>
                </a:cubicBezTo>
                <a:cubicBezTo>
                  <a:pt x="1388" y="132"/>
                  <a:pt x="1388" y="132"/>
                  <a:pt x="1387" y="130"/>
                </a:cubicBezTo>
                <a:cubicBezTo>
                  <a:pt x="1387" y="130"/>
                  <a:pt x="1387" y="130"/>
                  <a:pt x="1388" y="129"/>
                </a:cubicBezTo>
                <a:cubicBezTo>
                  <a:pt x="1388" y="129"/>
                  <a:pt x="1388" y="129"/>
                  <a:pt x="1387" y="128"/>
                </a:cubicBezTo>
                <a:cubicBezTo>
                  <a:pt x="1387" y="128"/>
                  <a:pt x="1387" y="128"/>
                  <a:pt x="1386" y="127"/>
                </a:cubicBezTo>
                <a:cubicBezTo>
                  <a:pt x="1386" y="127"/>
                  <a:pt x="1386" y="127"/>
                  <a:pt x="1386" y="126"/>
                </a:cubicBezTo>
                <a:cubicBezTo>
                  <a:pt x="1386" y="126"/>
                  <a:pt x="1386" y="126"/>
                  <a:pt x="1385" y="127"/>
                </a:cubicBezTo>
                <a:cubicBezTo>
                  <a:pt x="1385" y="127"/>
                  <a:pt x="1385" y="127"/>
                  <a:pt x="1385" y="129"/>
                </a:cubicBezTo>
                <a:cubicBezTo>
                  <a:pt x="1385" y="129"/>
                  <a:pt x="1385" y="129"/>
                  <a:pt x="1386" y="129"/>
                </a:cubicBezTo>
                <a:cubicBezTo>
                  <a:pt x="1386" y="129"/>
                  <a:pt x="1386" y="129"/>
                  <a:pt x="1387" y="131"/>
                </a:cubicBezTo>
                <a:close/>
                <a:moveTo>
                  <a:pt x="1416" y="100"/>
                </a:moveTo>
                <a:cubicBezTo>
                  <a:pt x="1416" y="100"/>
                  <a:pt x="1416" y="100"/>
                  <a:pt x="1416" y="99"/>
                </a:cubicBezTo>
                <a:cubicBezTo>
                  <a:pt x="1416" y="99"/>
                  <a:pt x="1416" y="99"/>
                  <a:pt x="1415" y="98"/>
                </a:cubicBezTo>
                <a:cubicBezTo>
                  <a:pt x="1415" y="98"/>
                  <a:pt x="1415" y="98"/>
                  <a:pt x="1414" y="99"/>
                </a:cubicBezTo>
                <a:cubicBezTo>
                  <a:pt x="1414" y="99"/>
                  <a:pt x="1414" y="99"/>
                  <a:pt x="1414" y="100"/>
                </a:cubicBezTo>
                <a:cubicBezTo>
                  <a:pt x="1414" y="100"/>
                  <a:pt x="1414" y="100"/>
                  <a:pt x="1415" y="101"/>
                </a:cubicBezTo>
                <a:cubicBezTo>
                  <a:pt x="1415" y="101"/>
                  <a:pt x="1415" y="101"/>
                  <a:pt x="1416" y="100"/>
                </a:cubicBezTo>
                <a:close/>
                <a:moveTo>
                  <a:pt x="1386" y="122"/>
                </a:moveTo>
                <a:cubicBezTo>
                  <a:pt x="1386" y="122"/>
                  <a:pt x="1386" y="122"/>
                  <a:pt x="1387" y="122"/>
                </a:cubicBezTo>
                <a:cubicBezTo>
                  <a:pt x="1387" y="122"/>
                  <a:pt x="1387" y="122"/>
                  <a:pt x="1388" y="121"/>
                </a:cubicBezTo>
                <a:cubicBezTo>
                  <a:pt x="1388" y="121"/>
                  <a:pt x="1388" y="121"/>
                  <a:pt x="1388" y="120"/>
                </a:cubicBezTo>
                <a:cubicBezTo>
                  <a:pt x="1388" y="120"/>
                  <a:pt x="1388" y="120"/>
                  <a:pt x="1388" y="119"/>
                </a:cubicBezTo>
                <a:cubicBezTo>
                  <a:pt x="1388" y="119"/>
                  <a:pt x="1388" y="119"/>
                  <a:pt x="1389" y="119"/>
                </a:cubicBezTo>
                <a:cubicBezTo>
                  <a:pt x="1389" y="119"/>
                  <a:pt x="1389" y="119"/>
                  <a:pt x="1390" y="119"/>
                </a:cubicBezTo>
                <a:cubicBezTo>
                  <a:pt x="1390" y="119"/>
                  <a:pt x="1390" y="119"/>
                  <a:pt x="1390" y="120"/>
                </a:cubicBezTo>
                <a:cubicBezTo>
                  <a:pt x="1390" y="120"/>
                  <a:pt x="1390" y="120"/>
                  <a:pt x="1389" y="122"/>
                </a:cubicBezTo>
                <a:cubicBezTo>
                  <a:pt x="1389" y="122"/>
                  <a:pt x="1389" y="122"/>
                  <a:pt x="1389" y="123"/>
                </a:cubicBezTo>
                <a:cubicBezTo>
                  <a:pt x="1389" y="123"/>
                  <a:pt x="1389" y="123"/>
                  <a:pt x="1390" y="124"/>
                </a:cubicBezTo>
                <a:cubicBezTo>
                  <a:pt x="1390" y="124"/>
                  <a:pt x="1390" y="124"/>
                  <a:pt x="1391" y="125"/>
                </a:cubicBezTo>
                <a:cubicBezTo>
                  <a:pt x="1391" y="125"/>
                  <a:pt x="1391" y="125"/>
                  <a:pt x="1391" y="124"/>
                </a:cubicBezTo>
                <a:cubicBezTo>
                  <a:pt x="1391" y="124"/>
                  <a:pt x="1391" y="124"/>
                  <a:pt x="1392" y="125"/>
                </a:cubicBezTo>
                <a:cubicBezTo>
                  <a:pt x="1392" y="125"/>
                  <a:pt x="1392" y="125"/>
                  <a:pt x="1392" y="126"/>
                </a:cubicBezTo>
                <a:cubicBezTo>
                  <a:pt x="1392" y="126"/>
                  <a:pt x="1392" y="126"/>
                  <a:pt x="1391" y="126"/>
                </a:cubicBezTo>
                <a:cubicBezTo>
                  <a:pt x="1391" y="126"/>
                  <a:pt x="1391" y="126"/>
                  <a:pt x="1390" y="126"/>
                </a:cubicBezTo>
                <a:cubicBezTo>
                  <a:pt x="1390" y="126"/>
                  <a:pt x="1390" y="126"/>
                  <a:pt x="1390" y="125"/>
                </a:cubicBezTo>
                <a:cubicBezTo>
                  <a:pt x="1390" y="125"/>
                  <a:pt x="1390" y="125"/>
                  <a:pt x="1388" y="124"/>
                </a:cubicBezTo>
                <a:cubicBezTo>
                  <a:pt x="1388" y="124"/>
                  <a:pt x="1388" y="124"/>
                  <a:pt x="1388" y="125"/>
                </a:cubicBezTo>
                <a:cubicBezTo>
                  <a:pt x="1388" y="125"/>
                  <a:pt x="1388" y="125"/>
                  <a:pt x="1388" y="126"/>
                </a:cubicBezTo>
                <a:cubicBezTo>
                  <a:pt x="1388" y="126"/>
                  <a:pt x="1388" y="126"/>
                  <a:pt x="1389" y="127"/>
                </a:cubicBezTo>
                <a:cubicBezTo>
                  <a:pt x="1389" y="127"/>
                  <a:pt x="1389" y="127"/>
                  <a:pt x="1390" y="127"/>
                </a:cubicBezTo>
                <a:cubicBezTo>
                  <a:pt x="1390" y="127"/>
                  <a:pt x="1390" y="127"/>
                  <a:pt x="1390" y="128"/>
                </a:cubicBezTo>
                <a:cubicBezTo>
                  <a:pt x="1390" y="128"/>
                  <a:pt x="1390" y="128"/>
                  <a:pt x="1389" y="128"/>
                </a:cubicBezTo>
                <a:cubicBezTo>
                  <a:pt x="1389" y="128"/>
                  <a:pt x="1389" y="128"/>
                  <a:pt x="1390" y="129"/>
                </a:cubicBezTo>
                <a:cubicBezTo>
                  <a:pt x="1390" y="129"/>
                  <a:pt x="1390" y="129"/>
                  <a:pt x="1391" y="130"/>
                </a:cubicBezTo>
                <a:cubicBezTo>
                  <a:pt x="1391" y="130"/>
                  <a:pt x="1391" y="130"/>
                  <a:pt x="1392" y="130"/>
                </a:cubicBezTo>
                <a:cubicBezTo>
                  <a:pt x="1392" y="130"/>
                  <a:pt x="1392" y="130"/>
                  <a:pt x="1392" y="131"/>
                </a:cubicBezTo>
                <a:cubicBezTo>
                  <a:pt x="1392" y="131"/>
                  <a:pt x="1392" y="131"/>
                  <a:pt x="1393" y="131"/>
                </a:cubicBezTo>
                <a:cubicBezTo>
                  <a:pt x="1393" y="131"/>
                  <a:pt x="1393" y="131"/>
                  <a:pt x="1394" y="131"/>
                </a:cubicBezTo>
                <a:cubicBezTo>
                  <a:pt x="1394" y="131"/>
                  <a:pt x="1394" y="131"/>
                  <a:pt x="1395" y="131"/>
                </a:cubicBezTo>
                <a:cubicBezTo>
                  <a:pt x="1395" y="131"/>
                  <a:pt x="1395" y="131"/>
                  <a:pt x="1395" y="132"/>
                </a:cubicBezTo>
                <a:cubicBezTo>
                  <a:pt x="1395" y="132"/>
                  <a:pt x="1395" y="132"/>
                  <a:pt x="1394" y="132"/>
                </a:cubicBezTo>
                <a:cubicBezTo>
                  <a:pt x="1394" y="132"/>
                  <a:pt x="1394" y="132"/>
                  <a:pt x="1393" y="132"/>
                </a:cubicBezTo>
                <a:cubicBezTo>
                  <a:pt x="1393" y="132"/>
                  <a:pt x="1393" y="132"/>
                  <a:pt x="1393" y="133"/>
                </a:cubicBezTo>
                <a:cubicBezTo>
                  <a:pt x="1393" y="133"/>
                  <a:pt x="1393" y="133"/>
                  <a:pt x="1394" y="134"/>
                </a:cubicBezTo>
                <a:cubicBezTo>
                  <a:pt x="1394" y="134"/>
                  <a:pt x="1394" y="134"/>
                  <a:pt x="1395" y="135"/>
                </a:cubicBezTo>
                <a:cubicBezTo>
                  <a:pt x="1395" y="135"/>
                  <a:pt x="1395" y="135"/>
                  <a:pt x="1396" y="136"/>
                </a:cubicBezTo>
                <a:cubicBezTo>
                  <a:pt x="1396" y="136"/>
                  <a:pt x="1396" y="136"/>
                  <a:pt x="1397" y="137"/>
                </a:cubicBezTo>
                <a:cubicBezTo>
                  <a:pt x="1397" y="137"/>
                  <a:pt x="1397" y="137"/>
                  <a:pt x="1396" y="138"/>
                </a:cubicBezTo>
                <a:cubicBezTo>
                  <a:pt x="1396" y="138"/>
                  <a:pt x="1396" y="138"/>
                  <a:pt x="1398" y="138"/>
                </a:cubicBezTo>
                <a:cubicBezTo>
                  <a:pt x="1398" y="138"/>
                  <a:pt x="1398" y="138"/>
                  <a:pt x="1400" y="138"/>
                </a:cubicBezTo>
                <a:cubicBezTo>
                  <a:pt x="1400" y="138"/>
                  <a:pt x="1400" y="138"/>
                  <a:pt x="1401" y="137"/>
                </a:cubicBezTo>
                <a:cubicBezTo>
                  <a:pt x="1401" y="137"/>
                  <a:pt x="1401" y="137"/>
                  <a:pt x="1401" y="135"/>
                </a:cubicBezTo>
                <a:cubicBezTo>
                  <a:pt x="1401" y="135"/>
                  <a:pt x="1401" y="135"/>
                  <a:pt x="1402" y="135"/>
                </a:cubicBezTo>
                <a:cubicBezTo>
                  <a:pt x="1402" y="135"/>
                  <a:pt x="1402" y="135"/>
                  <a:pt x="1403" y="135"/>
                </a:cubicBezTo>
                <a:cubicBezTo>
                  <a:pt x="1403" y="135"/>
                  <a:pt x="1403" y="135"/>
                  <a:pt x="1403" y="134"/>
                </a:cubicBezTo>
                <a:cubicBezTo>
                  <a:pt x="1403" y="134"/>
                  <a:pt x="1403" y="134"/>
                  <a:pt x="1402" y="133"/>
                </a:cubicBezTo>
                <a:cubicBezTo>
                  <a:pt x="1402" y="133"/>
                  <a:pt x="1402" y="133"/>
                  <a:pt x="1402" y="132"/>
                </a:cubicBezTo>
                <a:cubicBezTo>
                  <a:pt x="1402" y="132"/>
                  <a:pt x="1402" y="132"/>
                  <a:pt x="1402" y="131"/>
                </a:cubicBezTo>
                <a:cubicBezTo>
                  <a:pt x="1402" y="131"/>
                  <a:pt x="1402" y="131"/>
                  <a:pt x="1401" y="130"/>
                </a:cubicBezTo>
                <a:cubicBezTo>
                  <a:pt x="1401" y="130"/>
                  <a:pt x="1401" y="130"/>
                  <a:pt x="1401" y="129"/>
                </a:cubicBezTo>
                <a:cubicBezTo>
                  <a:pt x="1401" y="129"/>
                  <a:pt x="1401" y="129"/>
                  <a:pt x="1402" y="129"/>
                </a:cubicBezTo>
                <a:cubicBezTo>
                  <a:pt x="1402" y="129"/>
                  <a:pt x="1402" y="129"/>
                  <a:pt x="1403" y="129"/>
                </a:cubicBezTo>
                <a:cubicBezTo>
                  <a:pt x="1403" y="129"/>
                  <a:pt x="1403" y="129"/>
                  <a:pt x="1403" y="130"/>
                </a:cubicBezTo>
                <a:cubicBezTo>
                  <a:pt x="1403" y="130"/>
                  <a:pt x="1403" y="130"/>
                  <a:pt x="1403" y="131"/>
                </a:cubicBezTo>
                <a:cubicBezTo>
                  <a:pt x="1403" y="131"/>
                  <a:pt x="1403" y="131"/>
                  <a:pt x="1404" y="130"/>
                </a:cubicBezTo>
                <a:cubicBezTo>
                  <a:pt x="1404" y="130"/>
                  <a:pt x="1404" y="130"/>
                  <a:pt x="1404" y="129"/>
                </a:cubicBezTo>
                <a:cubicBezTo>
                  <a:pt x="1404" y="129"/>
                  <a:pt x="1404" y="129"/>
                  <a:pt x="1404" y="127"/>
                </a:cubicBezTo>
                <a:cubicBezTo>
                  <a:pt x="1404" y="127"/>
                  <a:pt x="1404" y="127"/>
                  <a:pt x="1405" y="127"/>
                </a:cubicBezTo>
                <a:cubicBezTo>
                  <a:pt x="1405" y="127"/>
                  <a:pt x="1405" y="127"/>
                  <a:pt x="1405" y="129"/>
                </a:cubicBezTo>
                <a:cubicBezTo>
                  <a:pt x="1405" y="129"/>
                  <a:pt x="1405" y="129"/>
                  <a:pt x="1406" y="129"/>
                </a:cubicBezTo>
                <a:cubicBezTo>
                  <a:pt x="1406" y="129"/>
                  <a:pt x="1406" y="129"/>
                  <a:pt x="1406" y="130"/>
                </a:cubicBezTo>
                <a:cubicBezTo>
                  <a:pt x="1406" y="130"/>
                  <a:pt x="1406" y="130"/>
                  <a:pt x="1405" y="131"/>
                </a:cubicBezTo>
                <a:cubicBezTo>
                  <a:pt x="1405" y="131"/>
                  <a:pt x="1405" y="131"/>
                  <a:pt x="1405" y="132"/>
                </a:cubicBezTo>
                <a:cubicBezTo>
                  <a:pt x="1405" y="132"/>
                  <a:pt x="1405" y="132"/>
                  <a:pt x="1405" y="133"/>
                </a:cubicBezTo>
                <a:cubicBezTo>
                  <a:pt x="1405" y="133"/>
                  <a:pt x="1405" y="133"/>
                  <a:pt x="1406" y="134"/>
                </a:cubicBezTo>
                <a:cubicBezTo>
                  <a:pt x="1406" y="134"/>
                  <a:pt x="1406" y="134"/>
                  <a:pt x="1407" y="133"/>
                </a:cubicBezTo>
                <a:cubicBezTo>
                  <a:pt x="1407" y="133"/>
                  <a:pt x="1407" y="133"/>
                  <a:pt x="1408" y="132"/>
                </a:cubicBezTo>
                <a:cubicBezTo>
                  <a:pt x="1408" y="132"/>
                  <a:pt x="1408" y="132"/>
                  <a:pt x="1409" y="130"/>
                </a:cubicBezTo>
                <a:cubicBezTo>
                  <a:pt x="1409" y="130"/>
                  <a:pt x="1409" y="130"/>
                  <a:pt x="1409" y="129"/>
                </a:cubicBezTo>
                <a:cubicBezTo>
                  <a:pt x="1409" y="129"/>
                  <a:pt x="1409" y="129"/>
                  <a:pt x="1409" y="128"/>
                </a:cubicBezTo>
                <a:cubicBezTo>
                  <a:pt x="1409" y="128"/>
                  <a:pt x="1409" y="128"/>
                  <a:pt x="1410" y="128"/>
                </a:cubicBezTo>
                <a:cubicBezTo>
                  <a:pt x="1410" y="128"/>
                  <a:pt x="1410" y="128"/>
                  <a:pt x="1410" y="129"/>
                </a:cubicBezTo>
                <a:cubicBezTo>
                  <a:pt x="1410" y="129"/>
                  <a:pt x="1410" y="129"/>
                  <a:pt x="1410" y="131"/>
                </a:cubicBezTo>
                <a:cubicBezTo>
                  <a:pt x="1410" y="131"/>
                  <a:pt x="1410" y="131"/>
                  <a:pt x="1410" y="132"/>
                </a:cubicBezTo>
                <a:cubicBezTo>
                  <a:pt x="1410" y="132"/>
                  <a:pt x="1410" y="132"/>
                  <a:pt x="1410" y="133"/>
                </a:cubicBezTo>
                <a:cubicBezTo>
                  <a:pt x="1410" y="133"/>
                  <a:pt x="1410" y="133"/>
                  <a:pt x="1411" y="133"/>
                </a:cubicBezTo>
                <a:cubicBezTo>
                  <a:pt x="1411" y="133"/>
                  <a:pt x="1411" y="133"/>
                  <a:pt x="1412" y="132"/>
                </a:cubicBezTo>
                <a:cubicBezTo>
                  <a:pt x="1412" y="132"/>
                  <a:pt x="1412" y="132"/>
                  <a:pt x="1413" y="132"/>
                </a:cubicBezTo>
                <a:cubicBezTo>
                  <a:pt x="1413" y="132"/>
                  <a:pt x="1413" y="132"/>
                  <a:pt x="1413" y="133"/>
                </a:cubicBezTo>
                <a:cubicBezTo>
                  <a:pt x="1413" y="133"/>
                  <a:pt x="1413" y="133"/>
                  <a:pt x="1412" y="133"/>
                </a:cubicBezTo>
                <a:cubicBezTo>
                  <a:pt x="1412" y="133"/>
                  <a:pt x="1412" y="133"/>
                  <a:pt x="1411" y="134"/>
                </a:cubicBezTo>
                <a:cubicBezTo>
                  <a:pt x="1411" y="134"/>
                  <a:pt x="1411" y="134"/>
                  <a:pt x="1410" y="135"/>
                </a:cubicBezTo>
                <a:cubicBezTo>
                  <a:pt x="1410" y="135"/>
                  <a:pt x="1410" y="135"/>
                  <a:pt x="1408" y="135"/>
                </a:cubicBezTo>
                <a:cubicBezTo>
                  <a:pt x="1408" y="135"/>
                  <a:pt x="1408" y="135"/>
                  <a:pt x="1407" y="135"/>
                </a:cubicBezTo>
                <a:cubicBezTo>
                  <a:pt x="1407" y="135"/>
                  <a:pt x="1407" y="135"/>
                  <a:pt x="1406" y="136"/>
                </a:cubicBezTo>
                <a:cubicBezTo>
                  <a:pt x="1406" y="136"/>
                  <a:pt x="1406" y="136"/>
                  <a:pt x="1406" y="137"/>
                </a:cubicBezTo>
                <a:cubicBezTo>
                  <a:pt x="1406" y="137"/>
                  <a:pt x="1406" y="137"/>
                  <a:pt x="1405" y="137"/>
                </a:cubicBezTo>
                <a:cubicBezTo>
                  <a:pt x="1405" y="137"/>
                  <a:pt x="1405" y="137"/>
                  <a:pt x="1404" y="138"/>
                </a:cubicBezTo>
                <a:cubicBezTo>
                  <a:pt x="1404" y="138"/>
                  <a:pt x="1404" y="138"/>
                  <a:pt x="1403" y="139"/>
                </a:cubicBezTo>
                <a:cubicBezTo>
                  <a:pt x="1403" y="139"/>
                  <a:pt x="1403" y="139"/>
                  <a:pt x="1402" y="140"/>
                </a:cubicBezTo>
                <a:cubicBezTo>
                  <a:pt x="1402" y="140"/>
                  <a:pt x="1402" y="140"/>
                  <a:pt x="1402" y="141"/>
                </a:cubicBezTo>
                <a:cubicBezTo>
                  <a:pt x="1402" y="141"/>
                  <a:pt x="1402" y="141"/>
                  <a:pt x="1401" y="141"/>
                </a:cubicBezTo>
                <a:cubicBezTo>
                  <a:pt x="1401" y="141"/>
                  <a:pt x="1401" y="141"/>
                  <a:pt x="1401" y="140"/>
                </a:cubicBezTo>
                <a:cubicBezTo>
                  <a:pt x="1401" y="140"/>
                  <a:pt x="1401" y="140"/>
                  <a:pt x="1400" y="140"/>
                </a:cubicBezTo>
                <a:cubicBezTo>
                  <a:pt x="1400" y="140"/>
                  <a:pt x="1400" y="140"/>
                  <a:pt x="1399" y="141"/>
                </a:cubicBezTo>
                <a:cubicBezTo>
                  <a:pt x="1399" y="141"/>
                  <a:pt x="1399" y="141"/>
                  <a:pt x="1399" y="142"/>
                </a:cubicBezTo>
                <a:cubicBezTo>
                  <a:pt x="1399" y="142"/>
                  <a:pt x="1399" y="142"/>
                  <a:pt x="1399" y="143"/>
                </a:cubicBezTo>
                <a:cubicBezTo>
                  <a:pt x="1399" y="143"/>
                  <a:pt x="1399" y="143"/>
                  <a:pt x="1399" y="145"/>
                </a:cubicBezTo>
                <a:cubicBezTo>
                  <a:pt x="1399" y="145"/>
                  <a:pt x="1399" y="145"/>
                  <a:pt x="1400" y="145"/>
                </a:cubicBezTo>
                <a:cubicBezTo>
                  <a:pt x="1400" y="145"/>
                  <a:pt x="1400" y="145"/>
                  <a:pt x="1401" y="145"/>
                </a:cubicBezTo>
                <a:cubicBezTo>
                  <a:pt x="1401" y="145"/>
                  <a:pt x="1401" y="145"/>
                  <a:pt x="1403" y="145"/>
                </a:cubicBezTo>
                <a:cubicBezTo>
                  <a:pt x="1403" y="145"/>
                  <a:pt x="1403" y="145"/>
                  <a:pt x="1403" y="144"/>
                </a:cubicBezTo>
                <a:cubicBezTo>
                  <a:pt x="1403" y="144"/>
                  <a:pt x="1403" y="144"/>
                  <a:pt x="1404" y="144"/>
                </a:cubicBezTo>
                <a:cubicBezTo>
                  <a:pt x="1404" y="144"/>
                  <a:pt x="1404" y="144"/>
                  <a:pt x="1405" y="144"/>
                </a:cubicBezTo>
                <a:cubicBezTo>
                  <a:pt x="1405" y="144"/>
                  <a:pt x="1405" y="144"/>
                  <a:pt x="1406" y="143"/>
                </a:cubicBezTo>
                <a:cubicBezTo>
                  <a:pt x="1406" y="143"/>
                  <a:pt x="1406" y="143"/>
                  <a:pt x="1407" y="143"/>
                </a:cubicBezTo>
                <a:cubicBezTo>
                  <a:pt x="1407" y="143"/>
                  <a:pt x="1407" y="143"/>
                  <a:pt x="1408" y="143"/>
                </a:cubicBezTo>
                <a:cubicBezTo>
                  <a:pt x="1408" y="143"/>
                  <a:pt x="1408" y="143"/>
                  <a:pt x="1409" y="143"/>
                </a:cubicBezTo>
                <a:cubicBezTo>
                  <a:pt x="1409" y="143"/>
                  <a:pt x="1409" y="143"/>
                  <a:pt x="1411" y="143"/>
                </a:cubicBezTo>
                <a:cubicBezTo>
                  <a:pt x="1411" y="143"/>
                  <a:pt x="1411" y="143"/>
                  <a:pt x="1412" y="142"/>
                </a:cubicBezTo>
                <a:cubicBezTo>
                  <a:pt x="1412" y="142"/>
                  <a:pt x="1412" y="142"/>
                  <a:pt x="1413" y="142"/>
                </a:cubicBezTo>
                <a:cubicBezTo>
                  <a:pt x="1413" y="142"/>
                  <a:pt x="1413" y="142"/>
                  <a:pt x="1413" y="143"/>
                </a:cubicBezTo>
                <a:cubicBezTo>
                  <a:pt x="1413" y="143"/>
                  <a:pt x="1413" y="143"/>
                  <a:pt x="1412" y="143"/>
                </a:cubicBezTo>
                <a:cubicBezTo>
                  <a:pt x="1412" y="143"/>
                  <a:pt x="1412" y="143"/>
                  <a:pt x="1412" y="144"/>
                </a:cubicBezTo>
                <a:cubicBezTo>
                  <a:pt x="1412" y="144"/>
                  <a:pt x="1412" y="144"/>
                  <a:pt x="1411" y="144"/>
                </a:cubicBezTo>
                <a:cubicBezTo>
                  <a:pt x="1411" y="144"/>
                  <a:pt x="1411" y="144"/>
                  <a:pt x="1409" y="144"/>
                </a:cubicBezTo>
                <a:cubicBezTo>
                  <a:pt x="1409" y="144"/>
                  <a:pt x="1409" y="144"/>
                  <a:pt x="1408" y="145"/>
                </a:cubicBezTo>
                <a:cubicBezTo>
                  <a:pt x="1408" y="145"/>
                  <a:pt x="1408" y="145"/>
                  <a:pt x="1406" y="146"/>
                </a:cubicBezTo>
                <a:cubicBezTo>
                  <a:pt x="1406" y="146"/>
                  <a:pt x="1406" y="146"/>
                  <a:pt x="1405" y="146"/>
                </a:cubicBezTo>
                <a:cubicBezTo>
                  <a:pt x="1405" y="146"/>
                  <a:pt x="1405" y="146"/>
                  <a:pt x="1404" y="146"/>
                </a:cubicBezTo>
                <a:cubicBezTo>
                  <a:pt x="1404" y="146"/>
                  <a:pt x="1404" y="146"/>
                  <a:pt x="1405" y="147"/>
                </a:cubicBezTo>
                <a:cubicBezTo>
                  <a:pt x="1405" y="147"/>
                  <a:pt x="1405" y="147"/>
                  <a:pt x="1407" y="147"/>
                </a:cubicBezTo>
                <a:cubicBezTo>
                  <a:pt x="1407" y="147"/>
                  <a:pt x="1407" y="147"/>
                  <a:pt x="1408" y="147"/>
                </a:cubicBezTo>
                <a:cubicBezTo>
                  <a:pt x="1408" y="147"/>
                  <a:pt x="1408" y="147"/>
                  <a:pt x="1409" y="148"/>
                </a:cubicBezTo>
                <a:cubicBezTo>
                  <a:pt x="1409" y="148"/>
                  <a:pt x="1409" y="148"/>
                  <a:pt x="1407" y="149"/>
                </a:cubicBezTo>
                <a:cubicBezTo>
                  <a:pt x="1407" y="149"/>
                  <a:pt x="1407" y="149"/>
                  <a:pt x="1406" y="149"/>
                </a:cubicBezTo>
                <a:cubicBezTo>
                  <a:pt x="1406" y="149"/>
                  <a:pt x="1406" y="149"/>
                  <a:pt x="1405" y="148"/>
                </a:cubicBezTo>
                <a:cubicBezTo>
                  <a:pt x="1405" y="148"/>
                  <a:pt x="1405" y="148"/>
                  <a:pt x="1404" y="148"/>
                </a:cubicBezTo>
                <a:cubicBezTo>
                  <a:pt x="1404" y="148"/>
                  <a:pt x="1404" y="148"/>
                  <a:pt x="1404" y="149"/>
                </a:cubicBezTo>
                <a:cubicBezTo>
                  <a:pt x="1404" y="149"/>
                  <a:pt x="1404" y="149"/>
                  <a:pt x="1403" y="148"/>
                </a:cubicBezTo>
                <a:cubicBezTo>
                  <a:pt x="1403" y="148"/>
                  <a:pt x="1403" y="148"/>
                  <a:pt x="1402" y="147"/>
                </a:cubicBezTo>
                <a:cubicBezTo>
                  <a:pt x="1402" y="147"/>
                  <a:pt x="1402" y="147"/>
                  <a:pt x="1400" y="148"/>
                </a:cubicBezTo>
                <a:cubicBezTo>
                  <a:pt x="1400" y="148"/>
                  <a:pt x="1400" y="148"/>
                  <a:pt x="1400" y="149"/>
                </a:cubicBezTo>
                <a:cubicBezTo>
                  <a:pt x="1400" y="149"/>
                  <a:pt x="1400" y="149"/>
                  <a:pt x="1401" y="149"/>
                </a:cubicBezTo>
                <a:cubicBezTo>
                  <a:pt x="1401" y="149"/>
                  <a:pt x="1401" y="149"/>
                  <a:pt x="1401" y="150"/>
                </a:cubicBezTo>
                <a:cubicBezTo>
                  <a:pt x="1401" y="150"/>
                  <a:pt x="1401" y="150"/>
                  <a:pt x="1401" y="151"/>
                </a:cubicBezTo>
                <a:cubicBezTo>
                  <a:pt x="1401" y="151"/>
                  <a:pt x="1401" y="151"/>
                  <a:pt x="1401" y="152"/>
                </a:cubicBezTo>
                <a:cubicBezTo>
                  <a:pt x="1401" y="152"/>
                  <a:pt x="1401" y="152"/>
                  <a:pt x="1402" y="152"/>
                </a:cubicBezTo>
                <a:cubicBezTo>
                  <a:pt x="1402" y="152"/>
                  <a:pt x="1402" y="152"/>
                  <a:pt x="1402" y="153"/>
                </a:cubicBezTo>
                <a:cubicBezTo>
                  <a:pt x="1402" y="153"/>
                  <a:pt x="1402" y="153"/>
                  <a:pt x="1403" y="153"/>
                </a:cubicBezTo>
                <a:cubicBezTo>
                  <a:pt x="1403" y="153"/>
                  <a:pt x="1403" y="153"/>
                  <a:pt x="1403" y="154"/>
                </a:cubicBezTo>
                <a:cubicBezTo>
                  <a:pt x="1403" y="154"/>
                  <a:pt x="1403" y="154"/>
                  <a:pt x="1403" y="155"/>
                </a:cubicBezTo>
                <a:cubicBezTo>
                  <a:pt x="1403" y="155"/>
                  <a:pt x="1403" y="155"/>
                  <a:pt x="1404" y="155"/>
                </a:cubicBezTo>
                <a:cubicBezTo>
                  <a:pt x="1404" y="155"/>
                  <a:pt x="1404" y="155"/>
                  <a:pt x="1405" y="156"/>
                </a:cubicBezTo>
                <a:cubicBezTo>
                  <a:pt x="1405" y="156"/>
                  <a:pt x="1405" y="156"/>
                  <a:pt x="1406" y="156"/>
                </a:cubicBezTo>
                <a:cubicBezTo>
                  <a:pt x="1406" y="156"/>
                  <a:pt x="1406" y="156"/>
                  <a:pt x="1406" y="157"/>
                </a:cubicBezTo>
                <a:cubicBezTo>
                  <a:pt x="1406" y="157"/>
                  <a:pt x="1406" y="157"/>
                  <a:pt x="1406" y="158"/>
                </a:cubicBezTo>
                <a:cubicBezTo>
                  <a:pt x="1406" y="158"/>
                  <a:pt x="1406" y="158"/>
                  <a:pt x="1408" y="159"/>
                </a:cubicBezTo>
                <a:cubicBezTo>
                  <a:pt x="1408" y="159"/>
                  <a:pt x="1408" y="159"/>
                  <a:pt x="1409" y="158"/>
                </a:cubicBezTo>
                <a:cubicBezTo>
                  <a:pt x="1409" y="158"/>
                  <a:pt x="1409" y="158"/>
                  <a:pt x="1409" y="157"/>
                </a:cubicBezTo>
                <a:cubicBezTo>
                  <a:pt x="1409" y="157"/>
                  <a:pt x="1409" y="157"/>
                  <a:pt x="1410" y="157"/>
                </a:cubicBezTo>
                <a:cubicBezTo>
                  <a:pt x="1410" y="157"/>
                  <a:pt x="1410" y="157"/>
                  <a:pt x="1410" y="158"/>
                </a:cubicBezTo>
                <a:cubicBezTo>
                  <a:pt x="1410" y="158"/>
                  <a:pt x="1410" y="158"/>
                  <a:pt x="1411" y="158"/>
                </a:cubicBezTo>
                <a:cubicBezTo>
                  <a:pt x="1411" y="158"/>
                  <a:pt x="1411" y="158"/>
                  <a:pt x="1411" y="159"/>
                </a:cubicBezTo>
                <a:cubicBezTo>
                  <a:pt x="1411" y="159"/>
                  <a:pt x="1411" y="159"/>
                  <a:pt x="1410" y="159"/>
                </a:cubicBezTo>
                <a:cubicBezTo>
                  <a:pt x="1410" y="159"/>
                  <a:pt x="1410" y="159"/>
                  <a:pt x="1409" y="160"/>
                </a:cubicBezTo>
                <a:cubicBezTo>
                  <a:pt x="1409" y="160"/>
                  <a:pt x="1409" y="160"/>
                  <a:pt x="1409" y="161"/>
                </a:cubicBezTo>
                <a:cubicBezTo>
                  <a:pt x="1409" y="161"/>
                  <a:pt x="1409" y="161"/>
                  <a:pt x="1411" y="163"/>
                </a:cubicBezTo>
                <a:cubicBezTo>
                  <a:pt x="1411" y="163"/>
                  <a:pt x="1411" y="163"/>
                  <a:pt x="1412" y="163"/>
                </a:cubicBezTo>
                <a:cubicBezTo>
                  <a:pt x="1412" y="163"/>
                  <a:pt x="1412" y="163"/>
                  <a:pt x="1412" y="164"/>
                </a:cubicBezTo>
                <a:cubicBezTo>
                  <a:pt x="1412" y="164"/>
                  <a:pt x="1412" y="164"/>
                  <a:pt x="1412" y="165"/>
                </a:cubicBezTo>
                <a:cubicBezTo>
                  <a:pt x="1412" y="165"/>
                  <a:pt x="1412" y="165"/>
                  <a:pt x="1412" y="166"/>
                </a:cubicBezTo>
                <a:cubicBezTo>
                  <a:pt x="1412" y="166"/>
                  <a:pt x="1412" y="166"/>
                  <a:pt x="1413" y="166"/>
                </a:cubicBezTo>
                <a:cubicBezTo>
                  <a:pt x="1413" y="166"/>
                  <a:pt x="1413" y="166"/>
                  <a:pt x="1413" y="165"/>
                </a:cubicBezTo>
                <a:cubicBezTo>
                  <a:pt x="1413" y="165"/>
                  <a:pt x="1413" y="165"/>
                  <a:pt x="1414" y="165"/>
                </a:cubicBezTo>
                <a:cubicBezTo>
                  <a:pt x="1414" y="165"/>
                  <a:pt x="1414" y="165"/>
                  <a:pt x="1414" y="166"/>
                </a:cubicBezTo>
                <a:cubicBezTo>
                  <a:pt x="1414" y="166"/>
                  <a:pt x="1414" y="166"/>
                  <a:pt x="1415" y="166"/>
                </a:cubicBezTo>
                <a:cubicBezTo>
                  <a:pt x="1415" y="166"/>
                  <a:pt x="1415" y="166"/>
                  <a:pt x="1416" y="165"/>
                </a:cubicBezTo>
                <a:cubicBezTo>
                  <a:pt x="1416" y="165"/>
                  <a:pt x="1416" y="165"/>
                  <a:pt x="1416" y="163"/>
                </a:cubicBezTo>
                <a:cubicBezTo>
                  <a:pt x="1416" y="163"/>
                  <a:pt x="1416" y="163"/>
                  <a:pt x="1417" y="162"/>
                </a:cubicBezTo>
                <a:cubicBezTo>
                  <a:pt x="1417" y="162"/>
                  <a:pt x="1417" y="162"/>
                  <a:pt x="1416" y="161"/>
                </a:cubicBezTo>
                <a:cubicBezTo>
                  <a:pt x="1416" y="161"/>
                  <a:pt x="1416" y="161"/>
                  <a:pt x="1416" y="159"/>
                </a:cubicBezTo>
                <a:cubicBezTo>
                  <a:pt x="1416" y="159"/>
                  <a:pt x="1416" y="159"/>
                  <a:pt x="1417" y="157"/>
                </a:cubicBezTo>
                <a:cubicBezTo>
                  <a:pt x="1417" y="157"/>
                  <a:pt x="1417" y="157"/>
                  <a:pt x="1417" y="154"/>
                </a:cubicBezTo>
                <a:cubicBezTo>
                  <a:pt x="1417" y="154"/>
                  <a:pt x="1417" y="154"/>
                  <a:pt x="1417" y="153"/>
                </a:cubicBezTo>
                <a:cubicBezTo>
                  <a:pt x="1417" y="153"/>
                  <a:pt x="1417" y="153"/>
                  <a:pt x="1417" y="152"/>
                </a:cubicBezTo>
                <a:cubicBezTo>
                  <a:pt x="1417" y="152"/>
                  <a:pt x="1417" y="152"/>
                  <a:pt x="1418" y="151"/>
                </a:cubicBezTo>
                <a:cubicBezTo>
                  <a:pt x="1418" y="151"/>
                  <a:pt x="1418" y="151"/>
                  <a:pt x="1418" y="150"/>
                </a:cubicBezTo>
                <a:cubicBezTo>
                  <a:pt x="1418" y="150"/>
                  <a:pt x="1418" y="150"/>
                  <a:pt x="1417" y="150"/>
                </a:cubicBezTo>
                <a:cubicBezTo>
                  <a:pt x="1417" y="150"/>
                  <a:pt x="1417" y="150"/>
                  <a:pt x="1418" y="149"/>
                </a:cubicBezTo>
                <a:cubicBezTo>
                  <a:pt x="1418" y="149"/>
                  <a:pt x="1418" y="149"/>
                  <a:pt x="1419" y="149"/>
                </a:cubicBezTo>
                <a:cubicBezTo>
                  <a:pt x="1419" y="149"/>
                  <a:pt x="1419" y="149"/>
                  <a:pt x="1420" y="149"/>
                </a:cubicBezTo>
                <a:cubicBezTo>
                  <a:pt x="1420" y="149"/>
                  <a:pt x="1420" y="149"/>
                  <a:pt x="1420" y="148"/>
                </a:cubicBezTo>
                <a:cubicBezTo>
                  <a:pt x="1420" y="148"/>
                  <a:pt x="1420" y="148"/>
                  <a:pt x="1420" y="146"/>
                </a:cubicBezTo>
                <a:cubicBezTo>
                  <a:pt x="1420" y="146"/>
                  <a:pt x="1420" y="146"/>
                  <a:pt x="1420" y="145"/>
                </a:cubicBezTo>
                <a:cubicBezTo>
                  <a:pt x="1420" y="145"/>
                  <a:pt x="1420" y="145"/>
                  <a:pt x="1420" y="143"/>
                </a:cubicBezTo>
                <a:cubicBezTo>
                  <a:pt x="1420" y="143"/>
                  <a:pt x="1420" y="143"/>
                  <a:pt x="1419" y="142"/>
                </a:cubicBezTo>
                <a:cubicBezTo>
                  <a:pt x="1419" y="142"/>
                  <a:pt x="1419" y="142"/>
                  <a:pt x="1419" y="141"/>
                </a:cubicBezTo>
                <a:cubicBezTo>
                  <a:pt x="1419" y="141"/>
                  <a:pt x="1419" y="141"/>
                  <a:pt x="1420" y="140"/>
                </a:cubicBezTo>
                <a:cubicBezTo>
                  <a:pt x="1420" y="140"/>
                  <a:pt x="1420" y="140"/>
                  <a:pt x="1421" y="141"/>
                </a:cubicBezTo>
                <a:cubicBezTo>
                  <a:pt x="1421" y="141"/>
                  <a:pt x="1421" y="141"/>
                  <a:pt x="1422" y="140"/>
                </a:cubicBezTo>
                <a:cubicBezTo>
                  <a:pt x="1422" y="140"/>
                  <a:pt x="1422" y="140"/>
                  <a:pt x="1421" y="139"/>
                </a:cubicBezTo>
                <a:cubicBezTo>
                  <a:pt x="1421" y="139"/>
                  <a:pt x="1421" y="139"/>
                  <a:pt x="1421" y="138"/>
                </a:cubicBezTo>
                <a:cubicBezTo>
                  <a:pt x="1421" y="138"/>
                  <a:pt x="1421" y="138"/>
                  <a:pt x="1422" y="137"/>
                </a:cubicBezTo>
                <a:cubicBezTo>
                  <a:pt x="1422" y="137"/>
                  <a:pt x="1422" y="137"/>
                  <a:pt x="1421" y="135"/>
                </a:cubicBezTo>
                <a:cubicBezTo>
                  <a:pt x="1421" y="135"/>
                  <a:pt x="1421" y="135"/>
                  <a:pt x="1421" y="133"/>
                </a:cubicBezTo>
                <a:cubicBezTo>
                  <a:pt x="1421" y="133"/>
                  <a:pt x="1421" y="133"/>
                  <a:pt x="1421" y="132"/>
                </a:cubicBezTo>
                <a:cubicBezTo>
                  <a:pt x="1421" y="132"/>
                  <a:pt x="1421" y="132"/>
                  <a:pt x="1423" y="131"/>
                </a:cubicBezTo>
                <a:cubicBezTo>
                  <a:pt x="1423" y="131"/>
                  <a:pt x="1423" y="131"/>
                  <a:pt x="1422" y="130"/>
                </a:cubicBezTo>
                <a:cubicBezTo>
                  <a:pt x="1422" y="130"/>
                  <a:pt x="1422" y="130"/>
                  <a:pt x="1423" y="129"/>
                </a:cubicBezTo>
                <a:cubicBezTo>
                  <a:pt x="1423" y="129"/>
                  <a:pt x="1423" y="129"/>
                  <a:pt x="1424" y="129"/>
                </a:cubicBezTo>
                <a:cubicBezTo>
                  <a:pt x="1424" y="129"/>
                  <a:pt x="1424" y="129"/>
                  <a:pt x="1426" y="128"/>
                </a:cubicBezTo>
                <a:cubicBezTo>
                  <a:pt x="1426" y="128"/>
                  <a:pt x="1426" y="128"/>
                  <a:pt x="1428" y="128"/>
                </a:cubicBezTo>
                <a:cubicBezTo>
                  <a:pt x="1428" y="128"/>
                  <a:pt x="1428" y="128"/>
                  <a:pt x="1428" y="129"/>
                </a:cubicBezTo>
                <a:cubicBezTo>
                  <a:pt x="1428" y="129"/>
                  <a:pt x="1428" y="129"/>
                  <a:pt x="1429" y="129"/>
                </a:cubicBezTo>
                <a:cubicBezTo>
                  <a:pt x="1429" y="129"/>
                  <a:pt x="1429" y="129"/>
                  <a:pt x="1429" y="128"/>
                </a:cubicBezTo>
                <a:cubicBezTo>
                  <a:pt x="1429" y="128"/>
                  <a:pt x="1429" y="128"/>
                  <a:pt x="1429" y="127"/>
                </a:cubicBezTo>
                <a:cubicBezTo>
                  <a:pt x="1429" y="127"/>
                  <a:pt x="1429" y="127"/>
                  <a:pt x="1429" y="126"/>
                </a:cubicBezTo>
                <a:cubicBezTo>
                  <a:pt x="1429" y="126"/>
                  <a:pt x="1429" y="126"/>
                  <a:pt x="1428" y="125"/>
                </a:cubicBezTo>
                <a:cubicBezTo>
                  <a:pt x="1428" y="125"/>
                  <a:pt x="1428" y="125"/>
                  <a:pt x="1426" y="125"/>
                </a:cubicBezTo>
                <a:cubicBezTo>
                  <a:pt x="1426" y="125"/>
                  <a:pt x="1426" y="125"/>
                  <a:pt x="1424" y="124"/>
                </a:cubicBezTo>
                <a:cubicBezTo>
                  <a:pt x="1424" y="124"/>
                  <a:pt x="1424" y="124"/>
                  <a:pt x="1423" y="122"/>
                </a:cubicBezTo>
                <a:cubicBezTo>
                  <a:pt x="1423" y="122"/>
                  <a:pt x="1423" y="122"/>
                  <a:pt x="1422" y="122"/>
                </a:cubicBezTo>
                <a:cubicBezTo>
                  <a:pt x="1422" y="122"/>
                  <a:pt x="1422" y="122"/>
                  <a:pt x="1421" y="120"/>
                </a:cubicBezTo>
                <a:cubicBezTo>
                  <a:pt x="1421" y="120"/>
                  <a:pt x="1421" y="120"/>
                  <a:pt x="1420" y="120"/>
                </a:cubicBezTo>
                <a:cubicBezTo>
                  <a:pt x="1420" y="120"/>
                  <a:pt x="1420" y="120"/>
                  <a:pt x="1419" y="119"/>
                </a:cubicBezTo>
                <a:cubicBezTo>
                  <a:pt x="1419" y="119"/>
                  <a:pt x="1419" y="119"/>
                  <a:pt x="1418" y="119"/>
                </a:cubicBezTo>
                <a:cubicBezTo>
                  <a:pt x="1418" y="119"/>
                  <a:pt x="1418" y="119"/>
                  <a:pt x="1418" y="118"/>
                </a:cubicBezTo>
                <a:cubicBezTo>
                  <a:pt x="1418" y="118"/>
                  <a:pt x="1418" y="118"/>
                  <a:pt x="1417" y="115"/>
                </a:cubicBezTo>
                <a:cubicBezTo>
                  <a:pt x="1417" y="115"/>
                  <a:pt x="1417" y="115"/>
                  <a:pt x="1416" y="113"/>
                </a:cubicBezTo>
                <a:cubicBezTo>
                  <a:pt x="1416" y="113"/>
                  <a:pt x="1416" y="113"/>
                  <a:pt x="1415" y="111"/>
                </a:cubicBezTo>
                <a:cubicBezTo>
                  <a:pt x="1415" y="111"/>
                  <a:pt x="1415" y="111"/>
                  <a:pt x="1414" y="112"/>
                </a:cubicBezTo>
                <a:cubicBezTo>
                  <a:pt x="1414" y="112"/>
                  <a:pt x="1414" y="112"/>
                  <a:pt x="1413" y="113"/>
                </a:cubicBezTo>
                <a:cubicBezTo>
                  <a:pt x="1413" y="113"/>
                  <a:pt x="1413" y="113"/>
                  <a:pt x="1414" y="115"/>
                </a:cubicBezTo>
                <a:cubicBezTo>
                  <a:pt x="1414" y="115"/>
                  <a:pt x="1414" y="115"/>
                  <a:pt x="1414" y="117"/>
                </a:cubicBezTo>
                <a:cubicBezTo>
                  <a:pt x="1414" y="117"/>
                  <a:pt x="1414" y="117"/>
                  <a:pt x="1413" y="118"/>
                </a:cubicBezTo>
                <a:cubicBezTo>
                  <a:pt x="1413" y="118"/>
                  <a:pt x="1413" y="118"/>
                  <a:pt x="1412" y="117"/>
                </a:cubicBezTo>
                <a:cubicBezTo>
                  <a:pt x="1412" y="117"/>
                  <a:pt x="1412" y="117"/>
                  <a:pt x="1413" y="117"/>
                </a:cubicBezTo>
                <a:cubicBezTo>
                  <a:pt x="1413" y="117"/>
                  <a:pt x="1413" y="117"/>
                  <a:pt x="1413" y="115"/>
                </a:cubicBezTo>
                <a:cubicBezTo>
                  <a:pt x="1413" y="115"/>
                  <a:pt x="1413" y="115"/>
                  <a:pt x="1413" y="113"/>
                </a:cubicBezTo>
                <a:cubicBezTo>
                  <a:pt x="1413" y="112"/>
                  <a:pt x="1413" y="112"/>
                  <a:pt x="1413" y="112"/>
                </a:cubicBezTo>
                <a:cubicBezTo>
                  <a:pt x="1413" y="112"/>
                  <a:pt x="1413" y="112"/>
                  <a:pt x="1413" y="110"/>
                </a:cubicBezTo>
                <a:cubicBezTo>
                  <a:pt x="1413" y="110"/>
                  <a:pt x="1413" y="110"/>
                  <a:pt x="1413" y="109"/>
                </a:cubicBezTo>
                <a:cubicBezTo>
                  <a:pt x="1413" y="109"/>
                  <a:pt x="1413" y="109"/>
                  <a:pt x="1411" y="107"/>
                </a:cubicBezTo>
                <a:cubicBezTo>
                  <a:pt x="1411" y="107"/>
                  <a:pt x="1411" y="107"/>
                  <a:pt x="1410" y="107"/>
                </a:cubicBezTo>
                <a:cubicBezTo>
                  <a:pt x="1410" y="107"/>
                  <a:pt x="1410" y="107"/>
                  <a:pt x="1409" y="107"/>
                </a:cubicBezTo>
                <a:cubicBezTo>
                  <a:pt x="1409" y="107"/>
                  <a:pt x="1409" y="107"/>
                  <a:pt x="1409" y="108"/>
                </a:cubicBezTo>
                <a:cubicBezTo>
                  <a:pt x="1409" y="108"/>
                  <a:pt x="1409" y="108"/>
                  <a:pt x="1408" y="108"/>
                </a:cubicBezTo>
                <a:cubicBezTo>
                  <a:pt x="1408" y="108"/>
                  <a:pt x="1408" y="108"/>
                  <a:pt x="1408" y="106"/>
                </a:cubicBezTo>
                <a:cubicBezTo>
                  <a:pt x="1408" y="106"/>
                  <a:pt x="1408" y="106"/>
                  <a:pt x="1407" y="105"/>
                </a:cubicBezTo>
                <a:cubicBezTo>
                  <a:pt x="1407" y="105"/>
                  <a:pt x="1407" y="105"/>
                  <a:pt x="1406" y="104"/>
                </a:cubicBezTo>
                <a:cubicBezTo>
                  <a:pt x="1406" y="104"/>
                  <a:pt x="1406" y="104"/>
                  <a:pt x="1406" y="105"/>
                </a:cubicBezTo>
                <a:cubicBezTo>
                  <a:pt x="1406" y="105"/>
                  <a:pt x="1406" y="105"/>
                  <a:pt x="1405" y="106"/>
                </a:cubicBezTo>
                <a:cubicBezTo>
                  <a:pt x="1405" y="106"/>
                  <a:pt x="1405" y="106"/>
                  <a:pt x="1405" y="108"/>
                </a:cubicBezTo>
                <a:cubicBezTo>
                  <a:pt x="1405" y="108"/>
                  <a:pt x="1405" y="108"/>
                  <a:pt x="1405" y="109"/>
                </a:cubicBezTo>
                <a:cubicBezTo>
                  <a:pt x="1405" y="109"/>
                  <a:pt x="1405" y="109"/>
                  <a:pt x="1405" y="110"/>
                </a:cubicBezTo>
                <a:cubicBezTo>
                  <a:pt x="1405" y="110"/>
                  <a:pt x="1405" y="110"/>
                  <a:pt x="1404" y="111"/>
                </a:cubicBezTo>
                <a:cubicBezTo>
                  <a:pt x="1404" y="111"/>
                  <a:pt x="1404" y="111"/>
                  <a:pt x="1405" y="112"/>
                </a:cubicBezTo>
                <a:cubicBezTo>
                  <a:pt x="1405" y="112"/>
                  <a:pt x="1405" y="112"/>
                  <a:pt x="1405" y="113"/>
                </a:cubicBezTo>
                <a:cubicBezTo>
                  <a:pt x="1405" y="113"/>
                  <a:pt x="1405" y="113"/>
                  <a:pt x="1405" y="116"/>
                </a:cubicBezTo>
                <a:cubicBezTo>
                  <a:pt x="1405" y="116"/>
                  <a:pt x="1405" y="116"/>
                  <a:pt x="1405" y="118"/>
                </a:cubicBezTo>
                <a:cubicBezTo>
                  <a:pt x="1405" y="118"/>
                  <a:pt x="1405" y="118"/>
                  <a:pt x="1406" y="119"/>
                </a:cubicBezTo>
                <a:cubicBezTo>
                  <a:pt x="1406" y="119"/>
                  <a:pt x="1406" y="119"/>
                  <a:pt x="1407" y="121"/>
                </a:cubicBezTo>
                <a:cubicBezTo>
                  <a:pt x="1407" y="121"/>
                  <a:pt x="1407" y="121"/>
                  <a:pt x="1407" y="122"/>
                </a:cubicBezTo>
                <a:cubicBezTo>
                  <a:pt x="1407" y="122"/>
                  <a:pt x="1407" y="122"/>
                  <a:pt x="1408" y="124"/>
                </a:cubicBezTo>
                <a:cubicBezTo>
                  <a:pt x="1408" y="124"/>
                  <a:pt x="1408" y="124"/>
                  <a:pt x="1408" y="125"/>
                </a:cubicBezTo>
                <a:cubicBezTo>
                  <a:pt x="1408" y="125"/>
                  <a:pt x="1408" y="125"/>
                  <a:pt x="1407" y="125"/>
                </a:cubicBezTo>
                <a:cubicBezTo>
                  <a:pt x="1407" y="125"/>
                  <a:pt x="1407" y="125"/>
                  <a:pt x="1407" y="124"/>
                </a:cubicBezTo>
                <a:cubicBezTo>
                  <a:pt x="1407" y="124"/>
                  <a:pt x="1407" y="124"/>
                  <a:pt x="1406" y="122"/>
                </a:cubicBezTo>
                <a:cubicBezTo>
                  <a:pt x="1406" y="122"/>
                  <a:pt x="1406" y="122"/>
                  <a:pt x="1405" y="121"/>
                </a:cubicBezTo>
                <a:cubicBezTo>
                  <a:pt x="1405" y="121"/>
                  <a:pt x="1405" y="121"/>
                  <a:pt x="1404" y="121"/>
                </a:cubicBezTo>
                <a:cubicBezTo>
                  <a:pt x="1404" y="121"/>
                  <a:pt x="1404" y="121"/>
                  <a:pt x="1403" y="122"/>
                </a:cubicBezTo>
                <a:cubicBezTo>
                  <a:pt x="1403" y="122"/>
                  <a:pt x="1403" y="122"/>
                  <a:pt x="1403" y="121"/>
                </a:cubicBezTo>
                <a:cubicBezTo>
                  <a:pt x="1403" y="121"/>
                  <a:pt x="1403" y="121"/>
                  <a:pt x="1404" y="120"/>
                </a:cubicBezTo>
                <a:cubicBezTo>
                  <a:pt x="1404" y="120"/>
                  <a:pt x="1404" y="120"/>
                  <a:pt x="1404" y="119"/>
                </a:cubicBezTo>
                <a:cubicBezTo>
                  <a:pt x="1404" y="119"/>
                  <a:pt x="1404" y="119"/>
                  <a:pt x="1404" y="118"/>
                </a:cubicBezTo>
                <a:cubicBezTo>
                  <a:pt x="1404" y="118"/>
                  <a:pt x="1404" y="118"/>
                  <a:pt x="1403" y="116"/>
                </a:cubicBezTo>
                <a:cubicBezTo>
                  <a:pt x="1403" y="116"/>
                  <a:pt x="1403" y="116"/>
                  <a:pt x="1403" y="113"/>
                </a:cubicBezTo>
                <a:cubicBezTo>
                  <a:pt x="1403" y="113"/>
                  <a:pt x="1403" y="113"/>
                  <a:pt x="1402" y="112"/>
                </a:cubicBezTo>
                <a:cubicBezTo>
                  <a:pt x="1402" y="112"/>
                  <a:pt x="1402" y="112"/>
                  <a:pt x="1400" y="110"/>
                </a:cubicBezTo>
                <a:cubicBezTo>
                  <a:pt x="1400" y="110"/>
                  <a:pt x="1400" y="110"/>
                  <a:pt x="1399" y="111"/>
                </a:cubicBezTo>
                <a:cubicBezTo>
                  <a:pt x="1399" y="111"/>
                  <a:pt x="1399" y="111"/>
                  <a:pt x="1399" y="112"/>
                </a:cubicBezTo>
                <a:cubicBezTo>
                  <a:pt x="1399" y="112"/>
                  <a:pt x="1399" y="112"/>
                  <a:pt x="1398" y="114"/>
                </a:cubicBezTo>
                <a:cubicBezTo>
                  <a:pt x="1398" y="114"/>
                  <a:pt x="1398" y="114"/>
                  <a:pt x="1397" y="115"/>
                </a:cubicBezTo>
                <a:cubicBezTo>
                  <a:pt x="1397" y="115"/>
                  <a:pt x="1397" y="115"/>
                  <a:pt x="1398" y="117"/>
                </a:cubicBezTo>
                <a:cubicBezTo>
                  <a:pt x="1398" y="117"/>
                  <a:pt x="1398" y="117"/>
                  <a:pt x="1398" y="118"/>
                </a:cubicBezTo>
                <a:cubicBezTo>
                  <a:pt x="1398" y="118"/>
                  <a:pt x="1398" y="118"/>
                  <a:pt x="1399" y="120"/>
                </a:cubicBezTo>
                <a:cubicBezTo>
                  <a:pt x="1399" y="120"/>
                  <a:pt x="1399" y="120"/>
                  <a:pt x="1398" y="120"/>
                </a:cubicBezTo>
                <a:cubicBezTo>
                  <a:pt x="1398" y="120"/>
                  <a:pt x="1398" y="120"/>
                  <a:pt x="1398" y="119"/>
                </a:cubicBezTo>
                <a:cubicBezTo>
                  <a:pt x="1398" y="119"/>
                  <a:pt x="1398" y="119"/>
                  <a:pt x="1397" y="117"/>
                </a:cubicBezTo>
                <a:cubicBezTo>
                  <a:pt x="1397" y="117"/>
                  <a:pt x="1397" y="117"/>
                  <a:pt x="1397" y="116"/>
                </a:cubicBezTo>
                <a:cubicBezTo>
                  <a:pt x="1397" y="116"/>
                  <a:pt x="1397" y="116"/>
                  <a:pt x="1396" y="115"/>
                </a:cubicBezTo>
                <a:cubicBezTo>
                  <a:pt x="1396" y="115"/>
                  <a:pt x="1396" y="115"/>
                  <a:pt x="1396" y="116"/>
                </a:cubicBezTo>
                <a:cubicBezTo>
                  <a:pt x="1396" y="116"/>
                  <a:pt x="1396" y="116"/>
                  <a:pt x="1395" y="116"/>
                </a:cubicBezTo>
                <a:cubicBezTo>
                  <a:pt x="1395" y="116"/>
                  <a:pt x="1395" y="116"/>
                  <a:pt x="1395" y="115"/>
                </a:cubicBezTo>
                <a:cubicBezTo>
                  <a:pt x="1395" y="115"/>
                  <a:pt x="1395" y="115"/>
                  <a:pt x="1396" y="114"/>
                </a:cubicBezTo>
                <a:cubicBezTo>
                  <a:pt x="1396" y="114"/>
                  <a:pt x="1396" y="114"/>
                  <a:pt x="1396" y="113"/>
                </a:cubicBezTo>
                <a:cubicBezTo>
                  <a:pt x="1396" y="113"/>
                  <a:pt x="1396" y="113"/>
                  <a:pt x="1394" y="114"/>
                </a:cubicBezTo>
                <a:cubicBezTo>
                  <a:pt x="1394" y="114"/>
                  <a:pt x="1394" y="114"/>
                  <a:pt x="1393" y="115"/>
                </a:cubicBezTo>
                <a:cubicBezTo>
                  <a:pt x="1393" y="115"/>
                  <a:pt x="1393" y="115"/>
                  <a:pt x="1392" y="114"/>
                </a:cubicBezTo>
                <a:cubicBezTo>
                  <a:pt x="1392" y="114"/>
                  <a:pt x="1392" y="114"/>
                  <a:pt x="1393" y="113"/>
                </a:cubicBezTo>
                <a:cubicBezTo>
                  <a:pt x="1393" y="113"/>
                  <a:pt x="1393" y="113"/>
                  <a:pt x="1395" y="112"/>
                </a:cubicBezTo>
                <a:cubicBezTo>
                  <a:pt x="1395" y="112"/>
                  <a:pt x="1395" y="112"/>
                  <a:pt x="1395" y="111"/>
                </a:cubicBezTo>
                <a:cubicBezTo>
                  <a:pt x="1395" y="111"/>
                  <a:pt x="1395" y="111"/>
                  <a:pt x="1396" y="112"/>
                </a:cubicBezTo>
                <a:cubicBezTo>
                  <a:pt x="1396" y="112"/>
                  <a:pt x="1396" y="112"/>
                  <a:pt x="1397" y="111"/>
                </a:cubicBezTo>
                <a:cubicBezTo>
                  <a:pt x="1397" y="111"/>
                  <a:pt x="1397" y="111"/>
                  <a:pt x="1397" y="110"/>
                </a:cubicBezTo>
                <a:cubicBezTo>
                  <a:pt x="1397" y="110"/>
                  <a:pt x="1397" y="110"/>
                  <a:pt x="1397" y="109"/>
                </a:cubicBezTo>
                <a:cubicBezTo>
                  <a:pt x="1397" y="109"/>
                  <a:pt x="1397" y="109"/>
                  <a:pt x="1396" y="108"/>
                </a:cubicBezTo>
                <a:cubicBezTo>
                  <a:pt x="1396" y="108"/>
                  <a:pt x="1396" y="108"/>
                  <a:pt x="1395" y="108"/>
                </a:cubicBezTo>
                <a:cubicBezTo>
                  <a:pt x="1395" y="108"/>
                  <a:pt x="1395" y="108"/>
                  <a:pt x="1392" y="110"/>
                </a:cubicBezTo>
                <a:cubicBezTo>
                  <a:pt x="1392" y="110"/>
                  <a:pt x="1392" y="110"/>
                  <a:pt x="1391" y="111"/>
                </a:cubicBezTo>
                <a:cubicBezTo>
                  <a:pt x="1391" y="111"/>
                  <a:pt x="1391" y="111"/>
                  <a:pt x="1391" y="110"/>
                </a:cubicBezTo>
                <a:cubicBezTo>
                  <a:pt x="1391" y="110"/>
                  <a:pt x="1391" y="110"/>
                  <a:pt x="1390" y="109"/>
                </a:cubicBezTo>
                <a:cubicBezTo>
                  <a:pt x="1390" y="109"/>
                  <a:pt x="1390" y="109"/>
                  <a:pt x="1389" y="110"/>
                </a:cubicBezTo>
                <a:cubicBezTo>
                  <a:pt x="1389" y="110"/>
                  <a:pt x="1389" y="110"/>
                  <a:pt x="1389" y="111"/>
                </a:cubicBezTo>
                <a:cubicBezTo>
                  <a:pt x="1389" y="111"/>
                  <a:pt x="1389" y="111"/>
                  <a:pt x="1391" y="112"/>
                </a:cubicBezTo>
                <a:cubicBezTo>
                  <a:pt x="1391" y="112"/>
                  <a:pt x="1391" y="112"/>
                  <a:pt x="1390" y="113"/>
                </a:cubicBezTo>
                <a:cubicBezTo>
                  <a:pt x="1390" y="113"/>
                  <a:pt x="1390" y="113"/>
                  <a:pt x="1389" y="113"/>
                </a:cubicBezTo>
                <a:cubicBezTo>
                  <a:pt x="1389" y="113"/>
                  <a:pt x="1389" y="113"/>
                  <a:pt x="1389" y="112"/>
                </a:cubicBezTo>
                <a:cubicBezTo>
                  <a:pt x="1389" y="112"/>
                  <a:pt x="1389" y="112"/>
                  <a:pt x="1388" y="110"/>
                </a:cubicBezTo>
                <a:cubicBezTo>
                  <a:pt x="1388" y="110"/>
                  <a:pt x="1388" y="110"/>
                  <a:pt x="1387" y="110"/>
                </a:cubicBezTo>
                <a:cubicBezTo>
                  <a:pt x="1387" y="110"/>
                  <a:pt x="1387" y="110"/>
                  <a:pt x="1386" y="111"/>
                </a:cubicBezTo>
                <a:cubicBezTo>
                  <a:pt x="1386" y="111"/>
                  <a:pt x="1386" y="111"/>
                  <a:pt x="1386" y="112"/>
                </a:cubicBezTo>
                <a:cubicBezTo>
                  <a:pt x="1386" y="112"/>
                  <a:pt x="1386" y="112"/>
                  <a:pt x="1387" y="113"/>
                </a:cubicBezTo>
                <a:cubicBezTo>
                  <a:pt x="1387" y="113"/>
                  <a:pt x="1387" y="113"/>
                  <a:pt x="1387" y="114"/>
                </a:cubicBezTo>
                <a:cubicBezTo>
                  <a:pt x="1387" y="114"/>
                  <a:pt x="1387" y="114"/>
                  <a:pt x="1386" y="114"/>
                </a:cubicBezTo>
                <a:cubicBezTo>
                  <a:pt x="1386" y="114"/>
                  <a:pt x="1386" y="114"/>
                  <a:pt x="1385" y="115"/>
                </a:cubicBezTo>
                <a:cubicBezTo>
                  <a:pt x="1385" y="115"/>
                  <a:pt x="1385" y="115"/>
                  <a:pt x="1385" y="116"/>
                </a:cubicBezTo>
                <a:cubicBezTo>
                  <a:pt x="1385" y="116"/>
                  <a:pt x="1385" y="116"/>
                  <a:pt x="1385" y="118"/>
                </a:cubicBezTo>
                <a:cubicBezTo>
                  <a:pt x="1385" y="118"/>
                  <a:pt x="1385" y="118"/>
                  <a:pt x="1385" y="119"/>
                </a:cubicBezTo>
                <a:cubicBezTo>
                  <a:pt x="1385" y="119"/>
                  <a:pt x="1385" y="119"/>
                  <a:pt x="1386" y="121"/>
                </a:cubicBezTo>
                <a:cubicBezTo>
                  <a:pt x="1386" y="121"/>
                  <a:pt x="1386" y="121"/>
                  <a:pt x="1386" y="122"/>
                </a:cubicBezTo>
                <a:close/>
                <a:moveTo>
                  <a:pt x="1415" y="104"/>
                </a:moveTo>
                <a:cubicBezTo>
                  <a:pt x="1414" y="104"/>
                  <a:pt x="1414" y="104"/>
                  <a:pt x="1414" y="104"/>
                </a:cubicBezTo>
                <a:cubicBezTo>
                  <a:pt x="1414" y="105"/>
                  <a:pt x="1414" y="105"/>
                  <a:pt x="1414" y="105"/>
                </a:cubicBezTo>
                <a:cubicBezTo>
                  <a:pt x="1416" y="105"/>
                  <a:pt x="1416" y="105"/>
                  <a:pt x="1416" y="105"/>
                </a:cubicBezTo>
                <a:cubicBezTo>
                  <a:pt x="1414" y="106"/>
                  <a:pt x="1414" y="106"/>
                  <a:pt x="1414" y="106"/>
                </a:cubicBezTo>
                <a:cubicBezTo>
                  <a:pt x="1414" y="107"/>
                  <a:pt x="1414" y="107"/>
                  <a:pt x="1414" y="107"/>
                </a:cubicBezTo>
                <a:cubicBezTo>
                  <a:pt x="1415" y="109"/>
                  <a:pt x="1415" y="109"/>
                  <a:pt x="1415" y="109"/>
                </a:cubicBezTo>
                <a:cubicBezTo>
                  <a:pt x="1416" y="110"/>
                  <a:pt x="1416" y="110"/>
                  <a:pt x="1416" y="110"/>
                </a:cubicBezTo>
                <a:cubicBezTo>
                  <a:pt x="1417" y="110"/>
                  <a:pt x="1417" y="110"/>
                  <a:pt x="1417" y="110"/>
                </a:cubicBezTo>
                <a:cubicBezTo>
                  <a:pt x="1419" y="110"/>
                  <a:pt x="1419" y="110"/>
                  <a:pt x="1419" y="110"/>
                </a:cubicBezTo>
                <a:cubicBezTo>
                  <a:pt x="1420" y="110"/>
                  <a:pt x="1420" y="110"/>
                  <a:pt x="1420" y="110"/>
                </a:cubicBezTo>
                <a:cubicBezTo>
                  <a:pt x="1421" y="110"/>
                  <a:pt x="1421" y="110"/>
                  <a:pt x="1421" y="110"/>
                </a:cubicBezTo>
                <a:cubicBezTo>
                  <a:pt x="1423" y="109"/>
                  <a:pt x="1423" y="109"/>
                  <a:pt x="1423" y="109"/>
                </a:cubicBezTo>
                <a:cubicBezTo>
                  <a:pt x="1426" y="109"/>
                  <a:pt x="1426" y="109"/>
                  <a:pt x="1426" y="109"/>
                </a:cubicBezTo>
                <a:cubicBezTo>
                  <a:pt x="1427" y="109"/>
                  <a:pt x="1427" y="109"/>
                  <a:pt x="1427" y="109"/>
                </a:cubicBezTo>
                <a:cubicBezTo>
                  <a:pt x="1428" y="108"/>
                  <a:pt x="1428" y="108"/>
                  <a:pt x="1428" y="108"/>
                </a:cubicBezTo>
                <a:cubicBezTo>
                  <a:pt x="1429" y="108"/>
                  <a:pt x="1429" y="108"/>
                  <a:pt x="1429" y="108"/>
                </a:cubicBezTo>
                <a:cubicBezTo>
                  <a:pt x="1429" y="109"/>
                  <a:pt x="1429" y="109"/>
                  <a:pt x="1429" y="109"/>
                </a:cubicBezTo>
                <a:cubicBezTo>
                  <a:pt x="1429" y="110"/>
                  <a:pt x="1429" y="110"/>
                  <a:pt x="1429" y="110"/>
                </a:cubicBezTo>
                <a:cubicBezTo>
                  <a:pt x="1428" y="111"/>
                  <a:pt x="1428" y="111"/>
                  <a:pt x="1428" y="111"/>
                </a:cubicBezTo>
                <a:cubicBezTo>
                  <a:pt x="1427" y="110"/>
                  <a:pt x="1427" y="110"/>
                  <a:pt x="1427" y="110"/>
                </a:cubicBezTo>
                <a:cubicBezTo>
                  <a:pt x="1425" y="110"/>
                  <a:pt x="1425" y="110"/>
                  <a:pt x="1425" y="110"/>
                </a:cubicBezTo>
                <a:cubicBezTo>
                  <a:pt x="1424" y="110"/>
                  <a:pt x="1424" y="110"/>
                  <a:pt x="1424" y="110"/>
                </a:cubicBezTo>
                <a:cubicBezTo>
                  <a:pt x="1424" y="111"/>
                  <a:pt x="1424" y="111"/>
                  <a:pt x="1424" y="111"/>
                </a:cubicBezTo>
                <a:cubicBezTo>
                  <a:pt x="1426" y="111"/>
                  <a:pt x="1426" y="111"/>
                  <a:pt x="1426" y="111"/>
                </a:cubicBezTo>
                <a:cubicBezTo>
                  <a:pt x="1427" y="112"/>
                  <a:pt x="1427" y="112"/>
                  <a:pt x="1427" y="112"/>
                </a:cubicBezTo>
                <a:cubicBezTo>
                  <a:pt x="1426" y="113"/>
                  <a:pt x="1426" y="113"/>
                  <a:pt x="1426" y="113"/>
                </a:cubicBezTo>
                <a:cubicBezTo>
                  <a:pt x="1425" y="112"/>
                  <a:pt x="1425" y="112"/>
                  <a:pt x="1425" y="112"/>
                </a:cubicBezTo>
                <a:cubicBezTo>
                  <a:pt x="1424" y="113"/>
                  <a:pt x="1424" y="113"/>
                  <a:pt x="1424" y="113"/>
                </a:cubicBezTo>
                <a:cubicBezTo>
                  <a:pt x="1423" y="112"/>
                  <a:pt x="1423" y="112"/>
                  <a:pt x="1423" y="112"/>
                </a:cubicBezTo>
                <a:cubicBezTo>
                  <a:pt x="1421" y="111"/>
                  <a:pt x="1421" y="111"/>
                  <a:pt x="1421" y="111"/>
                </a:cubicBezTo>
                <a:cubicBezTo>
                  <a:pt x="1420" y="112"/>
                  <a:pt x="1420" y="112"/>
                  <a:pt x="1420" y="112"/>
                </a:cubicBezTo>
                <a:cubicBezTo>
                  <a:pt x="1421" y="113"/>
                  <a:pt x="1421" y="113"/>
                  <a:pt x="1421" y="113"/>
                </a:cubicBezTo>
                <a:cubicBezTo>
                  <a:pt x="1423" y="115"/>
                  <a:pt x="1423" y="115"/>
                  <a:pt x="1423" y="115"/>
                </a:cubicBezTo>
                <a:cubicBezTo>
                  <a:pt x="1424" y="115"/>
                  <a:pt x="1424" y="115"/>
                  <a:pt x="1424" y="115"/>
                </a:cubicBezTo>
                <a:cubicBezTo>
                  <a:pt x="1425" y="115"/>
                  <a:pt x="1425" y="115"/>
                  <a:pt x="1425" y="115"/>
                </a:cubicBezTo>
                <a:cubicBezTo>
                  <a:pt x="1426" y="116"/>
                  <a:pt x="1426" y="116"/>
                  <a:pt x="1426" y="116"/>
                </a:cubicBezTo>
                <a:cubicBezTo>
                  <a:pt x="1426" y="117"/>
                  <a:pt x="1426" y="117"/>
                  <a:pt x="1426" y="117"/>
                </a:cubicBezTo>
                <a:cubicBezTo>
                  <a:pt x="1427" y="117"/>
                  <a:pt x="1427" y="117"/>
                  <a:pt x="1427" y="117"/>
                </a:cubicBezTo>
                <a:cubicBezTo>
                  <a:pt x="1428" y="117"/>
                  <a:pt x="1428" y="117"/>
                  <a:pt x="1428" y="117"/>
                </a:cubicBezTo>
                <a:cubicBezTo>
                  <a:pt x="1430" y="117"/>
                  <a:pt x="1430" y="117"/>
                  <a:pt x="1430" y="117"/>
                </a:cubicBezTo>
                <a:cubicBezTo>
                  <a:pt x="1431" y="116"/>
                  <a:pt x="1431" y="116"/>
                  <a:pt x="1431" y="116"/>
                </a:cubicBezTo>
                <a:cubicBezTo>
                  <a:pt x="1433" y="116"/>
                  <a:pt x="1433" y="116"/>
                  <a:pt x="1433" y="116"/>
                </a:cubicBezTo>
                <a:cubicBezTo>
                  <a:pt x="1434" y="116"/>
                  <a:pt x="1434" y="116"/>
                  <a:pt x="1434" y="116"/>
                </a:cubicBezTo>
                <a:cubicBezTo>
                  <a:pt x="1434" y="117"/>
                  <a:pt x="1434" y="117"/>
                  <a:pt x="1434" y="117"/>
                </a:cubicBezTo>
                <a:cubicBezTo>
                  <a:pt x="1434" y="119"/>
                  <a:pt x="1434" y="119"/>
                  <a:pt x="1434" y="119"/>
                </a:cubicBezTo>
                <a:cubicBezTo>
                  <a:pt x="1436" y="120"/>
                  <a:pt x="1436" y="120"/>
                  <a:pt x="1436" y="120"/>
                </a:cubicBezTo>
                <a:cubicBezTo>
                  <a:pt x="1437" y="120"/>
                  <a:pt x="1437" y="120"/>
                  <a:pt x="1437" y="120"/>
                </a:cubicBezTo>
                <a:cubicBezTo>
                  <a:pt x="1439" y="119"/>
                  <a:pt x="1439" y="119"/>
                  <a:pt x="1439" y="119"/>
                </a:cubicBezTo>
                <a:cubicBezTo>
                  <a:pt x="1439" y="118"/>
                  <a:pt x="1439" y="118"/>
                  <a:pt x="1439" y="118"/>
                </a:cubicBezTo>
                <a:cubicBezTo>
                  <a:pt x="1439" y="117"/>
                  <a:pt x="1439" y="117"/>
                  <a:pt x="1439" y="117"/>
                </a:cubicBezTo>
                <a:cubicBezTo>
                  <a:pt x="1440" y="117"/>
                  <a:pt x="1440" y="117"/>
                  <a:pt x="1440" y="117"/>
                </a:cubicBezTo>
                <a:cubicBezTo>
                  <a:pt x="1441" y="115"/>
                  <a:pt x="1441" y="115"/>
                  <a:pt x="1441" y="115"/>
                </a:cubicBezTo>
                <a:cubicBezTo>
                  <a:pt x="1442" y="115"/>
                  <a:pt x="1442" y="115"/>
                  <a:pt x="1442" y="115"/>
                </a:cubicBezTo>
                <a:cubicBezTo>
                  <a:pt x="1442" y="116"/>
                  <a:pt x="1442" y="116"/>
                  <a:pt x="1442" y="116"/>
                </a:cubicBezTo>
                <a:cubicBezTo>
                  <a:pt x="1443" y="117"/>
                  <a:pt x="1443" y="117"/>
                  <a:pt x="1443" y="117"/>
                </a:cubicBezTo>
                <a:cubicBezTo>
                  <a:pt x="1444" y="117"/>
                  <a:pt x="1444" y="117"/>
                  <a:pt x="1444" y="117"/>
                </a:cubicBezTo>
                <a:cubicBezTo>
                  <a:pt x="1446" y="116"/>
                  <a:pt x="1446" y="116"/>
                  <a:pt x="1446" y="116"/>
                </a:cubicBezTo>
                <a:cubicBezTo>
                  <a:pt x="1446" y="115"/>
                  <a:pt x="1446" y="115"/>
                  <a:pt x="1446" y="115"/>
                </a:cubicBezTo>
                <a:cubicBezTo>
                  <a:pt x="1446" y="113"/>
                  <a:pt x="1446" y="113"/>
                  <a:pt x="1446" y="113"/>
                </a:cubicBezTo>
                <a:cubicBezTo>
                  <a:pt x="1446" y="112"/>
                  <a:pt x="1446" y="112"/>
                  <a:pt x="1446" y="112"/>
                </a:cubicBezTo>
                <a:cubicBezTo>
                  <a:pt x="1447" y="111"/>
                  <a:pt x="1447" y="111"/>
                  <a:pt x="1447" y="111"/>
                </a:cubicBezTo>
                <a:cubicBezTo>
                  <a:pt x="1448" y="109"/>
                  <a:pt x="1448" y="109"/>
                  <a:pt x="1448" y="109"/>
                </a:cubicBezTo>
                <a:cubicBezTo>
                  <a:pt x="1449" y="108"/>
                  <a:pt x="1449" y="108"/>
                  <a:pt x="1449" y="108"/>
                </a:cubicBezTo>
                <a:cubicBezTo>
                  <a:pt x="1450" y="106"/>
                  <a:pt x="1450" y="106"/>
                  <a:pt x="1450" y="106"/>
                </a:cubicBezTo>
                <a:cubicBezTo>
                  <a:pt x="1451" y="105"/>
                  <a:pt x="1451" y="105"/>
                  <a:pt x="1451" y="105"/>
                </a:cubicBezTo>
                <a:cubicBezTo>
                  <a:pt x="1451" y="104"/>
                  <a:pt x="1451" y="104"/>
                  <a:pt x="1451" y="104"/>
                </a:cubicBezTo>
                <a:cubicBezTo>
                  <a:pt x="1450" y="103"/>
                  <a:pt x="1450" y="103"/>
                  <a:pt x="1450" y="103"/>
                </a:cubicBezTo>
                <a:cubicBezTo>
                  <a:pt x="1450" y="102"/>
                  <a:pt x="1450" y="102"/>
                  <a:pt x="1450" y="102"/>
                </a:cubicBezTo>
                <a:cubicBezTo>
                  <a:pt x="1450" y="101"/>
                  <a:pt x="1450" y="101"/>
                  <a:pt x="1450" y="101"/>
                </a:cubicBezTo>
                <a:cubicBezTo>
                  <a:pt x="1448" y="101"/>
                  <a:pt x="1448" y="101"/>
                  <a:pt x="1448" y="101"/>
                </a:cubicBezTo>
                <a:cubicBezTo>
                  <a:pt x="1447" y="100"/>
                  <a:pt x="1447" y="100"/>
                  <a:pt x="1447" y="100"/>
                </a:cubicBezTo>
                <a:cubicBezTo>
                  <a:pt x="1444" y="100"/>
                  <a:pt x="1444" y="100"/>
                  <a:pt x="1444" y="100"/>
                </a:cubicBezTo>
                <a:cubicBezTo>
                  <a:pt x="1443" y="100"/>
                  <a:pt x="1443" y="100"/>
                  <a:pt x="1443" y="100"/>
                </a:cubicBezTo>
                <a:cubicBezTo>
                  <a:pt x="1442" y="99"/>
                  <a:pt x="1442" y="99"/>
                  <a:pt x="1442" y="99"/>
                </a:cubicBezTo>
                <a:cubicBezTo>
                  <a:pt x="1441" y="99"/>
                  <a:pt x="1441" y="99"/>
                  <a:pt x="1441" y="99"/>
                </a:cubicBezTo>
                <a:cubicBezTo>
                  <a:pt x="1440" y="99"/>
                  <a:pt x="1440" y="99"/>
                  <a:pt x="1440" y="99"/>
                </a:cubicBezTo>
                <a:cubicBezTo>
                  <a:pt x="1440" y="98"/>
                  <a:pt x="1440" y="98"/>
                  <a:pt x="1440" y="98"/>
                </a:cubicBezTo>
                <a:cubicBezTo>
                  <a:pt x="1439" y="98"/>
                  <a:pt x="1439" y="98"/>
                  <a:pt x="1439" y="98"/>
                </a:cubicBezTo>
                <a:cubicBezTo>
                  <a:pt x="1439" y="97"/>
                  <a:pt x="1439" y="97"/>
                  <a:pt x="1439" y="97"/>
                </a:cubicBezTo>
                <a:cubicBezTo>
                  <a:pt x="1439" y="96"/>
                  <a:pt x="1439" y="96"/>
                  <a:pt x="1439" y="96"/>
                </a:cubicBezTo>
                <a:cubicBezTo>
                  <a:pt x="1438" y="97"/>
                  <a:pt x="1438" y="97"/>
                  <a:pt x="1438" y="97"/>
                </a:cubicBezTo>
                <a:cubicBezTo>
                  <a:pt x="1438" y="98"/>
                  <a:pt x="1438" y="98"/>
                  <a:pt x="1438" y="98"/>
                </a:cubicBezTo>
                <a:cubicBezTo>
                  <a:pt x="1437" y="98"/>
                  <a:pt x="1437" y="98"/>
                  <a:pt x="1437" y="98"/>
                </a:cubicBezTo>
                <a:cubicBezTo>
                  <a:pt x="1437" y="97"/>
                  <a:pt x="1437" y="97"/>
                  <a:pt x="1437" y="97"/>
                </a:cubicBezTo>
                <a:cubicBezTo>
                  <a:pt x="1436" y="97"/>
                  <a:pt x="1436" y="97"/>
                  <a:pt x="1436" y="97"/>
                </a:cubicBezTo>
                <a:cubicBezTo>
                  <a:pt x="1436" y="98"/>
                  <a:pt x="1436" y="98"/>
                  <a:pt x="1436" y="98"/>
                </a:cubicBezTo>
                <a:cubicBezTo>
                  <a:pt x="1435" y="99"/>
                  <a:pt x="1435" y="99"/>
                  <a:pt x="1435" y="99"/>
                </a:cubicBezTo>
                <a:cubicBezTo>
                  <a:pt x="1435" y="100"/>
                  <a:pt x="1435" y="100"/>
                  <a:pt x="1435" y="100"/>
                </a:cubicBezTo>
                <a:cubicBezTo>
                  <a:pt x="1435" y="101"/>
                  <a:pt x="1435" y="101"/>
                  <a:pt x="1435" y="101"/>
                </a:cubicBezTo>
                <a:cubicBezTo>
                  <a:pt x="1434" y="101"/>
                  <a:pt x="1434" y="101"/>
                  <a:pt x="1434" y="101"/>
                </a:cubicBezTo>
                <a:cubicBezTo>
                  <a:pt x="1434" y="100"/>
                  <a:pt x="1434" y="100"/>
                  <a:pt x="1434" y="100"/>
                </a:cubicBezTo>
                <a:cubicBezTo>
                  <a:pt x="1433" y="101"/>
                  <a:pt x="1433" y="101"/>
                  <a:pt x="1433" y="101"/>
                </a:cubicBezTo>
                <a:cubicBezTo>
                  <a:pt x="1433" y="100"/>
                  <a:pt x="1433" y="100"/>
                  <a:pt x="1433" y="100"/>
                </a:cubicBezTo>
                <a:cubicBezTo>
                  <a:pt x="1433" y="98"/>
                  <a:pt x="1433" y="98"/>
                  <a:pt x="1433" y="98"/>
                </a:cubicBezTo>
                <a:cubicBezTo>
                  <a:pt x="1433" y="96"/>
                  <a:pt x="1433" y="96"/>
                  <a:pt x="1433" y="96"/>
                </a:cubicBezTo>
                <a:cubicBezTo>
                  <a:pt x="1433" y="95"/>
                  <a:pt x="1433" y="95"/>
                  <a:pt x="1433" y="95"/>
                </a:cubicBezTo>
                <a:cubicBezTo>
                  <a:pt x="1432" y="95"/>
                  <a:pt x="1432" y="95"/>
                  <a:pt x="1432" y="95"/>
                </a:cubicBezTo>
                <a:cubicBezTo>
                  <a:pt x="1431" y="94"/>
                  <a:pt x="1431" y="94"/>
                  <a:pt x="1431" y="94"/>
                </a:cubicBezTo>
                <a:cubicBezTo>
                  <a:pt x="1430" y="95"/>
                  <a:pt x="1430" y="95"/>
                  <a:pt x="1430" y="95"/>
                </a:cubicBezTo>
                <a:cubicBezTo>
                  <a:pt x="1430" y="96"/>
                  <a:pt x="1430" y="96"/>
                  <a:pt x="1430" y="96"/>
                </a:cubicBezTo>
                <a:cubicBezTo>
                  <a:pt x="1430" y="97"/>
                  <a:pt x="1430" y="97"/>
                  <a:pt x="1430" y="97"/>
                </a:cubicBezTo>
                <a:cubicBezTo>
                  <a:pt x="1431" y="98"/>
                  <a:pt x="1431" y="98"/>
                  <a:pt x="1431" y="98"/>
                </a:cubicBezTo>
                <a:cubicBezTo>
                  <a:pt x="1431" y="99"/>
                  <a:pt x="1431" y="99"/>
                  <a:pt x="1431" y="99"/>
                </a:cubicBezTo>
                <a:cubicBezTo>
                  <a:pt x="1430" y="100"/>
                  <a:pt x="1430" y="100"/>
                  <a:pt x="1430" y="100"/>
                </a:cubicBezTo>
                <a:cubicBezTo>
                  <a:pt x="1430" y="102"/>
                  <a:pt x="1430" y="102"/>
                  <a:pt x="1430" y="102"/>
                </a:cubicBezTo>
                <a:cubicBezTo>
                  <a:pt x="1431" y="103"/>
                  <a:pt x="1431" y="103"/>
                  <a:pt x="1431" y="103"/>
                </a:cubicBezTo>
                <a:cubicBezTo>
                  <a:pt x="1431" y="105"/>
                  <a:pt x="1431" y="105"/>
                  <a:pt x="1431" y="105"/>
                </a:cubicBezTo>
                <a:cubicBezTo>
                  <a:pt x="1430" y="105"/>
                  <a:pt x="1430" y="105"/>
                  <a:pt x="1430" y="105"/>
                </a:cubicBezTo>
                <a:cubicBezTo>
                  <a:pt x="1430" y="103"/>
                  <a:pt x="1430" y="103"/>
                  <a:pt x="1430" y="103"/>
                </a:cubicBezTo>
                <a:cubicBezTo>
                  <a:pt x="1429" y="102"/>
                  <a:pt x="1429" y="102"/>
                  <a:pt x="1429" y="102"/>
                </a:cubicBezTo>
                <a:cubicBezTo>
                  <a:pt x="1428" y="102"/>
                  <a:pt x="1428" y="102"/>
                  <a:pt x="1428" y="102"/>
                </a:cubicBezTo>
                <a:cubicBezTo>
                  <a:pt x="1427" y="101"/>
                  <a:pt x="1427" y="101"/>
                  <a:pt x="1427" y="101"/>
                </a:cubicBezTo>
                <a:cubicBezTo>
                  <a:pt x="1428" y="100"/>
                  <a:pt x="1428" y="100"/>
                  <a:pt x="1428" y="100"/>
                </a:cubicBezTo>
                <a:cubicBezTo>
                  <a:pt x="1428" y="99"/>
                  <a:pt x="1428" y="99"/>
                  <a:pt x="1428" y="99"/>
                </a:cubicBezTo>
                <a:cubicBezTo>
                  <a:pt x="1427" y="99"/>
                  <a:pt x="1427" y="99"/>
                  <a:pt x="1427" y="99"/>
                </a:cubicBezTo>
                <a:cubicBezTo>
                  <a:pt x="1426" y="100"/>
                  <a:pt x="1426" y="100"/>
                  <a:pt x="1426" y="100"/>
                </a:cubicBezTo>
                <a:cubicBezTo>
                  <a:pt x="1425" y="100"/>
                  <a:pt x="1425" y="100"/>
                  <a:pt x="1425" y="100"/>
                </a:cubicBezTo>
                <a:cubicBezTo>
                  <a:pt x="1424" y="101"/>
                  <a:pt x="1424" y="101"/>
                  <a:pt x="1424" y="101"/>
                </a:cubicBezTo>
                <a:cubicBezTo>
                  <a:pt x="1423" y="100"/>
                  <a:pt x="1423" y="100"/>
                  <a:pt x="1423" y="100"/>
                </a:cubicBezTo>
                <a:cubicBezTo>
                  <a:pt x="1423" y="99"/>
                  <a:pt x="1423" y="99"/>
                  <a:pt x="1423" y="99"/>
                </a:cubicBezTo>
                <a:cubicBezTo>
                  <a:pt x="1422" y="98"/>
                  <a:pt x="1422" y="98"/>
                  <a:pt x="1422" y="98"/>
                </a:cubicBezTo>
                <a:cubicBezTo>
                  <a:pt x="1422" y="97"/>
                  <a:pt x="1422" y="97"/>
                  <a:pt x="1422" y="97"/>
                </a:cubicBezTo>
                <a:cubicBezTo>
                  <a:pt x="1421" y="97"/>
                  <a:pt x="1421" y="97"/>
                  <a:pt x="1421" y="97"/>
                </a:cubicBezTo>
                <a:cubicBezTo>
                  <a:pt x="1420" y="97"/>
                  <a:pt x="1420" y="97"/>
                  <a:pt x="1420" y="97"/>
                </a:cubicBezTo>
                <a:cubicBezTo>
                  <a:pt x="1419" y="96"/>
                  <a:pt x="1419" y="96"/>
                  <a:pt x="1419" y="96"/>
                </a:cubicBezTo>
                <a:cubicBezTo>
                  <a:pt x="1420" y="95"/>
                  <a:pt x="1420" y="95"/>
                  <a:pt x="1420" y="95"/>
                </a:cubicBezTo>
                <a:cubicBezTo>
                  <a:pt x="1419" y="94"/>
                  <a:pt x="1419" y="94"/>
                  <a:pt x="1419" y="94"/>
                </a:cubicBezTo>
                <a:cubicBezTo>
                  <a:pt x="1418" y="95"/>
                  <a:pt x="1418" y="95"/>
                  <a:pt x="1418" y="95"/>
                </a:cubicBezTo>
                <a:cubicBezTo>
                  <a:pt x="1418" y="97"/>
                  <a:pt x="1418" y="97"/>
                  <a:pt x="1418" y="97"/>
                </a:cubicBezTo>
                <a:cubicBezTo>
                  <a:pt x="1418" y="98"/>
                  <a:pt x="1418" y="98"/>
                  <a:pt x="1418" y="98"/>
                </a:cubicBezTo>
                <a:cubicBezTo>
                  <a:pt x="1419" y="99"/>
                  <a:pt x="1419" y="99"/>
                  <a:pt x="1419" y="99"/>
                </a:cubicBezTo>
                <a:cubicBezTo>
                  <a:pt x="1419" y="101"/>
                  <a:pt x="1419" y="101"/>
                  <a:pt x="1419" y="101"/>
                </a:cubicBezTo>
                <a:cubicBezTo>
                  <a:pt x="1418" y="100"/>
                  <a:pt x="1418" y="100"/>
                  <a:pt x="1418" y="100"/>
                </a:cubicBezTo>
                <a:cubicBezTo>
                  <a:pt x="1418" y="99"/>
                  <a:pt x="1418" y="99"/>
                  <a:pt x="1418" y="99"/>
                </a:cubicBezTo>
                <a:cubicBezTo>
                  <a:pt x="1417" y="99"/>
                  <a:pt x="1417" y="99"/>
                  <a:pt x="1417" y="99"/>
                </a:cubicBezTo>
                <a:cubicBezTo>
                  <a:pt x="1417" y="100"/>
                  <a:pt x="1417" y="100"/>
                  <a:pt x="1417" y="100"/>
                </a:cubicBezTo>
                <a:cubicBezTo>
                  <a:pt x="1417" y="101"/>
                  <a:pt x="1417" y="101"/>
                  <a:pt x="1417" y="101"/>
                </a:cubicBezTo>
                <a:cubicBezTo>
                  <a:pt x="1418" y="102"/>
                  <a:pt x="1418" y="102"/>
                  <a:pt x="1418" y="102"/>
                </a:cubicBezTo>
                <a:cubicBezTo>
                  <a:pt x="1418" y="103"/>
                  <a:pt x="1418" y="103"/>
                  <a:pt x="1418" y="103"/>
                </a:cubicBezTo>
                <a:cubicBezTo>
                  <a:pt x="1418" y="104"/>
                  <a:pt x="1418" y="104"/>
                  <a:pt x="1418" y="104"/>
                </a:cubicBezTo>
                <a:cubicBezTo>
                  <a:pt x="1417" y="104"/>
                  <a:pt x="1417" y="104"/>
                  <a:pt x="1417" y="104"/>
                </a:cubicBezTo>
                <a:cubicBezTo>
                  <a:pt x="1417" y="102"/>
                  <a:pt x="1417" y="102"/>
                  <a:pt x="1417" y="102"/>
                </a:cubicBezTo>
                <a:cubicBezTo>
                  <a:pt x="1416" y="102"/>
                  <a:pt x="1416" y="102"/>
                  <a:pt x="1416" y="102"/>
                </a:cubicBezTo>
                <a:cubicBezTo>
                  <a:pt x="1414" y="102"/>
                  <a:pt x="1414" y="102"/>
                  <a:pt x="1414" y="102"/>
                </a:cubicBezTo>
                <a:cubicBezTo>
                  <a:pt x="1413" y="101"/>
                  <a:pt x="1413" y="101"/>
                  <a:pt x="1413" y="101"/>
                </a:cubicBezTo>
                <a:cubicBezTo>
                  <a:pt x="1413" y="102"/>
                  <a:pt x="1413" y="102"/>
                  <a:pt x="1413" y="102"/>
                </a:cubicBezTo>
                <a:cubicBezTo>
                  <a:pt x="1413" y="103"/>
                  <a:pt x="1413" y="103"/>
                  <a:pt x="1413" y="103"/>
                </a:cubicBezTo>
                <a:cubicBezTo>
                  <a:pt x="1414" y="103"/>
                  <a:pt x="1414" y="103"/>
                  <a:pt x="1414" y="103"/>
                </a:cubicBezTo>
                <a:cubicBezTo>
                  <a:pt x="1415" y="104"/>
                  <a:pt x="1415" y="104"/>
                  <a:pt x="1415" y="104"/>
                </a:cubicBezTo>
                <a:close/>
                <a:moveTo>
                  <a:pt x="1423" y="92"/>
                </a:moveTo>
                <a:cubicBezTo>
                  <a:pt x="1424" y="92"/>
                  <a:pt x="1424" y="92"/>
                  <a:pt x="1424" y="92"/>
                </a:cubicBezTo>
                <a:cubicBezTo>
                  <a:pt x="1424" y="91"/>
                  <a:pt x="1424" y="91"/>
                  <a:pt x="1424" y="91"/>
                </a:cubicBezTo>
                <a:cubicBezTo>
                  <a:pt x="1425" y="91"/>
                  <a:pt x="1425" y="91"/>
                  <a:pt x="1425" y="91"/>
                </a:cubicBezTo>
                <a:cubicBezTo>
                  <a:pt x="1424" y="90"/>
                  <a:pt x="1424" y="90"/>
                  <a:pt x="1424" y="90"/>
                </a:cubicBezTo>
                <a:cubicBezTo>
                  <a:pt x="1423" y="90"/>
                  <a:pt x="1423" y="90"/>
                  <a:pt x="1423" y="90"/>
                </a:cubicBezTo>
                <a:cubicBezTo>
                  <a:pt x="1422" y="90"/>
                  <a:pt x="1422" y="90"/>
                  <a:pt x="1422" y="90"/>
                </a:cubicBezTo>
                <a:cubicBezTo>
                  <a:pt x="1421" y="89"/>
                  <a:pt x="1421" y="89"/>
                  <a:pt x="1421" y="89"/>
                </a:cubicBezTo>
                <a:cubicBezTo>
                  <a:pt x="1420" y="90"/>
                  <a:pt x="1420" y="90"/>
                  <a:pt x="1420" y="90"/>
                </a:cubicBezTo>
                <a:cubicBezTo>
                  <a:pt x="1421" y="90"/>
                  <a:pt x="1421" y="90"/>
                  <a:pt x="1421" y="90"/>
                </a:cubicBezTo>
                <a:cubicBezTo>
                  <a:pt x="1423" y="92"/>
                  <a:pt x="1423" y="92"/>
                  <a:pt x="1423" y="92"/>
                </a:cubicBezTo>
                <a:close/>
                <a:moveTo>
                  <a:pt x="2183" y="520"/>
                </a:moveTo>
                <a:cubicBezTo>
                  <a:pt x="2184" y="520"/>
                  <a:pt x="2184" y="520"/>
                  <a:pt x="2184" y="520"/>
                </a:cubicBezTo>
                <a:cubicBezTo>
                  <a:pt x="2184" y="519"/>
                  <a:pt x="2184" y="519"/>
                  <a:pt x="2184" y="519"/>
                </a:cubicBezTo>
                <a:cubicBezTo>
                  <a:pt x="2185" y="518"/>
                  <a:pt x="2185" y="518"/>
                  <a:pt x="2185" y="518"/>
                </a:cubicBezTo>
                <a:cubicBezTo>
                  <a:pt x="2184" y="517"/>
                  <a:pt x="2184" y="517"/>
                  <a:pt x="2184" y="517"/>
                </a:cubicBezTo>
                <a:cubicBezTo>
                  <a:pt x="2184" y="516"/>
                  <a:pt x="2184" y="516"/>
                  <a:pt x="2184" y="516"/>
                </a:cubicBezTo>
                <a:cubicBezTo>
                  <a:pt x="2184" y="515"/>
                  <a:pt x="2184" y="515"/>
                  <a:pt x="2184" y="515"/>
                </a:cubicBezTo>
                <a:cubicBezTo>
                  <a:pt x="2183" y="516"/>
                  <a:pt x="2183" y="516"/>
                  <a:pt x="2183" y="516"/>
                </a:cubicBezTo>
                <a:cubicBezTo>
                  <a:pt x="2183" y="518"/>
                  <a:pt x="2183" y="518"/>
                  <a:pt x="2183" y="518"/>
                </a:cubicBezTo>
                <a:cubicBezTo>
                  <a:pt x="2184" y="518"/>
                  <a:pt x="2184" y="518"/>
                  <a:pt x="2184" y="518"/>
                </a:cubicBezTo>
                <a:cubicBezTo>
                  <a:pt x="2183" y="519"/>
                  <a:pt x="2183" y="519"/>
                  <a:pt x="2183" y="519"/>
                </a:cubicBezTo>
                <a:cubicBezTo>
                  <a:pt x="2183" y="520"/>
                  <a:pt x="2183" y="520"/>
                  <a:pt x="2183" y="520"/>
                </a:cubicBezTo>
                <a:close/>
                <a:moveTo>
                  <a:pt x="2156" y="535"/>
                </a:moveTo>
                <a:cubicBezTo>
                  <a:pt x="2156" y="536"/>
                  <a:pt x="2156" y="536"/>
                  <a:pt x="2156" y="536"/>
                </a:cubicBezTo>
                <a:cubicBezTo>
                  <a:pt x="2156" y="537"/>
                  <a:pt x="2156" y="537"/>
                  <a:pt x="2156" y="537"/>
                </a:cubicBezTo>
                <a:cubicBezTo>
                  <a:pt x="2157" y="536"/>
                  <a:pt x="2157" y="536"/>
                  <a:pt x="2157" y="536"/>
                </a:cubicBezTo>
                <a:cubicBezTo>
                  <a:pt x="2157" y="535"/>
                  <a:pt x="2157" y="535"/>
                  <a:pt x="2157" y="535"/>
                </a:cubicBezTo>
                <a:cubicBezTo>
                  <a:pt x="2156" y="535"/>
                  <a:pt x="2156" y="535"/>
                  <a:pt x="2156" y="535"/>
                </a:cubicBezTo>
                <a:close/>
                <a:moveTo>
                  <a:pt x="2193" y="453"/>
                </a:moveTo>
                <a:cubicBezTo>
                  <a:pt x="2190" y="450"/>
                  <a:pt x="2190" y="450"/>
                  <a:pt x="2190" y="450"/>
                </a:cubicBezTo>
                <a:cubicBezTo>
                  <a:pt x="2189" y="448"/>
                  <a:pt x="2189" y="448"/>
                  <a:pt x="2189" y="448"/>
                </a:cubicBezTo>
                <a:cubicBezTo>
                  <a:pt x="2188" y="448"/>
                  <a:pt x="2188" y="448"/>
                  <a:pt x="2188" y="448"/>
                </a:cubicBezTo>
                <a:cubicBezTo>
                  <a:pt x="2185" y="446"/>
                  <a:pt x="2185" y="446"/>
                  <a:pt x="2185" y="446"/>
                </a:cubicBezTo>
                <a:cubicBezTo>
                  <a:pt x="2185" y="445"/>
                  <a:pt x="2185" y="445"/>
                  <a:pt x="2185" y="445"/>
                </a:cubicBezTo>
                <a:cubicBezTo>
                  <a:pt x="2184" y="445"/>
                  <a:pt x="2184" y="445"/>
                  <a:pt x="2184" y="445"/>
                </a:cubicBezTo>
                <a:cubicBezTo>
                  <a:pt x="2184" y="446"/>
                  <a:pt x="2184" y="446"/>
                  <a:pt x="2184" y="446"/>
                </a:cubicBezTo>
                <a:cubicBezTo>
                  <a:pt x="2183" y="446"/>
                  <a:pt x="2183" y="446"/>
                  <a:pt x="2183" y="446"/>
                </a:cubicBezTo>
                <a:cubicBezTo>
                  <a:pt x="2182" y="447"/>
                  <a:pt x="2182" y="447"/>
                  <a:pt x="2182" y="447"/>
                </a:cubicBezTo>
                <a:cubicBezTo>
                  <a:pt x="2183" y="448"/>
                  <a:pt x="2183" y="448"/>
                  <a:pt x="2183" y="448"/>
                </a:cubicBezTo>
                <a:cubicBezTo>
                  <a:pt x="2183" y="449"/>
                  <a:pt x="2183" y="449"/>
                  <a:pt x="2183" y="449"/>
                </a:cubicBezTo>
                <a:cubicBezTo>
                  <a:pt x="2185" y="453"/>
                  <a:pt x="2185" y="453"/>
                  <a:pt x="2185" y="453"/>
                </a:cubicBezTo>
                <a:cubicBezTo>
                  <a:pt x="2186" y="454"/>
                  <a:pt x="2186" y="454"/>
                  <a:pt x="2186" y="454"/>
                </a:cubicBezTo>
                <a:cubicBezTo>
                  <a:pt x="2186" y="456"/>
                  <a:pt x="2186" y="456"/>
                  <a:pt x="2186" y="456"/>
                </a:cubicBezTo>
                <a:cubicBezTo>
                  <a:pt x="2186" y="457"/>
                  <a:pt x="2186" y="457"/>
                  <a:pt x="2186" y="457"/>
                </a:cubicBezTo>
                <a:cubicBezTo>
                  <a:pt x="2186" y="459"/>
                  <a:pt x="2186" y="459"/>
                  <a:pt x="2186" y="459"/>
                </a:cubicBezTo>
                <a:cubicBezTo>
                  <a:pt x="2187" y="460"/>
                  <a:pt x="2187" y="460"/>
                  <a:pt x="2187" y="460"/>
                </a:cubicBezTo>
                <a:cubicBezTo>
                  <a:pt x="2187" y="461"/>
                  <a:pt x="2187" y="461"/>
                  <a:pt x="2187" y="461"/>
                </a:cubicBezTo>
                <a:cubicBezTo>
                  <a:pt x="2186" y="461"/>
                  <a:pt x="2186" y="461"/>
                  <a:pt x="2186" y="461"/>
                </a:cubicBezTo>
                <a:cubicBezTo>
                  <a:pt x="2185" y="462"/>
                  <a:pt x="2185" y="462"/>
                  <a:pt x="2185" y="462"/>
                </a:cubicBezTo>
                <a:cubicBezTo>
                  <a:pt x="2186" y="463"/>
                  <a:pt x="2186" y="463"/>
                  <a:pt x="2186" y="463"/>
                </a:cubicBezTo>
                <a:cubicBezTo>
                  <a:pt x="2186" y="464"/>
                  <a:pt x="2186" y="464"/>
                  <a:pt x="2186" y="464"/>
                </a:cubicBezTo>
                <a:cubicBezTo>
                  <a:pt x="2187" y="465"/>
                  <a:pt x="2187" y="465"/>
                  <a:pt x="2187" y="465"/>
                </a:cubicBezTo>
                <a:cubicBezTo>
                  <a:pt x="2187" y="466"/>
                  <a:pt x="2187" y="466"/>
                  <a:pt x="2187" y="466"/>
                </a:cubicBezTo>
                <a:cubicBezTo>
                  <a:pt x="2187" y="467"/>
                  <a:pt x="2187" y="467"/>
                  <a:pt x="2187" y="467"/>
                </a:cubicBezTo>
                <a:cubicBezTo>
                  <a:pt x="2186" y="468"/>
                  <a:pt x="2186" y="468"/>
                  <a:pt x="2186" y="468"/>
                </a:cubicBezTo>
                <a:cubicBezTo>
                  <a:pt x="2184" y="468"/>
                  <a:pt x="2184" y="468"/>
                  <a:pt x="2184" y="468"/>
                </a:cubicBezTo>
                <a:cubicBezTo>
                  <a:pt x="2182" y="467"/>
                  <a:pt x="2182" y="467"/>
                  <a:pt x="2182" y="467"/>
                </a:cubicBezTo>
                <a:cubicBezTo>
                  <a:pt x="2181" y="467"/>
                  <a:pt x="2181" y="467"/>
                  <a:pt x="2181" y="467"/>
                </a:cubicBezTo>
                <a:cubicBezTo>
                  <a:pt x="2181" y="468"/>
                  <a:pt x="2181" y="468"/>
                  <a:pt x="2181" y="468"/>
                </a:cubicBezTo>
                <a:cubicBezTo>
                  <a:pt x="2182" y="468"/>
                  <a:pt x="2182" y="468"/>
                  <a:pt x="2182" y="468"/>
                </a:cubicBezTo>
                <a:cubicBezTo>
                  <a:pt x="2183" y="469"/>
                  <a:pt x="2183" y="469"/>
                  <a:pt x="2183" y="469"/>
                </a:cubicBezTo>
                <a:cubicBezTo>
                  <a:pt x="2183" y="470"/>
                  <a:pt x="2183" y="470"/>
                  <a:pt x="2183" y="470"/>
                </a:cubicBezTo>
                <a:cubicBezTo>
                  <a:pt x="2182" y="472"/>
                  <a:pt x="2182" y="472"/>
                  <a:pt x="2182" y="472"/>
                </a:cubicBezTo>
                <a:cubicBezTo>
                  <a:pt x="2181" y="472"/>
                  <a:pt x="2181" y="472"/>
                  <a:pt x="2181" y="472"/>
                </a:cubicBezTo>
                <a:cubicBezTo>
                  <a:pt x="2180" y="473"/>
                  <a:pt x="2180" y="473"/>
                  <a:pt x="2180" y="473"/>
                </a:cubicBezTo>
                <a:cubicBezTo>
                  <a:pt x="2180" y="474"/>
                  <a:pt x="2180" y="474"/>
                  <a:pt x="2180" y="474"/>
                </a:cubicBezTo>
                <a:cubicBezTo>
                  <a:pt x="2180" y="475"/>
                  <a:pt x="2180" y="475"/>
                  <a:pt x="2180" y="475"/>
                </a:cubicBezTo>
                <a:cubicBezTo>
                  <a:pt x="2180" y="477"/>
                  <a:pt x="2180" y="477"/>
                  <a:pt x="2180" y="477"/>
                </a:cubicBezTo>
                <a:cubicBezTo>
                  <a:pt x="2180" y="478"/>
                  <a:pt x="2180" y="478"/>
                  <a:pt x="2180" y="478"/>
                </a:cubicBezTo>
                <a:cubicBezTo>
                  <a:pt x="2181" y="478"/>
                  <a:pt x="2181" y="478"/>
                  <a:pt x="2181" y="478"/>
                </a:cubicBezTo>
                <a:cubicBezTo>
                  <a:pt x="2182" y="478"/>
                  <a:pt x="2182" y="478"/>
                  <a:pt x="2182" y="478"/>
                </a:cubicBezTo>
                <a:cubicBezTo>
                  <a:pt x="2183" y="479"/>
                  <a:pt x="2183" y="479"/>
                  <a:pt x="2183" y="479"/>
                </a:cubicBezTo>
                <a:cubicBezTo>
                  <a:pt x="2184" y="481"/>
                  <a:pt x="2184" y="481"/>
                  <a:pt x="2184" y="481"/>
                </a:cubicBezTo>
                <a:cubicBezTo>
                  <a:pt x="2184" y="484"/>
                  <a:pt x="2184" y="484"/>
                  <a:pt x="2184" y="484"/>
                </a:cubicBezTo>
                <a:cubicBezTo>
                  <a:pt x="2184" y="485"/>
                  <a:pt x="2184" y="485"/>
                  <a:pt x="2184" y="485"/>
                </a:cubicBezTo>
                <a:cubicBezTo>
                  <a:pt x="2185" y="486"/>
                  <a:pt x="2185" y="486"/>
                  <a:pt x="2185" y="486"/>
                </a:cubicBezTo>
                <a:cubicBezTo>
                  <a:pt x="2187" y="484"/>
                  <a:pt x="2187" y="484"/>
                  <a:pt x="2187" y="484"/>
                </a:cubicBezTo>
                <a:cubicBezTo>
                  <a:pt x="2187" y="483"/>
                  <a:pt x="2187" y="483"/>
                  <a:pt x="2187" y="483"/>
                </a:cubicBezTo>
                <a:cubicBezTo>
                  <a:pt x="2187" y="482"/>
                  <a:pt x="2187" y="482"/>
                  <a:pt x="2187" y="482"/>
                </a:cubicBezTo>
                <a:cubicBezTo>
                  <a:pt x="2188" y="481"/>
                  <a:pt x="2188" y="481"/>
                  <a:pt x="2188" y="481"/>
                </a:cubicBezTo>
                <a:cubicBezTo>
                  <a:pt x="2189" y="482"/>
                  <a:pt x="2189" y="482"/>
                  <a:pt x="2189" y="482"/>
                </a:cubicBezTo>
                <a:cubicBezTo>
                  <a:pt x="2190" y="482"/>
                  <a:pt x="2190" y="482"/>
                  <a:pt x="2190" y="482"/>
                </a:cubicBezTo>
                <a:cubicBezTo>
                  <a:pt x="2191" y="481"/>
                  <a:pt x="2191" y="481"/>
                  <a:pt x="2191" y="481"/>
                </a:cubicBezTo>
                <a:cubicBezTo>
                  <a:pt x="2192" y="480"/>
                  <a:pt x="2192" y="480"/>
                  <a:pt x="2192" y="480"/>
                </a:cubicBezTo>
                <a:cubicBezTo>
                  <a:pt x="2191" y="479"/>
                  <a:pt x="2191" y="479"/>
                  <a:pt x="2191" y="479"/>
                </a:cubicBezTo>
                <a:cubicBezTo>
                  <a:pt x="2190" y="479"/>
                  <a:pt x="2190" y="479"/>
                  <a:pt x="2190" y="479"/>
                </a:cubicBezTo>
                <a:cubicBezTo>
                  <a:pt x="2188" y="479"/>
                  <a:pt x="2188" y="479"/>
                  <a:pt x="2188" y="479"/>
                </a:cubicBezTo>
                <a:cubicBezTo>
                  <a:pt x="2187" y="477"/>
                  <a:pt x="2187" y="477"/>
                  <a:pt x="2187" y="477"/>
                </a:cubicBezTo>
                <a:cubicBezTo>
                  <a:pt x="2185" y="478"/>
                  <a:pt x="2185" y="478"/>
                  <a:pt x="2185" y="478"/>
                </a:cubicBezTo>
                <a:cubicBezTo>
                  <a:pt x="2184" y="477"/>
                  <a:pt x="2184" y="477"/>
                  <a:pt x="2184" y="477"/>
                </a:cubicBezTo>
                <a:cubicBezTo>
                  <a:pt x="2184" y="476"/>
                  <a:pt x="2184" y="476"/>
                  <a:pt x="2184" y="476"/>
                </a:cubicBezTo>
                <a:cubicBezTo>
                  <a:pt x="2184" y="475"/>
                  <a:pt x="2184" y="475"/>
                  <a:pt x="2184" y="475"/>
                </a:cubicBezTo>
                <a:cubicBezTo>
                  <a:pt x="2184" y="474"/>
                  <a:pt x="2184" y="474"/>
                  <a:pt x="2184" y="474"/>
                </a:cubicBezTo>
                <a:cubicBezTo>
                  <a:pt x="2185" y="474"/>
                  <a:pt x="2185" y="474"/>
                  <a:pt x="2185" y="474"/>
                </a:cubicBezTo>
                <a:cubicBezTo>
                  <a:pt x="2187" y="475"/>
                  <a:pt x="2187" y="475"/>
                  <a:pt x="2187" y="475"/>
                </a:cubicBezTo>
                <a:cubicBezTo>
                  <a:pt x="2189" y="473"/>
                  <a:pt x="2189" y="473"/>
                  <a:pt x="2189" y="473"/>
                </a:cubicBezTo>
                <a:cubicBezTo>
                  <a:pt x="2190" y="472"/>
                  <a:pt x="2190" y="472"/>
                  <a:pt x="2190" y="472"/>
                </a:cubicBezTo>
                <a:cubicBezTo>
                  <a:pt x="2192" y="472"/>
                  <a:pt x="2192" y="472"/>
                  <a:pt x="2192" y="472"/>
                </a:cubicBezTo>
                <a:cubicBezTo>
                  <a:pt x="2192" y="473"/>
                  <a:pt x="2192" y="473"/>
                  <a:pt x="2192" y="473"/>
                </a:cubicBezTo>
                <a:cubicBezTo>
                  <a:pt x="2193" y="473"/>
                  <a:pt x="2193" y="473"/>
                  <a:pt x="2193" y="473"/>
                </a:cubicBezTo>
                <a:cubicBezTo>
                  <a:pt x="2194" y="473"/>
                  <a:pt x="2194" y="473"/>
                  <a:pt x="2194" y="473"/>
                </a:cubicBezTo>
                <a:cubicBezTo>
                  <a:pt x="2195" y="474"/>
                  <a:pt x="2195" y="474"/>
                  <a:pt x="2195" y="474"/>
                </a:cubicBezTo>
                <a:cubicBezTo>
                  <a:pt x="2197" y="475"/>
                  <a:pt x="2197" y="475"/>
                  <a:pt x="2197" y="475"/>
                </a:cubicBezTo>
                <a:cubicBezTo>
                  <a:pt x="2199" y="476"/>
                  <a:pt x="2199" y="476"/>
                  <a:pt x="2199" y="476"/>
                </a:cubicBezTo>
                <a:cubicBezTo>
                  <a:pt x="2201" y="477"/>
                  <a:pt x="2201" y="477"/>
                  <a:pt x="2201" y="477"/>
                </a:cubicBezTo>
                <a:cubicBezTo>
                  <a:pt x="2201" y="478"/>
                  <a:pt x="2201" y="478"/>
                  <a:pt x="2201" y="478"/>
                </a:cubicBezTo>
                <a:cubicBezTo>
                  <a:pt x="2202" y="478"/>
                  <a:pt x="2202" y="478"/>
                  <a:pt x="2202" y="478"/>
                </a:cubicBezTo>
                <a:cubicBezTo>
                  <a:pt x="2202" y="477"/>
                  <a:pt x="2202" y="477"/>
                  <a:pt x="2202" y="477"/>
                </a:cubicBezTo>
                <a:cubicBezTo>
                  <a:pt x="2203" y="476"/>
                  <a:pt x="2203" y="476"/>
                  <a:pt x="2203" y="476"/>
                </a:cubicBezTo>
                <a:cubicBezTo>
                  <a:pt x="2202" y="475"/>
                  <a:pt x="2202" y="475"/>
                  <a:pt x="2202" y="475"/>
                </a:cubicBezTo>
                <a:cubicBezTo>
                  <a:pt x="2203" y="473"/>
                  <a:pt x="2203" y="473"/>
                  <a:pt x="2203" y="473"/>
                </a:cubicBezTo>
                <a:cubicBezTo>
                  <a:pt x="2203" y="470"/>
                  <a:pt x="2203" y="470"/>
                  <a:pt x="2203" y="470"/>
                </a:cubicBezTo>
                <a:cubicBezTo>
                  <a:pt x="2205" y="468"/>
                  <a:pt x="2205" y="468"/>
                  <a:pt x="2205" y="468"/>
                </a:cubicBezTo>
                <a:cubicBezTo>
                  <a:pt x="2206" y="468"/>
                  <a:pt x="2206" y="468"/>
                  <a:pt x="2206" y="468"/>
                </a:cubicBezTo>
                <a:cubicBezTo>
                  <a:pt x="2207" y="468"/>
                  <a:pt x="2207" y="468"/>
                  <a:pt x="2207" y="468"/>
                </a:cubicBezTo>
                <a:cubicBezTo>
                  <a:pt x="2209" y="468"/>
                  <a:pt x="2209" y="468"/>
                  <a:pt x="2209" y="468"/>
                </a:cubicBezTo>
                <a:cubicBezTo>
                  <a:pt x="2209" y="467"/>
                  <a:pt x="2209" y="467"/>
                  <a:pt x="2209" y="467"/>
                </a:cubicBezTo>
                <a:cubicBezTo>
                  <a:pt x="2210" y="467"/>
                  <a:pt x="2210" y="467"/>
                  <a:pt x="2210" y="467"/>
                </a:cubicBezTo>
                <a:cubicBezTo>
                  <a:pt x="2211" y="467"/>
                  <a:pt x="2211" y="467"/>
                  <a:pt x="2211" y="467"/>
                </a:cubicBezTo>
                <a:cubicBezTo>
                  <a:pt x="2211" y="466"/>
                  <a:pt x="2211" y="466"/>
                  <a:pt x="2211" y="466"/>
                </a:cubicBezTo>
                <a:cubicBezTo>
                  <a:pt x="2211" y="465"/>
                  <a:pt x="2211" y="465"/>
                  <a:pt x="2211" y="465"/>
                </a:cubicBezTo>
                <a:cubicBezTo>
                  <a:pt x="2213" y="465"/>
                  <a:pt x="2213" y="465"/>
                  <a:pt x="2213" y="465"/>
                </a:cubicBezTo>
                <a:cubicBezTo>
                  <a:pt x="2213" y="464"/>
                  <a:pt x="2213" y="464"/>
                  <a:pt x="2213" y="464"/>
                </a:cubicBezTo>
                <a:cubicBezTo>
                  <a:pt x="2213" y="463"/>
                  <a:pt x="2213" y="463"/>
                  <a:pt x="2213" y="463"/>
                </a:cubicBezTo>
                <a:cubicBezTo>
                  <a:pt x="2212" y="464"/>
                  <a:pt x="2212" y="464"/>
                  <a:pt x="2212" y="464"/>
                </a:cubicBezTo>
                <a:cubicBezTo>
                  <a:pt x="2211" y="464"/>
                  <a:pt x="2211" y="464"/>
                  <a:pt x="2211" y="464"/>
                </a:cubicBezTo>
                <a:cubicBezTo>
                  <a:pt x="2211" y="463"/>
                  <a:pt x="2211" y="463"/>
                  <a:pt x="2211" y="463"/>
                </a:cubicBezTo>
                <a:cubicBezTo>
                  <a:pt x="2211" y="462"/>
                  <a:pt x="2211" y="462"/>
                  <a:pt x="2211" y="462"/>
                </a:cubicBezTo>
                <a:cubicBezTo>
                  <a:pt x="2210" y="461"/>
                  <a:pt x="2210" y="461"/>
                  <a:pt x="2210" y="461"/>
                </a:cubicBezTo>
                <a:cubicBezTo>
                  <a:pt x="2209" y="460"/>
                  <a:pt x="2209" y="460"/>
                  <a:pt x="2209" y="460"/>
                </a:cubicBezTo>
                <a:cubicBezTo>
                  <a:pt x="2208" y="459"/>
                  <a:pt x="2208" y="459"/>
                  <a:pt x="2208" y="459"/>
                </a:cubicBezTo>
                <a:cubicBezTo>
                  <a:pt x="2208" y="458"/>
                  <a:pt x="2208" y="458"/>
                  <a:pt x="2208" y="458"/>
                </a:cubicBezTo>
                <a:cubicBezTo>
                  <a:pt x="2209" y="456"/>
                  <a:pt x="2209" y="456"/>
                  <a:pt x="2209" y="456"/>
                </a:cubicBezTo>
                <a:cubicBezTo>
                  <a:pt x="2209" y="455"/>
                  <a:pt x="2209" y="455"/>
                  <a:pt x="2209" y="455"/>
                </a:cubicBezTo>
                <a:cubicBezTo>
                  <a:pt x="2209" y="454"/>
                  <a:pt x="2209" y="454"/>
                  <a:pt x="2209" y="454"/>
                </a:cubicBezTo>
                <a:cubicBezTo>
                  <a:pt x="2208" y="454"/>
                  <a:pt x="2208" y="454"/>
                  <a:pt x="2208" y="454"/>
                </a:cubicBezTo>
                <a:cubicBezTo>
                  <a:pt x="2208" y="456"/>
                  <a:pt x="2208" y="456"/>
                  <a:pt x="2208" y="456"/>
                </a:cubicBezTo>
                <a:cubicBezTo>
                  <a:pt x="2207" y="457"/>
                  <a:pt x="2207" y="457"/>
                  <a:pt x="2207" y="457"/>
                </a:cubicBezTo>
                <a:cubicBezTo>
                  <a:pt x="2205" y="458"/>
                  <a:pt x="2205" y="458"/>
                  <a:pt x="2205" y="458"/>
                </a:cubicBezTo>
                <a:cubicBezTo>
                  <a:pt x="2203" y="458"/>
                  <a:pt x="2203" y="458"/>
                  <a:pt x="2203" y="458"/>
                </a:cubicBezTo>
                <a:cubicBezTo>
                  <a:pt x="2202" y="458"/>
                  <a:pt x="2202" y="458"/>
                  <a:pt x="2202" y="458"/>
                </a:cubicBezTo>
                <a:cubicBezTo>
                  <a:pt x="2201" y="457"/>
                  <a:pt x="2201" y="457"/>
                  <a:pt x="2201" y="457"/>
                </a:cubicBezTo>
                <a:cubicBezTo>
                  <a:pt x="2199" y="457"/>
                  <a:pt x="2199" y="457"/>
                  <a:pt x="2199" y="457"/>
                </a:cubicBezTo>
                <a:cubicBezTo>
                  <a:pt x="2197" y="456"/>
                  <a:pt x="2197" y="456"/>
                  <a:pt x="2197" y="456"/>
                </a:cubicBezTo>
                <a:cubicBezTo>
                  <a:pt x="2196" y="455"/>
                  <a:pt x="2196" y="455"/>
                  <a:pt x="2196" y="455"/>
                </a:cubicBezTo>
                <a:cubicBezTo>
                  <a:pt x="2195" y="455"/>
                  <a:pt x="2195" y="455"/>
                  <a:pt x="2195" y="455"/>
                </a:cubicBezTo>
                <a:cubicBezTo>
                  <a:pt x="2195" y="454"/>
                  <a:pt x="2195" y="454"/>
                  <a:pt x="2195" y="454"/>
                </a:cubicBezTo>
                <a:cubicBezTo>
                  <a:pt x="2193" y="453"/>
                  <a:pt x="2193" y="453"/>
                  <a:pt x="2193" y="453"/>
                </a:cubicBezTo>
                <a:close/>
                <a:moveTo>
                  <a:pt x="2143" y="568"/>
                </a:moveTo>
                <a:cubicBezTo>
                  <a:pt x="2142" y="568"/>
                  <a:pt x="2142" y="568"/>
                  <a:pt x="2142" y="568"/>
                </a:cubicBezTo>
                <a:cubicBezTo>
                  <a:pt x="2142" y="569"/>
                  <a:pt x="2142" y="569"/>
                  <a:pt x="2142" y="569"/>
                </a:cubicBezTo>
                <a:cubicBezTo>
                  <a:pt x="2142" y="570"/>
                  <a:pt x="2142" y="570"/>
                  <a:pt x="2142" y="570"/>
                </a:cubicBezTo>
                <a:cubicBezTo>
                  <a:pt x="2143" y="570"/>
                  <a:pt x="2143" y="570"/>
                  <a:pt x="2143" y="570"/>
                </a:cubicBezTo>
                <a:cubicBezTo>
                  <a:pt x="2143" y="569"/>
                  <a:pt x="2143" y="569"/>
                  <a:pt x="2143" y="569"/>
                </a:cubicBezTo>
                <a:cubicBezTo>
                  <a:pt x="2143" y="568"/>
                  <a:pt x="2143" y="568"/>
                  <a:pt x="2143" y="568"/>
                </a:cubicBezTo>
                <a:close/>
                <a:moveTo>
                  <a:pt x="2123" y="631"/>
                </a:moveTo>
                <a:cubicBezTo>
                  <a:pt x="2124" y="632"/>
                  <a:pt x="2124" y="632"/>
                  <a:pt x="2124" y="632"/>
                </a:cubicBezTo>
                <a:cubicBezTo>
                  <a:pt x="2125" y="631"/>
                  <a:pt x="2125" y="631"/>
                  <a:pt x="2125" y="631"/>
                </a:cubicBezTo>
                <a:cubicBezTo>
                  <a:pt x="2123" y="630"/>
                  <a:pt x="2123" y="630"/>
                  <a:pt x="2123" y="630"/>
                </a:cubicBezTo>
                <a:cubicBezTo>
                  <a:pt x="2123" y="631"/>
                  <a:pt x="2123" y="631"/>
                  <a:pt x="2123" y="631"/>
                </a:cubicBezTo>
                <a:close/>
                <a:moveTo>
                  <a:pt x="2144" y="569"/>
                </a:moveTo>
                <a:cubicBezTo>
                  <a:pt x="2145" y="568"/>
                  <a:pt x="2145" y="568"/>
                  <a:pt x="2145" y="568"/>
                </a:cubicBezTo>
                <a:cubicBezTo>
                  <a:pt x="2144" y="568"/>
                  <a:pt x="2144" y="568"/>
                  <a:pt x="2144" y="568"/>
                </a:cubicBezTo>
                <a:cubicBezTo>
                  <a:pt x="2144" y="569"/>
                  <a:pt x="2144" y="569"/>
                  <a:pt x="2144" y="569"/>
                </a:cubicBezTo>
                <a:close/>
                <a:moveTo>
                  <a:pt x="2148" y="577"/>
                </a:moveTo>
                <a:cubicBezTo>
                  <a:pt x="2148" y="575"/>
                  <a:pt x="2148" y="575"/>
                  <a:pt x="2148" y="575"/>
                </a:cubicBezTo>
                <a:cubicBezTo>
                  <a:pt x="2149" y="575"/>
                  <a:pt x="2149" y="575"/>
                  <a:pt x="2149" y="575"/>
                </a:cubicBezTo>
                <a:cubicBezTo>
                  <a:pt x="2149" y="576"/>
                  <a:pt x="2149" y="576"/>
                  <a:pt x="2149" y="576"/>
                </a:cubicBezTo>
                <a:cubicBezTo>
                  <a:pt x="2150" y="577"/>
                  <a:pt x="2150" y="577"/>
                  <a:pt x="2150" y="577"/>
                </a:cubicBezTo>
                <a:cubicBezTo>
                  <a:pt x="2150" y="579"/>
                  <a:pt x="2150" y="579"/>
                  <a:pt x="2150" y="579"/>
                </a:cubicBezTo>
                <a:cubicBezTo>
                  <a:pt x="2150" y="580"/>
                  <a:pt x="2150" y="580"/>
                  <a:pt x="2150" y="580"/>
                </a:cubicBezTo>
                <a:cubicBezTo>
                  <a:pt x="2150" y="581"/>
                  <a:pt x="2150" y="581"/>
                  <a:pt x="2150" y="581"/>
                </a:cubicBezTo>
                <a:cubicBezTo>
                  <a:pt x="2151" y="580"/>
                  <a:pt x="2151" y="580"/>
                  <a:pt x="2151" y="580"/>
                </a:cubicBezTo>
                <a:cubicBezTo>
                  <a:pt x="2152" y="579"/>
                  <a:pt x="2152" y="579"/>
                  <a:pt x="2152" y="579"/>
                </a:cubicBezTo>
                <a:cubicBezTo>
                  <a:pt x="2151" y="577"/>
                  <a:pt x="2151" y="577"/>
                  <a:pt x="2151" y="577"/>
                </a:cubicBezTo>
                <a:cubicBezTo>
                  <a:pt x="2152" y="576"/>
                  <a:pt x="2152" y="576"/>
                  <a:pt x="2152" y="576"/>
                </a:cubicBezTo>
                <a:cubicBezTo>
                  <a:pt x="2152" y="577"/>
                  <a:pt x="2152" y="577"/>
                  <a:pt x="2152" y="577"/>
                </a:cubicBezTo>
                <a:cubicBezTo>
                  <a:pt x="2153" y="577"/>
                  <a:pt x="2153" y="577"/>
                  <a:pt x="2153" y="577"/>
                </a:cubicBezTo>
                <a:cubicBezTo>
                  <a:pt x="2153" y="576"/>
                  <a:pt x="2153" y="576"/>
                  <a:pt x="2153" y="576"/>
                </a:cubicBezTo>
                <a:cubicBezTo>
                  <a:pt x="2153" y="574"/>
                  <a:pt x="2153" y="574"/>
                  <a:pt x="2153" y="574"/>
                </a:cubicBezTo>
                <a:cubicBezTo>
                  <a:pt x="2153" y="573"/>
                  <a:pt x="2153" y="573"/>
                  <a:pt x="2153" y="573"/>
                </a:cubicBezTo>
                <a:cubicBezTo>
                  <a:pt x="2153" y="569"/>
                  <a:pt x="2153" y="569"/>
                  <a:pt x="2153" y="569"/>
                </a:cubicBezTo>
                <a:cubicBezTo>
                  <a:pt x="2153" y="567"/>
                  <a:pt x="2153" y="567"/>
                  <a:pt x="2153" y="567"/>
                </a:cubicBezTo>
                <a:cubicBezTo>
                  <a:pt x="2154" y="566"/>
                  <a:pt x="2154" y="566"/>
                  <a:pt x="2154" y="566"/>
                </a:cubicBezTo>
                <a:cubicBezTo>
                  <a:pt x="2155" y="565"/>
                  <a:pt x="2155" y="565"/>
                  <a:pt x="2155" y="565"/>
                </a:cubicBezTo>
                <a:cubicBezTo>
                  <a:pt x="2154" y="564"/>
                  <a:pt x="2154" y="564"/>
                  <a:pt x="2154" y="564"/>
                </a:cubicBezTo>
                <a:cubicBezTo>
                  <a:pt x="2154" y="563"/>
                  <a:pt x="2154" y="563"/>
                  <a:pt x="2154" y="563"/>
                </a:cubicBezTo>
                <a:cubicBezTo>
                  <a:pt x="2153" y="563"/>
                  <a:pt x="2153" y="563"/>
                  <a:pt x="2153" y="563"/>
                </a:cubicBezTo>
                <a:cubicBezTo>
                  <a:pt x="2153" y="562"/>
                  <a:pt x="2153" y="562"/>
                  <a:pt x="2153" y="562"/>
                </a:cubicBezTo>
                <a:cubicBezTo>
                  <a:pt x="2151" y="562"/>
                  <a:pt x="2151" y="562"/>
                  <a:pt x="2151" y="562"/>
                </a:cubicBezTo>
                <a:cubicBezTo>
                  <a:pt x="2151" y="561"/>
                  <a:pt x="2151" y="561"/>
                  <a:pt x="2151" y="561"/>
                </a:cubicBezTo>
                <a:cubicBezTo>
                  <a:pt x="2152" y="561"/>
                  <a:pt x="2152" y="561"/>
                  <a:pt x="2152" y="561"/>
                </a:cubicBezTo>
                <a:cubicBezTo>
                  <a:pt x="2152" y="560"/>
                  <a:pt x="2152" y="560"/>
                  <a:pt x="2152" y="560"/>
                </a:cubicBezTo>
                <a:cubicBezTo>
                  <a:pt x="2152" y="558"/>
                  <a:pt x="2152" y="558"/>
                  <a:pt x="2152" y="558"/>
                </a:cubicBezTo>
                <a:cubicBezTo>
                  <a:pt x="2151" y="558"/>
                  <a:pt x="2151" y="558"/>
                  <a:pt x="2151" y="558"/>
                </a:cubicBezTo>
                <a:cubicBezTo>
                  <a:pt x="2150" y="558"/>
                  <a:pt x="2150" y="558"/>
                  <a:pt x="2150" y="558"/>
                </a:cubicBezTo>
                <a:cubicBezTo>
                  <a:pt x="2149" y="559"/>
                  <a:pt x="2149" y="559"/>
                  <a:pt x="2149" y="559"/>
                </a:cubicBezTo>
                <a:cubicBezTo>
                  <a:pt x="2148" y="559"/>
                  <a:pt x="2148" y="559"/>
                  <a:pt x="2148" y="559"/>
                </a:cubicBezTo>
                <a:cubicBezTo>
                  <a:pt x="2147" y="557"/>
                  <a:pt x="2147" y="557"/>
                  <a:pt x="2147" y="557"/>
                </a:cubicBezTo>
                <a:cubicBezTo>
                  <a:pt x="2149" y="556"/>
                  <a:pt x="2149" y="556"/>
                  <a:pt x="2149" y="556"/>
                </a:cubicBezTo>
                <a:cubicBezTo>
                  <a:pt x="2151" y="555"/>
                  <a:pt x="2151" y="555"/>
                  <a:pt x="2151" y="555"/>
                </a:cubicBezTo>
                <a:cubicBezTo>
                  <a:pt x="2153" y="556"/>
                  <a:pt x="2153" y="556"/>
                  <a:pt x="2153" y="556"/>
                </a:cubicBezTo>
                <a:cubicBezTo>
                  <a:pt x="2154" y="556"/>
                  <a:pt x="2154" y="556"/>
                  <a:pt x="2154" y="556"/>
                </a:cubicBezTo>
                <a:cubicBezTo>
                  <a:pt x="2154" y="555"/>
                  <a:pt x="2154" y="555"/>
                  <a:pt x="2154" y="555"/>
                </a:cubicBezTo>
                <a:cubicBezTo>
                  <a:pt x="2154" y="554"/>
                  <a:pt x="2154" y="554"/>
                  <a:pt x="2154" y="554"/>
                </a:cubicBezTo>
                <a:cubicBezTo>
                  <a:pt x="2154" y="553"/>
                  <a:pt x="2154" y="553"/>
                  <a:pt x="2154" y="553"/>
                </a:cubicBezTo>
                <a:cubicBezTo>
                  <a:pt x="2154" y="552"/>
                  <a:pt x="2154" y="552"/>
                  <a:pt x="2154" y="552"/>
                </a:cubicBezTo>
                <a:cubicBezTo>
                  <a:pt x="2155" y="552"/>
                  <a:pt x="2155" y="552"/>
                  <a:pt x="2155" y="552"/>
                </a:cubicBezTo>
                <a:cubicBezTo>
                  <a:pt x="2155" y="553"/>
                  <a:pt x="2155" y="553"/>
                  <a:pt x="2155" y="553"/>
                </a:cubicBezTo>
                <a:cubicBezTo>
                  <a:pt x="2156" y="553"/>
                  <a:pt x="2156" y="553"/>
                  <a:pt x="2156" y="553"/>
                </a:cubicBezTo>
                <a:cubicBezTo>
                  <a:pt x="2157" y="552"/>
                  <a:pt x="2157" y="552"/>
                  <a:pt x="2157" y="552"/>
                </a:cubicBezTo>
                <a:cubicBezTo>
                  <a:pt x="2159" y="552"/>
                  <a:pt x="2159" y="552"/>
                  <a:pt x="2159" y="552"/>
                </a:cubicBezTo>
                <a:cubicBezTo>
                  <a:pt x="2161" y="551"/>
                  <a:pt x="2161" y="551"/>
                  <a:pt x="2161" y="551"/>
                </a:cubicBezTo>
                <a:cubicBezTo>
                  <a:pt x="2163" y="551"/>
                  <a:pt x="2163" y="551"/>
                  <a:pt x="2163" y="551"/>
                </a:cubicBezTo>
                <a:cubicBezTo>
                  <a:pt x="2164" y="551"/>
                  <a:pt x="2164" y="551"/>
                  <a:pt x="2164" y="551"/>
                </a:cubicBezTo>
                <a:cubicBezTo>
                  <a:pt x="2165" y="550"/>
                  <a:pt x="2165" y="550"/>
                  <a:pt x="2165" y="550"/>
                </a:cubicBezTo>
                <a:cubicBezTo>
                  <a:pt x="2165" y="549"/>
                  <a:pt x="2165" y="549"/>
                  <a:pt x="2165" y="549"/>
                </a:cubicBezTo>
                <a:cubicBezTo>
                  <a:pt x="2167" y="548"/>
                  <a:pt x="2167" y="548"/>
                  <a:pt x="2167" y="548"/>
                </a:cubicBezTo>
                <a:cubicBezTo>
                  <a:pt x="2168" y="548"/>
                  <a:pt x="2168" y="548"/>
                  <a:pt x="2168" y="548"/>
                </a:cubicBezTo>
                <a:cubicBezTo>
                  <a:pt x="2170" y="548"/>
                  <a:pt x="2170" y="548"/>
                  <a:pt x="2170" y="548"/>
                </a:cubicBezTo>
                <a:cubicBezTo>
                  <a:pt x="2171" y="548"/>
                  <a:pt x="2171" y="548"/>
                  <a:pt x="2171" y="548"/>
                </a:cubicBezTo>
                <a:cubicBezTo>
                  <a:pt x="2172" y="548"/>
                  <a:pt x="2172" y="548"/>
                  <a:pt x="2172" y="548"/>
                </a:cubicBezTo>
                <a:cubicBezTo>
                  <a:pt x="2172" y="549"/>
                  <a:pt x="2172" y="549"/>
                  <a:pt x="2172" y="549"/>
                </a:cubicBezTo>
                <a:cubicBezTo>
                  <a:pt x="2171" y="550"/>
                  <a:pt x="2171" y="550"/>
                  <a:pt x="2171" y="550"/>
                </a:cubicBezTo>
                <a:cubicBezTo>
                  <a:pt x="2171" y="552"/>
                  <a:pt x="2171" y="552"/>
                  <a:pt x="2171" y="552"/>
                </a:cubicBezTo>
                <a:cubicBezTo>
                  <a:pt x="2171" y="553"/>
                  <a:pt x="2171" y="553"/>
                  <a:pt x="2171" y="553"/>
                </a:cubicBezTo>
                <a:cubicBezTo>
                  <a:pt x="2171" y="554"/>
                  <a:pt x="2171" y="554"/>
                  <a:pt x="2171" y="554"/>
                </a:cubicBezTo>
                <a:cubicBezTo>
                  <a:pt x="2171" y="555"/>
                  <a:pt x="2171" y="555"/>
                  <a:pt x="2171" y="555"/>
                </a:cubicBezTo>
                <a:cubicBezTo>
                  <a:pt x="2172" y="556"/>
                  <a:pt x="2172" y="556"/>
                  <a:pt x="2172" y="556"/>
                </a:cubicBezTo>
                <a:cubicBezTo>
                  <a:pt x="2173" y="556"/>
                  <a:pt x="2173" y="556"/>
                  <a:pt x="2173" y="556"/>
                </a:cubicBezTo>
                <a:cubicBezTo>
                  <a:pt x="2175" y="558"/>
                  <a:pt x="2175" y="558"/>
                  <a:pt x="2175" y="558"/>
                </a:cubicBezTo>
                <a:cubicBezTo>
                  <a:pt x="2176" y="558"/>
                  <a:pt x="2176" y="558"/>
                  <a:pt x="2176" y="558"/>
                </a:cubicBezTo>
                <a:cubicBezTo>
                  <a:pt x="2177" y="558"/>
                  <a:pt x="2177" y="558"/>
                  <a:pt x="2177" y="558"/>
                </a:cubicBezTo>
                <a:cubicBezTo>
                  <a:pt x="2178" y="556"/>
                  <a:pt x="2178" y="556"/>
                  <a:pt x="2178" y="556"/>
                </a:cubicBezTo>
                <a:cubicBezTo>
                  <a:pt x="2178" y="555"/>
                  <a:pt x="2178" y="555"/>
                  <a:pt x="2178" y="555"/>
                </a:cubicBezTo>
                <a:cubicBezTo>
                  <a:pt x="2179" y="555"/>
                  <a:pt x="2179" y="555"/>
                  <a:pt x="2179" y="555"/>
                </a:cubicBezTo>
                <a:cubicBezTo>
                  <a:pt x="2179" y="554"/>
                  <a:pt x="2179" y="554"/>
                  <a:pt x="2179" y="554"/>
                </a:cubicBezTo>
                <a:cubicBezTo>
                  <a:pt x="2179" y="553"/>
                  <a:pt x="2179" y="553"/>
                  <a:pt x="2179" y="553"/>
                </a:cubicBezTo>
                <a:cubicBezTo>
                  <a:pt x="2179" y="552"/>
                  <a:pt x="2179" y="552"/>
                  <a:pt x="2179" y="552"/>
                </a:cubicBezTo>
                <a:cubicBezTo>
                  <a:pt x="2180" y="551"/>
                  <a:pt x="2180" y="551"/>
                  <a:pt x="2180" y="551"/>
                </a:cubicBezTo>
                <a:cubicBezTo>
                  <a:pt x="2181" y="551"/>
                  <a:pt x="2181" y="551"/>
                  <a:pt x="2181" y="551"/>
                </a:cubicBezTo>
                <a:cubicBezTo>
                  <a:pt x="2182" y="551"/>
                  <a:pt x="2182" y="551"/>
                  <a:pt x="2182" y="551"/>
                </a:cubicBezTo>
                <a:cubicBezTo>
                  <a:pt x="2181" y="550"/>
                  <a:pt x="2181" y="550"/>
                  <a:pt x="2181" y="550"/>
                </a:cubicBezTo>
                <a:cubicBezTo>
                  <a:pt x="2181" y="549"/>
                  <a:pt x="2181" y="549"/>
                  <a:pt x="2181" y="549"/>
                </a:cubicBezTo>
                <a:cubicBezTo>
                  <a:pt x="2179" y="548"/>
                  <a:pt x="2179" y="548"/>
                  <a:pt x="2179" y="548"/>
                </a:cubicBezTo>
                <a:cubicBezTo>
                  <a:pt x="2179" y="547"/>
                  <a:pt x="2179" y="547"/>
                  <a:pt x="2179" y="547"/>
                </a:cubicBezTo>
                <a:cubicBezTo>
                  <a:pt x="2179" y="546"/>
                  <a:pt x="2179" y="546"/>
                  <a:pt x="2179" y="546"/>
                </a:cubicBezTo>
                <a:cubicBezTo>
                  <a:pt x="2180" y="545"/>
                  <a:pt x="2180" y="545"/>
                  <a:pt x="2180" y="545"/>
                </a:cubicBezTo>
                <a:cubicBezTo>
                  <a:pt x="2180" y="547"/>
                  <a:pt x="2180" y="547"/>
                  <a:pt x="2180" y="547"/>
                </a:cubicBezTo>
                <a:cubicBezTo>
                  <a:pt x="2181" y="547"/>
                  <a:pt x="2181" y="547"/>
                  <a:pt x="2181" y="547"/>
                </a:cubicBezTo>
                <a:cubicBezTo>
                  <a:pt x="2181" y="546"/>
                  <a:pt x="2181" y="546"/>
                  <a:pt x="2181" y="546"/>
                </a:cubicBezTo>
                <a:cubicBezTo>
                  <a:pt x="2182" y="547"/>
                  <a:pt x="2182" y="547"/>
                  <a:pt x="2182" y="547"/>
                </a:cubicBezTo>
                <a:cubicBezTo>
                  <a:pt x="2183" y="547"/>
                  <a:pt x="2183" y="547"/>
                  <a:pt x="2183" y="547"/>
                </a:cubicBezTo>
                <a:cubicBezTo>
                  <a:pt x="2184" y="547"/>
                  <a:pt x="2184" y="547"/>
                  <a:pt x="2184" y="547"/>
                </a:cubicBezTo>
                <a:cubicBezTo>
                  <a:pt x="2184" y="548"/>
                  <a:pt x="2184" y="548"/>
                  <a:pt x="2184" y="548"/>
                </a:cubicBezTo>
                <a:cubicBezTo>
                  <a:pt x="2185" y="547"/>
                  <a:pt x="2185" y="547"/>
                  <a:pt x="2185" y="547"/>
                </a:cubicBezTo>
                <a:cubicBezTo>
                  <a:pt x="2189" y="548"/>
                  <a:pt x="2189" y="548"/>
                  <a:pt x="2189" y="548"/>
                </a:cubicBezTo>
                <a:cubicBezTo>
                  <a:pt x="2190" y="547"/>
                  <a:pt x="2190" y="547"/>
                  <a:pt x="2190" y="547"/>
                </a:cubicBezTo>
                <a:cubicBezTo>
                  <a:pt x="2189" y="546"/>
                  <a:pt x="2189" y="546"/>
                  <a:pt x="2189" y="546"/>
                </a:cubicBezTo>
                <a:cubicBezTo>
                  <a:pt x="2190" y="544"/>
                  <a:pt x="2190" y="544"/>
                  <a:pt x="2190" y="544"/>
                </a:cubicBezTo>
                <a:cubicBezTo>
                  <a:pt x="2191" y="544"/>
                  <a:pt x="2191" y="544"/>
                  <a:pt x="2191" y="544"/>
                </a:cubicBezTo>
                <a:cubicBezTo>
                  <a:pt x="2192" y="544"/>
                  <a:pt x="2192" y="544"/>
                  <a:pt x="2192" y="544"/>
                </a:cubicBezTo>
                <a:cubicBezTo>
                  <a:pt x="2192" y="545"/>
                  <a:pt x="2192" y="545"/>
                  <a:pt x="2192" y="545"/>
                </a:cubicBezTo>
                <a:cubicBezTo>
                  <a:pt x="2192" y="546"/>
                  <a:pt x="2192" y="546"/>
                  <a:pt x="2192" y="546"/>
                </a:cubicBezTo>
                <a:cubicBezTo>
                  <a:pt x="2193" y="547"/>
                  <a:pt x="2193" y="547"/>
                  <a:pt x="2193" y="547"/>
                </a:cubicBezTo>
                <a:cubicBezTo>
                  <a:pt x="2194" y="547"/>
                  <a:pt x="2194" y="547"/>
                  <a:pt x="2194" y="547"/>
                </a:cubicBezTo>
                <a:cubicBezTo>
                  <a:pt x="2194" y="546"/>
                  <a:pt x="2194" y="546"/>
                  <a:pt x="2194" y="546"/>
                </a:cubicBezTo>
                <a:cubicBezTo>
                  <a:pt x="2194" y="543"/>
                  <a:pt x="2194" y="543"/>
                  <a:pt x="2194" y="543"/>
                </a:cubicBezTo>
                <a:cubicBezTo>
                  <a:pt x="2194" y="542"/>
                  <a:pt x="2194" y="542"/>
                  <a:pt x="2194" y="542"/>
                </a:cubicBezTo>
                <a:cubicBezTo>
                  <a:pt x="2196" y="541"/>
                  <a:pt x="2196" y="541"/>
                  <a:pt x="2196" y="541"/>
                </a:cubicBezTo>
                <a:cubicBezTo>
                  <a:pt x="2197" y="540"/>
                  <a:pt x="2197" y="540"/>
                  <a:pt x="2197" y="540"/>
                </a:cubicBezTo>
                <a:cubicBezTo>
                  <a:pt x="2196" y="540"/>
                  <a:pt x="2196" y="540"/>
                  <a:pt x="2196" y="540"/>
                </a:cubicBezTo>
                <a:cubicBezTo>
                  <a:pt x="2196" y="538"/>
                  <a:pt x="2196" y="538"/>
                  <a:pt x="2196" y="538"/>
                </a:cubicBezTo>
                <a:cubicBezTo>
                  <a:pt x="2197" y="538"/>
                  <a:pt x="2197" y="538"/>
                  <a:pt x="2197" y="538"/>
                </a:cubicBezTo>
                <a:cubicBezTo>
                  <a:pt x="2198" y="538"/>
                  <a:pt x="2198" y="538"/>
                  <a:pt x="2198" y="538"/>
                </a:cubicBezTo>
                <a:cubicBezTo>
                  <a:pt x="2199" y="539"/>
                  <a:pt x="2199" y="539"/>
                  <a:pt x="2199" y="539"/>
                </a:cubicBezTo>
                <a:cubicBezTo>
                  <a:pt x="2198" y="539"/>
                  <a:pt x="2198" y="539"/>
                  <a:pt x="2198" y="539"/>
                </a:cubicBezTo>
                <a:cubicBezTo>
                  <a:pt x="2198" y="541"/>
                  <a:pt x="2198" y="541"/>
                  <a:pt x="2198" y="541"/>
                </a:cubicBezTo>
                <a:cubicBezTo>
                  <a:pt x="2198" y="545"/>
                  <a:pt x="2198" y="545"/>
                  <a:pt x="2198" y="545"/>
                </a:cubicBezTo>
                <a:cubicBezTo>
                  <a:pt x="2199" y="545"/>
                  <a:pt x="2199" y="545"/>
                  <a:pt x="2199" y="545"/>
                </a:cubicBezTo>
                <a:cubicBezTo>
                  <a:pt x="2200" y="544"/>
                  <a:pt x="2200" y="544"/>
                  <a:pt x="2200" y="544"/>
                </a:cubicBezTo>
                <a:cubicBezTo>
                  <a:pt x="2200" y="543"/>
                  <a:pt x="2200" y="543"/>
                  <a:pt x="2200" y="543"/>
                </a:cubicBezTo>
                <a:cubicBezTo>
                  <a:pt x="2201" y="543"/>
                  <a:pt x="2201" y="543"/>
                  <a:pt x="2201" y="543"/>
                </a:cubicBezTo>
                <a:cubicBezTo>
                  <a:pt x="2202" y="542"/>
                  <a:pt x="2202" y="542"/>
                  <a:pt x="2202" y="542"/>
                </a:cubicBezTo>
                <a:cubicBezTo>
                  <a:pt x="2203" y="540"/>
                  <a:pt x="2203" y="540"/>
                  <a:pt x="2203" y="540"/>
                </a:cubicBezTo>
                <a:cubicBezTo>
                  <a:pt x="2203" y="539"/>
                  <a:pt x="2203" y="539"/>
                  <a:pt x="2203" y="539"/>
                </a:cubicBezTo>
                <a:cubicBezTo>
                  <a:pt x="2204" y="538"/>
                  <a:pt x="2204" y="538"/>
                  <a:pt x="2204" y="538"/>
                </a:cubicBezTo>
                <a:cubicBezTo>
                  <a:pt x="2204" y="537"/>
                  <a:pt x="2204" y="537"/>
                  <a:pt x="2204" y="537"/>
                </a:cubicBezTo>
                <a:cubicBezTo>
                  <a:pt x="2203" y="536"/>
                  <a:pt x="2203" y="536"/>
                  <a:pt x="2203" y="536"/>
                </a:cubicBezTo>
                <a:cubicBezTo>
                  <a:pt x="2202" y="534"/>
                  <a:pt x="2202" y="534"/>
                  <a:pt x="2202" y="534"/>
                </a:cubicBezTo>
                <a:cubicBezTo>
                  <a:pt x="2201" y="533"/>
                  <a:pt x="2201" y="533"/>
                  <a:pt x="2201" y="533"/>
                </a:cubicBezTo>
                <a:cubicBezTo>
                  <a:pt x="2201" y="530"/>
                  <a:pt x="2201" y="530"/>
                  <a:pt x="2201" y="530"/>
                </a:cubicBezTo>
                <a:cubicBezTo>
                  <a:pt x="2201" y="526"/>
                  <a:pt x="2201" y="526"/>
                  <a:pt x="2201" y="526"/>
                </a:cubicBezTo>
                <a:cubicBezTo>
                  <a:pt x="2201" y="524"/>
                  <a:pt x="2201" y="524"/>
                  <a:pt x="2201" y="524"/>
                </a:cubicBezTo>
                <a:cubicBezTo>
                  <a:pt x="2200" y="520"/>
                  <a:pt x="2200" y="520"/>
                  <a:pt x="2200" y="520"/>
                </a:cubicBezTo>
                <a:cubicBezTo>
                  <a:pt x="2199" y="518"/>
                  <a:pt x="2199" y="518"/>
                  <a:pt x="2199" y="518"/>
                </a:cubicBezTo>
                <a:cubicBezTo>
                  <a:pt x="2198" y="516"/>
                  <a:pt x="2198" y="516"/>
                  <a:pt x="2198" y="516"/>
                </a:cubicBezTo>
                <a:cubicBezTo>
                  <a:pt x="2199" y="514"/>
                  <a:pt x="2199" y="514"/>
                  <a:pt x="2199" y="514"/>
                </a:cubicBezTo>
                <a:cubicBezTo>
                  <a:pt x="2201" y="513"/>
                  <a:pt x="2201" y="513"/>
                  <a:pt x="2201" y="513"/>
                </a:cubicBezTo>
                <a:cubicBezTo>
                  <a:pt x="2202" y="513"/>
                  <a:pt x="2202" y="513"/>
                  <a:pt x="2202" y="513"/>
                </a:cubicBezTo>
                <a:cubicBezTo>
                  <a:pt x="2202" y="514"/>
                  <a:pt x="2202" y="514"/>
                  <a:pt x="2202" y="514"/>
                </a:cubicBezTo>
                <a:cubicBezTo>
                  <a:pt x="2203" y="513"/>
                  <a:pt x="2203" y="513"/>
                  <a:pt x="2203" y="513"/>
                </a:cubicBezTo>
                <a:cubicBezTo>
                  <a:pt x="2202" y="512"/>
                  <a:pt x="2202" y="512"/>
                  <a:pt x="2202" y="512"/>
                </a:cubicBezTo>
                <a:cubicBezTo>
                  <a:pt x="2202" y="511"/>
                  <a:pt x="2202" y="511"/>
                  <a:pt x="2202" y="511"/>
                </a:cubicBezTo>
                <a:cubicBezTo>
                  <a:pt x="2201" y="509"/>
                  <a:pt x="2201" y="509"/>
                  <a:pt x="2201" y="509"/>
                </a:cubicBezTo>
                <a:cubicBezTo>
                  <a:pt x="2201" y="508"/>
                  <a:pt x="2201" y="508"/>
                  <a:pt x="2201" y="508"/>
                </a:cubicBezTo>
                <a:cubicBezTo>
                  <a:pt x="2202" y="507"/>
                  <a:pt x="2202" y="507"/>
                  <a:pt x="2202" y="507"/>
                </a:cubicBezTo>
                <a:cubicBezTo>
                  <a:pt x="2202" y="506"/>
                  <a:pt x="2202" y="506"/>
                  <a:pt x="2202" y="506"/>
                </a:cubicBezTo>
                <a:cubicBezTo>
                  <a:pt x="2202" y="505"/>
                  <a:pt x="2202" y="505"/>
                  <a:pt x="2202" y="505"/>
                </a:cubicBezTo>
                <a:cubicBezTo>
                  <a:pt x="2201" y="503"/>
                  <a:pt x="2201" y="503"/>
                  <a:pt x="2201" y="503"/>
                </a:cubicBezTo>
                <a:cubicBezTo>
                  <a:pt x="2202" y="503"/>
                  <a:pt x="2202" y="503"/>
                  <a:pt x="2202" y="503"/>
                </a:cubicBezTo>
                <a:cubicBezTo>
                  <a:pt x="2201" y="502"/>
                  <a:pt x="2201" y="502"/>
                  <a:pt x="2201" y="502"/>
                </a:cubicBezTo>
                <a:cubicBezTo>
                  <a:pt x="2201" y="499"/>
                  <a:pt x="2201" y="499"/>
                  <a:pt x="2201" y="499"/>
                </a:cubicBezTo>
                <a:cubicBezTo>
                  <a:pt x="2200" y="497"/>
                  <a:pt x="2200" y="497"/>
                  <a:pt x="2200" y="497"/>
                </a:cubicBezTo>
                <a:cubicBezTo>
                  <a:pt x="2199" y="497"/>
                  <a:pt x="2199" y="497"/>
                  <a:pt x="2199" y="497"/>
                </a:cubicBezTo>
                <a:cubicBezTo>
                  <a:pt x="2198" y="497"/>
                  <a:pt x="2198" y="497"/>
                  <a:pt x="2198" y="497"/>
                </a:cubicBezTo>
                <a:cubicBezTo>
                  <a:pt x="2198" y="494"/>
                  <a:pt x="2198" y="494"/>
                  <a:pt x="2198" y="494"/>
                </a:cubicBezTo>
                <a:cubicBezTo>
                  <a:pt x="2197" y="493"/>
                  <a:pt x="2197" y="493"/>
                  <a:pt x="2197" y="493"/>
                </a:cubicBezTo>
                <a:cubicBezTo>
                  <a:pt x="2195" y="490"/>
                  <a:pt x="2195" y="490"/>
                  <a:pt x="2195" y="490"/>
                </a:cubicBezTo>
                <a:cubicBezTo>
                  <a:pt x="2194" y="489"/>
                  <a:pt x="2194" y="489"/>
                  <a:pt x="2194" y="489"/>
                </a:cubicBezTo>
                <a:cubicBezTo>
                  <a:pt x="2193" y="487"/>
                  <a:pt x="2193" y="487"/>
                  <a:pt x="2193" y="487"/>
                </a:cubicBezTo>
                <a:cubicBezTo>
                  <a:pt x="2193" y="485"/>
                  <a:pt x="2193" y="485"/>
                  <a:pt x="2193" y="485"/>
                </a:cubicBezTo>
                <a:cubicBezTo>
                  <a:pt x="2192" y="485"/>
                  <a:pt x="2192" y="485"/>
                  <a:pt x="2192" y="485"/>
                </a:cubicBezTo>
                <a:cubicBezTo>
                  <a:pt x="2191" y="484"/>
                  <a:pt x="2191" y="484"/>
                  <a:pt x="2191" y="484"/>
                </a:cubicBezTo>
                <a:cubicBezTo>
                  <a:pt x="2190" y="484"/>
                  <a:pt x="2190" y="484"/>
                  <a:pt x="2190" y="484"/>
                </a:cubicBezTo>
                <a:cubicBezTo>
                  <a:pt x="2190" y="485"/>
                  <a:pt x="2190" y="485"/>
                  <a:pt x="2190" y="485"/>
                </a:cubicBezTo>
                <a:cubicBezTo>
                  <a:pt x="2190" y="486"/>
                  <a:pt x="2190" y="486"/>
                  <a:pt x="2190" y="486"/>
                </a:cubicBezTo>
                <a:cubicBezTo>
                  <a:pt x="2190" y="487"/>
                  <a:pt x="2190" y="487"/>
                  <a:pt x="2190" y="487"/>
                </a:cubicBezTo>
                <a:cubicBezTo>
                  <a:pt x="2190" y="488"/>
                  <a:pt x="2190" y="488"/>
                  <a:pt x="2190" y="488"/>
                </a:cubicBezTo>
                <a:cubicBezTo>
                  <a:pt x="2191" y="487"/>
                  <a:pt x="2191" y="487"/>
                  <a:pt x="2191" y="487"/>
                </a:cubicBezTo>
                <a:cubicBezTo>
                  <a:pt x="2192" y="486"/>
                  <a:pt x="2192" y="486"/>
                  <a:pt x="2192" y="486"/>
                </a:cubicBezTo>
                <a:cubicBezTo>
                  <a:pt x="2193" y="488"/>
                  <a:pt x="2193" y="488"/>
                  <a:pt x="2193" y="488"/>
                </a:cubicBezTo>
                <a:cubicBezTo>
                  <a:pt x="2192" y="489"/>
                  <a:pt x="2192" y="489"/>
                  <a:pt x="2192" y="489"/>
                </a:cubicBezTo>
                <a:cubicBezTo>
                  <a:pt x="2191" y="489"/>
                  <a:pt x="2191" y="489"/>
                  <a:pt x="2191" y="489"/>
                </a:cubicBezTo>
                <a:cubicBezTo>
                  <a:pt x="2190" y="489"/>
                  <a:pt x="2190" y="489"/>
                  <a:pt x="2190" y="489"/>
                </a:cubicBezTo>
                <a:cubicBezTo>
                  <a:pt x="2191" y="490"/>
                  <a:pt x="2191" y="490"/>
                  <a:pt x="2191" y="490"/>
                </a:cubicBezTo>
                <a:cubicBezTo>
                  <a:pt x="2190" y="491"/>
                  <a:pt x="2190" y="491"/>
                  <a:pt x="2190" y="491"/>
                </a:cubicBezTo>
                <a:cubicBezTo>
                  <a:pt x="2189" y="490"/>
                  <a:pt x="2189" y="490"/>
                  <a:pt x="2189" y="490"/>
                </a:cubicBezTo>
                <a:cubicBezTo>
                  <a:pt x="2189" y="489"/>
                  <a:pt x="2189" y="489"/>
                  <a:pt x="2189" y="489"/>
                </a:cubicBezTo>
                <a:cubicBezTo>
                  <a:pt x="2189" y="488"/>
                  <a:pt x="2189" y="488"/>
                  <a:pt x="2189" y="488"/>
                </a:cubicBezTo>
                <a:cubicBezTo>
                  <a:pt x="2189" y="487"/>
                  <a:pt x="2189" y="487"/>
                  <a:pt x="2189" y="487"/>
                </a:cubicBezTo>
                <a:cubicBezTo>
                  <a:pt x="2188" y="488"/>
                  <a:pt x="2188" y="488"/>
                  <a:pt x="2188" y="488"/>
                </a:cubicBezTo>
                <a:cubicBezTo>
                  <a:pt x="2187" y="487"/>
                  <a:pt x="2187" y="487"/>
                  <a:pt x="2187" y="487"/>
                </a:cubicBezTo>
                <a:cubicBezTo>
                  <a:pt x="2187" y="488"/>
                  <a:pt x="2187" y="488"/>
                  <a:pt x="2187" y="488"/>
                </a:cubicBezTo>
                <a:cubicBezTo>
                  <a:pt x="2187" y="490"/>
                  <a:pt x="2187" y="490"/>
                  <a:pt x="2187" y="490"/>
                </a:cubicBezTo>
                <a:cubicBezTo>
                  <a:pt x="2187" y="491"/>
                  <a:pt x="2187" y="491"/>
                  <a:pt x="2187" y="491"/>
                </a:cubicBezTo>
                <a:cubicBezTo>
                  <a:pt x="2187" y="492"/>
                  <a:pt x="2187" y="492"/>
                  <a:pt x="2187" y="492"/>
                </a:cubicBezTo>
                <a:cubicBezTo>
                  <a:pt x="2186" y="493"/>
                  <a:pt x="2186" y="493"/>
                  <a:pt x="2186" y="493"/>
                </a:cubicBezTo>
                <a:cubicBezTo>
                  <a:pt x="2186" y="494"/>
                  <a:pt x="2186" y="494"/>
                  <a:pt x="2186" y="494"/>
                </a:cubicBezTo>
                <a:cubicBezTo>
                  <a:pt x="2187" y="495"/>
                  <a:pt x="2187" y="495"/>
                  <a:pt x="2187" y="495"/>
                </a:cubicBezTo>
                <a:cubicBezTo>
                  <a:pt x="2188" y="496"/>
                  <a:pt x="2188" y="496"/>
                  <a:pt x="2188" y="496"/>
                </a:cubicBezTo>
                <a:cubicBezTo>
                  <a:pt x="2187" y="498"/>
                  <a:pt x="2187" y="498"/>
                  <a:pt x="2187" y="498"/>
                </a:cubicBezTo>
                <a:cubicBezTo>
                  <a:pt x="2186" y="498"/>
                  <a:pt x="2186" y="498"/>
                  <a:pt x="2186" y="498"/>
                </a:cubicBezTo>
                <a:cubicBezTo>
                  <a:pt x="2185" y="499"/>
                  <a:pt x="2185" y="499"/>
                  <a:pt x="2185" y="499"/>
                </a:cubicBezTo>
                <a:cubicBezTo>
                  <a:pt x="2186" y="500"/>
                  <a:pt x="2186" y="500"/>
                  <a:pt x="2186" y="500"/>
                </a:cubicBezTo>
                <a:cubicBezTo>
                  <a:pt x="2187" y="500"/>
                  <a:pt x="2187" y="500"/>
                  <a:pt x="2187" y="500"/>
                </a:cubicBezTo>
                <a:cubicBezTo>
                  <a:pt x="2188" y="499"/>
                  <a:pt x="2188" y="499"/>
                  <a:pt x="2188" y="499"/>
                </a:cubicBezTo>
                <a:cubicBezTo>
                  <a:pt x="2189" y="502"/>
                  <a:pt x="2189" y="502"/>
                  <a:pt x="2189" y="502"/>
                </a:cubicBezTo>
                <a:cubicBezTo>
                  <a:pt x="2190" y="505"/>
                  <a:pt x="2190" y="505"/>
                  <a:pt x="2190" y="505"/>
                </a:cubicBezTo>
                <a:cubicBezTo>
                  <a:pt x="2189" y="506"/>
                  <a:pt x="2189" y="506"/>
                  <a:pt x="2189" y="506"/>
                </a:cubicBezTo>
                <a:cubicBezTo>
                  <a:pt x="2190" y="509"/>
                  <a:pt x="2190" y="509"/>
                  <a:pt x="2190" y="509"/>
                </a:cubicBezTo>
                <a:cubicBezTo>
                  <a:pt x="2188" y="514"/>
                  <a:pt x="2188" y="514"/>
                  <a:pt x="2188" y="514"/>
                </a:cubicBezTo>
                <a:cubicBezTo>
                  <a:pt x="2189" y="515"/>
                  <a:pt x="2189" y="515"/>
                  <a:pt x="2189" y="515"/>
                </a:cubicBezTo>
                <a:cubicBezTo>
                  <a:pt x="2188" y="517"/>
                  <a:pt x="2188" y="517"/>
                  <a:pt x="2188" y="517"/>
                </a:cubicBezTo>
                <a:cubicBezTo>
                  <a:pt x="2187" y="518"/>
                  <a:pt x="2187" y="518"/>
                  <a:pt x="2187" y="518"/>
                </a:cubicBezTo>
                <a:cubicBezTo>
                  <a:pt x="2186" y="520"/>
                  <a:pt x="2186" y="520"/>
                  <a:pt x="2186" y="520"/>
                </a:cubicBezTo>
                <a:cubicBezTo>
                  <a:pt x="2186" y="522"/>
                  <a:pt x="2186" y="522"/>
                  <a:pt x="2186" y="522"/>
                </a:cubicBezTo>
                <a:cubicBezTo>
                  <a:pt x="2185" y="523"/>
                  <a:pt x="2185" y="523"/>
                  <a:pt x="2185" y="523"/>
                </a:cubicBezTo>
                <a:cubicBezTo>
                  <a:pt x="2185" y="524"/>
                  <a:pt x="2185" y="524"/>
                  <a:pt x="2185" y="524"/>
                </a:cubicBezTo>
                <a:cubicBezTo>
                  <a:pt x="2184" y="526"/>
                  <a:pt x="2184" y="526"/>
                  <a:pt x="2184" y="526"/>
                </a:cubicBezTo>
                <a:cubicBezTo>
                  <a:pt x="2181" y="528"/>
                  <a:pt x="2181" y="528"/>
                  <a:pt x="2181" y="528"/>
                </a:cubicBezTo>
                <a:cubicBezTo>
                  <a:pt x="2180" y="528"/>
                  <a:pt x="2180" y="528"/>
                  <a:pt x="2180" y="528"/>
                </a:cubicBezTo>
                <a:cubicBezTo>
                  <a:pt x="2179" y="529"/>
                  <a:pt x="2179" y="529"/>
                  <a:pt x="2179" y="529"/>
                </a:cubicBezTo>
                <a:cubicBezTo>
                  <a:pt x="2177" y="528"/>
                  <a:pt x="2177" y="528"/>
                  <a:pt x="2177" y="528"/>
                </a:cubicBezTo>
                <a:cubicBezTo>
                  <a:pt x="2176" y="527"/>
                  <a:pt x="2176" y="527"/>
                  <a:pt x="2176" y="527"/>
                </a:cubicBezTo>
                <a:cubicBezTo>
                  <a:pt x="2176" y="526"/>
                  <a:pt x="2176" y="526"/>
                  <a:pt x="2176" y="526"/>
                </a:cubicBezTo>
                <a:cubicBezTo>
                  <a:pt x="2177" y="525"/>
                  <a:pt x="2177" y="525"/>
                  <a:pt x="2177" y="525"/>
                </a:cubicBezTo>
                <a:cubicBezTo>
                  <a:pt x="2177" y="524"/>
                  <a:pt x="2177" y="524"/>
                  <a:pt x="2177" y="524"/>
                </a:cubicBezTo>
                <a:cubicBezTo>
                  <a:pt x="2178" y="523"/>
                  <a:pt x="2178" y="523"/>
                  <a:pt x="2178" y="523"/>
                </a:cubicBezTo>
                <a:cubicBezTo>
                  <a:pt x="2176" y="523"/>
                  <a:pt x="2176" y="523"/>
                  <a:pt x="2176" y="523"/>
                </a:cubicBezTo>
                <a:cubicBezTo>
                  <a:pt x="2175" y="524"/>
                  <a:pt x="2175" y="524"/>
                  <a:pt x="2175" y="524"/>
                </a:cubicBezTo>
                <a:cubicBezTo>
                  <a:pt x="2174" y="524"/>
                  <a:pt x="2174" y="524"/>
                  <a:pt x="2174" y="524"/>
                </a:cubicBezTo>
                <a:cubicBezTo>
                  <a:pt x="2174" y="526"/>
                  <a:pt x="2174" y="526"/>
                  <a:pt x="2174" y="526"/>
                </a:cubicBezTo>
                <a:cubicBezTo>
                  <a:pt x="2175" y="527"/>
                  <a:pt x="2175" y="527"/>
                  <a:pt x="2175" y="527"/>
                </a:cubicBezTo>
                <a:cubicBezTo>
                  <a:pt x="2175" y="530"/>
                  <a:pt x="2175" y="530"/>
                  <a:pt x="2175" y="530"/>
                </a:cubicBezTo>
                <a:cubicBezTo>
                  <a:pt x="2175" y="532"/>
                  <a:pt x="2175" y="532"/>
                  <a:pt x="2175" y="532"/>
                </a:cubicBezTo>
                <a:cubicBezTo>
                  <a:pt x="2173" y="533"/>
                  <a:pt x="2173" y="533"/>
                  <a:pt x="2173" y="533"/>
                </a:cubicBezTo>
                <a:cubicBezTo>
                  <a:pt x="2173" y="534"/>
                  <a:pt x="2173" y="534"/>
                  <a:pt x="2173" y="534"/>
                </a:cubicBezTo>
                <a:cubicBezTo>
                  <a:pt x="2172" y="537"/>
                  <a:pt x="2172" y="537"/>
                  <a:pt x="2172" y="537"/>
                </a:cubicBezTo>
                <a:cubicBezTo>
                  <a:pt x="2173" y="537"/>
                  <a:pt x="2173" y="537"/>
                  <a:pt x="2173" y="537"/>
                </a:cubicBezTo>
                <a:cubicBezTo>
                  <a:pt x="2173" y="538"/>
                  <a:pt x="2173" y="538"/>
                  <a:pt x="2173" y="538"/>
                </a:cubicBezTo>
                <a:cubicBezTo>
                  <a:pt x="2173" y="539"/>
                  <a:pt x="2173" y="539"/>
                  <a:pt x="2173" y="539"/>
                </a:cubicBezTo>
                <a:cubicBezTo>
                  <a:pt x="2173" y="540"/>
                  <a:pt x="2173" y="540"/>
                  <a:pt x="2173" y="540"/>
                </a:cubicBezTo>
                <a:cubicBezTo>
                  <a:pt x="2172" y="540"/>
                  <a:pt x="2172" y="540"/>
                  <a:pt x="2172" y="540"/>
                </a:cubicBezTo>
                <a:cubicBezTo>
                  <a:pt x="2172" y="541"/>
                  <a:pt x="2172" y="541"/>
                  <a:pt x="2172" y="541"/>
                </a:cubicBezTo>
                <a:cubicBezTo>
                  <a:pt x="2171" y="540"/>
                  <a:pt x="2171" y="540"/>
                  <a:pt x="2171" y="540"/>
                </a:cubicBezTo>
                <a:cubicBezTo>
                  <a:pt x="2170" y="541"/>
                  <a:pt x="2170" y="541"/>
                  <a:pt x="2170" y="541"/>
                </a:cubicBezTo>
                <a:cubicBezTo>
                  <a:pt x="2169" y="541"/>
                  <a:pt x="2169" y="541"/>
                  <a:pt x="2169" y="541"/>
                </a:cubicBezTo>
                <a:cubicBezTo>
                  <a:pt x="2169" y="539"/>
                  <a:pt x="2169" y="539"/>
                  <a:pt x="2169" y="539"/>
                </a:cubicBezTo>
                <a:cubicBezTo>
                  <a:pt x="2168" y="540"/>
                  <a:pt x="2168" y="540"/>
                  <a:pt x="2168" y="540"/>
                </a:cubicBezTo>
                <a:cubicBezTo>
                  <a:pt x="2167" y="540"/>
                  <a:pt x="2167" y="540"/>
                  <a:pt x="2167" y="540"/>
                </a:cubicBezTo>
                <a:cubicBezTo>
                  <a:pt x="2164" y="540"/>
                  <a:pt x="2164" y="540"/>
                  <a:pt x="2164" y="540"/>
                </a:cubicBezTo>
                <a:cubicBezTo>
                  <a:pt x="2163" y="541"/>
                  <a:pt x="2163" y="541"/>
                  <a:pt x="2163" y="541"/>
                </a:cubicBezTo>
                <a:cubicBezTo>
                  <a:pt x="2161" y="542"/>
                  <a:pt x="2161" y="542"/>
                  <a:pt x="2161" y="542"/>
                </a:cubicBezTo>
                <a:cubicBezTo>
                  <a:pt x="2160" y="542"/>
                  <a:pt x="2160" y="542"/>
                  <a:pt x="2160" y="542"/>
                </a:cubicBezTo>
                <a:cubicBezTo>
                  <a:pt x="2158" y="542"/>
                  <a:pt x="2158" y="542"/>
                  <a:pt x="2158" y="542"/>
                </a:cubicBezTo>
                <a:cubicBezTo>
                  <a:pt x="2156" y="542"/>
                  <a:pt x="2156" y="542"/>
                  <a:pt x="2156" y="542"/>
                </a:cubicBezTo>
                <a:cubicBezTo>
                  <a:pt x="2154" y="544"/>
                  <a:pt x="2154" y="544"/>
                  <a:pt x="2154" y="544"/>
                </a:cubicBezTo>
                <a:cubicBezTo>
                  <a:pt x="2153" y="545"/>
                  <a:pt x="2153" y="545"/>
                  <a:pt x="2153" y="545"/>
                </a:cubicBezTo>
                <a:cubicBezTo>
                  <a:pt x="2153" y="546"/>
                  <a:pt x="2153" y="546"/>
                  <a:pt x="2153" y="546"/>
                </a:cubicBezTo>
                <a:cubicBezTo>
                  <a:pt x="2152" y="547"/>
                  <a:pt x="2152" y="547"/>
                  <a:pt x="2152" y="547"/>
                </a:cubicBezTo>
                <a:cubicBezTo>
                  <a:pt x="2151" y="548"/>
                  <a:pt x="2151" y="548"/>
                  <a:pt x="2151" y="548"/>
                </a:cubicBezTo>
                <a:cubicBezTo>
                  <a:pt x="2150" y="549"/>
                  <a:pt x="2150" y="549"/>
                  <a:pt x="2150" y="549"/>
                </a:cubicBezTo>
                <a:cubicBezTo>
                  <a:pt x="2149" y="550"/>
                  <a:pt x="2149" y="550"/>
                  <a:pt x="2149" y="550"/>
                </a:cubicBezTo>
                <a:cubicBezTo>
                  <a:pt x="2148" y="551"/>
                  <a:pt x="2148" y="551"/>
                  <a:pt x="2148" y="551"/>
                </a:cubicBezTo>
                <a:cubicBezTo>
                  <a:pt x="2148" y="552"/>
                  <a:pt x="2148" y="552"/>
                  <a:pt x="2148" y="552"/>
                </a:cubicBezTo>
                <a:cubicBezTo>
                  <a:pt x="2146" y="552"/>
                  <a:pt x="2146" y="552"/>
                  <a:pt x="2146" y="552"/>
                </a:cubicBezTo>
                <a:cubicBezTo>
                  <a:pt x="2145" y="553"/>
                  <a:pt x="2145" y="553"/>
                  <a:pt x="2145" y="553"/>
                </a:cubicBezTo>
                <a:cubicBezTo>
                  <a:pt x="2146" y="555"/>
                  <a:pt x="2146" y="555"/>
                  <a:pt x="2146" y="555"/>
                </a:cubicBezTo>
                <a:cubicBezTo>
                  <a:pt x="2146" y="556"/>
                  <a:pt x="2146" y="556"/>
                  <a:pt x="2146" y="556"/>
                </a:cubicBezTo>
                <a:cubicBezTo>
                  <a:pt x="2146" y="557"/>
                  <a:pt x="2146" y="557"/>
                  <a:pt x="2146" y="557"/>
                </a:cubicBezTo>
                <a:cubicBezTo>
                  <a:pt x="2145" y="557"/>
                  <a:pt x="2145" y="557"/>
                  <a:pt x="2145" y="557"/>
                </a:cubicBezTo>
                <a:cubicBezTo>
                  <a:pt x="2144" y="558"/>
                  <a:pt x="2144" y="558"/>
                  <a:pt x="2144" y="558"/>
                </a:cubicBezTo>
                <a:cubicBezTo>
                  <a:pt x="2143" y="559"/>
                  <a:pt x="2143" y="559"/>
                  <a:pt x="2143" y="559"/>
                </a:cubicBezTo>
                <a:cubicBezTo>
                  <a:pt x="2141" y="561"/>
                  <a:pt x="2141" y="561"/>
                  <a:pt x="2141" y="561"/>
                </a:cubicBezTo>
                <a:cubicBezTo>
                  <a:pt x="2140" y="562"/>
                  <a:pt x="2140" y="562"/>
                  <a:pt x="2140" y="562"/>
                </a:cubicBezTo>
                <a:cubicBezTo>
                  <a:pt x="2140" y="563"/>
                  <a:pt x="2140" y="563"/>
                  <a:pt x="2140" y="563"/>
                </a:cubicBezTo>
                <a:cubicBezTo>
                  <a:pt x="2141" y="565"/>
                  <a:pt x="2141" y="565"/>
                  <a:pt x="2141" y="565"/>
                </a:cubicBezTo>
                <a:cubicBezTo>
                  <a:pt x="2140" y="564"/>
                  <a:pt x="2140" y="564"/>
                  <a:pt x="2140" y="564"/>
                </a:cubicBezTo>
                <a:cubicBezTo>
                  <a:pt x="2140" y="563"/>
                  <a:pt x="2140" y="563"/>
                  <a:pt x="2140" y="563"/>
                </a:cubicBezTo>
                <a:cubicBezTo>
                  <a:pt x="2139" y="564"/>
                  <a:pt x="2139" y="564"/>
                  <a:pt x="2139" y="564"/>
                </a:cubicBezTo>
                <a:cubicBezTo>
                  <a:pt x="2140" y="566"/>
                  <a:pt x="2140" y="566"/>
                  <a:pt x="2140" y="566"/>
                </a:cubicBezTo>
                <a:cubicBezTo>
                  <a:pt x="2141" y="566"/>
                  <a:pt x="2141" y="566"/>
                  <a:pt x="2141" y="566"/>
                </a:cubicBezTo>
                <a:cubicBezTo>
                  <a:pt x="2142" y="566"/>
                  <a:pt x="2142" y="566"/>
                  <a:pt x="2142" y="566"/>
                </a:cubicBezTo>
                <a:cubicBezTo>
                  <a:pt x="2143" y="566"/>
                  <a:pt x="2143" y="566"/>
                  <a:pt x="2143" y="566"/>
                </a:cubicBezTo>
                <a:cubicBezTo>
                  <a:pt x="2142" y="567"/>
                  <a:pt x="2142" y="567"/>
                  <a:pt x="2142" y="567"/>
                </a:cubicBezTo>
                <a:cubicBezTo>
                  <a:pt x="2143" y="567"/>
                  <a:pt x="2143" y="567"/>
                  <a:pt x="2143" y="567"/>
                </a:cubicBezTo>
                <a:cubicBezTo>
                  <a:pt x="2144" y="567"/>
                  <a:pt x="2144" y="567"/>
                  <a:pt x="2144" y="567"/>
                </a:cubicBezTo>
                <a:cubicBezTo>
                  <a:pt x="2144" y="566"/>
                  <a:pt x="2144" y="566"/>
                  <a:pt x="2144" y="566"/>
                </a:cubicBezTo>
                <a:cubicBezTo>
                  <a:pt x="2143" y="565"/>
                  <a:pt x="2143" y="565"/>
                  <a:pt x="2143" y="565"/>
                </a:cubicBezTo>
                <a:cubicBezTo>
                  <a:pt x="2142" y="565"/>
                  <a:pt x="2142" y="565"/>
                  <a:pt x="2142" y="565"/>
                </a:cubicBezTo>
                <a:cubicBezTo>
                  <a:pt x="2142" y="564"/>
                  <a:pt x="2142" y="564"/>
                  <a:pt x="2142" y="564"/>
                </a:cubicBezTo>
                <a:cubicBezTo>
                  <a:pt x="2142" y="563"/>
                  <a:pt x="2142" y="563"/>
                  <a:pt x="2142" y="563"/>
                </a:cubicBezTo>
                <a:cubicBezTo>
                  <a:pt x="2143" y="563"/>
                  <a:pt x="2143" y="563"/>
                  <a:pt x="2143" y="563"/>
                </a:cubicBezTo>
                <a:cubicBezTo>
                  <a:pt x="2144" y="563"/>
                  <a:pt x="2144" y="563"/>
                  <a:pt x="2144" y="563"/>
                </a:cubicBezTo>
                <a:cubicBezTo>
                  <a:pt x="2145" y="565"/>
                  <a:pt x="2145" y="565"/>
                  <a:pt x="2145" y="565"/>
                </a:cubicBezTo>
                <a:cubicBezTo>
                  <a:pt x="2145" y="566"/>
                  <a:pt x="2145" y="566"/>
                  <a:pt x="2145" y="566"/>
                </a:cubicBezTo>
                <a:cubicBezTo>
                  <a:pt x="2145" y="567"/>
                  <a:pt x="2145" y="567"/>
                  <a:pt x="2145" y="567"/>
                </a:cubicBezTo>
                <a:cubicBezTo>
                  <a:pt x="2145" y="568"/>
                  <a:pt x="2145" y="568"/>
                  <a:pt x="2145" y="568"/>
                </a:cubicBezTo>
                <a:cubicBezTo>
                  <a:pt x="2145" y="569"/>
                  <a:pt x="2145" y="569"/>
                  <a:pt x="2145" y="569"/>
                </a:cubicBezTo>
                <a:cubicBezTo>
                  <a:pt x="2145" y="571"/>
                  <a:pt x="2145" y="571"/>
                  <a:pt x="2145" y="571"/>
                </a:cubicBezTo>
                <a:cubicBezTo>
                  <a:pt x="2144" y="571"/>
                  <a:pt x="2144" y="571"/>
                  <a:pt x="2144" y="571"/>
                </a:cubicBezTo>
                <a:cubicBezTo>
                  <a:pt x="2143" y="570"/>
                  <a:pt x="2143" y="570"/>
                  <a:pt x="2143" y="570"/>
                </a:cubicBezTo>
                <a:cubicBezTo>
                  <a:pt x="2143" y="571"/>
                  <a:pt x="2143" y="571"/>
                  <a:pt x="2143" y="571"/>
                </a:cubicBezTo>
                <a:cubicBezTo>
                  <a:pt x="2144" y="572"/>
                  <a:pt x="2144" y="572"/>
                  <a:pt x="2144" y="572"/>
                </a:cubicBezTo>
                <a:cubicBezTo>
                  <a:pt x="2145" y="573"/>
                  <a:pt x="2145" y="573"/>
                  <a:pt x="2145" y="573"/>
                </a:cubicBezTo>
                <a:cubicBezTo>
                  <a:pt x="2145" y="576"/>
                  <a:pt x="2145" y="576"/>
                  <a:pt x="2145" y="576"/>
                </a:cubicBezTo>
                <a:cubicBezTo>
                  <a:pt x="2146" y="577"/>
                  <a:pt x="2146" y="577"/>
                  <a:pt x="2146" y="577"/>
                </a:cubicBezTo>
                <a:cubicBezTo>
                  <a:pt x="2146" y="578"/>
                  <a:pt x="2146" y="578"/>
                  <a:pt x="2146" y="578"/>
                </a:cubicBezTo>
                <a:cubicBezTo>
                  <a:pt x="2146" y="579"/>
                  <a:pt x="2146" y="579"/>
                  <a:pt x="2146" y="579"/>
                </a:cubicBezTo>
                <a:cubicBezTo>
                  <a:pt x="2146" y="580"/>
                  <a:pt x="2146" y="580"/>
                  <a:pt x="2146" y="580"/>
                </a:cubicBezTo>
                <a:cubicBezTo>
                  <a:pt x="2147" y="579"/>
                  <a:pt x="2147" y="579"/>
                  <a:pt x="2147" y="579"/>
                </a:cubicBezTo>
                <a:cubicBezTo>
                  <a:pt x="2148" y="580"/>
                  <a:pt x="2148" y="580"/>
                  <a:pt x="2148" y="580"/>
                </a:cubicBezTo>
                <a:cubicBezTo>
                  <a:pt x="2149" y="579"/>
                  <a:pt x="2149" y="579"/>
                  <a:pt x="2149" y="579"/>
                </a:cubicBezTo>
                <a:cubicBezTo>
                  <a:pt x="2148" y="577"/>
                  <a:pt x="2148" y="577"/>
                  <a:pt x="2148" y="577"/>
                </a:cubicBezTo>
                <a:close/>
                <a:moveTo>
                  <a:pt x="2214" y="462"/>
                </a:moveTo>
                <a:cubicBezTo>
                  <a:pt x="2213" y="463"/>
                  <a:pt x="2213" y="463"/>
                  <a:pt x="2213" y="463"/>
                </a:cubicBezTo>
                <a:cubicBezTo>
                  <a:pt x="2214" y="463"/>
                  <a:pt x="2214" y="463"/>
                  <a:pt x="2214" y="463"/>
                </a:cubicBezTo>
                <a:cubicBezTo>
                  <a:pt x="2214" y="462"/>
                  <a:pt x="2214" y="462"/>
                  <a:pt x="2214" y="462"/>
                </a:cubicBezTo>
                <a:close/>
                <a:moveTo>
                  <a:pt x="2170" y="551"/>
                </a:moveTo>
                <a:cubicBezTo>
                  <a:pt x="2170" y="550"/>
                  <a:pt x="2170" y="550"/>
                  <a:pt x="2170" y="550"/>
                </a:cubicBezTo>
                <a:cubicBezTo>
                  <a:pt x="2170" y="549"/>
                  <a:pt x="2170" y="549"/>
                  <a:pt x="2170" y="549"/>
                </a:cubicBezTo>
                <a:cubicBezTo>
                  <a:pt x="2169" y="550"/>
                  <a:pt x="2169" y="550"/>
                  <a:pt x="2169" y="550"/>
                </a:cubicBezTo>
                <a:cubicBezTo>
                  <a:pt x="2169" y="551"/>
                  <a:pt x="2169" y="551"/>
                  <a:pt x="2169" y="551"/>
                </a:cubicBezTo>
                <a:cubicBezTo>
                  <a:pt x="2169" y="552"/>
                  <a:pt x="2169" y="552"/>
                  <a:pt x="2169" y="552"/>
                </a:cubicBezTo>
                <a:cubicBezTo>
                  <a:pt x="2170" y="552"/>
                  <a:pt x="2170" y="552"/>
                  <a:pt x="2170" y="552"/>
                </a:cubicBezTo>
                <a:cubicBezTo>
                  <a:pt x="2170" y="551"/>
                  <a:pt x="2170" y="551"/>
                  <a:pt x="2170" y="551"/>
                </a:cubicBezTo>
                <a:close/>
                <a:moveTo>
                  <a:pt x="2166" y="550"/>
                </a:moveTo>
                <a:cubicBezTo>
                  <a:pt x="2165" y="551"/>
                  <a:pt x="2165" y="551"/>
                  <a:pt x="2165" y="551"/>
                </a:cubicBezTo>
                <a:cubicBezTo>
                  <a:pt x="2166" y="552"/>
                  <a:pt x="2166" y="552"/>
                  <a:pt x="2166" y="552"/>
                </a:cubicBezTo>
                <a:cubicBezTo>
                  <a:pt x="2167" y="551"/>
                  <a:pt x="2167" y="551"/>
                  <a:pt x="2167" y="551"/>
                </a:cubicBezTo>
                <a:cubicBezTo>
                  <a:pt x="2166" y="550"/>
                  <a:pt x="2166" y="550"/>
                  <a:pt x="2166" y="550"/>
                </a:cubicBezTo>
                <a:close/>
                <a:moveTo>
                  <a:pt x="2134" y="567"/>
                </a:moveTo>
                <a:cubicBezTo>
                  <a:pt x="2134" y="568"/>
                  <a:pt x="2134" y="568"/>
                  <a:pt x="2134" y="568"/>
                </a:cubicBezTo>
                <a:cubicBezTo>
                  <a:pt x="2135" y="568"/>
                  <a:pt x="2135" y="568"/>
                  <a:pt x="2135" y="568"/>
                </a:cubicBezTo>
                <a:cubicBezTo>
                  <a:pt x="2136" y="568"/>
                  <a:pt x="2136" y="568"/>
                  <a:pt x="2136" y="568"/>
                </a:cubicBezTo>
                <a:cubicBezTo>
                  <a:pt x="2135" y="567"/>
                  <a:pt x="2135" y="567"/>
                  <a:pt x="2135" y="567"/>
                </a:cubicBezTo>
                <a:cubicBezTo>
                  <a:pt x="2135" y="566"/>
                  <a:pt x="2135" y="566"/>
                  <a:pt x="2135" y="566"/>
                </a:cubicBezTo>
                <a:cubicBezTo>
                  <a:pt x="2134" y="566"/>
                  <a:pt x="2134" y="566"/>
                  <a:pt x="2134" y="566"/>
                </a:cubicBezTo>
                <a:cubicBezTo>
                  <a:pt x="2134" y="567"/>
                  <a:pt x="2134" y="567"/>
                  <a:pt x="2134" y="567"/>
                </a:cubicBezTo>
                <a:close/>
                <a:moveTo>
                  <a:pt x="2145" y="602"/>
                </a:moveTo>
                <a:cubicBezTo>
                  <a:pt x="2144" y="603"/>
                  <a:pt x="2144" y="603"/>
                  <a:pt x="2144" y="603"/>
                </a:cubicBezTo>
                <a:cubicBezTo>
                  <a:pt x="2143" y="603"/>
                  <a:pt x="2143" y="603"/>
                  <a:pt x="2143" y="603"/>
                </a:cubicBezTo>
                <a:cubicBezTo>
                  <a:pt x="2144" y="604"/>
                  <a:pt x="2144" y="604"/>
                  <a:pt x="2144" y="604"/>
                </a:cubicBezTo>
                <a:cubicBezTo>
                  <a:pt x="2145" y="604"/>
                  <a:pt x="2145" y="604"/>
                  <a:pt x="2145" y="604"/>
                </a:cubicBezTo>
                <a:cubicBezTo>
                  <a:pt x="2146" y="603"/>
                  <a:pt x="2146" y="603"/>
                  <a:pt x="2146" y="603"/>
                </a:cubicBezTo>
                <a:cubicBezTo>
                  <a:pt x="2147" y="602"/>
                  <a:pt x="2147" y="602"/>
                  <a:pt x="2147" y="602"/>
                </a:cubicBezTo>
                <a:cubicBezTo>
                  <a:pt x="2147" y="601"/>
                  <a:pt x="2147" y="601"/>
                  <a:pt x="2147" y="601"/>
                </a:cubicBezTo>
                <a:cubicBezTo>
                  <a:pt x="2146" y="601"/>
                  <a:pt x="2146" y="601"/>
                  <a:pt x="2146" y="601"/>
                </a:cubicBezTo>
                <a:cubicBezTo>
                  <a:pt x="2145" y="602"/>
                  <a:pt x="2145" y="602"/>
                  <a:pt x="2145" y="602"/>
                </a:cubicBezTo>
                <a:close/>
                <a:moveTo>
                  <a:pt x="2142" y="607"/>
                </a:moveTo>
                <a:cubicBezTo>
                  <a:pt x="2142" y="608"/>
                  <a:pt x="2142" y="608"/>
                  <a:pt x="2142" y="608"/>
                </a:cubicBezTo>
                <a:cubicBezTo>
                  <a:pt x="2143" y="608"/>
                  <a:pt x="2143" y="608"/>
                  <a:pt x="2143" y="608"/>
                </a:cubicBezTo>
                <a:cubicBezTo>
                  <a:pt x="2144" y="608"/>
                  <a:pt x="2144" y="608"/>
                  <a:pt x="2144" y="608"/>
                </a:cubicBezTo>
                <a:cubicBezTo>
                  <a:pt x="2143" y="607"/>
                  <a:pt x="2143" y="607"/>
                  <a:pt x="2143" y="607"/>
                </a:cubicBezTo>
                <a:cubicBezTo>
                  <a:pt x="2143" y="606"/>
                  <a:pt x="2143" y="606"/>
                  <a:pt x="2143" y="606"/>
                </a:cubicBezTo>
                <a:cubicBezTo>
                  <a:pt x="2142" y="607"/>
                  <a:pt x="2142" y="607"/>
                  <a:pt x="2142" y="607"/>
                </a:cubicBezTo>
                <a:close/>
                <a:moveTo>
                  <a:pt x="2139" y="615"/>
                </a:moveTo>
                <a:cubicBezTo>
                  <a:pt x="2137" y="616"/>
                  <a:pt x="2137" y="616"/>
                  <a:pt x="2137" y="616"/>
                </a:cubicBezTo>
                <a:cubicBezTo>
                  <a:pt x="2138" y="616"/>
                  <a:pt x="2138" y="616"/>
                  <a:pt x="2138" y="616"/>
                </a:cubicBezTo>
                <a:cubicBezTo>
                  <a:pt x="2138" y="617"/>
                  <a:pt x="2138" y="617"/>
                  <a:pt x="2138" y="617"/>
                </a:cubicBezTo>
                <a:cubicBezTo>
                  <a:pt x="2136" y="617"/>
                  <a:pt x="2136" y="617"/>
                  <a:pt x="2136" y="617"/>
                </a:cubicBezTo>
                <a:cubicBezTo>
                  <a:pt x="2137" y="619"/>
                  <a:pt x="2137" y="619"/>
                  <a:pt x="2137" y="619"/>
                </a:cubicBezTo>
                <a:cubicBezTo>
                  <a:pt x="2138" y="619"/>
                  <a:pt x="2138" y="619"/>
                  <a:pt x="2138" y="619"/>
                </a:cubicBezTo>
                <a:cubicBezTo>
                  <a:pt x="2138" y="618"/>
                  <a:pt x="2138" y="618"/>
                  <a:pt x="2138" y="618"/>
                </a:cubicBezTo>
                <a:cubicBezTo>
                  <a:pt x="2139" y="617"/>
                  <a:pt x="2139" y="617"/>
                  <a:pt x="2139" y="617"/>
                </a:cubicBezTo>
                <a:cubicBezTo>
                  <a:pt x="2139" y="616"/>
                  <a:pt x="2139" y="616"/>
                  <a:pt x="2139" y="616"/>
                </a:cubicBezTo>
                <a:cubicBezTo>
                  <a:pt x="2140" y="615"/>
                  <a:pt x="2140" y="615"/>
                  <a:pt x="2140" y="615"/>
                </a:cubicBezTo>
                <a:cubicBezTo>
                  <a:pt x="2139" y="614"/>
                  <a:pt x="2139" y="614"/>
                  <a:pt x="2139" y="614"/>
                </a:cubicBezTo>
                <a:cubicBezTo>
                  <a:pt x="2139" y="615"/>
                  <a:pt x="2139" y="615"/>
                  <a:pt x="2139" y="615"/>
                </a:cubicBezTo>
                <a:close/>
                <a:moveTo>
                  <a:pt x="2117" y="634"/>
                </a:moveTo>
                <a:cubicBezTo>
                  <a:pt x="2118" y="635"/>
                  <a:pt x="2118" y="635"/>
                  <a:pt x="2118" y="635"/>
                </a:cubicBezTo>
                <a:cubicBezTo>
                  <a:pt x="2119" y="634"/>
                  <a:pt x="2119" y="634"/>
                  <a:pt x="2119" y="634"/>
                </a:cubicBezTo>
                <a:cubicBezTo>
                  <a:pt x="2118" y="634"/>
                  <a:pt x="2118" y="634"/>
                  <a:pt x="2118" y="634"/>
                </a:cubicBezTo>
                <a:cubicBezTo>
                  <a:pt x="2117" y="634"/>
                  <a:pt x="2117" y="634"/>
                  <a:pt x="2117" y="634"/>
                </a:cubicBezTo>
                <a:close/>
                <a:moveTo>
                  <a:pt x="2168" y="558"/>
                </a:moveTo>
                <a:cubicBezTo>
                  <a:pt x="2170" y="556"/>
                  <a:pt x="2170" y="556"/>
                  <a:pt x="2170" y="556"/>
                </a:cubicBezTo>
                <a:cubicBezTo>
                  <a:pt x="2170" y="555"/>
                  <a:pt x="2170" y="555"/>
                  <a:pt x="2170" y="555"/>
                </a:cubicBezTo>
                <a:cubicBezTo>
                  <a:pt x="2169" y="555"/>
                  <a:pt x="2169" y="555"/>
                  <a:pt x="2169" y="555"/>
                </a:cubicBezTo>
                <a:cubicBezTo>
                  <a:pt x="2169" y="554"/>
                  <a:pt x="2169" y="554"/>
                  <a:pt x="2169" y="554"/>
                </a:cubicBezTo>
                <a:cubicBezTo>
                  <a:pt x="2168" y="553"/>
                  <a:pt x="2168" y="553"/>
                  <a:pt x="2168" y="553"/>
                </a:cubicBezTo>
                <a:cubicBezTo>
                  <a:pt x="2167" y="553"/>
                  <a:pt x="2167" y="553"/>
                  <a:pt x="2167" y="553"/>
                </a:cubicBezTo>
                <a:cubicBezTo>
                  <a:pt x="2166" y="552"/>
                  <a:pt x="2166" y="552"/>
                  <a:pt x="2166" y="552"/>
                </a:cubicBezTo>
                <a:cubicBezTo>
                  <a:pt x="2164" y="552"/>
                  <a:pt x="2164" y="552"/>
                  <a:pt x="2164" y="552"/>
                </a:cubicBezTo>
                <a:cubicBezTo>
                  <a:pt x="2163" y="553"/>
                  <a:pt x="2163" y="553"/>
                  <a:pt x="2163" y="553"/>
                </a:cubicBezTo>
                <a:cubicBezTo>
                  <a:pt x="2163" y="554"/>
                  <a:pt x="2163" y="554"/>
                  <a:pt x="2163" y="554"/>
                </a:cubicBezTo>
                <a:cubicBezTo>
                  <a:pt x="2162" y="555"/>
                  <a:pt x="2162" y="555"/>
                  <a:pt x="2162" y="555"/>
                </a:cubicBezTo>
                <a:cubicBezTo>
                  <a:pt x="2161" y="556"/>
                  <a:pt x="2161" y="556"/>
                  <a:pt x="2161" y="556"/>
                </a:cubicBezTo>
                <a:cubicBezTo>
                  <a:pt x="2160" y="556"/>
                  <a:pt x="2160" y="556"/>
                  <a:pt x="2160" y="556"/>
                </a:cubicBezTo>
                <a:cubicBezTo>
                  <a:pt x="2159" y="556"/>
                  <a:pt x="2159" y="556"/>
                  <a:pt x="2159" y="556"/>
                </a:cubicBezTo>
                <a:cubicBezTo>
                  <a:pt x="2159" y="554"/>
                  <a:pt x="2159" y="554"/>
                  <a:pt x="2159" y="554"/>
                </a:cubicBezTo>
                <a:cubicBezTo>
                  <a:pt x="2158" y="554"/>
                  <a:pt x="2158" y="554"/>
                  <a:pt x="2158" y="554"/>
                </a:cubicBezTo>
                <a:cubicBezTo>
                  <a:pt x="2156" y="556"/>
                  <a:pt x="2156" y="556"/>
                  <a:pt x="2156" y="556"/>
                </a:cubicBezTo>
                <a:cubicBezTo>
                  <a:pt x="2156" y="557"/>
                  <a:pt x="2156" y="557"/>
                  <a:pt x="2156" y="557"/>
                </a:cubicBezTo>
                <a:cubicBezTo>
                  <a:pt x="2155" y="558"/>
                  <a:pt x="2155" y="558"/>
                  <a:pt x="2155" y="558"/>
                </a:cubicBezTo>
                <a:cubicBezTo>
                  <a:pt x="2155" y="559"/>
                  <a:pt x="2155" y="559"/>
                  <a:pt x="2155" y="559"/>
                </a:cubicBezTo>
                <a:cubicBezTo>
                  <a:pt x="2157" y="560"/>
                  <a:pt x="2157" y="560"/>
                  <a:pt x="2157" y="560"/>
                </a:cubicBezTo>
                <a:cubicBezTo>
                  <a:pt x="2157" y="561"/>
                  <a:pt x="2157" y="561"/>
                  <a:pt x="2157" y="561"/>
                </a:cubicBezTo>
                <a:cubicBezTo>
                  <a:pt x="2157" y="562"/>
                  <a:pt x="2157" y="562"/>
                  <a:pt x="2157" y="562"/>
                </a:cubicBezTo>
                <a:cubicBezTo>
                  <a:pt x="2158" y="564"/>
                  <a:pt x="2158" y="564"/>
                  <a:pt x="2158" y="564"/>
                </a:cubicBezTo>
                <a:cubicBezTo>
                  <a:pt x="2159" y="564"/>
                  <a:pt x="2159" y="564"/>
                  <a:pt x="2159" y="564"/>
                </a:cubicBezTo>
                <a:cubicBezTo>
                  <a:pt x="2159" y="565"/>
                  <a:pt x="2159" y="565"/>
                  <a:pt x="2159" y="565"/>
                </a:cubicBezTo>
                <a:cubicBezTo>
                  <a:pt x="2160" y="565"/>
                  <a:pt x="2160" y="565"/>
                  <a:pt x="2160" y="565"/>
                </a:cubicBezTo>
                <a:cubicBezTo>
                  <a:pt x="2160" y="564"/>
                  <a:pt x="2160" y="564"/>
                  <a:pt x="2160" y="564"/>
                </a:cubicBezTo>
                <a:cubicBezTo>
                  <a:pt x="2161" y="565"/>
                  <a:pt x="2161" y="565"/>
                  <a:pt x="2161" y="565"/>
                </a:cubicBezTo>
                <a:cubicBezTo>
                  <a:pt x="2161" y="564"/>
                  <a:pt x="2161" y="564"/>
                  <a:pt x="2161" y="564"/>
                </a:cubicBezTo>
                <a:cubicBezTo>
                  <a:pt x="2160" y="562"/>
                  <a:pt x="2160" y="562"/>
                  <a:pt x="2160" y="562"/>
                </a:cubicBezTo>
                <a:cubicBezTo>
                  <a:pt x="2161" y="561"/>
                  <a:pt x="2161" y="561"/>
                  <a:pt x="2161" y="561"/>
                </a:cubicBezTo>
                <a:cubicBezTo>
                  <a:pt x="2161" y="560"/>
                  <a:pt x="2161" y="560"/>
                  <a:pt x="2161" y="560"/>
                </a:cubicBezTo>
                <a:cubicBezTo>
                  <a:pt x="2163" y="559"/>
                  <a:pt x="2163" y="559"/>
                  <a:pt x="2163" y="559"/>
                </a:cubicBezTo>
                <a:cubicBezTo>
                  <a:pt x="2163" y="558"/>
                  <a:pt x="2163" y="558"/>
                  <a:pt x="2163" y="558"/>
                </a:cubicBezTo>
                <a:cubicBezTo>
                  <a:pt x="2165" y="558"/>
                  <a:pt x="2165" y="558"/>
                  <a:pt x="2165" y="558"/>
                </a:cubicBezTo>
                <a:cubicBezTo>
                  <a:pt x="2166" y="559"/>
                  <a:pt x="2166" y="559"/>
                  <a:pt x="2166" y="559"/>
                </a:cubicBezTo>
                <a:cubicBezTo>
                  <a:pt x="2167" y="560"/>
                  <a:pt x="2167" y="560"/>
                  <a:pt x="2167" y="560"/>
                </a:cubicBezTo>
                <a:cubicBezTo>
                  <a:pt x="2168" y="560"/>
                  <a:pt x="2168" y="560"/>
                  <a:pt x="2168" y="560"/>
                </a:cubicBezTo>
                <a:cubicBezTo>
                  <a:pt x="2168" y="558"/>
                  <a:pt x="2168" y="558"/>
                  <a:pt x="2168" y="558"/>
                </a:cubicBezTo>
                <a:close/>
                <a:moveTo>
                  <a:pt x="2115" y="636"/>
                </a:moveTo>
                <a:cubicBezTo>
                  <a:pt x="2116" y="636"/>
                  <a:pt x="2116" y="636"/>
                  <a:pt x="2116" y="636"/>
                </a:cubicBezTo>
                <a:cubicBezTo>
                  <a:pt x="2117" y="636"/>
                  <a:pt x="2117" y="636"/>
                  <a:pt x="2117" y="636"/>
                </a:cubicBezTo>
                <a:cubicBezTo>
                  <a:pt x="2116" y="635"/>
                  <a:pt x="2116" y="635"/>
                  <a:pt x="2116" y="635"/>
                </a:cubicBezTo>
                <a:cubicBezTo>
                  <a:pt x="2115" y="635"/>
                  <a:pt x="2115" y="635"/>
                  <a:pt x="2115" y="635"/>
                </a:cubicBezTo>
                <a:cubicBezTo>
                  <a:pt x="2115" y="636"/>
                  <a:pt x="2115" y="636"/>
                  <a:pt x="2115" y="636"/>
                </a:cubicBezTo>
                <a:close/>
                <a:moveTo>
                  <a:pt x="2135" y="565"/>
                </a:moveTo>
                <a:cubicBezTo>
                  <a:pt x="2135" y="566"/>
                  <a:pt x="2135" y="566"/>
                  <a:pt x="2135" y="566"/>
                </a:cubicBezTo>
                <a:cubicBezTo>
                  <a:pt x="2136" y="565"/>
                  <a:pt x="2136" y="565"/>
                  <a:pt x="2136" y="565"/>
                </a:cubicBezTo>
                <a:cubicBezTo>
                  <a:pt x="2135" y="565"/>
                  <a:pt x="2135" y="565"/>
                  <a:pt x="2135" y="565"/>
                </a:cubicBezTo>
                <a:close/>
                <a:moveTo>
                  <a:pt x="2151" y="587"/>
                </a:moveTo>
                <a:cubicBezTo>
                  <a:pt x="2151" y="586"/>
                  <a:pt x="2151" y="586"/>
                  <a:pt x="2151" y="586"/>
                </a:cubicBezTo>
                <a:cubicBezTo>
                  <a:pt x="2150" y="585"/>
                  <a:pt x="2150" y="585"/>
                  <a:pt x="2150" y="585"/>
                </a:cubicBezTo>
                <a:cubicBezTo>
                  <a:pt x="2149" y="585"/>
                  <a:pt x="2149" y="585"/>
                  <a:pt x="2149" y="585"/>
                </a:cubicBezTo>
                <a:cubicBezTo>
                  <a:pt x="2149" y="586"/>
                  <a:pt x="2149" y="586"/>
                  <a:pt x="2149" y="586"/>
                </a:cubicBezTo>
                <a:cubicBezTo>
                  <a:pt x="2150" y="587"/>
                  <a:pt x="2150" y="587"/>
                  <a:pt x="2150" y="587"/>
                </a:cubicBezTo>
                <a:cubicBezTo>
                  <a:pt x="2151" y="587"/>
                  <a:pt x="2151" y="587"/>
                  <a:pt x="2151" y="587"/>
                </a:cubicBezTo>
                <a:close/>
                <a:moveTo>
                  <a:pt x="2136" y="564"/>
                </a:moveTo>
                <a:cubicBezTo>
                  <a:pt x="2136" y="565"/>
                  <a:pt x="2136" y="565"/>
                  <a:pt x="2136" y="565"/>
                </a:cubicBezTo>
                <a:cubicBezTo>
                  <a:pt x="2137" y="564"/>
                  <a:pt x="2137" y="564"/>
                  <a:pt x="2137" y="564"/>
                </a:cubicBezTo>
                <a:cubicBezTo>
                  <a:pt x="2136" y="564"/>
                  <a:pt x="2136" y="564"/>
                  <a:pt x="2136" y="564"/>
                </a:cubicBezTo>
                <a:close/>
                <a:moveTo>
                  <a:pt x="2152" y="582"/>
                </a:moveTo>
                <a:cubicBezTo>
                  <a:pt x="2152" y="584"/>
                  <a:pt x="2152" y="584"/>
                  <a:pt x="2152" y="584"/>
                </a:cubicBezTo>
                <a:cubicBezTo>
                  <a:pt x="2153" y="583"/>
                  <a:pt x="2153" y="583"/>
                  <a:pt x="2153" y="583"/>
                </a:cubicBezTo>
                <a:cubicBezTo>
                  <a:pt x="2152" y="582"/>
                  <a:pt x="2152" y="582"/>
                  <a:pt x="2152" y="582"/>
                </a:cubicBezTo>
                <a:close/>
                <a:moveTo>
                  <a:pt x="2177" y="478"/>
                </a:moveTo>
                <a:cubicBezTo>
                  <a:pt x="2177" y="479"/>
                  <a:pt x="2177" y="479"/>
                  <a:pt x="2177" y="479"/>
                </a:cubicBezTo>
                <a:cubicBezTo>
                  <a:pt x="2178" y="479"/>
                  <a:pt x="2178" y="479"/>
                  <a:pt x="2178" y="479"/>
                </a:cubicBezTo>
                <a:cubicBezTo>
                  <a:pt x="2178" y="478"/>
                  <a:pt x="2178" y="478"/>
                  <a:pt x="2178" y="478"/>
                </a:cubicBezTo>
                <a:cubicBezTo>
                  <a:pt x="2179" y="477"/>
                  <a:pt x="2179" y="477"/>
                  <a:pt x="2179" y="477"/>
                </a:cubicBezTo>
                <a:cubicBezTo>
                  <a:pt x="2178" y="477"/>
                  <a:pt x="2178" y="477"/>
                  <a:pt x="2178" y="477"/>
                </a:cubicBezTo>
                <a:cubicBezTo>
                  <a:pt x="2177" y="478"/>
                  <a:pt x="2177" y="478"/>
                  <a:pt x="2177" y="478"/>
                </a:cubicBezTo>
                <a:close/>
                <a:moveTo>
                  <a:pt x="2136" y="551"/>
                </a:moveTo>
                <a:cubicBezTo>
                  <a:pt x="2135" y="551"/>
                  <a:pt x="2135" y="551"/>
                  <a:pt x="2135" y="551"/>
                </a:cubicBezTo>
                <a:cubicBezTo>
                  <a:pt x="2135" y="552"/>
                  <a:pt x="2135" y="552"/>
                  <a:pt x="2135" y="552"/>
                </a:cubicBezTo>
                <a:cubicBezTo>
                  <a:pt x="2135" y="553"/>
                  <a:pt x="2135" y="553"/>
                  <a:pt x="2135" y="553"/>
                </a:cubicBezTo>
                <a:cubicBezTo>
                  <a:pt x="2136" y="552"/>
                  <a:pt x="2136" y="552"/>
                  <a:pt x="2136" y="552"/>
                </a:cubicBezTo>
                <a:cubicBezTo>
                  <a:pt x="2136" y="551"/>
                  <a:pt x="2136" y="551"/>
                  <a:pt x="2136" y="551"/>
                </a:cubicBezTo>
                <a:close/>
                <a:moveTo>
                  <a:pt x="2125" y="550"/>
                </a:moveTo>
                <a:cubicBezTo>
                  <a:pt x="2125" y="551"/>
                  <a:pt x="2125" y="551"/>
                  <a:pt x="2125" y="551"/>
                </a:cubicBezTo>
                <a:cubicBezTo>
                  <a:pt x="2126" y="550"/>
                  <a:pt x="2126" y="550"/>
                  <a:pt x="2126" y="550"/>
                </a:cubicBezTo>
                <a:cubicBezTo>
                  <a:pt x="2125" y="550"/>
                  <a:pt x="2125" y="550"/>
                  <a:pt x="2125" y="550"/>
                </a:cubicBezTo>
                <a:close/>
                <a:moveTo>
                  <a:pt x="2131" y="549"/>
                </a:moveTo>
                <a:cubicBezTo>
                  <a:pt x="2131" y="548"/>
                  <a:pt x="2131" y="548"/>
                  <a:pt x="2131" y="548"/>
                </a:cubicBezTo>
                <a:cubicBezTo>
                  <a:pt x="2130" y="548"/>
                  <a:pt x="2130" y="548"/>
                  <a:pt x="2130" y="548"/>
                </a:cubicBezTo>
                <a:cubicBezTo>
                  <a:pt x="2129" y="549"/>
                  <a:pt x="2129" y="549"/>
                  <a:pt x="2129" y="549"/>
                </a:cubicBezTo>
                <a:cubicBezTo>
                  <a:pt x="2130" y="550"/>
                  <a:pt x="2130" y="550"/>
                  <a:pt x="2130" y="550"/>
                </a:cubicBezTo>
                <a:cubicBezTo>
                  <a:pt x="2131" y="549"/>
                  <a:pt x="2131" y="549"/>
                  <a:pt x="2131" y="549"/>
                </a:cubicBezTo>
                <a:close/>
                <a:moveTo>
                  <a:pt x="2135" y="555"/>
                </a:moveTo>
                <a:cubicBezTo>
                  <a:pt x="2134" y="555"/>
                  <a:pt x="2134" y="555"/>
                  <a:pt x="2134" y="555"/>
                </a:cubicBezTo>
                <a:cubicBezTo>
                  <a:pt x="2134" y="556"/>
                  <a:pt x="2134" y="556"/>
                  <a:pt x="2134" y="556"/>
                </a:cubicBezTo>
                <a:cubicBezTo>
                  <a:pt x="2135" y="556"/>
                  <a:pt x="2135" y="556"/>
                  <a:pt x="2135" y="556"/>
                </a:cubicBezTo>
                <a:cubicBezTo>
                  <a:pt x="2135" y="555"/>
                  <a:pt x="2135" y="555"/>
                  <a:pt x="2135" y="555"/>
                </a:cubicBezTo>
                <a:close/>
                <a:moveTo>
                  <a:pt x="2116" y="553"/>
                </a:moveTo>
                <a:cubicBezTo>
                  <a:pt x="2115" y="554"/>
                  <a:pt x="2115" y="554"/>
                  <a:pt x="2115" y="554"/>
                </a:cubicBezTo>
                <a:cubicBezTo>
                  <a:pt x="2116" y="555"/>
                  <a:pt x="2116" y="555"/>
                  <a:pt x="2116" y="555"/>
                </a:cubicBezTo>
                <a:cubicBezTo>
                  <a:pt x="2116" y="554"/>
                  <a:pt x="2116" y="554"/>
                  <a:pt x="2116" y="554"/>
                </a:cubicBezTo>
                <a:cubicBezTo>
                  <a:pt x="2117" y="554"/>
                  <a:pt x="2117" y="554"/>
                  <a:pt x="2117" y="554"/>
                </a:cubicBezTo>
                <a:cubicBezTo>
                  <a:pt x="2117" y="553"/>
                  <a:pt x="2117" y="553"/>
                  <a:pt x="2117" y="553"/>
                </a:cubicBezTo>
                <a:cubicBezTo>
                  <a:pt x="2116" y="552"/>
                  <a:pt x="2116" y="552"/>
                  <a:pt x="2116" y="552"/>
                </a:cubicBezTo>
                <a:cubicBezTo>
                  <a:pt x="2116" y="553"/>
                  <a:pt x="2116" y="553"/>
                  <a:pt x="2116" y="553"/>
                </a:cubicBezTo>
                <a:close/>
                <a:moveTo>
                  <a:pt x="2121" y="563"/>
                </a:moveTo>
                <a:cubicBezTo>
                  <a:pt x="2122" y="561"/>
                  <a:pt x="2122" y="561"/>
                  <a:pt x="2122" y="561"/>
                </a:cubicBezTo>
                <a:cubicBezTo>
                  <a:pt x="2122" y="560"/>
                  <a:pt x="2122" y="560"/>
                  <a:pt x="2122" y="560"/>
                </a:cubicBezTo>
                <a:cubicBezTo>
                  <a:pt x="2121" y="560"/>
                  <a:pt x="2121" y="560"/>
                  <a:pt x="2121" y="560"/>
                </a:cubicBezTo>
                <a:cubicBezTo>
                  <a:pt x="2118" y="561"/>
                  <a:pt x="2118" y="561"/>
                  <a:pt x="2118" y="561"/>
                </a:cubicBezTo>
                <a:cubicBezTo>
                  <a:pt x="2117" y="562"/>
                  <a:pt x="2117" y="562"/>
                  <a:pt x="2117" y="562"/>
                </a:cubicBezTo>
                <a:cubicBezTo>
                  <a:pt x="2118" y="563"/>
                  <a:pt x="2118" y="563"/>
                  <a:pt x="2118" y="563"/>
                </a:cubicBezTo>
                <a:cubicBezTo>
                  <a:pt x="2119" y="563"/>
                  <a:pt x="2119" y="563"/>
                  <a:pt x="2119" y="563"/>
                </a:cubicBezTo>
                <a:cubicBezTo>
                  <a:pt x="2121" y="563"/>
                  <a:pt x="2121" y="563"/>
                  <a:pt x="2121" y="563"/>
                </a:cubicBezTo>
                <a:close/>
                <a:moveTo>
                  <a:pt x="2463" y="920"/>
                </a:moveTo>
                <a:cubicBezTo>
                  <a:pt x="2460" y="921"/>
                  <a:pt x="2460" y="921"/>
                  <a:pt x="2460" y="921"/>
                </a:cubicBezTo>
                <a:cubicBezTo>
                  <a:pt x="2458" y="922"/>
                  <a:pt x="2458" y="922"/>
                  <a:pt x="2458" y="922"/>
                </a:cubicBezTo>
                <a:cubicBezTo>
                  <a:pt x="2458" y="924"/>
                  <a:pt x="2458" y="924"/>
                  <a:pt x="2458" y="924"/>
                </a:cubicBezTo>
                <a:cubicBezTo>
                  <a:pt x="2456" y="924"/>
                  <a:pt x="2456" y="924"/>
                  <a:pt x="2456" y="924"/>
                </a:cubicBezTo>
                <a:cubicBezTo>
                  <a:pt x="2456" y="926"/>
                  <a:pt x="2456" y="926"/>
                  <a:pt x="2456" y="926"/>
                </a:cubicBezTo>
                <a:cubicBezTo>
                  <a:pt x="2458" y="927"/>
                  <a:pt x="2458" y="927"/>
                  <a:pt x="2458" y="927"/>
                </a:cubicBezTo>
                <a:cubicBezTo>
                  <a:pt x="2461" y="927"/>
                  <a:pt x="2461" y="927"/>
                  <a:pt x="2461" y="927"/>
                </a:cubicBezTo>
                <a:cubicBezTo>
                  <a:pt x="2462" y="926"/>
                  <a:pt x="2462" y="926"/>
                  <a:pt x="2462" y="926"/>
                </a:cubicBezTo>
                <a:cubicBezTo>
                  <a:pt x="2464" y="927"/>
                  <a:pt x="2464" y="927"/>
                  <a:pt x="2464" y="927"/>
                </a:cubicBezTo>
                <a:cubicBezTo>
                  <a:pt x="2466" y="926"/>
                  <a:pt x="2466" y="926"/>
                  <a:pt x="2466" y="926"/>
                </a:cubicBezTo>
                <a:cubicBezTo>
                  <a:pt x="2465" y="922"/>
                  <a:pt x="2465" y="922"/>
                  <a:pt x="2465" y="922"/>
                </a:cubicBezTo>
                <a:cubicBezTo>
                  <a:pt x="2463" y="920"/>
                  <a:pt x="2463" y="920"/>
                  <a:pt x="2463" y="920"/>
                </a:cubicBezTo>
                <a:close/>
                <a:moveTo>
                  <a:pt x="2474" y="913"/>
                </a:moveTo>
                <a:cubicBezTo>
                  <a:pt x="2475" y="912"/>
                  <a:pt x="2475" y="912"/>
                  <a:pt x="2475" y="912"/>
                </a:cubicBezTo>
                <a:cubicBezTo>
                  <a:pt x="2475" y="911"/>
                  <a:pt x="2475" y="911"/>
                  <a:pt x="2475" y="911"/>
                </a:cubicBezTo>
                <a:cubicBezTo>
                  <a:pt x="2473" y="913"/>
                  <a:pt x="2473" y="913"/>
                  <a:pt x="2473" y="913"/>
                </a:cubicBezTo>
                <a:cubicBezTo>
                  <a:pt x="2472" y="913"/>
                  <a:pt x="2472" y="913"/>
                  <a:pt x="2472" y="913"/>
                </a:cubicBezTo>
                <a:cubicBezTo>
                  <a:pt x="2470" y="914"/>
                  <a:pt x="2470" y="914"/>
                  <a:pt x="2470" y="914"/>
                </a:cubicBezTo>
                <a:cubicBezTo>
                  <a:pt x="2469" y="914"/>
                  <a:pt x="2469" y="914"/>
                  <a:pt x="2469" y="914"/>
                </a:cubicBezTo>
                <a:cubicBezTo>
                  <a:pt x="2467" y="915"/>
                  <a:pt x="2467" y="915"/>
                  <a:pt x="2467" y="915"/>
                </a:cubicBezTo>
                <a:cubicBezTo>
                  <a:pt x="2466" y="915"/>
                  <a:pt x="2466" y="915"/>
                  <a:pt x="2466" y="915"/>
                </a:cubicBezTo>
                <a:cubicBezTo>
                  <a:pt x="2465" y="917"/>
                  <a:pt x="2465" y="917"/>
                  <a:pt x="2465" y="917"/>
                </a:cubicBezTo>
                <a:cubicBezTo>
                  <a:pt x="2466" y="918"/>
                  <a:pt x="2466" y="918"/>
                  <a:pt x="2466" y="918"/>
                </a:cubicBezTo>
                <a:cubicBezTo>
                  <a:pt x="2467" y="917"/>
                  <a:pt x="2467" y="917"/>
                  <a:pt x="2467" y="917"/>
                </a:cubicBezTo>
                <a:cubicBezTo>
                  <a:pt x="2469" y="917"/>
                  <a:pt x="2469" y="917"/>
                  <a:pt x="2469" y="917"/>
                </a:cubicBezTo>
                <a:cubicBezTo>
                  <a:pt x="2469" y="916"/>
                  <a:pt x="2469" y="916"/>
                  <a:pt x="2469" y="916"/>
                </a:cubicBezTo>
                <a:cubicBezTo>
                  <a:pt x="2470" y="916"/>
                  <a:pt x="2470" y="916"/>
                  <a:pt x="2470" y="916"/>
                </a:cubicBezTo>
                <a:cubicBezTo>
                  <a:pt x="2471" y="917"/>
                  <a:pt x="2471" y="917"/>
                  <a:pt x="2471" y="917"/>
                </a:cubicBezTo>
                <a:cubicBezTo>
                  <a:pt x="2474" y="917"/>
                  <a:pt x="2474" y="917"/>
                  <a:pt x="2474" y="917"/>
                </a:cubicBezTo>
                <a:cubicBezTo>
                  <a:pt x="2475" y="916"/>
                  <a:pt x="2475" y="916"/>
                  <a:pt x="2475" y="916"/>
                </a:cubicBezTo>
                <a:cubicBezTo>
                  <a:pt x="2474" y="915"/>
                  <a:pt x="2474" y="915"/>
                  <a:pt x="2474" y="915"/>
                </a:cubicBezTo>
                <a:cubicBezTo>
                  <a:pt x="2473" y="916"/>
                  <a:pt x="2473" y="916"/>
                  <a:pt x="2473" y="916"/>
                </a:cubicBezTo>
                <a:cubicBezTo>
                  <a:pt x="2472" y="916"/>
                  <a:pt x="2472" y="916"/>
                  <a:pt x="2472" y="916"/>
                </a:cubicBezTo>
                <a:cubicBezTo>
                  <a:pt x="2474" y="914"/>
                  <a:pt x="2474" y="914"/>
                  <a:pt x="2474" y="914"/>
                </a:cubicBezTo>
                <a:cubicBezTo>
                  <a:pt x="2474" y="913"/>
                  <a:pt x="2474" y="913"/>
                  <a:pt x="2474" y="913"/>
                </a:cubicBezTo>
                <a:close/>
                <a:moveTo>
                  <a:pt x="2402" y="915"/>
                </a:moveTo>
                <a:cubicBezTo>
                  <a:pt x="2402" y="915"/>
                  <a:pt x="2402" y="915"/>
                  <a:pt x="2401" y="914"/>
                </a:cubicBezTo>
                <a:cubicBezTo>
                  <a:pt x="2401" y="914"/>
                  <a:pt x="2401" y="914"/>
                  <a:pt x="2400" y="915"/>
                </a:cubicBezTo>
                <a:cubicBezTo>
                  <a:pt x="2400" y="915"/>
                  <a:pt x="2400" y="915"/>
                  <a:pt x="2400" y="916"/>
                </a:cubicBezTo>
                <a:cubicBezTo>
                  <a:pt x="2400" y="916"/>
                  <a:pt x="2400" y="916"/>
                  <a:pt x="2402" y="916"/>
                </a:cubicBezTo>
                <a:cubicBezTo>
                  <a:pt x="2402" y="916"/>
                  <a:pt x="2402" y="916"/>
                  <a:pt x="2402" y="915"/>
                </a:cubicBezTo>
                <a:close/>
                <a:moveTo>
                  <a:pt x="2400" y="904"/>
                </a:moveTo>
                <a:cubicBezTo>
                  <a:pt x="2399" y="904"/>
                  <a:pt x="2399" y="904"/>
                  <a:pt x="2399" y="904"/>
                </a:cubicBezTo>
                <a:cubicBezTo>
                  <a:pt x="2398" y="905"/>
                  <a:pt x="2398" y="905"/>
                  <a:pt x="2398" y="905"/>
                </a:cubicBezTo>
                <a:cubicBezTo>
                  <a:pt x="2399" y="905"/>
                  <a:pt x="2399" y="905"/>
                  <a:pt x="2399" y="905"/>
                </a:cubicBezTo>
                <a:cubicBezTo>
                  <a:pt x="2400" y="904"/>
                  <a:pt x="2400" y="904"/>
                  <a:pt x="2400" y="904"/>
                </a:cubicBezTo>
                <a:close/>
                <a:moveTo>
                  <a:pt x="2399" y="912"/>
                </a:moveTo>
                <a:cubicBezTo>
                  <a:pt x="2399" y="912"/>
                  <a:pt x="2399" y="912"/>
                  <a:pt x="2399" y="913"/>
                </a:cubicBezTo>
                <a:cubicBezTo>
                  <a:pt x="2399" y="913"/>
                  <a:pt x="2399" y="913"/>
                  <a:pt x="2400" y="913"/>
                </a:cubicBezTo>
                <a:cubicBezTo>
                  <a:pt x="2400" y="913"/>
                  <a:pt x="2400" y="913"/>
                  <a:pt x="2401" y="913"/>
                </a:cubicBezTo>
                <a:cubicBezTo>
                  <a:pt x="2401" y="913"/>
                  <a:pt x="2401" y="913"/>
                  <a:pt x="2402" y="912"/>
                </a:cubicBezTo>
                <a:cubicBezTo>
                  <a:pt x="2402" y="912"/>
                  <a:pt x="2402" y="912"/>
                  <a:pt x="2401" y="912"/>
                </a:cubicBezTo>
                <a:cubicBezTo>
                  <a:pt x="2401" y="912"/>
                  <a:pt x="2401" y="912"/>
                  <a:pt x="2401" y="911"/>
                </a:cubicBezTo>
                <a:cubicBezTo>
                  <a:pt x="2401" y="911"/>
                  <a:pt x="2401" y="911"/>
                  <a:pt x="2399" y="912"/>
                </a:cubicBezTo>
                <a:close/>
                <a:moveTo>
                  <a:pt x="2400" y="922"/>
                </a:moveTo>
                <a:cubicBezTo>
                  <a:pt x="2400" y="922"/>
                  <a:pt x="2400" y="922"/>
                  <a:pt x="2401" y="923"/>
                </a:cubicBezTo>
                <a:cubicBezTo>
                  <a:pt x="2401" y="923"/>
                  <a:pt x="2401" y="923"/>
                  <a:pt x="2402" y="923"/>
                </a:cubicBezTo>
                <a:cubicBezTo>
                  <a:pt x="2402" y="923"/>
                  <a:pt x="2402" y="923"/>
                  <a:pt x="2402" y="921"/>
                </a:cubicBezTo>
                <a:cubicBezTo>
                  <a:pt x="2402" y="921"/>
                  <a:pt x="2402" y="921"/>
                  <a:pt x="2401" y="920"/>
                </a:cubicBezTo>
                <a:cubicBezTo>
                  <a:pt x="2401" y="920"/>
                  <a:pt x="2401" y="920"/>
                  <a:pt x="2400" y="921"/>
                </a:cubicBezTo>
                <a:cubicBezTo>
                  <a:pt x="2400" y="921"/>
                  <a:pt x="2400" y="921"/>
                  <a:pt x="2400" y="922"/>
                </a:cubicBezTo>
                <a:close/>
                <a:moveTo>
                  <a:pt x="2394" y="909"/>
                </a:moveTo>
                <a:cubicBezTo>
                  <a:pt x="2394" y="909"/>
                  <a:pt x="2394" y="909"/>
                  <a:pt x="2395" y="910"/>
                </a:cubicBezTo>
                <a:cubicBezTo>
                  <a:pt x="2395" y="910"/>
                  <a:pt x="2395" y="910"/>
                  <a:pt x="2396" y="911"/>
                </a:cubicBezTo>
                <a:cubicBezTo>
                  <a:pt x="2396" y="911"/>
                  <a:pt x="2396" y="911"/>
                  <a:pt x="2396" y="912"/>
                </a:cubicBezTo>
                <a:cubicBezTo>
                  <a:pt x="2396" y="912"/>
                  <a:pt x="2396" y="912"/>
                  <a:pt x="2395" y="913"/>
                </a:cubicBezTo>
                <a:cubicBezTo>
                  <a:pt x="2395" y="913"/>
                  <a:pt x="2395" y="913"/>
                  <a:pt x="2396" y="914"/>
                </a:cubicBezTo>
                <a:cubicBezTo>
                  <a:pt x="2396" y="914"/>
                  <a:pt x="2396" y="914"/>
                  <a:pt x="2397" y="914"/>
                </a:cubicBezTo>
                <a:cubicBezTo>
                  <a:pt x="2397" y="914"/>
                  <a:pt x="2397" y="914"/>
                  <a:pt x="2398" y="913"/>
                </a:cubicBezTo>
                <a:cubicBezTo>
                  <a:pt x="2398" y="913"/>
                  <a:pt x="2398" y="913"/>
                  <a:pt x="2398" y="912"/>
                </a:cubicBezTo>
                <a:cubicBezTo>
                  <a:pt x="2398" y="912"/>
                  <a:pt x="2398" y="912"/>
                  <a:pt x="2397" y="911"/>
                </a:cubicBezTo>
                <a:cubicBezTo>
                  <a:pt x="2397" y="911"/>
                  <a:pt x="2397" y="911"/>
                  <a:pt x="2397" y="910"/>
                </a:cubicBezTo>
                <a:cubicBezTo>
                  <a:pt x="2397" y="910"/>
                  <a:pt x="2397" y="910"/>
                  <a:pt x="2396" y="909"/>
                </a:cubicBezTo>
                <a:cubicBezTo>
                  <a:pt x="2396" y="909"/>
                  <a:pt x="2396" y="909"/>
                  <a:pt x="2395" y="909"/>
                </a:cubicBezTo>
                <a:cubicBezTo>
                  <a:pt x="2395" y="909"/>
                  <a:pt x="2395" y="909"/>
                  <a:pt x="2394" y="909"/>
                </a:cubicBezTo>
                <a:close/>
                <a:moveTo>
                  <a:pt x="2391" y="902"/>
                </a:moveTo>
                <a:cubicBezTo>
                  <a:pt x="2391" y="904"/>
                  <a:pt x="2391" y="904"/>
                  <a:pt x="2391" y="904"/>
                </a:cubicBezTo>
                <a:cubicBezTo>
                  <a:pt x="2391" y="905"/>
                  <a:pt x="2391" y="905"/>
                  <a:pt x="2391" y="905"/>
                </a:cubicBezTo>
                <a:cubicBezTo>
                  <a:pt x="2392" y="907"/>
                  <a:pt x="2392" y="907"/>
                  <a:pt x="2392" y="907"/>
                </a:cubicBezTo>
                <a:cubicBezTo>
                  <a:pt x="2393" y="907"/>
                  <a:pt x="2393" y="907"/>
                  <a:pt x="2393" y="907"/>
                </a:cubicBezTo>
                <a:cubicBezTo>
                  <a:pt x="2394" y="906"/>
                  <a:pt x="2394" y="906"/>
                  <a:pt x="2394" y="906"/>
                </a:cubicBezTo>
                <a:cubicBezTo>
                  <a:pt x="2395" y="906"/>
                  <a:pt x="2395" y="906"/>
                  <a:pt x="2395" y="906"/>
                </a:cubicBezTo>
                <a:cubicBezTo>
                  <a:pt x="2395" y="904"/>
                  <a:pt x="2395" y="904"/>
                  <a:pt x="2395" y="904"/>
                </a:cubicBezTo>
                <a:cubicBezTo>
                  <a:pt x="2395" y="903"/>
                  <a:pt x="2395" y="903"/>
                  <a:pt x="2395" y="903"/>
                </a:cubicBezTo>
                <a:cubicBezTo>
                  <a:pt x="2395" y="902"/>
                  <a:pt x="2395" y="902"/>
                  <a:pt x="2395" y="902"/>
                </a:cubicBezTo>
                <a:cubicBezTo>
                  <a:pt x="2394" y="901"/>
                  <a:pt x="2394" y="901"/>
                  <a:pt x="2394" y="901"/>
                </a:cubicBezTo>
                <a:cubicBezTo>
                  <a:pt x="2394" y="902"/>
                  <a:pt x="2394" y="902"/>
                  <a:pt x="2394" y="902"/>
                </a:cubicBezTo>
                <a:cubicBezTo>
                  <a:pt x="2394" y="903"/>
                  <a:pt x="2394" y="903"/>
                  <a:pt x="2394" y="903"/>
                </a:cubicBezTo>
                <a:cubicBezTo>
                  <a:pt x="2393" y="903"/>
                  <a:pt x="2393" y="903"/>
                  <a:pt x="2393" y="903"/>
                </a:cubicBezTo>
                <a:cubicBezTo>
                  <a:pt x="2392" y="900"/>
                  <a:pt x="2392" y="900"/>
                  <a:pt x="2392" y="900"/>
                </a:cubicBezTo>
                <a:cubicBezTo>
                  <a:pt x="2392" y="899"/>
                  <a:pt x="2392" y="899"/>
                  <a:pt x="2392" y="899"/>
                </a:cubicBezTo>
                <a:cubicBezTo>
                  <a:pt x="2391" y="902"/>
                  <a:pt x="2391" y="902"/>
                  <a:pt x="2391" y="902"/>
                </a:cubicBezTo>
                <a:close/>
                <a:moveTo>
                  <a:pt x="2402" y="908"/>
                </a:moveTo>
                <a:cubicBezTo>
                  <a:pt x="2402" y="908"/>
                  <a:pt x="2402" y="908"/>
                  <a:pt x="2402" y="907"/>
                </a:cubicBezTo>
                <a:cubicBezTo>
                  <a:pt x="2402" y="907"/>
                  <a:pt x="2402" y="907"/>
                  <a:pt x="2401" y="906"/>
                </a:cubicBezTo>
                <a:cubicBezTo>
                  <a:pt x="2401" y="908"/>
                  <a:pt x="2401" y="908"/>
                  <a:pt x="2401" y="908"/>
                </a:cubicBezTo>
                <a:cubicBezTo>
                  <a:pt x="2401" y="908"/>
                  <a:pt x="2401" y="908"/>
                  <a:pt x="2401" y="909"/>
                </a:cubicBezTo>
                <a:cubicBezTo>
                  <a:pt x="2401" y="909"/>
                  <a:pt x="2401" y="909"/>
                  <a:pt x="2402" y="909"/>
                </a:cubicBezTo>
                <a:cubicBezTo>
                  <a:pt x="2402" y="909"/>
                  <a:pt x="2402" y="909"/>
                  <a:pt x="2402" y="908"/>
                </a:cubicBezTo>
                <a:close/>
                <a:moveTo>
                  <a:pt x="2405" y="930"/>
                </a:moveTo>
                <a:cubicBezTo>
                  <a:pt x="2405" y="930"/>
                  <a:pt x="2405" y="930"/>
                  <a:pt x="2404" y="929"/>
                </a:cubicBezTo>
                <a:cubicBezTo>
                  <a:pt x="2404" y="929"/>
                  <a:pt x="2404" y="929"/>
                  <a:pt x="2404" y="931"/>
                </a:cubicBezTo>
                <a:cubicBezTo>
                  <a:pt x="2404" y="931"/>
                  <a:pt x="2404" y="931"/>
                  <a:pt x="2405" y="932"/>
                </a:cubicBezTo>
                <a:cubicBezTo>
                  <a:pt x="2405" y="932"/>
                  <a:pt x="2405" y="932"/>
                  <a:pt x="2405" y="930"/>
                </a:cubicBezTo>
                <a:close/>
                <a:moveTo>
                  <a:pt x="2352" y="861"/>
                </a:moveTo>
                <a:cubicBezTo>
                  <a:pt x="2352" y="861"/>
                  <a:pt x="2352" y="861"/>
                  <a:pt x="2351" y="863"/>
                </a:cubicBezTo>
                <a:cubicBezTo>
                  <a:pt x="2351" y="863"/>
                  <a:pt x="2351" y="863"/>
                  <a:pt x="2353" y="865"/>
                </a:cubicBezTo>
                <a:cubicBezTo>
                  <a:pt x="2353" y="865"/>
                  <a:pt x="2353" y="865"/>
                  <a:pt x="2354" y="865"/>
                </a:cubicBezTo>
                <a:cubicBezTo>
                  <a:pt x="2354" y="865"/>
                  <a:pt x="2354" y="865"/>
                  <a:pt x="2356" y="865"/>
                </a:cubicBezTo>
                <a:cubicBezTo>
                  <a:pt x="2356" y="865"/>
                  <a:pt x="2356" y="865"/>
                  <a:pt x="2357" y="866"/>
                </a:cubicBezTo>
                <a:cubicBezTo>
                  <a:pt x="2357" y="866"/>
                  <a:pt x="2357" y="866"/>
                  <a:pt x="2358" y="866"/>
                </a:cubicBezTo>
                <a:cubicBezTo>
                  <a:pt x="2358" y="866"/>
                  <a:pt x="2358" y="866"/>
                  <a:pt x="2359" y="865"/>
                </a:cubicBezTo>
                <a:cubicBezTo>
                  <a:pt x="2359" y="865"/>
                  <a:pt x="2359" y="865"/>
                  <a:pt x="2358" y="864"/>
                </a:cubicBezTo>
                <a:cubicBezTo>
                  <a:pt x="2358" y="864"/>
                  <a:pt x="2358" y="864"/>
                  <a:pt x="2357" y="863"/>
                </a:cubicBezTo>
                <a:cubicBezTo>
                  <a:pt x="2357" y="863"/>
                  <a:pt x="2357" y="863"/>
                  <a:pt x="2355" y="862"/>
                </a:cubicBezTo>
                <a:cubicBezTo>
                  <a:pt x="2355" y="862"/>
                  <a:pt x="2355" y="862"/>
                  <a:pt x="2353" y="862"/>
                </a:cubicBezTo>
                <a:cubicBezTo>
                  <a:pt x="2353" y="862"/>
                  <a:pt x="2353" y="862"/>
                  <a:pt x="2352" y="861"/>
                </a:cubicBezTo>
                <a:close/>
                <a:moveTo>
                  <a:pt x="2353" y="877"/>
                </a:moveTo>
                <a:cubicBezTo>
                  <a:pt x="2353" y="877"/>
                  <a:pt x="2353" y="877"/>
                  <a:pt x="2353" y="878"/>
                </a:cubicBezTo>
                <a:cubicBezTo>
                  <a:pt x="2353" y="878"/>
                  <a:pt x="2353" y="878"/>
                  <a:pt x="2354" y="878"/>
                </a:cubicBezTo>
                <a:cubicBezTo>
                  <a:pt x="2354" y="878"/>
                  <a:pt x="2354" y="878"/>
                  <a:pt x="2355" y="878"/>
                </a:cubicBezTo>
                <a:cubicBezTo>
                  <a:pt x="2355" y="878"/>
                  <a:pt x="2355" y="878"/>
                  <a:pt x="2356" y="878"/>
                </a:cubicBezTo>
                <a:cubicBezTo>
                  <a:pt x="2356" y="878"/>
                  <a:pt x="2356" y="878"/>
                  <a:pt x="2355" y="877"/>
                </a:cubicBezTo>
                <a:cubicBezTo>
                  <a:pt x="2355" y="877"/>
                  <a:pt x="2355" y="877"/>
                  <a:pt x="2354" y="877"/>
                </a:cubicBezTo>
                <a:cubicBezTo>
                  <a:pt x="2354" y="877"/>
                  <a:pt x="2354" y="877"/>
                  <a:pt x="2353" y="877"/>
                </a:cubicBezTo>
                <a:close/>
                <a:moveTo>
                  <a:pt x="2339" y="853"/>
                </a:moveTo>
                <a:cubicBezTo>
                  <a:pt x="2338" y="852"/>
                  <a:pt x="2338" y="852"/>
                  <a:pt x="2338" y="852"/>
                </a:cubicBezTo>
                <a:cubicBezTo>
                  <a:pt x="2337" y="853"/>
                  <a:pt x="2337" y="853"/>
                  <a:pt x="2337" y="853"/>
                </a:cubicBezTo>
                <a:cubicBezTo>
                  <a:pt x="2337" y="855"/>
                  <a:pt x="2337" y="855"/>
                  <a:pt x="2337" y="855"/>
                </a:cubicBezTo>
                <a:cubicBezTo>
                  <a:pt x="2338" y="855"/>
                  <a:pt x="2338" y="855"/>
                  <a:pt x="2338" y="855"/>
                </a:cubicBezTo>
                <a:cubicBezTo>
                  <a:pt x="2339" y="855"/>
                  <a:pt x="2339" y="855"/>
                  <a:pt x="2339" y="855"/>
                </a:cubicBezTo>
                <a:cubicBezTo>
                  <a:pt x="2339" y="856"/>
                  <a:pt x="2339" y="856"/>
                  <a:pt x="2339" y="856"/>
                </a:cubicBezTo>
                <a:cubicBezTo>
                  <a:pt x="2340" y="856"/>
                  <a:pt x="2340" y="856"/>
                  <a:pt x="2340" y="856"/>
                </a:cubicBezTo>
                <a:cubicBezTo>
                  <a:pt x="2341" y="855"/>
                  <a:pt x="2341" y="855"/>
                  <a:pt x="2341" y="855"/>
                </a:cubicBezTo>
                <a:cubicBezTo>
                  <a:pt x="2340" y="854"/>
                  <a:pt x="2340" y="854"/>
                  <a:pt x="2340" y="854"/>
                </a:cubicBezTo>
                <a:cubicBezTo>
                  <a:pt x="2339" y="854"/>
                  <a:pt x="2339" y="854"/>
                  <a:pt x="2339" y="854"/>
                </a:cubicBezTo>
                <a:cubicBezTo>
                  <a:pt x="2339" y="853"/>
                  <a:pt x="2339" y="853"/>
                  <a:pt x="2339" y="853"/>
                </a:cubicBezTo>
                <a:close/>
                <a:moveTo>
                  <a:pt x="2349" y="854"/>
                </a:moveTo>
                <a:cubicBezTo>
                  <a:pt x="2349" y="854"/>
                  <a:pt x="2349" y="854"/>
                  <a:pt x="2350" y="855"/>
                </a:cubicBezTo>
                <a:cubicBezTo>
                  <a:pt x="2350" y="855"/>
                  <a:pt x="2350" y="855"/>
                  <a:pt x="2351" y="855"/>
                </a:cubicBezTo>
                <a:cubicBezTo>
                  <a:pt x="2351" y="855"/>
                  <a:pt x="2351" y="855"/>
                  <a:pt x="2351" y="856"/>
                </a:cubicBezTo>
                <a:cubicBezTo>
                  <a:pt x="2351" y="856"/>
                  <a:pt x="2351" y="856"/>
                  <a:pt x="2352" y="856"/>
                </a:cubicBezTo>
                <a:cubicBezTo>
                  <a:pt x="2352" y="856"/>
                  <a:pt x="2352" y="856"/>
                  <a:pt x="2352" y="855"/>
                </a:cubicBezTo>
                <a:cubicBezTo>
                  <a:pt x="2352" y="855"/>
                  <a:pt x="2352" y="855"/>
                  <a:pt x="2353" y="855"/>
                </a:cubicBezTo>
                <a:cubicBezTo>
                  <a:pt x="2353" y="855"/>
                  <a:pt x="2353" y="855"/>
                  <a:pt x="2350" y="852"/>
                </a:cubicBezTo>
                <a:cubicBezTo>
                  <a:pt x="2350" y="852"/>
                  <a:pt x="2350" y="852"/>
                  <a:pt x="2348" y="851"/>
                </a:cubicBezTo>
                <a:cubicBezTo>
                  <a:pt x="2348" y="851"/>
                  <a:pt x="2348" y="851"/>
                  <a:pt x="2347" y="850"/>
                </a:cubicBezTo>
                <a:cubicBezTo>
                  <a:pt x="2347" y="850"/>
                  <a:pt x="2347" y="850"/>
                  <a:pt x="2344" y="850"/>
                </a:cubicBezTo>
                <a:cubicBezTo>
                  <a:pt x="2346" y="851"/>
                  <a:pt x="2346" y="851"/>
                  <a:pt x="2346" y="851"/>
                </a:cubicBezTo>
                <a:cubicBezTo>
                  <a:pt x="2346" y="851"/>
                  <a:pt x="2346" y="851"/>
                  <a:pt x="2349" y="854"/>
                </a:cubicBezTo>
                <a:close/>
                <a:moveTo>
                  <a:pt x="2358" y="857"/>
                </a:moveTo>
                <a:cubicBezTo>
                  <a:pt x="2359" y="858"/>
                  <a:pt x="2359" y="858"/>
                  <a:pt x="2359" y="858"/>
                </a:cubicBezTo>
                <a:cubicBezTo>
                  <a:pt x="2359" y="860"/>
                  <a:pt x="2359" y="860"/>
                  <a:pt x="2359" y="860"/>
                </a:cubicBezTo>
                <a:cubicBezTo>
                  <a:pt x="2361" y="862"/>
                  <a:pt x="2361" y="862"/>
                  <a:pt x="2361" y="862"/>
                </a:cubicBezTo>
                <a:cubicBezTo>
                  <a:pt x="2362" y="863"/>
                  <a:pt x="2362" y="863"/>
                  <a:pt x="2362" y="863"/>
                </a:cubicBezTo>
                <a:cubicBezTo>
                  <a:pt x="2363" y="864"/>
                  <a:pt x="2363" y="864"/>
                  <a:pt x="2363" y="864"/>
                </a:cubicBezTo>
                <a:cubicBezTo>
                  <a:pt x="2364" y="864"/>
                  <a:pt x="2364" y="864"/>
                  <a:pt x="2364" y="864"/>
                </a:cubicBezTo>
                <a:cubicBezTo>
                  <a:pt x="2364" y="863"/>
                  <a:pt x="2364" y="863"/>
                  <a:pt x="2364" y="863"/>
                </a:cubicBezTo>
                <a:cubicBezTo>
                  <a:pt x="2363" y="861"/>
                  <a:pt x="2363" y="861"/>
                  <a:pt x="2363" y="861"/>
                </a:cubicBezTo>
                <a:cubicBezTo>
                  <a:pt x="2362" y="861"/>
                  <a:pt x="2362" y="861"/>
                  <a:pt x="2362" y="861"/>
                </a:cubicBezTo>
                <a:cubicBezTo>
                  <a:pt x="2361" y="860"/>
                  <a:pt x="2361" y="860"/>
                  <a:pt x="2361" y="860"/>
                </a:cubicBezTo>
                <a:cubicBezTo>
                  <a:pt x="2360" y="858"/>
                  <a:pt x="2360" y="858"/>
                  <a:pt x="2360" y="858"/>
                </a:cubicBezTo>
                <a:cubicBezTo>
                  <a:pt x="2360" y="857"/>
                  <a:pt x="2360" y="857"/>
                  <a:pt x="2360" y="857"/>
                </a:cubicBezTo>
                <a:cubicBezTo>
                  <a:pt x="2359" y="855"/>
                  <a:pt x="2359" y="855"/>
                  <a:pt x="2359" y="855"/>
                </a:cubicBezTo>
                <a:cubicBezTo>
                  <a:pt x="2357" y="855"/>
                  <a:pt x="2357" y="855"/>
                  <a:pt x="2357" y="855"/>
                </a:cubicBezTo>
                <a:cubicBezTo>
                  <a:pt x="2357" y="856"/>
                  <a:pt x="2357" y="856"/>
                  <a:pt x="2357" y="856"/>
                </a:cubicBezTo>
                <a:cubicBezTo>
                  <a:pt x="2358" y="856"/>
                  <a:pt x="2358" y="856"/>
                  <a:pt x="2358" y="856"/>
                </a:cubicBezTo>
                <a:cubicBezTo>
                  <a:pt x="2358" y="857"/>
                  <a:pt x="2358" y="857"/>
                  <a:pt x="2358" y="857"/>
                </a:cubicBezTo>
                <a:close/>
                <a:moveTo>
                  <a:pt x="2363" y="868"/>
                </a:moveTo>
                <a:cubicBezTo>
                  <a:pt x="2363" y="868"/>
                  <a:pt x="2363" y="868"/>
                  <a:pt x="2361" y="868"/>
                </a:cubicBezTo>
                <a:cubicBezTo>
                  <a:pt x="2361" y="868"/>
                  <a:pt x="2361" y="868"/>
                  <a:pt x="2362" y="869"/>
                </a:cubicBezTo>
                <a:cubicBezTo>
                  <a:pt x="2362" y="869"/>
                  <a:pt x="2362" y="869"/>
                  <a:pt x="2362" y="870"/>
                </a:cubicBezTo>
                <a:cubicBezTo>
                  <a:pt x="2362" y="870"/>
                  <a:pt x="2362" y="870"/>
                  <a:pt x="2364" y="872"/>
                </a:cubicBezTo>
                <a:cubicBezTo>
                  <a:pt x="2364" y="872"/>
                  <a:pt x="2364" y="872"/>
                  <a:pt x="2366" y="873"/>
                </a:cubicBezTo>
                <a:cubicBezTo>
                  <a:pt x="2366" y="873"/>
                  <a:pt x="2366" y="873"/>
                  <a:pt x="2367" y="873"/>
                </a:cubicBezTo>
                <a:cubicBezTo>
                  <a:pt x="2367" y="873"/>
                  <a:pt x="2367" y="873"/>
                  <a:pt x="2367" y="872"/>
                </a:cubicBezTo>
                <a:cubicBezTo>
                  <a:pt x="2367" y="872"/>
                  <a:pt x="2367" y="872"/>
                  <a:pt x="2367" y="871"/>
                </a:cubicBezTo>
                <a:cubicBezTo>
                  <a:pt x="2367" y="871"/>
                  <a:pt x="2367" y="871"/>
                  <a:pt x="2366" y="870"/>
                </a:cubicBezTo>
                <a:cubicBezTo>
                  <a:pt x="2366" y="870"/>
                  <a:pt x="2366" y="870"/>
                  <a:pt x="2364" y="870"/>
                </a:cubicBezTo>
                <a:cubicBezTo>
                  <a:pt x="2364" y="870"/>
                  <a:pt x="2364" y="870"/>
                  <a:pt x="2363" y="868"/>
                </a:cubicBezTo>
                <a:close/>
                <a:moveTo>
                  <a:pt x="2356" y="860"/>
                </a:moveTo>
                <a:cubicBezTo>
                  <a:pt x="2355" y="859"/>
                  <a:pt x="2355" y="859"/>
                  <a:pt x="2355" y="859"/>
                </a:cubicBezTo>
                <a:cubicBezTo>
                  <a:pt x="2355" y="860"/>
                  <a:pt x="2355" y="860"/>
                  <a:pt x="2355" y="860"/>
                </a:cubicBezTo>
                <a:cubicBezTo>
                  <a:pt x="2357" y="861"/>
                  <a:pt x="2357" y="861"/>
                  <a:pt x="2357" y="861"/>
                </a:cubicBezTo>
                <a:cubicBezTo>
                  <a:pt x="2356" y="860"/>
                  <a:pt x="2356" y="860"/>
                  <a:pt x="2356" y="860"/>
                </a:cubicBezTo>
                <a:close/>
                <a:moveTo>
                  <a:pt x="2338" y="857"/>
                </a:moveTo>
                <a:cubicBezTo>
                  <a:pt x="2338" y="857"/>
                  <a:pt x="2338" y="857"/>
                  <a:pt x="2338" y="856"/>
                </a:cubicBezTo>
                <a:cubicBezTo>
                  <a:pt x="2338" y="856"/>
                  <a:pt x="2338" y="856"/>
                  <a:pt x="2337" y="856"/>
                </a:cubicBezTo>
                <a:cubicBezTo>
                  <a:pt x="2337" y="856"/>
                  <a:pt x="2337" y="856"/>
                  <a:pt x="2338" y="857"/>
                </a:cubicBezTo>
                <a:close/>
                <a:moveTo>
                  <a:pt x="2332" y="844"/>
                </a:moveTo>
                <a:cubicBezTo>
                  <a:pt x="2333" y="846"/>
                  <a:pt x="2333" y="846"/>
                  <a:pt x="2333" y="846"/>
                </a:cubicBezTo>
                <a:cubicBezTo>
                  <a:pt x="2335" y="847"/>
                  <a:pt x="2335" y="847"/>
                  <a:pt x="2335" y="847"/>
                </a:cubicBezTo>
                <a:cubicBezTo>
                  <a:pt x="2336" y="848"/>
                  <a:pt x="2336" y="848"/>
                  <a:pt x="2336" y="848"/>
                </a:cubicBezTo>
                <a:cubicBezTo>
                  <a:pt x="2338" y="849"/>
                  <a:pt x="2338" y="849"/>
                  <a:pt x="2338" y="849"/>
                </a:cubicBezTo>
                <a:cubicBezTo>
                  <a:pt x="2339" y="849"/>
                  <a:pt x="2339" y="849"/>
                  <a:pt x="2339" y="849"/>
                </a:cubicBezTo>
                <a:cubicBezTo>
                  <a:pt x="2339" y="848"/>
                  <a:pt x="2339" y="848"/>
                  <a:pt x="2339" y="848"/>
                </a:cubicBezTo>
                <a:cubicBezTo>
                  <a:pt x="2338" y="847"/>
                  <a:pt x="2338" y="847"/>
                  <a:pt x="2338" y="847"/>
                </a:cubicBezTo>
                <a:cubicBezTo>
                  <a:pt x="2337" y="846"/>
                  <a:pt x="2337" y="846"/>
                  <a:pt x="2337" y="846"/>
                </a:cubicBezTo>
                <a:cubicBezTo>
                  <a:pt x="2337" y="845"/>
                  <a:pt x="2337" y="845"/>
                  <a:pt x="2337" y="845"/>
                </a:cubicBezTo>
                <a:cubicBezTo>
                  <a:pt x="2336" y="845"/>
                  <a:pt x="2336" y="845"/>
                  <a:pt x="2336" y="845"/>
                </a:cubicBezTo>
                <a:cubicBezTo>
                  <a:pt x="2334" y="845"/>
                  <a:pt x="2334" y="845"/>
                  <a:pt x="2334" y="845"/>
                </a:cubicBezTo>
                <a:cubicBezTo>
                  <a:pt x="2333" y="843"/>
                  <a:pt x="2333" y="843"/>
                  <a:pt x="2333" y="843"/>
                </a:cubicBezTo>
                <a:cubicBezTo>
                  <a:pt x="2332" y="844"/>
                  <a:pt x="2332" y="844"/>
                  <a:pt x="2332" y="844"/>
                </a:cubicBezTo>
                <a:close/>
                <a:moveTo>
                  <a:pt x="2341" y="858"/>
                </a:moveTo>
                <a:cubicBezTo>
                  <a:pt x="2341" y="858"/>
                  <a:pt x="2341" y="858"/>
                  <a:pt x="2342" y="858"/>
                </a:cubicBezTo>
                <a:cubicBezTo>
                  <a:pt x="2342" y="858"/>
                  <a:pt x="2342" y="858"/>
                  <a:pt x="2342" y="857"/>
                </a:cubicBezTo>
                <a:cubicBezTo>
                  <a:pt x="2342" y="857"/>
                  <a:pt x="2342" y="857"/>
                  <a:pt x="2341" y="857"/>
                </a:cubicBezTo>
                <a:cubicBezTo>
                  <a:pt x="2341" y="857"/>
                  <a:pt x="2341" y="857"/>
                  <a:pt x="2341" y="858"/>
                </a:cubicBezTo>
                <a:close/>
                <a:moveTo>
                  <a:pt x="2391" y="872"/>
                </a:moveTo>
                <a:cubicBezTo>
                  <a:pt x="2391" y="872"/>
                  <a:pt x="2391" y="872"/>
                  <a:pt x="2390" y="871"/>
                </a:cubicBezTo>
                <a:cubicBezTo>
                  <a:pt x="2390" y="871"/>
                  <a:pt x="2390" y="871"/>
                  <a:pt x="2389" y="871"/>
                </a:cubicBezTo>
                <a:cubicBezTo>
                  <a:pt x="2389" y="871"/>
                  <a:pt x="2389" y="871"/>
                  <a:pt x="2388" y="872"/>
                </a:cubicBezTo>
                <a:cubicBezTo>
                  <a:pt x="2388" y="872"/>
                  <a:pt x="2388" y="872"/>
                  <a:pt x="2388" y="873"/>
                </a:cubicBezTo>
                <a:cubicBezTo>
                  <a:pt x="2388" y="873"/>
                  <a:pt x="2388" y="873"/>
                  <a:pt x="2390" y="873"/>
                </a:cubicBezTo>
                <a:cubicBezTo>
                  <a:pt x="2390" y="873"/>
                  <a:pt x="2390" y="873"/>
                  <a:pt x="2391" y="872"/>
                </a:cubicBezTo>
                <a:close/>
                <a:moveTo>
                  <a:pt x="2336" y="852"/>
                </a:moveTo>
                <a:cubicBezTo>
                  <a:pt x="2336" y="852"/>
                  <a:pt x="2336" y="852"/>
                  <a:pt x="2335" y="852"/>
                </a:cubicBezTo>
                <a:cubicBezTo>
                  <a:pt x="2335" y="853"/>
                  <a:pt x="2335" y="853"/>
                  <a:pt x="2335" y="853"/>
                </a:cubicBezTo>
                <a:cubicBezTo>
                  <a:pt x="2335" y="853"/>
                  <a:pt x="2335" y="853"/>
                  <a:pt x="2336" y="853"/>
                </a:cubicBezTo>
                <a:cubicBezTo>
                  <a:pt x="2336" y="853"/>
                  <a:pt x="2336" y="853"/>
                  <a:pt x="2337" y="853"/>
                </a:cubicBezTo>
                <a:cubicBezTo>
                  <a:pt x="2337" y="853"/>
                  <a:pt x="2337" y="853"/>
                  <a:pt x="2337" y="852"/>
                </a:cubicBezTo>
                <a:cubicBezTo>
                  <a:pt x="2337" y="852"/>
                  <a:pt x="2337" y="852"/>
                  <a:pt x="2336" y="852"/>
                </a:cubicBezTo>
                <a:close/>
                <a:moveTo>
                  <a:pt x="2333" y="841"/>
                </a:moveTo>
                <a:cubicBezTo>
                  <a:pt x="2331" y="843"/>
                  <a:pt x="2331" y="843"/>
                  <a:pt x="2331" y="843"/>
                </a:cubicBezTo>
                <a:cubicBezTo>
                  <a:pt x="2333" y="842"/>
                  <a:pt x="2333" y="842"/>
                  <a:pt x="2333" y="842"/>
                </a:cubicBezTo>
                <a:cubicBezTo>
                  <a:pt x="2333" y="841"/>
                  <a:pt x="2333" y="841"/>
                  <a:pt x="2333" y="841"/>
                </a:cubicBezTo>
                <a:close/>
                <a:moveTo>
                  <a:pt x="2333" y="851"/>
                </a:moveTo>
                <a:cubicBezTo>
                  <a:pt x="2333" y="851"/>
                  <a:pt x="2333" y="851"/>
                  <a:pt x="2333" y="852"/>
                </a:cubicBezTo>
                <a:cubicBezTo>
                  <a:pt x="2333" y="852"/>
                  <a:pt x="2333" y="852"/>
                  <a:pt x="2334" y="852"/>
                </a:cubicBezTo>
                <a:cubicBezTo>
                  <a:pt x="2334" y="852"/>
                  <a:pt x="2334" y="852"/>
                  <a:pt x="2334" y="851"/>
                </a:cubicBezTo>
                <a:cubicBezTo>
                  <a:pt x="2334" y="851"/>
                  <a:pt x="2334" y="851"/>
                  <a:pt x="2333" y="850"/>
                </a:cubicBezTo>
                <a:cubicBezTo>
                  <a:pt x="2333" y="850"/>
                  <a:pt x="2333" y="850"/>
                  <a:pt x="2333" y="851"/>
                </a:cubicBezTo>
                <a:close/>
                <a:moveTo>
                  <a:pt x="2296" y="865"/>
                </a:moveTo>
                <a:cubicBezTo>
                  <a:pt x="2296" y="865"/>
                  <a:pt x="2296" y="865"/>
                  <a:pt x="2296" y="866"/>
                </a:cubicBezTo>
                <a:cubicBezTo>
                  <a:pt x="2296" y="866"/>
                  <a:pt x="2296" y="866"/>
                  <a:pt x="2296" y="867"/>
                </a:cubicBezTo>
                <a:cubicBezTo>
                  <a:pt x="2296" y="867"/>
                  <a:pt x="2296" y="867"/>
                  <a:pt x="2297" y="867"/>
                </a:cubicBezTo>
                <a:cubicBezTo>
                  <a:pt x="2297" y="867"/>
                  <a:pt x="2297" y="867"/>
                  <a:pt x="2298" y="867"/>
                </a:cubicBezTo>
                <a:cubicBezTo>
                  <a:pt x="2298" y="867"/>
                  <a:pt x="2298" y="867"/>
                  <a:pt x="2299" y="866"/>
                </a:cubicBezTo>
                <a:cubicBezTo>
                  <a:pt x="2299" y="866"/>
                  <a:pt x="2299" y="866"/>
                  <a:pt x="2298" y="866"/>
                </a:cubicBezTo>
                <a:cubicBezTo>
                  <a:pt x="2298" y="866"/>
                  <a:pt x="2298" y="866"/>
                  <a:pt x="2297" y="866"/>
                </a:cubicBezTo>
                <a:cubicBezTo>
                  <a:pt x="2297" y="866"/>
                  <a:pt x="2297" y="866"/>
                  <a:pt x="2296" y="865"/>
                </a:cubicBezTo>
                <a:close/>
                <a:moveTo>
                  <a:pt x="2251" y="859"/>
                </a:moveTo>
                <a:cubicBezTo>
                  <a:pt x="2251" y="859"/>
                  <a:pt x="2251" y="859"/>
                  <a:pt x="2250" y="858"/>
                </a:cubicBezTo>
                <a:cubicBezTo>
                  <a:pt x="2248" y="857"/>
                  <a:pt x="2248" y="857"/>
                  <a:pt x="2248" y="857"/>
                </a:cubicBezTo>
                <a:cubicBezTo>
                  <a:pt x="2248" y="857"/>
                  <a:pt x="2248" y="857"/>
                  <a:pt x="2251" y="859"/>
                </a:cubicBezTo>
                <a:close/>
                <a:moveTo>
                  <a:pt x="2249" y="856"/>
                </a:moveTo>
                <a:cubicBezTo>
                  <a:pt x="2249" y="857"/>
                  <a:pt x="2249" y="857"/>
                  <a:pt x="2249" y="857"/>
                </a:cubicBezTo>
                <a:cubicBezTo>
                  <a:pt x="2250" y="856"/>
                  <a:pt x="2250" y="856"/>
                  <a:pt x="2250" y="856"/>
                </a:cubicBezTo>
                <a:cubicBezTo>
                  <a:pt x="2249" y="856"/>
                  <a:pt x="2249" y="856"/>
                  <a:pt x="2249" y="856"/>
                </a:cubicBezTo>
                <a:close/>
                <a:moveTo>
                  <a:pt x="2293" y="861"/>
                </a:moveTo>
                <a:cubicBezTo>
                  <a:pt x="2292" y="861"/>
                  <a:pt x="2292" y="861"/>
                  <a:pt x="2292" y="861"/>
                </a:cubicBezTo>
                <a:cubicBezTo>
                  <a:pt x="2291" y="862"/>
                  <a:pt x="2291" y="862"/>
                  <a:pt x="2291" y="862"/>
                </a:cubicBezTo>
                <a:cubicBezTo>
                  <a:pt x="2292" y="863"/>
                  <a:pt x="2292" y="863"/>
                  <a:pt x="2292" y="863"/>
                </a:cubicBezTo>
                <a:cubicBezTo>
                  <a:pt x="2293" y="863"/>
                  <a:pt x="2293" y="863"/>
                  <a:pt x="2293" y="863"/>
                </a:cubicBezTo>
                <a:cubicBezTo>
                  <a:pt x="2293" y="861"/>
                  <a:pt x="2293" y="861"/>
                  <a:pt x="2293" y="861"/>
                </a:cubicBezTo>
                <a:close/>
                <a:moveTo>
                  <a:pt x="2256" y="851"/>
                </a:moveTo>
                <a:cubicBezTo>
                  <a:pt x="2256" y="851"/>
                  <a:pt x="2256" y="851"/>
                  <a:pt x="2257" y="851"/>
                </a:cubicBezTo>
                <a:cubicBezTo>
                  <a:pt x="2257" y="851"/>
                  <a:pt x="2257" y="851"/>
                  <a:pt x="2257" y="850"/>
                </a:cubicBezTo>
                <a:cubicBezTo>
                  <a:pt x="2257" y="850"/>
                  <a:pt x="2257" y="850"/>
                  <a:pt x="2256" y="850"/>
                </a:cubicBezTo>
                <a:cubicBezTo>
                  <a:pt x="2256" y="850"/>
                  <a:pt x="2256" y="850"/>
                  <a:pt x="2256" y="851"/>
                </a:cubicBezTo>
                <a:close/>
                <a:moveTo>
                  <a:pt x="2307" y="860"/>
                </a:moveTo>
                <a:cubicBezTo>
                  <a:pt x="2307" y="861"/>
                  <a:pt x="2307" y="861"/>
                  <a:pt x="2307" y="861"/>
                </a:cubicBezTo>
                <a:cubicBezTo>
                  <a:pt x="2308" y="861"/>
                  <a:pt x="2308" y="861"/>
                  <a:pt x="2308" y="861"/>
                </a:cubicBezTo>
                <a:cubicBezTo>
                  <a:pt x="2309" y="862"/>
                  <a:pt x="2309" y="862"/>
                  <a:pt x="2309" y="862"/>
                </a:cubicBezTo>
                <a:cubicBezTo>
                  <a:pt x="2309" y="861"/>
                  <a:pt x="2309" y="861"/>
                  <a:pt x="2309" y="861"/>
                </a:cubicBezTo>
                <a:cubicBezTo>
                  <a:pt x="2307" y="859"/>
                  <a:pt x="2307" y="859"/>
                  <a:pt x="2307" y="859"/>
                </a:cubicBezTo>
                <a:cubicBezTo>
                  <a:pt x="2307" y="860"/>
                  <a:pt x="2307" y="860"/>
                  <a:pt x="2307" y="860"/>
                </a:cubicBezTo>
                <a:close/>
                <a:moveTo>
                  <a:pt x="2299" y="857"/>
                </a:moveTo>
                <a:cubicBezTo>
                  <a:pt x="2298" y="855"/>
                  <a:pt x="2298" y="855"/>
                  <a:pt x="2298" y="855"/>
                </a:cubicBezTo>
                <a:cubicBezTo>
                  <a:pt x="2297" y="856"/>
                  <a:pt x="2297" y="856"/>
                  <a:pt x="2297" y="856"/>
                </a:cubicBezTo>
                <a:cubicBezTo>
                  <a:pt x="2298" y="857"/>
                  <a:pt x="2298" y="857"/>
                  <a:pt x="2298" y="857"/>
                </a:cubicBezTo>
                <a:cubicBezTo>
                  <a:pt x="2298" y="858"/>
                  <a:pt x="2298" y="858"/>
                  <a:pt x="2298" y="858"/>
                </a:cubicBezTo>
                <a:cubicBezTo>
                  <a:pt x="2299" y="857"/>
                  <a:pt x="2299" y="857"/>
                  <a:pt x="2299" y="857"/>
                </a:cubicBezTo>
                <a:close/>
                <a:moveTo>
                  <a:pt x="2294" y="862"/>
                </a:moveTo>
                <a:cubicBezTo>
                  <a:pt x="2294" y="863"/>
                  <a:pt x="2294" y="863"/>
                  <a:pt x="2294" y="863"/>
                </a:cubicBezTo>
                <a:cubicBezTo>
                  <a:pt x="2294" y="864"/>
                  <a:pt x="2294" y="864"/>
                  <a:pt x="2294" y="864"/>
                </a:cubicBezTo>
                <a:cubicBezTo>
                  <a:pt x="2295" y="864"/>
                  <a:pt x="2295" y="864"/>
                  <a:pt x="2295" y="864"/>
                </a:cubicBezTo>
                <a:cubicBezTo>
                  <a:pt x="2296" y="864"/>
                  <a:pt x="2296" y="864"/>
                  <a:pt x="2296" y="864"/>
                </a:cubicBezTo>
                <a:cubicBezTo>
                  <a:pt x="2296" y="863"/>
                  <a:pt x="2296" y="863"/>
                  <a:pt x="2296" y="863"/>
                </a:cubicBezTo>
                <a:cubicBezTo>
                  <a:pt x="2295" y="863"/>
                  <a:pt x="2295" y="863"/>
                  <a:pt x="2295" y="863"/>
                </a:cubicBezTo>
                <a:cubicBezTo>
                  <a:pt x="2294" y="862"/>
                  <a:pt x="2294" y="862"/>
                  <a:pt x="2294" y="862"/>
                </a:cubicBezTo>
                <a:close/>
                <a:moveTo>
                  <a:pt x="2310" y="876"/>
                </a:moveTo>
                <a:cubicBezTo>
                  <a:pt x="2312" y="877"/>
                  <a:pt x="2312" y="877"/>
                  <a:pt x="2312" y="877"/>
                </a:cubicBezTo>
                <a:cubicBezTo>
                  <a:pt x="2311" y="876"/>
                  <a:pt x="2311" y="876"/>
                  <a:pt x="2311" y="876"/>
                </a:cubicBezTo>
                <a:cubicBezTo>
                  <a:pt x="2310" y="876"/>
                  <a:pt x="2310" y="876"/>
                  <a:pt x="2310" y="876"/>
                </a:cubicBezTo>
                <a:close/>
                <a:moveTo>
                  <a:pt x="2321" y="833"/>
                </a:moveTo>
                <a:cubicBezTo>
                  <a:pt x="2320" y="833"/>
                  <a:pt x="2320" y="833"/>
                  <a:pt x="2320" y="833"/>
                </a:cubicBezTo>
                <a:cubicBezTo>
                  <a:pt x="2320" y="834"/>
                  <a:pt x="2320" y="834"/>
                  <a:pt x="2320" y="834"/>
                </a:cubicBezTo>
                <a:cubicBezTo>
                  <a:pt x="2321" y="835"/>
                  <a:pt x="2321" y="835"/>
                  <a:pt x="2321" y="835"/>
                </a:cubicBezTo>
                <a:cubicBezTo>
                  <a:pt x="2321" y="833"/>
                  <a:pt x="2321" y="833"/>
                  <a:pt x="2321" y="833"/>
                </a:cubicBezTo>
                <a:close/>
                <a:moveTo>
                  <a:pt x="2319" y="829"/>
                </a:moveTo>
                <a:cubicBezTo>
                  <a:pt x="2319" y="829"/>
                  <a:pt x="2319" y="829"/>
                  <a:pt x="2319" y="830"/>
                </a:cubicBezTo>
                <a:cubicBezTo>
                  <a:pt x="2319" y="830"/>
                  <a:pt x="2319" y="830"/>
                  <a:pt x="2318" y="830"/>
                </a:cubicBezTo>
                <a:cubicBezTo>
                  <a:pt x="2318" y="830"/>
                  <a:pt x="2318" y="830"/>
                  <a:pt x="2318" y="831"/>
                </a:cubicBezTo>
                <a:cubicBezTo>
                  <a:pt x="2318" y="831"/>
                  <a:pt x="2318" y="831"/>
                  <a:pt x="2319" y="831"/>
                </a:cubicBezTo>
                <a:cubicBezTo>
                  <a:pt x="2319" y="831"/>
                  <a:pt x="2319" y="831"/>
                  <a:pt x="2320" y="830"/>
                </a:cubicBezTo>
                <a:cubicBezTo>
                  <a:pt x="2320" y="830"/>
                  <a:pt x="2320" y="830"/>
                  <a:pt x="2319" y="829"/>
                </a:cubicBezTo>
                <a:close/>
                <a:moveTo>
                  <a:pt x="2280" y="856"/>
                </a:moveTo>
                <a:cubicBezTo>
                  <a:pt x="2280" y="856"/>
                  <a:pt x="2280" y="856"/>
                  <a:pt x="2281" y="857"/>
                </a:cubicBezTo>
                <a:cubicBezTo>
                  <a:pt x="2281" y="857"/>
                  <a:pt x="2281" y="857"/>
                  <a:pt x="2281" y="859"/>
                </a:cubicBezTo>
                <a:cubicBezTo>
                  <a:pt x="2281" y="859"/>
                  <a:pt x="2281" y="859"/>
                  <a:pt x="2283" y="860"/>
                </a:cubicBezTo>
                <a:cubicBezTo>
                  <a:pt x="2283" y="860"/>
                  <a:pt x="2283" y="860"/>
                  <a:pt x="2284" y="860"/>
                </a:cubicBezTo>
                <a:cubicBezTo>
                  <a:pt x="2284" y="860"/>
                  <a:pt x="2284" y="860"/>
                  <a:pt x="2285" y="860"/>
                </a:cubicBezTo>
                <a:cubicBezTo>
                  <a:pt x="2285" y="860"/>
                  <a:pt x="2285" y="860"/>
                  <a:pt x="2286" y="860"/>
                </a:cubicBezTo>
                <a:cubicBezTo>
                  <a:pt x="2286" y="860"/>
                  <a:pt x="2286" y="860"/>
                  <a:pt x="2286" y="861"/>
                </a:cubicBezTo>
                <a:cubicBezTo>
                  <a:pt x="2286" y="861"/>
                  <a:pt x="2286" y="861"/>
                  <a:pt x="2285" y="862"/>
                </a:cubicBezTo>
                <a:cubicBezTo>
                  <a:pt x="2285" y="862"/>
                  <a:pt x="2285" y="862"/>
                  <a:pt x="2285" y="863"/>
                </a:cubicBezTo>
                <a:cubicBezTo>
                  <a:pt x="2285" y="863"/>
                  <a:pt x="2285" y="863"/>
                  <a:pt x="2286" y="864"/>
                </a:cubicBezTo>
                <a:cubicBezTo>
                  <a:pt x="2286" y="864"/>
                  <a:pt x="2286" y="864"/>
                  <a:pt x="2288" y="864"/>
                </a:cubicBezTo>
                <a:cubicBezTo>
                  <a:pt x="2288" y="864"/>
                  <a:pt x="2288" y="864"/>
                  <a:pt x="2290" y="864"/>
                </a:cubicBezTo>
                <a:cubicBezTo>
                  <a:pt x="2290" y="864"/>
                  <a:pt x="2290" y="864"/>
                  <a:pt x="2291" y="864"/>
                </a:cubicBezTo>
                <a:cubicBezTo>
                  <a:pt x="2291" y="864"/>
                  <a:pt x="2291" y="864"/>
                  <a:pt x="2290" y="865"/>
                </a:cubicBezTo>
                <a:cubicBezTo>
                  <a:pt x="2290" y="865"/>
                  <a:pt x="2290" y="865"/>
                  <a:pt x="2288" y="865"/>
                </a:cubicBezTo>
                <a:cubicBezTo>
                  <a:pt x="2288" y="865"/>
                  <a:pt x="2288" y="865"/>
                  <a:pt x="2289" y="866"/>
                </a:cubicBezTo>
                <a:cubicBezTo>
                  <a:pt x="2289" y="866"/>
                  <a:pt x="2289" y="866"/>
                  <a:pt x="2290" y="867"/>
                </a:cubicBezTo>
                <a:cubicBezTo>
                  <a:pt x="2290" y="867"/>
                  <a:pt x="2290" y="867"/>
                  <a:pt x="2293" y="867"/>
                </a:cubicBezTo>
                <a:cubicBezTo>
                  <a:pt x="2293" y="867"/>
                  <a:pt x="2293" y="867"/>
                  <a:pt x="2295" y="868"/>
                </a:cubicBezTo>
                <a:cubicBezTo>
                  <a:pt x="2295" y="868"/>
                  <a:pt x="2295" y="868"/>
                  <a:pt x="2294" y="869"/>
                </a:cubicBezTo>
                <a:cubicBezTo>
                  <a:pt x="2294" y="869"/>
                  <a:pt x="2294" y="869"/>
                  <a:pt x="2293" y="868"/>
                </a:cubicBezTo>
                <a:cubicBezTo>
                  <a:pt x="2293" y="868"/>
                  <a:pt x="2293" y="868"/>
                  <a:pt x="2292" y="868"/>
                </a:cubicBezTo>
                <a:cubicBezTo>
                  <a:pt x="2292" y="868"/>
                  <a:pt x="2292" y="868"/>
                  <a:pt x="2292" y="869"/>
                </a:cubicBezTo>
                <a:cubicBezTo>
                  <a:pt x="2292" y="869"/>
                  <a:pt x="2292" y="869"/>
                  <a:pt x="2293" y="869"/>
                </a:cubicBezTo>
                <a:cubicBezTo>
                  <a:pt x="2293" y="869"/>
                  <a:pt x="2293" y="869"/>
                  <a:pt x="2294" y="870"/>
                </a:cubicBezTo>
                <a:cubicBezTo>
                  <a:pt x="2294" y="870"/>
                  <a:pt x="2294" y="870"/>
                  <a:pt x="2294" y="871"/>
                </a:cubicBezTo>
                <a:cubicBezTo>
                  <a:pt x="2294" y="871"/>
                  <a:pt x="2294" y="871"/>
                  <a:pt x="2292" y="871"/>
                </a:cubicBezTo>
                <a:cubicBezTo>
                  <a:pt x="2292" y="871"/>
                  <a:pt x="2292" y="871"/>
                  <a:pt x="2291" y="870"/>
                </a:cubicBezTo>
                <a:cubicBezTo>
                  <a:pt x="2291" y="870"/>
                  <a:pt x="2291" y="870"/>
                  <a:pt x="2290" y="870"/>
                </a:cubicBezTo>
                <a:cubicBezTo>
                  <a:pt x="2290" y="870"/>
                  <a:pt x="2290" y="870"/>
                  <a:pt x="2290" y="869"/>
                </a:cubicBezTo>
                <a:cubicBezTo>
                  <a:pt x="2290" y="869"/>
                  <a:pt x="2290" y="869"/>
                  <a:pt x="2289" y="869"/>
                </a:cubicBezTo>
                <a:cubicBezTo>
                  <a:pt x="2289" y="869"/>
                  <a:pt x="2289" y="869"/>
                  <a:pt x="2288" y="868"/>
                </a:cubicBezTo>
                <a:cubicBezTo>
                  <a:pt x="2288" y="868"/>
                  <a:pt x="2288" y="868"/>
                  <a:pt x="2287" y="869"/>
                </a:cubicBezTo>
                <a:cubicBezTo>
                  <a:pt x="2287" y="869"/>
                  <a:pt x="2287" y="869"/>
                  <a:pt x="2286" y="868"/>
                </a:cubicBezTo>
                <a:cubicBezTo>
                  <a:pt x="2286" y="868"/>
                  <a:pt x="2286" y="868"/>
                  <a:pt x="2284" y="868"/>
                </a:cubicBezTo>
                <a:cubicBezTo>
                  <a:pt x="2284" y="868"/>
                  <a:pt x="2284" y="868"/>
                  <a:pt x="2283" y="868"/>
                </a:cubicBezTo>
                <a:cubicBezTo>
                  <a:pt x="2283" y="868"/>
                  <a:pt x="2283" y="868"/>
                  <a:pt x="2282" y="867"/>
                </a:cubicBezTo>
                <a:cubicBezTo>
                  <a:pt x="2282" y="867"/>
                  <a:pt x="2282" y="867"/>
                  <a:pt x="2280" y="868"/>
                </a:cubicBezTo>
                <a:cubicBezTo>
                  <a:pt x="2280" y="868"/>
                  <a:pt x="2280" y="868"/>
                  <a:pt x="2279" y="867"/>
                </a:cubicBezTo>
                <a:cubicBezTo>
                  <a:pt x="2279" y="867"/>
                  <a:pt x="2279" y="867"/>
                  <a:pt x="2278" y="867"/>
                </a:cubicBezTo>
                <a:cubicBezTo>
                  <a:pt x="2278" y="867"/>
                  <a:pt x="2278" y="867"/>
                  <a:pt x="2277" y="867"/>
                </a:cubicBezTo>
                <a:cubicBezTo>
                  <a:pt x="2277" y="867"/>
                  <a:pt x="2277" y="867"/>
                  <a:pt x="2276" y="867"/>
                </a:cubicBezTo>
                <a:cubicBezTo>
                  <a:pt x="2276" y="867"/>
                  <a:pt x="2276" y="867"/>
                  <a:pt x="2275" y="866"/>
                </a:cubicBezTo>
                <a:cubicBezTo>
                  <a:pt x="2275" y="866"/>
                  <a:pt x="2275" y="866"/>
                  <a:pt x="2274" y="865"/>
                </a:cubicBezTo>
                <a:cubicBezTo>
                  <a:pt x="2274" y="865"/>
                  <a:pt x="2274" y="865"/>
                  <a:pt x="2272" y="862"/>
                </a:cubicBezTo>
                <a:cubicBezTo>
                  <a:pt x="2272" y="862"/>
                  <a:pt x="2272" y="862"/>
                  <a:pt x="2271" y="861"/>
                </a:cubicBezTo>
                <a:cubicBezTo>
                  <a:pt x="2271" y="861"/>
                  <a:pt x="2271" y="861"/>
                  <a:pt x="2271" y="860"/>
                </a:cubicBezTo>
                <a:cubicBezTo>
                  <a:pt x="2271" y="860"/>
                  <a:pt x="2271" y="860"/>
                  <a:pt x="2269" y="860"/>
                </a:cubicBezTo>
                <a:cubicBezTo>
                  <a:pt x="2269" y="860"/>
                  <a:pt x="2269" y="860"/>
                  <a:pt x="2269" y="859"/>
                </a:cubicBezTo>
                <a:cubicBezTo>
                  <a:pt x="2269" y="859"/>
                  <a:pt x="2269" y="859"/>
                  <a:pt x="2268" y="857"/>
                </a:cubicBezTo>
                <a:cubicBezTo>
                  <a:pt x="2268" y="857"/>
                  <a:pt x="2268" y="857"/>
                  <a:pt x="2267" y="855"/>
                </a:cubicBezTo>
                <a:cubicBezTo>
                  <a:pt x="2267" y="855"/>
                  <a:pt x="2267" y="855"/>
                  <a:pt x="2266" y="854"/>
                </a:cubicBezTo>
                <a:cubicBezTo>
                  <a:pt x="2266" y="854"/>
                  <a:pt x="2266" y="854"/>
                  <a:pt x="2265" y="854"/>
                </a:cubicBezTo>
                <a:cubicBezTo>
                  <a:pt x="2265" y="854"/>
                  <a:pt x="2265" y="854"/>
                  <a:pt x="2262" y="853"/>
                </a:cubicBezTo>
                <a:cubicBezTo>
                  <a:pt x="2262" y="853"/>
                  <a:pt x="2262" y="853"/>
                  <a:pt x="2261" y="852"/>
                </a:cubicBezTo>
                <a:cubicBezTo>
                  <a:pt x="2261" y="852"/>
                  <a:pt x="2261" y="852"/>
                  <a:pt x="2260" y="852"/>
                </a:cubicBezTo>
                <a:cubicBezTo>
                  <a:pt x="2260" y="852"/>
                  <a:pt x="2260" y="852"/>
                  <a:pt x="2259" y="851"/>
                </a:cubicBezTo>
                <a:cubicBezTo>
                  <a:pt x="2259" y="851"/>
                  <a:pt x="2259" y="851"/>
                  <a:pt x="2258" y="851"/>
                </a:cubicBezTo>
                <a:cubicBezTo>
                  <a:pt x="2258" y="851"/>
                  <a:pt x="2258" y="851"/>
                  <a:pt x="2258" y="850"/>
                </a:cubicBezTo>
                <a:cubicBezTo>
                  <a:pt x="2258" y="850"/>
                  <a:pt x="2258" y="850"/>
                  <a:pt x="2257" y="850"/>
                </a:cubicBezTo>
                <a:cubicBezTo>
                  <a:pt x="2257" y="850"/>
                  <a:pt x="2257" y="850"/>
                  <a:pt x="2256" y="849"/>
                </a:cubicBezTo>
                <a:cubicBezTo>
                  <a:pt x="2256" y="849"/>
                  <a:pt x="2256" y="849"/>
                  <a:pt x="2255" y="848"/>
                </a:cubicBezTo>
                <a:cubicBezTo>
                  <a:pt x="2255" y="848"/>
                  <a:pt x="2255" y="848"/>
                  <a:pt x="2255" y="850"/>
                </a:cubicBezTo>
                <a:cubicBezTo>
                  <a:pt x="2255" y="850"/>
                  <a:pt x="2255" y="850"/>
                  <a:pt x="2255" y="851"/>
                </a:cubicBezTo>
                <a:cubicBezTo>
                  <a:pt x="2255" y="851"/>
                  <a:pt x="2255" y="851"/>
                  <a:pt x="2254" y="850"/>
                </a:cubicBezTo>
                <a:cubicBezTo>
                  <a:pt x="2254" y="850"/>
                  <a:pt x="2254" y="850"/>
                  <a:pt x="2254" y="851"/>
                </a:cubicBezTo>
                <a:cubicBezTo>
                  <a:pt x="2254" y="851"/>
                  <a:pt x="2254" y="851"/>
                  <a:pt x="2253" y="851"/>
                </a:cubicBezTo>
                <a:cubicBezTo>
                  <a:pt x="2253" y="851"/>
                  <a:pt x="2253" y="851"/>
                  <a:pt x="2252" y="850"/>
                </a:cubicBezTo>
                <a:cubicBezTo>
                  <a:pt x="2252" y="850"/>
                  <a:pt x="2252" y="850"/>
                  <a:pt x="2252" y="849"/>
                </a:cubicBezTo>
                <a:cubicBezTo>
                  <a:pt x="2252" y="849"/>
                  <a:pt x="2252" y="849"/>
                  <a:pt x="2251" y="849"/>
                </a:cubicBezTo>
                <a:cubicBezTo>
                  <a:pt x="2251" y="849"/>
                  <a:pt x="2251" y="849"/>
                  <a:pt x="2251" y="850"/>
                </a:cubicBezTo>
                <a:cubicBezTo>
                  <a:pt x="2251" y="850"/>
                  <a:pt x="2251" y="850"/>
                  <a:pt x="2252" y="851"/>
                </a:cubicBezTo>
                <a:cubicBezTo>
                  <a:pt x="2252" y="851"/>
                  <a:pt x="2252" y="851"/>
                  <a:pt x="2251" y="852"/>
                </a:cubicBezTo>
                <a:cubicBezTo>
                  <a:pt x="2252" y="852"/>
                  <a:pt x="2252" y="852"/>
                  <a:pt x="2252" y="852"/>
                </a:cubicBezTo>
                <a:cubicBezTo>
                  <a:pt x="2252" y="853"/>
                  <a:pt x="2252" y="853"/>
                  <a:pt x="2252" y="853"/>
                </a:cubicBezTo>
                <a:cubicBezTo>
                  <a:pt x="2252" y="854"/>
                  <a:pt x="2252" y="854"/>
                  <a:pt x="2252" y="854"/>
                </a:cubicBezTo>
                <a:cubicBezTo>
                  <a:pt x="2251" y="853"/>
                  <a:pt x="2251" y="853"/>
                  <a:pt x="2251" y="853"/>
                </a:cubicBezTo>
                <a:cubicBezTo>
                  <a:pt x="2251" y="853"/>
                  <a:pt x="2251" y="853"/>
                  <a:pt x="2251" y="854"/>
                </a:cubicBezTo>
                <a:cubicBezTo>
                  <a:pt x="2251" y="854"/>
                  <a:pt x="2251" y="854"/>
                  <a:pt x="2250" y="854"/>
                </a:cubicBezTo>
                <a:cubicBezTo>
                  <a:pt x="2250" y="854"/>
                  <a:pt x="2250" y="854"/>
                  <a:pt x="2249" y="852"/>
                </a:cubicBezTo>
                <a:cubicBezTo>
                  <a:pt x="2249" y="852"/>
                  <a:pt x="2249" y="852"/>
                  <a:pt x="2248" y="853"/>
                </a:cubicBezTo>
                <a:cubicBezTo>
                  <a:pt x="2248" y="853"/>
                  <a:pt x="2248" y="853"/>
                  <a:pt x="2249" y="853"/>
                </a:cubicBezTo>
                <a:cubicBezTo>
                  <a:pt x="2249" y="853"/>
                  <a:pt x="2249" y="853"/>
                  <a:pt x="2249" y="854"/>
                </a:cubicBezTo>
                <a:cubicBezTo>
                  <a:pt x="2249" y="854"/>
                  <a:pt x="2249" y="854"/>
                  <a:pt x="2250" y="854"/>
                </a:cubicBezTo>
                <a:cubicBezTo>
                  <a:pt x="2250" y="854"/>
                  <a:pt x="2250" y="854"/>
                  <a:pt x="2250" y="855"/>
                </a:cubicBezTo>
                <a:cubicBezTo>
                  <a:pt x="2250" y="855"/>
                  <a:pt x="2250" y="855"/>
                  <a:pt x="2249" y="855"/>
                </a:cubicBezTo>
                <a:cubicBezTo>
                  <a:pt x="2249" y="855"/>
                  <a:pt x="2249" y="855"/>
                  <a:pt x="2248" y="855"/>
                </a:cubicBezTo>
                <a:cubicBezTo>
                  <a:pt x="2248" y="855"/>
                  <a:pt x="2248" y="855"/>
                  <a:pt x="2246" y="856"/>
                </a:cubicBezTo>
                <a:cubicBezTo>
                  <a:pt x="2246" y="856"/>
                  <a:pt x="2246" y="856"/>
                  <a:pt x="2245" y="856"/>
                </a:cubicBezTo>
                <a:cubicBezTo>
                  <a:pt x="2245" y="856"/>
                  <a:pt x="2245" y="856"/>
                  <a:pt x="2247" y="857"/>
                </a:cubicBezTo>
                <a:cubicBezTo>
                  <a:pt x="2247" y="857"/>
                  <a:pt x="2247" y="857"/>
                  <a:pt x="2249" y="858"/>
                </a:cubicBezTo>
                <a:cubicBezTo>
                  <a:pt x="2249" y="858"/>
                  <a:pt x="2249" y="858"/>
                  <a:pt x="2249" y="860"/>
                </a:cubicBezTo>
                <a:cubicBezTo>
                  <a:pt x="2249" y="860"/>
                  <a:pt x="2249" y="860"/>
                  <a:pt x="2248" y="861"/>
                </a:cubicBezTo>
                <a:cubicBezTo>
                  <a:pt x="2248" y="861"/>
                  <a:pt x="2248" y="861"/>
                  <a:pt x="2248" y="860"/>
                </a:cubicBezTo>
                <a:cubicBezTo>
                  <a:pt x="2248" y="860"/>
                  <a:pt x="2248" y="860"/>
                  <a:pt x="2247" y="861"/>
                </a:cubicBezTo>
                <a:cubicBezTo>
                  <a:pt x="2247" y="861"/>
                  <a:pt x="2247" y="861"/>
                  <a:pt x="2245" y="861"/>
                </a:cubicBezTo>
                <a:cubicBezTo>
                  <a:pt x="2245" y="861"/>
                  <a:pt x="2245" y="861"/>
                  <a:pt x="2244" y="862"/>
                </a:cubicBezTo>
                <a:cubicBezTo>
                  <a:pt x="2244" y="862"/>
                  <a:pt x="2244" y="862"/>
                  <a:pt x="2243" y="862"/>
                </a:cubicBezTo>
                <a:cubicBezTo>
                  <a:pt x="2243" y="862"/>
                  <a:pt x="2243" y="862"/>
                  <a:pt x="2242" y="861"/>
                </a:cubicBezTo>
                <a:cubicBezTo>
                  <a:pt x="2242" y="861"/>
                  <a:pt x="2242" y="861"/>
                  <a:pt x="2242" y="860"/>
                </a:cubicBezTo>
                <a:cubicBezTo>
                  <a:pt x="2242" y="860"/>
                  <a:pt x="2242" y="860"/>
                  <a:pt x="2241" y="861"/>
                </a:cubicBezTo>
                <a:cubicBezTo>
                  <a:pt x="2241" y="861"/>
                  <a:pt x="2241" y="861"/>
                  <a:pt x="2238" y="860"/>
                </a:cubicBezTo>
                <a:cubicBezTo>
                  <a:pt x="2238" y="860"/>
                  <a:pt x="2238" y="860"/>
                  <a:pt x="2237" y="861"/>
                </a:cubicBezTo>
                <a:cubicBezTo>
                  <a:pt x="2237" y="861"/>
                  <a:pt x="2237" y="861"/>
                  <a:pt x="2236" y="860"/>
                </a:cubicBezTo>
                <a:cubicBezTo>
                  <a:pt x="2236" y="860"/>
                  <a:pt x="2236" y="860"/>
                  <a:pt x="2234" y="860"/>
                </a:cubicBezTo>
                <a:cubicBezTo>
                  <a:pt x="2233" y="860"/>
                  <a:pt x="2233" y="860"/>
                  <a:pt x="2233" y="860"/>
                </a:cubicBezTo>
                <a:cubicBezTo>
                  <a:pt x="2232" y="860"/>
                  <a:pt x="2232" y="860"/>
                  <a:pt x="2232" y="860"/>
                </a:cubicBezTo>
                <a:cubicBezTo>
                  <a:pt x="2230" y="858"/>
                  <a:pt x="2230" y="858"/>
                  <a:pt x="2230" y="858"/>
                </a:cubicBezTo>
                <a:cubicBezTo>
                  <a:pt x="2230" y="857"/>
                  <a:pt x="2230" y="857"/>
                  <a:pt x="2230" y="857"/>
                </a:cubicBezTo>
                <a:cubicBezTo>
                  <a:pt x="2228" y="855"/>
                  <a:pt x="2228" y="855"/>
                  <a:pt x="2228" y="855"/>
                </a:cubicBezTo>
                <a:cubicBezTo>
                  <a:pt x="2228" y="854"/>
                  <a:pt x="2228" y="854"/>
                  <a:pt x="2228" y="854"/>
                </a:cubicBezTo>
                <a:cubicBezTo>
                  <a:pt x="2228" y="853"/>
                  <a:pt x="2228" y="853"/>
                  <a:pt x="2228" y="853"/>
                </a:cubicBezTo>
                <a:cubicBezTo>
                  <a:pt x="2227" y="854"/>
                  <a:pt x="2227" y="854"/>
                  <a:pt x="2227" y="854"/>
                </a:cubicBezTo>
                <a:cubicBezTo>
                  <a:pt x="2225" y="854"/>
                  <a:pt x="2225" y="854"/>
                  <a:pt x="2225" y="854"/>
                </a:cubicBezTo>
                <a:cubicBezTo>
                  <a:pt x="2224" y="854"/>
                  <a:pt x="2224" y="854"/>
                  <a:pt x="2224" y="854"/>
                </a:cubicBezTo>
                <a:cubicBezTo>
                  <a:pt x="2223" y="854"/>
                  <a:pt x="2223" y="854"/>
                  <a:pt x="2223" y="854"/>
                </a:cubicBezTo>
                <a:cubicBezTo>
                  <a:pt x="2221" y="854"/>
                  <a:pt x="2221" y="854"/>
                  <a:pt x="2221" y="854"/>
                </a:cubicBezTo>
                <a:cubicBezTo>
                  <a:pt x="2220" y="853"/>
                  <a:pt x="2220" y="853"/>
                  <a:pt x="2220" y="853"/>
                </a:cubicBezTo>
                <a:cubicBezTo>
                  <a:pt x="2221" y="853"/>
                  <a:pt x="2221" y="853"/>
                  <a:pt x="2221" y="853"/>
                </a:cubicBezTo>
                <a:cubicBezTo>
                  <a:pt x="2221" y="852"/>
                  <a:pt x="2221" y="852"/>
                  <a:pt x="2221" y="852"/>
                </a:cubicBezTo>
                <a:cubicBezTo>
                  <a:pt x="2221" y="852"/>
                  <a:pt x="2221" y="852"/>
                  <a:pt x="2220" y="852"/>
                </a:cubicBezTo>
                <a:cubicBezTo>
                  <a:pt x="2220" y="852"/>
                  <a:pt x="2220" y="852"/>
                  <a:pt x="2220" y="853"/>
                </a:cubicBezTo>
                <a:cubicBezTo>
                  <a:pt x="2220" y="853"/>
                  <a:pt x="2220" y="853"/>
                  <a:pt x="2219" y="854"/>
                </a:cubicBezTo>
                <a:cubicBezTo>
                  <a:pt x="2219" y="854"/>
                  <a:pt x="2219" y="854"/>
                  <a:pt x="2218" y="855"/>
                </a:cubicBezTo>
                <a:cubicBezTo>
                  <a:pt x="2218" y="855"/>
                  <a:pt x="2218" y="855"/>
                  <a:pt x="2217" y="855"/>
                </a:cubicBezTo>
                <a:cubicBezTo>
                  <a:pt x="2217" y="855"/>
                  <a:pt x="2217" y="855"/>
                  <a:pt x="2215" y="855"/>
                </a:cubicBezTo>
                <a:cubicBezTo>
                  <a:pt x="2215" y="855"/>
                  <a:pt x="2215" y="855"/>
                  <a:pt x="2214" y="855"/>
                </a:cubicBezTo>
                <a:cubicBezTo>
                  <a:pt x="2214" y="855"/>
                  <a:pt x="2214" y="855"/>
                  <a:pt x="2212" y="855"/>
                </a:cubicBezTo>
                <a:cubicBezTo>
                  <a:pt x="2212" y="855"/>
                  <a:pt x="2212" y="855"/>
                  <a:pt x="2215" y="853"/>
                </a:cubicBezTo>
                <a:cubicBezTo>
                  <a:pt x="2215" y="853"/>
                  <a:pt x="2215" y="853"/>
                  <a:pt x="2216" y="851"/>
                </a:cubicBezTo>
                <a:cubicBezTo>
                  <a:pt x="2216" y="851"/>
                  <a:pt x="2216" y="851"/>
                  <a:pt x="2216" y="850"/>
                </a:cubicBezTo>
                <a:cubicBezTo>
                  <a:pt x="2216" y="850"/>
                  <a:pt x="2216" y="850"/>
                  <a:pt x="2218" y="849"/>
                </a:cubicBezTo>
                <a:cubicBezTo>
                  <a:pt x="2218" y="849"/>
                  <a:pt x="2218" y="849"/>
                  <a:pt x="2220" y="849"/>
                </a:cubicBezTo>
                <a:cubicBezTo>
                  <a:pt x="2220" y="849"/>
                  <a:pt x="2220" y="849"/>
                  <a:pt x="2221" y="850"/>
                </a:cubicBezTo>
                <a:cubicBezTo>
                  <a:pt x="2221" y="850"/>
                  <a:pt x="2221" y="850"/>
                  <a:pt x="2221" y="851"/>
                </a:cubicBezTo>
                <a:cubicBezTo>
                  <a:pt x="2222" y="851"/>
                  <a:pt x="2222" y="851"/>
                  <a:pt x="2222" y="851"/>
                </a:cubicBezTo>
                <a:cubicBezTo>
                  <a:pt x="2222" y="849"/>
                  <a:pt x="2222" y="849"/>
                  <a:pt x="2222" y="849"/>
                </a:cubicBezTo>
                <a:cubicBezTo>
                  <a:pt x="2221" y="849"/>
                  <a:pt x="2221" y="849"/>
                  <a:pt x="2221" y="849"/>
                </a:cubicBezTo>
                <a:cubicBezTo>
                  <a:pt x="2220" y="848"/>
                  <a:pt x="2220" y="848"/>
                  <a:pt x="2220" y="848"/>
                </a:cubicBezTo>
                <a:cubicBezTo>
                  <a:pt x="2221" y="848"/>
                  <a:pt x="2221" y="848"/>
                  <a:pt x="2221" y="848"/>
                </a:cubicBezTo>
                <a:cubicBezTo>
                  <a:pt x="2222" y="848"/>
                  <a:pt x="2222" y="848"/>
                  <a:pt x="2222" y="848"/>
                </a:cubicBezTo>
                <a:cubicBezTo>
                  <a:pt x="2223" y="848"/>
                  <a:pt x="2223" y="848"/>
                  <a:pt x="2223" y="848"/>
                </a:cubicBezTo>
                <a:cubicBezTo>
                  <a:pt x="2224" y="848"/>
                  <a:pt x="2224" y="848"/>
                  <a:pt x="2224" y="848"/>
                </a:cubicBezTo>
                <a:cubicBezTo>
                  <a:pt x="2223" y="847"/>
                  <a:pt x="2223" y="847"/>
                  <a:pt x="2223" y="847"/>
                </a:cubicBezTo>
                <a:cubicBezTo>
                  <a:pt x="2221" y="848"/>
                  <a:pt x="2221" y="848"/>
                  <a:pt x="2221" y="848"/>
                </a:cubicBezTo>
                <a:cubicBezTo>
                  <a:pt x="2220" y="847"/>
                  <a:pt x="2220" y="847"/>
                  <a:pt x="2220" y="847"/>
                </a:cubicBezTo>
                <a:cubicBezTo>
                  <a:pt x="2219" y="846"/>
                  <a:pt x="2219" y="846"/>
                  <a:pt x="2219" y="846"/>
                </a:cubicBezTo>
                <a:cubicBezTo>
                  <a:pt x="2219" y="845"/>
                  <a:pt x="2219" y="845"/>
                  <a:pt x="2219" y="845"/>
                </a:cubicBezTo>
                <a:cubicBezTo>
                  <a:pt x="2220" y="845"/>
                  <a:pt x="2220" y="845"/>
                  <a:pt x="2220" y="845"/>
                </a:cubicBezTo>
                <a:cubicBezTo>
                  <a:pt x="2221" y="845"/>
                  <a:pt x="2221" y="845"/>
                  <a:pt x="2221" y="845"/>
                </a:cubicBezTo>
                <a:cubicBezTo>
                  <a:pt x="2219" y="844"/>
                  <a:pt x="2219" y="844"/>
                  <a:pt x="2219" y="844"/>
                </a:cubicBezTo>
                <a:cubicBezTo>
                  <a:pt x="2218" y="843"/>
                  <a:pt x="2218" y="843"/>
                  <a:pt x="2218" y="843"/>
                </a:cubicBezTo>
                <a:cubicBezTo>
                  <a:pt x="2217" y="842"/>
                  <a:pt x="2217" y="842"/>
                  <a:pt x="2217" y="842"/>
                </a:cubicBezTo>
                <a:cubicBezTo>
                  <a:pt x="2218" y="841"/>
                  <a:pt x="2218" y="841"/>
                  <a:pt x="2218" y="841"/>
                </a:cubicBezTo>
                <a:cubicBezTo>
                  <a:pt x="2216" y="839"/>
                  <a:pt x="2216" y="839"/>
                  <a:pt x="2216" y="839"/>
                </a:cubicBezTo>
                <a:cubicBezTo>
                  <a:pt x="2218" y="838"/>
                  <a:pt x="2218" y="838"/>
                  <a:pt x="2218" y="838"/>
                </a:cubicBezTo>
                <a:cubicBezTo>
                  <a:pt x="2216" y="838"/>
                  <a:pt x="2216" y="838"/>
                  <a:pt x="2216" y="838"/>
                </a:cubicBezTo>
                <a:cubicBezTo>
                  <a:pt x="2216" y="837"/>
                  <a:pt x="2216" y="837"/>
                  <a:pt x="2216" y="837"/>
                </a:cubicBezTo>
                <a:cubicBezTo>
                  <a:pt x="2216" y="836"/>
                  <a:pt x="2216" y="836"/>
                  <a:pt x="2216" y="836"/>
                </a:cubicBezTo>
                <a:cubicBezTo>
                  <a:pt x="2215" y="836"/>
                  <a:pt x="2215" y="836"/>
                  <a:pt x="2215" y="836"/>
                </a:cubicBezTo>
                <a:cubicBezTo>
                  <a:pt x="2215" y="835"/>
                  <a:pt x="2215" y="835"/>
                  <a:pt x="2215" y="835"/>
                </a:cubicBezTo>
                <a:cubicBezTo>
                  <a:pt x="2214" y="836"/>
                  <a:pt x="2214" y="836"/>
                  <a:pt x="2214" y="836"/>
                </a:cubicBezTo>
                <a:cubicBezTo>
                  <a:pt x="2213" y="835"/>
                  <a:pt x="2213" y="835"/>
                  <a:pt x="2213" y="835"/>
                </a:cubicBezTo>
                <a:cubicBezTo>
                  <a:pt x="2214" y="835"/>
                  <a:pt x="2214" y="835"/>
                  <a:pt x="2214" y="835"/>
                </a:cubicBezTo>
                <a:cubicBezTo>
                  <a:pt x="2214" y="835"/>
                  <a:pt x="2214" y="835"/>
                  <a:pt x="2214" y="834"/>
                </a:cubicBezTo>
                <a:cubicBezTo>
                  <a:pt x="2214" y="834"/>
                  <a:pt x="2214" y="834"/>
                  <a:pt x="2213" y="835"/>
                </a:cubicBezTo>
                <a:cubicBezTo>
                  <a:pt x="2212" y="835"/>
                  <a:pt x="2212" y="835"/>
                  <a:pt x="2212" y="835"/>
                </a:cubicBezTo>
                <a:cubicBezTo>
                  <a:pt x="2211" y="834"/>
                  <a:pt x="2211" y="834"/>
                  <a:pt x="2211" y="834"/>
                </a:cubicBezTo>
                <a:cubicBezTo>
                  <a:pt x="2210" y="833"/>
                  <a:pt x="2210" y="833"/>
                  <a:pt x="2210" y="833"/>
                </a:cubicBezTo>
                <a:cubicBezTo>
                  <a:pt x="2209" y="832"/>
                  <a:pt x="2209" y="832"/>
                  <a:pt x="2209" y="832"/>
                </a:cubicBezTo>
                <a:cubicBezTo>
                  <a:pt x="2207" y="832"/>
                  <a:pt x="2207" y="832"/>
                  <a:pt x="2207" y="832"/>
                </a:cubicBezTo>
                <a:cubicBezTo>
                  <a:pt x="2204" y="831"/>
                  <a:pt x="2204" y="831"/>
                  <a:pt x="2204" y="831"/>
                </a:cubicBezTo>
                <a:cubicBezTo>
                  <a:pt x="2200" y="830"/>
                  <a:pt x="2200" y="830"/>
                  <a:pt x="2200" y="830"/>
                </a:cubicBezTo>
                <a:cubicBezTo>
                  <a:pt x="2198" y="830"/>
                  <a:pt x="2198" y="830"/>
                  <a:pt x="2198" y="830"/>
                </a:cubicBezTo>
                <a:cubicBezTo>
                  <a:pt x="2197" y="829"/>
                  <a:pt x="2197" y="829"/>
                  <a:pt x="2197" y="829"/>
                </a:cubicBezTo>
                <a:cubicBezTo>
                  <a:pt x="2196" y="829"/>
                  <a:pt x="2196" y="829"/>
                  <a:pt x="2196" y="829"/>
                </a:cubicBezTo>
                <a:cubicBezTo>
                  <a:pt x="2196" y="828"/>
                  <a:pt x="2196" y="828"/>
                  <a:pt x="2196" y="828"/>
                </a:cubicBezTo>
                <a:cubicBezTo>
                  <a:pt x="2195" y="828"/>
                  <a:pt x="2195" y="828"/>
                  <a:pt x="2195" y="828"/>
                </a:cubicBezTo>
                <a:cubicBezTo>
                  <a:pt x="2195" y="827"/>
                  <a:pt x="2195" y="827"/>
                  <a:pt x="2195" y="827"/>
                </a:cubicBezTo>
                <a:cubicBezTo>
                  <a:pt x="2194" y="827"/>
                  <a:pt x="2194" y="827"/>
                  <a:pt x="2194" y="827"/>
                </a:cubicBezTo>
                <a:cubicBezTo>
                  <a:pt x="2193" y="827"/>
                  <a:pt x="2193" y="827"/>
                  <a:pt x="2193" y="827"/>
                </a:cubicBezTo>
                <a:cubicBezTo>
                  <a:pt x="2193" y="826"/>
                  <a:pt x="2193" y="826"/>
                  <a:pt x="2193" y="826"/>
                </a:cubicBezTo>
                <a:cubicBezTo>
                  <a:pt x="2192" y="827"/>
                  <a:pt x="2192" y="827"/>
                  <a:pt x="2192" y="827"/>
                </a:cubicBezTo>
                <a:cubicBezTo>
                  <a:pt x="2192" y="825"/>
                  <a:pt x="2192" y="825"/>
                  <a:pt x="2192" y="825"/>
                </a:cubicBezTo>
                <a:cubicBezTo>
                  <a:pt x="2191" y="825"/>
                  <a:pt x="2191" y="825"/>
                  <a:pt x="2191" y="825"/>
                </a:cubicBezTo>
                <a:cubicBezTo>
                  <a:pt x="2190" y="826"/>
                  <a:pt x="2190" y="826"/>
                  <a:pt x="2190" y="826"/>
                </a:cubicBezTo>
                <a:cubicBezTo>
                  <a:pt x="2190" y="825"/>
                  <a:pt x="2190" y="825"/>
                  <a:pt x="2190" y="825"/>
                </a:cubicBezTo>
                <a:cubicBezTo>
                  <a:pt x="2189" y="823"/>
                  <a:pt x="2189" y="823"/>
                  <a:pt x="2189" y="823"/>
                </a:cubicBezTo>
                <a:cubicBezTo>
                  <a:pt x="2189" y="822"/>
                  <a:pt x="2189" y="822"/>
                  <a:pt x="2189" y="822"/>
                </a:cubicBezTo>
                <a:cubicBezTo>
                  <a:pt x="2190" y="821"/>
                  <a:pt x="2190" y="821"/>
                  <a:pt x="2190" y="821"/>
                </a:cubicBezTo>
                <a:cubicBezTo>
                  <a:pt x="2190" y="820"/>
                  <a:pt x="2190" y="820"/>
                  <a:pt x="2190" y="820"/>
                </a:cubicBezTo>
                <a:cubicBezTo>
                  <a:pt x="2189" y="821"/>
                  <a:pt x="2189" y="821"/>
                  <a:pt x="2189" y="821"/>
                </a:cubicBezTo>
                <a:cubicBezTo>
                  <a:pt x="2188" y="822"/>
                  <a:pt x="2188" y="822"/>
                  <a:pt x="2188" y="822"/>
                </a:cubicBezTo>
                <a:cubicBezTo>
                  <a:pt x="2188" y="823"/>
                  <a:pt x="2188" y="823"/>
                  <a:pt x="2188" y="823"/>
                </a:cubicBezTo>
                <a:cubicBezTo>
                  <a:pt x="2187" y="825"/>
                  <a:pt x="2187" y="825"/>
                  <a:pt x="2187" y="825"/>
                </a:cubicBezTo>
                <a:cubicBezTo>
                  <a:pt x="2187" y="826"/>
                  <a:pt x="2187" y="826"/>
                  <a:pt x="2187" y="826"/>
                </a:cubicBezTo>
                <a:cubicBezTo>
                  <a:pt x="2186" y="828"/>
                  <a:pt x="2186" y="828"/>
                  <a:pt x="2186" y="828"/>
                </a:cubicBezTo>
                <a:cubicBezTo>
                  <a:pt x="2184" y="828"/>
                  <a:pt x="2184" y="828"/>
                  <a:pt x="2184" y="828"/>
                </a:cubicBezTo>
                <a:cubicBezTo>
                  <a:pt x="2183" y="828"/>
                  <a:pt x="2183" y="828"/>
                  <a:pt x="2183" y="828"/>
                </a:cubicBezTo>
                <a:cubicBezTo>
                  <a:pt x="2182" y="826"/>
                  <a:pt x="2182" y="826"/>
                  <a:pt x="2182" y="826"/>
                </a:cubicBezTo>
                <a:cubicBezTo>
                  <a:pt x="2182" y="825"/>
                  <a:pt x="2182" y="825"/>
                  <a:pt x="2182" y="825"/>
                </a:cubicBezTo>
                <a:cubicBezTo>
                  <a:pt x="2183" y="825"/>
                  <a:pt x="2183" y="825"/>
                  <a:pt x="2183" y="825"/>
                </a:cubicBezTo>
                <a:cubicBezTo>
                  <a:pt x="2183" y="824"/>
                  <a:pt x="2183" y="824"/>
                  <a:pt x="2183" y="824"/>
                </a:cubicBezTo>
                <a:cubicBezTo>
                  <a:pt x="2183" y="823"/>
                  <a:pt x="2183" y="823"/>
                  <a:pt x="2183" y="823"/>
                </a:cubicBezTo>
                <a:cubicBezTo>
                  <a:pt x="2182" y="823"/>
                  <a:pt x="2182" y="823"/>
                  <a:pt x="2182" y="823"/>
                </a:cubicBezTo>
                <a:cubicBezTo>
                  <a:pt x="2181" y="821"/>
                  <a:pt x="2181" y="821"/>
                  <a:pt x="2181" y="821"/>
                </a:cubicBezTo>
                <a:cubicBezTo>
                  <a:pt x="2180" y="821"/>
                  <a:pt x="2180" y="821"/>
                  <a:pt x="2180" y="821"/>
                </a:cubicBezTo>
                <a:cubicBezTo>
                  <a:pt x="2178" y="820"/>
                  <a:pt x="2178" y="820"/>
                  <a:pt x="2178" y="820"/>
                </a:cubicBezTo>
                <a:cubicBezTo>
                  <a:pt x="2179" y="819"/>
                  <a:pt x="2179" y="819"/>
                  <a:pt x="2179" y="819"/>
                </a:cubicBezTo>
                <a:cubicBezTo>
                  <a:pt x="2180" y="819"/>
                  <a:pt x="2180" y="819"/>
                  <a:pt x="2180" y="819"/>
                </a:cubicBezTo>
                <a:cubicBezTo>
                  <a:pt x="2181" y="819"/>
                  <a:pt x="2181" y="819"/>
                  <a:pt x="2181" y="819"/>
                </a:cubicBezTo>
                <a:cubicBezTo>
                  <a:pt x="2182" y="819"/>
                  <a:pt x="2182" y="819"/>
                  <a:pt x="2182" y="819"/>
                </a:cubicBezTo>
                <a:cubicBezTo>
                  <a:pt x="2183" y="820"/>
                  <a:pt x="2183" y="820"/>
                  <a:pt x="2183" y="820"/>
                </a:cubicBezTo>
                <a:cubicBezTo>
                  <a:pt x="2184" y="819"/>
                  <a:pt x="2184" y="819"/>
                  <a:pt x="2184" y="819"/>
                </a:cubicBezTo>
                <a:cubicBezTo>
                  <a:pt x="2185" y="818"/>
                  <a:pt x="2185" y="818"/>
                  <a:pt x="2185" y="818"/>
                </a:cubicBezTo>
                <a:cubicBezTo>
                  <a:pt x="2186" y="817"/>
                  <a:pt x="2186" y="817"/>
                  <a:pt x="2186" y="817"/>
                </a:cubicBezTo>
                <a:cubicBezTo>
                  <a:pt x="2188" y="818"/>
                  <a:pt x="2188" y="818"/>
                  <a:pt x="2188" y="818"/>
                </a:cubicBezTo>
                <a:cubicBezTo>
                  <a:pt x="2188" y="819"/>
                  <a:pt x="2188" y="819"/>
                  <a:pt x="2188" y="819"/>
                </a:cubicBezTo>
                <a:cubicBezTo>
                  <a:pt x="2189" y="818"/>
                  <a:pt x="2189" y="818"/>
                  <a:pt x="2189" y="818"/>
                </a:cubicBezTo>
                <a:cubicBezTo>
                  <a:pt x="2189" y="817"/>
                  <a:pt x="2189" y="817"/>
                  <a:pt x="2189" y="817"/>
                </a:cubicBezTo>
                <a:cubicBezTo>
                  <a:pt x="2190" y="817"/>
                  <a:pt x="2190" y="817"/>
                  <a:pt x="2190" y="817"/>
                </a:cubicBezTo>
                <a:cubicBezTo>
                  <a:pt x="2190" y="816"/>
                  <a:pt x="2190" y="816"/>
                  <a:pt x="2190" y="816"/>
                </a:cubicBezTo>
                <a:cubicBezTo>
                  <a:pt x="2190" y="815"/>
                  <a:pt x="2190" y="815"/>
                  <a:pt x="2190" y="815"/>
                </a:cubicBezTo>
                <a:cubicBezTo>
                  <a:pt x="2187" y="815"/>
                  <a:pt x="2187" y="815"/>
                  <a:pt x="2187" y="815"/>
                </a:cubicBezTo>
                <a:cubicBezTo>
                  <a:pt x="2186" y="816"/>
                  <a:pt x="2186" y="816"/>
                  <a:pt x="2186" y="816"/>
                </a:cubicBezTo>
                <a:cubicBezTo>
                  <a:pt x="2186" y="815"/>
                  <a:pt x="2186" y="815"/>
                  <a:pt x="2186" y="815"/>
                </a:cubicBezTo>
                <a:cubicBezTo>
                  <a:pt x="2184" y="816"/>
                  <a:pt x="2184" y="816"/>
                  <a:pt x="2184" y="816"/>
                </a:cubicBezTo>
                <a:cubicBezTo>
                  <a:pt x="2183" y="816"/>
                  <a:pt x="2183" y="816"/>
                  <a:pt x="2183" y="816"/>
                </a:cubicBezTo>
                <a:cubicBezTo>
                  <a:pt x="2182" y="816"/>
                  <a:pt x="2182" y="816"/>
                  <a:pt x="2182" y="816"/>
                </a:cubicBezTo>
                <a:cubicBezTo>
                  <a:pt x="2180" y="816"/>
                  <a:pt x="2180" y="816"/>
                  <a:pt x="2180" y="816"/>
                </a:cubicBezTo>
                <a:cubicBezTo>
                  <a:pt x="2179" y="816"/>
                  <a:pt x="2179" y="816"/>
                  <a:pt x="2179" y="816"/>
                </a:cubicBezTo>
                <a:cubicBezTo>
                  <a:pt x="2178" y="815"/>
                  <a:pt x="2178" y="815"/>
                  <a:pt x="2178" y="815"/>
                </a:cubicBezTo>
                <a:cubicBezTo>
                  <a:pt x="2178" y="813"/>
                  <a:pt x="2178" y="813"/>
                  <a:pt x="2178" y="813"/>
                </a:cubicBezTo>
                <a:cubicBezTo>
                  <a:pt x="2177" y="812"/>
                  <a:pt x="2177" y="812"/>
                  <a:pt x="2177" y="812"/>
                </a:cubicBezTo>
                <a:cubicBezTo>
                  <a:pt x="2175" y="811"/>
                  <a:pt x="2175" y="811"/>
                  <a:pt x="2175" y="811"/>
                </a:cubicBezTo>
                <a:cubicBezTo>
                  <a:pt x="2175" y="810"/>
                  <a:pt x="2175" y="810"/>
                  <a:pt x="2175" y="810"/>
                </a:cubicBezTo>
                <a:cubicBezTo>
                  <a:pt x="2174" y="810"/>
                  <a:pt x="2174" y="810"/>
                  <a:pt x="2174" y="810"/>
                </a:cubicBezTo>
                <a:cubicBezTo>
                  <a:pt x="2173" y="811"/>
                  <a:pt x="2173" y="811"/>
                  <a:pt x="2173" y="811"/>
                </a:cubicBezTo>
                <a:cubicBezTo>
                  <a:pt x="2172" y="811"/>
                  <a:pt x="2172" y="811"/>
                  <a:pt x="2172" y="811"/>
                </a:cubicBezTo>
                <a:cubicBezTo>
                  <a:pt x="2172" y="810"/>
                  <a:pt x="2172" y="810"/>
                  <a:pt x="2172" y="810"/>
                </a:cubicBezTo>
                <a:cubicBezTo>
                  <a:pt x="2174" y="809"/>
                  <a:pt x="2174" y="809"/>
                  <a:pt x="2174" y="809"/>
                </a:cubicBezTo>
                <a:cubicBezTo>
                  <a:pt x="2174" y="808"/>
                  <a:pt x="2174" y="808"/>
                  <a:pt x="2174" y="808"/>
                </a:cubicBezTo>
                <a:cubicBezTo>
                  <a:pt x="2173" y="807"/>
                  <a:pt x="2173" y="807"/>
                  <a:pt x="2173" y="807"/>
                </a:cubicBezTo>
                <a:cubicBezTo>
                  <a:pt x="2174" y="806"/>
                  <a:pt x="2174" y="806"/>
                  <a:pt x="2174" y="806"/>
                </a:cubicBezTo>
                <a:cubicBezTo>
                  <a:pt x="2176" y="806"/>
                  <a:pt x="2176" y="806"/>
                  <a:pt x="2176" y="806"/>
                </a:cubicBezTo>
                <a:cubicBezTo>
                  <a:pt x="2177" y="806"/>
                  <a:pt x="2177" y="806"/>
                  <a:pt x="2177" y="806"/>
                </a:cubicBezTo>
                <a:cubicBezTo>
                  <a:pt x="2178" y="805"/>
                  <a:pt x="2178" y="805"/>
                  <a:pt x="2178" y="805"/>
                </a:cubicBezTo>
                <a:cubicBezTo>
                  <a:pt x="2180" y="804"/>
                  <a:pt x="2180" y="804"/>
                  <a:pt x="2180" y="804"/>
                </a:cubicBezTo>
                <a:cubicBezTo>
                  <a:pt x="2182" y="803"/>
                  <a:pt x="2182" y="803"/>
                  <a:pt x="2182" y="803"/>
                </a:cubicBezTo>
                <a:cubicBezTo>
                  <a:pt x="2185" y="804"/>
                  <a:pt x="2185" y="804"/>
                  <a:pt x="2185" y="804"/>
                </a:cubicBezTo>
                <a:cubicBezTo>
                  <a:pt x="2187" y="806"/>
                  <a:pt x="2187" y="806"/>
                  <a:pt x="2187" y="806"/>
                </a:cubicBezTo>
                <a:cubicBezTo>
                  <a:pt x="2189" y="806"/>
                  <a:pt x="2189" y="806"/>
                  <a:pt x="2189" y="806"/>
                </a:cubicBezTo>
                <a:cubicBezTo>
                  <a:pt x="2191" y="806"/>
                  <a:pt x="2191" y="806"/>
                  <a:pt x="2191" y="806"/>
                </a:cubicBezTo>
                <a:cubicBezTo>
                  <a:pt x="2192" y="806"/>
                  <a:pt x="2192" y="806"/>
                  <a:pt x="2192" y="806"/>
                </a:cubicBezTo>
                <a:cubicBezTo>
                  <a:pt x="2191" y="807"/>
                  <a:pt x="2191" y="807"/>
                  <a:pt x="2191" y="807"/>
                </a:cubicBezTo>
                <a:cubicBezTo>
                  <a:pt x="2191" y="809"/>
                  <a:pt x="2191" y="809"/>
                  <a:pt x="2191" y="809"/>
                </a:cubicBezTo>
                <a:cubicBezTo>
                  <a:pt x="2193" y="809"/>
                  <a:pt x="2193" y="809"/>
                  <a:pt x="2193" y="809"/>
                </a:cubicBezTo>
                <a:cubicBezTo>
                  <a:pt x="2193" y="811"/>
                  <a:pt x="2193" y="811"/>
                  <a:pt x="2193" y="811"/>
                </a:cubicBezTo>
                <a:cubicBezTo>
                  <a:pt x="2192" y="812"/>
                  <a:pt x="2192" y="812"/>
                  <a:pt x="2192" y="812"/>
                </a:cubicBezTo>
                <a:cubicBezTo>
                  <a:pt x="2191" y="813"/>
                  <a:pt x="2191" y="813"/>
                  <a:pt x="2191" y="813"/>
                </a:cubicBezTo>
                <a:cubicBezTo>
                  <a:pt x="2192" y="815"/>
                  <a:pt x="2192" y="815"/>
                  <a:pt x="2192" y="815"/>
                </a:cubicBezTo>
                <a:cubicBezTo>
                  <a:pt x="2192" y="817"/>
                  <a:pt x="2192" y="817"/>
                  <a:pt x="2192" y="817"/>
                </a:cubicBezTo>
                <a:cubicBezTo>
                  <a:pt x="2193" y="819"/>
                  <a:pt x="2193" y="819"/>
                  <a:pt x="2193" y="819"/>
                </a:cubicBezTo>
                <a:cubicBezTo>
                  <a:pt x="2194" y="820"/>
                  <a:pt x="2194" y="820"/>
                  <a:pt x="2194" y="820"/>
                </a:cubicBezTo>
                <a:cubicBezTo>
                  <a:pt x="2194" y="818"/>
                  <a:pt x="2194" y="818"/>
                  <a:pt x="2194" y="818"/>
                </a:cubicBezTo>
                <a:cubicBezTo>
                  <a:pt x="2195" y="818"/>
                  <a:pt x="2195" y="818"/>
                  <a:pt x="2195" y="818"/>
                </a:cubicBezTo>
                <a:cubicBezTo>
                  <a:pt x="2195" y="819"/>
                  <a:pt x="2195" y="819"/>
                  <a:pt x="2195" y="819"/>
                </a:cubicBezTo>
                <a:cubicBezTo>
                  <a:pt x="2196" y="821"/>
                  <a:pt x="2196" y="821"/>
                  <a:pt x="2196" y="821"/>
                </a:cubicBezTo>
                <a:cubicBezTo>
                  <a:pt x="2198" y="823"/>
                  <a:pt x="2198" y="823"/>
                  <a:pt x="2198" y="823"/>
                </a:cubicBezTo>
                <a:cubicBezTo>
                  <a:pt x="2199" y="823"/>
                  <a:pt x="2199" y="823"/>
                  <a:pt x="2199" y="823"/>
                </a:cubicBezTo>
                <a:cubicBezTo>
                  <a:pt x="2200" y="823"/>
                  <a:pt x="2200" y="823"/>
                  <a:pt x="2200" y="823"/>
                </a:cubicBezTo>
                <a:cubicBezTo>
                  <a:pt x="2201" y="823"/>
                  <a:pt x="2201" y="823"/>
                  <a:pt x="2201" y="823"/>
                </a:cubicBezTo>
                <a:cubicBezTo>
                  <a:pt x="2201" y="822"/>
                  <a:pt x="2201" y="822"/>
                  <a:pt x="2201" y="822"/>
                </a:cubicBezTo>
                <a:cubicBezTo>
                  <a:pt x="2202" y="821"/>
                  <a:pt x="2202" y="821"/>
                  <a:pt x="2202" y="821"/>
                </a:cubicBezTo>
                <a:cubicBezTo>
                  <a:pt x="2203" y="821"/>
                  <a:pt x="2203" y="821"/>
                  <a:pt x="2203" y="821"/>
                </a:cubicBezTo>
                <a:cubicBezTo>
                  <a:pt x="2203" y="819"/>
                  <a:pt x="2203" y="819"/>
                  <a:pt x="2203" y="819"/>
                </a:cubicBezTo>
                <a:cubicBezTo>
                  <a:pt x="2203" y="818"/>
                  <a:pt x="2203" y="818"/>
                  <a:pt x="2203" y="818"/>
                </a:cubicBezTo>
                <a:cubicBezTo>
                  <a:pt x="2205" y="818"/>
                  <a:pt x="2205" y="818"/>
                  <a:pt x="2205" y="818"/>
                </a:cubicBezTo>
                <a:cubicBezTo>
                  <a:pt x="2206" y="817"/>
                  <a:pt x="2206" y="817"/>
                  <a:pt x="2206" y="817"/>
                </a:cubicBezTo>
                <a:cubicBezTo>
                  <a:pt x="2206" y="816"/>
                  <a:pt x="2206" y="816"/>
                  <a:pt x="2206" y="816"/>
                </a:cubicBezTo>
                <a:cubicBezTo>
                  <a:pt x="2206" y="815"/>
                  <a:pt x="2206" y="815"/>
                  <a:pt x="2206" y="815"/>
                </a:cubicBezTo>
                <a:cubicBezTo>
                  <a:pt x="2207" y="816"/>
                  <a:pt x="2207" y="816"/>
                  <a:pt x="2207" y="816"/>
                </a:cubicBezTo>
                <a:cubicBezTo>
                  <a:pt x="2208" y="816"/>
                  <a:pt x="2208" y="816"/>
                  <a:pt x="2208" y="816"/>
                </a:cubicBezTo>
                <a:cubicBezTo>
                  <a:pt x="2209" y="815"/>
                  <a:pt x="2209" y="815"/>
                  <a:pt x="2209" y="815"/>
                </a:cubicBezTo>
                <a:cubicBezTo>
                  <a:pt x="2211" y="815"/>
                  <a:pt x="2211" y="815"/>
                  <a:pt x="2211" y="815"/>
                </a:cubicBezTo>
                <a:cubicBezTo>
                  <a:pt x="2211" y="814"/>
                  <a:pt x="2211" y="814"/>
                  <a:pt x="2211" y="814"/>
                </a:cubicBezTo>
                <a:cubicBezTo>
                  <a:pt x="2210" y="813"/>
                  <a:pt x="2210" y="813"/>
                  <a:pt x="2210" y="813"/>
                </a:cubicBezTo>
                <a:cubicBezTo>
                  <a:pt x="2211" y="812"/>
                  <a:pt x="2211" y="812"/>
                  <a:pt x="2211" y="812"/>
                </a:cubicBezTo>
                <a:cubicBezTo>
                  <a:pt x="2214" y="810"/>
                  <a:pt x="2214" y="810"/>
                  <a:pt x="2214" y="810"/>
                </a:cubicBezTo>
                <a:cubicBezTo>
                  <a:pt x="2215" y="811"/>
                  <a:pt x="2215" y="811"/>
                  <a:pt x="2215" y="811"/>
                </a:cubicBezTo>
                <a:cubicBezTo>
                  <a:pt x="2216" y="811"/>
                  <a:pt x="2216" y="811"/>
                  <a:pt x="2216" y="811"/>
                </a:cubicBezTo>
                <a:cubicBezTo>
                  <a:pt x="2218" y="812"/>
                  <a:pt x="2218" y="812"/>
                  <a:pt x="2218" y="812"/>
                </a:cubicBezTo>
                <a:cubicBezTo>
                  <a:pt x="2220" y="813"/>
                  <a:pt x="2220" y="813"/>
                  <a:pt x="2220" y="813"/>
                </a:cubicBezTo>
                <a:cubicBezTo>
                  <a:pt x="2221" y="814"/>
                  <a:pt x="2221" y="814"/>
                  <a:pt x="2221" y="814"/>
                </a:cubicBezTo>
                <a:cubicBezTo>
                  <a:pt x="2223" y="814"/>
                  <a:pt x="2223" y="814"/>
                  <a:pt x="2223" y="814"/>
                </a:cubicBezTo>
                <a:cubicBezTo>
                  <a:pt x="2224" y="814"/>
                  <a:pt x="2224" y="814"/>
                  <a:pt x="2224" y="814"/>
                </a:cubicBezTo>
                <a:cubicBezTo>
                  <a:pt x="2228" y="816"/>
                  <a:pt x="2228" y="816"/>
                  <a:pt x="2228" y="816"/>
                </a:cubicBezTo>
                <a:cubicBezTo>
                  <a:pt x="2229" y="816"/>
                  <a:pt x="2229" y="816"/>
                  <a:pt x="2229" y="816"/>
                </a:cubicBezTo>
                <a:cubicBezTo>
                  <a:pt x="2230" y="816"/>
                  <a:pt x="2230" y="816"/>
                  <a:pt x="2230" y="816"/>
                </a:cubicBezTo>
                <a:cubicBezTo>
                  <a:pt x="2231" y="816"/>
                  <a:pt x="2231" y="816"/>
                  <a:pt x="2231" y="816"/>
                </a:cubicBezTo>
                <a:cubicBezTo>
                  <a:pt x="2232" y="816"/>
                  <a:pt x="2232" y="816"/>
                  <a:pt x="2232" y="816"/>
                </a:cubicBezTo>
                <a:cubicBezTo>
                  <a:pt x="2233" y="817"/>
                  <a:pt x="2233" y="817"/>
                  <a:pt x="2233" y="817"/>
                </a:cubicBezTo>
                <a:cubicBezTo>
                  <a:pt x="2233" y="818"/>
                  <a:pt x="2233" y="818"/>
                  <a:pt x="2233" y="818"/>
                </a:cubicBezTo>
                <a:cubicBezTo>
                  <a:pt x="2234" y="819"/>
                  <a:pt x="2234" y="819"/>
                  <a:pt x="2234" y="819"/>
                </a:cubicBezTo>
                <a:cubicBezTo>
                  <a:pt x="2235" y="818"/>
                  <a:pt x="2235" y="818"/>
                  <a:pt x="2235" y="818"/>
                </a:cubicBezTo>
                <a:cubicBezTo>
                  <a:pt x="2235" y="818"/>
                  <a:pt x="2235" y="818"/>
                  <a:pt x="2236" y="818"/>
                </a:cubicBezTo>
                <a:cubicBezTo>
                  <a:pt x="2236" y="818"/>
                  <a:pt x="2236" y="818"/>
                  <a:pt x="2238" y="819"/>
                </a:cubicBezTo>
                <a:cubicBezTo>
                  <a:pt x="2238" y="819"/>
                  <a:pt x="2238" y="819"/>
                  <a:pt x="2239" y="820"/>
                </a:cubicBezTo>
                <a:cubicBezTo>
                  <a:pt x="2239" y="820"/>
                  <a:pt x="2239" y="820"/>
                  <a:pt x="2240" y="820"/>
                </a:cubicBezTo>
                <a:cubicBezTo>
                  <a:pt x="2240" y="820"/>
                  <a:pt x="2240" y="820"/>
                  <a:pt x="2242" y="821"/>
                </a:cubicBezTo>
                <a:cubicBezTo>
                  <a:pt x="2242" y="821"/>
                  <a:pt x="2242" y="821"/>
                  <a:pt x="2243" y="821"/>
                </a:cubicBezTo>
                <a:cubicBezTo>
                  <a:pt x="2243" y="821"/>
                  <a:pt x="2243" y="821"/>
                  <a:pt x="2244" y="821"/>
                </a:cubicBezTo>
                <a:cubicBezTo>
                  <a:pt x="2244" y="821"/>
                  <a:pt x="2244" y="821"/>
                  <a:pt x="2244" y="822"/>
                </a:cubicBezTo>
                <a:cubicBezTo>
                  <a:pt x="2244" y="822"/>
                  <a:pt x="2244" y="822"/>
                  <a:pt x="2246" y="822"/>
                </a:cubicBezTo>
                <a:cubicBezTo>
                  <a:pt x="2246" y="822"/>
                  <a:pt x="2246" y="822"/>
                  <a:pt x="2249" y="823"/>
                </a:cubicBezTo>
                <a:cubicBezTo>
                  <a:pt x="2249" y="823"/>
                  <a:pt x="2249" y="823"/>
                  <a:pt x="2251" y="824"/>
                </a:cubicBezTo>
                <a:cubicBezTo>
                  <a:pt x="2251" y="824"/>
                  <a:pt x="2251" y="824"/>
                  <a:pt x="2253" y="824"/>
                </a:cubicBezTo>
                <a:cubicBezTo>
                  <a:pt x="2253" y="824"/>
                  <a:pt x="2253" y="824"/>
                  <a:pt x="2254" y="825"/>
                </a:cubicBezTo>
                <a:cubicBezTo>
                  <a:pt x="2254" y="825"/>
                  <a:pt x="2254" y="825"/>
                  <a:pt x="2255" y="826"/>
                </a:cubicBezTo>
                <a:cubicBezTo>
                  <a:pt x="2255" y="826"/>
                  <a:pt x="2255" y="826"/>
                  <a:pt x="2256" y="826"/>
                </a:cubicBezTo>
                <a:cubicBezTo>
                  <a:pt x="2256" y="826"/>
                  <a:pt x="2256" y="826"/>
                  <a:pt x="2257" y="826"/>
                </a:cubicBezTo>
                <a:cubicBezTo>
                  <a:pt x="2257" y="826"/>
                  <a:pt x="2257" y="826"/>
                  <a:pt x="2258" y="827"/>
                </a:cubicBezTo>
                <a:cubicBezTo>
                  <a:pt x="2258" y="827"/>
                  <a:pt x="2258" y="827"/>
                  <a:pt x="2259" y="827"/>
                </a:cubicBezTo>
                <a:cubicBezTo>
                  <a:pt x="2259" y="827"/>
                  <a:pt x="2259" y="827"/>
                  <a:pt x="2259" y="828"/>
                </a:cubicBezTo>
                <a:cubicBezTo>
                  <a:pt x="2259" y="828"/>
                  <a:pt x="2259" y="828"/>
                  <a:pt x="2261" y="829"/>
                </a:cubicBezTo>
                <a:cubicBezTo>
                  <a:pt x="2261" y="829"/>
                  <a:pt x="2261" y="829"/>
                  <a:pt x="2261" y="830"/>
                </a:cubicBezTo>
                <a:cubicBezTo>
                  <a:pt x="2261" y="830"/>
                  <a:pt x="2261" y="830"/>
                  <a:pt x="2262" y="830"/>
                </a:cubicBezTo>
                <a:cubicBezTo>
                  <a:pt x="2262" y="830"/>
                  <a:pt x="2262" y="830"/>
                  <a:pt x="2262" y="829"/>
                </a:cubicBezTo>
                <a:cubicBezTo>
                  <a:pt x="2262" y="829"/>
                  <a:pt x="2262" y="829"/>
                  <a:pt x="2265" y="832"/>
                </a:cubicBezTo>
                <a:cubicBezTo>
                  <a:pt x="2265" y="832"/>
                  <a:pt x="2265" y="832"/>
                  <a:pt x="2265" y="833"/>
                </a:cubicBezTo>
                <a:cubicBezTo>
                  <a:pt x="2265" y="833"/>
                  <a:pt x="2265" y="833"/>
                  <a:pt x="2265" y="834"/>
                </a:cubicBezTo>
                <a:cubicBezTo>
                  <a:pt x="2265" y="834"/>
                  <a:pt x="2265" y="834"/>
                  <a:pt x="2264" y="835"/>
                </a:cubicBezTo>
                <a:cubicBezTo>
                  <a:pt x="2264" y="835"/>
                  <a:pt x="2264" y="835"/>
                  <a:pt x="2265" y="836"/>
                </a:cubicBezTo>
                <a:cubicBezTo>
                  <a:pt x="2265" y="836"/>
                  <a:pt x="2265" y="836"/>
                  <a:pt x="2268" y="837"/>
                </a:cubicBezTo>
                <a:cubicBezTo>
                  <a:pt x="2268" y="837"/>
                  <a:pt x="2268" y="837"/>
                  <a:pt x="2269" y="837"/>
                </a:cubicBezTo>
                <a:cubicBezTo>
                  <a:pt x="2269" y="837"/>
                  <a:pt x="2269" y="837"/>
                  <a:pt x="2270" y="838"/>
                </a:cubicBezTo>
                <a:cubicBezTo>
                  <a:pt x="2270" y="838"/>
                  <a:pt x="2270" y="838"/>
                  <a:pt x="2272" y="839"/>
                </a:cubicBezTo>
                <a:cubicBezTo>
                  <a:pt x="2272" y="839"/>
                  <a:pt x="2272" y="839"/>
                  <a:pt x="2274" y="840"/>
                </a:cubicBezTo>
                <a:cubicBezTo>
                  <a:pt x="2274" y="840"/>
                  <a:pt x="2274" y="840"/>
                  <a:pt x="2276" y="840"/>
                </a:cubicBezTo>
                <a:cubicBezTo>
                  <a:pt x="2276" y="840"/>
                  <a:pt x="2276" y="840"/>
                  <a:pt x="2277" y="842"/>
                </a:cubicBezTo>
                <a:cubicBezTo>
                  <a:pt x="2277" y="842"/>
                  <a:pt x="2277" y="842"/>
                  <a:pt x="2278" y="843"/>
                </a:cubicBezTo>
                <a:cubicBezTo>
                  <a:pt x="2278" y="843"/>
                  <a:pt x="2278" y="843"/>
                  <a:pt x="2277" y="844"/>
                </a:cubicBezTo>
                <a:cubicBezTo>
                  <a:pt x="2277" y="844"/>
                  <a:pt x="2277" y="844"/>
                  <a:pt x="2275" y="845"/>
                </a:cubicBezTo>
                <a:cubicBezTo>
                  <a:pt x="2275" y="845"/>
                  <a:pt x="2275" y="845"/>
                  <a:pt x="2272" y="845"/>
                </a:cubicBezTo>
                <a:cubicBezTo>
                  <a:pt x="2272" y="845"/>
                  <a:pt x="2272" y="845"/>
                  <a:pt x="2272" y="846"/>
                </a:cubicBezTo>
                <a:cubicBezTo>
                  <a:pt x="2272" y="846"/>
                  <a:pt x="2272" y="846"/>
                  <a:pt x="2273" y="847"/>
                </a:cubicBezTo>
                <a:cubicBezTo>
                  <a:pt x="2273" y="847"/>
                  <a:pt x="2273" y="847"/>
                  <a:pt x="2274" y="848"/>
                </a:cubicBezTo>
                <a:cubicBezTo>
                  <a:pt x="2274" y="848"/>
                  <a:pt x="2274" y="848"/>
                  <a:pt x="2274" y="849"/>
                </a:cubicBezTo>
                <a:cubicBezTo>
                  <a:pt x="2274" y="849"/>
                  <a:pt x="2274" y="849"/>
                  <a:pt x="2275" y="851"/>
                </a:cubicBezTo>
                <a:cubicBezTo>
                  <a:pt x="2275" y="851"/>
                  <a:pt x="2275" y="851"/>
                  <a:pt x="2276" y="852"/>
                </a:cubicBezTo>
                <a:cubicBezTo>
                  <a:pt x="2276" y="852"/>
                  <a:pt x="2276" y="852"/>
                  <a:pt x="2277" y="852"/>
                </a:cubicBezTo>
                <a:cubicBezTo>
                  <a:pt x="2277" y="852"/>
                  <a:pt x="2277" y="852"/>
                  <a:pt x="2278" y="852"/>
                </a:cubicBezTo>
                <a:cubicBezTo>
                  <a:pt x="2278" y="852"/>
                  <a:pt x="2278" y="852"/>
                  <a:pt x="2279" y="853"/>
                </a:cubicBezTo>
                <a:cubicBezTo>
                  <a:pt x="2279" y="853"/>
                  <a:pt x="2279" y="853"/>
                  <a:pt x="2279" y="854"/>
                </a:cubicBezTo>
                <a:cubicBezTo>
                  <a:pt x="2279" y="854"/>
                  <a:pt x="2279" y="854"/>
                  <a:pt x="2280" y="856"/>
                </a:cubicBezTo>
                <a:close/>
                <a:moveTo>
                  <a:pt x="2240" y="852"/>
                </a:moveTo>
                <a:cubicBezTo>
                  <a:pt x="2240" y="852"/>
                  <a:pt x="2240" y="852"/>
                  <a:pt x="2241" y="853"/>
                </a:cubicBezTo>
                <a:cubicBezTo>
                  <a:pt x="2241" y="853"/>
                  <a:pt x="2241" y="853"/>
                  <a:pt x="2241" y="852"/>
                </a:cubicBezTo>
                <a:cubicBezTo>
                  <a:pt x="2241" y="852"/>
                  <a:pt x="2241" y="852"/>
                  <a:pt x="2239" y="851"/>
                </a:cubicBezTo>
                <a:cubicBezTo>
                  <a:pt x="2239" y="851"/>
                  <a:pt x="2239" y="851"/>
                  <a:pt x="2240" y="852"/>
                </a:cubicBezTo>
                <a:close/>
                <a:moveTo>
                  <a:pt x="2242" y="855"/>
                </a:moveTo>
                <a:cubicBezTo>
                  <a:pt x="2242" y="855"/>
                  <a:pt x="2242" y="855"/>
                  <a:pt x="2243" y="855"/>
                </a:cubicBezTo>
                <a:cubicBezTo>
                  <a:pt x="2243" y="855"/>
                  <a:pt x="2243" y="855"/>
                  <a:pt x="2242" y="854"/>
                </a:cubicBezTo>
                <a:cubicBezTo>
                  <a:pt x="2242" y="854"/>
                  <a:pt x="2242" y="854"/>
                  <a:pt x="2241" y="854"/>
                </a:cubicBezTo>
                <a:cubicBezTo>
                  <a:pt x="2241" y="855"/>
                  <a:pt x="2241" y="855"/>
                  <a:pt x="2241" y="855"/>
                </a:cubicBezTo>
                <a:cubicBezTo>
                  <a:pt x="2241" y="855"/>
                  <a:pt x="2241" y="855"/>
                  <a:pt x="2242" y="855"/>
                </a:cubicBezTo>
                <a:close/>
                <a:moveTo>
                  <a:pt x="2326" y="839"/>
                </a:moveTo>
                <a:cubicBezTo>
                  <a:pt x="2326" y="839"/>
                  <a:pt x="2326" y="839"/>
                  <a:pt x="2324" y="839"/>
                </a:cubicBezTo>
                <a:cubicBezTo>
                  <a:pt x="2324" y="839"/>
                  <a:pt x="2324" y="839"/>
                  <a:pt x="2324" y="837"/>
                </a:cubicBezTo>
                <a:cubicBezTo>
                  <a:pt x="2324" y="837"/>
                  <a:pt x="2324" y="837"/>
                  <a:pt x="2323" y="836"/>
                </a:cubicBezTo>
                <a:cubicBezTo>
                  <a:pt x="2323" y="836"/>
                  <a:pt x="2323" y="836"/>
                  <a:pt x="2322" y="836"/>
                </a:cubicBezTo>
                <a:cubicBezTo>
                  <a:pt x="2322" y="836"/>
                  <a:pt x="2322" y="836"/>
                  <a:pt x="2321" y="837"/>
                </a:cubicBezTo>
                <a:cubicBezTo>
                  <a:pt x="2321" y="837"/>
                  <a:pt x="2321" y="837"/>
                  <a:pt x="2322" y="838"/>
                </a:cubicBezTo>
                <a:cubicBezTo>
                  <a:pt x="2322" y="838"/>
                  <a:pt x="2322" y="838"/>
                  <a:pt x="2322" y="840"/>
                </a:cubicBezTo>
                <a:cubicBezTo>
                  <a:pt x="2322" y="840"/>
                  <a:pt x="2322" y="840"/>
                  <a:pt x="2323" y="841"/>
                </a:cubicBezTo>
                <a:cubicBezTo>
                  <a:pt x="2323" y="841"/>
                  <a:pt x="2323" y="841"/>
                  <a:pt x="2324" y="843"/>
                </a:cubicBezTo>
                <a:cubicBezTo>
                  <a:pt x="2324" y="843"/>
                  <a:pt x="2324" y="843"/>
                  <a:pt x="2324" y="844"/>
                </a:cubicBezTo>
                <a:cubicBezTo>
                  <a:pt x="2324" y="844"/>
                  <a:pt x="2324" y="844"/>
                  <a:pt x="2324" y="845"/>
                </a:cubicBezTo>
                <a:cubicBezTo>
                  <a:pt x="2324" y="845"/>
                  <a:pt x="2324" y="845"/>
                  <a:pt x="2325" y="845"/>
                </a:cubicBezTo>
                <a:cubicBezTo>
                  <a:pt x="2325" y="845"/>
                  <a:pt x="2325" y="845"/>
                  <a:pt x="2326" y="845"/>
                </a:cubicBezTo>
                <a:cubicBezTo>
                  <a:pt x="2326" y="845"/>
                  <a:pt x="2326" y="845"/>
                  <a:pt x="2328" y="845"/>
                </a:cubicBezTo>
                <a:cubicBezTo>
                  <a:pt x="2328" y="845"/>
                  <a:pt x="2328" y="845"/>
                  <a:pt x="2328" y="844"/>
                </a:cubicBezTo>
                <a:cubicBezTo>
                  <a:pt x="2328" y="844"/>
                  <a:pt x="2328" y="844"/>
                  <a:pt x="2329" y="844"/>
                </a:cubicBezTo>
                <a:cubicBezTo>
                  <a:pt x="2329" y="844"/>
                  <a:pt x="2329" y="844"/>
                  <a:pt x="2329" y="842"/>
                </a:cubicBezTo>
                <a:cubicBezTo>
                  <a:pt x="2329" y="842"/>
                  <a:pt x="2329" y="842"/>
                  <a:pt x="2328" y="841"/>
                </a:cubicBezTo>
                <a:cubicBezTo>
                  <a:pt x="2328" y="841"/>
                  <a:pt x="2328" y="841"/>
                  <a:pt x="2326" y="839"/>
                </a:cubicBezTo>
                <a:close/>
                <a:moveTo>
                  <a:pt x="2314" y="877"/>
                </a:moveTo>
                <a:cubicBezTo>
                  <a:pt x="2313" y="877"/>
                  <a:pt x="2313" y="877"/>
                  <a:pt x="2313" y="877"/>
                </a:cubicBezTo>
                <a:cubicBezTo>
                  <a:pt x="2312" y="877"/>
                  <a:pt x="2312" y="877"/>
                  <a:pt x="2312" y="877"/>
                </a:cubicBezTo>
                <a:cubicBezTo>
                  <a:pt x="2313" y="878"/>
                  <a:pt x="2313" y="878"/>
                  <a:pt x="2313" y="878"/>
                </a:cubicBezTo>
                <a:cubicBezTo>
                  <a:pt x="2314" y="877"/>
                  <a:pt x="2314" y="877"/>
                  <a:pt x="2314" y="877"/>
                </a:cubicBezTo>
                <a:close/>
                <a:moveTo>
                  <a:pt x="2315" y="876"/>
                </a:moveTo>
                <a:cubicBezTo>
                  <a:pt x="2315" y="876"/>
                  <a:pt x="2315" y="876"/>
                  <a:pt x="2316" y="876"/>
                </a:cubicBezTo>
                <a:cubicBezTo>
                  <a:pt x="2316" y="876"/>
                  <a:pt x="2316" y="876"/>
                  <a:pt x="2317" y="876"/>
                </a:cubicBezTo>
                <a:cubicBezTo>
                  <a:pt x="2317" y="876"/>
                  <a:pt x="2317" y="876"/>
                  <a:pt x="2317" y="875"/>
                </a:cubicBezTo>
                <a:cubicBezTo>
                  <a:pt x="2317" y="875"/>
                  <a:pt x="2317" y="875"/>
                  <a:pt x="2316" y="875"/>
                </a:cubicBezTo>
                <a:cubicBezTo>
                  <a:pt x="2316" y="875"/>
                  <a:pt x="2316" y="875"/>
                  <a:pt x="2315" y="876"/>
                </a:cubicBezTo>
                <a:close/>
                <a:moveTo>
                  <a:pt x="2305" y="837"/>
                </a:moveTo>
                <a:cubicBezTo>
                  <a:pt x="2306" y="835"/>
                  <a:pt x="2306" y="835"/>
                  <a:pt x="2306" y="835"/>
                </a:cubicBezTo>
                <a:cubicBezTo>
                  <a:pt x="2304" y="834"/>
                  <a:pt x="2304" y="834"/>
                  <a:pt x="2304" y="834"/>
                </a:cubicBezTo>
                <a:cubicBezTo>
                  <a:pt x="2304" y="833"/>
                  <a:pt x="2304" y="833"/>
                  <a:pt x="2304" y="833"/>
                </a:cubicBezTo>
                <a:cubicBezTo>
                  <a:pt x="2305" y="833"/>
                  <a:pt x="2305" y="833"/>
                  <a:pt x="2305" y="833"/>
                </a:cubicBezTo>
                <a:cubicBezTo>
                  <a:pt x="2306" y="833"/>
                  <a:pt x="2306" y="833"/>
                  <a:pt x="2306" y="833"/>
                </a:cubicBezTo>
                <a:cubicBezTo>
                  <a:pt x="2307" y="832"/>
                  <a:pt x="2307" y="832"/>
                  <a:pt x="2307" y="832"/>
                </a:cubicBezTo>
                <a:cubicBezTo>
                  <a:pt x="2307" y="829"/>
                  <a:pt x="2307" y="829"/>
                  <a:pt x="2307" y="829"/>
                </a:cubicBezTo>
                <a:cubicBezTo>
                  <a:pt x="2306" y="828"/>
                  <a:pt x="2306" y="828"/>
                  <a:pt x="2306" y="828"/>
                </a:cubicBezTo>
                <a:cubicBezTo>
                  <a:pt x="2305" y="828"/>
                  <a:pt x="2305" y="828"/>
                  <a:pt x="2305" y="828"/>
                </a:cubicBezTo>
                <a:cubicBezTo>
                  <a:pt x="2305" y="829"/>
                  <a:pt x="2305" y="829"/>
                  <a:pt x="2305" y="829"/>
                </a:cubicBezTo>
                <a:cubicBezTo>
                  <a:pt x="2304" y="828"/>
                  <a:pt x="2304" y="828"/>
                  <a:pt x="2304" y="828"/>
                </a:cubicBezTo>
                <a:cubicBezTo>
                  <a:pt x="2302" y="828"/>
                  <a:pt x="2302" y="828"/>
                  <a:pt x="2302" y="828"/>
                </a:cubicBezTo>
                <a:cubicBezTo>
                  <a:pt x="2302" y="829"/>
                  <a:pt x="2302" y="829"/>
                  <a:pt x="2302" y="829"/>
                </a:cubicBezTo>
                <a:cubicBezTo>
                  <a:pt x="2302" y="832"/>
                  <a:pt x="2302" y="832"/>
                  <a:pt x="2302" y="832"/>
                </a:cubicBezTo>
                <a:cubicBezTo>
                  <a:pt x="2303" y="832"/>
                  <a:pt x="2303" y="832"/>
                  <a:pt x="2303" y="832"/>
                </a:cubicBezTo>
                <a:cubicBezTo>
                  <a:pt x="2302" y="833"/>
                  <a:pt x="2302" y="833"/>
                  <a:pt x="2302" y="833"/>
                </a:cubicBezTo>
                <a:cubicBezTo>
                  <a:pt x="2301" y="833"/>
                  <a:pt x="2301" y="833"/>
                  <a:pt x="2301" y="833"/>
                </a:cubicBezTo>
                <a:cubicBezTo>
                  <a:pt x="2299" y="835"/>
                  <a:pt x="2299" y="835"/>
                  <a:pt x="2299" y="835"/>
                </a:cubicBezTo>
                <a:cubicBezTo>
                  <a:pt x="2298" y="836"/>
                  <a:pt x="2298" y="836"/>
                  <a:pt x="2298" y="836"/>
                </a:cubicBezTo>
                <a:cubicBezTo>
                  <a:pt x="2297" y="837"/>
                  <a:pt x="2297" y="837"/>
                  <a:pt x="2297" y="837"/>
                </a:cubicBezTo>
                <a:cubicBezTo>
                  <a:pt x="2297" y="836"/>
                  <a:pt x="2297" y="836"/>
                  <a:pt x="2297" y="836"/>
                </a:cubicBezTo>
                <a:cubicBezTo>
                  <a:pt x="2296" y="837"/>
                  <a:pt x="2296" y="837"/>
                  <a:pt x="2296" y="837"/>
                </a:cubicBezTo>
                <a:cubicBezTo>
                  <a:pt x="2295" y="836"/>
                  <a:pt x="2295" y="836"/>
                  <a:pt x="2295" y="836"/>
                </a:cubicBezTo>
                <a:cubicBezTo>
                  <a:pt x="2294" y="836"/>
                  <a:pt x="2294" y="836"/>
                  <a:pt x="2294" y="836"/>
                </a:cubicBezTo>
                <a:cubicBezTo>
                  <a:pt x="2293" y="837"/>
                  <a:pt x="2293" y="837"/>
                  <a:pt x="2293" y="837"/>
                </a:cubicBezTo>
                <a:cubicBezTo>
                  <a:pt x="2292" y="837"/>
                  <a:pt x="2292" y="837"/>
                  <a:pt x="2292" y="837"/>
                </a:cubicBezTo>
                <a:cubicBezTo>
                  <a:pt x="2292" y="836"/>
                  <a:pt x="2292" y="836"/>
                  <a:pt x="2292" y="836"/>
                </a:cubicBezTo>
                <a:cubicBezTo>
                  <a:pt x="2292" y="835"/>
                  <a:pt x="2292" y="835"/>
                  <a:pt x="2292" y="835"/>
                </a:cubicBezTo>
                <a:cubicBezTo>
                  <a:pt x="2291" y="834"/>
                  <a:pt x="2291" y="834"/>
                  <a:pt x="2291" y="834"/>
                </a:cubicBezTo>
                <a:cubicBezTo>
                  <a:pt x="2291" y="835"/>
                  <a:pt x="2291" y="835"/>
                  <a:pt x="2291" y="835"/>
                </a:cubicBezTo>
                <a:cubicBezTo>
                  <a:pt x="2291" y="836"/>
                  <a:pt x="2291" y="836"/>
                  <a:pt x="2291" y="836"/>
                </a:cubicBezTo>
                <a:cubicBezTo>
                  <a:pt x="2290" y="836"/>
                  <a:pt x="2290" y="836"/>
                  <a:pt x="2290" y="836"/>
                </a:cubicBezTo>
                <a:cubicBezTo>
                  <a:pt x="2289" y="836"/>
                  <a:pt x="2289" y="836"/>
                  <a:pt x="2289" y="836"/>
                </a:cubicBezTo>
                <a:cubicBezTo>
                  <a:pt x="2287" y="837"/>
                  <a:pt x="2287" y="837"/>
                  <a:pt x="2287" y="837"/>
                </a:cubicBezTo>
                <a:cubicBezTo>
                  <a:pt x="2286" y="837"/>
                  <a:pt x="2286" y="837"/>
                  <a:pt x="2286" y="837"/>
                </a:cubicBezTo>
                <a:cubicBezTo>
                  <a:pt x="2285" y="836"/>
                  <a:pt x="2285" y="836"/>
                  <a:pt x="2285" y="836"/>
                </a:cubicBezTo>
                <a:cubicBezTo>
                  <a:pt x="2284" y="836"/>
                  <a:pt x="2284" y="836"/>
                  <a:pt x="2284" y="836"/>
                </a:cubicBezTo>
                <a:cubicBezTo>
                  <a:pt x="2283" y="836"/>
                  <a:pt x="2283" y="836"/>
                  <a:pt x="2283" y="836"/>
                </a:cubicBezTo>
                <a:cubicBezTo>
                  <a:pt x="2281" y="836"/>
                  <a:pt x="2281" y="836"/>
                  <a:pt x="2281" y="836"/>
                </a:cubicBezTo>
                <a:cubicBezTo>
                  <a:pt x="2281" y="837"/>
                  <a:pt x="2281" y="837"/>
                  <a:pt x="2281" y="837"/>
                </a:cubicBezTo>
                <a:cubicBezTo>
                  <a:pt x="2282" y="839"/>
                  <a:pt x="2282" y="839"/>
                  <a:pt x="2282" y="839"/>
                </a:cubicBezTo>
                <a:cubicBezTo>
                  <a:pt x="2283" y="839"/>
                  <a:pt x="2283" y="839"/>
                  <a:pt x="2283" y="839"/>
                </a:cubicBezTo>
                <a:cubicBezTo>
                  <a:pt x="2285" y="840"/>
                  <a:pt x="2285" y="840"/>
                  <a:pt x="2285" y="840"/>
                </a:cubicBezTo>
                <a:cubicBezTo>
                  <a:pt x="2285" y="841"/>
                  <a:pt x="2285" y="841"/>
                  <a:pt x="2285" y="841"/>
                </a:cubicBezTo>
                <a:cubicBezTo>
                  <a:pt x="2286" y="841"/>
                  <a:pt x="2286" y="841"/>
                  <a:pt x="2286" y="841"/>
                </a:cubicBezTo>
                <a:cubicBezTo>
                  <a:pt x="2288" y="841"/>
                  <a:pt x="2288" y="841"/>
                  <a:pt x="2288" y="841"/>
                </a:cubicBezTo>
                <a:cubicBezTo>
                  <a:pt x="2289" y="842"/>
                  <a:pt x="2289" y="842"/>
                  <a:pt x="2289" y="842"/>
                </a:cubicBezTo>
                <a:cubicBezTo>
                  <a:pt x="2290" y="842"/>
                  <a:pt x="2290" y="842"/>
                  <a:pt x="2290" y="842"/>
                </a:cubicBezTo>
                <a:cubicBezTo>
                  <a:pt x="2291" y="842"/>
                  <a:pt x="2291" y="842"/>
                  <a:pt x="2291" y="842"/>
                </a:cubicBezTo>
                <a:cubicBezTo>
                  <a:pt x="2294" y="841"/>
                  <a:pt x="2294" y="841"/>
                  <a:pt x="2294" y="841"/>
                </a:cubicBezTo>
                <a:cubicBezTo>
                  <a:pt x="2295" y="842"/>
                  <a:pt x="2295" y="842"/>
                  <a:pt x="2295" y="842"/>
                </a:cubicBezTo>
                <a:cubicBezTo>
                  <a:pt x="2296" y="841"/>
                  <a:pt x="2296" y="841"/>
                  <a:pt x="2296" y="841"/>
                </a:cubicBezTo>
                <a:cubicBezTo>
                  <a:pt x="2297" y="842"/>
                  <a:pt x="2297" y="842"/>
                  <a:pt x="2297" y="842"/>
                </a:cubicBezTo>
                <a:cubicBezTo>
                  <a:pt x="2298" y="841"/>
                  <a:pt x="2298" y="841"/>
                  <a:pt x="2298" y="841"/>
                </a:cubicBezTo>
                <a:cubicBezTo>
                  <a:pt x="2298" y="840"/>
                  <a:pt x="2298" y="840"/>
                  <a:pt x="2298" y="840"/>
                </a:cubicBezTo>
                <a:cubicBezTo>
                  <a:pt x="2300" y="840"/>
                  <a:pt x="2300" y="840"/>
                  <a:pt x="2300" y="840"/>
                </a:cubicBezTo>
                <a:cubicBezTo>
                  <a:pt x="2302" y="838"/>
                  <a:pt x="2302" y="838"/>
                  <a:pt x="2302" y="838"/>
                </a:cubicBezTo>
                <a:cubicBezTo>
                  <a:pt x="2302" y="837"/>
                  <a:pt x="2302" y="837"/>
                  <a:pt x="2302" y="837"/>
                </a:cubicBezTo>
                <a:cubicBezTo>
                  <a:pt x="2303" y="836"/>
                  <a:pt x="2303" y="836"/>
                  <a:pt x="2303" y="836"/>
                </a:cubicBezTo>
                <a:cubicBezTo>
                  <a:pt x="2303" y="837"/>
                  <a:pt x="2303" y="837"/>
                  <a:pt x="2303" y="837"/>
                </a:cubicBezTo>
                <a:cubicBezTo>
                  <a:pt x="2305" y="837"/>
                  <a:pt x="2305" y="837"/>
                  <a:pt x="2305" y="837"/>
                </a:cubicBezTo>
                <a:close/>
                <a:moveTo>
                  <a:pt x="2309" y="831"/>
                </a:moveTo>
                <a:cubicBezTo>
                  <a:pt x="2309" y="831"/>
                  <a:pt x="2309" y="831"/>
                  <a:pt x="2311" y="832"/>
                </a:cubicBezTo>
                <a:cubicBezTo>
                  <a:pt x="2311" y="832"/>
                  <a:pt x="2311" y="832"/>
                  <a:pt x="2311" y="831"/>
                </a:cubicBezTo>
                <a:cubicBezTo>
                  <a:pt x="2311" y="831"/>
                  <a:pt x="2311" y="831"/>
                  <a:pt x="2312" y="830"/>
                </a:cubicBezTo>
                <a:cubicBezTo>
                  <a:pt x="2312" y="830"/>
                  <a:pt x="2312" y="830"/>
                  <a:pt x="2312" y="829"/>
                </a:cubicBezTo>
                <a:cubicBezTo>
                  <a:pt x="2312" y="829"/>
                  <a:pt x="2312" y="829"/>
                  <a:pt x="2311" y="828"/>
                </a:cubicBezTo>
                <a:cubicBezTo>
                  <a:pt x="2311" y="828"/>
                  <a:pt x="2311" y="828"/>
                  <a:pt x="2310" y="826"/>
                </a:cubicBezTo>
                <a:cubicBezTo>
                  <a:pt x="2310" y="826"/>
                  <a:pt x="2310" y="826"/>
                  <a:pt x="2309" y="826"/>
                </a:cubicBezTo>
                <a:cubicBezTo>
                  <a:pt x="2309" y="826"/>
                  <a:pt x="2309" y="826"/>
                  <a:pt x="2308" y="824"/>
                </a:cubicBezTo>
                <a:cubicBezTo>
                  <a:pt x="2308" y="824"/>
                  <a:pt x="2308" y="824"/>
                  <a:pt x="2307" y="823"/>
                </a:cubicBezTo>
                <a:cubicBezTo>
                  <a:pt x="2307" y="823"/>
                  <a:pt x="2307" y="823"/>
                  <a:pt x="2306" y="822"/>
                </a:cubicBezTo>
                <a:cubicBezTo>
                  <a:pt x="2306" y="822"/>
                  <a:pt x="2306" y="822"/>
                  <a:pt x="2304" y="822"/>
                </a:cubicBezTo>
                <a:cubicBezTo>
                  <a:pt x="2304" y="822"/>
                  <a:pt x="2304" y="822"/>
                  <a:pt x="2302" y="820"/>
                </a:cubicBezTo>
                <a:cubicBezTo>
                  <a:pt x="2302" y="820"/>
                  <a:pt x="2302" y="820"/>
                  <a:pt x="2300" y="819"/>
                </a:cubicBezTo>
                <a:cubicBezTo>
                  <a:pt x="2300" y="819"/>
                  <a:pt x="2300" y="819"/>
                  <a:pt x="2297" y="818"/>
                </a:cubicBezTo>
                <a:cubicBezTo>
                  <a:pt x="2297" y="818"/>
                  <a:pt x="2297" y="818"/>
                  <a:pt x="2298" y="819"/>
                </a:cubicBezTo>
                <a:cubicBezTo>
                  <a:pt x="2298" y="819"/>
                  <a:pt x="2298" y="819"/>
                  <a:pt x="2302" y="822"/>
                </a:cubicBezTo>
                <a:cubicBezTo>
                  <a:pt x="2302" y="822"/>
                  <a:pt x="2302" y="822"/>
                  <a:pt x="2305" y="823"/>
                </a:cubicBezTo>
                <a:cubicBezTo>
                  <a:pt x="2305" y="823"/>
                  <a:pt x="2305" y="823"/>
                  <a:pt x="2306" y="823"/>
                </a:cubicBezTo>
                <a:cubicBezTo>
                  <a:pt x="2306" y="823"/>
                  <a:pt x="2306" y="823"/>
                  <a:pt x="2308" y="825"/>
                </a:cubicBezTo>
                <a:cubicBezTo>
                  <a:pt x="2308" y="825"/>
                  <a:pt x="2308" y="825"/>
                  <a:pt x="2309" y="829"/>
                </a:cubicBezTo>
                <a:cubicBezTo>
                  <a:pt x="2309" y="829"/>
                  <a:pt x="2309" y="829"/>
                  <a:pt x="2309" y="830"/>
                </a:cubicBezTo>
                <a:cubicBezTo>
                  <a:pt x="2309" y="830"/>
                  <a:pt x="2309" y="830"/>
                  <a:pt x="2309" y="831"/>
                </a:cubicBezTo>
                <a:close/>
                <a:moveTo>
                  <a:pt x="2292" y="832"/>
                </a:moveTo>
                <a:cubicBezTo>
                  <a:pt x="2292" y="833"/>
                  <a:pt x="2292" y="833"/>
                  <a:pt x="2292" y="833"/>
                </a:cubicBezTo>
                <a:cubicBezTo>
                  <a:pt x="2293" y="834"/>
                  <a:pt x="2293" y="834"/>
                  <a:pt x="2293" y="834"/>
                </a:cubicBezTo>
                <a:cubicBezTo>
                  <a:pt x="2294" y="833"/>
                  <a:pt x="2294" y="833"/>
                  <a:pt x="2294" y="833"/>
                </a:cubicBezTo>
                <a:cubicBezTo>
                  <a:pt x="2293" y="832"/>
                  <a:pt x="2293" y="832"/>
                  <a:pt x="2293" y="832"/>
                </a:cubicBezTo>
                <a:cubicBezTo>
                  <a:pt x="2292" y="832"/>
                  <a:pt x="2292" y="832"/>
                  <a:pt x="2292" y="832"/>
                </a:cubicBezTo>
                <a:close/>
                <a:moveTo>
                  <a:pt x="2295" y="817"/>
                </a:moveTo>
                <a:cubicBezTo>
                  <a:pt x="2295" y="817"/>
                  <a:pt x="2295" y="817"/>
                  <a:pt x="2294" y="817"/>
                </a:cubicBezTo>
                <a:cubicBezTo>
                  <a:pt x="2294" y="817"/>
                  <a:pt x="2294" y="817"/>
                  <a:pt x="2292" y="817"/>
                </a:cubicBezTo>
                <a:cubicBezTo>
                  <a:pt x="2292" y="817"/>
                  <a:pt x="2292" y="817"/>
                  <a:pt x="2292" y="818"/>
                </a:cubicBezTo>
                <a:cubicBezTo>
                  <a:pt x="2292" y="818"/>
                  <a:pt x="2292" y="818"/>
                  <a:pt x="2293" y="819"/>
                </a:cubicBezTo>
                <a:cubicBezTo>
                  <a:pt x="2293" y="819"/>
                  <a:pt x="2293" y="819"/>
                  <a:pt x="2295" y="819"/>
                </a:cubicBezTo>
                <a:cubicBezTo>
                  <a:pt x="2295" y="819"/>
                  <a:pt x="2295" y="819"/>
                  <a:pt x="2295" y="817"/>
                </a:cubicBezTo>
                <a:close/>
                <a:moveTo>
                  <a:pt x="2275" y="814"/>
                </a:moveTo>
                <a:cubicBezTo>
                  <a:pt x="2275" y="814"/>
                  <a:pt x="2275" y="814"/>
                  <a:pt x="2275" y="813"/>
                </a:cubicBezTo>
                <a:cubicBezTo>
                  <a:pt x="2275" y="813"/>
                  <a:pt x="2275" y="813"/>
                  <a:pt x="2274" y="814"/>
                </a:cubicBezTo>
                <a:cubicBezTo>
                  <a:pt x="2274" y="814"/>
                  <a:pt x="2274" y="814"/>
                  <a:pt x="2273" y="813"/>
                </a:cubicBezTo>
                <a:cubicBezTo>
                  <a:pt x="2273" y="813"/>
                  <a:pt x="2273" y="813"/>
                  <a:pt x="2272" y="813"/>
                </a:cubicBezTo>
                <a:cubicBezTo>
                  <a:pt x="2272" y="813"/>
                  <a:pt x="2272" y="813"/>
                  <a:pt x="2271" y="813"/>
                </a:cubicBezTo>
                <a:cubicBezTo>
                  <a:pt x="2271" y="813"/>
                  <a:pt x="2271" y="813"/>
                  <a:pt x="2271" y="814"/>
                </a:cubicBezTo>
                <a:cubicBezTo>
                  <a:pt x="2271" y="815"/>
                  <a:pt x="2271" y="815"/>
                  <a:pt x="2271" y="815"/>
                </a:cubicBezTo>
                <a:cubicBezTo>
                  <a:pt x="2271" y="815"/>
                  <a:pt x="2271" y="815"/>
                  <a:pt x="2272" y="815"/>
                </a:cubicBezTo>
                <a:cubicBezTo>
                  <a:pt x="2272" y="815"/>
                  <a:pt x="2272" y="815"/>
                  <a:pt x="2273" y="815"/>
                </a:cubicBezTo>
                <a:cubicBezTo>
                  <a:pt x="2273" y="815"/>
                  <a:pt x="2273" y="815"/>
                  <a:pt x="2274" y="815"/>
                </a:cubicBezTo>
                <a:cubicBezTo>
                  <a:pt x="2274" y="815"/>
                  <a:pt x="2274" y="815"/>
                  <a:pt x="2275" y="814"/>
                </a:cubicBezTo>
                <a:close/>
                <a:moveTo>
                  <a:pt x="2266" y="831"/>
                </a:moveTo>
                <a:cubicBezTo>
                  <a:pt x="2266" y="832"/>
                  <a:pt x="2266" y="832"/>
                  <a:pt x="2266" y="832"/>
                </a:cubicBezTo>
                <a:cubicBezTo>
                  <a:pt x="2267" y="831"/>
                  <a:pt x="2267" y="831"/>
                  <a:pt x="2267" y="831"/>
                </a:cubicBezTo>
                <a:cubicBezTo>
                  <a:pt x="2267" y="830"/>
                  <a:pt x="2267" y="830"/>
                  <a:pt x="2267" y="830"/>
                </a:cubicBezTo>
                <a:cubicBezTo>
                  <a:pt x="2266" y="831"/>
                  <a:pt x="2266" y="831"/>
                  <a:pt x="2266" y="831"/>
                </a:cubicBezTo>
                <a:close/>
                <a:moveTo>
                  <a:pt x="2290" y="810"/>
                </a:moveTo>
                <a:cubicBezTo>
                  <a:pt x="2290" y="810"/>
                  <a:pt x="2290" y="810"/>
                  <a:pt x="2290" y="809"/>
                </a:cubicBezTo>
                <a:cubicBezTo>
                  <a:pt x="2290" y="809"/>
                  <a:pt x="2290" y="809"/>
                  <a:pt x="2290" y="808"/>
                </a:cubicBezTo>
                <a:cubicBezTo>
                  <a:pt x="2290" y="808"/>
                  <a:pt x="2290" y="808"/>
                  <a:pt x="2289" y="808"/>
                </a:cubicBezTo>
                <a:cubicBezTo>
                  <a:pt x="2289" y="808"/>
                  <a:pt x="2289" y="808"/>
                  <a:pt x="2289" y="809"/>
                </a:cubicBezTo>
                <a:cubicBezTo>
                  <a:pt x="2289" y="809"/>
                  <a:pt x="2289" y="809"/>
                  <a:pt x="2290" y="810"/>
                </a:cubicBezTo>
                <a:close/>
                <a:moveTo>
                  <a:pt x="2279" y="839"/>
                </a:moveTo>
                <a:cubicBezTo>
                  <a:pt x="2279" y="839"/>
                  <a:pt x="2279" y="839"/>
                  <a:pt x="2279" y="838"/>
                </a:cubicBezTo>
                <a:cubicBezTo>
                  <a:pt x="2279" y="838"/>
                  <a:pt x="2279" y="838"/>
                  <a:pt x="2279" y="837"/>
                </a:cubicBezTo>
                <a:cubicBezTo>
                  <a:pt x="2279" y="837"/>
                  <a:pt x="2279" y="837"/>
                  <a:pt x="2278" y="836"/>
                </a:cubicBezTo>
                <a:cubicBezTo>
                  <a:pt x="2278" y="836"/>
                  <a:pt x="2278" y="836"/>
                  <a:pt x="2277" y="837"/>
                </a:cubicBezTo>
                <a:cubicBezTo>
                  <a:pt x="2277" y="837"/>
                  <a:pt x="2277" y="837"/>
                  <a:pt x="2278" y="838"/>
                </a:cubicBezTo>
                <a:cubicBezTo>
                  <a:pt x="2278" y="838"/>
                  <a:pt x="2278" y="838"/>
                  <a:pt x="2279" y="839"/>
                </a:cubicBezTo>
                <a:close/>
                <a:moveTo>
                  <a:pt x="2273" y="836"/>
                </a:moveTo>
                <a:cubicBezTo>
                  <a:pt x="2274" y="836"/>
                  <a:pt x="2274" y="836"/>
                  <a:pt x="2274" y="836"/>
                </a:cubicBezTo>
                <a:cubicBezTo>
                  <a:pt x="2274" y="835"/>
                  <a:pt x="2274" y="835"/>
                  <a:pt x="2274" y="835"/>
                </a:cubicBezTo>
                <a:cubicBezTo>
                  <a:pt x="2273" y="835"/>
                  <a:pt x="2273" y="835"/>
                  <a:pt x="2273" y="835"/>
                </a:cubicBezTo>
                <a:cubicBezTo>
                  <a:pt x="2273" y="836"/>
                  <a:pt x="2273" y="836"/>
                  <a:pt x="2273" y="836"/>
                </a:cubicBezTo>
                <a:close/>
                <a:moveTo>
                  <a:pt x="2255" y="852"/>
                </a:moveTo>
                <a:cubicBezTo>
                  <a:pt x="2256" y="852"/>
                  <a:pt x="2256" y="852"/>
                  <a:pt x="2256" y="852"/>
                </a:cubicBezTo>
                <a:cubicBezTo>
                  <a:pt x="2256" y="851"/>
                  <a:pt x="2256" y="851"/>
                  <a:pt x="2256" y="851"/>
                </a:cubicBezTo>
                <a:cubicBezTo>
                  <a:pt x="2255" y="851"/>
                  <a:pt x="2255" y="851"/>
                  <a:pt x="2255" y="851"/>
                </a:cubicBezTo>
                <a:cubicBezTo>
                  <a:pt x="2255" y="852"/>
                  <a:pt x="2255" y="852"/>
                  <a:pt x="2255" y="852"/>
                </a:cubicBezTo>
                <a:close/>
                <a:moveTo>
                  <a:pt x="2098" y="724"/>
                </a:moveTo>
                <a:cubicBezTo>
                  <a:pt x="2098" y="724"/>
                  <a:pt x="2098" y="724"/>
                  <a:pt x="2099" y="724"/>
                </a:cubicBezTo>
                <a:cubicBezTo>
                  <a:pt x="2099" y="724"/>
                  <a:pt x="2099" y="724"/>
                  <a:pt x="2099" y="723"/>
                </a:cubicBezTo>
                <a:cubicBezTo>
                  <a:pt x="2099" y="723"/>
                  <a:pt x="2099" y="723"/>
                  <a:pt x="2100" y="723"/>
                </a:cubicBezTo>
                <a:cubicBezTo>
                  <a:pt x="2100" y="723"/>
                  <a:pt x="2100" y="723"/>
                  <a:pt x="2099" y="722"/>
                </a:cubicBezTo>
                <a:cubicBezTo>
                  <a:pt x="2099" y="722"/>
                  <a:pt x="2099" y="722"/>
                  <a:pt x="2098" y="722"/>
                </a:cubicBezTo>
                <a:cubicBezTo>
                  <a:pt x="2098" y="722"/>
                  <a:pt x="2098" y="722"/>
                  <a:pt x="2098" y="724"/>
                </a:cubicBezTo>
                <a:close/>
                <a:moveTo>
                  <a:pt x="2098" y="719"/>
                </a:moveTo>
                <a:cubicBezTo>
                  <a:pt x="2098" y="719"/>
                  <a:pt x="2098" y="719"/>
                  <a:pt x="2098" y="720"/>
                </a:cubicBezTo>
                <a:cubicBezTo>
                  <a:pt x="2098" y="720"/>
                  <a:pt x="2098" y="720"/>
                  <a:pt x="2099" y="721"/>
                </a:cubicBezTo>
                <a:cubicBezTo>
                  <a:pt x="2099" y="721"/>
                  <a:pt x="2099" y="721"/>
                  <a:pt x="2100" y="721"/>
                </a:cubicBezTo>
                <a:cubicBezTo>
                  <a:pt x="2100" y="721"/>
                  <a:pt x="2100" y="721"/>
                  <a:pt x="2101" y="722"/>
                </a:cubicBezTo>
                <a:cubicBezTo>
                  <a:pt x="2101" y="722"/>
                  <a:pt x="2101" y="722"/>
                  <a:pt x="2101" y="721"/>
                </a:cubicBezTo>
                <a:cubicBezTo>
                  <a:pt x="2101" y="721"/>
                  <a:pt x="2101" y="721"/>
                  <a:pt x="2101" y="720"/>
                </a:cubicBezTo>
                <a:cubicBezTo>
                  <a:pt x="2101" y="720"/>
                  <a:pt x="2101" y="720"/>
                  <a:pt x="2100" y="720"/>
                </a:cubicBezTo>
                <a:cubicBezTo>
                  <a:pt x="2100" y="720"/>
                  <a:pt x="2100" y="720"/>
                  <a:pt x="2099" y="719"/>
                </a:cubicBezTo>
                <a:cubicBezTo>
                  <a:pt x="2099" y="719"/>
                  <a:pt x="2099" y="719"/>
                  <a:pt x="2098" y="719"/>
                </a:cubicBezTo>
                <a:close/>
                <a:moveTo>
                  <a:pt x="2099" y="732"/>
                </a:moveTo>
                <a:cubicBezTo>
                  <a:pt x="2099" y="732"/>
                  <a:pt x="2099" y="732"/>
                  <a:pt x="2100" y="732"/>
                </a:cubicBezTo>
                <a:cubicBezTo>
                  <a:pt x="2100" y="732"/>
                  <a:pt x="2100" y="732"/>
                  <a:pt x="2100" y="731"/>
                </a:cubicBezTo>
                <a:cubicBezTo>
                  <a:pt x="2100" y="731"/>
                  <a:pt x="2100" y="731"/>
                  <a:pt x="2099" y="730"/>
                </a:cubicBezTo>
                <a:cubicBezTo>
                  <a:pt x="2099" y="730"/>
                  <a:pt x="2099" y="730"/>
                  <a:pt x="2099" y="731"/>
                </a:cubicBezTo>
                <a:cubicBezTo>
                  <a:pt x="2099" y="731"/>
                  <a:pt x="2099" y="731"/>
                  <a:pt x="2098" y="732"/>
                </a:cubicBezTo>
                <a:cubicBezTo>
                  <a:pt x="2098" y="732"/>
                  <a:pt x="2098" y="732"/>
                  <a:pt x="2099" y="732"/>
                </a:cubicBezTo>
                <a:close/>
                <a:moveTo>
                  <a:pt x="2120" y="721"/>
                </a:moveTo>
                <a:cubicBezTo>
                  <a:pt x="2120" y="722"/>
                  <a:pt x="2120" y="722"/>
                  <a:pt x="2120" y="722"/>
                </a:cubicBezTo>
                <a:cubicBezTo>
                  <a:pt x="2121" y="720"/>
                  <a:pt x="2121" y="720"/>
                  <a:pt x="2121" y="720"/>
                </a:cubicBezTo>
                <a:cubicBezTo>
                  <a:pt x="2120" y="720"/>
                  <a:pt x="2120" y="720"/>
                  <a:pt x="2120" y="720"/>
                </a:cubicBezTo>
                <a:cubicBezTo>
                  <a:pt x="2120" y="721"/>
                  <a:pt x="2120" y="721"/>
                  <a:pt x="2120" y="721"/>
                </a:cubicBezTo>
                <a:close/>
                <a:moveTo>
                  <a:pt x="2103" y="673"/>
                </a:moveTo>
                <a:cubicBezTo>
                  <a:pt x="2103" y="673"/>
                  <a:pt x="2103" y="673"/>
                  <a:pt x="2104" y="672"/>
                </a:cubicBezTo>
                <a:cubicBezTo>
                  <a:pt x="2104" y="672"/>
                  <a:pt x="2104" y="672"/>
                  <a:pt x="2103" y="672"/>
                </a:cubicBezTo>
                <a:cubicBezTo>
                  <a:pt x="2103" y="672"/>
                  <a:pt x="2103" y="672"/>
                  <a:pt x="2103" y="673"/>
                </a:cubicBezTo>
                <a:close/>
                <a:moveTo>
                  <a:pt x="2099" y="709"/>
                </a:moveTo>
                <a:cubicBezTo>
                  <a:pt x="2101" y="710"/>
                  <a:pt x="2101" y="710"/>
                  <a:pt x="2101" y="710"/>
                </a:cubicBezTo>
                <a:cubicBezTo>
                  <a:pt x="2100" y="709"/>
                  <a:pt x="2100" y="709"/>
                  <a:pt x="2100" y="709"/>
                </a:cubicBezTo>
                <a:cubicBezTo>
                  <a:pt x="2099" y="709"/>
                  <a:pt x="2099" y="709"/>
                  <a:pt x="2099" y="709"/>
                </a:cubicBezTo>
                <a:close/>
                <a:moveTo>
                  <a:pt x="2117" y="718"/>
                </a:moveTo>
                <a:cubicBezTo>
                  <a:pt x="2116" y="718"/>
                  <a:pt x="2116" y="718"/>
                  <a:pt x="2116" y="718"/>
                </a:cubicBezTo>
                <a:cubicBezTo>
                  <a:pt x="2116" y="719"/>
                  <a:pt x="2116" y="719"/>
                  <a:pt x="2116" y="719"/>
                </a:cubicBezTo>
                <a:cubicBezTo>
                  <a:pt x="2117" y="719"/>
                  <a:pt x="2117" y="719"/>
                  <a:pt x="2117" y="719"/>
                </a:cubicBezTo>
                <a:cubicBezTo>
                  <a:pt x="2117" y="718"/>
                  <a:pt x="2117" y="718"/>
                  <a:pt x="2117" y="718"/>
                </a:cubicBezTo>
                <a:close/>
                <a:moveTo>
                  <a:pt x="2113" y="721"/>
                </a:moveTo>
                <a:cubicBezTo>
                  <a:pt x="2113" y="720"/>
                  <a:pt x="2113" y="720"/>
                  <a:pt x="2113" y="720"/>
                </a:cubicBezTo>
                <a:cubicBezTo>
                  <a:pt x="2114" y="719"/>
                  <a:pt x="2114" y="719"/>
                  <a:pt x="2114" y="719"/>
                </a:cubicBezTo>
                <a:cubicBezTo>
                  <a:pt x="2113" y="718"/>
                  <a:pt x="2113" y="718"/>
                  <a:pt x="2113" y="718"/>
                </a:cubicBezTo>
                <a:cubicBezTo>
                  <a:pt x="2112" y="719"/>
                  <a:pt x="2112" y="719"/>
                  <a:pt x="2112" y="719"/>
                </a:cubicBezTo>
                <a:cubicBezTo>
                  <a:pt x="2113" y="721"/>
                  <a:pt x="2113" y="721"/>
                  <a:pt x="2113" y="721"/>
                </a:cubicBezTo>
                <a:close/>
                <a:moveTo>
                  <a:pt x="2081" y="748"/>
                </a:moveTo>
                <a:cubicBezTo>
                  <a:pt x="2081" y="749"/>
                  <a:pt x="2081" y="749"/>
                  <a:pt x="2081" y="749"/>
                </a:cubicBezTo>
                <a:cubicBezTo>
                  <a:pt x="2082" y="750"/>
                  <a:pt x="2082" y="750"/>
                  <a:pt x="2082" y="750"/>
                </a:cubicBezTo>
                <a:cubicBezTo>
                  <a:pt x="2083" y="750"/>
                  <a:pt x="2083" y="750"/>
                  <a:pt x="2083" y="750"/>
                </a:cubicBezTo>
                <a:cubicBezTo>
                  <a:pt x="2083" y="748"/>
                  <a:pt x="2083" y="748"/>
                  <a:pt x="2083" y="748"/>
                </a:cubicBezTo>
                <a:cubicBezTo>
                  <a:pt x="2082" y="747"/>
                  <a:pt x="2082" y="747"/>
                  <a:pt x="2082" y="747"/>
                </a:cubicBezTo>
                <a:cubicBezTo>
                  <a:pt x="2081" y="748"/>
                  <a:pt x="2081" y="748"/>
                  <a:pt x="2081" y="748"/>
                </a:cubicBezTo>
                <a:close/>
                <a:moveTo>
                  <a:pt x="2113" y="717"/>
                </a:moveTo>
                <a:cubicBezTo>
                  <a:pt x="2113" y="718"/>
                  <a:pt x="2113" y="718"/>
                  <a:pt x="2113" y="718"/>
                </a:cubicBezTo>
                <a:cubicBezTo>
                  <a:pt x="2114" y="716"/>
                  <a:pt x="2114" y="716"/>
                  <a:pt x="2114" y="716"/>
                </a:cubicBezTo>
                <a:cubicBezTo>
                  <a:pt x="2113" y="717"/>
                  <a:pt x="2113" y="717"/>
                  <a:pt x="2113" y="717"/>
                </a:cubicBezTo>
                <a:close/>
                <a:moveTo>
                  <a:pt x="2113" y="723"/>
                </a:moveTo>
                <a:cubicBezTo>
                  <a:pt x="2113" y="723"/>
                  <a:pt x="2113" y="723"/>
                  <a:pt x="2113" y="725"/>
                </a:cubicBezTo>
                <a:cubicBezTo>
                  <a:pt x="2113" y="725"/>
                  <a:pt x="2113" y="725"/>
                  <a:pt x="2113" y="726"/>
                </a:cubicBezTo>
                <a:cubicBezTo>
                  <a:pt x="2113" y="726"/>
                  <a:pt x="2113" y="726"/>
                  <a:pt x="2113" y="728"/>
                </a:cubicBezTo>
                <a:cubicBezTo>
                  <a:pt x="2113" y="728"/>
                  <a:pt x="2113" y="728"/>
                  <a:pt x="2113" y="729"/>
                </a:cubicBezTo>
                <a:cubicBezTo>
                  <a:pt x="2113" y="729"/>
                  <a:pt x="2113" y="729"/>
                  <a:pt x="2113" y="732"/>
                </a:cubicBezTo>
                <a:cubicBezTo>
                  <a:pt x="2113" y="732"/>
                  <a:pt x="2113" y="732"/>
                  <a:pt x="2114" y="731"/>
                </a:cubicBezTo>
                <a:cubicBezTo>
                  <a:pt x="2114" y="731"/>
                  <a:pt x="2114" y="731"/>
                  <a:pt x="2116" y="730"/>
                </a:cubicBezTo>
                <a:cubicBezTo>
                  <a:pt x="2116" y="732"/>
                  <a:pt x="2116" y="732"/>
                  <a:pt x="2116" y="732"/>
                </a:cubicBezTo>
                <a:cubicBezTo>
                  <a:pt x="2117" y="732"/>
                  <a:pt x="2117" y="732"/>
                  <a:pt x="2117" y="732"/>
                </a:cubicBezTo>
                <a:cubicBezTo>
                  <a:pt x="2118" y="731"/>
                  <a:pt x="2118" y="731"/>
                  <a:pt x="2118" y="731"/>
                </a:cubicBezTo>
                <a:cubicBezTo>
                  <a:pt x="2118" y="730"/>
                  <a:pt x="2118" y="730"/>
                  <a:pt x="2118" y="730"/>
                </a:cubicBezTo>
                <a:cubicBezTo>
                  <a:pt x="2117" y="730"/>
                  <a:pt x="2117" y="730"/>
                  <a:pt x="2117" y="730"/>
                </a:cubicBezTo>
                <a:cubicBezTo>
                  <a:pt x="2117" y="730"/>
                  <a:pt x="2117" y="730"/>
                  <a:pt x="2118" y="729"/>
                </a:cubicBezTo>
                <a:cubicBezTo>
                  <a:pt x="2118" y="729"/>
                  <a:pt x="2118" y="729"/>
                  <a:pt x="2119" y="727"/>
                </a:cubicBezTo>
                <a:cubicBezTo>
                  <a:pt x="2119" y="727"/>
                  <a:pt x="2119" y="727"/>
                  <a:pt x="2120" y="726"/>
                </a:cubicBezTo>
                <a:cubicBezTo>
                  <a:pt x="2120" y="726"/>
                  <a:pt x="2120" y="726"/>
                  <a:pt x="2121" y="725"/>
                </a:cubicBezTo>
                <a:cubicBezTo>
                  <a:pt x="2121" y="725"/>
                  <a:pt x="2121" y="725"/>
                  <a:pt x="2120" y="724"/>
                </a:cubicBezTo>
                <a:cubicBezTo>
                  <a:pt x="2120" y="724"/>
                  <a:pt x="2120" y="724"/>
                  <a:pt x="2119" y="724"/>
                </a:cubicBezTo>
                <a:cubicBezTo>
                  <a:pt x="2119" y="724"/>
                  <a:pt x="2119" y="724"/>
                  <a:pt x="2119" y="725"/>
                </a:cubicBezTo>
                <a:cubicBezTo>
                  <a:pt x="2119" y="725"/>
                  <a:pt x="2119" y="725"/>
                  <a:pt x="2118" y="724"/>
                </a:cubicBezTo>
                <a:cubicBezTo>
                  <a:pt x="2118" y="724"/>
                  <a:pt x="2118" y="724"/>
                  <a:pt x="2117" y="724"/>
                </a:cubicBezTo>
                <a:cubicBezTo>
                  <a:pt x="2117" y="724"/>
                  <a:pt x="2117" y="724"/>
                  <a:pt x="2116" y="724"/>
                </a:cubicBezTo>
                <a:cubicBezTo>
                  <a:pt x="2116" y="724"/>
                  <a:pt x="2116" y="724"/>
                  <a:pt x="2115" y="724"/>
                </a:cubicBezTo>
                <a:cubicBezTo>
                  <a:pt x="2115" y="724"/>
                  <a:pt x="2115" y="724"/>
                  <a:pt x="2115" y="723"/>
                </a:cubicBezTo>
                <a:cubicBezTo>
                  <a:pt x="2115" y="723"/>
                  <a:pt x="2115" y="723"/>
                  <a:pt x="2114" y="723"/>
                </a:cubicBezTo>
                <a:cubicBezTo>
                  <a:pt x="2114" y="723"/>
                  <a:pt x="2114" y="723"/>
                  <a:pt x="2113" y="722"/>
                </a:cubicBezTo>
                <a:cubicBezTo>
                  <a:pt x="2113" y="722"/>
                  <a:pt x="2113" y="722"/>
                  <a:pt x="2112" y="722"/>
                </a:cubicBezTo>
                <a:cubicBezTo>
                  <a:pt x="2112" y="722"/>
                  <a:pt x="2112" y="722"/>
                  <a:pt x="2111" y="723"/>
                </a:cubicBezTo>
                <a:cubicBezTo>
                  <a:pt x="2111" y="723"/>
                  <a:pt x="2111" y="723"/>
                  <a:pt x="2113" y="723"/>
                </a:cubicBezTo>
                <a:close/>
                <a:moveTo>
                  <a:pt x="2111" y="710"/>
                </a:moveTo>
                <a:cubicBezTo>
                  <a:pt x="2111" y="711"/>
                  <a:pt x="2111" y="711"/>
                  <a:pt x="2111" y="711"/>
                </a:cubicBezTo>
                <a:cubicBezTo>
                  <a:pt x="2111" y="712"/>
                  <a:pt x="2111" y="712"/>
                  <a:pt x="2111" y="712"/>
                </a:cubicBezTo>
                <a:cubicBezTo>
                  <a:pt x="2112" y="713"/>
                  <a:pt x="2112" y="713"/>
                  <a:pt x="2112" y="713"/>
                </a:cubicBezTo>
                <a:cubicBezTo>
                  <a:pt x="2112" y="712"/>
                  <a:pt x="2112" y="712"/>
                  <a:pt x="2112" y="712"/>
                </a:cubicBezTo>
                <a:cubicBezTo>
                  <a:pt x="2113" y="712"/>
                  <a:pt x="2113" y="712"/>
                  <a:pt x="2113" y="712"/>
                </a:cubicBezTo>
                <a:cubicBezTo>
                  <a:pt x="2112" y="711"/>
                  <a:pt x="2112" y="711"/>
                  <a:pt x="2112" y="711"/>
                </a:cubicBezTo>
                <a:cubicBezTo>
                  <a:pt x="2111" y="710"/>
                  <a:pt x="2111" y="710"/>
                  <a:pt x="2111" y="710"/>
                </a:cubicBezTo>
                <a:close/>
                <a:moveTo>
                  <a:pt x="2128" y="731"/>
                </a:moveTo>
                <a:cubicBezTo>
                  <a:pt x="2128" y="731"/>
                  <a:pt x="2128" y="731"/>
                  <a:pt x="2128" y="730"/>
                </a:cubicBezTo>
                <a:cubicBezTo>
                  <a:pt x="2128" y="730"/>
                  <a:pt x="2128" y="730"/>
                  <a:pt x="2127" y="730"/>
                </a:cubicBezTo>
                <a:cubicBezTo>
                  <a:pt x="2127" y="730"/>
                  <a:pt x="2127" y="730"/>
                  <a:pt x="2128" y="731"/>
                </a:cubicBezTo>
                <a:close/>
                <a:moveTo>
                  <a:pt x="2123" y="740"/>
                </a:moveTo>
                <a:cubicBezTo>
                  <a:pt x="2123" y="740"/>
                  <a:pt x="2123" y="740"/>
                  <a:pt x="2124" y="741"/>
                </a:cubicBezTo>
                <a:cubicBezTo>
                  <a:pt x="2124" y="741"/>
                  <a:pt x="2124" y="741"/>
                  <a:pt x="2125" y="741"/>
                </a:cubicBezTo>
                <a:cubicBezTo>
                  <a:pt x="2125" y="741"/>
                  <a:pt x="2125" y="741"/>
                  <a:pt x="2125" y="740"/>
                </a:cubicBezTo>
                <a:cubicBezTo>
                  <a:pt x="2125" y="740"/>
                  <a:pt x="2125" y="740"/>
                  <a:pt x="2124" y="739"/>
                </a:cubicBezTo>
                <a:cubicBezTo>
                  <a:pt x="2124" y="739"/>
                  <a:pt x="2124" y="739"/>
                  <a:pt x="2123" y="740"/>
                </a:cubicBezTo>
                <a:close/>
                <a:moveTo>
                  <a:pt x="2118" y="714"/>
                </a:moveTo>
                <a:cubicBezTo>
                  <a:pt x="2120" y="716"/>
                  <a:pt x="2120" y="716"/>
                  <a:pt x="2120" y="716"/>
                </a:cubicBezTo>
                <a:cubicBezTo>
                  <a:pt x="2120" y="715"/>
                  <a:pt x="2120" y="715"/>
                  <a:pt x="2120" y="715"/>
                </a:cubicBezTo>
                <a:cubicBezTo>
                  <a:pt x="2119" y="713"/>
                  <a:pt x="2119" y="713"/>
                  <a:pt x="2119" y="713"/>
                </a:cubicBezTo>
                <a:cubicBezTo>
                  <a:pt x="2118" y="714"/>
                  <a:pt x="2118" y="714"/>
                  <a:pt x="2118" y="714"/>
                </a:cubicBezTo>
                <a:close/>
                <a:moveTo>
                  <a:pt x="2122" y="731"/>
                </a:moveTo>
                <a:cubicBezTo>
                  <a:pt x="2123" y="730"/>
                  <a:pt x="2123" y="730"/>
                  <a:pt x="2123" y="730"/>
                </a:cubicBezTo>
                <a:cubicBezTo>
                  <a:pt x="2123" y="729"/>
                  <a:pt x="2123" y="729"/>
                  <a:pt x="2123" y="729"/>
                </a:cubicBezTo>
                <a:cubicBezTo>
                  <a:pt x="2122" y="728"/>
                  <a:pt x="2122" y="728"/>
                  <a:pt x="2122" y="728"/>
                </a:cubicBezTo>
                <a:cubicBezTo>
                  <a:pt x="2121" y="729"/>
                  <a:pt x="2121" y="729"/>
                  <a:pt x="2121" y="729"/>
                </a:cubicBezTo>
                <a:cubicBezTo>
                  <a:pt x="2121" y="728"/>
                  <a:pt x="2121" y="728"/>
                  <a:pt x="2121" y="728"/>
                </a:cubicBezTo>
                <a:cubicBezTo>
                  <a:pt x="2120" y="729"/>
                  <a:pt x="2120" y="729"/>
                  <a:pt x="2120" y="729"/>
                </a:cubicBezTo>
                <a:cubicBezTo>
                  <a:pt x="2120" y="730"/>
                  <a:pt x="2120" y="730"/>
                  <a:pt x="2120" y="730"/>
                </a:cubicBezTo>
                <a:cubicBezTo>
                  <a:pt x="2119" y="731"/>
                  <a:pt x="2119" y="731"/>
                  <a:pt x="2119" y="731"/>
                </a:cubicBezTo>
                <a:cubicBezTo>
                  <a:pt x="2119" y="733"/>
                  <a:pt x="2119" y="733"/>
                  <a:pt x="2119" y="733"/>
                </a:cubicBezTo>
                <a:cubicBezTo>
                  <a:pt x="2118" y="735"/>
                  <a:pt x="2118" y="735"/>
                  <a:pt x="2118" y="735"/>
                </a:cubicBezTo>
                <a:cubicBezTo>
                  <a:pt x="2116" y="735"/>
                  <a:pt x="2116" y="735"/>
                  <a:pt x="2116" y="735"/>
                </a:cubicBezTo>
                <a:cubicBezTo>
                  <a:pt x="2116" y="736"/>
                  <a:pt x="2116" y="736"/>
                  <a:pt x="2116" y="736"/>
                </a:cubicBezTo>
                <a:cubicBezTo>
                  <a:pt x="2116" y="738"/>
                  <a:pt x="2116" y="738"/>
                  <a:pt x="2116" y="738"/>
                </a:cubicBezTo>
                <a:cubicBezTo>
                  <a:pt x="2117" y="738"/>
                  <a:pt x="2117" y="738"/>
                  <a:pt x="2117" y="738"/>
                </a:cubicBezTo>
                <a:cubicBezTo>
                  <a:pt x="2118" y="739"/>
                  <a:pt x="2118" y="739"/>
                  <a:pt x="2118" y="739"/>
                </a:cubicBezTo>
                <a:cubicBezTo>
                  <a:pt x="2120" y="739"/>
                  <a:pt x="2120" y="739"/>
                  <a:pt x="2120" y="739"/>
                </a:cubicBezTo>
                <a:cubicBezTo>
                  <a:pt x="2120" y="740"/>
                  <a:pt x="2120" y="740"/>
                  <a:pt x="2120" y="740"/>
                </a:cubicBezTo>
                <a:cubicBezTo>
                  <a:pt x="2121" y="741"/>
                  <a:pt x="2121" y="741"/>
                  <a:pt x="2121" y="741"/>
                </a:cubicBezTo>
                <a:cubicBezTo>
                  <a:pt x="2122" y="740"/>
                  <a:pt x="2122" y="740"/>
                  <a:pt x="2122" y="740"/>
                </a:cubicBezTo>
                <a:cubicBezTo>
                  <a:pt x="2122" y="739"/>
                  <a:pt x="2122" y="739"/>
                  <a:pt x="2122" y="739"/>
                </a:cubicBezTo>
                <a:cubicBezTo>
                  <a:pt x="2121" y="737"/>
                  <a:pt x="2121" y="737"/>
                  <a:pt x="2121" y="737"/>
                </a:cubicBezTo>
                <a:cubicBezTo>
                  <a:pt x="2121" y="735"/>
                  <a:pt x="2121" y="735"/>
                  <a:pt x="2121" y="735"/>
                </a:cubicBezTo>
                <a:cubicBezTo>
                  <a:pt x="2122" y="731"/>
                  <a:pt x="2122" y="731"/>
                  <a:pt x="2122" y="731"/>
                </a:cubicBezTo>
                <a:close/>
                <a:moveTo>
                  <a:pt x="2113" y="758"/>
                </a:moveTo>
                <a:cubicBezTo>
                  <a:pt x="2114" y="759"/>
                  <a:pt x="2114" y="759"/>
                  <a:pt x="2114" y="759"/>
                </a:cubicBezTo>
                <a:cubicBezTo>
                  <a:pt x="2115" y="759"/>
                  <a:pt x="2115" y="759"/>
                  <a:pt x="2115" y="759"/>
                </a:cubicBezTo>
                <a:cubicBezTo>
                  <a:pt x="2116" y="758"/>
                  <a:pt x="2116" y="758"/>
                  <a:pt x="2116" y="758"/>
                </a:cubicBezTo>
                <a:cubicBezTo>
                  <a:pt x="2116" y="757"/>
                  <a:pt x="2116" y="757"/>
                  <a:pt x="2116" y="757"/>
                </a:cubicBezTo>
                <a:cubicBezTo>
                  <a:pt x="2115" y="757"/>
                  <a:pt x="2115" y="757"/>
                  <a:pt x="2115" y="757"/>
                </a:cubicBezTo>
                <a:cubicBezTo>
                  <a:pt x="2114" y="757"/>
                  <a:pt x="2114" y="757"/>
                  <a:pt x="2114" y="757"/>
                </a:cubicBezTo>
                <a:cubicBezTo>
                  <a:pt x="2113" y="757"/>
                  <a:pt x="2113" y="757"/>
                  <a:pt x="2113" y="757"/>
                </a:cubicBezTo>
                <a:cubicBezTo>
                  <a:pt x="2113" y="758"/>
                  <a:pt x="2113" y="758"/>
                  <a:pt x="2113" y="758"/>
                </a:cubicBezTo>
                <a:close/>
                <a:moveTo>
                  <a:pt x="2139" y="737"/>
                </a:moveTo>
                <a:cubicBezTo>
                  <a:pt x="2138" y="737"/>
                  <a:pt x="2138" y="737"/>
                  <a:pt x="2138" y="737"/>
                </a:cubicBezTo>
                <a:cubicBezTo>
                  <a:pt x="2139" y="738"/>
                  <a:pt x="2139" y="738"/>
                  <a:pt x="2139" y="738"/>
                </a:cubicBezTo>
                <a:cubicBezTo>
                  <a:pt x="2139" y="737"/>
                  <a:pt x="2139" y="737"/>
                  <a:pt x="2139" y="737"/>
                </a:cubicBezTo>
                <a:close/>
                <a:moveTo>
                  <a:pt x="2137" y="729"/>
                </a:moveTo>
                <a:cubicBezTo>
                  <a:pt x="2138" y="729"/>
                  <a:pt x="2138" y="729"/>
                  <a:pt x="2138" y="729"/>
                </a:cubicBezTo>
                <a:cubicBezTo>
                  <a:pt x="2137" y="728"/>
                  <a:pt x="2137" y="728"/>
                  <a:pt x="2137" y="728"/>
                </a:cubicBezTo>
                <a:cubicBezTo>
                  <a:pt x="2137" y="729"/>
                  <a:pt x="2137" y="729"/>
                  <a:pt x="2137" y="729"/>
                </a:cubicBezTo>
                <a:close/>
                <a:moveTo>
                  <a:pt x="2104" y="675"/>
                </a:moveTo>
                <a:cubicBezTo>
                  <a:pt x="2104" y="675"/>
                  <a:pt x="2104" y="675"/>
                  <a:pt x="2105" y="674"/>
                </a:cubicBezTo>
                <a:cubicBezTo>
                  <a:pt x="2105" y="674"/>
                  <a:pt x="2105" y="674"/>
                  <a:pt x="2104" y="674"/>
                </a:cubicBezTo>
                <a:cubicBezTo>
                  <a:pt x="2104" y="674"/>
                  <a:pt x="2104" y="674"/>
                  <a:pt x="2104" y="675"/>
                </a:cubicBezTo>
                <a:close/>
                <a:moveTo>
                  <a:pt x="2125" y="736"/>
                </a:moveTo>
                <a:cubicBezTo>
                  <a:pt x="2125" y="736"/>
                  <a:pt x="2125" y="736"/>
                  <a:pt x="2126" y="737"/>
                </a:cubicBezTo>
                <a:cubicBezTo>
                  <a:pt x="2126" y="737"/>
                  <a:pt x="2126" y="737"/>
                  <a:pt x="2127" y="737"/>
                </a:cubicBezTo>
                <a:cubicBezTo>
                  <a:pt x="2127" y="737"/>
                  <a:pt x="2127" y="737"/>
                  <a:pt x="2129" y="736"/>
                </a:cubicBezTo>
                <a:cubicBezTo>
                  <a:pt x="2129" y="736"/>
                  <a:pt x="2129" y="736"/>
                  <a:pt x="2130" y="736"/>
                </a:cubicBezTo>
                <a:cubicBezTo>
                  <a:pt x="2130" y="736"/>
                  <a:pt x="2130" y="736"/>
                  <a:pt x="2130" y="734"/>
                </a:cubicBezTo>
                <a:cubicBezTo>
                  <a:pt x="2130" y="734"/>
                  <a:pt x="2130" y="734"/>
                  <a:pt x="2129" y="734"/>
                </a:cubicBezTo>
                <a:cubicBezTo>
                  <a:pt x="2129" y="734"/>
                  <a:pt x="2129" y="734"/>
                  <a:pt x="2128" y="734"/>
                </a:cubicBezTo>
                <a:cubicBezTo>
                  <a:pt x="2128" y="734"/>
                  <a:pt x="2128" y="734"/>
                  <a:pt x="2126" y="735"/>
                </a:cubicBezTo>
                <a:cubicBezTo>
                  <a:pt x="2126" y="735"/>
                  <a:pt x="2126" y="735"/>
                  <a:pt x="2125" y="736"/>
                </a:cubicBezTo>
                <a:close/>
                <a:moveTo>
                  <a:pt x="2105" y="711"/>
                </a:moveTo>
                <a:cubicBezTo>
                  <a:pt x="2104" y="711"/>
                  <a:pt x="2104" y="711"/>
                  <a:pt x="2104" y="711"/>
                </a:cubicBezTo>
                <a:cubicBezTo>
                  <a:pt x="2102" y="711"/>
                  <a:pt x="2102" y="711"/>
                  <a:pt x="2102" y="711"/>
                </a:cubicBezTo>
                <a:cubicBezTo>
                  <a:pt x="2101" y="711"/>
                  <a:pt x="2101" y="711"/>
                  <a:pt x="2101" y="711"/>
                </a:cubicBezTo>
                <a:cubicBezTo>
                  <a:pt x="2101" y="712"/>
                  <a:pt x="2101" y="712"/>
                  <a:pt x="2101" y="712"/>
                </a:cubicBezTo>
                <a:cubicBezTo>
                  <a:pt x="2102" y="712"/>
                  <a:pt x="2102" y="712"/>
                  <a:pt x="2102" y="712"/>
                </a:cubicBezTo>
                <a:cubicBezTo>
                  <a:pt x="2102" y="713"/>
                  <a:pt x="2102" y="713"/>
                  <a:pt x="2102" y="713"/>
                </a:cubicBezTo>
                <a:cubicBezTo>
                  <a:pt x="2103" y="714"/>
                  <a:pt x="2103" y="714"/>
                  <a:pt x="2103" y="714"/>
                </a:cubicBezTo>
                <a:cubicBezTo>
                  <a:pt x="2104" y="715"/>
                  <a:pt x="2104" y="715"/>
                  <a:pt x="2104" y="715"/>
                </a:cubicBezTo>
                <a:cubicBezTo>
                  <a:pt x="2104" y="717"/>
                  <a:pt x="2104" y="717"/>
                  <a:pt x="2104" y="717"/>
                </a:cubicBezTo>
                <a:cubicBezTo>
                  <a:pt x="2105" y="717"/>
                  <a:pt x="2105" y="717"/>
                  <a:pt x="2105" y="717"/>
                </a:cubicBezTo>
                <a:cubicBezTo>
                  <a:pt x="2105" y="718"/>
                  <a:pt x="2105" y="718"/>
                  <a:pt x="2105" y="718"/>
                </a:cubicBezTo>
                <a:cubicBezTo>
                  <a:pt x="2106" y="720"/>
                  <a:pt x="2106" y="720"/>
                  <a:pt x="2106" y="720"/>
                </a:cubicBezTo>
                <a:cubicBezTo>
                  <a:pt x="2107" y="720"/>
                  <a:pt x="2107" y="720"/>
                  <a:pt x="2107" y="720"/>
                </a:cubicBezTo>
                <a:cubicBezTo>
                  <a:pt x="2109" y="719"/>
                  <a:pt x="2109" y="719"/>
                  <a:pt x="2109" y="719"/>
                </a:cubicBezTo>
                <a:cubicBezTo>
                  <a:pt x="2109" y="718"/>
                  <a:pt x="2109" y="718"/>
                  <a:pt x="2109" y="718"/>
                </a:cubicBezTo>
                <a:cubicBezTo>
                  <a:pt x="2109" y="717"/>
                  <a:pt x="2109" y="717"/>
                  <a:pt x="2109" y="717"/>
                </a:cubicBezTo>
                <a:cubicBezTo>
                  <a:pt x="2109" y="716"/>
                  <a:pt x="2109" y="716"/>
                  <a:pt x="2109" y="716"/>
                </a:cubicBezTo>
                <a:cubicBezTo>
                  <a:pt x="2109" y="715"/>
                  <a:pt x="2109" y="715"/>
                  <a:pt x="2109" y="715"/>
                </a:cubicBezTo>
                <a:cubicBezTo>
                  <a:pt x="2109" y="714"/>
                  <a:pt x="2109" y="714"/>
                  <a:pt x="2109" y="714"/>
                </a:cubicBezTo>
                <a:cubicBezTo>
                  <a:pt x="2108" y="713"/>
                  <a:pt x="2108" y="713"/>
                  <a:pt x="2108" y="713"/>
                </a:cubicBezTo>
                <a:cubicBezTo>
                  <a:pt x="2105" y="711"/>
                  <a:pt x="2105" y="711"/>
                  <a:pt x="2105" y="711"/>
                </a:cubicBezTo>
                <a:close/>
                <a:moveTo>
                  <a:pt x="2131" y="726"/>
                </a:moveTo>
                <a:cubicBezTo>
                  <a:pt x="2130" y="726"/>
                  <a:pt x="2130" y="726"/>
                  <a:pt x="2130" y="726"/>
                </a:cubicBezTo>
                <a:cubicBezTo>
                  <a:pt x="2129" y="726"/>
                  <a:pt x="2129" y="726"/>
                  <a:pt x="2129" y="726"/>
                </a:cubicBezTo>
                <a:cubicBezTo>
                  <a:pt x="2128" y="726"/>
                  <a:pt x="2128" y="726"/>
                  <a:pt x="2128" y="726"/>
                </a:cubicBezTo>
                <a:cubicBezTo>
                  <a:pt x="2128" y="727"/>
                  <a:pt x="2128" y="727"/>
                  <a:pt x="2128" y="727"/>
                </a:cubicBezTo>
                <a:cubicBezTo>
                  <a:pt x="2128" y="728"/>
                  <a:pt x="2128" y="728"/>
                  <a:pt x="2128" y="728"/>
                </a:cubicBezTo>
                <a:cubicBezTo>
                  <a:pt x="2129" y="729"/>
                  <a:pt x="2129" y="729"/>
                  <a:pt x="2129" y="729"/>
                </a:cubicBezTo>
                <a:cubicBezTo>
                  <a:pt x="2130" y="728"/>
                  <a:pt x="2130" y="728"/>
                  <a:pt x="2130" y="728"/>
                </a:cubicBezTo>
                <a:cubicBezTo>
                  <a:pt x="2130" y="729"/>
                  <a:pt x="2130" y="729"/>
                  <a:pt x="2130" y="729"/>
                </a:cubicBezTo>
                <a:cubicBezTo>
                  <a:pt x="2130" y="731"/>
                  <a:pt x="2130" y="731"/>
                  <a:pt x="2130" y="731"/>
                </a:cubicBezTo>
                <a:cubicBezTo>
                  <a:pt x="2131" y="732"/>
                  <a:pt x="2131" y="732"/>
                  <a:pt x="2131" y="732"/>
                </a:cubicBezTo>
                <a:cubicBezTo>
                  <a:pt x="2131" y="734"/>
                  <a:pt x="2131" y="734"/>
                  <a:pt x="2131" y="734"/>
                </a:cubicBezTo>
                <a:cubicBezTo>
                  <a:pt x="2132" y="734"/>
                  <a:pt x="2132" y="734"/>
                  <a:pt x="2132" y="734"/>
                </a:cubicBezTo>
                <a:cubicBezTo>
                  <a:pt x="2132" y="733"/>
                  <a:pt x="2132" y="733"/>
                  <a:pt x="2132" y="733"/>
                </a:cubicBezTo>
                <a:cubicBezTo>
                  <a:pt x="2133" y="734"/>
                  <a:pt x="2133" y="734"/>
                  <a:pt x="2133" y="734"/>
                </a:cubicBezTo>
                <a:cubicBezTo>
                  <a:pt x="2134" y="733"/>
                  <a:pt x="2134" y="733"/>
                  <a:pt x="2134" y="733"/>
                </a:cubicBezTo>
                <a:cubicBezTo>
                  <a:pt x="2134" y="732"/>
                  <a:pt x="2134" y="732"/>
                  <a:pt x="2134" y="732"/>
                </a:cubicBezTo>
                <a:cubicBezTo>
                  <a:pt x="2133" y="730"/>
                  <a:pt x="2133" y="730"/>
                  <a:pt x="2133" y="730"/>
                </a:cubicBezTo>
                <a:cubicBezTo>
                  <a:pt x="2132" y="730"/>
                  <a:pt x="2132" y="730"/>
                  <a:pt x="2132" y="730"/>
                </a:cubicBezTo>
                <a:cubicBezTo>
                  <a:pt x="2132" y="728"/>
                  <a:pt x="2132" y="728"/>
                  <a:pt x="2132" y="728"/>
                </a:cubicBezTo>
                <a:cubicBezTo>
                  <a:pt x="2131" y="726"/>
                  <a:pt x="2131" y="726"/>
                  <a:pt x="2131" y="726"/>
                </a:cubicBezTo>
                <a:close/>
                <a:moveTo>
                  <a:pt x="2124" y="719"/>
                </a:moveTo>
                <a:cubicBezTo>
                  <a:pt x="2123" y="717"/>
                  <a:pt x="2123" y="717"/>
                  <a:pt x="2123" y="717"/>
                </a:cubicBezTo>
                <a:cubicBezTo>
                  <a:pt x="2122" y="717"/>
                  <a:pt x="2122" y="717"/>
                  <a:pt x="2122" y="717"/>
                </a:cubicBezTo>
                <a:cubicBezTo>
                  <a:pt x="2123" y="718"/>
                  <a:pt x="2123" y="718"/>
                  <a:pt x="2123" y="718"/>
                </a:cubicBezTo>
                <a:cubicBezTo>
                  <a:pt x="2124" y="719"/>
                  <a:pt x="2124" y="719"/>
                  <a:pt x="2124" y="719"/>
                </a:cubicBezTo>
                <a:close/>
                <a:moveTo>
                  <a:pt x="2140" y="735"/>
                </a:moveTo>
                <a:cubicBezTo>
                  <a:pt x="2139" y="734"/>
                  <a:pt x="2139" y="734"/>
                  <a:pt x="2139" y="734"/>
                </a:cubicBezTo>
                <a:cubicBezTo>
                  <a:pt x="2139" y="735"/>
                  <a:pt x="2139" y="735"/>
                  <a:pt x="2139" y="735"/>
                </a:cubicBezTo>
                <a:cubicBezTo>
                  <a:pt x="2139" y="736"/>
                  <a:pt x="2139" y="736"/>
                  <a:pt x="2139" y="736"/>
                </a:cubicBezTo>
                <a:cubicBezTo>
                  <a:pt x="2140" y="736"/>
                  <a:pt x="2140" y="736"/>
                  <a:pt x="2140" y="736"/>
                </a:cubicBezTo>
                <a:cubicBezTo>
                  <a:pt x="2140" y="735"/>
                  <a:pt x="2140" y="735"/>
                  <a:pt x="2140" y="735"/>
                </a:cubicBezTo>
                <a:close/>
                <a:moveTo>
                  <a:pt x="2130" y="740"/>
                </a:moveTo>
                <a:cubicBezTo>
                  <a:pt x="2130" y="740"/>
                  <a:pt x="2130" y="740"/>
                  <a:pt x="2131" y="741"/>
                </a:cubicBezTo>
                <a:cubicBezTo>
                  <a:pt x="2131" y="741"/>
                  <a:pt x="2131" y="741"/>
                  <a:pt x="2131" y="740"/>
                </a:cubicBezTo>
                <a:cubicBezTo>
                  <a:pt x="2131" y="740"/>
                  <a:pt x="2131" y="740"/>
                  <a:pt x="2130" y="739"/>
                </a:cubicBezTo>
                <a:cubicBezTo>
                  <a:pt x="2130" y="739"/>
                  <a:pt x="2130" y="739"/>
                  <a:pt x="2130" y="740"/>
                </a:cubicBezTo>
                <a:close/>
                <a:moveTo>
                  <a:pt x="2121" y="718"/>
                </a:moveTo>
                <a:cubicBezTo>
                  <a:pt x="2120" y="717"/>
                  <a:pt x="2120" y="717"/>
                  <a:pt x="2120" y="717"/>
                </a:cubicBezTo>
                <a:cubicBezTo>
                  <a:pt x="2120" y="719"/>
                  <a:pt x="2120" y="719"/>
                  <a:pt x="2120" y="719"/>
                </a:cubicBezTo>
                <a:cubicBezTo>
                  <a:pt x="2121" y="720"/>
                  <a:pt x="2121" y="720"/>
                  <a:pt x="2121" y="720"/>
                </a:cubicBezTo>
                <a:cubicBezTo>
                  <a:pt x="2122" y="720"/>
                  <a:pt x="2122" y="720"/>
                  <a:pt x="2122" y="720"/>
                </a:cubicBezTo>
                <a:cubicBezTo>
                  <a:pt x="2124" y="722"/>
                  <a:pt x="2124" y="722"/>
                  <a:pt x="2124" y="722"/>
                </a:cubicBezTo>
                <a:cubicBezTo>
                  <a:pt x="2125" y="722"/>
                  <a:pt x="2125" y="722"/>
                  <a:pt x="2125" y="722"/>
                </a:cubicBezTo>
                <a:cubicBezTo>
                  <a:pt x="2126" y="722"/>
                  <a:pt x="2126" y="722"/>
                  <a:pt x="2126" y="722"/>
                </a:cubicBezTo>
                <a:cubicBezTo>
                  <a:pt x="2126" y="721"/>
                  <a:pt x="2126" y="721"/>
                  <a:pt x="2126" y="721"/>
                </a:cubicBezTo>
                <a:cubicBezTo>
                  <a:pt x="2125" y="720"/>
                  <a:pt x="2125" y="720"/>
                  <a:pt x="2125" y="720"/>
                </a:cubicBezTo>
                <a:cubicBezTo>
                  <a:pt x="2123" y="719"/>
                  <a:pt x="2123" y="719"/>
                  <a:pt x="2123" y="719"/>
                </a:cubicBezTo>
                <a:cubicBezTo>
                  <a:pt x="2122" y="718"/>
                  <a:pt x="2122" y="718"/>
                  <a:pt x="2122" y="718"/>
                </a:cubicBezTo>
                <a:cubicBezTo>
                  <a:pt x="2121" y="718"/>
                  <a:pt x="2121" y="718"/>
                  <a:pt x="2121" y="718"/>
                </a:cubicBezTo>
                <a:close/>
                <a:moveTo>
                  <a:pt x="2126" y="731"/>
                </a:moveTo>
                <a:cubicBezTo>
                  <a:pt x="2126" y="730"/>
                  <a:pt x="2126" y="730"/>
                  <a:pt x="2126" y="730"/>
                </a:cubicBezTo>
                <a:cubicBezTo>
                  <a:pt x="2126" y="729"/>
                  <a:pt x="2126" y="729"/>
                  <a:pt x="2126" y="729"/>
                </a:cubicBezTo>
                <a:cubicBezTo>
                  <a:pt x="2126" y="727"/>
                  <a:pt x="2126" y="727"/>
                  <a:pt x="2126" y="727"/>
                </a:cubicBezTo>
                <a:cubicBezTo>
                  <a:pt x="2125" y="727"/>
                  <a:pt x="2125" y="727"/>
                  <a:pt x="2125" y="727"/>
                </a:cubicBezTo>
                <a:cubicBezTo>
                  <a:pt x="2125" y="729"/>
                  <a:pt x="2125" y="729"/>
                  <a:pt x="2125" y="729"/>
                </a:cubicBezTo>
                <a:cubicBezTo>
                  <a:pt x="2124" y="731"/>
                  <a:pt x="2124" y="731"/>
                  <a:pt x="2124" y="731"/>
                </a:cubicBezTo>
                <a:cubicBezTo>
                  <a:pt x="2124" y="733"/>
                  <a:pt x="2124" y="733"/>
                  <a:pt x="2124" y="733"/>
                </a:cubicBezTo>
                <a:cubicBezTo>
                  <a:pt x="2123" y="734"/>
                  <a:pt x="2123" y="734"/>
                  <a:pt x="2123" y="734"/>
                </a:cubicBezTo>
                <a:cubicBezTo>
                  <a:pt x="2122" y="736"/>
                  <a:pt x="2122" y="736"/>
                  <a:pt x="2122" y="736"/>
                </a:cubicBezTo>
                <a:cubicBezTo>
                  <a:pt x="2122" y="737"/>
                  <a:pt x="2122" y="737"/>
                  <a:pt x="2122" y="737"/>
                </a:cubicBezTo>
                <a:cubicBezTo>
                  <a:pt x="2122" y="738"/>
                  <a:pt x="2122" y="738"/>
                  <a:pt x="2122" y="738"/>
                </a:cubicBezTo>
                <a:cubicBezTo>
                  <a:pt x="2123" y="737"/>
                  <a:pt x="2123" y="737"/>
                  <a:pt x="2123" y="737"/>
                </a:cubicBezTo>
                <a:cubicBezTo>
                  <a:pt x="2124" y="734"/>
                  <a:pt x="2124" y="734"/>
                  <a:pt x="2124" y="734"/>
                </a:cubicBezTo>
                <a:cubicBezTo>
                  <a:pt x="2126" y="732"/>
                  <a:pt x="2126" y="732"/>
                  <a:pt x="2126" y="732"/>
                </a:cubicBezTo>
                <a:cubicBezTo>
                  <a:pt x="2126" y="731"/>
                  <a:pt x="2126" y="731"/>
                  <a:pt x="2126" y="731"/>
                </a:cubicBezTo>
                <a:close/>
                <a:moveTo>
                  <a:pt x="2127" y="725"/>
                </a:moveTo>
                <a:cubicBezTo>
                  <a:pt x="2127" y="725"/>
                  <a:pt x="2127" y="725"/>
                  <a:pt x="2128" y="725"/>
                </a:cubicBezTo>
                <a:cubicBezTo>
                  <a:pt x="2128" y="725"/>
                  <a:pt x="2128" y="725"/>
                  <a:pt x="2129" y="725"/>
                </a:cubicBezTo>
                <a:cubicBezTo>
                  <a:pt x="2129" y="725"/>
                  <a:pt x="2129" y="725"/>
                  <a:pt x="2129" y="724"/>
                </a:cubicBezTo>
                <a:cubicBezTo>
                  <a:pt x="2129" y="724"/>
                  <a:pt x="2129" y="724"/>
                  <a:pt x="2128" y="724"/>
                </a:cubicBezTo>
                <a:cubicBezTo>
                  <a:pt x="2128" y="724"/>
                  <a:pt x="2128" y="724"/>
                  <a:pt x="2127" y="725"/>
                </a:cubicBezTo>
                <a:close/>
                <a:moveTo>
                  <a:pt x="2141" y="759"/>
                </a:moveTo>
                <a:cubicBezTo>
                  <a:pt x="2141" y="759"/>
                  <a:pt x="2141" y="759"/>
                  <a:pt x="2142" y="760"/>
                </a:cubicBezTo>
                <a:cubicBezTo>
                  <a:pt x="2142" y="760"/>
                  <a:pt x="2142" y="760"/>
                  <a:pt x="2142" y="759"/>
                </a:cubicBezTo>
                <a:cubicBezTo>
                  <a:pt x="2142" y="759"/>
                  <a:pt x="2142" y="759"/>
                  <a:pt x="2142" y="758"/>
                </a:cubicBezTo>
                <a:cubicBezTo>
                  <a:pt x="2142" y="758"/>
                  <a:pt x="2142" y="758"/>
                  <a:pt x="2141" y="756"/>
                </a:cubicBezTo>
                <a:cubicBezTo>
                  <a:pt x="2141" y="756"/>
                  <a:pt x="2141" y="756"/>
                  <a:pt x="2141" y="757"/>
                </a:cubicBezTo>
                <a:cubicBezTo>
                  <a:pt x="2141" y="757"/>
                  <a:pt x="2141" y="757"/>
                  <a:pt x="2141" y="759"/>
                </a:cubicBezTo>
                <a:close/>
                <a:moveTo>
                  <a:pt x="2126" y="709"/>
                </a:moveTo>
                <a:cubicBezTo>
                  <a:pt x="2125" y="710"/>
                  <a:pt x="2125" y="710"/>
                  <a:pt x="2125" y="710"/>
                </a:cubicBezTo>
                <a:cubicBezTo>
                  <a:pt x="2125" y="711"/>
                  <a:pt x="2125" y="711"/>
                  <a:pt x="2125" y="711"/>
                </a:cubicBezTo>
                <a:cubicBezTo>
                  <a:pt x="2127" y="710"/>
                  <a:pt x="2127" y="710"/>
                  <a:pt x="2127" y="710"/>
                </a:cubicBezTo>
                <a:cubicBezTo>
                  <a:pt x="2127" y="709"/>
                  <a:pt x="2127" y="709"/>
                  <a:pt x="2127" y="709"/>
                </a:cubicBezTo>
                <a:cubicBezTo>
                  <a:pt x="2127" y="708"/>
                  <a:pt x="2127" y="708"/>
                  <a:pt x="2127" y="708"/>
                </a:cubicBezTo>
                <a:cubicBezTo>
                  <a:pt x="2126" y="707"/>
                  <a:pt x="2126" y="707"/>
                  <a:pt x="2126" y="707"/>
                </a:cubicBezTo>
                <a:cubicBezTo>
                  <a:pt x="2125" y="707"/>
                  <a:pt x="2125" y="707"/>
                  <a:pt x="2125" y="707"/>
                </a:cubicBezTo>
                <a:cubicBezTo>
                  <a:pt x="2126" y="709"/>
                  <a:pt x="2126" y="709"/>
                  <a:pt x="2126" y="709"/>
                </a:cubicBezTo>
                <a:close/>
                <a:moveTo>
                  <a:pt x="2132" y="717"/>
                </a:moveTo>
                <a:cubicBezTo>
                  <a:pt x="2131" y="717"/>
                  <a:pt x="2131" y="717"/>
                  <a:pt x="2131" y="717"/>
                </a:cubicBezTo>
                <a:cubicBezTo>
                  <a:pt x="2130" y="717"/>
                  <a:pt x="2130" y="717"/>
                  <a:pt x="2130" y="717"/>
                </a:cubicBezTo>
                <a:cubicBezTo>
                  <a:pt x="2130" y="718"/>
                  <a:pt x="2130" y="718"/>
                  <a:pt x="2130" y="718"/>
                </a:cubicBezTo>
                <a:cubicBezTo>
                  <a:pt x="2129" y="718"/>
                  <a:pt x="2129" y="718"/>
                  <a:pt x="2129" y="718"/>
                </a:cubicBezTo>
                <a:cubicBezTo>
                  <a:pt x="2128" y="718"/>
                  <a:pt x="2128" y="718"/>
                  <a:pt x="2128" y="718"/>
                </a:cubicBezTo>
                <a:cubicBezTo>
                  <a:pt x="2127" y="717"/>
                  <a:pt x="2127" y="717"/>
                  <a:pt x="2127" y="717"/>
                </a:cubicBezTo>
                <a:cubicBezTo>
                  <a:pt x="2127" y="718"/>
                  <a:pt x="2127" y="718"/>
                  <a:pt x="2127" y="718"/>
                </a:cubicBezTo>
                <a:cubicBezTo>
                  <a:pt x="2128" y="720"/>
                  <a:pt x="2128" y="720"/>
                  <a:pt x="2128" y="720"/>
                </a:cubicBezTo>
                <a:cubicBezTo>
                  <a:pt x="2130" y="721"/>
                  <a:pt x="2130" y="721"/>
                  <a:pt x="2130" y="721"/>
                </a:cubicBezTo>
                <a:cubicBezTo>
                  <a:pt x="2131" y="723"/>
                  <a:pt x="2131" y="723"/>
                  <a:pt x="2131" y="723"/>
                </a:cubicBezTo>
                <a:cubicBezTo>
                  <a:pt x="2132" y="724"/>
                  <a:pt x="2132" y="724"/>
                  <a:pt x="2132" y="724"/>
                </a:cubicBezTo>
                <a:cubicBezTo>
                  <a:pt x="2131" y="725"/>
                  <a:pt x="2131" y="725"/>
                  <a:pt x="2131" y="725"/>
                </a:cubicBezTo>
                <a:cubicBezTo>
                  <a:pt x="2132" y="725"/>
                  <a:pt x="2132" y="725"/>
                  <a:pt x="2132" y="725"/>
                </a:cubicBezTo>
                <a:cubicBezTo>
                  <a:pt x="2132" y="726"/>
                  <a:pt x="2132" y="726"/>
                  <a:pt x="2132" y="726"/>
                </a:cubicBezTo>
                <a:cubicBezTo>
                  <a:pt x="2133" y="726"/>
                  <a:pt x="2133" y="726"/>
                  <a:pt x="2133" y="726"/>
                </a:cubicBezTo>
                <a:cubicBezTo>
                  <a:pt x="2133" y="727"/>
                  <a:pt x="2133" y="727"/>
                  <a:pt x="2133" y="727"/>
                </a:cubicBezTo>
                <a:cubicBezTo>
                  <a:pt x="2135" y="727"/>
                  <a:pt x="2135" y="727"/>
                  <a:pt x="2135" y="727"/>
                </a:cubicBezTo>
                <a:cubicBezTo>
                  <a:pt x="2136" y="727"/>
                  <a:pt x="2136" y="727"/>
                  <a:pt x="2136" y="727"/>
                </a:cubicBezTo>
                <a:cubicBezTo>
                  <a:pt x="2136" y="725"/>
                  <a:pt x="2136" y="725"/>
                  <a:pt x="2136" y="725"/>
                </a:cubicBezTo>
                <a:cubicBezTo>
                  <a:pt x="2135" y="725"/>
                  <a:pt x="2135" y="725"/>
                  <a:pt x="2135" y="725"/>
                </a:cubicBezTo>
                <a:cubicBezTo>
                  <a:pt x="2135" y="723"/>
                  <a:pt x="2135" y="723"/>
                  <a:pt x="2135" y="723"/>
                </a:cubicBezTo>
                <a:cubicBezTo>
                  <a:pt x="2135" y="721"/>
                  <a:pt x="2135" y="721"/>
                  <a:pt x="2135" y="721"/>
                </a:cubicBezTo>
                <a:cubicBezTo>
                  <a:pt x="2135" y="720"/>
                  <a:pt x="2135" y="720"/>
                  <a:pt x="2135" y="720"/>
                </a:cubicBezTo>
                <a:cubicBezTo>
                  <a:pt x="2134" y="720"/>
                  <a:pt x="2134" y="720"/>
                  <a:pt x="2134" y="720"/>
                </a:cubicBezTo>
                <a:cubicBezTo>
                  <a:pt x="2133" y="718"/>
                  <a:pt x="2133" y="718"/>
                  <a:pt x="2133" y="718"/>
                </a:cubicBezTo>
                <a:cubicBezTo>
                  <a:pt x="2133" y="717"/>
                  <a:pt x="2133" y="717"/>
                  <a:pt x="2133" y="717"/>
                </a:cubicBezTo>
                <a:cubicBezTo>
                  <a:pt x="2132" y="717"/>
                  <a:pt x="2132" y="717"/>
                  <a:pt x="2132" y="717"/>
                </a:cubicBezTo>
                <a:close/>
                <a:moveTo>
                  <a:pt x="2136" y="735"/>
                </a:moveTo>
                <a:cubicBezTo>
                  <a:pt x="2137" y="736"/>
                  <a:pt x="2137" y="736"/>
                  <a:pt x="2137" y="736"/>
                </a:cubicBezTo>
                <a:cubicBezTo>
                  <a:pt x="2137" y="735"/>
                  <a:pt x="2137" y="735"/>
                  <a:pt x="2137" y="735"/>
                </a:cubicBezTo>
                <a:cubicBezTo>
                  <a:pt x="2136" y="735"/>
                  <a:pt x="2136" y="735"/>
                  <a:pt x="2136" y="735"/>
                </a:cubicBezTo>
                <a:close/>
                <a:moveTo>
                  <a:pt x="2137" y="733"/>
                </a:moveTo>
                <a:cubicBezTo>
                  <a:pt x="2137" y="732"/>
                  <a:pt x="2137" y="732"/>
                  <a:pt x="2137" y="732"/>
                </a:cubicBezTo>
                <a:cubicBezTo>
                  <a:pt x="2136" y="732"/>
                  <a:pt x="2136" y="732"/>
                  <a:pt x="2136" y="732"/>
                </a:cubicBezTo>
                <a:cubicBezTo>
                  <a:pt x="2136" y="733"/>
                  <a:pt x="2136" y="733"/>
                  <a:pt x="2136" y="733"/>
                </a:cubicBezTo>
                <a:cubicBezTo>
                  <a:pt x="2137" y="735"/>
                  <a:pt x="2137" y="735"/>
                  <a:pt x="2137" y="735"/>
                </a:cubicBezTo>
                <a:cubicBezTo>
                  <a:pt x="2137" y="734"/>
                  <a:pt x="2137" y="734"/>
                  <a:pt x="2137" y="734"/>
                </a:cubicBezTo>
                <a:cubicBezTo>
                  <a:pt x="2137" y="733"/>
                  <a:pt x="2137" y="733"/>
                  <a:pt x="2137" y="733"/>
                </a:cubicBezTo>
                <a:close/>
                <a:moveTo>
                  <a:pt x="2111" y="705"/>
                </a:moveTo>
                <a:cubicBezTo>
                  <a:pt x="2111" y="706"/>
                  <a:pt x="2111" y="706"/>
                  <a:pt x="2111" y="706"/>
                </a:cubicBezTo>
                <a:cubicBezTo>
                  <a:pt x="2112" y="707"/>
                  <a:pt x="2112" y="707"/>
                  <a:pt x="2112" y="707"/>
                </a:cubicBezTo>
                <a:cubicBezTo>
                  <a:pt x="2112" y="706"/>
                  <a:pt x="2112" y="706"/>
                  <a:pt x="2112" y="706"/>
                </a:cubicBezTo>
                <a:cubicBezTo>
                  <a:pt x="2111" y="705"/>
                  <a:pt x="2111" y="705"/>
                  <a:pt x="2111" y="705"/>
                </a:cubicBezTo>
                <a:close/>
                <a:moveTo>
                  <a:pt x="2141" y="742"/>
                </a:moveTo>
                <a:cubicBezTo>
                  <a:pt x="2141" y="742"/>
                  <a:pt x="2141" y="742"/>
                  <a:pt x="2141" y="740"/>
                </a:cubicBezTo>
                <a:cubicBezTo>
                  <a:pt x="2141" y="740"/>
                  <a:pt x="2141" y="740"/>
                  <a:pt x="2141" y="739"/>
                </a:cubicBezTo>
                <a:cubicBezTo>
                  <a:pt x="2141" y="739"/>
                  <a:pt x="2141" y="739"/>
                  <a:pt x="2140" y="740"/>
                </a:cubicBezTo>
                <a:cubicBezTo>
                  <a:pt x="2140" y="740"/>
                  <a:pt x="2140" y="740"/>
                  <a:pt x="2139" y="739"/>
                </a:cubicBezTo>
                <a:cubicBezTo>
                  <a:pt x="2139" y="739"/>
                  <a:pt x="2139" y="739"/>
                  <a:pt x="2137" y="737"/>
                </a:cubicBezTo>
                <a:cubicBezTo>
                  <a:pt x="2137" y="737"/>
                  <a:pt x="2137" y="737"/>
                  <a:pt x="2137" y="736"/>
                </a:cubicBezTo>
                <a:cubicBezTo>
                  <a:pt x="2137" y="736"/>
                  <a:pt x="2137" y="736"/>
                  <a:pt x="2136" y="736"/>
                </a:cubicBezTo>
                <a:cubicBezTo>
                  <a:pt x="2136" y="736"/>
                  <a:pt x="2136" y="736"/>
                  <a:pt x="2135" y="736"/>
                </a:cubicBezTo>
                <a:cubicBezTo>
                  <a:pt x="2135" y="736"/>
                  <a:pt x="2135" y="736"/>
                  <a:pt x="2135" y="738"/>
                </a:cubicBezTo>
                <a:cubicBezTo>
                  <a:pt x="2135" y="738"/>
                  <a:pt x="2135" y="738"/>
                  <a:pt x="2136" y="740"/>
                </a:cubicBezTo>
                <a:cubicBezTo>
                  <a:pt x="2136" y="740"/>
                  <a:pt x="2136" y="740"/>
                  <a:pt x="2136" y="741"/>
                </a:cubicBezTo>
                <a:cubicBezTo>
                  <a:pt x="2136" y="741"/>
                  <a:pt x="2136" y="741"/>
                  <a:pt x="2135" y="740"/>
                </a:cubicBezTo>
                <a:cubicBezTo>
                  <a:pt x="2135" y="740"/>
                  <a:pt x="2135" y="740"/>
                  <a:pt x="2134" y="740"/>
                </a:cubicBezTo>
                <a:cubicBezTo>
                  <a:pt x="2134" y="740"/>
                  <a:pt x="2134" y="740"/>
                  <a:pt x="2134" y="742"/>
                </a:cubicBezTo>
                <a:cubicBezTo>
                  <a:pt x="2134" y="742"/>
                  <a:pt x="2134" y="742"/>
                  <a:pt x="2133" y="742"/>
                </a:cubicBezTo>
                <a:cubicBezTo>
                  <a:pt x="2133" y="742"/>
                  <a:pt x="2133" y="742"/>
                  <a:pt x="2132" y="741"/>
                </a:cubicBezTo>
                <a:cubicBezTo>
                  <a:pt x="2132" y="741"/>
                  <a:pt x="2132" y="741"/>
                  <a:pt x="2131" y="744"/>
                </a:cubicBezTo>
                <a:cubicBezTo>
                  <a:pt x="2131" y="744"/>
                  <a:pt x="2131" y="744"/>
                  <a:pt x="2132" y="744"/>
                </a:cubicBezTo>
                <a:cubicBezTo>
                  <a:pt x="2132" y="744"/>
                  <a:pt x="2132" y="744"/>
                  <a:pt x="2131" y="745"/>
                </a:cubicBezTo>
                <a:cubicBezTo>
                  <a:pt x="2131" y="745"/>
                  <a:pt x="2131" y="745"/>
                  <a:pt x="2130" y="744"/>
                </a:cubicBezTo>
                <a:cubicBezTo>
                  <a:pt x="2130" y="744"/>
                  <a:pt x="2130" y="744"/>
                  <a:pt x="2129" y="744"/>
                </a:cubicBezTo>
                <a:cubicBezTo>
                  <a:pt x="2129" y="744"/>
                  <a:pt x="2129" y="744"/>
                  <a:pt x="2128" y="747"/>
                </a:cubicBezTo>
                <a:cubicBezTo>
                  <a:pt x="2128" y="747"/>
                  <a:pt x="2128" y="747"/>
                  <a:pt x="2127" y="747"/>
                </a:cubicBezTo>
                <a:cubicBezTo>
                  <a:pt x="2127" y="747"/>
                  <a:pt x="2127" y="747"/>
                  <a:pt x="2125" y="748"/>
                </a:cubicBezTo>
                <a:cubicBezTo>
                  <a:pt x="2126" y="747"/>
                  <a:pt x="2126" y="747"/>
                  <a:pt x="2126" y="747"/>
                </a:cubicBezTo>
                <a:cubicBezTo>
                  <a:pt x="2126" y="747"/>
                  <a:pt x="2126" y="747"/>
                  <a:pt x="2126" y="745"/>
                </a:cubicBezTo>
                <a:cubicBezTo>
                  <a:pt x="2126" y="745"/>
                  <a:pt x="2126" y="745"/>
                  <a:pt x="2124" y="743"/>
                </a:cubicBezTo>
                <a:cubicBezTo>
                  <a:pt x="2124" y="743"/>
                  <a:pt x="2124" y="743"/>
                  <a:pt x="2123" y="743"/>
                </a:cubicBezTo>
                <a:cubicBezTo>
                  <a:pt x="2123" y="743"/>
                  <a:pt x="2123" y="743"/>
                  <a:pt x="2122" y="744"/>
                </a:cubicBezTo>
                <a:cubicBezTo>
                  <a:pt x="2122" y="744"/>
                  <a:pt x="2122" y="744"/>
                  <a:pt x="2121" y="745"/>
                </a:cubicBezTo>
                <a:cubicBezTo>
                  <a:pt x="2121" y="745"/>
                  <a:pt x="2121" y="745"/>
                  <a:pt x="2120" y="746"/>
                </a:cubicBezTo>
                <a:cubicBezTo>
                  <a:pt x="2120" y="746"/>
                  <a:pt x="2120" y="746"/>
                  <a:pt x="2121" y="747"/>
                </a:cubicBezTo>
                <a:cubicBezTo>
                  <a:pt x="2121" y="747"/>
                  <a:pt x="2121" y="747"/>
                  <a:pt x="2119" y="748"/>
                </a:cubicBezTo>
                <a:cubicBezTo>
                  <a:pt x="2119" y="748"/>
                  <a:pt x="2119" y="748"/>
                  <a:pt x="2118" y="747"/>
                </a:cubicBezTo>
                <a:cubicBezTo>
                  <a:pt x="2118" y="747"/>
                  <a:pt x="2118" y="747"/>
                  <a:pt x="2117" y="748"/>
                </a:cubicBezTo>
                <a:cubicBezTo>
                  <a:pt x="2117" y="748"/>
                  <a:pt x="2117" y="748"/>
                  <a:pt x="2116" y="749"/>
                </a:cubicBezTo>
                <a:cubicBezTo>
                  <a:pt x="2116" y="749"/>
                  <a:pt x="2116" y="749"/>
                  <a:pt x="2114" y="750"/>
                </a:cubicBezTo>
                <a:cubicBezTo>
                  <a:pt x="2114" y="750"/>
                  <a:pt x="2114" y="750"/>
                  <a:pt x="2115" y="751"/>
                </a:cubicBezTo>
                <a:cubicBezTo>
                  <a:pt x="2115" y="751"/>
                  <a:pt x="2115" y="751"/>
                  <a:pt x="2114" y="753"/>
                </a:cubicBezTo>
                <a:cubicBezTo>
                  <a:pt x="2114" y="753"/>
                  <a:pt x="2114" y="753"/>
                  <a:pt x="2114" y="754"/>
                </a:cubicBezTo>
                <a:cubicBezTo>
                  <a:pt x="2114" y="754"/>
                  <a:pt x="2114" y="754"/>
                  <a:pt x="2115" y="756"/>
                </a:cubicBezTo>
                <a:cubicBezTo>
                  <a:pt x="2115" y="756"/>
                  <a:pt x="2115" y="756"/>
                  <a:pt x="2115" y="755"/>
                </a:cubicBezTo>
                <a:cubicBezTo>
                  <a:pt x="2115" y="755"/>
                  <a:pt x="2115" y="755"/>
                  <a:pt x="2116" y="752"/>
                </a:cubicBezTo>
                <a:cubicBezTo>
                  <a:pt x="2116" y="752"/>
                  <a:pt x="2116" y="752"/>
                  <a:pt x="2117" y="752"/>
                </a:cubicBezTo>
                <a:cubicBezTo>
                  <a:pt x="2117" y="752"/>
                  <a:pt x="2117" y="752"/>
                  <a:pt x="2118" y="750"/>
                </a:cubicBezTo>
                <a:cubicBezTo>
                  <a:pt x="2118" y="750"/>
                  <a:pt x="2118" y="750"/>
                  <a:pt x="2119" y="751"/>
                </a:cubicBezTo>
                <a:cubicBezTo>
                  <a:pt x="2119" y="751"/>
                  <a:pt x="2119" y="751"/>
                  <a:pt x="2119" y="752"/>
                </a:cubicBezTo>
                <a:cubicBezTo>
                  <a:pt x="2119" y="752"/>
                  <a:pt x="2119" y="752"/>
                  <a:pt x="2120" y="752"/>
                </a:cubicBezTo>
                <a:cubicBezTo>
                  <a:pt x="2120" y="752"/>
                  <a:pt x="2120" y="752"/>
                  <a:pt x="2121" y="752"/>
                </a:cubicBezTo>
                <a:cubicBezTo>
                  <a:pt x="2121" y="752"/>
                  <a:pt x="2121" y="752"/>
                  <a:pt x="2121" y="751"/>
                </a:cubicBezTo>
                <a:cubicBezTo>
                  <a:pt x="2121" y="751"/>
                  <a:pt x="2121" y="751"/>
                  <a:pt x="2122" y="751"/>
                </a:cubicBezTo>
                <a:cubicBezTo>
                  <a:pt x="2122" y="751"/>
                  <a:pt x="2122" y="751"/>
                  <a:pt x="2122" y="752"/>
                </a:cubicBezTo>
                <a:cubicBezTo>
                  <a:pt x="2122" y="752"/>
                  <a:pt x="2122" y="752"/>
                  <a:pt x="2123" y="752"/>
                </a:cubicBezTo>
                <a:cubicBezTo>
                  <a:pt x="2123" y="752"/>
                  <a:pt x="2123" y="752"/>
                  <a:pt x="2123" y="751"/>
                </a:cubicBezTo>
                <a:cubicBezTo>
                  <a:pt x="2123" y="751"/>
                  <a:pt x="2123" y="751"/>
                  <a:pt x="2123" y="750"/>
                </a:cubicBezTo>
                <a:cubicBezTo>
                  <a:pt x="2123" y="750"/>
                  <a:pt x="2123" y="750"/>
                  <a:pt x="2124" y="750"/>
                </a:cubicBezTo>
                <a:cubicBezTo>
                  <a:pt x="2124" y="750"/>
                  <a:pt x="2124" y="750"/>
                  <a:pt x="2125" y="751"/>
                </a:cubicBezTo>
                <a:cubicBezTo>
                  <a:pt x="2125" y="751"/>
                  <a:pt x="2125" y="751"/>
                  <a:pt x="2126" y="751"/>
                </a:cubicBezTo>
                <a:cubicBezTo>
                  <a:pt x="2126" y="751"/>
                  <a:pt x="2126" y="751"/>
                  <a:pt x="2128" y="752"/>
                </a:cubicBezTo>
                <a:cubicBezTo>
                  <a:pt x="2128" y="752"/>
                  <a:pt x="2128" y="752"/>
                  <a:pt x="2128" y="753"/>
                </a:cubicBezTo>
                <a:cubicBezTo>
                  <a:pt x="2128" y="753"/>
                  <a:pt x="2128" y="753"/>
                  <a:pt x="2129" y="754"/>
                </a:cubicBezTo>
                <a:cubicBezTo>
                  <a:pt x="2129" y="754"/>
                  <a:pt x="2129" y="754"/>
                  <a:pt x="2128" y="754"/>
                </a:cubicBezTo>
                <a:cubicBezTo>
                  <a:pt x="2128" y="754"/>
                  <a:pt x="2128" y="754"/>
                  <a:pt x="2127" y="754"/>
                </a:cubicBezTo>
                <a:cubicBezTo>
                  <a:pt x="2127" y="754"/>
                  <a:pt x="2127" y="754"/>
                  <a:pt x="2127" y="755"/>
                </a:cubicBezTo>
                <a:cubicBezTo>
                  <a:pt x="2127" y="755"/>
                  <a:pt x="2127" y="755"/>
                  <a:pt x="2127" y="756"/>
                </a:cubicBezTo>
                <a:cubicBezTo>
                  <a:pt x="2127" y="756"/>
                  <a:pt x="2127" y="756"/>
                  <a:pt x="2128" y="757"/>
                </a:cubicBezTo>
                <a:cubicBezTo>
                  <a:pt x="2128" y="757"/>
                  <a:pt x="2128" y="757"/>
                  <a:pt x="2127" y="758"/>
                </a:cubicBezTo>
                <a:cubicBezTo>
                  <a:pt x="2127" y="758"/>
                  <a:pt x="2127" y="758"/>
                  <a:pt x="2128" y="759"/>
                </a:cubicBezTo>
                <a:cubicBezTo>
                  <a:pt x="2128" y="759"/>
                  <a:pt x="2128" y="759"/>
                  <a:pt x="2128" y="760"/>
                </a:cubicBezTo>
                <a:cubicBezTo>
                  <a:pt x="2128" y="760"/>
                  <a:pt x="2128" y="760"/>
                  <a:pt x="2130" y="761"/>
                </a:cubicBezTo>
                <a:cubicBezTo>
                  <a:pt x="2130" y="761"/>
                  <a:pt x="2130" y="761"/>
                  <a:pt x="2131" y="761"/>
                </a:cubicBezTo>
                <a:cubicBezTo>
                  <a:pt x="2131" y="761"/>
                  <a:pt x="2131" y="761"/>
                  <a:pt x="2132" y="762"/>
                </a:cubicBezTo>
                <a:cubicBezTo>
                  <a:pt x="2132" y="762"/>
                  <a:pt x="2132" y="762"/>
                  <a:pt x="2133" y="763"/>
                </a:cubicBezTo>
                <a:cubicBezTo>
                  <a:pt x="2133" y="763"/>
                  <a:pt x="2133" y="763"/>
                  <a:pt x="2134" y="762"/>
                </a:cubicBezTo>
                <a:cubicBezTo>
                  <a:pt x="2134" y="762"/>
                  <a:pt x="2134" y="762"/>
                  <a:pt x="2135" y="762"/>
                </a:cubicBezTo>
                <a:cubicBezTo>
                  <a:pt x="2135" y="762"/>
                  <a:pt x="2135" y="762"/>
                  <a:pt x="2135" y="761"/>
                </a:cubicBezTo>
                <a:cubicBezTo>
                  <a:pt x="2135" y="761"/>
                  <a:pt x="2135" y="761"/>
                  <a:pt x="2136" y="762"/>
                </a:cubicBezTo>
                <a:cubicBezTo>
                  <a:pt x="2136" y="762"/>
                  <a:pt x="2136" y="762"/>
                  <a:pt x="2135" y="763"/>
                </a:cubicBezTo>
                <a:cubicBezTo>
                  <a:pt x="2135" y="763"/>
                  <a:pt x="2135" y="763"/>
                  <a:pt x="2136" y="764"/>
                </a:cubicBezTo>
                <a:cubicBezTo>
                  <a:pt x="2136" y="764"/>
                  <a:pt x="2136" y="764"/>
                  <a:pt x="2137" y="764"/>
                </a:cubicBezTo>
                <a:cubicBezTo>
                  <a:pt x="2137" y="764"/>
                  <a:pt x="2137" y="764"/>
                  <a:pt x="2139" y="761"/>
                </a:cubicBezTo>
                <a:cubicBezTo>
                  <a:pt x="2139" y="761"/>
                  <a:pt x="2139" y="761"/>
                  <a:pt x="2139" y="760"/>
                </a:cubicBezTo>
                <a:cubicBezTo>
                  <a:pt x="2139" y="760"/>
                  <a:pt x="2139" y="760"/>
                  <a:pt x="2138" y="759"/>
                </a:cubicBezTo>
                <a:cubicBezTo>
                  <a:pt x="2138" y="759"/>
                  <a:pt x="2138" y="759"/>
                  <a:pt x="2137" y="758"/>
                </a:cubicBezTo>
                <a:cubicBezTo>
                  <a:pt x="2137" y="758"/>
                  <a:pt x="2137" y="758"/>
                  <a:pt x="2136" y="757"/>
                </a:cubicBezTo>
                <a:cubicBezTo>
                  <a:pt x="2136" y="757"/>
                  <a:pt x="2136" y="757"/>
                  <a:pt x="2136" y="756"/>
                </a:cubicBezTo>
                <a:cubicBezTo>
                  <a:pt x="2136" y="756"/>
                  <a:pt x="2136" y="756"/>
                  <a:pt x="2138" y="753"/>
                </a:cubicBezTo>
                <a:cubicBezTo>
                  <a:pt x="2138" y="753"/>
                  <a:pt x="2138" y="753"/>
                  <a:pt x="2139" y="753"/>
                </a:cubicBezTo>
                <a:cubicBezTo>
                  <a:pt x="2139" y="753"/>
                  <a:pt x="2139" y="753"/>
                  <a:pt x="2140" y="754"/>
                </a:cubicBezTo>
                <a:cubicBezTo>
                  <a:pt x="2140" y="754"/>
                  <a:pt x="2140" y="754"/>
                  <a:pt x="2140" y="755"/>
                </a:cubicBezTo>
                <a:cubicBezTo>
                  <a:pt x="2140" y="755"/>
                  <a:pt x="2140" y="755"/>
                  <a:pt x="2141" y="756"/>
                </a:cubicBezTo>
                <a:cubicBezTo>
                  <a:pt x="2141" y="756"/>
                  <a:pt x="2141" y="756"/>
                  <a:pt x="2142" y="755"/>
                </a:cubicBezTo>
                <a:cubicBezTo>
                  <a:pt x="2142" y="755"/>
                  <a:pt x="2142" y="755"/>
                  <a:pt x="2143" y="756"/>
                </a:cubicBezTo>
                <a:cubicBezTo>
                  <a:pt x="2143" y="756"/>
                  <a:pt x="2143" y="756"/>
                  <a:pt x="2143" y="755"/>
                </a:cubicBezTo>
                <a:cubicBezTo>
                  <a:pt x="2143" y="755"/>
                  <a:pt x="2143" y="755"/>
                  <a:pt x="2144" y="753"/>
                </a:cubicBezTo>
                <a:cubicBezTo>
                  <a:pt x="2144" y="753"/>
                  <a:pt x="2144" y="753"/>
                  <a:pt x="2144" y="751"/>
                </a:cubicBezTo>
                <a:cubicBezTo>
                  <a:pt x="2144" y="751"/>
                  <a:pt x="2144" y="751"/>
                  <a:pt x="2143" y="750"/>
                </a:cubicBezTo>
                <a:cubicBezTo>
                  <a:pt x="2143" y="750"/>
                  <a:pt x="2143" y="750"/>
                  <a:pt x="2142" y="749"/>
                </a:cubicBezTo>
                <a:cubicBezTo>
                  <a:pt x="2142" y="749"/>
                  <a:pt x="2142" y="749"/>
                  <a:pt x="2142" y="748"/>
                </a:cubicBezTo>
                <a:cubicBezTo>
                  <a:pt x="2142" y="748"/>
                  <a:pt x="2142" y="748"/>
                  <a:pt x="2142" y="747"/>
                </a:cubicBezTo>
                <a:cubicBezTo>
                  <a:pt x="2142" y="747"/>
                  <a:pt x="2142" y="747"/>
                  <a:pt x="2141" y="745"/>
                </a:cubicBezTo>
                <a:cubicBezTo>
                  <a:pt x="2141" y="745"/>
                  <a:pt x="2141" y="745"/>
                  <a:pt x="2140" y="744"/>
                </a:cubicBezTo>
                <a:cubicBezTo>
                  <a:pt x="2140" y="744"/>
                  <a:pt x="2140" y="744"/>
                  <a:pt x="2141" y="743"/>
                </a:cubicBezTo>
                <a:cubicBezTo>
                  <a:pt x="2141" y="743"/>
                  <a:pt x="2141" y="743"/>
                  <a:pt x="2141" y="742"/>
                </a:cubicBezTo>
                <a:close/>
                <a:moveTo>
                  <a:pt x="2111" y="704"/>
                </a:moveTo>
                <a:cubicBezTo>
                  <a:pt x="2112" y="703"/>
                  <a:pt x="2112" y="703"/>
                  <a:pt x="2112" y="703"/>
                </a:cubicBezTo>
                <a:cubicBezTo>
                  <a:pt x="2112" y="701"/>
                  <a:pt x="2112" y="701"/>
                  <a:pt x="2112" y="701"/>
                </a:cubicBezTo>
                <a:cubicBezTo>
                  <a:pt x="2112" y="700"/>
                  <a:pt x="2112" y="700"/>
                  <a:pt x="2112" y="700"/>
                </a:cubicBezTo>
                <a:cubicBezTo>
                  <a:pt x="2111" y="700"/>
                  <a:pt x="2111" y="700"/>
                  <a:pt x="2111" y="700"/>
                </a:cubicBezTo>
                <a:cubicBezTo>
                  <a:pt x="2110" y="701"/>
                  <a:pt x="2110" y="701"/>
                  <a:pt x="2110" y="701"/>
                </a:cubicBezTo>
                <a:cubicBezTo>
                  <a:pt x="2111" y="702"/>
                  <a:pt x="2111" y="702"/>
                  <a:pt x="2111" y="702"/>
                </a:cubicBezTo>
                <a:cubicBezTo>
                  <a:pt x="2110" y="703"/>
                  <a:pt x="2110" y="703"/>
                  <a:pt x="2110" y="703"/>
                </a:cubicBezTo>
                <a:cubicBezTo>
                  <a:pt x="2111" y="704"/>
                  <a:pt x="2111" y="704"/>
                  <a:pt x="2111" y="704"/>
                </a:cubicBezTo>
                <a:close/>
                <a:moveTo>
                  <a:pt x="2086" y="742"/>
                </a:moveTo>
                <a:cubicBezTo>
                  <a:pt x="2085" y="742"/>
                  <a:pt x="2085" y="742"/>
                  <a:pt x="2085" y="742"/>
                </a:cubicBezTo>
                <a:cubicBezTo>
                  <a:pt x="2084" y="744"/>
                  <a:pt x="2084" y="744"/>
                  <a:pt x="2084" y="744"/>
                </a:cubicBezTo>
                <a:cubicBezTo>
                  <a:pt x="2083" y="745"/>
                  <a:pt x="2083" y="745"/>
                  <a:pt x="2083" y="745"/>
                </a:cubicBezTo>
                <a:cubicBezTo>
                  <a:pt x="2085" y="744"/>
                  <a:pt x="2085" y="744"/>
                  <a:pt x="2085" y="744"/>
                </a:cubicBezTo>
                <a:cubicBezTo>
                  <a:pt x="2086" y="743"/>
                  <a:pt x="2086" y="743"/>
                  <a:pt x="2086" y="743"/>
                </a:cubicBezTo>
                <a:cubicBezTo>
                  <a:pt x="2088" y="743"/>
                  <a:pt x="2088" y="743"/>
                  <a:pt x="2088" y="743"/>
                </a:cubicBezTo>
                <a:cubicBezTo>
                  <a:pt x="2089" y="741"/>
                  <a:pt x="2089" y="741"/>
                  <a:pt x="2089" y="741"/>
                </a:cubicBezTo>
                <a:cubicBezTo>
                  <a:pt x="2090" y="740"/>
                  <a:pt x="2090" y="740"/>
                  <a:pt x="2090" y="740"/>
                </a:cubicBezTo>
                <a:cubicBezTo>
                  <a:pt x="2091" y="739"/>
                  <a:pt x="2091" y="739"/>
                  <a:pt x="2091" y="739"/>
                </a:cubicBezTo>
                <a:cubicBezTo>
                  <a:pt x="2092" y="739"/>
                  <a:pt x="2092" y="739"/>
                  <a:pt x="2092" y="739"/>
                </a:cubicBezTo>
                <a:cubicBezTo>
                  <a:pt x="2092" y="738"/>
                  <a:pt x="2092" y="738"/>
                  <a:pt x="2092" y="738"/>
                </a:cubicBezTo>
                <a:cubicBezTo>
                  <a:pt x="2092" y="736"/>
                  <a:pt x="2092" y="736"/>
                  <a:pt x="2092" y="736"/>
                </a:cubicBezTo>
                <a:cubicBezTo>
                  <a:pt x="2093" y="735"/>
                  <a:pt x="2093" y="735"/>
                  <a:pt x="2093" y="735"/>
                </a:cubicBezTo>
                <a:cubicBezTo>
                  <a:pt x="2095" y="735"/>
                  <a:pt x="2095" y="735"/>
                  <a:pt x="2095" y="735"/>
                </a:cubicBezTo>
                <a:cubicBezTo>
                  <a:pt x="2095" y="733"/>
                  <a:pt x="2095" y="733"/>
                  <a:pt x="2095" y="733"/>
                </a:cubicBezTo>
                <a:cubicBezTo>
                  <a:pt x="2096" y="732"/>
                  <a:pt x="2096" y="732"/>
                  <a:pt x="2096" y="732"/>
                </a:cubicBezTo>
                <a:cubicBezTo>
                  <a:pt x="2097" y="732"/>
                  <a:pt x="2097" y="732"/>
                  <a:pt x="2097" y="732"/>
                </a:cubicBezTo>
                <a:cubicBezTo>
                  <a:pt x="2098" y="731"/>
                  <a:pt x="2098" y="731"/>
                  <a:pt x="2098" y="731"/>
                </a:cubicBezTo>
                <a:cubicBezTo>
                  <a:pt x="2097" y="730"/>
                  <a:pt x="2097" y="730"/>
                  <a:pt x="2097" y="730"/>
                </a:cubicBezTo>
                <a:cubicBezTo>
                  <a:pt x="2096" y="729"/>
                  <a:pt x="2096" y="729"/>
                  <a:pt x="2096" y="729"/>
                </a:cubicBezTo>
                <a:cubicBezTo>
                  <a:pt x="2096" y="727"/>
                  <a:pt x="2096" y="727"/>
                  <a:pt x="2096" y="727"/>
                </a:cubicBezTo>
                <a:cubicBezTo>
                  <a:pt x="2096" y="726"/>
                  <a:pt x="2096" y="726"/>
                  <a:pt x="2096" y="726"/>
                </a:cubicBezTo>
                <a:cubicBezTo>
                  <a:pt x="2095" y="728"/>
                  <a:pt x="2095" y="728"/>
                  <a:pt x="2095" y="728"/>
                </a:cubicBezTo>
                <a:cubicBezTo>
                  <a:pt x="2096" y="730"/>
                  <a:pt x="2096" y="730"/>
                  <a:pt x="2096" y="730"/>
                </a:cubicBezTo>
                <a:cubicBezTo>
                  <a:pt x="2095" y="729"/>
                  <a:pt x="2095" y="729"/>
                  <a:pt x="2095" y="729"/>
                </a:cubicBezTo>
                <a:cubicBezTo>
                  <a:pt x="2095" y="730"/>
                  <a:pt x="2095" y="730"/>
                  <a:pt x="2095" y="730"/>
                </a:cubicBezTo>
                <a:cubicBezTo>
                  <a:pt x="2095" y="731"/>
                  <a:pt x="2095" y="731"/>
                  <a:pt x="2095" y="731"/>
                </a:cubicBezTo>
                <a:cubicBezTo>
                  <a:pt x="2094" y="732"/>
                  <a:pt x="2094" y="732"/>
                  <a:pt x="2094" y="732"/>
                </a:cubicBezTo>
                <a:cubicBezTo>
                  <a:pt x="2092" y="734"/>
                  <a:pt x="2092" y="734"/>
                  <a:pt x="2092" y="734"/>
                </a:cubicBezTo>
                <a:cubicBezTo>
                  <a:pt x="2091" y="735"/>
                  <a:pt x="2091" y="735"/>
                  <a:pt x="2091" y="735"/>
                </a:cubicBezTo>
                <a:cubicBezTo>
                  <a:pt x="2090" y="738"/>
                  <a:pt x="2090" y="738"/>
                  <a:pt x="2090" y="738"/>
                </a:cubicBezTo>
                <a:cubicBezTo>
                  <a:pt x="2088" y="740"/>
                  <a:pt x="2088" y="740"/>
                  <a:pt x="2088" y="740"/>
                </a:cubicBezTo>
                <a:cubicBezTo>
                  <a:pt x="2087" y="740"/>
                  <a:pt x="2087" y="740"/>
                  <a:pt x="2087" y="740"/>
                </a:cubicBezTo>
                <a:cubicBezTo>
                  <a:pt x="2086" y="742"/>
                  <a:pt x="2086" y="742"/>
                  <a:pt x="2086" y="742"/>
                </a:cubicBezTo>
                <a:close/>
                <a:moveTo>
                  <a:pt x="2108" y="673"/>
                </a:moveTo>
                <a:cubicBezTo>
                  <a:pt x="2107" y="674"/>
                  <a:pt x="2107" y="674"/>
                  <a:pt x="2107" y="674"/>
                </a:cubicBezTo>
                <a:cubicBezTo>
                  <a:pt x="2108" y="675"/>
                  <a:pt x="2108" y="675"/>
                  <a:pt x="2108" y="675"/>
                </a:cubicBezTo>
                <a:cubicBezTo>
                  <a:pt x="2109" y="674"/>
                  <a:pt x="2109" y="674"/>
                  <a:pt x="2109" y="674"/>
                </a:cubicBezTo>
                <a:lnTo>
                  <a:pt x="2108" y="673"/>
                </a:lnTo>
                <a:close/>
                <a:moveTo>
                  <a:pt x="2106" y="678"/>
                </a:moveTo>
                <a:cubicBezTo>
                  <a:pt x="2106" y="678"/>
                  <a:pt x="2106" y="678"/>
                  <a:pt x="2105" y="677"/>
                </a:cubicBezTo>
                <a:cubicBezTo>
                  <a:pt x="2105" y="677"/>
                  <a:pt x="2105" y="677"/>
                  <a:pt x="2102" y="676"/>
                </a:cubicBezTo>
                <a:cubicBezTo>
                  <a:pt x="2102" y="676"/>
                  <a:pt x="2102" y="676"/>
                  <a:pt x="2100" y="677"/>
                </a:cubicBezTo>
                <a:cubicBezTo>
                  <a:pt x="2100" y="677"/>
                  <a:pt x="2100" y="677"/>
                  <a:pt x="2100" y="678"/>
                </a:cubicBezTo>
                <a:cubicBezTo>
                  <a:pt x="2100" y="678"/>
                  <a:pt x="2100" y="678"/>
                  <a:pt x="2099" y="681"/>
                </a:cubicBezTo>
                <a:cubicBezTo>
                  <a:pt x="2099" y="681"/>
                  <a:pt x="2099" y="681"/>
                  <a:pt x="2099" y="682"/>
                </a:cubicBezTo>
                <a:cubicBezTo>
                  <a:pt x="2099" y="682"/>
                  <a:pt x="2099" y="682"/>
                  <a:pt x="2099" y="685"/>
                </a:cubicBezTo>
                <a:cubicBezTo>
                  <a:pt x="2099" y="685"/>
                  <a:pt x="2099" y="685"/>
                  <a:pt x="2099" y="688"/>
                </a:cubicBezTo>
                <a:cubicBezTo>
                  <a:pt x="2099" y="688"/>
                  <a:pt x="2099" y="688"/>
                  <a:pt x="2098" y="689"/>
                </a:cubicBezTo>
                <a:cubicBezTo>
                  <a:pt x="2098" y="689"/>
                  <a:pt x="2098" y="689"/>
                  <a:pt x="2099" y="692"/>
                </a:cubicBezTo>
                <a:cubicBezTo>
                  <a:pt x="2099" y="692"/>
                  <a:pt x="2099" y="692"/>
                  <a:pt x="2098" y="693"/>
                </a:cubicBezTo>
                <a:cubicBezTo>
                  <a:pt x="2098" y="693"/>
                  <a:pt x="2098" y="693"/>
                  <a:pt x="2097" y="693"/>
                </a:cubicBezTo>
                <a:cubicBezTo>
                  <a:pt x="2097" y="693"/>
                  <a:pt x="2097" y="693"/>
                  <a:pt x="2096" y="692"/>
                </a:cubicBezTo>
                <a:cubicBezTo>
                  <a:pt x="2096" y="692"/>
                  <a:pt x="2096" y="692"/>
                  <a:pt x="2096" y="693"/>
                </a:cubicBezTo>
                <a:cubicBezTo>
                  <a:pt x="2096" y="693"/>
                  <a:pt x="2096" y="693"/>
                  <a:pt x="2096" y="695"/>
                </a:cubicBezTo>
                <a:cubicBezTo>
                  <a:pt x="2096" y="695"/>
                  <a:pt x="2096" y="695"/>
                  <a:pt x="2097" y="695"/>
                </a:cubicBezTo>
                <a:cubicBezTo>
                  <a:pt x="2097" y="695"/>
                  <a:pt x="2097" y="695"/>
                  <a:pt x="2097" y="696"/>
                </a:cubicBezTo>
                <a:cubicBezTo>
                  <a:pt x="2097" y="696"/>
                  <a:pt x="2097" y="696"/>
                  <a:pt x="2097" y="698"/>
                </a:cubicBezTo>
                <a:cubicBezTo>
                  <a:pt x="2097" y="698"/>
                  <a:pt x="2097" y="698"/>
                  <a:pt x="2098" y="699"/>
                </a:cubicBezTo>
                <a:cubicBezTo>
                  <a:pt x="2098" y="699"/>
                  <a:pt x="2098" y="699"/>
                  <a:pt x="2098" y="702"/>
                </a:cubicBezTo>
                <a:cubicBezTo>
                  <a:pt x="2098" y="702"/>
                  <a:pt x="2098" y="702"/>
                  <a:pt x="2099" y="702"/>
                </a:cubicBezTo>
                <a:cubicBezTo>
                  <a:pt x="2099" y="702"/>
                  <a:pt x="2099" y="702"/>
                  <a:pt x="2100" y="702"/>
                </a:cubicBezTo>
                <a:cubicBezTo>
                  <a:pt x="2100" y="702"/>
                  <a:pt x="2100" y="702"/>
                  <a:pt x="2100" y="703"/>
                </a:cubicBezTo>
                <a:cubicBezTo>
                  <a:pt x="2100" y="703"/>
                  <a:pt x="2100" y="703"/>
                  <a:pt x="2101" y="705"/>
                </a:cubicBezTo>
                <a:cubicBezTo>
                  <a:pt x="2101" y="705"/>
                  <a:pt x="2101" y="705"/>
                  <a:pt x="2102" y="705"/>
                </a:cubicBezTo>
                <a:cubicBezTo>
                  <a:pt x="2102" y="705"/>
                  <a:pt x="2102" y="705"/>
                  <a:pt x="2102" y="704"/>
                </a:cubicBezTo>
                <a:cubicBezTo>
                  <a:pt x="2102" y="704"/>
                  <a:pt x="2102" y="704"/>
                  <a:pt x="2102" y="703"/>
                </a:cubicBezTo>
                <a:cubicBezTo>
                  <a:pt x="2102" y="703"/>
                  <a:pt x="2102" y="703"/>
                  <a:pt x="2102" y="702"/>
                </a:cubicBezTo>
                <a:cubicBezTo>
                  <a:pt x="2102" y="702"/>
                  <a:pt x="2102" y="702"/>
                  <a:pt x="2103" y="703"/>
                </a:cubicBezTo>
                <a:cubicBezTo>
                  <a:pt x="2103" y="703"/>
                  <a:pt x="2103" y="703"/>
                  <a:pt x="2104" y="703"/>
                </a:cubicBezTo>
                <a:cubicBezTo>
                  <a:pt x="2104" y="703"/>
                  <a:pt x="2104" y="703"/>
                  <a:pt x="2103" y="705"/>
                </a:cubicBezTo>
                <a:cubicBezTo>
                  <a:pt x="2103" y="705"/>
                  <a:pt x="2103" y="705"/>
                  <a:pt x="2102" y="706"/>
                </a:cubicBezTo>
                <a:cubicBezTo>
                  <a:pt x="2102" y="706"/>
                  <a:pt x="2102" y="706"/>
                  <a:pt x="2102" y="707"/>
                </a:cubicBezTo>
                <a:cubicBezTo>
                  <a:pt x="2102" y="707"/>
                  <a:pt x="2102" y="707"/>
                  <a:pt x="2102" y="708"/>
                </a:cubicBezTo>
                <a:cubicBezTo>
                  <a:pt x="2102" y="708"/>
                  <a:pt x="2102" y="708"/>
                  <a:pt x="2103" y="710"/>
                </a:cubicBezTo>
                <a:cubicBezTo>
                  <a:pt x="2103" y="710"/>
                  <a:pt x="2103" y="710"/>
                  <a:pt x="2103" y="708"/>
                </a:cubicBezTo>
                <a:cubicBezTo>
                  <a:pt x="2103" y="708"/>
                  <a:pt x="2103" y="708"/>
                  <a:pt x="2104" y="708"/>
                </a:cubicBezTo>
                <a:cubicBezTo>
                  <a:pt x="2104" y="708"/>
                  <a:pt x="2104" y="708"/>
                  <a:pt x="2105" y="709"/>
                </a:cubicBezTo>
                <a:cubicBezTo>
                  <a:pt x="2105" y="709"/>
                  <a:pt x="2105" y="709"/>
                  <a:pt x="2104" y="710"/>
                </a:cubicBezTo>
                <a:cubicBezTo>
                  <a:pt x="2104" y="710"/>
                  <a:pt x="2104" y="710"/>
                  <a:pt x="2105" y="710"/>
                </a:cubicBezTo>
                <a:cubicBezTo>
                  <a:pt x="2105" y="710"/>
                  <a:pt x="2105" y="710"/>
                  <a:pt x="2106" y="709"/>
                </a:cubicBezTo>
                <a:cubicBezTo>
                  <a:pt x="2106" y="709"/>
                  <a:pt x="2106" y="709"/>
                  <a:pt x="2107" y="711"/>
                </a:cubicBezTo>
                <a:cubicBezTo>
                  <a:pt x="2107" y="711"/>
                  <a:pt x="2107" y="711"/>
                  <a:pt x="2109" y="710"/>
                </a:cubicBezTo>
                <a:cubicBezTo>
                  <a:pt x="2109" y="710"/>
                  <a:pt x="2109" y="710"/>
                  <a:pt x="2108" y="709"/>
                </a:cubicBezTo>
                <a:cubicBezTo>
                  <a:pt x="2108" y="709"/>
                  <a:pt x="2108" y="709"/>
                  <a:pt x="2109" y="708"/>
                </a:cubicBezTo>
                <a:cubicBezTo>
                  <a:pt x="2109" y="708"/>
                  <a:pt x="2109" y="708"/>
                  <a:pt x="2110" y="708"/>
                </a:cubicBezTo>
                <a:cubicBezTo>
                  <a:pt x="2110" y="708"/>
                  <a:pt x="2110" y="708"/>
                  <a:pt x="2113" y="709"/>
                </a:cubicBezTo>
                <a:cubicBezTo>
                  <a:pt x="2113" y="709"/>
                  <a:pt x="2113" y="709"/>
                  <a:pt x="2113" y="710"/>
                </a:cubicBezTo>
                <a:cubicBezTo>
                  <a:pt x="2113" y="710"/>
                  <a:pt x="2113" y="710"/>
                  <a:pt x="2115" y="711"/>
                </a:cubicBezTo>
                <a:cubicBezTo>
                  <a:pt x="2115" y="711"/>
                  <a:pt x="2115" y="711"/>
                  <a:pt x="2116" y="713"/>
                </a:cubicBezTo>
                <a:cubicBezTo>
                  <a:pt x="2116" y="713"/>
                  <a:pt x="2116" y="713"/>
                  <a:pt x="2116" y="711"/>
                </a:cubicBezTo>
                <a:cubicBezTo>
                  <a:pt x="2116" y="711"/>
                  <a:pt x="2116" y="711"/>
                  <a:pt x="2115" y="709"/>
                </a:cubicBezTo>
                <a:cubicBezTo>
                  <a:pt x="2115" y="709"/>
                  <a:pt x="2115" y="709"/>
                  <a:pt x="2115" y="708"/>
                </a:cubicBezTo>
                <a:cubicBezTo>
                  <a:pt x="2115" y="708"/>
                  <a:pt x="2115" y="708"/>
                  <a:pt x="2116" y="708"/>
                </a:cubicBezTo>
                <a:cubicBezTo>
                  <a:pt x="2116" y="708"/>
                  <a:pt x="2116" y="708"/>
                  <a:pt x="2116" y="709"/>
                </a:cubicBezTo>
                <a:cubicBezTo>
                  <a:pt x="2116" y="709"/>
                  <a:pt x="2116" y="709"/>
                  <a:pt x="2117" y="709"/>
                </a:cubicBezTo>
                <a:cubicBezTo>
                  <a:pt x="2117" y="709"/>
                  <a:pt x="2117" y="709"/>
                  <a:pt x="2118" y="711"/>
                </a:cubicBezTo>
                <a:cubicBezTo>
                  <a:pt x="2118" y="711"/>
                  <a:pt x="2118" y="711"/>
                  <a:pt x="2120" y="711"/>
                </a:cubicBezTo>
                <a:cubicBezTo>
                  <a:pt x="2120" y="711"/>
                  <a:pt x="2120" y="711"/>
                  <a:pt x="2120" y="713"/>
                </a:cubicBezTo>
                <a:cubicBezTo>
                  <a:pt x="2120" y="713"/>
                  <a:pt x="2120" y="713"/>
                  <a:pt x="2120" y="714"/>
                </a:cubicBezTo>
                <a:cubicBezTo>
                  <a:pt x="2120" y="714"/>
                  <a:pt x="2120" y="714"/>
                  <a:pt x="2121" y="714"/>
                </a:cubicBezTo>
                <a:cubicBezTo>
                  <a:pt x="2121" y="714"/>
                  <a:pt x="2121" y="714"/>
                  <a:pt x="2123" y="716"/>
                </a:cubicBezTo>
                <a:cubicBezTo>
                  <a:pt x="2123" y="716"/>
                  <a:pt x="2123" y="716"/>
                  <a:pt x="2124" y="716"/>
                </a:cubicBezTo>
                <a:cubicBezTo>
                  <a:pt x="2124" y="716"/>
                  <a:pt x="2124" y="716"/>
                  <a:pt x="2124" y="715"/>
                </a:cubicBezTo>
                <a:cubicBezTo>
                  <a:pt x="2124" y="715"/>
                  <a:pt x="2124" y="715"/>
                  <a:pt x="2125" y="715"/>
                </a:cubicBezTo>
                <a:cubicBezTo>
                  <a:pt x="2125" y="715"/>
                  <a:pt x="2125" y="715"/>
                  <a:pt x="2125" y="716"/>
                </a:cubicBezTo>
                <a:cubicBezTo>
                  <a:pt x="2125" y="716"/>
                  <a:pt x="2125" y="716"/>
                  <a:pt x="2124" y="717"/>
                </a:cubicBezTo>
                <a:cubicBezTo>
                  <a:pt x="2124" y="717"/>
                  <a:pt x="2124" y="717"/>
                  <a:pt x="2125" y="718"/>
                </a:cubicBezTo>
                <a:cubicBezTo>
                  <a:pt x="2125" y="718"/>
                  <a:pt x="2125" y="718"/>
                  <a:pt x="2126" y="718"/>
                </a:cubicBezTo>
                <a:cubicBezTo>
                  <a:pt x="2126" y="718"/>
                  <a:pt x="2126" y="718"/>
                  <a:pt x="2126" y="716"/>
                </a:cubicBezTo>
                <a:cubicBezTo>
                  <a:pt x="2126" y="716"/>
                  <a:pt x="2126" y="716"/>
                  <a:pt x="2127" y="715"/>
                </a:cubicBezTo>
                <a:cubicBezTo>
                  <a:pt x="2127" y="715"/>
                  <a:pt x="2127" y="715"/>
                  <a:pt x="2126" y="714"/>
                </a:cubicBezTo>
                <a:cubicBezTo>
                  <a:pt x="2126" y="714"/>
                  <a:pt x="2126" y="714"/>
                  <a:pt x="2125" y="714"/>
                </a:cubicBezTo>
                <a:cubicBezTo>
                  <a:pt x="2125" y="714"/>
                  <a:pt x="2125" y="714"/>
                  <a:pt x="2124" y="714"/>
                </a:cubicBezTo>
                <a:cubicBezTo>
                  <a:pt x="2124" y="714"/>
                  <a:pt x="2124" y="714"/>
                  <a:pt x="2123" y="714"/>
                </a:cubicBezTo>
                <a:cubicBezTo>
                  <a:pt x="2123" y="714"/>
                  <a:pt x="2123" y="714"/>
                  <a:pt x="2123" y="713"/>
                </a:cubicBezTo>
                <a:cubicBezTo>
                  <a:pt x="2123" y="713"/>
                  <a:pt x="2123" y="713"/>
                  <a:pt x="2122" y="711"/>
                </a:cubicBezTo>
                <a:cubicBezTo>
                  <a:pt x="2122" y="711"/>
                  <a:pt x="2122" y="711"/>
                  <a:pt x="2122" y="710"/>
                </a:cubicBezTo>
                <a:cubicBezTo>
                  <a:pt x="2122" y="710"/>
                  <a:pt x="2122" y="710"/>
                  <a:pt x="2122" y="709"/>
                </a:cubicBezTo>
                <a:cubicBezTo>
                  <a:pt x="2122" y="709"/>
                  <a:pt x="2122" y="709"/>
                  <a:pt x="2123" y="710"/>
                </a:cubicBezTo>
                <a:cubicBezTo>
                  <a:pt x="2123" y="710"/>
                  <a:pt x="2123" y="710"/>
                  <a:pt x="2124" y="710"/>
                </a:cubicBezTo>
                <a:cubicBezTo>
                  <a:pt x="2124" y="710"/>
                  <a:pt x="2124" y="710"/>
                  <a:pt x="2124" y="709"/>
                </a:cubicBezTo>
                <a:cubicBezTo>
                  <a:pt x="2124" y="709"/>
                  <a:pt x="2124" y="709"/>
                  <a:pt x="2122" y="708"/>
                </a:cubicBezTo>
                <a:cubicBezTo>
                  <a:pt x="2122" y="708"/>
                  <a:pt x="2122" y="708"/>
                  <a:pt x="2121" y="708"/>
                </a:cubicBezTo>
                <a:cubicBezTo>
                  <a:pt x="2121" y="708"/>
                  <a:pt x="2121" y="708"/>
                  <a:pt x="2120" y="707"/>
                </a:cubicBezTo>
                <a:cubicBezTo>
                  <a:pt x="2120" y="707"/>
                  <a:pt x="2120" y="707"/>
                  <a:pt x="2120" y="708"/>
                </a:cubicBezTo>
                <a:cubicBezTo>
                  <a:pt x="2120" y="708"/>
                  <a:pt x="2120" y="708"/>
                  <a:pt x="2120" y="709"/>
                </a:cubicBezTo>
                <a:cubicBezTo>
                  <a:pt x="2120" y="709"/>
                  <a:pt x="2120" y="709"/>
                  <a:pt x="2119" y="709"/>
                </a:cubicBezTo>
                <a:cubicBezTo>
                  <a:pt x="2119" y="709"/>
                  <a:pt x="2119" y="709"/>
                  <a:pt x="2118" y="709"/>
                </a:cubicBezTo>
                <a:cubicBezTo>
                  <a:pt x="2118" y="709"/>
                  <a:pt x="2118" y="709"/>
                  <a:pt x="2119" y="707"/>
                </a:cubicBezTo>
                <a:cubicBezTo>
                  <a:pt x="2119" y="707"/>
                  <a:pt x="2119" y="707"/>
                  <a:pt x="2118" y="706"/>
                </a:cubicBezTo>
                <a:cubicBezTo>
                  <a:pt x="2118" y="706"/>
                  <a:pt x="2118" y="706"/>
                  <a:pt x="2116" y="705"/>
                </a:cubicBezTo>
                <a:cubicBezTo>
                  <a:pt x="2116" y="705"/>
                  <a:pt x="2116" y="705"/>
                  <a:pt x="2115" y="705"/>
                </a:cubicBezTo>
                <a:cubicBezTo>
                  <a:pt x="2115" y="705"/>
                  <a:pt x="2115" y="705"/>
                  <a:pt x="2113" y="706"/>
                </a:cubicBezTo>
                <a:cubicBezTo>
                  <a:pt x="2113" y="706"/>
                  <a:pt x="2113" y="706"/>
                  <a:pt x="2113" y="707"/>
                </a:cubicBezTo>
                <a:cubicBezTo>
                  <a:pt x="2113" y="707"/>
                  <a:pt x="2113" y="707"/>
                  <a:pt x="2112" y="707"/>
                </a:cubicBezTo>
                <a:cubicBezTo>
                  <a:pt x="2112" y="707"/>
                  <a:pt x="2112" y="707"/>
                  <a:pt x="2110" y="707"/>
                </a:cubicBezTo>
                <a:cubicBezTo>
                  <a:pt x="2110" y="707"/>
                  <a:pt x="2110" y="707"/>
                  <a:pt x="2110" y="706"/>
                </a:cubicBezTo>
                <a:cubicBezTo>
                  <a:pt x="2110" y="706"/>
                  <a:pt x="2110" y="706"/>
                  <a:pt x="2109" y="705"/>
                </a:cubicBezTo>
                <a:cubicBezTo>
                  <a:pt x="2109" y="705"/>
                  <a:pt x="2109" y="705"/>
                  <a:pt x="2109" y="704"/>
                </a:cubicBezTo>
                <a:cubicBezTo>
                  <a:pt x="2109" y="704"/>
                  <a:pt x="2109" y="704"/>
                  <a:pt x="2109" y="703"/>
                </a:cubicBezTo>
                <a:cubicBezTo>
                  <a:pt x="2109" y="703"/>
                  <a:pt x="2109" y="703"/>
                  <a:pt x="2108" y="702"/>
                </a:cubicBezTo>
                <a:cubicBezTo>
                  <a:pt x="2108" y="702"/>
                  <a:pt x="2108" y="702"/>
                  <a:pt x="2108" y="700"/>
                </a:cubicBezTo>
                <a:cubicBezTo>
                  <a:pt x="2108" y="700"/>
                  <a:pt x="2108" y="700"/>
                  <a:pt x="2107" y="700"/>
                </a:cubicBezTo>
                <a:cubicBezTo>
                  <a:pt x="2107" y="700"/>
                  <a:pt x="2107" y="700"/>
                  <a:pt x="2107" y="698"/>
                </a:cubicBezTo>
                <a:cubicBezTo>
                  <a:pt x="2107" y="698"/>
                  <a:pt x="2107" y="698"/>
                  <a:pt x="2108" y="697"/>
                </a:cubicBezTo>
                <a:cubicBezTo>
                  <a:pt x="2108" y="697"/>
                  <a:pt x="2108" y="697"/>
                  <a:pt x="2108" y="696"/>
                </a:cubicBezTo>
                <a:cubicBezTo>
                  <a:pt x="2108" y="696"/>
                  <a:pt x="2108" y="696"/>
                  <a:pt x="2108" y="695"/>
                </a:cubicBezTo>
                <a:cubicBezTo>
                  <a:pt x="2108" y="695"/>
                  <a:pt x="2108" y="695"/>
                  <a:pt x="2110" y="693"/>
                </a:cubicBezTo>
                <a:cubicBezTo>
                  <a:pt x="2110" y="693"/>
                  <a:pt x="2110" y="693"/>
                  <a:pt x="2111" y="692"/>
                </a:cubicBezTo>
                <a:cubicBezTo>
                  <a:pt x="2111" y="692"/>
                  <a:pt x="2111" y="692"/>
                  <a:pt x="2111" y="693"/>
                </a:cubicBezTo>
                <a:cubicBezTo>
                  <a:pt x="2111" y="693"/>
                  <a:pt x="2111" y="693"/>
                  <a:pt x="2111" y="694"/>
                </a:cubicBezTo>
                <a:cubicBezTo>
                  <a:pt x="2111" y="694"/>
                  <a:pt x="2111" y="694"/>
                  <a:pt x="2112" y="692"/>
                </a:cubicBezTo>
                <a:cubicBezTo>
                  <a:pt x="2112" y="692"/>
                  <a:pt x="2112" y="692"/>
                  <a:pt x="2111" y="691"/>
                </a:cubicBezTo>
                <a:cubicBezTo>
                  <a:pt x="2111" y="691"/>
                  <a:pt x="2111" y="691"/>
                  <a:pt x="2112" y="689"/>
                </a:cubicBezTo>
                <a:cubicBezTo>
                  <a:pt x="2112" y="689"/>
                  <a:pt x="2112" y="689"/>
                  <a:pt x="2113" y="686"/>
                </a:cubicBezTo>
                <a:cubicBezTo>
                  <a:pt x="2113" y="686"/>
                  <a:pt x="2113" y="686"/>
                  <a:pt x="2112" y="685"/>
                </a:cubicBezTo>
                <a:cubicBezTo>
                  <a:pt x="2112" y="685"/>
                  <a:pt x="2112" y="685"/>
                  <a:pt x="2112" y="684"/>
                </a:cubicBezTo>
                <a:cubicBezTo>
                  <a:pt x="2112" y="684"/>
                  <a:pt x="2112" y="684"/>
                  <a:pt x="2111" y="683"/>
                </a:cubicBezTo>
                <a:cubicBezTo>
                  <a:pt x="2111" y="683"/>
                  <a:pt x="2111" y="683"/>
                  <a:pt x="2110" y="682"/>
                </a:cubicBezTo>
                <a:cubicBezTo>
                  <a:pt x="2110" y="682"/>
                  <a:pt x="2110" y="682"/>
                  <a:pt x="2110" y="679"/>
                </a:cubicBezTo>
                <a:cubicBezTo>
                  <a:pt x="2110" y="679"/>
                  <a:pt x="2110" y="679"/>
                  <a:pt x="2111" y="678"/>
                </a:cubicBezTo>
                <a:cubicBezTo>
                  <a:pt x="2111" y="678"/>
                  <a:pt x="2111" y="678"/>
                  <a:pt x="2111" y="677"/>
                </a:cubicBezTo>
                <a:cubicBezTo>
                  <a:pt x="2111" y="677"/>
                  <a:pt x="2111" y="677"/>
                  <a:pt x="2110" y="676"/>
                </a:cubicBezTo>
                <a:cubicBezTo>
                  <a:pt x="2110" y="676"/>
                  <a:pt x="2110" y="676"/>
                  <a:pt x="2109" y="677"/>
                </a:cubicBezTo>
                <a:cubicBezTo>
                  <a:pt x="2109" y="677"/>
                  <a:pt x="2109" y="677"/>
                  <a:pt x="2109" y="678"/>
                </a:cubicBezTo>
                <a:cubicBezTo>
                  <a:pt x="2109" y="678"/>
                  <a:pt x="2109" y="678"/>
                  <a:pt x="2107" y="678"/>
                </a:cubicBezTo>
                <a:cubicBezTo>
                  <a:pt x="2107" y="678"/>
                  <a:pt x="2107" y="678"/>
                  <a:pt x="2106" y="678"/>
                </a:cubicBezTo>
                <a:close/>
                <a:moveTo>
                  <a:pt x="2005" y="806"/>
                </a:moveTo>
                <a:cubicBezTo>
                  <a:pt x="2006" y="806"/>
                  <a:pt x="2006" y="806"/>
                  <a:pt x="2006" y="806"/>
                </a:cubicBezTo>
                <a:cubicBezTo>
                  <a:pt x="2006" y="805"/>
                  <a:pt x="2006" y="805"/>
                  <a:pt x="2006" y="805"/>
                </a:cubicBezTo>
                <a:cubicBezTo>
                  <a:pt x="2005" y="805"/>
                  <a:pt x="2005" y="805"/>
                  <a:pt x="2005" y="805"/>
                </a:cubicBezTo>
                <a:cubicBezTo>
                  <a:pt x="2004" y="806"/>
                  <a:pt x="2004" y="806"/>
                  <a:pt x="2004" y="806"/>
                </a:cubicBezTo>
                <a:cubicBezTo>
                  <a:pt x="2005" y="806"/>
                  <a:pt x="2005" y="806"/>
                  <a:pt x="2005" y="806"/>
                </a:cubicBezTo>
                <a:close/>
                <a:moveTo>
                  <a:pt x="2006" y="793"/>
                </a:moveTo>
                <a:cubicBezTo>
                  <a:pt x="2005" y="793"/>
                  <a:pt x="2005" y="793"/>
                  <a:pt x="2005" y="793"/>
                </a:cubicBezTo>
                <a:cubicBezTo>
                  <a:pt x="2004" y="793"/>
                  <a:pt x="2004" y="793"/>
                  <a:pt x="2004" y="793"/>
                </a:cubicBezTo>
                <a:cubicBezTo>
                  <a:pt x="2004" y="795"/>
                  <a:pt x="2004" y="795"/>
                  <a:pt x="2004" y="795"/>
                </a:cubicBezTo>
                <a:cubicBezTo>
                  <a:pt x="2005" y="795"/>
                  <a:pt x="2005" y="795"/>
                  <a:pt x="2005" y="795"/>
                </a:cubicBezTo>
                <a:cubicBezTo>
                  <a:pt x="2006" y="797"/>
                  <a:pt x="2006" y="797"/>
                  <a:pt x="2006" y="797"/>
                </a:cubicBezTo>
                <a:cubicBezTo>
                  <a:pt x="2006" y="796"/>
                  <a:pt x="2006" y="796"/>
                  <a:pt x="2006" y="796"/>
                </a:cubicBezTo>
                <a:cubicBezTo>
                  <a:pt x="2007" y="794"/>
                  <a:pt x="2007" y="794"/>
                  <a:pt x="2007" y="794"/>
                </a:cubicBezTo>
                <a:cubicBezTo>
                  <a:pt x="2006" y="794"/>
                  <a:pt x="2006" y="794"/>
                  <a:pt x="2006" y="794"/>
                </a:cubicBezTo>
                <a:cubicBezTo>
                  <a:pt x="2007" y="793"/>
                  <a:pt x="2007" y="793"/>
                  <a:pt x="2007" y="793"/>
                </a:cubicBezTo>
                <a:cubicBezTo>
                  <a:pt x="2006" y="793"/>
                  <a:pt x="2006" y="793"/>
                  <a:pt x="2006" y="793"/>
                </a:cubicBezTo>
                <a:close/>
                <a:moveTo>
                  <a:pt x="2007" y="804"/>
                </a:moveTo>
                <a:cubicBezTo>
                  <a:pt x="2008" y="804"/>
                  <a:pt x="2008" y="804"/>
                  <a:pt x="2008" y="804"/>
                </a:cubicBezTo>
                <a:cubicBezTo>
                  <a:pt x="2009" y="804"/>
                  <a:pt x="2009" y="804"/>
                  <a:pt x="2009" y="804"/>
                </a:cubicBezTo>
                <a:cubicBezTo>
                  <a:pt x="2007" y="802"/>
                  <a:pt x="2007" y="802"/>
                  <a:pt x="2007" y="802"/>
                </a:cubicBezTo>
                <a:cubicBezTo>
                  <a:pt x="2006" y="802"/>
                  <a:pt x="2006" y="802"/>
                  <a:pt x="2006" y="802"/>
                </a:cubicBezTo>
                <a:cubicBezTo>
                  <a:pt x="2005" y="803"/>
                  <a:pt x="2005" y="803"/>
                  <a:pt x="2005" y="803"/>
                </a:cubicBezTo>
                <a:cubicBezTo>
                  <a:pt x="2006" y="804"/>
                  <a:pt x="2006" y="804"/>
                  <a:pt x="2006" y="804"/>
                </a:cubicBezTo>
                <a:cubicBezTo>
                  <a:pt x="2007" y="804"/>
                  <a:pt x="2007" y="804"/>
                  <a:pt x="2007" y="804"/>
                </a:cubicBezTo>
                <a:close/>
                <a:moveTo>
                  <a:pt x="1995" y="797"/>
                </a:moveTo>
                <a:cubicBezTo>
                  <a:pt x="1996" y="797"/>
                  <a:pt x="1996" y="797"/>
                  <a:pt x="1996" y="797"/>
                </a:cubicBezTo>
                <a:cubicBezTo>
                  <a:pt x="1997" y="797"/>
                  <a:pt x="1997" y="797"/>
                  <a:pt x="1997" y="797"/>
                </a:cubicBezTo>
                <a:cubicBezTo>
                  <a:pt x="1996" y="795"/>
                  <a:pt x="1996" y="795"/>
                  <a:pt x="1996" y="795"/>
                </a:cubicBezTo>
                <a:cubicBezTo>
                  <a:pt x="1995" y="794"/>
                  <a:pt x="1995" y="794"/>
                  <a:pt x="1995" y="794"/>
                </a:cubicBezTo>
                <a:cubicBezTo>
                  <a:pt x="1993" y="794"/>
                  <a:pt x="1993" y="794"/>
                  <a:pt x="1993" y="794"/>
                </a:cubicBezTo>
                <a:cubicBezTo>
                  <a:pt x="1992" y="795"/>
                  <a:pt x="1992" y="795"/>
                  <a:pt x="1992" y="795"/>
                </a:cubicBezTo>
                <a:cubicBezTo>
                  <a:pt x="1993" y="796"/>
                  <a:pt x="1993" y="796"/>
                  <a:pt x="1993" y="796"/>
                </a:cubicBezTo>
                <a:cubicBezTo>
                  <a:pt x="1995" y="797"/>
                  <a:pt x="1995" y="797"/>
                  <a:pt x="1995" y="797"/>
                </a:cubicBezTo>
                <a:close/>
                <a:moveTo>
                  <a:pt x="2016" y="778"/>
                </a:moveTo>
                <a:cubicBezTo>
                  <a:pt x="2016" y="779"/>
                  <a:pt x="2016" y="779"/>
                  <a:pt x="2016" y="779"/>
                </a:cubicBezTo>
                <a:cubicBezTo>
                  <a:pt x="2017" y="778"/>
                  <a:pt x="2017" y="778"/>
                  <a:pt x="2017" y="778"/>
                </a:cubicBezTo>
                <a:cubicBezTo>
                  <a:pt x="2016" y="778"/>
                  <a:pt x="2016" y="778"/>
                  <a:pt x="2016" y="778"/>
                </a:cubicBezTo>
                <a:close/>
                <a:moveTo>
                  <a:pt x="2003" y="795"/>
                </a:moveTo>
                <a:cubicBezTo>
                  <a:pt x="2003" y="794"/>
                  <a:pt x="2003" y="794"/>
                  <a:pt x="2003" y="794"/>
                </a:cubicBezTo>
                <a:cubicBezTo>
                  <a:pt x="2003" y="793"/>
                  <a:pt x="2003" y="793"/>
                  <a:pt x="2003" y="793"/>
                </a:cubicBezTo>
                <a:cubicBezTo>
                  <a:pt x="2001" y="795"/>
                  <a:pt x="2001" y="795"/>
                  <a:pt x="2001" y="795"/>
                </a:cubicBezTo>
                <a:cubicBezTo>
                  <a:pt x="2003" y="795"/>
                  <a:pt x="2003" y="795"/>
                  <a:pt x="2003" y="795"/>
                </a:cubicBezTo>
                <a:close/>
                <a:moveTo>
                  <a:pt x="2016" y="783"/>
                </a:moveTo>
                <a:cubicBezTo>
                  <a:pt x="2017" y="782"/>
                  <a:pt x="2017" y="782"/>
                  <a:pt x="2017" y="782"/>
                </a:cubicBezTo>
                <a:cubicBezTo>
                  <a:pt x="2016" y="782"/>
                  <a:pt x="2016" y="782"/>
                  <a:pt x="2016" y="782"/>
                </a:cubicBezTo>
                <a:cubicBezTo>
                  <a:pt x="2016" y="783"/>
                  <a:pt x="2016" y="783"/>
                  <a:pt x="2016" y="783"/>
                </a:cubicBezTo>
                <a:close/>
                <a:moveTo>
                  <a:pt x="2021" y="821"/>
                </a:moveTo>
                <a:cubicBezTo>
                  <a:pt x="2020" y="820"/>
                  <a:pt x="2020" y="820"/>
                  <a:pt x="2020" y="820"/>
                </a:cubicBezTo>
                <a:cubicBezTo>
                  <a:pt x="2020" y="821"/>
                  <a:pt x="2020" y="821"/>
                  <a:pt x="2020" y="821"/>
                </a:cubicBezTo>
                <a:cubicBezTo>
                  <a:pt x="2021" y="821"/>
                  <a:pt x="2021" y="821"/>
                  <a:pt x="2021" y="821"/>
                </a:cubicBezTo>
                <a:close/>
                <a:moveTo>
                  <a:pt x="1992" y="792"/>
                </a:moveTo>
                <a:cubicBezTo>
                  <a:pt x="1992" y="792"/>
                  <a:pt x="1992" y="792"/>
                  <a:pt x="1990" y="792"/>
                </a:cubicBezTo>
                <a:cubicBezTo>
                  <a:pt x="1990" y="792"/>
                  <a:pt x="1990" y="792"/>
                  <a:pt x="1991" y="794"/>
                </a:cubicBezTo>
                <a:cubicBezTo>
                  <a:pt x="1991" y="794"/>
                  <a:pt x="1991" y="794"/>
                  <a:pt x="1992" y="794"/>
                </a:cubicBezTo>
                <a:cubicBezTo>
                  <a:pt x="1992" y="794"/>
                  <a:pt x="1992" y="794"/>
                  <a:pt x="1993" y="793"/>
                </a:cubicBezTo>
                <a:cubicBezTo>
                  <a:pt x="1993" y="793"/>
                  <a:pt x="1993" y="793"/>
                  <a:pt x="1992" y="792"/>
                </a:cubicBezTo>
                <a:close/>
                <a:moveTo>
                  <a:pt x="2025" y="823"/>
                </a:moveTo>
                <a:cubicBezTo>
                  <a:pt x="2026" y="821"/>
                  <a:pt x="2026" y="821"/>
                  <a:pt x="2026" y="821"/>
                </a:cubicBezTo>
                <a:cubicBezTo>
                  <a:pt x="2027" y="822"/>
                  <a:pt x="2027" y="822"/>
                  <a:pt x="2027" y="822"/>
                </a:cubicBezTo>
                <a:cubicBezTo>
                  <a:pt x="2028" y="822"/>
                  <a:pt x="2028" y="822"/>
                  <a:pt x="2028" y="822"/>
                </a:cubicBezTo>
                <a:cubicBezTo>
                  <a:pt x="2028" y="821"/>
                  <a:pt x="2028" y="821"/>
                  <a:pt x="2028" y="821"/>
                </a:cubicBezTo>
                <a:cubicBezTo>
                  <a:pt x="2029" y="821"/>
                  <a:pt x="2029" y="821"/>
                  <a:pt x="2029" y="821"/>
                </a:cubicBezTo>
                <a:cubicBezTo>
                  <a:pt x="2029" y="820"/>
                  <a:pt x="2029" y="820"/>
                  <a:pt x="2029" y="820"/>
                </a:cubicBezTo>
                <a:cubicBezTo>
                  <a:pt x="2027" y="818"/>
                  <a:pt x="2027" y="818"/>
                  <a:pt x="2027" y="818"/>
                </a:cubicBezTo>
                <a:cubicBezTo>
                  <a:pt x="2025" y="818"/>
                  <a:pt x="2025" y="818"/>
                  <a:pt x="2025" y="818"/>
                </a:cubicBezTo>
                <a:cubicBezTo>
                  <a:pt x="2024" y="818"/>
                  <a:pt x="2024" y="818"/>
                  <a:pt x="2024" y="818"/>
                </a:cubicBezTo>
                <a:cubicBezTo>
                  <a:pt x="2024" y="819"/>
                  <a:pt x="2024" y="819"/>
                  <a:pt x="2024" y="819"/>
                </a:cubicBezTo>
                <a:cubicBezTo>
                  <a:pt x="2024" y="820"/>
                  <a:pt x="2024" y="820"/>
                  <a:pt x="2024" y="820"/>
                </a:cubicBezTo>
                <a:cubicBezTo>
                  <a:pt x="2023" y="820"/>
                  <a:pt x="2023" y="820"/>
                  <a:pt x="2023" y="820"/>
                </a:cubicBezTo>
                <a:cubicBezTo>
                  <a:pt x="2023" y="821"/>
                  <a:pt x="2023" y="821"/>
                  <a:pt x="2023" y="821"/>
                </a:cubicBezTo>
                <a:cubicBezTo>
                  <a:pt x="2024" y="821"/>
                  <a:pt x="2024" y="821"/>
                  <a:pt x="2024" y="821"/>
                </a:cubicBezTo>
                <a:cubicBezTo>
                  <a:pt x="2024" y="822"/>
                  <a:pt x="2024" y="822"/>
                  <a:pt x="2024" y="822"/>
                </a:cubicBezTo>
                <a:cubicBezTo>
                  <a:pt x="2025" y="823"/>
                  <a:pt x="2025" y="823"/>
                  <a:pt x="2025" y="823"/>
                </a:cubicBezTo>
                <a:close/>
                <a:moveTo>
                  <a:pt x="2029" y="774"/>
                </a:moveTo>
                <a:cubicBezTo>
                  <a:pt x="2028" y="772"/>
                  <a:pt x="2028" y="772"/>
                  <a:pt x="2028" y="772"/>
                </a:cubicBezTo>
                <a:cubicBezTo>
                  <a:pt x="2027" y="773"/>
                  <a:pt x="2027" y="773"/>
                  <a:pt x="2027" y="773"/>
                </a:cubicBezTo>
                <a:cubicBezTo>
                  <a:pt x="2026" y="774"/>
                  <a:pt x="2026" y="774"/>
                  <a:pt x="2026" y="774"/>
                </a:cubicBezTo>
                <a:cubicBezTo>
                  <a:pt x="2028" y="775"/>
                  <a:pt x="2028" y="775"/>
                  <a:pt x="2028" y="775"/>
                </a:cubicBezTo>
                <a:cubicBezTo>
                  <a:pt x="2028" y="776"/>
                  <a:pt x="2028" y="776"/>
                  <a:pt x="2028" y="776"/>
                </a:cubicBezTo>
                <a:cubicBezTo>
                  <a:pt x="2029" y="776"/>
                  <a:pt x="2029" y="776"/>
                  <a:pt x="2029" y="776"/>
                </a:cubicBezTo>
                <a:cubicBezTo>
                  <a:pt x="2029" y="774"/>
                  <a:pt x="2029" y="774"/>
                  <a:pt x="2029" y="774"/>
                </a:cubicBezTo>
                <a:close/>
                <a:moveTo>
                  <a:pt x="2017" y="818"/>
                </a:moveTo>
                <a:cubicBezTo>
                  <a:pt x="2016" y="816"/>
                  <a:pt x="2016" y="816"/>
                  <a:pt x="2016" y="816"/>
                </a:cubicBezTo>
                <a:cubicBezTo>
                  <a:pt x="2015" y="813"/>
                  <a:pt x="2015" y="813"/>
                  <a:pt x="2015" y="813"/>
                </a:cubicBezTo>
                <a:cubicBezTo>
                  <a:pt x="2014" y="812"/>
                  <a:pt x="2014" y="812"/>
                  <a:pt x="2014" y="812"/>
                </a:cubicBezTo>
                <a:cubicBezTo>
                  <a:pt x="2013" y="812"/>
                  <a:pt x="2013" y="812"/>
                  <a:pt x="2013" y="812"/>
                </a:cubicBezTo>
                <a:cubicBezTo>
                  <a:pt x="2013" y="813"/>
                  <a:pt x="2013" y="813"/>
                  <a:pt x="2013" y="813"/>
                </a:cubicBezTo>
                <a:cubicBezTo>
                  <a:pt x="2012" y="813"/>
                  <a:pt x="2012" y="813"/>
                  <a:pt x="2012" y="813"/>
                </a:cubicBezTo>
                <a:cubicBezTo>
                  <a:pt x="2011" y="812"/>
                  <a:pt x="2011" y="812"/>
                  <a:pt x="2011" y="812"/>
                </a:cubicBezTo>
                <a:cubicBezTo>
                  <a:pt x="2011" y="813"/>
                  <a:pt x="2011" y="813"/>
                  <a:pt x="2011" y="813"/>
                </a:cubicBezTo>
                <a:cubicBezTo>
                  <a:pt x="2010" y="814"/>
                  <a:pt x="2010" y="814"/>
                  <a:pt x="2010" y="814"/>
                </a:cubicBezTo>
                <a:cubicBezTo>
                  <a:pt x="2011" y="815"/>
                  <a:pt x="2011" y="815"/>
                  <a:pt x="2011" y="815"/>
                </a:cubicBezTo>
                <a:cubicBezTo>
                  <a:pt x="2013" y="816"/>
                  <a:pt x="2013" y="816"/>
                  <a:pt x="2013" y="816"/>
                </a:cubicBezTo>
                <a:cubicBezTo>
                  <a:pt x="2013" y="817"/>
                  <a:pt x="2013" y="817"/>
                  <a:pt x="2013" y="817"/>
                </a:cubicBezTo>
                <a:cubicBezTo>
                  <a:pt x="2014" y="818"/>
                  <a:pt x="2014" y="818"/>
                  <a:pt x="2014" y="818"/>
                </a:cubicBezTo>
                <a:cubicBezTo>
                  <a:pt x="2015" y="819"/>
                  <a:pt x="2015" y="819"/>
                  <a:pt x="2015" y="819"/>
                </a:cubicBezTo>
                <a:cubicBezTo>
                  <a:pt x="2016" y="820"/>
                  <a:pt x="2016" y="820"/>
                  <a:pt x="2016" y="820"/>
                </a:cubicBezTo>
                <a:cubicBezTo>
                  <a:pt x="2017" y="820"/>
                  <a:pt x="2017" y="820"/>
                  <a:pt x="2017" y="820"/>
                </a:cubicBezTo>
                <a:cubicBezTo>
                  <a:pt x="2018" y="821"/>
                  <a:pt x="2018" y="821"/>
                  <a:pt x="2018" y="821"/>
                </a:cubicBezTo>
                <a:cubicBezTo>
                  <a:pt x="2018" y="822"/>
                  <a:pt x="2018" y="822"/>
                  <a:pt x="2018" y="822"/>
                </a:cubicBezTo>
                <a:cubicBezTo>
                  <a:pt x="2019" y="821"/>
                  <a:pt x="2019" y="821"/>
                  <a:pt x="2019" y="821"/>
                </a:cubicBezTo>
                <a:cubicBezTo>
                  <a:pt x="2018" y="820"/>
                  <a:pt x="2018" y="820"/>
                  <a:pt x="2018" y="820"/>
                </a:cubicBezTo>
                <a:cubicBezTo>
                  <a:pt x="2019" y="818"/>
                  <a:pt x="2019" y="818"/>
                  <a:pt x="2019" y="818"/>
                </a:cubicBezTo>
                <a:cubicBezTo>
                  <a:pt x="2017" y="818"/>
                  <a:pt x="2017" y="818"/>
                  <a:pt x="2017" y="818"/>
                </a:cubicBezTo>
                <a:close/>
                <a:moveTo>
                  <a:pt x="1969" y="808"/>
                </a:moveTo>
                <a:cubicBezTo>
                  <a:pt x="1967" y="809"/>
                  <a:pt x="1967" y="809"/>
                  <a:pt x="1967" y="809"/>
                </a:cubicBezTo>
                <a:cubicBezTo>
                  <a:pt x="1967" y="810"/>
                  <a:pt x="1967" y="810"/>
                  <a:pt x="1967" y="810"/>
                </a:cubicBezTo>
                <a:cubicBezTo>
                  <a:pt x="1969" y="810"/>
                  <a:pt x="1969" y="810"/>
                  <a:pt x="1969" y="810"/>
                </a:cubicBezTo>
                <a:cubicBezTo>
                  <a:pt x="1970" y="813"/>
                  <a:pt x="1970" y="813"/>
                  <a:pt x="1970" y="813"/>
                </a:cubicBezTo>
                <a:cubicBezTo>
                  <a:pt x="1972" y="813"/>
                  <a:pt x="1972" y="813"/>
                  <a:pt x="1972" y="813"/>
                </a:cubicBezTo>
                <a:cubicBezTo>
                  <a:pt x="1972" y="811"/>
                  <a:pt x="1972" y="811"/>
                  <a:pt x="1972" y="811"/>
                </a:cubicBezTo>
                <a:cubicBezTo>
                  <a:pt x="1970" y="808"/>
                  <a:pt x="1970" y="808"/>
                  <a:pt x="1970" y="808"/>
                </a:cubicBezTo>
                <a:cubicBezTo>
                  <a:pt x="1969" y="808"/>
                  <a:pt x="1969" y="808"/>
                  <a:pt x="1969" y="808"/>
                </a:cubicBezTo>
                <a:close/>
                <a:moveTo>
                  <a:pt x="2014" y="781"/>
                </a:moveTo>
                <a:cubicBezTo>
                  <a:pt x="2013" y="781"/>
                  <a:pt x="2013" y="781"/>
                  <a:pt x="2013" y="781"/>
                </a:cubicBezTo>
                <a:cubicBezTo>
                  <a:pt x="2012" y="781"/>
                  <a:pt x="2012" y="781"/>
                  <a:pt x="2012" y="781"/>
                </a:cubicBezTo>
                <a:cubicBezTo>
                  <a:pt x="2012" y="782"/>
                  <a:pt x="2012" y="782"/>
                  <a:pt x="2012" y="782"/>
                </a:cubicBezTo>
                <a:cubicBezTo>
                  <a:pt x="2013" y="782"/>
                  <a:pt x="2013" y="782"/>
                  <a:pt x="2013" y="782"/>
                </a:cubicBezTo>
                <a:cubicBezTo>
                  <a:pt x="2014" y="781"/>
                  <a:pt x="2014" y="781"/>
                  <a:pt x="2014" y="781"/>
                </a:cubicBezTo>
                <a:close/>
                <a:moveTo>
                  <a:pt x="2195" y="838"/>
                </a:moveTo>
                <a:cubicBezTo>
                  <a:pt x="2195" y="837"/>
                  <a:pt x="2195" y="837"/>
                  <a:pt x="2195" y="837"/>
                </a:cubicBezTo>
                <a:cubicBezTo>
                  <a:pt x="2194" y="836"/>
                  <a:pt x="2194" y="836"/>
                  <a:pt x="2194" y="836"/>
                </a:cubicBezTo>
                <a:cubicBezTo>
                  <a:pt x="2194" y="837"/>
                  <a:pt x="2194" y="837"/>
                  <a:pt x="2194" y="837"/>
                </a:cubicBezTo>
                <a:cubicBezTo>
                  <a:pt x="2193" y="837"/>
                  <a:pt x="2193" y="837"/>
                  <a:pt x="2193" y="837"/>
                </a:cubicBezTo>
                <a:cubicBezTo>
                  <a:pt x="2192" y="838"/>
                  <a:pt x="2192" y="838"/>
                  <a:pt x="2192" y="838"/>
                </a:cubicBezTo>
                <a:cubicBezTo>
                  <a:pt x="2193" y="838"/>
                  <a:pt x="2193" y="838"/>
                  <a:pt x="2193" y="838"/>
                </a:cubicBezTo>
                <a:cubicBezTo>
                  <a:pt x="2192" y="839"/>
                  <a:pt x="2192" y="839"/>
                  <a:pt x="2192" y="839"/>
                </a:cubicBezTo>
                <a:cubicBezTo>
                  <a:pt x="2192" y="840"/>
                  <a:pt x="2192" y="840"/>
                  <a:pt x="2192" y="840"/>
                </a:cubicBezTo>
                <a:cubicBezTo>
                  <a:pt x="2193" y="840"/>
                  <a:pt x="2193" y="840"/>
                  <a:pt x="2193" y="840"/>
                </a:cubicBezTo>
                <a:cubicBezTo>
                  <a:pt x="2194" y="839"/>
                  <a:pt x="2194" y="839"/>
                  <a:pt x="2194" y="839"/>
                </a:cubicBezTo>
                <a:cubicBezTo>
                  <a:pt x="2195" y="838"/>
                  <a:pt x="2195" y="838"/>
                  <a:pt x="2195" y="838"/>
                </a:cubicBezTo>
                <a:close/>
                <a:moveTo>
                  <a:pt x="1978" y="820"/>
                </a:moveTo>
                <a:cubicBezTo>
                  <a:pt x="1977" y="821"/>
                  <a:pt x="1977" y="821"/>
                  <a:pt x="1977" y="821"/>
                </a:cubicBezTo>
                <a:cubicBezTo>
                  <a:pt x="1980" y="823"/>
                  <a:pt x="1980" y="823"/>
                  <a:pt x="1980" y="823"/>
                </a:cubicBezTo>
                <a:cubicBezTo>
                  <a:pt x="1979" y="822"/>
                  <a:pt x="1979" y="822"/>
                  <a:pt x="1979" y="822"/>
                </a:cubicBezTo>
                <a:cubicBezTo>
                  <a:pt x="1980" y="821"/>
                  <a:pt x="1980" y="821"/>
                  <a:pt x="1980" y="821"/>
                </a:cubicBezTo>
                <a:cubicBezTo>
                  <a:pt x="1978" y="820"/>
                  <a:pt x="1978" y="820"/>
                  <a:pt x="1978" y="820"/>
                </a:cubicBezTo>
                <a:close/>
                <a:moveTo>
                  <a:pt x="1949" y="783"/>
                </a:moveTo>
                <a:cubicBezTo>
                  <a:pt x="1950" y="784"/>
                  <a:pt x="1950" y="784"/>
                  <a:pt x="1950" y="784"/>
                </a:cubicBezTo>
                <a:cubicBezTo>
                  <a:pt x="1951" y="784"/>
                  <a:pt x="1951" y="784"/>
                  <a:pt x="1951" y="784"/>
                </a:cubicBezTo>
                <a:cubicBezTo>
                  <a:pt x="1951" y="783"/>
                  <a:pt x="1951" y="783"/>
                  <a:pt x="1951" y="783"/>
                </a:cubicBezTo>
                <a:cubicBezTo>
                  <a:pt x="1950" y="782"/>
                  <a:pt x="1950" y="782"/>
                  <a:pt x="1950" y="782"/>
                </a:cubicBezTo>
                <a:cubicBezTo>
                  <a:pt x="1949" y="783"/>
                  <a:pt x="1949" y="783"/>
                  <a:pt x="1949" y="783"/>
                </a:cubicBezTo>
                <a:close/>
                <a:moveTo>
                  <a:pt x="1969" y="800"/>
                </a:moveTo>
                <a:cubicBezTo>
                  <a:pt x="1968" y="800"/>
                  <a:pt x="1968" y="800"/>
                  <a:pt x="1968" y="800"/>
                </a:cubicBezTo>
                <a:cubicBezTo>
                  <a:pt x="1967" y="801"/>
                  <a:pt x="1967" y="801"/>
                  <a:pt x="1967" y="801"/>
                </a:cubicBezTo>
                <a:cubicBezTo>
                  <a:pt x="1969" y="801"/>
                  <a:pt x="1969" y="801"/>
                  <a:pt x="1969" y="801"/>
                </a:cubicBezTo>
                <a:cubicBezTo>
                  <a:pt x="1969" y="800"/>
                  <a:pt x="1969" y="800"/>
                  <a:pt x="1969" y="800"/>
                </a:cubicBezTo>
                <a:close/>
                <a:moveTo>
                  <a:pt x="1991" y="837"/>
                </a:moveTo>
                <a:cubicBezTo>
                  <a:pt x="1991" y="836"/>
                  <a:pt x="1991" y="836"/>
                  <a:pt x="1991" y="836"/>
                </a:cubicBezTo>
                <a:cubicBezTo>
                  <a:pt x="1991" y="835"/>
                  <a:pt x="1991" y="835"/>
                  <a:pt x="1991" y="835"/>
                </a:cubicBezTo>
                <a:cubicBezTo>
                  <a:pt x="1990" y="836"/>
                  <a:pt x="1990" y="836"/>
                  <a:pt x="1990" y="836"/>
                </a:cubicBezTo>
                <a:cubicBezTo>
                  <a:pt x="1991" y="837"/>
                  <a:pt x="1991" y="837"/>
                  <a:pt x="1991" y="837"/>
                </a:cubicBezTo>
                <a:close/>
                <a:moveTo>
                  <a:pt x="1967" y="805"/>
                </a:moveTo>
                <a:cubicBezTo>
                  <a:pt x="1966" y="804"/>
                  <a:pt x="1966" y="804"/>
                  <a:pt x="1966" y="804"/>
                </a:cubicBezTo>
                <a:cubicBezTo>
                  <a:pt x="1966" y="806"/>
                  <a:pt x="1966" y="806"/>
                  <a:pt x="1966" y="806"/>
                </a:cubicBezTo>
                <a:cubicBezTo>
                  <a:pt x="1967" y="806"/>
                  <a:pt x="1967" y="806"/>
                  <a:pt x="1967" y="806"/>
                </a:cubicBezTo>
                <a:cubicBezTo>
                  <a:pt x="1967" y="805"/>
                  <a:pt x="1967" y="805"/>
                  <a:pt x="1967" y="805"/>
                </a:cubicBezTo>
                <a:close/>
                <a:moveTo>
                  <a:pt x="2122" y="836"/>
                </a:moveTo>
                <a:cubicBezTo>
                  <a:pt x="2122" y="836"/>
                  <a:pt x="2122" y="836"/>
                  <a:pt x="2122" y="835"/>
                </a:cubicBezTo>
                <a:cubicBezTo>
                  <a:pt x="2122" y="835"/>
                  <a:pt x="2122" y="835"/>
                  <a:pt x="2121" y="835"/>
                </a:cubicBezTo>
                <a:cubicBezTo>
                  <a:pt x="2121" y="835"/>
                  <a:pt x="2121" y="835"/>
                  <a:pt x="2120" y="834"/>
                </a:cubicBezTo>
                <a:cubicBezTo>
                  <a:pt x="2120" y="835"/>
                  <a:pt x="2120" y="835"/>
                  <a:pt x="2120" y="835"/>
                </a:cubicBezTo>
                <a:cubicBezTo>
                  <a:pt x="2120" y="835"/>
                  <a:pt x="2120" y="835"/>
                  <a:pt x="2119" y="836"/>
                </a:cubicBezTo>
                <a:cubicBezTo>
                  <a:pt x="2119" y="836"/>
                  <a:pt x="2119" y="836"/>
                  <a:pt x="2118" y="837"/>
                </a:cubicBezTo>
                <a:cubicBezTo>
                  <a:pt x="2118" y="837"/>
                  <a:pt x="2118" y="837"/>
                  <a:pt x="2119" y="838"/>
                </a:cubicBezTo>
                <a:cubicBezTo>
                  <a:pt x="2119" y="838"/>
                  <a:pt x="2119" y="838"/>
                  <a:pt x="2120" y="837"/>
                </a:cubicBezTo>
                <a:cubicBezTo>
                  <a:pt x="2120" y="837"/>
                  <a:pt x="2120" y="837"/>
                  <a:pt x="2121" y="836"/>
                </a:cubicBezTo>
                <a:cubicBezTo>
                  <a:pt x="2121" y="836"/>
                  <a:pt x="2121" y="836"/>
                  <a:pt x="2122" y="836"/>
                </a:cubicBezTo>
                <a:close/>
                <a:moveTo>
                  <a:pt x="1959" y="787"/>
                </a:moveTo>
                <a:cubicBezTo>
                  <a:pt x="1958" y="788"/>
                  <a:pt x="1958" y="788"/>
                  <a:pt x="1958" y="788"/>
                </a:cubicBezTo>
                <a:cubicBezTo>
                  <a:pt x="1960" y="788"/>
                  <a:pt x="1960" y="788"/>
                  <a:pt x="1960" y="788"/>
                </a:cubicBezTo>
                <a:cubicBezTo>
                  <a:pt x="1959" y="787"/>
                  <a:pt x="1959" y="787"/>
                  <a:pt x="1959" y="787"/>
                </a:cubicBezTo>
                <a:close/>
                <a:moveTo>
                  <a:pt x="1961" y="792"/>
                </a:moveTo>
                <a:cubicBezTo>
                  <a:pt x="1961" y="792"/>
                  <a:pt x="1961" y="792"/>
                  <a:pt x="1960" y="792"/>
                </a:cubicBezTo>
                <a:cubicBezTo>
                  <a:pt x="1960" y="792"/>
                  <a:pt x="1960" y="792"/>
                  <a:pt x="1959" y="792"/>
                </a:cubicBezTo>
                <a:cubicBezTo>
                  <a:pt x="1959" y="792"/>
                  <a:pt x="1959" y="792"/>
                  <a:pt x="1958" y="792"/>
                </a:cubicBezTo>
                <a:cubicBezTo>
                  <a:pt x="1958" y="792"/>
                  <a:pt x="1958" y="792"/>
                  <a:pt x="1960" y="794"/>
                </a:cubicBezTo>
                <a:cubicBezTo>
                  <a:pt x="1960" y="794"/>
                  <a:pt x="1960" y="794"/>
                  <a:pt x="1960" y="795"/>
                </a:cubicBezTo>
                <a:cubicBezTo>
                  <a:pt x="1960" y="795"/>
                  <a:pt x="1960" y="795"/>
                  <a:pt x="1961" y="795"/>
                </a:cubicBezTo>
                <a:cubicBezTo>
                  <a:pt x="1961" y="795"/>
                  <a:pt x="1961" y="795"/>
                  <a:pt x="1962" y="798"/>
                </a:cubicBezTo>
                <a:cubicBezTo>
                  <a:pt x="1962" y="798"/>
                  <a:pt x="1962" y="798"/>
                  <a:pt x="1963" y="797"/>
                </a:cubicBezTo>
                <a:cubicBezTo>
                  <a:pt x="1963" y="797"/>
                  <a:pt x="1963" y="797"/>
                  <a:pt x="1963" y="796"/>
                </a:cubicBezTo>
                <a:cubicBezTo>
                  <a:pt x="1963" y="796"/>
                  <a:pt x="1963" y="796"/>
                  <a:pt x="1963" y="795"/>
                </a:cubicBezTo>
                <a:cubicBezTo>
                  <a:pt x="1963" y="795"/>
                  <a:pt x="1963" y="795"/>
                  <a:pt x="1962" y="794"/>
                </a:cubicBezTo>
                <a:cubicBezTo>
                  <a:pt x="1962" y="794"/>
                  <a:pt x="1962" y="794"/>
                  <a:pt x="1961" y="792"/>
                </a:cubicBezTo>
                <a:close/>
                <a:moveTo>
                  <a:pt x="1987" y="790"/>
                </a:moveTo>
                <a:cubicBezTo>
                  <a:pt x="1988" y="789"/>
                  <a:pt x="1988" y="789"/>
                  <a:pt x="1988" y="789"/>
                </a:cubicBezTo>
                <a:cubicBezTo>
                  <a:pt x="1987" y="788"/>
                  <a:pt x="1987" y="788"/>
                  <a:pt x="1987" y="788"/>
                </a:cubicBezTo>
                <a:cubicBezTo>
                  <a:pt x="1985" y="789"/>
                  <a:pt x="1985" y="789"/>
                  <a:pt x="1985" y="789"/>
                </a:cubicBezTo>
                <a:cubicBezTo>
                  <a:pt x="1986" y="790"/>
                  <a:pt x="1986" y="790"/>
                  <a:pt x="1986" y="790"/>
                </a:cubicBezTo>
                <a:cubicBezTo>
                  <a:pt x="1987" y="790"/>
                  <a:pt x="1987" y="790"/>
                  <a:pt x="1987" y="790"/>
                </a:cubicBezTo>
                <a:close/>
                <a:moveTo>
                  <a:pt x="2047" y="855"/>
                </a:moveTo>
                <a:cubicBezTo>
                  <a:pt x="2047" y="855"/>
                  <a:pt x="2047" y="855"/>
                  <a:pt x="2049" y="856"/>
                </a:cubicBezTo>
                <a:cubicBezTo>
                  <a:pt x="2049" y="856"/>
                  <a:pt x="2049" y="856"/>
                  <a:pt x="2050" y="855"/>
                </a:cubicBezTo>
                <a:cubicBezTo>
                  <a:pt x="2050" y="855"/>
                  <a:pt x="2050" y="855"/>
                  <a:pt x="2052" y="855"/>
                </a:cubicBezTo>
                <a:cubicBezTo>
                  <a:pt x="2052" y="855"/>
                  <a:pt x="2052" y="855"/>
                  <a:pt x="2054" y="856"/>
                </a:cubicBezTo>
                <a:cubicBezTo>
                  <a:pt x="2054" y="856"/>
                  <a:pt x="2054" y="856"/>
                  <a:pt x="2056" y="856"/>
                </a:cubicBezTo>
                <a:cubicBezTo>
                  <a:pt x="2056" y="856"/>
                  <a:pt x="2056" y="856"/>
                  <a:pt x="2058" y="855"/>
                </a:cubicBezTo>
                <a:cubicBezTo>
                  <a:pt x="2058" y="855"/>
                  <a:pt x="2058" y="855"/>
                  <a:pt x="2060" y="856"/>
                </a:cubicBezTo>
                <a:cubicBezTo>
                  <a:pt x="2060" y="856"/>
                  <a:pt x="2060" y="856"/>
                  <a:pt x="2061" y="856"/>
                </a:cubicBezTo>
                <a:cubicBezTo>
                  <a:pt x="2061" y="856"/>
                  <a:pt x="2061" y="856"/>
                  <a:pt x="2063" y="858"/>
                </a:cubicBezTo>
                <a:cubicBezTo>
                  <a:pt x="2063" y="858"/>
                  <a:pt x="2063" y="858"/>
                  <a:pt x="2064" y="858"/>
                </a:cubicBezTo>
                <a:cubicBezTo>
                  <a:pt x="2064" y="858"/>
                  <a:pt x="2064" y="858"/>
                  <a:pt x="2065" y="859"/>
                </a:cubicBezTo>
                <a:cubicBezTo>
                  <a:pt x="2065" y="859"/>
                  <a:pt x="2065" y="859"/>
                  <a:pt x="2066" y="858"/>
                </a:cubicBezTo>
                <a:cubicBezTo>
                  <a:pt x="2066" y="858"/>
                  <a:pt x="2066" y="858"/>
                  <a:pt x="2065" y="856"/>
                </a:cubicBezTo>
                <a:cubicBezTo>
                  <a:pt x="2065" y="856"/>
                  <a:pt x="2065" y="856"/>
                  <a:pt x="2065" y="855"/>
                </a:cubicBezTo>
                <a:cubicBezTo>
                  <a:pt x="2065" y="855"/>
                  <a:pt x="2065" y="855"/>
                  <a:pt x="2066" y="852"/>
                </a:cubicBezTo>
                <a:cubicBezTo>
                  <a:pt x="2066" y="852"/>
                  <a:pt x="2066" y="852"/>
                  <a:pt x="2065" y="852"/>
                </a:cubicBezTo>
                <a:cubicBezTo>
                  <a:pt x="2065" y="852"/>
                  <a:pt x="2065" y="852"/>
                  <a:pt x="2064" y="852"/>
                </a:cubicBezTo>
                <a:cubicBezTo>
                  <a:pt x="2064" y="852"/>
                  <a:pt x="2064" y="852"/>
                  <a:pt x="2064" y="851"/>
                </a:cubicBezTo>
                <a:cubicBezTo>
                  <a:pt x="2064" y="851"/>
                  <a:pt x="2064" y="851"/>
                  <a:pt x="2062" y="851"/>
                </a:cubicBezTo>
                <a:cubicBezTo>
                  <a:pt x="2062" y="851"/>
                  <a:pt x="2062" y="851"/>
                  <a:pt x="2062" y="852"/>
                </a:cubicBezTo>
                <a:cubicBezTo>
                  <a:pt x="2062" y="852"/>
                  <a:pt x="2062" y="852"/>
                  <a:pt x="2061" y="852"/>
                </a:cubicBezTo>
                <a:cubicBezTo>
                  <a:pt x="2061" y="852"/>
                  <a:pt x="2061" y="852"/>
                  <a:pt x="2060" y="851"/>
                </a:cubicBezTo>
                <a:cubicBezTo>
                  <a:pt x="2060" y="851"/>
                  <a:pt x="2060" y="851"/>
                  <a:pt x="2058" y="852"/>
                </a:cubicBezTo>
                <a:cubicBezTo>
                  <a:pt x="2058" y="852"/>
                  <a:pt x="2058" y="852"/>
                  <a:pt x="2057" y="851"/>
                </a:cubicBezTo>
                <a:cubicBezTo>
                  <a:pt x="2057" y="851"/>
                  <a:pt x="2057" y="851"/>
                  <a:pt x="2056" y="850"/>
                </a:cubicBezTo>
                <a:cubicBezTo>
                  <a:pt x="2056" y="850"/>
                  <a:pt x="2056" y="850"/>
                  <a:pt x="2056" y="849"/>
                </a:cubicBezTo>
                <a:cubicBezTo>
                  <a:pt x="2056" y="849"/>
                  <a:pt x="2056" y="849"/>
                  <a:pt x="2055" y="847"/>
                </a:cubicBezTo>
                <a:cubicBezTo>
                  <a:pt x="2055" y="847"/>
                  <a:pt x="2055" y="847"/>
                  <a:pt x="2055" y="846"/>
                </a:cubicBezTo>
                <a:cubicBezTo>
                  <a:pt x="2055" y="846"/>
                  <a:pt x="2055" y="846"/>
                  <a:pt x="2053" y="846"/>
                </a:cubicBezTo>
                <a:cubicBezTo>
                  <a:pt x="2053" y="846"/>
                  <a:pt x="2053" y="846"/>
                  <a:pt x="2052" y="846"/>
                </a:cubicBezTo>
                <a:cubicBezTo>
                  <a:pt x="2052" y="846"/>
                  <a:pt x="2052" y="846"/>
                  <a:pt x="2051" y="845"/>
                </a:cubicBezTo>
                <a:cubicBezTo>
                  <a:pt x="2051" y="845"/>
                  <a:pt x="2051" y="845"/>
                  <a:pt x="2050" y="845"/>
                </a:cubicBezTo>
                <a:cubicBezTo>
                  <a:pt x="2050" y="845"/>
                  <a:pt x="2050" y="845"/>
                  <a:pt x="2049" y="844"/>
                </a:cubicBezTo>
                <a:cubicBezTo>
                  <a:pt x="2049" y="844"/>
                  <a:pt x="2049" y="844"/>
                  <a:pt x="2048" y="844"/>
                </a:cubicBezTo>
                <a:cubicBezTo>
                  <a:pt x="2048" y="844"/>
                  <a:pt x="2048" y="844"/>
                  <a:pt x="2047" y="844"/>
                </a:cubicBezTo>
                <a:cubicBezTo>
                  <a:pt x="2047" y="844"/>
                  <a:pt x="2047" y="844"/>
                  <a:pt x="2046" y="844"/>
                </a:cubicBezTo>
                <a:cubicBezTo>
                  <a:pt x="2046" y="844"/>
                  <a:pt x="2046" y="844"/>
                  <a:pt x="2044" y="842"/>
                </a:cubicBezTo>
                <a:cubicBezTo>
                  <a:pt x="2044" y="842"/>
                  <a:pt x="2044" y="842"/>
                  <a:pt x="2043" y="842"/>
                </a:cubicBezTo>
                <a:cubicBezTo>
                  <a:pt x="2043" y="842"/>
                  <a:pt x="2043" y="842"/>
                  <a:pt x="2043" y="845"/>
                </a:cubicBezTo>
                <a:cubicBezTo>
                  <a:pt x="2043" y="845"/>
                  <a:pt x="2043" y="845"/>
                  <a:pt x="2042" y="846"/>
                </a:cubicBezTo>
                <a:cubicBezTo>
                  <a:pt x="2042" y="846"/>
                  <a:pt x="2042" y="846"/>
                  <a:pt x="2039" y="846"/>
                </a:cubicBezTo>
                <a:cubicBezTo>
                  <a:pt x="2039" y="846"/>
                  <a:pt x="2039" y="846"/>
                  <a:pt x="2036" y="846"/>
                </a:cubicBezTo>
                <a:cubicBezTo>
                  <a:pt x="2036" y="846"/>
                  <a:pt x="2036" y="846"/>
                  <a:pt x="2032" y="846"/>
                </a:cubicBezTo>
                <a:cubicBezTo>
                  <a:pt x="2032" y="846"/>
                  <a:pt x="2032" y="846"/>
                  <a:pt x="2030" y="845"/>
                </a:cubicBezTo>
                <a:cubicBezTo>
                  <a:pt x="2030" y="845"/>
                  <a:pt x="2030" y="845"/>
                  <a:pt x="2029" y="844"/>
                </a:cubicBezTo>
                <a:cubicBezTo>
                  <a:pt x="2029" y="844"/>
                  <a:pt x="2029" y="844"/>
                  <a:pt x="2030" y="843"/>
                </a:cubicBezTo>
                <a:cubicBezTo>
                  <a:pt x="2030" y="843"/>
                  <a:pt x="2030" y="843"/>
                  <a:pt x="2029" y="842"/>
                </a:cubicBezTo>
                <a:cubicBezTo>
                  <a:pt x="2029" y="842"/>
                  <a:pt x="2029" y="842"/>
                  <a:pt x="2026" y="841"/>
                </a:cubicBezTo>
                <a:cubicBezTo>
                  <a:pt x="2026" y="841"/>
                  <a:pt x="2026" y="841"/>
                  <a:pt x="2024" y="841"/>
                </a:cubicBezTo>
                <a:cubicBezTo>
                  <a:pt x="2024" y="841"/>
                  <a:pt x="2024" y="841"/>
                  <a:pt x="2023" y="840"/>
                </a:cubicBezTo>
                <a:cubicBezTo>
                  <a:pt x="2023" y="840"/>
                  <a:pt x="2023" y="840"/>
                  <a:pt x="2021" y="840"/>
                </a:cubicBezTo>
                <a:cubicBezTo>
                  <a:pt x="2021" y="840"/>
                  <a:pt x="2021" y="840"/>
                  <a:pt x="2020" y="840"/>
                </a:cubicBezTo>
                <a:cubicBezTo>
                  <a:pt x="2020" y="840"/>
                  <a:pt x="2020" y="840"/>
                  <a:pt x="2020" y="841"/>
                </a:cubicBezTo>
                <a:cubicBezTo>
                  <a:pt x="2020" y="841"/>
                  <a:pt x="2020" y="841"/>
                  <a:pt x="2019" y="840"/>
                </a:cubicBezTo>
                <a:cubicBezTo>
                  <a:pt x="2019" y="840"/>
                  <a:pt x="2019" y="840"/>
                  <a:pt x="2017" y="840"/>
                </a:cubicBezTo>
                <a:cubicBezTo>
                  <a:pt x="2017" y="840"/>
                  <a:pt x="2017" y="840"/>
                  <a:pt x="2015" y="840"/>
                </a:cubicBezTo>
                <a:cubicBezTo>
                  <a:pt x="2015" y="840"/>
                  <a:pt x="2015" y="840"/>
                  <a:pt x="2015" y="839"/>
                </a:cubicBezTo>
                <a:cubicBezTo>
                  <a:pt x="2015" y="839"/>
                  <a:pt x="2015" y="839"/>
                  <a:pt x="2013" y="841"/>
                </a:cubicBezTo>
                <a:cubicBezTo>
                  <a:pt x="2013" y="841"/>
                  <a:pt x="2013" y="841"/>
                  <a:pt x="2014" y="842"/>
                </a:cubicBezTo>
                <a:cubicBezTo>
                  <a:pt x="2014" y="842"/>
                  <a:pt x="2014" y="842"/>
                  <a:pt x="2013" y="843"/>
                </a:cubicBezTo>
                <a:cubicBezTo>
                  <a:pt x="2013" y="843"/>
                  <a:pt x="2013" y="843"/>
                  <a:pt x="2012" y="843"/>
                </a:cubicBezTo>
                <a:cubicBezTo>
                  <a:pt x="2012" y="843"/>
                  <a:pt x="2012" y="843"/>
                  <a:pt x="2011" y="845"/>
                </a:cubicBezTo>
                <a:cubicBezTo>
                  <a:pt x="2011" y="845"/>
                  <a:pt x="2011" y="845"/>
                  <a:pt x="2010" y="845"/>
                </a:cubicBezTo>
                <a:cubicBezTo>
                  <a:pt x="2010" y="845"/>
                  <a:pt x="2010" y="845"/>
                  <a:pt x="2010" y="846"/>
                </a:cubicBezTo>
                <a:cubicBezTo>
                  <a:pt x="2010" y="846"/>
                  <a:pt x="2010" y="846"/>
                  <a:pt x="2013" y="846"/>
                </a:cubicBezTo>
                <a:cubicBezTo>
                  <a:pt x="2013" y="846"/>
                  <a:pt x="2013" y="846"/>
                  <a:pt x="2014" y="845"/>
                </a:cubicBezTo>
                <a:cubicBezTo>
                  <a:pt x="2014" y="845"/>
                  <a:pt x="2014" y="845"/>
                  <a:pt x="2015" y="846"/>
                </a:cubicBezTo>
                <a:cubicBezTo>
                  <a:pt x="2015" y="846"/>
                  <a:pt x="2015" y="846"/>
                  <a:pt x="2016" y="847"/>
                </a:cubicBezTo>
                <a:cubicBezTo>
                  <a:pt x="2016" y="847"/>
                  <a:pt x="2016" y="847"/>
                  <a:pt x="2017" y="847"/>
                </a:cubicBezTo>
                <a:cubicBezTo>
                  <a:pt x="2017" y="847"/>
                  <a:pt x="2017" y="847"/>
                  <a:pt x="2016" y="849"/>
                </a:cubicBezTo>
                <a:cubicBezTo>
                  <a:pt x="2016" y="849"/>
                  <a:pt x="2016" y="849"/>
                  <a:pt x="2017" y="849"/>
                </a:cubicBezTo>
                <a:cubicBezTo>
                  <a:pt x="2017" y="849"/>
                  <a:pt x="2017" y="849"/>
                  <a:pt x="2018" y="850"/>
                </a:cubicBezTo>
                <a:cubicBezTo>
                  <a:pt x="2018" y="850"/>
                  <a:pt x="2018" y="850"/>
                  <a:pt x="2020" y="850"/>
                </a:cubicBezTo>
                <a:cubicBezTo>
                  <a:pt x="2020" y="850"/>
                  <a:pt x="2020" y="850"/>
                  <a:pt x="2021" y="849"/>
                </a:cubicBezTo>
                <a:cubicBezTo>
                  <a:pt x="2021" y="849"/>
                  <a:pt x="2021" y="849"/>
                  <a:pt x="2022" y="850"/>
                </a:cubicBezTo>
                <a:cubicBezTo>
                  <a:pt x="2022" y="850"/>
                  <a:pt x="2022" y="850"/>
                  <a:pt x="2024" y="850"/>
                </a:cubicBezTo>
                <a:cubicBezTo>
                  <a:pt x="2024" y="850"/>
                  <a:pt x="2024" y="850"/>
                  <a:pt x="2026" y="851"/>
                </a:cubicBezTo>
                <a:cubicBezTo>
                  <a:pt x="2026" y="851"/>
                  <a:pt x="2026" y="851"/>
                  <a:pt x="2028" y="852"/>
                </a:cubicBezTo>
                <a:cubicBezTo>
                  <a:pt x="2028" y="852"/>
                  <a:pt x="2028" y="852"/>
                  <a:pt x="2029" y="851"/>
                </a:cubicBezTo>
                <a:cubicBezTo>
                  <a:pt x="2029" y="851"/>
                  <a:pt x="2029" y="851"/>
                  <a:pt x="2030" y="851"/>
                </a:cubicBezTo>
                <a:cubicBezTo>
                  <a:pt x="2030" y="851"/>
                  <a:pt x="2030" y="851"/>
                  <a:pt x="2031" y="852"/>
                </a:cubicBezTo>
                <a:cubicBezTo>
                  <a:pt x="2031" y="852"/>
                  <a:pt x="2031" y="852"/>
                  <a:pt x="2032" y="852"/>
                </a:cubicBezTo>
                <a:cubicBezTo>
                  <a:pt x="2032" y="852"/>
                  <a:pt x="2032" y="852"/>
                  <a:pt x="2033" y="851"/>
                </a:cubicBezTo>
                <a:cubicBezTo>
                  <a:pt x="2033" y="851"/>
                  <a:pt x="2033" y="851"/>
                  <a:pt x="2034" y="851"/>
                </a:cubicBezTo>
                <a:cubicBezTo>
                  <a:pt x="2034" y="851"/>
                  <a:pt x="2034" y="851"/>
                  <a:pt x="2036" y="852"/>
                </a:cubicBezTo>
                <a:cubicBezTo>
                  <a:pt x="2036" y="852"/>
                  <a:pt x="2036" y="852"/>
                  <a:pt x="2038" y="852"/>
                </a:cubicBezTo>
                <a:cubicBezTo>
                  <a:pt x="2038" y="852"/>
                  <a:pt x="2038" y="852"/>
                  <a:pt x="2041" y="854"/>
                </a:cubicBezTo>
                <a:cubicBezTo>
                  <a:pt x="2041" y="854"/>
                  <a:pt x="2041" y="854"/>
                  <a:pt x="2044" y="855"/>
                </a:cubicBezTo>
                <a:cubicBezTo>
                  <a:pt x="2044" y="855"/>
                  <a:pt x="2044" y="855"/>
                  <a:pt x="2045" y="855"/>
                </a:cubicBezTo>
                <a:cubicBezTo>
                  <a:pt x="2045" y="855"/>
                  <a:pt x="2045" y="855"/>
                  <a:pt x="2047" y="855"/>
                </a:cubicBezTo>
                <a:close/>
                <a:moveTo>
                  <a:pt x="2012" y="838"/>
                </a:moveTo>
                <a:cubicBezTo>
                  <a:pt x="2012" y="839"/>
                  <a:pt x="2012" y="839"/>
                  <a:pt x="2012" y="839"/>
                </a:cubicBezTo>
                <a:cubicBezTo>
                  <a:pt x="2013" y="838"/>
                  <a:pt x="2013" y="838"/>
                  <a:pt x="2013" y="838"/>
                </a:cubicBezTo>
                <a:cubicBezTo>
                  <a:pt x="2013" y="835"/>
                  <a:pt x="2013" y="835"/>
                  <a:pt x="2013" y="835"/>
                </a:cubicBezTo>
                <a:cubicBezTo>
                  <a:pt x="2014" y="832"/>
                  <a:pt x="2014" y="832"/>
                  <a:pt x="2014" y="832"/>
                </a:cubicBezTo>
                <a:cubicBezTo>
                  <a:pt x="2013" y="829"/>
                  <a:pt x="2013" y="829"/>
                  <a:pt x="2013" y="829"/>
                </a:cubicBezTo>
                <a:cubicBezTo>
                  <a:pt x="2014" y="827"/>
                  <a:pt x="2014" y="827"/>
                  <a:pt x="2014" y="827"/>
                </a:cubicBezTo>
                <a:cubicBezTo>
                  <a:pt x="2013" y="826"/>
                  <a:pt x="2013" y="826"/>
                  <a:pt x="2013" y="826"/>
                </a:cubicBezTo>
                <a:cubicBezTo>
                  <a:pt x="2014" y="824"/>
                  <a:pt x="2014" y="824"/>
                  <a:pt x="2014" y="824"/>
                </a:cubicBezTo>
                <a:cubicBezTo>
                  <a:pt x="2015" y="823"/>
                  <a:pt x="2015" y="823"/>
                  <a:pt x="2015" y="823"/>
                </a:cubicBezTo>
                <a:cubicBezTo>
                  <a:pt x="2015" y="822"/>
                  <a:pt x="2015" y="822"/>
                  <a:pt x="2015" y="822"/>
                </a:cubicBezTo>
                <a:cubicBezTo>
                  <a:pt x="2015" y="821"/>
                  <a:pt x="2015" y="821"/>
                  <a:pt x="2015" y="821"/>
                </a:cubicBezTo>
                <a:cubicBezTo>
                  <a:pt x="2014" y="821"/>
                  <a:pt x="2014" y="821"/>
                  <a:pt x="2014" y="821"/>
                </a:cubicBezTo>
                <a:cubicBezTo>
                  <a:pt x="2013" y="820"/>
                  <a:pt x="2013" y="820"/>
                  <a:pt x="2013" y="820"/>
                </a:cubicBezTo>
                <a:cubicBezTo>
                  <a:pt x="2012" y="818"/>
                  <a:pt x="2012" y="818"/>
                  <a:pt x="2012" y="818"/>
                </a:cubicBezTo>
                <a:cubicBezTo>
                  <a:pt x="2011" y="817"/>
                  <a:pt x="2011" y="817"/>
                  <a:pt x="2011" y="817"/>
                </a:cubicBezTo>
                <a:cubicBezTo>
                  <a:pt x="2010" y="817"/>
                  <a:pt x="2010" y="817"/>
                  <a:pt x="2010" y="817"/>
                </a:cubicBezTo>
                <a:cubicBezTo>
                  <a:pt x="2008" y="817"/>
                  <a:pt x="2008" y="817"/>
                  <a:pt x="2008" y="817"/>
                </a:cubicBezTo>
                <a:cubicBezTo>
                  <a:pt x="2007" y="817"/>
                  <a:pt x="2007" y="817"/>
                  <a:pt x="2007" y="817"/>
                </a:cubicBezTo>
                <a:cubicBezTo>
                  <a:pt x="2007" y="815"/>
                  <a:pt x="2007" y="815"/>
                  <a:pt x="2007" y="815"/>
                </a:cubicBezTo>
                <a:cubicBezTo>
                  <a:pt x="2006" y="814"/>
                  <a:pt x="2006" y="814"/>
                  <a:pt x="2006" y="814"/>
                </a:cubicBezTo>
                <a:cubicBezTo>
                  <a:pt x="2005" y="814"/>
                  <a:pt x="2005" y="814"/>
                  <a:pt x="2005" y="814"/>
                </a:cubicBezTo>
                <a:cubicBezTo>
                  <a:pt x="2006" y="813"/>
                  <a:pt x="2006" y="813"/>
                  <a:pt x="2006" y="813"/>
                </a:cubicBezTo>
                <a:cubicBezTo>
                  <a:pt x="2005" y="811"/>
                  <a:pt x="2005" y="811"/>
                  <a:pt x="2005" y="811"/>
                </a:cubicBezTo>
                <a:cubicBezTo>
                  <a:pt x="2005" y="808"/>
                  <a:pt x="2005" y="808"/>
                  <a:pt x="2005" y="808"/>
                </a:cubicBezTo>
                <a:cubicBezTo>
                  <a:pt x="2004" y="809"/>
                  <a:pt x="2004" y="809"/>
                  <a:pt x="2004" y="809"/>
                </a:cubicBezTo>
                <a:cubicBezTo>
                  <a:pt x="2003" y="808"/>
                  <a:pt x="2003" y="808"/>
                  <a:pt x="2003" y="808"/>
                </a:cubicBezTo>
                <a:cubicBezTo>
                  <a:pt x="2000" y="808"/>
                  <a:pt x="2000" y="808"/>
                  <a:pt x="2000" y="808"/>
                </a:cubicBezTo>
                <a:cubicBezTo>
                  <a:pt x="1998" y="807"/>
                  <a:pt x="1998" y="807"/>
                  <a:pt x="1998" y="807"/>
                </a:cubicBezTo>
                <a:cubicBezTo>
                  <a:pt x="1998" y="806"/>
                  <a:pt x="1998" y="806"/>
                  <a:pt x="1998" y="806"/>
                </a:cubicBezTo>
                <a:cubicBezTo>
                  <a:pt x="2000" y="805"/>
                  <a:pt x="2000" y="805"/>
                  <a:pt x="2000" y="805"/>
                </a:cubicBezTo>
                <a:cubicBezTo>
                  <a:pt x="2001" y="804"/>
                  <a:pt x="2001" y="804"/>
                  <a:pt x="2001" y="804"/>
                </a:cubicBezTo>
                <a:cubicBezTo>
                  <a:pt x="2000" y="804"/>
                  <a:pt x="2000" y="804"/>
                  <a:pt x="2000" y="804"/>
                </a:cubicBezTo>
                <a:cubicBezTo>
                  <a:pt x="1999" y="804"/>
                  <a:pt x="1999" y="804"/>
                  <a:pt x="1999" y="804"/>
                </a:cubicBezTo>
                <a:cubicBezTo>
                  <a:pt x="1998" y="804"/>
                  <a:pt x="1998" y="804"/>
                  <a:pt x="1998" y="804"/>
                </a:cubicBezTo>
                <a:cubicBezTo>
                  <a:pt x="1997" y="804"/>
                  <a:pt x="1997" y="804"/>
                  <a:pt x="1997" y="804"/>
                </a:cubicBezTo>
                <a:cubicBezTo>
                  <a:pt x="1998" y="803"/>
                  <a:pt x="1998" y="803"/>
                  <a:pt x="1998" y="803"/>
                </a:cubicBezTo>
                <a:cubicBezTo>
                  <a:pt x="1999" y="802"/>
                  <a:pt x="1999" y="802"/>
                  <a:pt x="1999" y="802"/>
                </a:cubicBezTo>
                <a:cubicBezTo>
                  <a:pt x="2001" y="802"/>
                  <a:pt x="2001" y="802"/>
                  <a:pt x="2001" y="802"/>
                </a:cubicBezTo>
                <a:cubicBezTo>
                  <a:pt x="2001" y="801"/>
                  <a:pt x="2001" y="801"/>
                  <a:pt x="2001" y="801"/>
                </a:cubicBezTo>
                <a:cubicBezTo>
                  <a:pt x="1999" y="799"/>
                  <a:pt x="1999" y="799"/>
                  <a:pt x="1999" y="799"/>
                </a:cubicBezTo>
                <a:cubicBezTo>
                  <a:pt x="1998" y="799"/>
                  <a:pt x="1998" y="799"/>
                  <a:pt x="1998" y="799"/>
                </a:cubicBezTo>
                <a:cubicBezTo>
                  <a:pt x="1996" y="799"/>
                  <a:pt x="1996" y="799"/>
                  <a:pt x="1996" y="799"/>
                </a:cubicBezTo>
                <a:cubicBezTo>
                  <a:pt x="1995" y="800"/>
                  <a:pt x="1995" y="800"/>
                  <a:pt x="1995" y="800"/>
                </a:cubicBezTo>
                <a:cubicBezTo>
                  <a:pt x="1995" y="799"/>
                  <a:pt x="1995" y="799"/>
                  <a:pt x="1995" y="799"/>
                </a:cubicBezTo>
                <a:cubicBezTo>
                  <a:pt x="1996" y="799"/>
                  <a:pt x="1996" y="799"/>
                  <a:pt x="1996" y="799"/>
                </a:cubicBezTo>
                <a:cubicBezTo>
                  <a:pt x="1996" y="798"/>
                  <a:pt x="1996" y="798"/>
                  <a:pt x="1996" y="798"/>
                </a:cubicBezTo>
                <a:cubicBezTo>
                  <a:pt x="1994" y="797"/>
                  <a:pt x="1994" y="797"/>
                  <a:pt x="1994" y="797"/>
                </a:cubicBezTo>
                <a:cubicBezTo>
                  <a:pt x="1992" y="797"/>
                  <a:pt x="1992" y="797"/>
                  <a:pt x="1992" y="797"/>
                </a:cubicBezTo>
                <a:cubicBezTo>
                  <a:pt x="1990" y="796"/>
                  <a:pt x="1990" y="796"/>
                  <a:pt x="1990" y="796"/>
                </a:cubicBezTo>
                <a:cubicBezTo>
                  <a:pt x="1990" y="795"/>
                  <a:pt x="1990" y="795"/>
                  <a:pt x="1990" y="795"/>
                </a:cubicBezTo>
                <a:cubicBezTo>
                  <a:pt x="1990" y="793"/>
                  <a:pt x="1990" y="793"/>
                  <a:pt x="1990" y="793"/>
                </a:cubicBezTo>
                <a:cubicBezTo>
                  <a:pt x="1988" y="791"/>
                  <a:pt x="1988" y="791"/>
                  <a:pt x="1988" y="791"/>
                </a:cubicBezTo>
                <a:cubicBezTo>
                  <a:pt x="1987" y="791"/>
                  <a:pt x="1987" y="791"/>
                  <a:pt x="1987" y="791"/>
                </a:cubicBezTo>
                <a:cubicBezTo>
                  <a:pt x="1986" y="791"/>
                  <a:pt x="1986" y="791"/>
                  <a:pt x="1986" y="791"/>
                </a:cubicBezTo>
                <a:cubicBezTo>
                  <a:pt x="1985" y="790"/>
                  <a:pt x="1985" y="790"/>
                  <a:pt x="1985" y="790"/>
                </a:cubicBezTo>
                <a:cubicBezTo>
                  <a:pt x="1985" y="789"/>
                  <a:pt x="1985" y="789"/>
                  <a:pt x="1985" y="789"/>
                </a:cubicBezTo>
                <a:cubicBezTo>
                  <a:pt x="1985" y="788"/>
                  <a:pt x="1985" y="788"/>
                  <a:pt x="1985" y="788"/>
                </a:cubicBezTo>
                <a:cubicBezTo>
                  <a:pt x="1983" y="786"/>
                  <a:pt x="1983" y="786"/>
                  <a:pt x="1983" y="786"/>
                </a:cubicBezTo>
                <a:cubicBezTo>
                  <a:pt x="1981" y="785"/>
                  <a:pt x="1981" y="785"/>
                  <a:pt x="1981" y="785"/>
                </a:cubicBezTo>
                <a:cubicBezTo>
                  <a:pt x="1979" y="785"/>
                  <a:pt x="1979" y="785"/>
                  <a:pt x="1979" y="785"/>
                </a:cubicBezTo>
                <a:cubicBezTo>
                  <a:pt x="1978" y="785"/>
                  <a:pt x="1978" y="785"/>
                  <a:pt x="1978" y="785"/>
                </a:cubicBezTo>
                <a:cubicBezTo>
                  <a:pt x="1978" y="783"/>
                  <a:pt x="1978" y="783"/>
                  <a:pt x="1978" y="783"/>
                </a:cubicBezTo>
                <a:cubicBezTo>
                  <a:pt x="1977" y="784"/>
                  <a:pt x="1977" y="784"/>
                  <a:pt x="1977" y="784"/>
                </a:cubicBezTo>
                <a:cubicBezTo>
                  <a:pt x="1976" y="783"/>
                  <a:pt x="1976" y="783"/>
                  <a:pt x="1976" y="783"/>
                </a:cubicBezTo>
                <a:cubicBezTo>
                  <a:pt x="1976" y="781"/>
                  <a:pt x="1976" y="781"/>
                  <a:pt x="1976" y="781"/>
                </a:cubicBezTo>
                <a:cubicBezTo>
                  <a:pt x="1975" y="780"/>
                  <a:pt x="1975" y="780"/>
                  <a:pt x="1975" y="780"/>
                </a:cubicBezTo>
                <a:cubicBezTo>
                  <a:pt x="1974" y="779"/>
                  <a:pt x="1974" y="779"/>
                  <a:pt x="1974" y="779"/>
                </a:cubicBezTo>
                <a:cubicBezTo>
                  <a:pt x="1973" y="779"/>
                  <a:pt x="1973" y="779"/>
                  <a:pt x="1973" y="779"/>
                </a:cubicBezTo>
                <a:cubicBezTo>
                  <a:pt x="1969" y="776"/>
                  <a:pt x="1969" y="776"/>
                  <a:pt x="1969" y="776"/>
                </a:cubicBezTo>
                <a:cubicBezTo>
                  <a:pt x="1968" y="776"/>
                  <a:pt x="1968" y="776"/>
                  <a:pt x="1968" y="776"/>
                </a:cubicBezTo>
                <a:cubicBezTo>
                  <a:pt x="1967" y="774"/>
                  <a:pt x="1967" y="774"/>
                  <a:pt x="1967" y="774"/>
                </a:cubicBezTo>
                <a:cubicBezTo>
                  <a:pt x="1965" y="774"/>
                  <a:pt x="1965" y="774"/>
                  <a:pt x="1965" y="774"/>
                </a:cubicBezTo>
                <a:cubicBezTo>
                  <a:pt x="1965" y="773"/>
                  <a:pt x="1965" y="773"/>
                  <a:pt x="1965" y="773"/>
                </a:cubicBezTo>
                <a:cubicBezTo>
                  <a:pt x="1964" y="771"/>
                  <a:pt x="1964" y="771"/>
                  <a:pt x="1964" y="771"/>
                </a:cubicBezTo>
                <a:cubicBezTo>
                  <a:pt x="1963" y="770"/>
                  <a:pt x="1963" y="770"/>
                  <a:pt x="1963" y="770"/>
                </a:cubicBezTo>
                <a:cubicBezTo>
                  <a:pt x="1962" y="769"/>
                  <a:pt x="1962" y="769"/>
                  <a:pt x="1962" y="769"/>
                </a:cubicBezTo>
                <a:cubicBezTo>
                  <a:pt x="1961" y="767"/>
                  <a:pt x="1961" y="767"/>
                  <a:pt x="1961" y="767"/>
                </a:cubicBezTo>
                <a:cubicBezTo>
                  <a:pt x="1960" y="767"/>
                  <a:pt x="1960" y="767"/>
                  <a:pt x="1960" y="767"/>
                </a:cubicBezTo>
                <a:cubicBezTo>
                  <a:pt x="1958" y="767"/>
                  <a:pt x="1958" y="767"/>
                  <a:pt x="1958" y="767"/>
                </a:cubicBezTo>
                <a:cubicBezTo>
                  <a:pt x="1957" y="767"/>
                  <a:pt x="1957" y="767"/>
                  <a:pt x="1957" y="767"/>
                </a:cubicBezTo>
                <a:cubicBezTo>
                  <a:pt x="1957" y="766"/>
                  <a:pt x="1957" y="766"/>
                  <a:pt x="1957" y="766"/>
                </a:cubicBezTo>
                <a:cubicBezTo>
                  <a:pt x="1955" y="766"/>
                  <a:pt x="1955" y="766"/>
                  <a:pt x="1955" y="766"/>
                </a:cubicBezTo>
                <a:cubicBezTo>
                  <a:pt x="1953" y="767"/>
                  <a:pt x="1953" y="767"/>
                  <a:pt x="1953" y="767"/>
                </a:cubicBezTo>
                <a:cubicBezTo>
                  <a:pt x="1952" y="766"/>
                  <a:pt x="1952" y="766"/>
                  <a:pt x="1952" y="766"/>
                </a:cubicBezTo>
                <a:cubicBezTo>
                  <a:pt x="1950" y="764"/>
                  <a:pt x="1950" y="764"/>
                  <a:pt x="1950" y="764"/>
                </a:cubicBezTo>
                <a:cubicBezTo>
                  <a:pt x="1947" y="764"/>
                  <a:pt x="1947" y="764"/>
                  <a:pt x="1947" y="764"/>
                </a:cubicBezTo>
                <a:cubicBezTo>
                  <a:pt x="1946" y="764"/>
                  <a:pt x="1946" y="764"/>
                  <a:pt x="1946" y="764"/>
                </a:cubicBezTo>
                <a:cubicBezTo>
                  <a:pt x="1946" y="765"/>
                  <a:pt x="1946" y="765"/>
                  <a:pt x="1946" y="765"/>
                </a:cubicBezTo>
                <a:cubicBezTo>
                  <a:pt x="1946" y="767"/>
                  <a:pt x="1946" y="767"/>
                  <a:pt x="1946" y="767"/>
                </a:cubicBezTo>
                <a:cubicBezTo>
                  <a:pt x="1948" y="770"/>
                  <a:pt x="1948" y="770"/>
                  <a:pt x="1948" y="770"/>
                </a:cubicBezTo>
                <a:cubicBezTo>
                  <a:pt x="1949" y="771"/>
                  <a:pt x="1949" y="771"/>
                  <a:pt x="1949" y="771"/>
                </a:cubicBezTo>
                <a:cubicBezTo>
                  <a:pt x="1951" y="774"/>
                  <a:pt x="1951" y="774"/>
                  <a:pt x="1951" y="774"/>
                </a:cubicBezTo>
                <a:cubicBezTo>
                  <a:pt x="1952" y="774"/>
                  <a:pt x="1952" y="774"/>
                  <a:pt x="1952" y="774"/>
                </a:cubicBezTo>
                <a:cubicBezTo>
                  <a:pt x="1954" y="776"/>
                  <a:pt x="1954" y="776"/>
                  <a:pt x="1954" y="776"/>
                </a:cubicBezTo>
                <a:cubicBezTo>
                  <a:pt x="1955" y="776"/>
                  <a:pt x="1955" y="776"/>
                  <a:pt x="1955" y="776"/>
                </a:cubicBezTo>
                <a:cubicBezTo>
                  <a:pt x="1956" y="776"/>
                  <a:pt x="1956" y="776"/>
                  <a:pt x="1956" y="776"/>
                </a:cubicBezTo>
                <a:cubicBezTo>
                  <a:pt x="1958" y="778"/>
                  <a:pt x="1958" y="778"/>
                  <a:pt x="1958" y="778"/>
                </a:cubicBezTo>
                <a:cubicBezTo>
                  <a:pt x="1960" y="781"/>
                  <a:pt x="1960" y="781"/>
                  <a:pt x="1960" y="781"/>
                </a:cubicBezTo>
                <a:cubicBezTo>
                  <a:pt x="1962" y="783"/>
                  <a:pt x="1962" y="783"/>
                  <a:pt x="1962" y="783"/>
                </a:cubicBezTo>
                <a:cubicBezTo>
                  <a:pt x="1963" y="783"/>
                  <a:pt x="1963" y="783"/>
                  <a:pt x="1963" y="783"/>
                </a:cubicBezTo>
                <a:cubicBezTo>
                  <a:pt x="1963" y="785"/>
                  <a:pt x="1963" y="785"/>
                  <a:pt x="1963" y="785"/>
                </a:cubicBezTo>
                <a:cubicBezTo>
                  <a:pt x="1964" y="787"/>
                  <a:pt x="1964" y="787"/>
                  <a:pt x="1964" y="787"/>
                </a:cubicBezTo>
                <a:cubicBezTo>
                  <a:pt x="1964" y="788"/>
                  <a:pt x="1964" y="788"/>
                  <a:pt x="1964" y="788"/>
                </a:cubicBezTo>
                <a:cubicBezTo>
                  <a:pt x="1966" y="788"/>
                  <a:pt x="1966" y="788"/>
                  <a:pt x="1966" y="788"/>
                </a:cubicBezTo>
                <a:cubicBezTo>
                  <a:pt x="1967" y="790"/>
                  <a:pt x="1967" y="790"/>
                  <a:pt x="1967" y="790"/>
                </a:cubicBezTo>
                <a:cubicBezTo>
                  <a:pt x="1968" y="790"/>
                  <a:pt x="1968" y="790"/>
                  <a:pt x="1968" y="790"/>
                </a:cubicBezTo>
                <a:cubicBezTo>
                  <a:pt x="1969" y="790"/>
                  <a:pt x="1969" y="790"/>
                  <a:pt x="1969" y="790"/>
                </a:cubicBezTo>
                <a:cubicBezTo>
                  <a:pt x="1969" y="791"/>
                  <a:pt x="1969" y="791"/>
                  <a:pt x="1969" y="791"/>
                </a:cubicBezTo>
                <a:cubicBezTo>
                  <a:pt x="1969" y="792"/>
                  <a:pt x="1969" y="792"/>
                  <a:pt x="1969" y="792"/>
                </a:cubicBezTo>
                <a:cubicBezTo>
                  <a:pt x="1969" y="793"/>
                  <a:pt x="1969" y="793"/>
                  <a:pt x="1969" y="793"/>
                </a:cubicBezTo>
                <a:cubicBezTo>
                  <a:pt x="1970" y="794"/>
                  <a:pt x="1970" y="794"/>
                  <a:pt x="1970" y="794"/>
                </a:cubicBezTo>
                <a:cubicBezTo>
                  <a:pt x="1970" y="795"/>
                  <a:pt x="1970" y="795"/>
                  <a:pt x="1970" y="795"/>
                </a:cubicBezTo>
                <a:cubicBezTo>
                  <a:pt x="1971" y="798"/>
                  <a:pt x="1971" y="798"/>
                  <a:pt x="1971" y="798"/>
                </a:cubicBezTo>
                <a:cubicBezTo>
                  <a:pt x="1972" y="800"/>
                  <a:pt x="1972" y="800"/>
                  <a:pt x="1972" y="800"/>
                </a:cubicBezTo>
                <a:cubicBezTo>
                  <a:pt x="1973" y="800"/>
                  <a:pt x="1973" y="800"/>
                  <a:pt x="1973" y="800"/>
                </a:cubicBezTo>
                <a:cubicBezTo>
                  <a:pt x="1975" y="802"/>
                  <a:pt x="1975" y="802"/>
                  <a:pt x="1975" y="802"/>
                </a:cubicBezTo>
                <a:cubicBezTo>
                  <a:pt x="1975" y="803"/>
                  <a:pt x="1975" y="803"/>
                  <a:pt x="1975" y="803"/>
                </a:cubicBezTo>
                <a:cubicBezTo>
                  <a:pt x="1977" y="805"/>
                  <a:pt x="1977" y="805"/>
                  <a:pt x="1977" y="805"/>
                </a:cubicBezTo>
                <a:cubicBezTo>
                  <a:pt x="1978" y="806"/>
                  <a:pt x="1978" y="806"/>
                  <a:pt x="1978" y="806"/>
                </a:cubicBezTo>
                <a:cubicBezTo>
                  <a:pt x="1979" y="810"/>
                  <a:pt x="1979" y="810"/>
                  <a:pt x="1979" y="810"/>
                </a:cubicBezTo>
                <a:cubicBezTo>
                  <a:pt x="1981" y="814"/>
                  <a:pt x="1981" y="814"/>
                  <a:pt x="1981" y="814"/>
                </a:cubicBezTo>
                <a:cubicBezTo>
                  <a:pt x="1981" y="816"/>
                  <a:pt x="1981" y="816"/>
                  <a:pt x="1981" y="816"/>
                </a:cubicBezTo>
                <a:cubicBezTo>
                  <a:pt x="1981" y="817"/>
                  <a:pt x="1981" y="817"/>
                  <a:pt x="1981" y="817"/>
                </a:cubicBezTo>
                <a:cubicBezTo>
                  <a:pt x="1984" y="819"/>
                  <a:pt x="1984" y="819"/>
                  <a:pt x="1984" y="819"/>
                </a:cubicBezTo>
                <a:cubicBezTo>
                  <a:pt x="1986" y="822"/>
                  <a:pt x="1986" y="822"/>
                  <a:pt x="1986" y="822"/>
                </a:cubicBezTo>
                <a:cubicBezTo>
                  <a:pt x="1987" y="823"/>
                  <a:pt x="1987" y="823"/>
                  <a:pt x="1987" y="823"/>
                </a:cubicBezTo>
                <a:cubicBezTo>
                  <a:pt x="1988" y="824"/>
                  <a:pt x="1988" y="824"/>
                  <a:pt x="1988" y="824"/>
                </a:cubicBezTo>
                <a:cubicBezTo>
                  <a:pt x="1989" y="824"/>
                  <a:pt x="1989" y="824"/>
                  <a:pt x="1989" y="824"/>
                </a:cubicBezTo>
                <a:cubicBezTo>
                  <a:pt x="1991" y="825"/>
                  <a:pt x="1991" y="825"/>
                  <a:pt x="1991" y="825"/>
                </a:cubicBezTo>
                <a:cubicBezTo>
                  <a:pt x="1991" y="827"/>
                  <a:pt x="1991" y="827"/>
                  <a:pt x="1991" y="827"/>
                </a:cubicBezTo>
                <a:cubicBezTo>
                  <a:pt x="1992" y="828"/>
                  <a:pt x="1992" y="828"/>
                  <a:pt x="1992" y="828"/>
                </a:cubicBezTo>
                <a:cubicBezTo>
                  <a:pt x="1994" y="830"/>
                  <a:pt x="1994" y="830"/>
                  <a:pt x="1994" y="830"/>
                </a:cubicBezTo>
                <a:cubicBezTo>
                  <a:pt x="1997" y="832"/>
                  <a:pt x="1997" y="832"/>
                  <a:pt x="1997" y="832"/>
                </a:cubicBezTo>
                <a:cubicBezTo>
                  <a:pt x="1997" y="833"/>
                  <a:pt x="1997" y="833"/>
                  <a:pt x="1997" y="833"/>
                </a:cubicBezTo>
                <a:cubicBezTo>
                  <a:pt x="1999" y="833"/>
                  <a:pt x="1999" y="833"/>
                  <a:pt x="1999" y="833"/>
                </a:cubicBezTo>
                <a:cubicBezTo>
                  <a:pt x="2003" y="837"/>
                  <a:pt x="2003" y="837"/>
                  <a:pt x="2003" y="837"/>
                </a:cubicBezTo>
                <a:cubicBezTo>
                  <a:pt x="2003" y="838"/>
                  <a:pt x="2003" y="838"/>
                  <a:pt x="2003" y="838"/>
                </a:cubicBezTo>
                <a:cubicBezTo>
                  <a:pt x="2004" y="838"/>
                  <a:pt x="2004" y="838"/>
                  <a:pt x="2004" y="838"/>
                </a:cubicBezTo>
                <a:cubicBezTo>
                  <a:pt x="2005" y="840"/>
                  <a:pt x="2005" y="840"/>
                  <a:pt x="2005" y="840"/>
                </a:cubicBezTo>
                <a:cubicBezTo>
                  <a:pt x="2005" y="839"/>
                  <a:pt x="2005" y="839"/>
                  <a:pt x="2005" y="839"/>
                </a:cubicBezTo>
                <a:cubicBezTo>
                  <a:pt x="2005" y="838"/>
                  <a:pt x="2005" y="838"/>
                  <a:pt x="2005" y="838"/>
                </a:cubicBezTo>
                <a:cubicBezTo>
                  <a:pt x="2005" y="837"/>
                  <a:pt x="2005" y="837"/>
                  <a:pt x="2005" y="837"/>
                </a:cubicBezTo>
                <a:cubicBezTo>
                  <a:pt x="2006" y="837"/>
                  <a:pt x="2006" y="837"/>
                  <a:pt x="2006" y="837"/>
                </a:cubicBezTo>
                <a:cubicBezTo>
                  <a:pt x="2008" y="839"/>
                  <a:pt x="2008" y="839"/>
                  <a:pt x="2008" y="839"/>
                </a:cubicBezTo>
                <a:cubicBezTo>
                  <a:pt x="2009" y="839"/>
                  <a:pt x="2009" y="839"/>
                  <a:pt x="2009" y="839"/>
                </a:cubicBezTo>
                <a:cubicBezTo>
                  <a:pt x="2009" y="837"/>
                  <a:pt x="2009" y="837"/>
                  <a:pt x="2009" y="837"/>
                </a:cubicBezTo>
                <a:cubicBezTo>
                  <a:pt x="2009" y="836"/>
                  <a:pt x="2009" y="836"/>
                  <a:pt x="2009" y="836"/>
                </a:cubicBezTo>
                <a:cubicBezTo>
                  <a:pt x="2010" y="837"/>
                  <a:pt x="2010" y="837"/>
                  <a:pt x="2010" y="837"/>
                </a:cubicBezTo>
                <a:cubicBezTo>
                  <a:pt x="2012" y="838"/>
                  <a:pt x="2012" y="838"/>
                  <a:pt x="2012" y="838"/>
                </a:cubicBezTo>
                <a:close/>
                <a:moveTo>
                  <a:pt x="2175" y="851"/>
                </a:moveTo>
                <a:cubicBezTo>
                  <a:pt x="2175" y="850"/>
                  <a:pt x="2175" y="850"/>
                  <a:pt x="2175" y="850"/>
                </a:cubicBezTo>
                <a:cubicBezTo>
                  <a:pt x="2175" y="849"/>
                  <a:pt x="2175" y="849"/>
                  <a:pt x="2175" y="849"/>
                </a:cubicBezTo>
                <a:cubicBezTo>
                  <a:pt x="2175" y="848"/>
                  <a:pt x="2175" y="848"/>
                  <a:pt x="2175" y="848"/>
                </a:cubicBezTo>
                <a:cubicBezTo>
                  <a:pt x="2174" y="848"/>
                  <a:pt x="2174" y="848"/>
                  <a:pt x="2174" y="848"/>
                </a:cubicBezTo>
                <a:cubicBezTo>
                  <a:pt x="2172" y="850"/>
                  <a:pt x="2172" y="850"/>
                  <a:pt x="2172" y="850"/>
                </a:cubicBezTo>
                <a:cubicBezTo>
                  <a:pt x="2172" y="851"/>
                  <a:pt x="2172" y="851"/>
                  <a:pt x="2172" y="851"/>
                </a:cubicBezTo>
                <a:cubicBezTo>
                  <a:pt x="2172" y="852"/>
                  <a:pt x="2172" y="852"/>
                  <a:pt x="2172" y="852"/>
                </a:cubicBezTo>
                <a:cubicBezTo>
                  <a:pt x="2172" y="853"/>
                  <a:pt x="2172" y="853"/>
                  <a:pt x="2172" y="853"/>
                </a:cubicBezTo>
                <a:cubicBezTo>
                  <a:pt x="2173" y="853"/>
                  <a:pt x="2173" y="853"/>
                  <a:pt x="2173" y="853"/>
                </a:cubicBezTo>
                <a:cubicBezTo>
                  <a:pt x="2175" y="851"/>
                  <a:pt x="2175" y="851"/>
                  <a:pt x="2175" y="851"/>
                </a:cubicBezTo>
                <a:close/>
                <a:moveTo>
                  <a:pt x="1974" y="815"/>
                </a:moveTo>
                <a:cubicBezTo>
                  <a:pt x="1973" y="815"/>
                  <a:pt x="1973" y="815"/>
                  <a:pt x="1973" y="815"/>
                </a:cubicBezTo>
                <a:cubicBezTo>
                  <a:pt x="1974" y="816"/>
                  <a:pt x="1974" y="816"/>
                  <a:pt x="1974" y="816"/>
                </a:cubicBezTo>
                <a:cubicBezTo>
                  <a:pt x="1976" y="817"/>
                  <a:pt x="1976" y="817"/>
                  <a:pt x="1976" y="817"/>
                </a:cubicBezTo>
                <a:cubicBezTo>
                  <a:pt x="1974" y="815"/>
                  <a:pt x="1974" y="815"/>
                  <a:pt x="1974" y="815"/>
                </a:cubicBezTo>
                <a:close/>
                <a:moveTo>
                  <a:pt x="2195" y="807"/>
                </a:moveTo>
                <a:cubicBezTo>
                  <a:pt x="2196" y="808"/>
                  <a:pt x="2196" y="808"/>
                  <a:pt x="2196" y="808"/>
                </a:cubicBezTo>
                <a:cubicBezTo>
                  <a:pt x="2197" y="808"/>
                  <a:pt x="2197" y="808"/>
                  <a:pt x="2197" y="808"/>
                </a:cubicBezTo>
                <a:cubicBezTo>
                  <a:pt x="2196" y="807"/>
                  <a:pt x="2196" y="807"/>
                  <a:pt x="2196" y="807"/>
                </a:cubicBezTo>
                <a:cubicBezTo>
                  <a:pt x="2195" y="807"/>
                  <a:pt x="2195" y="807"/>
                  <a:pt x="2195" y="807"/>
                </a:cubicBezTo>
                <a:close/>
                <a:moveTo>
                  <a:pt x="2165" y="813"/>
                </a:moveTo>
                <a:cubicBezTo>
                  <a:pt x="2164" y="813"/>
                  <a:pt x="2164" y="813"/>
                  <a:pt x="2164" y="813"/>
                </a:cubicBezTo>
                <a:cubicBezTo>
                  <a:pt x="2164" y="814"/>
                  <a:pt x="2164" y="814"/>
                  <a:pt x="2164" y="814"/>
                </a:cubicBezTo>
                <a:cubicBezTo>
                  <a:pt x="2166" y="815"/>
                  <a:pt x="2166" y="815"/>
                  <a:pt x="2166" y="815"/>
                </a:cubicBezTo>
                <a:cubicBezTo>
                  <a:pt x="2168" y="814"/>
                  <a:pt x="2168" y="814"/>
                  <a:pt x="2168" y="814"/>
                </a:cubicBezTo>
                <a:cubicBezTo>
                  <a:pt x="2167" y="813"/>
                  <a:pt x="2167" y="813"/>
                  <a:pt x="2167" y="813"/>
                </a:cubicBezTo>
                <a:cubicBezTo>
                  <a:pt x="2167" y="812"/>
                  <a:pt x="2167" y="812"/>
                  <a:pt x="2167" y="812"/>
                </a:cubicBezTo>
                <a:cubicBezTo>
                  <a:pt x="2165" y="813"/>
                  <a:pt x="2165" y="813"/>
                  <a:pt x="2165" y="813"/>
                </a:cubicBezTo>
                <a:close/>
                <a:moveTo>
                  <a:pt x="2173" y="803"/>
                </a:moveTo>
                <a:cubicBezTo>
                  <a:pt x="2174" y="804"/>
                  <a:pt x="2174" y="804"/>
                  <a:pt x="2174" y="804"/>
                </a:cubicBezTo>
                <a:cubicBezTo>
                  <a:pt x="2175" y="803"/>
                  <a:pt x="2175" y="803"/>
                  <a:pt x="2175" y="803"/>
                </a:cubicBezTo>
                <a:cubicBezTo>
                  <a:pt x="2174" y="802"/>
                  <a:pt x="2174" y="802"/>
                  <a:pt x="2174" y="802"/>
                </a:cubicBezTo>
                <a:cubicBezTo>
                  <a:pt x="2173" y="801"/>
                  <a:pt x="2173" y="801"/>
                  <a:pt x="2173" y="801"/>
                </a:cubicBezTo>
                <a:cubicBezTo>
                  <a:pt x="2171" y="801"/>
                  <a:pt x="2171" y="801"/>
                  <a:pt x="2171" y="801"/>
                </a:cubicBezTo>
                <a:cubicBezTo>
                  <a:pt x="2170" y="802"/>
                  <a:pt x="2170" y="802"/>
                  <a:pt x="2170" y="802"/>
                </a:cubicBezTo>
                <a:cubicBezTo>
                  <a:pt x="2169" y="802"/>
                  <a:pt x="2169" y="802"/>
                  <a:pt x="2169" y="802"/>
                </a:cubicBezTo>
                <a:cubicBezTo>
                  <a:pt x="2168" y="802"/>
                  <a:pt x="2168" y="802"/>
                  <a:pt x="2168" y="802"/>
                </a:cubicBezTo>
                <a:cubicBezTo>
                  <a:pt x="2169" y="803"/>
                  <a:pt x="2169" y="803"/>
                  <a:pt x="2169" y="803"/>
                </a:cubicBezTo>
                <a:cubicBezTo>
                  <a:pt x="2170" y="803"/>
                  <a:pt x="2170" y="803"/>
                  <a:pt x="2170" y="803"/>
                </a:cubicBezTo>
                <a:cubicBezTo>
                  <a:pt x="2171" y="804"/>
                  <a:pt x="2171" y="804"/>
                  <a:pt x="2171" y="804"/>
                </a:cubicBezTo>
                <a:cubicBezTo>
                  <a:pt x="2172" y="804"/>
                  <a:pt x="2172" y="804"/>
                  <a:pt x="2172" y="804"/>
                </a:cubicBezTo>
                <a:cubicBezTo>
                  <a:pt x="2172" y="803"/>
                  <a:pt x="2172" y="803"/>
                  <a:pt x="2172" y="803"/>
                </a:cubicBezTo>
                <a:cubicBezTo>
                  <a:pt x="2171" y="803"/>
                  <a:pt x="2171" y="803"/>
                  <a:pt x="2171" y="803"/>
                </a:cubicBezTo>
                <a:cubicBezTo>
                  <a:pt x="2171" y="802"/>
                  <a:pt x="2171" y="802"/>
                  <a:pt x="2171" y="802"/>
                </a:cubicBezTo>
                <a:cubicBezTo>
                  <a:pt x="2173" y="803"/>
                  <a:pt x="2173" y="803"/>
                  <a:pt x="2173" y="803"/>
                </a:cubicBezTo>
                <a:close/>
                <a:moveTo>
                  <a:pt x="2171" y="807"/>
                </a:moveTo>
                <a:cubicBezTo>
                  <a:pt x="2171" y="807"/>
                  <a:pt x="2171" y="807"/>
                  <a:pt x="2172" y="806"/>
                </a:cubicBezTo>
                <a:cubicBezTo>
                  <a:pt x="2172" y="806"/>
                  <a:pt x="2172" y="806"/>
                  <a:pt x="2171" y="806"/>
                </a:cubicBezTo>
                <a:cubicBezTo>
                  <a:pt x="2171" y="806"/>
                  <a:pt x="2171" y="806"/>
                  <a:pt x="2171" y="807"/>
                </a:cubicBezTo>
                <a:close/>
                <a:moveTo>
                  <a:pt x="2161" y="802"/>
                </a:moveTo>
                <a:cubicBezTo>
                  <a:pt x="2161" y="802"/>
                  <a:pt x="2161" y="802"/>
                  <a:pt x="2163" y="803"/>
                </a:cubicBezTo>
                <a:cubicBezTo>
                  <a:pt x="2163" y="803"/>
                  <a:pt x="2163" y="803"/>
                  <a:pt x="2163" y="802"/>
                </a:cubicBezTo>
                <a:cubicBezTo>
                  <a:pt x="2163" y="802"/>
                  <a:pt x="2163" y="802"/>
                  <a:pt x="2160" y="801"/>
                </a:cubicBezTo>
                <a:cubicBezTo>
                  <a:pt x="2160" y="801"/>
                  <a:pt x="2160" y="801"/>
                  <a:pt x="2161" y="802"/>
                </a:cubicBezTo>
                <a:close/>
                <a:moveTo>
                  <a:pt x="2157" y="795"/>
                </a:moveTo>
                <a:cubicBezTo>
                  <a:pt x="2157" y="795"/>
                  <a:pt x="2157" y="795"/>
                  <a:pt x="2158" y="792"/>
                </a:cubicBezTo>
                <a:cubicBezTo>
                  <a:pt x="2158" y="792"/>
                  <a:pt x="2158" y="792"/>
                  <a:pt x="2158" y="791"/>
                </a:cubicBezTo>
                <a:cubicBezTo>
                  <a:pt x="2158" y="791"/>
                  <a:pt x="2158" y="791"/>
                  <a:pt x="2156" y="791"/>
                </a:cubicBezTo>
                <a:cubicBezTo>
                  <a:pt x="2156" y="791"/>
                  <a:pt x="2156" y="791"/>
                  <a:pt x="2154" y="792"/>
                </a:cubicBezTo>
                <a:cubicBezTo>
                  <a:pt x="2154" y="792"/>
                  <a:pt x="2154" y="792"/>
                  <a:pt x="2154" y="793"/>
                </a:cubicBezTo>
                <a:cubicBezTo>
                  <a:pt x="2154" y="793"/>
                  <a:pt x="2154" y="793"/>
                  <a:pt x="2154" y="794"/>
                </a:cubicBezTo>
                <a:cubicBezTo>
                  <a:pt x="2154" y="794"/>
                  <a:pt x="2154" y="794"/>
                  <a:pt x="2153" y="794"/>
                </a:cubicBezTo>
                <a:cubicBezTo>
                  <a:pt x="2153" y="794"/>
                  <a:pt x="2153" y="794"/>
                  <a:pt x="2152" y="795"/>
                </a:cubicBezTo>
                <a:cubicBezTo>
                  <a:pt x="2152" y="795"/>
                  <a:pt x="2152" y="795"/>
                  <a:pt x="2151" y="796"/>
                </a:cubicBezTo>
                <a:cubicBezTo>
                  <a:pt x="2151" y="796"/>
                  <a:pt x="2151" y="796"/>
                  <a:pt x="2151" y="794"/>
                </a:cubicBezTo>
                <a:cubicBezTo>
                  <a:pt x="2151" y="794"/>
                  <a:pt x="2151" y="794"/>
                  <a:pt x="2152" y="794"/>
                </a:cubicBezTo>
                <a:cubicBezTo>
                  <a:pt x="2152" y="794"/>
                  <a:pt x="2152" y="794"/>
                  <a:pt x="2153" y="794"/>
                </a:cubicBezTo>
                <a:cubicBezTo>
                  <a:pt x="2153" y="794"/>
                  <a:pt x="2153" y="794"/>
                  <a:pt x="2153" y="792"/>
                </a:cubicBezTo>
                <a:cubicBezTo>
                  <a:pt x="2153" y="792"/>
                  <a:pt x="2153" y="792"/>
                  <a:pt x="2153" y="790"/>
                </a:cubicBezTo>
                <a:cubicBezTo>
                  <a:pt x="2153" y="790"/>
                  <a:pt x="2153" y="790"/>
                  <a:pt x="2152" y="790"/>
                </a:cubicBezTo>
                <a:cubicBezTo>
                  <a:pt x="2152" y="790"/>
                  <a:pt x="2152" y="790"/>
                  <a:pt x="2152" y="789"/>
                </a:cubicBezTo>
                <a:cubicBezTo>
                  <a:pt x="2152" y="789"/>
                  <a:pt x="2152" y="789"/>
                  <a:pt x="2153" y="788"/>
                </a:cubicBezTo>
                <a:cubicBezTo>
                  <a:pt x="2153" y="788"/>
                  <a:pt x="2153" y="788"/>
                  <a:pt x="2153" y="787"/>
                </a:cubicBezTo>
                <a:cubicBezTo>
                  <a:pt x="2153" y="787"/>
                  <a:pt x="2153" y="787"/>
                  <a:pt x="2152" y="787"/>
                </a:cubicBezTo>
                <a:cubicBezTo>
                  <a:pt x="2152" y="787"/>
                  <a:pt x="2152" y="787"/>
                  <a:pt x="2151" y="789"/>
                </a:cubicBezTo>
                <a:cubicBezTo>
                  <a:pt x="2151" y="789"/>
                  <a:pt x="2151" y="789"/>
                  <a:pt x="2150" y="791"/>
                </a:cubicBezTo>
                <a:cubicBezTo>
                  <a:pt x="2150" y="791"/>
                  <a:pt x="2150" y="791"/>
                  <a:pt x="2150" y="792"/>
                </a:cubicBezTo>
                <a:cubicBezTo>
                  <a:pt x="2150" y="792"/>
                  <a:pt x="2150" y="792"/>
                  <a:pt x="2149" y="793"/>
                </a:cubicBezTo>
                <a:cubicBezTo>
                  <a:pt x="2149" y="793"/>
                  <a:pt x="2149" y="793"/>
                  <a:pt x="2149" y="794"/>
                </a:cubicBezTo>
                <a:cubicBezTo>
                  <a:pt x="2149" y="794"/>
                  <a:pt x="2149" y="794"/>
                  <a:pt x="2150" y="795"/>
                </a:cubicBezTo>
                <a:cubicBezTo>
                  <a:pt x="2150" y="795"/>
                  <a:pt x="2150" y="795"/>
                  <a:pt x="2150" y="797"/>
                </a:cubicBezTo>
                <a:cubicBezTo>
                  <a:pt x="2150" y="797"/>
                  <a:pt x="2150" y="797"/>
                  <a:pt x="2150" y="799"/>
                </a:cubicBezTo>
                <a:cubicBezTo>
                  <a:pt x="2150" y="799"/>
                  <a:pt x="2150" y="799"/>
                  <a:pt x="2151" y="800"/>
                </a:cubicBezTo>
                <a:cubicBezTo>
                  <a:pt x="2151" y="800"/>
                  <a:pt x="2151" y="800"/>
                  <a:pt x="2151" y="801"/>
                </a:cubicBezTo>
                <a:cubicBezTo>
                  <a:pt x="2151" y="801"/>
                  <a:pt x="2151" y="801"/>
                  <a:pt x="2150" y="802"/>
                </a:cubicBezTo>
                <a:cubicBezTo>
                  <a:pt x="2150" y="802"/>
                  <a:pt x="2150" y="802"/>
                  <a:pt x="2151" y="804"/>
                </a:cubicBezTo>
                <a:cubicBezTo>
                  <a:pt x="2151" y="804"/>
                  <a:pt x="2151" y="804"/>
                  <a:pt x="2153" y="805"/>
                </a:cubicBezTo>
                <a:cubicBezTo>
                  <a:pt x="2153" y="805"/>
                  <a:pt x="2153" y="805"/>
                  <a:pt x="2154" y="807"/>
                </a:cubicBezTo>
                <a:cubicBezTo>
                  <a:pt x="2154" y="807"/>
                  <a:pt x="2154" y="807"/>
                  <a:pt x="2155" y="807"/>
                </a:cubicBezTo>
                <a:cubicBezTo>
                  <a:pt x="2155" y="807"/>
                  <a:pt x="2155" y="807"/>
                  <a:pt x="2154" y="805"/>
                </a:cubicBezTo>
                <a:cubicBezTo>
                  <a:pt x="2154" y="805"/>
                  <a:pt x="2154" y="805"/>
                  <a:pt x="2153" y="803"/>
                </a:cubicBezTo>
                <a:cubicBezTo>
                  <a:pt x="2153" y="803"/>
                  <a:pt x="2153" y="803"/>
                  <a:pt x="2152" y="801"/>
                </a:cubicBezTo>
                <a:cubicBezTo>
                  <a:pt x="2152" y="801"/>
                  <a:pt x="2152" y="801"/>
                  <a:pt x="2152" y="799"/>
                </a:cubicBezTo>
                <a:cubicBezTo>
                  <a:pt x="2152" y="799"/>
                  <a:pt x="2152" y="799"/>
                  <a:pt x="2153" y="799"/>
                </a:cubicBezTo>
                <a:cubicBezTo>
                  <a:pt x="2153" y="799"/>
                  <a:pt x="2153" y="799"/>
                  <a:pt x="2154" y="799"/>
                </a:cubicBezTo>
                <a:cubicBezTo>
                  <a:pt x="2154" y="799"/>
                  <a:pt x="2154" y="799"/>
                  <a:pt x="2156" y="799"/>
                </a:cubicBezTo>
                <a:cubicBezTo>
                  <a:pt x="2156" y="799"/>
                  <a:pt x="2156" y="799"/>
                  <a:pt x="2157" y="800"/>
                </a:cubicBezTo>
                <a:cubicBezTo>
                  <a:pt x="2157" y="800"/>
                  <a:pt x="2157" y="800"/>
                  <a:pt x="2158" y="800"/>
                </a:cubicBezTo>
                <a:cubicBezTo>
                  <a:pt x="2158" y="800"/>
                  <a:pt x="2158" y="800"/>
                  <a:pt x="2157" y="799"/>
                </a:cubicBezTo>
                <a:cubicBezTo>
                  <a:pt x="2157" y="799"/>
                  <a:pt x="2157" y="799"/>
                  <a:pt x="2157" y="798"/>
                </a:cubicBezTo>
                <a:cubicBezTo>
                  <a:pt x="2157" y="798"/>
                  <a:pt x="2157" y="798"/>
                  <a:pt x="2156" y="797"/>
                </a:cubicBezTo>
                <a:cubicBezTo>
                  <a:pt x="2156" y="797"/>
                  <a:pt x="2156" y="797"/>
                  <a:pt x="2155" y="797"/>
                </a:cubicBezTo>
                <a:cubicBezTo>
                  <a:pt x="2155" y="797"/>
                  <a:pt x="2155" y="797"/>
                  <a:pt x="2154" y="796"/>
                </a:cubicBezTo>
                <a:cubicBezTo>
                  <a:pt x="2154" y="796"/>
                  <a:pt x="2154" y="796"/>
                  <a:pt x="2155" y="795"/>
                </a:cubicBezTo>
                <a:cubicBezTo>
                  <a:pt x="2155" y="795"/>
                  <a:pt x="2155" y="795"/>
                  <a:pt x="2157" y="795"/>
                </a:cubicBezTo>
                <a:close/>
                <a:moveTo>
                  <a:pt x="2149" y="854"/>
                </a:moveTo>
                <a:cubicBezTo>
                  <a:pt x="2149" y="854"/>
                  <a:pt x="2149" y="854"/>
                  <a:pt x="2148" y="855"/>
                </a:cubicBezTo>
                <a:cubicBezTo>
                  <a:pt x="2148" y="855"/>
                  <a:pt x="2148" y="855"/>
                  <a:pt x="2149" y="855"/>
                </a:cubicBezTo>
                <a:cubicBezTo>
                  <a:pt x="2149" y="855"/>
                  <a:pt x="2149" y="855"/>
                  <a:pt x="2149" y="854"/>
                </a:cubicBezTo>
                <a:close/>
                <a:moveTo>
                  <a:pt x="2126" y="868"/>
                </a:moveTo>
                <a:cubicBezTo>
                  <a:pt x="2127" y="868"/>
                  <a:pt x="2127" y="868"/>
                  <a:pt x="2127" y="868"/>
                </a:cubicBezTo>
                <a:cubicBezTo>
                  <a:pt x="2128" y="868"/>
                  <a:pt x="2128" y="868"/>
                  <a:pt x="2128" y="868"/>
                </a:cubicBezTo>
                <a:cubicBezTo>
                  <a:pt x="2130" y="867"/>
                  <a:pt x="2130" y="867"/>
                  <a:pt x="2130" y="867"/>
                </a:cubicBezTo>
                <a:cubicBezTo>
                  <a:pt x="2130" y="866"/>
                  <a:pt x="2130" y="866"/>
                  <a:pt x="2130" y="866"/>
                </a:cubicBezTo>
                <a:cubicBezTo>
                  <a:pt x="2133" y="864"/>
                  <a:pt x="2133" y="864"/>
                  <a:pt x="2133" y="864"/>
                </a:cubicBezTo>
                <a:cubicBezTo>
                  <a:pt x="2133" y="863"/>
                  <a:pt x="2133" y="863"/>
                  <a:pt x="2133" y="863"/>
                </a:cubicBezTo>
                <a:cubicBezTo>
                  <a:pt x="2134" y="863"/>
                  <a:pt x="2134" y="863"/>
                  <a:pt x="2134" y="863"/>
                </a:cubicBezTo>
                <a:cubicBezTo>
                  <a:pt x="2135" y="862"/>
                  <a:pt x="2135" y="862"/>
                  <a:pt x="2135" y="862"/>
                </a:cubicBezTo>
                <a:cubicBezTo>
                  <a:pt x="2136" y="861"/>
                  <a:pt x="2136" y="861"/>
                  <a:pt x="2136" y="861"/>
                </a:cubicBezTo>
                <a:cubicBezTo>
                  <a:pt x="2137" y="861"/>
                  <a:pt x="2137" y="861"/>
                  <a:pt x="2137" y="861"/>
                </a:cubicBezTo>
                <a:cubicBezTo>
                  <a:pt x="2140" y="861"/>
                  <a:pt x="2140" y="861"/>
                  <a:pt x="2140" y="861"/>
                </a:cubicBezTo>
                <a:cubicBezTo>
                  <a:pt x="2142" y="860"/>
                  <a:pt x="2142" y="860"/>
                  <a:pt x="2142" y="860"/>
                </a:cubicBezTo>
                <a:cubicBezTo>
                  <a:pt x="2144" y="859"/>
                  <a:pt x="2144" y="859"/>
                  <a:pt x="2144" y="859"/>
                </a:cubicBezTo>
                <a:cubicBezTo>
                  <a:pt x="2145" y="859"/>
                  <a:pt x="2145" y="859"/>
                  <a:pt x="2145" y="859"/>
                </a:cubicBezTo>
                <a:cubicBezTo>
                  <a:pt x="2146" y="858"/>
                  <a:pt x="2146" y="858"/>
                  <a:pt x="2146" y="858"/>
                </a:cubicBezTo>
                <a:cubicBezTo>
                  <a:pt x="2146" y="857"/>
                  <a:pt x="2146" y="857"/>
                  <a:pt x="2146" y="857"/>
                </a:cubicBezTo>
                <a:cubicBezTo>
                  <a:pt x="2145" y="857"/>
                  <a:pt x="2145" y="857"/>
                  <a:pt x="2145" y="857"/>
                </a:cubicBezTo>
                <a:cubicBezTo>
                  <a:pt x="2143" y="857"/>
                  <a:pt x="2143" y="857"/>
                  <a:pt x="2143" y="857"/>
                </a:cubicBezTo>
                <a:cubicBezTo>
                  <a:pt x="2142" y="857"/>
                  <a:pt x="2142" y="857"/>
                  <a:pt x="2142" y="857"/>
                </a:cubicBezTo>
                <a:cubicBezTo>
                  <a:pt x="2140" y="857"/>
                  <a:pt x="2140" y="857"/>
                  <a:pt x="2140" y="857"/>
                </a:cubicBezTo>
                <a:cubicBezTo>
                  <a:pt x="2139" y="857"/>
                  <a:pt x="2139" y="857"/>
                  <a:pt x="2139" y="857"/>
                </a:cubicBezTo>
                <a:cubicBezTo>
                  <a:pt x="2137" y="858"/>
                  <a:pt x="2137" y="858"/>
                  <a:pt x="2137" y="858"/>
                </a:cubicBezTo>
                <a:cubicBezTo>
                  <a:pt x="2135" y="858"/>
                  <a:pt x="2135" y="858"/>
                  <a:pt x="2135" y="858"/>
                </a:cubicBezTo>
                <a:cubicBezTo>
                  <a:pt x="2133" y="859"/>
                  <a:pt x="2133" y="859"/>
                  <a:pt x="2133" y="859"/>
                </a:cubicBezTo>
                <a:cubicBezTo>
                  <a:pt x="2131" y="860"/>
                  <a:pt x="2131" y="860"/>
                  <a:pt x="2131" y="860"/>
                </a:cubicBezTo>
                <a:cubicBezTo>
                  <a:pt x="2129" y="861"/>
                  <a:pt x="2129" y="861"/>
                  <a:pt x="2129" y="861"/>
                </a:cubicBezTo>
                <a:cubicBezTo>
                  <a:pt x="2127" y="861"/>
                  <a:pt x="2127" y="861"/>
                  <a:pt x="2127" y="861"/>
                </a:cubicBezTo>
                <a:cubicBezTo>
                  <a:pt x="2126" y="862"/>
                  <a:pt x="2126" y="862"/>
                  <a:pt x="2126" y="862"/>
                </a:cubicBezTo>
                <a:cubicBezTo>
                  <a:pt x="2124" y="863"/>
                  <a:pt x="2124" y="863"/>
                  <a:pt x="2124" y="863"/>
                </a:cubicBezTo>
                <a:cubicBezTo>
                  <a:pt x="2124" y="864"/>
                  <a:pt x="2124" y="864"/>
                  <a:pt x="2124" y="864"/>
                </a:cubicBezTo>
                <a:cubicBezTo>
                  <a:pt x="2123" y="866"/>
                  <a:pt x="2123" y="866"/>
                  <a:pt x="2123" y="866"/>
                </a:cubicBezTo>
                <a:cubicBezTo>
                  <a:pt x="2123" y="867"/>
                  <a:pt x="2123" y="867"/>
                  <a:pt x="2123" y="867"/>
                </a:cubicBezTo>
                <a:cubicBezTo>
                  <a:pt x="2123" y="868"/>
                  <a:pt x="2123" y="868"/>
                  <a:pt x="2123" y="868"/>
                </a:cubicBezTo>
                <a:cubicBezTo>
                  <a:pt x="2122" y="867"/>
                  <a:pt x="2122" y="867"/>
                  <a:pt x="2122" y="867"/>
                </a:cubicBezTo>
                <a:cubicBezTo>
                  <a:pt x="2122" y="869"/>
                  <a:pt x="2122" y="869"/>
                  <a:pt x="2122" y="869"/>
                </a:cubicBezTo>
                <a:cubicBezTo>
                  <a:pt x="2124" y="869"/>
                  <a:pt x="2124" y="869"/>
                  <a:pt x="2124" y="869"/>
                </a:cubicBezTo>
                <a:cubicBezTo>
                  <a:pt x="2126" y="868"/>
                  <a:pt x="2126" y="868"/>
                  <a:pt x="2126" y="868"/>
                </a:cubicBezTo>
                <a:close/>
                <a:moveTo>
                  <a:pt x="2121" y="855"/>
                </a:moveTo>
                <a:cubicBezTo>
                  <a:pt x="2121" y="856"/>
                  <a:pt x="2121" y="856"/>
                  <a:pt x="2121" y="856"/>
                </a:cubicBezTo>
                <a:cubicBezTo>
                  <a:pt x="2122" y="855"/>
                  <a:pt x="2122" y="855"/>
                  <a:pt x="2122" y="855"/>
                </a:cubicBezTo>
                <a:cubicBezTo>
                  <a:pt x="2121" y="855"/>
                  <a:pt x="2121" y="855"/>
                  <a:pt x="2121" y="855"/>
                </a:cubicBezTo>
                <a:close/>
                <a:moveTo>
                  <a:pt x="2147" y="849"/>
                </a:moveTo>
                <a:cubicBezTo>
                  <a:pt x="2147" y="850"/>
                  <a:pt x="2147" y="850"/>
                  <a:pt x="2147" y="850"/>
                </a:cubicBezTo>
                <a:cubicBezTo>
                  <a:pt x="2147" y="851"/>
                  <a:pt x="2147" y="851"/>
                  <a:pt x="2147" y="851"/>
                </a:cubicBezTo>
                <a:cubicBezTo>
                  <a:pt x="2148" y="850"/>
                  <a:pt x="2148" y="850"/>
                  <a:pt x="2148" y="850"/>
                </a:cubicBezTo>
                <a:cubicBezTo>
                  <a:pt x="2147" y="849"/>
                  <a:pt x="2147" y="849"/>
                  <a:pt x="2147" y="849"/>
                </a:cubicBezTo>
                <a:close/>
                <a:moveTo>
                  <a:pt x="2206" y="808"/>
                </a:moveTo>
                <a:cubicBezTo>
                  <a:pt x="2205" y="808"/>
                  <a:pt x="2205" y="808"/>
                  <a:pt x="2205" y="808"/>
                </a:cubicBezTo>
                <a:cubicBezTo>
                  <a:pt x="2204" y="807"/>
                  <a:pt x="2204" y="807"/>
                  <a:pt x="2204" y="807"/>
                </a:cubicBezTo>
                <a:cubicBezTo>
                  <a:pt x="2203" y="806"/>
                  <a:pt x="2203" y="806"/>
                  <a:pt x="2203" y="806"/>
                </a:cubicBezTo>
                <a:cubicBezTo>
                  <a:pt x="2202" y="805"/>
                  <a:pt x="2202" y="805"/>
                  <a:pt x="2202" y="805"/>
                </a:cubicBezTo>
                <a:cubicBezTo>
                  <a:pt x="2201" y="805"/>
                  <a:pt x="2201" y="805"/>
                  <a:pt x="2201" y="805"/>
                </a:cubicBezTo>
                <a:cubicBezTo>
                  <a:pt x="2200" y="805"/>
                  <a:pt x="2200" y="805"/>
                  <a:pt x="2200" y="805"/>
                </a:cubicBezTo>
                <a:cubicBezTo>
                  <a:pt x="2200" y="806"/>
                  <a:pt x="2200" y="806"/>
                  <a:pt x="2200" y="806"/>
                </a:cubicBezTo>
                <a:cubicBezTo>
                  <a:pt x="2201" y="807"/>
                  <a:pt x="2201" y="807"/>
                  <a:pt x="2201" y="807"/>
                </a:cubicBezTo>
                <a:cubicBezTo>
                  <a:pt x="2201" y="806"/>
                  <a:pt x="2201" y="806"/>
                  <a:pt x="2201" y="806"/>
                </a:cubicBezTo>
                <a:cubicBezTo>
                  <a:pt x="2202" y="807"/>
                  <a:pt x="2202" y="807"/>
                  <a:pt x="2202" y="807"/>
                </a:cubicBezTo>
                <a:cubicBezTo>
                  <a:pt x="2202" y="808"/>
                  <a:pt x="2202" y="808"/>
                  <a:pt x="2202" y="808"/>
                </a:cubicBezTo>
                <a:cubicBezTo>
                  <a:pt x="2203" y="808"/>
                  <a:pt x="2203" y="808"/>
                  <a:pt x="2203" y="808"/>
                </a:cubicBezTo>
                <a:cubicBezTo>
                  <a:pt x="2204" y="808"/>
                  <a:pt x="2204" y="808"/>
                  <a:pt x="2204" y="808"/>
                </a:cubicBezTo>
                <a:cubicBezTo>
                  <a:pt x="2204" y="809"/>
                  <a:pt x="2204" y="809"/>
                  <a:pt x="2204" y="809"/>
                </a:cubicBezTo>
                <a:cubicBezTo>
                  <a:pt x="2206" y="808"/>
                  <a:pt x="2206" y="808"/>
                  <a:pt x="2206" y="808"/>
                </a:cubicBezTo>
                <a:close/>
                <a:moveTo>
                  <a:pt x="2150" y="804"/>
                </a:moveTo>
                <a:cubicBezTo>
                  <a:pt x="2149" y="804"/>
                  <a:pt x="2149" y="804"/>
                  <a:pt x="2149" y="804"/>
                </a:cubicBezTo>
                <a:cubicBezTo>
                  <a:pt x="2149" y="805"/>
                  <a:pt x="2149" y="805"/>
                  <a:pt x="2149" y="805"/>
                </a:cubicBezTo>
                <a:cubicBezTo>
                  <a:pt x="2149" y="806"/>
                  <a:pt x="2149" y="806"/>
                  <a:pt x="2149" y="806"/>
                </a:cubicBezTo>
                <a:cubicBezTo>
                  <a:pt x="2149" y="807"/>
                  <a:pt x="2149" y="807"/>
                  <a:pt x="2149" y="807"/>
                </a:cubicBezTo>
                <a:cubicBezTo>
                  <a:pt x="2150" y="807"/>
                  <a:pt x="2150" y="807"/>
                  <a:pt x="2150" y="807"/>
                </a:cubicBezTo>
                <a:cubicBezTo>
                  <a:pt x="2151" y="807"/>
                  <a:pt x="2151" y="807"/>
                  <a:pt x="2151" y="807"/>
                </a:cubicBezTo>
                <a:cubicBezTo>
                  <a:pt x="2152" y="807"/>
                  <a:pt x="2152" y="807"/>
                  <a:pt x="2152" y="807"/>
                </a:cubicBezTo>
                <a:cubicBezTo>
                  <a:pt x="2151" y="806"/>
                  <a:pt x="2151" y="806"/>
                  <a:pt x="2151" y="806"/>
                </a:cubicBezTo>
                <a:cubicBezTo>
                  <a:pt x="2150" y="806"/>
                  <a:pt x="2150" y="806"/>
                  <a:pt x="2150" y="806"/>
                </a:cubicBezTo>
                <a:cubicBezTo>
                  <a:pt x="2151" y="805"/>
                  <a:pt x="2151" y="805"/>
                  <a:pt x="2151" y="805"/>
                </a:cubicBezTo>
                <a:cubicBezTo>
                  <a:pt x="2150" y="804"/>
                  <a:pt x="2150" y="804"/>
                  <a:pt x="2150" y="804"/>
                </a:cubicBezTo>
                <a:close/>
                <a:moveTo>
                  <a:pt x="2202" y="813"/>
                </a:moveTo>
                <a:cubicBezTo>
                  <a:pt x="2205" y="813"/>
                  <a:pt x="2205" y="813"/>
                  <a:pt x="2205" y="813"/>
                </a:cubicBezTo>
                <a:cubicBezTo>
                  <a:pt x="2208" y="813"/>
                  <a:pt x="2208" y="813"/>
                  <a:pt x="2208" y="813"/>
                </a:cubicBezTo>
                <a:cubicBezTo>
                  <a:pt x="2208" y="812"/>
                  <a:pt x="2208" y="812"/>
                  <a:pt x="2208" y="812"/>
                </a:cubicBezTo>
                <a:cubicBezTo>
                  <a:pt x="2206" y="812"/>
                  <a:pt x="2206" y="812"/>
                  <a:pt x="2206" y="812"/>
                </a:cubicBezTo>
                <a:cubicBezTo>
                  <a:pt x="2205" y="812"/>
                  <a:pt x="2205" y="812"/>
                  <a:pt x="2205" y="812"/>
                </a:cubicBezTo>
                <a:cubicBezTo>
                  <a:pt x="2203" y="812"/>
                  <a:pt x="2203" y="812"/>
                  <a:pt x="2203" y="812"/>
                </a:cubicBezTo>
                <a:cubicBezTo>
                  <a:pt x="2202" y="812"/>
                  <a:pt x="2202" y="812"/>
                  <a:pt x="2202" y="812"/>
                </a:cubicBezTo>
                <a:cubicBezTo>
                  <a:pt x="2200" y="812"/>
                  <a:pt x="2200" y="812"/>
                  <a:pt x="2200" y="812"/>
                </a:cubicBezTo>
                <a:cubicBezTo>
                  <a:pt x="2202" y="813"/>
                  <a:pt x="2202" y="813"/>
                  <a:pt x="2202" y="813"/>
                </a:cubicBezTo>
                <a:close/>
                <a:moveTo>
                  <a:pt x="2170" y="854"/>
                </a:moveTo>
                <a:cubicBezTo>
                  <a:pt x="2170" y="855"/>
                  <a:pt x="2170" y="855"/>
                  <a:pt x="2170" y="855"/>
                </a:cubicBezTo>
                <a:cubicBezTo>
                  <a:pt x="2171" y="855"/>
                  <a:pt x="2171" y="855"/>
                  <a:pt x="2171" y="855"/>
                </a:cubicBezTo>
                <a:cubicBezTo>
                  <a:pt x="2172" y="854"/>
                  <a:pt x="2172" y="854"/>
                  <a:pt x="2172" y="854"/>
                </a:cubicBezTo>
                <a:cubicBezTo>
                  <a:pt x="2171" y="854"/>
                  <a:pt x="2171" y="854"/>
                  <a:pt x="2171" y="854"/>
                </a:cubicBezTo>
                <a:cubicBezTo>
                  <a:pt x="2170" y="854"/>
                  <a:pt x="2170" y="854"/>
                  <a:pt x="2170" y="854"/>
                </a:cubicBezTo>
                <a:close/>
                <a:moveTo>
                  <a:pt x="2153" y="855"/>
                </a:moveTo>
                <a:cubicBezTo>
                  <a:pt x="2153" y="855"/>
                  <a:pt x="2153" y="855"/>
                  <a:pt x="2153" y="854"/>
                </a:cubicBezTo>
                <a:cubicBezTo>
                  <a:pt x="2153" y="854"/>
                  <a:pt x="2153" y="854"/>
                  <a:pt x="2152" y="854"/>
                </a:cubicBezTo>
                <a:cubicBezTo>
                  <a:pt x="2152" y="854"/>
                  <a:pt x="2152" y="854"/>
                  <a:pt x="2150" y="854"/>
                </a:cubicBezTo>
                <a:cubicBezTo>
                  <a:pt x="2150" y="854"/>
                  <a:pt x="2150" y="854"/>
                  <a:pt x="2150" y="855"/>
                </a:cubicBezTo>
                <a:cubicBezTo>
                  <a:pt x="2150" y="855"/>
                  <a:pt x="2150" y="855"/>
                  <a:pt x="2152" y="855"/>
                </a:cubicBezTo>
                <a:cubicBezTo>
                  <a:pt x="2152" y="855"/>
                  <a:pt x="2152" y="855"/>
                  <a:pt x="2153" y="855"/>
                </a:cubicBezTo>
                <a:close/>
                <a:moveTo>
                  <a:pt x="2152" y="821"/>
                </a:moveTo>
                <a:cubicBezTo>
                  <a:pt x="2153" y="820"/>
                  <a:pt x="2153" y="820"/>
                  <a:pt x="2153" y="820"/>
                </a:cubicBezTo>
                <a:cubicBezTo>
                  <a:pt x="2151" y="820"/>
                  <a:pt x="2151" y="820"/>
                  <a:pt x="2151" y="820"/>
                </a:cubicBezTo>
                <a:cubicBezTo>
                  <a:pt x="2152" y="821"/>
                  <a:pt x="2152" y="821"/>
                  <a:pt x="2152" y="821"/>
                </a:cubicBezTo>
                <a:close/>
                <a:moveTo>
                  <a:pt x="2088" y="775"/>
                </a:moveTo>
                <a:cubicBezTo>
                  <a:pt x="2088" y="774"/>
                  <a:pt x="2088" y="774"/>
                  <a:pt x="2088" y="774"/>
                </a:cubicBezTo>
                <a:cubicBezTo>
                  <a:pt x="2087" y="774"/>
                  <a:pt x="2087" y="774"/>
                  <a:pt x="2087" y="774"/>
                </a:cubicBezTo>
                <a:cubicBezTo>
                  <a:pt x="2088" y="775"/>
                  <a:pt x="2088" y="775"/>
                  <a:pt x="2088" y="775"/>
                </a:cubicBezTo>
                <a:close/>
                <a:moveTo>
                  <a:pt x="2154" y="825"/>
                </a:moveTo>
                <a:cubicBezTo>
                  <a:pt x="2154" y="825"/>
                  <a:pt x="2154" y="825"/>
                  <a:pt x="2154" y="824"/>
                </a:cubicBezTo>
                <a:cubicBezTo>
                  <a:pt x="2154" y="824"/>
                  <a:pt x="2154" y="824"/>
                  <a:pt x="2153" y="825"/>
                </a:cubicBezTo>
                <a:cubicBezTo>
                  <a:pt x="2153" y="825"/>
                  <a:pt x="2153" y="825"/>
                  <a:pt x="2154" y="826"/>
                </a:cubicBezTo>
                <a:cubicBezTo>
                  <a:pt x="2154" y="826"/>
                  <a:pt x="2154" y="826"/>
                  <a:pt x="2154" y="825"/>
                </a:cubicBezTo>
                <a:close/>
                <a:moveTo>
                  <a:pt x="2153" y="825"/>
                </a:moveTo>
                <a:cubicBezTo>
                  <a:pt x="2153" y="825"/>
                  <a:pt x="2153" y="825"/>
                  <a:pt x="2152" y="825"/>
                </a:cubicBezTo>
                <a:cubicBezTo>
                  <a:pt x="2152" y="825"/>
                  <a:pt x="2152" y="825"/>
                  <a:pt x="2153" y="826"/>
                </a:cubicBezTo>
                <a:cubicBezTo>
                  <a:pt x="2153" y="826"/>
                  <a:pt x="2153" y="826"/>
                  <a:pt x="2153" y="825"/>
                </a:cubicBezTo>
                <a:close/>
                <a:moveTo>
                  <a:pt x="2156" y="788"/>
                </a:moveTo>
                <a:cubicBezTo>
                  <a:pt x="2157" y="787"/>
                  <a:pt x="2157" y="787"/>
                  <a:pt x="2157" y="787"/>
                </a:cubicBezTo>
                <a:cubicBezTo>
                  <a:pt x="2157" y="786"/>
                  <a:pt x="2157" y="786"/>
                  <a:pt x="2157" y="786"/>
                </a:cubicBezTo>
                <a:cubicBezTo>
                  <a:pt x="2156" y="786"/>
                  <a:pt x="2156" y="786"/>
                  <a:pt x="2156" y="786"/>
                </a:cubicBezTo>
                <a:cubicBezTo>
                  <a:pt x="2155" y="786"/>
                  <a:pt x="2155" y="786"/>
                  <a:pt x="2155" y="786"/>
                </a:cubicBezTo>
                <a:cubicBezTo>
                  <a:pt x="2154" y="787"/>
                  <a:pt x="2154" y="787"/>
                  <a:pt x="2154" y="787"/>
                </a:cubicBezTo>
                <a:cubicBezTo>
                  <a:pt x="2155" y="789"/>
                  <a:pt x="2155" y="789"/>
                  <a:pt x="2155" y="789"/>
                </a:cubicBezTo>
                <a:cubicBezTo>
                  <a:pt x="2155" y="788"/>
                  <a:pt x="2155" y="788"/>
                  <a:pt x="2155" y="788"/>
                </a:cubicBezTo>
                <a:cubicBezTo>
                  <a:pt x="2156" y="788"/>
                  <a:pt x="2156" y="788"/>
                  <a:pt x="2156" y="788"/>
                </a:cubicBezTo>
                <a:close/>
                <a:moveTo>
                  <a:pt x="2170" y="849"/>
                </a:moveTo>
                <a:cubicBezTo>
                  <a:pt x="2171" y="850"/>
                  <a:pt x="2171" y="850"/>
                  <a:pt x="2171" y="850"/>
                </a:cubicBezTo>
                <a:cubicBezTo>
                  <a:pt x="2172" y="849"/>
                  <a:pt x="2172" y="849"/>
                  <a:pt x="2172" y="849"/>
                </a:cubicBezTo>
                <a:cubicBezTo>
                  <a:pt x="2170" y="849"/>
                  <a:pt x="2170" y="849"/>
                  <a:pt x="2170" y="849"/>
                </a:cubicBezTo>
                <a:close/>
                <a:moveTo>
                  <a:pt x="2121" y="868"/>
                </a:moveTo>
                <a:cubicBezTo>
                  <a:pt x="2120" y="869"/>
                  <a:pt x="2120" y="869"/>
                  <a:pt x="2120" y="869"/>
                </a:cubicBezTo>
                <a:cubicBezTo>
                  <a:pt x="2121" y="869"/>
                  <a:pt x="2121" y="869"/>
                  <a:pt x="2121" y="869"/>
                </a:cubicBezTo>
                <a:cubicBezTo>
                  <a:pt x="2121" y="868"/>
                  <a:pt x="2121" y="868"/>
                  <a:pt x="2121" y="868"/>
                </a:cubicBezTo>
                <a:close/>
                <a:moveTo>
                  <a:pt x="2122" y="833"/>
                </a:moveTo>
                <a:cubicBezTo>
                  <a:pt x="2122" y="833"/>
                  <a:pt x="2122" y="833"/>
                  <a:pt x="2122" y="832"/>
                </a:cubicBezTo>
                <a:cubicBezTo>
                  <a:pt x="2122" y="832"/>
                  <a:pt x="2122" y="832"/>
                  <a:pt x="2122" y="831"/>
                </a:cubicBezTo>
                <a:cubicBezTo>
                  <a:pt x="2122" y="831"/>
                  <a:pt x="2122" y="831"/>
                  <a:pt x="2122" y="830"/>
                </a:cubicBezTo>
                <a:cubicBezTo>
                  <a:pt x="2122" y="830"/>
                  <a:pt x="2122" y="830"/>
                  <a:pt x="2121" y="830"/>
                </a:cubicBezTo>
                <a:cubicBezTo>
                  <a:pt x="2121" y="830"/>
                  <a:pt x="2121" y="830"/>
                  <a:pt x="2120" y="831"/>
                </a:cubicBezTo>
                <a:cubicBezTo>
                  <a:pt x="2120" y="831"/>
                  <a:pt x="2120" y="831"/>
                  <a:pt x="2120" y="833"/>
                </a:cubicBezTo>
                <a:cubicBezTo>
                  <a:pt x="2120" y="833"/>
                  <a:pt x="2120" y="833"/>
                  <a:pt x="2120" y="834"/>
                </a:cubicBezTo>
                <a:cubicBezTo>
                  <a:pt x="2120" y="834"/>
                  <a:pt x="2120" y="834"/>
                  <a:pt x="2121" y="833"/>
                </a:cubicBezTo>
                <a:cubicBezTo>
                  <a:pt x="2121" y="833"/>
                  <a:pt x="2121" y="833"/>
                  <a:pt x="2122" y="833"/>
                </a:cubicBezTo>
                <a:close/>
                <a:moveTo>
                  <a:pt x="2152" y="813"/>
                </a:moveTo>
                <a:cubicBezTo>
                  <a:pt x="2152" y="813"/>
                  <a:pt x="2152" y="813"/>
                  <a:pt x="2153" y="813"/>
                </a:cubicBezTo>
                <a:cubicBezTo>
                  <a:pt x="2153" y="813"/>
                  <a:pt x="2153" y="813"/>
                  <a:pt x="2154" y="812"/>
                </a:cubicBezTo>
                <a:cubicBezTo>
                  <a:pt x="2154" y="812"/>
                  <a:pt x="2154" y="812"/>
                  <a:pt x="2152" y="810"/>
                </a:cubicBezTo>
                <a:cubicBezTo>
                  <a:pt x="2152" y="810"/>
                  <a:pt x="2152" y="810"/>
                  <a:pt x="2151" y="810"/>
                </a:cubicBezTo>
                <a:cubicBezTo>
                  <a:pt x="2151" y="810"/>
                  <a:pt x="2151" y="810"/>
                  <a:pt x="2149" y="812"/>
                </a:cubicBezTo>
                <a:cubicBezTo>
                  <a:pt x="2149" y="812"/>
                  <a:pt x="2149" y="812"/>
                  <a:pt x="2151" y="813"/>
                </a:cubicBezTo>
                <a:cubicBezTo>
                  <a:pt x="2151" y="813"/>
                  <a:pt x="2151" y="813"/>
                  <a:pt x="2152" y="813"/>
                </a:cubicBezTo>
                <a:close/>
                <a:moveTo>
                  <a:pt x="2121" y="871"/>
                </a:moveTo>
                <a:cubicBezTo>
                  <a:pt x="2121" y="870"/>
                  <a:pt x="2121" y="870"/>
                  <a:pt x="2121" y="870"/>
                </a:cubicBezTo>
                <a:cubicBezTo>
                  <a:pt x="2120" y="870"/>
                  <a:pt x="2120" y="870"/>
                  <a:pt x="2120" y="870"/>
                </a:cubicBezTo>
                <a:cubicBezTo>
                  <a:pt x="2120" y="871"/>
                  <a:pt x="2120" y="871"/>
                  <a:pt x="2120" y="871"/>
                </a:cubicBezTo>
                <a:cubicBezTo>
                  <a:pt x="2118" y="871"/>
                  <a:pt x="2118" y="871"/>
                  <a:pt x="2118" y="871"/>
                </a:cubicBezTo>
                <a:cubicBezTo>
                  <a:pt x="2117" y="872"/>
                  <a:pt x="2117" y="872"/>
                  <a:pt x="2117" y="872"/>
                </a:cubicBezTo>
                <a:cubicBezTo>
                  <a:pt x="2118" y="873"/>
                  <a:pt x="2118" y="873"/>
                  <a:pt x="2118" y="873"/>
                </a:cubicBezTo>
                <a:cubicBezTo>
                  <a:pt x="2121" y="871"/>
                  <a:pt x="2121" y="871"/>
                  <a:pt x="2121" y="871"/>
                </a:cubicBezTo>
                <a:close/>
                <a:moveTo>
                  <a:pt x="2096" y="865"/>
                </a:moveTo>
                <a:cubicBezTo>
                  <a:pt x="2096" y="865"/>
                  <a:pt x="2096" y="865"/>
                  <a:pt x="2098" y="865"/>
                </a:cubicBezTo>
                <a:cubicBezTo>
                  <a:pt x="2098" y="865"/>
                  <a:pt x="2098" y="865"/>
                  <a:pt x="2099" y="866"/>
                </a:cubicBezTo>
                <a:cubicBezTo>
                  <a:pt x="2099" y="866"/>
                  <a:pt x="2099" y="866"/>
                  <a:pt x="2100" y="866"/>
                </a:cubicBezTo>
                <a:cubicBezTo>
                  <a:pt x="2100" y="866"/>
                  <a:pt x="2100" y="866"/>
                  <a:pt x="2101" y="868"/>
                </a:cubicBezTo>
                <a:cubicBezTo>
                  <a:pt x="2101" y="868"/>
                  <a:pt x="2101" y="868"/>
                  <a:pt x="2102" y="868"/>
                </a:cubicBezTo>
                <a:cubicBezTo>
                  <a:pt x="2102" y="868"/>
                  <a:pt x="2102" y="868"/>
                  <a:pt x="2104" y="868"/>
                </a:cubicBezTo>
                <a:cubicBezTo>
                  <a:pt x="2104" y="868"/>
                  <a:pt x="2104" y="868"/>
                  <a:pt x="2105" y="867"/>
                </a:cubicBezTo>
                <a:cubicBezTo>
                  <a:pt x="2105" y="867"/>
                  <a:pt x="2105" y="867"/>
                  <a:pt x="2105" y="866"/>
                </a:cubicBezTo>
                <a:cubicBezTo>
                  <a:pt x="2105" y="866"/>
                  <a:pt x="2105" y="866"/>
                  <a:pt x="2104" y="866"/>
                </a:cubicBezTo>
                <a:cubicBezTo>
                  <a:pt x="2104" y="866"/>
                  <a:pt x="2104" y="866"/>
                  <a:pt x="2103" y="864"/>
                </a:cubicBezTo>
                <a:cubicBezTo>
                  <a:pt x="2103" y="864"/>
                  <a:pt x="2103" y="864"/>
                  <a:pt x="2102" y="864"/>
                </a:cubicBezTo>
                <a:cubicBezTo>
                  <a:pt x="2102" y="864"/>
                  <a:pt x="2102" y="864"/>
                  <a:pt x="2102" y="863"/>
                </a:cubicBezTo>
                <a:cubicBezTo>
                  <a:pt x="2102" y="863"/>
                  <a:pt x="2102" y="863"/>
                  <a:pt x="2100" y="862"/>
                </a:cubicBezTo>
                <a:cubicBezTo>
                  <a:pt x="2100" y="862"/>
                  <a:pt x="2100" y="862"/>
                  <a:pt x="2099" y="863"/>
                </a:cubicBezTo>
                <a:cubicBezTo>
                  <a:pt x="2099" y="863"/>
                  <a:pt x="2099" y="863"/>
                  <a:pt x="2098" y="863"/>
                </a:cubicBezTo>
                <a:cubicBezTo>
                  <a:pt x="2098" y="863"/>
                  <a:pt x="2098" y="863"/>
                  <a:pt x="2096" y="861"/>
                </a:cubicBezTo>
                <a:cubicBezTo>
                  <a:pt x="2096" y="861"/>
                  <a:pt x="2096" y="861"/>
                  <a:pt x="2094" y="863"/>
                </a:cubicBezTo>
                <a:cubicBezTo>
                  <a:pt x="2094" y="863"/>
                  <a:pt x="2094" y="863"/>
                  <a:pt x="2093" y="864"/>
                </a:cubicBezTo>
                <a:cubicBezTo>
                  <a:pt x="2093" y="864"/>
                  <a:pt x="2093" y="864"/>
                  <a:pt x="2094" y="865"/>
                </a:cubicBezTo>
                <a:cubicBezTo>
                  <a:pt x="2094" y="865"/>
                  <a:pt x="2094" y="865"/>
                  <a:pt x="2096" y="865"/>
                </a:cubicBezTo>
                <a:close/>
                <a:moveTo>
                  <a:pt x="1977" y="819"/>
                </a:moveTo>
                <a:cubicBezTo>
                  <a:pt x="1977" y="819"/>
                  <a:pt x="1977" y="819"/>
                  <a:pt x="1976" y="819"/>
                </a:cubicBezTo>
                <a:cubicBezTo>
                  <a:pt x="1976" y="819"/>
                  <a:pt x="1976" y="819"/>
                  <a:pt x="1977" y="820"/>
                </a:cubicBezTo>
                <a:cubicBezTo>
                  <a:pt x="1977" y="820"/>
                  <a:pt x="1977" y="820"/>
                  <a:pt x="1977" y="819"/>
                </a:cubicBezTo>
                <a:close/>
                <a:moveTo>
                  <a:pt x="2156" y="848"/>
                </a:moveTo>
                <a:cubicBezTo>
                  <a:pt x="2156" y="848"/>
                  <a:pt x="2156" y="848"/>
                  <a:pt x="2156" y="847"/>
                </a:cubicBezTo>
                <a:cubicBezTo>
                  <a:pt x="2156" y="847"/>
                  <a:pt x="2156" y="847"/>
                  <a:pt x="2155" y="848"/>
                </a:cubicBezTo>
                <a:cubicBezTo>
                  <a:pt x="2155" y="848"/>
                  <a:pt x="2155" y="848"/>
                  <a:pt x="2156" y="848"/>
                </a:cubicBezTo>
                <a:close/>
                <a:moveTo>
                  <a:pt x="2148" y="825"/>
                </a:moveTo>
                <a:cubicBezTo>
                  <a:pt x="2148" y="825"/>
                  <a:pt x="2148" y="825"/>
                  <a:pt x="2148" y="824"/>
                </a:cubicBezTo>
                <a:cubicBezTo>
                  <a:pt x="2148" y="824"/>
                  <a:pt x="2148" y="824"/>
                  <a:pt x="2147" y="823"/>
                </a:cubicBezTo>
                <a:cubicBezTo>
                  <a:pt x="2147" y="823"/>
                  <a:pt x="2147" y="823"/>
                  <a:pt x="2147" y="822"/>
                </a:cubicBezTo>
                <a:cubicBezTo>
                  <a:pt x="2147" y="822"/>
                  <a:pt x="2147" y="822"/>
                  <a:pt x="2145" y="821"/>
                </a:cubicBezTo>
                <a:cubicBezTo>
                  <a:pt x="2145" y="821"/>
                  <a:pt x="2145" y="821"/>
                  <a:pt x="2143" y="821"/>
                </a:cubicBezTo>
                <a:cubicBezTo>
                  <a:pt x="2143" y="821"/>
                  <a:pt x="2143" y="821"/>
                  <a:pt x="2142" y="822"/>
                </a:cubicBezTo>
                <a:cubicBezTo>
                  <a:pt x="2142" y="822"/>
                  <a:pt x="2142" y="822"/>
                  <a:pt x="2141" y="822"/>
                </a:cubicBezTo>
                <a:cubicBezTo>
                  <a:pt x="2141" y="822"/>
                  <a:pt x="2141" y="822"/>
                  <a:pt x="2139" y="822"/>
                </a:cubicBezTo>
                <a:cubicBezTo>
                  <a:pt x="2139" y="822"/>
                  <a:pt x="2139" y="822"/>
                  <a:pt x="2139" y="824"/>
                </a:cubicBezTo>
                <a:cubicBezTo>
                  <a:pt x="2139" y="824"/>
                  <a:pt x="2139" y="824"/>
                  <a:pt x="2140" y="825"/>
                </a:cubicBezTo>
                <a:cubicBezTo>
                  <a:pt x="2140" y="825"/>
                  <a:pt x="2140" y="825"/>
                  <a:pt x="2142" y="826"/>
                </a:cubicBezTo>
                <a:cubicBezTo>
                  <a:pt x="2142" y="826"/>
                  <a:pt x="2142" y="826"/>
                  <a:pt x="2143" y="826"/>
                </a:cubicBezTo>
                <a:cubicBezTo>
                  <a:pt x="2143" y="826"/>
                  <a:pt x="2143" y="826"/>
                  <a:pt x="2144" y="826"/>
                </a:cubicBezTo>
                <a:cubicBezTo>
                  <a:pt x="2144" y="826"/>
                  <a:pt x="2144" y="826"/>
                  <a:pt x="2146" y="826"/>
                </a:cubicBezTo>
                <a:cubicBezTo>
                  <a:pt x="2146" y="826"/>
                  <a:pt x="2146" y="826"/>
                  <a:pt x="2147" y="825"/>
                </a:cubicBezTo>
                <a:cubicBezTo>
                  <a:pt x="2147" y="825"/>
                  <a:pt x="2147" y="825"/>
                  <a:pt x="2148" y="825"/>
                </a:cubicBezTo>
                <a:close/>
                <a:moveTo>
                  <a:pt x="2126" y="857"/>
                </a:moveTo>
                <a:cubicBezTo>
                  <a:pt x="2127" y="857"/>
                  <a:pt x="2127" y="857"/>
                  <a:pt x="2127" y="857"/>
                </a:cubicBezTo>
                <a:cubicBezTo>
                  <a:pt x="2128" y="856"/>
                  <a:pt x="2128" y="856"/>
                  <a:pt x="2128" y="856"/>
                </a:cubicBezTo>
                <a:cubicBezTo>
                  <a:pt x="2127" y="856"/>
                  <a:pt x="2127" y="856"/>
                  <a:pt x="2127" y="856"/>
                </a:cubicBezTo>
                <a:cubicBezTo>
                  <a:pt x="2126" y="856"/>
                  <a:pt x="2126" y="856"/>
                  <a:pt x="2126" y="856"/>
                </a:cubicBezTo>
                <a:cubicBezTo>
                  <a:pt x="2126" y="857"/>
                  <a:pt x="2126" y="857"/>
                  <a:pt x="2126" y="857"/>
                </a:cubicBezTo>
                <a:close/>
                <a:moveTo>
                  <a:pt x="2167" y="825"/>
                </a:moveTo>
                <a:cubicBezTo>
                  <a:pt x="2169" y="826"/>
                  <a:pt x="2169" y="826"/>
                  <a:pt x="2169" y="826"/>
                </a:cubicBezTo>
                <a:cubicBezTo>
                  <a:pt x="2170" y="826"/>
                  <a:pt x="2170" y="826"/>
                  <a:pt x="2170" y="826"/>
                </a:cubicBezTo>
                <a:cubicBezTo>
                  <a:pt x="2171" y="825"/>
                  <a:pt x="2171" y="825"/>
                  <a:pt x="2171" y="825"/>
                </a:cubicBezTo>
                <a:cubicBezTo>
                  <a:pt x="2170" y="823"/>
                  <a:pt x="2170" y="823"/>
                  <a:pt x="2170" y="823"/>
                </a:cubicBezTo>
                <a:cubicBezTo>
                  <a:pt x="2167" y="821"/>
                  <a:pt x="2167" y="821"/>
                  <a:pt x="2167" y="821"/>
                </a:cubicBezTo>
                <a:cubicBezTo>
                  <a:pt x="2164" y="821"/>
                  <a:pt x="2164" y="821"/>
                  <a:pt x="2164" y="821"/>
                </a:cubicBezTo>
                <a:cubicBezTo>
                  <a:pt x="2163" y="819"/>
                  <a:pt x="2163" y="819"/>
                  <a:pt x="2163" y="819"/>
                </a:cubicBezTo>
                <a:cubicBezTo>
                  <a:pt x="2162" y="819"/>
                  <a:pt x="2162" y="819"/>
                  <a:pt x="2162" y="819"/>
                </a:cubicBezTo>
                <a:cubicBezTo>
                  <a:pt x="2161" y="820"/>
                  <a:pt x="2161" y="820"/>
                  <a:pt x="2161" y="820"/>
                </a:cubicBezTo>
                <a:cubicBezTo>
                  <a:pt x="2159" y="820"/>
                  <a:pt x="2159" y="820"/>
                  <a:pt x="2159" y="820"/>
                </a:cubicBezTo>
                <a:cubicBezTo>
                  <a:pt x="2158" y="820"/>
                  <a:pt x="2158" y="820"/>
                  <a:pt x="2158" y="820"/>
                </a:cubicBezTo>
                <a:cubicBezTo>
                  <a:pt x="2157" y="820"/>
                  <a:pt x="2157" y="820"/>
                  <a:pt x="2157" y="820"/>
                </a:cubicBezTo>
                <a:cubicBezTo>
                  <a:pt x="2154" y="820"/>
                  <a:pt x="2154" y="820"/>
                  <a:pt x="2154" y="820"/>
                </a:cubicBezTo>
                <a:cubicBezTo>
                  <a:pt x="2153" y="821"/>
                  <a:pt x="2153" y="821"/>
                  <a:pt x="2153" y="821"/>
                </a:cubicBezTo>
                <a:cubicBezTo>
                  <a:pt x="2152" y="822"/>
                  <a:pt x="2152" y="822"/>
                  <a:pt x="2152" y="822"/>
                </a:cubicBezTo>
                <a:cubicBezTo>
                  <a:pt x="2152" y="823"/>
                  <a:pt x="2152" y="823"/>
                  <a:pt x="2152" y="823"/>
                </a:cubicBezTo>
                <a:cubicBezTo>
                  <a:pt x="2152" y="824"/>
                  <a:pt x="2152" y="824"/>
                  <a:pt x="2152" y="824"/>
                </a:cubicBezTo>
                <a:cubicBezTo>
                  <a:pt x="2153" y="824"/>
                  <a:pt x="2153" y="824"/>
                  <a:pt x="2153" y="824"/>
                </a:cubicBezTo>
                <a:cubicBezTo>
                  <a:pt x="2154" y="822"/>
                  <a:pt x="2154" y="822"/>
                  <a:pt x="2154" y="822"/>
                </a:cubicBezTo>
                <a:cubicBezTo>
                  <a:pt x="2155" y="823"/>
                  <a:pt x="2155" y="823"/>
                  <a:pt x="2155" y="823"/>
                </a:cubicBezTo>
                <a:cubicBezTo>
                  <a:pt x="2156" y="824"/>
                  <a:pt x="2156" y="824"/>
                  <a:pt x="2156" y="824"/>
                </a:cubicBezTo>
                <a:cubicBezTo>
                  <a:pt x="2157" y="824"/>
                  <a:pt x="2157" y="824"/>
                  <a:pt x="2157" y="824"/>
                </a:cubicBezTo>
                <a:cubicBezTo>
                  <a:pt x="2158" y="822"/>
                  <a:pt x="2158" y="822"/>
                  <a:pt x="2158" y="822"/>
                </a:cubicBezTo>
                <a:cubicBezTo>
                  <a:pt x="2159" y="822"/>
                  <a:pt x="2159" y="822"/>
                  <a:pt x="2159" y="822"/>
                </a:cubicBezTo>
                <a:cubicBezTo>
                  <a:pt x="2159" y="824"/>
                  <a:pt x="2159" y="824"/>
                  <a:pt x="2159" y="824"/>
                </a:cubicBezTo>
                <a:cubicBezTo>
                  <a:pt x="2162" y="824"/>
                  <a:pt x="2162" y="824"/>
                  <a:pt x="2162" y="824"/>
                </a:cubicBezTo>
                <a:cubicBezTo>
                  <a:pt x="2163" y="823"/>
                  <a:pt x="2163" y="823"/>
                  <a:pt x="2163" y="823"/>
                </a:cubicBezTo>
                <a:cubicBezTo>
                  <a:pt x="2164" y="823"/>
                  <a:pt x="2164" y="823"/>
                  <a:pt x="2164" y="823"/>
                </a:cubicBezTo>
                <a:cubicBezTo>
                  <a:pt x="2166" y="825"/>
                  <a:pt x="2166" y="825"/>
                  <a:pt x="2166" y="825"/>
                </a:cubicBezTo>
                <a:cubicBezTo>
                  <a:pt x="2167" y="825"/>
                  <a:pt x="2167" y="825"/>
                  <a:pt x="2167" y="825"/>
                </a:cubicBezTo>
                <a:close/>
                <a:moveTo>
                  <a:pt x="2148" y="807"/>
                </a:moveTo>
                <a:cubicBezTo>
                  <a:pt x="2148" y="807"/>
                  <a:pt x="2148" y="807"/>
                  <a:pt x="2148" y="806"/>
                </a:cubicBezTo>
                <a:cubicBezTo>
                  <a:pt x="2148" y="806"/>
                  <a:pt x="2148" y="806"/>
                  <a:pt x="2147" y="807"/>
                </a:cubicBezTo>
                <a:cubicBezTo>
                  <a:pt x="2147" y="807"/>
                  <a:pt x="2147" y="807"/>
                  <a:pt x="2148" y="807"/>
                </a:cubicBezTo>
                <a:close/>
                <a:moveTo>
                  <a:pt x="2157" y="825"/>
                </a:moveTo>
                <a:cubicBezTo>
                  <a:pt x="2157" y="825"/>
                  <a:pt x="2157" y="825"/>
                  <a:pt x="2157" y="824"/>
                </a:cubicBezTo>
                <a:cubicBezTo>
                  <a:pt x="2157" y="824"/>
                  <a:pt x="2157" y="824"/>
                  <a:pt x="2156" y="825"/>
                </a:cubicBezTo>
                <a:cubicBezTo>
                  <a:pt x="2156" y="825"/>
                  <a:pt x="2156" y="825"/>
                  <a:pt x="2157" y="825"/>
                </a:cubicBezTo>
                <a:close/>
                <a:moveTo>
                  <a:pt x="2146" y="773"/>
                </a:moveTo>
                <a:cubicBezTo>
                  <a:pt x="2146" y="772"/>
                  <a:pt x="2146" y="772"/>
                  <a:pt x="2146" y="772"/>
                </a:cubicBezTo>
                <a:cubicBezTo>
                  <a:pt x="2145" y="771"/>
                  <a:pt x="2145" y="771"/>
                  <a:pt x="2145" y="771"/>
                </a:cubicBezTo>
                <a:cubicBezTo>
                  <a:pt x="2144" y="772"/>
                  <a:pt x="2144" y="772"/>
                  <a:pt x="2144" y="772"/>
                </a:cubicBezTo>
                <a:cubicBezTo>
                  <a:pt x="2145" y="773"/>
                  <a:pt x="2145" y="773"/>
                  <a:pt x="2145" y="773"/>
                </a:cubicBezTo>
                <a:cubicBezTo>
                  <a:pt x="2145" y="774"/>
                  <a:pt x="2145" y="774"/>
                  <a:pt x="2145" y="774"/>
                </a:cubicBezTo>
                <a:cubicBezTo>
                  <a:pt x="2146" y="773"/>
                  <a:pt x="2146" y="773"/>
                  <a:pt x="2146" y="773"/>
                </a:cubicBezTo>
                <a:close/>
                <a:moveTo>
                  <a:pt x="2111" y="870"/>
                </a:moveTo>
                <a:cubicBezTo>
                  <a:pt x="2111" y="870"/>
                  <a:pt x="2111" y="870"/>
                  <a:pt x="2111" y="871"/>
                </a:cubicBezTo>
                <a:cubicBezTo>
                  <a:pt x="2111" y="871"/>
                  <a:pt x="2111" y="871"/>
                  <a:pt x="2112" y="871"/>
                </a:cubicBezTo>
                <a:cubicBezTo>
                  <a:pt x="2112" y="871"/>
                  <a:pt x="2112" y="871"/>
                  <a:pt x="2113" y="871"/>
                </a:cubicBezTo>
                <a:cubicBezTo>
                  <a:pt x="2113" y="871"/>
                  <a:pt x="2113" y="871"/>
                  <a:pt x="2112" y="870"/>
                </a:cubicBezTo>
                <a:cubicBezTo>
                  <a:pt x="2112" y="870"/>
                  <a:pt x="2112" y="870"/>
                  <a:pt x="2112" y="869"/>
                </a:cubicBezTo>
                <a:cubicBezTo>
                  <a:pt x="2112" y="869"/>
                  <a:pt x="2112" y="869"/>
                  <a:pt x="2111" y="870"/>
                </a:cubicBezTo>
                <a:close/>
                <a:moveTo>
                  <a:pt x="2120" y="857"/>
                </a:moveTo>
                <a:cubicBezTo>
                  <a:pt x="2119" y="857"/>
                  <a:pt x="2119" y="857"/>
                  <a:pt x="2119" y="857"/>
                </a:cubicBezTo>
                <a:cubicBezTo>
                  <a:pt x="2119" y="858"/>
                  <a:pt x="2119" y="858"/>
                  <a:pt x="2119" y="858"/>
                </a:cubicBezTo>
                <a:cubicBezTo>
                  <a:pt x="2120" y="857"/>
                  <a:pt x="2120" y="857"/>
                  <a:pt x="2120" y="857"/>
                </a:cubicBezTo>
                <a:close/>
                <a:moveTo>
                  <a:pt x="2115" y="858"/>
                </a:moveTo>
                <a:cubicBezTo>
                  <a:pt x="2115" y="858"/>
                  <a:pt x="2115" y="858"/>
                  <a:pt x="2116" y="858"/>
                </a:cubicBezTo>
                <a:cubicBezTo>
                  <a:pt x="2116" y="858"/>
                  <a:pt x="2116" y="858"/>
                  <a:pt x="2118" y="858"/>
                </a:cubicBezTo>
                <a:cubicBezTo>
                  <a:pt x="2118" y="858"/>
                  <a:pt x="2118" y="858"/>
                  <a:pt x="2119" y="857"/>
                </a:cubicBezTo>
                <a:cubicBezTo>
                  <a:pt x="2119" y="857"/>
                  <a:pt x="2119" y="857"/>
                  <a:pt x="2119" y="856"/>
                </a:cubicBezTo>
                <a:cubicBezTo>
                  <a:pt x="2119" y="856"/>
                  <a:pt x="2119" y="856"/>
                  <a:pt x="2120" y="855"/>
                </a:cubicBezTo>
                <a:cubicBezTo>
                  <a:pt x="2120" y="855"/>
                  <a:pt x="2120" y="855"/>
                  <a:pt x="2120" y="854"/>
                </a:cubicBezTo>
                <a:cubicBezTo>
                  <a:pt x="2120" y="854"/>
                  <a:pt x="2120" y="854"/>
                  <a:pt x="2119" y="853"/>
                </a:cubicBezTo>
                <a:cubicBezTo>
                  <a:pt x="2119" y="853"/>
                  <a:pt x="2119" y="853"/>
                  <a:pt x="2118" y="854"/>
                </a:cubicBezTo>
                <a:cubicBezTo>
                  <a:pt x="2118" y="854"/>
                  <a:pt x="2118" y="854"/>
                  <a:pt x="2117" y="856"/>
                </a:cubicBezTo>
                <a:cubicBezTo>
                  <a:pt x="2117" y="856"/>
                  <a:pt x="2117" y="856"/>
                  <a:pt x="2116" y="856"/>
                </a:cubicBezTo>
                <a:cubicBezTo>
                  <a:pt x="2116" y="856"/>
                  <a:pt x="2116" y="856"/>
                  <a:pt x="2115" y="857"/>
                </a:cubicBezTo>
                <a:cubicBezTo>
                  <a:pt x="2115" y="857"/>
                  <a:pt x="2115" y="857"/>
                  <a:pt x="2114" y="857"/>
                </a:cubicBezTo>
                <a:cubicBezTo>
                  <a:pt x="2114" y="857"/>
                  <a:pt x="2114" y="857"/>
                  <a:pt x="2113" y="856"/>
                </a:cubicBezTo>
                <a:cubicBezTo>
                  <a:pt x="2113" y="856"/>
                  <a:pt x="2113" y="856"/>
                  <a:pt x="2111" y="856"/>
                </a:cubicBezTo>
                <a:cubicBezTo>
                  <a:pt x="2111" y="856"/>
                  <a:pt x="2111" y="856"/>
                  <a:pt x="2110" y="857"/>
                </a:cubicBezTo>
                <a:cubicBezTo>
                  <a:pt x="2110" y="857"/>
                  <a:pt x="2110" y="857"/>
                  <a:pt x="2108" y="856"/>
                </a:cubicBezTo>
                <a:cubicBezTo>
                  <a:pt x="2108" y="856"/>
                  <a:pt x="2108" y="856"/>
                  <a:pt x="2107" y="855"/>
                </a:cubicBezTo>
                <a:cubicBezTo>
                  <a:pt x="2107" y="855"/>
                  <a:pt x="2107" y="855"/>
                  <a:pt x="2106" y="855"/>
                </a:cubicBezTo>
                <a:cubicBezTo>
                  <a:pt x="2106" y="855"/>
                  <a:pt x="2106" y="855"/>
                  <a:pt x="2104" y="855"/>
                </a:cubicBezTo>
                <a:cubicBezTo>
                  <a:pt x="2104" y="855"/>
                  <a:pt x="2104" y="855"/>
                  <a:pt x="2101" y="855"/>
                </a:cubicBezTo>
                <a:cubicBezTo>
                  <a:pt x="2101" y="855"/>
                  <a:pt x="2101" y="855"/>
                  <a:pt x="2099" y="856"/>
                </a:cubicBezTo>
                <a:cubicBezTo>
                  <a:pt x="2099" y="857"/>
                  <a:pt x="2099" y="857"/>
                  <a:pt x="2099" y="857"/>
                </a:cubicBezTo>
                <a:cubicBezTo>
                  <a:pt x="2099" y="857"/>
                  <a:pt x="2099" y="857"/>
                  <a:pt x="2099" y="858"/>
                </a:cubicBezTo>
                <a:cubicBezTo>
                  <a:pt x="2099" y="859"/>
                  <a:pt x="2099" y="859"/>
                  <a:pt x="2099" y="859"/>
                </a:cubicBezTo>
                <a:cubicBezTo>
                  <a:pt x="2099" y="859"/>
                  <a:pt x="2099" y="859"/>
                  <a:pt x="2100" y="859"/>
                </a:cubicBezTo>
                <a:cubicBezTo>
                  <a:pt x="2100" y="859"/>
                  <a:pt x="2100" y="859"/>
                  <a:pt x="2101" y="859"/>
                </a:cubicBezTo>
                <a:cubicBezTo>
                  <a:pt x="2101" y="859"/>
                  <a:pt x="2101" y="859"/>
                  <a:pt x="2102" y="859"/>
                </a:cubicBezTo>
                <a:cubicBezTo>
                  <a:pt x="2102" y="859"/>
                  <a:pt x="2102" y="859"/>
                  <a:pt x="2103" y="859"/>
                </a:cubicBezTo>
                <a:cubicBezTo>
                  <a:pt x="2103" y="859"/>
                  <a:pt x="2103" y="859"/>
                  <a:pt x="2104" y="859"/>
                </a:cubicBezTo>
                <a:cubicBezTo>
                  <a:pt x="2104" y="859"/>
                  <a:pt x="2104" y="859"/>
                  <a:pt x="2105" y="860"/>
                </a:cubicBezTo>
                <a:cubicBezTo>
                  <a:pt x="2105" y="860"/>
                  <a:pt x="2105" y="860"/>
                  <a:pt x="2106" y="859"/>
                </a:cubicBezTo>
                <a:cubicBezTo>
                  <a:pt x="2106" y="859"/>
                  <a:pt x="2106" y="859"/>
                  <a:pt x="2107" y="859"/>
                </a:cubicBezTo>
                <a:cubicBezTo>
                  <a:pt x="2107" y="859"/>
                  <a:pt x="2107" y="859"/>
                  <a:pt x="2108" y="859"/>
                </a:cubicBezTo>
                <a:cubicBezTo>
                  <a:pt x="2108" y="859"/>
                  <a:pt x="2108" y="859"/>
                  <a:pt x="2109" y="859"/>
                </a:cubicBezTo>
                <a:cubicBezTo>
                  <a:pt x="2109" y="859"/>
                  <a:pt x="2109" y="859"/>
                  <a:pt x="2111" y="859"/>
                </a:cubicBezTo>
                <a:cubicBezTo>
                  <a:pt x="2111" y="859"/>
                  <a:pt x="2111" y="859"/>
                  <a:pt x="2113" y="858"/>
                </a:cubicBezTo>
                <a:cubicBezTo>
                  <a:pt x="2113" y="858"/>
                  <a:pt x="2113" y="858"/>
                  <a:pt x="2115" y="858"/>
                </a:cubicBezTo>
                <a:close/>
                <a:moveTo>
                  <a:pt x="2092" y="859"/>
                </a:moveTo>
                <a:cubicBezTo>
                  <a:pt x="2094" y="859"/>
                  <a:pt x="2094" y="859"/>
                  <a:pt x="2094" y="859"/>
                </a:cubicBezTo>
                <a:cubicBezTo>
                  <a:pt x="2093" y="858"/>
                  <a:pt x="2093" y="858"/>
                  <a:pt x="2093" y="858"/>
                </a:cubicBezTo>
                <a:cubicBezTo>
                  <a:pt x="2095" y="858"/>
                  <a:pt x="2095" y="858"/>
                  <a:pt x="2095" y="858"/>
                </a:cubicBezTo>
                <a:cubicBezTo>
                  <a:pt x="2094" y="857"/>
                  <a:pt x="2094" y="857"/>
                  <a:pt x="2094" y="857"/>
                </a:cubicBezTo>
                <a:cubicBezTo>
                  <a:pt x="2094" y="856"/>
                  <a:pt x="2094" y="856"/>
                  <a:pt x="2094" y="856"/>
                </a:cubicBezTo>
                <a:cubicBezTo>
                  <a:pt x="2093" y="855"/>
                  <a:pt x="2093" y="855"/>
                  <a:pt x="2093" y="855"/>
                </a:cubicBezTo>
                <a:cubicBezTo>
                  <a:pt x="2091" y="855"/>
                  <a:pt x="2091" y="855"/>
                  <a:pt x="2091" y="855"/>
                </a:cubicBezTo>
                <a:cubicBezTo>
                  <a:pt x="2090" y="855"/>
                  <a:pt x="2090" y="855"/>
                  <a:pt x="2090" y="855"/>
                </a:cubicBezTo>
                <a:cubicBezTo>
                  <a:pt x="2089" y="854"/>
                  <a:pt x="2089" y="854"/>
                  <a:pt x="2089" y="854"/>
                </a:cubicBezTo>
                <a:cubicBezTo>
                  <a:pt x="2088" y="854"/>
                  <a:pt x="2088" y="854"/>
                  <a:pt x="2088" y="854"/>
                </a:cubicBezTo>
                <a:cubicBezTo>
                  <a:pt x="2086" y="855"/>
                  <a:pt x="2086" y="855"/>
                  <a:pt x="2086" y="855"/>
                </a:cubicBezTo>
                <a:cubicBezTo>
                  <a:pt x="2086" y="856"/>
                  <a:pt x="2086" y="856"/>
                  <a:pt x="2086" y="856"/>
                </a:cubicBezTo>
                <a:cubicBezTo>
                  <a:pt x="2089" y="856"/>
                  <a:pt x="2089" y="856"/>
                  <a:pt x="2089" y="856"/>
                </a:cubicBezTo>
                <a:cubicBezTo>
                  <a:pt x="2090" y="857"/>
                  <a:pt x="2090" y="857"/>
                  <a:pt x="2090" y="857"/>
                </a:cubicBezTo>
                <a:cubicBezTo>
                  <a:pt x="2088" y="858"/>
                  <a:pt x="2088" y="858"/>
                  <a:pt x="2088" y="858"/>
                </a:cubicBezTo>
                <a:cubicBezTo>
                  <a:pt x="2087" y="858"/>
                  <a:pt x="2087" y="858"/>
                  <a:pt x="2087" y="858"/>
                </a:cubicBezTo>
                <a:cubicBezTo>
                  <a:pt x="2086" y="857"/>
                  <a:pt x="2086" y="857"/>
                  <a:pt x="2086" y="857"/>
                </a:cubicBezTo>
                <a:cubicBezTo>
                  <a:pt x="2085" y="856"/>
                  <a:pt x="2085" y="856"/>
                  <a:pt x="2085" y="856"/>
                </a:cubicBezTo>
                <a:cubicBezTo>
                  <a:pt x="2084" y="856"/>
                  <a:pt x="2084" y="856"/>
                  <a:pt x="2084" y="856"/>
                </a:cubicBezTo>
                <a:cubicBezTo>
                  <a:pt x="2083" y="856"/>
                  <a:pt x="2083" y="856"/>
                  <a:pt x="2083" y="856"/>
                </a:cubicBezTo>
                <a:cubicBezTo>
                  <a:pt x="2082" y="856"/>
                  <a:pt x="2082" y="856"/>
                  <a:pt x="2082" y="856"/>
                </a:cubicBezTo>
                <a:cubicBezTo>
                  <a:pt x="2081" y="857"/>
                  <a:pt x="2081" y="857"/>
                  <a:pt x="2081" y="857"/>
                </a:cubicBezTo>
                <a:cubicBezTo>
                  <a:pt x="2080" y="858"/>
                  <a:pt x="2080" y="858"/>
                  <a:pt x="2080" y="858"/>
                </a:cubicBezTo>
                <a:cubicBezTo>
                  <a:pt x="2080" y="859"/>
                  <a:pt x="2080" y="859"/>
                  <a:pt x="2080" y="859"/>
                </a:cubicBezTo>
                <a:cubicBezTo>
                  <a:pt x="2080" y="860"/>
                  <a:pt x="2080" y="860"/>
                  <a:pt x="2080" y="860"/>
                </a:cubicBezTo>
                <a:cubicBezTo>
                  <a:pt x="2081" y="861"/>
                  <a:pt x="2081" y="861"/>
                  <a:pt x="2081" y="861"/>
                </a:cubicBezTo>
                <a:cubicBezTo>
                  <a:pt x="2083" y="860"/>
                  <a:pt x="2083" y="860"/>
                  <a:pt x="2083" y="860"/>
                </a:cubicBezTo>
                <a:cubicBezTo>
                  <a:pt x="2084" y="861"/>
                  <a:pt x="2084" y="861"/>
                  <a:pt x="2084" y="861"/>
                </a:cubicBezTo>
                <a:cubicBezTo>
                  <a:pt x="2085" y="860"/>
                  <a:pt x="2085" y="860"/>
                  <a:pt x="2085" y="860"/>
                </a:cubicBezTo>
                <a:cubicBezTo>
                  <a:pt x="2086" y="859"/>
                  <a:pt x="2086" y="859"/>
                  <a:pt x="2086" y="859"/>
                </a:cubicBezTo>
                <a:cubicBezTo>
                  <a:pt x="2087" y="860"/>
                  <a:pt x="2087" y="860"/>
                  <a:pt x="2087" y="860"/>
                </a:cubicBezTo>
                <a:cubicBezTo>
                  <a:pt x="2088" y="859"/>
                  <a:pt x="2088" y="859"/>
                  <a:pt x="2088" y="859"/>
                </a:cubicBezTo>
                <a:cubicBezTo>
                  <a:pt x="2089" y="859"/>
                  <a:pt x="2089" y="859"/>
                  <a:pt x="2089" y="859"/>
                </a:cubicBezTo>
                <a:cubicBezTo>
                  <a:pt x="2091" y="858"/>
                  <a:pt x="2091" y="858"/>
                  <a:pt x="2091" y="858"/>
                </a:cubicBezTo>
                <a:cubicBezTo>
                  <a:pt x="2091" y="859"/>
                  <a:pt x="2091" y="859"/>
                  <a:pt x="2091" y="859"/>
                </a:cubicBezTo>
                <a:cubicBezTo>
                  <a:pt x="2092" y="859"/>
                  <a:pt x="2092" y="859"/>
                  <a:pt x="2092" y="859"/>
                </a:cubicBezTo>
                <a:close/>
                <a:moveTo>
                  <a:pt x="2146" y="855"/>
                </a:moveTo>
                <a:cubicBezTo>
                  <a:pt x="2146" y="855"/>
                  <a:pt x="2146" y="855"/>
                  <a:pt x="2147" y="854"/>
                </a:cubicBezTo>
                <a:cubicBezTo>
                  <a:pt x="2147" y="854"/>
                  <a:pt x="2147" y="854"/>
                  <a:pt x="2146" y="854"/>
                </a:cubicBezTo>
                <a:cubicBezTo>
                  <a:pt x="2146" y="854"/>
                  <a:pt x="2146" y="854"/>
                  <a:pt x="2146" y="855"/>
                </a:cubicBezTo>
                <a:close/>
                <a:moveTo>
                  <a:pt x="2148" y="804"/>
                </a:moveTo>
                <a:cubicBezTo>
                  <a:pt x="2147" y="804"/>
                  <a:pt x="2147" y="804"/>
                  <a:pt x="2147" y="804"/>
                </a:cubicBezTo>
                <a:cubicBezTo>
                  <a:pt x="2147" y="805"/>
                  <a:pt x="2147" y="805"/>
                  <a:pt x="2147" y="805"/>
                </a:cubicBezTo>
                <a:cubicBezTo>
                  <a:pt x="2148" y="805"/>
                  <a:pt x="2148" y="805"/>
                  <a:pt x="2148" y="805"/>
                </a:cubicBezTo>
                <a:cubicBezTo>
                  <a:pt x="2148" y="804"/>
                  <a:pt x="2148" y="804"/>
                  <a:pt x="2148" y="804"/>
                </a:cubicBezTo>
                <a:close/>
                <a:moveTo>
                  <a:pt x="2096" y="858"/>
                </a:moveTo>
                <a:cubicBezTo>
                  <a:pt x="2097" y="859"/>
                  <a:pt x="2097" y="859"/>
                  <a:pt x="2097" y="859"/>
                </a:cubicBezTo>
                <a:cubicBezTo>
                  <a:pt x="2097" y="857"/>
                  <a:pt x="2097" y="857"/>
                  <a:pt x="2097" y="857"/>
                </a:cubicBezTo>
                <a:cubicBezTo>
                  <a:pt x="2098" y="857"/>
                  <a:pt x="2098" y="857"/>
                  <a:pt x="2098" y="857"/>
                </a:cubicBezTo>
                <a:cubicBezTo>
                  <a:pt x="2097" y="856"/>
                  <a:pt x="2097" y="856"/>
                  <a:pt x="2097" y="856"/>
                </a:cubicBezTo>
                <a:cubicBezTo>
                  <a:pt x="2096" y="858"/>
                  <a:pt x="2096" y="858"/>
                  <a:pt x="2096" y="858"/>
                </a:cubicBezTo>
                <a:close/>
                <a:moveTo>
                  <a:pt x="2098" y="859"/>
                </a:moveTo>
                <a:cubicBezTo>
                  <a:pt x="2099" y="858"/>
                  <a:pt x="2099" y="858"/>
                  <a:pt x="2099" y="858"/>
                </a:cubicBezTo>
                <a:cubicBezTo>
                  <a:pt x="2098" y="857"/>
                  <a:pt x="2098" y="857"/>
                  <a:pt x="2098" y="857"/>
                </a:cubicBezTo>
                <a:cubicBezTo>
                  <a:pt x="2098" y="859"/>
                  <a:pt x="2098" y="859"/>
                  <a:pt x="2098" y="859"/>
                </a:cubicBezTo>
                <a:close/>
                <a:moveTo>
                  <a:pt x="2194" y="842"/>
                </a:moveTo>
                <a:cubicBezTo>
                  <a:pt x="2195" y="841"/>
                  <a:pt x="2195" y="841"/>
                  <a:pt x="2195" y="841"/>
                </a:cubicBezTo>
                <a:cubicBezTo>
                  <a:pt x="2195" y="840"/>
                  <a:pt x="2195" y="840"/>
                  <a:pt x="2195" y="840"/>
                </a:cubicBezTo>
                <a:cubicBezTo>
                  <a:pt x="2194" y="840"/>
                  <a:pt x="2194" y="840"/>
                  <a:pt x="2194" y="840"/>
                </a:cubicBezTo>
                <a:cubicBezTo>
                  <a:pt x="2193" y="840"/>
                  <a:pt x="2193" y="840"/>
                  <a:pt x="2193" y="840"/>
                </a:cubicBezTo>
                <a:cubicBezTo>
                  <a:pt x="2192" y="841"/>
                  <a:pt x="2192" y="841"/>
                  <a:pt x="2192" y="841"/>
                </a:cubicBezTo>
                <a:cubicBezTo>
                  <a:pt x="2194" y="842"/>
                  <a:pt x="2194" y="842"/>
                  <a:pt x="2194" y="842"/>
                </a:cubicBezTo>
                <a:close/>
                <a:moveTo>
                  <a:pt x="2072" y="846"/>
                </a:moveTo>
                <a:cubicBezTo>
                  <a:pt x="2071" y="846"/>
                  <a:pt x="2071" y="846"/>
                  <a:pt x="2071" y="846"/>
                </a:cubicBezTo>
                <a:cubicBezTo>
                  <a:pt x="2070" y="846"/>
                  <a:pt x="2070" y="846"/>
                  <a:pt x="2070" y="846"/>
                </a:cubicBezTo>
                <a:cubicBezTo>
                  <a:pt x="2071" y="847"/>
                  <a:pt x="2071" y="847"/>
                  <a:pt x="2071" y="847"/>
                </a:cubicBezTo>
                <a:cubicBezTo>
                  <a:pt x="2072" y="846"/>
                  <a:pt x="2072" y="846"/>
                  <a:pt x="2072" y="846"/>
                </a:cubicBezTo>
                <a:close/>
                <a:moveTo>
                  <a:pt x="2075" y="848"/>
                </a:moveTo>
                <a:cubicBezTo>
                  <a:pt x="2075" y="848"/>
                  <a:pt x="2075" y="848"/>
                  <a:pt x="2074" y="848"/>
                </a:cubicBezTo>
                <a:cubicBezTo>
                  <a:pt x="2074" y="848"/>
                  <a:pt x="2074" y="848"/>
                  <a:pt x="2074" y="849"/>
                </a:cubicBezTo>
                <a:cubicBezTo>
                  <a:pt x="2074" y="849"/>
                  <a:pt x="2074" y="849"/>
                  <a:pt x="2075" y="849"/>
                </a:cubicBezTo>
                <a:cubicBezTo>
                  <a:pt x="2075" y="849"/>
                  <a:pt x="2075" y="849"/>
                  <a:pt x="2075" y="848"/>
                </a:cubicBezTo>
                <a:close/>
                <a:moveTo>
                  <a:pt x="2138" y="779"/>
                </a:moveTo>
                <a:cubicBezTo>
                  <a:pt x="2138" y="779"/>
                  <a:pt x="2138" y="779"/>
                  <a:pt x="2138" y="778"/>
                </a:cubicBezTo>
                <a:cubicBezTo>
                  <a:pt x="2138" y="778"/>
                  <a:pt x="2138" y="778"/>
                  <a:pt x="2136" y="776"/>
                </a:cubicBezTo>
                <a:cubicBezTo>
                  <a:pt x="2136" y="776"/>
                  <a:pt x="2136" y="776"/>
                  <a:pt x="2136" y="777"/>
                </a:cubicBezTo>
                <a:cubicBezTo>
                  <a:pt x="2136" y="777"/>
                  <a:pt x="2136" y="777"/>
                  <a:pt x="2136" y="779"/>
                </a:cubicBezTo>
                <a:cubicBezTo>
                  <a:pt x="2136" y="779"/>
                  <a:pt x="2136" y="779"/>
                  <a:pt x="2138" y="780"/>
                </a:cubicBezTo>
                <a:cubicBezTo>
                  <a:pt x="2138" y="780"/>
                  <a:pt x="2138" y="780"/>
                  <a:pt x="2138" y="779"/>
                </a:cubicBezTo>
                <a:close/>
                <a:moveTo>
                  <a:pt x="2195" y="845"/>
                </a:moveTo>
                <a:cubicBezTo>
                  <a:pt x="2195" y="844"/>
                  <a:pt x="2195" y="844"/>
                  <a:pt x="2195" y="844"/>
                </a:cubicBezTo>
                <a:cubicBezTo>
                  <a:pt x="2194" y="845"/>
                  <a:pt x="2194" y="845"/>
                  <a:pt x="2194" y="845"/>
                </a:cubicBezTo>
                <a:cubicBezTo>
                  <a:pt x="2195" y="845"/>
                  <a:pt x="2195" y="845"/>
                  <a:pt x="2195" y="845"/>
                </a:cubicBezTo>
                <a:close/>
                <a:moveTo>
                  <a:pt x="2077" y="828"/>
                </a:moveTo>
                <a:cubicBezTo>
                  <a:pt x="2077" y="828"/>
                  <a:pt x="2077" y="828"/>
                  <a:pt x="2078" y="827"/>
                </a:cubicBezTo>
                <a:cubicBezTo>
                  <a:pt x="2078" y="827"/>
                  <a:pt x="2078" y="827"/>
                  <a:pt x="2078" y="826"/>
                </a:cubicBezTo>
                <a:cubicBezTo>
                  <a:pt x="2078" y="826"/>
                  <a:pt x="2078" y="826"/>
                  <a:pt x="2079" y="826"/>
                </a:cubicBezTo>
                <a:cubicBezTo>
                  <a:pt x="2079" y="826"/>
                  <a:pt x="2079" y="826"/>
                  <a:pt x="2079" y="824"/>
                </a:cubicBezTo>
                <a:cubicBezTo>
                  <a:pt x="2079" y="824"/>
                  <a:pt x="2079" y="824"/>
                  <a:pt x="2078" y="824"/>
                </a:cubicBezTo>
                <a:cubicBezTo>
                  <a:pt x="2078" y="824"/>
                  <a:pt x="2078" y="824"/>
                  <a:pt x="2078" y="823"/>
                </a:cubicBezTo>
                <a:cubicBezTo>
                  <a:pt x="2078" y="823"/>
                  <a:pt x="2078" y="823"/>
                  <a:pt x="2077" y="824"/>
                </a:cubicBezTo>
                <a:cubicBezTo>
                  <a:pt x="2077" y="824"/>
                  <a:pt x="2077" y="824"/>
                  <a:pt x="2076" y="825"/>
                </a:cubicBezTo>
                <a:cubicBezTo>
                  <a:pt x="2076" y="825"/>
                  <a:pt x="2076" y="825"/>
                  <a:pt x="2076" y="827"/>
                </a:cubicBezTo>
                <a:cubicBezTo>
                  <a:pt x="2076" y="827"/>
                  <a:pt x="2076" y="827"/>
                  <a:pt x="2077" y="828"/>
                </a:cubicBezTo>
                <a:close/>
                <a:moveTo>
                  <a:pt x="2191" y="838"/>
                </a:moveTo>
                <a:cubicBezTo>
                  <a:pt x="2191" y="839"/>
                  <a:pt x="2191" y="839"/>
                  <a:pt x="2191" y="839"/>
                </a:cubicBezTo>
                <a:cubicBezTo>
                  <a:pt x="2192" y="839"/>
                  <a:pt x="2192" y="839"/>
                  <a:pt x="2192" y="839"/>
                </a:cubicBezTo>
                <a:cubicBezTo>
                  <a:pt x="2192" y="838"/>
                  <a:pt x="2192" y="838"/>
                  <a:pt x="2192" y="838"/>
                </a:cubicBezTo>
                <a:cubicBezTo>
                  <a:pt x="2191" y="838"/>
                  <a:pt x="2191" y="838"/>
                  <a:pt x="2191" y="838"/>
                </a:cubicBezTo>
                <a:close/>
                <a:moveTo>
                  <a:pt x="2073" y="846"/>
                </a:moveTo>
                <a:cubicBezTo>
                  <a:pt x="2072" y="846"/>
                  <a:pt x="2072" y="846"/>
                  <a:pt x="2072" y="846"/>
                </a:cubicBezTo>
                <a:cubicBezTo>
                  <a:pt x="2073" y="847"/>
                  <a:pt x="2073" y="847"/>
                  <a:pt x="2073" y="847"/>
                </a:cubicBezTo>
                <a:cubicBezTo>
                  <a:pt x="2073" y="846"/>
                  <a:pt x="2073" y="846"/>
                  <a:pt x="2073" y="846"/>
                </a:cubicBezTo>
                <a:close/>
                <a:moveTo>
                  <a:pt x="2061" y="847"/>
                </a:moveTo>
                <a:cubicBezTo>
                  <a:pt x="2060" y="846"/>
                  <a:pt x="2060" y="846"/>
                  <a:pt x="2060" y="846"/>
                </a:cubicBezTo>
                <a:cubicBezTo>
                  <a:pt x="2057" y="846"/>
                  <a:pt x="2057" y="846"/>
                  <a:pt x="2057" y="846"/>
                </a:cubicBezTo>
                <a:cubicBezTo>
                  <a:pt x="2056" y="846"/>
                  <a:pt x="2056" y="846"/>
                  <a:pt x="2056" y="846"/>
                </a:cubicBezTo>
                <a:cubicBezTo>
                  <a:pt x="2056" y="847"/>
                  <a:pt x="2056" y="847"/>
                  <a:pt x="2056" y="847"/>
                </a:cubicBezTo>
                <a:cubicBezTo>
                  <a:pt x="2057" y="848"/>
                  <a:pt x="2057" y="848"/>
                  <a:pt x="2057" y="848"/>
                </a:cubicBezTo>
                <a:cubicBezTo>
                  <a:pt x="2058" y="848"/>
                  <a:pt x="2058" y="848"/>
                  <a:pt x="2058" y="848"/>
                </a:cubicBezTo>
                <a:cubicBezTo>
                  <a:pt x="2059" y="848"/>
                  <a:pt x="2059" y="848"/>
                  <a:pt x="2059" y="848"/>
                </a:cubicBezTo>
                <a:cubicBezTo>
                  <a:pt x="2061" y="848"/>
                  <a:pt x="2061" y="848"/>
                  <a:pt x="2061" y="848"/>
                </a:cubicBezTo>
                <a:cubicBezTo>
                  <a:pt x="2062" y="848"/>
                  <a:pt x="2062" y="848"/>
                  <a:pt x="2062" y="848"/>
                </a:cubicBezTo>
                <a:cubicBezTo>
                  <a:pt x="2063" y="847"/>
                  <a:pt x="2063" y="847"/>
                  <a:pt x="2063" y="847"/>
                </a:cubicBezTo>
                <a:cubicBezTo>
                  <a:pt x="2064" y="847"/>
                  <a:pt x="2064" y="847"/>
                  <a:pt x="2064" y="847"/>
                </a:cubicBezTo>
                <a:cubicBezTo>
                  <a:pt x="2063" y="846"/>
                  <a:pt x="2063" y="846"/>
                  <a:pt x="2063" y="846"/>
                </a:cubicBezTo>
                <a:cubicBezTo>
                  <a:pt x="2061" y="847"/>
                  <a:pt x="2061" y="847"/>
                  <a:pt x="2061" y="847"/>
                </a:cubicBezTo>
                <a:close/>
                <a:moveTo>
                  <a:pt x="2138" y="852"/>
                </a:moveTo>
                <a:cubicBezTo>
                  <a:pt x="2138" y="853"/>
                  <a:pt x="2138" y="853"/>
                  <a:pt x="2138" y="853"/>
                </a:cubicBezTo>
                <a:cubicBezTo>
                  <a:pt x="2139" y="852"/>
                  <a:pt x="2139" y="852"/>
                  <a:pt x="2139" y="852"/>
                </a:cubicBezTo>
                <a:cubicBezTo>
                  <a:pt x="2141" y="852"/>
                  <a:pt x="2141" y="852"/>
                  <a:pt x="2141" y="852"/>
                </a:cubicBezTo>
                <a:cubicBezTo>
                  <a:pt x="2142" y="853"/>
                  <a:pt x="2142" y="853"/>
                  <a:pt x="2142" y="853"/>
                </a:cubicBezTo>
                <a:cubicBezTo>
                  <a:pt x="2142" y="852"/>
                  <a:pt x="2142" y="852"/>
                  <a:pt x="2142" y="852"/>
                </a:cubicBezTo>
                <a:cubicBezTo>
                  <a:pt x="2143" y="852"/>
                  <a:pt x="2143" y="852"/>
                  <a:pt x="2143" y="852"/>
                </a:cubicBezTo>
                <a:cubicBezTo>
                  <a:pt x="2144" y="851"/>
                  <a:pt x="2144" y="851"/>
                  <a:pt x="2144" y="851"/>
                </a:cubicBezTo>
                <a:cubicBezTo>
                  <a:pt x="2143" y="850"/>
                  <a:pt x="2143" y="850"/>
                  <a:pt x="2143" y="850"/>
                </a:cubicBezTo>
                <a:cubicBezTo>
                  <a:pt x="2142" y="851"/>
                  <a:pt x="2142" y="851"/>
                  <a:pt x="2142" y="851"/>
                </a:cubicBezTo>
                <a:cubicBezTo>
                  <a:pt x="2140" y="851"/>
                  <a:pt x="2140" y="851"/>
                  <a:pt x="2140" y="851"/>
                </a:cubicBezTo>
                <a:cubicBezTo>
                  <a:pt x="2139" y="850"/>
                  <a:pt x="2139" y="850"/>
                  <a:pt x="2139" y="850"/>
                </a:cubicBezTo>
                <a:cubicBezTo>
                  <a:pt x="2138" y="851"/>
                  <a:pt x="2138" y="851"/>
                  <a:pt x="2138" y="851"/>
                </a:cubicBezTo>
                <a:cubicBezTo>
                  <a:pt x="2138" y="852"/>
                  <a:pt x="2138" y="852"/>
                  <a:pt x="2138" y="852"/>
                </a:cubicBezTo>
                <a:close/>
                <a:moveTo>
                  <a:pt x="2073" y="858"/>
                </a:moveTo>
                <a:cubicBezTo>
                  <a:pt x="2073" y="858"/>
                  <a:pt x="2073" y="858"/>
                  <a:pt x="2073" y="857"/>
                </a:cubicBezTo>
                <a:cubicBezTo>
                  <a:pt x="2073" y="857"/>
                  <a:pt x="2073" y="857"/>
                  <a:pt x="2072" y="858"/>
                </a:cubicBezTo>
                <a:cubicBezTo>
                  <a:pt x="2072" y="858"/>
                  <a:pt x="2072" y="858"/>
                  <a:pt x="2073" y="858"/>
                </a:cubicBezTo>
                <a:close/>
                <a:moveTo>
                  <a:pt x="2194" y="844"/>
                </a:moveTo>
                <a:cubicBezTo>
                  <a:pt x="2194" y="843"/>
                  <a:pt x="2194" y="843"/>
                  <a:pt x="2194" y="843"/>
                </a:cubicBezTo>
                <a:cubicBezTo>
                  <a:pt x="2193" y="842"/>
                  <a:pt x="2193" y="842"/>
                  <a:pt x="2193" y="842"/>
                </a:cubicBezTo>
                <a:cubicBezTo>
                  <a:pt x="2193" y="843"/>
                  <a:pt x="2193" y="843"/>
                  <a:pt x="2193" y="843"/>
                </a:cubicBezTo>
                <a:cubicBezTo>
                  <a:pt x="2194" y="844"/>
                  <a:pt x="2194" y="844"/>
                  <a:pt x="2194" y="844"/>
                </a:cubicBezTo>
                <a:close/>
                <a:moveTo>
                  <a:pt x="2032" y="812"/>
                </a:moveTo>
                <a:cubicBezTo>
                  <a:pt x="2032" y="813"/>
                  <a:pt x="2032" y="813"/>
                  <a:pt x="2032" y="813"/>
                </a:cubicBezTo>
                <a:cubicBezTo>
                  <a:pt x="2033" y="813"/>
                  <a:pt x="2033" y="813"/>
                  <a:pt x="2033" y="813"/>
                </a:cubicBezTo>
                <a:cubicBezTo>
                  <a:pt x="2034" y="813"/>
                  <a:pt x="2034" y="813"/>
                  <a:pt x="2034" y="813"/>
                </a:cubicBezTo>
                <a:cubicBezTo>
                  <a:pt x="2033" y="812"/>
                  <a:pt x="2033" y="812"/>
                  <a:pt x="2033" y="812"/>
                </a:cubicBezTo>
                <a:cubicBezTo>
                  <a:pt x="2032" y="812"/>
                  <a:pt x="2032" y="812"/>
                  <a:pt x="2032" y="812"/>
                </a:cubicBezTo>
                <a:close/>
                <a:moveTo>
                  <a:pt x="2037" y="807"/>
                </a:moveTo>
                <a:cubicBezTo>
                  <a:pt x="2037" y="807"/>
                  <a:pt x="2037" y="807"/>
                  <a:pt x="2035" y="807"/>
                </a:cubicBezTo>
                <a:cubicBezTo>
                  <a:pt x="2035" y="807"/>
                  <a:pt x="2035" y="807"/>
                  <a:pt x="2036" y="808"/>
                </a:cubicBezTo>
                <a:cubicBezTo>
                  <a:pt x="2036" y="808"/>
                  <a:pt x="2036" y="808"/>
                  <a:pt x="2037" y="808"/>
                </a:cubicBezTo>
                <a:cubicBezTo>
                  <a:pt x="2037" y="808"/>
                  <a:pt x="2037" y="808"/>
                  <a:pt x="2037" y="807"/>
                </a:cubicBezTo>
                <a:close/>
                <a:moveTo>
                  <a:pt x="2038" y="811"/>
                </a:moveTo>
                <a:cubicBezTo>
                  <a:pt x="2038" y="811"/>
                  <a:pt x="2038" y="811"/>
                  <a:pt x="2039" y="809"/>
                </a:cubicBezTo>
                <a:cubicBezTo>
                  <a:pt x="2039" y="809"/>
                  <a:pt x="2039" y="809"/>
                  <a:pt x="2038" y="809"/>
                </a:cubicBezTo>
                <a:cubicBezTo>
                  <a:pt x="2038" y="809"/>
                  <a:pt x="2038" y="809"/>
                  <a:pt x="2037" y="809"/>
                </a:cubicBezTo>
                <a:cubicBezTo>
                  <a:pt x="2037" y="809"/>
                  <a:pt x="2037" y="809"/>
                  <a:pt x="2036" y="810"/>
                </a:cubicBezTo>
                <a:cubicBezTo>
                  <a:pt x="2036" y="810"/>
                  <a:pt x="2036" y="810"/>
                  <a:pt x="2037" y="811"/>
                </a:cubicBezTo>
                <a:cubicBezTo>
                  <a:pt x="2037" y="811"/>
                  <a:pt x="2037" y="811"/>
                  <a:pt x="2038" y="811"/>
                </a:cubicBezTo>
                <a:close/>
                <a:moveTo>
                  <a:pt x="2131" y="798"/>
                </a:moveTo>
                <a:cubicBezTo>
                  <a:pt x="2132" y="796"/>
                  <a:pt x="2132" y="796"/>
                  <a:pt x="2132" y="796"/>
                </a:cubicBezTo>
                <a:cubicBezTo>
                  <a:pt x="2133" y="796"/>
                  <a:pt x="2133" y="796"/>
                  <a:pt x="2133" y="796"/>
                </a:cubicBezTo>
                <a:cubicBezTo>
                  <a:pt x="2134" y="795"/>
                  <a:pt x="2134" y="795"/>
                  <a:pt x="2134" y="795"/>
                </a:cubicBezTo>
                <a:cubicBezTo>
                  <a:pt x="2134" y="794"/>
                  <a:pt x="2134" y="794"/>
                  <a:pt x="2134" y="794"/>
                </a:cubicBezTo>
                <a:cubicBezTo>
                  <a:pt x="2135" y="793"/>
                  <a:pt x="2135" y="793"/>
                  <a:pt x="2135" y="793"/>
                </a:cubicBezTo>
                <a:cubicBezTo>
                  <a:pt x="2136" y="793"/>
                  <a:pt x="2136" y="793"/>
                  <a:pt x="2136" y="793"/>
                </a:cubicBezTo>
                <a:cubicBezTo>
                  <a:pt x="2135" y="792"/>
                  <a:pt x="2135" y="792"/>
                  <a:pt x="2135" y="792"/>
                </a:cubicBezTo>
                <a:cubicBezTo>
                  <a:pt x="2135" y="791"/>
                  <a:pt x="2135" y="791"/>
                  <a:pt x="2135" y="791"/>
                </a:cubicBezTo>
                <a:cubicBezTo>
                  <a:pt x="2133" y="791"/>
                  <a:pt x="2133" y="791"/>
                  <a:pt x="2133" y="791"/>
                </a:cubicBezTo>
                <a:cubicBezTo>
                  <a:pt x="2132" y="791"/>
                  <a:pt x="2132" y="791"/>
                  <a:pt x="2132" y="791"/>
                </a:cubicBezTo>
                <a:cubicBezTo>
                  <a:pt x="2132" y="792"/>
                  <a:pt x="2132" y="792"/>
                  <a:pt x="2132" y="792"/>
                </a:cubicBezTo>
                <a:cubicBezTo>
                  <a:pt x="2131" y="793"/>
                  <a:pt x="2131" y="793"/>
                  <a:pt x="2131" y="793"/>
                </a:cubicBezTo>
                <a:cubicBezTo>
                  <a:pt x="2131" y="794"/>
                  <a:pt x="2131" y="794"/>
                  <a:pt x="2131" y="794"/>
                </a:cubicBezTo>
                <a:cubicBezTo>
                  <a:pt x="2129" y="795"/>
                  <a:pt x="2129" y="795"/>
                  <a:pt x="2129" y="795"/>
                </a:cubicBezTo>
                <a:cubicBezTo>
                  <a:pt x="2128" y="795"/>
                  <a:pt x="2128" y="795"/>
                  <a:pt x="2128" y="795"/>
                </a:cubicBezTo>
                <a:cubicBezTo>
                  <a:pt x="2128" y="796"/>
                  <a:pt x="2128" y="796"/>
                  <a:pt x="2128" y="796"/>
                </a:cubicBezTo>
                <a:cubicBezTo>
                  <a:pt x="2126" y="796"/>
                  <a:pt x="2126" y="796"/>
                  <a:pt x="2126" y="796"/>
                </a:cubicBezTo>
                <a:cubicBezTo>
                  <a:pt x="2123" y="796"/>
                  <a:pt x="2123" y="796"/>
                  <a:pt x="2123" y="796"/>
                </a:cubicBezTo>
                <a:cubicBezTo>
                  <a:pt x="2121" y="795"/>
                  <a:pt x="2121" y="795"/>
                  <a:pt x="2121" y="795"/>
                </a:cubicBezTo>
                <a:cubicBezTo>
                  <a:pt x="2120" y="796"/>
                  <a:pt x="2120" y="796"/>
                  <a:pt x="2120" y="796"/>
                </a:cubicBezTo>
                <a:cubicBezTo>
                  <a:pt x="2118" y="795"/>
                  <a:pt x="2118" y="795"/>
                  <a:pt x="2118" y="795"/>
                </a:cubicBezTo>
                <a:cubicBezTo>
                  <a:pt x="2117" y="795"/>
                  <a:pt x="2117" y="795"/>
                  <a:pt x="2117" y="795"/>
                </a:cubicBezTo>
                <a:cubicBezTo>
                  <a:pt x="2116" y="795"/>
                  <a:pt x="2116" y="795"/>
                  <a:pt x="2116" y="795"/>
                </a:cubicBezTo>
                <a:cubicBezTo>
                  <a:pt x="2115" y="795"/>
                  <a:pt x="2115" y="795"/>
                  <a:pt x="2115" y="795"/>
                </a:cubicBezTo>
                <a:cubicBezTo>
                  <a:pt x="2114" y="794"/>
                  <a:pt x="2114" y="794"/>
                  <a:pt x="2114" y="794"/>
                </a:cubicBezTo>
                <a:cubicBezTo>
                  <a:pt x="2113" y="795"/>
                  <a:pt x="2113" y="795"/>
                  <a:pt x="2113" y="795"/>
                </a:cubicBezTo>
                <a:cubicBezTo>
                  <a:pt x="2112" y="794"/>
                  <a:pt x="2112" y="794"/>
                  <a:pt x="2112" y="794"/>
                </a:cubicBezTo>
                <a:cubicBezTo>
                  <a:pt x="2111" y="793"/>
                  <a:pt x="2111" y="793"/>
                  <a:pt x="2111" y="793"/>
                </a:cubicBezTo>
                <a:cubicBezTo>
                  <a:pt x="2109" y="793"/>
                  <a:pt x="2109" y="793"/>
                  <a:pt x="2109" y="793"/>
                </a:cubicBezTo>
                <a:cubicBezTo>
                  <a:pt x="2108" y="793"/>
                  <a:pt x="2108" y="793"/>
                  <a:pt x="2108" y="793"/>
                </a:cubicBezTo>
                <a:cubicBezTo>
                  <a:pt x="2108" y="794"/>
                  <a:pt x="2108" y="794"/>
                  <a:pt x="2108" y="794"/>
                </a:cubicBezTo>
                <a:cubicBezTo>
                  <a:pt x="2107" y="795"/>
                  <a:pt x="2107" y="795"/>
                  <a:pt x="2107" y="795"/>
                </a:cubicBezTo>
                <a:cubicBezTo>
                  <a:pt x="2106" y="796"/>
                  <a:pt x="2106" y="796"/>
                  <a:pt x="2106" y="796"/>
                </a:cubicBezTo>
                <a:cubicBezTo>
                  <a:pt x="2105" y="797"/>
                  <a:pt x="2105" y="797"/>
                  <a:pt x="2105" y="797"/>
                </a:cubicBezTo>
                <a:cubicBezTo>
                  <a:pt x="2104" y="796"/>
                  <a:pt x="2104" y="796"/>
                  <a:pt x="2104" y="796"/>
                </a:cubicBezTo>
                <a:cubicBezTo>
                  <a:pt x="2102" y="797"/>
                  <a:pt x="2102" y="797"/>
                  <a:pt x="2102" y="797"/>
                </a:cubicBezTo>
                <a:cubicBezTo>
                  <a:pt x="2102" y="798"/>
                  <a:pt x="2102" y="798"/>
                  <a:pt x="2102" y="798"/>
                </a:cubicBezTo>
                <a:cubicBezTo>
                  <a:pt x="2100" y="799"/>
                  <a:pt x="2100" y="799"/>
                  <a:pt x="2100" y="799"/>
                </a:cubicBezTo>
                <a:cubicBezTo>
                  <a:pt x="2100" y="801"/>
                  <a:pt x="2100" y="801"/>
                  <a:pt x="2100" y="801"/>
                </a:cubicBezTo>
                <a:cubicBezTo>
                  <a:pt x="2100" y="802"/>
                  <a:pt x="2100" y="802"/>
                  <a:pt x="2100" y="802"/>
                </a:cubicBezTo>
                <a:cubicBezTo>
                  <a:pt x="2100" y="804"/>
                  <a:pt x="2100" y="804"/>
                  <a:pt x="2100" y="804"/>
                </a:cubicBezTo>
                <a:cubicBezTo>
                  <a:pt x="2100" y="805"/>
                  <a:pt x="2100" y="805"/>
                  <a:pt x="2100" y="805"/>
                </a:cubicBezTo>
                <a:cubicBezTo>
                  <a:pt x="2101" y="806"/>
                  <a:pt x="2101" y="806"/>
                  <a:pt x="2101" y="806"/>
                </a:cubicBezTo>
                <a:cubicBezTo>
                  <a:pt x="2101" y="808"/>
                  <a:pt x="2101" y="808"/>
                  <a:pt x="2101" y="808"/>
                </a:cubicBezTo>
                <a:cubicBezTo>
                  <a:pt x="2100" y="807"/>
                  <a:pt x="2100" y="807"/>
                  <a:pt x="2100" y="807"/>
                </a:cubicBezTo>
                <a:cubicBezTo>
                  <a:pt x="2100" y="806"/>
                  <a:pt x="2100" y="806"/>
                  <a:pt x="2100" y="806"/>
                </a:cubicBezTo>
                <a:cubicBezTo>
                  <a:pt x="2099" y="806"/>
                  <a:pt x="2099" y="806"/>
                  <a:pt x="2099" y="806"/>
                </a:cubicBezTo>
                <a:cubicBezTo>
                  <a:pt x="2098" y="807"/>
                  <a:pt x="2098" y="807"/>
                  <a:pt x="2098" y="807"/>
                </a:cubicBezTo>
                <a:cubicBezTo>
                  <a:pt x="2097" y="808"/>
                  <a:pt x="2097" y="808"/>
                  <a:pt x="2097" y="808"/>
                </a:cubicBezTo>
                <a:cubicBezTo>
                  <a:pt x="2097" y="809"/>
                  <a:pt x="2097" y="809"/>
                  <a:pt x="2097" y="809"/>
                </a:cubicBezTo>
                <a:cubicBezTo>
                  <a:pt x="2097" y="810"/>
                  <a:pt x="2097" y="810"/>
                  <a:pt x="2097" y="810"/>
                </a:cubicBezTo>
                <a:cubicBezTo>
                  <a:pt x="2097" y="811"/>
                  <a:pt x="2097" y="811"/>
                  <a:pt x="2097" y="811"/>
                </a:cubicBezTo>
                <a:cubicBezTo>
                  <a:pt x="2097" y="814"/>
                  <a:pt x="2097" y="814"/>
                  <a:pt x="2097" y="814"/>
                </a:cubicBezTo>
                <a:cubicBezTo>
                  <a:pt x="2097" y="815"/>
                  <a:pt x="2097" y="815"/>
                  <a:pt x="2097" y="815"/>
                </a:cubicBezTo>
                <a:cubicBezTo>
                  <a:pt x="2097" y="816"/>
                  <a:pt x="2097" y="816"/>
                  <a:pt x="2097" y="816"/>
                </a:cubicBezTo>
                <a:cubicBezTo>
                  <a:pt x="2096" y="816"/>
                  <a:pt x="2096" y="816"/>
                  <a:pt x="2096" y="816"/>
                </a:cubicBezTo>
                <a:cubicBezTo>
                  <a:pt x="2096" y="818"/>
                  <a:pt x="2096" y="818"/>
                  <a:pt x="2096" y="818"/>
                </a:cubicBezTo>
                <a:cubicBezTo>
                  <a:pt x="2094" y="819"/>
                  <a:pt x="2094" y="819"/>
                  <a:pt x="2094" y="819"/>
                </a:cubicBezTo>
                <a:cubicBezTo>
                  <a:pt x="2094" y="820"/>
                  <a:pt x="2094" y="820"/>
                  <a:pt x="2094" y="820"/>
                </a:cubicBezTo>
                <a:cubicBezTo>
                  <a:pt x="2094" y="821"/>
                  <a:pt x="2094" y="821"/>
                  <a:pt x="2094" y="821"/>
                </a:cubicBezTo>
                <a:cubicBezTo>
                  <a:pt x="2094" y="822"/>
                  <a:pt x="2094" y="822"/>
                  <a:pt x="2094" y="822"/>
                </a:cubicBezTo>
                <a:cubicBezTo>
                  <a:pt x="2094" y="824"/>
                  <a:pt x="2094" y="824"/>
                  <a:pt x="2094" y="824"/>
                </a:cubicBezTo>
                <a:cubicBezTo>
                  <a:pt x="2095" y="825"/>
                  <a:pt x="2095" y="825"/>
                  <a:pt x="2095" y="825"/>
                </a:cubicBezTo>
                <a:cubicBezTo>
                  <a:pt x="2096" y="824"/>
                  <a:pt x="2096" y="824"/>
                  <a:pt x="2096" y="824"/>
                </a:cubicBezTo>
                <a:cubicBezTo>
                  <a:pt x="2097" y="824"/>
                  <a:pt x="2097" y="824"/>
                  <a:pt x="2097" y="824"/>
                </a:cubicBezTo>
                <a:cubicBezTo>
                  <a:pt x="2098" y="824"/>
                  <a:pt x="2098" y="824"/>
                  <a:pt x="2098" y="824"/>
                </a:cubicBezTo>
                <a:cubicBezTo>
                  <a:pt x="2098" y="826"/>
                  <a:pt x="2098" y="826"/>
                  <a:pt x="2098" y="826"/>
                </a:cubicBezTo>
                <a:cubicBezTo>
                  <a:pt x="2099" y="829"/>
                  <a:pt x="2099" y="829"/>
                  <a:pt x="2099" y="829"/>
                </a:cubicBezTo>
                <a:cubicBezTo>
                  <a:pt x="2098" y="831"/>
                  <a:pt x="2098" y="831"/>
                  <a:pt x="2098" y="831"/>
                </a:cubicBezTo>
                <a:cubicBezTo>
                  <a:pt x="2098" y="832"/>
                  <a:pt x="2098" y="832"/>
                  <a:pt x="2098" y="832"/>
                </a:cubicBezTo>
                <a:cubicBezTo>
                  <a:pt x="2097" y="835"/>
                  <a:pt x="2097" y="835"/>
                  <a:pt x="2097" y="835"/>
                </a:cubicBezTo>
                <a:cubicBezTo>
                  <a:pt x="2098" y="837"/>
                  <a:pt x="2098" y="837"/>
                  <a:pt x="2098" y="837"/>
                </a:cubicBezTo>
                <a:cubicBezTo>
                  <a:pt x="2099" y="838"/>
                  <a:pt x="2099" y="838"/>
                  <a:pt x="2099" y="838"/>
                </a:cubicBezTo>
                <a:cubicBezTo>
                  <a:pt x="2100" y="838"/>
                  <a:pt x="2100" y="838"/>
                  <a:pt x="2100" y="838"/>
                </a:cubicBezTo>
                <a:cubicBezTo>
                  <a:pt x="2101" y="837"/>
                  <a:pt x="2101" y="837"/>
                  <a:pt x="2101" y="837"/>
                </a:cubicBezTo>
                <a:cubicBezTo>
                  <a:pt x="2102" y="837"/>
                  <a:pt x="2102" y="837"/>
                  <a:pt x="2102" y="837"/>
                </a:cubicBezTo>
                <a:cubicBezTo>
                  <a:pt x="2103" y="837"/>
                  <a:pt x="2103" y="837"/>
                  <a:pt x="2103" y="837"/>
                </a:cubicBezTo>
                <a:cubicBezTo>
                  <a:pt x="2104" y="838"/>
                  <a:pt x="2104" y="838"/>
                  <a:pt x="2104" y="838"/>
                </a:cubicBezTo>
                <a:cubicBezTo>
                  <a:pt x="2104" y="837"/>
                  <a:pt x="2104" y="837"/>
                  <a:pt x="2104" y="837"/>
                </a:cubicBezTo>
                <a:cubicBezTo>
                  <a:pt x="2104" y="836"/>
                  <a:pt x="2104" y="836"/>
                  <a:pt x="2104" y="836"/>
                </a:cubicBezTo>
                <a:cubicBezTo>
                  <a:pt x="2103" y="835"/>
                  <a:pt x="2103" y="835"/>
                  <a:pt x="2103" y="835"/>
                </a:cubicBezTo>
                <a:cubicBezTo>
                  <a:pt x="2103" y="833"/>
                  <a:pt x="2103" y="833"/>
                  <a:pt x="2103" y="833"/>
                </a:cubicBezTo>
                <a:cubicBezTo>
                  <a:pt x="2104" y="832"/>
                  <a:pt x="2104" y="832"/>
                  <a:pt x="2104" y="832"/>
                </a:cubicBezTo>
                <a:cubicBezTo>
                  <a:pt x="2104" y="830"/>
                  <a:pt x="2104" y="830"/>
                  <a:pt x="2104" y="830"/>
                </a:cubicBezTo>
                <a:cubicBezTo>
                  <a:pt x="2104" y="828"/>
                  <a:pt x="2104" y="828"/>
                  <a:pt x="2104" y="828"/>
                </a:cubicBezTo>
                <a:cubicBezTo>
                  <a:pt x="2103" y="828"/>
                  <a:pt x="2103" y="828"/>
                  <a:pt x="2103" y="828"/>
                </a:cubicBezTo>
                <a:cubicBezTo>
                  <a:pt x="2105" y="826"/>
                  <a:pt x="2105" y="826"/>
                  <a:pt x="2105" y="826"/>
                </a:cubicBezTo>
                <a:cubicBezTo>
                  <a:pt x="2105" y="824"/>
                  <a:pt x="2105" y="824"/>
                  <a:pt x="2105" y="824"/>
                </a:cubicBezTo>
                <a:cubicBezTo>
                  <a:pt x="2105" y="822"/>
                  <a:pt x="2105" y="822"/>
                  <a:pt x="2105" y="822"/>
                </a:cubicBezTo>
                <a:cubicBezTo>
                  <a:pt x="2104" y="821"/>
                  <a:pt x="2104" y="821"/>
                  <a:pt x="2104" y="821"/>
                </a:cubicBezTo>
                <a:cubicBezTo>
                  <a:pt x="2105" y="820"/>
                  <a:pt x="2105" y="820"/>
                  <a:pt x="2105" y="820"/>
                </a:cubicBezTo>
                <a:cubicBezTo>
                  <a:pt x="2106" y="819"/>
                  <a:pt x="2106" y="819"/>
                  <a:pt x="2106" y="819"/>
                </a:cubicBezTo>
                <a:cubicBezTo>
                  <a:pt x="2107" y="819"/>
                  <a:pt x="2107" y="819"/>
                  <a:pt x="2107" y="819"/>
                </a:cubicBezTo>
                <a:cubicBezTo>
                  <a:pt x="2108" y="819"/>
                  <a:pt x="2108" y="819"/>
                  <a:pt x="2108" y="819"/>
                </a:cubicBezTo>
                <a:cubicBezTo>
                  <a:pt x="2108" y="820"/>
                  <a:pt x="2108" y="820"/>
                  <a:pt x="2108" y="820"/>
                </a:cubicBezTo>
                <a:cubicBezTo>
                  <a:pt x="2109" y="821"/>
                  <a:pt x="2109" y="821"/>
                  <a:pt x="2109" y="821"/>
                </a:cubicBezTo>
                <a:cubicBezTo>
                  <a:pt x="2109" y="822"/>
                  <a:pt x="2109" y="822"/>
                  <a:pt x="2109" y="822"/>
                </a:cubicBezTo>
                <a:cubicBezTo>
                  <a:pt x="2108" y="823"/>
                  <a:pt x="2108" y="823"/>
                  <a:pt x="2108" y="823"/>
                </a:cubicBezTo>
                <a:cubicBezTo>
                  <a:pt x="2107" y="825"/>
                  <a:pt x="2107" y="825"/>
                  <a:pt x="2107" y="825"/>
                </a:cubicBezTo>
                <a:cubicBezTo>
                  <a:pt x="2108" y="826"/>
                  <a:pt x="2108" y="826"/>
                  <a:pt x="2108" y="826"/>
                </a:cubicBezTo>
                <a:cubicBezTo>
                  <a:pt x="2109" y="826"/>
                  <a:pt x="2109" y="826"/>
                  <a:pt x="2109" y="826"/>
                </a:cubicBezTo>
                <a:cubicBezTo>
                  <a:pt x="2110" y="827"/>
                  <a:pt x="2110" y="827"/>
                  <a:pt x="2110" y="827"/>
                </a:cubicBezTo>
                <a:cubicBezTo>
                  <a:pt x="2111" y="828"/>
                  <a:pt x="2111" y="828"/>
                  <a:pt x="2111" y="828"/>
                </a:cubicBezTo>
                <a:cubicBezTo>
                  <a:pt x="2111" y="829"/>
                  <a:pt x="2111" y="829"/>
                  <a:pt x="2111" y="829"/>
                </a:cubicBezTo>
                <a:cubicBezTo>
                  <a:pt x="2111" y="831"/>
                  <a:pt x="2111" y="831"/>
                  <a:pt x="2111" y="831"/>
                </a:cubicBezTo>
                <a:cubicBezTo>
                  <a:pt x="2111" y="832"/>
                  <a:pt x="2111" y="832"/>
                  <a:pt x="2111" y="832"/>
                </a:cubicBezTo>
                <a:cubicBezTo>
                  <a:pt x="2112" y="833"/>
                  <a:pt x="2112" y="833"/>
                  <a:pt x="2112" y="833"/>
                </a:cubicBezTo>
                <a:cubicBezTo>
                  <a:pt x="2113" y="833"/>
                  <a:pt x="2113" y="833"/>
                  <a:pt x="2113" y="833"/>
                </a:cubicBezTo>
                <a:cubicBezTo>
                  <a:pt x="2114" y="833"/>
                  <a:pt x="2114" y="833"/>
                  <a:pt x="2114" y="833"/>
                </a:cubicBezTo>
                <a:cubicBezTo>
                  <a:pt x="2115" y="833"/>
                  <a:pt x="2115" y="833"/>
                  <a:pt x="2115" y="833"/>
                </a:cubicBezTo>
                <a:cubicBezTo>
                  <a:pt x="2115" y="832"/>
                  <a:pt x="2115" y="832"/>
                  <a:pt x="2115" y="832"/>
                </a:cubicBezTo>
                <a:cubicBezTo>
                  <a:pt x="2116" y="831"/>
                  <a:pt x="2116" y="831"/>
                  <a:pt x="2116" y="831"/>
                </a:cubicBezTo>
                <a:cubicBezTo>
                  <a:pt x="2117" y="830"/>
                  <a:pt x="2117" y="830"/>
                  <a:pt x="2117" y="830"/>
                </a:cubicBezTo>
                <a:cubicBezTo>
                  <a:pt x="2118" y="829"/>
                  <a:pt x="2118" y="829"/>
                  <a:pt x="2118" y="829"/>
                </a:cubicBezTo>
                <a:cubicBezTo>
                  <a:pt x="2120" y="830"/>
                  <a:pt x="2120" y="830"/>
                  <a:pt x="2120" y="830"/>
                </a:cubicBezTo>
                <a:cubicBezTo>
                  <a:pt x="2121" y="829"/>
                  <a:pt x="2121" y="829"/>
                  <a:pt x="2121" y="829"/>
                </a:cubicBezTo>
                <a:cubicBezTo>
                  <a:pt x="2122" y="829"/>
                  <a:pt x="2122" y="829"/>
                  <a:pt x="2122" y="829"/>
                </a:cubicBezTo>
                <a:cubicBezTo>
                  <a:pt x="2123" y="828"/>
                  <a:pt x="2123" y="828"/>
                  <a:pt x="2123" y="828"/>
                </a:cubicBezTo>
                <a:cubicBezTo>
                  <a:pt x="2121" y="828"/>
                  <a:pt x="2121" y="828"/>
                  <a:pt x="2121" y="828"/>
                </a:cubicBezTo>
                <a:cubicBezTo>
                  <a:pt x="2120" y="828"/>
                  <a:pt x="2120" y="828"/>
                  <a:pt x="2120" y="828"/>
                </a:cubicBezTo>
                <a:cubicBezTo>
                  <a:pt x="2119" y="828"/>
                  <a:pt x="2119" y="828"/>
                  <a:pt x="2119" y="828"/>
                </a:cubicBezTo>
                <a:cubicBezTo>
                  <a:pt x="2119" y="827"/>
                  <a:pt x="2119" y="827"/>
                  <a:pt x="2119" y="827"/>
                </a:cubicBezTo>
                <a:cubicBezTo>
                  <a:pt x="2118" y="827"/>
                  <a:pt x="2118" y="827"/>
                  <a:pt x="2118" y="827"/>
                </a:cubicBezTo>
                <a:cubicBezTo>
                  <a:pt x="2118" y="826"/>
                  <a:pt x="2118" y="826"/>
                  <a:pt x="2118" y="826"/>
                </a:cubicBezTo>
                <a:cubicBezTo>
                  <a:pt x="2117" y="826"/>
                  <a:pt x="2117" y="826"/>
                  <a:pt x="2117" y="826"/>
                </a:cubicBezTo>
                <a:cubicBezTo>
                  <a:pt x="2116" y="825"/>
                  <a:pt x="2116" y="825"/>
                  <a:pt x="2116" y="825"/>
                </a:cubicBezTo>
                <a:cubicBezTo>
                  <a:pt x="2115" y="825"/>
                  <a:pt x="2115" y="825"/>
                  <a:pt x="2115" y="825"/>
                </a:cubicBezTo>
                <a:cubicBezTo>
                  <a:pt x="2116" y="824"/>
                  <a:pt x="2116" y="824"/>
                  <a:pt x="2116" y="824"/>
                </a:cubicBezTo>
                <a:cubicBezTo>
                  <a:pt x="2116" y="823"/>
                  <a:pt x="2116" y="823"/>
                  <a:pt x="2116" y="823"/>
                </a:cubicBezTo>
                <a:cubicBezTo>
                  <a:pt x="2117" y="823"/>
                  <a:pt x="2117" y="823"/>
                  <a:pt x="2117" y="823"/>
                </a:cubicBezTo>
                <a:cubicBezTo>
                  <a:pt x="2117" y="822"/>
                  <a:pt x="2117" y="822"/>
                  <a:pt x="2117" y="822"/>
                </a:cubicBezTo>
                <a:cubicBezTo>
                  <a:pt x="2117" y="821"/>
                  <a:pt x="2117" y="821"/>
                  <a:pt x="2117" y="821"/>
                </a:cubicBezTo>
                <a:cubicBezTo>
                  <a:pt x="2116" y="821"/>
                  <a:pt x="2116" y="821"/>
                  <a:pt x="2116" y="821"/>
                </a:cubicBezTo>
                <a:cubicBezTo>
                  <a:pt x="2116" y="820"/>
                  <a:pt x="2116" y="820"/>
                  <a:pt x="2116" y="820"/>
                </a:cubicBezTo>
                <a:cubicBezTo>
                  <a:pt x="2115" y="819"/>
                  <a:pt x="2115" y="819"/>
                  <a:pt x="2115" y="819"/>
                </a:cubicBezTo>
                <a:cubicBezTo>
                  <a:pt x="2114" y="819"/>
                  <a:pt x="2114" y="819"/>
                  <a:pt x="2114" y="819"/>
                </a:cubicBezTo>
                <a:cubicBezTo>
                  <a:pt x="2114" y="818"/>
                  <a:pt x="2114" y="818"/>
                  <a:pt x="2114" y="818"/>
                </a:cubicBezTo>
                <a:cubicBezTo>
                  <a:pt x="2112" y="816"/>
                  <a:pt x="2112" y="816"/>
                  <a:pt x="2112" y="816"/>
                </a:cubicBezTo>
                <a:cubicBezTo>
                  <a:pt x="2111" y="815"/>
                  <a:pt x="2111" y="815"/>
                  <a:pt x="2111" y="815"/>
                </a:cubicBezTo>
                <a:cubicBezTo>
                  <a:pt x="2111" y="814"/>
                  <a:pt x="2111" y="814"/>
                  <a:pt x="2111" y="814"/>
                </a:cubicBezTo>
                <a:cubicBezTo>
                  <a:pt x="2112" y="814"/>
                  <a:pt x="2112" y="814"/>
                  <a:pt x="2112" y="814"/>
                </a:cubicBezTo>
                <a:cubicBezTo>
                  <a:pt x="2113" y="814"/>
                  <a:pt x="2113" y="814"/>
                  <a:pt x="2113" y="814"/>
                </a:cubicBezTo>
                <a:cubicBezTo>
                  <a:pt x="2114" y="814"/>
                  <a:pt x="2114" y="814"/>
                  <a:pt x="2114" y="814"/>
                </a:cubicBezTo>
                <a:cubicBezTo>
                  <a:pt x="2114" y="813"/>
                  <a:pt x="2114" y="813"/>
                  <a:pt x="2114" y="813"/>
                </a:cubicBezTo>
                <a:cubicBezTo>
                  <a:pt x="2116" y="812"/>
                  <a:pt x="2116" y="812"/>
                  <a:pt x="2116" y="812"/>
                </a:cubicBezTo>
                <a:cubicBezTo>
                  <a:pt x="2118" y="810"/>
                  <a:pt x="2118" y="810"/>
                  <a:pt x="2118" y="810"/>
                </a:cubicBezTo>
                <a:cubicBezTo>
                  <a:pt x="2119" y="809"/>
                  <a:pt x="2119" y="809"/>
                  <a:pt x="2119" y="809"/>
                </a:cubicBezTo>
                <a:cubicBezTo>
                  <a:pt x="2120" y="808"/>
                  <a:pt x="2120" y="808"/>
                  <a:pt x="2120" y="808"/>
                </a:cubicBezTo>
                <a:cubicBezTo>
                  <a:pt x="2122" y="807"/>
                  <a:pt x="2122" y="807"/>
                  <a:pt x="2122" y="807"/>
                </a:cubicBezTo>
                <a:cubicBezTo>
                  <a:pt x="2123" y="808"/>
                  <a:pt x="2123" y="808"/>
                  <a:pt x="2123" y="808"/>
                </a:cubicBezTo>
                <a:cubicBezTo>
                  <a:pt x="2124" y="808"/>
                  <a:pt x="2124" y="808"/>
                  <a:pt x="2124" y="808"/>
                </a:cubicBezTo>
                <a:cubicBezTo>
                  <a:pt x="2125" y="806"/>
                  <a:pt x="2125" y="806"/>
                  <a:pt x="2125" y="806"/>
                </a:cubicBezTo>
                <a:cubicBezTo>
                  <a:pt x="2125" y="805"/>
                  <a:pt x="2125" y="805"/>
                  <a:pt x="2125" y="805"/>
                </a:cubicBezTo>
                <a:cubicBezTo>
                  <a:pt x="2123" y="805"/>
                  <a:pt x="2123" y="805"/>
                  <a:pt x="2123" y="805"/>
                </a:cubicBezTo>
                <a:cubicBezTo>
                  <a:pt x="2121" y="805"/>
                  <a:pt x="2121" y="805"/>
                  <a:pt x="2121" y="805"/>
                </a:cubicBezTo>
                <a:cubicBezTo>
                  <a:pt x="2119" y="806"/>
                  <a:pt x="2119" y="806"/>
                  <a:pt x="2119" y="806"/>
                </a:cubicBezTo>
                <a:cubicBezTo>
                  <a:pt x="2118" y="806"/>
                  <a:pt x="2118" y="806"/>
                  <a:pt x="2118" y="806"/>
                </a:cubicBezTo>
                <a:cubicBezTo>
                  <a:pt x="2117" y="806"/>
                  <a:pt x="2117" y="806"/>
                  <a:pt x="2117" y="806"/>
                </a:cubicBezTo>
                <a:cubicBezTo>
                  <a:pt x="2116" y="807"/>
                  <a:pt x="2116" y="807"/>
                  <a:pt x="2116" y="807"/>
                </a:cubicBezTo>
                <a:cubicBezTo>
                  <a:pt x="2114" y="807"/>
                  <a:pt x="2114" y="807"/>
                  <a:pt x="2114" y="807"/>
                </a:cubicBezTo>
                <a:cubicBezTo>
                  <a:pt x="2113" y="808"/>
                  <a:pt x="2113" y="808"/>
                  <a:pt x="2113" y="808"/>
                </a:cubicBezTo>
                <a:cubicBezTo>
                  <a:pt x="2112" y="807"/>
                  <a:pt x="2112" y="807"/>
                  <a:pt x="2112" y="807"/>
                </a:cubicBezTo>
                <a:cubicBezTo>
                  <a:pt x="2111" y="807"/>
                  <a:pt x="2111" y="807"/>
                  <a:pt x="2111" y="807"/>
                </a:cubicBezTo>
                <a:cubicBezTo>
                  <a:pt x="2110" y="808"/>
                  <a:pt x="2110" y="808"/>
                  <a:pt x="2110" y="808"/>
                </a:cubicBezTo>
                <a:cubicBezTo>
                  <a:pt x="2109" y="810"/>
                  <a:pt x="2109" y="810"/>
                  <a:pt x="2109" y="810"/>
                </a:cubicBezTo>
                <a:cubicBezTo>
                  <a:pt x="2108" y="811"/>
                  <a:pt x="2108" y="811"/>
                  <a:pt x="2108" y="811"/>
                </a:cubicBezTo>
                <a:cubicBezTo>
                  <a:pt x="2107" y="811"/>
                  <a:pt x="2107" y="811"/>
                  <a:pt x="2107" y="811"/>
                </a:cubicBezTo>
                <a:cubicBezTo>
                  <a:pt x="2106" y="810"/>
                  <a:pt x="2106" y="810"/>
                  <a:pt x="2106" y="810"/>
                </a:cubicBezTo>
                <a:cubicBezTo>
                  <a:pt x="2105" y="808"/>
                  <a:pt x="2105" y="808"/>
                  <a:pt x="2105" y="808"/>
                </a:cubicBezTo>
                <a:cubicBezTo>
                  <a:pt x="2103" y="807"/>
                  <a:pt x="2103" y="807"/>
                  <a:pt x="2103" y="807"/>
                </a:cubicBezTo>
                <a:cubicBezTo>
                  <a:pt x="2102" y="805"/>
                  <a:pt x="2102" y="805"/>
                  <a:pt x="2102" y="805"/>
                </a:cubicBezTo>
                <a:cubicBezTo>
                  <a:pt x="2102" y="802"/>
                  <a:pt x="2102" y="802"/>
                  <a:pt x="2102" y="802"/>
                </a:cubicBezTo>
                <a:cubicBezTo>
                  <a:pt x="2103" y="800"/>
                  <a:pt x="2103" y="800"/>
                  <a:pt x="2103" y="800"/>
                </a:cubicBezTo>
                <a:cubicBezTo>
                  <a:pt x="2104" y="799"/>
                  <a:pt x="2104" y="799"/>
                  <a:pt x="2104" y="799"/>
                </a:cubicBezTo>
                <a:cubicBezTo>
                  <a:pt x="2106" y="798"/>
                  <a:pt x="2106" y="798"/>
                  <a:pt x="2106" y="798"/>
                </a:cubicBezTo>
                <a:cubicBezTo>
                  <a:pt x="2108" y="799"/>
                  <a:pt x="2108" y="799"/>
                  <a:pt x="2108" y="799"/>
                </a:cubicBezTo>
                <a:cubicBezTo>
                  <a:pt x="2110" y="799"/>
                  <a:pt x="2110" y="799"/>
                  <a:pt x="2110" y="799"/>
                </a:cubicBezTo>
                <a:cubicBezTo>
                  <a:pt x="2112" y="798"/>
                  <a:pt x="2112" y="798"/>
                  <a:pt x="2112" y="798"/>
                </a:cubicBezTo>
                <a:cubicBezTo>
                  <a:pt x="2113" y="798"/>
                  <a:pt x="2113" y="798"/>
                  <a:pt x="2113" y="798"/>
                </a:cubicBezTo>
                <a:cubicBezTo>
                  <a:pt x="2114" y="799"/>
                  <a:pt x="2114" y="799"/>
                  <a:pt x="2114" y="799"/>
                </a:cubicBezTo>
                <a:cubicBezTo>
                  <a:pt x="2115" y="799"/>
                  <a:pt x="2115" y="799"/>
                  <a:pt x="2115" y="799"/>
                </a:cubicBezTo>
                <a:cubicBezTo>
                  <a:pt x="2116" y="799"/>
                  <a:pt x="2116" y="799"/>
                  <a:pt x="2116" y="799"/>
                </a:cubicBezTo>
                <a:cubicBezTo>
                  <a:pt x="2119" y="799"/>
                  <a:pt x="2119" y="799"/>
                  <a:pt x="2119" y="799"/>
                </a:cubicBezTo>
                <a:cubicBezTo>
                  <a:pt x="2120" y="799"/>
                  <a:pt x="2120" y="799"/>
                  <a:pt x="2120" y="799"/>
                </a:cubicBezTo>
                <a:cubicBezTo>
                  <a:pt x="2120" y="798"/>
                  <a:pt x="2120" y="798"/>
                  <a:pt x="2120" y="798"/>
                </a:cubicBezTo>
                <a:cubicBezTo>
                  <a:pt x="2122" y="798"/>
                  <a:pt x="2122" y="798"/>
                  <a:pt x="2122" y="798"/>
                </a:cubicBezTo>
                <a:cubicBezTo>
                  <a:pt x="2123" y="799"/>
                  <a:pt x="2123" y="799"/>
                  <a:pt x="2123" y="799"/>
                </a:cubicBezTo>
                <a:cubicBezTo>
                  <a:pt x="2123" y="800"/>
                  <a:pt x="2123" y="800"/>
                  <a:pt x="2123" y="800"/>
                </a:cubicBezTo>
                <a:cubicBezTo>
                  <a:pt x="2124" y="800"/>
                  <a:pt x="2124" y="800"/>
                  <a:pt x="2124" y="800"/>
                </a:cubicBezTo>
                <a:cubicBezTo>
                  <a:pt x="2129" y="799"/>
                  <a:pt x="2129" y="799"/>
                  <a:pt x="2129" y="799"/>
                </a:cubicBezTo>
                <a:cubicBezTo>
                  <a:pt x="2131" y="798"/>
                  <a:pt x="2131" y="798"/>
                  <a:pt x="2131" y="798"/>
                </a:cubicBezTo>
                <a:close/>
                <a:moveTo>
                  <a:pt x="2191" y="840"/>
                </a:moveTo>
                <a:cubicBezTo>
                  <a:pt x="2191" y="841"/>
                  <a:pt x="2191" y="841"/>
                  <a:pt x="2191" y="841"/>
                </a:cubicBezTo>
                <a:cubicBezTo>
                  <a:pt x="2192" y="842"/>
                  <a:pt x="2192" y="842"/>
                  <a:pt x="2192" y="842"/>
                </a:cubicBezTo>
                <a:cubicBezTo>
                  <a:pt x="2193" y="842"/>
                  <a:pt x="2193" y="842"/>
                  <a:pt x="2193" y="842"/>
                </a:cubicBezTo>
                <a:cubicBezTo>
                  <a:pt x="2192" y="841"/>
                  <a:pt x="2192" y="841"/>
                  <a:pt x="2192" y="841"/>
                </a:cubicBezTo>
                <a:cubicBezTo>
                  <a:pt x="2192" y="840"/>
                  <a:pt x="2192" y="840"/>
                  <a:pt x="2192" y="840"/>
                </a:cubicBezTo>
                <a:cubicBezTo>
                  <a:pt x="2191" y="840"/>
                  <a:pt x="2191" y="840"/>
                  <a:pt x="2191" y="840"/>
                </a:cubicBezTo>
                <a:close/>
                <a:moveTo>
                  <a:pt x="2183" y="839"/>
                </a:moveTo>
                <a:cubicBezTo>
                  <a:pt x="2183" y="840"/>
                  <a:pt x="2183" y="840"/>
                  <a:pt x="2183" y="840"/>
                </a:cubicBezTo>
                <a:cubicBezTo>
                  <a:pt x="2184" y="839"/>
                  <a:pt x="2184" y="839"/>
                  <a:pt x="2184" y="839"/>
                </a:cubicBezTo>
                <a:cubicBezTo>
                  <a:pt x="2184" y="837"/>
                  <a:pt x="2184" y="837"/>
                  <a:pt x="2184" y="837"/>
                </a:cubicBezTo>
                <a:cubicBezTo>
                  <a:pt x="2185" y="836"/>
                  <a:pt x="2185" y="836"/>
                  <a:pt x="2185" y="836"/>
                </a:cubicBezTo>
                <a:cubicBezTo>
                  <a:pt x="2184" y="836"/>
                  <a:pt x="2184" y="836"/>
                  <a:pt x="2184" y="836"/>
                </a:cubicBezTo>
                <a:cubicBezTo>
                  <a:pt x="2183" y="839"/>
                  <a:pt x="2183" y="839"/>
                  <a:pt x="2183" y="839"/>
                </a:cubicBezTo>
                <a:close/>
                <a:moveTo>
                  <a:pt x="2177" y="848"/>
                </a:moveTo>
                <a:cubicBezTo>
                  <a:pt x="2177" y="847"/>
                  <a:pt x="2177" y="847"/>
                  <a:pt x="2177" y="847"/>
                </a:cubicBezTo>
                <a:cubicBezTo>
                  <a:pt x="2176" y="847"/>
                  <a:pt x="2176" y="847"/>
                  <a:pt x="2176" y="847"/>
                </a:cubicBezTo>
                <a:cubicBezTo>
                  <a:pt x="2177" y="848"/>
                  <a:pt x="2177" y="848"/>
                  <a:pt x="2177" y="848"/>
                </a:cubicBezTo>
                <a:close/>
                <a:moveTo>
                  <a:pt x="2105" y="842"/>
                </a:moveTo>
                <a:cubicBezTo>
                  <a:pt x="2105" y="842"/>
                  <a:pt x="2105" y="842"/>
                  <a:pt x="2105" y="841"/>
                </a:cubicBezTo>
                <a:cubicBezTo>
                  <a:pt x="2105" y="841"/>
                  <a:pt x="2105" y="841"/>
                  <a:pt x="2104" y="839"/>
                </a:cubicBezTo>
                <a:cubicBezTo>
                  <a:pt x="2104" y="839"/>
                  <a:pt x="2104" y="839"/>
                  <a:pt x="2104" y="840"/>
                </a:cubicBezTo>
                <a:cubicBezTo>
                  <a:pt x="2104" y="840"/>
                  <a:pt x="2104" y="840"/>
                  <a:pt x="2104" y="841"/>
                </a:cubicBezTo>
                <a:cubicBezTo>
                  <a:pt x="2104" y="841"/>
                  <a:pt x="2104" y="841"/>
                  <a:pt x="2104" y="842"/>
                </a:cubicBezTo>
                <a:cubicBezTo>
                  <a:pt x="2104" y="842"/>
                  <a:pt x="2104" y="842"/>
                  <a:pt x="2105" y="843"/>
                </a:cubicBezTo>
                <a:cubicBezTo>
                  <a:pt x="2105" y="843"/>
                  <a:pt x="2105" y="843"/>
                  <a:pt x="2105" y="842"/>
                </a:cubicBezTo>
                <a:close/>
                <a:moveTo>
                  <a:pt x="2106" y="759"/>
                </a:moveTo>
                <a:cubicBezTo>
                  <a:pt x="2106" y="758"/>
                  <a:pt x="2106" y="758"/>
                  <a:pt x="2106" y="758"/>
                </a:cubicBezTo>
                <a:cubicBezTo>
                  <a:pt x="2105" y="759"/>
                  <a:pt x="2105" y="759"/>
                  <a:pt x="2105" y="759"/>
                </a:cubicBezTo>
                <a:cubicBezTo>
                  <a:pt x="2106" y="759"/>
                  <a:pt x="2106" y="759"/>
                  <a:pt x="2106" y="759"/>
                </a:cubicBezTo>
                <a:close/>
                <a:moveTo>
                  <a:pt x="2098" y="770"/>
                </a:moveTo>
                <a:cubicBezTo>
                  <a:pt x="2098" y="769"/>
                  <a:pt x="2098" y="769"/>
                  <a:pt x="2098" y="769"/>
                </a:cubicBezTo>
                <a:cubicBezTo>
                  <a:pt x="2097" y="770"/>
                  <a:pt x="2097" y="770"/>
                  <a:pt x="2097" y="770"/>
                </a:cubicBezTo>
                <a:cubicBezTo>
                  <a:pt x="2098" y="771"/>
                  <a:pt x="2098" y="771"/>
                  <a:pt x="2098" y="771"/>
                </a:cubicBezTo>
                <a:cubicBezTo>
                  <a:pt x="2098" y="770"/>
                  <a:pt x="2098" y="770"/>
                  <a:pt x="2098" y="770"/>
                </a:cubicBezTo>
                <a:close/>
                <a:moveTo>
                  <a:pt x="2191" y="842"/>
                </a:moveTo>
                <a:cubicBezTo>
                  <a:pt x="2191" y="843"/>
                  <a:pt x="2191" y="843"/>
                  <a:pt x="2191" y="843"/>
                </a:cubicBezTo>
                <a:cubicBezTo>
                  <a:pt x="2191" y="844"/>
                  <a:pt x="2191" y="844"/>
                  <a:pt x="2191" y="844"/>
                </a:cubicBezTo>
                <a:cubicBezTo>
                  <a:pt x="2191" y="845"/>
                  <a:pt x="2191" y="845"/>
                  <a:pt x="2191" y="845"/>
                </a:cubicBezTo>
                <a:cubicBezTo>
                  <a:pt x="2191" y="846"/>
                  <a:pt x="2191" y="846"/>
                  <a:pt x="2191" y="846"/>
                </a:cubicBezTo>
                <a:cubicBezTo>
                  <a:pt x="2192" y="846"/>
                  <a:pt x="2192" y="846"/>
                  <a:pt x="2192" y="846"/>
                </a:cubicBezTo>
                <a:cubicBezTo>
                  <a:pt x="2193" y="845"/>
                  <a:pt x="2193" y="845"/>
                  <a:pt x="2193" y="845"/>
                </a:cubicBezTo>
                <a:cubicBezTo>
                  <a:pt x="2193" y="844"/>
                  <a:pt x="2193" y="844"/>
                  <a:pt x="2193" y="844"/>
                </a:cubicBezTo>
                <a:cubicBezTo>
                  <a:pt x="2192" y="843"/>
                  <a:pt x="2192" y="843"/>
                  <a:pt x="2192" y="843"/>
                </a:cubicBezTo>
                <a:cubicBezTo>
                  <a:pt x="2191" y="842"/>
                  <a:pt x="2191" y="842"/>
                  <a:pt x="2191" y="842"/>
                </a:cubicBezTo>
                <a:close/>
                <a:moveTo>
                  <a:pt x="2107" y="761"/>
                </a:moveTo>
                <a:cubicBezTo>
                  <a:pt x="2107" y="762"/>
                  <a:pt x="2107" y="762"/>
                  <a:pt x="2107" y="762"/>
                </a:cubicBezTo>
                <a:cubicBezTo>
                  <a:pt x="2108" y="762"/>
                  <a:pt x="2108" y="762"/>
                  <a:pt x="2108" y="762"/>
                </a:cubicBezTo>
                <a:cubicBezTo>
                  <a:pt x="2109" y="762"/>
                  <a:pt x="2109" y="762"/>
                  <a:pt x="2109" y="762"/>
                </a:cubicBezTo>
                <a:cubicBezTo>
                  <a:pt x="2110" y="762"/>
                  <a:pt x="2110" y="762"/>
                  <a:pt x="2110" y="762"/>
                </a:cubicBezTo>
                <a:cubicBezTo>
                  <a:pt x="2110" y="761"/>
                  <a:pt x="2110" y="761"/>
                  <a:pt x="2110" y="761"/>
                </a:cubicBezTo>
                <a:cubicBezTo>
                  <a:pt x="2109" y="761"/>
                  <a:pt x="2109" y="761"/>
                  <a:pt x="2109" y="761"/>
                </a:cubicBezTo>
                <a:cubicBezTo>
                  <a:pt x="2107" y="761"/>
                  <a:pt x="2107" y="761"/>
                  <a:pt x="2107" y="761"/>
                </a:cubicBezTo>
                <a:close/>
                <a:moveTo>
                  <a:pt x="2123" y="855"/>
                </a:moveTo>
                <a:cubicBezTo>
                  <a:pt x="2123" y="855"/>
                  <a:pt x="2123" y="855"/>
                  <a:pt x="2123" y="856"/>
                </a:cubicBezTo>
                <a:cubicBezTo>
                  <a:pt x="2123" y="856"/>
                  <a:pt x="2123" y="856"/>
                  <a:pt x="2122" y="857"/>
                </a:cubicBezTo>
                <a:cubicBezTo>
                  <a:pt x="2122" y="857"/>
                  <a:pt x="2122" y="857"/>
                  <a:pt x="2122" y="858"/>
                </a:cubicBezTo>
                <a:cubicBezTo>
                  <a:pt x="2122" y="858"/>
                  <a:pt x="2122" y="858"/>
                  <a:pt x="2124" y="857"/>
                </a:cubicBezTo>
                <a:cubicBezTo>
                  <a:pt x="2124" y="857"/>
                  <a:pt x="2124" y="857"/>
                  <a:pt x="2125" y="855"/>
                </a:cubicBezTo>
                <a:cubicBezTo>
                  <a:pt x="2125" y="855"/>
                  <a:pt x="2125" y="855"/>
                  <a:pt x="2124" y="856"/>
                </a:cubicBezTo>
                <a:cubicBezTo>
                  <a:pt x="2124" y="856"/>
                  <a:pt x="2124" y="856"/>
                  <a:pt x="2123" y="855"/>
                </a:cubicBezTo>
                <a:close/>
                <a:moveTo>
                  <a:pt x="2125" y="810"/>
                </a:moveTo>
                <a:cubicBezTo>
                  <a:pt x="2125" y="810"/>
                  <a:pt x="2125" y="810"/>
                  <a:pt x="2124" y="810"/>
                </a:cubicBezTo>
                <a:cubicBezTo>
                  <a:pt x="2124" y="810"/>
                  <a:pt x="2124" y="810"/>
                  <a:pt x="2123" y="811"/>
                </a:cubicBezTo>
                <a:cubicBezTo>
                  <a:pt x="2123" y="811"/>
                  <a:pt x="2123" y="811"/>
                  <a:pt x="2124" y="812"/>
                </a:cubicBezTo>
                <a:cubicBezTo>
                  <a:pt x="2124" y="812"/>
                  <a:pt x="2124" y="812"/>
                  <a:pt x="2125" y="811"/>
                </a:cubicBezTo>
                <a:cubicBezTo>
                  <a:pt x="2125" y="811"/>
                  <a:pt x="2125" y="811"/>
                  <a:pt x="2125" y="810"/>
                </a:cubicBezTo>
                <a:close/>
                <a:moveTo>
                  <a:pt x="2177" y="847"/>
                </a:moveTo>
                <a:cubicBezTo>
                  <a:pt x="2178" y="846"/>
                  <a:pt x="2178" y="846"/>
                  <a:pt x="2178" y="846"/>
                </a:cubicBezTo>
                <a:cubicBezTo>
                  <a:pt x="2177" y="846"/>
                  <a:pt x="2177" y="846"/>
                  <a:pt x="2177" y="846"/>
                </a:cubicBezTo>
                <a:cubicBezTo>
                  <a:pt x="2177" y="847"/>
                  <a:pt x="2177" y="847"/>
                  <a:pt x="2177" y="847"/>
                </a:cubicBezTo>
                <a:close/>
                <a:moveTo>
                  <a:pt x="2123" y="809"/>
                </a:moveTo>
                <a:cubicBezTo>
                  <a:pt x="2123" y="809"/>
                  <a:pt x="2123" y="809"/>
                  <a:pt x="2121" y="809"/>
                </a:cubicBezTo>
                <a:cubicBezTo>
                  <a:pt x="2121" y="809"/>
                  <a:pt x="2121" y="809"/>
                  <a:pt x="2120" y="810"/>
                </a:cubicBezTo>
                <a:cubicBezTo>
                  <a:pt x="2120" y="810"/>
                  <a:pt x="2120" y="810"/>
                  <a:pt x="2120" y="811"/>
                </a:cubicBezTo>
                <a:cubicBezTo>
                  <a:pt x="2120" y="811"/>
                  <a:pt x="2120" y="811"/>
                  <a:pt x="2121" y="812"/>
                </a:cubicBezTo>
                <a:cubicBezTo>
                  <a:pt x="2121" y="812"/>
                  <a:pt x="2121" y="812"/>
                  <a:pt x="2122" y="811"/>
                </a:cubicBezTo>
                <a:cubicBezTo>
                  <a:pt x="2122" y="811"/>
                  <a:pt x="2122" y="811"/>
                  <a:pt x="2123" y="812"/>
                </a:cubicBezTo>
                <a:cubicBezTo>
                  <a:pt x="2123" y="812"/>
                  <a:pt x="2123" y="812"/>
                  <a:pt x="2123" y="811"/>
                </a:cubicBezTo>
                <a:cubicBezTo>
                  <a:pt x="2123" y="811"/>
                  <a:pt x="2123" y="811"/>
                  <a:pt x="2123" y="810"/>
                </a:cubicBezTo>
                <a:cubicBezTo>
                  <a:pt x="2123" y="810"/>
                  <a:pt x="2123" y="810"/>
                  <a:pt x="2123" y="809"/>
                </a:cubicBezTo>
                <a:close/>
                <a:moveTo>
                  <a:pt x="2116" y="836"/>
                </a:moveTo>
                <a:cubicBezTo>
                  <a:pt x="2117" y="836"/>
                  <a:pt x="2117" y="836"/>
                  <a:pt x="2117" y="836"/>
                </a:cubicBezTo>
                <a:cubicBezTo>
                  <a:pt x="2118" y="835"/>
                  <a:pt x="2118" y="835"/>
                  <a:pt x="2118" y="835"/>
                </a:cubicBezTo>
                <a:cubicBezTo>
                  <a:pt x="2118" y="834"/>
                  <a:pt x="2118" y="834"/>
                  <a:pt x="2118" y="834"/>
                </a:cubicBezTo>
                <a:cubicBezTo>
                  <a:pt x="2119" y="833"/>
                  <a:pt x="2119" y="833"/>
                  <a:pt x="2119" y="833"/>
                </a:cubicBezTo>
                <a:cubicBezTo>
                  <a:pt x="2118" y="832"/>
                  <a:pt x="2118" y="832"/>
                  <a:pt x="2118" y="832"/>
                </a:cubicBezTo>
                <a:cubicBezTo>
                  <a:pt x="2117" y="832"/>
                  <a:pt x="2117" y="832"/>
                  <a:pt x="2117" y="832"/>
                </a:cubicBezTo>
                <a:cubicBezTo>
                  <a:pt x="2116" y="833"/>
                  <a:pt x="2116" y="833"/>
                  <a:pt x="2116" y="833"/>
                </a:cubicBezTo>
                <a:cubicBezTo>
                  <a:pt x="2117" y="834"/>
                  <a:pt x="2117" y="834"/>
                  <a:pt x="2117" y="834"/>
                </a:cubicBezTo>
                <a:cubicBezTo>
                  <a:pt x="2116" y="835"/>
                  <a:pt x="2116" y="835"/>
                  <a:pt x="2116" y="835"/>
                </a:cubicBezTo>
                <a:lnTo>
                  <a:pt x="2116" y="836"/>
                </a:lnTo>
                <a:close/>
                <a:moveTo>
                  <a:pt x="2113" y="835"/>
                </a:moveTo>
                <a:cubicBezTo>
                  <a:pt x="2113" y="837"/>
                  <a:pt x="2113" y="837"/>
                  <a:pt x="2113" y="837"/>
                </a:cubicBezTo>
                <a:cubicBezTo>
                  <a:pt x="2114" y="837"/>
                  <a:pt x="2114" y="837"/>
                  <a:pt x="2114" y="837"/>
                </a:cubicBezTo>
                <a:cubicBezTo>
                  <a:pt x="2114" y="836"/>
                  <a:pt x="2114" y="836"/>
                  <a:pt x="2114" y="836"/>
                </a:cubicBezTo>
                <a:cubicBezTo>
                  <a:pt x="2114" y="835"/>
                  <a:pt x="2114" y="835"/>
                  <a:pt x="2114" y="835"/>
                </a:cubicBezTo>
                <a:cubicBezTo>
                  <a:pt x="2113" y="834"/>
                  <a:pt x="2113" y="834"/>
                  <a:pt x="2113" y="834"/>
                </a:cubicBezTo>
                <a:cubicBezTo>
                  <a:pt x="2113" y="835"/>
                  <a:pt x="2113" y="835"/>
                  <a:pt x="2113" y="835"/>
                </a:cubicBezTo>
                <a:close/>
                <a:moveTo>
                  <a:pt x="2105" y="848"/>
                </a:moveTo>
                <a:cubicBezTo>
                  <a:pt x="2106" y="848"/>
                  <a:pt x="2106" y="848"/>
                  <a:pt x="2106" y="848"/>
                </a:cubicBezTo>
                <a:cubicBezTo>
                  <a:pt x="2105" y="847"/>
                  <a:pt x="2105" y="847"/>
                  <a:pt x="2105" y="847"/>
                </a:cubicBezTo>
                <a:cubicBezTo>
                  <a:pt x="2104" y="848"/>
                  <a:pt x="2104" y="848"/>
                  <a:pt x="2104" y="848"/>
                </a:cubicBezTo>
                <a:cubicBezTo>
                  <a:pt x="2105" y="848"/>
                  <a:pt x="2105" y="848"/>
                  <a:pt x="2105" y="848"/>
                </a:cubicBezTo>
                <a:close/>
                <a:moveTo>
                  <a:pt x="2079" y="856"/>
                </a:moveTo>
                <a:cubicBezTo>
                  <a:pt x="2079" y="856"/>
                  <a:pt x="2079" y="856"/>
                  <a:pt x="2077" y="855"/>
                </a:cubicBezTo>
                <a:cubicBezTo>
                  <a:pt x="2077" y="855"/>
                  <a:pt x="2077" y="855"/>
                  <a:pt x="2076" y="856"/>
                </a:cubicBezTo>
                <a:cubicBezTo>
                  <a:pt x="2076" y="856"/>
                  <a:pt x="2076" y="856"/>
                  <a:pt x="2076" y="858"/>
                </a:cubicBezTo>
                <a:cubicBezTo>
                  <a:pt x="2076" y="858"/>
                  <a:pt x="2076" y="858"/>
                  <a:pt x="2075" y="858"/>
                </a:cubicBezTo>
                <a:cubicBezTo>
                  <a:pt x="2075" y="858"/>
                  <a:pt x="2075" y="858"/>
                  <a:pt x="2074" y="858"/>
                </a:cubicBezTo>
                <a:cubicBezTo>
                  <a:pt x="2074" y="858"/>
                  <a:pt x="2074" y="858"/>
                  <a:pt x="2075" y="859"/>
                </a:cubicBezTo>
                <a:cubicBezTo>
                  <a:pt x="2075" y="859"/>
                  <a:pt x="2075" y="859"/>
                  <a:pt x="2077" y="859"/>
                </a:cubicBezTo>
                <a:cubicBezTo>
                  <a:pt x="2077" y="859"/>
                  <a:pt x="2077" y="859"/>
                  <a:pt x="2078" y="859"/>
                </a:cubicBezTo>
                <a:cubicBezTo>
                  <a:pt x="2078" y="859"/>
                  <a:pt x="2078" y="859"/>
                  <a:pt x="2079" y="859"/>
                </a:cubicBezTo>
                <a:cubicBezTo>
                  <a:pt x="2079" y="859"/>
                  <a:pt x="2079" y="859"/>
                  <a:pt x="2078" y="858"/>
                </a:cubicBezTo>
                <a:cubicBezTo>
                  <a:pt x="2078" y="858"/>
                  <a:pt x="2078" y="858"/>
                  <a:pt x="2079" y="857"/>
                </a:cubicBezTo>
                <a:cubicBezTo>
                  <a:pt x="2079" y="857"/>
                  <a:pt x="2079" y="857"/>
                  <a:pt x="2079" y="856"/>
                </a:cubicBezTo>
                <a:close/>
                <a:moveTo>
                  <a:pt x="2077" y="822"/>
                </a:moveTo>
                <a:cubicBezTo>
                  <a:pt x="2077" y="822"/>
                  <a:pt x="2077" y="822"/>
                  <a:pt x="2077" y="821"/>
                </a:cubicBezTo>
                <a:cubicBezTo>
                  <a:pt x="2077" y="821"/>
                  <a:pt x="2077" y="821"/>
                  <a:pt x="2078" y="821"/>
                </a:cubicBezTo>
                <a:cubicBezTo>
                  <a:pt x="2078" y="821"/>
                  <a:pt x="2078" y="821"/>
                  <a:pt x="2079" y="819"/>
                </a:cubicBezTo>
                <a:cubicBezTo>
                  <a:pt x="2079" y="819"/>
                  <a:pt x="2079" y="819"/>
                  <a:pt x="2079" y="818"/>
                </a:cubicBezTo>
                <a:cubicBezTo>
                  <a:pt x="2079" y="818"/>
                  <a:pt x="2079" y="818"/>
                  <a:pt x="2080" y="817"/>
                </a:cubicBezTo>
                <a:cubicBezTo>
                  <a:pt x="2080" y="817"/>
                  <a:pt x="2080" y="817"/>
                  <a:pt x="2080" y="816"/>
                </a:cubicBezTo>
                <a:cubicBezTo>
                  <a:pt x="2080" y="816"/>
                  <a:pt x="2080" y="816"/>
                  <a:pt x="2079" y="816"/>
                </a:cubicBezTo>
                <a:cubicBezTo>
                  <a:pt x="2079" y="816"/>
                  <a:pt x="2079" y="816"/>
                  <a:pt x="2078" y="816"/>
                </a:cubicBezTo>
                <a:cubicBezTo>
                  <a:pt x="2078" y="816"/>
                  <a:pt x="2078" y="816"/>
                  <a:pt x="2079" y="815"/>
                </a:cubicBezTo>
                <a:cubicBezTo>
                  <a:pt x="2079" y="815"/>
                  <a:pt x="2079" y="815"/>
                  <a:pt x="2079" y="814"/>
                </a:cubicBezTo>
                <a:cubicBezTo>
                  <a:pt x="2079" y="814"/>
                  <a:pt x="2079" y="814"/>
                  <a:pt x="2078" y="814"/>
                </a:cubicBezTo>
                <a:cubicBezTo>
                  <a:pt x="2078" y="814"/>
                  <a:pt x="2078" y="814"/>
                  <a:pt x="2078" y="813"/>
                </a:cubicBezTo>
                <a:cubicBezTo>
                  <a:pt x="2078" y="813"/>
                  <a:pt x="2078" y="813"/>
                  <a:pt x="2079" y="813"/>
                </a:cubicBezTo>
                <a:cubicBezTo>
                  <a:pt x="2079" y="813"/>
                  <a:pt x="2079" y="813"/>
                  <a:pt x="2080" y="812"/>
                </a:cubicBezTo>
                <a:cubicBezTo>
                  <a:pt x="2080" y="812"/>
                  <a:pt x="2080" y="812"/>
                  <a:pt x="2080" y="811"/>
                </a:cubicBezTo>
                <a:cubicBezTo>
                  <a:pt x="2080" y="811"/>
                  <a:pt x="2080" y="811"/>
                  <a:pt x="2081" y="810"/>
                </a:cubicBezTo>
                <a:cubicBezTo>
                  <a:pt x="2081" y="810"/>
                  <a:pt x="2081" y="810"/>
                  <a:pt x="2081" y="809"/>
                </a:cubicBezTo>
                <a:cubicBezTo>
                  <a:pt x="2081" y="809"/>
                  <a:pt x="2081" y="809"/>
                  <a:pt x="2081" y="808"/>
                </a:cubicBezTo>
                <a:cubicBezTo>
                  <a:pt x="2081" y="808"/>
                  <a:pt x="2081" y="808"/>
                  <a:pt x="2082" y="808"/>
                </a:cubicBezTo>
                <a:cubicBezTo>
                  <a:pt x="2082" y="808"/>
                  <a:pt x="2082" y="808"/>
                  <a:pt x="2082" y="809"/>
                </a:cubicBezTo>
                <a:cubicBezTo>
                  <a:pt x="2082" y="809"/>
                  <a:pt x="2082" y="809"/>
                  <a:pt x="2083" y="808"/>
                </a:cubicBezTo>
                <a:cubicBezTo>
                  <a:pt x="2083" y="808"/>
                  <a:pt x="2083" y="808"/>
                  <a:pt x="2084" y="807"/>
                </a:cubicBezTo>
                <a:cubicBezTo>
                  <a:pt x="2084" y="807"/>
                  <a:pt x="2084" y="807"/>
                  <a:pt x="2083" y="806"/>
                </a:cubicBezTo>
                <a:cubicBezTo>
                  <a:pt x="2083" y="806"/>
                  <a:pt x="2083" y="806"/>
                  <a:pt x="2085" y="804"/>
                </a:cubicBezTo>
                <a:cubicBezTo>
                  <a:pt x="2085" y="804"/>
                  <a:pt x="2085" y="804"/>
                  <a:pt x="2085" y="802"/>
                </a:cubicBezTo>
                <a:cubicBezTo>
                  <a:pt x="2085" y="802"/>
                  <a:pt x="2085" y="802"/>
                  <a:pt x="2086" y="801"/>
                </a:cubicBezTo>
                <a:cubicBezTo>
                  <a:pt x="2086" y="801"/>
                  <a:pt x="2086" y="801"/>
                  <a:pt x="2086" y="799"/>
                </a:cubicBezTo>
                <a:cubicBezTo>
                  <a:pt x="2086" y="799"/>
                  <a:pt x="2086" y="799"/>
                  <a:pt x="2087" y="798"/>
                </a:cubicBezTo>
                <a:cubicBezTo>
                  <a:pt x="2087" y="798"/>
                  <a:pt x="2087" y="798"/>
                  <a:pt x="2087" y="797"/>
                </a:cubicBezTo>
                <a:cubicBezTo>
                  <a:pt x="2087" y="797"/>
                  <a:pt x="2087" y="797"/>
                  <a:pt x="2088" y="796"/>
                </a:cubicBezTo>
                <a:cubicBezTo>
                  <a:pt x="2088" y="796"/>
                  <a:pt x="2088" y="796"/>
                  <a:pt x="2089" y="797"/>
                </a:cubicBezTo>
                <a:cubicBezTo>
                  <a:pt x="2089" y="797"/>
                  <a:pt x="2089" y="797"/>
                  <a:pt x="2089" y="796"/>
                </a:cubicBezTo>
                <a:cubicBezTo>
                  <a:pt x="2089" y="796"/>
                  <a:pt x="2089" y="796"/>
                  <a:pt x="2089" y="794"/>
                </a:cubicBezTo>
                <a:cubicBezTo>
                  <a:pt x="2089" y="794"/>
                  <a:pt x="2089" y="794"/>
                  <a:pt x="2091" y="796"/>
                </a:cubicBezTo>
                <a:cubicBezTo>
                  <a:pt x="2091" y="796"/>
                  <a:pt x="2091" y="796"/>
                  <a:pt x="2092" y="797"/>
                </a:cubicBezTo>
                <a:cubicBezTo>
                  <a:pt x="2092" y="797"/>
                  <a:pt x="2092" y="797"/>
                  <a:pt x="2093" y="796"/>
                </a:cubicBezTo>
                <a:cubicBezTo>
                  <a:pt x="2093" y="796"/>
                  <a:pt x="2093" y="796"/>
                  <a:pt x="2094" y="796"/>
                </a:cubicBezTo>
                <a:cubicBezTo>
                  <a:pt x="2094" y="796"/>
                  <a:pt x="2094" y="796"/>
                  <a:pt x="2095" y="796"/>
                </a:cubicBezTo>
                <a:cubicBezTo>
                  <a:pt x="2095" y="796"/>
                  <a:pt x="2095" y="796"/>
                  <a:pt x="2095" y="795"/>
                </a:cubicBezTo>
                <a:cubicBezTo>
                  <a:pt x="2095" y="795"/>
                  <a:pt x="2095" y="795"/>
                  <a:pt x="2094" y="794"/>
                </a:cubicBezTo>
                <a:cubicBezTo>
                  <a:pt x="2094" y="794"/>
                  <a:pt x="2094" y="794"/>
                  <a:pt x="2093" y="793"/>
                </a:cubicBezTo>
                <a:cubicBezTo>
                  <a:pt x="2093" y="793"/>
                  <a:pt x="2093" y="793"/>
                  <a:pt x="2092" y="793"/>
                </a:cubicBezTo>
                <a:cubicBezTo>
                  <a:pt x="2092" y="793"/>
                  <a:pt x="2092" y="793"/>
                  <a:pt x="2089" y="790"/>
                </a:cubicBezTo>
                <a:cubicBezTo>
                  <a:pt x="2089" y="790"/>
                  <a:pt x="2089" y="790"/>
                  <a:pt x="2088" y="790"/>
                </a:cubicBezTo>
                <a:cubicBezTo>
                  <a:pt x="2088" y="790"/>
                  <a:pt x="2088" y="790"/>
                  <a:pt x="2088" y="788"/>
                </a:cubicBezTo>
                <a:cubicBezTo>
                  <a:pt x="2088" y="788"/>
                  <a:pt x="2088" y="788"/>
                  <a:pt x="2087" y="788"/>
                </a:cubicBezTo>
                <a:cubicBezTo>
                  <a:pt x="2087" y="788"/>
                  <a:pt x="2087" y="788"/>
                  <a:pt x="2087" y="787"/>
                </a:cubicBezTo>
                <a:cubicBezTo>
                  <a:pt x="2087" y="787"/>
                  <a:pt x="2087" y="787"/>
                  <a:pt x="2089" y="787"/>
                </a:cubicBezTo>
                <a:cubicBezTo>
                  <a:pt x="2089" y="787"/>
                  <a:pt x="2089" y="787"/>
                  <a:pt x="2090" y="786"/>
                </a:cubicBezTo>
                <a:cubicBezTo>
                  <a:pt x="2090" y="786"/>
                  <a:pt x="2090" y="786"/>
                  <a:pt x="2089" y="785"/>
                </a:cubicBezTo>
                <a:cubicBezTo>
                  <a:pt x="2089" y="785"/>
                  <a:pt x="2089" y="785"/>
                  <a:pt x="2087" y="783"/>
                </a:cubicBezTo>
                <a:cubicBezTo>
                  <a:pt x="2087" y="783"/>
                  <a:pt x="2087" y="783"/>
                  <a:pt x="2086" y="781"/>
                </a:cubicBezTo>
                <a:cubicBezTo>
                  <a:pt x="2086" y="781"/>
                  <a:pt x="2086" y="781"/>
                  <a:pt x="2085" y="780"/>
                </a:cubicBezTo>
                <a:cubicBezTo>
                  <a:pt x="2085" y="780"/>
                  <a:pt x="2085" y="780"/>
                  <a:pt x="2086" y="779"/>
                </a:cubicBezTo>
                <a:cubicBezTo>
                  <a:pt x="2086" y="779"/>
                  <a:pt x="2086" y="779"/>
                  <a:pt x="2086" y="778"/>
                </a:cubicBezTo>
                <a:cubicBezTo>
                  <a:pt x="2086" y="778"/>
                  <a:pt x="2086" y="778"/>
                  <a:pt x="2085" y="777"/>
                </a:cubicBezTo>
                <a:cubicBezTo>
                  <a:pt x="2085" y="777"/>
                  <a:pt x="2085" y="777"/>
                  <a:pt x="2086" y="777"/>
                </a:cubicBezTo>
                <a:cubicBezTo>
                  <a:pt x="2087" y="778"/>
                  <a:pt x="2087" y="778"/>
                  <a:pt x="2087" y="778"/>
                </a:cubicBezTo>
                <a:cubicBezTo>
                  <a:pt x="2088" y="777"/>
                  <a:pt x="2088" y="777"/>
                  <a:pt x="2088" y="777"/>
                </a:cubicBezTo>
                <a:cubicBezTo>
                  <a:pt x="2088" y="777"/>
                  <a:pt x="2088" y="777"/>
                  <a:pt x="2087" y="775"/>
                </a:cubicBezTo>
                <a:cubicBezTo>
                  <a:pt x="2087" y="775"/>
                  <a:pt x="2087" y="775"/>
                  <a:pt x="2085" y="775"/>
                </a:cubicBezTo>
                <a:cubicBezTo>
                  <a:pt x="2085" y="775"/>
                  <a:pt x="2085" y="775"/>
                  <a:pt x="2086" y="774"/>
                </a:cubicBezTo>
                <a:cubicBezTo>
                  <a:pt x="2086" y="774"/>
                  <a:pt x="2086" y="774"/>
                  <a:pt x="2086" y="773"/>
                </a:cubicBezTo>
                <a:cubicBezTo>
                  <a:pt x="2087" y="772"/>
                  <a:pt x="2087" y="772"/>
                  <a:pt x="2087" y="772"/>
                </a:cubicBezTo>
                <a:cubicBezTo>
                  <a:pt x="2088" y="773"/>
                  <a:pt x="2088" y="773"/>
                  <a:pt x="2088" y="773"/>
                </a:cubicBezTo>
                <a:cubicBezTo>
                  <a:pt x="2089" y="774"/>
                  <a:pt x="2089" y="774"/>
                  <a:pt x="2089" y="774"/>
                </a:cubicBezTo>
                <a:cubicBezTo>
                  <a:pt x="2090" y="773"/>
                  <a:pt x="2090" y="773"/>
                  <a:pt x="2090" y="773"/>
                </a:cubicBezTo>
                <a:cubicBezTo>
                  <a:pt x="2092" y="773"/>
                  <a:pt x="2092" y="773"/>
                  <a:pt x="2092" y="773"/>
                </a:cubicBezTo>
                <a:cubicBezTo>
                  <a:pt x="2092" y="772"/>
                  <a:pt x="2092" y="772"/>
                  <a:pt x="2092" y="772"/>
                </a:cubicBezTo>
                <a:cubicBezTo>
                  <a:pt x="2090" y="771"/>
                  <a:pt x="2090" y="771"/>
                  <a:pt x="2090" y="771"/>
                </a:cubicBezTo>
                <a:cubicBezTo>
                  <a:pt x="2090" y="769"/>
                  <a:pt x="2090" y="769"/>
                  <a:pt x="2090" y="769"/>
                </a:cubicBezTo>
                <a:cubicBezTo>
                  <a:pt x="2091" y="768"/>
                  <a:pt x="2091" y="768"/>
                  <a:pt x="2091" y="768"/>
                </a:cubicBezTo>
                <a:cubicBezTo>
                  <a:pt x="2094" y="769"/>
                  <a:pt x="2094" y="769"/>
                  <a:pt x="2094" y="769"/>
                </a:cubicBezTo>
                <a:cubicBezTo>
                  <a:pt x="2096" y="768"/>
                  <a:pt x="2096" y="768"/>
                  <a:pt x="2096" y="768"/>
                </a:cubicBezTo>
                <a:cubicBezTo>
                  <a:pt x="2097" y="767"/>
                  <a:pt x="2097" y="767"/>
                  <a:pt x="2097" y="767"/>
                </a:cubicBezTo>
                <a:cubicBezTo>
                  <a:pt x="2097" y="766"/>
                  <a:pt x="2097" y="766"/>
                  <a:pt x="2097" y="766"/>
                </a:cubicBezTo>
                <a:cubicBezTo>
                  <a:pt x="2096" y="766"/>
                  <a:pt x="2096" y="766"/>
                  <a:pt x="2096" y="766"/>
                </a:cubicBezTo>
                <a:cubicBezTo>
                  <a:pt x="2094" y="766"/>
                  <a:pt x="2094" y="766"/>
                  <a:pt x="2094" y="766"/>
                </a:cubicBezTo>
                <a:cubicBezTo>
                  <a:pt x="2093" y="765"/>
                  <a:pt x="2093" y="765"/>
                  <a:pt x="2093" y="765"/>
                </a:cubicBezTo>
                <a:cubicBezTo>
                  <a:pt x="2092" y="765"/>
                  <a:pt x="2092" y="765"/>
                  <a:pt x="2092" y="765"/>
                </a:cubicBezTo>
                <a:cubicBezTo>
                  <a:pt x="2091" y="763"/>
                  <a:pt x="2091" y="763"/>
                  <a:pt x="2091" y="763"/>
                </a:cubicBezTo>
                <a:cubicBezTo>
                  <a:pt x="2090" y="763"/>
                  <a:pt x="2090" y="763"/>
                  <a:pt x="2090" y="763"/>
                </a:cubicBezTo>
                <a:cubicBezTo>
                  <a:pt x="2089" y="764"/>
                  <a:pt x="2089" y="764"/>
                  <a:pt x="2089" y="764"/>
                </a:cubicBezTo>
                <a:cubicBezTo>
                  <a:pt x="2088" y="764"/>
                  <a:pt x="2088" y="764"/>
                  <a:pt x="2088" y="764"/>
                </a:cubicBezTo>
                <a:cubicBezTo>
                  <a:pt x="2090" y="763"/>
                  <a:pt x="2090" y="763"/>
                  <a:pt x="2090" y="763"/>
                </a:cubicBezTo>
                <a:cubicBezTo>
                  <a:pt x="2089" y="762"/>
                  <a:pt x="2089" y="762"/>
                  <a:pt x="2089" y="762"/>
                </a:cubicBezTo>
                <a:cubicBezTo>
                  <a:pt x="2088" y="762"/>
                  <a:pt x="2088" y="762"/>
                  <a:pt x="2088" y="762"/>
                </a:cubicBezTo>
                <a:cubicBezTo>
                  <a:pt x="2087" y="763"/>
                  <a:pt x="2087" y="763"/>
                  <a:pt x="2087" y="763"/>
                </a:cubicBezTo>
                <a:cubicBezTo>
                  <a:pt x="2086" y="762"/>
                  <a:pt x="2086" y="762"/>
                  <a:pt x="2086" y="762"/>
                </a:cubicBezTo>
                <a:cubicBezTo>
                  <a:pt x="2086" y="761"/>
                  <a:pt x="2086" y="761"/>
                  <a:pt x="2086" y="761"/>
                </a:cubicBezTo>
                <a:cubicBezTo>
                  <a:pt x="2088" y="760"/>
                  <a:pt x="2088" y="760"/>
                  <a:pt x="2088" y="760"/>
                </a:cubicBezTo>
                <a:cubicBezTo>
                  <a:pt x="2087" y="759"/>
                  <a:pt x="2087" y="759"/>
                  <a:pt x="2087" y="759"/>
                </a:cubicBezTo>
                <a:cubicBezTo>
                  <a:pt x="2086" y="758"/>
                  <a:pt x="2086" y="758"/>
                  <a:pt x="2086" y="758"/>
                </a:cubicBezTo>
                <a:cubicBezTo>
                  <a:pt x="2085" y="759"/>
                  <a:pt x="2085" y="759"/>
                  <a:pt x="2085" y="759"/>
                </a:cubicBezTo>
                <a:cubicBezTo>
                  <a:pt x="2084" y="758"/>
                  <a:pt x="2084" y="758"/>
                  <a:pt x="2084" y="758"/>
                </a:cubicBezTo>
                <a:cubicBezTo>
                  <a:pt x="2084" y="756"/>
                  <a:pt x="2084" y="756"/>
                  <a:pt x="2084" y="756"/>
                </a:cubicBezTo>
                <a:cubicBezTo>
                  <a:pt x="2083" y="755"/>
                  <a:pt x="2083" y="755"/>
                  <a:pt x="2083" y="755"/>
                </a:cubicBezTo>
                <a:cubicBezTo>
                  <a:pt x="2082" y="755"/>
                  <a:pt x="2082" y="755"/>
                  <a:pt x="2082" y="755"/>
                </a:cubicBezTo>
                <a:cubicBezTo>
                  <a:pt x="2083" y="757"/>
                  <a:pt x="2083" y="757"/>
                  <a:pt x="2083" y="757"/>
                </a:cubicBezTo>
                <a:cubicBezTo>
                  <a:pt x="2081" y="758"/>
                  <a:pt x="2081" y="758"/>
                  <a:pt x="2081" y="758"/>
                </a:cubicBezTo>
                <a:cubicBezTo>
                  <a:pt x="2081" y="757"/>
                  <a:pt x="2081" y="757"/>
                  <a:pt x="2081" y="757"/>
                </a:cubicBezTo>
                <a:cubicBezTo>
                  <a:pt x="2081" y="756"/>
                  <a:pt x="2081" y="756"/>
                  <a:pt x="2081" y="756"/>
                </a:cubicBezTo>
                <a:cubicBezTo>
                  <a:pt x="2080" y="756"/>
                  <a:pt x="2080" y="756"/>
                  <a:pt x="2080" y="756"/>
                </a:cubicBezTo>
                <a:cubicBezTo>
                  <a:pt x="2079" y="758"/>
                  <a:pt x="2079" y="758"/>
                  <a:pt x="2079" y="758"/>
                </a:cubicBezTo>
                <a:cubicBezTo>
                  <a:pt x="2078" y="759"/>
                  <a:pt x="2078" y="759"/>
                  <a:pt x="2078" y="759"/>
                </a:cubicBezTo>
                <a:cubicBezTo>
                  <a:pt x="2077" y="762"/>
                  <a:pt x="2077" y="762"/>
                  <a:pt x="2077" y="762"/>
                </a:cubicBezTo>
                <a:cubicBezTo>
                  <a:pt x="2077" y="763"/>
                  <a:pt x="2077" y="763"/>
                  <a:pt x="2077" y="763"/>
                </a:cubicBezTo>
                <a:cubicBezTo>
                  <a:pt x="2075" y="766"/>
                  <a:pt x="2075" y="766"/>
                  <a:pt x="2075" y="766"/>
                </a:cubicBezTo>
                <a:cubicBezTo>
                  <a:pt x="2074" y="766"/>
                  <a:pt x="2074" y="766"/>
                  <a:pt x="2074" y="766"/>
                </a:cubicBezTo>
                <a:cubicBezTo>
                  <a:pt x="2072" y="766"/>
                  <a:pt x="2072" y="766"/>
                  <a:pt x="2072" y="766"/>
                </a:cubicBezTo>
                <a:cubicBezTo>
                  <a:pt x="2071" y="767"/>
                  <a:pt x="2071" y="767"/>
                  <a:pt x="2071" y="767"/>
                </a:cubicBezTo>
                <a:cubicBezTo>
                  <a:pt x="2072" y="767"/>
                  <a:pt x="2072" y="767"/>
                  <a:pt x="2072" y="767"/>
                </a:cubicBezTo>
                <a:cubicBezTo>
                  <a:pt x="2071" y="768"/>
                  <a:pt x="2071" y="768"/>
                  <a:pt x="2071" y="768"/>
                </a:cubicBezTo>
                <a:cubicBezTo>
                  <a:pt x="2072" y="768"/>
                  <a:pt x="2072" y="768"/>
                  <a:pt x="2072" y="768"/>
                </a:cubicBezTo>
                <a:cubicBezTo>
                  <a:pt x="2073" y="768"/>
                  <a:pt x="2073" y="768"/>
                  <a:pt x="2073" y="768"/>
                </a:cubicBezTo>
                <a:cubicBezTo>
                  <a:pt x="2072" y="769"/>
                  <a:pt x="2072" y="769"/>
                  <a:pt x="2072" y="769"/>
                </a:cubicBezTo>
                <a:cubicBezTo>
                  <a:pt x="2071" y="770"/>
                  <a:pt x="2071" y="770"/>
                  <a:pt x="2071" y="770"/>
                </a:cubicBezTo>
                <a:cubicBezTo>
                  <a:pt x="2071" y="769"/>
                  <a:pt x="2071" y="769"/>
                  <a:pt x="2071" y="769"/>
                </a:cubicBezTo>
                <a:cubicBezTo>
                  <a:pt x="2070" y="768"/>
                  <a:pt x="2070" y="768"/>
                  <a:pt x="2070" y="768"/>
                </a:cubicBezTo>
                <a:cubicBezTo>
                  <a:pt x="2069" y="768"/>
                  <a:pt x="2069" y="768"/>
                  <a:pt x="2069" y="768"/>
                </a:cubicBezTo>
                <a:cubicBezTo>
                  <a:pt x="2068" y="769"/>
                  <a:pt x="2068" y="769"/>
                  <a:pt x="2068" y="769"/>
                </a:cubicBezTo>
                <a:cubicBezTo>
                  <a:pt x="2065" y="770"/>
                  <a:pt x="2065" y="770"/>
                  <a:pt x="2065" y="770"/>
                </a:cubicBezTo>
                <a:cubicBezTo>
                  <a:pt x="2064" y="772"/>
                  <a:pt x="2064" y="772"/>
                  <a:pt x="2064" y="772"/>
                </a:cubicBezTo>
                <a:cubicBezTo>
                  <a:pt x="2064" y="773"/>
                  <a:pt x="2064" y="773"/>
                  <a:pt x="2064" y="773"/>
                </a:cubicBezTo>
                <a:cubicBezTo>
                  <a:pt x="2063" y="774"/>
                  <a:pt x="2063" y="774"/>
                  <a:pt x="2063" y="774"/>
                </a:cubicBezTo>
                <a:cubicBezTo>
                  <a:pt x="2062" y="776"/>
                  <a:pt x="2062" y="776"/>
                  <a:pt x="2062" y="776"/>
                </a:cubicBezTo>
                <a:cubicBezTo>
                  <a:pt x="2060" y="777"/>
                  <a:pt x="2060" y="777"/>
                  <a:pt x="2060" y="777"/>
                </a:cubicBezTo>
                <a:cubicBezTo>
                  <a:pt x="2060" y="779"/>
                  <a:pt x="2060" y="779"/>
                  <a:pt x="2060" y="779"/>
                </a:cubicBezTo>
                <a:cubicBezTo>
                  <a:pt x="2058" y="780"/>
                  <a:pt x="2058" y="780"/>
                  <a:pt x="2058" y="780"/>
                </a:cubicBezTo>
                <a:cubicBezTo>
                  <a:pt x="2057" y="782"/>
                  <a:pt x="2057" y="782"/>
                  <a:pt x="2057" y="782"/>
                </a:cubicBezTo>
                <a:cubicBezTo>
                  <a:pt x="2052" y="783"/>
                  <a:pt x="2052" y="783"/>
                  <a:pt x="2052" y="783"/>
                </a:cubicBezTo>
                <a:cubicBezTo>
                  <a:pt x="2051" y="783"/>
                  <a:pt x="2051" y="783"/>
                  <a:pt x="2051" y="783"/>
                </a:cubicBezTo>
                <a:cubicBezTo>
                  <a:pt x="2050" y="784"/>
                  <a:pt x="2050" y="784"/>
                  <a:pt x="2050" y="784"/>
                </a:cubicBezTo>
                <a:cubicBezTo>
                  <a:pt x="2049" y="784"/>
                  <a:pt x="2049" y="784"/>
                  <a:pt x="2049" y="784"/>
                </a:cubicBezTo>
                <a:cubicBezTo>
                  <a:pt x="2050" y="785"/>
                  <a:pt x="2050" y="785"/>
                  <a:pt x="2050" y="785"/>
                </a:cubicBezTo>
                <a:cubicBezTo>
                  <a:pt x="2051" y="785"/>
                  <a:pt x="2051" y="785"/>
                  <a:pt x="2051" y="785"/>
                </a:cubicBezTo>
                <a:cubicBezTo>
                  <a:pt x="2050" y="786"/>
                  <a:pt x="2050" y="786"/>
                  <a:pt x="2050" y="786"/>
                </a:cubicBezTo>
                <a:cubicBezTo>
                  <a:pt x="2049" y="786"/>
                  <a:pt x="2049" y="786"/>
                  <a:pt x="2049" y="786"/>
                </a:cubicBezTo>
                <a:cubicBezTo>
                  <a:pt x="2048" y="787"/>
                  <a:pt x="2048" y="787"/>
                  <a:pt x="2048" y="787"/>
                </a:cubicBezTo>
                <a:cubicBezTo>
                  <a:pt x="2048" y="788"/>
                  <a:pt x="2048" y="788"/>
                  <a:pt x="2048" y="788"/>
                </a:cubicBezTo>
                <a:cubicBezTo>
                  <a:pt x="2048" y="790"/>
                  <a:pt x="2048" y="790"/>
                  <a:pt x="2048" y="790"/>
                </a:cubicBezTo>
                <a:cubicBezTo>
                  <a:pt x="2047" y="791"/>
                  <a:pt x="2047" y="791"/>
                  <a:pt x="2047" y="791"/>
                </a:cubicBezTo>
                <a:cubicBezTo>
                  <a:pt x="2047" y="792"/>
                  <a:pt x="2047" y="792"/>
                  <a:pt x="2047" y="792"/>
                </a:cubicBezTo>
                <a:cubicBezTo>
                  <a:pt x="2044" y="792"/>
                  <a:pt x="2044" y="792"/>
                  <a:pt x="2044" y="792"/>
                </a:cubicBezTo>
                <a:cubicBezTo>
                  <a:pt x="2042" y="791"/>
                  <a:pt x="2042" y="791"/>
                  <a:pt x="2042" y="791"/>
                </a:cubicBezTo>
                <a:cubicBezTo>
                  <a:pt x="2040" y="791"/>
                  <a:pt x="2040" y="791"/>
                  <a:pt x="2040" y="791"/>
                </a:cubicBezTo>
                <a:cubicBezTo>
                  <a:pt x="2039" y="790"/>
                  <a:pt x="2039" y="790"/>
                  <a:pt x="2039" y="790"/>
                </a:cubicBezTo>
                <a:cubicBezTo>
                  <a:pt x="2038" y="789"/>
                  <a:pt x="2038" y="789"/>
                  <a:pt x="2038" y="789"/>
                </a:cubicBezTo>
                <a:cubicBezTo>
                  <a:pt x="2038" y="789"/>
                  <a:pt x="2038" y="789"/>
                  <a:pt x="2037" y="789"/>
                </a:cubicBezTo>
                <a:cubicBezTo>
                  <a:pt x="2037" y="789"/>
                  <a:pt x="2037" y="789"/>
                  <a:pt x="2036" y="790"/>
                </a:cubicBezTo>
                <a:cubicBezTo>
                  <a:pt x="2036" y="790"/>
                  <a:pt x="2036" y="790"/>
                  <a:pt x="2034" y="792"/>
                </a:cubicBezTo>
                <a:cubicBezTo>
                  <a:pt x="2034" y="792"/>
                  <a:pt x="2034" y="792"/>
                  <a:pt x="2033" y="794"/>
                </a:cubicBezTo>
                <a:cubicBezTo>
                  <a:pt x="2033" y="794"/>
                  <a:pt x="2033" y="794"/>
                  <a:pt x="2034" y="795"/>
                </a:cubicBezTo>
                <a:cubicBezTo>
                  <a:pt x="2034" y="795"/>
                  <a:pt x="2034" y="795"/>
                  <a:pt x="2034" y="796"/>
                </a:cubicBezTo>
                <a:cubicBezTo>
                  <a:pt x="2034" y="796"/>
                  <a:pt x="2034" y="796"/>
                  <a:pt x="2033" y="797"/>
                </a:cubicBezTo>
                <a:cubicBezTo>
                  <a:pt x="2033" y="797"/>
                  <a:pt x="2033" y="797"/>
                  <a:pt x="2033" y="799"/>
                </a:cubicBezTo>
                <a:cubicBezTo>
                  <a:pt x="2033" y="799"/>
                  <a:pt x="2033" y="799"/>
                  <a:pt x="2035" y="801"/>
                </a:cubicBezTo>
                <a:cubicBezTo>
                  <a:pt x="2035" y="801"/>
                  <a:pt x="2035" y="801"/>
                  <a:pt x="2035" y="802"/>
                </a:cubicBezTo>
                <a:cubicBezTo>
                  <a:pt x="2035" y="802"/>
                  <a:pt x="2035" y="802"/>
                  <a:pt x="2034" y="802"/>
                </a:cubicBezTo>
                <a:cubicBezTo>
                  <a:pt x="2034" y="802"/>
                  <a:pt x="2034" y="802"/>
                  <a:pt x="2035" y="804"/>
                </a:cubicBezTo>
                <a:cubicBezTo>
                  <a:pt x="2035" y="804"/>
                  <a:pt x="2035" y="804"/>
                  <a:pt x="2034" y="804"/>
                </a:cubicBezTo>
                <a:cubicBezTo>
                  <a:pt x="2034" y="804"/>
                  <a:pt x="2034" y="804"/>
                  <a:pt x="2035" y="805"/>
                </a:cubicBezTo>
                <a:cubicBezTo>
                  <a:pt x="2035" y="805"/>
                  <a:pt x="2035" y="805"/>
                  <a:pt x="2036" y="805"/>
                </a:cubicBezTo>
                <a:cubicBezTo>
                  <a:pt x="2036" y="805"/>
                  <a:pt x="2036" y="805"/>
                  <a:pt x="2036" y="804"/>
                </a:cubicBezTo>
                <a:cubicBezTo>
                  <a:pt x="2036" y="804"/>
                  <a:pt x="2036" y="804"/>
                  <a:pt x="2037" y="804"/>
                </a:cubicBezTo>
                <a:cubicBezTo>
                  <a:pt x="2037" y="804"/>
                  <a:pt x="2037" y="804"/>
                  <a:pt x="2039" y="804"/>
                </a:cubicBezTo>
                <a:cubicBezTo>
                  <a:pt x="2039" y="804"/>
                  <a:pt x="2039" y="804"/>
                  <a:pt x="2037" y="805"/>
                </a:cubicBezTo>
                <a:cubicBezTo>
                  <a:pt x="2037" y="805"/>
                  <a:pt x="2037" y="805"/>
                  <a:pt x="2036" y="805"/>
                </a:cubicBezTo>
                <a:cubicBezTo>
                  <a:pt x="2036" y="805"/>
                  <a:pt x="2036" y="805"/>
                  <a:pt x="2035" y="806"/>
                </a:cubicBezTo>
                <a:cubicBezTo>
                  <a:pt x="2035" y="806"/>
                  <a:pt x="2035" y="806"/>
                  <a:pt x="2036" y="806"/>
                </a:cubicBezTo>
                <a:cubicBezTo>
                  <a:pt x="2036" y="806"/>
                  <a:pt x="2036" y="806"/>
                  <a:pt x="2038" y="807"/>
                </a:cubicBezTo>
                <a:cubicBezTo>
                  <a:pt x="2038" y="807"/>
                  <a:pt x="2038" y="807"/>
                  <a:pt x="2040" y="809"/>
                </a:cubicBezTo>
                <a:cubicBezTo>
                  <a:pt x="2040" y="809"/>
                  <a:pt x="2040" y="809"/>
                  <a:pt x="2040" y="810"/>
                </a:cubicBezTo>
                <a:cubicBezTo>
                  <a:pt x="2040" y="810"/>
                  <a:pt x="2040" y="810"/>
                  <a:pt x="2040" y="811"/>
                </a:cubicBezTo>
                <a:cubicBezTo>
                  <a:pt x="2040" y="811"/>
                  <a:pt x="2040" y="811"/>
                  <a:pt x="2040" y="813"/>
                </a:cubicBezTo>
                <a:cubicBezTo>
                  <a:pt x="2040" y="813"/>
                  <a:pt x="2040" y="813"/>
                  <a:pt x="2039" y="813"/>
                </a:cubicBezTo>
                <a:cubicBezTo>
                  <a:pt x="2039" y="813"/>
                  <a:pt x="2039" y="813"/>
                  <a:pt x="2039" y="814"/>
                </a:cubicBezTo>
                <a:cubicBezTo>
                  <a:pt x="2039" y="814"/>
                  <a:pt x="2039" y="814"/>
                  <a:pt x="2040" y="815"/>
                </a:cubicBezTo>
                <a:cubicBezTo>
                  <a:pt x="2040" y="815"/>
                  <a:pt x="2040" y="815"/>
                  <a:pt x="2041" y="818"/>
                </a:cubicBezTo>
                <a:cubicBezTo>
                  <a:pt x="2041" y="818"/>
                  <a:pt x="2041" y="818"/>
                  <a:pt x="2041" y="819"/>
                </a:cubicBezTo>
                <a:cubicBezTo>
                  <a:pt x="2041" y="819"/>
                  <a:pt x="2041" y="819"/>
                  <a:pt x="2041" y="821"/>
                </a:cubicBezTo>
                <a:cubicBezTo>
                  <a:pt x="2041" y="821"/>
                  <a:pt x="2041" y="821"/>
                  <a:pt x="2042" y="821"/>
                </a:cubicBezTo>
                <a:cubicBezTo>
                  <a:pt x="2042" y="821"/>
                  <a:pt x="2042" y="821"/>
                  <a:pt x="2043" y="820"/>
                </a:cubicBezTo>
                <a:cubicBezTo>
                  <a:pt x="2043" y="820"/>
                  <a:pt x="2043" y="820"/>
                  <a:pt x="2043" y="821"/>
                </a:cubicBezTo>
                <a:cubicBezTo>
                  <a:pt x="2043" y="821"/>
                  <a:pt x="2043" y="821"/>
                  <a:pt x="2045" y="821"/>
                </a:cubicBezTo>
                <a:cubicBezTo>
                  <a:pt x="2045" y="821"/>
                  <a:pt x="2045" y="821"/>
                  <a:pt x="2046" y="821"/>
                </a:cubicBezTo>
                <a:cubicBezTo>
                  <a:pt x="2046" y="821"/>
                  <a:pt x="2046" y="821"/>
                  <a:pt x="2047" y="821"/>
                </a:cubicBezTo>
                <a:cubicBezTo>
                  <a:pt x="2047" y="821"/>
                  <a:pt x="2047" y="821"/>
                  <a:pt x="2048" y="820"/>
                </a:cubicBezTo>
                <a:cubicBezTo>
                  <a:pt x="2048" y="820"/>
                  <a:pt x="2048" y="820"/>
                  <a:pt x="2049" y="821"/>
                </a:cubicBezTo>
                <a:cubicBezTo>
                  <a:pt x="2049" y="821"/>
                  <a:pt x="2049" y="821"/>
                  <a:pt x="2050" y="820"/>
                </a:cubicBezTo>
                <a:cubicBezTo>
                  <a:pt x="2050" y="820"/>
                  <a:pt x="2050" y="820"/>
                  <a:pt x="2051" y="819"/>
                </a:cubicBezTo>
                <a:cubicBezTo>
                  <a:pt x="2051" y="819"/>
                  <a:pt x="2051" y="819"/>
                  <a:pt x="2051" y="820"/>
                </a:cubicBezTo>
                <a:cubicBezTo>
                  <a:pt x="2051" y="820"/>
                  <a:pt x="2051" y="820"/>
                  <a:pt x="2051" y="822"/>
                </a:cubicBezTo>
                <a:cubicBezTo>
                  <a:pt x="2051" y="822"/>
                  <a:pt x="2051" y="822"/>
                  <a:pt x="2051" y="824"/>
                </a:cubicBezTo>
                <a:cubicBezTo>
                  <a:pt x="2051" y="824"/>
                  <a:pt x="2051" y="824"/>
                  <a:pt x="2051" y="825"/>
                </a:cubicBezTo>
                <a:cubicBezTo>
                  <a:pt x="2051" y="825"/>
                  <a:pt x="2051" y="825"/>
                  <a:pt x="2052" y="825"/>
                </a:cubicBezTo>
                <a:cubicBezTo>
                  <a:pt x="2052" y="825"/>
                  <a:pt x="2052" y="825"/>
                  <a:pt x="2053" y="823"/>
                </a:cubicBezTo>
                <a:cubicBezTo>
                  <a:pt x="2053" y="823"/>
                  <a:pt x="2053" y="823"/>
                  <a:pt x="2054" y="823"/>
                </a:cubicBezTo>
                <a:cubicBezTo>
                  <a:pt x="2054" y="823"/>
                  <a:pt x="2054" y="823"/>
                  <a:pt x="2055" y="824"/>
                </a:cubicBezTo>
                <a:cubicBezTo>
                  <a:pt x="2055" y="824"/>
                  <a:pt x="2055" y="824"/>
                  <a:pt x="2056" y="824"/>
                </a:cubicBezTo>
                <a:cubicBezTo>
                  <a:pt x="2056" y="824"/>
                  <a:pt x="2056" y="824"/>
                  <a:pt x="2056" y="823"/>
                </a:cubicBezTo>
                <a:cubicBezTo>
                  <a:pt x="2056" y="823"/>
                  <a:pt x="2056" y="823"/>
                  <a:pt x="2058" y="823"/>
                </a:cubicBezTo>
                <a:cubicBezTo>
                  <a:pt x="2058" y="823"/>
                  <a:pt x="2058" y="823"/>
                  <a:pt x="2059" y="822"/>
                </a:cubicBezTo>
                <a:cubicBezTo>
                  <a:pt x="2059" y="822"/>
                  <a:pt x="2059" y="822"/>
                  <a:pt x="2060" y="822"/>
                </a:cubicBezTo>
                <a:cubicBezTo>
                  <a:pt x="2060" y="822"/>
                  <a:pt x="2060" y="822"/>
                  <a:pt x="2061" y="822"/>
                </a:cubicBezTo>
                <a:cubicBezTo>
                  <a:pt x="2061" y="822"/>
                  <a:pt x="2061" y="822"/>
                  <a:pt x="2062" y="822"/>
                </a:cubicBezTo>
                <a:cubicBezTo>
                  <a:pt x="2062" y="822"/>
                  <a:pt x="2062" y="822"/>
                  <a:pt x="2062" y="823"/>
                </a:cubicBezTo>
                <a:cubicBezTo>
                  <a:pt x="2062" y="823"/>
                  <a:pt x="2062" y="823"/>
                  <a:pt x="2062" y="824"/>
                </a:cubicBezTo>
                <a:cubicBezTo>
                  <a:pt x="2062" y="824"/>
                  <a:pt x="2062" y="824"/>
                  <a:pt x="2063" y="824"/>
                </a:cubicBezTo>
                <a:cubicBezTo>
                  <a:pt x="2063" y="824"/>
                  <a:pt x="2063" y="824"/>
                  <a:pt x="2063" y="823"/>
                </a:cubicBezTo>
                <a:cubicBezTo>
                  <a:pt x="2063" y="823"/>
                  <a:pt x="2063" y="823"/>
                  <a:pt x="2064" y="824"/>
                </a:cubicBezTo>
                <a:cubicBezTo>
                  <a:pt x="2064" y="824"/>
                  <a:pt x="2064" y="824"/>
                  <a:pt x="2065" y="824"/>
                </a:cubicBezTo>
                <a:cubicBezTo>
                  <a:pt x="2065" y="824"/>
                  <a:pt x="2065" y="824"/>
                  <a:pt x="2066" y="824"/>
                </a:cubicBezTo>
                <a:cubicBezTo>
                  <a:pt x="2066" y="824"/>
                  <a:pt x="2066" y="824"/>
                  <a:pt x="2067" y="824"/>
                </a:cubicBezTo>
                <a:cubicBezTo>
                  <a:pt x="2067" y="824"/>
                  <a:pt x="2067" y="824"/>
                  <a:pt x="2067" y="825"/>
                </a:cubicBezTo>
                <a:cubicBezTo>
                  <a:pt x="2067" y="825"/>
                  <a:pt x="2067" y="825"/>
                  <a:pt x="2068" y="826"/>
                </a:cubicBezTo>
                <a:cubicBezTo>
                  <a:pt x="2068" y="826"/>
                  <a:pt x="2068" y="826"/>
                  <a:pt x="2067" y="827"/>
                </a:cubicBezTo>
                <a:cubicBezTo>
                  <a:pt x="2067" y="827"/>
                  <a:pt x="2067" y="827"/>
                  <a:pt x="2068" y="828"/>
                </a:cubicBezTo>
                <a:cubicBezTo>
                  <a:pt x="2068" y="828"/>
                  <a:pt x="2068" y="828"/>
                  <a:pt x="2069" y="828"/>
                </a:cubicBezTo>
                <a:cubicBezTo>
                  <a:pt x="2069" y="828"/>
                  <a:pt x="2069" y="828"/>
                  <a:pt x="2072" y="827"/>
                </a:cubicBezTo>
                <a:cubicBezTo>
                  <a:pt x="2072" y="827"/>
                  <a:pt x="2072" y="827"/>
                  <a:pt x="2073" y="827"/>
                </a:cubicBezTo>
                <a:cubicBezTo>
                  <a:pt x="2073" y="827"/>
                  <a:pt x="2073" y="827"/>
                  <a:pt x="2076" y="825"/>
                </a:cubicBezTo>
                <a:cubicBezTo>
                  <a:pt x="2076" y="825"/>
                  <a:pt x="2076" y="825"/>
                  <a:pt x="2077" y="823"/>
                </a:cubicBezTo>
                <a:cubicBezTo>
                  <a:pt x="2077" y="823"/>
                  <a:pt x="2077" y="823"/>
                  <a:pt x="2077" y="822"/>
                </a:cubicBezTo>
                <a:close/>
                <a:moveTo>
                  <a:pt x="2112" y="804"/>
                </a:moveTo>
                <a:cubicBezTo>
                  <a:pt x="2112" y="804"/>
                  <a:pt x="2112" y="804"/>
                  <a:pt x="2113" y="805"/>
                </a:cubicBezTo>
                <a:cubicBezTo>
                  <a:pt x="2113" y="805"/>
                  <a:pt x="2113" y="805"/>
                  <a:pt x="2114" y="805"/>
                </a:cubicBezTo>
                <a:cubicBezTo>
                  <a:pt x="2114" y="805"/>
                  <a:pt x="2114" y="805"/>
                  <a:pt x="2113" y="804"/>
                </a:cubicBezTo>
                <a:cubicBezTo>
                  <a:pt x="2113" y="804"/>
                  <a:pt x="2113" y="804"/>
                  <a:pt x="2112" y="804"/>
                </a:cubicBezTo>
                <a:close/>
                <a:moveTo>
                  <a:pt x="2142" y="813"/>
                </a:moveTo>
                <a:cubicBezTo>
                  <a:pt x="2142" y="813"/>
                  <a:pt x="2142" y="813"/>
                  <a:pt x="2141" y="813"/>
                </a:cubicBezTo>
                <a:cubicBezTo>
                  <a:pt x="2141" y="813"/>
                  <a:pt x="2141" y="813"/>
                  <a:pt x="2138" y="813"/>
                </a:cubicBezTo>
                <a:cubicBezTo>
                  <a:pt x="2138" y="813"/>
                  <a:pt x="2138" y="813"/>
                  <a:pt x="2137" y="813"/>
                </a:cubicBezTo>
                <a:cubicBezTo>
                  <a:pt x="2137" y="813"/>
                  <a:pt x="2137" y="813"/>
                  <a:pt x="2136" y="813"/>
                </a:cubicBezTo>
                <a:cubicBezTo>
                  <a:pt x="2136" y="813"/>
                  <a:pt x="2136" y="813"/>
                  <a:pt x="2135" y="812"/>
                </a:cubicBezTo>
                <a:cubicBezTo>
                  <a:pt x="2135" y="812"/>
                  <a:pt x="2135" y="812"/>
                  <a:pt x="2134" y="813"/>
                </a:cubicBezTo>
                <a:cubicBezTo>
                  <a:pt x="2134" y="813"/>
                  <a:pt x="2134" y="813"/>
                  <a:pt x="2133" y="813"/>
                </a:cubicBezTo>
                <a:cubicBezTo>
                  <a:pt x="2133" y="813"/>
                  <a:pt x="2133" y="813"/>
                  <a:pt x="2132" y="812"/>
                </a:cubicBezTo>
                <a:cubicBezTo>
                  <a:pt x="2132" y="812"/>
                  <a:pt x="2132" y="812"/>
                  <a:pt x="2131" y="813"/>
                </a:cubicBezTo>
                <a:cubicBezTo>
                  <a:pt x="2131" y="813"/>
                  <a:pt x="2131" y="813"/>
                  <a:pt x="2130" y="812"/>
                </a:cubicBezTo>
                <a:cubicBezTo>
                  <a:pt x="2130" y="812"/>
                  <a:pt x="2130" y="812"/>
                  <a:pt x="2130" y="813"/>
                </a:cubicBezTo>
                <a:cubicBezTo>
                  <a:pt x="2130" y="813"/>
                  <a:pt x="2130" y="813"/>
                  <a:pt x="2130" y="814"/>
                </a:cubicBezTo>
                <a:cubicBezTo>
                  <a:pt x="2130" y="814"/>
                  <a:pt x="2130" y="814"/>
                  <a:pt x="2131" y="815"/>
                </a:cubicBezTo>
                <a:cubicBezTo>
                  <a:pt x="2131" y="815"/>
                  <a:pt x="2131" y="815"/>
                  <a:pt x="2133" y="814"/>
                </a:cubicBezTo>
                <a:cubicBezTo>
                  <a:pt x="2133" y="814"/>
                  <a:pt x="2133" y="814"/>
                  <a:pt x="2135" y="814"/>
                </a:cubicBezTo>
                <a:cubicBezTo>
                  <a:pt x="2135" y="814"/>
                  <a:pt x="2135" y="814"/>
                  <a:pt x="2136" y="814"/>
                </a:cubicBezTo>
                <a:cubicBezTo>
                  <a:pt x="2136" y="814"/>
                  <a:pt x="2136" y="814"/>
                  <a:pt x="2138" y="814"/>
                </a:cubicBezTo>
                <a:cubicBezTo>
                  <a:pt x="2138" y="814"/>
                  <a:pt x="2138" y="814"/>
                  <a:pt x="2141" y="814"/>
                </a:cubicBezTo>
                <a:cubicBezTo>
                  <a:pt x="2141" y="814"/>
                  <a:pt x="2141" y="814"/>
                  <a:pt x="2142" y="813"/>
                </a:cubicBezTo>
                <a:close/>
                <a:moveTo>
                  <a:pt x="2220" y="856"/>
                </a:moveTo>
                <a:cubicBezTo>
                  <a:pt x="2221" y="855"/>
                  <a:pt x="2221" y="855"/>
                  <a:pt x="2221" y="855"/>
                </a:cubicBezTo>
                <a:cubicBezTo>
                  <a:pt x="2220" y="854"/>
                  <a:pt x="2220" y="854"/>
                  <a:pt x="2220" y="854"/>
                </a:cubicBezTo>
                <a:cubicBezTo>
                  <a:pt x="2219" y="854"/>
                  <a:pt x="2219" y="854"/>
                  <a:pt x="2219" y="854"/>
                </a:cubicBezTo>
                <a:cubicBezTo>
                  <a:pt x="2219" y="855"/>
                  <a:pt x="2219" y="855"/>
                  <a:pt x="2219" y="855"/>
                </a:cubicBezTo>
                <a:cubicBezTo>
                  <a:pt x="2220" y="856"/>
                  <a:pt x="2220" y="856"/>
                  <a:pt x="2220" y="856"/>
                </a:cubicBezTo>
                <a:close/>
                <a:moveTo>
                  <a:pt x="2087" y="779"/>
                </a:moveTo>
                <a:cubicBezTo>
                  <a:pt x="2087" y="779"/>
                  <a:pt x="2087" y="779"/>
                  <a:pt x="2086" y="778"/>
                </a:cubicBezTo>
                <a:cubicBezTo>
                  <a:pt x="2086" y="778"/>
                  <a:pt x="2086" y="778"/>
                  <a:pt x="2087" y="780"/>
                </a:cubicBezTo>
                <a:cubicBezTo>
                  <a:pt x="2087" y="780"/>
                  <a:pt x="2087" y="780"/>
                  <a:pt x="2087" y="779"/>
                </a:cubicBezTo>
                <a:close/>
                <a:moveTo>
                  <a:pt x="2074" y="856"/>
                </a:moveTo>
                <a:cubicBezTo>
                  <a:pt x="2072" y="854"/>
                  <a:pt x="2072" y="854"/>
                  <a:pt x="2072" y="854"/>
                </a:cubicBezTo>
                <a:cubicBezTo>
                  <a:pt x="2071" y="854"/>
                  <a:pt x="2071" y="854"/>
                  <a:pt x="2071" y="854"/>
                </a:cubicBezTo>
                <a:cubicBezTo>
                  <a:pt x="2069" y="854"/>
                  <a:pt x="2069" y="854"/>
                  <a:pt x="2069" y="854"/>
                </a:cubicBezTo>
                <a:cubicBezTo>
                  <a:pt x="2067" y="854"/>
                  <a:pt x="2067" y="854"/>
                  <a:pt x="2067" y="854"/>
                </a:cubicBezTo>
                <a:cubicBezTo>
                  <a:pt x="2066" y="854"/>
                  <a:pt x="2066" y="854"/>
                  <a:pt x="2066" y="854"/>
                </a:cubicBezTo>
                <a:cubicBezTo>
                  <a:pt x="2066" y="855"/>
                  <a:pt x="2066" y="855"/>
                  <a:pt x="2066" y="855"/>
                </a:cubicBezTo>
                <a:cubicBezTo>
                  <a:pt x="2067" y="856"/>
                  <a:pt x="2067" y="856"/>
                  <a:pt x="2067" y="856"/>
                </a:cubicBezTo>
                <a:cubicBezTo>
                  <a:pt x="2068" y="856"/>
                  <a:pt x="2068" y="856"/>
                  <a:pt x="2068" y="856"/>
                </a:cubicBezTo>
                <a:cubicBezTo>
                  <a:pt x="2070" y="857"/>
                  <a:pt x="2070" y="857"/>
                  <a:pt x="2070" y="857"/>
                </a:cubicBezTo>
                <a:cubicBezTo>
                  <a:pt x="2070" y="858"/>
                  <a:pt x="2070" y="858"/>
                  <a:pt x="2070" y="858"/>
                </a:cubicBezTo>
                <a:cubicBezTo>
                  <a:pt x="2071" y="857"/>
                  <a:pt x="2071" y="857"/>
                  <a:pt x="2071" y="857"/>
                </a:cubicBezTo>
                <a:cubicBezTo>
                  <a:pt x="2072" y="857"/>
                  <a:pt x="2072" y="857"/>
                  <a:pt x="2072" y="857"/>
                </a:cubicBezTo>
                <a:cubicBezTo>
                  <a:pt x="2072" y="856"/>
                  <a:pt x="2072" y="856"/>
                  <a:pt x="2072" y="856"/>
                </a:cubicBezTo>
                <a:cubicBezTo>
                  <a:pt x="2073" y="856"/>
                  <a:pt x="2073" y="856"/>
                  <a:pt x="2073" y="856"/>
                </a:cubicBezTo>
                <a:cubicBezTo>
                  <a:pt x="2074" y="856"/>
                  <a:pt x="2074" y="856"/>
                  <a:pt x="2074" y="856"/>
                </a:cubicBezTo>
                <a:close/>
                <a:moveTo>
                  <a:pt x="2145" y="776"/>
                </a:moveTo>
                <a:cubicBezTo>
                  <a:pt x="2145" y="776"/>
                  <a:pt x="2145" y="776"/>
                  <a:pt x="2145" y="775"/>
                </a:cubicBezTo>
                <a:cubicBezTo>
                  <a:pt x="2145" y="775"/>
                  <a:pt x="2145" y="775"/>
                  <a:pt x="2144" y="775"/>
                </a:cubicBezTo>
                <a:lnTo>
                  <a:pt x="2145" y="776"/>
                </a:lnTo>
                <a:close/>
                <a:moveTo>
                  <a:pt x="2170" y="808"/>
                </a:moveTo>
                <a:cubicBezTo>
                  <a:pt x="2170" y="810"/>
                  <a:pt x="2170" y="810"/>
                  <a:pt x="2170" y="810"/>
                </a:cubicBezTo>
                <a:cubicBezTo>
                  <a:pt x="2172" y="810"/>
                  <a:pt x="2172" y="810"/>
                  <a:pt x="2172" y="810"/>
                </a:cubicBezTo>
                <a:cubicBezTo>
                  <a:pt x="2172" y="807"/>
                  <a:pt x="2172" y="807"/>
                  <a:pt x="2172" y="807"/>
                </a:cubicBezTo>
                <a:cubicBezTo>
                  <a:pt x="2170" y="808"/>
                  <a:pt x="2170" y="808"/>
                  <a:pt x="2170" y="808"/>
                </a:cubicBezTo>
                <a:close/>
                <a:moveTo>
                  <a:pt x="2162" y="844"/>
                </a:moveTo>
                <a:cubicBezTo>
                  <a:pt x="2161" y="845"/>
                  <a:pt x="2161" y="845"/>
                  <a:pt x="2161" y="845"/>
                </a:cubicBezTo>
                <a:cubicBezTo>
                  <a:pt x="2162" y="845"/>
                  <a:pt x="2162" y="845"/>
                  <a:pt x="2162" y="845"/>
                </a:cubicBezTo>
                <a:cubicBezTo>
                  <a:pt x="2162" y="844"/>
                  <a:pt x="2162" y="844"/>
                  <a:pt x="2162" y="844"/>
                </a:cubicBezTo>
                <a:close/>
                <a:moveTo>
                  <a:pt x="2164" y="853"/>
                </a:moveTo>
                <a:cubicBezTo>
                  <a:pt x="2164" y="853"/>
                  <a:pt x="2164" y="853"/>
                  <a:pt x="2163" y="852"/>
                </a:cubicBezTo>
                <a:cubicBezTo>
                  <a:pt x="2163" y="852"/>
                  <a:pt x="2163" y="852"/>
                  <a:pt x="2163" y="851"/>
                </a:cubicBezTo>
                <a:cubicBezTo>
                  <a:pt x="2163" y="851"/>
                  <a:pt x="2163" y="851"/>
                  <a:pt x="2162" y="852"/>
                </a:cubicBezTo>
                <a:cubicBezTo>
                  <a:pt x="2162" y="852"/>
                  <a:pt x="2162" y="852"/>
                  <a:pt x="2162" y="853"/>
                </a:cubicBezTo>
                <a:cubicBezTo>
                  <a:pt x="2162" y="853"/>
                  <a:pt x="2162" y="853"/>
                  <a:pt x="2163" y="853"/>
                </a:cubicBezTo>
                <a:cubicBezTo>
                  <a:pt x="2163" y="853"/>
                  <a:pt x="2163" y="853"/>
                  <a:pt x="2164" y="853"/>
                </a:cubicBezTo>
                <a:close/>
                <a:moveTo>
                  <a:pt x="2100" y="767"/>
                </a:moveTo>
                <a:cubicBezTo>
                  <a:pt x="2100" y="767"/>
                  <a:pt x="2100" y="767"/>
                  <a:pt x="2100" y="768"/>
                </a:cubicBezTo>
                <a:cubicBezTo>
                  <a:pt x="2100" y="768"/>
                  <a:pt x="2100" y="768"/>
                  <a:pt x="2102" y="768"/>
                </a:cubicBezTo>
                <a:cubicBezTo>
                  <a:pt x="2102" y="768"/>
                  <a:pt x="2102" y="768"/>
                  <a:pt x="2103" y="767"/>
                </a:cubicBezTo>
                <a:cubicBezTo>
                  <a:pt x="2103" y="767"/>
                  <a:pt x="2103" y="767"/>
                  <a:pt x="2103" y="766"/>
                </a:cubicBezTo>
                <a:cubicBezTo>
                  <a:pt x="2103" y="766"/>
                  <a:pt x="2103" y="766"/>
                  <a:pt x="2102" y="766"/>
                </a:cubicBezTo>
                <a:cubicBezTo>
                  <a:pt x="2102" y="766"/>
                  <a:pt x="2102" y="766"/>
                  <a:pt x="2100" y="767"/>
                </a:cubicBezTo>
                <a:close/>
                <a:moveTo>
                  <a:pt x="2132" y="856"/>
                </a:moveTo>
                <a:cubicBezTo>
                  <a:pt x="2133" y="855"/>
                  <a:pt x="2133" y="855"/>
                  <a:pt x="2133" y="855"/>
                </a:cubicBezTo>
                <a:cubicBezTo>
                  <a:pt x="2132" y="855"/>
                  <a:pt x="2132" y="855"/>
                  <a:pt x="2132" y="855"/>
                </a:cubicBezTo>
                <a:cubicBezTo>
                  <a:pt x="2131" y="855"/>
                  <a:pt x="2131" y="855"/>
                  <a:pt x="2131" y="855"/>
                </a:cubicBezTo>
                <a:cubicBezTo>
                  <a:pt x="2130" y="854"/>
                  <a:pt x="2130" y="854"/>
                  <a:pt x="2130" y="854"/>
                </a:cubicBezTo>
                <a:cubicBezTo>
                  <a:pt x="2129" y="855"/>
                  <a:pt x="2129" y="855"/>
                  <a:pt x="2129" y="855"/>
                </a:cubicBezTo>
                <a:cubicBezTo>
                  <a:pt x="2129" y="856"/>
                  <a:pt x="2129" y="856"/>
                  <a:pt x="2129" y="856"/>
                </a:cubicBezTo>
                <a:cubicBezTo>
                  <a:pt x="2130" y="857"/>
                  <a:pt x="2130" y="857"/>
                  <a:pt x="2130" y="857"/>
                </a:cubicBezTo>
                <a:cubicBezTo>
                  <a:pt x="2132" y="856"/>
                  <a:pt x="2132" y="856"/>
                  <a:pt x="2132" y="856"/>
                </a:cubicBezTo>
                <a:close/>
                <a:moveTo>
                  <a:pt x="2049" y="785"/>
                </a:moveTo>
                <a:cubicBezTo>
                  <a:pt x="2048" y="786"/>
                  <a:pt x="2048" y="786"/>
                  <a:pt x="2048" y="786"/>
                </a:cubicBezTo>
                <a:cubicBezTo>
                  <a:pt x="2049" y="786"/>
                  <a:pt x="2049" y="786"/>
                  <a:pt x="2049" y="786"/>
                </a:cubicBezTo>
                <a:cubicBezTo>
                  <a:pt x="2050" y="785"/>
                  <a:pt x="2050" y="785"/>
                  <a:pt x="2050" y="785"/>
                </a:cubicBezTo>
                <a:cubicBezTo>
                  <a:pt x="2049" y="785"/>
                  <a:pt x="2049" y="785"/>
                  <a:pt x="2049" y="785"/>
                </a:cubicBezTo>
                <a:close/>
                <a:moveTo>
                  <a:pt x="2084" y="754"/>
                </a:moveTo>
                <a:cubicBezTo>
                  <a:pt x="2084" y="753"/>
                  <a:pt x="2084" y="753"/>
                  <a:pt x="2084" y="753"/>
                </a:cubicBezTo>
                <a:cubicBezTo>
                  <a:pt x="2083" y="754"/>
                  <a:pt x="2083" y="754"/>
                  <a:pt x="2083" y="754"/>
                </a:cubicBezTo>
                <a:cubicBezTo>
                  <a:pt x="2084" y="754"/>
                  <a:pt x="2084" y="754"/>
                  <a:pt x="2084" y="754"/>
                </a:cubicBezTo>
                <a:close/>
                <a:moveTo>
                  <a:pt x="1976" y="764"/>
                </a:moveTo>
                <a:cubicBezTo>
                  <a:pt x="1977" y="766"/>
                  <a:pt x="1977" y="766"/>
                  <a:pt x="1977" y="766"/>
                </a:cubicBezTo>
                <a:cubicBezTo>
                  <a:pt x="1978" y="766"/>
                  <a:pt x="1978" y="766"/>
                  <a:pt x="1978" y="766"/>
                </a:cubicBezTo>
                <a:cubicBezTo>
                  <a:pt x="1978" y="765"/>
                  <a:pt x="1978" y="765"/>
                  <a:pt x="1978" y="765"/>
                </a:cubicBezTo>
                <a:cubicBezTo>
                  <a:pt x="1977" y="764"/>
                  <a:pt x="1977" y="764"/>
                  <a:pt x="1977" y="764"/>
                </a:cubicBezTo>
                <a:cubicBezTo>
                  <a:pt x="1976" y="764"/>
                  <a:pt x="1976" y="764"/>
                  <a:pt x="1976" y="764"/>
                </a:cubicBezTo>
                <a:close/>
                <a:moveTo>
                  <a:pt x="2000" y="735"/>
                </a:moveTo>
                <a:cubicBezTo>
                  <a:pt x="2001" y="735"/>
                  <a:pt x="2001" y="735"/>
                  <a:pt x="2001" y="735"/>
                </a:cubicBezTo>
                <a:cubicBezTo>
                  <a:pt x="2001" y="733"/>
                  <a:pt x="2001" y="733"/>
                  <a:pt x="2001" y="733"/>
                </a:cubicBezTo>
                <a:cubicBezTo>
                  <a:pt x="2000" y="732"/>
                  <a:pt x="2000" y="732"/>
                  <a:pt x="2000" y="732"/>
                </a:cubicBezTo>
                <a:cubicBezTo>
                  <a:pt x="1999" y="733"/>
                  <a:pt x="1999" y="733"/>
                  <a:pt x="1999" y="733"/>
                </a:cubicBezTo>
                <a:cubicBezTo>
                  <a:pt x="2000" y="734"/>
                  <a:pt x="2000" y="734"/>
                  <a:pt x="2000" y="734"/>
                </a:cubicBezTo>
                <a:cubicBezTo>
                  <a:pt x="1999" y="734"/>
                  <a:pt x="1999" y="734"/>
                  <a:pt x="1999" y="734"/>
                </a:cubicBezTo>
                <a:cubicBezTo>
                  <a:pt x="2000" y="735"/>
                  <a:pt x="2000" y="735"/>
                  <a:pt x="2000" y="735"/>
                </a:cubicBezTo>
                <a:close/>
                <a:moveTo>
                  <a:pt x="1987" y="722"/>
                </a:moveTo>
                <a:cubicBezTo>
                  <a:pt x="1988" y="723"/>
                  <a:pt x="1988" y="723"/>
                  <a:pt x="1988" y="723"/>
                </a:cubicBezTo>
                <a:cubicBezTo>
                  <a:pt x="1989" y="722"/>
                  <a:pt x="1989" y="722"/>
                  <a:pt x="1989" y="722"/>
                </a:cubicBezTo>
                <a:cubicBezTo>
                  <a:pt x="1987" y="721"/>
                  <a:pt x="1987" y="721"/>
                  <a:pt x="1987" y="721"/>
                </a:cubicBezTo>
                <a:cubicBezTo>
                  <a:pt x="1987" y="722"/>
                  <a:pt x="1987" y="722"/>
                  <a:pt x="1987" y="722"/>
                </a:cubicBezTo>
                <a:close/>
                <a:moveTo>
                  <a:pt x="1973" y="758"/>
                </a:moveTo>
                <a:cubicBezTo>
                  <a:pt x="1974" y="758"/>
                  <a:pt x="1974" y="758"/>
                  <a:pt x="1974" y="758"/>
                </a:cubicBezTo>
                <a:cubicBezTo>
                  <a:pt x="1974" y="757"/>
                  <a:pt x="1974" y="757"/>
                  <a:pt x="1974" y="757"/>
                </a:cubicBezTo>
                <a:cubicBezTo>
                  <a:pt x="1973" y="757"/>
                  <a:pt x="1973" y="757"/>
                  <a:pt x="1973" y="757"/>
                </a:cubicBezTo>
                <a:cubicBezTo>
                  <a:pt x="1973" y="758"/>
                  <a:pt x="1973" y="758"/>
                  <a:pt x="1973" y="758"/>
                </a:cubicBezTo>
                <a:close/>
                <a:moveTo>
                  <a:pt x="1975" y="736"/>
                </a:moveTo>
                <a:cubicBezTo>
                  <a:pt x="1974" y="737"/>
                  <a:pt x="1974" y="737"/>
                  <a:pt x="1974" y="737"/>
                </a:cubicBezTo>
                <a:cubicBezTo>
                  <a:pt x="1975" y="737"/>
                  <a:pt x="1975" y="737"/>
                  <a:pt x="1975" y="737"/>
                </a:cubicBezTo>
                <a:cubicBezTo>
                  <a:pt x="1975" y="736"/>
                  <a:pt x="1975" y="736"/>
                  <a:pt x="1975" y="736"/>
                </a:cubicBezTo>
                <a:close/>
                <a:moveTo>
                  <a:pt x="1965" y="749"/>
                </a:moveTo>
                <a:cubicBezTo>
                  <a:pt x="1965" y="748"/>
                  <a:pt x="1965" y="748"/>
                  <a:pt x="1965" y="748"/>
                </a:cubicBezTo>
                <a:cubicBezTo>
                  <a:pt x="1964" y="749"/>
                  <a:pt x="1964" y="749"/>
                  <a:pt x="1964" y="749"/>
                </a:cubicBezTo>
                <a:cubicBezTo>
                  <a:pt x="1965" y="749"/>
                  <a:pt x="1965" y="749"/>
                  <a:pt x="1965" y="749"/>
                </a:cubicBezTo>
                <a:close/>
                <a:moveTo>
                  <a:pt x="1974" y="739"/>
                </a:moveTo>
                <a:cubicBezTo>
                  <a:pt x="1975" y="740"/>
                  <a:pt x="1975" y="740"/>
                  <a:pt x="1975" y="740"/>
                </a:cubicBezTo>
                <a:cubicBezTo>
                  <a:pt x="1976" y="738"/>
                  <a:pt x="1976" y="738"/>
                  <a:pt x="1976" y="738"/>
                </a:cubicBezTo>
                <a:cubicBezTo>
                  <a:pt x="1975" y="738"/>
                  <a:pt x="1975" y="738"/>
                  <a:pt x="1975" y="738"/>
                </a:cubicBezTo>
                <a:cubicBezTo>
                  <a:pt x="1974" y="738"/>
                  <a:pt x="1974" y="738"/>
                  <a:pt x="1974" y="738"/>
                </a:cubicBezTo>
                <a:cubicBezTo>
                  <a:pt x="1974" y="739"/>
                  <a:pt x="1974" y="739"/>
                  <a:pt x="1974" y="739"/>
                </a:cubicBezTo>
                <a:close/>
                <a:moveTo>
                  <a:pt x="1928" y="677"/>
                </a:moveTo>
                <a:cubicBezTo>
                  <a:pt x="1929" y="678"/>
                  <a:pt x="1929" y="678"/>
                  <a:pt x="1929" y="678"/>
                </a:cubicBezTo>
                <a:cubicBezTo>
                  <a:pt x="1930" y="679"/>
                  <a:pt x="1930" y="679"/>
                  <a:pt x="1930" y="679"/>
                </a:cubicBezTo>
                <a:cubicBezTo>
                  <a:pt x="1930" y="678"/>
                  <a:pt x="1930" y="678"/>
                  <a:pt x="1930" y="678"/>
                </a:cubicBezTo>
                <a:cubicBezTo>
                  <a:pt x="1929" y="677"/>
                  <a:pt x="1929" y="677"/>
                  <a:pt x="1929" y="677"/>
                </a:cubicBezTo>
                <a:cubicBezTo>
                  <a:pt x="1928" y="677"/>
                  <a:pt x="1928" y="677"/>
                  <a:pt x="1928" y="677"/>
                </a:cubicBezTo>
                <a:close/>
                <a:moveTo>
                  <a:pt x="1946" y="694"/>
                </a:moveTo>
                <a:cubicBezTo>
                  <a:pt x="1946" y="694"/>
                  <a:pt x="1946" y="694"/>
                  <a:pt x="1943" y="696"/>
                </a:cubicBezTo>
                <a:cubicBezTo>
                  <a:pt x="1943" y="696"/>
                  <a:pt x="1943" y="696"/>
                  <a:pt x="1942" y="696"/>
                </a:cubicBezTo>
                <a:cubicBezTo>
                  <a:pt x="1942" y="696"/>
                  <a:pt x="1942" y="696"/>
                  <a:pt x="1941" y="696"/>
                </a:cubicBezTo>
                <a:cubicBezTo>
                  <a:pt x="1941" y="696"/>
                  <a:pt x="1941" y="696"/>
                  <a:pt x="1940" y="696"/>
                </a:cubicBezTo>
                <a:cubicBezTo>
                  <a:pt x="1940" y="696"/>
                  <a:pt x="1940" y="696"/>
                  <a:pt x="1939" y="695"/>
                </a:cubicBezTo>
                <a:cubicBezTo>
                  <a:pt x="1939" y="695"/>
                  <a:pt x="1939" y="695"/>
                  <a:pt x="1938" y="696"/>
                </a:cubicBezTo>
                <a:cubicBezTo>
                  <a:pt x="1938" y="696"/>
                  <a:pt x="1938" y="696"/>
                  <a:pt x="1938" y="697"/>
                </a:cubicBezTo>
                <a:cubicBezTo>
                  <a:pt x="1938" y="697"/>
                  <a:pt x="1938" y="697"/>
                  <a:pt x="1937" y="697"/>
                </a:cubicBezTo>
                <a:cubicBezTo>
                  <a:pt x="1937" y="697"/>
                  <a:pt x="1937" y="697"/>
                  <a:pt x="1937" y="695"/>
                </a:cubicBezTo>
                <a:cubicBezTo>
                  <a:pt x="1937" y="695"/>
                  <a:pt x="1937" y="695"/>
                  <a:pt x="1939" y="694"/>
                </a:cubicBezTo>
                <a:cubicBezTo>
                  <a:pt x="1939" y="694"/>
                  <a:pt x="1939" y="694"/>
                  <a:pt x="1939" y="692"/>
                </a:cubicBezTo>
                <a:cubicBezTo>
                  <a:pt x="1939" y="692"/>
                  <a:pt x="1939" y="692"/>
                  <a:pt x="1938" y="694"/>
                </a:cubicBezTo>
                <a:cubicBezTo>
                  <a:pt x="1938" y="694"/>
                  <a:pt x="1938" y="694"/>
                  <a:pt x="1937" y="695"/>
                </a:cubicBezTo>
                <a:cubicBezTo>
                  <a:pt x="1937" y="695"/>
                  <a:pt x="1937" y="695"/>
                  <a:pt x="1936" y="696"/>
                </a:cubicBezTo>
                <a:cubicBezTo>
                  <a:pt x="1936" y="696"/>
                  <a:pt x="1936" y="696"/>
                  <a:pt x="1935" y="696"/>
                </a:cubicBezTo>
                <a:cubicBezTo>
                  <a:pt x="1935" y="696"/>
                  <a:pt x="1935" y="696"/>
                  <a:pt x="1936" y="695"/>
                </a:cubicBezTo>
                <a:cubicBezTo>
                  <a:pt x="1936" y="695"/>
                  <a:pt x="1936" y="695"/>
                  <a:pt x="1935" y="694"/>
                </a:cubicBezTo>
                <a:cubicBezTo>
                  <a:pt x="1935" y="694"/>
                  <a:pt x="1935" y="694"/>
                  <a:pt x="1936" y="688"/>
                </a:cubicBezTo>
                <a:cubicBezTo>
                  <a:pt x="1936" y="688"/>
                  <a:pt x="1936" y="688"/>
                  <a:pt x="1938" y="687"/>
                </a:cubicBezTo>
                <a:cubicBezTo>
                  <a:pt x="1938" y="687"/>
                  <a:pt x="1938" y="687"/>
                  <a:pt x="1937" y="686"/>
                </a:cubicBezTo>
                <a:cubicBezTo>
                  <a:pt x="1937" y="686"/>
                  <a:pt x="1937" y="686"/>
                  <a:pt x="1936" y="684"/>
                </a:cubicBezTo>
                <a:cubicBezTo>
                  <a:pt x="1936" y="684"/>
                  <a:pt x="1936" y="684"/>
                  <a:pt x="1936" y="681"/>
                </a:cubicBezTo>
                <a:cubicBezTo>
                  <a:pt x="1936" y="681"/>
                  <a:pt x="1936" y="681"/>
                  <a:pt x="1935" y="681"/>
                </a:cubicBezTo>
                <a:cubicBezTo>
                  <a:pt x="1935" y="681"/>
                  <a:pt x="1935" y="681"/>
                  <a:pt x="1935" y="680"/>
                </a:cubicBezTo>
                <a:cubicBezTo>
                  <a:pt x="1935" y="680"/>
                  <a:pt x="1935" y="680"/>
                  <a:pt x="1934" y="679"/>
                </a:cubicBezTo>
                <a:cubicBezTo>
                  <a:pt x="1934" y="679"/>
                  <a:pt x="1934" y="679"/>
                  <a:pt x="1934" y="677"/>
                </a:cubicBezTo>
                <a:cubicBezTo>
                  <a:pt x="1934" y="677"/>
                  <a:pt x="1934" y="677"/>
                  <a:pt x="1933" y="676"/>
                </a:cubicBezTo>
                <a:cubicBezTo>
                  <a:pt x="1933" y="676"/>
                  <a:pt x="1933" y="676"/>
                  <a:pt x="1933" y="675"/>
                </a:cubicBezTo>
                <a:cubicBezTo>
                  <a:pt x="1933" y="675"/>
                  <a:pt x="1933" y="675"/>
                  <a:pt x="1933" y="674"/>
                </a:cubicBezTo>
                <a:cubicBezTo>
                  <a:pt x="1933" y="674"/>
                  <a:pt x="1933" y="674"/>
                  <a:pt x="1931" y="673"/>
                </a:cubicBezTo>
                <a:cubicBezTo>
                  <a:pt x="1931" y="673"/>
                  <a:pt x="1931" y="673"/>
                  <a:pt x="1932" y="674"/>
                </a:cubicBezTo>
                <a:cubicBezTo>
                  <a:pt x="1932" y="674"/>
                  <a:pt x="1932" y="674"/>
                  <a:pt x="1932" y="677"/>
                </a:cubicBezTo>
                <a:cubicBezTo>
                  <a:pt x="1932" y="677"/>
                  <a:pt x="1932" y="677"/>
                  <a:pt x="1930" y="676"/>
                </a:cubicBezTo>
                <a:cubicBezTo>
                  <a:pt x="1930" y="676"/>
                  <a:pt x="1930" y="676"/>
                  <a:pt x="1929" y="675"/>
                </a:cubicBezTo>
                <a:cubicBezTo>
                  <a:pt x="1929" y="675"/>
                  <a:pt x="1929" y="675"/>
                  <a:pt x="1928" y="674"/>
                </a:cubicBezTo>
                <a:cubicBezTo>
                  <a:pt x="1928" y="674"/>
                  <a:pt x="1928" y="674"/>
                  <a:pt x="1927" y="673"/>
                </a:cubicBezTo>
                <a:cubicBezTo>
                  <a:pt x="1927" y="673"/>
                  <a:pt x="1927" y="673"/>
                  <a:pt x="1927" y="672"/>
                </a:cubicBezTo>
                <a:cubicBezTo>
                  <a:pt x="1927" y="672"/>
                  <a:pt x="1927" y="672"/>
                  <a:pt x="1928" y="672"/>
                </a:cubicBezTo>
                <a:cubicBezTo>
                  <a:pt x="1928" y="672"/>
                  <a:pt x="1928" y="672"/>
                  <a:pt x="1929" y="673"/>
                </a:cubicBezTo>
                <a:cubicBezTo>
                  <a:pt x="1929" y="673"/>
                  <a:pt x="1929" y="673"/>
                  <a:pt x="1930" y="674"/>
                </a:cubicBezTo>
                <a:cubicBezTo>
                  <a:pt x="1930" y="674"/>
                  <a:pt x="1930" y="674"/>
                  <a:pt x="1930" y="673"/>
                </a:cubicBezTo>
                <a:cubicBezTo>
                  <a:pt x="1930" y="673"/>
                  <a:pt x="1930" y="673"/>
                  <a:pt x="1929" y="672"/>
                </a:cubicBezTo>
                <a:cubicBezTo>
                  <a:pt x="1929" y="672"/>
                  <a:pt x="1929" y="672"/>
                  <a:pt x="1930" y="672"/>
                </a:cubicBezTo>
                <a:cubicBezTo>
                  <a:pt x="1930" y="672"/>
                  <a:pt x="1930" y="672"/>
                  <a:pt x="1931" y="672"/>
                </a:cubicBezTo>
                <a:cubicBezTo>
                  <a:pt x="1931" y="672"/>
                  <a:pt x="1931" y="672"/>
                  <a:pt x="1931" y="671"/>
                </a:cubicBezTo>
                <a:cubicBezTo>
                  <a:pt x="1931" y="671"/>
                  <a:pt x="1931" y="671"/>
                  <a:pt x="1930" y="669"/>
                </a:cubicBezTo>
                <a:cubicBezTo>
                  <a:pt x="1930" y="669"/>
                  <a:pt x="1930" y="669"/>
                  <a:pt x="1928" y="669"/>
                </a:cubicBezTo>
                <a:cubicBezTo>
                  <a:pt x="1928" y="669"/>
                  <a:pt x="1928" y="669"/>
                  <a:pt x="1927" y="668"/>
                </a:cubicBezTo>
                <a:cubicBezTo>
                  <a:pt x="1927" y="668"/>
                  <a:pt x="1927" y="668"/>
                  <a:pt x="1926" y="668"/>
                </a:cubicBezTo>
                <a:cubicBezTo>
                  <a:pt x="1926" y="668"/>
                  <a:pt x="1926" y="668"/>
                  <a:pt x="1925" y="668"/>
                </a:cubicBezTo>
                <a:cubicBezTo>
                  <a:pt x="1925" y="668"/>
                  <a:pt x="1925" y="668"/>
                  <a:pt x="1925" y="667"/>
                </a:cubicBezTo>
                <a:cubicBezTo>
                  <a:pt x="1925" y="667"/>
                  <a:pt x="1925" y="667"/>
                  <a:pt x="1926" y="666"/>
                </a:cubicBezTo>
                <a:cubicBezTo>
                  <a:pt x="1926" y="666"/>
                  <a:pt x="1926" y="666"/>
                  <a:pt x="1924" y="666"/>
                </a:cubicBezTo>
                <a:cubicBezTo>
                  <a:pt x="1924" y="666"/>
                  <a:pt x="1924" y="666"/>
                  <a:pt x="1923" y="666"/>
                </a:cubicBezTo>
                <a:cubicBezTo>
                  <a:pt x="1923" y="666"/>
                  <a:pt x="1923" y="666"/>
                  <a:pt x="1924" y="667"/>
                </a:cubicBezTo>
                <a:cubicBezTo>
                  <a:pt x="1924" y="667"/>
                  <a:pt x="1924" y="667"/>
                  <a:pt x="1921" y="665"/>
                </a:cubicBezTo>
                <a:cubicBezTo>
                  <a:pt x="1921" y="665"/>
                  <a:pt x="1921" y="665"/>
                  <a:pt x="1921" y="663"/>
                </a:cubicBezTo>
                <a:cubicBezTo>
                  <a:pt x="1921" y="663"/>
                  <a:pt x="1921" y="663"/>
                  <a:pt x="1920" y="662"/>
                </a:cubicBezTo>
                <a:cubicBezTo>
                  <a:pt x="1920" y="664"/>
                  <a:pt x="1920" y="664"/>
                  <a:pt x="1920" y="664"/>
                </a:cubicBezTo>
                <a:cubicBezTo>
                  <a:pt x="1919" y="661"/>
                  <a:pt x="1919" y="661"/>
                  <a:pt x="1919" y="661"/>
                </a:cubicBezTo>
                <a:cubicBezTo>
                  <a:pt x="1918" y="660"/>
                  <a:pt x="1918" y="660"/>
                  <a:pt x="1918" y="660"/>
                </a:cubicBezTo>
                <a:cubicBezTo>
                  <a:pt x="1918" y="659"/>
                  <a:pt x="1918" y="659"/>
                  <a:pt x="1918" y="659"/>
                </a:cubicBezTo>
                <a:cubicBezTo>
                  <a:pt x="1918" y="658"/>
                  <a:pt x="1918" y="658"/>
                  <a:pt x="1918" y="658"/>
                </a:cubicBezTo>
                <a:cubicBezTo>
                  <a:pt x="1917" y="659"/>
                  <a:pt x="1917" y="659"/>
                  <a:pt x="1917" y="659"/>
                </a:cubicBezTo>
                <a:cubicBezTo>
                  <a:pt x="1917" y="658"/>
                  <a:pt x="1917" y="658"/>
                  <a:pt x="1917" y="658"/>
                </a:cubicBezTo>
                <a:cubicBezTo>
                  <a:pt x="1917" y="656"/>
                  <a:pt x="1917" y="656"/>
                  <a:pt x="1917" y="656"/>
                </a:cubicBezTo>
                <a:cubicBezTo>
                  <a:pt x="1917" y="655"/>
                  <a:pt x="1917" y="655"/>
                  <a:pt x="1917" y="655"/>
                </a:cubicBezTo>
                <a:cubicBezTo>
                  <a:pt x="1917" y="654"/>
                  <a:pt x="1917" y="654"/>
                  <a:pt x="1917" y="654"/>
                </a:cubicBezTo>
                <a:cubicBezTo>
                  <a:pt x="1916" y="653"/>
                  <a:pt x="1916" y="653"/>
                  <a:pt x="1916" y="653"/>
                </a:cubicBezTo>
                <a:cubicBezTo>
                  <a:pt x="1914" y="649"/>
                  <a:pt x="1914" y="649"/>
                  <a:pt x="1914" y="649"/>
                </a:cubicBezTo>
                <a:cubicBezTo>
                  <a:pt x="1913" y="649"/>
                  <a:pt x="1913" y="649"/>
                  <a:pt x="1913" y="649"/>
                </a:cubicBezTo>
                <a:cubicBezTo>
                  <a:pt x="1912" y="650"/>
                  <a:pt x="1912" y="650"/>
                  <a:pt x="1912" y="650"/>
                </a:cubicBezTo>
                <a:cubicBezTo>
                  <a:pt x="1910" y="649"/>
                  <a:pt x="1910" y="649"/>
                  <a:pt x="1910" y="649"/>
                </a:cubicBezTo>
                <a:cubicBezTo>
                  <a:pt x="1910" y="648"/>
                  <a:pt x="1910" y="648"/>
                  <a:pt x="1910" y="648"/>
                </a:cubicBezTo>
                <a:cubicBezTo>
                  <a:pt x="1909" y="648"/>
                  <a:pt x="1909" y="648"/>
                  <a:pt x="1909" y="648"/>
                </a:cubicBezTo>
                <a:cubicBezTo>
                  <a:pt x="1908" y="647"/>
                  <a:pt x="1908" y="647"/>
                  <a:pt x="1908" y="647"/>
                </a:cubicBezTo>
                <a:cubicBezTo>
                  <a:pt x="1907" y="646"/>
                  <a:pt x="1907" y="646"/>
                  <a:pt x="1907" y="646"/>
                </a:cubicBezTo>
                <a:cubicBezTo>
                  <a:pt x="1908" y="648"/>
                  <a:pt x="1908" y="648"/>
                  <a:pt x="1908" y="648"/>
                </a:cubicBezTo>
                <a:cubicBezTo>
                  <a:pt x="1908" y="649"/>
                  <a:pt x="1908" y="649"/>
                  <a:pt x="1908" y="649"/>
                </a:cubicBezTo>
                <a:cubicBezTo>
                  <a:pt x="1908" y="650"/>
                  <a:pt x="1908" y="650"/>
                  <a:pt x="1908" y="650"/>
                </a:cubicBezTo>
                <a:cubicBezTo>
                  <a:pt x="1909" y="652"/>
                  <a:pt x="1909" y="652"/>
                  <a:pt x="1909" y="652"/>
                </a:cubicBezTo>
                <a:cubicBezTo>
                  <a:pt x="1908" y="654"/>
                  <a:pt x="1908" y="654"/>
                  <a:pt x="1908" y="654"/>
                </a:cubicBezTo>
                <a:cubicBezTo>
                  <a:pt x="1907" y="654"/>
                  <a:pt x="1907" y="654"/>
                  <a:pt x="1907" y="654"/>
                </a:cubicBezTo>
                <a:cubicBezTo>
                  <a:pt x="1906" y="656"/>
                  <a:pt x="1906" y="656"/>
                  <a:pt x="1906" y="656"/>
                </a:cubicBezTo>
                <a:cubicBezTo>
                  <a:pt x="1905" y="655"/>
                  <a:pt x="1905" y="655"/>
                  <a:pt x="1905" y="655"/>
                </a:cubicBezTo>
                <a:cubicBezTo>
                  <a:pt x="1904" y="654"/>
                  <a:pt x="1904" y="654"/>
                  <a:pt x="1904" y="654"/>
                </a:cubicBezTo>
                <a:cubicBezTo>
                  <a:pt x="1905" y="652"/>
                  <a:pt x="1905" y="652"/>
                  <a:pt x="1905" y="652"/>
                </a:cubicBezTo>
                <a:cubicBezTo>
                  <a:pt x="1905" y="651"/>
                  <a:pt x="1905" y="651"/>
                  <a:pt x="1905" y="651"/>
                </a:cubicBezTo>
                <a:cubicBezTo>
                  <a:pt x="1904" y="652"/>
                  <a:pt x="1904" y="652"/>
                  <a:pt x="1904" y="652"/>
                </a:cubicBezTo>
                <a:cubicBezTo>
                  <a:pt x="1904" y="653"/>
                  <a:pt x="1904" y="653"/>
                  <a:pt x="1904" y="653"/>
                </a:cubicBezTo>
                <a:cubicBezTo>
                  <a:pt x="1904" y="654"/>
                  <a:pt x="1904" y="654"/>
                  <a:pt x="1904" y="654"/>
                </a:cubicBezTo>
                <a:cubicBezTo>
                  <a:pt x="1904" y="655"/>
                  <a:pt x="1904" y="655"/>
                  <a:pt x="1904" y="655"/>
                </a:cubicBezTo>
                <a:cubicBezTo>
                  <a:pt x="1904" y="656"/>
                  <a:pt x="1904" y="656"/>
                  <a:pt x="1904" y="656"/>
                </a:cubicBezTo>
                <a:cubicBezTo>
                  <a:pt x="1903" y="656"/>
                  <a:pt x="1903" y="656"/>
                  <a:pt x="1903" y="656"/>
                </a:cubicBezTo>
                <a:cubicBezTo>
                  <a:pt x="1902" y="656"/>
                  <a:pt x="1902" y="656"/>
                  <a:pt x="1902" y="656"/>
                </a:cubicBezTo>
                <a:cubicBezTo>
                  <a:pt x="1902" y="657"/>
                  <a:pt x="1902" y="657"/>
                  <a:pt x="1902" y="657"/>
                </a:cubicBezTo>
                <a:cubicBezTo>
                  <a:pt x="1901" y="657"/>
                  <a:pt x="1901" y="657"/>
                  <a:pt x="1901" y="657"/>
                </a:cubicBezTo>
                <a:cubicBezTo>
                  <a:pt x="1901" y="656"/>
                  <a:pt x="1901" y="656"/>
                  <a:pt x="1901" y="656"/>
                </a:cubicBezTo>
                <a:cubicBezTo>
                  <a:pt x="1900" y="655"/>
                  <a:pt x="1900" y="655"/>
                  <a:pt x="1900" y="655"/>
                </a:cubicBezTo>
                <a:cubicBezTo>
                  <a:pt x="1900" y="655"/>
                  <a:pt x="1900" y="655"/>
                  <a:pt x="1899" y="655"/>
                </a:cubicBezTo>
                <a:cubicBezTo>
                  <a:pt x="1899" y="655"/>
                  <a:pt x="1899" y="655"/>
                  <a:pt x="1900" y="657"/>
                </a:cubicBezTo>
                <a:cubicBezTo>
                  <a:pt x="1900" y="657"/>
                  <a:pt x="1900" y="657"/>
                  <a:pt x="1900" y="658"/>
                </a:cubicBezTo>
                <a:cubicBezTo>
                  <a:pt x="1900" y="658"/>
                  <a:pt x="1900" y="658"/>
                  <a:pt x="1899" y="657"/>
                </a:cubicBezTo>
                <a:cubicBezTo>
                  <a:pt x="1899" y="657"/>
                  <a:pt x="1899" y="657"/>
                  <a:pt x="1899" y="658"/>
                </a:cubicBezTo>
                <a:cubicBezTo>
                  <a:pt x="1899" y="658"/>
                  <a:pt x="1899" y="658"/>
                  <a:pt x="1898" y="657"/>
                </a:cubicBezTo>
                <a:cubicBezTo>
                  <a:pt x="1898" y="657"/>
                  <a:pt x="1898" y="657"/>
                  <a:pt x="1897" y="656"/>
                </a:cubicBezTo>
                <a:cubicBezTo>
                  <a:pt x="1897" y="656"/>
                  <a:pt x="1897" y="656"/>
                  <a:pt x="1896" y="656"/>
                </a:cubicBezTo>
                <a:cubicBezTo>
                  <a:pt x="1896" y="656"/>
                  <a:pt x="1896" y="656"/>
                  <a:pt x="1895" y="656"/>
                </a:cubicBezTo>
                <a:cubicBezTo>
                  <a:pt x="1895" y="656"/>
                  <a:pt x="1895" y="656"/>
                  <a:pt x="1895" y="657"/>
                </a:cubicBezTo>
                <a:cubicBezTo>
                  <a:pt x="1895" y="657"/>
                  <a:pt x="1895" y="657"/>
                  <a:pt x="1894" y="656"/>
                </a:cubicBezTo>
                <a:cubicBezTo>
                  <a:pt x="1894" y="656"/>
                  <a:pt x="1894" y="656"/>
                  <a:pt x="1894" y="655"/>
                </a:cubicBezTo>
                <a:cubicBezTo>
                  <a:pt x="1894" y="655"/>
                  <a:pt x="1894" y="655"/>
                  <a:pt x="1894" y="654"/>
                </a:cubicBezTo>
                <a:cubicBezTo>
                  <a:pt x="1894" y="654"/>
                  <a:pt x="1894" y="654"/>
                  <a:pt x="1893" y="654"/>
                </a:cubicBezTo>
                <a:cubicBezTo>
                  <a:pt x="1893" y="654"/>
                  <a:pt x="1893" y="654"/>
                  <a:pt x="1893" y="655"/>
                </a:cubicBezTo>
                <a:cubicBezTo>
                  <a:pt x="1893" y="655"/>
                  <a:pt x="1893" y="655"/>
                  <a:pt x="1893" y="656"/>
                </a:cubicBezTo>
                <a:cubicBezTo>
                  <a:pt x="1893" y="656"/>
                  <a:pt x="1893" y="656"/>
                  <a:pt x="1892" y="657"/>
                </a:cubicBezTo>
                <a:cubicBezTo>
                  <a:pt x="1892" y="657"/>
                  <a:pt x="1892" y="657"/>
                  <a:pt x="1888" y="659"/>
                </a:cubicBezTo>
                <a:cubicBezTo>
                  <a:pt x="1888" y="659"/>
                  <a:pt x="1888" y="659"/>
                  <a:pt x="1887" y="659"/>
                </a:cubicBezTo>
                <a:cubicBezTo>
                  <a:pt x="1887" y="659"/>
                  <a:pt x="1887" y="659"/>
                  <a:pt x="1887" y="660"/>
                </a:cubicBezTo>
                <a:cubicBezTo>
                  <a:pt x="1887" y="660"/>
                  <a:pt x="1887" y="660"/>
                  <a:pt x="1886" y="661"/>
                </a:cubicBezTo>
                <a:cubicBezTo>
                  <a:pt x="1886" y="661"/>
                  <a:pt x="1886" y="661"/>
                  <a:pt x="1887" y="662"/>
                </a:cubicBezTo>
                <a:cubicBezTo>
                  <a:pt x="1887" y="662"/>
                  <a:pt x="1887" y="662"/>
                  <a:pt x="1887" y="663"/>
                </a:cubicBezTo>
                <a:cubicBezTo>
                  <a:pt x="1887" y="663"/>
                  <a:pt x="1887" y="663"/>
                  <a:pt x="1887" y="664"/>
                </a:cubicBezTo>
                <a:cubicBezTo>
                  <a:pt x="1887" y="664"/>
                  <a:pt x="1887" y="664"/>
                  <a:pt x="1886" y="665"/>
                </a:cubicBezTo>
                <a:cubicBezTo>
                  <a:pt x="1886" y="665"/>
                  <a:pt x="1886" y="665"/>
                  <a:pt x="1886" y="666"/>
                </a:cubicBezTo>
                <a:cubicBezTo>
                  <a:pt x="1886" y="666"/>
                  <a:pt x="1886" y="666"/>
                  <a:pt x="1885" y="667"/>
                </a:cubicBezTo>
                <a:cubicBezTo>
                  <a:pt x="1885" y="667"/>
                  <a:pt x="1885" y="667"/>
                  <a:pt x="1883" y="669"/>
                </a:cubicBezTo>
                <a:cubicBezTo>
                  <a:pt x="1883" y="669"/>
                  <a:pt x="1883" y="669"/>
                  <a:pt x="1883" y="670"/>
                </a:cubicBezTo>
                <a:cubicBezTo>
                  <a:pt x="1883" y="670"/>
                  <a:pt x="1883" y="670"/>
                  <a:pt x="1880" y="671"/>
                </a:cubicBezTo>
                <a:cubicBezTo>
                  <a:pt x="1880" y="671"/>
                  <a:pt x="1880" y="671"/>
                  <a:pt x="1879" y="671"/>
                </a:cubicBezTo>
                <a:cubicBezTo>
                  <a:pt x="1879" y="671"/>
                  <a:pt x="1879" y="671"/>
                  <a:pt x="1879" y="670"/>
                </a:cubicBezTo>
                <a:cubicBezTo>
                  <a:pt x="1879" y="670"/>
                  <a:pt x="1879" y="670"/>
                  <a:pt x="1878" y="670"/>
                </a:cubicBezTo>
                <a:cubicBezTo>
                  <a:pt x="1878" y="670"/>
                  <a:pt x="1878" y="670"/>
                  <a:pt x="1877" y="671"/>
                </a:cubicBezTo>
                <a:cubicBezTo>
                  <a:pt x="1877" y="671"/>
                  <a:pt x="1877" y="671"/>
                  <a:pt x="1876" y="673"/>
                </a:cubicBezTo>
                <a:cubicBezTo>
                  <a:pt x="1876" y="673"/>
                  <a:pt x="1876" y="673"/>
                  <a:pt x="1877" y="672"/>
                </a:cubicBezTo>
                <a:cubicBezTo>
                  <a:pt x="1877" y="672"/>
                  <a:pt x="1877" y="672"/>
                  <a:pt x="1878" y="672"/>
                </a:cubicBezTo>
                <a:cubicBezTo>
                  <a:pt x="1878" y="672"/>
                  <a:pt x="1878" y="672"/>
                  <a:pt x="1874" y="676"/>
                </a:cubicBezTo>
                <a:cubicBezTo>
                  <a:pt x="1874" y="676"/>
                  <a:pt x="1874" y="676"/>
                  <a:pt x="1873" y="679"/>
                </a:cubicBezTo>
                <a:cubicBezTo>
                  <a:pt x="1873" y="679"/>
                  <a:pt x="1873" y="679"/>
                  <a:pt x="1867" y="683"/>
                </a:cubicBezTo>
                <a:cubicBezTo>
                  <a:pt x="1867" y="683"/>
                  <a:pt x="1867" y="683"/>
                  <a:pt x="1866" y="685"/>
                </a:cubicBezTo>
                <a:cubicBezTo>
                  <a:pt x="1866" y="685"/>
                  <a:pt x="1866" y="685"/>
                  <a:pt x="1865" y="686"/>
                </a:cubicBezTo>
                <a:cubicBezTo>
                  <a:pt x="1865" y="686"/>
                  <a:pt x="1865" y="686"/>
                  <a:pt x="1863" y="687"/>
                </a:cubicBezTo>
                <a:cubicBezTo>
                  <a:pt x="1863" y="687"/>
                  <a:pt x="1863" y="687"/>
                  <a:pt x="1861" y="689"/>
                </a:cubicBezTo>
                <a:cubicBezTo>
                  <a:pt x="1861" y="689"/>
                  <a:pt x="1861" y="689"/>
                  <a:pt x="1861" y="690"/>
                </a:cubicBezTo>
                <a:cubicBezTo>
                  <a:pt x="1861" y="690"/>
                  <a:pt x="1861" y="690"/>
                  <a:pt x="1861" y="691"/>
                </a:cubicBezTo>
                <a:cubicBezTo>
                  <a:pt x="1861" y="691"/>
                  <a:pt x="1861" y="691"/>
                  <a:pt x="1860" y="693"/>
                </a:cubicBezTo>
                <a:cubicBezTo>
                  <a:pt x="1860" y="693"/>
                  <a:pt x="1860" y="693"/>
                  <a:pt x="1859" y="694"/>
                </a:cubicBezTo>
                <a:cubicBezTo>
                  <a:pt x="1859" y="694"/>
                  <a:pt x="1859" y="694"/>
                  <a:pt x="1856" y="693"/>
                </a:cubicBezTo>
                <a:cubicBezTo>
                  <a:pt x="1856" y="693"/>
                  <a:pt x="1856" y="693"/>
                  <a:pt x="1855" y="694"/>
                </a:cubicBezTo>
                <a:cubicBezTo>
                  <a:pt x="1855" y="694"/>
                  <a:pt x="1855" y="694"/>
                  <a:pt x="1855" y="696"/>
                </a:cubicBezTo>
                <a:cubicBezTo>
                  <a:pt x="1855" y="696"/>
                  <a:pt x="1855" y="696"/>
                  <a:pt x="1853" y="698"/>
                </a:cubicBezTo>
                <a:cubicBezTo>
                  <a:pt x="1853" y="698"/>
                  <a:pt x="1853" y="698"/>
                  <a:pt x="1852" y="698"/>
                </a:cubicBezTo>
                <a:cubicBezTo>
                  <a:pt x="1852" y="698"/>
                  <a:pt x="1852" y="698"/>
                  <a:pt x="1851" y="697"/>
                </a:cubicBezTo>
                <a:cubicBezTo>
                  <a:pt x="1851" y="697"/>
                  <a:pt x="1851" y="697"/>
                  <a:pt x="1849" y="699"/>
                </a:cubicBezTo>
                <a:cubicBezTo>
                  <a:pt x="1849" y="699"/>
                  <a:pt x="1849" y="699"/>
                  <a:pt x="1848" y="700"/>
                </a:cubicBezTo>
                <a:cubicBezTo>
                  <a:pt x="1848" y="700"/>
                  <a:pt x="1848" y="700"/>
                  <a:pt x="1848" y="702"/>
                </a:cubicBezTo>
                <a:cubicBezTo>
                  <a:pt x="1848" y="702"/>
                  <a:pt x="1848" y="702"/>
                  <a:pt x="1849" y="705"/>
                </a:cubicBezTo>
                <a:cubicBezTo>
                  <a:pt x="1849" y="705"/>
                  <a:pt x="1849" y="705"/>
                  <a:pt x="1848" y="707"/>
                </a:cubicBezTo>
                <a:cubicBezTo>
                  <a:pt x="1848" y="707"/>
                  <a:pt x="1848" y="707"/>
                  <a:pt x="1848" y="708"/>
                </a:cubicBezTo>
                <a:cubicBezTo>
                  <a:pt x="1848" y="708"/>
                  <a:pt x="1848" y="708"/>
                  <a:pt x="1848" y="713"/>
                </a:cubicBezTo>
                <a:cubicBezTo>
                  <a:pt x="1848" y="713"/>
                  <a:pt x="1848" y="713"/>
                  <a:pt x="1850" y="714"/>
                </a:cubicBezTo>
                <a:cubicBezTo>
                  <a:pt x="1850" y="714"/>
                  <a:pt x="1850" y="714"/>
                  <a:pt x="1850" y="717"/>
                </a:cubicBezTo>
                <a:cubicBezTo>
                  <a:pt x="1850" y="717"/>
                  <a:pt x="1850" y="717"/>
                  <a:pt x="1849" y="721"/>
                </a:cubicBezTo>
                <a:cubicBezTo>
                  <a:pt x="1849" y="721"/>
                  <a:pt x="1849" y="721"/>
                  <a:pt x="1847" y="724"/>
                </a:cubicBezTo>
                <a:cubicBezTo>
                  <a:pt x="1847" y="724"/>
                  <a:pt x="1847" y="724"/>
                  <a:pt x="1847" y="726"/>
                </a:cubicBezTo>
                <a:cubicBezTo>
                  <a:pt x="1847" y="726"/>
                  <a:pt x="1847" y="726"/>
                  <a:pt x="1848" y="727"/>
                </a:cubicBezTo>
                <a:cubicBezTo>
                  <a:pt x="1848" y="727"/>
                  <a:pt x="1848" y="727"/>
                  <a:pt x="1848" y="732"/>
                </a:cubicBezTo>
                <a:cubicBezTo>
                  <a:pt x="1848" y="732"/>
                  <a:pt x="1848" y="732"/>
                  <a:pt x="1848" y="734"/>
                </a:cubicBezTo>
                <a:cubicBezTo>
                  <a:pt x="1848" y="734"/>
                  <a:pt x="1848" y="734"/>
                  <a:pt x="1847" y="734"/>
                </a:cubicBezTo>
                <a:cubicBezTo>
                  <a:pt x="1847" y="734"/>
                  <a:pt x="1847" y="734"/>
                  <a:pt x="1846" y="734"/>
                </a:cubicBezTo>
                <a:cubicBezTo>
                  <a:pt x="1846" y="734"/>
                  <a:pt x="1846" y="734"/>
                  <a:pt x="1845" y="734"/>
                </a:cubicBezTo>
                <a:cubicBezTo>
                  <a:pt x="1845" y="734"/>
                  <a:pt x="1845" y="734"/>
                  <a:pt x="1844" y="735"/>
                </a:cubicBezTo>
                <a:cubicBezTo>
                  <a:pt x="1844" y="735"/>
                  <a:pt x="1844" y="735"/>
                  <a:pt x="1844" y="736"/>
                </a:cubicBezTo>
                <a:cubicBezTo>
                  <a:pt x="1844" y="736"/>
                  <a:pt x="1844" y="736"/>
                  <a:pt x="1843" y="738"/>
                </a:cubicBezTo>
                <a:cubicBezTo>
                  <a:pt x="1843" y="738"/>
                  <a:pt x="1843" y="738"/>
                  <a:pt x="1842" y="739"/>
                </a:cubicBezTo>
                <a:cubicBezTo>
                  <a:pt x="1842" y="739"/>
                  <a:pt x="1842" y="739"/>
                  <a:pt x="1842" y="740"/>
                </a:cubicBezTo>
                <a:cubicBezTo>
                  <a:pt x="1842" y="740"/>
                  <a:pt x="1842" y="740"/>
                  <a:pt x="1844" y="741"/>
                </a:cubicBezTo>
                <a:cubicBezTo>
                  <a:pt x="1844" y="741"/>
                  <a:pt x="1844" y="741"/>
                  <a:pt x="1843" y="741"/>
                </a:cubicBezTo>
                <a:cubicBezTo>
                  <a:pt x="1843" y="741"/>
                  <a:pt x="1843" y="741"/>
                  <a:pt x="1841" y="742"/>
                </a:cubicBezTo>
                <a:cubicBezTo>
                  <a:pt x="1841" y="742"/>
                  <a:pt x="1841" y="742"/>
                  <a:pt x="1840" y="741"/>
                </a:cubicBezTo>
                <a:cubicBezTo>
                  <a:pt x="1840" y="741"/>
                  <a:pt x="1840" y="741"/>
                  <a:pt x="1838" y="742"/>
                </a:cubicBezTo>
                <a:cubicBezTo>
                  <a:pt x="1838" y="742"/>
                  <a:pt x="1838" y="742"/>
                  <a:pt x="1837" y="744"/>
                </a:cubicBezTo>
                <a:cubicBezTo>
                  <a:pt x="1837" y="744"/>
                  <a:pt x="1837" y="744"/>
                  <a:pt x="1837" y="745"/>
                </a:cubicBezTo>
                <a:cubicBezTo>
                  <a:pt x="1837" y="745"/>
                  <a:pt x="1837" y="745"/>
                  <a:pt x="1837" y="747"/>
                </a:cubicBezTo>
                <a:cubicBezTo>
                  <a:pt x="1837" y="747"/>
                  <a:pt x="1837" y="747"/>
                  <a:pt x="1834" y="748"/>
                </a:cubicBezTo>
                <a:cubicBezTo>
                  <a:pt x="1834" y="748"/>
                  <a:pt x="1834" y="748"/>
                  <a:pt x="1832" y="748"/>
                </a:cubicBezTo>
                <a:cubicBezTo>
                  <a:pt x="1832" y="748"/>
                  <a:pt x="1832" y="748"/>
                  <a:pt x="1830" y="747"/>
                </a:cubicBezTo>
                <a:cubicBezTo>
                  <a:pt x="1830" y="747"/>
                  <a:pt x="1830" y="747"/>
                  <a:pt x="1828" y="744"/>
                </a:cubicBezTo>
                <a:cubicBezTo>
                  <a:pt x="1828" y="744"/>
                  <a:pt x="1828" y="744"/>
                  <a:pt x="1826" y="740"/>
                </a:cubicBezTo>
                <a:cubicBezTo>
                  <a:pt x="1826" y="740"/>
                  <a:pt x="1826" y="740"/>
                  <a:pt x="1826" y="737"/>
                </a:cubicBezTo>
                <a:cubicBezTo>
                  <a:pt x="1826" y="737"/>
                  <a:pt x="1826" y="737"/>
                  <a:pt x="1825" y="735"/>
                </a:cubicBezTo>
                <a:cubicBezTo>
                  <a:pt x="1825" y="735"/>
                  <a:pt x="1825" y="735"/>
                  <a:pt x="1824" y="732"/>
                </a:cubicBezTo>
                <a:cubicBezTo>
                  <a:pt x="1824" y="732"/>
                  <a:pt x="1824" y="732"/>
                  <a:pt x="1824" y="731"/>
                </a:cubicBezTo>
                <a:cubicBezTo>
                  <a:pt x="1824" y="731"/>
                  <a:pt x="1824" y="731"/>
                  <a:pt x="1823" y="731"/>
                </a:cubicBezTo>
                <a:cubicBezTo>
                  <a:pt x="1823" y="731"/>
                  <a:pt x="1823" y="731"/>
                  <a:pt x="1823" y="729"/>
                </a:cubicBezTo>
                <a:cubicBezTo>
                  <a:pt x="1823" y="729"/>
                  <a:pt x="1823" y="729"/>
                  <a:pt x="1822" y="727"/>
                </a:cubicBezTo>
                <a:cubicBezTo>
                  <a:pt x="1822" y="727"/>
                  <a:pt x="1822" y="727"/>
                  <a:pt x="1820" y="725"/>
                </a:cubicBezTo>
                <a:cubicBezTo>
                  <a:pt x="1820" y="725"/>
                  <a:pt x="1820" y="725"/>
                  <a:pt x="1819" y="723"/>
                </a:cubicBezTo>
                <a:cubicBezTo>
                  <a:pt x="1819" y="723"/>
                  <a:pt x="1819" y="723"/>
                  <a:pt x="1817" y="721"/>
                </a:cubicBezTo>
                <a:cubicBezTo>
                  <a:pt x="1817" y="721"/>
                  <a:pt x="1817" y="721"/>
                  <a:pt x="1816" y="720"/>
                </a:cubicBezTo>
                <a:cubicBezTo>
                  <a:pt x="1816" y="720"/>
                  <a:pt x="1816" y="720"/>
                  <a:pt x="1816" y="719"/>
                </a:cubicBezTo>
                <a:cubicBezTo>
                  <a:pt x="1816" y="719"/>
                  <a:pt x="1816" y="719"/>
                  <a:pt x="1816" y="717"/>
                </a:cubicBezTo>
                <a:cubicBezTo>
                  <a:pt x="1816" y="717"/>
                  <a:pt x="1816" y="717"/>
                  <a:pt x="1815" y="716"/>
                </a:cubicBezTo>
                <a:cubicBezTo>
                  <a:pt x="1815" y="716"/>
                  <a:pt x="1815" y="716"/>
                  <a:pt x="1814" y="713"/>
                </a:cubicBezTo>
                <a:cubicBezTo>
                  <a:pt x="1814" y="713"/>
                  <a:pt x="1814" y="713"/>
                  <a:pt x="1813" y="711"/>
                </a:cubicBezTo>
                <a:cubicBezTo>
                  <a:pt x="1813" y="711"/>
                  <a:pt x="1813" y="711"/>
                  <a:pt x="1813" y="709"/>
                </a:cubicBezTo>
                <a:cubicBezTo>
                  <a:pt x="1813" y="709"/>
                  <a:pt x="1813" y="709"/>
                  <a:pt x="1812" y="708"/>
                </a:cubicBezTo>
                <a:cubicBezTo>
                  <a:pt x="1812" y="708"/>
                  <a:pt x="1812" y="708"/>
                  <a:pt x="1812" y="706"/>
                </a:cubicBezTo>
                <a:cubicBezTo>
                  <a:pt x="1812" y="706"/>
                  <a:pt x="1812" y="706"/>
                  <a:pt x="1810" y="704"/>
                </a:cubicBezTo>
                <a:cubicBezTo>
                  <a:pt x="1810" y="704"/>
                  <a:pt x="1810" y="704"/>
                  <a:pt x="1810" y="703"/>
                </a:cubicBezTo>
                <a:cubicBezTo>
                  <a:pt x="1810" y="703"/>
                  <a:pt x="1810" y="703"/>
                  <a:pt x="1808" y="701"/>
                </a:cubicBezTo>
                <a:cubicBezTo>
                  <a:pt x="1808" y="701"/>
                  <a:pt x="1808" y="701"/>
                  <a:pt x="1808" y="700"/>
                </a:cubicBezTo>
                <a:cubicBezTo>
                  <a:pt x="1808" y="700"/>
                  <a:pt x="1808" y="700"/>
                  <a:pt x="1807" y="699"/>
                </a:cubicBezTo>
                <a:cubicBezTo>
                  <a:pt x="1807" y="699"/>
                  <a:pt x="1807" y="699"/>
                  <a:pt x="1807" y="698"/>
                </a:cubicBezTo>
                <a:cubicBezTo>
                  <a:pt x="1807" y="698"/>
                  <a:pt x="1807" y="698"/>
                  <a:pt x="1806" y="697"/>
                </a:cubicBezTo>
                <a:cubicBezTo>
                  <a:pt x="1806" y="697"/>
                  <a:pt x="1806" y="697"/>
                  <a:pt x="1805" y="694"/>
                </a:cubicBezTo>
                <a:cubicBezTo>
                  <a:pt x="1805" y="694"/>
                  <a:pt x="1805" y="694"/>
                  <a:pt x="1805" y="691"/>
                </a:cubicBezTo>
                <a:cubicBezTo>
                  <a:pt x="1805" y="691"/>
                  <a:pt x="1805" y="691"/>
                  <a:pt x="1802" y="685"/>
                </a:cubicBezTo>
                <a:cubicBezTo>
                  <a:pt x="1802" y="685"/>
                  <a:pt x="1802" y="685"/>
                  <a:pt x="1802" y="684"/>
                </a:cubicBezTo>
                <a:cubicBezTo>
                  <a:pt x="1802" y="684"/>
                  <a:pt x="1802" y="684"/>
                  <a:pt x="1801" y="682"/>
                </a:cubicBezTo>
                <a:cubicBezTo>
                  <a:pt x="1801" y="682"/>
                  <a:pt x="1801" y="682"/>
                  <a:pt x="1802" y="682"/>
                </a:cubicBezTo>
                <a:cubicBezTo>
                  <a:pt x="1802" y="682"/>
                  <a:pt x="1802" y="682"/>
                  <a:pt x="1800" y="679"/>
                </a:cubicBezTo>
                <a:cubicBezTo>
                  <a:pt x="1800" y="679"/>
                  <a:pt x="1800" y="679"/>
                  <a:pt x="1800" y="678"/>
                </a:cubicBezTo>
                <a:cubicBezTo>
                  <a:pt x="1800" y="678"/>
                  <a:pt x="1800" y="678"/>
                  <a:pt x="1801" y="678"/>
                </a:cubicBezTo>
                <a:cubicBezTo>
                  <a:pt x="1801" y="678"/>
                  <a:pt x="1801" y="678"/>
                  <a:pt x="1801" y="677"/>
                </a:cubicBezTo>
                <a:cubicBezTo>
                  <a:pt x="1801" y="677"/>
                  <a:pt x="1801" y="677"/>
                  <a:pt x="1800" y="676"/>
                </a:cubicBezTo>
                <a:cubicBezTo>
                  <a:pt x="1800" y="676"/>
                  <a:pt x="1800" y="676"/>
                  <a:pt x="1799" y="672"/>
                </a:cubicBezTo>
                <a:cubicBezTo>
                  <a:pt x="1799" y="672"/>
                  <a:pt x="1799" y="672"/>
                  <a:pt x="1798" y="670"/>
                </a:cubicBezTo>
                <a:cubicBezTo>
                  <a:pt x="1798" y="670"/>
                  <a:pt x="1798" y="670"/>
                  <a:pt x="1799" y="670"/>
                </a:cubicBezTo>
                <a:cubicBezTo>
                  <a:pt x="1799" y="670"/>
                  <a:pt x="1799" y="670"/>
                  <a:pt x="1798" y="669"/>
                </a:cubicBezTo>
                <a:cubicBezTo>
                  <a:pt x="1798" y="669"/>
                  <a:pt x="1798" y="669"/>
                  <a:pt x="1798" y="668"/>
                </a:cubicBezTo>
                <a:cubicBezTo>
                  <a:pt x="1798" y="668"/>
                  <a:pt x="1798" y="668"/>
                  <a:pt x="1799" y="667"/>
                </a:cubicBezTo>
                <a:cubicBezTo>
                  <a:pt x="1799" y="667"/>
                  <a:pt x="1799" y="667"/>
                  <a:pt x="1799" y="665"/>
                </a:cubicBezTo>
                <a:cubicBezTo>
                  <a:pt x="1799" y="665"/>
                  <a:pt x="1799" y="665"/>
                  <a:pt x="1798" y="663"/>
                </a:cubicBezTo>
                <a:cubicBezTo>
                  <a:pt x="1798" y="663"/>
                  <a:pt x="1798" y="663"/>
                  <a:pt x="1797" y="660"/>
                </a:cubicBezTo>
                <a:cubicBezTo>
                  <a:pt x="1797" y="660"/>
                  <a:pt x="1797" y="660"/>
                  <a:pt x="1798" y="659"/>
                </a:cubicBezTo>
                <a:cubicBezTo>
                  <a:pt x="1798" y="659"/>
                  <a:pt x="1798" y="659"/>
                  <a:pt x="1799" y="658"/>
                </a:cubicBezTo>
                <a:cubicBezTo>
                  <a:pt x="1799" y="658"/>
                  <a:pt x="1799" y="658"/>
                  <a:pt x="1797" y="658"/>
                </a:cubicBezTo>
                <a:cubicBezTo>
                  <a:pt x="1797" y="658"/>
                  <a:pt x="1797" y="658"/>
                  <a:pt x="1797" y="657"/>
                </a:cubicBezTo>
                <a:cubicBezTo>
                  <a:pt x="1797" y="657"/>
                  <a:pt x="1797" y="657"/>
                  <a:pt x="1796" y="656"/>
                </a:cubicBezTo>
                <a:cubicBezTo>
                  <a:pt x="1796" y="656"/>
                  <a:pt x="1796" y="656"/>
                  <a:pt x="1796" y="655"/>
                </a:cubicBezTo>
                <a:cubicBezTo>
                  <a:pt x="1796" y="655"/>
                  <a:pt x="1796" y="655"/>
                  <a:pt x="1797" y="654"/>
                </a:cubicBezTo>
                <a:cubicBezTo>
                  <a:pt x="1797" y="654"/>
                  <a:pt x="1797" y="654"/>
                  <a:pt x="1799" y="653"/>
                </a:cubicBezTo>
                <a:cubicBezTo>
                  <a:pt x="1799" y="653"/>
                  <a:pt x="1799" y="653"/>
                  <a:pt x="1798" y="653"/>
                </a:cubicBezTo>
                <a:cubicBezTo>
                  <a:pt x="1798" y="653"/>
                  <a:pt x="1798" y="653"/>
                  <a:pt x="1797" y="653"/>
                </a:cubicBezTo>
                <a:cubicBezTo>
                  <a:pt x="1797" y="653"/>
                  <a:pt x="1797" y="653"/>
                  <a:pt x="1796" y="653"/>
                </a:cubicBezTo>
                <a:cubicBezTo>
                  <a:pt x="1796" y="653"/>
                  <a:pt x="1796" y="653"/>
                  <a:pt x="1795" y="652"/>
                </a:cubicBezTo>
                <a:cubicBezTo>
                  <a:pt x="1795" y="652"/>
                  <a:pt x="1795" y="652"/>
                  <a:pt x="1795" y="653"/>
                </a:cubicBezTo>
                <a:cubicBezTo>
                  <a:pt x="1795" y="653"/>
                  <a:pt x="1795" y="653"/>
                  <a:pt x="1795" y="654"/>
                </a:cubicBezTo>
                <a:cubicBezTo>
                  <a:pt x="1795" y="654"/>
                  <a:pt x="1795" y="654"/>
                  <a:pt x="1794" y="657"/>
                </a:cubicBezTo>
                <a:cubicBezTo>
                  <a:pt x="1794" y="657"/>
                  <a:pt x="1794" y="657"/>
                  <a:pt x="1795" y="658"/>
                </a:cubicBezTo>
                <a:cubicBezTo>
                  <a:pt x="1795" y="658"/>
                  <a:pt x="1795" y="658"/>
                  <a:pt x="1795" y="660"/>
                </a:cubicBezTo>
                <a:cubicBezTo>
                  <a:pt x="1795" y="660"/>
                  <a:pt x="1795" y="660"/>
                  <a:pt x="1794" y="661"/>
                </a:cubicBezTo>
                <a:cubicBezTo>
                  <a:pt x="1794" y="661"/>
                  <a:pt x="1794" y="661"/>
                  <a:pt x="1794" y="662"/>
                </a:cubicBezTo>
                <a:cubicBezTo>
                  <a:pt x="1794" y="662"/>
                  <a:pt x="1794" y="662"/>
                  <a:pt x="1792" y="663"/>
                </a:cubicBezTo>
                <a:cubicBezTo>
                  <a:pt x="1792" y="663"/>
                  <a:pt x="1792" y="663"/>
                  <a:pt x="1788" y="665"/>
                </a:cubicBezTo>
                <a:cubicBezTo>
                  <a:pt x="1788" y="665"/>
                  <a:pt x="1788" y="665"/>
                  <a:pt x="1787" y="665"/>
                </a:cubicBezTo>
                <a:cubicBezTo>
                  <a:pt x="1787" y="665"/>
                  <a:pt x="1787" y="665"/>
                  <a:pt x="1785" y="665"/>
                </a:cubicBezTo>
                <a:cubicBezTo>
                  <a:pt x="1785" y="665"/>
                  <a:pt x="1785" y="665"/>
                  <a:pt x="1780" y="661"/>
                </a:cubicBezTo>
                <a:cubicBezTo>
                  <a:pt x="1780" y="661"/>
                  <a:pt x="1780" y="661"/>
                  <a:pt x="1778" y="658"/>
                </a:cubicBezTo>
                <a:cubicBezTo>
                  <a:pt x="1778" y="658"/>
                  <a:pt x="1778" y="658"/>
                  <a:pt x="1777" y="658"/>
                </a:cubicBezTo>
                <a:cubicBezTo>
                  <a:pt x="1777" y="658"/>
                  <a:pt x="1777" y="658"/>
                  <a:pt x="1776" y="657"/>
                </a:cubicBezTo>
                <a:cubicBezTo>
                  <a:pt x="1776" y="657"/>
                  <a:pt x="1776" y="657"/>
                  <a:pt x="1774" y="655"/>
                </a:cubicBezTo>
                <a:cubicBezTo>
                  <a:pt x="1774" y="655"/>
                  <a:pt x="1774" y="655"/>
                  <a:pt x="1773" y="654"/>
                </a:cubicBezTo>
                <a:cubicBezTo>
                  <a:pt x="1773" y="654"/>
                  <a:pt x="1773" y="654"/>
                  <a:pt x="1774" y="653"/>
                </a:cubicBezTo>
                <a:cubicBezTo>
                  <a:pt x="1774" y="653"/>
                  <a:pt x="1774" y="653"/>
                  <a:pt x="1775" y="653"/>
                </a:cubicBezTo>
                <a:cubicBezTo>
                  <a:pt x="1775" y="653"/>
                  <a:pt x="1775" y="653"/>
                  <a:pt x="1775" y="655"/>
                </a:cubicBezTo>
                <a:cubicBezTo>
                  <a:pt x="1775" y="655"/>
                  <a:pt x="1775" y="655"/>
                  <a:pt x="1776" y="655"/>
                </a:cubicBezTo>
                <a:cubicBezTo>
                  <a:pt x="1776" y="655"/>
                  <a:pt x="1776" y="655"/>
                  <a:pt x="1777" y="654"/>
                </a:cubicBezTo>
                <a:cubicBezTo>
                  <a:pt x="1777" y="654"/>
                  <a:pt x="1777" y="654"/>
                  <a:pt x="1778" y="655"/>
                </a:cubicBezTo>
                <a:cubicBezTo>
                  <a:pt x="1778" y="655"/>
                  <a:pt x="1778" y="655"/>
                  <a:pt x="1778" y="654"/>
                </a:cubicBezTo>
                <a:cubicBezTo>
                  <a:pt x="1778" y="654"/>
                  <a:pt x="1778" y="654"/>
                  <a:pt x="1781" y="652"/>
                </a:cubicBezTo>
                <a:cubicBezTo>
                  <a:pt x="1781" y="652"/>
                  <a:pt x="1781" y="652"/>
                  <a:pt x="1782" y="652"/>
                </a:cubicBezTo>
                <a:cubicBezTo>
                  <a:pt x="1782" y="652"/>
                  <a:pt x="1782" y="652"/>
                  <a:pt x="1783" y="650"/>
                </a:cubicBezTo>
                <a:cubicBezTo>
                  <a:pt x="1783" y="650"/>
                  <a:pt x="1783" y="650"/>
                  <a:pt x="1784" y="649"/>
                </a:cubicBezTo>
                <a:cubicBezTo>
                  <a:pt x="1784" y="649"/>
                  <a:pt x="1784" y="649"/>
                  <a:pt x="1782" y="649"/>
                </a:cubicBezTo>
                <a:cubicBezTo>
                  <a:pt x="1782" y="649"/>
                  <a:pt x="1782" y="649"/>
                  <a:pt x="1782" y="650"/>
                </a:cubicBezTo>
                <a:cubicBezTo>
                  <a:pt x="1782" y="650"/>
                  <a:pt x="1782" y="650"/>
                  <a:pt x="1779" y="651"/>
                </a:cubicBezTo>
                <a:cubicBezTo>
                  <a:pt x="1779" y="651"/>
                  <a:pt x="1779" y="651"/>
                  <a:pt x="1778" y="651"/>
                </a:cubicBezTo>
                <a:cubicBezTo>
                  <a:pt x="1778" y="651"/>
                  <a:pt x="1778" y="651"/>
                  <a:pt x="1777" y="651"/>
                </a:cubicBezTo>
                <a:cubicBezTo>
                  <a:pt x="1777" y="651"/>
                  <a:pt x="1777" y="651"/>
                  <a:pt x="1773" y="650"/>
                </a:cubicBezTo>
                <a:cubicBezTo>
                  <a:pt x="1773" y="650"/>
                  <a:pt x="1773" y="650"/>
                  <a:pt x="1771" y="648"/>
                </a:cubicBezTo>
                <a:cubicBezTo>
                  <a:pt x="1771" y="648"/>
                  <a:pt x="1771" y="648"/>
                  <a:pt x="1770" y="647"/>
                </a:cubicBezTo>
                <a:cubicBezTo>
                  <a:pt x="1770" y="647"/>
                  <a:pt x="1770" y="647"/>
                  <a:pt x="1770" y="646"/>
                </a:cubicBezTo>
                <a:cubicBezTo>
                  <a:pt x="1770" y="646"/>
                  <a:pt x="1770" y="646"/>
                  <a:pt x="1771" y="644"/>
                </a:cubicBezTo>
                <a:cubicBezTo>
                  <a:pt x="1771" y="644"/>
                  <a:pt x="1771" y="644"/>
                  <a:pt x="1769" y="645"/>
                </a:cubicBezTo>
                <a:cubicBezTo>
                  <a:pt x="1769" y="645"/>
                  <a:pt x="1769" y="645"/>
                  <a:pt x="1768" y="646"/>
                </a:cubicBezTo>
                <a:cubicBezTo>
                  <a:pt x="1768" y="646"/>
                  <a:pt x="1768" y="646"/>
                  <a:pt x="1768" y="645"/>
                </a:cubicBezTo>
                <a:cubicBezTo>
                  <a:pt x="1768" y="645"/>
                  <a:pt x="1768" y="645"/>
                  <a:pt x="1766" y="644"/>
                </a:cubicBezTo>
                <a:cubicBezTo>
                  <a:pt x="1766" y="644"/>
                  <a:pt x="1766" y="644"/>
                  <a:pt x="1764" y="644"/>
                </a:cubicBezTo>
                <a:cubicBezTo>
                  <a:pt x="1764" y="644"/>
                  <a:pt x="1764" y="644"/>
                  <a:pt x="1763" y="644"/>
                </a:cubicBezTo>
                <a:cubicBezTo>
                  <a:pt x="1763" y="644"/>
                  <a:pt x="1763" y="644"/>
                  <a:pt x="1763" y="643"/>
                </a:cubicBezTo>
                <a:cubicBezTo>
                  <a:pt x="1763" y="643"/>
                  <a:pt x="1763" y="643"/>
                  <a:pt x="1762" y="643"/>
                </a:cubicBezTo>
                <a:cubicBezTo>
                  <a:pt x="1762" y="643"/>
                  <a:pt x="1762" y="643"/>
                  <a:pt x="1762" y="642"/>
                </a:cubicBezTo>
                <a:cubicBezTo>
                  <a:pt x="1762" y="642"/>
                  <a:pt x="1762" y="642"/>
                  <a:pt x="1762" y="641"/>
                </a:cubicBezTo>
                <a:cubicBezTo>
                  <a:pt x="1762" y="641"/>
                  <a:pt x="1762" y="641"/>
                  <a:pt x="1762" y="639"/>
                </a:cubicBezTo>
                <a:cubicBezTo>
                  <a:pt x="1762" y="639"/>
                  <a:pt x="1762" y="639"/>
                  <a:pt x="1760" y="637"/>
                </a:cubicBezTo>
                <a:cubicBezTo>
                  <a:pt x="1760" y="637"/>
                  <a:pt x="1760" y="637"/>
                  <a:pt x="1760" y="636"/>
                </a:cubicBezTo>
                <a:cubicBezTo>
                  <a:pt x="1760" y="636"/>
                  <a:pt x="1760" y="636"/>
                  <a:pt x="1758" y="637"/>
                </a:cubicBezTo>
                <a:cubicBezTo>
                  <a:pt x="1758" y="637"/>
                  <a:pt x="1758" y="637"/>
                  <a:pt x="1757" y="637"/>
                </a:cubicBezTo>
                <a:cubicBezTo>
                  <a:pt x="1757" y="637"/>
                  <a:pt x="1757" y="637"/>
                  <a:pt x="1757" y="636"/>
                </a:cubicBezTo>
                <a:cubicBezTo>
                  <a:pt x="1757" y="636"/>
                  <a:pt x="1757" y="636"/>
                  <a:pt x="1758" y="636"/>
                </a:cubicBezTo>
                <a:cubicBezTo>
                  <a:pt x="1758" y="636"/>
                  <a:pt x="1758" y="636"/>
                  <a:pt x="1758" y="635"/>
                </a:cubicBezTo>
                <a:cubicBezTo>
                  <a:pt x="1758" y="635"/>
                  <a:pt x="1758" y="635"/>
                  <a:pt x="1757" y="634"/>
                </a:cubicBezTo>
                <a:cubicBezTo>
                  <a:pt x="1757" y="634"/>
                  <a:pt x="1757" y="634"/>
                  <a:pt x="1756" y="633"/>
                </a:cubicBezTo>
                <a:cubicBezTo>
                  <a:pt x="1756" y="633"/>
                  <a:pt x="1756" y="633"/>
                  <a:pt x="1754" y="633"/>
                </a:cubicBezTo>
                <a:cubicBezTo>
                  <a:pt x="1754" y="633"/>
                  <a:pt x="1754" y="633"/>
                  <a:pt x="1752" y="633"/>
                </a:cubicBezTo>
                <a:cubicBezTo>
                  <a:pt x="1752" y="633"/>
                  <a:pt x="1752" y="633"/>
                  <a:pt x="1751" y="633"/>
                </a:cubicBezTo>
                <a:cubicBezTo>
                  <a:pt x="1751" y="633"/>
                  <a:pt x="1751" y="633"/>
                  <a:pt x="1750" y="633"/>
                </a:cubicBezTo>
                <a:cubicBezTo>
                  <a:pt x="1750" y="633"/>
                  <a:pt x="1750" y="633"/>
                  <a:pt x="1749" y="633"/>
                </a:cubicBezTo>
                <a:cubicBezTo>
                  <a:pt x="1749" y="633"/>
                  <a:pt x="1749" y="633"/>
                  <a:pt x="1748" y="634"/>
                </a:cubicBezTo>
                <a:cubicBezTo>
                  <a:pt x="1748" y="634"/>
                  <a:pt x="1748" y="634"/>
                  <a:pt x="1747" y="633"/>
                </a:cubicBezTo>
                <a:cubicBezTo>
                  <a:pt x="1747" y="633"/>
                  <a:pt x="1747" y="633"/>
                  <a:pt x="1745" y="633"/>
                </a:cubicBezTo>
                <a:cubicBezTo>
                  <a:pt x="1745" y="633"/>
                  <a:pt x="1745" y="633"/>
                  <a:pt x="1744" y="635"/>
                </a:cubicBezTo>
                <a:cubicBezTo>
                  <a:pt x="1744" y="635"/>
                  <a:pt x="1744" y="635"/>
                  <a:pt x="1743" y="635"/>
                </a:cubicBezTo>
                <a:cubicBezTo>
                  <a:pt x="1743" y="635"/>
                  <a:pt x="1743" y="635"/>
                  <a:pt x="1742" y="634"/>
                </a:cubicBezTo>
                <a:cubicBezTo>
                  <a:pt x="1742" y="634"/>
                  <a:pt x="1742" y="634"/>
                  <a:pt x="1741" y="634"/>
                </a:cubicBezTo>
                <a:cubicBezTo>
                  <a:pt x="1741" y="634"/>
                  <a:pt x="1741" y="634"/>
                  <a:pt x="1741" y="633"/>
                </a:cubicBezTo>
                <a:cubicBezTo>
                  <a:pt x="1741" y="633"/>
                  <a:pt x="1741" y="633"/>
                  <a:pt x="1740" y="633"/>
                </a:cubicBezTo>
                <a:cubicBezTo>
                  <a:pt x="1740" y="633"/>
                  <a:pt x="1740" y="633"/>
                  <a:pt x="1740" y="634"/>
                </a:cubicBezTo>
                <a:cubicBezTo>
                  <a:pt x="1740" y="634"/>
                  <a:pt x="1740" y="634"/>
                  <a:pt x="1739" y="634"/>
                </a:cubicBezTo>
                <a:cubicBezTo>
                  <a:pt x="1739" y="634"/>
                  <a:pt x="1739" y="634"/>
                  <a:pt x="1738" y="633"/>
                </a:cubicBezTo>
                <a:cubicBezTo>
                  <a:pt x="1738" y="633"/>
                  <a:pt x="1738" y="633"/>
                  <a:pt x="1737" y="634"/>
                </a:cubicBezTo>
                <a:cubicBezTo>
                  <a:pt x="1737" y="634"/>
                  <a:pt x="1737" y="634"/>
                  <a:pt x="1736" y="634"/>
                </a:cubicBezTo>
                <a:cubicBezTo>
                  <a:pt x="1736" y="634"/>
                  <a:pt x="1736" y="634"/>
                  <a:pt x="1735" y="634"/>
                </a:cubicBezTo>
                <a:cubicBezTo>
                  <a:pt x="1735" y="634"/>
                  <a:pt x="1735" y="634"/>
                  <a:pt x="1734" y="634"/>
                </a:cubicBezTo>
                <a:cubicBezTo>
                  <a:pt x="1734" y="634"/>
                  <a:pt x="1734" y="634"/>
                  <a:pt x="1733" y="634"/>
                </a:cubicBezTo>
                <a:cubicBezTo>
                  <a:pt x="1733" y="634"/>
                  <a:pt x="1733" y="634"/>
                  <a:pt x="1732" y="635"/>
                </a:cubicBezTo>
                <a:cubicBezTo>
                  <a:pt x="1732" y="635"/>
                  <a:pt x="1732" y="635"/>
                  <a:pt x="1731" y="635"/>
                </a:cubicBezTo>
                <a:cubicBezTo>
                  <a:pt x="1731" y="635"/>
                  <a:pt x="1731" y="635"/>
                  <a:pt x="1730" y="635"/>
                </a:cubicBezTo>
                <a:cubicBezTo>
                  <a:pt x="1730" y="635"/>
                  <a:pt x="1730" y="635"/>
                  <a:pt x="1728" y="636"/>
                </a:cubicBezTo>
                <a:cubicBezTo>
                  <a:pt x="1728" y="636"/>
                  <a:pt x="1728" y="636"/>
                  <a:pt x="1727" y="636"/>
                </a:cubicBezTo>
                <a:cubicBezTo>
                  <a:pt x="1727" y="636"/>
                  <a:pt x="1727" y="636"/>
                  <a:pt x="1727" y="635"/>
                </a:cubicBezTo>
                <a:cubicBezTo>
                  <a:pt x="1727" y="635"/>
                  <a:pt x="1727" y="635"/>
                  <a:pt x="1726" y="635"/>
                </a:cubicBezTo>
                <a:cubicBezTo>
                  <a:pt x="1726" y="635"/>
                  <a:pt x="1726" y="635"/>
                  <a:pt x="1725" y="636"/>
                </a:cubicBezTo>
                <a:cubicBezTo>
                  <a:pt x="1725" y="636"/>
                  <a:pt x="1725" y="636"/>
                  <a:pt x="1723" y="635"/>
                </a:cubicBezTo>
                <a:cubicBezTo>
                  <a:pt x="1723" y="635"/>
                  <a:pt x="1723" y="635"/>
                  <a:pt x="1721" y="634"/>
                </a:cubicBezTo>
                <a:cubicBezTo>
                  <a:pt x="1721" y="634"/>
                  <a:pt x="1721" y="634"/>
                  <a:pt x="1721" y="633"/>
                </a:cubicBezTo>
                <a:cubicBezTo>
                  <a:pt x="1721" y="633"/>
                  <a:pt x="1721" y="633"/>
                  <a:pt x="1720" y="633"/>
                </a:cubicBezTo>
                <a:cubicBezTo>
                  <a:pt x="1720" y="633"/>
                  <a:pt x="1720" y="633"/>
                  <a:pt x="1720" y="634"/>
                </a:cubicBezTo>
                <a:cubicBezTo>
                  <a:pt x="1720" y="634"/>
                  <a:pt x="1720" y="634"/>
                  <a:pt x="1719" y="635"/>
                </a:cubicBezTo>
                <a:cubicBezTo>
                  <a:pt x="1719" y="635"/>
                  <a:pt x="1719" y="635"/>
                  <a:pt x="1718" y="634"/>
                </a:cubicBezTo>
                <a:cubicBezTo>
                  <a:pt x="1718" y="634"/>
                  <a:pt x="1718" y="634"/>
                  <a:pt x="1717" y="634"/>
                </a:cubicBezTo>
                <a:cubicBezTo>
                  <a:pt x="1717" y="634"/>
                  <a:pt x="1717" y="634"/>
                  <a:pt x="1714" y="633"/>
                </a:cubicBezTo>
                <a:cubicBezTo>
                  <a:pt x="1714" y="633"/>
                  <a:pt x="1714" y="633"/>
                  <a:pt x="1712" y="633"/>
                </a:cubicBezTo>
                <a:cubicBezTo>
                  <a:pt x="1712" y="633"/>
                  <a:pt x="1712" y="633"/>
                  <a:pt x="1709" y="633"/>
                </a:cubicBezTo>
                <a:cubicBezTo>
                  <a:pt x="1709" y="633"/>
                  <a:pt x="1709" y="633"/>
                  <a:pt x="1707" y="631"/>
                </a:cubicBezTo>
                <a:cubicBezTo>
                  <a:pt x="1707" y="631"/>
                  <a:pt x="1707" y="631"/>
                  <a:pt x="1706" y="631"/>
                </a:cubicBezTo>
                <a:cubicBezTo>
                  <a:pt x="1706" y="631"/>
                  <a:pt x="1706" y="631"/>
                  <a:pt x="1705" y="633"/>
                </a:cubicBezTo>
                <a:cubicBezTo>
                  <a:pt x="1705" y="633"/>
                  <a:pt x="1705" y="633"/>
                  <a:pt x="1704" y="632"/>
                </a:cubicBezTo>
                <a:cubicBezTo>
                  <a:pt x="1704" y="632"/>
                  <a:pt x="1704" y="632"/>
                  <a:pt x="1702" y="632"/>
                </a:cubicBezTo>
                <a:cubicBezTo>
                  <a:pt x="1702" y="632"/>
                  <a:pt x="1702" y="632"/>
                  <a:pt x="1699" y="632"/>
                </a:cubicBezTo>
                <a:cubicBezTo>
                  <a:pt x="1699" y="632"/>
                  <a:pt x="1699" y="632"/>
                  <a:pt x="1699" y="631"/>
                </a:cubicBezTo>
                <a:cubicBezTo>
                  <a:pt x="1699" y="631"/>
                  <a:pt x="1699" y="631"/>
                  <a:pt x="1698" y="631"/>
                </a:cubicBezTo>
                <a:cubicBezTo>
                  <a:pt x="1698" y="631"/>
                  <a:pt x="1698" y="631"/>
                  <a:pt x="1698" y="629"/>
                </a:cubicBezTo>
                <a:cubicBezTo>
                  <a:pt x="1698" y="629"/>
                  <a:pt x="1698" y="629"/>
                  <a:pt x="1697" y="627"/>
                </a:cubicBezTo>
                <a:cubicBezTo>
                  <a:pt x="1697" y="627"/>
                  <a:pt x="1697" y="627"/>
                  <a:pt x="1696" y="624"/>
                </a:cubicBezTo>
                <a:cubicBezTo>
                  <a:pt x="1696" y="624"/>
                  <a:pt x="1696" y="624"/>
                  <a:pt x="1695" y="623"/>
                </a:cubicBezTo>
                <a:cubicBezTo>
                  <a:pt x="1695" y="623"/>
                  <a:pt x="1695" y="623"/>
                  <a:pt x="1695" y="622"/>
                </a:cubicBezTo>
                <a:cubicBezTo>
                  <a:pt x="1695" y="622"/>
                  <a:pt x="1695" y="622"/>
                  <a:pt x="1694" y="622"/>
                </a:cubicBezTo>
                <a:cubicBezTo>
                  <a:pt x="1694" y="622"/>
                  <a:pt x="1694" y="622"/>
                  <a:pt x="1692" y="621"/>
                </a:cubicBezTo>
                <a:cubicBezTo>
                  <a:pt x="1692" y="621"/>
                  <a:pt x="1692" y="621"/>
                  <a:pt x="1691" y="622"/>
                </a:cubicBezTo>
                <a:cubicBezTo>
                  <a:pt x="1691" y="622"/>
                  <a:pt x="1691" y="622"/>
                  <a:pt x="1689" y="623"/>
                </a:cubicBezTo>
                <a:cubicBezTo>
                  <a:pt x="1689" y="623"/>
                  <a:pt x="1689" y="623"/>
                  <a:pt x="1688" y="623"/>
                </a:cubicBezTo>
                <a:cubicBezTo>
                  <a:pt x="1688" y="623"/>
                  <a:pt x="1688" y="623"/>
                  <a:pt x="1685" y="625"/>
                </a:cubicBezTo>
                <a:cubicBezTo>
                  <a:pt x="1685" y="625"/>
                  <a:pt x="1685" y="625"/>
                  <a:pt x="1683" y="627"/>
                </a:cubicBezTo>
                <a:cubicBezTo>
                  <a:pt x="1683" y="627"/>
                  <a:pt x="1683" y="627"/>
                  <a:pt x="1680" y="625"/>
                </a:cubicBezTo>
                <a:cubicBezTo>
                  <a:pt x="1680" y="625"/>
                  <a:pt x="1680" y="625"/>
                  <a:pt x="1678" y="624"/>
                </a:cubicBezTo>
                <a:cubicBezTo>
                  <a:pt x="1678" y="624"/>
                  <a:pt x="1678" y="624"/>
                  <a:pt x="1677" y="625"/>
                </a:cubicBezTo>
                <a:cubicBezTo>
                  <a:pt x="1677" y="625"/>
                  <a:pt x="1677" y="625"/>
                  <a:pt x="1676" y="625"/>
                </a:cubicBezTo>
                <a:cubicBezTo>
                  <a:pt x="1676" y="625"/>
                  <a:pt x="1676" y="625"/>
                  <a:pt x="1674" y="623"/>
                </a:cubicBezTo>
                <a:cubicBezTo>
                  <a:pt x="1674" y="623"/>
                  <a:pt x="1674" y="623"/>
                  <a:pt x="1673" y="623"/>
                </a:cubicBezTo>
                <a:cubicBezTo>
                  <a:pt x="1673" y="623"/>
                  <a:pt x="1673" y="623"/>
                  <a:pt x="1672" y="622"/>
                </a:cubicBezTo>
                <a:cubicBezTo>
                  <a:pt x="1672" y="622"/>
                  <a:pt x="1672" y="622"/>
                  <a:pt x="1671" y="622"/>
                </a:cubicBezTo>
                <a:cubicBezTo>
                  <a:pt x="1671" y="622"/>
                  <a:pt x="1671" y="622"/>
                  <a:pt x="1669" y="620"/>
                </a:cubicBezTo>
                <a:cubicBezTo>
                  <a:pt x="1669" y="620"/>
                  <a:pt x="1669" y="620"/>
                  <a:pt x="1669" y="619"/>
                </a:cubicBezTo>
                <a:cubicBezTo>
                  <a:pt x="1669" y="619"/>
                  <a:pt x="1669" y="619"/>
                  <a:pt x="1668" y="619"/>
                </a:cubicBezTo>
                <a:cubicBezTo>
                  <a:pt x="1668" y="619"/>
                  <a:pt x="1668" y="619"/>
                  <a:pt x="1668" y="618"/>
                </a:cubicBezTo>
                <a:cubicBezTo>
                  <a:pt x="1668" y="618"/>
                  <a:pt x="1668" y="618"/>
                  <a:pt x="1666" y="618"/>
                </a:cubicBezTo>
                <a:cubicBezTo>
                  <a:pt x="1666" y="618"/>
                  <a:pt x="1666" y="618"/>
                  <a:pt x="1665" y="617"/>
                </a:cubicBezTo>
                <a:cubicBezTo>
                  <a:pt x="1665" y="617"/>
                  <a:pt x="1665" y="617"/>
                  <a:pt x="1663" y="617"/>
                </a:cubicBezTo>
                <a:cubicBezTo>
                  <a:pt x="1663" y="617"/>
                  <a:pt x="1663" y="617"/>
                  <a:pt x="1661" y="617"/>
                </a:cubicBezTo>
                <a:cubicBezTo>
                  <a:pt x="1661" y="617"/>
                  <a:pt x="1661" y="617"/>
                  <a:pt x="1660" y="616"/>
                </a:cubicBezTo>
                <a:cubicBezTo>
                  <a:pt x="1660" y="616"/>
                  <a:pt x="1660" y="616"/>
                  <a:pt x="1658" y="612"/>
                </a:cubicBezTo>
                <a:cubicBezTo>
                  <a:pt x="1658" y="612"/>
                  <a:pt x="1658" y="612"/>
                  <a:pt x="1658" y="611"/>
                </a:cubicBezTo>
                <a:cubicBezTo>
                  <a:pt x="1658" y="611"/>
                  <a:pt x="1658" y="611"/>
                  <a:pt x="1657" y="611"/>
                </a:cubicBezTo>
                <a:cubicBezTo>
                  <a:pt x="1657" y="611"/>
                  <a:pt x="1657" y="611"/>
                  <a:pt x="1656" y="610"/>
                </a:cubicBezTo>
                <a:cubicBezTo>
                  <a:pt x="1656" y="610"/>
                  <a:pt x="1656" y="610"/>
                  <a:pt x="1657" y="610"/>
                </a:cubicBezTo>
                <a:cubicBezTo>
                  <a:pt x="1657" y="610"/>
                  <a:pt x="1657" y="610"/>
                  <a:pt x="1657" y="609"/>
                </a:cubicBezTo>
                <a:cubicBezTo>
                  <a:pt x="1657" y="609"/>
                  <a:pt x="1657" y="609"/>
                  <a:pt x="1656" y="609"/>
                </a:cubicBezTo>
                <a:cubicBezTo>
                  <a:pt x="1656" y="609"/>
                  <a:pt x="1656" y="609"/>
                  <a:pt x="1655" y="609"/>
                </a:cubicBezTo>
                <a:cubicBezTo>
                  <a:pt x="1655" y="609"/>
                  <a:pt x="1655" y="609"/>
                  <a:pt x="1655" y="607"/>
                </a:cubicBezTo>
                <a:cubicBezTo>
                  <a:pt x="1655" y="607"/>
                  <a:pt x="1655" y="607"/>
                  <a:pt x="1653" y="604"/>
                </a:cubicBezTo>
                <a:cubicBezTo>
                  <a:pt x="1653" y="604"/>
                  <a:pt x="1653" y="604"/>
                  <a:pt x="1652" y="603"/>
                </a:cubicBezTo>
                <a:cubicBezTo>
                  <a:pt x="1652" y="603"/>
                  <a:pt x="1652" y="603"/>
                  <a:pt x="1651" y="601"/>
                </a:cubicBezTo>
                <a:cubicBezTo>
                  <a:pt x="1651" y="601"/>
                  <a:pt x="1651" y="601"/>
                  <a:pt x="1650" y="601"/>
                </a:cubicBezTo>
                <a:cubicBezTo>
                  <a:pt x="1650" y="601"/>
                  <a:pt x="1650" y="601"/>
                  <a:pt x="1648" y="602"/>
                </a:cubicBezTo>
                <a:cubicBezTo>
                  <a:pt x="1648" y="602"/>
                  <a:pt x="1648" y="602"/>
                  <a:pt x="1647" y="601"/>
                </a:cubicBezTo>
                <a:cubicBezTo>
                  <a:pt x="1647" y="601"/>
                  <a:pt x="1647" y="601"/>
                  <a:pt x="1645" y="601"/>
                </a:cubicBezTo>
                <a:cubicBezTo>
                  <a:pt x="1645" y="601"/>
                  <a:pt x="1645" y="601"/>
                  <a:pt x="1645" y="602"/>
                </a:cubicBezTo>
                <a:cubicBezTo>
                  <a:pt x="1645" y="602"/>
                  <a:pt x="1645" y="602"/>
                  <a:pt x="1644" y="602"/>
                </a:cubicBezTo>
                <a:cubicBezTo>
                  <a:pt x="1644" y="602"/>
                  <a:pt x="1644" y="602"/>
                  <a:pt x="1643" y="602"/>
                </a:cubicBezTo>
                <a:cubicBezTo>
                  <a:pt x="1643" y="602"/>
                  <a:pt x="1643" y="602"/>
                  <a:pt x="1642" y="601"/>
                </a:cubicBezTo>
                <a:cubicBezTo>
                  <a:pt x="1642" y="601"/>
                  <a:pt x="1642" y="601"/>
                  <a:pt x="1641" y="601"/>
                </a:cubicBezTo>
                <a:cubicBezTo>
                  <a:pt x="1641" y="601"/>
                  <a:pt x="1641" y="601"/>
                  <a:pt x="1640" y="603"/>
                </a:cubicBezTo>
                <a:cubicBezTo>
                  <a:pt x="1640" y="603"/>
                  <a:pt x="1640" y="603"/>
                  <a:pt x="1641" y="606"/>
                </a:cubicBezTo>
                <a:cubicBezTo>
                  <a:pt x="1641" y="606"/>
                  <a:pt x="1641" y="606"/>
                  <a:pt x="1637" y="607"/>
                </a:cubicBezTo>
                <a:cubicBezTo>
                  <a:pt x="1637" y="607"/>
                  <a:pt x="1637" y="607"/>
                  <a:pt x="1640" y="608"/>
                </a:cubicBezTo>
                <a:cubicBezTo>
                  <a:pt x="1640" y="608"/>
                  <a:pt x="1640" y="608"/>
                  <a:pt x="1640" y="609"/>
                </a:cubicBezTo>
                <a:cubicBezTo>
                  <a:pt x="1640" y="609"/>
                  <a:pt x="1640" y="609"/>
                  <a:pt x="1640" y="610"/>
                </a:cubicBezTo>
                <a:cubicBezTo>
                  <a:pt x="1640" y="610"/>
                  <a:pt x="1640" y="610"/>
                  <a:pt x="1641" y="610"/>
                </a:cubicBezTo>
                <a:cubicBezTo>
                  <a:pt x="1641" y="610"/>
                  <a:pt x="1641" y="610"/>
                  <a:pt x="1641" y="611"/>
                </a:cubicBezTo>
                <a:cubicBezTo>
                  <a:pt x="1641" y="611"/>
                  <a:pt x="1641" y="611"/>
                  <a:pt x="1642" y="612"/>
                </a:cubicBezTo>
                <a:cubicBezTo>
                  <a:pt x="1642" y="612"/>
                  <a:pt x="1642" y="612"/>
                  <a:pt x="1642" y="613"/>
                </a:cubicBezTo>
                <a:cubicBezTo>
                  <a:pt x="1642" y="613"/>
                  <a:pt x="1642" y="613"/>
                  <a:pt x="1643" y="613"/>
                </a:cubicBezTo>
                <a:cubicBezTo>
                  <a:pt x="1643" y="613"/>
                  <a:pt x="1643" y="613"/>
                  <a:pt x="1644" y="615"/>
                </a:cubicBezTo>
                <a:cubicBezTo>
                  <a:pt x="1644" y="615"/>
                  <a:pt x="1644" y="615"/>
                  <a:pt x="1645" y="618"/>
                </a:cubicBezTo>
                <a:cubicBezTo>
                  <a:pt x="1645" y="618"/>
                  <a:pt x="1645" y="618"/>
                  <a:pt x="1647" y="618"/>
                </a:cubicBezTo>
                <a:cubicBezTo>
                  <a:pt x="1647" y="618"/>
                  <a:pt x="1647" y="618"/>
                  <a:pt x="1648" y="619"/>
                </a:cubicBezTo>
                <a:cubicBezTo>
                  <a:pt x="1648" y="619"/>
                  <a:pt x="1648" y="619"/>
                  <a:pt x="1648" y="620"/>
                </a:cubicBezTo>
                <a:cubicBezTo>
                  <a:pt x="1648" y="620"/>
                  <a:pt x="1648" y="620"/>
                  <a:pt x="1648" y="621"/>
                </a:cubicBezTo>
                <a:cubicBezTo>
                  <a:pt x="1648" y="621"/>
                  <a:pt x="1648" y="621"/>
                  <a:pt x="1649" y="621"/>
                </a:cubicBezTo>
                <a:cubicBezTo>
                  <a:pt x="1649" y="621"/>
                  <a:pt x="1649" y="621"/>
                  <a:pt x="1651" y="624"/>
                </a:cubicBezTo>
                <a:cubicBezTo>
                  <a:pt x="1651" y="624"/>
                  <a:pt x="1651" y="624"/>
                  <a:pt x="1652" y="624"/>
                </a:cubicBezTo>
                <a:cubicBezTo>
                  <a:pt x="1652" y="624"/>
                  <a:pt x="1652" y="624"/>
                  <a:pt x="1653" y="625"/>
                </a:cubicBezTo>
                <a:cubicBezTo>
                  <a:pt x="1653" y="625"/>
                  <a:pt x="1653" y="625"/>
                  <a:pt x="1653" y="626"/>
                </a:cubicBezTo>
                <a:cubicBezTo>
                  <a:pt x="1653" y="626"/>
                  <a:pt x="1653" y="626"/>
                  <a:pt x="1654" y="629"/>
                </a:cubicBezTo>
                <a:cubicBezTo>
                  <a:pt x="1654" y="629"/>
                  <a:pt x="1654" y="629"/>
                  <a:pt x="1653" y="629"/>
                </a:cubicBezTo>
                <a:cubicBezTo>
                  <a:pt x="1653" y="629"/>
                  <a:pt x="1653" y="629"/>
                  <a:pt x="1654" y="631"/>
                </a:cubicBezTo>
                <a:cubicBezTo>
                  <a:pt x="1654" y="631"/>
                  <a:pt x="1654" y="631"/>
                  <a:pt x="1657" y="635"/>
                </a:cubicBezTo>
                <a:cubicBezTo>
                  <a:pt x="1657" y="635"/>
                  <a:pt x="1657" y="635"/>
                  <a:pt x="1657" y="636"/>
                </a:cubicBezTo>
                <a:cubicBezTo>
                  <a:pt x="1657" y="636"/>
                  <a:pt x="1657" y="636"/>
                  <a:pt x="1658" y="638"/>
                </a:cubicBezTo>
                <a:cubicBezTo>
                  <a:pt x="1658" y="638"/>
                  <a:pt x="1658" y="638"/>
                  <a:pt x="1659" y="637"/>
                </a:cubicBezTo>
                <a:cubicBezTo>
                  <a:pt x="1659" y="637"/>
                  <a:pt x="1659" y="637"/>
                  <a:pt x="1659" y="636"/>
                </a:cubicBezTo>
                <a:cubicBezTo>
                  <a:pt x="1659" y="636"/>
                  <a:pt x="1659" y="636"/>
                  <a:pt x="1659" y="635"/>
                </a:cubicBezTo>
                <a:cubicBezTo>
                  <a:pt x="1659" y="635"/>
                  <a:pt x="1659" y="635"/>
                  <a:pt x="1658" y="635"/>
                </a:cubicBezTo>
                <a:cubicBezTo>
                  <a:pt x="1658" y="635"/>
                  <a:pt x="1658" y="635"/>
                  <a:pt x="1659" y="633"/>
                </a:cubicBezTo>
                <a:cubicBezTo>
                  <a:pt x="1659" y="633"/>
                  <a:pt x="1659" y="633"/>
                  <a:pt x="1659" y="631"/>
                </a:cubicBezTo>
                <a:cubicBezTo>
                  <a:pt x="1659" y="631"/>
                  <a:pt x="1659" y="631"/>
                  <a:pt x="1659" y="630"/>
                </a:cubicBezTo>
                <a:cubicBezTo>
                  <a:pt x="1659" y="630"/>
                  <a:pt x="1659" y="630"/>
                  <a:pt x="1660" y="630"/>
                </a:cubicBezTo>
                <a:cubicBezTo>
                  <a:pt x="1660" y="630"/>
                  <a:pt x="1660" y="630"/>
                  <a:pt x="1660" y="629"/>
                </a:cubicBezTo>
                <a:cubicBezTo>
                  <a:pt x="1660" y="629"/>
                  <a:pt x="1660" y="629"/>
                  <a:pt x="1661" y="629"/>
                </a:cubicBezTo>
                <a:cubicBezTo>
                  <a:pt x="1661" y="629"/>
                  <a:pt x="1661" y="629"/>
                  <a:pt x="1662" y="629"/>
                </a:cubicBezTo>
                <a:cubicBezTo>
                  <a:pt x="1662" y="629"/>
                  <a:pt x="1662" y="629"/>
                  <a:pt x="1662" y="630"/>
                </a:cubicBezTo>
                <a:cubicBezTo>
                  <a:pt x="1662" y="630"/>
                  <a:pt x="1662" y="630"/>
                  <a:pt x="1663" y="630"/>
                </a:cubicBezTo>
                <a:cubicBezTo>
                  <a:pt x="1663" y="630"/>
                  <a:pt x="1663" y="630"/>
                  <a:pt x="1662" y="633"/>
                </a:cubicBezTo>
                <a:cubicBezTo>
                  <a:pt x="1662" y="633"/>
                  <a:pt x="1662" y="633"/>
                  <a:pt x="1662" y="635"/>
                </a:cubicBezTo>
                <a:cubicBezTo>
                  <a:pt x="1662" y="635"/>
                  <a:pt x="1662" y="635"/>
                  <a:pt x="1663" y="635"/>
                </a:cubicBezTo>
                <a:cubicBezTo>
                  <a:pt x="1663" y="635"/>
                  <a:pt x="1663" y="635"/>
                  <a:pt x="1663" y="636"/>
                </a:cubicBezTo>
                <a:cubicBezTo>
                  <a:pt x="1663" y="636"/>
                  <a:pt x="1663" y="636"/>
                  <a:pt x="1663" y="639"/>
                </a:cubicBezTo>
                <a:cubicBezTo>
                  <a:pt x="1663" y="639"/>
                  <a:pt x="1663" y="639"/>
                  <a:pt x="1663" y="640"/>
                </a:cubicBezTo>
                <a:cubicBezTo>
                  <a:pt x="1663" y="640"/>
                  <a:pt x="1663" y="640"/>
                  <a:pt x="1663" y="641"/>
                </a:cubicBezTo>
                <a:cubicBezTo>
                  <a:pt x="1663" y="641"/>
                  <a:pt x="1663" y="641"/>
                  <a:pt x="1663" y="642"/>
                </a:cubicBezTo>
                <a:cubicBezTo>
                  <a:pt x="1663" y="642"/>
                  <a:pt x="1663" y="642"/>
                  <a:pt x="1664" y="642"/>
                </a:cubicBezTo>
                <a:cubicBezTo>
                  <a:pt x="1664" y="642"/>
                  <a:pt x="1664" y="642"/>
                  <a:pt x="1665" y="641"/>
                </a:cubicBezTo>
                <a:cubicBezTo>
                  <a:pt x="1665" y="641"/>
                  <a:pt x="1665" y="641"/>
                  <a:pt x="1665" y="644"/>
                </a:cubicBezTo>
                <a:cubicBezTo>
                  <a:pt x="1665" y="644"/>
                  <a:pt x="1665" y="644"/>
                  <a:pt x="1666" y="644"/>
                </a:cubicBezTo>
                <a:cubicBezTo>
                  <a:pt x="1666" y="644"/>
                  <a:pt x="1666" y="644"/>
                  <a:pt x="1667" y="644"/>
                </a:cubicBezTo>
                <a:cubicBezTo>
                  <a:pt x="1667" y="644"/>
                  <a:pt x="1667" y="644"/>
                  <a:pt x="1668" y="644"/>
                </a:cubicBezTo>
                <a:cubicBezTo>
                  <a:pt x="1668" y="644"/>
                  <a:pt x="1668" y="644"/>
                  <a:pt x="1671" y="642"/>
                </a:cubicBezTo>
                <a:cubicBezTo>
                  <a:pt x="1671" y="642"/>
                  <a:pt x="1671" y="642"/>
                  <a:pt x="1673" y="643"/>
                </a:cubicBezTo>
                <a:cubicBezTo>
                  <a:pt x="1673" y="643"/>
                  <a:pt x="1673" y="643"/>
                  <a:pt x="1674" y="642"/>
                </a:cubicBezTo>
                <a:cubicBezTo>
                  <a:pt x="1674" y="642"/>
                  <a:pt x="1674" y="642"/>
                  <a:pt x="1674" y="643"/>
                </a:cubicBezTo>
                <a:cubicBezTo>
                  <a:pt x="1674" y="643"/>
                  <a:pt x="1674" y="643"/>
                  <a:pt x="1675" y="643"/>
                </a:cubicBezTo>
                <a:cubicBezTo>
                  <a:pt x="1675" y="643"/>
                  <a:pt x="1675" y="643"/>
                  <a:pt x="1676" y="643"/>
                </a:cubicBezTo>
                <a:cubicBezTo>
                  <a:pt x="1676" y="643"/>
                  <a:pt x="1676" y="643"/>
                  <a:pt x="1677" y="643"/>
                </a:cubicBezTo>
                <a:cubicBezTo>
                  <a:pt x="1677" y="643"/>
                  <a:pt x="1677" y="643"/>
                  <a:pt x="1679" y="643"/>
                </a:cubicBezTo>
                <a:cubicBezTo>
                  <a:pt x="1679" y="643"/>
                  <a:pt x="1679" y="643"/>
                  <a:pt x="1679" y="642"/>
                </a:cubicBezTo>
                <a:cubicBezTo>
                  <a:pt x="1679" y="642"/>
                  <a:pt x="1679" y="642"/>
                  <a:pt x="1680" y="642"/>
                </a:cubicBezTo>
                <a:cubicBezTo>
                  <a:pt x="1680" y="642"/>
                  <a:pt x="1680" y="642"/>
                  <a:pt x="1680" y="641"/>
                </a:cubicBezTo>
                <a:cubicBezTo>
                  <a:pt x="1680" y="641"/>
                  <a:pt x="1680" y="641"/>
                  <a:pt x="1681" y="641"/>
                </a:cubicBezTo>
                <a:cubicBezTo>
                  <a:pt x="1681" y="641"/>
                  <a:pt x="1681" y="641"/>
                  <a:pt x="1682" y="642"/>
                </a:cubicBezTo>
                <a:cubicBezTo>
                  <a:pt x="1682" y="642"/>
                  <a:pt x="1682" y="642"/>
                  <a:pt x="1683" y="640"/>
                </a:cubicBezTo>
                <a:cubicBezTo>
                  <a:pt x="1683" y="640"/>
                  <a:pt x="1683" y="640"/>
                  <a:pt x="1683" y="639"/>
                </a:cubicBezTo>
                <a:cubicBezTo>
                  <a:pt x="1683" y="639"/>
                  <a:pt x="1683" y="639"/>
                  <a:pt x="1682" y="639"/>
                </a:cubicBezTo>
                <a:cubicBezTo>
                  <a:pt x="1682" y="639"/>
                  <a:pt x="1682" y="639"/>
                  <a:pt x="1683" y="638"/>
                </a:cubicBezTo>
                <a:cubicBezTo>
                  <a:pt x="1683" y="638"/>
                  <a:pt x="1683" y="638"/>
                  <a:pt x="1686" y="635"/>
                </a:cubicBezTo>
                <a:cubicBezTo>
                  <a:pt x="1686" y="635"/>
                  <a:pt x="1686" y="635"/>
                  <a:pt x="1686" y="633"/>
                </a:cubicBezTo>
                <a:cubicBezTo>
                  <a:pt x="1686" y="633"/>
                  <a:pt x="1686" y="633"/>
                  <a:pt x="1690" y="631"/>
                </a:cubicBezTo>
                <a:cubicBezTo>
                  <a:pt x="1690" y="631"/>
                  <a:pt x="1690" y="631"/>
                  <a:pt x="1691" y="630"/>
                </a:cubicBezTo>
                <a:cubicBezTo>
                  <a:pt x="1691" y="630"/>
                  <a:pt x="1691" y="630"/>
                  <a:pt x="1691" y="629"/>
                </a:cubicBezTo>
                <a:cubicBezTo>
                  <a:pt x="1691" y="629"/>
                  <a:pt x="1691" y="629"/>
                  <a:pt x="1692" y="628"/>
                </a:cubicBezTo>
                <a:cubicBezTo>
                  <a:pt x="1692" y="628"/>
                  <a:pt x="1692" y="628"/>
                  <a:pt x="1692" y="627"/>
                </a:cubicBezTo>
                <a:cubicBezTo>
                  <a:pt x="1692" y="627"/>
                  <a:pt x="1692" y="627"/>
                  <a:pt x="1693" y="626"/>
                </a:cubicBezTo>
                <a:cubicBezTo>
                  <a:pt x="1693" y="626"/>
                  <a:pt x="1693" y="626"/>
                  <a:pt x="1693" y="627"/>
                </a:cubicBezTo>
                <a:cubicBezTo>
                  <a:pt x="1693" y="627"/>
                  <a:pt x="1693" y="627"/>
                  <a:pt x="1693" y="628"/>
                </a:cubicBezTo>
                <a:cubicBezTo>
                  <a:pt x="1693" y="628"/>
                  <a:pt x="1693" y="628"/>
                  <a:pt x="1693" y="630"/>
                </a:cubicBezTo>
                <a:cubicBezTo>
                  <a:pt x="1693" y="630"/>
                  <a:pt x="1693" y="630"/>
                  <a:pt x="1692" y="631"/>
                </a:cubicBezTo>
                <a:cubicBezTo>
                  <a:pt x="1692" y="631"/>
                  <a:pt x="1692" y="631"/>
                  <a:pt x="1692" y="632"/>
                </a:cubicBezTo>
                <a:cubicBezTo>
                  <a:pt x="1692" y="632"/>
                  <a:pt x="1692" y="632"/>
                  <a:pt x="1693" y="632"/>
                </a:cubicBezTo>
                <a:cubicBezTo>
                  <a:pt x="1693" y="632"/>
                  <a:pt x="1693" y="632"/>
                  <a:pt x="1693" y="633"/>
                </a:cubicBezTo>
                <a:cubicBezTo>
                  <a:pt x="1693" y="633"/>
                  <a:pt x="1693" y="633"/>
                  <a:pt x="1694" y="635"/>
                </a:cubicBezTo>
                <a:cubicBezTo>
                  <a:pt x="1694" y="635"/>
                  <a:pt x="1694" y="635"/>
                  <a:pt x="1694" y="638"/>
                </a:cubicBezTo>
                <a:cubicBezTo>
                  <a:pt x="1694" y="638"/>
                  <a:pt x="1694" y="638"/>
                  <a:pt x="1696" y="641"/>
                </a:cubicBezTo>
                <a:cubicBezTo>
                  <a:pt x="1696" y="641"/>
                  <a:pt x="1696" y="641"/>
                  <a:pt x="1696" y="642"/>
                </a:cubicBezTo>
                <a:cubicBezTo>
                  <a:pt x="1696" y="642"/>
                  <a:pt x="1696" y="642"/>
                  <a:pt x="1700" y="645"/>
                </a:cubicBezTo>
                <a:cubicBezTo>
                  <a:pt x="1700" y="645"/>
                  <a:pt x="1700" y="645"/>
                  <a:pt x="1701" y="645"/>
                </a:cubicBezTo>
                <a:cubicBezTo>
                  <a:pt x="1701" y="645"/>
                  <a:pt x="1701" y="645"/>
                  <a:pt x="1702" y="645"/>
                </a:cubicBezTo>
                <a:cubicBezTo>
                  <a:pt x="1702" y="645"/>
                  <a:pt x="1702" y="645"/>
                  <a:pt x="1703" y="645"/>
                </a:cubicBezTo>
                <a:cubicBezTo>
                  <a:pt x="1703" y="645"/>
                  <a:pt x="1703" y="645"/>
                  <a:pt x="1706" y="645"/>
                </a:cubicBezTo>
                <a:cubicBezTo>
                  <a:pt x="1706" y="645"/>
                  <a:pt x="1706" y="645"/>
                  <a:pt x="1708" y="645"/>
                </a:cubicBezTo>
                <a:cubicBezTo>
                  <a:pt x="1708" y="645"/>
                  <a:pt x="1708" y="645"/>
                  <a:pt x="1710" y="647"/>
                </a:cubicBezTo>
                <a:cubicBezTo>
                  <a:pt x="1710" y="647"/>
                  <a:pt x="1710" y="647"/>
                  <a:pt x="1711" y="649"/>
                </a:cubicBezTo>
                <a:cubicBezTo>
                  <a:pt x="1711" y="649"/>
                  <a:pt x="1711" y="649"/>
                  <a:pt x="1712" y="650"/>
                </a:cubicBezTo>
                <a:cubicBezTo>
                  <a:pt x="1712" y="650"/>
                  <a:pt x="1712" y="650"/>
                  <a:pt x="1712" y="651"/>
                </a:cubicBezTo>
                <a:cubicBezTo>
                  <a:pt x="1712" y="651"/>
                  <a:pt x="1712" y="651"/>
                  <a:pt x="1715" y="653"/>
                </a:cubicBezTo>
                <a:cubicBezTo>
                  <a:pt x="1715" y="653"/>
                  <a:pt x="1715" y="653"/>
                  <a:pt x="1716" y="653"/>
                </a:cubicBezTo>
                <a:cubicBezTo>
                  <a:pt x="1716" y="653"/>
                  <a:pt x="1716" y="653"/>
                  <a:pt x="1716" y="654"/>
                </a:cubicBezTo>
                <a:cubicBezTo>
                  <a:pt x="1716" y="654"/>
                  <a:pt x="1716" y="654"/>
                  <a:pt x="1716" y="655"/>
                </a:cubicBezTo>
                <a:cubicBezTo>
                  <a:pt x="1716" y="655"/>
                  <a:pt x="1716" y="655"/>
                  <a:pt x="1715" y="656"/>
                </a:cubicBezTo>
                <a:cubicBezTo>
                  <a:pt x="1715" y="656"/>
                  <a:pt x="1715" y="656"/>
                  <a:pt x="1715" y="657"/>
                </a:cubicBezTo>
                <a:cubicBezTo>
                  <a:pt x="1715" y="657"/>
                  <a:pt x="1715" y="657"/>
                  <a:pt x="1715" y="658"/>
                </a:cubicBezTo>
                <a:cubicBezTo>
                  <a:pt x="1715" y="658"/>
                  <a:pt x="1715" y="658"/>
                  <a:pt x="1713" y="662"/>
                </a:cubicBezTo>
                <a:cubicBezTo>
                  <a:pt x="1713" y="662"/>
                  <a:pt x="1713" y="662"/>
                  <a:pt x="1711" y="663"/>
                </a:cubicBezTo>
                <a:cubicBezTo>
                  <a:pt x="1711" y="663"/>
                  <a:pt x="1711" y="663"/>
                  <a:pt x="1711" y="664"/>
                </a:cubicBezTo>
                <a:cubicBezTo>
                  <a:pt x="1711" y="664"/>
                  <a:pt x="1711" y="664"/>
                  <a:pt x="1710" y="665"/>
                </a:cubicBezTo>
                <a:cubicBezTo>
                  <a:pt x="1710" y="665"/>
                  <a:pt x="1710" y="665"/>
                  <a:pt x="1709" y="667"/>
                </a:cubicBezTo>
                <a:cubicBezTo>
                  <a:pt x="1709" y="667"/>
                  <a:pt x="1709" y="667"/>
                  <a:pt x="1708" y="667"/>
                </a:cubicBezTo>
                <a:cubicBezTo>
                  <a:pt x="1708" y="667"/>
                  <a:pt x="1708" y="667"/>
                  <a:pt x="1708" y="666"/>
                </a:cubicBezTo>
                <a:cubicBezTo>
                  <a:pt x="1708" y="666"/>
                  <a:pt x="1708" y="666"/>
                  <a:pt x="1708" y="665"/>
                </a:cubicBezTo>
                <a:cubicBezTo>
                  <a:pt x="1708" y="665"/>
                  <a:pt x="1708" y="665"/>
                  <a:pt x="1707" y="666"/>
                </a:cubicBezTo>
                <a:cubicBezTo>
                  <a:pt x="1707" y="666"/>
                  <a:pt x="1707" y="666"/>
                  <a:pt x="1706" y="667"/>
                </a:cubicBezTo>
                <a:cubicBezTo>
                  <a:pt x="1706" y="667"/>
                  <a:pt x="1706" y="667"/>
                  <a:pt x="1707" y="668"/>
                </a:cubicBezTo>
                <a:cubicBezTo>
                  <a:pt x="1707" y="668"/>
                  <a:pt x="1707" y="668"/>
                  <a:pt x="1706" y="668"/>
                </a:cubicBezTo>
                <a:cubicBezTo>
                  <a:pt x="1706" y="668"/>
                  <a:pt x="1706" y="668"/>
                  <a:pt x="1705" y="670"/>
                </a:cubicBezTo>
                <a:cubicBezTo>
                  <a:pt x="1705" y="670"/>
                  <a:pt x="1705" y="670"/>
                  <a:pt x="1705" y="672"/>
                </a:cubicBezTo>
                <a:cubicBezTo>
                  <a:pt x="1705" y="672"/>
                  <a:pt x="1705" y="672"/>
                  <a:pt x="1704" y="673"/>
                </a:cubicBezTo>
                <a:cubicBezTo>
                  <a:pt x="1704" y="673"/>
                  <a:pt x="1704" y="673"/>
                  <a:pt x="1705" y="673"/>
                </a:cubicBezTo>
                <a:cubicBezTo>
                  <a:pt x="1705" y="673"/>
                  <a:pt x="1705" y="673"/>
                  <a:pt x="1705" y="674"/>
                </a:cubicBezTo>
                <a:cubicBezTo>
                  <a:pt x="1705" y="674"/>
                  <a:pt x="1705" y="674"/>
                  <a:pt x="1706" y="676"/>
                </a:cubicBezTo>
                <a:cubicBezTo>
                  <a:pt x="1706" y="676"/>
                  <a:pt x="1706" y="676"/>
                  <a:pt x="1706" y="677"/>
                </a:cubicBezTo>
                <a:cubicBezTo>
                  <a:pt x="1706" y="677"/>
                  <a:pt x="1706" y="677"/>
                  <a:pt x="1703" y="677"/>
                </a:cubicBezTo>
                <a:cubicBezTo>
                  <a:pt x="1703" y="677"/>
                  <a:pt x="1703" y="677"/>
                  <a:pt x="1702" y="678"/>
                </a:cubicBezTo>
                <a:cubicBezTo>
                  <a:pt x="1702" y="678"/>
                  <a:pt x="1702" y="678"/>
                  <a:pt x="1701" y="677"/>
                </a:cubicBezTo>
                <a:cubicBezTo>
                  <a:pt x="1701" y="677"/>
                  <a:pt x="1701" y="677"/>
                  <a:pt x="1700" y="678"/>
                </a:cubicBezTo>
                <a:cubicBezTo>
                  <a:pt x="1700" y="678"/>
                  <a:pt x="1700" y="678"/>
                  <a:pt x="1698" y="681"/>
                </a:cubicBezTo>
                <a:cubicBezTo>
                  <a:pt x="1698" y="681"/>
                  <a:pt x="1698" y="681"/>
                  <a:pt x="1698" y="683"/>
                </a:cubicBezTo>
                <a:cubicBezTo>
                  <a:pt x="1698" y="683"/>
                  <a:pt x="1698" y="683"/>
                  <a:pt x="1697" y="683"/>
                </a:cubicBezTo>
                <a:cubicBezTo>
                  <a:pt x="1697" y="683"/>
                  <a:pt x="1697" y="683"/>
                  <a:pt x="1696" y="684"/>
                </a:cubicBezTo>
                <a:cubicBezTo>
                  <a:pt x="1696" y="684"/>
                  <a:pt x="1696" y="684"/>
                  <a:pt x="1695" y="684"/>
                </a:cubicBezTo>
                <a:cubicBezTo>
                  <a:pt x="1695" y="684"/>
                  <a:pt x="1695" y="684"/>
                  <a:pt x="1693" y="684"/>
                </a:cubicBezTo>
                <a:cubicBezTo>
                  <a:pt x="1693" y="684"/>
                  <a:pt x="1693" y="684"/>
                  <a:pt x="1691" y="684"/>
                </a:cubicBezTo>
                <a:cubicBezTo>
                  <a:pt x="1691" y="684"/>
                  <a:pt x="1691" y="684"/>
                  <a:pt x="1691" y="685"/>
                </a:cubicBezTo>
                <a:cubicBezTo>
                  <a:pt x="1691" y="685"/>
                  <a:pt x="1691" y="685"/>
                  <a:pt x="1690" y="686"/>
                </a:cubicBezTo>
                <a:cubicBezTo>
                  <a:pt x="1690" y="686"/>
                  <a:pt x="1690" y="686"/>
                  <a:pt x="1690" y="687"/>
                </a:cubicBezTo>
                <a:cubicBezTo>
                  <a:pt x="1690" y="687"/>
                  <a:pt x="1690" y="687"/>
                  <a:pt x="1690" y="688"/>
                </a:cubicBezTo>
                <a:cubicBezTo>
                  <a:pt x="1690" y="688"/>
                  <a:pt x="1690" y="688"/>
                  <a:pt x="1689" y="691"/>
                </a:cubicBezTo>
                <a:cubicBezTo>
                  <a:pt x="1689" y="691"/>
                  <a:pt x="1689" y="691"/>
                  <a:pt x="1688" y="691"/>
                </a:cubicBezTo>
                <a:cubicBezTo>
                  <a:pt x="1688" y="691"/>
                  <a:pt x="1688" y="691"/>
                  <a:pt x="1687" y="690"/>
                </a:cubicBezTo>
                <a:cubicBezTo>
                  <a:pt x="1687" y="690"/>
                  <a:pt x="1687" y="690"/>
                  <a:pt x="1686" y="690"/>
                </a:cubicBezTo>
                <a:cubicBezTo>
                  <a:pt x="1686" y="690"/>
                  <a:pt x="1686" y="690"/>
                  <a:pt x="1685" y="690"/>
                </a:cubicBezTo>
                <a:cubicBezTo>
                  <a:pt x="1685" y="690"/>
                  <a:pt x="1685" y="690"/>
                  <a:pt x="1682" y="691"/>
                </a:cubicBezTo>
                <a:cubicBezTo>
                  <a:pt x="1682" y="691"/>
                  <a:pt x="1682" y="691"/>
                  <a:pt x="1681" y="691"/>
                </a:cubicBezTo>
                <a:cubicBezTo>
                  <a:pt x="1681" y="691"/>
                  <a:pt x="1681" y="691"/>
                  <a:pt x="1680" y="693"/>
                </a:cubicBezTo>
                <a:cubicBezTo>
                  <a:pt x="1680" y="693"/>
                  <a:pt x="1680" y="693"/>
                  <a:pt x="1679" y="693"/>
                </a:cubicBezTo>
                <a:cubicBezTo>
                  <a:pt x="1679" y="693"/>
                  <a:pt x="1679" y="693"/>
                  <a:pt x="1678" y="693"/>
                </a:cubicBezTo>
                <a:cubicBezTo>
                  <a:pt x="1678" y="693"/>
                  <a:pt x="1678" y="693"/>
                  <a:pt x="1676" y="693"/>
                </a:cubicBezTo>
                <a:cubicBezTo>
                  <a:pt x="1676" y="693"/>
                  <a:pt x="1676" y="693"/>
                  <a:pt x="1674" y="694"/>
                </a:cubicBezTo>
                <a:cubicBezTo>
                  <a:pt x="1674" y="694"/>
                  <a:pt x="1674" y="694"/>
                  <a:pt x="1672" y="696"/>
                </a:cubicBezTo>
                <a:cubicBezTo>
                  <a:pt x="1672" y="696"/>
                  <a:pt x="1672" y="696"/>
                  <a:pt x="1672" y="698"/>
                </a:cubicBezTo>
                <a:cubicBezTo>
                  <a:pt x="1672" y="698"/>
                  <a:pt x="1672" y="698"/>
                  <a:pt x="1672" y="699"/>
                </a:cubicBezTo>
                <a:cubicBezTo>
                  <a:pt x="1672" y="699"/>
                  <a:pt x="1672" y="699"/>
                  <a:pt x="1669" y="700"/>
                </a:cubicBezTo>
                <a:cubicBezTo>
                  <a:pt x="1669" y="700"/>
                  <a:pt x="1669" y="700"/>
                  <a:pt x="1668" y="701"/>
                </a:cubicBezTo>
                <a:cubicBezTo>
                  <a:pt x="1668" y="701"/>
                  <a:pt x="1668" y="701"/>
                  <a:pt x="1666" y="702"/>
                </a:cubicBezTo>
                <a:cubicBezTo>
                  <a:pt x="1666" y="702"/>
                  <a:pt x="1666" y="702"/>
                  <a:pt x="1662" y="703"/>
                </a:cubicBezTo>
                <a:cubicBezTo>
                  <a:pt x="1662" y="703"/>
                  <a:pt x="1662" y="703"/>
                  <a:pt x="1661" y="704"/>
                </a:cubicBezTo>
                <a:cubicBezTo>
                  <a:pt x="1661" y="704"/>
                  <a:pt x="1661" y="704"/>
                  <a:pt x="1654" y="706"/>
                </a:cubicBezTo>
                <a:cubicBezTo>
                  <a:pt x="1654" y="706"/>
                  <a:pt x="1654" y="706"/>
                  <a:pt x="1653" y="706"/>
                </a:cubicBezTo>
                <a:cubicBezTo>
                  <a:pt x="1653" y="706"/>
                  <a:pt x="1653" y="706"/>
                  <a:pt x="1651" y="708"/>
                </a:cubicBezTo>
                <a:cubicBezTo>
                  <a:pt x="1651" y="708"/>
                  <a:pt x="1651" y="708"/>
                  <a:pt x="1649" y="710"/>
                </a:cubicBezTo>
                <a:cubicBezTo>
                  <a:pt x="1649" y="710"/>
                  <a:pt x="1649" y="710"/>
                  <a:pt x="1648" y="710"/>
                </a:cubicBezTo>
                <a:cubicBezTo>
                  <a:pt x="1648" y="710"/>
                  <a:pt x="1648" y="710"/>
                  <a:pt x="1647" y="710"/>
                </a:cubicBezTo>
                <a:cubicBezTo>
                  <a:pt x="1647" y="710"/>
                  <a:pt x="1647" y="710"/>
                  <a:pt x="1646" y="710"/>
                </a:cubicBezTo>
                <a:cubicBezTo>
                  <a:pt x="1646" y="710"/>
                  <a:pt x="1646" y="710"/>
                  <a:pt x="1645" y="710"/>
                </a:cubicBezTo>
                <a:cubicBezTo>
                  <a:pt x="1645" y="710"/>
                  <a:pt x="1645" y="710"/>
                  <a:pt x="1643" y="711"/>
                </a:cubicBezTo>
                <a:cubicBezTo>
                  <a:pt x="1643" y="711"/>
                  <a:pt x="1643" y="711"/>
                  <a:pt x="1643" y="712"/>
                </a:cubicBezTo>
                <a:cubicBezTo>
                  <a:pt x="1643" y="712"/>
                  <a:pt x="1643" y="712"/>
                  <a:pt x="1642" y="713"/>
                </a:cubicBezTo>
                <a:cubicBezTo>
                  <a:pt x="1642" y="713"/>
                  <a:pt x="1642" y="713"/>
                  <a:pt x="1639" y="713"/>
                </a:cubicBezTo>
                <a:cubicBezTo>
                  <a:pt x="1639" y="713"/>
                  <a:pt x="1639" y="713"/>
                  <a:pt x="1636" y="714"/>
                </a:cubicBezTo>
                <a:cubicBezTo>
                  <a:pt x="1636" y="714"/>
                  <a:pt x="1636" y="714"/>
                  <a:pt x="1635" y="714"/>
                </a:cubicBezTo>
                <a:cubicBezTo>
                  <a:pt x="1635" y="714"/>
                  <a:pt x="1635" y="714"/>
                  <a:pt x="1635" y="713"/>
                </a:cubicBezTo>
                <a:cubicBezTo>
                  <a:pt x="1635" y="713"/>
                  <a:pt x="1635" y="713"/>
                  <a:pt x="1633" y="714"/>
                </a:cubicBezTo>
                <a:cubicBezTo>
                  <a:pt x="1633" y="714"/>
                  <a:pt x="1633" y="714"/>
                  <a:pt x="1633" y="713"/>
                </a:cubicBezTo>
                <a:cubicBezTo>
                  <a:pt x="1633" y="713"/>
                  <a:pt x="1633" y="713"/>
                  <a:pt x="1632" y="713"/>
                </a:cubicBezTo>
                <a:cubicBezTo>
                  <a:pt x="1632" y="713"/>
                  <a:pt x="1632" y="713"/>
                  <a:pt x="1631" y="713"/>
                </a:cubicBezTo>
                <a:cubicBezTo>
                  <a:pt x="1631" y="713"/>
                  <a:pt x="1631" y="713"/>
                  <a:pt x="1629" y="714"/>
                </a:cubicBezTo>
                <a:cubicBezTo>
                  <a:pt x="1629" y="714"/>
                  <a:pt x="1629" y="714"/>
                  <a:pt x="1629" y="716"/>
                </a:cubicBezTo>
                <a:cubicBezTo>
                  <a:pt x="1629" y="716"/>
                  <a:pt x="1629" y="716"/>
                  <a:pt x="1628" y="716"/>
                </a:cubicBezTo>
                <a:cubicBezTo>
                  <a:pt x="1628" y="716"/>
                  <a:pt x="1628" y="716"/>
                  <a:pt x="1627" y="718"/>
                </a:cubicBezTo>
                <a:cubicBezTo>
                  <a:pt x="1627" y="718"/>
                  <a:pt x="1627" y="718"/>
                  <a:pt x="1626" y="718"/>
                </a:cubicBezTo>
                <a:cubicBezTo>
                  <a:pt x="1626" y="718"/>
                  <a:pt x="1626" y="718"/>
                  <a:pt x="1625" y="718"/>
                </a:cubicBezTo>
                <a:cubicBezTo>
                  <a:pt x="1625" y="718"/>
                  <a:pt x="1625" y="718"/>
                  <a:pt x="1624" y="718"/>
                </a:cubicBezTo>
                <a:cubicBezTo>
                  <a:pt x="1624" y="718"/>
                  <a:pt x="1624" y="718"/>
                  <a:pt x="1622" y="719"/>
                </a:cubicBezTo>
                <a:cubicBezTo>
                  <a:pt x="1622" y="719"/>
                  <a:pt x="1622" y="719"/>
                  <a:pt x="1621" y="719"/>
                </a:cubicBezTo>
                <a:cubicBezTo>
                  <a:pt x="1621" y="719"/>
                  <a:pt x="1621" y="719"/>
                  <a:pt x="1620" y="718"/>
                </a:cubicBezTo>
                <a:cubicBezTo>
                  <a:pt x="1620" y="718"/>
                  <a:pt x="1620" y="718"/>
                  <a:pt x="1619" y="719"/>
                </a:cubicBezTo>
                <a:cubicBezTo>
                  <a:pt x="1619" y="719"/>
                  <a:pt x="1619" y="719"/>
                  <a:pt x="1618" y="719"/>
                </a:cubicBezTo>
                <a:cubicBezTo>
                  <a:pt x="1618" y="719"/>
                  <a:pt x="1618" y="719"/>
                  <a:pt x="1618" y="718"/>
                </a:cubicBezTo>
                <a:cubicBezTo>
                  <a:pt x="1618" y="718"/>
                  <a:pt x="1618" y="718"/>
                  <a:pt x="1617" y="716"/>
                </a:cubicBezTo>
                <a:cubicBezTo>
                  <a:pt x="1617" y="716"/>
                  <a:pt x="1617" y="716"/>
                  <a:pt x="1616" y="715"/>
                </a:cubicBezTo>
                <a:cubicBezTo>
                  <a:pt x="1616" y="715"/>
                  <a:pt x="1616" y="715"/>
                  <a:pt x="1615" y="713"/>
                </a:cubicBezTo>
                <a:cubicBezTo>
                  <a:pt x="1615" y="713"/>
                  <a:pt x="1615" y="713"/>
                  <a:pt x="1616" y="713"/>
                </a:cubicBezTo>
                <a:cubicBezTo>
                  <a:pt x="1616" y="713"/>
                  <a:pt x="1616" y="713"/>
                  <a:pt x="1616" y="711"/>
                </a:cubicBezTo>
                <a:cubicBezTo>
                  <a:pt x="1616" y="711"/>
                  <a:pt x="1616" y="711"/>
                  <a:pt x="1614" y="710"/>
                </a:cubicBezTo>
                <a:cubicBezTo>
                  <a:pt x="1614" y="710"/>
                  <a:pt x="1614" y="710"/>
                  <a:pt x="1613" y="704"/>
                </a:cubicBezTo>
                <a:cubicBezTo>
                  <a:pt x="1613" y="704"/>
                  <a:pt x="1613" y="704"/>
                  <a:pt x="1612" y="702"/>
                </a:cubicBezTo>
                <a:cubicBezTo>
                  <a:pt x="1612" y="702"/>
                  <a:pt x="1612" y="702"/>
                  <a:pt x="1612" y="701"/>
                </a:cubicBezTo>
                <a:cubicBezTo>
                  <a:pt x="1612" y="701"/>
                  <a:pt x="1612" y="701"/>
                  <a:pt x="1611" y="701"/>
                </a:cubicBezTo>
                <a:cubicBezTo>
                  <a:pt x="1611" y="701"/>
                  <a:pt x="1611" y="701"/>
                  <a:pt x="1611" y="700"/>
                </a:cubicBezTo>
                <a:cubicBezTo>
                  <a:pt x="1611" y="700"/>
                  <a:pt x="1611" y="700"/>
                  <a:pt x="1612" y="700"/>
                </a:cubicBezTo>
                <a:cubicBezTo>
                  <a:pt x="1612" y="700"/>
                  <a:pt x="1612" y="700"/>
                  <a:pt x="1613" y="698"/>
                </a:cubicBezTo>
                <a:cubicBezTo>
                  <a:pt x="1613" y="698"/>
                  <a:pt x="1613" y="698"/>
                  <a:pt x="1612" y="694"/>
                </a:cubicBezTo>
                <a:cubicBezTo>
                  <a:pt x="1612" y="694"/>
                  <a:pt x="1612" y="694"/>
                  <a:pt x="1612" y="693"/>
                </a:cubicBezTo>
                <a:cubicBezTo>
                  <a:pt x="1612" y="693"/>
                  <a:pt x="1612" y="693"/>
                  <a:pt x="1611" y="690"/>
                </a:cubicBezTo>
                <a:cubicBezTo>
                  <a:pt x="1611" y="690"/>
                  <a:pt x="1611" y="690"/>
                  <a:pt x="1609" y="690"/>
                </a:cubicBezTo>
                <a:cubicBezTo>
                  <a:pt x="1609" y="690"/>
                  <a:pt x="1609" y="690"/>
                  <a:pt x="1608" y="687"/>
                </a:cubicBezTo>
                <a:cubicBezTo>
                  <a:pt x="1608" y="687"/>
                  <a:pt x="1608" y="687"/>
                  <a:pt x="1607" y="687"/>
                </a:cubicBezTo>
                <a:cubicBezTo>
                  <a:pt x="1607" y="687"/>
                  <a:pt x="1607" y="687"/>
                  <a:pt x="1603" y="682"/>
                </a:cubicBezTo>
                <a:cubicBezTo>
                  <a:pt x="1603" y="682"/>
                  <a:pt x="1603" y="682"/>
                  <a:pt x="1603" y="680"/>
                </a:cubicBezTo>
                <a:cubicBezTo>
                  <a:pt x="1603" y="680"/>
                  <a:pt x="1603" y="680"/>
                  <a:pt x="1601" y="680"/>
                </a:cubicBezTo>
                <a:cubicBezTo>
                  <a:pt x="1601" y="680"/>
                  <a:pt x="1601" y="680"/>
                  <a:pt x="1600" y="674"/>
                </a:cubicBezTo>
                <a:cubicBezTo>
                  <a:pt x="1600" y="674"/>
                  <a:pt x="1600" y="674"/>
                  <a:pt x="1599" y="674"/>
                </a:cubicBezTo>
                <a:cubicBezTo>
                  <a:pt x="1599" y="674"/>
                  <a:pt x="1599" y="674"/>
                  <a:pt x="1599" y="673"/>
                </a:cubicBezTo>
                <a:cubicBezTo>
                  <a:pt x="1599" y="673"/>
                  <a:pt x="1599" y="673"/>
                  <a:pt x="1598" y="673"/>
                </a:cubicBezTo>
                <a:cubicBezTo>
                  <a:pt x="1598" y="673"/>
                  <a:pt x="1598" y="673"/>
                  <a:pt x="1597" y="672"/>
                </a:cubicBezTo>
                <a:cubicBezTo>
                  <a:pt x="1597" y="672"/>
                  <a:pt x="1597" y="672"/>
                  <a:pt x="1596" y="670"/>
                </a:cubicBezTo>
                <a:cubicBezTo>
                  <a:pt x="1596" y="670"/>
                  <a:pt x="1596" y="670"/>
                  <a:pt x="1595" y="670"/>
                </a:cubicBezTo>
                <a:cubicBezTo>
                  <a:pt x="1595" y="670"/>
                  <a:pt x="1595" y="670"/>
                  <a:pt x="1594" y="669"/>
                </a:cubicBezTo>
                <a:cubicBezTo>
                  <a:pt x="1594" y="669"/>
                  <a:pt x="1594" y="669"/>
                  <a:pt x="1593" y="669"/>
                </a:cubicBezTo>
                <a:cubicBezTo>
                  <a:pt x="1593" y="669"/>
                  <a:pt x="1593" y="669"/>
                  <a:pt x="1592" y="668"/>
                </a:cubicBezTo>
                <a:cubicBezTo>
                  <a:pt x="1592" y="668"/>
                  <a:pt x="1592" y="668"/>
                  <a:pt x="1589" y="665"/>
                </a:cubicBezTo>
                <a:cubicBezTo>
                  <a:pt x="1589" y="665"/>
                  <a:pt x="1589" y="665"/>
                  <a:pt x="1588" y="664"/>
                </a:cubicBezTo>
                <a:cubicBezTo>
                  <a:pt x="1588" y="664"/>
                  <a:pt x="1588" y="664"/>
                  <a:pt x="1587" y="663"/>
                </a:cubicBezTo>
                <a:cubicBezTo>
                  <a:pt x="1587" y="663"/>
                  <a:pt x="1587" y="663"/>
                  <a:pt x="1587" y="661"/>
                </a:cubicBezTo>
                <a:cubicBezTo>
                  <a:pt x="1587" y="661"/>
                  <a:pt x="1587" y="661"/>
                  <a:pt x="1586" y="658"/>
                </a:cubicBezTo>
                <a:cubicBezTo>
                  <a:pt x="1586" y="658"/>
                  <a:pt x="1586" y="658"/>
                  <a:pt x="1586" y="657"/>
                </a:cubicBezTo>
                <a:cubicBezTo>
                  <a:pt x="1586" y="657"/>
                  <a:pt x="1586" y="657"/>
                  <a:pt x="1587" y="655"/>
                </a:cubicBezTo>
                <a:cubicBezTo>
                  <a:pt x="1587" y="655"/>
                  <a:pt x="1587" y="655"/>
                  <a:pt x="1587" y="654"/>
                </a:cubicBezTo>
                <a:cubicBezTo>
                  <a:pt x="1587" y="654"/>
                  <a:pt x="1587" y="654"/>
                  <a:pt x="1586" y="652"/>
                </a:cubicBezTo>
                <a:cubicBezTo>
                  <a:pt x="1586" y="652"/>
                  <a:pt x="1586" y="652"/>
                  <a:pt x="1585" y="651"/>
                </a:cubicBezTo>
                <a:cubicBezTo>
                  <a:pt x="1585" y="651"/>
                  <a:pt x="1585" y="651"/>
                  <a:pt x="1584" y="649"/>
                </a:cubicBezTo>
                <a:cubicBezTo>
                  <a:pt x="1584" y="649"/>
                  <a:pt x="1584" y="649"/>
                  <a:pt x="1584" y="648"/>
                </a:cubicBezTo>
                <a:cubicBezTo>
                  <a:pt x="1584" y="648"/>
                  <a:pt x="1584" y="648"/>
                  <a:pt x="1584" y="647"/>
                </a:cubicBezTo>
                <a:cubicBezTo>
                  <a:pt x="1584" y="647"/>
                  <a:pt x="1584" y="647"/>
                  <a:pt x="1583" y="647"/>
                </a:cubicBezTo>
                <a:cubicBezTo>
                  <a:pt x="1583" y="647"/>
                  <a:pt x="1583" y="647"/>
                  <a:pt x="1583" y="645"/>
                </a:cubicBezTo>
                <a:cubicBezTo>
                  <a:pt x="1583" y="645"/>
                  <a:pt x="1583" y="645"/>
                  <a:pt x="1581" y="644"/>
                </a:cubicBezTo>
                <a:cubicBezTo>
                  <a:pt x="1581" y="644"/>
                  <a:pt x="1581" y="644"/>
                  <a:pt x="1579" y="643"/>
                </a:cubicBezTo>
                <a:cubicBezTo>
                  <a:pt x="1579" y="643"/>
                  <a:pt x="1579" y="643"/>
                  <a:pt x="1578" y="642"/>
                </a:cubicBezTo>
                <a:cubicBezTo>
                  <a:pt x="1578" y="642"/>
                  <a:pt x="1578" y="642"/>
                  <a:pt x="1577" y="643"/>
                </a:cubicBezTo>
                <a:cubicBezTo>
                  <a:pt x="1577" y="643"/>
                  <a:pt x="1577" y="643"/>
                  <a:pt x="1576" y="642"/>
                </a:cubicBezTo>
                <a:cubicBezTo>
                  <a:pt x="1576" y="642"/>
                  <a:pt x="1576" y="642"/>
                  <a:pt x="1576" y="641"/>
                </a:cubicBezTo>
                <a:cubicBezTo>
                  <a:pt x="1576" y="641"/>
                  <a:pt x="1576" y="641"/>
                  <a:pt x="1575" y="640"/>
                </a:cubicBezTo>
                <a:cubicBezTo>
                  <a:pt x="1575" y="640"/>
                  <a:pt x="1575" y="640"/>
                  <a:pt x="1575" y="639"/>
                </a:cubicBezTo>
                <a:cubicBezTo>
                  <a:pt x="1575" y="639"/>
                  <a:pt x="1575" y="639"/>
                  <a:pt x="1575" y="638"/>
                </a:cubicBezTo>
                <a:cubicBezTo>
                  <a:pt x="1575" y="638"/>
                  <a:pt x="1575" y="638"/>
                  <a:pt x="1575" y="636"/>
                </a:cubicBezTo>
                <a:cubicBezTo>
                  <a:pt x="1575" y="636"/>
                  <a:pt x="1575" y="636"/>
                  <a:pt x="1574" y="636"/>
                </a:cubicBezTo>
                <a:cubicBezTo>
                  <a:pt x="1574" y="636"/>
                  <a:pt x="1574" y="636"/>
                  <a:pt x="1573" y="633"/>
                </a:cubicBezTo>
                <a:cubicBezTo>
                  <a:pt x="1573" y="633"/>
                  <a:pt x="1573" y="633"/>
                  <a:pt x="1571" y="632"/>
                </a:cubicBezTo>
                <a:cubicBezTo>
                  <a:pt x="1571" y="632"/>
                  <a:pt x="1571" y="632"/>
                  <a:pt x="1570" y="631"/>
                </a:cubicBezTo>
                <a:cubicBezTo>
                  <a:pt x="1570" y="631"/>
                  <a:pt x="1570" y="631"/>
                  <a:pt x="1570" y="630"/>
                </a:cubicBezTo>
                <a:cubicBezTo>
                  <a:pt x="1570" y="630"/>
                  <a:pt x="1570" y="630"/>
                  <a:pt x="1569" y="630"/>
                </a:cubicBezTo>
                <a:cubicBezTo>
                  <a:pt x="1569" y="630"/>
                  <a:pt x="1569" y="630"/>
                  <a:pt x="1569" y="629"/>
                </a:cubicBezTo>
                <a:cubicBezTo>
                  <a:pt x="1569" y="629"/>
                  <a:pt x="1569" y="629"/>
                  <a:pt x="1569" y="628"/>
                </a:cubicBezTo>
                <a:cubicBezTo>
                  <a:pt x="1569" y="628"/>
                  <a:pt x="1569" y="628"/>
                  <a:pt x="1567" y="624"/>
                </a:cubicBezTo>
                <a:cubicBezTo>
                  <a:pt x="1567" y="624"/>
                  <a:pt x="1567" y="624"/>
                  <a:pt x="1566" y="624"/>
                </a:cubicBezTo>
                <a:cubicBezTo>
                  <a:pt x="1566" y="624"/>
                  <a:pt x="1566" y="624"/>
                  <a:pt x="1565" y="623"/>
                </a:cubicBezTo>
                <a:cubicBezTo>
                  <a:pt x="1565" y="623"/>
                  <a:pt x="1565" y="623"/>
                  <a:pt x="1565" y="622"/>
                </a:cubicBezTo>
                <a:cubicBezTo>
                  <a:pt x="1565" y="622"/>
                  <a:pt x="1565" y="622"/>
                  <a:pt x="1564" y="622"/>
                </a:cubicBezTo>
                <a:cubicBezTo>
                  <a:pt x="1564" y="622"/>
                  <a:pt x="1564" y="622"/>
                  <a:pt x="1564" y="620"/>
                </a:cubicBezTo>
                <a:cubicBezTo>
                  <a:pt x="1564" y="620"/>
                  <a:pt x="1564" y="620"/>
                  <a:pt x="1561" y="617"/>
                </a:cubicBezTo>
                <a:cubicBezTo>
                  <a:pt x="1561" y="617"/>
                  <a:pt x="1561" y="617"/>
                  <a:pt x="1560" y="616"/>
                </a:cubicBezTo>
                <a:cubicBezTo>
                  <a:pt x="1560" y="616"/>
                  <a:pt x="1560" y="616"/>
                  <a:pt x="1559" y="617"/>
                </a:cubicBezTo>
                <a:cubicBezTo>
                  <a:pt x="1559" y="617"/>
                  <a:pt x="1559" y="617"/>
                  <a:pt x="1559" y="616"/>
                </a:cubicBezTo>
                <a:cubicBezTo>
                  <a:pt x="1559" y="616"/>
                  <a:pt x="1559" y="616"/>
                  <a:pt x="1558" y="617"/>
                </a:cubicBezTo>
                <a:cubicBezTo>
                  <a:pt x="1558" y="617"/>
                  <a:pt x="1558" y="617"/>
                  <a:pt x="1558" y="616"/>
                </a:cubicBezTo>
                <a:cubicBezTo>
                  <a:pt x="1558" y="616"/>
                  <a:pt x="1558" y="616"/>
                  <a:pt x="1558" y="614"/>
                </a:cubicBezTo>
                <a:cubicBezTo>
                  <a:pt x="1558" y="614"/>
                  <a:pt x="1558" y="614"/>
                  <a:pt x="1558" y="611"/>
                </a:cubicBezTo>
                <a:cubicBezTo>
                  <a:pt x="1558" y="611"/>
                  <a:pt x="1558" y="611"/>
                  <a:pt x="1558" y="609"/>
                </a:cubicBezTo>
                <a:cubicBezTo>
                  <a:pt x="1558" y="609"/>
                  <a:pt x="1558" y="609"/>
                  <a:pt x="1559" y="609"/>
                </a:cubicBezTo>
                <a:cubicBezTo>
                  <a:pt x="1559" y="609"/>
                  <a:pt x="1559" y="609"/>
                  <a:pt x="1559" y="607"/>
                </a:cubicBezTo>
                <a:cubicBezTo>
                  <a:pt x="1559" y="607"/>
                  <a:pt x="1559" y="607"/>
                  <a:pt x="1558" y="608"/>
                </a:cubicBezTo>
                <a:cubicBezTo>
                  <a:pt x="1558" y="608"/>
                  <a:pt x="1558" y="608"/>
                  <a:pt x="1557" y="612"/>
                </a:cubicBezTo>
                <a:cubicBezTo>
                  <a:pt x="1557" y="612"/>
                  <a:pt x="1557" y="612"/>
                  <a:pt x="1557" y="613"/>
                </a:cubicBezTo>
                <a:cubicBezTo>
                  <a:pt x="1557" y="613"/>
                  <a:pt x="1557" y="613"/>
                  <a:pt x="1556" y="615"/>
                </a:cubicBezTo>
                <a:cubicBezTo>
                  <a:pt x="1556" y="615"/>
                  <a:pt x="1556" y="615"/>
                  <a:pt x="1557" y="616"/>
                </a:cubicBezTo>
                <a:cubicBezTo>
                  <a:pt x="1557" y="616"/>
                  <a:pt x="1557" y="616"/>
                  <a:pt x="1556" y="618"/>
                </a:cubicBezTo>
                <a:cubicBezTo>
                  <a:pt x="1556" y="618"/>
                  <a:pt x="1556" y="618"/>
                  <a:pt x="1555" y="619"/>
                </a:cubicBezTo>
                <a:cubicBezTo>
                  <a:pt x="1555" y="619"/>
                  <a:pt x="1555" y="619"/>
                  <a:pt x="1553" y="618"/>
                </a:cubicBezTo>
                <a:cubicBezTo>
                  <a:pt x="1553" y="618"/>
                  <a:pt x="1553" y="618"/>
                  <a:pt x="1550" y="615"/>
                </a:cubicBezTo>
                <a:cubicBezTo>
                  <a:pt x="1550" y="615"/>
                  <a:pt x="1550" y="615"/>
                  <a:pt x="1550" y="614"/>
                </a:cubicBezTo>
                <a:cubicBezTo>
                  <a:pt x="1550" y="614"/>
                  <a:pt x="1550" y="614"/>
                  <a:pt x="1548" y="613"/>
                </a:cubicBezTo>
                <a:cubicBezTo>
                  <a:pt x="1548" y="613"/>
                  <a:pt x="1548" y="613"/>
                  <a:pt x="1548" y="612"/>
                </a:cubicBezTo>
                <a:cubicBezTo>
                  <a:pt x="1548" y="612"/>
                  <a:pt x="1548" y="612"/>
                  <a:pt x="1548" y="611"/>
                </a:cubicBezTo>
                <a:cubicBezTo>
                  <a:pt x="1548" y="611"/>
                  <a:pt x="1548" y="611"/>
                  <a:pt x="1545" y="608"/>
                </a:cubicBezTo>
                <a:cubicBezTo>
                  <a:pt x="1545" y="608"/>
                  <a:pt x="1545" y="608"/>
                  <a:pt x="1544" y="607"/>
                </a:cubicBezTo>
                <a:cubicBezTo>
                  <a:pt x="1544" y="607"/>
                  <a:pt x="1544" y="607"/>
                  <a:pt x="1544" y="605"/>
                </a:cubicBezTo>
                <a:cubicBezTo>
                  <a:pt x="1544" y="605"/>
                  <a:pt x="1544" y="605"/>
                  <a:pt x="1543" y="605"/>
                </a:cubicBezTo>
                <a:cubicBezTo>
                  <a:pt x="1543" y="605"/>
                  <a:pt x="1543" y="605"/>
                  <a:pt x="1543" y="606"/>
                </a:cubicBezTo>
                <a:cubicBezTo>
                  <a:pt x="1543" y="606"/>
                  <a:pt x="1543" y="606"/>
                  <a:pt x="1543" y="607"/>
                </a:cubicBezTo>
                <a:cubicBezTo>
                  <a:pt x="1543" y="607"/>
                  <a:pt x="1543" y="607"/>
                  <a:pt x="1544" y="609"/>
                </a:cubicBezTo>
                <a:cubicBezTo>
                  <a:pt x="1544" y="609"/>
                  <a:pt x="1544" y="609"/>
                  <a:pt x="1544" y="610"/>
                </a:cubicBezTo>
                <a:cubicBezTo>
                  <a:pt x="1544" y="610"/>
                  <a:pt x="1544" y="610"/>
                  <a:pt x="1547" y="613"/>
                </a:cubicBezTo>
                <a:cubicBezTo>
                  <a:pt x="1547" y="613"/>
                  <a:pt x="1547" y="613"/>
                  <a:pt x="1547" y="614"/>
                </a:cubicBezTo>
                <a:cubicBezTo>
                  <a:pt x="1547" y="614"/>
                  <a:pt x="1547" y="614"/>
                  <a:pt x="1550" y="617"/>
                </a:cubicBezTo>
                <a:cubicBezTo>
                  <a:pt x="1550" y="617"/>
                  <a:pt x="1550" y="617"/>
                  <a:pt x="1551" y="618"/>
                </a:cubicBezTo>
                <a:cubicBezTo>
                  <a:pt x="1551" y="618"/>
                  <a:pt x="1551" y="618"/>
                  <a:pt x="1551" y="619"/>
                </a:cubicBezTo>
                <a:cubicBezTo>
                  <a:pt x="1551" y="619"/>
                  <a:pt x="1551" y="619"/>
                  <a:pt x="1551" y="620"/>
                </a:cubicBezTo>
                <a:cubicBezTo>
                  <a:pt x="1551" y="620"/>
                  <a:pt x="1551" y="620"/>
                  <a:pt x="1553" y="622"/>
                </a:cubicBezTo>
                <a:cubicBezTo>
                  <a:pt x="1553" y="622"/>
                  <a:pt x="1553" y="622"/>
                  <a:pt x="1553" y="623"/>
                </a:cubicBezTo>
                <a:cubicBezTo>
                  <a:pt x="1553" y="623"/>
                  <a:pt x="1553" y="623"/>
                  <a:pt x="1554" y="624"/>
                </a:cubicBezTo>
                <a:cubicBezTo>
                  <a:pt x="1554" y="624"/>
                  <a:pt x="1554" y="624"/>
                  <a:pt x="1554" y="626"/>
                </a:cubicBezTo>
                <a:cubicBezTo>
                  <a:pt x="1554" y="626"/>
                  <a:pt x="1554" y="626"/>
                  <a:pt x="1555" y="627"/>
                </a:cubicBezTo>
                <a:cubicBezTo>
                  <a:pt x="1555" y="627"/>
                  <a:pt x="1555" y="627"/>
                  <a:pt x="1555" y="629"/>
                </a:cubicBezTo>
                <a:cubicBezTo>
                  <a:pt x="1555" y="629"/>
                  <a:pt x="1555" y="629"/>
                  <a:pt x="1558" y="634"/>
                </a:cubicBezTo>
                <a:cubicBezTo>
                  <a:pt x="1558" y="634"/>
                  <a:pt x="1558" y="634"/>
                  <a:pt x="1559" y="636"/>
                </a:cubicBezTo>
                <a:cubicBezTo>
                  <a:pt x="1559" y="636"/>
                  <a:pt x="1559" y="636"/>
                  <a:pt x="1560" y="637"/>
                </a:cubicBezTo>
                <a:cubicBezTo>
                  <a:pt x="1560" y="637"/>
                  <a:pt x="1560" y="637"/>
                  <a:pt x="1562" y="641"/>
                </a:cubicBezTo>
                <a:cubicBezTo>
                  <a:pt x="1562" y="641"/>
                  <a:pt x="1562" y="641"/>
                  <a:pt x="1563" y="642"/>
                </a:cubicBezTo>
                <a:cubicBezTo>
                  <a:pt x="1563" y="642"/>
                  <a:pt x="1563" y="642"/>
                  <a:pt x="1564" y="643"/>
                </a:cubicBezTo>
                <a:cubicBezTo>
                  <a:pt x="1564" y="643"/>
                  <a:pt x="1564" y="643"/>
                  <a:pt x="1565" y="645"/>
                </a:cubicBezTo>
                <a:cubicBezTo>
                  <a:pt x="1565" y="645"/>
                  <a:pt x="1565" y="645"/>
                  <a:pt x="1564" y="645"/>
                </a:cubicBezTo>
                <a:cubicBezTo>
                  <a:pt x="1564" y="645"/>
                  <a:pt x="1564" y="645"/>
                  <a:pt x="1564" y="646"/>
                </a:cubicBezTo>
                <a:cubicBezTo>
                  <a:pt x="1564" y="646"/>
                  <a:pt x="1564" y="646"/>
                  <a:pt x="1564" y="648"/>
                </a:cubicBezTo>
                <a:cubicBezTo>
                  <a:pt x="1564" y="648"/>
                  <a:pt x="1564" y="648"/>
                  <a:pt x="1564" y="649"/>
                </a:cubicBezTo>
                <a:cubicBezTo>
                  <a:pt x="1564" y="649"/>
                  <a:pt x="1564" y="649"/>
                  <a:pt x="1565" y="652"/>
                </a:cubicBezTo>
                <a:cubicBezTo>
                  <a:pt x="1565" y="652"/>
                  <a:pt x="1565" y="652"/>
                  <a:pt x="1567" y="653"/>
                </a:cubicBezTo>
                <a:cubicBezTo>
                  <a:pt x="1567" y="653"/>
                  <a:pt x="1567" y="653"/>
                  <a:pt x="1568" y="653"/>
                </a:cubicBezTo>
                <a:cubicBezTo>
                  <a:pt x="1568" y="653"/>
                  <a:pt x="1568" y="653"/>
                  <a:pt x="1569" y="653"/>
                </a:cubicBezTo>
                <a:cubicBezTo>
                  <a:pt x="1569" y="653"/>
                  <a:pt x="1569" y="653"/>
                  <a:pt x="1570" y="655"/>
                </a:cubicBezTo>
                <a:cubicBezTo>
                  <a:pt x="1570" y="655"/>
                  <a:pt x="1570" y="655"/>
                  <a:pt x="1571" y="655"/>
                </a:cubicBezTo>
                <a:cubicBezTo>
                  <a:pt x="1571" y="655"/>
                  <a:pt x="1571" y="655"/>
                  <a:pt x="1572" y="656"/>
                </a:cubicBezTo>
                <a:cubicBezTo>
                  <a:pt x="1572" y="656"/>
                  <a:pt x="1572" y="656"/>
                  <a:pt x="1573" y="657"/>
                </a:cubicBezTo>
                <a:cubicBezTo>
                  <a:pt x="1573" y="657"/>
                  <a:pt x="1573" y="657"/>
                  <a:pt x="1574" y="658"/>
                </a:cubicBezTo>
                <a:cubicBezTo>
                  <a:pt x="1574" y="658"/>
                  <a:pt x="1574" y="658"/>
                  <a:pt x="1574" y="659"/>
                </a:cubicBezTo>
                <a:cubicBezTo>
                  <a:pt x="1574" y="659"/>
                  <a:pt x="1574" y="659"/>
                  <a:pt x="1574" y="660"/>
                </a:cubicBezTo>
                <a:cubicBezTo>
                  <a:pt x="1574" y="660"/>
                  <a:pt x="1574" y="660"/>
                  <a:pt x="1574" y="661"/>
                </a:cubicBezTo>
                <a:cubicBezTo>
                  <a:pt x="1574" y="661"/>
                  <a:pt x="1574" y="661"/>
                  <a:pt x="1575" y="662"/>
                </a:cubicBezTo>
                <a:cubicBezTo>
                  <a:pt x="1575" y="662"/>
                  <a:pt x="1575" y="662"/>
                  <a:pt x="1576" y="664"/>
                </a:cubicBezTo>
                <a:cubicBezTo>
                  <a:pt x="1576" y="664"/>
                  <a:pt x="1576" y="664"/>
                  <a:pt x="1575" y="663"/>
                </a:cubicBezTo>
                <a:cubicBezTo>
                  <a:pt x="1575" y="663"/>
                  <a:pt x="1575" y="663"/>
                  <a:pt x="1575" y="664"/>
                </a:cubicBezTo>
                <a:cubicBezTo>
                  <a:pt x="1575" y="664"/>
                  <a:pt x="1575" y="664"/>
                  <a:pt x="1575" y="665"/>
                </a:cubicBezTo>
                <a:cubicBezTo>
                  <a:pt x="1575" y="665"/>
                  <a:pt x="1575" y="665"/>
                  <a:pt x="1577" y="669"/>
                </a:cubicBezTo>
                <a:cubicBezTo>
                  <a:pt x="1577" y="669"/>
                  <a:pt x="1577" y="669"/>
                  <a:pt x="1577" y="672"/>
                </a:cubicBezTo>
                <a:cubicBezTo>
                  <a:pt x="1577" y="672"/>
                  <a:pt x="1577" y="672"/>
                  <a:pt x="1577" y="674"/>
                </a:cubicBezTo>
                <a:cubicBezTo>
                  <a:pt x="1577" y="674"/>
                  <a:pt x="1577" y="674"/>
                  <a:pt x="1577" y="677"/>
                </a:cubicBezTo>
                <a:cubicBezTo>
                  <a:pt x="1577" y="677"/>
                  <a:pt x="1577" y="677"/>
                  <a:pt x="1579" y="679"/>
                </a:cubicBezTo>
                <a:cubicBezTo>
                  <a:pt x="1579" y="679"/>
                  <a:pt x="1579" y="679"/>
                  <a:pt x="1580" y="679"/>
                </a:cubicBezTo>
                <a:cubicBezTo>
                  <a:pt x="1580" y="679"/>
                  <a:pt x="1580" y="679"/>
                  <a:pt x="1582" y="681"/>
                </a:cubicBezTo>
                <a:cubicBezTo>
                  <a:pt x="1582" y="681"/>
                  <a:pt x="1582" y="681"/>
                  <a:pt x="1582" y="682"/>
                </a:cubicBezTo>
                <a:cubicBezTo>
                  <a:pt x="1582" y="682"/>
                  <a:pt x="1582" y="682"/>
                  <a:pt x="1584" y="682"/>
                </a:cubicBezTo>
                <a:cubicBezTo>
                  <a:pt x="1584" y="682"/>
                  <a:pt x="1584" y="682"/>
                  <a:pt x="1585" y="683"/>
                </a:cubicBezTo>
                <a:cubicBezTo>
                  <a:pt x="1585" y="683"/>
                  <a:pt x="1585" y="683"/>
                  <a:pt x="1585" y="684"/>
                </a:cubicBezTo>
                <a:cubicBezTo>
                  <a:pt x="1585" y="684"/>
                  <a:pt x="1585" y="684"/>
                  <a:pt x="1587" y="685"/>
                </a:cubicBezTo>
                <a:cubicBezTo>
                  <a:pt x="1587" y="685"/>
                  <a:pt x="1587" y="685"/>
                  <a:pt x="1590" y="692"/>
                </a:cubicBezTo>
                <a:cubicBezTo>
                  <a:pt x="1590" y="692"/>
                  <a:pt x="1590" y="692"/>
                  <a:pt x="1590" y="697"/>
                </a:cubicBezTo>
                <a:cubicBezTo>
                  <a:pt x="1590" y="697"/>
                  <a:pt x="1590" y="697"/>
                  <a:pt x="1591" y="697"/>
                </a:cubicBezTo>
                <a:cubicBezTo>
                  <a:pt x="1591" y="697"/>
                  <a:pt x="1591" y="697"/>
                  <a:pt x="1591" y="699"/>
                </a:cubicBezTo>
                <a:cubicBezTo>
                  <a:pt x="1591" y="699"/>
                  <a:pt x="1591" y="699"/>
                  <a:pt x="1592" y="699"/>
                </a:cubicBezTo>
                <a:cubicBezTo>
                  <a:pt x="1592" y="699"/>
                  <a:pt x="1592" y="699"/>
                  <a:pt x="1593" y="701"/>
                </a:cubicBezTo>
                <a:cubicBezTo>
                  <a:pt x="1593" y="701"/>
                  <a:pt x="1593" y="701"/>
                  <a:pt x="1593" y="703"/>
                </a:cubicBezTo>
                <a:cubicBezTo>
                  <a:pt x="1593" y="703"/>
                  <a:pt x="1593" y="703"/>
                  <a:pt x="1594" y="703"/>
                </a:cubicBezTo>
                <a:cubicBezTo>
                  <a:pt x="1594" y="703"/>
                  <a:pt x="1594" y="703"/>
                  <a:pt x="1594" y="701"/>
                </a:cubicBezTo>
                <a:cubicBezTo>
                  <a:pt x="1594" y="701"/>
                  <a:pt x="1594" y="701"/>
                  <a:pt x="1594" y="700"/>
                </a:cubicBezTo>
                <a:cubicBezTo>
                  <a:pt x="1594" y="700"/>
                  <a:pt x="1594" y="700"/>
                  <a:pt x="1595" y="701"/>
                </a:cubicBezTo>
                <a:cubicBezTo>
                  <a:pt x="1595" y="701"/>
                  <a:pt x="1595" y="701"/>
                  <a:pt x="1595" y="702"/>
                </a:cubicBezTo>
                <a:cubicBezTo>
                  <a:pt x="1595" y="702"/>
                  <a:pt x="1595" y="702"/>
                  <a:pt x="1596" y="703"/>
                </a:cubicBezTo>
                <a:cubicBezTo>
                  <a:pt x="1596" y="703"/>
                  <a:pt x="1596" y="703"/>
                  <a:pt x="1597" y="704"/>
                </a:cubicBezTo>
                <a:cubicBezTo>
                  <a:pt x="1597" y="704"/>
                  <a:pt x="1597" y="704"/>
                  <a:pt x="1598" y="704"/>
                </a:cubicBezTo>
                <a:cubicBezTo>
                  <a:pt x="1598" y="704"/>
                  <a:pt x="1598" y="704"/>
                  <a:pt x="1599" y="704"/>
                </a:cubicBezTo>
                <a:cubicBezTo>
                  <a:pt x="1599" y="704"/>
                  <a:pt x="1599" y="704"/>
                  <a:pt x="1601" y="705"/>
                </a:cubicBezTo>
                <a:cubicBezTo>
                  <a:pt x="1601" y="705"/>
                  <a:pt x="1601" y="705"/>
                  <a:pt x="1601" y="706"/>
                </a:cubicBezTo>
                <a:cubicBezTo>
                  <a:pt x="1601" y="706"/>
                  <a:pt x="1601" y="706"/>
                  <a:pt x="1603" y="706"/>
                </a:cubicBezTo>
                <a:cubicBezTo>
                  <a:pt x="1603" y="706"/>
                  <a:pt x="1603" y="706"/>
                  <a:pt x="1603" y="707"/>
                </a:cubicBezTo>
                <a:cubicBezTo>
                  <a:pt x="1603" y="707"/>
                  <a:pt x="1603" y="707"/>
                  <a:pt x="1605" y="709"/>
                </a:cubicBezTo>
                <a:cubicBezTo>
                  <a:pt x="1605" y="709"/>
                  <a:pt x="1605" y="709"/>
                  <a:pt x="1606" y="711"/>
                </a:cubicBezTo>
                <a:cubicBezTo>
                  <a:pt x="1606" y="711"/>
                  <a:pt x="1606" y="711"/>
                  <a:pt x="1608" y="711"/>
                </a:cubicBezTo>
                <a:cubicBezTo>
                  <a:pt x="1608" y="711"/>
                  <a:pt x="1608" y="711"/>
                  <a:pt x="1609" y="712"/>
                </a:cubicBezTo>
                <a:cubicBezTo>
                  <a:pt x="1609" y="712"/>
                  <a:pt x="1609" y="712"/>
                  <a:pt x="1610" y="713"/>
                </a:cubicBezTo>
                <a:cubicBezTo>
                  <a:pt x="1610" y="713"/>
                  <a:pt x="1610" y="713"/>
                  <a:pt x="1611" y="715"/>
                </a:cubicBezTo>
                <a:cubicBezTo>
                  <a:pt x="1611" y="715"/>
                  <a:pt x="1611" y="715"/>
                  <a:pt x="1612" y="717"/>
                </a:cubicBezTo>
                <a:cubicBezTo>
                  <a:pt x="1612" y="717"/>
                  <a:pt x="1612" y="717"/>
                  <a:pt x="1613" y="718"/>
                </a:cubicBezTo>
                <a:cubicBezTo>
                  <a:pt x="1613" y="718"/>
                  <a:pt x="1613" y="718"/>
                  <a:pt x="1614" y="718"/>
                </a:cubicBezTo>
                <a:cubicBezTo>
                  <a:pt x="1614" y="718"/>
                  <a:pt x="1614" y="718"/>
                  <a:pt x="1615" y="718"/>
                </a:cubicBezTo>
                <a:cubicBezTo>
                  <a:pt x="1615" y="718"/>
                  <a:pt x="1615" y="718"/>
                  <a:pt x="1615" y="719"/>
                </a:cubicBezTo>
                <a:cubicBezTo>
                  <a:pt x="1615" y="719"/>
                  <a:pt x="1615" y="719"/>
                  <a:pt x="1616" y="720"/>
                </a:cubicBezTo>
                <a:cubicBezTo>
                  <a:pt x="1616" y="720"/>
                  <a:pt x="1616" y="720"/>
                  <a:pt x="1617" y="720"/>
                </a:cubicBezTo>
                <a:cubicBezTo>
                  <a:pt x="1617" y="720"/>
                  <a:pt x="1617" y="720"/>
                  <a:pt x="1617" y="721"/>
                </a:cubicBezTo>
                <a:cubicBezTo>
                  <a:pt x="1617" y="721"/>
                  <a:pt x="1617" y="721"/>
                  <a:pt x="1617" y="723"/>
                </a:cubicBezTo>
                <a:cubicBezTo>
                  <a:pt x="1617" y="723"/>
                  <a:pt x="1617" y="723"/>
                  <a:pt x="1616" y="723"/>
                </a:cubicBezTo>
                <a:cubicBezTo>
                  <a:pt x="1616" y="723"/>
                  <a:pt x="1616" y="723"/>
                  <a:pt x="1615" y="725"/>
                </a:cubicBezTo>
                <a:cubicBezTo>
                  <a:pt x="1615" y="725"/>
                  <a:pt x="1615" y="725"/>
                  <a:pt x="1614" y="725"/>
                </a:cubicBezTo>
                <a:cubicBezTo>
                  <a:pt x="1614" y="725"/>
                  <a:pt x="1614" y="725"/>
                  <a:pt x="1614" y="726"/>
                </a:cubicBezTo>
                <a:cubicBezTo>
                  <a:pt x="1614" y="726"/>
                  <a:pt x="1614" y="726"/>
                  <a:pt x="1616" y="726"/>
                </a:cubicBezTo>
                <a:cubicBezTo>
                  <a:pt x="1616" y="726"/>
                  <a:pt x="1616" y="726"/>
                  <a:pt x="1617" y="727"/>
                </a:cubicBezTo>
                <a:cubicBezTo>
                  <a:pt x="1617" y="727"/>
                  <a:pt x="1617" y="727"/>
                  <a:pt x="1621" y="732"/>
                </a:cubicBezTo>
                <a:cubicBezTo>
                  <a:pt x="1621" y="732"/>
                  <a:pt x="1621" y="732"/>
                  <a:pt x="1622" y="733"/>
                </a:cubicBezTo>
                <a:cubicBezTo>
                  <a:pt x="1622" y="733"/>
                  <a:pt x="1622" y="733"/>
                  <a:pt x="1623" y="734"/>
                </a:cubicBezTo>
                <a:cubicBezTo>
                  <a:pt x="1623" y="734"/>
                  <a:pt x="1623" y="734"/>
                  <a:pt x="1625" y="734"/>
                </a:cubicBezTo>
                <a:cubicBezTo>
                  <a:pt x="1625" y="734"/>
                  <a:pt x="1625" y="734"/>
                  <a:pt x="1627" y="734"/>
                </a:cubicBezTo>
                <a:cubicBezTo>
                  <a:pt x="1627" y="734"/>
                  <a:pt x="1627" y="734"/>
                  <a:pt x="1629" y="733"/>
                </a:cubicBezTo>
                <a:cubicBezTo>
                  <a:pt x="1629" y="733"/>
                  <a:pt x="1629" y="733"/>
                  <a:pt x="1630" y="732"/>
                </a:cubicBezTo>
                <a:cubicBezTo>
                  <a:pt x="1630" y="732"/>
                  <a:pt x="1630" y="732"/>
                  <a:pt x="1632" y="731"/>
                </a:cubicBezTo>
                <a:cubicBezTo>
                  <a:pt x="1632" y="731"/>
                  <a:pt x="1632" y="731"/>
                  <a:pt x="1633" y="731"/>
                </a:cubicBezTo>
                <a:cubicBezTo>
                  <a:pt x="1633" y="731"/>
                  <a:pt x="1633" y="731"/>
                  <a:pt x="1635" y="731"/>
                </a:cubicBezTo>
                <a:cubicBezTo>
                  <a:pt x="1635" y="731"/>
                  <a:pt x="1635" y="731"/>
                  <a:pt x="1637" y="731"/>
                </a:cubicBezTo>
                <a:cubicBezTo>
                  <a:pt x="1637" y="731"/>
                  <a:pt x="1637" y="731"/>
                  <a:pt x="1638" y="731"/>
                </a:cubicBezTo>
                <a:cubicBezTo>
                  <a:pt x="1638" y="731"/>
                  <a:pt x="1638" y="731"/>
                  <a:pt x="1642" y="729"/>
                </a:cubicBezTo>
                <a:cubicBezTo>
                  <a:pt x="1642" y="729"/>
                  <a:pt x="1642" y="729"/>
                  <a:pt x="1643" y="729"/>
                </a:cubicBezTo>
                <a:cubicBezTo>
                  <a:pt x="1643" y="729"/>
                  <a:pt x="1643" y="729"/>
                  <a:pt x="1645" y="729"/>
                </a:cubicBezTo>
                <a:cubicBezTo>
                  <a:pt x="1645" y="729"/>
                  <a:pt x="1645" y="729"/>
                  <a:pt x="1646" y="729"/>
                </a:cubicBezTo>
                <a:cubicBezTo>
                  <a:pt x="1646" y="729"/>
                  <a:pt x="1646" y="729"/>
                  <a:pt x="1647" y="729"/>
                </a:cubicBezTo>
                <a:cubicBezTo>
                  <a:pt x="1647" y="729"/>
                  <a:pt x="1647" y="729"/>
                  <a:pt x="1649" y="728"/>
                </a:cubicBezTo>
                <a:cubicBezTo>
                  <a:pt x="1649" y="728"/>
                  <a:pt x="1649" y="728"/>
                  <a:pt x="1651" y="728"/>
                </a:cubicBezTo>
                <a:cubicBezTo>
                  <a:pt x="1651" y="728"/>
                  <a:pt x="1651" y="728"/>
                  <a:pt x="1652" y="728"/>
                </a:cubicBezTo>
                <a:cubicBezTo>
                  <a:pt x="1652" y="728"/>
                  <a:pt x="1652" y="728"/>
                  <a:pt x="1655" y="728"/>
                </a:cubicBezTo>
                <a:cubicBezTo>
                  <a:pt x="1655" y="728"/>
                  <a:pt x="1655" y="728"/>
                  <a:pt x="1657" y="727"/>
                </a:cubicBezTo>
                <a:cubicBezTo>
                  <a:pt x="1657" y="727"/>
                  <a:pt x="1657" y="727"/>
                  <a:pt x="1658" y="727"/>
                </a:cubicBezTo>
                <a:cubicBezTo>
                  <a:pt x="1658" y="727"/>
                  <a:pt x="1658" y="727"/>
                  <a:pt x="1659" y="727"/>
                </a:cubicBezTo>
                <a:cubicBezTo>
                  <a:pt x="1659" y="727"/>
                  <a:pt x="1659" y="727"/>
                  <a:pt x="1659" y="726"/>
                </a:cubicBezTo>
                <a:cubicBezTo>
                  <a:pt x="1659" y="726"/>
                  <a:pt x="1659" y="726"/>
                  <a:pt x="1661" y="726"/>
                </a:cubicBezTo>
                <a:cubicBezTo>
                  <a:pt x="1661" y="726"/>
                  <a:pt x="1661" y="726"/>
                  <a:pt x="1662" y="725"/>
                </a:cubicBezTo>
                <a:cubicBezTo>
                  <a:pt x="1662" y="725"/>
                  <a:pt x="1662" y="725"/>
                  <a:pt x="1663" y="724"/>
                </a:cubicBezTo>
                <a:cubicBezTo>
                  <a:pt x="1663" y="724"/>
                  <a:pt x="1663" y="724"/>
                  <a:pt x="1663" y="723"/>
                </a:cubicBezTo>
                <a:cubicBezTo>
                  <a:pt x="1663" y="723"/>
                  <a:pt x="1663" y="723"/>
                  <a:pt x="1664" y="724"/>
                </a:cubicBezTo>
                <a:cubicBezTo>
                  <a:pt x="1664" y="724"/>
                  <a:pt x="1664" y="724"/>
                  <a:pt x="1664" y="723"/>
                </a:cubicBezTo>
                <a:cubicBezTo>
                  <a:pt x="1664" y="723"/>
                  <a:pt x="1664" y="723"/>
                  <a:pt x="1665" y="724"/>
                </a:cubicBezTo>
                <a:cubicBezTo>
                  <a:pt x="1665" y="724"/>
                  <a:pt x="1665" y="724"/>
                  <a:pt x="1666" y="724"/>
                </a:cubicBezTo>
                <a:cubicBezTo>
                  <a:pt x="1666" y="724"/>
                  <a:pt x="1666" y="724"/>
                  <a:pt x="1667" y="724"/>
                </a:cubicBezTo>
                <a:cubicBezTo>
                  <a:pt x="1667" y="724"/>
                  <a:pt x="1667" y="724"/>
                  <a:pt x="1667" y="725"/>
                </a:cubicBezTo>
                <a:cubicBezTo>
                  <a:pt x="1667" y="725"/>
                  <a:pt x="1667" y="725"/>
                  <a:pt x="1666" y="726"/>
                </a:cubicBezTo>
                <a:cubicBezTo>
                  <a:pt x="1666" y="726"/>
                  <a:pt x="1666" y="726"/>
                  <a:pt x="1666" y="727"/>
                </a:cubicBezTo>
                <a:cubicBezTo>
                  <a:pt x="1666" y="727"/>
                  <a:pt x="1666" y="727"/>
                  <a:pt x="1666" y="728"/>
                </a:cubicBezTo>
                <a:cubicBezTo>
                  <a:pt x="1666" y="728"/>
                  <a:pt x="1666" y="728"/>
                  <a:pt x="1666" y="729"/>
                </a:cubicBezTo>
                <a:cubicBezTo>
                  <a:pt x="1666" y="729"/>
                  <a:pt x="1666" y="729"/>
                  <a:pt x="1667" y="729"/>
                </a:cubicBezTo>
                <a:cubicBezTo>
                  <a:pt x="1667" y="729"/>
                  <a:pt x="1667" y="729"/>
                  <a:pt x="1666" y="730"/>
                </a:cubicBezTo>
                <a:cubicBezTo>
                  <a:pt x="1666" y="730"/>
                  <a:pt x="1666" y="730"/>
                  <a:pt x="1666" y="731"/>
                </a:cubicBezTo>
                <a:cubicBezTo>
                  <a:pt x="1666" y="731"/>
                  <a:pt x="1666" y="731"/>
                  <a:pt x="1666" y="732"/>
                </a:cubicBezTo>
                <a:cubicBezTo>
                  <a:pt x="1666" y="732"/>
                  <a:pt x="1666" y="732"/>
                  <a:pt x="1667" y="733"/>
                </a:cubicBezTo>
                <a:cubicBezTo>
                  <a:pt x="1667" y="733"/>
                  <a:pt x="1667" y="733"/>
                  <a:pt x="1666" y="734"/>
                </a:cubicBezTo>
                <a:cubicBezTo>
                  <a:pt x="1666" y="734"/>
                  <a:pt x="1666" y="734"/>
                  <a:pt x="1665" y="736"/>
                </a:cubicBezTo>
                <a:cubicBezTo>
                  <a:pt x="1665" y="736"/>
                  <a:pt x="1665" y="736"/>
                  <a:pt x="1665" y="737"/>
                </a:cubicBezTo>
                <a:cubicBezTo>
                  <a:pt x="1665" y="737"/>
                  <a:pt x="1665" y="737"/>
                  <a:pt x="1665" y="738"/>
                </a:cubicBezTo>
                <a:cubicBezTo>
                  <a:pt x="1665" y="738"/>
                  <a:pt x="1665" y="738"/>
                  <a:pt x="1665" y="739"/>
                </a:cubicBezTo>
                <a:cubicBezTo>
                  <a:pt x="1665" y="739"/>
                  <a:pt x="1665" y="739"/>
                  <a:pt x="1665" y="740"/>
                </a:cubicBezTo>
                <a:cubicBezTo>
                  <a:pt x="1665" y="740"/>
                  <a:pt x="1665" y="740"/>
                  <a:pt x="1663" y="743"/>
                </a:cubicBezTo>
                <a:cubicBezTo>
                  <a:pt x="1663" y="743"/>
                  <a:pt x="1663" y="743"/>
                  <a:pt x="1661" y="747"/>
                </a:cubicBezTo>
                <a:cubicBezTo>
                  <a:pt x="1661" y="747"/>
                  <a:pt x="1661" y="747"/>
                  <a:pt x="1660" y="748"/>
                </a:cubicBezTo>
                <a:cubicBezTo>
                  <a:pt x="1660" y="748"/>
                  <a:pt x="1660" y="748"/>
                  <a:pt x="1658" y="749"/>
                </a:cubicBezTo>
                <a:cubicBezTo>
                  <a:pt x="1658" y="749"/>
                  <a:pt x="1658" y="749"/>
                  <a:pt x="1658" y="750"/>
                </a:cubicBezTo>
                <a:cubicBezTo>
                  <a:pt x="1658" y="750"/>
                  <a:pt x="1658" y="750"/>
                  <a:pt x="1659" y="751"/>
                </a:cubicBezTo>
                <a:cubicBezTo>
                  <a:pt x="1659" y="751"/>
                  <a:pt x="1659" y="751"/>
                  <a:pt x="1658" y="751"/>
                </a:cubicBezTo>
                <a:cubicBezTo>
                  <a:pt x="1658" y="751"/>
                  <a:pt x="1658" y="751"/>
                  <a:pt x="1654" y="758"/>
                </a:cubicBezTo>
                <a:cubicBezTo>
                  <a:pt x="1654" y="758"/>
                  <a:pt x="1654" y="758"/>
                  <a:pt x="1654" y="760"/>
                </a:cubicBezTo>
                <a:cubicBezTo>
                  <a:pt x="1654" y="760"/>
                  <a:pt x="1654" y="760"/>
                  <a:pt x="1652" y="763"/>
                </a:cubicBezTo>
                <a:cubicBezTo>
                  <a:pt x="1652" y="763"/>
                  <a:pt x="1652" y="763"/>
                  <a:pt x="1652" y="764"/>
                </a:cubicBezTo>
                <a:cubicBezTo>
                  <a:pt x="1652" y="764"/>
                  <a:pt x="1652" y="764"/>
                  <a:pt x="1648" y="770"/>
                </a:cubicBezTo>
                <a:cubicBezTo>
                  <a:pt x="1648" y="770"/>
                  <a:pt x="1648" y="770"/>
                  <a:pt x="1647" y="772"/>
                </a:cubicBezTo>
                <a:cubicBezTo>
                  <a:pt x="1647" y="772"/>
                  <a:pt x="1647" y="772"/>
                  <a:pt x="1645" y="774"/>
                </a:cubicBezTo>
                <a:cubicBezTo>
                  <a:pt x="1645" y="774"/>
                  <a:pt x="1645" y="774"/>
                  <a:pt x="1642" y="778"/>
                </a:cubicBezTo>
                <a:cubicBezTo>
                  <a:pt x="1642" y="778"/>
                  <a:pt x="1642" y="778"/>
                  <a:pt x="1635" y="784"/>
                </a:cubicBezTo>
                <a:cubicBezTo>
                  <a:pt x="1635" y="784"/>
                  <a:pt x="1635" y="784"/>
                  <a:pt x="1632" y="786"/>
                </a:cubicBezTo>
                <a:cubicBezTo>
                  <a:pt x="1632" y="786"/>
                  <a:pt x="1632" y="786"/>
                  <a:pt x="1630" y="787"/>
                </a:cubicBezTo>
                <a:cubicBezTo>
                  <a:pt x="1630" y="787"/>
                  <a:pt x="1630" y="787"/>
                  <a:pt x="1628" y="788"/>
                </a:cubicBezTo>
                <a:cubicBezTo>
                  <a:pt x="1628" y="788"/>
                  <a:pt x="1628" y="788"/>
                  <a:pt x="1626" y="790"/>
                </a:cubicBezTo>
                <a:cubicBezTo>
                  <a:pt x="1626" y="790"/>
                  <a:pt x="1626" y="790"/>
                  <a:pt x="1622" y="794"/>
                </a:cubicBezTo>
                <a:cubicBezTo>
                  <a:pt x="1622" y="794"/>
                  <a:pt x="1622" y="794"/>
                  <a:pt x="1621" y="794"/>
                </a:cubicBezTo>
                <a:cubicBezTo>
                  <a:pt x="1621" y="794"/>
                  <a:pt x="1621" y="794"/>
                  <a:pt x="1617" y="798"/>
                </a:cubicBezTo>
                <a:cubicBezTo>
                  <a:pt x="1617" y="798"/>
                  <a:pt x="1617" y="798"/>
                  <a:pt x="1617" y="799"/>
                </a:cubicBezTo>
                <a:cubicBezTo>
                  <a:pt x="1617" y="799"/>
                  <a:pt x="1617" y="799"/>
                  <a:pt x="1616" y="800"/>
                </a:cubicBezTo>
                <a:cubicBezTo>
                  <a:pt x="1616" y="800"/>
                  <a:pt x="1616" y="800"/>
                  <a:pt x="1615" y="800"/>
                </a:cubicBezTo>
                <a:cubicBezTo>
                  <a:pt x="1615" y="800"/>
                  <a:pt x="1615" y="800"/>
                  <a:pt x="1613" y="801"/>
                </a:cubicBezTo>
                <a:cubicBezTo>
                  <a:pt x="1613" y="801"/>
                  <a:pt x="1613" y="801"/>
                  <a:pt x="1613" y="803"/>
                </a:cubicBezTo>
                <a:cubicBezTo>
                  <a:pt x="1613" y="803"/>
                  <a:pt x="1613" y="803"/>
                  <a:pt x="1608" y="808"/>
                </a:cubicBezTo>
                <a:cubicBezTo>
                  <a:pt x="1608" y="808"/>
                  <a:pt x="1608" y="808"/>
                  <a:pt x="1608" y="809"/>
                </a:cubicBezTo>
                <a:cubicBezTo>
                  <a:pt x="1608" y="809"/>
                  <a:pt x="1608" y="809"/>
                  <a:pt x="1605" y="811"/>
                </a:cubicBezTo>
                <a:cubicBezTo>
                  <a:pt x="1605" y="811"/>
                  <a:pt x="1605" y="811"/>
                  <a:pt x="1605" y="812"/>
                </a:cubicBezTo>
                <a:cubicBezTo>
                  <a:pt x="1605" y="812"/>
                  <a:pt x="1605" y="812"/>
                  <a:pt x="1604" y="812"/>
                </a:cubicBezTo>
                <a:cubicBezTo>
                  <a:pt x="1604" y="812"/>
                  <a:pt x="1604" y="812"/>
                  <a:pt x="1605" y="813"/>
                </a:cubicBezTo>
                <a:cubicBezTo>
                  <a:pt x="1605" y="813"/>
                  <a:pt x="1605" y="813"/>
                  <a:pt x="1602" y="814"/>
                </a:cubicBezTo>
                <a:cubicBezTo>
                  <a:pt x="1602" y="814"/>
                  <a:pt x="1602" y="814"/>
                  <a:pt x="1601" y="815"/>
                </a:cubicBezTo>
                <a:cubicBezTo>
                  <a:pt x="1601" y="815"/>
                  <a:pt x="1601" y="815"/>
                  <a:pt x="1599" y="815"/>
                </a:cubicBezTo>
                <a:cubicBezTo>
                  <a:pt x="1599" y="815"/>
                  <a:pt x="1599" y="815"/>
                  <a:pt x="1599" y="816"/>
                </a:cubicBezTo>
                <a:cubicBezTo>
                  <a:pt x="1599" y="816"/>
                  <a:pt x="1599" y="816"/>
                  <a:pt x="1598" y="817"/>
                </a:cubicBezTo>
                <a:cubicBezTo>
                  <a:pt x="1598" y="817"/>
                  <a:pt x="1598" y="817"/>
                  <a:pt x="1598" y="818"/>
                </a:cubicBezTo>
                <a:cubicBezTo>
                  <a:pt x="1598" y="818"/>
                  <a:pt x="1598" y="818"/>
                  <a:pt x="1597" y="820"/>
                </a:cubicBezTo>
                <a:cubicBezTo>
                  <a:pt x="1597" y="820"/>
                  <a:pt x="1597" y="820"/>
                  <a:pt x="1596" y="821"/>
                </a:cubicBezTo>
                <a:cubicBezTo>
                  <a:pt x="1596" y="821"/>
                  <a:pt x="1596" y="821"/>
                  <a:pt x="1596" y="822"/>
                </a:cubicBezTo>
                <a:cubicBezTo>
                  <a:pt x="1596" y="822"/>
                  <a:pt x="1596" y="822"/>
                  <a:pt x="1595" y="824"/>
                </a:cubicBezTo>
                <a:cubicBezTo>
                  <a:pt x="1595" y="824"/>
                  <a:pt x="1595" y="824"/>
                  <a:pt x="1593" y="828"/>
                </a:cubicBezTo>
                <a:cubicBezTo>
                  <a:pt x="1593" y="828"/>
                  <a:pt x="1593" y="828"/>
                  <a:pt x="1591" y="828"/>
                </a:cubicBezTo>
                <a:cubicBezTo>
                  <a:pt x="1591" y="828"/>
                  <a:pt x="1591" y="828"/>
                  <a:pt x="1591" y="829"/>
                </a:cubicBezTo>
                <a:cubicBezTo>
                  <a:pt x="1591" y="829"/>
                  <a:pt x="1591" y="829"/>
                  <a:pt x="1591" y="830"/>
                </a:cubicBezTo>
                <a:cubicBezTo>
                  <a:pt x="1591" y="830"/>
                  <a:pt x="1591" y="830"/>
                  <a:pt x="1589" y="834"/>
                </a:cubicBezTo>
                <a:cubicBezTo>
                  <a:pt x="1589" y="834"/>
                  <a:pt x="1589" y="834"/>
                  <a:pt x="1588" y="837"/>
                </a:cubicBezTo>
                <a:cubicBezTo>
                  <a:pt x="1588" y="837"/>
                  <a:pt x="1588" y="837"/>
                  <a:pt x="1588" y="838"/>
                </a:cubicBezTo>
                <a:cubicBezTo>
                  <a:pt x="1588" y="838"/>
                  <a:pt x="1588" y="838"/>
                  <a:pt x="1590" y="840"/>
                </a:cubicBezTo>
                <a:cubicBezTo>
                  <a:pt x="1590" y="840"/>
                  <a:pt x="1590" y="840"/>
                  <a:pt x="1591" y="842"/>
                </a:cubicBezTo>
                <a:cubicBezTo>
                  <a:pt x="1591" y="842"/>
                  <a:pt x="1591" y="842"/>
                  <a:pt x="1592" y="841"/>
                </a:cubicBezTo>
                <a:cubicBezTo>
                  <a:pt x="1592" y="841"/>
                  <a:pt x="1592" y="841"/>
                  <a:pt x="1593" y="844"/>
                </a:cubicBezTo>
                <a:cubicBezTo>
                  <a:pt x="1593" y="844"/>
                  <a:pt x="1593" y="844"/>
                  <a:pt x="1592" y="844"/>
                </a:cubicBezTo>
                <a:cubicBezTo>
                  <a:pt x="1592" y="844"/>
                  <a:pt x="1592" y="844"/>
                  <a:pt x="1591" y="845"/>
                </a:cubicBezTo>
                <a:cubicBezTo>
                  <a:pt x="1591" y="845"/>
                  <a:pt x="1591" y="845"/>
                  <a:pt x="1591" y="846"/>
                </a:cubicBezTo>
                <a:cubicBezTo>
                  <a:pt x="1591" y="846"/>
                  <a:pt x="1591" y="846"/>
                  <a:pt x="1591" y="849"/>
                </a:cubicBezTo>
                <a:cubicBezTo>
                  <a:pt x="1591" y="849"/>
                  <a:pt x="1591" y="849"/>
                  <a:pt x="1592" y="850"/>
                </a:cubicBezTo>
                <a:cubicBezTo>
                  <a:pt x="1592" y="850"/>
                  <a:pt x="1592" y="850"/>
                  <a:pt x="1592" y="851"/>
                </a:cubicBezTo>
                <a:cubicBezTo>
                  <a:pt x="1592" y="851"/>
                  <a:pt x="1592" y="851"/>
                  <a:pt x="1591" y="852"/>
                </a:cubicBezTo>
                <a:cubicBezTo>
                  <a:pt x="1591" y="852"/>
                  <a:pt x="1591" y="852"/>
                  <a:pt x="1591" y="853"/>
                </a:cubicBezTo>
                <a:cubicBezTo>
                  <a:pt x="1591" y="853"/>
                  <a:pt x="1591" y="853"/>
                  <a:pt x="1592" y="855"/>
                </a:cubicBezTo>
                <a:cubicBezTo>
                  <a:pt x="1592" y="855"/>
                  <a:pt x="1592" y="855"/>
                  <a:pt x="1592" y="856"/>
                </a:cubicBezTo>
                <a:cubicBezTo>
                  <a:pt x="1592" y="856"/>
                  <a:pt x="1592" y="856"/>
                  <a:pt x="1592" y="857"/>
                </a:cubicBezTo>
                <a:cubicBezTo>
                  <a:pt x="1592" y="857"/>
                  <a:pt x="1592" y="857"/>
                  <a:pt x="1593" y="857"/>
                </a:cubicBezTo>
                <a:cubicBezTo>
                  <a:pt x="1593" y="857"/>
                  <a:pt x="1593" y="857"/>
                  <a:pt x="1592" y="859"/>
                </a:cubicBezTo>
                <a:cubicBezTo>
                  <a:pt x="1592" y="859"/>
                  <a:pt x="1592" y="859"/>
                  <a:pt x="1593" y="859"/>
                </a:cubicBezTo>
                <a:cubicBezTo>
                  <a:pt x="1593" y="859"/>
                  <a:pt x="1593" y="859"/>
                  <a:pt x="1594" y="861"/>
                </a:cubicBezTo>
                <a:cubicBezTo>
                  <a:pt x="1594" y="861"/>
                  <a:pt x="1594" y="861"/>
                  <a:pt x="1593" y="862"/>
                </a:cubicBezTo>
                <a:cubicBezTo>
                  <a:pt x="1593" y="862"/>
                  <a:pt x="1593" y="862"/>
                  <a:pt x="1596" y="864"/>
                </a:cubicBezTo>
                <a:cubicBezTo>
                  <a:pt x="1596" y="864"/>
                  <a:pt x="1596" y="864"/>
                  <a:pt x="1597" y="864"/>
                </a:cubicBezTo>
                <a:cubicBezTo>
                  <a:pt x="1597" y="864"/>
                  <a:pt x="1597" y="864"/>
                  <a:pt x="1599" y="866"/>
                </a:cubicBezTo>
                <a:cubicBezTo>
                  <a:pt x="1599" y="866"/>
                  <a:pt x="1599" y="866"/>
                  <a:pt x="1599" y="867"/>
                </a:cubicBezTo>
                <a:cubicBezTo>
                  <a:pt x="1599" y="867"/>
                  <a:pt x="1599" y="867"/>
                  <a:pt x="1599" y="868"/>
                </a:cubicBezTo>
                <a:cubicBezTo>
                  <a:pt x="1599" y="868"/>
                  <a:pt x="1599" y="868"/>
                  <a:pt x="1599" y="869"/>
                </a:cubicBezTo>
                <a:cubicBezTo>
                  <a:pt x="1599" y="869"/>
                  <a:pt x="1599" y="869"/>
                  <a:pt x="1598" y="871"/>
                </a:cubicBezTo>
                <a:cubicBezTo>
                  <a:pt x="1598" y="871"/>
                  <a:pt x="1598" y="871"/>
                  <a:pt x="1598" y="872"/>
                </a:cubicBezTo>
                <a:cubicBezTo>
                  <a:pt x="1598" y="872"/>
                  <a:pt x="1598" y="872"/>
                  <a:pt x="1597" y="873"/>
                </a:cubicBezTo>
                <a:cubicBezTo>
                  <a:pt x="1597" y="873"/>
                  <a:pt x="1597" y="873"/>
                  <a:pt x="1598" y="875"/>
                </a:cubicBezTo>
                <a:cubicBezTo>
                  <a:pt x="1598" y="875"/>
                  <a:pt x="1598" y="875"/>
                  <a:pt x="1598" y="876"/>
                </a:cubicBezTo>
                <a:cubicBezTo>
                  <a:pt x="1598" y="876"/>
                  <a:pt x="1598" y="876"/>
                  <a:pt x="1598" y="877"/>
                </a:cubicBezTo>
                <a:cubicBezTo>
                  <a:pt x="1598" y="877"/>
                  <a:pt x="1598" y="877"/>
                  <a:pt x="1598" y="878"/>
                </a:cubicBezTo>
                <a:cubicBezTo>
                  <a:pt x="1598" y="878"/>
                  <a:pt x="1598" y="878"/>
                  <a:pt x="1598" y="879"/>
                </a:cubicBezTo>
                <a:cubicBezTo>
                  <a:pt x="1598" y="879"/>
                  <a:pt x="1598" y="879"/>
                  <a:pt x="1599" y="880"/>
                </a:cubicBezTo>
                <a:cubicBezTo>
                  <a:pt x="1599" y="880"/>
                  <a:pt x="1599" y="880"/>
                  <a:pt x="1598" y="881"/>
                </a:cubicBezTo>
                <a:cubicBezTo>
                  <a:pt x="1598" y="881"/>
                  <a:pt x="1598" y="881"/>
                  <a:pt x="1598" y="883"/>
                </a:cubicBezTo>
                <a:cubicBezTo>
                  <a:pt x="1598" y="883"/>
                  <a:pt x="1598" y="883"/>
                  <a:pt x="1598" y="886"/>
                </a:cubicBezTo>
                <a:cubicBezTo>
                  <a:pt x="1598" y="886"/>
                  <a:pt x="1598" y="886"/>
                  <a:pt x="1598" y="889"/>
                </a:cubicBezTo>
                <a:cubicBezTo>
                  <a:pt x="1598" y="889"/>
                  <a:pt x="1598" y="889"/>
                  <a:pt x="1597" y="889"/>
                </a:cubicBezTo>
                <a:cubicBezTo>
                  <a:pt x="1597" y="889"/>
                  <a:pt x="1597" y="889"/>
                  <a:pt x="1597" y="890"/>
                </a:cubicBezTo>
                <a:cubicBezTo>
                  <a:pt x="1597" y="890"/>
                  <a:pt x="1597" y="890"/>
                  <a:pt x="1598" y="890"/>
                </a:cubicBezTo>
                <a:cubicBezTo>
                  <a:pt x="1598" y="890"/>
                  <a:pt x="1598" y="890"/>
                  <a:pt x="1599" y="890"/>
                </a:cubicBezTo>
                <a:cubicBezTo>
                  <a:pt x="1599" y="890"/>
                  <a:pt x="1599" y="890"/>
                  <a:pt x="1599" y="893"/>
                </a:cubicBezTo>
                <a:cubicBezTo>
                  <a:pt x="1599" y="893"/>
                  <a:pt x="1599" y="893"/>
                  <a:pt x="1598" y="894"/>
                </a:cubicBezTo>
                <a:cubicBezTo>
                  <a:pt x="1598" y="894"/>
                  <a:pt x="1598" y="894"/>
                  <a:pt x="1598" y="895"/>
                </a:cubicBezTo>
                <a:cubicBezTo>
                  <a:pt x="1598" y="895"/>
                  <a:pt x="1598" y="895"/>
                  <a:pt x="1597" y="895"/>
                </a:cubicBezTo>
                <a:cubicBezTo>
                  <a:pt x="1597" y="895"/>
                  <a:pt x="1597" y="895"/>
                  <a:pt x="1596" y="896"/>
                </a:cubicBezTo>
                <a:cubicBezTo>
                  <a:pt x="1596" y="896"/>
                  <a:pt x="1596" y="896"/>
                  <a:pt x="1596" y="897"/>
                </a:cubicBezTo>
                <a:cubicBezTo>
                  <a:pt x="1596" y="897"/>
                  <a:pt x="1596" y="897"/>
                  <a:pt x="1597" y="896"/>
                </a:cubicBezTo>
                <a:cubicBezTo>
                  <a:pt x="1597" y="896"/>
                  <a:pt x="1597" y="896"/>
                  <a:pt x="1597" y="897"/>
                </a:cubicBezTo>
                <a:cubicBezTo>
                  <a:pt x="1597" y="897"/>
                  <a:pt x="1597" y="897"/>
                  <a:pt x="1597" y="899"/>
                </a:cubicBezTo>
                <a:cubicBezTo>
                  <a:pt x="1597" y="899"/>
                  <a:pt x="1597" y="899"/>
                  <a:pt x="1596" y="899"/>
                </a:cubicBezTo>
                <a:cubicBezTo>
                  <a:pt x="1596" y="899"/>
                  <a:pt x="1596" y="899"/>
                  <a:pt x="1595" y="900"/>
                </a:cubicBezTo>
                <a:cubicBezTo>
                  <a:pt x="1595" y="900"/>
                  <a:pt x="1595" y="900"/>
                  <a:pt x="1595" y="901"/>
                </a:cubicBezTo>
                <a:cubicBezTo>
                  <a:pt x="1595" y="901"/>
                  <a:pt x="1595" y="901"/>
                  <a:pt x="1593" y="903"/>
                </a:cubicBezTo>
                <a:cubicBezTo>
                  <a:pt x="1593" y="903"/>
                  <a:pt x="1593" y="903"/>
                  <a:pt x="1592" y="903"/>
                </a:cubicBezTo>
                <a:cubicBezTo>
                  <a:pt x="1592" y="903"/>
                  <a:pt x="1592" y="903"/>
                  <a:pt x="1592" y="904"/>
                </a:cubicBezTo>
                <a:cubicBezTo>
                  <a:pt x="1592" y="904"/>
                  <a:pt x="1592" y="904"/>
                  <a:pt x="1588" y="907"/>
                </a:cubicBezTo>
                <a:cubicBezTo>
                  <a:pt x="1588" y="907"/>
                  <a:pt x="1588" y="907"/>
                  <a:pt x="1587" y="907"/>
                </a:cubicBezTo>
                <a:cubicBezTo>
                  <a:pt x="1587" y="907"/>
                  <a:pt x="1587" y="907"/>
                  <a:pt x="1583" y="910"/>
                </a:cubicBezTo>
                <a:cubicBezTo>
                  <a:pt x="1583" y="910"/>
                  <a:pt x="1583" y="910"/>
                  <a:pt x="1582" y="909"/>
                </a:cubicBezTo>
                <a:cubicBezTo>
                  <a:pt x="1582" y="909"/>
                  <a:pt x="1582" y="909"/>
                  <a:pt x="1582" y="910"/>
                </a:cubicBezTo>
                <a:cubicBezTo>
                  <a:pt x="1582" y="910"/>
                  <a:pt x="1582" y="910"/>
                  <a:pt x="1580" y="911"/>
                </a:cubicBezTo>
                <a:cubicBezTo>
                  <a:pt x="1580" y="911"/>
                  <a:pt x="1580" y="911"/>
                  <a:pt x="1577" y="912"/>
                </a:cubicBezTo>
                <a:cubicBezTo>
                  <a:pt x="1577" y="912"/>
                  <a:pt x="1577" y="912"/>
                  <a:pt x="1577" y="913"/>
                </a:cubicBezTo>
                <a:cubicBezTo>
                  <a:pt x="1577" y="913"/>
                  <a:pt x="1577" y="913"/>
                  <a:pt x="1575" y="914"/>
                </a:cubicBezTo>
                <a:cubicBezTo>
                  <a:pt x="1575" y="914"/>
                  <a:pt x="1575" y="914"/>
                  <a:pt x="1574" y="915"/>
                </a:cubicBezTo>
                <a:cubicBezTo>
                  <a:pt x="1574" y="915"/>
                  <a:pt x="1574" y="915"/>
                  <a:pt x="1573" y="916"/>
                </a:cubicBezTo>
                <a:cubicBezTo>
                  <a:pt x="1573" y="916"/>
                  <a:pt x="1573" y="916"/>
                  <a:pt x="1573" y="917"/>
                </a:cubicBezTo>
                <a:cubicBezTo>
                  <a:pt x="1573" y="917"/>
                  <a:pt x="1573" y="917"/>
                  <a:pt x="1570" y="918"/>
                </a:cubicBezTo>
                <a:cubicBezTo>
                  <a:pt x="1570" y="918"/>
                  <a:pt x="1570" y="918"/>
                  <a:pt x="1570" y="919"/>
                </a:cubicBezTo>
                <a:cubicBezTo>
                  <a:pt x="1570" y="919"/>
                  <a:pt x="1570" y="919"/>
                  <a:pt x="1569" y="919"/>
                </a:cubicBezTo>
                <a:cubicBezTo>
                  <a:pt x="1569" y="919"/>
                  <a:pt x="1569" y="919"/>
                  <a:pt x="1569" y="920"/>
                </a:cubicBezTo>
                <a:cubicBezTo>
                  <a:pt x="1569" y="920"/>
                  <a:pt x="1569" y="920"/>
                  <a:pt x="1567" y="920"/>
                </a:cubicBezTo>
                <a:cubicBezTo>
                  <a:pt x="1567" y="920"/>
                  <a:pt x="1567" y="920"/>
                  <a:pt x="1564" y="923"/>
                </a:cubicBezTo>
                <a:cubicBezTo>
                  <a:pt x="1564" y="923"/>
                  <a:pt x="1564" y="923"/>
                  <a:pt x="1564" y="924"/>
                </a:cubicBezTo>
                <a:cubicBezTo>
                  <a:pt x="1564" y="924"/>
                  <a:pt x="1564" y="924"/>
                  <a:pt x="1563" y="925"/>
                </a:cubicBezTo>
                <a:cubicBezTo>
                  <a:pt x="1563" y="925"/>
                  <a:pt x="1563" y="925"/>
                  <a:pt x="1562" y="925"/>
                </a:cubicBezTo>
                <a:cubicBezTo>
                  <a:pt x="1562" y="925"/>
                  <a:pt x="1562" y="925"/>
                  <a:pt x="1561" y="926"/>
                </a:cubicBezTo>
                <a:cubicBezTo>
                  <a:pt x="1561" y="926"/>
                  <a:pt x="1561" y="926"/>
                  <a:pt x="1560" y="925"/>
                </a:cubicBezTo>
                <a:cubicBezTo>
                  <a:pt x="1560" y="925"/>
                  <a:pt x="1560" y="925"/>
                  <a:pt x="1559" y="925"/>
                </a:cubicBezTo>
                <a:cubicBezTo>
                  <a:pt x="1559" y="925"/>
                  <a:pt x="1559" y="925"/>
                  <a:pt x="1559" y="926"/>
                </a:cubicBezTo>
                <a:cubicBezTo>
                  <a:pt x="1559" y="926"/>
                  <a:pt x="1559" y="926"/>
                  <a:pt x="1560" y="926"/>
                </a:cubicBezTo>
                <a:cubicBezTo>
                  <a:pt x="1560" y="926"/>
                  <a:pt x="1560" y="926"/>
                  <a:pt x="1560" y="927"/>
                </a:cubicBezTo>
                <a:cubicBezTo>
                  <a:pt x="1560" y="927"/>
                  <a:pt x="1560" y="927"/>
                  <a:pt x="1559" y="928"/>
                </a:cubicBezTo>
                <a:cubicBezTo>
                  <a:pt x="1559" y="928"/>
                  <a:pt x="1559" y="928"/>
                  <a:pt x="1559" y="929"/>
                </a:cubicBezTo>
                <a:cubicBezTo>
                  <a:pt x="1559" y="929"/>
                  <a:pt x="1559" y="929"/>
                  <a:pt x="1559" y="930"/>
                </a:cubicBezTo>
                <a:cubicBezTo>
                  <a:pt x="1559" y="930"/>
                  <a:pt x="1559" y="930"/>
                  <a:pt x="1561" y="932"/>
                </a:cubicBezTo>
                <a:cubicBezTo>
                  <a:pt x="1561" y="932"/>
                  <a:pt x="1561" y="932"/>
                  <a:pt x="1561" y="933"/>
                </a:cubicBezTo>
                <a:cubicBezTo>
                  <a:pt x="1561" y="933"/>
                  <a:pt x="1561" y="933"/>
                  <a:pt x="1560" y="934"/>
                </a:cubicBezTo>
                <a:cubicBezTo>
                  <a:pt x="1560" y="934"/>
                  <a:pt x="1560" y="934"/>
                  <a:pt x="1561" y="935"/>
                </a:cubicBezTo>
                <a:cubicBezTo>
                  <a:pt x="1561" y="935"/>
                  <a:pt x="1561" y="935"/>
                  <a:pt x="1561" y="937"/>
                </a:cubicBezTo>
                <a:cubicBezTo>
                  <a:pt x="1561" y="937"/>
                  <a:pt x="1561" y="937"/>
                  <a:pt x="1562" y="938"/>
                </a:cubicBezTo>
                <a:cubicBezTo>
                  <a:pt x="1562" y="938"/>
                  <a:pt x="1562" y="938"/>
                  <a:pt x="1562" y="942"/>
                </a:cubicBezTo>
                <a:cubicBezTo>
                  <a:pt x="1562" y="942"/>
                  <a:pt x="1562" y="942"/>
                  <a:pt x="1563" y="941"/>
                </a:cubicBezTo>
                <a:cubicBezTo>
                  <a:pt x="1563" y="941"/>
                  <a:pt x="1563" y="941"/>
                  <a:pt x="1563" y="942"/>
                </a:cubicBezTo>
                <a:cubicBezTo>
                  <a:pt x="1563" y="942"/>
                  <a:pt x="1563" y="942"/>
                  <a:pt x="1564" y="942"/>
                </a:cubicBezTo>
                <a:cubicBezTo>
                  <a:pt x="1564" y="942"/>
                  <a:pt x="1564" y="942"/>
                  <a:pt x="1563" y="944"/>
                </a:cubicBezTo>
                <a:cubicBezTo>
                  <a:pt x="1563" y="944"/>
                  <a:pt x="1563" y="944"/>
                  <a:pt x="1563" y="946"/>
                </a:cubicBezTo>
                <a:cubicBezTo>
                  <a:pt x="1563" y="946"/>
                  <a:pt x="1563" y="946"/>
                  <a:pt x="1562" y="948"/>
                </a:cubicBezTo>
                <a:cubicBezTo>
                  <a:pt x="1562" y="948"/>
                  <a:pt x="1562" y="948"/>
                  <a:pt x="1562" y="949"/>
                </a:cubicBezTo>
                <a:cubicBezTo>
                  <a:pt x="1562" y="949"/>
                  <a:pt x="1562" y="949"/>
                  <a:pt x="1562" y="950"/>
                </a:cubicBezTo>
                <a:cubicBezTo>
                  <a:pt x="1562" y="950"/>
                  <a:pt x="1562" y="950"/>
                  <a:pt x="1562" y="951"/>
                </a:cubicBezTo>
                <a:cubicBezTo>
                  <a:pt x="1562" y="951"/>
                  <a:pt x="1562" y="951"/>
                  <a:pt x="1561" y="951"/>
                </a:cubicBezTo>
                <a:cubicBezTo>
                  <a:pt x="1561" y="951"/>
                  <a:pt x="1561" y="951"/>
                  <a:pt x="1562" y="952"/>
                </a:cubicBezTo>
                <a:cubicBezTo>
                  <a:pt x="1562" y="952"/>
                  <a:pt x="1562" y="952"/>
                  <a:pt x="1563" y="952"/>
                </a:cubicBezTo>
                <a:cubicBezTo>
                  <a:pt x="1563" y="952"/>
                  <a:pt x="1563" y="952"/>
                  <a:pt x="1562" y="954"/>
                </a:cubicBezTo>
                <a:cubicBezTo>
                  <a:pt x="1562" y="954"/>
                  <a:pt x="1562" y="954"/>
                  <a:pt x="1562" y="955"/>
                </a:cubicBezTo>
                <a:cubicBezTo>
                  <a:pt x="1562" y="955"/>
                  <a:pt x="1562" y="955"/>
                  <a:pt x="1559" y="958"/>
                </a:cubicBezTo>
                <a:cubicBezTo>
                  <a:pt x="1559" y="958"/>
                  <a:pt x="1559" y="958"/>
                  <a:pt x="1555" y="960"/>
                </a:cubicBezTo>
                <a:cubicBezTo>
                  <a:pt x="1555" y="960"/>
                  <a:pt x="1555" y="960"/>
                  <a:pt x="1550" y="961"/>
                </a:cubicBezTo>
                <a:cubicBezTo>
                  <a:pt x="1550" y="961"/>
                  <a:pt x="1550" y="961"/>
                  <a:pt x="1548" y="963"/>
                </a:cubicBezTo>
                <a:cubicBezTo>
                  <a:pt x="1548" y="963"/>
                  <a:pt x="1548" y="963"/>
                  <a:pt x="1546" y="963"/>
                </a:cubicBezTo>
                <a:cubicBezTo>
                  <a:pt x="1546" y="963"/>
                  <a:pt x="1546" y="963"/>
                  <a:pt x="1546" y="964"/>
                </a:cubicBezTo>
                <a:cubicBezTo>
                  <a:pt x="1546" y="964"/>
                  <a:pt x="1546" y="964"/>
                  <a:pt x="1545" y="964"/>
                </a:cubicBezTo>
                <a:cubicBezTo>
                  <a:pt x="1545" y="964"/>
                  <a:pt x="1545" y="964"/>
                  <a:pt x="1544" y="966"/>
                </a:cubicBezTo>
                <a:cubicBezTo>
                  <a:pt x="1544" y="966"/>
                  <a:pt x="1544" y="966"/>
                  <a:pt x="1543" y="966"/>
                </a:cubicBezTo>
                <a:cubicBezTo>
                  <a:pt x="1543" y="966"/>
                  <a:pt x="1543" y="966"/>
                  <a:pt x="1543" y="967"/>
                </a:cubicBezTo>
                <a:cubicBezTo>
                  <a:pt x="1543" y="967"/>
                  <a:pt x="1543" y="967"/>
                  <a:pt x="1544" y="968"/>
                </a:cubicBezTo>
                <a:cubicBezTo>
                  <a:pt x="1544" y="968"/>
                  <a:pt x="1544" y="968"/>
                  <a:pt x="1545" y="969"/>
                </a:cubicBezTo>
                <a:cubicBezTo>
                  <a:pt x="1545" y="969"/>
                  <a:pt x="1545" y="969"/>
                  <a:pt x="1546" y="967"/>
                </a:cubicBezTo>
                <a:cubicBezTo>
                  <a:pt x="1546" y="967"/>
                  <a:pt x="1546" y="967"/>
                  <a:pt x="1546" y="968"/>
                </a:cubicBezTo>
                <a:cubicBezTo>
                  <a:pt x="1546" y="968"/>
                  <a:pt x="1546" y="968"/>
                  <a:pt x="1546" y="970"/>
                </a:cubicBezTo>
                <a:cubicBezTo>
                  <a:pt x="1546" y="970"/>
                  <a:pt x="1546" y="970"/>
                  <a:pt x="1545" y="971"/>
                </a:cubicBezTo>
                <a:cubicBezTo>
                  <a:pt x="1545" y="971"/>
                  <a:pt x="1545" y="971"/>
                  <a:pt x="1545" y="972"/>
                </a:cubicBezTo>
                <a:cubicBezTo>
                  <a:pt x="1545" y="972"/>
                  <a:pt x="1545" y="972"/>
                  <a:pt x="1544" y="973"/>
                </a:cubicBezTo>
                <a:cubicBezTo>
                  <a:pt x="1544" y="973"/>
                  <a:pt x="1544" y="973"/>
                  <a:pt x="1545" y="973"/>
                </a:cubicBezTo>
                <a:cubicBezTo>
                  <a:pt x="1545" y="973"/>
                  <a:pt x="1545" y="973"/>
                  <a:pt x="1544" y="976"/>
                </a:cubicBezTo>
                <a:cubicBezTo>
                  <a:pt x="1544" y="976"/>
                  <a:pt x="1544" y="976"/>
                  <a:pt x="1544" y="977"/>
                </a:cubicBezTo>
                <a:cubicBezTo>
                  <a:pt x="1544" y="977"/>
                  <a:pt x="1544" y="977"/>
                  <a:pt x="1543" y="979"/>
                </a:cubicBezTo>
                <a:cubicBezTo>
                  <a:pt x="1543" y="979"/>
                  <a:pt x="1543" y="979"/>
                  <a:pt x="1542" y="982"/>
                </a:cubicBezTo>
                <a:cubicBezTo>
                  <a:pt x="1542" y="982"/>
                  <a:pt x="1542" y="982"/>
                  <a:pt x="1541" y="983"/>
                </a:cubicBezTo>
                <a:cubicBezTo>
                  <a:pt x="1541" y="983"/>
                  <a:pt x="1541" y="983"/>
                  <a:pt x="1541" y="984"/>
                </a:cubicBezTo>
                <a:cubicBezTo>
                  <a:pt x="1541" y="984"/>
                  <a:pt x="1541" y="984"/>
                  <a:pt x="1539" y="986"/>
                </a:cubicBezTo>
                <a:cubicBezTo>
                  <a:pt x="1539" y="986"/>
                  <a:pt x="1539" y="986"/>
                  <a:pt x="1538" y="987"/>
                </a:cubicBezTo>
                <a:cubicBezTo>
                  <a:pt x="1538" y="987"/>
                  <a:pt x="1538" y="987"/>
                  <a:pt x="1537" y="987"/>
                </a:cubicBezTo>
                <a:cubicBezTo>
                  <a:pt x="1537" y="987"/>
                  <a:pt x="1537" y="987"/>
                  <a:pt x="1537" y="988"/>
                </a:cubicBezTo>
                <a:cubicBezTo>
                  <a:pt x="1537" y="988"/>
                  <a:pt x="1537" y="988"/>
                  <a:pt x="1535" y="989"/>
                </a:cubicBezTo>
                <a:cubicBezTo>
                  <a:pt x="1535" y="989"/>
                  <a:pt x="1535" y="989"/>
                  <a:pt x="1534" y="990"/>
                </a:cubicBezTo>
                <a:cubicBezTo>
                  <a:pt x="1534" y="990"/>
                  <a:pt x="1534" y="990"/>
                  <a:pt x="1533" y="992"/>
                </a:cubicBezTo>
                <a:cubicBezTo>
                  <a:pt x="1533" y="992"/>
                  <a:pt x="1533" y="992"/>
                  <a:pt x="1532" y="994"/>
                </a:cubicBezTo>
                <a:cubicBezTo>
                  <a:pt x="1532" y="994"/>
                  <a:pt x="1532" y="994"/>
                  <a:pt x="1531" y="994"/>
                </a:cubicBezTo>
                <a:cubicBezTo>
                  <a:pt x="1531" y="994"/>
                  <a:pt x="1531" y="994"/>
                  <a:pt x="1530" y="996"/>
                </a:cubicBezTo>
                <a:cubicBezTo>
                  <a:pt x="1530" y="996"/>
                  <a:pt x="1530" y="996"/>
                  <a:pt x="1528" y="1000"/>
                </a:cubicBezTo>
                <a:cubicBezTo>
                  <a:pt x="1528" y="1000"/>
                  <a:pt x="1528" y="1000"/>
                  <a:pt x="1526" y="1002"/>
                </a:cubicBezTo>
                <a:cubicBezTo>
                  <a:pt x="1526" y="1002"/>
                  <a:pt x="1526" y="1002"/>
                  <a:pt x="1525" y="1004"/>
                </a:cubicBezTo>
                <a:cubicBezTo>
                  <a:pt x="1525" y="1004"/>
                  <a:pt x="1525" y="1004"/>
                  <a:pt x="1524" y="1004"/>
                </a:cubicBezTo>
                <a:cubicBezTo>
                  <a:pt x="1524" y="1004"/>
                  <a:pt x="1524" y="1004"/>
                  <a:pt x="1523" y="1005"/>
                </a:cubicBezTo>
                <a:cubicBezTo>
                  <a:pt x="1523" y="1005"/>
                  <a:pt x="1523" y="1005"/>
                  <a:pt x="1522" y="1005"/>
                </a:cubicBezTo>
                <a:cubicBezTo>
                  <a:pt x="1522" y="1005"/>
                  <a:pt x="1522" y="1005"/>
                  <a:pt x="1522" y="1006"/>
                </a:cubicBezTo>
                <a:cubicBezTo>
                  <a:pt x="1522" y="1006"/>
                  <a:pt x="1522" y="1006"/>
                  <a:pt x="1515" y="1012"/>
                </a:cubicBezTo>
                <a:cubicBezTo>
                  <a:pt x="1515" y="1012"/>
                  <a:pt x="1515" y="1012"/>
                  <a:pt x="1515" y="1013"/>
                </a:cubicBezTo>
                <a:cubicBezTo>
                  <a:pt x="1515" y="1013"/>
                  <a:pt x="1515" y="1013"/>
                  <a:pt x="1514" y="1014"/>
                </a:cubicBezTo>
                <a:cubicBezTo>
                  <a:pt x="1514" y="1014"/>
                  <a:pt x="1514" y="1014"/>
                  <a:pt x="1509" y="1017"/>
                </a:cubicBezTo>
                <a:cubicBezTo>
                  <a:pt x="1509" y="1017"/>
                  <a:pt x="1509" y="1017"/>
                  <a:pt x="1508" y="1018"/>
                </a:cubicBezTo>
                <a:cubicBezTo>
                  <a:pt x="1508" y="1018"/>
                  <a:pt x="1508" y="1018"/>
                  <a:pt x="1507" y="1018"/>
                </a:cubicBezTo>
                <a:cubicBezTo>
                  <a:pt x="1507" y="1018"/>
                  <a:pt x="1507" y="1018"/>
                  <a:pt x="1507" y="1019"/>
                </a:cubicBezTo>
                <a:cubicBezTo>
                  <a:pt x="1507" y="1019"/>
                  <a:pt x="1507" y="1019"/>
                  <a:pt x="1504" y="1019"/>
                </a:cubicBezTo>
                <a:cubicBezTo>
                  <a:pt x="1504" y="1019"/>
                  <a:pt x="1504" y="1019"/>
                  <a:pt x="1503" y="1020"/>
                </a:cubicBezTo>
                <a:cubicBezTo>
                  <a:pt x="1503" y="1020"/>
                  <a:pt x="1503" y="1020"/>
                  <a:pt x="1502" y="1020"/>
                </a:cubicBezTo>
                <a:cubicBezTo>
                  <a:pt x="1502" y="1020"/>
                  <a:pt x="1502" y="1020"/>
                  <a:pt x="1501" y="1020"/>
                </a:cubicBezTo>
                <a:cubicBezTo>
                  <a:pt x="1501" y="1020"/>
                  <a:pt x="1501" y="1020"/>
                  <a:pt x="1499" y="1020"/>
                </a:cubicBezTo>
                <a:cubicBezTo>
                  <a:pt x="1499" y="1020"/>
                  <a:pt x="1499" y="1020"/>
                  <a:pt x="1498" y="1020"/>
                </a:cubicBezTo>
                <a:cubicBezTo>
                  <a:pt x="1498" y="1020"/>
                  <a:pt x="1498" y="1020"/>
                  <a:pt x="1497" y="1022"/>
                </a:cubicBezTo>
                <a:cubicBezTo>
                  <a:pt x="1497" y="1022"/>
                  <a:pt x="1497" y="1022"/>
                  <a:pt x="1498" y="1022"/>
                </a:cubicBezTo>
                <a:cubicBezTo>
                  <a:pt x="1498" y="1022"/>
                  <a:pt x="1498" y="1022"/>
                  <a:pt x="1498" y="1023"/>
                </a:cubicBezTo>
                <a:cubicBezTo>
                  <a:pt x="1498" y="1023"/>
                  <a:pt x="1498" y="1023"/>
                  <a:pt x="1496" y="1023"/>
                </a:cubicBezTo>
                <a:cubicBezTo>
                  <a:pt x="1496" y="1023"/>
                  <a:pt x="1496" y="1023"/>
                  <a:pt x="1494" y="1022"/>
                </a:cubicBezTo>
                <a:cubicBezTo>
                  <a:pt x="1494" y="1022"/>
                  <a:pt x="1494" y="1022"/>
                  <a:pt x="1493" y="1022"/>
                </a:cubicBezTo>
                <a:cubicBezTo>
                  <a:pt x="1493" y="1022"/>
                  <a:pt x="1493" y="1022"/>
                  <a:pt x="1492" y="1023"/>
                </a:cubicBezTo>
                <a:cubicBezTo>
                  <a:pt x="1492" y="1023"/>
                  <a:pt x="1492" y="1023"/>
                  <a:pt x="1493" y="1024"/>
                </a:cubicBezTo>
                <a:cubicBezTo>
                  <a:pt x="1493" y="1024"/>
                  <a:pt x="1493" y="1024"/>
                  <a:pt x="1492" y="1024"/>
                </a:cubicBezTo>
                <a:cubicBezTo>
                  <a:pt x="1492" y="1024"/>
                  <a:pt x="1492" y="1024"/>
                  <a:pt x="1489" y="1023"/>
                </a:cubicBezTo>
                <a:cubicBezTo>
                  <a:pt x="1489" y="1023"/>
                  <a:pt x="1489" y="1023"/>
                  <a:pt x="1488" y="1023"/>
                </a:cubicBezTo>
                <a:cubicBezTo>
                  <a:pt x="1488" y="1023"/>
                  <a:pt x="1488" y="1023"/>
                  <a:pt x="1486" y="1022"/>
                </a:cubicBezTo>
                <a:cubicBezTo>
                  <a:pt x="1486" y="1022"/>
                  <a:pt x="1486" y="1022"/>
                  <a:pt x="1484" y="1022"/>
                </a:cubicBezTo>
                <a:cubicBezTo>
                  <a:pt x="1484" y="1022"/>
                  <a:pt x="1484" y="1022"/>
                  <a:pt x="1484" y="1023"/>
                </a:cubicBezTo>
                <a:cubicBezTo>
                  <a:pt x="1484" y="1023"/>
                  <a:pt x="1484" y="1023"/>
                  <a:pt x="1483" y="1023"/>
                </a:cubicBezTo>
                <a:cubicBezTo>
                  <a:pt x="1483" y="1023"/>
                  <a:pt x="1483" y="1023"/>
                  <a:pt x="1481" y="1022"/>
                </a:cubicBezTo>
                <a:cubicBezTo>
                  <a:pt x="1481" y="1022"/>
                  <a:pt x="1481" y="1022"/>
                  <a:pt x="1478" y="1022"/>
                </a:cubicBezTo>
                <a:cubicBezTo>
                  <a:pt x="1478" y="1022"/>
                  <a:pt x="1478" y="1022"/>
                  <a:pt x="1477" y="1023"/>
                </a:cubicBezTo>
                <a:cubicBezTo>
                  <a:pt x="1477" y="1023"/>
                  <a:pt x="1477" y="1023"/>
                  <a:pt x="1476" y="1024"/>
                </a:cubicBezTo>
                <a:cubicBezTo>
                  <a:pt x="1476" y="1024"/>
                  <a:pt x="1476" y="1024"/>
                  <a:pt x="1475" y="1024"/>
                </a:cubicBezTo>
                <a:cubicBezTo>
                  <a:pt x="1475" y="1024"/>
                  <a:pt x="1475" y="1024"/>
                  <a:pt x="1474" y="1024"/>
                </a:cubicBezTo>
                <a:cubicBezTo>
                  <a:pt x="1474" y="1024"/>
                  <a:pt x="1474" y="1024"/>
                  <a:pt x="1474" y="1025"/>
                </a:cubicBezTo>
                <a:cubicBezTo>
                  <a:pt x="1474" y="1025"/>
                  <a:pt x="1474" y="1025"/>
                  <a:pt x="1472" y="1025"/>
                </a:cubicBezTo>
                <a:cubicBezTo>
                  <a:pt x="1472" y="1025"/>
                  <a:pt x="1472" y="1025"/>
                  <a:pt x="1470" y="1025"/>
                </a:cubicBezTo>
                <a:cubicBezTo>
                  <a:pt x="1470" y="1025"/>
                  <a:pt x="1470" y="1025"/>
                  <a:pt x="1468" y="1025"/>
                </a:cubicBezTo>
                <a:cubicBezTo>
                  <a:pt x="1468" y="1025"/>
                  <a:pt x="1468" y="1025"/>
                  <a:pt x="1466" y="1025"/>
                </a:cubicBezTo>
                <a:cubicBezTo>
                  <a:pt x="1466" y="1025"/>
                  <a:pt x="1466" y="1025"/>
                  <a:pt x="1465" y="1026"/>
                </a:cubicBezTo>
                <a:cubicBezTo>
                  <a:pt x="1465" y="1026"/>
                  <a:pt x="1465" y="1026"/>
                  <a:pt x="1464" y="1027"/>
                </a:cubicBezTo>
                <a:cubicBezTo>
                  <a:pt x="1464" y="1027"/>
                  <a:pt x="1464" y="1027"/>
                  <a:pt x="1463" y="1028"/>
                </a:cubicBezTo>
                <a:cubicBezTo>
                  <a:pt x="1463" y="1028"/>
                  <a:pt x="1463" y="1028"/>
                  <a:pt x="1463" y="1027"/>
                </a:cubicBezTo>
                <a:cubicBezTo>
                  <a:pt x="1463" y="1027"/>
                  <a:pt x="1463" y="1027"/>
                  <a:pt x="1462" y="1028"/>
                </a:cubicBezTo>
                <a:cubicBezTo>
                  <a:pt x="1462" y="1028"/>
                  <a:pt x="1462" y="1028"/>
                  <a:pt x="1459" y="1026"/>
                </a:cubicBezTo>
                <a:cubicBezTo>
                  <a:pt x="1459" y="1026"/>
                  <a:pt x="1459" y="1026"/>
                  <a:pt x="1458" y="1026"/>
                </a:cubicBezTo>
                <a:cubicBezTo>
                  <a:pt x="1458" y="1026"/>
                  <a:pt x="1458" y="1026"/>
                  <a:pt x="1458" y="1025"/>
                </a:cubicBezTo>
                <a:cubicBezTo>
                  <a:pt x="1458" y="1025"/>
                  <a:pt x="1458" y="1025"/>
                  <a:pt x="1457" y="1024"/>
                </a:cubicBezTo>
                <a:cubicBezTo>
                  <a:pt x="1457" y="1024"/>
                  <a:pt x="1457" y="1024"/>
                  <a:pt x="1456" y="1025"/>
                </a:cubicBezTo>
                <a:cubicBezTo>
                  <a:pt x="1456" y="1025"/>
                  <a:pt x="1456" y="1025"/>
                  <a:pt x="1456" y="1024"/>
                </a:cubicBezTo>
                <a:cubicBezTo>
                  <a:pt x="1456" y="1024"/>
                  <a:pt x="1456" y="1024"/>
                  <a:pt x="1456" y="1023"/>
                </a:cubicBezTo>
                <a:cubicBezTo>
                  <a:pt x="1456" y="1023"/>
                  <a:pt x="1456" y="1023"/>
                  <a:pt x="1454" y="1023"/>
                </a:cubicBezTo>
                <a:cubicBezTo>
                  <a:pt x="1454" y="1023"/>
                  <a:pt x="1454" y="1023"/>
                  <a:pt x="1453" y="1023"/>
                </a:cubicBezTo>
                <a:cubicBezTo>
                  <a:pt x="1453" y="1023"/>
                  <a:pt x="1453" y="1023"/>
                  <a:pt x="1453" y="1022"/>
                </a:cubicBezTo>
                <a:cubicBezTo>
                  <a:pt x="1453" y="1022"/>
                  <a:pt x="1453" y="1022"/>
                  <a:pt x="1453" y="1020"/>
                </a:cubicBezTo>
                <a:cubicBezTo>
                  <a:pt x="1453" y="1020"/>
                  <a:pt x="1453" y="1020"/>
                  <a:pt x="1454" y="1019"/>
                </a:cubicBezTo>
                <a:cubicBezTo>
                  <a:pt x="1454" y="1019"/>
                  <a:pt x="1454" y="1019"/>
                  <a:pt x="1452" y="1017"/>
                </a:cubicBezTo>
                <a:cubicBezTo>
                  <a:pt x="1452" y="1017"/>
                  <a:pt x="1452" y="1017"/>
                  <a:pt x="1451" y="1016"/>
                </a:cubicBezTo>
                <a:cubicBezTo>
                  <a:pt x="1451" y="1016"/>
                  <a:pt x="1451" y="1016"/>
                  <a:pt x="1450" y="1014"/>
                </a:cubicBezTo>
                <a:cubicBezTo>
                  <a:pt x="1450" y="1014"/>
                  <a:pt x="1450" y="1014"/>
                  <a:pt x="1450" y="1012"/>
                </a:cubicBezTo>
                <a:cubicBezTo>
                  <a:pt x="1450" y="1012"/>
                  <a:pt x="1450" y="1012"/>
                  <a:pt x="1451" y="1012"/>
                </a:cubicBezTo>
                <a:cubicBezTo>
                  <a:pt x="1451" y="1012"/>
                  <a:pt x="1451" y="1012"/>
                  <a:pt x="1452" y="1013"/>
                </a:cubicBezTo>
                <a:cubicBezTo>
                  <a:pt x="1452" y="1013"/>
                  <a:pt x="1452" y="1013"/>
                  <a:pt x="1453" y="1012"/>
                </a:cubicBezTo>
                <a:cubicBezTo>
                  <a:pt x="1453" y="1012"/>
                  <a:pt x="1453" y="1012"/>
                  <a:pt x="1453" y="1010"/>
                </a:cubicBezTo>
                <a:cubicBezTo>
                  <a:pt x="1453" y="1010"/>
                  <a:pt x="1453" y="1010"/>
                  <a:pt x="1453" y="1008"/>
                </a:cubicBezTo>
                <a:cubicBezTo>
                  <a:pt x="1453" y="1008"/>
                  <a:pt x="1453" y="1008"/>
                  <a:pt x="1453" y="1007"/>
                </a:cubicBezTo>
                <a:cubicBezTo>
                  <a:pt x="1453" y="1007"/>
                  <a:pt x="1453" y="1007"/>
                  <a:pt x="1451" y="1004"/>
                </a:cubicBezTo>
                <a:cubicBezTo>
                  <a:pt x="1451" y="1004"/>
                  <a:pt x="1451" y="1004"/>
                  <a:pt x="1451" y="1002"/>
                </a:cubicBezTo>
                <a:cubicBezTo>
                  <a:pt x="1451" y="1002"/>
                  <a:pt x="1451" y="1002"/>
                  <a:pt x="1449" y="1000"/>
                </a:cubicBezTo>
                <a:cubicBezTo>
                  <a:pt x="1449" y="1000"/>
                  <a:pt x="1449" y="1000"/>
                  <a:pt x="1448" y="996"/>
                </a:cubicBezTo>
                <a:cubicBezTo>
                  <a:pt x="1448" y="996"/>
                  <a:pt x="1448" y="996"/>
                  <a:pt x="1447" y="993"/>
                </a:cubicBezTo>
                <a:cubicBezTo>
                  <a:pt x="1447" y="993"/>
                  <a:pt x="1447" y="993"/>
                  <a:pt x="1447" y="991"/>
                </a:cubicBezTo>
                <a:cubicBezTo>
                  <a:pt x="1447" y="991"/>
                  <a:pt x="1447" y="991"/>
                  <a:pt x="1446" y="987"/>
                </a:cubicBezTo>
                <a:cubicBezTo>
                  <a:pt x="1446" y="987"/>
                  <a:pt x="1446" y="987"/>
                  <a:pt x="1444" y="986"/>
                </a:cubicBezTo>
                <a:cubicBezTo>
                  <a:pt x="1444" y="986"/>
                  <a:pt x="1444" y="986"/>
                  <a:pt x="1443" y="984"/>
                </a:cubicBezTo>
                <a:cubicBezTo>
                  <a:pt x="1443" y="984"/>
                  <a:pt x="1443" y="984"/>
                  <a:pt x="1441" y="982"/>
                </a:cubicBezTo>
                <a:cubicBezTo>
                  <a:pt x="1441" y="982"/>
                  <a:pt x="1441" y="982"/>
                  <a:pt x="1441" y="981"/>
                </a:cubicBezTo>
                <a:cubicBezTo>
                  <a:pt x="1441" y="981"/>
                  <a:pt x="1441" y="981"/>
                  <a:pt x="1439" y="980"/>
                </a:cubicBezTo>
                <a:cubicBezTo>
                  <a:pt x="1439" y="980"/>
                  <a:pt x="1439" y="980"/>
                  <a:pt x="1438" y="977"/>
                </a:cubicBezTo>
                <a:cubicBezTo>
                  <a:pt x="1438" y="977"/>
                  <a:pt x="1438" y="977"/>
                  <a:pt x="1437" y="975"/>
                </a:cubicBezTo>
                <a:cubicBezTo>
                  <a:pt x="1437" y="975"/>
                  <a:pt x="1437" y="975"/>
                  <a:pt x="1437" y="973"/>
                </a:cubicBezTo>
                <a:cubicBezTo>
                  <a:pt x="1437" y="973"/>
                  <a:pt x="1437" y="973"/>
                  <a:pt x="1436" y="972"/>
                </a:cubicBezTo>
                <a:cubicBezTo>
                  <a:pt x="1436" y="972"/>
                  <a:pt x="1436" y="972"/>
                  <a:pt x="1436" y="971"/>
                </a:cubicBezTo>
                <a:cubicBezTo>
                  <a:pt x="1436" y="971"/>
                  <a:pt x="1436" y="971"/>
                  <a:pt x="1436" y="970"/>
                </a:cubicBezTo>
                <a:cubicBezTo>
                  <a:pt x="1436" y="970"/>
                  <a:pt x="1436" y="970"/>
                  <a:pt x="1436" y="969"/>
                </a:cubicBezTo>
                <a:cubicBezTo>
                  <a:pt x="1436" y="969"/>
                  <a:pt x="1436" y="969"/>
                  <a:pt x="1435" y="968"/>
                </a:cubicBezTo>
                <a:cubicBezTo>
                  <a:pt x="1435" y="968"/>
                  <a:pt x="1435" y="968"/>
                  <a:pt x="1434" y="965"/>
                </a:cubicBezTo>
                <a:cubicBezTo>
                  <a:pt x="1434" y="965"/>
                  <a:pt x="1434" y="965"/>
                  <a:pt x="1434" y="964"/>
                </a:cubicBezTo>
                <a:cubicBezTo>
                  <a:pt x="1434" y="964"/>
                  <a:pt x="1434" y="964"/>
                  <a:pt x="1434" y="962"/>
                </a:cubicBezTo>
                <a:cubicBezTo>
                  <a:pt x="1434" y="962"/>
                  <a:pt x="1434" y="962"/>
                  <a:pt x="1434" y="959"/>
                </a:cubicBezTo>
                <a:cubicBezTo>
                  <a:pt x="1434" y="959"/>
                  <a:pt x="1434" y="959"/>
                  <a:pt x="1432" y="954"/>
                </a:cubicBezTo>
                <a:cubicBezTo>
                  <a:pt x="1432" y="954"/>
                  <a:pt x="1432" y="954"/>
                  <a:pt x="1432" y="949"/>
                </a:cubicBezTo>
                <a:cubicBezTo>
                  <a:pt x="1432" y="949"/>
                  <a:pt x="1432" y="949"/>
                  <a:pt x="1431" y="946"/>
                </a:cubicBezTo>
                <a:cubicBezTo>
                  <a:pt x="1431" y="946"/>
                  <a:pt x="1431" y="946"/>
                  <a:pt x="1432" y="946"/>
                </a:cubicBezTo>
                <a:cubicBezTo>
                  <a:pt x="1432" y="946"/>
                  <a:pt x="1432" y="946"/>
                  <a:pt x="1432" y="943"/>
                </a:cubicBezTo>
                <a:cubicBezTo>
                  <a:pt x="1432" y="943"/>
                  <a:pt x="1432" y="943"/>
                  <a:pt x="1429" y="938"/>
                </a:cubicBezTo>
                <a:cubicBezTo>
                  <a:pt x="1429" y="938"/>
                  <a:pt x="1429" y="938"/>
                  <a:pt x="1429" y="937"/>
                </a:cubicBezTo>
                <a:cubicBezTo>
                  <a:pt x="1429" y="937"/>
                  <a:pt x="1429" y="937"/>
                  <a:pt x="1425" y="932"/>
                </a:cubicBezTo>
                <a:cubicBezTo>
                  <a:pt x="1425" y="932"/>
                  <a:pt x="1425" y="932"/>
                  <a:pt x="1425" y="929"/>
                </a:cubicBezTo>
                <a:cubicBezTo>
                  <a:pt x="1425" y="929"/>
                  <a:pt x="1425" y="929"/>
                  <a:pt x="1422" y="922"/>
                </a:cubicBezTo>
                <a:cubicBezTo>
                  <a:pt x="1422" y="922"/>
                  <a:pt x="1422" y="922"/>
                  <a:pt x="1420" y="919"/>
                </a:cubicBezTo>
                <a:cubicBezTo>
                  <a:pt x="1420" y="919"/>
                  <a:pt x="1420" y="919"/>
                  <a:pt x="1416" y="915"/>
                </a:cubicBezTo>
                <a:cubicBezTo>
                  <a:pt x="1416" y="915"/>
                  <a:pt x="1416" y="915"/>
                  <a:pt x="1416" y="910"/>
                </a:cubicBezTo>
                <a:cubicBezTo>
                  <a:pt x="1416" y="910"/>
                  <a:pt x="1416" y="910"/>
                  <a:pt x="1416" y="909"/>
                </a:cubicBezTo>
                <a:cubicBezTo>
                  <a:pt x="1416" y="909"/>
                  <a:pt x="1416" y="909"/>
                  <a:pt x="1416" y="907"/>
                </a:cubicBezTo>
                <a:cubicBezTo>
                  <a:pt x="1416" y="907"/>
                  <a:pt x="1416" y="907"/>
                  <a:pt x="1416" y="904"/>
                </a:cubicBezTo>
                <a:cubicBezTo>
                  <a:pt x="1416" y="904"/>
                  <a:pt x="1416" y="904"/>
                  <a:pt x="1416" y="902"/>
                </a:cubicBezTo>
                <a:cubicBezTo>
                  <a:pt x="1416" y="902"/>
                  <a:pt x="1416" y="902"/>
                  <a:pt x="1416" y="900"/>
                </a:cubicBezTo>
                <a:cubicBezTo>
                  <a:pt x="1416" y="900"/>
                  <a:pt x="1416" y="900"/>
                  <a:pt x="1418" y="898"/>
                </a:cubicBezTo>
                <a:cubicBezTo>
                  <a:pt x="1418" y="898"/>
                  <a:pt x="1418" y="898"/>
                  <a:pt x="1418" y="895"/>
                </a:cubicBezTo>
                <a:cubicBezTo>
                  <a:pt x="1418" y="895"/>
                  <a:pt x="1418" y="895"/>
                  <a:pt x="1420" y="893"/>
                </a:cubicBezTo>
                <a:cubicBezTo>
                  <a:pt x="1420" y="893"/>
                  <a:pt x="1420" y="893"/>
                  <a:pt x="1420" y="888"/>
                </a:cubicBezTo>
                <a:cubicBezTo>
                  <a:pt x="1420" y="888"/>
                  <a:pt x="1420" y="888"/>
                  <a:pt x="1421" y="886"/>
                </a:cubicBezTo>
                <a:cubicBezTo>
                  <a:pt x="1421" y="886"/>
                  <a:pt x="1421" y="886"/>
                  <a:pt x="1424" y="883"/>
                </a:cubicBezTo>
                <a:cubicBezTo>
                  <a:pt x="1424" y="883"/>
                  <a:pt x="1424" y="883"/>
                  <a:pt x="1424" y="881"/>
                </a:cubicBezTo>
                <a:cubicBezTo>
                  <a:pt x="1424" y="881"/>
                  <a:pt x="1424" y="881"/>
                  <a:pt x="1427" y="879"/>
                </a:cubicBezTo>
                <a:cubicBezTo>
                  <a:pt x="1427" y="879"/>
                  <a:pt x="1427" y="879"/>
                  <a:pt x="1428" y="879"/>
                </a:cubicBezTo>
                <a:cubicBezTo>
                  <a:pt x="1428" y="879"/>
                  <a:pt x="1428" y="879"/>
                  <a:pt x="1430" y="874"/>
                </a:cubicBezTo>
                <a:cubicBezTo>
                  <a:pt x="1430" y="874"/>
                  <a:pt x="1430" y="874"/>
                  <a:pt x="1430" y="869"/>
                </a:cubicBezTo>
                <a:cubicBezTo>
                  <a:pt x="1430" y="869"/>
                  <a:pt x="1430" y="869"/>
                  <a:pt x="1429" y="868"/>
                </a:cubicBezTo>
                <a:cubicBezTo>
                  <a:pt x="1429" y="868"/>
                  <a:pt x="1429" y="868"/>
                  <a:pt x="1429" y="867"/>
                </a:cubicBezTo>
                <a:cubicBezTo>
                  <a:pt x="1429" y="867"/>
                  <a:pt x="1429" y="867"/>
                  <a:pt x="1427" y="863"/>
                </a:cubicBezTo>
                <a:cubicBezTo>
                  <a:pt x="1427" y="863"/>
                  <a:pt x="1427" y="863"/>
                  <a:pt x="1427" y="861"/>
                </a:cubicBezTo>
                <a:cubicBezTo>
                  <a:pt x="1427" y="861"/>
                  <a:pt x="1427" y="861"/>
                  <a:pt x="1426" y="860"/>
                </a:cubicBezTo>
                <a:cubicBezTo>
                  <a:pt x="1426" y="860"/>
                  <a:pt x="1426" y="860"/>
                  <a:pt x="1426" y="858"/>
                </a:cubicBezTo>
                <a:cubicBezTo>
                  <a:pt x="1426" y="858"/>
                  <a:pt x="1426" y="858"/>
                  <a:pt x="1425" y="857"/>
                </a:cubicBezTo>
                <a:cubicBezTo>
                  <a:pt x="1425" y="857"/>
                  <a:pt x="1425" y="857"/>
                  <a:pt x="1427" y="855"/>
                </a:cubicBezTo>
                <a:cubicBezTo>
                  <a:pt x="1427" y="855"/>
                  <a:pt x="1427" y="855"/>
                  <a:pt x="1427" y="852"/>
                </a:cubicBezTo>
                <a:cubicBezTo>
                  <a:pt x="1427" y="852"/>
                  <a:pt x="1427" y="852"/>
                  <a:pt x="1425" y="849"/>
                </a:cubicBezTo>
                <a:cubicBezTo>
                  <a:pt x="1425" y="849"/>
                  <a:pt x="1425" y="849"/>
                  <a:pt x="1425" y="844"/>
                </a:cubicBezTo>
                <a:cubicBezTo>
                  <a:pt x="1425" y="844"/>
                  <a:pt x="1425" y="844"/>
                  <a:pt x="1422" y="841"/>
                </a:cubicBezTo>
                <a:cubicBezTo>
                  <a:pt x="1422" y="841"/>
                  <a:pt x="1422" y="841"/>
                  <a:pt x="1422" y="840"/>
                </a:cubicBezTo>
                <a:cubicBezTo>
                  <a:pt x="1422" y="840"/>
                  <a:pt x="1422" y="840"/>
                  <a:pt x="1421" y="839"/>
                </a:cubicBezTo>
                <a:cubicBezTo>
                  <a:pt x="1421" y="839"/>
                  <a:pt x="1421" y="839"/>
                  <a:pt x="1423" y="838"/>
                </a:cubicBezTo>
                <a:cubicBezTo>
                  <a:pt x="1423" y="838"/>
                  <a:pt x="1423" y="838"/>
                  <a:pt x="1422" y="837"/>
                </a:cubicBezTo>
                <a:cubicBezTo>
                  <a:pt x="1422" y="837"/>
                  <a:pt x="1422" y="837"/>
                  <a:pt x="1420" y="837"/>
                </a:cubicBezTo>
                <a:cubicBezTo>
                  <a:pt x="1420" y="837"/>
                  <a:pt x="1420" y="837"/>
                  <a:pt x="1420" y="836"/>
                </a:cubicBezTo>
                <a:cubicBezTo>
                  <a:pt x="1420" y="836"/>
                  <a:pt x="1420" y="836"/>
                  <a:pt x="1420" y="834"/>
                </a:cubicBezTo>
                <a:cubicBezTo>
                  <a:pt x="1420" y="834"/>
                  <a:pt x="1420" y="834"/>
                  <a:pt x="1420" y="833"/>
                </a:cubicBezTo>
                <a:cubicBezTo>
                  <a:pt x="1420" y="833"/>
                  <a:pt x="1420" y="833"/>
                  <a:pt x="1419" y="832"/>
                </a:cubicBezTo>
                <a:cubicBezTo>
                  <a:pt x="1419" y="832"/>
                  <a:pt x="1419" y="832"/>
                  <a:pt x="1418" y="831"/>
                </a:cubicBezTo>
                <a:cubicBezTo>
                  <a:pt x="1418" y="831"/>
                  <a:pt x="1418" y="831"/>
                  <a:pt x="1419" y="830"/>
                </a:cubicBezTo>
                <a:cubicBezTo>
                  <a:pt x="1419" y="830"/>
                  <a:pt x="1419" y="830"/>
                  <a:pt x="1418" y="829"/>
                </a:cubicBezTo>
                <a:cubicBezTo>
                  <a:pt x="1418" y="829"/>
                  <a:pt x="1418" y="829"/>
                  <a:pt x="1417" y="828"/>
                </a:cubicBezTo>
                <a:cubicBezTo>
                  <a:pt x="1417" y="828"/>
                  <a:pt x="1417" y="828"/>
                  <a:pt x="1416" y="826"/>
                </a:cubicBezTo>
                <a:cubicBezTo>
                  <a:pt x="1416" y="826"/>
                  <a:pt x="1416" y="826"/>
                  <a:pt x="1415" y="826"/>
                </a:cubicBezTo>
                <a:cubicBezTo>
                  <a:pt x="1415" y="826"/>
                  <a:pt x="1415" y="826"/>
                  <a:pt x="1414" y="824"/>
                </a:cubicBezTo>
                <a:cubicBezTo>
                  <a:pt x="1414" y="824"/>
                  <a:pt x="1414" y="824"/>
                  <a:pt x="1413" y="824"/>
                </a:cubicBezTo>
                <a:cubicBezTo>
                  <a:pt x="1413" y="824"/>
                  <a:pt x="1413" y="824"/>
                  <a:pt x="1412" y="823"/>
                </a:cubicBezTo>
                <a:cubicBezTo>
                  <a:pt x="1412" y="823"/>
                  <a:pt x="1412" y="823"/>
                  <a:pt x="1410" y="822"/>
                </a:cubicBezTo>
                <a:cubicBezTo>
                  <a:pt x="1410" y="822"/>
                  <a:pt x="1410" y="822"/>
                  <a:pt x="1409" y="820"/>
                </a:cubicBezTo>
                <a:cubicBezTo>
                  <a:pt x="1409" y="820"/>
                  <a:pt x="1409" y="820"/>
                  <a:pt x="1407" y="818"/>
                </a:cubicBezTo>
                <a:cubicBezTo>
                  <a:pt x="1407" y="818"/>
                  <a:pt x="1407" y="818"/>
                  <a:pt x="1405" y="816"/>
                </a:cubicBezTo>
                <a:cubicBezTo>
                  <a:pt x="1405" y="816"/>
                  <a:pt x="1405" y="816"/>
                  <a:pt x="1404" y="814"/>
                </a:cubicBezTo>
                <a:cubicBezTo>
                  <a:pt x="1404" y="814"/>
                  <a:pt x="1404" y="814"/>
                  <a:pt x="1403" y="813"/>
                </a:cubicBezTo>
                <a:cubicBezTo>
                  <a:pt x="1403" y="813"/>
                  <a:pt x="1403" y="813"/>
                  <a:pt x="1402" y="812"/>
                </a:cubicBezTo>
                <a:cubicBezTo>
                  <a:pt x="1402" y="812"/>
                  <a:pt x="1402" y="812"/>
                  <a:pt x="1402" y="810"/>
                </a:cubicBezTo>
                <a:cubicBezTo>
                  <a:pt x="1402" y="810"/>
                  <a:pt x="1402" y="810"/>
                  <a:pt x="1401" y="809"/>
                </a:cubicBezTo>
                <a:cubicBezTo>
                  <a:pt x="1401" y="809"/>
                  <a:pt x="1401" y="809"/>
                  <a:pt x="1401" y="808"/>
                </a:cubicBezTo>
                <a:cubicBezTo>
                  <a:pt x="1401" y="808"/>
                  <a:pt x="1401" y="808"/>
                  <a:pt x="1400" y="807"/>
                </a:cubicBezTo>
                <a:cubicBezTo>
                  <a:pt x="1400" y="807"/>
                  <a:pt x="1400" y="807"/>
                  <a:pt x="1399" y="804"/>
                </a:cubicBezTo>
                <a:cubicBezTo>
                  <a:pt x="1399" y="804"/>
                  <a:pt x="1399" y="804"/>
                  <a:pt x="1401" y="804"/>
                </a:cubicBezTo>
                <a:cubicBezTo>
                  <a:pt x="1401" y="804"/>
                  <a:pt x="1401" y="804"/>
                  <a:pt x="1402" y="803"/>
                </a:cubicBezTo>
                <a:cubicBezTo>
                  <a:pt x="1402" y="803"/>
                  <a:pt x="1402" y="803"/>
                  <a:pt x="1402" y="800"/>
                </a:cubicBezTo>
                <a:cubicBezTo>
                  <a:pt x="1402" y="800"/>
                  <a:pt x="1402" y="800"/>
                  <a:pt x="1402" y="798"/>
                </a:cubicBezTo>
                <a:cubicBezTo>
                  <a:pt x="1402" y="798"/>
                  <a:pt x="1402" y="798"/>
                  <a:pt x="1403" y="799"/>
                </a:cubicBezTo>
                <a:cubicBezTo>
                  <a:pt x="1403" y="799"/>
                  <a:pt x="1403" y="799"/>
                  <a:pt x="1406" y="798"/>
                </a:cubicBezTo>
                <a:cubicBezTo>
                  <a:pt x="1406" y="798"/>
                  <a:pt x="1406" y="798"/>
                  <a:pt x="1404" y="798"/>
                </a:cubicBezTo>
                <a:cubicBezTo>
                  <a:pt x="1404" y="798"/>
                  <a:pt x="1404" y="798"/>
                  <a:pt x="1403" y="796"/>
                </a:cubicBezTo>
                <a:cubicBezTo>
                  <a:pt x="1403" y="796"/>
                  <a:pt x="1403" y="796"/>
                  <a:pt x="1404" y="795"/>
                </a:cubicBezTo>
                <a:cubicBezTo>
                  <a:pt x="1404" y="795"/>
                  <a:pt x="1404" y="795"/>
                  <a:pt x="1404" y="794"/>
                </a:cubicBezTo>
                <a:cubicBezTo>
                  <a:pt x="1404" y="794"/>
                  <a:pt x="1404" y="794"/>
                  <a:pt x="1404" y="793"/>
                </a:cubicBezTo>
                <a:cubicBezTo>
                  <a:pt x="1404" y="793"/>
                  <a:pt x="1404" y="793"/>
                  <a:pt x="1402" y="793"/>
                </a:cubicBezTo>
                <a:cubicBezTo>
                  <a:pt x="1402" y="793"/>
                  <a:pt x="1402" y="793"/>
                  <a:pt x="1404" y="790"/>
                </a:cubicBezTo>
                <a:cubicBezTo>
                  <a:pt x="1404" y="790"/>
                  <a:pt x="1404" y="790"/>
                  <a:pt x="1406" y="787"/>
                </a:cubicBezTo>
                <a:cubicBezTo>
                  <a:pt x="1406" y="787"/>
                  <a:pt x="1406" y="787"/>
                  <a:pt x="1405" y="786"/>
                </a:cubicBezTo>
                <a:cubicBezTo>
                  <a:pt x="1405" y="786"/>
                  <a:pt x="1405" y="786"/>
                  <a:pt x="1406" y="786"/>
                </a:cubicBezTo>
                <a:cubicBezTo>
                  <a:pt x="1406" y="786"/>
                  <a:pt x="1406" y="786"/>
                  <a:pt x="1407" y="785"/>
                </a:cubicBezTo>
                <a:cubicBezTo>
                  <a:pt x="1407" y="785"/>
                  <a:pt x="1407" y="785"/>
                  <a:pt x="1406" y="784"/>
                </a:cubicBezTo>
                <a:cubicBezTo>
                  <a:pt x="1406" y="784"/>
                  <a:pt x="1406" y="784"/>
                  <a:pt x="1407" y="782"/>
                </a:cubicBezTo>
                <a:cubicBezTo>
                  <a:pt x="1407" y="782"/>
                  <a:pt x="1407" y="782"/>
                  <a:pt x="1406" y="780"/>
                </a:cubicBezTo>
                <a:cubicBezTo>
                  <a:pt x="1406" y="780"/>
                  <a:pt x="1406" y="780"/>
                  <a:pt x="1405" y="778"/>
                </a:cubicBezTo>
                <a:cubicBezTo>
                  <a:pt x="1405" y="778"/>
                  <a:pt x="1405" y="778"/>
                  <a:pt x="1405" y="776"/>
                </a:cubicBezTo>
                <a:cubicBezTo>
                  <a:pt x="1405" y="776"/>
                  <a:pt x="1405" y="776"/>
                  <a:pt x="1406" y="775"/>
                </a:cubicBezTo>
                <a:cubicBezTo>
                  <a:pt x="1406" y="775"/>
                  <a:pt x="1406" y="775"/>
                  <a:pt x="1405" y="774"/>
                </a:cubicBezTo>
                <a:cubicBezTo>
                  <a:pt x="1405" y="774"/>
                  <a:pt x="1405" y="774"/>
                  <a:pt x="1403" y="775"/>
                </a:cubicBezTo>
                <a:cubicBezTo>
                  <a:pt x="1403" y="775"/>
                  <a:pt x="1403" y="775"/>
                  <a:pt x="1402" y="774"/>
                </a:cubicBezTo>
                <a:cubicBezTo>
                  <a:pt x="1402" y="774"/>
                  <a:pt x="1402" y="774"/>
                  <a:pt x="1401" y="774"/>
                </a:cubicBezTo>
                <a:cubicBezTo>
                  <a:pt x="1401" y="774"/>
                  <a:pt x="1401" y="774"/>
                  <a:pt x="1401" y="770"/>
                </a:cubicBezTo>
                <a:cubicBezTo>
                  <a:pt x="1401" y="770"/>
                  <a:pt x="1401" y="770"/>
                  <a:pt x="1400" y="771"/>
                </a:cubicBezTo>
                <a:cubicBezTo>
                  <a:pt x="1400" y="771"/>
                  <a:pt x="1400" y="771"/>
                  <a:pt x="1399" y="770"/>
                </a:cubicBezTo>
                <a:cubicBezTo>
                  <a:pt x="1399" y="770"/>
                  <a:pt x="1399" y="770"/>
                  <a:pt x="1398" y="770"/>
                </a:cubicBezTo>
                <a:cubicBezTo>
                  <a:pt x="1398" y="770"/>
                  <a:pt x="1398" y="770"/>
                  <a:pt x="1397" y="769"/>
                </a:cubicBezTo>
                <a:cubicBezTo>
                  <a:pt x="1397" y="769"/>
                  <a:pt x="1397" y="769"/>
                  <a:pt x="1396" y="771"/>
                </a:cubicBezTo>
                <a:cubicBezTo>
                  <a:pt x="1396" y="771"/>
                  <a:pt x="1396" y="771"/>
                  <a:pt x="1395" y="771"/>
                </a:cubicBezTo>
                <a:cubicBezTo>
                  <a:pt x="1395" y="771"/>
                  <a:pt x="1395" y="771"/>
                  <a:pt x="1394" y="771"/>
                </a:cubicBezTo>
                <a:cubicBezTo>
                  <a:pt x="1394" y="771"/>
                  <a:pt x="1394" y="771"/>
                  <a:pt x="1391" y="772"/>
                </a:cubicBezTo>
                <a:cubicBezTo>
                  <a:pt x="1391" y="772"/>
                  <a:pt x="1391" y="772"/>
                  <a:pt x="1390" y="772"/>
                </a:cubicBezTo>
                <a:cubicBezTo>
                  <a:pt x="1390" y="772"/>
                  <a:pt x="1390" y="772"/>
                  <a:pt x="1389" y="772"/>
                </a:cubicBezTo>
                <a:cubicBezTo>
                  <a:pt x="1389" y="772"/>
                  <a:pt x="1389" y="772"/>
                  <a:pt x="1383" y="773"/>
                </a:cubicBezTo>
                <a:cubicBezTo>
                  <a:pt x="1383" y="773"/>
                  <a:pt x="1383" y="773"/>
                  <a:pt x="1380" y="772"/>
                </a:cubicBezTo>
                <a:cubicBezTo>
                  <a:pt x="1380" y="772"/>
                  <a:pt x="1380" y="772"/>
                  <a:pt x="1379" y="771"/>
                </a:cubicBezTo>
                <a:cubicBezTo>
                  <a:pt x="1379" y="771"/>
                  <a:pt x="1379" y="771"/>
                  <a:pt x="1378" y="768"/>
                </a:cubicBezTo>
                <a:cubicBezTo>
                  <a:pt x="1378" y="768"/>
                  <a:pt x="1378" y="768"/>
                  <a:pt x="1377" y="768"/>
                </a:cubicBezTo>
                <a:cubicBezTo>
                  <a:pt x="1377" y="768"/>
                  <a:pt x="1377" y="768"/>
                  <a:pt x="1377" y="766"/>
                </a:cubicBezTo>
                <a:cubicBezTo>
                  <a:pt x="1377" y="766"/>
                  <a:pt x="1377" y="766"/>
                  <a:pt x="1376" y="763"/>
                </a:cubicBezTo>
                <a:cubicBezTo>
                  <a:pt x="1376" y="763"/>
                  <a:pt x="1376" y="763"/>
                  <a:pt x="1373" y="760"/>
                </a:cubicBezTo>
                <a:cubicBezTo>
                  <a:pt x="1373" y="760"/>
                  <a:pt x="1373" y="760"/>
                  <a:pt x="1369" y="758"/>
                </a:cubicBezTo>
                <a:cubicBezTo>
                  <a:pt x="1369" y="758"/>
                  <a:pt x="1369" y="758"/>
                  <a:pt x="1367" y="759"/>
                </a:cubicBezTo>
                <a:cubicBezTo>
                  <a:pt x="1367" y="759"/>
                  <a:pt x="1367" y="759"/>
                  <a:pt x="1364" y="758"/>
                </a:cubicBezTo>
                <a:cubicBezTo>
                  <a:pt x="1364" y="758"/>
                  <a:pt x="1364" y="758"/>
                  <a:pt x="1360" y="760"/>
                </a:cubicBezTo>
                <a:cubicBezTo>
                  <a:pt x="1360" y="760"/>
                  <a:pt x="1360" y="760"/>
                  <a:pt x="1357" y="759"/>
                </a:cubicBezTo>
                <a:cubicBezTo>
                  <a:pt x="1357" y="759"/>
                  <a:pt x="1357" y="759"/>
                  <a:pt x="1353" y="761"/>
                </a:cubicBezTo>
                <a:cubicBezTo>
                  <a:pt x="1353" y="761"/>
                  <a:pt x="1353" y="761"/>
                  <a:pt x="1349" y="762"/>
                </a:cubicBezTo>
                <a:cubicBezTo>
                  <a:pt x="1349" y="762"/>
                  <a:pt x="1349" y="762"/>
                  <a:pt x="1346" y="763"/>
                </a:cubicBezTo>
                <a:cubicBezTo>
                  <a:pt x="1346" y="763"/>
                  <a:pt x="1346" y="763"/>
                  <a:pt x="1343" y="766"/>
                </a:cubicBezTo>
                <a:cubicBezTo>
                  <a:pt x="1343" y="766"/>
                  <a:pt x="1343" y="766"/>
                  <a:pt x="1339" y="766"/>
                </a:cubicBezTo>
                <a:cubicBezTo>
                  <a:pt x="1339" y="766"/>
                  <a:pt x="1339" y="766"/>
                  <a:pt x="1334" y="769"/>
                </a:cubicBezTo>
                <a:cubicBezTo>
                  <a:pt x="1334" y="769"/>
                  <a:pt x="1334" y="769"/>
                  <a:pt x="1331" y="768"/>
                </a:cubicBezTo>
                <a:cubicBezTo>
                  <a:pt x="1331" y="768"/>
                  <a:pt x="1331" y="768"/>
                  <a:pt x="1328" y="767"/>
                </a:cubicBezTo>
                <a:cubicBezTo>
                  <a:pt x="1328" y="767"/>
                  <a:pt x="1328" y="767"/>
                  <a:pt x="1327" y="765"/>
                </a:cubicBezTo>
                <a:cubicBezTo>
                  <a:pt x="1327" y="765"/>
                  <a:pt x="1327" y="765"/>
                  <a:pt x="1326" y="766"/>
                </a:cubicBezTo>
                <a:cubicBezTo>
                  <a:pt x="1326" y="766"/>
                  <a:pt x="1326" y="766"/>
                  <a:pt x="1325" y="767"/>
                </a:cubicBezTo>
                <a:cubicBezTo>
                  <a:pt x="1325" y="767"/>
                  <a:pt x="1325" y="767"/>
                  <a:pt x="1322" y="766"/>
                </a:cubicBezTo>
                <a:cubicBezTo>
                  <a:pt x="1322" y="766"/>
                  <a:pt x="1322" y="766"/>
                  <a:pt x="1319" y="767"/>
                </a:cubicBezTo>
                <a:cubicBezTo>
                  <a:pt x="1319" y="767"/>
                  <a:pt x="1319" y="767"/>
                  <a:pt x="1311" y="767"/>
                </a:cubicBezTo>
                <a:cubicBezTo>
                  <a:pt x="1311" y="767"/>
                  <a:pt x="1311" y="767"/>
                  <a:pt x="1309" y="767"/>
                </a:cubicBezTo>
                <a:cubicBezTo>
                  <a:pt x="1309" y="767"/>
                  <a:pt x="1309" y="767"/>
                  <a:pt x="1309" y="768"/>
                </a:cubicBezTo>
                <a:cubicBezTo>
                  <a:pt x="1309" y="768"/>
                  <a:pt x="1309" y="768"/>
                  <a:pt x="1304" y="769"/>
                </a:cubicBezTo>
                <a:cubicBezTo>
                  <a:pt x="1304" y="769"/>
                  <a:pt x="1304" y="769"/>
                  <a:pt x="1304" y="770"/>
                </a:cubicBezTo>
                <a:cubicBezTo>
                  <a:pt x="1304" y="770"/>
                  <a:pt x="1304" y="770"/>
                  <a:pt x="1302" y="770"/>
                </a:cubicBezTo>
                <a:cubicBezTo>
                  <a:pt x="1302" y="770"/>
                  <a:pt x="1302" y="770"/>
                  <a:pt x="1300" y="772"/>
                </a:cubicBezTo>
                <a:cubicBezTo>
                  <a:pt x="1300" y="772"/>
                  <a:pt x="1300" y="772"/>
                  <a:pt x="1293" y="769"/>
                </a:cubicBezTo>
                <a:cubicBezTo>
                  <a:pt x="1293" y="769"/>
                  <a:pt x="1293" y="769"/>
                  <a:pt x="1289" y="766"/>
                </a:cubicBezTo>
                <a:cubicBezTo>
                  <a:pt x="1289" y="766"/>
                  <a:pt x="1289" y="766"/>
                  <a:pt x="1287" y="766"/>
                </a:cubicBezTo>
                <a:cubicBezTo>
                  <a:pt x="1287" y="766"/>
                  <a:pt x="1287" y="766"/>
                  <a:pt x="1283" y="762"/>
                </a:cubicBezTo>
                <a:cubicBezTo>
                  <a:pt x="1283" y="762"/>
                  <a:pt x="1283" y="762"/>
                  <a:pt x="1281" y="760"/>
                </a:cubicBezTo>
                <a:cubicBezTo>
                  <a:pt x="1281" y="760"/>
                  <a:pt x="1281" y="760"/>
                  <a:pt x="1280" y="760"/>
                </a:cubicBezTo>
                <a:cubicBezTo>
                  <a:pt x="1280" y="760"/>
                  <a:pt x="1280" y="760"/>
                  <a:pt x="1278" y="758"/>
                </a:cubicBezTo>
                <a:cubicBezTo>
                  <a:pt x="1278" y="758"/>
                  <a:pt x="1278" y="758"/>
                  <a:pt x="1277" y="757"/>
                </a:cubicBezTo>
                <a:cubicBezTo>
                  <a:pt x="1277" y="757"/>
                  <a:pt x="1277" y="757"/>
                  <a:pt x="1278" y="756"/>
                </a:cubicBezTo>
                <a:cubicBezTo>
                  <a:pt x="1278" y="756"/>
                  <a:pt x="1278" y="756"/>
                  <a:pt x="1277" y="756"/>
                </a:cubicBezTo>
                <a:cubicBezTo>
                  <a:pt x="1277" y="756"/>
                  <a:pt x="1277" y="756"/>
                  <a:pt x="1275" y="756"/>
                </a:cubicBezTo>
                <a:cubicBezTo>
                  <a:pt x="1275" y="756"/>
                  <a:pt x="1275" y="756"/>
                  <a:pt x="1274" y="756"/>
                </a:cubicBezTo>
                <a:cubicBezTo>
                  <a:pt x="1274" y="756"/>
                  <a:pt x="1274" y="756"/>
                  <a:pt x="1271" y="754"/>
                </a:cubicBezTo>
                <a:cubicBezTo>
                  <a:pt x="1271" y="754"/>
                  <a:pt x="1271" y="754"/>
                  <a:pt x="1270" y="754"/>
                </a:cubicBezTo>
                <a:cubicBezTo>
                  <a:pt x="1270" y="754"/>
                  <a:pt x="1270" y="754"/>
                  <a:pt x="1270" y="753"/>
                </a:cubicBezTo>
                <a:cubicBezTo>
                  <a:pt x="1270" y="753"/>
                  <a:pt x="1270" y="753"/>
                  <a:pt x="1269" y="752"/>
                </a:cubicBezTo>
                <a:cubicBezTo>
                  <a:pt x="1269" y="752"/>
                  <a:pt x="1269" y="752"/>
                  <a:pt x="1268" y="751"/>
                </a:cubicBezTo>
                <a:cubicBezTo>
                  <a:pt x="1268" y="751"/>
                  <a:pt x="1268" y="751"/>
                  <a:pt x="1269" y="750"/>
                </a:cubicBezTo>
                <a:cubicBezTo>
                  <a:pt x="1269" y="750"/>
                  <a:pt x="1269" y="750"/>
                  <a:pt x="1267" y="750"/>
                </a:cubicBezTo>
                <a:cubicBezTo>
                  <a:pt x="1267" y="750"/>
                  <a:pt x="1267" y="750"/>
                  <a:pt x="1266" y="749"/>
                </a:cubicBezTo>
                <a:cubicBezTo>
                  <a:pt x="1266" y="749"/>
                  <a:pt x="1266" y="749"/>
                  <a:pt x="1266" y="747"/>
                </a:cubicBezTo>
                <a:cubicBezTo>
                  <a:pt x="1266" y="747"/>
                  <a:pt x="1266" y="747"/>
                  <a:pt x="1265" y="745"/>
                </a:cubicBezTo>
                <a:cubicBezTo>
                  <a:pt x="1265" y="745"/>
                  <a:pt x="1265" y="745"/>
                  <a:pt x="1264" y="745"/>
                </a:cubicBezTo>
                <a:cubicBezTo>
                  <a:pt x="1264" y="745"/>
                  <a:pt x="1264" y="745"/>
                  <a:pt x="1264" y="744"/>
                </a:cubicBezTo>
                <a:cubicBezTo>
                  <a:pt x="1264" y="744"/>
                  <a:pt x="1264" y="744"/>
                  <a:pt x="1265" y="743"/>
                </a:cubicBezTo>
                <a:cubicBezTo>
                  <a:pt x="1265" y="743"/>
                  <a:pt x="1265" y="743"/>
                  <a:pt x="1264" y="742"/>
                </a:cubicBezTo>
                <a:cubicBezTo>
                  <a:pt x="1264" y="742"/>
                  <a:pt x="1264" y="742"/>
                  <a:pt x="1264" y="741"/>
                </a:cubicBezTo>
                <a:cubicBezTo>
                  <a:pt x="1264" y="741"/>
                  <a:pt x="1264" y="741"/>
                  <a:pt x="1264" y="740"/>
                </a:cubicBezTo>
                <a:cubicBezTo>
                  <a:pt x="1264" y="740"/>
                  <a:pt x="1264" y="740"/>
                  <a:pt x="1263" y="739"/>
                </a:cubicBezTo>
                <a:cubicBezTo>
                  <a:pt x="1263" y="739"/>
                  <a:pt x="1263" y="739"/>
                  <a:pt x="1262" y="738"/>
                </a:cubicBezTo>
                <a:cubicBezTo>
                  <a:pt x="1262" y="738"/>
                  <a:pt x="1262" y="738"/>
                  <a:pt x="1261" y="736"/>
                </a:cubicBezTo>
                <a:cubicBezTo>
                  <a:pt x="1261" y="736"/>
                  <a:pt x="1261" y="736"/>
                  <a:pt x="1260" y="736"/>
                </a:cubicBezTo>
                <a:cubicBezTo>
                  <a:pt x="1260" y="736"/>
                  <a:pt x="1260" y="736"/>
                  <a:pt x="1259" y="736"/>
                </a:cubicBezTo>
                <a:cubicBezTo>
                  <a:pt x="1259" y="736"/>
                  <a:pt x="1259" y="736"/>
                  <a:pt x="1259" y="735"/>
                </a:cubicBezTo>
                <a:cubicBezTo>
                  <a:pt x="1259" y="735"/>
                  <a:pt x="1259" y="735"/>
                  <a:pt x="1260" y="734"/>
                </a:cubicBezTo>
                <a:cubicBezTo>
                  <a:pt x="1260" y="734"/>
                  <a:pt x="1260" y="734"/>
                  <a:pt x="1259" y="734"/>
                </a:cubicBezTo>
                <a:cubicBezTo>
                  <a:pt x="1259" y="734"/>
                  <a:pt x="1259" y="734"/>
                  <a:pt x="1258" y="735"/>
                </a:cubicBezTo>
                <a:cubicBezTo>
                  <a:pt x="1258" y="735"/>
                  <a:pt x="1258" y="735"/>
                  <a:pt x="1257" y="734"/>
                </a:cubicBezTo>
                <a:cubicBezTo>
                  <a:pt x="1257" y="734"/>
                  <a:pt x="1257" y="734"/>
                  <a:pt x="1256" y="734"/>
                </a:cubicBezTo>
                <a:cubicBezTo>
                  <a:pt x="1256" y="734"/>
                  <a:pt x="1256" y="734"/>
                  <a:pt x="1254" y="732"/>
                </a:cubicBezTo>
                <a:cubicBezTo>
                  <a:pt x="1254" y="732"/>
                  <a:pt x="1254" y="732"/>
                  <a:pt x="1255" y="730"/>
                </a:cubicBezTo>
                <a:cubicBezTo>
                  <a:pt x="1255" y="730"/>
                  <a:pt x="1255" y="730"/>
                  <a:pt x="1254" y="729"/>
                </a:cubicBezTo>
                <a:cubicBezTo>
                  <a:pt x="1254" y="729"/>
                  <a:pt x="1254" y="729"/>
                  <a:pt x="1252" y="729"/>
                </a:cubicBezTo>
                <a:cubicBezTo>
                  <a:pt x="1252" y="729"/>
                  <a:pt x="1252" y="729"/>
                  <a:pt x="1252" y="728"/>
                </a:cubicBezTo>
                <a:cubicBezTo>
                  <a:pt x="1252" y="728"/>
                  <a:pt x="1252" y="728"/>
                  <a:pt x="1250" y="728"/>
                </a:cubicBezTo>
                <a:cubicBezTo>
                  <a:pt x="1250" y="728"/>
                  <a:pt x="1250" y="728"/>
                  <a:pt x="1251" y="726"/>
                </a:cubicBezTo>
                <a:cubicBezTo>
                  <a:pt x="1251" y="726"/>
                  <a:pt x="1251" y="726"/>
                  <a:pt x="1250" y="725"/>
                </a:cubicBezTo>
                <a:cubicBezTo>
                  <a:pt x="1250" y="725"/>
                  <a:pt x="1250" y="725"/>
                  <a:pt x="1249" y="725"/>
                </a:cubicBezTo>
                <a:cubicBezTo>
                  <a:pt x="1249" y="725"/>
                  <a:pt x="1249" y="725"/>
                  <a:pt x="1252" y="724"/>
                </a:cubicBezTo>
                <a:cubicBezTo>
                  <a:pt x="1252" y="724"/>
                  <a:pt x="1252" y="724"/>
                  <a:pt x="1251" y="723"/>
                </a:cubicBezTo>
                <a:cubicBezTo>
                  <a:pt x="1251" y="723"/>
                  <a:pt x="1251" y="723"/>
                  <a:pt x="1249" y="723"/>
                </a:cubicBezTo>
                <a:cubicBezTo>
                  <a:pt x="1249" y="723"/>
                  <a:pt x="1249" y="723"/>
                  <a:pt x="1248" y="724"/>
                </a:cubicBezTo>
                <a:cubicBezTo>
                  <a:pt x="1248" y="724"/>
                  <a:pt x="1248" y="724"/>
                  <a:pt x="1247" y="724"/>
                </a:cubicBezTo>
                <a:cubicBezTo>
                  <a:pt x="1247" y="724"/>
                  <a:pt x="1247" y="724"/>
                  <a:pt x="1246" y="723"/>
                </a:cubicBezTo>
                <a:cubicBezTo>
                  <a:pt x="1246" y="723"/>
                  <a:pt x="1246" y="723"/>
                  <a:pt x="1245" y="723"/>
                </a:cubicBezTo>
                <a:cubicBezTo>
                  <a:pt x="1245" y="723"/>
                  <a:pt x="1245" y="723"/>
                  <a:pt x="1244" y="722"/>
                </a:cubicBezTo>
                <a:cubicBezTo>
                  <a:pt x="1244" y="722"/>
                  <a:pt x="1244" y="722"/>
                  <a:pt x="1245" y="721"/>
                </a:cubicBezTo>
                <a:cubicBezTo>
                  <a:pt x="1245" y="721"/>
                  <a:pt x="1245" y="721"/>
                  <a:pt x="1244" y="721"/>
                </a:cubicBezTo>
                <a:cubicBezTo>
                  <a:pt x="1244" y="721"/>
                  <a:pt x="1244" y="721"/>
                  <a:pt x="1242" y="721"/>
                </a:cubicBezTo>
                <a:cubicBezTo>
                  <a:pt x="1242" y="721"/>
                  <a:pt x="1242" y="721"/>
                  <a:pt x="1242" y="720"/>
                </a:cubicBezTo>
                <a:cubicBezTo>
                  <a:pt x="1242" y="720"/>
                  <a:pt x="1242" y="720"/>
                  <a:pt x="1242" y="719"/>
                </a:cubicBezTo>
                <a:cubicBezTo>
                  <a:pt x="1242" y="719"/>
                  <a:pt x="1242" y="719"/>
                  <a:pt x="1243" y="719"/>
                </a:cubicBezTo>
                <a:cubicBezTo>
                  <a:pt x="1243" y="719"/>
                  <a:pt x="1243" y="719"/>
                  <a:pt x="1244" y="718"/>
                </a:cubicBezTo>
                <a:cubicBezTo>
                  <a:pt x="1244" y="718"/>
                  <a:pt x="1244" y="718"/>
                  <a:pt x="1242" y="717"/>
                </a:cubicBezTo>
                <a:cubicBezTo>
                  <a:pt x="1242" y="717"/>
                  <a:pt x="1242" y="717"/>
                  <a:pt x="1241" y="718"/>
                </a:cubicBezTo>
                <a:cubicBezTo>
                  <a:pt x="1241" y="718"/>
                  <a:pt x="1241" y="718"/>
                  <a:pt x="1240" y="718"/>
                </a:cubicBezTo>
                <a:cubicBezTo>
                  <a:pt x="1240" y="718"/>
                  <a:pt x="1240" y="718"/>
                  <a:pt x="1241" y="717"/>
                </a:cubicBezTo>
                <a:cubicBezTo>
                  <a:pt x="1241" y="717"/>
                  <a:pt x="1241" y="717"/>
                  <a:pt x="1241" y="715"/>
                </a:cubicBezTo>
                <a:cubicBezTo>
                  <a:pt x="1241" y="715"/>
                  <a:pt x="1241" y="715"/>
                  <a:pt x="1240" y="714"/>
                </a:cubicBezTo>
                <a:cubicBezTo>
                  <a:pt x="1240" y="714"/>
                  <a:pt x="1240" y="714"/>
                  <a:pt x="1241" y="713"/>
                </a:cubicBezTo>
                <a:cubicBezTo>
                  <a:pt x="1241" y="713"/>
                  <a:pt x="1241" y="713"/>
                  <a:pt x="1243" y="715"/>
                </a:cubicBezTo>
                <a:cubicBezTo>
                  <a:pt x="1243" y="715"/>
                  <a:pt x="1243" y="715"/>
                  <a:pt x="1244" y="715"/>
                </a:cubicBezTo>
                <a:cubicBezTo>
                  <a:pt x="1244" y="715"/>
                  <a:pt x="1244" y="715"/>
                  <a:pt x="1245" y="714"/>
                </a:cubicBezTo>
                <a:cubicBezTo>
                  <a:pt x="1245" y="714"/>
                  <a:pt x="1245" y="714"/>
                  <a:pt x="1244" y="714"/>
                </a:cubicBezTo>
                <a:cubicBezTo>
                  <a:pt x="1244" y="714"/>
                  <a:pt x="1244" y="714"/>
                  <a:pt x="1242" y="713"/>
                </a:cubicBezTo>
                <a:cubicBezTo>
                  <a:pt x="1242" y="713"/>
                  <a:pt x="1242" y="713"/>
                  <a:pt x="1242" y="712"/>
                </a:cubicBezTo>
                <a:cubicBezTo>
                  <a:pt x="1242" y="712"/>
                  <a:pt x="1242" y="712"/>
                  <a:pt x="1243" y="711"/>
                </a:cubicBezTo>
                <a:cubicBezTo>
                  <a:pt x="1243" y="711"/>
                  <a:pt x="1243" y="711"/>
                  <a:pt x="1241" y="710"/>
                </a:cubicBezTo>
                <a:cubicBezTo>
                  <a:pt x="1241" y="710"/>
                  <a:pt x="1241" y="710"/>
                  <a:pt x="1242" y="710"/>
                </a:cubicBezTo>
                <a:cubicBezTo>
                  <a:pt x="1242" y="710"/>
                  <a:pt x="1242" y="710"/>
                  <a:pt x="1242" y="709"/>
                </a:cubicBezTo>
                <a:cubicBezTo>
                  <a:pt x="1242" y="709"/>
                  <a:pt x="1242" y="709"/>
                  <a:pt x="1241" y="709"/>
                </a:cubicBezTo>
                <a:cubicBezTo>
                  <a:pt x="1241" y="709"/>
                  <a:pt x="1241" y="709"/>
                  <a:pt x="1239" y="706"/>
                </a:cubicBezTo>
                <a:cubicBezTo>
                  <a:pt x="1239" y="706"/>
                  <a:pt x="1239" y="706"/>
                  <a:pt x="1237" y="704"/>
                </a:cubicBezTo>
                <a:cubicBezTo>
                  <a:pt x="1237" y="704"/>
                  <a:pt x="1237" y="704"/>
                  <a:pt x="1241" y="701"/>
                </a:cubicBezTo>
                <a:cubicBezTo>
                  <a:pt x="1241" y="701"/>
                  <a:pt x="1241" y="701"/>
                  <a:pt x="1243" y="698"/>
                </a:cubicBezTo>
                <a:cubicBezTo>
                  <a:pt x="1243" y="698"/>
                  <a:pt x="1243" y="698"/>
                  <a:pt x="1243" y="696"/>
                </a:cubicBezTo>
                <a:cubicBezTo>
                  <a:pt x="1243" y="696"/>
                  <a:pt x="1243" y="696"/>
                  <a:pt x="1243" y="693"/>
                </a:cubicBezTo>
                <a:cubicBezTo>
                  <a:pt x="1243" y="693"/>
                  <a:pt x="1243" y="693"/>
                  <a:pt x="1244" y="689"/>
                </a:cubicBezTo>
                <a:cubicBezTo>
                  <a:pt x="1244" y="689"/>
                  <a:pt x="1244" y="689"/>
                  <a:pt x="1246" y="687"/>
                </a:cubicBezTo>
                <a:cubicBezTo>
                  <a:pt x="1246" y="687"/>
                  <a:pt x="1246" y="687"/>
                  <a:pt x="1246" y="683"/>
                </a:cubicBezTo>
                <a:cubicBezTo>
                  <a:pt x="1246" y="683"/>
                  <a:pt x="1246" y="683"/>
                  <a:pt x="1245" y="676"/>
                </a:cubicBezTo>
                <a:cubicBezTo>
                  <a:pt x="1245" y="676"/>
                  <a:pt x="1245" y="676"/>
                  <a:pt x="1243" y="673"/>
                </a:cubicBezTo>
                <a:cubicBezTo>
                  <a:pt x="1243" y="673"/>
                  <a:pt x="1243" y="673"/>
                  <a:pt x="1244" y="673"/>
                </a:cubicBezTo>
                <a:cubicBezTo>
                  <a:pt x="1244" y="673"/>
                  <a:pt x="1244" y="673"/>
                  <a:pt x="1245" y="673"/>
                </a:cubicBezTo>
                <a:cubicBezTo>
                  <a:pt x="1245" y="673"/>
                  <a:pt x="1245" y="673"/>
                  <a:pt x="1245" y="671"/>
                </a:cubicBezTo>
                <a:cubicBezTo>
                  <a:pt x="1245" y="671"/>
                  <a:pt x="1245" y="671"/>
                  <a:pt x="1245" y="669"/>
                </a:cubicBezTo>
                <a:cubicBezTo>
                  <a:pt x="1245" y="669"/>
                  <a:pt x="1245" y="669"/>
                  <a:pt x="1244" y="666"/>
                </a:cubicBezTo>
                <a:cubicBezTo>
                  <a:pt x="1244" y="666"/>
                  <a:pt x="1244" y="666"/>
                  <a:pt x="1243" y="667"/>
                </a:cubicBezTo>
                <a:cubicBezTo>
                  <a:pt x="1243" y="667"/>
                  <a:pt x="1243" y="667"/>
                  <a:pt x="1242" y="666"/>
                </a:cubicBezTo>
                <a:cubicBezTo>
                  <a:pt x="1242" y="666"/>
                  <a:pt x="1242" y="666"/>
                  <a:pt x="1242" y="665"/>
                </a:cubicBezTo>
                <a:cubicBezTo>
                  <a:pt x="1242" y="665"/>
                  <a:pt x="1242" y="665"/>
                  <a:pt x="1240" y="666"/>
                </a:cubicBezTo>
                <a:cubicBezTo>
                  <a:pt x="1240" y="666"/>
                  <a:pt x="1240" y="666"/>
                  <a:pt x="1240" y="664"/>
                </a:cubicBezTo>
                <a:cubicBezTo>
                  <a:pt x="1240" y="664"/>
                  <a:pt x="1240" y="664"/>
                  <a:pt x="1241" y="663"/>
                </a:cubicBezTo>
                <a:cubicBezTo>
                  <a:pt x="1241" y="663"/>
                  <a:pt x="1241" y="663"/>
                  <a:pt x="1241" y="662"/>
                </a:cubicBezTo>
                <a:cubicBezTo>
                  <a:pt x="1241" y="662"/>
                  <a:pt x="1241" y="662"/>
                  <a:pt x="1241" y="660"/>
                </a:cubicBezTo>
                <a:cubicBezTo>
                  <a:pt x="1241" y="660"/>
                  <a:pt x="1241" y="660"/>
                  <a:pt x="1241" y="659"/>
                </a:cubicBezTo>
                <a:cubicBezTo>
                  <a:pt x="1241" y="659"/>
                  <a:pt x="1241" y="659"/>
                  <a:pt x="1241" y="657"/>
                </a:cubicBezTo>
                <a:cubicBezTo>
                  <a:pt x="1241" y="657"/>
                  <a:pt x="1241" y="657"/>
                  <a:pt x="1242" y="656"/>
                </a:cubicBezTo>
                <a:cubicBezTo>
                  <a:pt x="1242" y="656"/>
                  <a:pt x="1242" y="656"/>
                  <a:pt x="1243" y="656"/>
                </a:cubicBezTo>
                <a:cubicBezTo>
                  <a:pt x="1243" y="656"/>
                  <a:pt x="1243" y="656"/>
                  <a:pt x="1245" y="653"/>
                </a:cubicBezTo>
                <a:cubicBezTo>
                  <a:pt x="1245" y="653"/>
                  <a:pt x="1245" y="653"/>
                  <a:pt x="1246" y="652"/>
                </a:cubicBezTo>
                <a:cubicBezTo>
                  <a:pt x="1246" y="652"/>
                  <a:pt x="1246" y="652"/>
                  <a:pt x="1245" y="652"/>
                </a:cubicBezTo>
                <a:cubicBezTo>
                  <a:pt x="1245" y="652"/>
                  <a:pt x="1245" y="652"/>
                  <a:pt x="1245" y="651"/>
                </a:cubicBezTo>
                <a:cubicBezTo>
                  <a:pt x="1245" y="651"/>
                  <a:pt x="1245" y="651"/>
                  <a:pt x="1248" y="648"/>
                </a:cubicBezTo>
                <a:cubicBezTo>
                  <a:pt x="1248" y="648"/>
                  <a:pt x="1248" y="648"/>
                  <a:pt x="1248" y="647"/>
                </a:cubicBezTo>
                <a:cubicBezTo>
                  <a:pt x="1248" y="647"/>
                  <a:pt x="1248" y="647"/>
                  <a:pt x="1249" y="643"/>
                </a:cubicBezTo>
                <a:cubicBezTo>
                  <a:pt x="1249" y="643"/>
                  <a:pt x="1249" y="643"/>
                  <a:pt x="1250" y="643"/>
                </a:cubicBezTo>
                <a:cubicBezTo>
                  <a:pt x="1250" y="643"/>
                  <a:pt x="1250" y="643"/>
                  <a:pt x="1253" y="640"/>
                </a:cubicBezTo>
                <a:cubicBezTo>
                  <a:pt x="1253" y="640"/>
                  <a:pt x="1253" y="640"/>
                  <a:pt x="1253" y="638"/>
                </a:cubicBezTo>
                <a:cubicBezTo>
                  <a:pt x="1253" y="638"/>
                  <a:pt x="1253" y="638"/>
                  <a:pt x="1257" y="633"/>
                </a:cubicBezTo>
                <a:cubicBezTo>
                  <a:pt x="1257" y="633"/>
                  <a:pt x="1257" y="633"/>
                  <a:pt x="1257" y="631"/>
                </a:cubicBezTo>
                <a:cubicBezTo>
                  <a:pt x="1257" y="631"/>
                  <a:pt x="1257" y="631"/>
                  <a:pt x="1259" y="630"/>
                </a:cubicBezTo>
                <a:cubicBezTo>
                  <a:pt x="1259" y="630"/>
                  <a:pt x="1259" y="630"/>
                  <a:pt x="1259" y="629"/>
                </a:cubicBezTo>
                <a:cubicBezTo>
                  <a:pt x="1259" y="629"/>
                  <a:pt x="1259" y="629"/>
                  <a:pt x="1263" y="626"/>
                </a:cubicBezTo>
                <a:cubicBezTo>
                  <a:pt x="1263" y="626"/>
                  <a:pt x="1263" y="626"/>
                  <a:pt x="1264" y="626"/>
                </a:cubicBezTo>
                <a:cubicBezTo>
                  <a:pt x="1264" y="626"/>
                  <a:pt x="1264" y="626"/>
                  <a:pt x="1264" y="624"/>
                </a:cubicBezTo>
                <a:cubicBezTo>
                  <a:pt x="1264" y="624"/>
                  <a:pt x="1264" y="624"/>
                  <a:pt x="1267" y="621"/>
                </a:cubicBezTo>
                <a:cubicBezTo>
                  <a:pt x="1267" y="621"/>
                  <a:pt x="1267" y="621"/>
                  <a:pt x="1268" y="618"/>
                </a:cubicBezTo>
                <a:cubicBezTo>
                  <a:pt x="1268" y="618"/>
                  <a:pt x="1268" y="618"/>
                  <a:pt x="1275" y="617"/>
                </a:cubicBezTo>
                <a:cubicBezTo>
                  <a:pt x="1275" y="617"/>
                  <a:pt x="1275" y="617"/>
                  <a:pt x="1279" y="613"/>
                </a:cubicBezTo>
                <a:cubicBezTo>
                  <a:pt x="1279" y="613"/>
                  <a:pt x="1279" y="613"/>
                  <a:pt x="1281" y="613"/>
                </a:cubicBezTo>
                <a:cubicBezTo>
                  <a:pt x="1281" y="613"/>
                  <a:pt x="1281" y="613"/>
                  <a:pt x="1283" y="611"/>
                </a:cubicBezTo>
                <a:cubicBezTo>
                  <a:pt x="1283" y="611"/>
                  <a:pt x="1283" y="611"/>
                  <a:pt x="1283" y="609"/>
                </a:cubicBezTo>
                <a:cubicBezTo>
                  <a:pt x="1283" y="609"/>
                  <a:pt x="1283" y="609"/>
                  <a:pt x="1287" y="605"/>
                </a:cubicBezTo>
                <a:cubicBezTo>
                  <a:pt x="1287" y="605"/>
                  <a:pt x="1287" y="605"/>
                  <a:pt x="1287" y="603"/>
                </a:cubicBezTo>
                <a:cubicBezTo>
                  <a:pt x="1287" y="603"/>
                  <a:pt x="1287" y="603"/>
                  <a:pt x="1287" y="602"/>
                </a:cubicBezTo>
                <a:cubicBezTo>
                  <a:pt x="1287" y="602"/>
                  <a:pt x="1287" y="602"/>
                  <a:pt x="1286" y="602"/>
                </a:cubicBezTo>
                <a:cubicBezTo>
                  <a:pt x="1286" y="602"/>
                  <a:pt x="1286" y="602"/>
                  <a:pt x="1287" y="599"/>
                </a:cubicBezTo>
                <a:cubicBezTo>
                  <a:pt x="1287" y="599"/>
                  <a:pt x="1287" y="599"/>
                  <a:pt x="1286" y="597"/>
                </a:cubicBezTo>
                <a:cubicBezTo>
                  <a:pt x="1286" y="597"/>
                  <a:pt x="1286" y="597"/>
                  <a:pt x="1286" y="596"/>
                </a:cubicBezTo>
                <a:cubicBezTo>
                  <a:pt x="1286" y="596"/>
                  <a:pt x="1286" y="596"/>
                  <a:pt x="1288" y="593"/>
                </a:cubicBezTo>
                <a:cubicBezTo>
                  <a:pt x="1288" y="593"/>
                  <a:pt x="1288" y="593"/>
                  <a:pt x="1290" y="590"/>
                </a:cubicBezTo>
                <a:cubicBezTo>
                  <a:pt x="1290" y="590"/>
                  <a:pt x="1290" y="590"/>
                  <a:pt x="1290" y="589"/>
                </a:cubicBezTo>
                <a:cubicBezTo>
                  <a:pt x="1290" y="589"/>
                  <a:pt x="1290" y="589"/>
                  <a:pt x="1289" y="587"/>
                </a:cubicBezTo>
                <a:cubicBezTo>
                  <a:pt x="1289" y="587"/>
                  <a:pt x="1289" y="587"/>
                  <a:pt x="1292" y="585"/>
                </a:cubicBezTo>
                <a:cubicBezTo>
                  <a:pt x="1292" y="585"/>
                  <a:pt x="1292" y="585"/>
                  <a:pt x="1293" y="583"/>
                </a:cubicBezTo>
                <a:cubicBezTo>
                  <a:pt x="1293" y="583"/>
                  <a:pt x="1293" y="583"/>
                  <a:pt x="1295" y="583"/>
                </a:cubicBezTo>
                <a:cubicBezTo>
                  <a:pt x="1295" y="583"/>
                  <a:pt x="1295" y="583"/>
                  <a:pt x="1297" y="581"/>
                </a:cubicBezTo>
                <a:cubicBezTo>
                  <a:pt x="1297" y="581"/>
                  <a:pt x="1297" y="581"/>
                  <a:pt x="1298" y="581"/>
                </a:cubicBezTo>
                <a:cubicBezTo>
                  <a:pt x="1298" y="581"/>
                  <a:pt x="1298" y="581"/>
                  <a:pt x="1300" y="579"/>
                </a:cubicBezTo>
                <a:cubicBezTo>
                  <a:pt x="1300" y="579"/>
                  <a:pt x="1300" y="579"/>
                  <a:pt x="1302" y="578"/>
                </a:cubicBezTo>
                <a:cubicBezTo>
                  <a:pt x="1302" y="578"/>
                  <a:pt x="1302" y="578"/>
                  <a:pt x="1303" y="577"/>
                </a:cubicBezTo>
                <a:cubicBezTo>
                  <a:pt x="1303" y="577"/>
                  <a:pt x="1303" y="577"/>
                  <a:pt x="1304" y="577"/>
                </a:cubicBezTo>
                <a:cubicBezTo>
                  <a:pt x="1304" y="577"/>
                  <a:pt x="1304" y="577"/>
                  <a:pt x="1307" y="575"/>
                </a:cubicBezTo>
                <a:cubicBezTo>
                  <a:pt x="1307" y="575"/>
                  <a:pt x="1307" y="575"/>
                  <a:pt x="1308" y="573"/>
                </a:cubicBezTo>
                <a:cubicBezTo>
                  <a:pt x="1308" y="573"/>
                  <a:pt x="1308" y="573"/>
                  <a:pt x="1308" y="571"/>
                </a:cubicBezTo>
                <a:cubicBezTo>
                  <a:pt x="1308" y="571"/>
                  <a:pt x="1308" y="571"/>
                  <a:pt x="1309" y="569"/>
                </a:cubicBezTo>
                <a:cubicBezTo>
                  <a:pt x="1309" y="569"/>
                  <a:pt x="1309" y="569"/>
                  <a:pt x="1310" y="565"/>
                </a:cubicBezTo>
                <a:cubicBezTo>
                  <a:pt x="1310" y="565"/>
                  <a:pt x="1310" y="565"/>
                  <a:pt x="1311" y="564"/>
                </a:cubicBezTo>
                <a:cubicBezTo>
                  <a:pt x="1311" y="564"/>
                  <a:pt x="1311" y="564"/>
                  <a:pt x="1312" y="564"/>
                </a:cubicBezTo>
                <a:cubicBezTo>
                  <a:pt x="1312" y="564"/>
                  <a:pt x="1312" y="564"/>
                  <a:pt x="1313" y="563"/>
                </a:cubicBezTo>
                <a:cubicBezTo>
                  <a:pt x="1313" y="563"/>
                  <a:pt x="1313" y="563"/>
                  <a:pt x="1314" y="564"/>
                </a:cubicBezTo>
                <a:cubicBezTo>
                  <a:pt x="1314" y="564"/>
                  <a:pt x="1314" y="564"/>
                  <a:pt x="1314" y="565"/>
                </a:cubicBezTo>
                <a:cubicBezTo>
                  <a:pt x="1314" y="565"/>
                  <a:pt x="1314" y="565"/>
                  <a:pt x="1314" y="566"/>
                </a:cubicBezTo>
                <a:cubicBezTo>
                  <a:pt x="1314" y="566"/>
                  <a:pt x="1314" y="566"/>
                  <a:pt x="1315" y="566"/>
                </a:cubicBezTo>
                <a:cubicBezTo>
                  <a:pt x="1315" y="566"/>
                  <a:pt x="1315" y="566"/>
                  <a:pt x="1316" y="568"/>
                </a:cubicBezTo>
                <a:cubicBezTo>
                  <a:pt x="1316" y="568"/>
                  <a:pt x="1316" y="568"/>
                  <a:pt x="1318" y="568"/>
                </a:cubicBezTo>
                <a:cubicBezTo>
                  <a:pt x="1318" y="568"/>
                  <a:pt x="1318" y="568"/>
                  <a:pt x="1320" y="568"/>
                </a:cubicBezTo>
                <a:cubicBezTo>
                  <a:pt x="1320" y="568"/>
                  <a:pt x="1320" y="568"/>
                  <a:pt x="1321" y="567"/>
                </a:cubicBezTo>
                <a:cubicBezTo>
                  <a:pt x="1321" y="567"/>
                  <a:pt x="1321" y="567"/>
                  <a:pt x="1322" y="568"/>
                </a:cubicBezTo>
                <a:cubicBezTo>
                  <a:pt x="1322" y="568"/>
                  <a:pt x="1322" y="568"/>
                  <a:pt x="1324" y="568"/>
                </a:cubicBezTo>
                <a:cubicBezTo>
                  <a:pt x="1324" y="568"/>
                  <a:pt x="1324" y="568"/>
                  <a:pt x="1326" y="568"/>
                </a:cubicBezTo>
                <a:cubicBezTo>
                  <a:pt x="1326" y="568"/>
                  <a:pt x="1326" y="568"/>
                  <a:pt x="1327" y="566"/>
                </a:cubicBezTo>
                <a:cubicBezTo>
                  <a:pt x="1327" y="566"/>
                  <a:pt x="1327" y="566"/>
                  <a:pt x="1328" y="567"/>
                </a:cubicBezTo>
                <a:cubicBezTo>
                  <a:pt x="1328" y="567"/>
                  <a:pt x="1328" y="567"/>
                  <a:pt x="1328" y="568"/>
                </a:cubicBezTo>
                <a:cubicBezTo>
                  <a:pt x="1328" y="568"/>
                  <a:pt x="1328" y="568"/>
                  <a:pt x="1329" y="569"/>
                </a:cubicBezTo>
                <a:cubicBezTo>
                  <a:pt x="1329" y="569"/>
                  <a:pt x="1329" y="569"/>
                  <a:pt x="1332" y="569"/>
                </a:cubicBezTo>
                <a:cubicBezTo>
                  <a:pt x="1332" y="569"/>
                  <a:pt x="1332" y="569"/>
                  <a:pt x="1333" y="569"/>
                </a:cubicBezTo>
                <a:cubicBezTo>
                  <a:pt x="1333" y="569"/>
                  <a:pt x="1333" y="569"/>
                  <a:pt x="1335" y="569"/>
                </a:cubicBezTo>
                <a:cubicBezTo>
                  <a:pt x="1335" y="569"/>
                  <a:pt x="1335" y="569"/>
                  <a:pt x="1337" y="568"/>
                </a:cubicBezTo>
                <a:cubicBezTo>
                  <a:pt x="1337" y="568"/>
                  <a:pt x="1337" y="568"/>
                  <a:pt x="1338" y="567"/>
                </a:cubicBezTo>
                <a:cubicBezTo>
                  <a:pt x="1338" y="567"/>
                  <a:pt x="1338" y="567"/>
                  <a:pt x="1338" y="566"/>
                </a:cubicBezTo>
                <a:cubicBezTo>
                  <a:pt x="1338" y="566"/>
                  <a:pt x="1338" y="566"/>
                  <a:pt x="1339" y="565"/>
                </a:cubicBezTo>
                <a:cubicBezTo>
                  <a:pt x="1339" y="565"/>
                  <a:pt x="1339" y="565"/>
                  <a:pt x="1340" y="565"/>
                </a:cubicBezTo>
                <a:cubicBezTo>
                  <a:pt x="1340" y="565"/>
                  <a:pt x="1340" y="565"/>
                  <a:pt x="1342" y="565"/>
                </a:cubicBezTo>
                <a:cubicBezTo>
                  <a:pt x="1342" y="565"/>
                  <a:pt x="1342" y="565"/>
                  <a:pt x="1343" y="564"/>
                </a:cubicBezTo>
                <a:cubicBezTo>
                  <a:pt x="1343" y="564"/>
                  <a:pt x="1343" y="564"/>
                  <a:pt x="1344" y="564"/>
                </a:cubicBezTo>
                <a:cubicBezTo>
                  <a:pt x="1344" y="564"/>
                  <a:pt x="1344" y="564"/>
                  <a:pt x="1345" y="564"/>
                </a:cubicBezTo>
                <a:cubicBezTo>
                  <a:pt x="1345" y="564"/>
                  <a:pt x="1345" y="564"/>
                  <a:pt x="1346" y="563"/>
                </a:cubicBezTo>
                <a:cubicBezTo>
                  <a:pt x="1346" y="563"/>
                  <a:pt x="1346" y="563"/>
                  <a:pt x="1346" y="562"/>
                </a:cubicBezTo>
                <a:cubicBezTo>
                  <a:pt x="1346" y="562"/>
                  <a:pt x="1346" y="562"/>
                  <a:pt x="1348" y="561"/>
                </a:cubicBezTo>
                <a:cubicBezTo>
                  <a:pt x="1348" y="561"/>
                  <a:pt x="1348" y="561"/>
                  <a:pt x="1350" y="561"/>
                </a:cubicBezTo>
                <a:cubicBezTo>
                  <a:pt x="1350" y="561"/>
                  <a:pt x="1350" y="561"/>
                  <a:pt x="1353" y="558"/>
                </a:cubicBezTo>
                <a:cubicBezTo>
                  <a:pt x="1353" y="558"/>
                  <a:pt x="1353" y="558"/>
                  <a:pt x="1355" y="559"/>
                </a:cubicBezTo>
                <a:cubicBezTo>
                  <a:pt x="1355" y="559"/>
                  <a:pt x="1355" y="559"/>
                  <a:pt x="1357" y="558"/>
                </a:cubicBezTo>
                <a:cubicBezTo>
                  <a:pt x="1357" y="558"/>
                  <a:pt x="1357" y="558"/>
                  <a:pt x="1358" y="558"/>
                </a:cubicBezTo>
                <a:cubicBezTo>
                  <a:pt x="1358" y="558"/>
                  <a:pt x="1358" y="558"/>
                  <a:pt x="1360" y="559"/>
                </a:cubicBezTo>
                <a:cubicBezTo>
                  <a:pt x="1360" y="559"/>
                  <a:pt x="1360" y="559"/>
                  <a:pt x="1361" y="559"/>
                </a:cubicBezTo>
                <a:cubicBezTo>
                  <a:pt x="1361" y="559"/>
                  <a:pt x="1361" y="559"/>
                  <a:pt x="1362" y="557"/>
                </a:cubicBezTo>
                <a:cubicBezTo>
                  <a:pt x="1362" y="557"/>
                  <a:pt x="1362" y="557"/>
                  <a:pt x="1364" y="558"/>
                </a:cubicBezTo>
                <a:cubicBezTo>
                  <a:pt x="1364" y="558"/>
                  <a:pt x="1364" y="558"/>
                  <a:pt x="1365" y="558"/>
                </a:cubicBezTo>
                <a:cubicBezTo>
                  <a:pt x="1365" y="558"/>
                  <a:pt x="1365" y="558"/>
                  <a:pt x="1366" y="556"/>
                </a:cubicBezTo>
                <a:cubicBezTo>
                  <a:pt x="1366" y="556"/>
                  <a:pt x="1366" y="556"/>
                  <a:pt x="1367" y="557"/>
                </a:cubicBezTo>
                <a:cubicBezTo>
                  <a:pt x="1367" y="557"/>
                  <a:pt x="1367" y="557"/>
                  <a:pt x="1368" y="557"/>
                </a:cubicBezTo>
                <a:cubicBezTo>
                  <a:pt x="1368" y="557"/>
                  <a:pt x="1368" y="557"/>
                  <a:pt x="1369" y="557"/>
                </a:cubicBezTo>
                <a:cubicBezTo>
                  <a:pt x="1369" y="557"/>
                  <a:pt x="1369" y="557"/>
                  <a:pt x="1371" y="556"/>
                </a:cubicBezTo>
                <a:cubicBezTo>
                  <a:pt x="1371" y="556"/>
                  <a:pt x="1371" y="556"/>
                  <a:pt x="1372" y="557"/>
                </a:cubicBezTo>
                <a:cubicBezTo>
                  <a:pt x="1372" y="557"/>
                  <a:pt x="1372" y="557"/>
                  <a:pt x="1374" y="557"/>
                </a:cubicBezTo>
                <a:cubicBezTo>
                  <a:pt x="1374" y="557"/>
                  <a:pt x="1374" y="557"/>
                  <a:pt x="1374" y="558"/>
                </a:cubicBezTo>
                <a:cubicBezTo>
                  <a:pt x="1374" y="558"/>
                  <a:pt x="1374" y="558"/>
                  <a:pt x="1376" y="558"/>
                </a:cubicBezTo>
                <a:cubicBezTo>
                  <a:pt x="1376" y="558"/>
                  <a:pt x="1376" y="558"/>
                  <a:pt x="1377" y="557"/>
                </a:cubicBezTo>
                <a:cubicBezTo>
                  <a:pt x="1377" y="557"/>
                  <a:pt x="1377" y="557"/>
                  <a:pt x="1378" y="557"/>
                </a:cubicBezTo>
                <a:cubicBezTo>
                  <a:pt x="1378" y="557"/>
                  <a:pt x="1378" y="557"/>
                  <a:pt x="1379" y="557"/>
                </a:cubicBezTo>
                <a:cubicBezTo>
                  <a:pt x="1379" y="557"/>
                  <a:pt x="1379" y="557"/>
                  <a:pt x="1379" y="556"/>
                </a:cubicBezTo>
                <a:cubicBezTo>
                  <a:pt x="1379" y="556"/>
                  <a:pt x="1379" y="556"/>
                  <a:pt x="1381" y="556"/>
                </a:cubicBezTo>
                <a:cubicBezTo>
                  <a:pt x="1381" y="556"/>
                  <a:pt x="1381" y="556"/>
                  <a:pt x="1381" y="555"/>
                </a:cubicBezTo>
                <a:cubicBezTo>
                  <a:pt x="1381" y="555"/>
                  <a:pt x="1381" y="555"/>
                  <a:pt x="1382" y="555"/>
                </a:cubicBezTo>
                <a:cubicBezTo>
                  <a:pt x="1382" y="555"/>
                  <a:pt x="1382" y="555"/>
                  <a:pt x="1383" y="556"/>
                </a:cubicBezTo>
                <a:cubicBezTo>
                  <a:pt x="1383" y="556"/>
                  <a:pt x="1383" y="556"/>
                  <a:pt x="1383" y="557"/>
                </a:cubicBezTo>
                <a:cubicBezTo>
                  <a:pt x="1383" y="557"/>
                  <a:pt x="1383" y="557"/>
                  <a:pt x="1385" y="557"/>
                </a:cubicBezTo>
                <a:cubicBezTo>
                  <a:pt x="1385" y="557"/>
                  <a:pt x="1385" y="557"/>
                  <a:pt x="1387" y="556"/>
                </a:cubicBezTo>
                <a:cubicBezTo>
                  <a:pt x="1387" y="556"/>
                  <a:pt x="1387" y="556"/>
                  <a:pt x="1387" y="555"/>
                </a:cubicBezTo>
                <a:cubicBezTo>
                  <a:pt x="1387" y="555"/>
                  <a:pt x="1387" y="555"/>
                  <a:pt x="1388" y="556"/>
                </a:cubicBezTo>
                <a:cubicBezTo>
                  <a:pt x="1388" y="556"/>
                  <a:pt x="1388" y="556"/>
                  <a:pt x="1390" y="557"/>
                </a:cubicBezTo>
                <a:cubicBezTo>
                  <a:pt x="1390" y="557"/>
                  <a:pt x="1390" y="557"/>
                  <a:pt x="1392" y="556"/>
                </a:cubicBezTo>
                <a:cubicBezTo>
                  <a:pt x="1392" y="556"/>
                  <a:pt x="1392" y="556"/>
                  <a:pt x="1393" y="556"/>
                </a:cubicBezTo>
                <a:cubicBezTo>
                  <a:pt x="1393" y="556"/>
                  <a:pt x="1393" y="556"/>
                  <a:pt x="1395" y="556"/>
                </a:cubicBezTo>
                <a:cubicBezTo>
                  <a:pt x="1395" y="556"/>
                  <a:pt x="1395" y="556"/>
                  <a:pt x="1397" y="555"/>
                </a:cubicBezTo>
                <a:cubicBezTo>
                  <a:pt x="1397" y="555"/>
                  <a:pt x="1397" y="555"/>
                  <a:pt x="1399" y="554"/>
                </a:cubicBezTo>
                <a:cubicBezTo>
                  <a:pt x="1399" y="554"/>
                  <a:pt x="1399" y="554"/>
                  <a:pt x="1401" y="554"/>
                </a:cubicBezTo>
                <a:cubicBezTo>
                  <a:pt x="1401" y="554"/>
                  <a:pt x="1401" y="554"/>
                  <a:pt x="1402" y="554"/>
                </a:cubicBezTo>
                <a:cubicBezTo>
                  <a:pt x="1402" y="554"/>
                  <a:pt x="1402" y="554"/>
                  <a:pt x="1403" y="553"/>
                </a:cubicBezTo>
                <a:cubicBezTo>
                  <a:pt x="1403" y="553"/>
                  <a:pt x="1403" y="553"/>
                  <a:pt x="1404" y="554"/>
                </a:cubicBezTo>
                <a:cubicBezTo>
                  <a:pt x="1404" y="554"/>
                  <a:pt x="1404" y="554"/>
                  <a:pt x="1404" y="555"/>
                </a:cubicBezTo>
                <a:cubicBezTo>
                  <a:pt x="1404" y="555"/>
                  <a:pt x="1404" y="555"/>
                  <a:pt x="1405" y="558"/>
                </a:cubicBezTo>
                <a:cubicBezTo>
                  <a:pt x="1405" y="558"/>
                  <a:pt x="1405" y="558"/>
                  <a:pt x="1406" y="558"/>
                </a:cubicBezTo>
                <a:cubicBezTo>
                  <a:pt x="1406" y="558"/>
                  <a:pt x="1406" y="558"/>
                  <a:pt x="1407" y="557"/>
                </a:cubicBezTo>
                <a:cubicBezTo>
                  <a:pt x="1407" y="557"/>
                  <a:pt x="1407" y="557"/>
                  <a:pt x="1409" y="555"/>
                </a:cubicBezTo>
                <a:cubicBezTo>
                  <a:pt x="1409" y="555"/>
                  <a:pt x="1409" y="555"/>
                  <a:pt x="1409" y="556"/>
                </a:cubicBezTo>
                <a:cubicBezTo>
                  <a:pt x="1409" y="556"/>
                  <a:pt x="1409" y="556"/>
                  <a:pt x="1409" y="557"/>
                </a:cubicBezTo>
                <a:cubicBezTo>
                  <a:pt x="1409" y="557"/>
                  <a:pt x="1409" y="557"/>
                  <a:pt x="1408" y="559"/>
                </a:cubicBezTo>
                <a:cubicBezTo>
                  <a:pt x="1408" y="559"/>
                  <a:pt x="1408" y="559"/>
                  <a:pt x="1408" y="560"/>
                </a:cubicBezTo>
                <a:cubicBezTo>
                  <a:pt x="1408" y="560"/>
                  <a:pt x="1408" y="560"/>
                  <a:pt x="1407" y="561"/>
                </a:cubicBezTo>
                <a:cubicBezTo>
                  <a:pt x="1407" y="561"/>
                  <a:pt x="1407" y="561"/>
                  <a:pt x="1406" y="562"/>
                </a:cubicBezTo>
                <a:cubicBezTo>
                  <a:pt x="1406" y="562"/>
                  <a:pt x="1406" y="562"/>
                  <a:pt x="1408" y="565"/>
                </a:cubicBezTo>
                <a:cubicBezTo>
                  <a:pt x="1408" y="565"/>
                  <a:pt x="1408" y="565"/>
                  <a:pt x="1410" y="565"/>
                </a:cubicBezTo>
                <a:cubicBezTo>
                  <a:pt x="1410" y="565"/>
                  <a:pt x="1410" y="565"/>
                  <a:pt x="1410" y="567"/>
                </a:cubicBezTo>
                <a:cubicBezTo>
                  <a:pt x="1410" y="567"/>
                  <a:pt x="1410" y="567"/>
                  <a:pt x="1410" y="568"/>
                </a:cubicBezTo>
                <a:cubicBezTo>
                  <a:pt x="1410" y="568"/>
                  <a:pt x="1410" y="568"/>
                  <a:pt x="1410" y="569"/>
                </a:cubicBezTo>
                <a:cubicBezTo>
                  <a:pt x="1410" y="569"/>
                  <a:pt x="1410" y="569"/>
                  <a:pt x="1410" y="570"/>
                </a:cubicBezTo>
                <a:cubicBezTo>
                  <a:pt x="1410" y="570"/>
                  <a:pt x="1410" y="570"/>
                  <a:pt x="1408" y="572"/>
                </a:cubicBezTo>
                <a:cubicBezTo>
                  <a:pt x="1408" y="572"/>
                  <a:pt x="1408" y="572"/>
                  <a:pt x="1405" y="574"/>
                </a:cubicBezTo>
                <a:cubicBezTo>
                  <a:pt x="1405" y="574"/>
                  <a:pt x="1405" y="574"/>
                  <a:pt x="1404" y="576"/>
                </a:cubicBezTo>
                <a:cubicBezTo>
                  <a:pt x="1404" y="576"/>
                  <a:pt x="1404" y="576"/>
                  <a:pt x="1405" y="578"/>
                </a:cubicBezTo>
                <a:cubicBezTo>
                  <a:pt x="1405" y="578"/>
                  <a:pt x="1405" y="578"/>
                  <a:pt x="1407" y="580"/>
                </a:cubicBezTo>
                <a:cubicBezTo>
                  <a:pt x="1407" y="580"/>
                  <a:pt x="1407" y="580"/>
                  <a:pt x="1408" y="579"/>
                </a:cubicBezTo>
                <a:cubicBezTo>
                  <a:pt x="1408" y="579"/>
                  <a:pt x="1408" y="579"/>
                  <a:pt x="1408" y="580"/>
                </a:cubicBezTo>
                <a:cubicBezTo>
                  <a:pt x="1408" y="580"/>
                  <a:pt x="1408" y="580"/>
                  <a:pt x="1409" y="581"/>
                </a:cubicBezTo>
                <a:cubicBezTo>
                  <a:pt x="1409" y="581"/>
                  <a:pt x="1409" y="581"/>
                  <a:pt x="1410" y="580"/>
                </a:cubicBezTo>
                <a:cubicBezTo>
                  <a:pt x="1410" y="580"/>
                  <a:pt x="1410" y="580"/>
                  <a:pt x="1411" y="580"/>
                </a:cubicBezTo>
                <a:cubicBezTo>
                  <a:pt x="1411" y="580"/>
                  <a:pt x="1411" y="580"/>
                  <a:pt x="1411" y="581"/>
                </a:cubicBezTo>
                <a:cubicBezTo>
                  <a:pt x="1411" y="581"/>
                  <a:pt x="1411" y="581"/>
                  <a:pt x="1411" y="582"/>
                </a:cubicBezTo>
                <a:cubicBezTo>
                  <a:pt x="1411" y="582"/>
                  <a:pt x="1411" y="582"/>
                  <a:pt x="1413" y="583"/>
                </a:cubicBezTo>
                <a:cubicBezTo>
                  <a:pt x="1413" y="583"/>
                  <a:pt x="1413" y="583"/>
                  <a:pt x="1414" y="583"/>
                </a:cubicBezTo>
                <a:cubicBezTo>
                  <a:pt x="1414" y="583"/>
                  <a:pt x="1414" y="583"/>
                  <a:pt x="1415" y="583"/>
                </a:cubicBezTo>
                <a:cubicBezTo>
                  <a:pt x="1415" y="583"/>
                  <a:pt x="1415" y="583"/>
                  <a:pt x="1416" y="584"/>
                </a:cubicBezTo>
                <a:cubicBezTo>
                  <a:pt x="1416" y="584"/>
                  <a:pt x="1416" y="584"/>
                  <a:pt x="1419" y="585"/>
                </a:cubicBezTo>
                <a:cubicBezTo>
                  <a:pt x="1419" y="585"/>
                  <a:pt x="1419" y="585"/>
                  <a:pt x="1424" y="584"/>
                </a:cubicBezTo>
                <a:cubicBezTo>
                  <a:pt x="1424" y="584"/>
                  <a:pt x="1424" y="584"/>
                  <a:pt x="1426" y="585"/>
                </a:cubicBezTo>
                <a:cubicBezTo>
                  <a:pt x="1426" y="585"/>
                  <a:pt x="1426" y="585"/>
                  <a:pt x="1429" y="585"/>
                </a:cubicBezTo>
                <a:cubicBezTo>
                  <a:pt x="1429" y="585"/>
                  <a:pt x="1429" y="585"/>
                  <a:pt x="1431" y="586"/>
                </a:cubicBezTo>
                <a:cubicBezTo>
                  <a:pt x="1431" y="586"/>
                  <a:pt x="1431" y="586"/>
                  <a:pt x="1435" y="587"/>
                </a:cubicBezTo>
                <a:cubicBezTo>
                  <a:pt x="1435" y="587"/>
                  <a:pt x="1435" y="587"/>
                  <a:pt x="1437" y="589"/>
                </a:cubicBezTo>
                <a:cubicBezTo>
                  <a:pt x="1437" y="589"/>
                  <a:pt x="1437" y="589"/>
                  <a:pt x="1437" y="591"/>
                </a:cubicBezTo>
                <a:cubicBezTo>
                  <a:pt x="1437" y="591"/>
                  <a:pt x="1437" y="591"/>
                  <a:pt x="1439" y="595"/>
                </a:cubicBezTo>
                <a:cubicBezTo>
                  <a:pt x="1439" y="595"/>
                  <a:pt x="1439" y="595"/>
                  <a:pt x="1441" y="596"/>
                </a:cubicBezTo>
                <a:cubicBezTo>
                  <a:pt x="1441" y="596"/>
                  <a:pt x="1441" y="596"/>
                  <a:pt x="1443" y="596"/>
                </a:cubicBezTo>
                <a:cubicBezTo>
                  <a:pt x="1443" y="596"/>
                  <a:pt x="1443" y="596"/>
                  <a:pt x="1444" y="595"/>
                </a:cubicBezTo>
                <a:cubicBezTo>
                  <a:pt x="1444" y="595"/>
                  <a:pt x="1444" y="595"/>
                  <a:pt x="1446" y="596"/>
                </a:cubicBezTo>
                <a:cubicBezTo>
                  <a:pt x="1446" y="596"/>
                  <a:pt x="1446" y="596"/>
                  <a:pt x="1451" y="598"/>
                </a:cubicBezTo>
                <a:cubicBezTo>
                  <a:pt x="1451" y="598"/>
                  <a:pt x="1451" y="598"/>
                  <a:pt x="1454" y="599"/>
                </a:cubicBezTo>
                <a:cubicBezTo>
                  <a:pt x="1454" y="599"/>
                  <a:pt x="1454" y="599"/>
                  <a:pt x="1456" y="601"/>
                </a:cubicBezTo>
                <a:cubicBezTo>
                  <a:pt x="1456" y="601"/>
                  <a:pt x="1456" y="601"/>
                  <a:pt x="1458" y="603"/>
                </a:cubicBezTo>
                <a:cubicBezTo>
                  <a:pt x="1458" y="603"/>
                  <a:pt x="1458" y="603"/>
                  <a:pt x="1461" y="604"/>
                </a:cubicBezTo>
                <a:cubicBezTo>
                  <a:pt x="1461" y="604"/>
                  <a:pt x="1461" y="604"/>
                  <a:pt x="1462" y="603"/>
                </a:cubicBezTo>
                <a:cubicBezTo>
                  <a:pt x="1462" y="603"/>
                  <a:pt x="1462" y="603"/>
                  <a:pt x="1464" y="601"/>
                </a:cubicBezTo>
                <a:cubicBezTo>
                  <a:pt x="1464" y="601"/>
                  <a:pt x="1464" y="601"/>
                  <a:pt x="1466" y="599"/>
                </a:cubicBezTo>
                <a:cubicBezTo>
                  <a:pt x="1466" y="599"/>
                  <a:pt x="1466" y="599"/>
                  <a:pt x="1467" y="598"/>
                </a:cubicBezTo>
                <a:cubicBezTo>
                  <a:pt x="1467" y="598"/>
                  <a:pt x="1467" y="598"/>
                  <a:pt x="1466" y="595"/>
                </a:cubicBezTo>
                <a:cubicBezTo>
                  <a:pt x="1466" y="595"/>
                  <a:pt x="1466" y="595"/>
                  <a:pt x="1465" y="593"/>
                </a:cubicBezTo>
                <a:cubicBezTo>
                  <a:pt x="1465" y="593"/>
                  <a:pt x="1465" y="593"/>
                  <a:pt x="1465" y="590"/>
                </a:cubicBezTo>
                <a:cubicBezTo>
                  <a:pt x="1465" y="590"/>
                  <a:pt x="1465" y="590"/>
                  <a:pt x="1466" y="590"/>
                </a:cubicBezTo>
                <a:cubicBezTo>
                  <a:pt x="1466" y="590"/>
                  <a:pt x="1466" y="590"/>
                  <a:pt x="1466" y="588"/>
                </a:cubicBezTo>
                <a:cubicBezTo>
                  <a:pt x="1466" y="588"/>
                  <a:pt x="1466" y="588"/>
                  <a:pt x="1468" y="586"/>
                </a:cubicBezTo>
                <a:cubicBezTo>
                  <a:pt x="1468" y="586"/>
                  <a:pt x="1468" y="586"/>
                  <a:pt x="1470" y="585"/>
                </a:cubicBezTo>
                <a:cubicBezTo>
                  <a:pt x="1470" y="585"/>
                  <a:pt x="1470" y="585"/>
                  <a:pt x="1473" y="585"/>
                </a:cubicBezTo>
                <a:cubicBezTo>
                  <a:pt x="1473" y="585"/>
                  <a:pt x="1473" y="585"/>
                  <a:pt x="1475" y="584"/>
                </a:cubicBezTo>
                <a:cubicBezTo>
                  <a:pt x="1475" y="584"/>
                  <a:pt x="1475" y="584"/>
                  <a:pt x="1476" y="584"/>
                </a:cubicBezTo>
                <a:cubicBezTo>
                  <a:pt x="1476" y="584"/>
                  <a:pt x="1476" y="584"/>
                  <a:pt x="1477" y="585"/>
                </a:cubicBezTo>
                <a:cubicBezTo>
                  <a:pt x="1477" y="585"/>
                  <a:pt x="1477" y="585"/>
                  <a:pt x="1478" y="584"/>
                </a:cubicBezTo>
                <a:cubicBezTo>
                  <a:pt x="1478" y="584"/>
                  <a:pt x="1478" y="584"/>
                  <a:pt x="1480" y="585"/>
                </a:cubicBezTo>
                <a:cubicBezTo>
                  <a:pt x="1480" y="585"/>
                  <a:pt x="1480" y="585"/>
                  <a:pt x="1482" y="585"/>
                </a:cubicBezTo>
                <a:cubicBezTo>
                  <a:pt x="1482" y="585"/>
                  <a:pt x="1482" y="585"/>
                  <a:pt x="1484" y="586"/>
                </a:cubicBezTo>
                <a:cubicBezTo>
                  <a:pt x="1484" y="586"/>
                  <a:pt x="1484" y="586"/>
                  <a:pt x="1485" y="587"/>
                </a:cubicBezTo>
                <a:cubicBezTo>
                  <a:pt x="1485" y="587"/>
                  <a:pt x="1485" y="587"/>
                  <a:pt x="1484" y="587"/>
                </a:cubicBezTo>
                <a:cubicBezTo>
                  <a:pt x="1484" y="587"/>
                  <a:pt x="1484" y="587"/>
                  <a:pt x="1485" y="588"/>
                </a:cubicBezTo>
                <a:cubicBezTo>
                  <a:pt x="1485" y="588"/>
                  <a:pt x="1485" y="588"/>
                  <a:pt x="1487" y="589"/>
                </a:cubicBezTo>
                <a:cubicBezTo>
                  <a:pt x="1487" y="589"/>
                  <a:pt x="1487" y="589"/>
                  <a:pt x="1488" y="589"/>
                </a:cubicBezTo>
                <a:cubicBezTo>
                  <a:pt x="1488" y="589"/>
                  <a:pt x="1488" y="589"/>
                  <a:pt x="1489" y="589"/>
                </a:cubicBezTo>
                <a:cubicBezTo>
                  <a:pt x="1489" y="589"/>
                  <a:pt x="1489" y="589"/>
                  <a:pt x="1493" y="590"/>
                </a:cubicBezTo>
                <a:cubicBezTo>
                  <a:pt x="1493" y="590"/>
                  <a:pt x="1493" y="590"/>
                  <a:pt x="1495" y="590"/>
                </a:cubicBezTo>
                <a:cubicBezTo>
                  <a:pt x="1495" y="590"/>
                  <a:pt x="1495" y="590"/>
                  <a:pt x="1496" y="590"/>
                </a:cubicBezTo>
                <a:cubicBezTo>
                  <a:pt x="1496" y="590"/>
                  <a:pt x="1496" y="590"/>
                  <a:pt x="1497" y="591"/>
                </a:cubicBezTo>
                <a:cubicBezTo>
                  <a:pt x="1497" y="591"/>
                  <a:pt x="1497" y="591"/>
                  <a:pt x="1497" y="593"/>
                </a:cubicBezTo>
                <a:cubicBezTo>
                  <a:pt x="1497" y="593"/>
                  <a:pt x="1497" y="593"/>
                  <a:pt x="1498" y="593"/>
                </a:cubicBezTo>
                <a:cubicBezTo>
                  <a:pt x="1498" y="593"/>
                  <a:pt x="1498" y="593"/>
                  <a:pt x="1501" y="592"/>
                </a:cubicBezTo>
                <a:cubicBezTo>
                  <a:pt x="1501" y="592"/>
                  <a:pt x="1501" y="592"/>
                  <a:pt x="1503" y="593"/>
                </a:cubicBezTo>
                <a:cubicBezTo>
                  <a:pt x="1503" y="593"/>
                  <a:pt x="1503" y="593"/>
                  <a:pt x="1508" y="594"/>
                </a:cubicBezTo>
                <a:cubicBezTo>
                  <a:pt x="1508" y="594"/>
                  <a:pt x="1508" y="594"/>
                  <a:pt x="1510" y="594"/>
                </a:cubicBezTo>
                <a:cubicBezTo>
                  <a:pt x="1510" y="594"/>
                  <a:pt x="1510" y="594"/>
                  <a:pt x="1512" y="595"/>
                </a:cubicBezTo>
                <a:cubicBezTo>
                  <a:pt x="1512" y="595"/>
                  <a:pt x="1512" y="595"/>
                  <a:pt x="1513" y="595"/>
                </a:cubicBezTo>
                <a:cubicBezTo>
                  <a:pt x="1513" y="595"/>
                  <a:pt x="1513" y="595"/>
                  <a:pt x="1514" y="595"/>
                </a:cubicBezTo>
                <a:cubicBezTo>
                  <a:pt x="1514" y="595"/>
                  <a:pt x="1514" y="595"/>
                  <a:pt x="1515" y="596"/>
                </a:cubicBezTo>
                <a:cubicBezTo>
                  <a:pt x="1515" y="596"/>
                  <a:pt x="1515" y="596"/>
                  <a:pt x="1518" y="596"/>
                </a:cubicBezTo>
                <a:cubicBezTo>
                  <a:pt x="1518" y="596"/>
                  <a:pt x="1518" y="596"/>
                  <a:pt x="1519" y="596"/>
                </a:cubicBezTo>
                <a:cubicBezTo>
                  <a:pt x="1519" y="596"/>
                  <a:pt x="1519" y="596"/>
                  <a:pt x="1521" y="597"/>
                </a:cubicBezTo>
                <a:cubicBezTo>
                  <a:pt x="1521" y="597"/>
                  <a:pt x="1521" y="597"/>
                  <a:pt x="1523" y="597"/>
                </a:cubicBezTo>
                <a:cubicBezTo>
                  <a:pt x="1523" y="597"/>
                  <a:pt x="1523" y="597"/>
                  <a:pt x="1524" y="597"/>
                </a:cubicBezTo>
                <a:cubicBezTo>
                  <a:pt x="1524" y="597"/>
                  <a:pt x="1524" y="597"/>
                  <a:pt x="1525" y="596"/>
                </a:cubicBezTo>
                <a:cubicBezTo>
                  <a:pt x="1525" y="596"/>
                  <a:pt x="1525" y="596"/>
                  <a:pt x="1527" y="595"/>
                </a:cubicBezTo>
                <a:cubicBezTo>
                  <a:pt x="1527" y="595"/>
                  <a:pt x="1527" y="595"/>
                  <a:pt x="1529" y="594"/>
                </a:cubicBezTo>
                <a:cubicBezTo>
                  <a:pt x="1529" y="594"/>
                  <a:pt x="1529" y="594"/>
                  <a:pt x="1530" y="593"/>
                </a:cubicBezTo>
                <a:cubicBezTo>
                  <a:pt x="1530" y="593"/>
                  <a:pt x="1530" y="593"/>
                  <a:pt x="1531" y="593"/>
                </a:cubicBezTo>
                <a:cubicBezTo>
                  <a:pt x="1531" y="593"/>
                  <a:pt x="1531" y="593"/>
                  <a:pt x="1531" y="594"/>
                </a:cubicBezTo>
                <a:cubicBezTo>
                  <a:pt x="1531" y="594"/>
                  <a:pt x="1531" y="594"/>
                  <a:pt x="1532" y="594"/>
                </a:cubicBezTo>
                <a:cubicBezTo>
                  <a:pt x="1532" y="594"/>
                  <a:pt x="1532" y="594"/>
                  <a:pt x="1534" y="594"/>
                </a:cubicBezTo>
                <a:cubicBezTo>
                  <a:pt x="1534" y="594"/>
                  <a:pt x="1534" y="594"/>
                  <a:pt x="1535" y="594"/>
                </a:cubicBezTo>
                <a:cubicBezTo>
                  <a:pt x="1535" y="594"/>
                  <a:pt x="1535" y="594"/>
                  <a:pt x="1535" y="593"/>
                </a:cubicBezTo>
                <a:cubicBezTo>
                  <a:pt x="1535" y="593"/>
                  <a:pt x="1535" y="593"/>
                  <a:pt x="1536" y="593"/>
                </a:cubicBezTo>
                <a:cubicBezTo>
                  <a:pt x="1536" y="593"/>
                  <a:pt x="1536" y="593"/>
                  <a:pt x="1537" y="594"/>
                </a:cubicBezTo>
                <a:cubicBezTo>
                  <a:pt x="1537" y="594"/>
                  <a:pt x="1537" y="594"/>
                  <a:pt x="1538" y="593"/>
                </a:cubicBezTo>
                <a:cubicBezTo>
                  <a:pt x="1538" y="593"/>
                  <a:pt x="1538" y="593"/>
                  <a:pt x="1539" y="594"/>
                </a:cubicBezTo>
                <a:cubicBezTo>
                  <a:pt x="1539" y="594"/>
                  <a:pt x="1539" y="594"/>
                  <a:pt x="1538" y="594"/>
                </a:cubicBezTo>
                <a:cubicBezTo>
                  <a:pt x="1538" y="594"/>
                  <a:pt x="1538" y="594"/>
                  <a:pt x="1539" y="595"/>
                </a:cubicBezTo>
                <a:cubicBezTo>
                  <a:pt x="1539" y="595"/>
                  <a:pt x="1539" y="595"/>
                  <a:pt x="1540" y="596"/>
                </a:cubicBezTo>
                <a:cubicBezTo>
                  <a:pt x="1540" y="596"/>
                  <a:pt x="1540" y="596"/>
                  <a:pt x="1541" y="597"/>
                </a:cubicBezTo>
                <a:cubicBezTo>
                  <a:pt x="1541" y="597"/>
                  <a:pt x="1541" y="597"/>
                  <a:pt x="1540" y="595"/>
                </a:cubicBezTo>
                <a:cubicBezTo>
                  <a:pt x="1540" y="595"/>
                  <a:pt x="1540" y="595"/>
                  <a:pt x="1540" y="594"/>
                </a:cubicBezTo>
                <a:cubicBezTo>
                  <a:pt x="1540" y="594"/>
                  <a:pt x="1540" y="594"/>
                  <a:pt x="1543" y="596"/>
                </a:cubicBezTo>
                <a:cubicBezTo>
                  <a:pt x="1543" y="596"/>
                  <a:pt x="1543" y="596"/>
                  <a:pt x="1546" y="595"/>
                </a:cubicBezTo>
                <a:cubicBezTo>
                  <a:pt x="1546" y="595"/>
                  <a:pt x="1546" y="595"/>
                  <a:pt x="1550" y="596"/>
                </a:cubicBezTo>
                <a:cubicBezTo>
                  <a:pt x="1550" y="596"/>
                  <a:pt x="1550" y="596"/>
                  <a:pt x="1551" y="595"/>
                </a:cubicBezTo>
                <a:cubicBezTo>
                  <a:pt x="1551" y="595"/>
                  <a:pt x="1551" y="595"/>
                  <a:pt x="1552" y="594"/>
                </a:cubicBezTo>
                <a:cubicBezTo>
                  <a:pt x="1552" y="594"/>
                  <a:pt x="1552" y="594"/>
                  <a:pt x="1554" y="591"/>
                </a:cubicBezTo>
                <a:cubicBezTo>
                  <a:pt x="1554" y="591"/>
                  <a:pt x="1554" y="591"/>
                  <a:pt x="1556" y="588"/>
                </a:cubicBezTo>
                <a:cubicBezTo>
                  <a:pt x="1556" y="588"/>
                  <a:pt x="1556" y="588"/>
                  <a:pt x="1556" y="583"/>
                </a:cubicBezTo>
                <a:cubicBezTo>
                  <a:pt x="1556" y="583"/>
                  <a:pt x="1556" y="583"/>
                  <a:pt x="1558" y="582"/>
                </a:cubicBezTo>
                <a:cubicBezTo>
                  <a:pt x="1558" y="582"/>
                  <a:pt x="1558" y="582"/>
                  <a:pt x="1558" y="581"/>
                </a:cubicBezTo>
                <a:cubicBezTo>
                  <a:pt x="1558" y="581"/>
                  <a:pt x="1558" y="581"/>
                  <a:pt x="1558" y="580"/>
                </a:cubicBezTo>
                <a:cubicBezTo>
                  <a:pt x="1558" y="580"/>
                  <a:pt x="1558" y="580"/>
                  <a:pt x="1559" y="578"/>
                </a:cubicBezTo>
                <a:cubicBezTo>
                  <a:pt x="1559" y="578"/>
                  <a:pt x="1559" y="578"/>
                  <a:pt x="1560" y="576"/>
                </a:cubicBezTo>
                <a:cubicBezTo>
                  <a:pt x="1560" y="576"/>
                  <a:pt x="1560" y="576"/>
                  <a:pt x="1560" y="572"/>
                </a:cubicBezTo>
                <a:cubicBezTo>
                  <a:pt x="1560" y="572"/>
                  <a:pt x="1560" y="572"/>
                  <a:pt x="1561" y="572"/>
                </a:cubicBezTo>
                <a:cubicBezTo>
                  <a:pt x="1561" y="572"/>
                  <a:pt x="1561" y="572"/>
                  <a:pt x="1561" y="571"/>
                </a:cubicBezTo>
                <a:cubicBezTo>
                  <a:pt x="1561" y="571"/>
                  <a:pt x="1561" y="571"/>
                  <a:pt x="1561" y="569"/>
                </a:cubicBezTo>
                <a:cubicBezTo>
                  <a:pt x="1561" y="569"/>
                  <a:pt x="1561" y="569"/>
                  <a:pt x="1562" y="568"/>
                </a:cubicBezTo>
                <a:cubicBezTo>
                  <a:pt x="1562" y="568"/>
                  <a:pt x="1562" y="568"/>
                  <a:pt x="1561" y="566"/>
                </a:cubicBezTo>
                <a:cubicBezTo>
                  <a:pt x="1561" y="566"/>
                  <a:pt x="1561" y="566"/>
                  <a:pt x="1560" y="564"/>
                </a:cubicBezTo>
                <a:cubicBezTo>
                  <a:pt x="1560" y="564"/>
                  <a:pt x="1560" y="564"/>
                  <a:pt x="1560" y="562"/>
                </a:cubicBezTo>
                <a:cubicBezTo>
                  <a:pt x="1560" y="562"/>
                  <a:pt x="1560" y="562"/>
                  <a:pt x="1561" y="562"/>
                </a:cubicBezTo>
                <a:cubicBezTo>
                  <a:pt x="1561" y="562"/>
                  <a:pt x="1561" y="562"/>
                  <a:pt x="1561" y="561"/>
                </a:cubicBezTo>
                <a:cubicBezTo>
                  <a:pt x="1561" y="561"/>
                  <a:pt x="1561" y="561"/>
                  <a:pt x="1560" y="559"/>
                </a:cubicBezTo>
                <a:cubicBezTo>
                  <a:pt x="1560" y="559"/>
                  <a:pt x="1560" y="559"/>
                  <a:pt x="1561" y="558"/>
                </a:cubicBezTo>
                <a:cubicBezTo>
                  <a:pt x="1561" y="558"/>
                  <a:pt x="1561" y="558"/>
                  <a:pt x="1562" y="556"/>
                </a:cubicBezTo>
                <a:cubicBezTo>
                  <a:pt x="1562" y="556"/>
                  <a:pt x="1562" y="556"/>
                  <a:pt x="1562" y="555"/>
                </a:cubicBezTo>
                <a:cubicBezTo>
                  <a:pt x="1562" y="555"/>
                  <a:pt x="1562" y="555"/>
                  <a:pt x="1561" y="555"/>
                </a:cubicBezTo>
                <a:cubicBezTo>
                  <a:pt x="1561" y="555"/>
                  <a:pt x="1561" y="555"/>
                  <a:pt x="1560" y="556"/>
                </a:cubicBezTo>
                <a:cubicBezTo>
                  <a:pt x="1560" y="556"/>
                  <a:pt x="1560" y="556"/>
                  <a:pt x="1559" y="557"/>
                </a:cubicBezTo>
                <a:cubicBezTo>
                  <a:pt x="1559" y="557"/>
                  <a:pt x="1559" y="557"/>
                  <a:pt x="1558" y="557"/>
                </a:cubicBezTo>
                <a:cubicBezTo>
                  <a:pt x="1558" y="557"/>
                  <a:pt x="1558" y="557"/>
                  <a:pt x="1556" y="556"/>
                </a:cubicBezTo>
                <a:cubicBezTo>
                  <a:pt x="1556" y="556"/>
                  <a:pt x="1556" y="556"/>
                  <a:pt x="1553" y="555"/>
                </a:cubicBezTo>
                <a:cubicBezTo>
                  <a:pt x="1553" y="555"/>
                  <a:pt x="1553" y="555"/>
                  <a:pt x="1550" y="559"/>
                </a:cubicBezTo>
                <a:cubicBezTo>
                  <a:pt x="1550" y="559"/>
                  <a:pt x="1550" y="559"/>
                  <a:pt x="1550" y="560"/>
                </a:cubicBezTo>
                <a:cubicBezTo>
                  <a:pt x="1550" y="560"/>
                  <a:pt x="1550" y="560"/>
                  <a:pt x="1549" y="560"/>
                </a:cubicBezTo>
                <a:cubicBezTo>
                  <a:pt x="1549" y="560"/>
                  <a:pt x="1549" y="560"/>
                  <a:pt x="1548" y="560"/>
                </a:cubicBezTo>
                <a:cubicBezTo>
                  <a:pt x="1548" y="560"/>
                  <a:pt x="1548" y="560"/>
                  <a:pt x="1546" y="561"/>
                </a:cubicBezTo>
                <a:cubicBezTo>
                  <a:pt x="1546" y="561"/>
                  <a:pt x="1546" y="561"/>
                  <a:pt x="1541" y="561"/>
                </a:cubicBezTo>
                <a:cubicBezTo>
                  <a:pt x="1541" y="561"/>
                  <a:pt x="1541" y="561"/>
                  <a:pt x="1539" y="560"/>
                </a:cubicBezTo>
                <a:cubicBezTo>
                  <a:pt x="1539" y="560"/>
                  <a:pt x="1539" y="560"/>
                  <a:pt x="1537" y="558"/>
                </a:cubicBezTo>
                <a:cubicBezTo>
                  <a:pt x="1537" y="558"/>
                  <a:pt x="1537" y="558"/>
                  <a:pt x="1536" y="558"/>
                </a:cubicBezTo>
                <a:cubicBezTo>
                  <a:pt x="1536" y="558"/>
                  <a:pt x="1536" y="558"/>
                  <a:pt x="1533" y="556"/>
                </a:cubicBezTo>
                <a:cubicBezTo>
                  <a:pt x="1533" y="556"/>
                  <a:pt x="1533" y="556"/>
                  <a:pt x="1531" y="556"/>
                </a:cubicBezTo>
                <a:cubicBezTo>
                  <a:pt x="1531" y="556"/>
                  <a:pt x="1531" y="556"/>
                  <a:pt x="1528" y="556"/>
                </a:cubicBezTo>
                <a:cubicBezTo>
                  <a:pt x="1528" y="556"/>
                  <a:pt x="1528" y="556"/>
                  <a:pt x="1528" y="557"/>
                </a:cubicBezTo>
                <a:cubicBezTo>
                  <a:pt x="1528" y="557"/>
                  <a:pt x="1528" y="557"/>
                  <a:pt x="1528" y="558"/>
                </a:cubicBezTo>
                <a:cubicBezTo>
                  <a:pt x="1528" y="558"/>
                  <a:pt x="1528" y="558"/>
                  <a:pt x="1528" y="560"/>
                </a:cubicBezTo>
                <a:cubicBezTo>
                  <a:pt x="1528" y="560"/>
                  <a:pt x="1528" y="560"/>
                  <a:pt x="1527" y="560"/>
                </a:cubicBezTo>
                <a:cubicBezTo>
                  <a:pt x="1527" y="560"/>
                  <a:pt x="1527" y="560"/>
                  <a:pt x="1526" y="560"/>
                </a:cubicBezTo>
                <a:cubicBezTo>
                  <a:pt x="1526" y="560"/>
                  <a:pt x="1526" y="560"/>
                  <a:pt x="1525" y="560"/>
                </a:cubicBezTo>
                <a:cubicBezTo>
                  <a:pt x="1525" y="560"/>
                  <a:pt x="1525" y="560"/>
                  <a:pt x="1524" y="560"/>
                </a:cubicBezTo>
                <a:cubicBezTo>
                  <a:pt x="1524" y="560"/>
                  <a:pt x="1524" y="560"/>
                  <a:pt x="1524" y="561"/>
                </a:cubicBezTo>
                <a:cubicBezTo>
                  <a:pt x="1524" y="561"/>
                  <a:pt x="1524" y="561"/>
                  <a:pt x="1522" y="561"/>
                </a:cubicBezTo>
                <a:cubicBezTo>
                  <a:pt x="1522" y="561"/>
                  <a:pt x="1522" y="561"/>
                  <a:pt x="1521" y="560"/>
                </a:cubicBezTo>
                <a:cubicBezTo>
                  <a:pt x="1521" y="560"/>
                  <a:pt x="1521" y="560"/>
                  <a:pt x="1520" y="561"/>
                </a:cubicBezTo>
                <a:cubicBezTo>
                  <a:pt x="1520" y="561"/>
                  <a:pt x="1520" y="561"/>
                  <a:pt x="1519" y="560"/>
                </a:cubicBezTo>
                <a:cubicBezTo>
                  <a:pt x="1519" y="560"/>
                  <a:pt x="1519" y="560"/>
                  <a:pt x="1519" y="559"/>
                </a:cubicBezTo>
                <a:cubicBezTo>
                  <a:pt x="1519" y="559"/>
                  <a:pt x="1519" y="559"/>
                  <a:pt x="1518" y="558"/>
                </a:cubicBezTo>
                <a:cubicBezTo>
                  <a:pt x="1518" y="558"/>
                  <a:pt x="1518" y="558"/>
                  <a:pt x="1519" y="558"/>
                </a:cubicBezTo>
                <a:cubicBezTo>
                  <a:pt x="1519" y="558"/>
                  <a:pt x="1519" y="558"/>
                  <a:pt x="1519" y="557"/>
                </a:cubicBezTo>
                <a:cubicBezTo>
                  <a:pt x="1519" y="557"/>
                  <a:pt x="1519" y="557"/>
                  <a:pt x="1518" y="557"/>
                </a:cubicBezTo>
                <a:cubicBezTo>
                  <a:pt x="1518" y="557"/>
                  <a:pt x="1518" y="557"/>
                  <a:pt x="1517" y="558"/>
                </a:cubicBezTo>
                <a:cubicBezTo>
                  <a:pt x="1517" y="558"/>
                  <a:pt x="1517" y="558"/>
                  <a:pt x="1516" y="557"/>
                </a:cubicBezTo>
                <a:cubicBezTo>
                  <a:pt x="1516" y="557"/>
                  <a:pt x="1516" y="557"/>
                  <a:pt x="1515" y="557"/>
                </a:cubicBezTo>
                <a:cubicBezTo>
                  <a:pt x="1515" y="557"/>
                  <a:pt x="1515" y="557"/>
                  <a:pt x="1515" y="556"/>
                </a:cubicBezTo>
                <a:cubicBezTo>
                  <a:pt x="1515" y="556"/>
                  <a:pt x="1515" y="556"/>
                  <a:pt x="1514" y="556"/>
                </a:cubicBezTo>
                <a:cubicBezTo>
                  <a:pt x="1514" y="556"/>
                  <a:pt x="1514" y="556"/>
                  <a:pt x="1513" y="557"/>
                </a:cubicBezTo>
                <a:cubicBezTo>
                  <a:pt x="1513" y="557"/>
                  <a:pt x="1513" y="557"/>
                  <a:pt x="1512" y="558"/>
                </a:cubicBezTo>
                <a:cubicBezTo>
                  <a:pt x="1512" y="558"/>
                  <a:pt x="1512" y="558"/>
                  <a:pt x="1512" y="557"/>
                </a:cubicBezTo>
                <a:cubicBezTo>
                  <a:pt x="1512" y="557"/>
                  <a:pt x="1512" y="557"/>
                  <a:pt x="1511" y="557"/>
                </a:cubicBezTo>
                <a:cubicBezTo>
                  <a:pt x="1511" y="557"/>
                  <a:pt x="1511" y="557"/>
                  <a:pt x="1510" y="557"/>
                </a:cubicBezTo>
                <a:cubicBezTo>
                  <a:pt x="1510" y="557"/>
                  <a:pt x="1510" y="557"/>
                  <a:pt x="1512" y="556"/>
                </a:cubicBezTo>
                <a:cubicBezTo>
                  <a:pt x="1512" y="556"/>
                  <a:pt x="1512" y="556"/>
                  <a:pt x="1512" y="555"/>
                </a:cubicBezTo>
                <a:cubicBezTo>
                  <a:pt x="1512" y="555"/>
                  <a:pt x="1512" y="555"/>
                  <a:pt x="1510" y="555"/>
                </a:cubicBezTo>
                <a:cubicBezTo>
                  <a:pt x="1510" y="555"/>
                  <a:pt x="1510" y="555"/>
                  <a:pt x="1508" y="555"/>
                </a:cubicBezTo>
                <a:cubicBezTo>
                  <a:pt x="1508" y="555"/>
                  <a:pt x="1508" y="555"/>
                  <a:pt x="1509" y="554"/>
                </a:cubicBezTo>
                <a:cubicBezTo>
                  <a:pt x="1509" y="554"/>
                  <a:pt x="1509" y="554"/>
                  <a:pt x="1507" y="552"/>
                </a:cubicBezTo>
                <a:cubicBezTo>
                  <a:pt x="1507" y="552"/>
                  <a:pt x="1507" y="552"/>
                  <a:pt x="1507" y="551"/>
                </a:cubicBezTo>
                <a:cubicBezTo>
                  <a:pt x="1507" y="551"/>
                  <a:pt x="1507" y="551"/>
                  <a:pt x="1506" y="551"/>
                </a:cubicBezTo>
                <a:cubicBezTo>
                  <a:pt x="1506" y="551"/>
                  <a:pt x="1506" y="551"/>
                  <a:pt x="1507" y="550"/>
                </a:cubicBezTo>
                <a:cubicBezTo>
                  <a:pt x="1507" y="550"/>
                  <a:pt x="1507" y="550"/>
                  <a:pt x="1506" y="548"/>
                </a:cubicBezTo>
                <a:cubicBezTo>
                  <a:pt x="1506" y="548"/>
                  <a:pt x="1506" y="548"/>
                  <a:pt x="1505" y="547"/>
                </a:cubicBezTo>
                <a:cubicBezTo>
                  <a:pt x="1505" y="547"/>
                  <a:pt x="1505" y="547"/>
                  <a:pt x="1504" y="547"/>
                </a:cubicBezTo>
                <a:cubicBezTo>
                  <a:pt x="1504" y="547"/>
                  <a:pt x="1504" y="547"/>
                  <a:pt x="1503" y="546"/>
                </a:cubicBezTo>
                <a:cubicBezTo>
                  <a:pt x="1503" y="546"/>
                  <a:pt x="1503" y="546"/>
                  <a:pt x="1502" y="547"/>
                </a:cubicBezTo>
                <a:cubicBezTo>
                  <a:pt x="1502" y="547"/>
                  <a:pt x="1502" y="547"/>
                  <a:pt x="1501" y="546"/>
                </a:cubicBezTo>
                <a:cubicBezTo>
                  <a:pt x="1501" y="546"/>
                  <a:pt x="1501" y="546"/>
                  <a:pt x="1501" y="545"/>
                </a:cubicBezTo>
                <a:cubicBezTo>
                  <a:pt x="1501" y="545"/>
                  <a:pt x="1501" y="545"/>
                  <a:pt x="1502" y="545"/>
                </a:cubicBezTo>
                <a:cubicBezTo>
                  <a:pt x="1502" y="545"/>
                  <a:pt x="1502" y="545"/>
                  <a:pt x="1501" y="544"/>
                </a:cubicBezTo>
                <a:cubicBezTo>
                  <a:pt x="1501" y="544"/>
                  <a:pt x="1501" y="544"/>
                  <a:pt x="1502" y="543"/>
                </a:cubicBezTo>
                <a:cubicBezTo>
                  <a:pt x="1502" y="543"/>
                  <a:pt x="1502" y="543"/>
                  <a:pt x="1503" y="544"/>
                </a:cubicBezTo>
                <a:cubicBezTo>
                  <a:pt x="1503" y="544"/>
                  <a:pt x="1503" y="544"/>
                  <a:pt x="1504" y="543"/>
                </a:cubicBezTo>
                <a:cubicBezTo>
                  <a:pt x="1504" y="543"/>
                  <a:pt x="1504" y="543"/>
                  <a:pt x="1503" y="542"/>
                </a:cubicBezTo>
                <a:cubicBezTo>
                  <a:pt x="1503" y="542"/>
                  <a:pt x="1503" y="542"/>
                  <a:pt x="1505" y="541"/>
                </a:cubicBezTo>
                <a:cubicBezTo>
                  <a:pt x="1505" y="541"/>
                  <a:pt x="1505" y="541"/>
                  <a:pt x="1506" y="541"/>
                </a:cubicBezTo>
                <a:cubicBezTo>
                  <a:pt x="1506" y="541"/>
                  <a:pt x="1506" y="541"/>
                  <a:pt x="1506" y="540"/>
                </a:cubicBezTo>
                <a:cubicBezTo>
                  <a:pt x="1506" y="540"/>
                  <a:pt x="1506" y="540"/>
                  <a:pt x="1504" y="541"/>
                </a:cubicBezTo>
                <a:cubicBezTo>
                  <a:pt x="1504" y="541"/>
                  <a:pt x="1504" y="541"/>
                  <a:pt x="1504" y="540"/>
                </a:cubicBezTo>
                <a:cubicBezTo>
                  <a:pt x="1504" y="540"/>
                  <a:pt x="1504" y="540"/>
                  <a:pt x="1504" y="539"/>
                </a:cubicBezTo>
                <a:cubicBezTo>
                  <a:pt x="1504" y="539"/>
                  <a:pt x="1504" y="539"/>
                  <a:pt x="1504" y="538"/>
                </a:cubicBezTo>
                <a:cubicBezTo>
                  <a:pt x="1504" y="538"/>
                  <a:pt x="1504" y="538"/>
                  <a:pt x="1503" y="537"/>
                </a:cubicBezTo>
                <a:cubicBezTo>
                  <a:pt x="1503" y="537"/>
                  <a:pt x="1503" y="537"/>
                  <a:pt x="1505" y="536"/>
                </a:cubicBezTo>
                <a:cubicBezTo>
                  <a:pt x="1505" y="536"/>
                  <a:pt x="1505" y="536"/>
                  <a:pt x="1503" y="536"/>
                </a:cubicBezTo>
                <a:cubicBezTo>
                  <a:pt x="1503" y="536"/>
                  <a:pt x="1503" y="536"/>
                  <a:pt x="1502" y="536"/>
                </a:cubicBezTo>
                <a:cubicBezTo>
                  <a:pt x="1502" y="536"/>
                  <a:pt x="1502" y="536"/>
                  <a:pt x="1500" y="536"/>
                </a:cubicBezTo>
                <a:cubicBezTo>
                  <a:pt x="1500" y="536"/>
                  <a:pt x="1500" y="536"/>
                  <a:pt x="1500" y="535"/>
                </a:cubicBezTo>
                <a:cubicBezTo>
                  <a:pt x="1500" y="535"/>
                  <a:pt x="1500" y="535"/>
                  <a:pt x="1500" y="534"/>
                </a:cubicBezTo>
                <a:cubicBezTo>
                  <a:pt x="1500" y="534"/>
                  <a:pt x="1500" y="534"/>
                  <a:pt x="1500" y="533"/>
                </a:cubicBezTo>
                <a:cubicBezTo>
                  <a:pt x="1500" y="533"/>
                  <a:pt x="1500" y="533"/>
                  <a:pt x="1500" y="532"/>
                </a:cubicBezTo>
                <a:cubicBezTo>
                  <a:pt x="1500" y="532"/>
                  <a:pt x="1500" y="532"/>
                  <a:pt x="1500" y="531"/>
                </a:cubicBezTo>
                <a:cubicBezTo>
                  <a:pt x="1500" y="531"/>
                  <a:pt x="1500" y="531"/>
                  <a:pt x="1503" y="529"/>
                </a:cubicBezTo>
                <a:cubicBezTo>
                  <a:pt x="1503" y="529"/>
                  <a:pt x="1503" y="529"/>
                  <a:pt x="1505" y="529"/>
                </a:cubicBezTo>
                <a:cubicBezTo>
                  <a:pt x="1505" y="529"/>
                  <a:pt x="1505" y="529"/>
                  <a:pt x="1506" y="530"/>
                </a:cubicBezTo>
                <a:cubicBezTo>
                  <a:pt x="1506" y="530"/>
                  <a:pt x="1506" y="530"/>
                  <a:pt x="1507" y="530"/>
                </a:cubicBezTo>
                <a:cubicBezTo>
                  <a:pt x="1507" y="530"/>
                  <a:pt x="1507" y="530"/>
                  <a:pt x="1508" y="529"/>
                </a:cubicBezTo>
                <a:cubicBezTo>
                  <a:pt x="1508" y="529"/>
                  <a:pt x="1508" y="529"/>
                  <a:pt x="1509" y="529"/>
                </a:cubicBezTo>
                <a:cubicBezTo>
                  <a:pt x="1509" y="529"/>
                  <a:pt x="1509" y="529"/>
                  <a:pt x="1510" y="530"/>
                </a:cubicBezTo>
                <a:cubicBezTo>
                  <a:pt x="1510" y="530"/>
                  <a:pt x="1510" y="530"/>
                  <a:pt x="1511" y="529"/>
                </a:cubicBezTo>
                <a:cubicBezTo>
                  <a:pt x="1511" y="529"/>
                  <a:pt x="1511" y="529"/>
                  <a:pt x="1513" y="530"/>
                </a:cubicBezTo>
                <a:cubicBezTo>
                  <a:pt x="1513" y="530"/>
                  <a:pt x="1513" y="530"/>
                  <a:pt x="1516" y="530"/>
                </a:cubicBezTo>
                <a:cubicBezTo>
                  <a:pt x="1516" y="530"/>
                  <a:pt x="1516" y="530"/>
                  <a:pt x="1517" y="529"/>
                </a:cubicBezTo>
                <a:cubicBezTo>
                  <a:pt x="1517" y="529"/>
                  <a:pt x="1517" y="529"/>
                  <a:pt x="1516" y="528"/>
                </a:cubicBezTo>
                <a:cubicBezTo>
                  <a:pt x="1516" y="528"/>
                  <a:pt x="1516" y="528"/>
                  <a:pt x="1515" y="529"/>
                </a:cubicBezTo>
                <a:cubicBezTo>
                  <a:pt x="1515" y="529"/>
                  <a:pt x="1515" y="529"/>
                  <a:pt x="1514" y="528"/>
                </a:cubicBezTo>
                <a:cubicBezTo>
                  <a:pt x="1514" y="528"/>
                  <a:pt x="1514" y="528"/>
                  <a:pt x="1515" y="527"/>
                </a:cubicBezTo>
                <a:cubicBezTo>
                  <a:pt x="1515" y="527"/>
                  <a:pt x="1515" y="527"/>
                  <a:pt x="1517" y="527"/>
                </a:cubicBezTo>
                <a:cubicBezTo>
                  <a:pt x="1517" y="527"/>
                  <a:pt x="1517" y="527"/>
                  <a:pt x="1520" y="526"/>
                </a:cubicBezTo>
                <a:cubicBezTo>
                  <a:pt x="1520" y="526"/>
                  <a:pt x="1520" y="526"/>
                  <a:pt x="1519" y="526"/>
                </a:cubicBezTo>
                <a:cubicBezTo>
                  <a:pt x="1519" y="526"/>
                  <a:pt x="1519" y="526"/>
                  <a:pt x="1517" y="526"/>
                </a:cubicBezTo>
                <a:cubicBezTo>
                  <a:pt x="1517" y="526"/>
                  <a:pt x="1517" y="526"/>
                  <a:pt x="1516" y="524"/>
                </a:cubicBezTo>
                <a:cubicBezTo>
                  <a:pt x="1516" y="524"/>
                  <a:pt x="1516" y="524"/>
                  <a:pt x="1516" y="523"/>
                </a:cubicBezTo>
                <a:cubicBezTo>
                  <a:pt x="1516" y="523"/>
                  <a:pt x="1516" y="523"/>
                  <a:pt x="1518" y="522"/>
                </a:cubicBezTo>
                <a:cubicBezTo>
                  <a:pt x="1518" y="522"/>
                  <a:pt x="1518" y="522"/>
                  <a:pt x="1519" y="523"/>
                </a:cubicBezTo>
                <a:cubicBezTo>
                  <a:pt x="1519" y="523"/>
                  <a:pt x="1519" y="523"/>
                  <a:pt x="1521" y="522"/>
                </a:cubicBezTo>
                <a:cubicBezTo>
                  <a:pt x="1521" y="522"/>
                  <a:pt x="1521" y="522"/>
                  <a:pt x="1522" y="522"/>
                </a:cubicBezTo>
                <a:cubicBezTo>
                  <a:pt x="1522" y="522"/>
                  <a:pt x="1522" y="522"/>
                  <a:pt x="1523" y="522"/>
                </a:cubicBezTo>
                <a:cubicBezTo>
                  <a:pt x="1523" y="522"/>
                  <a:pt x="1523" y="522"/>
                  <a:pt x="1524" y="522"/>
                </a:cubicBezTo>
                <a:cubicBezTo>
                  <a:pt x="1524" y="522"/>
                  <a:pt x="1524" y="522"/>
                  <a:pt x="1527" y="523"/>
                </a:cubicBezTo>
                <a:cubicBezTo>
                  <a:pt x="1527" y="523"/>
                  <a:pt x="1527" y="523"/>
                  <a:pt x="1529" y="523"/>
                </a:cubicBezTo>
                <a:cubicBezTo>
                  <a:pt x="1529" y="523"/>
                  <a:pt x="1529" y="523"/>
                  <a:pt x="1529" y="522"/>
                </a:cubicBezTo>
                <a:cubicBezTo>
                  <a:pt x="1529" y="522"/>
                  <a:pt x="1529" y="522"/>
                  <a:pt x="1530" y="522"/>
                </a:cubicBezTo>
                <a:cubicBezTo>
                  <a:pt x="1530" y="522"/>
                  <a:pt x="1530" y="522"/>
                  <a:pt x="1530" y="520"/>
                </a:cubicBezTo>
                <a:cubicBezTo>
                  <a:pt x="1530" y="520"/>
                  <a:pt x="1530" y="520"/>
                  <a:pt x="1531" y="520"/>
                </a:cubicBezTo>
                <a:cubicBezTo>
                  <a:pt x="1531" y="520"/>
                  <a:pt x="1531" y="520"/>
                  <a:pt x="1532" y="519"/>
                </a:cubicBezTo>
                <a:cubicBezTo>
                  <a:pt x="1532" y="519"/>
                  <a:pt x="1532" y="519"/>
                  <a:pt x="1533" y="519"/>
                </a:cubicBezTo>
                <a:cubicBezTo>
                  <a:pt x="1533" y="519"/>
                  <a:pt x="1533" y="519"/>
                  <a:pt x="1534" y="518"/>
                </a:cubicBezTo>
                <a:cubicBezTo>
                  <a:pt x="1534" y="518"/>
                  <a:pt x="1534" y="518"/>
                  <a:pt x="1536" y="517"/>
                </a:cubicBezTo>
                <a:cubicBezTo>
                  <a:pt x="1536" y="517"/>
                  <a:pt x="1536" y="517"/>
                  <a:pt x="1537" y="517"/>
                </a:cubicBezTo>
                <a:cubicBezTo>
                  <a:pt x="1537" y="517"/>
                  <a:pt x="1537" y="517"/>
                  <a:pt x="1540" y="516"/>
                </a:cubicBezTo>
                <a:cubicBezTo>
                  <a:pt x="1540" y="516"/>
                  <a:pt x="1540" y="516"/>
                  <a:pt x="1542" y="516"/>
                </a:cubicBezTo>
                <a:cubicBezTo>
                  <a:pt x="1542" y="516"/>
                  <a:pt x="1542" y="516"/>
                  <a:pt x="1545" y="516"/>
                </a:cubicBezTo>
                <a:cubicBezTo>
                  <a:pt x="1545" y="516"/>
                  <a:pt x="1545" y="516"/>
                  <a:pt x="1546" y="515"/>
                </a:cubicBezTo>
                <a:cubicBezTo>
                  <a:pt x="1546" y="515"/>
                  <a:pt x="1546" y="515"/>
                  <a:pt x="1547" y="516"/>
                </a:cubicBezTo>
                <a:cubicBezTo>
                  <a:pt x="1547" y="516"/>
                  <a:pt x="1547" y="516"/>
                  <a:pt x="1549" y="516"/>
                </a:cubicBezTo>
                <a:cubicBezTo>
                  <a:pt x="1549" y="516"/>
                  <a:pt x="1549" y="516"/>
                  <a:pt x="1551" y="515"/>
                </a:cubicBezTo>
                <a:cubicBezTo>
                  <a:pt x="1551" y="515"/>
                  <a:pt x="1551" y="515"/>
                  <a:pt x="1551" y="516"/>
                </a:cubicBezTo>
                <a:cubicBezTo>
                  <a:pt x="1551" y="516"/>
                  <a:pt x="1551" y="516"/>
                  <a:pt x="1554" y="518"/>
                </a:cubicBezTo>
                <a:cubicBezTo>
                  <a:pt x="1554" y="518"/>
                  <a:pt x="1554" y="518"/>
                  <a:pt x="1555" y="518"/>
                </a:cubicBezTo>
                <a:cubicBezTo>
                  <a:pt x="1555" y="518"/>
                  <a:pt x="1555" y="518"/>
                  <a:pt x="1556" y="517"/>
                </a:cubicBezTo>
                <a:cubicBezTo>
                  <a:pt x="1556" y="517"/>
                  <a:pt x="1556" y="517"/>
                  <a:pt x="1557" y="517"/>
                </a:cubicBezTo>
                <a:cubicBezTo>
                  <a:pt x="1557" y="517"/>
                  <a:pt x="1557" y="517"/>
                  <a:pt x="1558" y="518"/>
                </a:cubicBezTo>
                <a:cubicBezTo>
                  <a:pt x="1558" y="518"/>
                  <a:pt x="1558" y="518"/>
                  <a:pt x="1558" y="519"/>
                </a:cubicBezTo>
                <a:cubicBezTo>
                  <a:pt x="1558" y="519"/>
                  <a:pt x="1558" y="519"/>
                  <a:pt x="1559" y="521"/>
                </a:cubicBezTo>
                <a:cubicBezTo>
                  <a:pt x="1559" y="521"/>
                  <a:pt x="1559" y="521"/>
                  <a:pt x="1560" y="521"/>
                </a:cubicBezTo>
                <a:cubicBezTo>
                  <a:pt x="1560" y="521"/>
                  <a:pt x="1560" y="521"/>
                  <a:pt x="1561" y="520"/>
                </a:cubicBezTo>
                <a:cubicBezTo>
                  <a:pt x="1561" y="520"/>
                  <a:pt x="1561" y="520"/>
                  <a:pt x="1564" y="521"/>
                </a:cubicBezTo>
                <a:cubicBezTo>
                  <a:pt x="1564" y="521"/>
                  <a:pt x="1564" y="521"/>
                  <a:pt x="1565" y="522"/>
                </a:cubicBezTo>
                <a:cubicBezTo>
                  <a:pt x="1565" y="522"/>
                  <a:pt x="1565" y="522"/>
                  <a:pt x="1567" y="523"/>
                </a:cubicBezTo>
                <a:cubicBezTo>
                  <a:pt x="1567" y="523"/>
                  <a:pt x="1567" y="523"/>
                  <a:pt x="1568" y="522"/>
                </a:cubicBezTo>
                <a:cubicBezTo>
                  <a:pt x="1568" y="522"/>
                  <a:pt x="1568" y="522"/>
                  <a:pt x="1570" y="523"/>
                </a:cubicBezTo>
                <a:cubicBezTo>
                  <a:pt x="1570" y="523"/>
                  <a:pt x="1570" y="523"/>
                  <a:pt x="1572" y="524"/>
                </a:cubicBezTo>
                <a:cubicBezTo>
                  <a:pt x="1572" y="524"/>
                  <a:pt x="1572" y="524"/>
                  <a:pt x="1574" y="523"/>
                </a:cubicBezTo>
                <a:cubicBezTo>
                  <a:pt x="1574" y="523"/>
                  <a:pt x="1574" y="523"/>
                  <a:pt x="1577" y="522"/>
                </a:cubicBezTo>
                <a:cubicBezTo>
                  <a:pt x="1577" y="522"/>
                  <a:pt x="1577" y="522"/>
                  <a:pt x="1578" y="522"/>
                </a:cubicBezTo>
                <a:cubicBezTo>
                  <a:pt x="1578" y="522"/>
                  <a:pt x="1578" y="522"/>
                  <a:pt x="1579" y="522"/>
                </a:cubicBezTo>
                <a:cubicBezTo>
                  <a:pt x="1579" y="522"/>
                  <a:pt x="1579" y="522"/>
                  <a:pt x="1580" y="523"/>
                </a:cubicBezTo>
                <a:cubicBezTo>
                  <a:pt x="1580" y="523"/>
                  <a:pt x="1580" y="523"/>
                  <a:pt x="1582" y="523"/>
                </a:cubicBezTo>
                <a:cubicBezTo>
                  <a:pt x="1582" y="523"/>
                  <a:pt x="1582" y="523"/>
                  <a:pt x="1583" y="523"/>
                </a:cubicBezTo>
                <a:cubicBezTo>
                  <a:pt x="1583" y="523"/>
                  <a:pt x="1583" y="523"/>
                  <a:pt x="1585" y="523"/>
                </a:cubicBezTo>
                <a:cubicBezTo>
                  <a:pt x="1585" y="523"/>
                  <a:pt x="1585" y="523"/>
                  <a:pt x="1586" y="522"/>
                </a:cubicBezTo>
                <a:cubicBezTo>
                  <a:pt x="1586" y="522"/>
                  <a:pt x="1586" y="522"/>
                  <a:pt x="1588" y="521"/>
                </a:cubicBezTo>
                <a:cubicBezTo>
                  <a:pt x="1588" y="521"/>
                  <a:pt x="1588" y="521"/>
                  <a:pt x="1589" y="520"/>
                </a:cubicBezTo>
                <a:cubicBezTo>
                  <a:pt x="1589" y="520"/>
                  <a:pt x="1589" y="520"/>
                  <a:pt x="1590" y="518"/>
                </a:cubicBezTo>
                <a:cubicBezTo>
                  <a:pt x="1590" y="517"/>
                  <a:pt x="1590" y="517"/>
                  <a:pt x="1590" y="517"/>
                </a:cubicBezTo>
                <a:cubicBezTo>
                  <a:pt x="1590" y="516"/>
                  <a:pt x="1590" y="516"/>
                  <a:pt x="1590" y="516"/>
                </a:cubicBezTo>
                <a:cubicBezTo>
                  <a:pt x="1591" y="516"/>
                  <a:pt x="1591" y="516"/>
                  <a:pt x="1591" y="516"/>
                </a:cubicBezTo>
                <a:cubicBezTo>
                  <a:pt x="1589" y="514"/>
                  <a:pt x="1589" y="514"/>
                  <a:pt x="1589" y="514"/>
                </a:cubicBezTo>
                <a:cubicBezTo>
                  <a:pt x="1589" y="511"/>
                  <a:pt x="1589" y="511"/>
                  <a:pt x="1589" y="511"/>
                </a:cubicBezTo>
                <a:cubicBezTo>
                  <a:pt x="1588" y="510"/>
                  <a:pt x="1588" y="510"/>
                  <a:pt x="1588" y="510"/>
                </a:cubicBezTo>
                <a:cubicBezTo>
                  <a:pt x="1587" y="508"/>
                  <a:pt x="1587" y="508"/>
                  <a:pt x="1587" y="508"/>
                </a:cubicBezTo>
                <a:cubicBezTo>
                  <a:pt x="1586" y="508"/>
                  <a:pt x="1586" y="508"/>
                  <a:pt x="1586" y="508"/>
                </a:cubicBezTo>
                <a:cubicBezTo>
                  <a:pt x="1585" y="507"/>
                  <a:pt x="1585" y="507"/>
                  <a:pt x="1585" y="507"/>
                </a:cubicBezTo>
                <a:cubicBezTo>
                  <a:pt x="1584" y="506"/>
                  <a:pt x="1584" y="506"/>
                  <a:pt x="1584" y="506"/>
                </a:cubicBezTo>
                <a:cubicBezTo>
                  <a:pt x="1583" y="506"/>
                  <a:pt x="1583" y="506"/>
                  <a:pt x="1583" y="506"/>
                </a:cubicBezTo>
                <a:cubicBezTo>
                  <a:pt x="1581" y="505"/>
                  <a:pt x="1581" y="505"/>
                  <a:pt x="1581" y="505"/>
                </a:cubicBezTo>
                <a:cubicBezTo>
                  <a:pt x="1580" y="504"/>
                  <a:pt x="1580" y="504"/>
                  <a:pt x="1580" y="504"/>
                </a:cubicBezTo>
                <a:cubicBezTo>
                  <a:pt x="1578" y="504"/>
                  <a:pt x="1578" y="504"/>
                  <a:pt x="1578" y="504"/>
                </a:cubicBezTo>
                <a:cubicBezTo>
                  <a:pt x="1578" y="503"/>
                  <a:pt x="1578" y="503"/>
                  <a:pt x="1578" y="503"/>
                </a:cubicBezTo>
                <a:cubicBezTo>
                  <a:pt x="1577" y="503"/>
                  <a:pt x="1577" y="503"/>
                  <a:pt x="1577" y="503"/>
                </a:cubicBezTo>
                <a:cubicBezTo>
                  <a:pt x="1576" y="502"/>
                  <a:pt x="1576" y="502"/>
                  <a:pt x="1576" y="502"/>
                </a:cubicBezTo>
                <a:cubicBezTo>
                  <a:pt x="1576" y="501"/>
                  <a:pt x="1576" y="501"/>
                  <a:pt x="1576" y="501"/>
                </a:cubicBezTo>
                <a:cubicBezTo>
                  <a:pt x="1575" y="501"/>
                  <a:pt x="1575" y="501"/>
                  <a:pt x="1575" y="501"/>
                </a:cubicBezTo>
                <a:cubicBezTo>
                  <a:pt x="1574" y="499"/>
                  <a:pt x="1574" y="499"/>
                  <a:pt x="1574" y="499"/>
                </a:cubicBezTo>
                <a:cubicBezTo>
                  <a:pt x="1570" y="496"/>
                  <a:pt x="1570" y="496"/>
                  <a:pt x="1570" y="496"/>
                </a:cubicBezTo>
                <a:cubicBezTo>
                  <a:pt x="1568" y="496"/>
                  <a:pt x="1568" y="496"/>
                  <a:pt x="1568" y="496"/>
                </a:cubicBezTo>
                <a:cubicBezTo>
                  <a:pt x="1566" y="494"/>
                  <a:pt x="1566" y="494"/>
                  <a:pt x="1566" y="494"/>
                </a:cubicBezTo>
                <a:cubicBezTo>
                  <a:pt x="1563" y="494"/>
                  <a:pt x="1563" y="494"/>
                  <a:pt x="1563" y="494"/>
                </a:cubicBezTo>
                <a:cubicBezTo>
                  <a:pt x="1562" y="493"/>
                  <a:pt x="1562" y="493"/>
                  <a:pt x="1562" y="493"/>
                </a:cubicBezTo>
                <a:cubicBezTo>
                  <a:pt x="1562" y="492"/>
                  <a:pt x="1562" y="492"/>
                  <a:pt x="1562" y="492"/>
                </a:cubicBezTo>
                <a:cubicBezTo>
                  <a:pt x="1560" y="491"/>
                  <a:pt x="1560" y="491"/>
                  <a:pt x="1560" y="491"/>
                </a:cubicBezTo>
                <a:cubicBezTo>
                  <a:pt x="1559" y="491"/>
                  <a:pt x="1559" y="491"/>
                  <a:pt x="1559" y="491"/>
                </a:cubicBezTo>
                <a:cubicBezTo>
                  <a:pt x="1558" y="491"/>
                  <a:pt x="1558" y="491"/>
                  <a:pt x="1558" y="491"/>
                </a:cubicBezTo>
                <a:cubicBezTo>
                  <a:pt x="1559" y="490"/>
                  <a:pt x="1559" y="490"/>
                  <a:pt x="1559" y="490"/>
                </a:cubicBezTo>
                <a:cubicBezTo>
                  <a:pt x="1560" y="489"/>
                  <a:pt x="1560" y="489"/>
                  <a:pt x="1560" y="489"/>
                </a:cubicBezTo>
                <a:cubicBezTo>
                  <a:pt x="1559" y="488"/>
                  <a:pt x="1559" y="488"/>
                  <a:pt x="1559" y="488"/>
                </a:cubicBezTo>
                <a:cubicBezTo>
                  <a:pt x="1561" y="488"/>
                  <a:pt x="1561" y="488"/>
                  <a:pt x="1561" y="488"/>
                </a:cubicBezTo>
                <a:cubicBezTo>
                  <a:pt x="1562" y="489"/>
                  <a:pt x="1562" y="489"/>
                  <a:pt x="1562" y="489"/>
                </a:cubicBezTo>
                <a:cubicBezTo>
                  <a:pt x="1563" y="489"/>
                  <a:pt x="1563" y="489"/>
                  <a:pt x="1563" y="489"/>
                </a:cubicBezTo>
                <a:cubicBezTo>
                  <a:pt x="1563" y="487"/>
                  <a:pt x="1563" y="487"/>
                  <a:pt x="1563" y="487"/>
                </a:cubicBezTo>
                <a:cubicBezTo>
                  <a:pt x="1563" y="485"/>
                  <a:pt x="1563" y="485"/>
                  <a:pt x="1563" y="485"/>
                </a:cubicBezTo>
                <a:cubicBezTo>
                  <a:pt x="1564" y="484"/>
                  <a:pt x="1564" y="484"/>
                  <a:pt x="1564" y="484"/>
                </a:cubicBezTo>
                <a:cubicBezTo>
                  <a:pt x="1565" y="483"/>
                  <a:pt x="1565" y="483"/>
                  <a:pt x="1565" y="483"/>
                </a:cubicBezTo>
                <a:cubicBezTo>
                  <a:pt x="1566" y="483"/>
                  <a:pt x="1566" y="483"/>
                  <a:pt x="1566" y="483"/>
                </a:cubicBezTo>
                <a:cubicBezTo>
                  <a:pt x="1567" y="482"/>
                  <a:pt x="1567" y="482"/>
                  <a:pt x="1567" y="482"/>
                </a:cubicBezTo>
                <a:cubicBezTo>
                  <a:pt x="1566" y="481"/>
                  <a:pt x="1566" y="481"/>
                  <a:pt x="1566" y="481"/>
                </a:cubicBezTo>
                <a:cubicBezTo>
                  <a:pt x="1565" y="481"/>
                  <a:pt x="1565" y="481"/>
                  <a:pt x="1565" y="481"/>
                </a:cubicBezTo>
                <a:cubicBezTo>
                  <a:pt x="1564" y="480"/>
                  <a:pt x="1564" y="480"/>
                  <a:pt x="1564" y="480"/>
                </a:cubicBezTo>
                <a:cubicBezTo>
                  <a:pt x="1563" y="479"/>
                  <a:pt x="1563" y="479"/>
                  <a:pt x="1563" y="479"/>
                </a:cubicBezTo>
                <a:cubicBezTo>
                  <a:pt x="1565" y="478"/>
                  <a:pt x="1565" y="478"/>
                  <a:pt x="1565" y="478"/>
                </a:cubicBezTo>
                <a:cubicBezTo>
                  <a:pt x="1567" y="479"/>
                  <a:pt x="1567" y="479"/>
                  <a:pt x="1567" y="479"/>
                </a:cubicBezTo>
                <a:cubicBezTo>
                  <a:pt x="1567" y="478"/>
                  <a:pt x="1567" y="478"/>
                  <a:pt x="1567" y="478"/>
                </a:cubicBezTo>
                <a:cubicBezTo>
                  <a:pt x="1566" y="477"/>
                  <a:pt x="1566" y="477"/>
                  <a:pt x="1566" y="477"/>
                </a:cubicBezTo>
                <a:cubicBezTo>
                  <a:pt x="1567" y="476"/>
                  <a:pt x="1567" y="476"/>
                  <a:pt x="1567" y="476"/>
                </a:cubicBezTo>
                <a:cubicBezTo>
                  <a:pt x="1571" y="474"/>
                  <a:pt x="1571" y="474"/>
                  <a:pt x="1571" y="474"/>
                </a:cubicBezTo>
                <a:cubicBezTo>
                  <a:pt x="1571" y="473"/>
                  <a:pt x="1571" y="473"/>
                  <a:pt x="1571" y="473"/>
                </a:cubicBezTo>
                <a:cubicBezTo>
                  <a:pt x="1569" y="473"/>
                  <a:pt x="1569" y="473"/>
                  <a:pt x="1569" y="473"/>
                </a:cubicBezTo>
                <a:cubicBezTo>
                  <a:pt x="1567" y="474"/>
                  <a:pt x="1567" y="474"/>
                  <a:pt x="1567" y="474"/>
                </a:cubicBezTo>
                <a:cubicBezTo>
                  <a:pt x="1566" y="474"/>
                  <a:pt x="1566" y="474"/>
                  <a:pt x="1566" y="474"/>
                </a:cubicBezTo>
                <a:cubicBezTo>
                  <a:pt x="1566" y="474"/>
                  <a:pt x="1566" y="474"/>
                  <a:pt x="1565" y="474"/>
                </a:cubicBezTo>
                <a:cubicBezTo>
                  <a:pt x="1565" y="474"/>
                  <a:pt x="1565" y="474"/>
                  <a:pt x="1564" y="474"/>
                </a:cubicBezTo>
                <a:cubicBezTo>
                  <a:pt x="1564" y="474"/>
                  <a:pt x="1564" y="474"/>
                  <a:pt x="1562" y="474"/>
                </a:cubicBezTo>
                <a:cubicBezTo>
                  <a:pt x="1562" y="474"/>
                  <a:pt x="1562" y="474"/>
                  <a:pt x="1561" y="474"/>
                </a:cubicBezTo>
                <a:cubicBezTo>
                  <a:pt x="1561" y="474"/>
                  <a:pt x="1561" y="474"/>
                  <a:pt x="1560" y="475"/>
                </a:cubicBezTo>
                <a:cubicBezTo>
                  <a:pt x="1560" y="475"/>
                  <a:pt x="1560" y="475"/>
                  <a:pt x="1559" y="476"/>
                </a:cubicBezTo>
                <a:cubicBezTo>
                  <a:pt x="1559" y="476"/>
                  <a:pt x="1559" y="476"/>
                  <a:pt x="1558" y="476"/>
                </a:cubicBezTo>
                <a:cubicBezTo>
                  <a:pt x="1558" y="476"/>
                  <a:pt x="1558" y="476"/>
                  <a:pt x="1557" y="477"/>
                </a:cubicBezTo>
                <a:cubicBezTo>
                  <a:pt x="1557" y="477"/>
                  <a:pt x="1557" y="477"/>
                  <a:pt x="1556" y="478"/>
                </a:cubicBezTo>
                <a:cubicBezTo>
                  <a:pt x="1556" y="478"/>
                  <a:pt x="1556" y="478"/>
                  <a:pt x="1554" y="478"/>
                </a:cubicBezTo>
                <a:cubicBezTo>
                  <a:pt x="1554" y="478"/>
                  <a:pt x="1554" y="478"/>
                  <a:pt x="1553" y="479"/>
                </a:cubicBezTo>
                <a:cubicBezTo>
                  <a:pt x="1553" y="479"/>
                  <a:pt x="1553" y="479"/>
                  <a:pt x="1552" y="479"/>
                </a:cubicBezTo>
                <a:cubicBezTo>
                  <a:pt x="1552" y="479"/>
                  <a:pt x="1552" y="479"/>
                  <a:pt x="1550" y="479"/>
                </a:cubicBezTo>
                <a:cubicBezTo>
                  <a:pt x="1550" y="479"/>
                  <a:pt x="1550" y="479"/>
                  <a:pt x="1549" y="478"/>
                </a:cubicBezTo>
                <a:cubicBezTo>
                  <a:pt x="1549" y="478"/>
                  <a:pt x="1549" y="478"/>
                  <a:pt x="1548" y="478"/>
                </a:cubicBezTo>
                <a:cubicBezTo>
                  <a:pt x="1548" y="478"/>
                  <a:pt x="1548" y="478"/>
                  <a:pt x="1549" y="479"/>
                </a:cubicBezTo>
                <a:cubicBezTo>
                  <a:pt x="1549" y="479"/>
                  <a:pt x="1549" y="479"/>
                  <a:pt x="1549" y="480"/>
                </a:cubicBezTo>
                <a:cubicBezTo>
                  <a:pt x="1549" y="480"/>
                  <a:pt x="1549" y="480"/>
                  <a:pt x="1548" y="482"/>
                </a:cubicBezTo>
                <a:cubicBezTo>
                  <a:pt x="1548" y="482"/>
                  <a:pt x="1548" y="482"/>
                  <a:pt x="1547" y="483"/>
                </a:cubicBezTo>
                <a:cubicBezTo>
                  <a:pt x="1547" y="483"/>
                  <a:pt x="1547" y="483"/>
                  <a:pt x="1547" y="482"/>
                </a:cubicBezTo>
                <a:cubicBezTo>
                  <a:pt x="1547" y="482"/>
                  <a:pt x="1547" y="482"/>
                  <a:pt x="1548" y="480"/>
                </a:cubicBezTo>
                <a:cubicBezTo>
                  <a:pt x="1548" y="480"/>
                  <a:pt x="1548" y="480"/>
                  <a:pt x="1547" y="480"/>
                </a:cubicBezTo>
                <a:cubicBezTo>
                  <a:pt x="1547" y="480"/>
                  <a:pt x="1547" y="480"/>
                  <a:pt x="1545" y="482"/>
                </a:cubicBezTo>
                <a:cubicBezTo>
                  <a:pt x="1545" y="482"/>
                  <a:pt x="1545" y="482"/>
                  <a:pt x="1544" y="482"/>
                </a:cubicBezTo>
                <a:cubicBezTo>
                  <a:pt x="1544" y="482"/>
                  <a:pt x="1544" y="482"/>
                  <a:pt x="1544" y="483"/>
                </a:cubicBezTo>
                <a:cubicBezTo>
                  <a:pt x="1544" y="483"/>
                  <a:pt x="1544" y="483"/>
                  <a:pt x="1543" y="483"/>
                </a:cubicBezTo>
                <a:cubicBezTo>
                  <a:pt x="1543" y="483"/>
                  <a:pt x="1543" y="483"/>
                  <a:pt x="1542" y="483"/>
                </a:cubicBezTo>
                <a:cubicBezTo>
                  <a:pt x="1542" y="483"/>
                  <a:pt x="1542" y="483"/>
                  <a:pt x="1541" y="483"/>
                </a:cubicBezTo>
                <a:cubicBezTo>
                  <a:pt x="1541" y="483"/>
                  <a:pt x="1541" y="483"/>
                  <a:pt x="1540" y="483"/>
                </a:cubicBezTo>
                <a:cubicBezTo>
                  <a:pt x="1540" y="483"/>
                  <a:pt x="1540" y="483"/>
                  <a:pt x="1539" y="483"/>
                </a:cubicBezTo>
                <a:cubicBezTo>
                  <a:pt x="1539" y="483"/>
                  <a:pt x="1539" y="483"/>
                  <a:pt x="1538" y="483"/>
                </a:cubicBezTo>
                <a:cubicBezTo>
                  <a:pt x="1538" y="483"/>
                  <a:pt x="1538" y="483"/>
                  <a:pt x="1538" y="484"/>
                </a:cubicBezTo>
                <a:cubicBezTo>
                  <a:pt x="1538" y="484"/>
                  <a:pt x="1538" y="484"/>
                  <a:pt x="1537" y="484"/>
                </a:cubicBezTo>
                <a:cubicBezTo>
                  <a:pt x="1537" y="484"/>
                  <a:pt x="1537" y="484"/>
                  <a:pt x="1535" y="483"/>
                </a:cubicBezTo>
                <a:cubicBezTo>
                  <a:pt x="1535" y="483"/>
                  <a:pt x="1535" y="483"/>
                  <a:pt x="1534" y="483"/>
                </a:cubicBezTo>
                <a:cubicBezTo>
                  <a:pt x="1534" y="483"/>
                  <a:pt x="1534" y="483"/>
                  <a:pt x="1532" y="484"/>
                </a:cubicBezTo>
                <a:cubicBezTo>
                  <a:pt x="1532" y="484"/>
                  <a:pt x="1532" y="484"/>
                  <a:pt x="1531" y="483"/>
                </a:cubicBezTo>
                <a:cubicBezTo>
                  <a:pt x="1531" y="483"/>
                  <a:pt x="1531" y="483"/>
                  <a:pt x="1530" y="483"/>
                </a:cubicBezTo>
                <a:cubicBezTo>
                  <a:pt x="1530" y="483"/>
                  <a:pt x="1530" y="483"/>
                  <a:pt x="1529" y="482"/>
                </a:cubicBezTo>
                <a:cubicBezTo>
                  <a:pt x="1529" y="482"/>
                  <a:pt x="1529" y="482"/>
                  <a:pt x="1530" y="482"/>
                </a:cubicBezTo>
                <a:cubicBezTo>
                  <a:pt x="1530" y="482"/>
                  <a:pt x="1530" y="482"/>
                  <a:pt x="1530" y="481"/>
                </a:cubicBezTo>
                <a:cubicBezTo>
                  <a:pt x="1530" y="481"/>
                  <a:pt x="1530" y="481"/>
                  <a:pt x="1528" y="481"/>
                </a:cubicBezTo>
                <a:cubicBezTo>
                  <a:pt x="1528" y="481"/>
                  <a:pt x="1528" y="481"/>
                  <a:pt x="1526" y="481"/>
                </a:cubicBezTo>
                <a:cubicBezTo>
                  <a:pt x="1526" y="481"/>
                  <a:pt x="1526" y="481"/>
                  <a:pt x="1526" y="480"/>
                </a:cubicBezTo>
                <a:cubicBezTo>
                  <a:pt x="1526" y="480"/>
                  <a:pt x="1526" y="480"/>
                  <a:pt x="1527" y="480"/>
                </a:cubicBezTo>
                <a:cubicBezTo>
                  <a:pt x="1527" y="480"/>
                  <a:pt x="1527" y="480"/>
                  <a:pt x="1529" y="480"/>
                </a:cubicBezTo>
                <a:cubicBezTo>
                  <a:pt x="1529" y="480"/>
                  <a:pt x="1529" y="480"/>
                  <a:pt x="1530" y="480"/>
                </a:cubicBezTo>
                <a:cubicBezTo>
                  <a:pt x="1530" y="480"/>
                  <a:pt x="1530" y="480"/>
                  <a:pt x="1531" y="480"/>
                </a:cubicBezTo>
                <a:cubicBezTo>
                  <a:pt x="1531" y="480"/>
                  <a:pt x="1531" y="480"/>
                  <a:pt x="1532" y="479"/>
                </a:cubicBezTo>
                <a:cubicBezTo>
                  <a:pt x="1532" y="479"/>
                  <a:pt x="1532" y="479"/>
                  <a:pt x="1531" y="479"/>
                </a:cubicBezTo>
                <a:cubicBezTo>
                  <a:pt x="1531" y="479"/>
                  <a:pt x="1531" y="479"/>
                  <a:pt x="1530" y="479"/>
                </a:cubicBezTo>
                <a:cubicBezTo>
                  <a:pt x="1530" y="479"/>
                  <a:pt x="1530" y="479"/>
                  <a:pt x="1529" y="478"/>
                </a:cubicBezTo>
                <a:cubicBezTo>
                  <a:pt x="1529" y="478"/>
                  <a:pt x="1529" y="478"/>
                  <a:pt x="1528" y="478"/>
                </a:cubicBezTo>
                <a:cubicBezTo>
                  <a:pt x="1528" y="478"/>
                  <a:pt x="1528" y="478"/>
                  <a:pt x="1528" y="479"/>
                </a:cubicBezTo>
                <a:cubicBezTo>
                  <a:pt x="1528" y="479"/>
                  <a:pt x="1528" y="479"/>
                  <a:pt x="1527" y="479"/>
                </a:cubicBezTo>
                <a:cubicBezTo>
                  <a:pt x="1527" y="479"/>
                  <a:pt x="1527" y="479"/>
                  <a:pt x="1526" y="479"/>
                </a:cubicBezTo>
                <a:cubicBezTo>
                  <a:pt x="1526" y="479"/>
                  <a:pt x="1526" y="479"/>
                  <a:pt x="1526" y="478"/>
                </a:cubicBezTo>
                <a:cubicBezTo>
                  <a:pt x="1526" y="478"/>
                  <a:pt x="1526" y="478"/>
                  <a:pt x="1524" y="480"/>
                </a:cubicBezTo>
                <a:cubicBezTo>
                  <a:pt x="1524" y="480"/>
                  <a:pt x="1524" y="480"/>
                  <a:pt x="1523" y="480"/>
                </a:cubicBezTo>
                <a:cubicBezTo>
                  <a:pt x="1523" y="480"/>
                  <a:pt x="1523" y="480"/>
                  <a:pt x="1522" y="481"/>
                </a:cubicBezTo>
                <a:cubicBezTo>
                  <a:pt x="1522" y="481"/>
                  <a:pt x="1522" y="481"/>
                  <a:pt x="1522" y="482"/>
                </a:cubicBezTo>
                <a:cubicBezTo>
                  <a:pt x="1522" y="482"/>
                  <a:pt x="1522" y="482"/>
                  <a:pt x="1521" y="484"/>
                </a:cubicBezTo>
                <a:cubicBezTo>
                  <a:pt x="1521" y="484"/>
                  <a:pt x="1521" y="484"/>
                  <a:pt x="1520" y="484"/>
                </a:cubicBezTo>
                <a:cubicBezTo>
                  <a:pt x="1520" y="484"/>
                  <a:pt x="1520" y="484"/>
                  <a:pt x="1520" y="485"/>
                </a:cubicBezTo>
                <a:cubicBezTo>
                  <a:pt x="1520" y="485"/>
                  <a:pt x="1520" y="485"/>
                  <a:pt x="1518" y="488"/>
                </a:cubicBezTo>
                <a:cubicBezTo>
                  <a:pt x="1518" y="488"/>
                  <a:pt x="1518" y="488"/>
                  <a:pt x="1517" y="488"/>
                </a:cubicBezTo>
                <a:cubicBezTo>
                  <a:pt x="1517" y="488"/>
                  <a:pt x="1517" y="488"/>
                  <a:pt x="1516" y="488"/>
                </a:cubicBezTo>
                <a:cubicBezTo>
                  <a:pt x="1516" y="488"/>
                  <a:pt x="1516" y="488"/>
                  <a:pt x="1517" y="489"/>
                </a:cubicBezTo>
                <a:cubicBezTo>
                  <a:pt x="1517" y="489"/>
                  <a:pt x="1517" y="489"/>
                  <a:pt x="1517" y="490"/>
                </a:cubicBezTo>
                <a:cubicBezTo>
                  <a:pt x="1517" y="490"/>
                  <a:pt x="1517" y="490"/>
                  <a:pt x="1516" y="491"/>
                </a:cubicBezTo>
                <a:cubicBezTo>
                  <a:pt x="1516" y="491"/>
                  <a:pt x="1516" y="491"/>
                  <a:pt x="1517" y="491"/>
                </a:cubicBezTo>
                <a:cubicBezTo>
                  <a:pt x="1517" y="491"/>
                  <a:pt x="1517" y="491"/>
                  <a:pt x="1517" y="492"/>
                </a:cubicBezTo>
                <a:cubicBezTo>
                  <a:pt x="1517" y="492"/>
                  <a:pt x="1517" y="492"/>
                  <a:pt x="1516" y="494"/>
                </a:cubicBezTo>
                <a:cubicBezTo>
                  <a:pt x="1516" y="494"/>
                  <a:pt x="1516" y="494"/>
                  <a:pt x="1515" y="494"/>
                </a:cubicBezTo>
                <a:cubicBezTo>
                  <a:pt x="1515" y="494"/>
                  <a:pt x="1515" y="494"/>
                  <a:pt x="1512" y="494"/>
                </a:cubicBezTo>
                <a:cubicBezTo>
                  <a:pt x="1512" y="494"/>
                  <a:pt x="1512" y="494"/>
                  <a:pt x="1512" y="496"/>
                </a:cubicBezTo>
                <a:cubicBezTo>
                  <a:pt x="1512" y="496"/>
                  <a:pt x="1512" y="496"/>
                  <a:pt x="1511" y="497"/>
                </a:cubicBezTo>
                <a:cubicBezTo>
                  <a:pt x="1511" y="497"/>
                  <a:pt x="1511" y="497"/>
                  <a:pt x="1512" y="498"/>
                </a:cubicBezTo>
                <a:cubicBezTo>
                  <a:pt x="1512" y="498"/>
                  <a:pt x="1512" y="498"/>
                  <a:pt x="1512" y="499"/>
                </a:cubicBezTo>
                <a:cubicBezTo>
                  <a:pt x="1512" y="499"/>
                  <a:pt x="1512" y="499"/>
                  <a:pt x="1511" y="500"/>
                </a:cubicBezTo>
                <a:cubicBezTo>
                  <a:pt x="1511" y="500"/>
                  <a:pt x="1511" y="500"/>
                  <a:pt x="1512" y="502"/>
                </a:cubicBezTo>
                <a:cubicBezTo>
                  <a:pt x="1512" y="502"/>
                  <a:pt x="1512" y="502"/>
                  <a:pt x="1511" y="505"/>
                </a:cubicBezTo>
                <a:cubicBezTo>
                  <a:pt x="1511" y="505"/>
                  <a:pt x="1511" y="505"/>
                  <a:pt x="1509" y="505"/>
                </a:cubicBezTo>
                <a:cubicBezTo>
                  <a:pt x="1509" y="505"/>
                  <a:pt x="1509" y="505"/>
                  <a:pt x="1508" y="507"/>
                </a:cubicBezTo>
                <a:cubicBezTo>
                  <a:pt x="1508" y="507"/>
                  <a:pt x="1508" y="507"/>
                  <a:pt x="1508" y="510"/>
                </a:cubicBezTo>
                <a:cubicBezTo>
                  <a:pt x="1508" y="510"/>
                  <a:pt x="1508" y="510"/>
                  <a:pt x="1508" y="511"/>
                </a:cubicBezTo>
                <a:cubicBezTo>
                  <a:pt x="1508" y="511"/>
                  <a:pt x="1508" y="511"/>
                  <a:pt x="1506" y="512"/>
                </a:cubicBezTo>
                <a:cubicBezTo>
                  <a:pt x="1506" y="512"/>
                  <a:pt x="1506" y="512"/>
                  <a:pt x="1506" y="513"/>
                </a:cubicBezTo>
                <a:cubicBezTo>
                  <a:pt x="1506" y="513"/>
                  <a:pt x="1506" y="513"/>
                  <a:pt x="1507" y="513"/>
                </a:cubicBezTo>
                <a:cubicBezTo>
                  <a:pt x="1507" y="513"/>
                  <a:pt x="1507" y="513"/>
                  <a:pt x="1508" y="515"/>
                </a:cubicBezTo>
                <a:cubicBezTo>
                  <a:pt x="1508" y="515"/>
                  <a:pt x="1508" y="515"/>
                  <a:pt x="1509" y="516"/>
                </a:cubicBezTo>
                <a:cubicBezTo>
                  <a:pt x="1509" y="516"/>
                  <a:pt x="1509" y="516"/>
                  <a:pt x="1509" y="519"/>
                </a:cubicBezTo>
                <a:cubicBezTo>
                  <a:pt x="1509" y="519"/>
                  <a:pt x="1509" y="519"/>
                  <a:pt x="1511" y="520"/>
                </a:cubicBezTo>
                <a:cubicBezTo>
                  <a:pt x="1511" y="520"/>
                  <a:pt x="1511" y="520"/>
                  <a:pt x="1513" y="520"/>
                </a:cubicBezTo>
                <a:cubicBezTo>
                  <a:pt x="1513" y="520"/>
                  <a:pt x="1513" y="520"/>
                  <a:pt x="1514" y="522"/>
                </a:cubicBezTo>
                <a:cubicBezTo>
                  <a:pt x="1514" y="522"/>
                  <a:pt x="1514" y="522"/>
                  <a:pt x="1515" y="523"/>
                </a:cubicBezTo>
                <a:cubicBezTo>
                  <a:pt x="1515" y="523"/>
                  <a:pt x="1515" y="523"/>
                  <a:pt x="1514" y="525"/>
                </a:cubicBezTo>
                <a:cubicBezTo>
                  <a:pt x="1514" y="525"/>
                  <a:pt x="1514" y="525"/>
                  <a:pt x="1513" y="524"/>
                </a:cubicBezTo>
                <a:cubicBezTo>
                  <a:pt x="1513" y="524"/>
                  <a:pt x="1513" y="524"/>
                  <a:pt x="1512" y="524"/>
                </a:cubicBezTo>
                <a:cubicBezTo>
                  <a:pt x="1512" y="524"/>
                  <a:pt x="1512" y="524"/>
                  <a:pt x="1510" y="524"/>
                </a:cubicBezTo>
                <a:cubicBezTo>
                  <a:pt x="1510" y="524"/>
                  <a:pt x="1510" y="524"/>
                  <a:pt x="1508" y="524"/>
                </a:cubicBezTo>
                <a:cubicBezTo>
                  <a:pt x="1508" y="524"/>
                  <a:pt x="1508" y="524"/>
                  <a:pt x="1507" y="525"/>
                </a:cubicBezTo>
                <a:cubicBezTo>
                  <a:pt x="1507" y="525"/>
                  <a:pt x="1507" y="525"/>
                  <a:pt x="1506" y="527"/>
                </a:cubicBezTo>
                <a:cubicBezTo>
                  <a:pt x="1506" y="527"/>
                  <a:pt x="1506" y="527"/>
                  <a:pt x="1503" y="528"/>
                </a:cubicBezTo>
                <a:cubicBezTo>
                  <a:pt x="1503" y="528"/>
                  <a:pt x="1503" y="528"/>
                  <a:pt x="1500" y="531"/>
                </a:cubicBezTo>
                <a:cubicBezTo>
                  <a:pt x="1500" y="531"/>
                  <a:pt x="1500" y="531"/>
                  <a:pt x="1500" y="530"/>
                </a:cubicBezTo>
                <a:cubicBezTo>
                  <a:pt x="1500" y="530"/>
                  <a:pt x="1500" y="530"/>
                  <a:pt x="1500" y="528"/>
                </a:cubicBezTo>
                <a:cubicBezTo>
                  <a:pt x="1500" y="528"/>
                  <a:pt x="1500" y="528"/>
                  <a:pt x="1501" y="528"/>
                </a:cubicBezTo>
                <a:cubicBezTo>
                  <a:pt x="1501" y="528"/>
                  <a:pt x="1501" y="528"/>
                  <a:pt x="1502" y="527"/>
                </a:cubicBezTo>
                <a:cubicBezTo>
                  <a:pt x="1502" y="527"/>
                  <a:pt x="1502" y="527"/>
                  <a:pt x="1501" y="527"/>
                </a:cubicBezTo>
                <a:cubicBezTo>
                  <a:pt x="1501" y="527"/>
                  <a:pt x="1501" y="527"/>
                  <a:pt x="1500" y="527"/>
                </a:cubicBezTo>
                <a:cubicBezTo>
                  <a:pt x="1500" y="527"/>
                  <a:pt x="1500" y="527"/>
                  <a:pt x="1499" y="526"/>
                </a:cubicBezTo>
                <a:cubicBezTo>
                  <a:pt x="1499" y="526"/>
                  <a:pt x="1499" y="526"/>
                  <a:pt x="1498" y="525"/>
                </a:cubicBezTo>
                <a:cubicBezTo>
                  <a:pt x="1498" y="525"/>
                  <a:pt x="1498" y="525"/>
                  <a:pt x="1496" y="525"/>
                </a:cubicBezTo>
                <a:cubicBezTo>
                  <a:pt x="1496" y="525"/>
                  <a:pt x="1496" y="525"/>
                  <a:pt x="1494" y="525"/>
                </a:cubicBezTo>
                <a:cubicBezTo>
                  <a:pt x="1494" y="525"/>
                  <a:pt x="1494" y="525"/>
                  <a:pt x="1493" y="524"/>
                </a:cubicBezTo>
                <a:cubicBezTo>
                  <a:pt x="1493" y="524"/>
                  <a:pt x="1493" y="524"/>
                  <a:pt x="1492" y="524"/>
                </a:cubicBezTo>
                <a:cubicBezTo>
                  <a:pt x="1492" y="524"/>
                  <a:pt x="1492" y="524"/>
                  <a:pt x="1491" y="526"/>
                </a:cubicBezTo>
                <a:cubicBezTo>
                  <a:pt x="1491" y="527"/>
                  <a:pt x="1491" y="527"/>
                  <a:pt x="1491" y="527"/>
                </a:cubicBezTo>
                <a:cubicBezTo>
                  <a:pt x="1490" y="528"/>
                  <a:pt x="1490" y="528"/>
                  <a:pt x="1490" y="528"/>
                </a:cubicBezTo>
                <a:cubicBezTo>
                  <a:pt x="1490" y="527"/>
                  <a:pt x="1490" y="527"/>
                  <a:pt x="1490" y="527"/>
                </a:cubicBezTo>
                <a:cubicBezTo>
                  <a:pt x="1489" y="527"/>
                  <a:pt x="1489" y="527"/>
                  <a:pt x="1489" y="527"/>
                </a:cubicBezTo>
                <a:cubicBezTo>
                  <a:pt x="1490" y="526"/>
                  <a:pt x="1490" y="526"/>
                  <a:pt x="1490" y="526"/>
                </a:cubicBezTo>
                <a:cubicBezTo>
                  <a:pt x="1490" y="526"/>
                  <a:pt x="1490" y="526"/>
                  <a:pt x="1489" y="524"/>
                </a:cubicBezTo>
                <a:cubicBezTo>
                  <a:pt x="1489" y="524"/>
                  <a:pt x="1489" y="524"/>
                  <a:pt x="1488" y="525"/>
                </a:cubicBezTo>
                <a:cubicBezTo>
                  <a:pt x="1488" y="525"/>
                  <a:pt x="1488" y="525"/>
                  <a:pt x="1487" y="526"/>
                </a:cubicBezTo>
                <a:cubicBezTo>
                  <a:pt x="1487" y="526"/>
                  <a:pt x="1487" y="526"/>
                  <a:pt x="1486" y="527"/>
                </a:cubicBezTo>
                <a:cubicBezTo>
                  <a:pt x="1486" y="527"/>
                  <a:pt x="1486" y="527"/>
                  <a:pt x="1485" y="527"/>
                </a:cubicBezTo>
                <a:cubicBezTo>
                  <a:pt x="1485" y="527"/>
                  <a:pt x="1485" y="527"/>
                  <a:pt x="1484" y="527"/>
                </a:cubicBezTo>
                <a:cubicBezTo>
                  <a:pt x="1484" y="527"/>
                  <a:pt x="1484" y="527"/>
                  <a:pt x="1486" y="529"/>
                </a:cubicBezTo>
                <a:cubicBezTo>
                  <a:pt x="1486" y="529"/>
                  <a:pt x="1486" y="529"/>
                  <a:pt x="1487" y="529"/>
                </a:cubicBezTo>
                <a:cubicBezTo>
                  <a:pt x="1487" y="529"/>
                  <a:pt x="1487" y="529"/>
                  <a:pt x="1488" y="530"/>
                </a:cubicBezTo>
                <a:cubicBezTo>
                  <a:pt x="1488" y="530"/>
                  <a:pt x="1488" y="530"/>
                  <a:pt x="1488" y="531"/>
                </a:cubicBezTo>
                <a:cubicBezTo>
                  <a:pt x="1488" y="531"/>
                  <a:pt x="1488" y="531"/>
                  <a:pt x="1487" y="530"/>
                </a:cubicBezTo>
                <a:cubicBezTo>
                  <a:pt x="1487" y="530"/>
                  <a:pt x="1487" y="530"/>
                  <a:pt x="1485" y="530"/>
                </a:cubicBezTo>
                <a:cubicBezTo>
                  <a:pt x="1485" y="530"/>
                  <a:pt x="1485" y="530"/>
                  <a:pt x="1486" y="531"/>
                </a:cubicBezTo>
                <a:cubicBezTo>
                  <a:pt x="1486" y="531"/>
                  <a:pt x="1486" y="531"/>
                  <a:pt x="1486" y="532"/>
                </a:cubicBezTo>
                <a:cubicBezTo>
                  <a:pt x="1486" y="532"/>
                  <a:pt x="1486" y="532"/>
                  <a:pt x="1485" y="532"/>
                </a:cubicBezTo>
                <a:cubicBezTo>
                  <a:pt x="1485" y="532"/>
                  <a:pt x="1485" y="532"/>
                  <a:pt x="1484" y="531"/>
                </a:cubicBezTo>
                <a:cubicBezTo>
                  <a:pt x="1484" y="531"/>
                  <a:pt x="1484" y="531"/>
                  <a:pt x="1483" y="530"/>
                </a:cubicBezTo>
                <a:cubicBezTo>
                  <a:pt x="1483" y="530"/>
                  <a:pt x="1483" y="530"/>
                  <a:pt x="1483" y="531"/>
                </a:cubicBezTo>
                <a:cubicBezTo>
                  <a:pt x="1483" y="531"/>
                  <a:pt x="1483" y="531"/>
                  <a:pt x="1483" y="532"/>
                </a:cubicBezTo>
                <a:cubicBezTo>
                  <a:pt x="1483" y="532"/>
                  <a:pt x="1483" y="532"/>
                  <a:pt x="1484" y="533"/>
                </a:cubicBezTo>
                <a:cubicBezTo>
                  <a:pt x="1484" y="533"/>
                  <a:pt x="1484" y="533"/>
                  <a:pt x="1483" y="533"/>
                </a:cubicBezTo>
                <a:cubicBezTo>
                  <a:pt x="1483" y="533"/>
                  <a:pt x="1483" y="533"/>
                  <a:pt x="1482" y="532"/>
                </a:cubicBezTo>
                <a:cubicBezTo>
                  <a:pt x="1482" y="532"/>
                  <a:pt x="1482" y="532"/>
                  <a:pt x="1481" y="530"/>
                </a:cubicBezTo>
                <a:cubicBezTo>
                  <a:pt x="1481" y="530"/>
                  <a:pt x="1481" y="530"/>
                  <a:pt x="1479" y="529"/>
                </a:cubicBezTo>
                <a:cubicBezTo>
                  <a:pt x="1479" y="529"/>
                  <a:pt x="1479" y="529"/>
                  <a:pt x="1480" y="529"/>
                </a:cubicBezTo>
                <a:cubicBezTo>
                  <a:pt x="1480" y="529"/>
                  <a:pt x="1480" y="529"/>
                  <a:pt x="1480" y="527"/>
                </a:cubicBezTo>
                <a:cubicBezTo>
                  <a:pt x="1480" y="527"/>
                  <a:pt x="1480" y="527"/>
                  <a:pt x="1478" y="528"/>
                </a:cubicBezTo>
                <a:cubicBezTo>
                  <a:pt x="1478" y="528"/>
                  <a:pt x="1478" y="528"/>
                  <a:pt x="1477" y="529"/>
                </a:cubicBezTo>
                <a:cubicBezTo>
                  <a:pt x="1477" y="529"/>
                  <a:pt x="1477" y="529"/>
                  <a:pt x="1478" y="531"/>
                </a:cubicBezTo>
                <a:cubicBezTo>
                  <a:pt x="1478" y="531"/>
                  <a:pt x="1478" y="531"/>
                  <a:pt x="1477" y="532"/>
                </a:cubicBezTo>
                <a:cubicBezTo>
                  <a:pt x="1477" y="532"/>
                  <a:pt x="1477" y="532"/>
                  <a:pt x="1479" y="533"/>
                </a:cubicBezTo>
                <a:cubicBezTo>
                  <a:pt x="1479" y="533"/>
                  <a:pt x="1479" y="533"/>
                  <a:pt x="1479" y="534"/>
                </a:cubicBezTo>
                <a:cubicBezTo>
                  <a:pt x="1479" y="534"/>
                  <a:pt x="1479" y="534"/>
                  <a:pt x="1480" y="535"/>
                </a:cubicBezTo>
                <a:cubicBezTo>
                  <a:pt x="1480" y="535"/>
                  <a:pt x="1480" y="535"/>
                  <a:pt x="1482" y="537"/>
                </a:cubicBezTo>
                <a:cubicBezTo>
                  <a:pt x="1482" y="537"/>
                  <a:pt x="1482" y="537"/>
                  <a:pt x="1482" y="538"/>
                </a:cubicBezTo>
                <a:cubicBezTo>
                  <a:pt x="1482" y="538"/>
                  <a:pt x="1482" y="538"/>
                  <a:pt x="1481" y="538"/>
                </a:cubicBezTo>
                <a:cubicBezTo>
                  <a:pt x="1481" y="538"/>
                  <a:pt x="1481" y="538"/>
                  <a:pt x="1480" y="537"/>
                </a:cubicBezTo>
                <a:cubicBezTo>
                  <a:pt x="1480" y="537"/>
                  <a:pt x="1480" y="537"/>
                  <a:pt x="1480" y="538"/>
                </a:cubicBezTo>
                <a:cubicBezTo>
                  <a:pt x="1480" y="538"/>
                  <a:pt x="1480" y="538"/>
                  <a:pt x="1479" y="539"/>
                </a:cubicBezTo>
                <a:cubicBezTo>
                  <a:pt x="1479" y="539"/>
                  <a:pt x="1479" y="539"/>
                  <a:pt x="1480" y="539"/>
                </a:cubicBezTo>
                <a:cubicBezTo>
                  <a:pt x="1480" y="539"/>
                  <a:pt x="1480" y="539"/>
                  <a:pt x="1480" y="540"/>
                </a:cubicBezTo>
                <a:cubicBezTo>
                  <a:pt x="1480" y="540"/>
                  <a:pt x="1480" y="540"/>
                  <a:pt x="1480" y="541"/>
                </a:cubicBezTo>
                <a:cubicBezTo>
                  <a:pt x="1480" y="541"/>
                  <a:pt x="1480" y="541"/>
                  <a:pt x="1478" y="541"/>
                </a:cubicBezTo>
                <a:cubicBezTo>
                  <a:pt x="1478" y="541"/>
                  <a:pt x="1478" y="541"/>
                  <a:pt x="1480" y="542"/>
                </a:cubicBezTo>
                <a:cubicBezTo>
                  <a:pt x="1480" y="542"/>
                  <a:pt x="1480" y="542"/>
                  <a:pt x="1481" y="542"/>
                </a:cubicBezTo>
                <a:cubicBezTo>
                  <a:pt x="1481" y="542"/>
                  <a:pt x="1481" y="542"/>
                  <a:pt x="1481" y="543"/>
                </a:cubicBezTo>
                <a:cubicBezTo>
                  <a:pt x="1481" y="543"/>
                  <a:pt x="1481" y="543"/>
                  <a:pt x="1482" y="543"/>
                </a:cubicBezTo>
                <a:cubicBezTo>
                  <a:pt x="1482" y="543"/>
                  <a:pt x="1482" y="543"/>
                  <a:pt x="1483" y="544"/>
                </a:cubicBezTo>
                <a:cubicBezTo>
                  <a:pt x="1483" y="544"/>
                  <a:pt x="1483" y="544"/>
                  <a:pt x="1486" y="546"/>
                </a:cubicBezTo>
                <a:cubicBezTo>
                  <a:pt x="1486" y="546"/>
                  <a:pt x="1486" y="546"/>
                  <a:pt x="1487" y="546"/>
                </a:cubicBezTo>
                <a:cubicBezTo>
                  <a:pt x="1487" y="546"/>
                  <a:pt x="1487" y="546"/>
                  <a:pt x="1487" y="548"/>
                </a:cubicBezTo>
                <a:cubicBezTo>
                  <a:pt x="1487" y="548"/>
                  <a:pt x="1487" y="548"/>
                  <a:pt x="1488" y="549"/>
                </a:cubicBezTo>
                <a:cubicBezTo>
                  <a:pt x="1488" y="549"/>
                  <a:pt x="1488" y="549"/>
                  <a:pt x="1487" y="550"/>
                </a:cubicBezTo>
                <a:cubicBezTo>
                  <a:pt x="1487" y="550"/>
                  <a:pt x="1487" y="550"/>
                  <a:pt x="1486" y="550"/>
                </a:cubicBezTo>
                <a:cubicBezTo>
                  <a:pt x="1486" y="550"/>
                  <a:pt x="1486" y="550"/>
                  <a:pt x="1486" y="549"/>
                </a:cubicBezTo>
                <a:cubicBezTo>
                  <a:pt x="1486" y="549"/>
                  <a:pt x="1486" y="549"/>
                  <a:pt x="1484" y="548"/>
                </a:cubicBezTo>
                <a:cubicBezTo>
                  <a:pt x="1484" y="548"/>
                  <a:pt x="1484" y="548"/>
                  <a:pt x="1483" y="549"/>
                </a:cubicBezTo>
                <a:cubicBezTo>
                  <a:pt x="1483" y="549"/>
                  <a:pt x="1483" y="549"/>
                  <a:pt x="1482" y="549"/>
                </a:cubicBezTo>
                <a:cubicBezTo>
                  <a:pt x="1482" y="549"/>
                  <a:pt x="1482" y="549"/>
                  <a:pt x="1481" y="549"/>
                </a:cubicBezTo>
                <a:cubicBezTo>
                  <a:pt x="1481" y="549"/>
                  <a:pt x="1481" y="549"/>
                  <a:pt x="1482" y="550"/>
                </a:cubicBezTo>
                <a:cubicBezTo>
                  <a:pt x="1482" y="550"/>
                  <a:pt x="1482" y="550"/>
                  <a:pt x="1482" y="551"/>
                </a:cubicBezTo>
                <a:cubicBezTo>
                  <a:pt x="1482" y="551"/>
                  <a:pt x="1482" y="551"/>
                  <a:pt x="1483" y="552"/>
                </a:cubicBezTo>
                <a:cubicBezTo>
                  <a:pt x="1483" y="552"/>
                  <a:pt x="1483" y="552"/>
                  <a:pt x="1484" y="552"/>
                </a:cubicBezTo>
                <a:cubicBezTo>
                  <a:pt x="1484" y="552"/>
                  <a:pt x="1484" y="552"/>
                  <a:pt x="1485" y="553"/>
                </a:cubicBezTo>
                <a:cubicBezTo>
                  <a:pt x="1485" y="553"/>
                  <a:pt x="1485" y="553"/>
                  <a:pt x="1483" y="553"/>
                </a:cubicBezTo>
                <a:cubicBezTo>
                  <a:pt x="1483" y="553"/>
                  <a:pt x="1483" y="553"/>
                  <a:pt x="1482" y="553"/>
                </a:cubicBezTo>
                <a:cubicBezTo>
                  <a:pt x="1482" y="553"/>
                  <a:pt x="1482" y="553"/>
                  <a:pt x="1482" y="552"/>
                </a:cubicBezTo>
                <a:cubicBezTo>
                  <a:pt x="1482" y="552"/>
                  <a:pt x="1482" y="552"/>
                  <a:pt x="1481" y="552"/>
                </a:cubicBezTo>
                <a:cubicBezTo>
                  <a:pt x="1481" y="552"/>
                  <a:pt x="1481" y="552"/>
                  <a:pt x="1480" y="552"/>
                </a:cubicBezTo>
                <a:cubicBezTo>
                  <a:pt x="1480" y="552"/>
                  <a:pt x="1480" y="552"/>
                  <a:pt x="1481" y="553"/>
                </a:cubicBezTo>
                <a:cubicBezTo>
                  <a:pt x="1481" y="553"/>
                  <a:pt x="1481" y="553"/>
                  <a:pt x="1482" y="555"/>
                </a:cubicBezTo>
                <a:cubicBezTo>
                  <a:pt x="1482" y="555"/>
                  <a:pt x="1482" y="555"/>
                  <a:pt x="1482" y="557"/>
                </a:cubicBezTo>
                <a:cubicBezTo>
                  <a:pt x="1482" y="557"/>
                  <a:pt x="1482" y="557"/>
                  <a:pt x="1482" y="558"/>
                </a:cubicBezTo>
                <a:cubicBezTo>
                  <a:pt x="1482" y="558"/>
                  <a:pt x="1482" y="558"/>
                  <a:pt x="1483" y="559"/>
                </a:cubicBezTo>
                <a:cubicBezTo>
                  <a:pt x="1483" y="559"/>
                  <a:pt x="1483" y="559"/>
                  <a:pt x="1481" y="558"/>
                </a:cubicBezTo>
                <a:cubicBezTo>
                  <a:pt x="1481" y="558"/>
                  <a:pt x="1481" y="558"/>
                  <a:pt x="1481" y="556"/>
                </a:cubicBezTo>
                <a:cubicBezTo>
                  <a:pt x="1481" y="556"/>
                  <a:pt x="1481" y="556"/>
                  <a:pt x="1480" y="556"/>
                </a:cubicBezTo>
                <a:cubicBezTo>
                  <a:pt x="1480" y="556"/>
                  <a:pt x="1480" y="556"/>
                  <a:pt x="1479" y="558"/>
                </a:cubicBezTo>
                <a:cubicBezTo>
                  <a:pt x="1479" y="558"/>
                  <a:pt x="1479" y="558"/>
                  <a:pt x="1478" y="557"/>
                </a:cubicBezTo>
                <a:cubicBezTo>
                  <a:pt x="1478" y="557"/>
                  <a:pt x="1478" y="557"/>
                  <a:pt x="1477" y="556"/>
                </a:cubicBezTo>
                <a:cubicBezTo>
                  <a:pt x="1477" y="556"/>
                  <a:pt x="1477" y="556"/>
                  <a:pt x="1476" y="555"/>
                </a:cubicBezTo>
                <a:cubicBezTo>
                  <a:pt x="1476" y="555"/>
                  <a:pt x="1476" y="555"/>
                  <a:pt x="1476" y="556"/>
                </a:cubicBezTo>
                <a:cubicBezTo>
                  <a:pt x="1476" y="556"/>
                  <a:pt x="1476" y="556"/>
                  <a:pt x="1476" y="557"/>
                </a:cubicBezTo>
                <a:cubicBezTo>
                  <a:pt x="1476" y="557"/>
                  <a:pt x="1476" y="557"/>
                  <a:pt x="1475" y="556"/>
                </a:cubicBezTo>
                <a:cubicBezTo>
                  <a:pt x="1475" y="556"/>
                  <a:pt x="1475" y="556"/>
                  <a:pt x="1474" y="555"/>
                </a:cubicBezTo>
                <a:cubicBezTo>
                  <a:pt x="1474" y="555"/>
                  <a:pt x="1474" y="555"/>
                  <a:pt x="1474" y="554"/>
                </a:cubicBezTo>
                <a:cubicBezTo>
                  <a:pt x="1474" y="554"/>
                  <a:pt x="1474" y="554"/>
                  <a:pt x="1474" y="553"/>
                </a:cubicBezTo>
                <a:cubicBezTo>
                  <a:pt x="1474" y="553"/>
                  <a:pt x="1474" y="553"/>
                  <a:pt x="1474" y="552"/>
                </a:cubicBezTo>
                <a:cubicBezTo>
                  <a:pt x="1474" y="552"/>
                  <a:pt x="1474" y="552"/>
                  <a:pt x="1473" y="551"/>
                </a:cubicBezTo>
                <a:cubicBezTo>
                  <a:pt x="1473" y="551"/>
                  <a:pt x="1473" y="551"/>
                  <a:pt x="1471" y="550"/>
                </a:cubicBezTo>
                <a:cubicBezTo>
                  <a:pt x="1471" y="550"/>
                  <a:pt x="1471" y="550"/>
                  <a:pt x="1470" y="549"/>
                </a:cubicBezTo>
                <a:cubicBezTo>
                  <a:pt x="1470" y="549"/>
                  <a:pt x="1470" y="549"/>
                  <a:pt x="1470" y="548"/>
                </a:cubicBezTo>
                <a:cubicBezTo>
                  <a:pt x="1470" y="548"/>
                  <a:pt x="1470" y="548"/>
                  <a:pt x="1471" y="548"/>
                </a:cubicBezTo>
                <a:cubicBezTo>
                  <a:pt x="1471" y="548"/>
                  <a:pt x="1471" y="548"/>
                  <a:pt x="1472" y="546"/>
                </a:cubicBezTo>
                <a:cubicBezTo>
                  <a:pt x="1472" y="546"/>
                  <a:pt x="1472" y="546"/>
                  <a:pt x="1473" y="547"/>
                </a:cubicBezTo>
                <a:cubicBezTo>
                  <a:pt x="1473" y="547"/>
                  <a:pt x="1473" y="547"/>
                  <a:pt x="1474" y="546"/>
                </a:cubicBezTo>
                <a:cubicBezTo>
                  <a:pt x="1474" y="546"/>
                  <a:pt x="1474" y="546"/>
                  <a:pt x="1475" y="546"/>
                </a:cubicBezTo>
                <a:cubicBezTo>
                  <a:pt x="1475" y="546"/>
                  <a:pt x="1475" y="546"/>
                  <a:pt x="1478" y="548"/>
                </a:cubicBezTo>
                <a:cubicBezTo>
                  <a:pt x="1478" y="548"/>
                  <a:pt x="1478" y="548"/>
                  <a:pt x="1479" y="548"/>
                </a:cubicBezTo>
                <a:cubicBezTo>
                  <a:pt x="1479" y="548"/>
                  <a:pt x="1479" y="548"/>
                  <a:pt x="1480" y="549"/>
                </a:cubicBezTo>
                <a:cubicBezTo>
                  <a:pt x="1480" y="549"/>
                  <a:pt x="1480" y="549"/>
                  <a:pt x="1480" y="548"/>
                </a:cubicBezTo>
                <a:cubicBezTo>
                  <a:pt x="1480" y="548"/>
                  <a:pt x="1480" y="548"/>
                  <a:pt x="1481" y="547"/>
                </a:cubicBezTo>
                <a:cubicBezTo>
                  <a:pt x="1481" y="547"/>
                  <a:pt x="1481" y="547"/>
                  <a:pt x="1480" y="547"/>
                </a:cubicBezTo>
                <a:cubicBezTo>
                  <a:pt x="1480" y="547"/>
                  <a:pt x="1480" y="547"/>
                  <a:pt x="1479" y="546"/>
                </a:cubicBezTo>
                <a:cubicBezTo>
                  <a:pt x="1479" y="546"/>
                  <a:pt x="1479" y="546"/>
                  <a:pt x="1478" y="546"/>
                </a:cubicBezTo>
                <a:cubicBezTo>
                  <a:pt x="1478" y="546"/>
                  <a:pt x="1478" y="546"/>
                  <a:pt x="1477" y="546"/>
                </a:cubicBezTo>
                <a:cubicBezTo>
                  <a:pt x="1477" y="546"/>
                  <a:pt x="1477" y="546"/>
                  <a:pt x="1476" y="545"/>
                </a:cubicBezTo>
                <a:cubicBezTo>
                  <a:pt x="1476" y="545"/>
                  <a:pt x="1476" y="545"/>
                  <a:pt x="1475" y="545"/>
                </a:cubicBezTo>
                <a:cubicBezTo>
                  <a:pt x="1475" y="545"/>
                  <a:pt x="1475" y="545"/>
                  <a:pt x="1474" y="546"/>
                </a:cubicBezTo>
                <a:cubicBezTo>
                  <a:pt x="1474" y="546"/>
                  <a:pt x="1474" y="546"/>
                  <a:pt x="1473" y="546"/>
                </a:cubicBezTo>
                <a:cubicBezTo>
                  <a:pt x="1473" y="546"/>
                  <a:pt x="1473" y="546"/>
                  <a:pt x="1472" y="544"/>
                </a:cubicBezTo>
                <a:cubicBezTo>
                  <a:pt x="1472" y="544"/>
                  <a:pt x="1472" y="544"/>
                  <a:pt x="1471" y="546"/>
                </a:cubicBezTo>
                <a:cubicBezTo>
                  <a:pt x="1471" y="546"/>
                  <a:pt x="1471" y="546"/>
                  <a:pt x="1470" y="545"/>
                </a:cubicBezTo>
                <a:cubicBezTo>
                  <a:pt x="1470" y="545"/>
                  <a:pt x="1470" y="545"/>
                  <a:pt x="1469" y="544"/>
                </a:cubicBezTo>
                <a:cubicBezTo>
                  <a:pt x="1469" y="544"/>
                  <a:pt x="1469" y="544"/>
                  <a:pt x="1468" y="541"/>
                </a:cubicBezTo>
                <a:cubicBezTo>
                  <a:pt x="1468" y="541"/>
                  <a:pt x="1468" y="541"/>
                  <a:pt x="1467" y="541"/>
                </a:cubicBezTo>
                <a:cubicBezTo>
                  <a:pt x="1467" y="541"/>
                  <a:pt x="1467" y="541"/>
                  <a:pt x="1466" y="539"/>
                </a:cubicBezTo>
                <a:cubicBezTo>
                  <a:pt x="1466" y="539"/>
                  <a:pt x="1466" y="539"/>
                  <a:pt x="1464" y="537"/>
                </a:cubicBezTo>
                <a:cubicBezTo>
                  <a:pt x="1464" y="537"/>
                  <a:pt x="1464" y="537"/>
                  <a:pt x="1464" y="535"/>
                </a:cubicBezTo>
                <a:cubicBezTo>
                  <a:pt x="1464" y="535"/>
                  <a:pt x="1464" y="535"/>
                  <a:pt x="1463" y="535"/>
                </a:cubicBezTo>
                <a:cubicBezTo>
                  <a:pt x="1463" y="535"/>
                  <a:pt x="1463" y="535"/>
                  <a:pt x="1462" y="534"/>
                </a:cubicBezTo>
                <a:cubicBezTo>
                  <a:pt x="1462" y="534"/>
                  <a:pt x="1462" y="534"/>
                  <a:pt x="1461" y="531"/>
                </a:cubicBezTo>
                <a:cubicBezTo>
                  <a:pt x="1461" y="531"/>
                  <a:pt x="1461" y="531"/>
                  <a:pt x="1459" y="531"/>
                </a:cubicBezTo>
                <a:cubicBezTo>
                  <a:pt x="1459" y="531"/>
                  <a:pt x="1459" y="531"/>
                  <a:pt x="1458" y="530"/>
                </a:cubicBezTo>
                <a:cubicBezTo>
                  <a:pt x="1458" y="530"/>
                  <a:pt x="1458" y="530"/>
                  <a:pt x="1459" y="529"/>
                </a:cubicBezTo>
                <a:cubicBezTo>
                  <a:pt x="1459" y="529"/>
                  <a:pt x="1459" y="529"/>
                  <a:pt x="1458" y="528"/>
                </a:cubicBezTo>
                <a:cubicBezTo>
                  <a:pt x="1458" y="528"/>
                  <a:pt x="1458" y="528"/>
                  <a:pt x="1458" y="526"/>
                </a:cubicBezTo>
                <a:cubicBezTo>
                  <a:pt x="1458" y="526"/>
                  <a:pt x="1458" y="526"/>
                  <a:pt x="1459" y="525"/>
                </a:cubicBezTo>
                <a:cubicBezTo>
                  <a:pt x="1459" y="525"/>
                  <a:pt x="1459" y="525"/>
                  <a:pt x="1458" y="523"/>
                </a:cubicBezTo>
                <a:cubicBezTo>
                  <a:pt x="1458" y="523"/>
                  <a:pt x="1458" y="523"/>
                  <a:pt x="1458" y="520"/>
                </a:cubicBezTo>
                <a:cubicBezTo>
                  <a:pt x="1458" y="520"/>
                  <a:pt x="1458" y="520"/>
                  <a:pt x="1459" y="520"/>
                </a:cubicBezTo>
                <a:cubicBezTo>
                  <a:pt x="1459" y="520"/>
                  <a:pt x="1459" y="520"/>
                  <a:pt x="1459" y="519"/>
                </a:cubicBezTo>
                <a:cubicBezTo>
                  <a:pt x="1459" y="519"/>
                  <a:pt x="1459" y="519"/>
                  <a:pt x="1457" y="518"/>
                </a:cubicBezTo>
                <a:cubicBezTo>
                  <a:pt x="1457" y="518"/>
                  <a:pt x="1457" y="518"/>
                  <a:pt x="1456" y="517"/>
                </a:cubicBezTo>
                <a:cubicBezTo>
                  <a:pt x="1456" y="517"/>
                  <a:pt x="1456" y="517"/>
                  <a:pt x="1453" y="514"/>
                </a:cubicBezTo>
                <a:cubicBezTo>
                  <a:pt x="1453" y="514"/>
                  <a:pt x="1453" y="514"/>
                  <a:pt x="1452" y="513"/>
                </a:cubicBezTo>
                <a:cubicBezTo>
                  <a:pt x="1452" y="513"/>
                  <a:pt x="1452" y="513"/>
                  <a:pt x="1452" y="512"/>
                </a:cubicBezTo>
                <a:cubicBezTo>
                  <a:pt x="1452" y="512"/>
                  <a:pt x="1452" y="512"/>
                  <a:pt x="1450" y="511"/>
                </a:cubicBezTo>
                <a:cubicBezTo>
                  <a:pt x="1450" y="511"/>
                  <a:pt x="1450" y="511"/>
                  <a:pt x="1447" y="511"/>
                </a:cubicBezTo>
                <a:cubicBezTo>
                  <a:pt x="1447" y="511"/>
                  <a:pt x="1447" y="511"/>
                  <a:pt x="1447" y="510"/>
                </a:cubicBezTo>
                <a:cubicBezTo>
                  <a:pt x="1447" y="510"/>
                  <a:pt x="1447" y="510"/>
                  <a:pt x="1444" y="507"/>
                </a:cubicBezTo>
                <a:cubicBezTo>
                  <a:pt x="1444" y="507"/>
                  <a:pt x="1444" y="507"/>
                  <a:pt x="1442" y="506"/>
                </a:cubicBezTo>
                <a:cubicBezTo>
                  <a:pt x="1442" y="506"/>
                  <a:pt x="1442" y="506"/>
                  <a:pt x="1439" y="506"/>
                </a:cubicBezTo>
                <a:cubicBezTo>
                  <a:pt x="1439" y="506"/>
                  <a:pt x="1439" y="506"/>
                  <a:pt x="1438" y="506"/>
                </a:cubicBezTo>
                <a:cubicBezTo>
                  <a:pt x="1438" y="506"/>
                  <a:pt x="1438" y="506"/>
                  <a:pt x="1437" y="505"/>
                </a:cubicBezTo>
                <a:cubicBezTo>
                  <a:pt x="1437" y="505"/>
                  <a:pt x="1437" y="505"/>
                  <a:pt x="1437" y="504"/>
                </a:cubicBezTo>
                <a:cubicBezTo>
                  <a:pt x="1437" y="504"/>
                  <a:pt x="1437" y="504"/>
                  <a:pt x="1436" y="504"/>
                </a:cubicBezTo>
                <a:cubicBezTo>
                  <a:pt x="1436" y="504"/>
                  <a:pt x="1436" y="504"/>
                  <a:pt x="1434" y="502"/>
                </a:cubicBezTo>
                <a:cubicBezTo>
                  <a:pt x="1434" y="502"/>
                  <a:pt x="1434" y="502"/>
                  <a:pt x="1433" y="502"/>
                </a:cubicBezTo>
                <a:cubicBezTo>
                  <a:pt x="1433" y="502"/>
                  <a:pt x="1433" y="502"/>
                  <a:pt x="1432" y="501"/>
                </a:cubicBezTo>
                <a:cubicBezTo>
                  <a:pt x="1432" y="501"/>
                  <a:pt x="1432" y="501"/>
                  <a:pt x="1433" y="500"/>
                </a:cubicBezTo>
                <a:cubicBezTo>
                  <a:pt x="1433" y="500"/>
                  <a:pt x="1433" y="500"/>
                  <a:pt x="1434" y="500"/>
                </a:cubicBezTo>
                <a:cubicBezTo>
                  <a:pt x="1434" y="500"/>
                  <a:pt x="1434" y="500"/>
                  <a:pt x="1435" y="500"/>
                </a:cubicBezTo>
                <a:cubicBezTo>
                  <a:pt x="1435" y="500"/>
                  <a:pt x="1435" y="500"/>
                  <a:pt x="1434" y="499"/>
                </a:cubicBezTo>
                <a:cubicBezTo>
                  <a:pt x="1434" y="499"/>
                  <a:pt x="1434" y="499"/>
                  <a:pt x="1433" y="499"/>
                </a:cubicBezTo>
                <a:cubicBezTo>
                  <a:pt x="1433" y="499"/>
                  <a:pt x="1433" y="499"/>
                  <a:pt x="1431" y="497"/>
                </a:cubicBezTo>
                <a:cubicBezTo>
                  <a:pt x="1431" y="497"/>
                  <a:pt x="1431" y="497"/>
                  <a:pt x="1430" y="496"/>
                </a:cubicBezTo>
                <a:cubicBezTo>
                  <a:pt x="1430" y="496"/>
                  <a:pt x="1430" y="496"/>
                  <a:pt x="1430" y="494"/>
                </a:cubicBezTo>
                <a:cubicBezTo>
                  <a:pt x="1430" y="494"/>
                  <a:pt x="1430" y="494"/>
                  <a:pt x="1429" y="493"/>
                </a:cubicBezTo>
                <a:cubicBezTo>
                  <a:pt x="1429" y="493"/>
                  <a:pt x="1429" y="493"/>
                  <a:pt x="1428" y="492"/>
                </a:cubicBezTo>
                <a:cubicBezTo>
                  <a:pt x="1428" y="492"/>
                  <a:pt x="1428" y="492"/>
                  <a:pt x="1427" y="492"/>
                </a:cubicBezTo>
                <a:cubicBezTo>
                  <a:pt x="1427" y="492"/>
                  <a:pt x="1427" y="492"/>
                  <a:pt x="1426" y="493"/>
                </a:cubicBezTo>
                <a:cubicBezTo>
                  <a:pt x="1426" y="493"/>
                  <a:pt x="1426" y="493"/>
                  <a:pt x="1426" y="494"/>
                </a:cubicBezTo>
                <a:cubicBezTo>
                  <a:pt x="1426" y="494"/>
                  <a:pt x="1426" y="494"/>
                  <a:pt x="1424" y="496"/>
                </a:cubicBezTo>
                <a:cubicBezTo>
                  <a:pt x="1424" y="496"/>
                  <a:pt x="1424" y="496"/>
                  <a:pt x="1422" y="494"/>
                </a:cubicBezTo>
                <a:cubicBezTo>
                  <a:pt x="1422" y="494"/>
                  <a:pt x="1422" y="494"/>
                  <a:pt x="1422" y="492"/>
                </a:cubicBezTo>
                <a:cubicBezTo>
                  <a:pt x="1422" y="492"/>
                  <a:pt x="1422" y="492"/>
                  <a:pt x="1422" y="490"/>
                </a:cubicBezTo>
                <a:cubicBezTo>
                  <a:pt x="1422" y="490"/>
                  <a:pt x="1422" y="490"/>
                  <a:pt x="1423" y="490"/>
                </a:cubicBezTo>
                <a:cubicBezTo>
                  <a:pt x="1423" y="490"/>
                  <a:pt x="1423" y="490"/>
                  <a:pt x="1423" y="489"/>
                </a:cubicBezTo>
                <a:cubicBezTo>
                  <a:pt x="1423" y="489"/>
                  <a:pt x="1423" y="489"/>
                  <a:pt x="1422" y="489"/>
                </a:cubicBezTo>
                <a:cubicBezTo>
                  <a:pt x="1422" y="489"/>
                  <a:pt x="1422" y="489"/>
                  <a:pt x="1420" y="488"/>
                </a:cubicBezTo>
                <a:cubicBezTo>
                  <a:pt x="1420" y="488"/>
                  <a:pt x="1420" y="488"/>
                  <a:pt x="1419" y="489"/>
                </a:cubicBezTo>
                <a:cubicBezTo>
                  <a:pt x="1419" y="489"/>
                  <a:pt x="1419" y="489"/>
                  <a:pt x="1419" y="490"/>
                </a:cubicBezTo>
                <a:cubicBezTo>
                  <a:pt x="1419" y="490"/>
                  <a:pt x="1419" y="490"/>
                  <a:pt x="1417" y="490"/>
                </a:cubicBezTo>
                <a:cubicBezTo>
                  <a:pt x="1417" y="490"/>
                  <a:pt x="1417" y="490"/>
                  <a:pt x="1416" y="491"/>
                </a:cubicBezTo>
                <a:cubicBezTo>
                  <a:pt x="1416" y="491"/>
                  <a:pt x="1416" y="491"/>
                  <a:pt x="1415" y="491"/>
                </a:cubicBezTo>
                <a:cubicBezTo>
                  <a:pt x="1415" y="491"/>
                  <a:pt x="1415" y="491"/>
                  <a:pt x="1414" y="492"/>
                </a:cubicBezTo>
                <a:cubicBezTo>
                  <a:pt x="1414" y="492"/>
                  <a:pt x="1414" y="492"/>
                  <a:pt x="1415" y="493"/>
                </a:cubicBezTo>
                <a:cubicBezTo>
                  <a:pt x="1415" y="493"/>
                  <a:pt x="1415" y="493"/>
                  <a:pt x="1416" y="494"/>
                </a:cubicBezTo>
                <a:cubicBezTo>
                  <a:pt x="1416" y="494"/>
                  <a:pt x="1416" y="494"/>
                  <a:pt x="1415" y="496"/>
                </a:cubicBezTo>
                <a:cubicBezTo>
                  <a:pt x="1415" y="496"/>
                  <a:pt x="1415" y="496"/>
                  <a:pt x="1414" y="496"/>
                </a:cubicBezTo>
                <a:cubicBezTo>
                  <a:pt x="1414" y="496"/>
                  <a:pt x="1414" y="496"/>
                  <a:pt x="1415" y="498"/>
                </a:cubicBezTo>
                <a:cubicBezTo>
                  <a:pt x="1415" y="498"/>
                  <a:pt x="1415" y="498"/>
                  <a:pt x="1415" y="500"/>
                </a:cubicBezTo>
                <a:cubicBezTo>
                  <a:pt x="1415" y="500"/>
                  <a:pt x="1415" y="500"/>
                  <a:pt x="1416" y="501"/>
                </a:cubicBezTo>
                <a:cubicBezTo>
                  <a:pt x="1416" y="501"/>
                  <a:pt x="1416" y="501"/>
                  <a:pt x="1418" y="502"/>
                </a:cubicBezTo>
                <a:cubicBezTo>
                  <a:pt x="1418" y="502"/>
                  <a:pt x="1418" y="502"/>
                  <a:pt x="1420" y="503"/>
                </a:cubicBezTo>
                <a:cubicBezTo>
                  <a:pt x="1420" y="503"/>
                  <a:pt x="1420" y="503"/>
                  <a:pt x="1421" y="504"/>
                </a:cubicBezTo>
                <a:cubicBezTo>
                  <a:pt x="1421" y="504"/>
                  <a:pt x="1421" y="504"/>
                  <a:pt x="1425" y="508"/>
                </a:cubicBezTo>
                <a:cubicBezTo>
                  <a:pt x="1425" y="508"/>
                  <a:pt x="1425" y="508"/>
                  <a:pt x="1425" y="509"/>
                </a:cubicBezTo>
                <a:cubicBezTo>
                  <a:pt x="1425" y="509"/>
                  <a:pt x="1425" y="509"/>
                  <a:pt x="1425" y="511"/>
                </a:cubicBezTo>
                <a:cubicBezTo>
                  <a:pt x="1425" y="511"/>
                  <a:pt x="1425" y="511"/>
                  <a:pt x="1426" y="512"/>
                </a:cubicBezTo>
                <a:cubicBezTo>
                  <a:pt x="1426" y="512"/>
                  <a:pt x="1426" y="512"/>
                  <a:pt x="1427" y="513"/>
                </a:cubicBezTo>
                <a:cubicBezTo>
                  <a:pt x="1427" y="513"/>
                  <a:pt x="1427" y="513"/>
                  <a:pt x="1428" y="515"/>
                </a:cubicBezTo>
                <a:cubicBezTo>
                  <a:pt x="1428" y="515"/>
                  <a:pt x="1428" y="515"/>
                  <a:pt x="1430" y="516"/>
                </a:cubicBezTo>
                <a:cubicBezTo>
                  <a:pt x="1430" y="516"/>
                  <a:pt x="1430" y="516"/>
                  <a:pt x="1431" y="517"/>
                </a:cubicBezTo>
                <a:cubicBezTo>
                  <a:pt x="1431" y="517"/>
                  <a:pt x="1431" y="517"/>
                  <a:pt x="1432" y="517"/>
                </a:cubicBezTo>
                <a:cubicBezTo>
                  <a:pt x="1432" y="517"/>
                  <a:pt x="1432" y="517"/>
                  <a:pt x="1433" y="518"/>
                </a:cubicBezTo>
                <a:cubicBezTo>
                  <a:pt x="1433" y="518"/>
                  <a:pt x="1433" y="518"/>
                  <a:pt x="1435" y="518"/>
                </a:cubicBezTo>
                <a:cubicBezTo>
                  <a:pt x="1435" y="518"/>
                  <a:pt x="1435" y="518"/>
                  <a:pt x="1436" y="518"/>
                </a:cubicBezTo>
                <a:cubicBezTo>
                  <a:pt x="1436" y="518"/>
                  <a:pt x="1436" y="518"/>
                  <a:pt x="1438" y="518"/>
                </a:cubicBezTo>
                <a:cubicBezTo>
                  <a:pt x="1438" y="518"/>
                  <a:pt x="1438" y="518"/>
                  <a:pt x="1439" y="518"/>
                </a:cubicBezTo>
                <a:cubicBezTo>
                  <a:pt x="1439" y="518"/>
                  <a:pt x="1439" y="518"/>
                  <a:pt x="1439" y="519"/>
                </a:cubicBezTo>
                <a:cubicBezTo>
                  <a:pt x="1439" y="519"/>
                  <a:pt x="1439" y="519"/>
                  <a:pt x="1437" y="520"/>
                </a:cubicBezTo>
                <a:cubicBezTo>
                  <a:pt x="1437" y="520"/>
                  <a:pt x="1437" y="520"/>
                  <a:pt x="1437" y="521"/>
                </a:cubicBezTo>
                <a:cubicBezTo>
                  <a:pt x="1437" y="521"/>
                  <a:pt x="1437" y="521"/>
                  <a:pt x="1438" y="522"/>
                </a:cubicBezTo>
                <a:cubicBezTo>
                  <a:pt x="1438" y="522"/>
                  <a:pt x="1438" y="522"/>
                  <a:pt x="1439" y="522"/>
                </a:cubicBezTo>
                <a:cubicBezTo>
                  <a:pt x="1439" y="522"/>
                  <a:pt x="1439" y="522"/>
                  <a:pt x="1441" y="522"/>
                </a:cubicBezTo>
                <a:cubicBezTo>
                  <a:pt x="1441" y="522"/>
                  <a:pt x="1441" y="522"/>
                  <a:pt x="1446" y="525"/>
                </a:cubicBezTo>
                <a:cubicBezTo>
                  <a:pt x="1446" y="525"/>
                  <a:pt x="1446" y="525"/>
                  <a:pt x="1448" y="526"/>
                </a:cubicBezTo>
                <a:cubicBezTo>
                  <a:pt x="1448" y="526"/>
                  <a:pt x="1448" y="526"/>
                  <a:pt x="1450" y="528"/>
                </a:cubicBezTo>
                <a:cubicBezTo>
                  <a:pt x="1450" y="528"/>
                  <a:pt x="1450" y="528"/>
                  <a:pt x="1452" y="528"/>
                </a:cubicBezTo>
                <a:cubicBezTo>
                  <a:pt x="1452" y="528"/>
                  <a:pt x="1452" y="528"/>
                  <a:pt x="1453" y="529"/>
                </a:cubicBezTo>
                <a:cubicBezTo>
                  <a:pt x="1453" y="529"/>
                  <a:pt x="1453" y="529"/>
                  <a:pt x="1453" y="530"/>
                </a:cubicBezTo>
                <a:cubicBezTo>
                  <a:pt x="1453" y="530"/>
                  <a:pt x="1453" y="530"/>
                  <a:pt x="1453" y="531"/>
                </a:cubicBezTo>
                <a:cubicBezTo>
                  <a:pt x="1453" y="531"/>
                  <a:pt x="1453" y="531"/>
                  <a:pt x="1452" y="532"/>
                </a:cubicBezTo>
                <a:cubicBezTo>
                  <a:pt x="1452" y="532"/>
                  <a:pt x="1452" y="532"/>
                  <a:pt x="1453" y="533"/>
                </a:cubicBezTo>
                <a:cubicBezTo>
                  <a:pt x="1453" y="533"/>
                  <a:pt x="1453" y="533"/>
                  <a:pt x="1452" y="533"/>
                </a:cubicBezTo>
                <a:cubicBezTo>
                  <a:pt x="1452" y="533"/>
                  <a:pt x="1452" y="533"/>
                  <a:pt x="1452" y="534"/>
                </a:cubicBezTo>
                <a:cubicBezTo>
                  <a:pt x="1452" y="534"/>
                  <a:pt x="1452" y="534"/>
                  <a:pt x="1451" y="533"/>
                </a:cubicBezTo>
                <a:cubicBezTo>
                  <a:pt x="1451" y="533"/>
                  <a:pt x="1451" y="533"/>
                  <a:pt x="1450" y="532"/>
                </a:cubicBezTo>
                <a:cubicBezTo>
                  <a:pt x="1450" y="532"/>
                  <a:pt x="1450" y="532"/>
                  <a:pt x="1450" y="531"/>
                </a:cubicBezTo>
                <a:cubicBezTo>
                  <a:pt x="1450" y="531"/>
                  <a:pt x="1450" y="531"/>
                  <a:pt x="1450" y="530"/>
                </a:cubicBezTo>
                <a:cubicBezTo>
                  <a:pt x="1450" y="530"/>
                  <a:pt x="1450" y="530"/>
                  <a:pt x="1449" y="530"/>
                </a:cubicBezTo>
                <a:cubicBezTo>
                  <a:pt x="1449" y="530"/>
                  <a:pt x="1449" y="530"/>
                  <a:pt x="1447" y="530"/>
                </a:cubicBezTo>
                <a:cubicBezTo>
                  <a:pt x="1447" y="530"/>
                  <a:pt x="1447" y="530"/>
                  <a:pt x="1447" y="529"/>
                </a:cubicBezTo>
                <a:cubicBezTo>
                  <a:pt x="1447" y="529"/>
                  <a:pt x="1447" y="529"/>
                  <a:pt x="1445" y="529"/>
                </a:cubicBezTo>
                <a:cubicBezTo>
                  <a:pt x="1445" y="529"/>
                  <a:pt x="1445" y="529"/>
                  <a:pt x="1444" y="529"/>
                </a:cubicBezTo>
                <a:cubicBezTo>
                  <a:pt x="1444" y="529"/>
                  <a:pt x="1444" y="529"/>
                  <a:pt x="1444" y="531"/>
                </a:cubicBezTo>
                <a:cubicBezTo>
                  <a:pt x="1444" y="531"/>
                  <a:pt x="1444" y="531"/>
                  <a:pt x="1443" y="531"/>
                </a:cubicBezTo>
                <a:cubicBezTo>
                  <a:pt x="1443" y="531"/>
                  <a:pt x="1443" y="531"/>
                  <a:pt x="1443" y="532"/>
                </a:cubicBezTo>
                <a:cubicBezTo>
                  <a:pt x="1443" y="532"/>
                  <a:pt x="1443" y="532"/>
                  <a:pt x="1443" y="533"/>
                </a:cubicBezTo>
                <a:cubicBezTo>
                  <a:pt x="1443" y="533"/>
                  <a:pt x="1443" y="533"/>
                  <a:pt x="1442" y="534"/>
                </a:cubicBezTo>
                <a:cubicBezTo>
                  <a:pt x="1442" y="534"/>
                  <a:pt x="1442" y="534"/>
                  <a:pt x="1442" y="535"/>
                </a:cubicBezTo>
                <a:cubicBezTo>
                  <a:pt x="1442" y="535"/>
                  <a:pt x="1442" y="535"/>
                  <a:pt x="1443" y="535"/>
                </a:cubicBezTo>
                <a:cubicBezTo>
                  <a:pt x="1443" y="535"/>
                  <a:pt x="1443" y="535"/>
                  <a:pt x="1445" y="537"/>
                </a:cubicBezTo>
                <a:cubicBezTo>
                  <a:pt x="1445" y="537"/>
                  <a:pt x="1445" y="537"/>
                  <a:pt x="1445" y="538"/>
                </a:cubicBezTo>
                <a:cubicBezTo>
                  <a:pt x="1445" y="538"/>
                  <a:pt x="1445" y="538"/>
                  <a:pt x="1445" y="539"/>
                </a:cubicBezTo>
                <a:cubicBezTo>
                  <a:pt x="1445" y="539"/>
                  <a:pt x="1445" y="539"/>
                  <a:pt x="1446" y="540"/>
                </a:cubicBezTo>
                <a:cubicBezTo>
                  <a:pt x="1446" y="540"/>
                  <a:pt x="1446" y="540"/>
                  <a:pt x="1445" y="541"/>
                </a:cubicBezTo>
                <a:cubicBezTo>
                  <a:pt x="1445" y="541"/>
                  <a:pt x="1445" y="541"/>
                  <a:pt x="1444" y="541"/>
                </a:cubicBezTo>
                <a:cubicBezTo>
                  <a:pt x="1444" y="541"/>
                  <a:pt x="1444" y="541"/>
                  <a:pt x="1443" y="542"/>
                </a:cubicBezTo>
                <a:cubicBezTo>
                  <a:pt x="1443" y="542"/>
                  <a:pt x="1443" y="542"/>
                  <a:pt x="1443" y="545"/>
                </a:cubicBezTo>
                <a:cubicBezTo>
                  <a:pt x="1443" y="545"/>
                  <a:pt x="1443" y="545"/>
                  <a:pt x="1441" y="546"/>
                </a:cubicBezTo>
                <a:cubicBezTo>
                  <a:pt x="1441" y="546"/>
                  <a:pt x="1441" y="546"/>
                  <a:pt x="1441" y="548"/>
                </a:cubicBezTo>
                <a:cubicBezTo>
                  <a:pt x="1441" y="548"/>
                  <a:pt x="1441" y="548"/>
                  <a:pt x="1440" y="549"/>
                </a:cubicBezTo>
                <a:cubicBezTo>
                  <a:pt x="1440" y="549"/>
                  <a:pt x="1440" y="549"/>
                  <a:pt x="1438" y="549"/>
                </a:cubicBezTo>
                <a:cubicBezTo>
                  <a:pt x="1438" y="549"/>
                  <a:pt x="1438" y="549"/>
                  <a:pt x="1437" y="548"/>
                </a:cubicBezTo>
                <a:cubicBezTo>
                  <a:pt x="1437" y="548"/>
                  <a:pt x="1437" y="548"/>
                  <a:pt x="1437" y="547"/>
                </a:cubicBezTo>
                <a:cubicBezTo>
                  <a:pt x="1437" y="547"/>
                  <a:pt x="1437" y="547"/>
                  <a:pt x="1437" y="546"/>
                </a:cubicBezTo>
                <a:cubicBezTo>
                  <a:pt x="1437" y="546"/>
                  <a:pt x="1437" y="546"/>
                  <a:pt x="1438" y="546"/>
                </a:cubicBezTo>
                <a:cubicBezTo>
                  <a:pt x="1438" y="546"/>
                  <a:pt x="1438" y="546"/>
                  <a:pt x="1439" y="545"/>
                </a:cubicBezTo>
                <a:cubicBezTo>
                  <a:pt x="1439" y="545"/>
                  <a:pt x="1439" y="545"/>
                  <a:pt x="1439" y="544"/>
                </a:cubicBezTo>
                <a:cubicBezTo>
                  <a:pt x="1439" y="544"/>
                  <a:pt x="1439" y="544"/>
                  <a:pt x="1439" y="543"/>
                </a:cubicBezTo>
                <a:cubicBezTo>
                  <a:pt x="1439" y="543"/>
                  <a:pt x="1439" y="543"/>
                  <a:pt x="1439" y="542"/>
                </a:cubicBezTo>
                <a:cubicBezTo>
                  <a:pt x="1439" y="542"/>
                  <a:pt x="1439" y="542"/>
                  <a:pt x="1440" y="542"/>
                </a:cubicBezTo>
                <a:cubicBezTo>
                  <a:pt x="1440" y="542"/>
                  <a:pt x="1440" y="542"/>
                  <a:pt x="1440" y="540"/>
                </a:cubicBezTo>
                <a:cubicBezTo>
                  <a:pt x="1440" y="540"/>
                  <a:pt x="1440" y="540"/>
                  <a:pt x="1439" y="539"/>
                </a:cubicBezTo>
                <a:cubicBezTo>
                  <a:pt x="1439" y="539"/>
                  <a:pt x="1439" y="539"/>
                  <a:pt x="1439" y="537"/>
                </a:cubicBezTo>
                <a:cubicBezTo>
                  <a:pt x="1439" y="537"/>
                  <a:pt x="1439" y="537"/>
                  <a:pt x="1438" y="536"/>
                </a:cubicBezTo>
                <a:cubicBezTo>
                  <a:pt x="1438" y="536"/>
                  <a:pt x="1438" y="536"/>
                  <a:pt x="1438" y="534"/>
                </a:cubicBezTo>
                <a:cubicBezTo>
                  <a:pt x="1438" y="534"/>
                  <a:pt x="1438" y="534"/>
                  <a:pt x="1437" y="532"/>
                </a:cubicBezTo>
                <a:cubicBezTo>
                  <a:pt x="1437" y="532"/>
                  <a:pt x="1437" y="532"/>
                  <a:pt x="1436" y="532"/>
                </a:cubicBezTo>
                <a:cubicBezTo>
                  <a:pt x="1436" y="532"/>
                  <a:pt x="1436" y="532"/>
                  <a:pt x="1434" y="532"/>
                </a:cubicBezTo>
                <a:cubicBezTo>
                  <a:pt x="1434" y="532"/>
                  <a:pt x="1434" y="532"/>
                  <a:pt x="1434" y="531"/>
                </a:cubicBezTo>
                <a:cubicBezTo>
                  <a:pt x="1434" y="531"/>
                  <a:pt x="1434" y="531"/>
                  <a:pt x="1432" y="531"/>
                </a:cubicBezTo>
                <a:cubicBezTo>
                  <a:pt x="1432" y="531"/>
                  <a:pt x="1432" y="531"/>
                  <a:pt x="1432" y="530"/>
                </a:cubicBezTo>
                <a:cubicBezTo>
                  <a:pt x="1432" y="530"/>
                  <a:pt x="1432" y="530"/>
                  <a:pt x="1432" y="528"/>
                </a:cubicBezTo>
                <a:cubicBezTo>
                  <a:pt x="1432" y="528"/>
                  <a:pt x="1432" y="528"/>
                  <a:pt x="1431" y="527"/>
                </a:cubicBezTo>
                <a:cubicBezTo>
                  <a:pt x="1431" y="527"/>
                  <a:pt x="1431" y="527"/>
                  <a:pt x="1430" y="527"/>
                </a:cubicBezTo>
                <a:cubicBezTo>
                  <a:pt x="1430" y="527"/>
                  <a:pt x="1430" y="527"/>
                  <a:pt x="1429" y="527"/>
                </a:cubicBezTo>
                <a:cubicBezTo>
                  <a:pt x="1429" y="527"/>
                  <a:pt x="1429" y="527"/>
                  <a:pt x="1429" y="526"/>
                </a:cubicBezTo>
                <a:cubicBezTo>
                  <a:pt x="1429" y="526"/>
                  <a:pt x="1429" y="526"/>
                  <a:pt x="1428" y="526"/>
                </a:cubicBezTo>
                <a:cubicBezTo>
                  <a:pt x="1428" y="526"/>
                  <a:pt x="1428" y="526"/>
                  <a:pt x="1427" y="526"/>
                </a:cubicBezTo>
                <a:cubicBezTo>
                  <a:pt x="1427" y="526"/>
                  <a:pt x="1427" y="526"/>
                  <a:pt x="1425" y="523"/>
                </a:cubicBezTo>
                <a:cubicBezTo>
                  <a:pt x="1425" y="523"/>
                  <a:pt x="1425" y="523"/>
                  <a:pt x="1424" y="523"/>
                </a:cubicBezTo>
                <a:cubicBezTo>
                  <a:pt x="1424" y="523"/>
                  <a:pt x="1424" y="523"/>
                  <a:pt x="1423" y="523"/>
                </a:cubicBezTo>
                <a:cubicBezTo>
                  <a:pt x="1423" y="523"/>
                  <a:pt x="1423" y="523"/>
                  <a:pt x="1422" y="524"/>
                </a:cubicBezTo>
                <a:cubicBezTo>
                  <a:pt x="1422" y="524"/>
                  <a:pt x="1422" y="524"/>
                  <a:pt x="1421" y="524"/>
                </a:cubicBezTo>
                <a:cubicBezTo>
                  <a:pt x="1421" y="524"/>
                  <a:pt x="1421" y="524"/>
                  <a:pt x="1421" y="522"/>
                </a:cubicBezTo>
                <a:cubicBezTo>
                  <a:pt x="1421" y="522"/>
                  <a:pt x="1421" y="522"/>
                  <a:pt x="1420" y="522"/>
                </a:cubicBezTo>
                <a:cubicBezTo>
                  <a:pt x="1420" y="522"/>
                  <a:pt x="1420" y="522"/>
                  <a:pt x="1418" y="522"/>
                </a:cubicBezTo>
                <a:cubicBezTo>
                  <a:pt x="1418" y="522"/>
                  <a:pt x="1418" y="522"/>
                  <a:pt x="1416" y="520"/>
                </a:cubicBezTo>
                <a:cubicBezTo>
                  <a:pt x="1416" y="520"/>
                  <a:pt x="1416" y="520"/>
                  <a:pt x="1413" y="516"/>
                </a:cubicBezTo>
                <a:cubicBezTo>
                  <a:pt x="1413" y="516"/>
                  <a:pt x="1413" y="516"/>
                  <a:pt x="1412" y="515"/>
                </a:cubicBezTo>
                <a:cubicBezTo>
                  <a:pt x="1412" y="515"/>
                  <a:pt x="1412" y="515"/>
                  <a:pt x="1411" y="514"/>
                </a:cubicBezTo>
                <a:cubicBezTo>
                  <a:pt x="1411" y="514"/>
                  <a:pt x="1411" y="514"/>
                  <a:pt x="1409" y="514"/>
                </a:cubicBezTo>
                <a:cubicBezTo>
                  <a:pt x="1409" y="514"/>
                  <a:pt x="1409" y="514"/>
                  <a:pt x="1409" y="512"/>
                </a:cubicBezTo>
                <a:cubicBezTo>
                  <a:pt x="1409" y="512"/>
                  <a:pt x="1409" y="512"/>
                  <a:pt x="1407" y="511"/>
                </a:cubicBezTo>
                <a:cubicBezTo>
                  <a:pt x="1407" y="511"/>
                  <a:pt x="1407" y="511"/>
                  <a:pt x="1406" y="510"/>
                </a:cubicBezTo>
                <a:cubicBezTo>
                  <a:pt x="1406" y="510"/>
                  <a:pt x="1406" y="510"/>
                  <a:pt x="1405" y="509"/>
                </a:cubicBezTo>
                <a:cubicBezTo>
                  <a:pt x="1405" y="509"/>
                  <a:pt x="1405" y="509"/>
                  <a:pt x="1405" y="507"/>
                </a:cubicBezTo>
                <a:cubicBezTo>
                  <a:pt x="1405" y="507"/>
                  <a:pt x="1405" y="507"/>
                  <a:pt x="1404" y="507"/>
                </a:cubicBezTo>
                <a:cubicBezTo>
                  <a:pt x="1404" y="507"/>
                  <a:pt x="1404" y="507"/>
                  <a:pt x="1404" y="505"/>
                </a:cubicBezTo>
                <a:cubicBezTo>
                  <a:pt x="1404" y="505"/>
                  <a:pt x="1404" y="505"/>
                  <a:pt x="1403" y="504"/>
                </a:cubicBezTo>
                <a:cubicBezTo>
                  <a:pt x="1403" y="504"/>
                  <a:pt x="1403" y="504"/>
                  <a:pt x="1402" y="503"/>
                </a:cubicBezTo>
                <a:cubicBezTo>
                  <a:pt x="1402" y="503"/>
                  <a:pt x="1402" y="503"/>
                  <a:pt x="1402" y="502"/>
                </a:cubicBezTo>
                <a:cubicBezTo>
                  <a:pt x="1402" y="502"/>
                  <a:pt x="1402" y="502"/>
                  <a:pt x="1402" y="501"/>
                </a:cubicBezTo>
                <a:cubicBezTo>
                  <a:pt x="1402" y="501"/>
                  <a:pt x="1402" y="501"/>
                  <a:pt x="1400" y="500"/>
                </a:cubicBezTo>
                <a:cubicBezTo>
                  <a:pt x="1400" y="500"/>
                  <a:pt x="1400" y="500"/>
                  <a:pt x="1398" y="500"/>
                </a:cubicBezTo>
                <a:cubicBezTo>
                  <a:pt x="1398" y="500"/>
                  <a:pt x="1398" y="500"/>
                  <a:pt x="1394" y="499"/>
                </a:cubicBezTo>
                <a:cubicBezTo>
                  <a:pt x="1394" y="499"/>
                  <a:pt x="1394" y="499"/>
                  <a:pt x="1391" y="500"/>
                </a:cubicBezTo>
                <a:cubicBezTo>
                  <a:pt x="1391" y="500"/>
                  <a:pt x="1391" y="500"/>
                  <a:pt x="1391" y="501"/>
                </a:cubicBezTo>
                <a:cubicBezTo>
                  <a:pt x="1391" y="501"/>
                  <a:pt x="1391" y="501"/>
                  <a:pt x="1390" y="503"/>
                </a:cubicBezTo>
                <a:cubicBezTo>
                  <a:pt x="1390" y="503"/>
                  <a:pt x="1390" y="503"/>
                  <a:pt x="1387" y="503"/>
                </a:cubicBezTo>
                <a:cubicBezTo>
                  <a:pt x="1387" y="503"/>
                  <a:pt x="1387" y="503"/>
                  <a:pt x="1383" y="506"/>
                </a:cubicBezTo>
                <a:cubicBezTo>
                  <a:pt x="1383" y="506"/>
                  <a:pt x="1383" y="506"/>
                  <a:pt x="1382" y="508"/>
                </a:cubicBezTo>
                <a:cubicBezTo>
                  <a:pt x="1382" y="508"/>
                  <a:pt x="1382" y="508"/>
                  <a:pt x="1381" y="509"/>
                </a:cubicBezTo>
                <a:cubicBezTo>
                  <a:pt x="1381" y="509"/>
                  <a:pt x="1381" y="509"/>
                  <a:pt x="1378" y="509"/>
                </a:cubicBezTo>
                <a:cubicBezTo>
                  <a:pt x="1378" y="509"/>
                  <a:pt x="1378" y="509"/>
                  <a:pt x="1377" y="508"/>
                </a:cubicBezTo>
                <a:cubicBezTo>
                  <a:pt x="1377" y="508"/>
                  <a:pt x="1377" y="508"/>
                  <a:pt x="1373" y="506"/>
                </a:cubicBezTo>
                <a:cubicBezTo>
                  <a:pt x="1373" y="506"/>
                  <a:pt x="1373" y="506"/>
                  <a:pt x="1372" y="506"/>
                </a:cubicBezTo>
                <a:cubicBezTo>
                  <a:pt x="1372" y="506"/>
                  <a:pt x="1372" y="506"/>
                  <a:pt x="1371" y="507"/>
                </a:cubicBezTo>
                <a:cubicBezTo>
                  <a:pt x="1371" y="507"/>
                  <a:pt x="1371" y="507"/>
                  <a:pt x="1370" y="507"/>
                </a:cubicBezTo>
                <a:cubicBezTo>
                  <a:pt x="1370" y="507"/>
                  <a:pt x="1370" y="507"/>
                  <a:pt x="1369" y="506"/>
                </a:cubicBezTo>
                <a:cubicBezTo>
                  <a:pt x="1369" y="506"/>
                  <a:pt x="1369" y="506"/>
                  <a:pt x="1367" y="506"/>
                </a:cubicBezTo>
                <a:cubicBezTo>
                  <a:pt x="1367" y="506"/>
                  <a:pt x="1367" y="506"/>
                  <a:pt x="1366" y="505"/>
                </a:cubicBezTo>
                <a:cubicBezTo>
                  <a:pt x="1366" y="505"/>
                  <a:pt x="1366" y="505"/>
                  <a:pt x="1364" y="507"/>
                </a:cubicBezTo>
                <a:cubicBezTo>
                  <a:pt x="1364" y="507"/>
                  <a:pt x="1364" y="507"/>
                  <a:pt x="1362" y="509"/>
                </a:cubicBezTo>
                <a:cubicBezTo>
                  <a:pt x="1362" y="509"/>
                  <a:pt x="1362" y="509"/>
                  <a:pt x="1362" y="510"/>
                </a:cubicBezTo>
                <a:cubicBezTo>
                  <a:pt x="1362" y="510"/>
                  <a:pt x="1362" y="510"/>
                  <a:pt x="1362" y="512"/>
                </a:cubicBezTo>
                <a:cubicBezTo>
                  <a:pt x="1362" y="512"/>
                  <a:pt x="1362" y="512"/>
                  <a:pt x="1362" y="514"/>
                </a:cubicBezTo>
                <a:cubicBezTo>
                  <a:pt x="1362" y="515"/>
                  <a:pt x="1362" y="515"/>
                  <a:pt x="1362" y="515"/>
                </a:cubicBezTo>
                <a:cubicBezTo>
                  <a:pt x="1361" y="516"/>
                  <a:pt x="1361" y="516"/>
                  <a:pt x="1361" y="516"/>
                </a:cubicBezTo>
                <a:cubicBezTo>
                  <a:pt x="1361" y="518"/>
                  <a:pt x="1361" y="518"/>
                  <a:pt x="1361" y="518"/>
                </a:cubicBezTo>
                <a:cubicBezTo>
                  <a:pt x="1361" y="519"/>
                  <a:pt x="1361" y="519"/>
                  <a:pt x="1361" y="519"/>
                </a:cubicBezTo>
                <a:cubicBezTo>
                  <a:pt x="1361" y="520"/>
                  <a:pt x="1361" y="520"/>
                  <a:pt x="1361" y="520"/>
                </a:cubicBezTo>
                <a:cubicBezTo>
                  <a:pt x="1358" y="522"/>
                  <a:pt x="1358" y="522"/>
                  <a:pt x="1358" y="522"/>
                </a:cubicBezTo>
                <a:cubicBezTo>
                  <a:pt x="1358" y="522"/>
                  <a:pt x="1358" y="522"/>
                  <a:pt x="1357" y="523"/>
                </a:cubicBezTo>
                <a:cubicBezTo>
                  <a:pt x="1357" y="523"/>
                  <a:pt x="1357" y="523"/>
                  <a:pt x="1355" y="524"/>
                </a:cubicBezTo>
                <a:cubicBezTo>
                  <a:pt x="1353" y="524"/>
                  <a:pt x="1353" y="524"/>
                  <a:pt x="1353" y="524"/>
                </a:cubicBezTo>
                <a:cubicBezTo>
                  <a:pt x="1351" y="525"/>
                  <a:pt x="1351" y="525"/>
                  <a:pt x="1351" y="525"/>
                </a:cubicBezTo>
                <a:cubicBezTo>
                  <a:pt x="1350" y="526"/>
                  <a:pt x="1350" y="526"/>
                  <a:pt x="1350" y="526"/>
                </a:cubicBezTo>
                <a:cubicBezTo>
                  <a:pt x="1351" y="526"/>
                  <a:pt x="1351" y="526"/>
                  <a:pt x="1351" y="526"/>
                </a:cubicBezTo>
                <a:cubicBezTo>
                  <a:pt x="1350" y="528"/>
                  <a:pt x="1350" y="528"/>
                  <a:pt x="1350" y="528"/>
                </a:cubicBezTo>
                <a:cubicBezTo>
                  <a:pt x="1349" y="528"/>
                  <a:pt x="1349" y="528"/>
                  <a:pt x="1349" y="528"/>
                </a:cubicBezTo>
                <a:cubicBezTo>
                  <a:pt x="1347" y="531"/>
                  <a:pt x="1347" y="531"/>
                  <a:pt x="1347" y="531"/>
                </a:cubicBezTo>
                <a:cubicBezTo>
                  <a:pt x="1346" y="531"/>
                  <a:pt x="1346" y="531"/>
                  <a:pt x="1346" y="531"/>
                </a:cubicBezTo>
                <a:cubicBezTo>
                  <a:pt x="1343" y="535"/>
                  <a:pt x="1343" y="535"/>
                  <a:pt x="1343" y="535"/>
                </a:cubicBezTo>
                <a:cubicBezTo>
                  <a:pt x="1343" y="536"/>
                  <a:pt x="1343" y="536"/>
                  <a:pt x="1343" y="536"/>
                </a:cubicBezTo>
                <a:cubicBezTo>
                  <a:pt x="1344" y="538"/>
                  <a:pt x="1344" y="538"/>
                  <a:pt x="1344" y="538"/>
                </a:cubicBezTo>
                <a:cubicBezTo>
                  <a:pt x="1344" y="539"/>
                  <a:pt x="1344" y="539"/>
                  <a:pt x="1344" y="539"/>
                </a:cubicBezTo>
                <a:cubicBezTo>
                  <a:pt x="1345" y="540"/>
                  <a:pt x="1345" y="540"/>
                  <a:pt x="1345" y="540"/>
                </a:cubicBezTo>
                <a:cubicBezTo>
                  <a:pt x="1346" y="542"/>
                  <a:pt x="1346" y="542"/>
                  <a:pt x="1346" y="542"/>
                </a:cubicBezTo>
                <a:cubicBezTo>
                  <a:pt x="1345" y="543"/>
                  <a:pt x="1345" y="543"/>
                  <a:pt x="1345" y="543"/>
                </a:cubicBezTo>
                <a:cubicBezTo>
                  <a:pt x="1343" y="544"/>
                  <a:pt x="1343" y="544"/>
                  <a:pt x="1343" y="544"/>
                </a:cubicBezTo>
                <a:cubicBezTo>
                  <a:pt x="1343" y="545"/>
                  <a:pt x="1343" y="545"/>
                  <a:pt x="1343" y="545"/>
                </a:cubicBezTo>
                <a:cubicBezTo>
                  <a:pt x="1341" y="548"/>
                  <a:pt x="1341" y="548"/>
                  <a:pt x="1341" y="548"/>
                </a:cubicBezTo>
                <a:cubicBezTo>
                  <a:pt x="1341" y="550"/>
                  <a:pt x="1341" y="550"/>
                  <a:pt x="1341" y="550"/>
                </a:cubicBezTo>
                <a:cubicBezTo>
                  <a:pt x="1341" y="551"/>
                  <a:pt x="1341" y="551"/>
                  <a:pt x="1341" y="551"/>
                </a:cubicBezTo>
                <a:cubicBezTo>
                  <a:pt x="1339" y="552"/>
                  <a:pt x="1339" y="552"/>
                  <a:pt x="1339" y="552"/>
                </a:cubicBezTo>
                <a:cubicBezTo>
                  <a:pt x="1335" y="553"/>
                  <a:pt x="1335" y="553"/>
                  <a:pt x="1335" y="553"/>
                </a:cubicBezTo>
                <a:cubicBezTo>
                  <a:pt x="1335" y="555"/>
                  <a:pt x="1335" y="555"/>
                  <a:pt x="1335" y="555"/>
                </a:cubicBezTo>
                <a:cubicBezTo>
                  <a:pt x="1333" y="557"/>
                  <a:pt x="1333" y="557"/>
                  <a:pt x="1333" y="557"/>
                </a:cubicBezTo>
                <a:cubicBezTo>
                  <a:pt x="1332" y="556"/>
                  <a:pt x="1332" y="556"/>
                  <a:pt x="1332" y="556"/>
                </a:cubicBezTo>
                <a:cubicBezTo>
                  <a:pt x="1331" y="555"/>
                  <a:pt x="1331" y="555"/>
                  <a:pt x="1331" y="555"/>
                </a:cubicBezTo>
                <a:cubicBezTo>
                  <a:pt x="1330" y="556"/>
                  <a:pt x="1330" y="556"/>
                  <a:pt x="1330" y="556"/>
                </a:cubicBezTo>
                <a:cubicBezTo>
                  <a:pt x="1329" y="557"/>
                  <a:pt x="1329" y="557"/>
                  <a:pt x="1329" y="557"/>
                </a:cubicBezTo>
                <a:cubicBezTo>
                  <a:pt x="1328" y="556"/>
                  <a:pt x="1328" y="556"/>
                  <a:pt x="1328" y="556"/>
                </a:cubicBezTo>
                <a:cubicBezTo>
                  <a:pt x="1327" y="556"/>
                  <a:pt x="1327" y="556"/>
                  <a:pt x="1327" y="556"/>
                </a:cubicBezTo>
                <a:cubicBezTo>
                  <a:pt x="1327" y="557"/>
                  <a:pt x="1327" y="557"/>
                  <a:pt x="1327" y="557"/>
                </a:cubicBezTo>
                <a:cubicBezTo>
                  <a:pt x="1325" y="557"/>
                  <a:pt x="1325" y="557"/>
                  <a:pt x="1325" y="557"/>
                </a:cubicBezTo>
                <a:cubicBezTo>
                  <a:pt x="1322" y="556"/>
                  <a:pt x="1322" y="556"/>
                  <a:pt x="1322" y="556"/>
                </a:cubicBezTo>
                <a:cubicBezTo>
                  <a:pt x="1321" y="557"/>
                  <a:pt x="1321" y="557"/>
                  <a:pt x="1321" y="557"/>
                </a:cubicBezTo>
                <a:cubicBezTo>
                  <a:pt x="1319" y="557"/>
                  <a:pt x="1319" y="557"/>
                  <a:pt x="1319" y="557"/>
                </a:cubicBezTo>
                <a:cubicBezTo>
                  <a:pt x="1317" y="559"/>
                  <a:pt x="1317" y="559"/>
                  <a:pt x="1317" y="559"/>
                </a:cubicBezTo>
                <a:cubicBezTo>
                  <a:pt x="1315" y="559"/>
                  <a:pt x="1315" y="559"/>
                  <a:pt x="1315" y="559"/>
                </a:cubicBezTo>
                <a:cubicBezTo>
                  <a:pt x="1314" y="560"/>
                  <a:pt x="1314" y="560"/>
                  <a:pt x="1314" y="560"/>
                </a:cubicBezTo>
                <a:cubicBezTo>
                  <a:pt x="1314" y="561"/>
                  <a:pt x="1314" y="561"/>
                  <a:pt x="1314" y="561"/>
                </a:cubicBezTo>
                <a:cubicBezTo>
                  <a:pt x="1312" y="562"/>
                  <a:pt x="1312" y="562"/>
                  <a:pt x="1312" y="562"/>
                </a:cubicBezTo>
                <a:cubicBezTo>
                  <a:pt x="1310" y="562"/>
                  <a:pt x="1310" y="562"/>
                  <a:pt x="1310" y="562"/>
                </a:cubicBezTo>
                <a:cubicBezTo>
                  <a:pt x="1308" y="560"/>
                  <a:pt x="1308" y="560"/>
                  <a:pt x="1308" y="560"/>
                </a:cubicBezTo>
                <a:cubicBezTo>
                  <a:pt x="1307" y="557"/>
                  <a:pt x="1307" y="557"/>
                  <a:pt x="1307" y="557"/>
                </a:cubicBezTo>
                <a:cubicBezTo>
                  <a:pt x="1307" y="556"/>
                  <a:pt x="1307" y="556"/>
                  <a:pt x="1307" y="556"/>
                </a:cubicBezTo>
                <a:cubicBezTo>
                  <a:pt x="1304" y="554"/>
                  <a:pt x="1304" y="554"/>
                  <a:pt x="1304" y="554"/>
                </a:cubicBezTo>
                <a:cubicBezTo>
                  <a:pt x="1303" y="554"/>
                  <a:pt x="1303" y="554"/>
                  <a:pt x="1303" y="554"/>
                </a:cubicBezTo>
                <a:cubicBezTo>
                  <a:pt x="1302" y="553"/>
                  <a:pt x="1302" y="553"/>
                  <a:pt x="1302" y="553"/>
                </a:cubicBezTo>
                <a:cubicBezTo>
                  <a:pt x="1302" y="553"/>
                  <a:pt x="1302" y="553"/>
                  <a:pt x="1301" y="553"/>
                </a:cubicBezTo>
                <a:cubicBezTo>
                  <a:pt x="1301" y="553"/>
                  <a:pt x="1301" y="553"/>
                  <a:pt x="1301" y="554"/>
                </a:cubicBezTo>
                <a:cubicBezTo>
                  <a:pt x="1301" y="554"/>
                  <a:pt x="1301" y="554"/>
                  <a:pt x="1300" y="554"/>
                </a:cubicBezTo>
                <a:cubicBezTo>
                  <a:pt x="1300" y="554"/>
                  <a:pt x="1300" y="554"/>
                  <a:pt x="1298" y="555"/>
                </a:cubicBezTo>
                <a:cubicBezTo>
                  <a:pt x="1298" y="555"/>
                  <a:pt x="1298" y="555"/>
                  <a:pt x="1296" y="554"/>
                </a:cubicBezTo>
                <a:cubicBezTo>
                  <a:pt x="1296" y="554"/>
                  <a:pt x="1296" y="554"/>
                  <a:pt x="1294" y="553"/>
                </a:cubicBezTo>
                <a:cubicBezTo>
                  <a:pt x="1294" y="553"/>
                  <a:pt x="1294" y="553"/>
                  <a:pt x="1292" y="554"/>
                </a:cubicBezTo>
                <a:cubicBezTo>
                  <a:pt x="1292" y="554"/>
                  <a:pt x="1292" y="554"/>
                  <a:pt x="1292" y="553"/>
                </a:cubicBezTo>
                <a:cubicBezTo>
                  <a:pt x="1292" y="553"/>
                  <a:pt x="1292" y="553"/>
                  <a:pt x="1293" y="551"/>
                </a:cubicBezTo>
                <a:cubicBezTo>
                  <a:pt x="1293" y="551"/>
                  <a:pt x="1293" y="551"/>
                  <a:pt x="1293" y="548"/>
                </a:cubicBezTo>
                <a:cubicBezTo>
                  <a:pt x="1293" y="548"/>
                  <a:pt x="1293" y="548"/>
                  <a:pt x="1293" y="546"/>
                </a:cubicBezTo>
                <a:cubicBezTo>
                  <a:pt x="1293" y="546"/>
                  <a:pt x="1293" y="546"/>
                  <a:pt x="1293" y="545"/>
                </a:cubicBezTo>
                <a:cubicBezTo>
                  <a:pt x="1293" y="545"/>
                  <a:pt x="1293" y="545"/>
                  <a:pt x="1293" y="544"/>
                </a:cubicBezTo>
                <a:cubicBezTo>
                  <a:pt x="1293" y="544"/>
                  <a:pt x="1293" y="544"/>
                  <a:pt x="1292" y="544"/>
                </a:cubicBezTo>
                <a:cubicBezTo>
                  <a:pt x="1292" y="544"/>
                  <a:pt x="1292" y="544"/>
                  <a:pt x="1291" y="545"/>
                </a:cubicBezTo>
                <a:cubicBezTo>
                  <a:pt x="1291" y="545"/>
                  <a:pt x="1291" y="545"/>
                  <a:pt x="1290" y="544"/>
                </a:cubicBezTo>
                <a:cubicBezTo>
                  <a:pt x="1290" y="544"/>
                  <a:pt x="1290" y="544"/>
                  <a:pt x="1290" y="543"/>
                </a:cubicBezTo>
                <a:cubicBezTo>
                  <a:pt x="1290" y="543"/>
                  <a:pt x="1290" y="543"/>
                  <a:pt x="1292" y="542"/>
                </a:cubicBezTo>
                <a:cubicBezTo>
                  <a:pt x="1292" y="542"/>
                  <a:pt x="1292" y="542"/>
                  <a:pt x="1292" y="541"/>
                </a:cubicBezTo>
                <a:cubicBezTo>
                  <a:pt x="1292" y="541"/>
                  <a:pt x="1292" y="541"/>
                  <a:pt x="1292" y="540"/>
                </a:cubicBezTo>
                <a:cubicBezTo>
                  <a:pt x="1292" y="540"/>
                  <a:pt x="1292" y="540"/>
                  <a:pt x="1291" y="541"/>
                </a:cubicBezTo>
                <a:cubicBezTo>
                  <a:pt x="1291" y="541"/>
                  <a:pt x="1291" y="541"/>
                  <a:pt x="1290" y="542"/>
                </a:cubicBezTo>
                <a:cubicBezTo>
                  <a:pt x="1290" y="542"/>
                  <a:pt x="1290" y="542"/>
                  <a:pt x="1289" y="542"/>
                </a:cubicBezTo>
                <a:cubicBezTo>
                  <a:pt x="1289" y="542"/>
                  <a:pt x="1289" y="542"/>
                  <a:pt x="1289" y="541"/>
                </a:cubicBezTo>
                <a:cubicBezTo>
                  <a:pt x="1289" y="541"/>
                  <a:pt x="1289" y="541"/>
                  <a:pt x="1290" y="537"/>
                </a:cubicBezTo>
                <a:cubicBezTo>
                  <a:pt x="1290" y="537"/>
                  <a:pt x="1290" y="537"/>
                  <a:pt x="1291" y="535"/>
                </a:cubicBezTo>
                <a:cubicBezTo>
                  <a:pt x="1291" y="535"/>
                  <a:pt x="1291" y="535"/>
                  <a:pt x="1291" y="534"/>
                </a:cubicBezTo>
                <a:cubicBezTo>
                  <a:pt x="1291" y="534"/>
                  <a:pt x="1291" y="534"/>
                  <a:pt x="1293" y="532"/>
                </a:cubicBezTo>
                <a:cubicBezTo>
                  <a:pt x="1293" y="532"/>
                  <a:pt x="1293" y="532"/>
                  <a:pt x="1293" y="530"/>
                </a:cubicBezTo>
                <a:cubicBezTo>
                  <a:pt x="1293" y="530"/>
                  <a:pt x="1293" y="530"/>
                  <a:pt x="1294" y="528"/>
                </a:cubicBezTo>
                <a:cubicBezTo>
                  <a:pt x="1294" y="528"/>
                  <a:pt x="1294" y="528"/>
                  <a:pt x="1294" y="527"/>
                </a:cubicBezTo>
                <a:cubicBezTo>
                  <a:pt x="1294" y="527"/>
                  <a:pt x="1294" y="527"/>
                  <a:pt x="1293" y="526"/>
                </a:cubicBezTo>
                <a:cubicBezTo>
                  <a:pt x="1293" y="526"/>
                  <a:pt x="1293" y="526"/>
                  <a:pt x="1294" y="524"/>
                </a:cubicBezTo>
                <a:cubicBezTo>
                  <a:pt x="1294" y="524"/>
                  <a:pt x="1294" y="524"/>
                  <a:pt x="1294" y="520"/>
                </a:cubicBezTo>
                <a:cubicBezTo>
                  <a:pt x="1294" y="520"/>
                  <a:pt x="1294" y="520"/>
                  <a:pt x="1293" y="518"/>
                </a:cubicBezTo>
                <a:cubicBezTo>
                  <a:pt x="1293" y="518"/>
                  <a:pt x="1293" y="518"/>
                  <a:pt x="1293" y="516"/>
                </a:cubicBezTo>
                <a:cubicBezTo>
                  <a:pt x="1294" y="515"/>
                  <a:pt x="1294" y="515"/>
                  <a:pt x="1294" y="515"/>
                </a:cubicBezTo>
                <a:cubicBezTo>
                  <a:pt x="1293" y="515"/>
                  <a:pt x="1293" y="515"/>
                  <a:pt x="1293" y="515"/>
                </a:cubicBezTo>
                <a:cubicBezTo>
                  <a:pt x="1294" y="514"/>
                  <a:pt x="1294" y="514"/>
                  <a:pt x="1294" y="514"/>
                </a:cubicBezTo>
                <a:cubicBezTo>
                  <a:pt x="1294" y="513"/>
                  <a:pt x="1294" y="513"/>
                  <a:pt x="1294" y="513"/>
                </a:cubicBezTo>
                <a:cubicBezTo>
                  <a:pt x="1294" y="512"/>
                  <a:pt x="1294" y="512"/>
                  <a:pt x="1294" y="512"/>
                </a:cubicBezTo>
                <a:cubicBezTo>
                  <a:pt x="1293" y="513"/>
                  <a:pt x="1293" y="513"/>
                  <a:pt x="1293" y="513"/>
                </a:cubicBezTo>
                <a:cubicBezTo>
                  <a:pt x="1292" y="513"/>
                  <a:pt x="1292" y="513"/>
                  <a:pt x="1292" y="513"/>
                </a:cubicBezTo>
                <a:cubicBezTo>
                  <a:pt x="1293" y="511"/>
                  <a:pt x="1293" y="511"/>
                  <a:pt x="1293" y="511"/>
                </a:cubicBezTo>
                <a:cubicBezTo>
                  <a:pt x="1292" y="511"/>
                  <a:pt x="1292" y="511"/>
                  <a:pt x="1292" y="511"/>
                </a:cubicBezTo>
                <a:cubicBezTo>
                  <a:pt x="1292" y="510"/>
                  <a:pt x="1292" y="510"/>
                  <a:pt x="1292" y="510"/>
                </a:cubicBezTo>
                <a:cubicBezTo>
                  <a:pt x="1291" y="510"/>
                  <a:pt x="1291" y="510"/>
                  <a:pt x="1291" y="510"/>
                </a:cubicBezTo>
                <a:cubicBezTo>
                  <a:pt x="1291" y="509"/>
                  <a:pt x="1291" y="509"/>
                  <a:pt x="1291" y="509"/>
                </a:cubicBezTo>
                <a:cubicBezTo>
                  <a:pt x="1292" y="508"/>
                  <a:pt x="1292" y="508"/>
                  <a:pt x="1292" y="508"/>
                </a:cubicBezTo>
                <a:cubicBezTo>
                  <a:pt x="1294" y="507"/>
                  <a:pt x="1294" y="507"/>
                  <a:pt x="1294" y="507"/>
                </a:cubicBezTo>
                <a:cubicBezTo>
                  <a:pt x="1295" y="507"/>
                  <a:pt x="1295" y="507"/>
                  <a:pt x="1295" y="507"/>
                </a:cubicBezTo>
                <a:cubicBezTo>
                  <a:pt x="1297" y="507"/>
                  <a:pt x="1297" y="507"/>
                  <a:pt x="1297" y="507"/>
                </a:cubicBezTo>
                <a:cubicBezTo>
                  <a:pt x="1298" y="506"/>
                  <a:pt x="1298" y="506"/>
                  <a:pt x="1298" y="506"/>
                </a:cubicBezTo>
                <a:cubicBezTo>
                  <a:pt x="1297" y="506"/>
                  <a:pt x="1297" y="506"/>
                  <a:pt x="1297" y="506"/>
                </a:cubicBezTo>
                <a:cubicBezTo>
                  <a:pt x="1297" y="505"/>
                  <a:pt x="1297" y="505"/>
                  <a:pt x="1297" y="505"/>
                </a:cubicBezTo>
                <a:cubicBezTo>
                  <a:pt x="1299" y="504"/>
                  <a:pt x="1299" y="504"/>
                  <a:pt x="1299" y="504"/>
                </a:cubicBezTo>
                <a:cubicBezTo>
                  <a:pt x="1300" y="503"/>
                  <a:pt x="1300" y="503"/>
                  <a:pt x="1300" y="503"/>
                </a:cubicBezTo>
                <a:cubicBezTo>
                  <a:pt x="1302" y="504"/>
                  <a:pt x="1302" y="504"/>
                  <a:pt x="1302" y="504"/>
                </a:cubicBezTo>
                <a:cubicBezTo>
                  <a:pt x="1303" y="505"/>
                  <a:pt x="1303" y="505"/>
                  <a:pt x="1303" y="505"/>
                </a:cubicBezTo>
                <a:cubicBezTo>
                  <a:pt x="1304" y="504"/>
                  <a:pt x="1304" y="504"/>
                  <a:pt x="1304" y="504"/>
                </a:cubicBezTo>
                <a:cubicBezTo>
                  <a:pt x="1306" y="504"/>
                  <a:pt x="1306" y="504"/>
                  <a:pt x="1306" y="504"/>
                </a:cubicBezTo>
                <a:cubicBezTo>
                  <a:pt x="1307" y="505"/>
                  <a:pt x="1307" y="505"/>
                  <a:pt x="1307" y="505"/>
                </a:cubicBezTo>
                <a:cubicBezTo>
                  <a:pt x="1309" y="504"/>
                  <a:pt x="1309" y="504"/>
                  <a:pt x="1309" y="504"/>
                </a:cubicBezTo>
                <a:cubicBezTo>
                  <a:pt x="1311" y="504"/>
                  <a:pt x="1311" y="504"/>
                  <a:pt x="1311" y="504"/>
                </a:cubicBezTo>
                <a:cubicBezTo>
                  <a:pt x="1313" y="505"/>
                  <a:pt x="1313" y="505"/>
                  <a:pt x="1313" y="505"/>
                </a:cubicBezTo>
                <a:cubicBezTo>
                  <a:pt x="1317" y="506"/>
                  <a:pt x="1317" y="506"/>
                  <a:pt x="1317" y="506"/>
                </a:cubicBezTo>
                <a:cubicBezTo>
                  <a:pt x="1319" y="506"/>
                  <a:pt x="1319" y="506"/>
                  <a:pt x="1319" y="506"/>
                </a:cubicBezTo>
                <a:cubicBezTo>
                  <a:pt x="1322" y="505"/>
                  <a:pt x="1322" y="505"/>
                  <a:pt x="1322" y="505"/>
                </a:cubicBezTo>
                <a:cubicBezTo>
                  <a:pt x="1325" y="505"/>
                  <a:pt x="1325" y="505"/>
                  <a:pt x="1325" y="505"/>
                </a:cubicBezTo>
                <a:cubicBezTo>
                  <a:pt x="1325" y="506"/>
                  <a:pt x="1325" y="506"/>
                  <a:pt x="1325" y="506"/>
                </a:cubicBezTo>
                <a:cubicBezTo>
                  <a:pt x="1327" y="507"/>
                  <a:pt x="1327" y="507"/>
                  <a:pt x="1327" y="507"/>
                </a:cubicBezTo>
                <a:cubicBezTo>
                  <a:pt x="1328" y="506"/>
                  <a:pt x="1328" y="506"/>
                  <a:pt x="1328" y="506"/>
                </a:cubicBezTo>
                <a:cubicBezTo>
                  <a:pt x="1330" y="506"/>
                  <a:pt x="1330" y="506"/>
                  <a:pt x="1330" y="506"/>
                </a:cubicBezTo>
                <a:cubicBezTo>
                  <a:pt x="1333" y="508"/>
                  <a:pt x="1333" y="508"/>
                  <a:pt x="1333" y="508"/>
                </a:cubicBezTo>
                <a:cubicBezTo>
                  <a:pt x="1333" y="507"/>
                  <a:pt x="1333" y="507"/>
                  <a:pt x="1333" y="507"/>
                </a:cubicBezTo>
                <a:cubicBezTo>
                  <a:pt x="1334" y="507"/>
                  <a:pt x="1334" y="507"/>
                  <a:pt x="1334" y="507"/>
                </a:cubicBezTo>
                <a:cubicBezTo>
                  <a:pt x="1335" y="506"/>
                  <a:pt x="1335" y="506"/>
                  <a:pt x="1335" y="506"/>
                </a:cubicBezTo>
                <a:cubicBezTo>
                  <a:pt x="1335" y="506"/>
                  <a:pt x="1335" y="506"/>
                  <a:pt x="1336" y="505"/>
                </a:cubicBezTo>
                <a:cubicBezTo>
                  <a:pt x="1336" y="505"/>
                  <a:pt x="1336" y="505"/>
                  <a:pt x="1337" y="502"/>
                </a:cubicBezTo>
                <a:cubicBezTo>
                  <a:pt x="1337" y="502"/>
                  <a:pt x="1337" y="502"/>
                  <a:pt x="1338" y="497"/>
                </a:cubicBezTo>
                <a:cubicBezTo>
                  <a:pt x="1338" y="497"/>
                  <a:pt x="1338" y="497"/>
                  <a:pt x="1339" y="497"/>
                </a:cubicBezTo>
                <a:cubicBezTo>
                  <a:pt x="1339" y="497"/>
                  <a:pt x="1339" y="497"/>
                  <a:pt x="1338" y="496"/>
                </a:cubicBezTo>
                <a:cubicBezTo>
                  <a:pt x="1338" y="496"/>
                  <a:pt x="1338" y="496"/>
                  <a:pt x="1338" y="494"/>
                </a:cubicBezTo>
                <a:cubicBezTo>
                  <a:pt x="1338" y="494"/>
                  <a:pt x="1338" y="494"/>
                  <a:pt x="1338" y="491"/>
                </a:cubicBezTo>
                <a:cubicBezTo>
                  <a:pt x="1338" y="491"/>
                  <a:pt x="1338" y="491"/>
                  <a:pt x="1339" y="490"/>
                </a:cubicBezTo>
                <a:cubicBezTo>
                  <a:pt x="1339" y="490"/>
                  <a:pt x="1339" y="490"/>
                  <a:pt x="1340" y="491"/>
                </a:cubicBezTo>
                <a:cubicBezTo>
                  <a:pt x="1340" y="491"/>
                  <a:pt x="1340" y="491"/>
                  <a:pt x="1341" y="492"/>
                </a:cubicBezTo>
                <a:cubicBezTo>
                  <a:pt x="1341" y="492"/>
                  <a:pt x="1341" y="492"/>
                  <a:pt x="1342" y="494"/>
                </a:cubicBezTo>
                <a:cubicBezTo>
                  <a:pt x="1342" y="494"/>
                  <a:pt x="1342" y="494"/>
                  <a:pt x="1341" y="490"/>
                </a:cubicBezTo>
                <a:cubicBezTo>
                  <a:pt x="1341" y="490"/>
                  <a:pt x="1341" y="490"/>
                  <a:pt x="1339" y="489"/>
                </a:cubicBezTo>
                <a:cubicBezTo>
                  <a:pt x="1339" y="489"/>
                  <a:pt x="1339" y="489"/>
                  <a:pt x="1338" y="489"/>
                </a:cubicBezTo>
                <a:cubicBezTo>
                  <a:pt x="1338" y="489"/>
                  <a:pt x="1338" y="489"/>
                  <a:pt x="1338" y="488"/>
                </a:cubicBezTo>
                <a:cubicBezTo>
                  <a:pt x="1338" y="488"/>
                  <a:pt x="1338" y="488"/>
                  <a:pt x="1339" y="486"/>
                </a:cubicBezTo>
                <a:cubicBezTo>
                  <a:pt x="1339" y="486"/>
                  <a:pt x="1339" y="486"/>
                  <a:pt x="1338" y="485"/>
                </a:cubicBezTo>
                <a:cubicBezTo>
                  <a:pt x="1338" y="485"/>
                  <a:pt x="1338" y="485"/>
                  <a:pt x="1338" y="484"/>
                </a:cubicBezTo>
                <a:cubicBezTo>
                  <a:pt x="1338" y="484"/>
                  <a:pt x="1338" y="484"/>
                  <a:pt x="1337" y="483"/>
                </a:cubicBezTo>
                <a:cubicBezTo>
                  <a:pt x="1337" y="483"/>
                  <a:pt x="1337" y="483"/>
                  <a:pt x="1335" y="483"/>
                </a:cubicBezTo>
                <a:cubicBezTo>
                  <a:pt x="1335" y="483"/>
                  <a:pt x="1335" y="483"/>
                  <a:pt x="1334" y="481"/>
                </a:cubicBezTo>
                <a:cubicBezTo>
                  <a:pt x="1334" y="481"/>
                  <a:pt x="1334" y="481"/>
                  <a:pt x="1333" y="481"/>
                </a:cubicBezTo>
                <a:cubicBezTo>
                  <a:pt x="1333" y="481"/>
                  <a:pt x="1333" y="481"/>
                  <a:pt x="1332" y="480"/>
                </a:cubicBezTo>
                <a:cubicBezTo>
                  <a:pt x="1332" y="480"/>
                  <a:pt x="1332" y="480"/>
                  <a:pt x="1333" y="479"/>
                </a:cubicBezTo>
                <a:cubicBezTo>
                  <a:pt x="1333" y="479"/>
                  <a:pt x="1333" y="479"/>
                  <a:pt x="1333" y="478"/>
                </a:cubicBezTo>
                <a:cubicBezTo>
                  <a:pt x="1333" y="478"/>
                  <a:pt x="1333" y="478"/>
                  <a:pt x="1332" y="478"/>
                </a:cubicBezTo>
                <a:cubicBezTo>
                  <a:pt x="1332" y="478"/>
                  <a:pt x="1332" y="478"/>
                  <a:pt x="1333" y="477"/>
                </a:cubicBezTo>
                <a:cubicBezTo>
                  <a:pt x="1333" y="477"/>
                  <a:pt x="1333" y="477"/>
                  <a:pt x="1334" y="477"/>
                </a:cubicBezTo>
                <a:cubicBezTo>
                  <a:pt x="1334" y="477"/>
                  <a:pt x="1334" y="477"/>
                  <a:pt x="1335" y="477"/>
                </a:cubicBezTo>
                <a:cubicBezTo>
                  <a:pt x="1335" y="477"/>
                  <a:pt x="1335" y="477"/>
                  <a:pt x="1334" y="476"/>
                </a:cubicBezTo>
                <a:cubicBezTo>
                  <a:pt x="1334" y="476"/>
                  <a:pt x="1334" y="476"/>
                  <a:pt x="1333" y="476"/>
                </a:cubicBezTo>
                <a:cubicBezTo>
                  <a:pt x="1333" y="476"/>
                  <a:pt x="1333" y="476"/>
                  <a:pt x="1332" y="477"/>
                </a:cubicBezTo>
                <a:cubicBezTo>
                  <a:pt x="1332" y="477"/>
                  <a:pt x="1332" y="477"/>
                  <a:pt x="1331" y="477"/>
                </a:cubicBezTo>
                <a:cubicBezTo>
                  <a:pt x="1331" y="477"/>
                  <a:pt x="1331" y="477"/>
                  <a:pt x="1330" y="476"/>
                </a:cubicBezTo>
                <a:cubicBezTo>
                  <a:pt x="1330" y="476"/>
                  <a:pt x="1330" y="476"/>
                  <a:pt x="1331" y="475"/>
                </a:cubicBezTo>
                <a:cubicBezTo>
                  <a:pt x="1331" y="475"/>
                  <a:pt x="1331" y="475"/>
                  <a:pt x="1330" y="474"/>
                </a:cubicBezTo>
                <a:cubicBezTo>
                  <a:pt x="1330" y="474"/>
                  <a:pt x="1330" y="474"/>
                  <a:pt x="1329" y="475"/>
                </a:cubicBezTo>
                <a:cubicBezTo>
                  <a:pt x="1329" y="475"/>
                  <a:pt x="1329" y="475"/>
                  <a:pt x="1329" y="474"/>
                </a:cubicBezTo>
                <a:cubicBezTo>
                  <a:pt x="1329" y="474"/>
                  <a:pt x="1329" y="474"/>
                  <a:pt x="1329" y="473"/>
                </a:cubicBezTo>
                <a:cubicBezTo>
                  <a:pt x="1329" y="473"/>
                  <a:pt x="1329" y="473"/>
                  <a:pt x="1328" y="473"/>
                </a:cubicBezTo>
                <a:cubicBezTo>
                  <a:pt x="1328" y="473"/>
                  <a:pt x="1328" y="473"/>
                  <a:pt x="1327" y="474"/>
                </a:cubicBezTo>
                <a:cubicBezTo>
                  <a:pt x="1327" y="474"/>
                  <a:pt x="1327" y="474"/>
                  <a:pt x="1326" y="473"/>
                </a:cubicBezTo>
                <a:cubicBezTo>
                  <a:pt x="1326" y="473"/>
                  <a:pt x="1326" y="473"/>
                  <a:pt x="1325" y="473"/>
                </a:cubicBezTo>
                <a:cubicBezTo>
                  <a:pt x="1325" y="473"/>
                  <a:pt x="1325" y="473"/>
                  <a:pt x="1323" y="472"/>
                </a:cubicBezTo>
                <a:cubicBezTo>
                  <a:pt x="1323" y="472"/>
                  <a:pt x="1323" y="472"/>
                  <a:pt x="1322" y="472"/>
                </a:cubicBezTo>
                <a:cubicBezTo>
                  <a:pt x="1322" y="472"/>
                  <a:pt x="1322" y="472"/>
                  <a:pt x="1321" y="472"/>
                </a:cubicBezTo>
                <a:cubicBezTo>
                  <a:pt x="1321" y="472"/>
                  <a:pt x="1321" y="472"/>
                  <a:pt x="1320" y="473"/>
                </a:cubicBezTo>
                <a:cubicBezTo>
                  <a:pt x="1320" y="473"/>
                  <a:pt x="1320" y="473"/>
                  <a:pt x="1320" y="472"/>
                </a:cubicBezTo>
                <a:cubicBezTo>
                  <a:pt x="1320" y="472"/>
                  <a:pt x="1320" y="472"/>
                  <a:pt x="1320" y="470"/>
                </a:cubicBezTo>
                <a:cubicBezTo>
                  <a:pt x="1320" y="470"/>
                  <a:pt x="1320" y="470"/>
                  <a:pt x="1320" y="469"/>
                </a:cubicBezTo>
                <a:cubicBezTo>
                  <a:pt x="1320" y="469"/>
                  <a:pt x="1320" y="469"/>
                  <a:pt x="1319" y="468"/>
                </a:cubicBezTo>
                <a:cubicBezTo>
                  <a:pt x="1319" y="468"/>
                  <a:pt x="1319" y="468"/>
                  <a:pt x="1320" y="468"/>
                </a:cubicBezTo>
                <a:cubicBezTo>
                  <a:pt x="1320" y="468"/>
                  <a:pt x="1320" y="468"/>
                  <a:pt x="1319" y="467"/>
                </a:cubicBezTo>
                <a:cubicBezTo>
                  <a:pt x="1319" y="467"/>
                  <a:pt x="1319" y="467"/>
                  <a:pt x="1318" y="468"/>
                </a:cubicBezTo>
                <a:cubicBezTo>
                  <a:pt x="1318" y="468"/>
                  <a:pt x="1318" y="468"/>
                  <a:pt x="1317" y="467"/>
                </a:cubicBezTo>
                <a:cubicBezTo>
                  <a:pt x="1317" y="467"/>
                  <a:pt x="1317" y="467"/>
                  <a:pt x="1318" y="466"/>
                </a:cubicBezTo>
                <a:cubicBezTo>
                  <a:pt x="1318" y="466"/>
                  <a:pt x="1318" y="466"/>
                  <a:pt x="1320" y="466"/>
                </a:cubicBezTo>
                <a:cubicBezTo>
                  <a:pt x="1320" y="466"/>
                  <a:pt x="1320" y="466"/>
                  <a:pt x="1321" y="465"/>
                </a:cubicBezTo>
                <a:cubicBezTo>
                  <a:pt x="1321" y="465"/>
                  <a:pt x="1321" y="465"/>
                  <a:pt x="1322" y="465"/>
                </a:cubicBezTo>
                <a:cubicBezTo>
                  <a:pt x="1322" y="465"/>
                  <a:pt x="1322" y="465"/>
                  <a:pt x="1323" y="465"/>
                </a:cubicBezTo>
                <a:cubicBezTo>
                  <a:pt x="1323" y="465"/>
                  <a:pt x="1323" y="465"/>
                  <a:pt x="1324" y="465"/>
                </a:cubicBezTo>
                <a:cubicBezTo>
                  <a:pt x="1324" y="465"/>
                  <a:pt x="1324" y="465"/>
                  <a:pt x="1325" y="464"/>
                </a:cubicBezTo>
                <a:cubicBezTo>
                  <a:pt x="1325" y="464"/>
                  <a:pt x="1325" y="464"/>
                  <a:pt x="1327" y="464"/>
                </a:cubicBezTo>
                <a:cubicBezTo>
                  <a:pt x="1327" y="464"/>
                  <a:pt x="1327" y="464"/>
                  <a:pt x="1328" y="464"/>
                </a:cubicBezTo>
                <a:cubicBezTo>
                  <a:pt x="1328" y="464"/>
                  <a:pt x="1328" y="464"/>
                  <a:pt x="1330" y="466"/>
                </a:cubicBezTo>
                <a:cubicBezTo>
                  <a:pt x="1330" y="466"/>
                  <a:pt x="1330" y="466"/>
                  <a:pt x="1331" y="465"/>
                </a:cubicBezTo>
                <a:cubicBezTo>
                  <a:pt x="1331" y="465"/>
                  <a:pt x="1331" y="465"/>
                  <a:pt x="1331" y="466"/>
                </a:cubicBezTo>
                <a:cubicBezTo>
                  <a:pt x="1331" y="466"/>
                  <a:pt x="1331" y="466"/>
                  <a:pt x="1333" y="465"/>
                </a:cubicBezTo>
                <a:cubicBezTo>
                  <a:pt x="1333" y="465"/>
                  <a:pt x="1333" y="465"/>
                  <a:pt x="1333" y="466"/>
                </a:cubicBezTo>
                <a:cubicBezTo>
                  <a:pt x="1333" y="466"/>
                  <a:pt x="1333" y="466"/>
                  <a:pt x="1334" y="465"/>
                </a:cubicBezTo>
                <a:cubicBezTo>
                  <a:pt x="1334" y="465"/>
                  <a:pt x="1334" y="465"/>
                  <a:pt x="1337" y="465"/>
                </a:cubicBezTo>
                <a:cubicBezTo>
                  <a:pt x="1337" y="465"/>
                  <a:pt x="1337" y="465"/>
                  <a:pt x="1336" y="464"/>
                </a:cubicBezTo>
                <a:cubicBezTo>
                  <a:pt x="1336" y="464"/>
                  <a:pt x="1336" y="464"/>
                  <a:pt x="1336" y="463"/>
                </a:cubicBezTo>
                <a:cubicBezTo>
                  <a:pt x="1336" y="463"/>
                  <a:pt x="1336" y="463"/>
                  <a:pt x="1336" y="462"/>
                </a:cubicBezTo>
                <a:cubicBezTo>
                  <a:pt x="1336" y="462"/>
                  <a:pt x="1336" y="462"/>
                  <a:pt x="1336" y="461"/>
                </a:cubicBezTo>
                <a:cubicBezTo>
                  <a:pt x="1336" y="461"/>
                  <a:pt x="1336" y="461"/>
                  <a:pt x="1334" y="459"/>
                </a:cubicBezTo>
                <a:cubicBezTo>
                  <a:pt x="1334" y="459"/>
                  <a:pt x="1334" y="459"/>
                  <a:pt x="1334" y="458"/>
                </a:cubicBezTo>
                <a:cubicBezTo>
                  <a:pt x="1334" y="458"/>
                  <a:pt x="1334" y="458"/>
                  <a:pt x="1334" y="457"/>
                </a:cubicBezTo>
                <a:cubicBezTo>
                  <a:pt x="1334" y="457"/>
                  <a:pt x="1334" y="457"/>
                  <a:pt x="1335" y="457"/>
                </a:cubicBezTo>
                <a:cubicBezTo>
                  <a:pt x="1335" y="457"/>
                  <a:pt x="1335" y="457"/>
                  <a:pt x="1336" y="457"/>
                </a:cubicBezTo>
                <a:cubicBezTo>
                  <a:pt x="1336" y="457"/>
                  <a:pt x="1336" y="457"/>
                  <a:pt x="1337" y="457"/>
                </a:cubicBezTo>
                <a:cubicBezTo>
                  <a:pt x="1337" y="457"/>
                  <a:pt x="1337" y="457"/>
                  <a:pt x="1338" y="457"/>
                </a:cubicBezTo>
                <a:cubicBezTo>
                  <a:pt x="1338" y="457"/>
                  <a:pt x="1338" y="457"/>
                  <a:pt x="1338" y="458"/>
                </a:cubicBezTo>
                <a:cubicBezTo>
                  <a:pt x="1338" y="458"/>
                  <a:pt x="1338" y="458"/>
                  <a:pt x="1338" y="459"/>
                </a:cubicBezTo>
                <a:cubicBezTo>
                  <a:pt x="1338" y="459"/>
                  <a:pt x="1338" y="459"/>
                  <a:pt x="1339" y="460"/>
                </a:cubicBezTo>
                <a:cubicBezTo>
                  <a:pt x="1339" y="460"/>
                  <a:pt x="1339" y="460"/>
                  <a:pt x="1340" y="459"/>
                </a:cubicBezTo>
                <a:cubicBezTo>
                  <a:pt x="1340" y="459"/>
                  <a:pt x="1340" y="459"/>
                  <a:pt x="1341" y="460"/>
                </a:cubicBezTo>
                <a:cubicBezTo>
                  <a:pt x="1341" y="460"/>
                  <a:pt x="1341" y="460"/>
                  <a:pt x="1343" y="460"/>
                </a:cubicBezTo>
                <a:cubicBezTo>
                  <a:pt x="1343" y="460"/>
                  <a:pt x="1343" y="460"/>
                  <a:pt x="1345" y="460"/>
                </a:cubicBezTo>
                <a:cubicBezTo>
                  <a:pt x="1345" y="460"/>
                  <a:pt x="1345" y="460"/>
                  <a:pt x="1347" y="459"/>
                </a:cubicBezTo>
                <a:cubicBezTo>
                  <a:pt x="1347" y="459"/>
                  <a:pt x="1347" y="459"/>
                  <a:pt x="1345" y="458"/>
                </a:cubicBezTo>
                <a:cubicBezTo>
                  <a:pt x="1345" y="458"/>
                  <a:pt x="1345" y="458"/>
                  <a:pt x="1346" y="457"/>
                </a:cubicBezTo>
                <a:cubicBezTo>
                  <a:pt x="1346" y="457"/>
                  <a:pt x="1346" y="457"/>
                  <a:pt x="1348" y="455"/>
                </a:cubicBezTo>
                <a:cubicBezTo>
                  <a:pt x="1348" y="455"/>
                  <a:pt x="1348" y="455"/>
                  <a:pt x="1349" y="456"/>
                </a:cubicBezTo>
                <a:cubicBezTo>
                  <a:pt x="1349" y="456"/>
                  <a:pt x="1349" y="456"/>
                  <a:pt x="1350" y="456"/>
                </a:cubicBezTo>
                <a:cubicBezTo>
                  <a:pt x="1350" y="456"/>
                  <a:pt x="1350" y="456"/>
                  <a:pt x="1352" y="455"/>
                </a:cubicBezTo>
                <a:cubicBezTo>
                  <a:pt x="1352" y="455"/>
                  <a:pt x="1352" y="455"/>
                  <a:pt x="1352" y="454"/>
                </a:cubicBezTo>
                <a:cubicBezTo>
                  <a:pt x="1352" y="454"/>
                  <a:pt x="1352" y="454"/>
                  <a:pt x="1354" y="453"/>
                </a:cubicBezTo>
                <a:cubicBezTo>
                  <a:pt x="1354" y="453"/>
                  <a:pt x="1354" y="453"/>
                  <a:pt x="1354" y="450"/>
                </a:cubicBezTo>
                <a:cubicBezTo>
                  <a:pt x="1354" y="450"/>
                  <a:pt x="1354" y="450"/>
                  <a:pt x="1354" y="449"/>
                </a:cubicBezTo>
                <a:cubicBezTo>
                  <a:pt x="1354" y="449"/>
                  <a:pt x="1354" y="449"/>
                  <a:pt x="1355" y="448"/>
                </a:cubicBezTo>
                <a:cubicBezTo>
                  <a:pt x="1355" y="448"/>
                  <a:pt x="1355" y="448"/>
                  <a:pt x="1356" y="447"/>
                </a:cubicBezTo>
                <a:cubicBezTo>
                  <a:pt x="1356" y="447"/>
                  <a:pt x="1356" y="447"/>
                  <a:pt x="1357" y="447"/>
                </a:cubicBezTo>
                <a:cubicBezTo>
                  <a:pt x="1357" y="447"/>
                  <a:pt x="1357" y="447"/>
                  <a:pt x="1359" y="446"/>
                </a:cubicBezTo>
                <a:cubicBezTo>
                  <a:pt x="1359" y="446"/>
                  <a:pt x="1359" y="446"/>
                  <a:pt x="1360" y="444"/>
                </a:cubicBezTo>
                <a:cubicBezTo>
                  <a:pt x="1360" y="444"/>
                  <a:pt x="1360" y="444"/>
                  <a:pt x="1361" y="443"/>
                </a:cubicBezTo>
                <a:cubicBezTo>
                  <a:pt x="1361" y="443"/>
                  <a:pt x="1361" y="443"/>
                  <a:pt x="1363" y="443"/>
                </a:cubicBezTo>
                <a:cubicBezTo>
                  <a:pt x="1363" y="443"/>
                  <a:pt x="1363" y="443"/>
                  <a:pt x="1364" y="444"/>
                </a:cubicBezTo>
                <a:cubicBezTo>
                  <a:pt x="1364" y="444"/>
                  <a:pt x="1364" y="444"/>
                  <a:pt x="1365" y="444"/>
                </a:cubicBezTo>
                <a:cubicBezTo>
                  <a:pt x="1365" y="444"/>
                  <a:pt x="1365" y="444"/>
                  <a:pt x="1366" y="444"/>
                </a:cubicBezTo>
                <a:cubicBezTo>
                  <a:pt x="1366" y="444"/>
                  <a:pt x="1366" y="444"/>
                  <a:pt x="1365" y="443"/>
                </a:cubicBezTo>
                <a:cubicBezTo>
                  <a:pt x="1365" y="443"/>
                  <a:pt x="1365" y="443"/>
                  <a:pt x="1367" y="443"/>
                </a:cubicBezTo>
                <a:cubicBezTo>
                  <a:pt x="1367" y="443"/>
                  <a:pt x="1367" y="443"/>
                  <a:pt x="1366" y="442"/>
                </a:cubicBezTo>
                <a:cubicBezTo>
                  <a:pt x="1366" y="442"/>
                  <a:pt x="1366" y="442"/>
                  <a:pt x="1365" y="442"/>
                </a:cubicBezTo>
                <a:cubicBezTo>
                  <a:pt x="1365" y="442"/>
                  <a:pt x="1365" y="442"/>
                  <a:pt x="1366" y="441"/>
                </a:cubicBezTo>
                <a:cubicBezTo>
                  <a:pt x="1366" y="441"/>
                  <a:pt x="1366" y="441"/>
                  <a:pt x="1368" y="441"/>
                </a:cubicBezTo>
                <a:cubicBezTo>
                  <a:pt x="1368" y="441"/>
                  <a:pt x="1368" y="441"/>
                  <a:pt x="1367" y="440"/>
                </a:cubicBezTo>
                <a:cubicBezTo>
                  <a:pt x="1367" y="440"/>
                  <a:pt x="1367" y="440"/>
                  <a:pt x="1365" y="439"/>
                </a:cubicBezTo>
                <a:cubicBezTo>
                  <a:pt x="1365" y="439"/>
                  <a:pt x="1365" y="439"/>
                  <a:pt x="1365" y="438"/>
                </a:cubicBezTo>
                <a:cubicBezTo>
                  <a:pt x="1365" y="438"/>
                  <a:pt x="1365" y="438"/>
                  <a:pt x="1366" y="437"/>
                </a:cubicBezTo>
                <a:cubicBezTo>
                  <a:pt x="1366" y="437"/>
                  <a:pt x="1366" y="437"/>
                  <a:pt x="1367" y="436"/>
                </a:cubicBezTo>
                <a:cubicBezTo>
                  <a:pt x="1367" y="436"/>
                  <a:pt x="1367" y="436"/>
                  <a:pt x="1367" y="434"/>
                </a:cubicBezTo>
                <a:cubicBezTo>
                  <a:pt x="1367" y="434"/>
                  <a:pt x="1367" y="434"/>
                  <a:pt x="1367" y="433"/>
                </a:cubicBezTo>
                <a:cubicBezTo>
                  <a:pt x="1367" y="433"/>
                  <a:pt x="1367" y="433"/>
                  <a:pt x="1368" y="432"/>
                </a:cubicBezTo>
                <a:cubicBezTo>
                  <a:pt x="1368" y="432"/>
                  <a:pt x="1368" y="432"/>
                  <a:pt x="1368" y="430"/>
                </a:cubicBezTo>
                <a:cubicBezTo>
                  <a:pt x="1368" y="430"/>
                  <a:pt x="1368" y="430"/>
                  <a:pt x="1369" y="430"/>
                </a:cubicBezTo>
                <a:cubicBezTo>
                  <a:pt x="1369" y="430"/>
                  <a:pt x="1369" y="430"/>
                  <a:pt x="1370" y="430"/>
                </a:cubicBezTo>
                <a:cubicBezTo>
                  <a:pt x="1370" y="430"/>
                  <a:pt x="1370" y="430"/>
                  <a:pt x="1372" y="429"/>
                </a:cubicBezTo>
                <a:cubicBezTo>
                  <a:pt x="1372" y="429"/>
                  <a:pt x="1372" y="429"/>
                  <a:pt x="1374" y="427"/>
                </a:cubicBezTo>
                <a:cubicBezTo>
                  <a:pt x="1374" y="427"/>
                  <a:pt x="1374" y="427"/>
                  <a:pt x="1375" y="427"/>
                </a:cubicBezTo>
                <a:cubicBezTo>
                  <a:pt x="1375" y="427"/>
                  <a:pt x="1375" y="427"/>
                  <a:pt x="1376" y="427"/>
                </a:cubicBezTo>
                <a:cubicBezTo>
                  <a:pt x="1376" y="427"/>
                  <a:pt x="1376" y="427"/>
                  <a:pt x="1377" y="427"/>
                </a:cubicBezTo>
                <a:cubicBezTo>
                  <a:pt x="1377" y="427"/>
                  <a:pt x="1377" y="427"/>
                  <a:pt x="1378" y="426"/>
                </a:cubicBezTo>
                <a:cubicBezTo>
                  <a:pt x="1378" y="426"/>
                  <a:pt x="1378" y="426"/>
                  <a:pt x="1380" y="426"/>
                </a:cubicBezTo>
                <a:cubicBezTo>
                  <a:pt x="1380" y="426"/>
                  <a:pt x="1380" y="426"/>
                  <a:pt x="1382" y="427"/>
                </a:cubicBezTo>
                <a:cubicBezTo>
                  <a:pt x="1382" y="427"/>
                  <a:pt x="1382" y="427"/>
                  <a:pt x="1383" y="428"/>
                </a:cubicBezTo>
                <a:cubicBezTo>
                  <a:pt x="1383" y="428"/>
                  <a:pt x="1383" y="428"/>
                  <a:pt x="1384" y="428"/>
                </a:cubicBezTo>
                <a:cubicBezTo>
                  <a:pt x="1384" y="428"/>
                  <a:pt x="1384" y="428"/>
                  <a:pt x="1384" y="427"/>
                </a:cubicBezTo>
                <a:cubicBezTo>
                  <a:pt x="1384" y="427"/>
                  <a:pt x="1384" y="427"/>
                  <a:pt x="1382" y="427"/>
                </a:cubicBezTo>
                <a:cubicBezTo>
                  <a:pt x="1382" y="427"/>
                  <a:pt x="1382" y="427"/>
                  <a:pt x="1382" y="426"/>
                </a:cubicBezTo>
                <a:cubicBezTo>
                  <a:pt x="1382" y="426"/>
                  <a:pt x="1382" y="426"/>
                  <a:pt x="1382" y="424"/>
                </a:cubicBezTo>
                <a:cubicBezTo>
                  <a:pt x="1382" y="424"/>
                  <a:pt x="1382" y="424"/>
                  <a:pt x="1385" y="424"/>
                </a:cubicBezTo>
                <a:cubicBezTo>
                  <a:pt x="1385" y="424"/>
                  <a:pt x="1385" y="424"/>
                  <a:pt x="1385" y="423"/>
                </a:cubicBezTo>
                <a:cubicBezTo>
                  <a:pt x="1385" y="423"/>
                  <a:pt x="1385" y="423"/>
                  <a:pt x="1387" y="424"/>
                </a:cubicBezTo>
                <a:cubicBezTo>
                  <a:pt x="1387" y="424"/>
                  <a:pt x="1387" y="424"/>
                  <a:pt x="1387" y="426"/>
                </a:cubicBezTo>
                <a:cubicBezTo>
                  <a:pt x="1387" y="426"/>
                  <a:pt x="1387" y="426"/>
                  <a:pt x="1388" y="427"/>
                </a:cubicBezTo>
                <a:cubicBezTo>
                  <a:pt x="1388" y="427"/>
                  <a:pt x="1388" y="427"/>
                  <a:pt x="1389" y="426"/>
                </a:cubicBezTo>
                <a:cubicBezTo>
                  <a:pt x="1389" y="426"/>
                  <a:pt x="1389" y="426"/>
                  <a:pt x="1390" y="427"/>
                </a:cubicBezTo>
                <a:cubicBezTo>
                  <a:pt x="1390" y="427"/>
                  <a:pt x="1390" y="427"/>
                  <a:pt x="1390" y="425"/>
                </a:cubicBezTo>
                <a:cubicBezTo>
                  <a:pt x="1390" y="425"/>
                  <a:pt x="1390" y="425"/>
                  <a:pt x="1390" y="424"/>
                </a:cubicBezTo>
                <a:cubicBezTo>
                  <a:pt x="1390" y="424"/>
                  <a:pt x="1390" y="424"/>
                  <a:pt x="1391" y="423"/>
                </a:cubicBezTo>
                <a:cubicBezTo>
                  <a:pt x="1391" y="423"/>
                  <a:pt x="1391" y="423"/>
                  <a:pt x="1392" y="422"/>
                </a:cubicBezTo>
                <a:cubicBezTo>
                  <a:pt x="1392" y="422"/>
                  <a:pt x="1392" y="422"/>
                  <a:pt x="1393" y="423"/>
                </a:cubicBezTo>
                <a:cubicBezTo>
                  <a:pt x="1393" y="423"/>
                  <a:pt x="1393" y="423"/>
                  <a:pt x="1394" y="422"/>
                </a:cubicBezTo>
                <a:cubicBezTo>
                  <a:pt x="1394" y="422"/>
                  <a:pt x="1394" y="422"/>
                  <a:pt x="1396" y="425"/>
                </a:cubicBezTo>
                <a:cubicBezTo>
                  <a:pt x="1396" y="425"/>
                  <a:pt x="1396" y="425"/>
                  <a:pt x="1399" y="425"/>
                </a:cubicBezTo>
                <a:cubicBezTo>
                  <a:pt x="1399" y="425"/>
                  <a:pt x="1399" y="425"/>
                  <a:pt x="1396" y="424"/>
                </a:cubicBezTo>
                <a:cubicBezTo>
                  <a:pt x="1396" y="424"/>
                  <a:pt x="1396" y="424"/>
                  <a:pt x="1394" y="422"/>
                </a:cubicBezTo>
                <a:cubicBezTo>
                  <a:pt x="1394" y="422"/>
                  <a:pt x="1394" y="422"/>
                  <a:pt x="1393" y="422"/>
                </a:cubicBezTo>
                <a:cubicBezTo>
                  <a:pt x="1393" y="422"/>
                  <a:pt x="1393" y="422"/>
                  <a:pt x="1392" y="421"/>
                </a:cubicBezTo>
                <a:cubicBezTo>
                  <a:pt x="1392" y="421"/>
                  <a:pt x="1392" y="421"/>
                  <a:pt x="1392" y="420"/>
                </a:cubicBezTo>
                <a:cubicBezTo>
                  <a:pt x="1392" y="420"/>
                  <a:pt x="1392" y="420"/>
                  <a:pt x="1393" y="420"/>
                </a:cubicBezTo>
                <a:cubicBezTo>
                  <a:pt x="1393" y="420"/>
                  <a:pt x="1393" y="420"/>
                  <a:pt x="1392" y="419"/>
                </a:cubicBezTo>
                <a:cubicBezTo>
                  <a:pt x="1392" y="419"/>
                  <a:pt x="1392" y="419"/>
                  <a:pt x="1392" y="418"/>
                </a:cubicBezTo>
                <a:cubicBezTo>
                  <a:pt x="1392" y="418"/>
                  <a:pt x="1392" y="418"/>
                  <a:pt x="1390" y="418"/>
                </a:cubicBezTo>
                <a:cubicBezTo>
                  <a:pt x="1390" y="418"/>
                  <a:pt x="1390" y="418"/>
                  <a:pt x="1390" y="417"/>
                </a:cubicBezTo>
                <a:cubicBezTo>
                  <a:pt x="1390" y="417"/>
                  <a:pt x="1390" y="417"/>
                  <a:pt x="1391" y="417"/>
                </a:cubicBezTo>
                <a:cubicBezTo>
                  <a:pt x="1391" y="417"/>
                  <a:pt x="1391" y="417"/>
                  <a:pt x="1393" y="416"/>
                </a:cubicBezTo>
                <a:cubicBezTo>
                  <a:pt x="1393" y="416"/>
                  <a:pt x="1393" y="416"/>
                  <a:pt x="1391" y="415"/>
                </a:cubicBezTo>
                <a:cubicBezTo>
                  <a:pt x="1391" y="415"/>
                  <a:pt x="1391" y="415"/>
                  <a:pt x="1391" y="414"/>
                </a:cubicBezTo>
                <a:cubicBezTo>
                  <a:pt x="1391" y="414"/>
                  <a:pt x="1391" y="414"/>
                  <a:pt x="1390" y="414"/>
                </a:cubicBezTo>
                <a:cubicBezTo>
                  <a:pt x="1390" y="414"/>
                  <a:pt x="1390" y="414"/>
                  <a:pt x="1390" y="413"/>
                </a:cubicBezTo>
                <a:cubicBezTo>
                  <a:pt x="1390" y="413"/>
                  <a:pt x="1390" y="413"/>
                  <a:pt x="1390" y="412"/>
                </a:cubicBezTo>
                <a:cubicBezTo>
                  <a:pt x="1390" y="412"/>
                  <a:pt x="1390" y="412"/>
                  <a:pt x="1390" y="411"/>
                </a:cubicBezTo>
                <a:cubicBezTo>
                  <a:pt x="1390" y="411"/>
                  <a:pt x="1390" y="411"/>
                  <a:pt x="1390" y="409"/>
                </a:cubicBezTo>
                <a:cubicBezTo>
                  <a:pt x="1390" y="409"/>
                  <a:pt x="1390" y="409"/>
                  <a:pt x="1388" y="408"/>
                </a:cubicBezTo>
                <a:cubicBezTo>
                  <a:pt x="1388" y="408"/>
                  <a:pt x="1388" y="408"/>
                  <a:pt x="1387" y="408"/>
                </a:cubicBezTo>
                <a:cubicBezTo>
                  <a:pt x="1387" y="408"/>
                  <a:pt x="1387" y="408"/>
                  <a:pt x="1387" y="406"/>
                </a:cubicBezTo>
                <a:cubicBezTo>
                  <a:pt x="1387" y="406"/>
                  <a:pt x="1387" y="406"/>
                  <a:pt x="1389" y="405"/>
                </a:cubicBezTo>
                <a:cubicBezTo>
                  <a:pt x="1389" y="405"/>
                  <a:pt x="1389" y="405"/>
                  <a:pt x="1388" y="405"/>
                </a:cubicBezTo>
                <a:cubicBezTo>
                  <a:pt x="1388" y="405"/>
                  <a:pt x="1388" y="405"/>
                  <a:pt x="1388" y="403"/>
                </a:cubicBezTo>
                <a:cubicBezTo>
                  <a:pt x="1388" y="403"/>
                  <a:pt x="1388" y="403"/>
                  <a:pt x="1387" y="403"/>
                </a:cubicBezTo>
                <a:cubicBezTo>
                  <a:pt x="1387" y="403"/>
                  <a:pt x="1387" y="403"/>
                  <a:pt x="1387" y="401"/>
                </a:cubicBezTo>
                <a:cubicBezTo>
                  <a:pt x="1387" y="401"/>
                  <a:pt x="1387" y="401"/>
                  <a:pt x="1388" y="401"/>
                </a:cubicBezTo>
                <a:cubicBezTo>
                  <a:pt x="1388" y="401"/>
                  <a:pt x="1388" y="401"/>
                  <a:pt x="1389" y="402"/>
                </a:cubicBezTo>
                <a:cubicBezTo>
                  <a:pt x="1389" y="402"/>
                  <a:pt x="1389" y="402"/>
                  <a:pt x="1389" y="400"/>
                </a:cubicBezTo>
                <a:cubicBezTo>
                  <a:pt x="1389" y="400"/>
                  <a:pt x="1389" y="400"/>
                  <a:pt x="1387" y="399"/>
                </a:cubicBezTo>
                <a:cubicBezTo>
                  <a:pt x="1387" y="399"/>
                  <a:pt x="1387" y="399"/>
                  <a:pt x="1388" y="398"/>
                </a:cubicBezTo>
                <a:cubicBezTo>
                  <a:pt x="1388" y="398"/>
                  <a:pt x="1388" y="398"/>
                  <a:pt x="1389" y="399"/>
                </a:cubicBezTo>
                <a:cubicBezTo>
                  <a:pt x="1389" y="399"/>
                  <a:pt x="1389" y="399"/>
                  <a:pt x="1390" y="399"/>
                </a:cubicBezTo>
                <a:cubicBezTo>
                  <a:pt x="1390" y="399"/>
                  <a:pt x="1390" y="399"/>
                  <a:pt x="1391" y="400"/>
                </a:cubicBezTo>
                <a:cubicBezTo>
                  <a:pt x="1391" y="400"/>
                  <a:pt x="1391" y="400"/>
                  <a:pt x="1392" y="399"/>
                </a:cubicBezTo>
                <a:cubicBezTo>
                  <a:pt x="1392" y="399"/>
                  <a:pt x="1392" y="399"/>
                  <a:pt x="1393" y="399"/>
                </a:cubicBezTo>
                <a:cubicBezTo>
                  <a:pt x="1393" y="399"/>
                  <a:pt x="1393" y="399"/>
                  <a:pt x="1394" y="399"/>
                </a:cubicBezTo>
                <a:cubicBezTo>
                  <a:pt x="1394" y="399"/>
                  <a:pt x="1394" y="399"/>
                  <a:pt x="1395" y="399"/>
                </a:cubicBezTo>
                <a:cubicBezTo>
                  <a:pt x="1395" y="399"/>
                  <a:pt x="1395" y="399"/>
                  <a:pt x="1394" y="398"/>
                </a:cubicBezTo>
                <a:cubicBezTo>
                  <a:pt x="1394" y="398"/>
                  <a:pt x="1394" y="398"/>
                  <a:pt x="1394" y="397"/>
                </a:cubicBezTo>
                <a:cubicBezTo>
                  <a:pt x="1394" y="397"/>
                  <a:pt x="1394" y="397"/>
                  <a:pt x="1393" y="396"/>
                </a:cubicBezTo>
                <a:cubicBezTo>
                  <a:pt x="1393" y="396"/>
                  <a:pt x="1393" y="396"/>
                  <a:pt x="1393" y="395"/>
                </a:cubicBezTo>
                <a:cubicBezTo>
                  <a:pt x="1393" y="395"/>
                  <a:pt x="1393" y="395"/>
                  <a:pt x="1394" y="395"/>
                </a:cubicBezTo>
                <a:cubicBezTo>
                  <a:pt x="1394" y="395"/>
                  <a:pt x="1394" y="395"/>
                  <a:pt x="1395" y="395"/>
                </a:cubicBezTo>
                <a:cubicBezTo>
                  <a:pt x="1395" y="395"/>
                  <a:pt x="1395" y="395"/>
                  <a:pt x="1397" y="395"/>
                </a:cubicBezTo>
                <a:cubicBezTo>
                  <a:pt x="1397" y="395"/>
                  <a:pt x="1397" y="395"/>
                  <a:pt x="1398" y="396"/>
                </a:cubicBezTo>
                <a:cubicBezTo>
                  <a:pt x="1398" y="396"/>
                  <a:pt x="1398" y="396"/>
                  <a:pt x="1398" y="397"/>
                </a:cubicBezTo>
                <a:cubicBezTo>
                  <a:pt x="1398" y="397"/>
                  <a:pt x="1398" y="397"/>
                  <a:pt x="1398" y="398"/>
                </a:cubicBezTo>
                <a:cubicBezTo>
                  <a:pt x="1398" y="398"/>
                  <a:pt x="1398" y="398"/>
                  <a:pt x="1399" y="398"/>
                </a:cubicBezTo>
                <a:cubicBezTo>
                  <a:pt x="1399" y="398"/>
                  <a:pt x="1399" y="398"/>
                  <a:pt x="1399" y="399"/>
                </a:cubicBezTo>
                <a:cubicBezTo>
                  <a:pt x="1399" y="399"/>
                  <a:pt x="1399" y="399"/>
                  <a:pt x="1400" y="400"/>
                </a:cubicBezTo>
                <a:cubicBezTo>
                  <a:pt x="1400" y="400"/>
                  <a:pt x="1400" y="400"/>
                  <a:pt x="1401" y="400"/>
                </a:cubicBezTo>
                <a:cubicBezTo>
                  <a:pt x="1401" y="400"/>
                  <a:pt x="1401" y="400"/>
                  <a:pt x="1402" y="399"/>
                </a:cubicBezTo>
                <a:cubicBezTo>
                  <a:pt x="1402" y="399"/>
                  <a:pt x="1402" y="399"/>
                  <a:pt x="1403" y="400"/>
                </a:cubicBezTo>
                <a:cubicBezTo>
                  <a:pt x="1403" y="400"/>
                  <a:pt x="1403" y="400"/>
                  <a:pt x="1403" y="401"/>
                </a:cubicBezTo>
                <a:cubicBezTo>
                  <a:pt x="1403" y="401"/>
                  <a:pt x="1403" y="401"/>
                  <a:pt x="1402" y="402"/>
                </a:cubicBezTo>
                <a:cubicBezTo>
                  <a:pt x="1402" y="402"/>
                  <a:pt x="1402" y="402"/>
                  <a:pt x="1401" y="402"/>
                </a:cubicBezTo>
                <a:cubicBezTo>
                  <a:pt x="1401" y="402"/>
                  <a:pt x="1401" y="402"/>
                  <a:pt x="1401" y="401"/>
                </a:cubicBezTo>
                <a:cubicBezTo>
                  <a:pt x="1401" y="401"/>
                  <a:pt x="1401" y="401"/>
                  <a:pt x="1400" y="401"/>
                </a:cubicBezTo>
                <a:cubicBezTo>
                  <a:pt x="1400" y="401"/>
                  <a:pt x="1400" y="401"/>
                  <a:pt x="1399" y="402"/>
                </a:cubicBezTo>
                <a:cubicBezTo>
                  <a:pt x="1399" y="402"/>
                  <a:pt x="1399" y="402"/>
                  <a:pt x="1399" y="403"/>
                </a:cubicBezTo>
                <a:cubicBezTo>
                  <a:pt x="1399" y="403"/>
                  <a:pt x="1399" y="403"/>
                  <a:pt x="1399" y="405"/>
                </a:cubicBezTo>
                <a:cubicBezTo>
                  <a:pt x="1399" y="405"/>
                  <a:pt x="1399" y="405"/>
                  <a:pt x="1398" y="405"/>
                </a:cubicBezTo>
                <a:cubicBezTo>
                  <a:pt x="1398" y="405"/>
                  <a:pt x="1398" y="405"/>
                  <a:pt x="1397" y="406"/>
                </a:cubicBezTo>
                <a:cubicBezTo>
                  <a:pt x="1397" y="406"/>
                  <a:pt x="1397" y="406"/>
                  <a:pt x="1397" y="407"/>
                </a:cubicBezTo>
                <a:cubicBezTo>
                  <a:pt x="1397" y="407"/>
                  <a:pt x="1397" y="407"/>
                  <a:pt x="1395" y="408"/>
                </a:cubicBezTo>
                <a:cubicBezTo>
                  <a:pt x="1395" y="408"/>
                  <a:pt x="1395" y="408"/>
                  <a:pt x="1395" y="409"/>
                </a:cubicBezTo>
                <a:cubicBezTo>
                  <a:pt x="1395" y="409"/>
                  <a:pt x="1395" y="409"/>
                  <a:pt x="1395" y="410"/>
                </a:cubicBezTo>
                <a:cubicBezTo>
                  <a:pt x="1395" y="410"/>
                  <a:pt x="1395" y="410"/>
                  <a:pt x="1395" y="411"/>
                </a:cubicBezTo>
                <a:cubicBezTo>
                  <a:pt x="1395" y="411"/>
                  <a:pt x="1395" y="411"/>
                  <a:pt x="1396" y="412"/>
                </a:cubicBezTo>
                <a:cubicBezTo>
                  <a:pt x="1396" y="412"/>
                  <a:pt x="1396" y="412"/>
                  <a:pt x="1395" y="413"/>
                </a:cubicBezTo>
                <a:cubicBezTo>
                  <a:pt x="1395" y="413"/>
                  <a:pt x="1395" y="413"/>
                  <a:pt x="1396" y="413"/>
                </a:cubicBezTo>
                <a:cubicBezTo>
                  <a:pt x="1396" y="413"/>
                  <a:pt x="1396" y="413"/>
                  <a:pt x="1397" y="414"/>
                </a:cubicBezTo>
                <a:cubicBezTo>
                  <a:pt x="1397" y="414"/>
                  <a:pt x="1397" y="414"/>
                  <a:pt x="1398" y="414"/>
                </a:cubicBezTo>
                <a:cubicBezTo>
                  <a:pt x="1398" y="414"/>
                  <a:pt x="1398" y="414"/>
                  <a:pt x="1397" y="416"/>
                </a:cubicBezTo>
                <a:cubicBezTo>
                  <a:pt x="1397" y="416"/>
                  <a:pt x="1397" y="416"/>
                  <a:pt x="1397" y="417"/>
                </a:cubicBezTo>
                <a:cubicBezTo>
                  <a:pt x="1397" y="417"/>
                  <a:pt x="1397" y="417"/>
                  <a:pt x="1398" y="418"/>
                </a:cubicBezTo>
                <a:cubicBezTo>
                  <a:pt x="1398" y="418"/>
                  <a:pt x="1398" y="418"/>
                  <a:pt x="1398" y="419"/>
                </a:cubicBezTo>
                <a:cubicBezTo>
                  <a:pt x="1398" y="419"/>
                  <a:pt x="1398" y="419"/>
                  <a:pt x="1399" y="418"/>
                </a:cubicBezTo>
                <a:cubicBezTo>
                  <a:pt x="1399" y="418"/>
                  <a:pt x="1399" y="418"/>
                  <a:pt x="1400" y="417"/>
                </a:cubicBezTo>
                <a:cubicBezTo>
                  <a:pt x="1400" y="417"/>
                  <a:pt x="1400" y="417"/>
                  <a:pt x="1401" y="418"/>
                </a:cubicBezTo>
                <a:cubicBezTo>
                  <a:pt x="1401" y="418"/>
                  <a:pt x="1401" y="418"/>
                  <a:pt x="1402" y="419"/>
                </a:cubicBezTo>
                <a:cubicBezTo>
                  <a:pt x="1402" y="419"/>
                  <a:pt x="1402" y="419"/>
                  <a:pt x="1403" y="418"/>
                </a:cubicBezTo>
                <a:cubicBezTo>
                  <a:pt x="1403" y="418"/>
                  <a:pt x="1403" y="418"/>
                  <a:pt x="1404" y="417"/>
                </a:cubicBezTo>
                <a:cubicBezTo>
                  <a:pt x="1404" y="417"/>
                  <a:pt x="1404" y="417"/>
                  <a:pt x="1404" y="418"/>
                </a:cubicBezTo>
                <a:cubicBezTo>
                  <a:pt x="1404" y="418"/>
                  <a:pt x="1404" y="418"/>
                  <a:pt x="1404" y="419"/>
                </a:cubicBezTo>
                <a:cubicBezTo>
                  <a:pt x="1404" y="419"/>
                  <a:pt x="1404" y="419"/>
                  <a:pt x="1403" y="420"/>
                </a:cubicBezTo>
                <a:cubicBezTo>
                  <a:pt x="1403" y="420"/>
                  <a:pt x="1403" y="420"/>
                  <a:pt x="1402" y="420"/>
                </a:cubicBezTo>
                <a:cubicBezTo>
                  <a:pt x="1402" y="420"/>
                  <a:pt x="1402" y="420"/>
                  <a:pt x="1403" y="421"/>
                </a:cubicBezTo>
                <a:cubicBezTo>
                  <a:pt x="1403" y="421"/>
                  <a:pt x="1403" y="421"/>
                  <a:pt x="1404" y="421"/>
                </a:cubicBezTo>
                <a:cubicBezTo>
                  <a:pt x="1404" y="421"/>
                  <a:pt x="1404" y="421"/>
                  <a:pt x="1405" y="421"/>
                </a:cubicBezTo>
                <a:cubicBezTo>
                  <a:pt x="1405" y="421"/>
                  <a:pt x="1405" y="421"/>
                  <a:pt x="1407" y="421"/>
                </a:cubicBezTo>
                <a:cubicBezTo>
                  <a:pt x="1407" y="421"/>
                  <a:pt x="1407" y="421"/>
                  <a:pt x="1407" y="420"/>
                </a:cubicBezTo>
                <a:cubicBezTo>
                  <a:pt x="1407" y="420"/>
                  <a:pt x="1407" y="420"/>
                  <a:pt x="1408" y="419"/>
                </a:cubicBezTo>
                <a:cubicBezTo>
                  <a:pt x="1408" y="419"/>
                  <a:pt x="1408" y="419"/>
                  <a:pt x="1410" y="419"/>
                </a:cubicBezTo>
                <a:cubicBezTo>
                  <a:pt x="1410" y="419"/>
                  <a:pt x="1410" y="419"/>
                  <a:pt x="1410" y="418"/>
                </a:cubicBezTo>
                <a:cubicBezTo>
                  <a:pt x="1410" y="418"/>
                  <a:pt x="1410" y="418"/>
                  <a:pt x="1411" y="418"/>
                </a:cubicBezTo>
                <a:cubicBezTo>
                  <a:pt x="1411" y="418"/>
                  <a:pt x="1411" y="418"/>
                  <a:pt x="1411" y="419"/>
                </a:cubicBezTo>
                <a:cubicBezTo>
                  <a:pt x="1411" y="419"/>
                  <a:pt x="1411" y="419"/>
                  <a:pt x="1413" y="418"/>
                </a:cubicBezTo>
                <a:cubicBezTo>
                  <a:pt x="1413" y="418"/>
                  <a:pt x="1413" y="418"/>
                  <a:pt x="1414" y="418"/>
                </a:cubicBezTo>
                <a:cubicBezTo>
                  <a:pt x="1414" y="418"/>
                  <a:pt x="1414" y="418"/>
                  <a:pt x="1415" y="418"/>
                </a:cubicBezTo>
                <a:cubicBezTo>
                  <a:pt x="1415" y="418"/>
                  <a:pt x="1415" y="418"/>
                  <a:pt x="1415" y="417"/>
                </a:cubicBezTo>
                <a:cubicBezTo>
                  <a:pt x="1415" y="417"/>
                  <a:pt x="1415" y="417"/>
                  <a:pt x="1415" y="416"/>
                </a:cubicBezTo>
                <a:cubicBezTo>
                  <a:pt x="1415" y="416"/>
                  <a:pt x="1415" y="416"/>
                  <a:pt x="1415" y="415"/>
                </a:cubicBezTo>
                <a:cubicBezTo>
                  <a:pt x="1415" y="415"/>
                  <a:pt x="1415" y="415"/>
                  <a:pt x="1416" y="415"/>
                </a:cubicBezTo>
                <a:cubicBezTo>
                  <a:pt x="1416" y="415"/>
                  <a:pt x="1416" y="415"/>
                  <a:pt x="1417" y="415"/>
                </a:cubicBezTo>
                <a:cubicBezTo>
                  <a:pt x="1417" y="415"/>
                  <a:pt x="1417" y="415"/>
                  <a:pt x="1418" y="415"/>
                </a:cubicBezTo>
                <a:cubicBezTo>
                  <a:pt x="1418" y="415"/>
                  <a:pt x="1418" y="415"/>
                  <a:pt x="1418" y="416"/>
                </a:cubicBezTo>
                <a:cubicBezTo>
                  <a:pt x="1418" y="416"/>
                  <a:pt x="1418" y="416"/>
                  <a:pt x="1418" y="417"/>
                </a:cubicBezTo>
                <a:cubicBezTo>
                  <a:pt x="1418" y="417"/>
                  <a:pt x="1418" y="417"/>
                  <a:pt x="1417" y="417"/>
                </a:cubicBezTo>
                <a:cubicBezTo>
                  <a:pt x="1417" y="417"/>
                  <a:pt x="1417" y="417"/>
                  <a:pt x="1417" y="418"/>
                </a:cubicBezTo>
                <a:cubicBezTo>
                  <a:pt x="1417" y="418"/>
                  <a:pt x="1417" y="418"/>
                  <a:pt x="1416" y="418"/>
                </a:cubicBezTo>
                <a:cubicBezTo>
                  <a:pt x="1416" y="418"/>
                  <a:pt x="1416" y="418"/>
                  <a:pt x="1418" y="420"/>
                </a:cubicBezTo>
                <a:cubicBezTo>
                  <a:pt x="1418" y="420"/>
                  <a:pt x="1418" y="420"/>
                  <a:pt x="1419" y="420"/>
                </a:cubicBezTo>
                <a:cubicBezTo>
                  <a:pt x="1419" y="420"/>
                  <a:pt x="1419" y="420"/>
                  <a:pt x="1420" y="421"/>
                </a:cubicBezTo>
                <a:cubicBezTo>
                  <a:pt x="1420" y="421"/>
                  <a:pt x="1420" y="421"/>
                  <a:pt x="1419" y="422"/>
                </a:cubicBezTo>
                <a:cubicBezTo>
                  <a:pt x="1419" y="422"/>
                  <a:pt x="1419" y="422"/>
                  <a:pt x="1421" y="423"/>
                </a:cubicBezTo>
                <a:cubicBezTo>
                  <a:pt x="1421" y="423"/>
                  <a:pt x="1421" y="423"/>
                  <a:pt x="1422" y="423"/>
                </a:cubicBezTo>
                <a:cubicBezTo>
                  <a:pt x="1422" y="423"/>
                  <a:pt x="1422" y="423"/>
                  <a:pt x="1424" y="423"/>
                </a:cubicBezTo>
                <a:cubicBezTo>
                  <a:pt x="1424" y="423"/>
                  <a:pt x="1424" y="423"/>
                  <a:pt x="1424" y="422"/>
                </a:cubicBezTo>
                <a:cubicBezTo>
                  <a:pt x="1424" y="422"/>
                  <a:pt x="1424" y="422"/>
                  <a:pt x="1425" y="421"/>
                </a:cubicBezTo>
                <a:cubicBezTo>
                  <a:pt x="1425" y="421"/>
                  <a:pt x="1425" y="421"/>
                  <a:pt x="1426" y="419"/>
                </a:cubicBezTo>
                <a:cubicBezTo>
                  <a:pt x="1426" y="419"/>
                  <a:pt x="1426" y="419"/>
                  <a:pt x="1428" y="419"/>
                </a:cubicBezTo>
                <a:cubicBezTo>
                  <a:pt x="1428" y="419"/>
                  <a:pt x="1428" y="419"/>
                  <a:pt x="1431" y="418"/>
                </a:cubicBezTo>
                <a:cubicBezTo>
                  <a:pt x="1431" y="418"/>
                  <a:pt x="1431" y="418"/>
                  <a:pt x="1433" y="418"/>
                </a:cubicBezTo>
                <a:cubicBezTo>
                  <a:pt x="1433" y="418"/>
                  <a:pt x="1433" y="418"/>
                  <a:pt x="1433" y="417"/>
                </a:cubicBezTo>
                <a:cubicBezTo>
                  <a:pt x="1433" y="417"/>
                  <a:pt x="1433" y="417"/>
                  <a:pt x="1434" y="415"/>
                </a:cubicBezTo>
                <a:cubicBezTo>
                  <a:pt x="1434" y="415"/>
                  <a:pt x="1434" y="415"/>
                  <a:pt x="1436" y="415"/>
                </a:cubicBezTo>
                <a:cubicBezTo>
                  <a:pt x="1436" y="415"/>
                  <a:pt x="1436" y="415"/>
                  <a:pt x="1437" y="414"/>
                </a:cubicBezTo>
                <a:cubicBezTo>
                  <a:pt x="1437" y="414"/>
                  <a:pt x="1437" y="414"/>
                  <a:pt x="1439" y="413"/>
                </a:cubicBezTo>
                <a:cubicBezTo>
                  <a:pt x="1439" y="413"/>
                  <a:pt x="1439" y="413"/>
                  <a:pt x="1440" y="413"/>
                </a:cubicBezTo>
                <a:cubicBezTo>
                  <a:pt x="1440" y="413"/>
                  <a:pt x="1440" y="413"/>
                  <a:pt x="1443" y="412"/>
                </a:cubicBezTo>
                <a:cubicBezTo>
                  <a:pt x="1443" y="412"/>
                  <a:pt x="1443" y="412"/>
                  <a:pt x="1446" y="413"/>
                </a:cubicBezTo>
                <a:cubicBezTo>
                  <a:pt x="1446" y="413"/>
                  <a:pt x="1446" y="413"/>
                  <a:pt x="1445" y="414"/>
                </a:cubicBezTo>
                <a:cubicBezTo>
                  <a:pt x="1445" y="414"/>
                  <a:pt x="1445" y="414"/>
                  <a:pt x="1446" y="416"/>
                </a:cubicBezTo>
                <a:cubicBezTo>
                  <a:pt x="1446" y="416"/>
                  <a:pt x="1446" y="416"/>
                  <a:pt x="1448" y="417"/>
                </a:cubicBezTo>
                <a:cubicBezTo>
                  <a:pt x="1448" y="417"/>
                  <a:pt x="1448" y="417"/>
                  <a:pt x="1451" y="416"/>
                </a:cubicBezTo>
                <a:cubicBezTo>
                  <a:pt x="1451" y="416"/>
                  <a:pt x="1451" y="416"/>
                  <a:pt x="1449" y="417"/>
                </a:cubicBezTo>
                <a:cubicBezTo>
                  <a:pt x="1449" y="417"/>
                  <a:pt x="1449" y="417"/>
                  <a:pt x="1450" y="417"/>
                </a:cubicBezTo>
                <a:cubicBezTo>
                  <a:pt x="1450" y="417"/>
                  <a:pt x="1450" y="417"/>
                  <a:pt x="1451" y="417"/>
                </a:cubicBezTo>
                <a:cubicBezTo>
                  <a:pt x="1451" y="417"/>
                  <a:pt x="1451" y="417"/>
                  <a:pt x="1454" y="415"/>
                </a:cubicBezTo>
                <a:cubicBezTo>
                  <a:pt x="1454" y="415"/>
                  <a:pt x="1454" y="415"/>
                  <a:pt x="1462" y="415"/>
                </a:cubicBezTo>
                <a:cubicBezTo>
                  <a:pt x="1462" y="415"/>
                  <a:pt x="1462" y="415"/>
                  <a:pt x="1471" y="414"/>
                </a:cubicBezTo>
                <a:cubicBezTo>
                  <a:pt x="1471" y="414"/>
                  <a:pt x="1471" y="414"/>
                  <a:pt x="1469" y="414"/>
                </a:cubicBezTo>
                <a:cubicBezTo>
                  <a:pt x="1469" y="414"/>
                  <a:pt x="1469" y="414"/>
                  <a:pt x="1469" y="412"/>
                </a:cubicBezTo>
                <a:cubicBezTo>
                  <a:pt x="1469" y="412"/>
                  <a:pt x="1469" y="412"/>
                  <a:pt x="1470" y="411"/>
                </a:cubicBezTo>
                <a:cubicBezTo>
                  <a:pt x="1470" y="411"/>
                  <a:pt x="1470" y="411"/>
                  <a:pt x="1469" y="411"/>
                </a:cubicBezTo>
                <a:cubicBezTo>
                  <a:pt x="1469" y="411"/>
                  <a:pt x="1469" y="411"/>
                  <a:pt x="1468" y="410"/>
                </a:cubicBezTo>
                <a:cubicBezTo>
                  <a:pt x="1468" y="410"/>
                  <a:pt x="1468" y="410"/>
                  <a:pt x="1468" y="409"/>
                </a:cubicBezTo>
                <a:cubicBezTo>
                  <a:pt x="1468" y="409"/>
                  <a:pt x="1468" y="409"/>
                  <a:pt x="1467" y="409"/>
                </a:cubicBezTo>
                <a:cubicBezTo>
                  <a:pt x="1467" y="409"/>
                  <a:pt x="1467" y="409"/>
                  <a:pt x="1465" y="409"/>
                </a:cubicBezTo>
                <a:cubicBezTo>
                  <a:pt x="1465" y="409"/>
                  <a:pt x="1465" y="409"/>
                  <a:pt x="1463" y="408"/>
                </a:cubicBezTo>
                <a:cubicBezTo>
                  <a:pt x="1463" y="408"/>
                  <a:pt x="1463" y="408"/>
                  <a:pt x="1462" y="406"/>
                </a:cubicBezTo>
                <a:cubicBezTo>
                  <a:pt x="1462" y="406"/>
                  <a:pt x="1462" y="406"/>
                  <a:pt x="1460" y="407"/>
                </a:cubicBezTo>
                <a:cubicBezTo>
                  <a:pt x="1460" y="407"/>
                  <a:pt x="1460" y="407"/>
                  <a:pt x="1459" y="406"/>
                </a:cubicBezTo>
                <a:cubicBezTo>
                  <a:pt x="1459" y="406"/>
                  <a:pt x="1459" y="406"/>
                  <a:pt x="1460" y="405"/>
                </a:cubicBezTo>
                <a:cubicBezTo>
                  <a:pt x="1460" y="405"/>
                  <a:pt x="1460" y="405"/>
                  <a:pt x="1459" y="404"/>
                </a:cubicBezTo>
                <a:cubicBezTo>
                  <a:pt x="1459" y="404"/>
                  <a:pt x="1459" y="404"/>
                  <a:pt x="1459" y="402"/>
                </a:cubicBezTo>
                <a:cubicBezTo>
                  <a:pt x="1459" y="402"/>
                  <a:pt x="1459" y="402"/>
                  <a:pt x="1458" y="401"/>
                </a:cubicBezTo>
                <a:cubicBezTo>
                  <a:pt x="1458" y="401"/>
                  <a:pt x="1458" y="401"/>
                  <a:pt x="1458" y="398"/>
                </a:cubicBezTo>
                <a:cubicBezTo>
                  <a:pt x="1458" y="398"/>
                  <a:pt x="1458" y="398"/>
                  <a:pt x="1459" y="397"/>
                </a:cubicBezTo>
                <a:cubicBezTo>
                  <a:pt x="1459" y="397"/>
                  <a:pt x="1459" y="397"/>
                  <a:pt x="1459" y="396"/>
                </a:cubicBezTo>
                <a:cubicBezTo>
                  <a:pt x="1459" y="396"/>
                  <a:pt x="1459" y="396"/>
                  <a:pt x="1459" y="395"/>
                </a:cubicBezTo>
                <a:cubicBezTo>
                  <a:pt x="1459" y="395"/>
                  <a:pt x="1459" y="395"/>
                  <a:pt x="1460" y="393"/>
                </a:cubicBezTo>
                <a:cubicBezTo>
                  <a:pt x="1460" y="393"/>
                  <a:pt x="1460" y="393"/>
                  <a:pt x="1460" y="391"/>
                </a:cubicBezTo>
                <a:cubicBezTo>
                  <a:pt x="1460" y="391"/>
                  <a:pt x="1460" y="391"/>
                  <a:pt x="1461" y="391"/>
                </a:cubicBezTo>
                <a:cubicBezTo>
                  <a:pt x="1461" y="391"/>
                  <a:pt x="1461" y="391"/>
                  <a:pt x="1461" y="390"/>
                </a:cubicBezTo>
                <a:cubicBezTo>
                  <a:pt x="1461" y="390"/>
                  <a:pt x="1461" y="390"/>
                  <a:pt x="1462" y="388"/>
                </a:cubicBezTo>
                <a:cubicBezTo>
                  <a:pt x="1462" y="388"/>
                  <a:pt x="1462" y="388"/>
                  <a:pt x="1463" y="388"/>
                </a:cubicBezTo>
                <a:cubicBezTo>
                  <a:pt x="1463" y="388"/>
                  <a:pt x="1463" y="388"/>
                  <a:pt x="1464" y="388"/>
                </a:cubicBezTo>
                <a:cubicBezTo>
                  <a:pt x="1464" y="388"/>
                  <a:pt x="1464" y="388"/>
                  <a:pt x="1465" y="387"/>
                </a:cubicBezTo>
                <a:cubicBezTo>
                  <a:pt x="1465" y="387"/>
                  <a:pt x="1465" y="387"/>
                  <a:pt x="1466" y="386"/>
                </a:cubicBezTo>
                <a:cubicBezTo>
                  <a:pt x="1466" y="386"/>
                  <a:pt x="1466" y="386"/>
                  <a:pt x="1467" y="386"/>
                </a:cubicBezTo>
                <a:cubicBezTo>
                  <a:pt x="1467" y="386"/>
                  <a:pt x="1467" y="386"/>
                  <a:pt x="1467" y="388"/>
                </a:cubicBezTo>
                <a:cubicBezTo>
                  <a:pt x="1467" y="388"/>
                  <a:pt x="1467" y="388"/>
                  <a:pt x="1470" y="391"/>
                </a:cubicBezTo>
                <a:cubicBezTo>
                  <a:pt x="1470" y="391"/>
                  <a:pt x="1470" y="391"/>
                  <a:pt x="1470" y="392"/>
                </a:cubicBezTo>
                <a:cubicBezTo>
                  <a:pt x="1470" y="392"/>
                  <a:pt x="1470" y="392"/>
                  <a:pt x="1472" y="393"/>
                </a:cubicBezTo>
                <a:cubicBezTo>
                  <a:pt x="1472" y="393"/>
                  <a:pt x="1472" y="393"/>
                  <a:pt x="1473" y="393"/>
                </a:cubicBezTo>
                <a:cubicBezTo>
                  <a:pt x="1473" y="393"/>
                  <a:pt x="1473" y="393"/>
                  <a:pt x="1475" y="391"/>
                </a:cubicBezTo>
                <a:cubicBezTo>
                  <a:pt x="1475" y="391"/>
                  <a:pt x="1475" y="391"/>
                  <a:pt x="1476" y="389"/>
                </a:cubicBezTo>
                <a:cubicBezTo>
                  <a:pt x="1476" y="389"/>
                  <a:pt x="1476" y="389"/>
                  <a:pt x="1475" y="386"/>
                </a:cubicBezTo>
                <a:cubicBezTo>
                  <a:pt x="1475" y="386"/>
                  <a:pt x="1475" y="386"/>
                  <a:pt x="1475" y="385"/>
                </a:cubicBezTo>
                <a:cubicBezTo>
                  <a:pt x="1475" y="385"/>
                  <a:pt x="1475" y="385"/>
                  <a:pt x="1475" y="384"/>
                </a:cubicBezTo>
                <a:cubicBezTo>
                  <a:pt x="1475" y="384"/>
                  <a:pt x="1475" y="384"/>
                  <a:pt x="1476" y="381"/>
                </a:cubicBezTo>
                <a:cubicBezTo>
                  <a:pt x="1476" y="381"/>
                  <a:pt x="1476" y="381"/>
                  <a:pt x="1475" y="380"/>
                </a:cubicBezTo>
                <a:cubicBezTo>
                  <a:pt x="1475" y="380"/>
                  <a:pt x="1475" y="380"/>
                  <a:pt x="1474" y="381"/>
                </a:cubicBezTo>
                <a:cubicBezTo>
                  <a:pt x="1474" y="381"/>
                  <a:pt x="1474" y="381"/>
                  <a:pt x="1474" y="382"/>
                </a:cubicBezTo>
                <a:cubicBezTo>
                  <a:pt x="1474" y="382"/>
                  <a:pt x="1474" y="382"/>
                  <a:pt x="1472" y="380"/>
                </a:cubicBezTo>
                <a:cubicBezTo>
                  <a:pt x="1472" y="380"/>
                  <a:pt x="1472" y="380"/>
                  <a:pt x="1471" y="379"/>
                </a:cubicBezTo>
                <a:cubicBezTo>
                  <a:pt x="1471" y="379"/>
                  <a:pt x="1471" y="379"/>
                  <a:pt x="1471" y="377"/>
                </a:cubicBezTo>
                <a:cubicBezTo>
                  <a:pt x="1471" y="377"/>
                  <a:pt x="1471" y="377"/>
                  <a:pt x="1472" y="377"/>
                </a:cubicBezTo>
                <a:cubicBezTo>
                  <a:pt x="1472" y="377"/>
                  <a:pt x="1472" y="377"/>
                  <a:pt x="1472" y="376"/>
                </a:cubicBezTo>
                <a:cubicBezTo>
                  <a:pt x="1472" y="376"/>
                  <a:pt x="1472" y="376"/>
                  <a:pt x="1471" y="376"/>
                </a:cubicBezTo>
                <a:cubicBezTo>
                  <a:pt x="1471" y="376"/>
                  <a:pt x="1471" y="376"/>
                  <a:pt x="1471" y="377"/>
                </a:cubicBezTo>
                <a:cubicBezTo>
                  <a:pt x="1471" y="377"/>
                  <a:pt x="1471" y="377"/>
                  <a:pt x="1470" y="376"/>
                </a:cubicBezTo>
                <a:cubicBezTo>
                  <a:pt x="1470" y="376"/>
                  <a:pt x="1470" y="376"/>
                  <a:pt x="1470" y="372"/>
                </a:cubicBezTo>
                <a:cubicBezTo>
                  <a:pt x="1470" y="372"/>
                  <a:pt x="1470" y="372"/>
                  <a:pt x="1470" y="371"/>
                </a:cubicBezTo>
                <a:cubicBezTo>
                  <a:pt x="1470" y="371"/>
                  <a:pt x="1470" y="371"/>
                  <a:pt x="1472" y="370"/>
                </a:cubicBezTo>
                <a:cubicBezTo>
                  <a:pt x="1472" y="370"/>
                  <a:pt x="1472" y="370"/>
                  <a:pt x="1473" y="371"/>
                </a:cubicBezTo>
                <a:cubicBezTo>
                  <a:pt x="1473" y="371"/>
                  <a:pt x="1473" y="371"/>
                  <a:pt x="1473" y="369"/>
                </a:cubicBezTo>
                <a:cubicBezTo>
                  <a:pt x="1473" y="369"/>
                  <a:pt x="1473" y="369"/>
                  <a:pt x="1475" y="369"/>
                </a:cubicBezTo>
                <a:cubicBezTo>
                  <a:pt x="1475" y="369"/>
                  <a:pt x="1475" y="369"/>
                  <a:pt x="1476" y="369"/>
                </a:cubicBezTo>
                <a:cubicBezTo>
                  <a:pt x="1476" y="369"/>
                  <a:pt x="1476" y="369"/>
                  <a:pt x="1479" y="369"/>
                </a:cubicBezTo>
                <a:cubicBezTo>
                  <a:pt x="1479" y="369"/>
                  <a:pt x="1479" y="369"/>
                  <a:pt x="1480" y="368"/>
                </a:cubicBezTo>
                <a:cubicBezTo>
                  <a:pt x="1480" y="368"/>
                  <a:pt x="1480" y="368"/>
                  <a:pt x="1480" y="367"/>
                </a:cubicBezTo>
                <a:cubicBezTo>
                  <a:pt x="1480" y="367"/>
                  <a:pt x="1480" y="367"/>
                  <a:pt x="1481" y="367"/>
                </a:cubicBezTo>
                <a:cubicBezTo>
                  <a:pt x="1481" y="367"/>
                  <a:pt x="1481" y="367"/>
                  <a:pt x="1481" y="366"/>
                </a:cubicBezTo>
                <a:cubicBezTo>
                  <a:pt x="1481" y="366"/>
                  <a:pt x="1481" y="366"/>
                  <a:pt x="1482" y="368"/>
                </a:cubicBezTo>
                <a:cubicBezTo>
                  <a:pt x="1482" y="368"/>
                  <a:pt x="1482" y="368"/>
                  <a:pt x="1483" y="367"/>
                </a:cubicBezTo>
                <a:cubicBezTo>
                  <a:pt x="1483" y="367"/>
                  <a:pt x="1483" y="367"/>
                  <a:pt x="1484" y="368"/>
                </a:cubicBezTo>
                <a:cubicBezTo>
                  <a:pt x="1484" y="368"/>
                  <a:pt x="1484" y="368"/>
                  <a:pt x="1487" y="368"/>
                </a:cubicBezTo>
                <a:cubicBezTo>
                  <a:pt x="1487" y="368"/>
                  <a:pt x="1487" y="368"/>
                  <a:pt x="1489" y="369"/>
                </a:cubicBezTo>
                <a:cubicBezTo>
                  <a:pt x="1489" y="369"/>
                  <a:pt x="1489" y="369"/>
                  <a:pt x="1494" y="369"/>
                </a:cubicBezTo>
                <a:cubicBezTo>
                  <a:pt x="1494" y="367"/>
                  <a:pt x="1494" y="367"/>
                  <a:pt x="1494" y="367"/>
                </a:cubicBezTo>
                <a:cubicBezTo>
                  <a:pt x="1494" y="366"/>
                  <a:pt x="1494" y="366"/>
                  <a:pt x="1494" y="366"/>
                </a:cubicBezTo>
                <a:cubicBezTo>
                  <a:pt x="1495" y="367"/>
                  <a:pt x="1495" y="367"/>
                  <a:pt x="1495" y="367"/>
                </a:cubicBezTo>
                <a:cubicBezTo>
                  <a:pt x="1496" y="366"/>
                  <a:pt x="1496" y="366"/>
                  <a:pt x="1496" y="366"/>
                </a:cubicBezTo>
                <a:cubicBezTo>
                  <a:pt x="1496" y="365"/>
                  <a:pt x="1496" y="365"/>
                  <a:pt x="1496" y="365"/>
                </a:cubicBezTo>
                <a:cubicBezTo>
                  <a:pt x="1497" y="364"/>
                  <a:pt x="1497" y="364"/>
                  <a:pt x="1497" y="364"/>
                </a:cubicBezTo>
                <a:cubicBezTo>
                  <a:pt x="1498" y="365"/>
                  <a:pt x="1498" y="365"/>
                  <a:pt x="1498" y="365"/>
                </a:cubicBezTo>
                <a:cubicBezTo>
                  <a:pt x="1499" y="364"/>
                  <a:pt x="1499" y="364"/>
                  <a:pt x="1499" y="364"/>
                </a:cubicBezTo>
                <a:cubicBezTo>
                  <a:pt x="1500" y="363"/>
                  <a:pt x="1500" y="363"/>
                  <a:pt x="1500" y="363"/>
                </a:cubicBezTo>
                <a:cubicBezTo>
                  <a:pt x="1502" y="363"/>
                  <a:pt x="1502" y="363"/>
                  <a:pt x="1502" y="363"/>
                </a:cubicBezTo>
                <a:cubicBezTo>
                  <a:pt x="1503" y="362"/>
                  <a:pt x="1503" y="362"/>
                  <a:pt x="1503" y="362"/>
                </a:cubicBezTo>
                <a:cubicBezTo>
                  <a:pt x="1502" y="361"/>
                  <a:pt x="1502" y="361"/>
                  <a:pt x="1502" y="361"/>
                </a:cubicBezTo>
                <a:cubicBezTo>
                  <a:pt x="1501" y="361"/>
                  <a:pt x="1501" y="361"/>
                  <a:pt x="1501" y="361"/>
                </a:cubicBezTo>
                <a:cubicBezTo>
                  <a:pt x="1500" y="361"/>
                  <a:pt x="1500" y="361"/>
                  <a:pt x="1500" y="361"/>
                </a:cubicBezTo>
                <a:cubicBezTo>
                  <a:pt x="1499" y="361"/>
                  <a:pt x="1499" y="361"/>
                  <a:pt x="1499" y="361"/>
                </a:cubicBezTo>
                <a:cubicBezTo>
                  <a:pt x="1498" y="360"/>
                  <a:pt x="1498" y="360"/>
                  <a:pt x="1498" y="360"/>
                </a:cubicBezTo>
                <a:cubicBezTo>
                  <a:pt x="1497" y="360"/>
                  <a:pt x="1497" y="360"/>
                  <a:pt x="1497" y="360"/>
                </a:cubicBezTo>
                <a:cubicBezTo>
                  <a:pt x="1495" y="358"/>
                  <a:pt x="1495" y="358"/>
                  <a:pt x="1495" y="358"/>
                </a:cubicBezTo>
                <a:cubicBezTo>
                  <a:pt x="1495" y="357"/>
                  <a:pt x="1495" y="357"/>
                  <a:pt x="1495" y="357"/>
                </a:cubicBezTo>
                <a:cubicBezTo>
                  <a:pt x="1497" y="358"/>
                  <a:pt x="1497" y="358"/>
                  <a:pt x="1497" y="358"/>
                </a:cubicBezTo>
                <a:cubicBezTo>
                  <a:pt x="1497" y="357"/>
                  <a:pt x="1497" y="357"/>
                  <a:pt x="1497" y="357"/>
                </a:cubicBezTo>
                <a:cubicBezTo>
                  <a:pt x="1496" y="357"/>
                  <a:pt x="1496" y="357"/>
                  <a:pt x="1496" y="357"/>
                </a:cubicBezTo>
                <a:cubicBezTo>
                  <a:pt x="1497" y="356"/>
                  <a:pt x="1497" y="356"/>
                  <a:pt x="1497" y="356"/>
                </a:cubicBezTo>
                <a:cubicBezTo>
                  <a:pt x="1496" y="356"/>
                  <a:pt x="1496" y="356"/>
                  <a:pt x="1496" y="356"/>
                </a:cubicBezTo>
                <a:cubicBezTo>
                  <a:pt x="1496" y="356"/>
                  <a:pt x="1496" y="356"/>
                  <a:pt x="1494" y="357"/>
                </a:cubicBezTo>
                <a:cubicBezTo>
                  <a:pt x="1494" y="358"/>
                  <a:pt x="1493" y="358"/>
                  <a:pt x="1493" y="358"/>
                </a:cubicBezTo>
                <a:cubicBezTo>
                  <a:pt x="1493" y="358"/>
                  <a:pt x="1493" y="358"/>
                  <a:pt x="1492" y="358"/>
                </a:cubicBezTo>
                <a:cubicBezTo>
                  <a:pt x="1492" y="358"/>
                  <a:pt x="1492" y="358"/>
                  <a:pt x="1492" y="357"/>
                </a:cubicBezTo>
                <a:cubicBezTo>
                  <a:pt x="1492" y="357"/>
                  <a:pt x="1492" y="357"/>
                  <a:pt x="1491" y="357"/>
                </a:cubicBezTo>
                <a:cubicBezTo>
                  <a:pt x="1491" y="357"/>
                  <a:pt x="1491" y="357"/>
                  <a:pt x="1491" y="358"/>
                </a:cubicBezTo>
                <a:cubicBezTo>
                  <a:pt x="1491" y="358"/>
                  <a:pt x="1491" y="358"/>
                  <a:pt x="1491" y="359"/>
                </a:cubicBezTo>
                <a:cubicBezTo>
                  <a:pt x="1491" y="359"/>
                  <a:pt x="1491" y="359"/>
                  <a:pt x="1489" y="359"/>
                </a:cubicBezTo>
                <a:cubicBezTo>
                  <a:pt x="1489" y="359"/>
                  <a:pt x="1489" y="359"/>
                  <a:pt x="1488" y="358"/>
                </a:cubicBezTo>
                <a:cubicBezTo>
                  <a:pt x="1488" y="358"/>
                  <a:pt x="1488" y="358"/>
                  <a:pt x="1486" y="358"/>
                </a:cubicBezTo>
                <a:cubicBezTo>
                  <a:pt x="1486" y="358"/>
                  <a:pt x="1486" y="358"/>
                  <a:pt x="1486" y="359"/>
                </a:cubicBezTo>
                <a:cubicBezTo>
                  <a:pt x="1486" y="359"/>
                  <a:pt x="1486" y="359"/>
                  <a:pt x="1485" y="358"/>
                </a:cubicBezTo>
                <a:cubicBezTo>
                  <a:pt x="1485" y="358"/>
                  <a:pt x="1485" y="358"/>
                  <a:pt x="1485" y="359"/>
                </a:cubicBezTo>
                <a:cubicBezTo>
                  <a:pt x="1485" y="359"/>
                  <a:pt x="1485" y="359"/>
                  <a:pt x="1484" y="359"/>
                </a:cubicBezTo>
                <a:cubicBezTo>
                  <a:pt x="1484" y="359"/>
                  <a:pt x="1484" y="359"/>
                  <a:pt x="1483" y="358"/>
                </a:cubicBezTo>
                <a:cubicBezTo>
                  <a:pt x="1483" y="358"/>
                  <a:pt x="1483" y="358"/>
                  <a:pt x="1483" y="359"/>
                </a:cubicBezTo>
                <a:cubicBezTo>
                  <a:pt x="1483" y="359"/>
                  <a:pt x="1483" y="359"/>
                  <a:pt x="1482" y="359"/>
                </a:cubicBezTo>
                <a:cubicBezTo>
                  <a:pt x="1482" y="359"/>
                  <a:pt x="1482" y="359"/>
                  <a:pt x="1482" y="358"/>
                </a:cubicBezTo>
                <a:cubicBezTo>
                  <a:pt x="1482" y="358"/>
                  <a:pt x="1482" y="358"/>
                  <a:pt x="1481" y="358"/>
                </a:cubicBezTo>
                <a:cubicBezTo>
                  <a:pt x="1481" y="358"/>
                  <a:pt x="1481" y="358"/>
                  <a:pt x="1482" y="359"/>
                </a:cubicBezTo>
                <a:cubicBezTo>
                  <a:pt x="1482" y="359"/>
                  <a:pt x="1482" y="359"/>
                  <a:pt x="1481" y="359"/>
                </a:cubicBezTo>
                <a:cubicBezTo>
                  <a:pt x="1481" y="359"/>
                  <a:pt x="1481" y="359"/>
                  <a:pt x="1480" y="361"/>
                </a:cubicBezTo>
                <a:cubicBezTo>
                  <a:pt x="1480" y="361"/>
                  <a:pt x="1480" y="361"/>
                  <a:pt x="1480" y="360"/>
                </a:cubicBezTo>
                <a:cubicBezTo>
                  <a:pt x="1480" y="360"/>
                  <a:pt x="1480" y="360"/>
                  <a:pt x="1480" y="359"/>
                </a:cubicBezTo>
                <a:cubicBezTo>
                  <a:pt x="1480" y="359"/>
                  <a:pt x="1480" y="359"/>
                  <a:pt x="1479" y="360"/>
                </a:cubicBezTo>
                <a:cubicBezTo>
                  <a:pt x="1479" y="360"/>
                  <a:pt x="1479" y="360"/>
                  <a:pt x="1478" y="361"/>
                </a:cubicBezTo>
                <a:cubicBezTo>
                  <a:pt x="1478" y="361"/>
                  <a:pt x="1478" y="361"/>
                  <a:pt x="1476" y="360"/>
                </a:cubicBezTo>
                <a:cubicBezTo>
                  <a:pt x="1476" y="360"/>
                  <a:pt x="1476" y="360"/>
                  <a:pt x="1476" y="361"/>
                </a:cubicBezTo>
                <a:cubicBezTo>
                  <a:pt x="1476" y="361"/>
                  <a:pt x="1476" y="361"/>
                  <a:pt x="1474" y="362"/>
                </a:cubicBezTo>
                <a:cubicBezTo>
                  <a:pt x="1474" y="362"/>
                  <a:pt x="1474" y="362"/>
                  <a:pt x="1472" y="362"/>
                </a:cubicBezTo>
                <a:cubicBezTo>
                  <a:pt x="1472" y="362"/>
                  <a:pt x="1472" y="362"/>
                  <a:pt x="1470" y="364"/>
                </a:cubicBezTo>
                <a:cubicBezTo>
                  <a:pt x="1470" y="364"/>
                  <a:pt x="1470" y="364"/>
                  <a:pt x="1468" y="364"/>
                </a:cubicBezTo>
                <a:cubicBezTo>
                  <a:pt x="1468" y="364"/>
                  <a:pt x="1468" y="364"/>
                  <a:pt x="1467" y="366"/>
                </a:cubicBezTo>
                <a:cubicBezTo>
                  <a:pt x="1467" y="366"/>
                  <a:pt x="1467" y="366"/>
                  <a:pt x="1466" y="366"/>
                </a:cubicBezTo>
                <a:cubicBezTo>
                  <a:pt x="1466" y="366"/>
                  <a:pt x="1466" y="366"/>
                  <a:pt x="1467" y="364"/>
                </a:cubicBezTo>
                <a:cubicBezTo>
                  <a:pt x="1467" y="364"/>
                  <a:pt x="1467" y="364"/>
                  <a:pt x="1465" y="361"/>
                </a:cubicBezTo>
                <a:cubicBezTo>
                  <a:pt x="1465" y="361"/>
                  <a:pt x="1465" y="361"/>
                  <a:pt x="1466" y="360"/>
                </a:cubicBezTo>
                <a:cubicBezTo>
                  <a:pt x="1466" y="360"/>
                  <a:pt x="1466" y="360"/>
                  <a:pt x="1466" y="359"/>
                </a:cubicBezTo>
                <a:cubicBezTo>
                  <a:pt x="1466" y="359"/>
                  <a:pt x="1466" y="359"/>
                  <a:pt x="1464" y="360"/>
                </a:cubicBezTo>
                <a:cubicBezTo>
                  <a:pt x="1464" y="360"/>
                  <a:pt x="1464" y="360"/>
                  <a:pt x="1463" y="359"/>
                </a:cubicBezTo>
                <a:cubicBezTo>
                  <a:pt x="1463" y="359"/>
                  <a:pt x="1463" y="359"/>
                  <a:pt x="1462" y="360"/>
                </a:cubicBezTo>
                <a:cubicBezTo>
                  <a:pt x="1462" y="360"/>
                  <a:pt x="1462" y="360"/>
                  <a:pt x="1461" y="359"/>
                </a:cubicBezTo>
                <a:cubicBezTo>
                  <a:pt x="1461" y="359"/>
                  <a:pt x="1461" y="359"/>
                  <a:pt x="1460" y="359"/>
                </a:cubicBezTo>
                <a:cubicBezTo>
                  <a:pt x="1460" y="359"/>
                  <a:pt x="1460" y="359"/>
                  <a:pt x="1459" y="357"/>
                </a:cubicBezTo>
                <a:cubicBezTo>
                  <a:pt x="1459" y="357"/>
                  <a:pt x="1459" y="357"/>
                  <a:pt x="1458" y="358"/>
                </a:cubicBezTo>
                <a:cubicBezTo>
                  <a:pt x="1458" y="358"/>
                  <a:pt x="1458" y="358"/>
                  <a:pt x="1456" y="358"/>
                </a:cubicBezTo>
                <a:cubicBezTo>
                  <a:pt x="1456" y="358"/>
                  <a:pt x="1456" y="358"/>
                  <a:pt x="1456" y="357"/>
                </a:cubicBezTo>
                <a:cubicBezTo>
                  <a:pt x="1456" y="357"/>
                  <a:pt x="1456" y="357"/>
                  <a:pt x="1456" y="355"/>
                </a:cubicBezTo>
                <a:cubicBezTo>
                  <a:pt x="1456" y="355"/>
                  <a:pt x="1456" y="355"/>
                  <a:pt x="1455" y="355"/>
                </a:cubicBezTo>
                <a:cubicBezTo>
                  <a:pt x="1455" y="355"/>
                  <a:pt x="1455" y="355"/>
                  <a:pt x="1456" y="352"/>
                </a:cubicBezTo>
                <a:cubicBezTo>
                  <a:pt x="1456" y="352"/>
                  <a:pt x="1456" y="352"/>
                  <a:pt x="1456" y="351"/>
                </a:cubicBezTo>
                <a:cubicBezTo>
                  <a:pt x="1456" y="351"/>
                  <a:pt x="1456" y="351"/>
                  <a:pt x="1456" y="349"/>
                </a:cubicBezTo>
                <a:cubicBezTo>
                  <a:pt x="1456" y="349"/>
                  <a:pt x="1456" y="349"/>
                  <a:pt x="1457" y="349"/>
                </a:cubicBezTo>
                <a:cubicBezTo>
                  <a:pt x="1457" y="349"/>
                  <a:pt x="1457" y="349"/>
                  <a:pt x="1456" y="347"/>
                </a:cubicBezTo>
                <a:cubicBezTo>
                  <a:pt x="1456" y="347"/>
                  <a:pt x="1456" y="347"/>
                  <a:pt x="1456" y="346"/>
                </a:cubicBezTo>
                <a:cubicBezTo>
                  <a:pt x="1456" y="346"/>
                  <a:pt x="1456" y="346"/>
                  <a:pt x="1454" y="344"/>
                </a:cubicBezTo>
                <a:cubicBezTo>
                  <a:pt x="1454" y="344"/>
                  <a:pt x="1454" y="344"/>
                  <a:pt x="1455" y="344"/>
                </a:cubicBezTo>
                <a:cubicBezTo>
                  <a:pt x="1455" y="344"/>
                  <a:pt x="1455" y="344"/>
                  <a:pt x="1454" y="342"/>
                </a:cubicBezTo>
                <a:cubicBezTo>
                  <a:pt x="1454" y="342"/>
                  <a:pt x="1454" y="342"/>
                  <a:pt x="1455" y="340"/>
                </a:cubicBezTo>
                <a:cubicBezTo>
                  <a:pt x="1455" y="340"/>
                  <a:pt x="1455" y="340"/>
                  <a:pt x="1454" y="340"/>
                </a:cubicBezTo>
                <a:cubicBezTo>
                  <a:pt x="1454" y="340"/>
                  <a:pt x="1454" y="340"/>
                  <a:pt x="1453" y="340"/>
                </a:cubicBezTo>
                <a:cubicBezTo>
                  <a:pt x="1453" y="340"/>
                  <a:pt x="1453" y="340"/>
                  <a:pt x="1453" y="339"/>
                </a:cubicBezTo>
                <a:cubicBezTo>
                  <a:pt x="1453" y="339"/>
                  <a:pt x="1453" y="339"/>
                  <a:pt x="1453" y="338"/>
                </a:cubicBezTo>
                <a:cubicBezTo>
                  <a:pt x="1453" y="338"/>
                  <a:pt x="1453" y="338"/>
                  <a:pt x="1453" y="336"/>
                </a:cubicBezTo>
                <a:cubicBezTo>
                  <a:pt x="1453" y="336"/>
                  <a:pt x="1453" y="336"/>
                  <a:pt x="1453" y="335"/>
                </a:cubicBezTo>
                <a:cubicBezTo>
                  <a:pt x="1453" y="335"/>
                  <a:pt x="1453" y="335"/>
                  <a:pt x="1454" y="335"/>
                </a:cubicBezTo>
                <a:cubicBezTo>
                  <a:pt x="1454" y="335"/>
                  <a:pt x="1454" y="335"/>
                  <a:pt x="1454" y="334"/>
                </a:cubicBezTo>
                <a:cubicBezTo>
                  <a:pt x="1454" y="334"/>
                  <a:pt x="1454" y="334"/>
                  <a:pt x="1454" y="333"/>
                </a:cubicBezTo>
                <a:cubicBezTo>
                  <a:pt x="1454" y="333"/>
                  <a:pt x="1454" y="333"/>
                  <a:pt x="1454" y="332"/>
                </a:cubicBezTo>
                <a:cubicBezTo>
                  <a:pt x="1453" y="332"/>
                  <a:pt x="1453" y="332"/>
                  <a:pt x="1453" y="332"/>
                </a:cubicBezTo>
                <a:cubicBezTo>
                  <a:pt x="1452" y="331"/>
                  <a:pt x="1452" y="331"/>
                  <a:pt x="1452" y="331"/>
                </a:cubicBezTo>
                <a:cubicBezTo>
                  <a:pt x="1452" y="330"/>
                  <a:pt x="1452" y="330"/>
                  <a:pt x="1452" y="330"/>
                </a:cubicBezTo>
                <a:cubicBezTo>
                  <a:pt x="1453" y="331"/>
                  <a:pt x="1453" y="331"/>
                  <a:pt x="1453" y="331"/>
                </a:cubicBezTo>
                <a:cubicBezTo>
                  <a:pt x="1454" y="331"/>
                  <a:pt x="1454" y="331"/>
                  <a:pt x="1454" y="331"/>
                </a:cubicBezTo>
                <a:cubicBezTo>
                  <a:pt x="1454" y="331"/>
                  <a:pt x="1454" y="331"/>
                  <a:pt x="1455" y="331"/>
                </a:cubicBezTo>
                <a:cubicBezTo>
                  <a:pt x="1455" y="331"/>
                  <a:pt x="1455" y="331"/>
                  <a:pt x="1456" y="331"/>
                </a:cubicBezTo>
                <a:cubicBezTo>
                  <a:pt x="1456" y="331"/>
                  <a:pt x="1456" y="331"/>
                  <a:pt x="1456" y="332"/>
                </a:cubicBezTo>
                <a:cubicBezTo>
                  <a:pt x="1456" y="332"/>
                  <a:pt x="1456" y="332"/>
                  <a:pt x="1457" y="332"/>
                </a:cubicBezTo>
                <a:cubicBezTo>
                  <a:pt x="1457" y="332"/>
                  <a:pt x="1457" y="332"/>
                  <a:pt x="1458" y="331"/>
                </a:cubicBezTo>
                <a:cubicBezTo>
                  <a:pt x="1458" y="331"/>
                  <a:pt x="1458" y="331"/>
                  <a:pt x="1459" y="330"/>
                </a:cubicBezTo>
                <a:cubicBezTo>
                  <a:pt x="1459" y="330"/>
                  <a:pt x="1459" y="330"/>
                  <a:pt x="1459" y="329"/>
                </a:cubicBezTo>
                <a:cubicBezTo>
                  <a:pt x="1459" y="329"/>
                  <a:pt x="1459" y="329"/>
                  <a:pt x="1458" y="328"/>
                </a:cubicBezTo>
                <a:cubicBezTo>
                  <a:pt x="1458" y="328"/>
                  <a:pt x="1458" y="328"/>
                  <a:pt x="1459" y="328"/>
                </a:cubicBezTo>
                <a:cubicBezTo>
                  <a:pt x="1459" y="328"/>
                  <a:pt x="1459" y="328"/>
                  <a:pt x="1459" y="326"/>
                </a:cubicBezTo>
                <a:cubicBezTo>
                  <a:pt x="1459" y="326"/>
                  <a:pt x="1459" y="326"/>
                  <a:pt x="1460" y="326"/>
                </a:cubicBezTo>
                <a:cubicBezTo>
                  <a:pt x="1460" y="326"/>
                  <a:pt x="1460" y="326"/>
                  <a:pt x="1461" y="327"/>
                </a:cubicBezTo>
                <a:cubicBezTo>
                  <a:pt x="1461" y="327"/>
                  <a:pt x="1461" y="327"/>
                  <a:pt x="1462" y="327"/>
                </a:cubicBezTo>
                <a:cubicBezTo>
                  <a:pt x="1462" y="327"/>
                  <a:pt x="1462" y="327"/>
                  <a:pt x="1461" y="326"/>
                </a:cubicBezTo>
                <a:cubicBezTo>
                  <a:pt x="1461" y="326"/>
                  <a:pt x="1461" y="326"/>
                  <a:pt x="1461" y="325"/>
                </a:cubicBezTo>
                <a:cubicBezTo>
                  <a:pt x="1461" y="325"/>
                  <a:pt x="1461" y="325"/>
                  <a:pt x="1462" y="324"/>
                </a:cubicBezTo>
                <a:cubicBezTo>
                  <a:pt x="1462" y="324"/>
                  <a:pt x="1462" y="324"/>
                  <a:pt x="1463" y="324"/>
                </a:cubicBezTo>
                <a:cubicBezTo>
                  <a:pt x="1463" y="324"/>
                  <a:pt x="1463" y="324"/>
                  <a:pt x="1463" y="323"/>
                </a:cubicBezTo>
                <a:cubicBezTo>
                  <a:pt x="1463" y="323"/>
                  <a:pt x="1463" y="323"/>
                  <a:pt x="1463" y="321"/>
                </a:cubicBezTo>
                <a:cubicBezTo>
                  <a:pt x="1463" y="321"/>
                  <a:pt x="1463" y="321"/>
                  <a:pt x="1464" y="322"/>
                </a:cubicBezTo>
                <a:cubicBezTo>
                  <a:pt x="1464" y="322"/>
                  <a:pt x="1464" y="322"/>
                  <a:pt x="1465" y="320"/>
                </a:cubicBezTo>
                <a:cubicBezTo>
                  <a:pt x="1465" y="320"/>
                  <a:pt x="1465" y="320"/>
                  <a:pt x="1466" y="318"/>
                </a:cubicBezTo>
                <a:cubicBezTo>
                  <a:pt x="1466" y="318"/>
                  <a:pt x="1466" y="318"/>
                  <a:pt x="1467" y="317"/>
                </a:cubicBezTo>
                <a:cubicBezTo>
                  <a:pt x="1467" y="317"/>
                  <a:pt x="1467" y="317"/>
                  <a:pt x="1467" y="316"/>
                </a:cubicBezTo>
                <a:cubicBezTo>
                  <a:pt x="1467" y="316"/>
                  <a:pt x="1467" y="316"/>
                  <a:pt x="1468" y="315"/>
                </a:cubicBezTo>
                <a:cubicBezTo>
                  <a:pt x="1468" y="315"/>
                  <a:pt x="1468" y="315"/>
                  <a:pt x="1468" y="314"/>
                </a:cubicBezTo>
                <a:cubicBezTo>
                  <a:pt x="1468" y="314"/>
                  <a:pt x="1468" y="314"/>
                  <a:pt x="1470" y="313"/>
                </a:cubicBezTo>
                <a:cubicBezTo>
                  <a:pt x="1470" y="313"/>
                  <a:pt x="1470" y="313"/>
                  <a:pt x="1471" y="313"/>
                </a:cubicBezTo>
                <a:cubicBezTo>
                  <a:pt x="1471" y="313"/>
                  <a:pt x="1471" y="313"/>
                  <a:pt x="1473" y="314"/>
                </a:cubicBezTo>
                <a:cubicBezTo>
                  <a:pt x="1473" y="314"/>
                  <a:pt x="1473" y="314"/>
                  <a:pt x="1473" y="313"/>
                </a:cubicBezTo>
                <a:cubicBezTo>
                  <a:pt x="1473" y="313"/>
                  <a:pt x="1473" y="313"/>
                  <a:pt x="1472" y="312"/>
                </a:cubicBezTo>
                <a:cubicBezTo>
                  <a:pt x="1472" y="312"/>
                  <a:pt x="1472" y="312"/>
                  <a:pt x="1473" y="312"/>
                </a:cubicBezTo>
                <a:cubicBezTo>
                  <a:pt x="1473" y="312"/>
                  <a:pt x="1473" y="312"/>
                  <a:pt x="1472" y="310"/>
                </a:cubicBezTo>
                <a:cubicBezTo>
                  <a:pt x="1472" y="310"/>
                  <a:pt x="1472" y="310"/>
                  <a:pt x="1472" y="308"/>
                </a:cubicBezTo>
                <a:cubicBezTo>
                  <a:pt x="1472" y="308"/>
                  <a:pt x="1472" y="308"/>
                  <a:pt x="1471" y="307"/>
                </a:cubicBezTo>
                <a:cubicBezTo>
                  <a:pt x="1471" y="307"/>
                  <a:pt x="1471" y="307"/>
                  <a:pt x="1472" y="307"/>
                </a:cubicBezTo>
                <a:cubicBezTo>
                  <a:pt x="1472" y="307"/>
                  <a:pt x="1472" y="307"/>
                  <a:pt x="1471" y="305"/>
                </a:cubicBezTo>
                <a:cubicBezTo>
                  <a:pt x="1471" y="305"/>
                  <a:pt x="1471" y="305"/>
                  <a:pt x="1468" y="305"/>
                </a:cubicBezTo>
                <a:cubicBezTo>
                  <a:pt x="1468" y="305"/>
                  <a:pt x="1468" y="305"/>
                  <a:pt x="1467" y="304"/>
                </a:cubicBezTo>
                <a:cubicBezTo>
                  <a:pt x="1467" y="304"/>
                  <a:pt x="1467" y="304"/>
                  <a:pt x="1466" y="304"/>
                </a:cubicBezTo>
                <a:cubicBezTo>
                  <a:pt x="1466" y="304"/>
                  <a:pt x="1466" y="304"/>
                  <a:pt x="1465" y="304"/>
                </a:cubicBezTo>
                <a:cubicBezTo>
                  <a:pt x="1465" y="304"/>
                  <a:pt x="1465" y="304"/>
                  <a:pt x="1463" y="304"/>
                </a:cubicBezTo>
                <a:cubicBezTo>
                  <a:pt x="1463" y="304"/>
                  <a:pt x="1463" y="304"/>
                  <a:pt x="1463" y="303"/>
                </a:cubicBezTo>
                <a:cubicBezTo>
                  <a:pt x="1463" y="303"/>
                  <a:pt x="1463" y="303"/>
                  <a:pt x="1461" y="304"/>
                </a:cubicBezTo>
                <a:cubicBezTo>
                  <a:pt x="1461" y="304"/>
                  <a:pt x="1461" y="304"/>
                  <a:pt x="1460" y="304"/>
                </a:cubicBezTo>
                <a:cubicBezTo>
                  <a:pt x="1460" y="304"/>
                  <a:pt x="1460" y="304"/>
                  <a:pt x="1460" y="305"/>
                </a:cubicBezTo>
                <a:cubicBezTo>
                  <a:pt x="1460" y="305"/>
                  <a:pt x="1460" y="305"/>
                  <a:pt x="1459" y="304"/>
                </a:cubicBezTo>
                <a:cubicBezTo>
                  <a:pt x="1459" y="304"/>
                  <a:pt x="1459" y="304"/>
                  <a:pt x="1458" y="303"/>
                </a:cubicBezTo>
                <a:cubicBezTo>
                  <a:pt x="1458" y="303"/>
                  <a:pt x="1458" y="303"/>
                  <a:pt x="1457" y="304"/>
                </a:cubicBezTo>
                <a:cubicBezTo>
                  <a:pt x="1457" y="304"/>
                  <a:pt x="1457" y="304"/>
                  <a:pt x="1456" y="303"/>
                </a:cubicBezTo>
                <a:cubicBezTo>
                  <a:pt x="1456" y="303"/>
                  <a:pt x="1456" y="303"/>
                  <a:pt x="1456" y="304"/>
                </a:cubicBezTo>
                <a:cubicBezTo>
                  <a:pt x="1456" y="304"/>
                  <a:pt x="1456" y="304"/>
                  <a:pt x="1456" y="305"/>
                </a:cubicBezTo>
                <a:cubicBezTo>
                  <a:pt x="1456" y="305"/>
                  <a:pt x="1456" y="305"/>
                  <a:pt x="1455" y="306"/>
                </a:cubicBezTo>
                <a:cubicBezTo>
                  <a:pt x="1455" y="306"/>
                  <a:pt x="1455" y="306"/>
                  <a:pt x="1454" y="306"/>
                </a:cubicBezTo>
                <a:cubicBezTo>
                  <a:pt x="1454" y="306"/>
                  <a:pt x="1454" y="306"/>
                  <a:pt x="1454" y="305"/>
                </a:cubicBezTo>
                <a:cubicBezTo>
                  <a:pt x="1454" y="305"/>
                  <a:pt x="1454" y="305"/>
                  <a:pt x="1453" y="305"/>
                </a:cubicBezTo>
                <a:cubicBezTo>
                  <a:pt x="1453" y="305"/>
                  <a:pt x="1453" y="305"/>
                  <a:pt x="1454" y="306"/>
                </a:cubicBezTo>
                <a:cubicBezTo>
                  <a:pt x="1454" y="306"/>
                  <a:pt x="1454" y="306"/>
                  <a:pt x="1454" y="307"/>
                </a:cubicBezTo>
                <a:cubicBezTo>
                  <a:pt x="1454" y="307"/>
                  <a:pt x="1454" y="307"/>
                  <a:pt x="1453" y="308"/>
                </a:cubicBezTo>
                <a:cubicBezTo>
                  <a:pt x="1453" y="308"/>
                  <a:pt x="1453" y="308"/>
                  <a:pt x="1452" y="308"/>
                </a:cubicBezTo>
                <a:cubicBezTo>
                  <a:pt x="1452" y="308"/>
                  <a:pt x="1452" y="308"/>
                  <a:pt x="1451" y="308"/>
                </a:cubicBezTo>
                <a:cubicBezTo>
                  <a:pt x="1451" y="308"/>
                  <a:pt x="1451" y="308"/>
                  <a:pt x="1453" y="309"/>
                </a:cubicBezTo>
                <a:cubicBezTo>
                  <a:pt x="1453" y="309"/>
                  <a:pt x="1453" y="309"/>
                  <a:pt x="1453" y="310"/>
                </a:cubicBezTo>
                <a:cubicBezTo>
                  <a:pt x="1453" y="310"/>
                  <a:pt x="1453" y="310"/>
                  <a:pt x="1452" y="310"/>
                </a:cubicBezTo>
                <a:cubicBezTo>
                  <a:pt x="1452" y="310"/>
                  <a:pt x="1452" y="310"/>
                  <a:pt x="1452" y="309"/>
                </a:cubicBezTo>
                <a:cubicBezTo>
                  <a:pt x="1452" y="309"/>
                  <a:pt x="1452" y="309"/>
                  <a:pt x="1451" y="309"/>
                </a:cubicBezTo>
                <a:cubicBezTo>
                  <a:pt x="1451" y="309"/>
                  <a:pt x="1451" y="309"/>
                  <a:pt x="1451" y="310"/>
                </a:cubicBezTo>
                <a:cubicBezTo>
                  <a:pt x="1451" y="310"/>
                  <a:pt x="1451" y="310"/>
                  <a:pt x="1452" y="310"/>
                </a:cubicBezTo>
                <a:cubicBezTo>
                  <a:pt x="1452" y="310"/>
                  <a:pt x="1452" y="310"/>
                  <a:pt x="1453" y="311"/>
                </a:cubicBezTo>
                <a:cubicBezTo>
                  <a:pt x="1453" y="311"/>
                  <a:pt x="1453" y="311"/>
                  <a:pt x="1452" y="312"/>
                </a:cubicBezTo>
                <a:cubicBezTo>
                  <a:pt x="1452" y="312"/>
                  <a:pt x="1452" y="312"/>
                  <a:pt x="1451" y="314"/>
                </a:cubicBezTo>
                <a:cubicBezTo>
                  <a:pt x="1451" y="314"/>
                  <a:pt x="1451" y="314"/>
                  <a:pt x="1452" y="315"/>
                </a:cubicBezTo>
                <a:cubicBezTo>
                  <a:pt x="1452" y="315"/>
                  <a:pt x="1452" y="315"/>
                  <a:pt x="1450" y="315"/>
                </a:cubicBezTo>
                <a:cubicBezTo>
                  <a:pt x="1450" y="315"/>
                  <a:pt x="1450" y="315"/>
                  <a:pt x="1451" y="316"/>
                </a:cubicBezTo>
                <a:cubicBezTo>
                  <a:pt x="1451" y="316"/>
                  <a:pt x="1451" y="316"/>
                  <a:pt x="1452" y="316"/>
                </a:cubicBezTo>
                <a:cubicBezTo>
                  <a:pt x="1452" y="316"/>
                  <a:pt x="1452" y="316"/>
                  <a:pt x="1453" y="317"/>
                </a:cubicBezTo>
                <a:cubicBezTo>
                  <a:pt x="1453" y="317"/>
                  <a:pt x="1453" y="317"/>
                  <a:pt x="1452" y="317"/>
                </a:cubicBezTo>
                <a:cubicBezTo>
                  <a:pt x="1452" y="317"/>
                  <a:pt x="1452" y="317"/>
                  <a:pt x="1453" y="318"/>
                </a:cubicBezTo>
                <a:cubicBezTo>
                  <a:pt x="1453" y="318"/>
                  <a:pt x="1453" y="318"/>
                  <a:pt x="1454" y="318"/>
                </a:cubicBezTo>
                <a:cubicBezTo>
                  <a:pt x="1454" y="318"/>
                  <a:pt x="1454" y="318"/>
                  <a:pt x="1452" y="320"/>
                </a:cubicBezTo>
                <a:cubicBezTo>
                  <a:pt x="1452" y="320"/>
                  <a:pt x="1452" y="320"/>
                  <a:pt x="1451" y="321"/>
                </a:cubicBezTo>
                <a:cubicBezTo>
                  <a:pt x="1451" y="321"/>
                  <a:pt x="1451" y="321"/>
                  <a:pt x="1451" y="323"/>
                </a:cubicBezTo>
                <a:cubicBezTo>
                  <a:pt x="1451" y="323"/>
                  <a:pt x="1451" y="323"/>
                  <a:pt x="1450" y="325"/>
                </a:cubicBezTo>
                <a:cubicBezTo>
                  <a:pt x="1450" y="325"/>
                  <a:pt x="1450" y="325"/>
                  <a:pt x="1449" y="325"/>
                </a:cubicBezTo>
                <a:cubicBezTo>
                  <a:pt x="1449" y="325"/>
                  <a:pt x="1449" y="325"/>
                  <a:pt x="1448" y="327"/>
                </a:cubicBezTo>
                <a:cubicBezTo>
                  <a:pt x="1448" y="327"/>
                  <a:pt x="1448" y="327"/>
                  <a:pt x="1447" y="326"/>
                </a:cubicBezTo>
                <a:cubicBezTo>
                  <a:pt x="1447" y="326"/>
                  <a:pt x="1447" y="326"/>
                  <a:pt x="1447" y="327"/>
                </a:cubicBezTo>
                <a:cubicBezTo>
                  <a:pt x="1447" y="327"/>
                  <a:pt x="1447" y="327"/>
                  <a:pt x="1447" y="328"/>
                </a:cubicBezTo>
                <a:cubicBezTo>
                  <a:pt x="1447" y="328"/>
                  <a:pt x="1447" y="328"/>
                  <a:pt x="1446" y="329"/>
                </a:cubicBezTo>
                <a:cubicBezTo>
                  <a:pt x="1446" y="329"/>
                  <a:pt x="1446" y="329"/>
                  <a:pt x="1445" y="330"/>
                </a:cubicBezTo>
                <a:cubicBezTo>
                  <a:pt x="1445" y="330"/>
                  <a:pt x="1445" y="330"/>
                  <a:pt x="1444" y="330"/>
                </a:cubicBezTo>
                <a:cubicBezTo>
                  <a:pt x="1444" y="330"/>
                  <a:pt x="1444" y="330"/>
                  <a:pt x="1444" y="329"/>
                </a:cubicBezTo>
                <a:cubicBezTo>
                  <a:pt x="1444" y="329"/>
                  <a:pt x="1444" y="329"/>
                  <a:pt x="1443" y="329"/>
                </a:cubicBezTo>
                <a:cubicBezTo>
                  <a:pt x="1443" y="329"/>
                  <a:pt x="1443" y="329"/>
                  <a:pt x="1443" y="330"/>
                </a:cubicBezTo>
                <a:cubicBezTo>
                  <a:pt x="1443" y="330"/>
                  <a:pt x="1443" y="330"/>
                  <a:pt x="1443" y="332"/>
                </a:cubicBezTo>
                <a:cubicBezTo>
                  <a:pt x="1443" y="332"/>
                  <a:pt x="1443" y="332"/>
                  <a:pt x="1442" y="333"/>
                </a:cubicBezTo>
                <a:cubicBezTo>
                  <a:pt x="1442" y="333"/>
                  <a:pt x="1442" y="333"/>
                  <a:pt x="1441" y="332"/>
                </a:cubicBezTo>
                <a:cubicBezTo>
                  <a:pt x="1441" y="332"/>
                  <a:pt x="1441" y="332"/>
                  <a:pt x="1440" y="333"/>
                </a:cubicBezTo>
                <a:cubicBezTo>
                  <a:pt x="1440" y="333"/>
                  <a:pt x="1440" y="333"/>
                  <a:pt x="1439" y="333"/>
                </a:cubicBezTo>
                <a:cubicBezTo>
                  <a:pt x="1439" y="333"/>
                  <a:pt x="1439" y="333"/>
                  <a:pt x="1438" y="333"/>
                </a:cubicBezTo>
                <a:cubicBezTo>
                  <a:pt x="1438" y="333"/>
                  <a:pt x="1438" y="333"/>
                  <a:pt x="1438" y="334"/>
                </a:cubicBezTo>
                <a:cubicBezTo>
                  <a:pt x="1438" y="334"/>
                  <a:pt x="1438" y="334"/>
                  <a:pt x="1439" y="335"/>
                </a:cubicBezTo>
                <a:cubicBezTo>
                  <a:pt x="1439" y="335"/>
                  <a:pt x="1439" y="335"/>
                  <a:pt x="1437" y="337"/>
                </a:cubicBezTo>
                <a:cubicBezTo>
                  <a:pt x="1437" y="337"/>
                  <a:pt x="1437" y="337"/>
                  <a:pt x="1436" y="337"/>
                </a:cubicBezTo>
                <a:cubicBezTo>
                  <a:pt x="1436" y="337"/>
                  <a:pt x="1436" y="337"/>
                  <a:pt x="1436" y="338"/>
                </a:cubicBezTo>
                <a:cubicBezTo>
                  <a:pt x="1436" y="338"/>
                  <a:pt x="1436" y="338"/>
                  <a:pt x="1435" y="340"/>
                </a:cubicBezTo>
                <a:cubicBezTo>
                  <a:pt x="1435" y="340"/>
                  <a:pt x="1435" y="340"/>
                  <a:pt x="1433" y="340"/>
                </a:cubicBezTo>
                <a:cubicBezTo>
                  <a:pt x="1433" y="340"/>
                  <a:pt x="1433" y="340"/>
                  <a:pt x="1432" y="340"/>
                </a:cubicBezTo>
                <a:cubicBezTo>
                  <a:pt x="1432" y="340"/>
                  <a:pt x="1432" y="340"/>
                  <a:pt x="1434" y="342"/>
                </a:cubicBezTo>
                <a:cubicBezTo>
                  <a:pt x="1434" y="342"/>
                  <a:pt x="1434" y="342"/>
                  <a:pt x="1434" y="343"/>
                </a:cubicBezTo>
                <a:cubicBezTo>
                  <a:pt x="1434" y="343"/>
                  <a:pt x="1434" y="343"/>
                  <a:pt x="1434" y="344"/>
                </a:cubicBezTo>
                <a:cubicBezTo>
                  <a:pt x="1434" y="344"/>
                  <a:pt x="1434" y="344"/>
                  <a:pt x="1434" y="345"/>
                </a:cubicBezTo>
                <a:cubicBezTo>
                  <a:pt x="1434" y="345"/>
                  <a:pt x="1434" y="345"/>
                  <a:pt x="1434" y="347"/>
                </a:cubicBezTo>
                <a:cubicBezTo>
                  <a:pt x="1434" y="347"/>
                  <a:pt x="1434" y="347"/>
                  <a:pt x="1434" y="348"/>
                </a:cubicBezTo>
                <a:cubicBezTo>
                  <a:pt x="1434" y="348"/>
                  <a:pt x="1434" y="348"/>
                  <a:pt x="1433" y="349"/>
                </a:cubicBezTo>
                <a:cubicBezTo>
                  <a:pt x="1433" y="349"/>
                  <a:pt x="1433" y="349"/>
                  <a:pt x="1434" y="351"/>
                </a:cubicBezTo>
                <a:cubicBezTo>
                  <a:pt x="1434" y="351"/>
                  <a:pt x="1434" y="351"/>
                  <a:pt x="1433" y="352"/>
                </a:cubicBezTo>
                <a:cubicBezTo>
                  <a:pt x="1433" y="352"/>
                  <a:pt x="1433" y="352"/>
                  <a:pt x="1434" y="352"/>
                </a:cubicBezTo>
                <a:cubicBezTo>
                  <a:pt x="1434" y="352"/>
                  <a:pt x="1434" y="352"/>
                  <a:pt x="1434" y="353"/>
                </a:cubicBezTo>
                <a:cubicBezTo>
                  <a:pt x="1434" y="353"/>
                  <a:pt x="1434" y="353"/>
                  <a:pt x="1433" y="353"/>
                </a:cubicBezTo>
                <a:cubicBezTo>
                  <a:pt x="1433" y="353"/>
                  <a:pt x="1433" y="353"/>
                  <a:pt x="1434" y="355"/>
                </a:cubicBezTo>
                <a:cubicBezTo>
                  <a:pt x="1434" y="355"/>
                  <a:pt x="1434" y="355"/>
                  <a:pt x="1433" y="356"/>
                </a:cubicBezTo>
                <a:cubicBezTo>
                  <a:pt x="1433" y="356"/>
                  <a:pt x="1433" y="356"/>
                  <a:pt x="1434" y="357"/>
                </a:cubicBezTo>
                <a:cubicBezTo>
                  <a:pt x="1434" y="357"/>
                  <a:pt x="1434" y="357"/>
                  <a:pt x="1435" y="358"/>
                </a:cubicBezTo>
                <a:cubicBezTo>
                  <a:pt x="1435" y="358"/>
                  <a:pt x="1435" y="358"/>
                  <a:pt x="1435" y="359"/>
                </a:cubicBezTo>
                <a:cubicBezTo>
                  <a:pt x="1435" y="359"/>
                  <a:pt x="1435" y="359"/>
                  <a:pt x="1436" y="358"/>
                </a:cubicBezTo>
                <a:cubicBezTo>
                  <a:pt x="1436" y="358"/>
                  <a:pt x="1436" y="358"/>
                  <a:pt x="1436" y="360"/>
                </a:cubicBezTo>
                <a:cubicBezTo>
                  <a:pt x="1436" y="360"/>
                  <a:pt x="1436" y="360"/>
                  <a:pt x="1437" y="358"/>
                </a:cubicBezTo>
                <a:cubicBezTo>
                  <a:pt x="1437" y="358"/>
                  <a:pt x="1437" y="358"/>
                  <a:pt x="1438" y="359"/>
                </a:cubicBezTo>
                <a:cubicBezTo>
                  <a:pt x="1438" y="359"/>
                  <a:pt x="1438" y="359"/>
                  <a:pt x="1439" y="360"/>
                </a:cubicBezTo>
                <a:cubicBezTo>
                  <a:pt x="1439" y="360"/>
                  <a:pt x="1439" y="360"/>
                  <a:pt x="1441" y="362"/>
                </a:cubicBezTo>
                <a:cubicBezTo>
                  <a:pt x="1441" y="362"/>
                  <a:pt x="1441" y="362"/>
                  <a:pt x="1440" y="363"/>
                </a:cubicBezTo>
                <a:cubicBezTo>
                  <a:pt x="1440" y="363"/>
                  <a:pt x="1440" y="363"/>
                  <a:pt x="1442" y="364"/>
                </a:cubicBezTo>
                <a:cubicBezTo>
                  <a:pt x="1442" y="364"/>
                  <a:pt x="1442" y="364"/>
                  <a:pt x="1442" y="365"/>
                </a:cubicBezTo>
                <a:cubicBezTo>
                  <a:pt x="1442" y="365"/>
                  <a:pt x="1442" y="365"/>
                  <a:pt x="1444" y="366"/>
                </a:cubicBezTo>
                <a:cubicBezTo>
                  <a:pt x="1444" y="366"/>
                  <a:pt x="1444" y="366"/>
                  <a:pt x="1443" y="368"/>
                </a:cubicBezTo>
                <a:cubicBezTo>
                  <a:pt x="1443" y="368"/>
                  <a:pt x="1443" y="368"/>
                  <a:pt x="1441" y="369"/>
                </a:cubicBezTo>
                <a:cubicBezTo>
                  <a:pt x="1441" y="369"/>
                  <a:pt x="1441" y="369"/>
                  <a:pt x="1441" y="371"/>
                </a:cubicBezTo>
                <a:cubicBezTo>
                  <a:pt x="1441" y="371"/>
                  <a:pt x="1441" y="371"/>
                  <a:pt x="1439" y="371"/>
                </a:cubicBezTo>
                <a:cubicBezTo>
                  <a:pt x="1439" y="371"/>
                  <a:pt x="1439" y="371"/>
                  <a:pt x="1438" y="370"/>
                </a:cubicBezTo>
                <a:cubicBezTo>
                  <a:pt x="1438" y="370"/>
                  <a:pt x="1438" y="370"/>
                  <a:pt x="1437" y="369"/>
                </a:cubicBezTo>
                <a:cubicBezTo>
                  <a:pt x="1437" y="369"/>
                  <a:pt x="1437" y="369"/>
                  <a:pt x="1436" y="369"/>
                </a:cubicBezTo>
                <a:cubicBezTo>
                  <a:pt x="1436" y="369"/>
                  <a:pt x="1436" y="369"/>
                  <a:pt x="1435" y="369"/>
                </a:cubicBezTo>
                <a:cubicBezTo>
                  <a:pt x="1435" y="369"/>
                  <a:pt x="1435" y="369"/>
                  <a:pt x="1434" y="369"/>
                </a:cubicBezTo>
                <a:cubicBezTo>
                  <a:pt x="1434" y="369"/>
                  <a:pt x="1434" y="369"/>
                  <a:pt x="1433" y="369"/>
                </a:cubicBezTo>
                <a:cubicBezTo>
                  <a:pt x="1433" y="369"/>
                  <a:pt x="1433" y="369"/>
                  <a:pt x="1432" y="370"/>
                </a:cubicBezTo>
                <a:cubicBezTo>
                  <a:pt x="1432" y="370"/>
                  <a:pt x="1432" y="370"/>
                  <a:pt x="1432" y="369"/>
                </a:cubicBezTo>
                <a:cubicBezTo>
                  <a:pt x="1432" y="369"/>
                  <a:pt x="1432" y="369"/>
                  <a:pt x="1431" y="370"/>
                </a:cubicBezTo>
                <a:cubicBezTo>
                  <a:pt x="1431" y="370"/>
                  <a:pt x="1431" y="370"/>
                  <a:pt x="1430" y="370"/>
                </a:cubicBezTo>
                <a:cubicBezTo>
                  <a:pt x="1430" y="370"/>
                  <a:pt x="1430" y="370"/>
                  <a:pt x="1429" y="370"/>
                </a:cubicBezTo>
                <a:cubicBezTo>
                  <a:pt x="1429" y="370"/>
                  <a:pt x="1429" y="370"/>
                  <a:pt x="1429" y="371"/>
                </a:cubicBezTo>
                <a:cubicBezTo>
                  <a:pt x="1429" y="371"/>
                  <a:pt x="1429" y="371"/>
                  <a:pt x="1431" y="371"/>
                </a:cubicBezTo>
                <a:cubicBezTo>
                  <a:pt x="1431" y="371"/>
                  <a:pt x="1431" y="371"/>
                  <a:pt x="1433" y="371"/>
                </a:cubicBezTo>
                <a:cubicBezTo>
                  <a:pt x="1433" y="371"/>
                  <a:pt x="1433" y="371"/>
                  <a:pt x="1434" y="371"/>
                </a:cubicBezTo>
                <a:cubicBezTo>
                  <a:pt x="1434" y="371"/>
                  <a:pt x="1434" y="371"/>
                  <a:pt x="1435" y="371"/>
                </a:cubicBezTo>
                <a:cubicBezTo>
                  <a:pt x="1435" y="371"/>
                  <a:pt x="1435" y="371"/>
                  <a:pt x="1436" y="372"/>
                </a:cubicBezTo>
                <a:cubicBezTo>
                  <a:pt x="1436" y="372"/>
                  <a:pt x="1436" y="372"/>
                  <a:pt x="1437" y="372"/>
                </a:cubicBezTo>
                <a:cubicBezTo>
                  <a:pt x="1437" y="372"/>
                  <a:pt x="1437" y="372"/>
                  <a:pt x="1438" y="372"/>
                </a:cubicBezTo>
                <a:cubicBezTo>
                  <a:pt x="1438" y="372"/>
                  <a:pt x="1438" y="372"/>
                  <a:pt x="1439" y="371"/>
                </a:cubicBezTo>
                <a:cubicBezTo>
                  <a:pt x="1439" y="371"/>
                  <a:pt x="1439" y="371"/>
                  <a:pt x="1440" y="372"/>
                </a:cubicBezTo>
                <a:cubicBezTo>
                  <a:pt x="1440" y="372"/>
                  <a:pt x="1440" y="372"/>
                  <a:pt x="1441" y="373"/>
                </a:cubicBezTo>
                <a:cubicBezTo>
                  <a:pt x="1441" y="373"/>
                  <a:pt x="1441" y="373"/>
                  <a:pt x="1441" y="374"/>
                </a:cubicBezTo>
                <a:cubicBezTo>
                  <a:pt x="1441" y="374"/>
                  <a:pt x="1441" y="374"/>
                  <a:pt x="1440" y="374"/>
                </a:cubicBezTo>
                <a:cubicBezTo>
                  <a:pt x="1440" y="374"/>
                  <a:pt x="1440" y="374"/>
                  <a:pt x="1438" y="376"/>
                </a:cubicBezTo>
                <a:cubicBezTo>
                  <a:pt x="1438" y="376"/>
                  <a:pt x="1438" y="376"/>
                  <a:pt x="1438" y="375"/>
                </a:cubicBezTo>
                <a:cubicBezTo>
                  <a:pt x="1438" y="375"/>
                  <a:pt x="1438" y="375"/>
                  <a:pt x="1438" y="374"/>
                </a:cubicBezTo>
                <a:cubicBezTo>
                  <a:pt x="1438" y="374"/>
                  <a:pt x="1438" y="374"/>
                  <a:pt x="1437" y="375"/>
                </a:cubicBezTo>
                <a:cubicBezTo>
                  <a:pt x="1437" y="375"/>
                  <a:pt x="1437" y="375"/>
                  <a:pt x="1437" y="376"/>
                </a:cubicBezTo>
                <a:cubicBezTo>
                  <a:pt x="1437" y="376"/>
                  <a:pt x="1437" y="376"/>
                  <a:pt x="1436" y="376"/>
                </a:cubicBezTo>
                <a:cubicBezTo>
                  <a:pt x="1436" y="376"/>
                  <a:pt x="1436" y="376"/>
                  <a:pt x="1436" y="377"/>
                </a:cubicBezTo>
                <a:cubicBezTo>
                  <a:pt x="1436" y="377"/>
                  <a:pt x="1436" y="377"/>
                  <a:pt x="1435" y="378"/>
                </a:cubicBezTo>
                <a:cubicBezTo>
                  <a:pt x="1435" y="378"/>
                  <a:pt x="1435" y="378"/>
                  <a:pt x="1434" y="377"/>
                </a:cubicBezTo>
                <a:cubicBezTo>
                  <a:pt x="1434" y="377"/>
                  <a:pt x="1434" y="377"/>
                  <a:pt x="1434" y="378"/>
                </a:cubicBezTo>
                <a:cubicBezTo>
                  <a:pt x="1434" y="378"/>
                  <a:pt x="1434" y="378"/>
                  <a:pt x="1434" y="379"/>
                </a:cubicBezTo>
                <a:cubicBezTo>
                  <a:pt x="1434" y="379"/>
                  <a:pt x="1434" y="379"/>
                  <a:pt x="1433" y="379"/>
                </a:cubicBezTo>
                <a:cubicBezTo>
                  <a:pt x="1433" y="379"/>
                  <a:pt x="1433" y="379"/>
                  <a:pt x="1432" y="379"/>
                </a:cubicBezTo>
                <a:cubicBezTo>
                  <a:pt x="1432" y="379"/>
                  <a:pt x="1432" y="379"/>
                  <a:pt x="1433" y="380"/>
                </a:cubicBezTo>
                <a:cubicBezTo>
                  <a:pt x="1433" y="380"/>
                  <a:pt x="1433" y="380"/>
                  <a:pt x="1434" y="381"/>
                </a:cubicBezTo>
                <a:cubicBezTo>
                  <a:pt x="1434" y="381"/>
                  <a:pt x="1434" y="381"/>
                  <a:pt x="1432" y="381"/>
                </a:cubicBezTo>
                <a:cubicBezTo>
                  <a:pt x="1432" y="381"/>
                  <a:pt x="1432" y="381"/>
                  <a:pt x="1434" y="382"/>
                </a:cubicBezTo>
                <a:cubicBezTo>
                  <a:pt x="1434" y="382"/>
                  <a:pt x="1434" y="382"/>
                  <a:pt x="1433" y="384"/>
                </a:cubicBezTo>
                <a:cubicBezTo>
                  <a:pt x="1433" y="384"/>
                  <a:pt x="1433" y="384"/>
                  <a:pt x="1435" y="385"/>
                </a:cubicBezTo>
                <a:cubicBezTo>
                  <a:pt x="1435" y="385"/>
                  <a:pt x="1435" y="385"/>
                  <a:pt x="1433" y="385"/>
                </a:cubicBezTo>
                <a:cubicBezTo>
                  <a:pt x="1433" y="385"/>
                  <a:pt x="1433" y="385"/>
                  <a:pt x="1432" y="385"/>
                </a:cubicBezTo>
                <a:cubicBezTo>
                  <a:pt x="1432" y="385"/>
                  <a:pt x="1432" y="385"/>
                  <a:pt x="1433" y="386"/>
                </a:cubicBezTo>
                <a:cubicBezTo>
                  <a:pt x="1433" y="386"/>
                  <a:pt x="1433" y="386"/>
                  <a:pt x="1432" y="387"/>
                </a:cubicBezTo>
                <a:cubicBezTo>
                  <a:pt x="1432" y="387"/>
                  <a:pt x="1432" y="387"/>
                  <a:pt x="1433" y="388"/>
                </a:cubicBezTo>
                <a:cubicBezTo>
                  <a:pt x="1433" y="388"/>
                  <a:pt x="1433" y="388"/>
                  <a:pt x="1432" y="389"/>
                </a:cubicBezTo>
                <a:cubicBezTo>
                  <a:pt x="1432" y="389"/>
                  <a:pt x="1432" y="389"/>
                  <a:pt x="1433" y="390"/>
                </a:cubicBezTo>
                <a:cubicBezTo>
                  <a:pt x="1433" y="390"/>
                  <a:pt x="1433" y="390"/>
                  <a:pt x="1432" y="391"/>
                </a:cubicBezTo>
                <a:cubicBezTo>
                  <a:pt x="1432" y="391"/>
                  <a:pt x="1432" y="391"/>
                  <a:pt x="1432" y="393"/>
                </a:cubicBezTo>
                <a:cubicBezTo>
                  <a:pt x="1432" y="393"/>
                  <a:pt x="1432" y="393"/>
                  <a:pt x="1433" y="394"/>
                </a:cubicBezTo>
                <a:cubicBezTo>
                  <a:pt x="1433" y="394"/>
                  <a:pt x="1433" y="394"/>
                  <a:pt x="1433" y="395"/>
                </a:cubicBezTo>
                <a:cubicBezTo>
                  <a:pt x="1433" y="395"/>
                  <a:pt x="1433" y="395"/>
                  <a:pt x="1432" y="398"/>
                </a:cubicBezTo>
                <a:cubicBezTo>
                  <a:pt x="1432" y="398"/>
                  <a:pt x="1432" y="398"/>
                  <a:pt x="1431" y="399"/>
                </a:cubicBezTo>
                <a:cubicBezTo>
                  <a:pt x="1431" y="399"/>
                  <a:pt x="1431" y="399"/>
                  <a:pt x="1431" y="401"/>
                </a:cubicBezTo>
                <a:cubicBezTo>
                  <a:pt x="1431" y="401"/>
                  <a:pt x="1431" y="401"/>
                  <a:pt x="1430" y="403"/>
                </a:cubicBezTo>
                <a:cubicBezTo>
                  <a:pt x="1430" y="403"/>
                  <a:pt x="1430" y="403"/>
                  <a:pt x="1429" y="402"/>
                </a:cubicBezTo>
                <a:cubicBezTo>
                  <a:pt x="1429" y="402"/>
                  <a:pt x="1429" y="402"/>
                  <a:pt x="1428" y="401"/>
                </a:cubicBezTo>
                <a:cubicBezTo>
                  <a:pt x="1428" y="401"/>
                  <a:pt x="1428" y="401"/>
                  <a:pt x="1426" y="402"/>
                </a:cubicBezTo>
                <a:cubicBezTo>
                  <a:pt x="1426" y="402"/>
                  <a:pt x="1426" y="402"/>
                  <a:pt x="1424" y="402"/>
                </a:cubicBezTo>
                <a:cubicBezTo>
                  <a:pt x="1424" y="402"/>
                  <a:pt x="1424" y="402"/>
                  <a:pt x="1424" y="401"/>
                </a:cubicBezTo>
                <a:cubicBezTo>
                  <a:pt x="1424" y="401"/>
                  <a:pt x="1424" y="401"/>
                  <a:pt x="1423" y="403"/>
                </a:cubicBezTo>
                <a:cubicBezTo>
                  <a:pt x="1423" y="403"/>
                  <a:pt x="1423" y="403"/>
                  <a:pt x="1421" y="403"/>
                </a:cubicBezTo>
                <a:cubicBezTo>
                  <a:pt x="1421" y="403"/>
                  <a:pt x="1421" y="403"/>
                  <a:pt x="1421" y="405"/>
                </a:cubicBezTo>
                <a:cubicBezTo>
                  <a:pt x="1421" y="405"/>
                  <a:pt x="1421" y="405"/>
                  <a:pt x="1421" y="406"/>
                </a:cubicBezTo>
                <a:cubicBezTo>
                  <a:pt x="1421" y="406"/>
                  <a:pt x="1421" y="406"/>
                  <a:pt x="1421" y="407"/>
                </a:cubicBezTo>
                <a:cubicBezTo>
                  <a:pt x="1421" y="407"/>
                  <a:pt x="1421" y="407"/>
                  <a:pt x="1420" y="408"/>
                </a:cubicBezTo>
                <a:cubicBezTo>
                  <a:pt x="1420" y="408"/>
                  <a:pt x="1420" y="408"/>
                  <a:pt x="1419" y="407"/>
                </a:cubicBezTo>
                <a:cubicBezTo>
                  <a:pt x="1419" y="407"/>
                  <a:pt x="1419" y="407"/>
                  <a:pt x="1415" y="408"/>
                </a:cubicBezTo>
                <a:cubicBezTo>
                  <a:pt x="1415" y="408"/>
                  <a:pt x="1415" y="408"/>
                  <a:pt x="1414" y="408"/>
                </a:cubicBezTo>
                <a:cubicBezTo>
                  <a:pt x="1414" y="408"/>
                  <a:pt x="1414" y="408"/>
                  <a:pt x="1413" y="408"/>
                </a:cubicBezTo>
                <a:cubicBezTo>
                  <a:pt x="1413" y="408"/>
                  <a:pt x="1413" y="408"/>
                  <a:pt x="1414" y="407"/>
                </a:cubicBezTo>
                <a:cubicBezTo>
                  <a:pt x="1414" y="407"/>
                  <a:pt x="1414" y="407"/>
                  <a:pt x="1414" y="404"/>
                </a:cubicBezTo>
                <a:cubicBezTo>
                  <a:pt x="1414" y="404"/>
                  <a:pt x="1414" y="404"/>
                  <a:pt x="1412" y="403"/>
                </a:cubicBezTo>
                <a:cubicBezTo>
                  <a:pt x="1412" y="403"/>
                  <a:pt x="1412" y="403"/>
                  <a:pt x="1412" y="402"/>
                </a:cubicBezTo>
                <a:cubicBezTo>
                  <a:pt x="1412" y="402"/>
                  <a:pt x="1412" y="402"/>
                  <a:pt x="1411" y="402"/>
                </a:cubicBezTo>
                <a:cubicBezTo>
                  <a:pt x="1411" y="402"/>
                  <a:pt x="1411" y="402"/>
                  <a:pt x="1411" y="401"/>
                </a:cubicBezTo>
                <a:cubicBezTo>
                  <a:pt x="1411" y="401"/>
                  <a:pt x="1411" y="401"/>
                  <a:pt x="1413" y="401"/>
                </a:cubicBezTo>
                <a:cubicBezTo>
                  <a:pt x="1413" y="401"/>
                  <a:pt x="1413" y="401"/>
                  <a:pt x="1414" y="399"/>
                </a:cubicBezTo>
                <a:cubicBezTo>
                  <a:pt x="1414" y="399"/>
                  <a:pt x="1414" y="399"/>
                  <a:pt x="1414" y="397"/>
                </a:cubicBezTo>
                <a:cubicBezTo>
                  <a:pt x="1414" y="397"/>
                  <a:pt x="1414" y="397"/>
                  <a:pt x="1412" y="398"/>
                </a:cubicBezTo>
                <a:cubicBezTo>
                  <a:pt x="1412" y="398"/>
                  <a:pt x="1412" y="398"/>
                  <a:pt x="1411" y="397"/>
                </a:cubicBezTo>
                <a:cubicBezTo>
                  <a:pt x="1411" y="397"/>
                  <a:pt x="1411" y="397"/>
                  <a:pt x="1411" y="396"/>
                </a:cubicBezTo>
                <a:cubicBezTo>
                  <a:pt x="1411" y="396"/>
                  <a:pt x="1411" y="396"/>
                  <a:pt x="1409" y="395"/>
                </a:cubicBezTo>
                <a:cubicBezTo>
                  <a:pt x="1409" y="395"/>
                  <a:pt x="1409" y="395"/>
                  <a:pt x="1409" y="394"/>
                </a:cubicBezTo>
                <a:cubicBezTo>
                  <a:pt x="1409" y="394"/>
                  <a:pt x="1409" y="394"/>
                  <a:pt x="1408" y="391"/>
                </a:cubicBezTo>
                <a:cubicBezTo>
                  <a:pt x="1408" y="391"/>
                  <a:pt x="1408" y="391"/>
                  <a:pt x="1407" y="389"/>
                </a:cubicBezTo>
                <a:cubicBezTo>
                  <a:pt x="1407" y="389"/>
                  <a:pt x="1407" y="389"/>
                  <a:pt x="1406" y="389"/>
                </a:cubicBezTo>
                <a:cubicBezTo>
                  <a:pt x="1406" y="389"/>
                  <a:pt x="1406" y="389"/>
                  <a:pt x="1405" y="388"/>
                </a:cubicBezTo>
                <a:cubicBezTo>
                  <a:pt x="1405" y="388"/>
                  <a:pt x="1405" y="388"/>
                  <a:pt x="1406" y="387"/>
                </a:cubicBezTo>
                <a:cubicBezTo>
                  <a:pt x="1406" y="387"/>
                  <a:pt x="1406" y="387"/>
                  <a:pt x="1406" y="386"/>
                </a:cubicBezTo>
                <a:cubicBezTo>
                  <a:pt x="1406" y="386"/>
                  <a:pt x="1406" y="386"/>
                  <a:pt x="1406" y="385"/>
                </a:cubicBezTo>
                <a:cubicBezTo>
                  <a:pt x="1406" y="385"/>
                  <a:pt x="1406" y="385"/>
                  <a:pt x="1406" y="384"/>
                </a:cubicBezTo>
                <a:cubicBezTo>
                  <a:pt x="1406" y="384"/>
                  <a:pt x="1406" y="384"/>
                  <a:pt x="1407" y="383"/>
                </a:cubicBezTo>
                <a:cubicBezTo>
                  <a:pt x="1407" y="383"/>
                  <a:pt x="1407" y="383"/>
                  <a:pt x="1407" y="382"/>
                </a:cubicBezTo>
                <a:cubicBezTo>
                  <a:pt x="1407" y="382"/>
                  <a:pt x="1407" y="382"/>
                  <a:pt x="1406" y="382"/>
                </a:cubicBezTo>
                <a:cubicBezTo>
                  <a:pt x="1406" y="382"/>
                  <a:pt x="1406" y="382"/>
                  <a:pt x="1406" y="381"/>
                </a:cubicBezTo>
                <a:cubicBezTo>
                  <a:pt x="1406" y="381"/>
                  <a:pt x="1406" y="381"/>
                  <a:pt x="1405" y="381"/>
                </a:cubicBezTo>
                <a:cubicBezTo>
                  <a:pt x="1405" y="381"/>
                  <a:pt x="1405" y="381"/>
                  <a:pt x="1405" y="382"/>
                </a:cubicBezTo>
                <a:cubicBezTo>
                  <a:pt x="1405" y="382"/>
                  <a:pt x="1405" y="382"/>
                  <a:pt x="1404" y="381"/>
                </a:cubicBezTo>
                <a:cubicBezTo>
                  <a:pt x="1404" y="381"/>
                  <a:pt x="1404" y="381"/>
                  <a:pt x="1404" y="379"/>
                </a:cubicBezTo>
                <a:cubicBezTo>
                  <a:pt x="1404" y="379"/>
                  <a:pt x="1404" y="379"/>
                  <a:pt x="1403" y="378"/>
                </a:cubicBezTo>
                <a:cubicBezTo>
                  <a:pt x="1403" y="378"/>
                  <a:pt x="1403" y="378"/>
                  <a:pt x="1403" y="376"/>
                </a:cubicBezTo>
                <a:cubicBezTo>
                  <a:pt x="1403" y="376"/>
                  <a:pt x="1403" y="376"/>
                  <a:pt x="1404" y="375"/>
                </a:cubicBezTo>
                <a:cubicBezTo>
                  <a:pt x="1404" y="375"/>
                  <a:pt x="1404" y="375"/>
                  <a:pt x="1404" y="374"/>
                </a:cubicBezTo>
                <a:cubicBezTo>
                  <a:pt x="1404" y="374"/>
                  <a:pt x="1404" y="374"/>
                  <a:pt x="1402" y="374"/>
                </a:cubicBezTo>
                <a:cubicBezTo>
                  <a:pt x="1402" y="374"/>
                  <a:pt x="1402" y="374"/>
                  <a:pt x="1401" y="373"/>
                </a:cubicBezTo>
                <a:cubicBezTo>
                  <a:pt x="1401" y="373"/>
                  <a:pt x="1401" y="373"/>
                  <a:pt x="1401" y="372"/>
                </a:cubicBezTo>
                <a:cubicBezTo>
                  <a:pt x="1401" y="372"/>
                  <a:pt x="1401" y="372"/>
                  <a:pt x="1400" y="371"/>
                </a:cubicBezTo>
                <a:cubicBezTo>
                  <a:pt x="1400" y="371"/>
                  <a:pt x="1400" y="371"/>
                  <a:pt x="1400" y="370"/>
                </a:cubicBezTo>
                <a:cubicBezTo>
                  <a:pt x="1400" y="370"/>
                  <a:pt x="1400" y="370"/>
                  <a:pt x="1400" y="368"/>
                </a:cubicBezTo>
                <a:cubicBezTo>
                  <a:pt x="1400" y="368"/>
                  <a:pt x="1400" y="368"/>
                  <a:pt x="1401" y="367"/>
                </a:cubicBezTo>
                <a:cubicBezTo>
                  <a:pt x="1401" y="367"/>
                  <a:pt x="1401" y="367"/>
                  <a:pt x="1400" y="366"/>
                </a:cubicBezTo>
                <a:cubicBezTo>
                  <a:pt x="1400" y="366"/>
                  <a:pt x="1400" y="366"/>
                  <a:pt x="1399" y="367"/>
                </a:cubicBezTo>
                <a:cubicBezTo>
                  <a:pt x="1399" y="367"/>
                  <a:pt x="1399" y="367"/>
                  <a:pt x="1399" y="368"/>
                </a:cubicBezTo>
                <a:cubicBezTo>
                  <a:pt x="1399" y="368"/>
                  <a:pt x="1399" y="368"/>
                  <a:pt x="1399" y="369"/>
                </a:cubicBezTo>
                <a:cubicBezTo>
                  <a:pt x="1399" y="369"/>
                  <a:pt x="1399" y="369"/>
                  <a:pt x="1398" y="370"/>
                </a:cubicBezTo>
                <a:cubicBezTo>
                  <a:pt x="1398" y="370"/>
                  <a:pt x="1398" y="370"/>
                  <a:pt x="1398" y="371"/>
                </a:cubicBezTo>
                <a:cubicBezTo>
                  <a:pt x="1398" y="371"/>
                  <a:pt x="1398" y="371"/>
                  <a:pt x="1399" y="371"/>
                </a:cubicBezTo>
                <a:cubicBezTo>
                  <a:pt x="1399" y="371"/>
                  <a:pt x="1399" y="371"/>
                  <a:pt x="1399" y="373"/>
                </a:cubicBezTo>
                <a:cubicBezTo>
                  <a:pt x="1399" y="373"/>
                  <a:pt x="1399" y="373"/>
                  <a:pt x="1399" y="374"/>
                </a:cubicBezTo>
                <a:cubicBezTo>
                  <a:pt x="1399" y="374"/>
                  <a:pt x="1399" y="374"/>
                  <a:pt x="1397" y="376"/>
                </a:cubicBezTo>
                <a:cubicBezTo>
                  <a:pt x="1397" y="376"/>
                  <a:pt x="1397" y="376"/>
                  <a:pt x="1397" y="375"/>
                </a:cubicBezTo>
                <a:cubicBezTo>
                  <a:pt x="1397" y="375"/>
                  <a:pt x="1397" y="375"/>
                  <a:pt x="1396" y="374"/>
                </a:cubicBezTo>
                <a:cubicBezTo>
                  <a:pt x="1396" y="374"/>
                  <a:pt x="1396" y="374"/>
                  <a:pt x="1396" y="375"/>
                </a:cubicBezTo>
                <a:cubicBezTo>
                  <a:pt x="1396" y="375"/>
                  <a:pt x="1396" y="375"/>
                  <a:pt x="1397" y="376"/>
                </a:cubicBezTo>
                <a:cubicBezTo>
                  <a:pt x="1397" y="376"/>
                  <a:pt x="1397" y="376"/>
                  <a:pt x="1395" y="377"/>
                </a:cubicBezTo>
                <a:cubicBezTo>
                  <a:pt x="1395" y="377"/>
                  <a:pt x="1395" y="377"/>
                  <a:pt x="1395" y="376"/>
                </a:cubicBezTo>
                <a:cubicBezTo>
                  <a:pt x="1395" y="376"/>
                  <a:pt x="1395" y="376"/>
                  <a:pt x="1395" y="375"/>
                </a:cubicBezTo>
                <a:cubicBezTo>
                  <a:pt x="1395" y="375"/>
                  <a:pt x="1395" y="375"/>
                  <a:pt x="1394" y="375"/>
                </a:cubicBezTo>
                <a:cubicBezTo>
                  <a:pt x="1394" y="375"/>
                  <a:pt x="1394" y="375"/>
                  <a:pt x="1394" y="374"/>
                </a:cubicBezTo>
                <a:cubicBezTo>
                  <a:pt x="1394" y="374"/>
                  <a:pt x="1394" y="374"/>
                  <a:pt x="1394" y="374"/>
                </a:cubicBezTo>
                <a:cubicBezTo>
                  <a:pt x="1393" y="373"/>
                  <a:pt x="1393" y="373"/>
                  <a:pt x="1393" y="373"/>
                </a:cubicBezTo>
                <a:cubicBezTo>
                  <a:pt x="1393" y="374"/>
                  <a:pt x="1394" y="374"/>
                  <a:pt x="1394" y="374"/>
                </a:cubicBezTo>
                <a:cubicBezTo>
                  <a:pt x="1393" y="375"/>
                  <a:pt x="1393" y="375"/>
                  <a:pt x="1393" y="375"/>
                </a:cubicBezTo>
                <a:cubicBezTo>
                  <a:pt x="1393" y="375"/>
                  <a:pt x="1393" y="375"/>
                  <a:pt x="1394" y="376"/>
                </a:cubicBezTo>
                <a:cubicBezTo>
                  <a:pt x="1394" y="376"/>
                  <a:pt x="1394" y="376"/>
                  <a:pt x="1394" y="377"/>
                </a:cubicBezTo>
                <a:cubicBezTo>
                  <a:pt x="1394" y="377"/>
                  <a:pt x="1394" y="377"/>
                  <a:pt x="1393" y="377"/>
                </a:cubicBezTo>
                <a:cubicBezTo>
                  <a:pt x="1393" y="377"/>
                  <a:pt x="1393" y="377"/>
                  <a:pt x="1392" y="378"/>
                </a:cubicBezTo>
                <a:cubicBezTo>
                  <a:pt x="1392" y="378"/>
                  <a:pt x="1392" y="378"/>
                  <a:pt x="1392" y="379"/>
                </a:cubicBezTo>
                <a:cubicBezTo>
                  <a:pt x="1392" y="379"/>
                  <a:pt x="1392" y="379"/>
                  <a:pt x="1391" y="379"/>
                </a:cubicBezTo>
                <a:cubicBezTo>
                  <a:pt x="1391" y="379"/>
                  <a:pt x="1391" y="379"/>
                  <a:pt x="1392" y="380"/>
                </a:cubicBezTo>
                <a:cubicBezTo>
                  <a:pt x="1392" y="380"/>
                  <a:pt x="1392" y="380"/>
                  <a:pt x="1390" y="381"/>
                </a:cubicBezTo>
                <a:cubicBezTo>
                  <a:pt x="1390" y="381"/>
                  <a:pt x="1390" y="381"/>
                  <a:pt x="1390" y="382"/>
                </a:cubicBezTo>
                <a:cubicBezTo>
                  <a:pt x="1390" y="382"/>
                  <a:pt x="1390" y="382"/>
                  <a:pt x="1388" y="384"/>
                </a:cubicBezTo>
                <a:cubicBezTo>
                  <a:pt x="1388" y="384"/>
                  <a:pt x="1388" y="384"/>
                  <a:pt x="1387" y="384"/>
                </a:cubicBezTo>
                <a:cubicBezTo>
                  <a:pt x="1387" y="384"/>
                  <a:pt x="1387" y="384"/>
                  <a:pt x="1386" y="383"/>
                </a:cubicBezTo>
                <a:cubicBezTo>
                  <a:pt x="1386" y="383"/>
                  <a:pt x="1386" y="383"/>
                  <a:pt x="1386" y="384"/>
                </a:cubicBezTo>
                <a:cubicBezTo>
                  <a:pt x="1386" y="384"/>
                  <a:pt x="1386" y="384"/>
                  <a:pt x="1385" y="384"/>
                </a:cubicBezTo>
                <a:cubicBezTo>
                  <a:pt x="1385" y="384"/>
                  <a:pt x="1385" y="384"/>
                  <a:pt x="1384" y="385"/>
                </a:cubicBezTo>
                <a:cubicBezTo>
                  <a:pt x="1384" y="385"/>
                  <a:pt x="1384" y="385"/>
                  <a:pt x="1383" y="385"/>
                </a:cubicBezTo>
                <a:cubicBezTo>
                  <a:pt x="1383" y="385"/>
                  <a:pt x="1383" y="385"/>
                  <a:pt x="1382" y="385"/>
                </a:cubicBezTo>
                <a:cubicBezTo>
                  <a:pt x="1382" y="385"/>
                  <a:pt x="1382" y="385"/>
                  <a:pt x="1382" y="386"/>
                </a:cubicBezTo>
                <a:cubicBezTo>
                  <a:pt x="1382" y="386"/>
                  <a:pt x="1382" y="386"/>
                  <a:pt x="1380" y="384"/>
                </a:cubicBezTo>
                <a:cubicBezTo>
                  <a:pt x="1380" y="384"/>
                  <a:pt x="1380" y="384"/>
                  <a:pt x="1381" y="384"/>
                </a:cubicBezTo>
                <a:cubicBezTo>
                  <a:pt x="1381" y="384"/>
                  <a:pt x="1381" y="384"/>
                  <a:pt x="1380" y="383"/>
                </a:cubicBezTo>
                <a:cubicBezTo>
                  <a:pt x="1380" y="383"/>
                  <a:pt x="1380" y="383"/>
                  <a:pt x="1379" y="383"/>
                </a:cubicBezTo>
                <a:cubicBezTo>
                  <a:pt x="1379" y="383"/>
                  <a:pt x="1379" y="383"/>
                  <a:pt x="1379" y="385"/>
                </a:cubicBezTo>
                <a:cubicBezTo>
                  <a:pt x="1379" y="385"/>
                  <a:pt x="1379" y="385"/>
                  <a:pt x="1378" y="384"/>
                </a:cubicBezTo>
                <a:cubicBezTo>
                  <a:pt x="1378" y="384"/>
                  <a:pt x="1378" y="384"/>
                  <a:pt x="1378" y="383"/>
                </a:cubicBezTo>
                <a:cubicBezTo>
                  <a:pt x="1378" y="383"/>
                  <a:pt x="1378" y="383"/>
                  <a:pt x="1376" y="382"/>
                </a:cubicBezTo>
                <a:cubicBezTo>
                  <a:pt x="1376" y="382"/>
                  <a:pt x="1376" y="382"/>
                  <a:pt x="1374" y="381"/>
                </a:cubicBezTo>
                <a:cubicBezTo>
                  <a:pt x="1374" y="381"/>
                  <a:pt x="1374" y="381"/>
                  <a:pt x="1373" y="380"/>
                </a:cubicBezTo>
                <a:cubicBezTo>
                  <a:pt x="1373" y="380"/>
                  <a:pt x="1373" y="380"/>
                  <a:pt x="1371" y="378"/>
                </a:cubicBezTo>
                <a:cubicBezTo>
                  <a:pt x="1371" y="378"/>
                  <a:pt x="1371" y="378"/>
                  <a:pt x="1372" y="377"/>
                </a:cubicBezTo>
                <a:cubicBezTo>
                  <a:pt x="1372" y="377"/>
                  <a:pt x="1372" y="377"/>
                  <a:pt x="1372" y="376"/>
                </a:cubicBezTo>
                <a:cubicBezTo>
                  <a:pt x="1372" y="376"/>
                  <a:pt x="1372" y="376"/>
                  <a:pt x="1373" y="376"/>
                </a:cubicBezTo>
                <a:cubicBezTo>
                  <a:pt x="1373" y="376"/>
                  <a:pt x="1373" y="376"/>
                  <a:pt x="1373" y="377"/>
                </a:cubicBezTo>
                <a:cubicBezTo>
                  <a:pt x="1373" y="377"/>
                  <a:pt x="1373" y="377"/>
                  <a:pt x="1374" y="376"/>
                </a:cubicBezTo>
                <a:cubicBezTo>
                  <a:pt x="1374" y="376"/>
                  <a:pt x="1374" y="376"/>
                  <a:pt x="1376" y="378"/>
                </a:cubicBezTo>
                <a:cubicBezTo>
                  <a:pt x="1376" y="378"/>
                  <a:pt x="1376" y="378"/>
                  <a:pt x="1376" y="377"/>
                </a:cubicBezTo>
                <a:cubicBezTo>
                  <a:pt x="1376" y="377"/>
                  <a:pt x="1376" y="377"/>
                  <a:pt x="1376" y="376"/>
                </a:cubicBezTo>
                <a:cubicBezTo>
                  <a:pt x="1376" y="376"/>
                  <a:pt x="1376" y="376"/>
                  <a:pt x="1378" y="376"/>
                </a:cubicBezTo>
                <a:cubicBezTo>
                  <a:pt x="1378" y="376"/>
                  <a:pt x="1378" y="376"/>
                  <a:pt x="1377" y="375"/>
                </a:cubicBezTo>
                <a:cubicBezTo>
                  <a:pt x="1377" y="375"/>
                  <a:pt x="1377" y="375"/>
                  <a:pt x="1376" y="376"/>
                </a:cubicBezTo>
                <a:cubicBezTo>
                  <a:pt x="1376" y="376"/>
                  <a:pt x="1376" y="376"/>
                  <a:pt x="1375" y="376"/>
                </a:cubicBezTo>
                <a:cubicBezTo>
                  <a:pt x="1375" y="376"/>
                  <a:pt x="1375" y="376"/>
                  <a:pt x="1374" y="374"/>
                </a:cubicBezTo>
                <a:cubicBezTo>
                  <a:pt x="1374" y="374"/>
                  <a:pt x="1374" y="374"/>
                  <a:pt x="1375" y="374"/>
                </a:cubicBezTo>
                <a:cubicBezTo>
                  <a:pt x="1375" y="374"/>
                  <a:pt x="1375" y="374"/>
                  <a:pt x="1375" y="373"/>
                </a:cubicBezTo>
                <a:cubicBezTo>
                  <a:pt x="1375" y="373"/>
                  <a:pt x="1375" y="373"/>
                  <a:pt x="1375" y="372"/>
                </a:cubicBezTo>
                <a:cubicBezTo>
                  <a:pt x="1375" y="372"/>
                  <a:pt x="1375" y="372"/>
                  <a:pt x="1374" y="371"/>
                </a:cubicBezTo>
                <a:cubicBezTo>
                  <a:pt x="1374" y="371"/>
                  <a:pt x="1374" y="371"/>
                  <a:pt x="1373" y="372"/>
                </a:cubicBezTo>
                <a:cubicBezTo>
                  <a:pt x="1373" y="372"/>
                  <a:pt x="1373" y="372"/>
                  <a:pt x="1374" y="372"/>
                </a:cubicBezTo>
                <a:cubicBezTo>
                  <a:pt x="1374" y="372"/>
                  <a:pt x="1374" y="372"/>
                  <a:pt x="1373" y="373"/>
                </a:cubicBezTo>
                <a:cubicBezTo>
                  <a:pt x="1373" y="373"/>
                  <a:pt x="1373" y="373"/>
                  <a:pt x="1372" y="372"/>
                </a:cubicBezTo>
                <a:cubicBezTo>
                  <a:pt x="1372" y="372"/>
                  <a:pt x="1372" y="372"/>
                  <a:pt x="1372" y="373"/>
                </a:cubicBezTo>
                <a:cubicBezTo>
                  <a:pt x="1372" y="373"/>
                  <a:pt x="1372" y="373"/>
                  <a:pt x="1370" y="372"/>
                </a:cubicBezTo>
                <a:cubicBezTo>
                  <a:pt x="1370" y="372"/>
                  <a:pt x="1370" y="372"/>
                  <a:pt x="1370" y="371"/>
                </a:cubicBezTo>
                <a:cubicBezTo>
                  <a:pt x="1370" y="371"/>
                  <a:pt x="1370" y="371"/>
                  <a:pt x="1371" y="369"/>
                </a:cubicBezTo>
                <a:cubicBezTo>
                  <a:pt x="1371" y="369"/>
                  <a:pt x="1371" y="369"/>
                  <a:pt x="1372" y="369"/>
                </a:cubicBezTo>
                <a:cubicBezTo>
                  <a:pt x="1372" y="369"/>
                  <a:pt x="1372" y="369"/>
                  <a:pt x="1373" y="368"/>
                </a:cubicBezTo>
                <a:cubicBezTo>
                  <a:pt x="1373" y="368"/>
                  <a:pt x="1373" y="368"/>
                  <a:pt x="1374" y="369"/>
                </a:cubicBezTo>
                <a:cubicBezTo>
                  <a:pt x="1374" y="369"/>
                  <a:pt x="1374" y="369"/>
                  <a:pt x="1374" y="368"/>
                </a:cubicBezTo>
                <a:cubicBezTo>
                  <a:pt x="1374" y="368"/>
                  <a:pt x="1374" y="368"/>
                  <a:pt x="1375" y="368"/>
                </a:cubicBezTo>
                <a:cubicBezTo>
                  <a:pt x="1375" y="368"/>
                  <a:pt x="1375" y="368"/>
                  <a:pt x="1376" y="368"/>
                </a:cubicBezTo>
                <a:cubicBezTo>
                  <a:pt x="1376" y="368"/>
                  <a:pt x="1376" y="368"/>
                  <a:pt x="1376" y="367"/>
                </a:cubicBezTo>
                <a:cubicBezTo>
                  <a:pt x="1376" y="367"/>
                  <a:pt x="1376" y="367"/>
                  <a:pt x="1374" y="367"/>
                </a:cubicBezTo>
                <a:cubicBezTo>
                  <a:pt x="1374" y="367"/>
                  <a:pt x="1374" y="367"/>
                  <a:pt x="1373" y="367"/>
                </a:cubicBezTo>
                <a:cubicBezTo>
                  <a:pt x="1373" y="367"/>
                  <a:pt x="1373" y="367"/>
                  <a:pt x="1374" y="366"/>
                </a:cubicBezTo>
                <a:cubicBezTo>
                  <a:pt x="1374" y="366"/>
                  <a:pt x="1374" y="366"/>
                  <a:pt x="1375" y="364"/>
                </a:cubicBezTo>
                <a:cubicBezTo>
                  <a:pt x="1375" y="364"/>
                  <a:pt x="1375" y="364"/>
                  <a:pt x="1376" y="362"/>
                </a:cubicBezTo>
                <a:cubicBezTo>
                  <a:pt x="1376" y="362"/>
                  <a:pt x="1376" y="362"/>
                  <a:pt x="1377" y="364"/>
                </a:cubicBezTo>
                <a:cubicBezTo>
                  <a:pt x="1377" y="364"/>
                  <a:pt x="1377" y="364"/>
                  <a:pt x="1377" y="362"/>
                </a:cubicBezTo>
                <a:cubicBezTo>
                  <a:pt x="1377" y="362"/>
                  <a:pt x="1377" y="362"/>
                  <a:pt x="1378" y="361"/>
                </a:cubicBezTo>
                <a:cubicBezTo>
                  <a:pt x="1378" y="361"/>
                  <a:pt x="1378" y="361"/>
                  <a:pt x="1377" y="361"/>
                </a:cubicBezTo>
                <a:cubicBezTo>
                  <a:pt x="1377" y="361"/>
                  <a:pt x="1377" y="361"/>
                  <a:pt x="1375" y="362"/>
                </a:cubicBezTo>
                <a:cubicBezTo>
                  <a:pt x="1375" y="362"/>
                  <a:pt x="1375" y="362"/>
                  <a:pt x="1374" y="363"/>
                </a:cubicBezTo>
                <a:cubicBezTo>
                  <a:pt x="1374" y="363"/>
                  <a:pt x="1374" y="363"/>
                  <a:pt x="1374" y="364"/>
                </a:cubicBezTo>
                <a:cubicBezTo>
                  <a:pt x="1374" y="364"/>
                  <a:pt x="1374" y="364"/>
                  <a:pt x="1373" y="365"/>
                </a:cubicBezTo>
                <a:cubicBezTo>
                  <a:pt x="1373" y="365"/>
                  <a:pt x="1373" y="365"/>
                  <a:pt x="1372" y="365"/>
                </a:cubicBezTo>
                <a:cubicBezTo>
                  <a:pt x="1372" y="365"/>
                  <a:pt x="1372" y="365"/>
                  <a:pt x="1373" y="364"/>
                </a:cubicBezTo>
                <a:cubicBezTo>
                  <a:pt x="1373" y="364"/>
                  <a:pt x="1373" y="364"/>
                  <a:pt x="1372" y="363"/>
                </a:cubicBezTo>
                <a:cubicBezTo>
                  <a:pt x="1372" y="363"/>
                  <a:pt x="1372" y="363"/>
                  <a:pt x="1372" y="362"/>
                </a:cubicBezTo>
                <a:cubicBezTo>
                  <a:pt x="1372" y="362"/>
                  <a:pt x="1372" y="362"/>
                  <a:pt x="1371" y="362"/>
                </a:cubicBezTo>
                <a:cubicBezTo>
                  <a:pt x="1371" y="362"/>
                  <a:pt x="1371" y="362"/>
                  <a:pt x="1373" y="361"/>
                </a:cubicBezTo>
                <a:cubicBezTo>
                  <a:pt x="1373" y="361"/>
                  <a:pt x="1373" y="361"/>
                  <a:pt x="1373" y="360"/>
                </a:cubicBezTo>
                <a:cubicBezTo>
                  <a:pt x="1373" y="360"/>
                  <a:pt x="1373" y="360"/>
                  <a:pt x="1373" y="359"/>
                </a:cubicBezTo>
                <a:cubicBezTo>
                  <a:pt x="1373" y="359"/>
                  <a:pt x="1373" y="359"/>
                  <a:pt x="1372" y="359"/>
                </a:cubicBezTo>
                <a:cubicBezTo>
                  <a:pt x="1372" y="359"/>
                  <a:pt x="1372" y="359"/>
                  <a:pt x="1370" y="361"/>
                </a:cubicBezTo>
                <a:cubicBezTo>
                  <a:pt x="1370" y="361"/>
                  <a:pt x="1370" y="361"/>
                  <a:pt x="1369" y="360"/>
                </a:cubicBezTo>
                <a:cubicBezTo>
                  <a:pt x="1369" y="360"/>
                  <a:pt x="1369" y="360"/>
                  <a:pt x="1369" y="359"/>
                </a:cubicBezTo>
                <a:cubicBezTo>
                  <a:pt x="1369" y="359"/>
                  <a:pt x="1369" y="359"/>
                  <a:pt x="1370" y="359"/>
                </a:cubicBezTo>
                <a:cubicBezTo>
                  <a:pt x="1370" y="359"/>
                  <a:pt x="1370" y="359"/>
                  <a:pt x="1370" y="358"/>
                </a:cubicBezTo>
                <a:cubicBezTo>
                  <a:pt x="1370" y="358"/>
                  <a:pt x="1370" y="358"/>
                  <a:pt x="1371" y="357"/>
                </a:cubicBezTo>
                <a:cubicBezTo>
                  <a:pt x="1371" y="357"/>
                  <a:pt x="1371" y="357"/>
                  <a:pt x="1370" y="357"/>
                </a:cubicBezTo>
                <a:cubicBezTo>
                  <a:pt x="1370" y="357"/>
                  <a:pt x="1370" y="357"/>
                  <a:pt x="1369" y="358"/>
                </a:cubicBezTo>
                <a:cubicBezTo>
                  <a:pt x="1369" y="358"/>
                  <a:pt x="1369" y="358"/>
                  <a:pt x="1368" y="357"/>
                </a:cubicBezTo>
                <a:cubicBezTo>
                  <a:pt x="1368" y="357"/>
                  <a:pt x="1368" y="357"/>
                  <a:pt x="1369" y="357"/>
                </a:cubicBezTo>
                <a:cubicBezTo>
                  <a:pt x="1369" y="357"/>
                  <a:pt x="1369" y="357"/>
                  <a:pt x="1368" y="355"/>
                </a:cubicBezTo>
                <a:cubicBezTo>
                  <a:pt x="1368" y="355"/>
                  <a:pt x="1368" y="355"/>
                  <a:pt x="1369" y="355"/>
                </a:cubicBezTo>
                <a:cubicBezTo>
                  <a:pt x="1369" y="355"/>
                  <a:pt x="1369" y="355"/>
                  <a:pt x="1370" y="356"/>
                </a:cubicBezTo>
                <a:cubicBezTo>
                  <a:pt x="1370" y="356"/>
                  <a:pt x="1370" y="356"/>
                  <a:pt x="1372" y="355"/>
                </a:cubicBezTo>
                <a:cubicBezTo>
                  <a:pt x="1372" y="355"/>
                  <a:pt x="1372" y="355"/>
                  <a:pt x="1373" y="355"/>
                </a:cubicBezTo>
                <a:cubicBezTo>
                  <a:pt x="1373" y="355"/>
                  <a:pt x="1373" y="355"/>
                  <a:pt x="1374" y="355"/>
                </a:cubicBezTo>
                <a:cubicBezTo>
                  <a:pt x="1374" y="355"/>
                  <a:pt x="1374" y="355"/>
                  <a:pt x="1375" y="355"/>
                </a:cubicBezTo>
                <a:cubicBezTo>
                  <a:pt x="1375" y="355"/>
                  <a:pt x="1375" y="355"/>
                  <a:pt x="1376" y="356"/>
                </a:cubicBezTo>
                <a:cubicBezTo>
                  <a:pt x="1376" y="356"/>
                  <a:pt x="1376" y="356"/>
                  <a:pt x="1377" y="355"/>
                </a:cubicBezTo>
                <a:cubicBezTo>
                  <a:pt x="1377" y="355"/>
                  <a:pt x="1377" y="355"/>
                  <a:pt x="1379" y="355"/>
                </a:cubicBezTo>
                <a:cubicBezTo>
                  <a:pt x="1379" y="355"/>
                  <a:pt x="1379" y="355"/>
                  <a:pt x="1379" y="356"/>
                </a:cubicBezTo>
                <a:cubicBezTo>
                  <a:pt x="1379" y="356"/>
                  <a:pt x="1379" y="356"/>
                  <a:pt x="1378" y="356"/>
                </a:cubicBezTo>
                <a:cubicBezTo>
                  <a:pt x="1378" y="356"/>
                  <a:pt x="1378" y="356"/>
                  <a:pt x="1378" y="357"/>
                </a:cubicBezTo>
                <a:cubicBezTo>
                  <a:pt x="1378" y="357"/>
                  <a:pt x="1378" y="357"/>
                  <a:pt x="1379" y="357"/>
                </a:cubicBezTo>
                <a:cubicBezTo>
                  <a:pt x="1379" y="357"/>
                  <a:pt x="1379" y="357"/>
                  <a:pt x="1380" y="356"/>
                </a:cubicBezTo>
                <a:cubicBezTo>
                  <a:pt x="1380" y="356"/>
                  <a:pt x="1380" y="356"/>
                  <a:pt x="1380" y="355"/>
                </a:cubicBezTo>
                <a:cubicBezTo>
                  <a:pt x="1380" y="355"/>
                  <a:pt x="1380" y="355"/>
                  <a:pt x="1382" y="355"/>
                </a:cubicBezTo>
                <a:cubicBezTo>
                  <a:pt x="1382" y="355"/>
                  <a:pt x="1382" y="355"/>
                  <a:pt x="1383" y="354"/>
                </a:cubicBezTo>
                <a:cubicBezTo>
                  <a:pt x="1383" y="354"/>
                  <a:pt x="1383" y="354"/>
                  <a:pt x="1382" y="352"/>
                </a:cubicBezTo>
                <a:cubicBezTo>
                  <a:pt x="1382" y="352"/>
                  <a:pt x="1382" y="352"/>
                  <a:pt x="1382" y="351"/>
                </a:cubicBezTo>
                <a:cubicBezTo>
                  <a:pt x="1382" y="351"/>
                  <a:pt x="1382" y="351"/>
                  <a:pt x="1381" y="353"/>
                </a:cubicBezTo>
                <a:cubicBezTo>
                  <a:pt x="1381" y="353"/>
                  <a:pt x="1381" y="353"/>
                  <a:pt x="1381" y="354"/>
                </a:cubicBezTo>
                <a:cubicBezTo>
                  <a:pt x="1381" y="354"/>
                  <a:pt x="1381" y="354"/>
                  <a:pt x="1380" y="354"/>
                </a:cubicBezTo>
                <a:cubicBezTo>
                  <a:pt x="1380" y="354"/>
                  <a:pt x="1380" y="354"/>
                  <a:pt x="1380" y="353"/>
                </a:cubicBezTo>
                <a:cubicBezTo>
                  <a:pt x="1380" y="353"/>
                  <a:pt x="1380" y="353"/>
                  <a:pt x="1379" y="354"/>
                </a:cubicBezTo>
                <a:cubicBezTo>
                  <a:pt x="1379" y="354"/>
                  <a:pt x="1379" y="354"/>
                  <a:pt x="1378" y="354"/>
                </a:cubicBezTo>
                <a:cubicBezTo>
                  <a:pt x="1378" y="354"/>
                  <a:pt x="1378" y="354"/>
                  <a:pt x="1377" y="353"/>
                </a:cubicBezTo>
                <a:cubicBezTo>
                  <a:pt x="1377" y="353"/>
                  <a:pt x="1377" y="353"/>
                  <a:pt x="1376" y="353"/>
                </a:cubicBezTo>
                <a:cubicBezTo>
                  <a:pt x="1376" y="353"/>
                  <a:pt x="1376" y="353"/>
                  <a:pt x="1376" y="354"/>
                </a:cubicBezTo>
                <a:cubicBezTo>
                  <a:pt x="1376" y="354"/>
                  <a:pt x="1376" y="354"/>
                  <a:pt x="1375" y="354"/>
                </a:cubicBezTo>
                <a:cubicBezTo>
                  <a:pt x="1375" y="354"/>
                  <a:pt x="1375" y="354"/>
                  <a:pt x="1374" y="354"/>
                </a:cubicBezTo>
                <a:cubicBezTo>
                  <a:pt x="1374" y="354"/>
                  <a:pt x="1374" y="354"/>
                  <a:pt x="1372" y="354"/>
                </a:cubicBezTo>
                <a:cubicBezTo>
                  <a:pt x="1372" y="354"/>
                  <a:pt x="1372" y="354"/>
                  <a:pt x="1371" y="355"/>
                </a:cubicBezTo>
                <a:cubicBezTo>
                  <a:pt x="1371" y="355"/>
                  <a:pt x="1371" y="355"/>
                  <a:pt x="1370" y="355"/>
                </a:cubicBezTo>
                <a:cubicBezTo>
                  <a:pt x="1370" y="355"/>
                  <a:pt x="1370" y="355"/>
                  <a:pt x="1369" y="354"/>
                </a:cubicBezTo>
                <a:cubicBezTo>
                  <a:pt x="1369" y="354"/>
                  <a:pt x="1369" y="354"/>
                  <a:pt x="1369" y="353"/>
                </a:cubicBezTo>
                <a:cubicBezTo>
                  <a:pt x="1369" y="353"/>
                  <a:pt x="1369" y="353"/>
                  <a:pt x="1370" y="352"/>
                </a:cubicBezTo>
                <a:cubicBezTo>
                  <a:pt x="1370" y="352"/>
                  <a:pt x="1370" y="352"/>
                  <a:pt x="1369" y="352"/>
                </a:cubicBezTo>
                <a:cubicBezTo>
                  <a:pt x="1369" y="352"/>
                  <a:pt x="1369" y="352"/>
                  <a:pt x="1370" y="351"/>
                </a:cubicBezTo>
                <a:cubicBezTo>
                  <a:pt x="1370" y="351"/>
                  <a:pt x="1370" y="351"/>
                  <a:pt x="1369" y="351"/>
                </a:cubicBezTo>
                <a:cubicBezTo>
                  <a:pt x="1369" y="351"/>
                  <a:pt x="1369" y="351"/>
                  <a:pt x="1370" y="350"/>
                </a:cubicBezTo>
                <a:cubicBezTo>
                  <a:pt x="1370" y="350"/>
                  <a:pt x="1370" y="350"/>
                  <a:pt x="1368" y="349"/>
                </a:cubicBezTo>
                <a:cubicBezTo>
                  <a:pt x="1368" y="349"/>
                  <a:pt x="1368" y="349"/>
                  <a:pt x="1368" y="348"/>
                </a:cubicBezTo>
                <a:cubicBezTo>
                  <a:pt x="1367" y="347"/>
                  <a:pt x="1367" y="347"/>
                  <a:pt x="1367" y="347"/>
                </a:cubicBezTo>
                <a:cubicBezTo>
                  <a:pt x="1369" y="348"/>
                  <a:pt x="1369" y="348"/>
                  <a:pt x="1369" y="348"/>
                </a:cubicBezTo>
                <a:cubicBezTo>
                  <a:pt x="1369" y="348"/>
                  <a:pt x="1369" y="348"/>
                  <a:pt x="1370" y="347"/>
                </a:cubicBezTo>
                <a:cubicBezTo>
                  <a:pt x="1370" y="347"/>
                  <a:pt x="1370" y="347"/>
                  <a:pt x="1371" y="348"/>
                </a:cubicBezTo>
                <a:cubicBezTo>
                  <a:pt x="1371" y="348"/>
                  <a:pt x="1371" y="348"/>
                  <a:pt x="1372" y="347"/>
                </a:cubicBezTo>
                <a:cubicBezTo>
                  <a:pt x="1372" y="347"/>
                  <a:pt x="1372" y="347"/>
                  <a:pt x="1374" y="348"/>
                </a:cubicBezTo>
                <a:cubicBezTo>
                  <a:pt x="1374" y="348"/>
                  <a:pt x="1374" y="348"/>
                  <a:pt x="1373" y="347"/>
                </a:cubicBezTo>
                <a:cubicBezTo>
                  <a:pt x="1373" y="347"/>
                  <a:pt x="1373" y="347"/>
                  <a:pt x="1371" y="346"/>
                </a:cubicBezTo>
                <a:cubicBezTo>
                  <a:pt x="1371" y="346"/>
                  <a:pt x="1371" y="346"/>
                  <a:pt x="1371" y="345"/>
                </a:cubicBezTo>
                <a:cubicBezTo>
                  <a:pt x="1371" y="345"/>
                  <a:pt x="1371" y="345"/>
                  <a:pt x="1371" y="344"/>
                </a:cubicBezTo>
                <a:cubicBezTo>
                  <a:pt x="1371" y="344"/>
                  <a:pt x="1371" y="344"/>
                  <a:pt x="1372" y="344"/>
                </a:cubicBezTo>
                <a:cubicBezTo>
                  <a:pt x="1372" y="344"/>
                  <a:pt x="1372" y="344"/>
                  <a:pt x="1373" y="345"/>
                </a:cubicBezTo>
                <a:cubicBezTo>
                  <a:pt x="1373" y="345"/>
                  <a:pt x="1373" y="345"/>
                  <a:pt x="1374" y="345"/>
                </a:cubicBezTo>
                <a:cubicBezTo>
                  <a:pt x="1374" y="345"/>
                  <a:pt x="1374" y="345"/>
                  <a:pt x="1373" y="344"/>
                </a:cubicBezTo>
                <a:cubicBezTo>
                  <a:pt x="1373" y="344"/>
                  <a:pt x="1373" y="344"/>
                  <a:pt x="1374" y="343"/>
                </a:cubicBezTo>
                <a:cubicBezTo>
                  <a:pt x="1374" y="343"/>
                  <a:pt x="1374" y="343"/>
                  <a:pt x="1376" y="344"/>
                </a:cubicBezTo>
                <a:cubicBezTo>
                  <a:pt x="1376" y="344"/>
                  <a:pt x="1376" y="344"/>
                  <a:pt x="1376" y="343"/>
                </a:cubicBezTo>
                <a:cubicBezTo>
                  <a:pt x="1376" y="343"/>
                  <a:pt x="1376" y="343"/>
                  <a:pt x="1376" y="342"/>
                </a:cubicBezTo>
                <a:cubicBezTo>
                  <a:pt x="1376" y="342"/>
                  <a:pt x="1376" y="342"/>
                  <a:pt x="1377" y="342"/>
                </a:cubicBezTo>
                <a:cubicBezTo>
                  <a:pt x="1377" y="342"/>
                  <a:pt x="1377" y="342"/>
                  <a:pt x="1378" y="342"/>
                </a:cubicBezTo>
                <a:cubicBezTo>
                  <a:pt x="1378" y="342"/>
                  <a:pt x="1378" y="342"/>
                  <a:pt x="1378" y="344"/>
                </a:cubicBezTo>
                <a:cubicBezTo>
                  <a:pt x="1378" y="344"/>
                  <a:pt x="1378" y="344"/>
                  <a:pt x="1378" y="345"/>
                </a:cubicBezTo>
                <a:cubicBezTo>
                  <a:pt x="1378" y="345"/>
                  <a:pt x="1378" y="345"/>
                  <a:pt x="1379" y="344"/>
                </a:cubicBezTo>
                <a:cubicBezTo>
                  <a:pt x="1379" y="344"/>
                  <a:pt x="1379" y="344"/>
                  <a:pt x="1379" y="343"/>
                </a:cubicBezTo>
                <a:cubicBezTo>
                  <a:pt x="1379" y="343"/>
                  <a:pt x="1379" y="343"/>
                  <a:pt x="1379" y="342"/>
                </a:cubicBezTo>
                <a:cubicBezTo>
                  <a:pt x="1379" y="342"/>
                  <a:pt x="1379" y="342"/>
                  <a:pt x="1377" y="341"/>
                </a:cubicBezTo>
                <a:cubicBezTo>
                  <a:pt x="1377" y="341"/>
                  <a:pt x="1377" y="341"/>
                  <a:pt x="1376" y="341"/>
                </a:cubicBezTo>
                <a:cubicBezTo>
                  <a:pt x="1376" y="341"/>
                  <a:pt x="1376" y="341"/>
                  <a:pt x="1374" y="340"/>
                </a:cubicBezTo>
                <a:cubicBezTo>
                  <a:pt x="1374" y="340"/>
                  <a:pt x="1374" y="340"/>
                  <a:pt x="1375" y="339"/>
                </a:cubicBezTo>
                <a:cubicBezTo>
                  <a:pt x="1375" y="339"/>
                  <a:pt x="1375" y="339"/>
                  <a:pt x="1375" y="340"/>
                </a:cubicBezTo>
                <a:cubicBezTo>
                  <a:pt x="1375" y="340"/>
                  <a:pt x="1375" y="340"/>
                  <a:pt x="1376" y="339"/>
                </a:cubicBezTo>
                <a:cubicBezTo>
                  <a:pt x="1376" y="339"/>
                  <a:pt x="1376" y="339"/>
                  <a:pt x="1377" y="340"/>
                </a:cubicBezTo>
                <a:cubicBezTo>
                  <a:pt x="1377" y="340"/>
                  <a:pt x="1377" y="340"/>
                  <a:pt x="1378" y="339"/>
                </a:cubicBezTo>
                <a:cubicBezTo>
                  <a:pt x="1378" y="339"/>
                  <a:pt x="1378" y="339"/>
                  <a:pt x="1379" y="341"/>
                </a:cubicBezTo>
                <a:cubicBezTo>
                  <a:pt x="1379" y="341"/>
                  <a:pt x="1379" y="341"/>
                  <a:pt x="1381" y="341"/>
                </a:cubicBezTo>
                <a:cubicBezTo>
                  <a:pt x="1381" y="341"/>
                  <a:pt x="1381" y="341"/>
                  <a:pt x="1381" y="340"/>
                </a:cubicBezTo>
                <a:cubicBezTo>
                  <a:pt x="1381" y="340"/>
                  <a:pt x="1381" y="340"/>
                  <a:pt x="1383" y="339"/>
                </a:cubicBezTo>
                <a:cubicBezTo>
                  <a:pt x="1383" y="339"/>
                  <a:pt x="1383" y="339"/>
                  <a:pt x="1382" y="339"/>
                </a:cubicBezTo>
                <a:cubicBezTo>
                  <a:pt x="1382" y="339"/>
                  <a:pt x="1382" y="339"/>
                  <a:pt x="1381" y="338"/>
                </a:cubicBezTo>
                <a:cubicBezTo>
                  <a:pt x="1381" y="338"/>
                  <a:pt x="1381" y="338"/>
                  <a:pt x="1379" y="339"/>
                </a:cubicBezTo>
                <a:cubicBezTo>
                  <a:pt x="1379" y="339"/>
                  <a:pt x="1379" y="339"/>
                  <a:pt x="1378" y="338"/>
                </a:cubicBezTo>
                <a:cubicBezTo>
                  <a:pt x="1378" y="338"/>
                  <a:pt x="1378" y="338"/>
                  <a:pt x="1379" y="337"/>
                </a:cubicBezTo>
                <a:cubicBezTo>
                  <a:pt x="1379" y="337"/>
                  <a:pt x="1379" y="337"/>
                  <a:pt x="1379" y="336"/>
                </a:cubicBezTo>
                <a:cubicBezTo>
                  <a:pt x="1379" y="336"/>
                  <a:pt x="1379" y="336"/>
                  <a:pt x="1380" y="336"/>
                </a:cubicBezTo>
                <a:cubicBezTo>
                  <a:pt x="1380" y="336"/>
                  <a:pt x="1380" y="336"/>
                  <a:pt x="1381" y="336"/>
                </a:cubicBezTo>
                <a:cubicBezTo>
                  <a:pt x="1381" y="336"/>
                  <a:pt x="1381" y="336"/>
                  <a:pt x="1382" y="337"/>
                </a:cubicBezTo>
                <a:cubicBezTo>
                  <a:pt x="1382" y="337"/>
                  <a:pt x="1382" y="337"/>
                  <a:pt x="1383" y="336"/>
                </a:cubicBezTo>
                <a:cubicBezTo>
                  <a:pt x="1383" y="336"/>
                  <a:pt x="1383" y="336"/>
                  <a:pt x="1384" y="338"/>
                </a:cubicBezTo>
                <a:cubicBezTo>
                  <a:pt x="1384" y="338"/>
                  <a:pt x="1384" y="338"/>
                  <a:pt x="1386" y="339"/>
                </a:cubicBezTo>
                <a:cubicBezTo>
                  <a:pt x="1386" y="339"/>
                  <a:pt x="1386" y="339"/>
                  <a:pt x="1387" y="339"/>
                </a:cubicBezTo>
                <a:cubicBezTo>
                  <a:pt x="1387" y="339"/>
                  <a:pt x="1387" y="339"/>
                  <a:pt x="1387" y="338"/>
                </a:cubicBezTo>
                <a:cubicBezTo>
                  <a:pt x="1387" y="338"/>
                  <a:pt x="1387" y="338"/>
                  <a:pt x="1386" y="338"/>
                </a:cubicBezTo>
                <a:cubicBezTo>
                  <a:pt x="1386" y="338"/>
                  <a:pt x="1386" y="338"/>
                  <a:pt x="1385" y="337"/>
                </a:cubicBezTo>
                <a:cubicBezTo>
                  <a:pt x="1385" y="337"/>
                  <a:pt x="1385" y="337"/>
                  <a:pt x="1387" y="337"/>
                </a:cubicBezTo>
                <a:cubicBezTo>
                  <a:pt x="1387" y="337"/>
                  <a:pt x="1387" y="337"/>
                  <a:pt x="1388" y="338"/>
                </a:cubicBezTo>
                <a:cubicBezTo>
                  <a:pt x="1388" y="338"/>
                  <a:pt x="1388" y="338"/>
                  <a:pt x="1388" y="337"/>
                </a:cubicBezTo>
                <a:cubicBezTo>
                  <a:pt x="1388" y="337"/>
                  <a:pt x="1388" y="337"/>
                  <a:pt x="1388" y="336"/>
                </a:cubicBezTo>
                <a:cubicBezTo>
                  <a:pt x="1388" y="336"/>
                  <a:pt x="1388" y="336"/>
                  <a:pt x="1386" y="336"/>
                </a:cubicBezTo>
                <a:cubicBezTo>
                  <a:pt x="1386" y="336"/>
                  <a:pt x="1386" y="336"/>
                  <a:pt x="1385" y="335"/>
                </a:cubicBezTo>
                <a:cubicBezTo>
                  <a:pt x="1385" y="335"/>
                  <a:pt x="1385" y="335"/>
                  <a:pt x="1386" y="335"/>
                </a:cubicBezTo>
                <a:cubicBezTo>
                  <a:pt x="1386" y="335"/>
                  <a:pt x="1386" y="335"/>
                  <a:pt x="1387" y="334"/>
                </a:cubicBezTo>
                <a:cubicBezTo>
                  <a:pt x="1387" y="334"/>
                  <a:pt x="1387" y="334"/>
                  <a:pt x="1388" y="334"/>
                </a:cubicBezTo>
                <a:cubicBezTo>
                  <a:pt x="1388" y="334"/>
                  <a:pt x="1388" y="334"/>
                  <a:pt x="1388" y="333"/>
                </a:cubicBezTo>
                <a:cubicBezTo>
                  <a:pt x="1388" y="333"/>
                  <a:pt x="1388" y="333"/>
                  <a:pt x="1387" y="334"/>
                </a:cubicBezTo>
                <a:cubicBezTo>
                  <a:pt x="1387" y="334"/>
                  <a:pt x="1387" y="334"/>
                  <a:pt x="1387" y="333"/>
                </a:cubicBezTo>
                <a:cubicBezTo>
                  <a:pt x="1387" y="333"/>
                  <a:pt x="1387" y="333"/>
                  <a:pt x="1388" y="332"/>
                </a:cubicBezTo>
                <a:cubicBezTo>
                  <a:pt x="1388" y="332"/>
                  <a:pt x="1388" y="332"/>
                  <a:pt x="1389" y="332"/>
                </a:cubicBezTo>
                <a:cubicBezTo>
                  <a:pt x="1389" y="332"/>
                  <a:pt x="1389" y="332"/>
                  <a:pt x="1390" y="333"/>
                </a:cubicBezTo>
                <a:cubicBezTo>
                  <a:pt x="1390" y="333"/>
                  <a:pt x="1390" y="333"/>
                  <a:pt x="1391" y="331"/>
                </a:cubicBezTo>
                <a:cubicBezTo>
                  <a:pt x="1391" y="331"/>
                  <a:pt x="1391" y="331"/>
                  <a:pt x="1390" y="331"/>
                </a:cubicBezTo>
                <a:cubicBezTo>
                  <a:pt x="1390" y="331"/>
                  <a:pt x="1390" y="331"/>
                  <a:pt x="1391" y="330"/>
                </a:cubicBezTo>
                <a:cubicBezTo>
                  <a:pt x="1391" y="330"/>
                  <a:pt x="1391" y="330"/>
                  <a:pt x="1392" y="330"/>
                </a:cubicBezTo>
                <a:cubicBezTo>
                  <a:pt x="1392" y="330"/>
                  <a:pt x="1392" y="330"/>
                  <a:pt x="1393" y="331"/>
                </a:cubicBezTo>
                <a:cubicBezTo>
                  <a:pt x="1393" y="331"/>
                  <a:pt x="1393" y="331"/>
                  <a:pt x="1393" y="332"/>
                </a:cubicBezTo>
                <a:cubicBezTo>
                  <a:pt x="1393" y="332"/>
                  <a:pt x="1393" y="332"/>
                  <a:pt x="1394" y="333"/>
                </a:cubicBezTo>
                <a:cubicBezTo>
                  <a:pt x="1394" y="333"/>
                  <a:pt x="1394" y="333"/>
                  <a:pt x="1393" y="333"/>
                </a:cubicBezTo>
                <a:cubicBezTo>
                  <a:pt x="1393" y="333"/>
                  <a:pt x="1393" y="333"/>
                  <a:pt x="1393" y="334"/>
                </a:cubicBezTo>
                <a:cubicBezTo>
                  <a:pt x="1393" y="334"/>
                  <a:pt x="1393" y="334"/>
                  <a:pt x="1394" y="334"/>
                </a:cubicBezTo>
                <a:cubicBezTo>
                  <a:pt x="1394" y="334"/>
                  <a:pt x="1394" y="334"/>
                  <a:pt x="1395" y="333"/>
                </a:cubicBezTo>
                <a:cubicBezTo>
                  <a:pt x="1395" y="333"/>
                  <a:pt x="1395" y="333"/>
                  <a:pt x="1395" y="332"/>
                </a:cubicBezTo>
                <a:cubicBezTo>
                  <a:pt x="1395" y="332"/>
                  <a:pt x="1395" y="332"/>
                  <a:pt x="1395" y="331"/>
                </a:cubicBezTo>
                <a:cubicBezTo>
                  <a:pt x="1395" y="331"/>
                  <a:pt x="1395" y="331"/>
                  <a:pt x="1397" y="331"/>
                </a:cubicBezTo>
                <a:cubicBezTo>
                  <a:pt x="1397" y="331"/>
                  <a:pt x="1397" y="331"/>
                  <a:pt x="1398" y="332"/>
                </a:cubicBezTo>
                <a:cubicBezTo>
                  <a:pt x="1398" y="332"/>
                  <a:pt x="1398" y="332"/>
                  <a:pt x="1399" y="332"/>
                </a:cubicBezTo>
                <a:cubicBezTo>
                  <a:pt x="1399" y="332"/>
                  <a:pt x="1399" y="332"/>
                  <a:pt x="1399" y="331"/>
                </a:cubicBezTo>
                <a:cubicBezTo>
                  <a:pt x="1399" y="331"/>
                  <a:pt x="1399" y="331"/>
                  <a:pt x="1399" y="330"/>
                </a:cubicBezTo>
                <a:cubicBezTo>
                  <a:pt x="1399" y="330"/>
                  <a:pt x="1399" y="330"/>
                  <a:pt x="1398" y="330"/>
                </a:cubicBezTo>
                <a:cubicBezTo>
                  <a:pt x="1398" y="330"/>
                  <a:pt x="1398" y="330"/>
                  <a:pt x="1400" y="328"/>
                </a:cubicBezTo>
                <a:cubicBezTo>
                  <a:pt x="1400" y="328"/>
                  <a:pt x="1400" y="328"/>
                  <a:pt x="1401" y="328"/>
                </a:cubicBezTo>
                <a:cubicBezTo>
                  <a:pt x="1401" y="328"/>
                  <a:pt x="1401" y="328"/>
                  <a:pt x="1401" y="327"/>
                </a:cubicBezTo>
                <a:cubicBezTo>
                  <a:pt x="1401" y="327"/>
                  <a:pt x="1401" y="327"/>
                  <a:pt x="1400" y="327"/>
                </a:cubicBezTo>
                <a:cubicBezTo>
                  <a:pt x="1400" y="327"/>
                  <a:pt x="1400" y="327"/>
                  <a:pt x="1400" y="326"/>
                </a:cubicBezTo>
                <a:cubicBezTo>
                  <a:pt x="1400" y="326"/>
                  <a:pt x="1400" y="326"/>
                  <a:pt x="1402" y="325"/>
                </a:cubicBezTo>
                <a:cubicBezTo>
                  <a:pt x="1402" y="325"/>
                  <a:pt x="1402" y="325"/>
                  <a:pt x="1401" y="325"/>
                </a:cubicBezTo>
                <a:cubicBezTo>
                  <a:pt x="1401" y="325"/>
                  <a:pt x="1401" y="325"/>
                  <a:pt x="1400" y="325"/>
                </a:cubicBezTo>
                <a:cubicBezTo>
                  <a:pt x="1400" y="325"/>
                  <a:pt x="1400" y="325"/>
                  <a:pt x="1399" y="325"/>
                </a:cubicBezTo>
                <a:cubicBezTo>
                  <a:pt x="1399" y="325"/>
                  <a:pt x="1399" y="325"/>
                  <a:pt x="1399" y="327"/>
                </a:cubicBezTo>
                <a:cubicBezTo>
                  <a:pt x="1399" y="327"/>
                  <a:pt x="1399" y="327"/>
                  <a:pt x="1399" y="328"/>
                </a:cubicBezTo>
                <a:cubicBezTo>
                  <a:pt x="1399" y="328"/>
                  <a:pt x="1399" y="328"/>
                  <a:pt x="1397" y="330"/>
                </a:cubicBezTo>
                <a:cubicBezTo>
                  <a:pt x="1397" y="330"/>
                  <a:pt x="1397" y="330"/>
                  <a:pt x="1395" y="330"/>
                </a:cubicBezTo>
                <a:cubicBezTo>
                  <a:pt x="1395" y="330"/>
                  <a:pt x="1395" y="330"/>
                  <a:pt x="1394" y="331"/>
                </a:cubicBezTo>
                <a:cubicBezTo>
                  <a:pt x="1394" y="331"/>
                  <a:pt x="1394" y="331"/>
                  <a:pt x="1393" y="330"/>
                </a:cubicBezTo>
                <a:cubicBezTo>
                  <a:pt x="1393" y="330"/>
                  <a:pt x="1393" y="330"/>
                  <a:pt x="1393" y="329"/>
                </a:cubicBezTo>
                <a:cubicBezTo>
                  <a:pt x="1393" y="329"/>
                  <a:pt x="1393" y="329"/>
                  <a:pt x="1394" y="328"/>
                </a:cubicBezTo>
                <a:cubicBezTo>
                  <a:pt x="1394" y="328"/>
                  <a:pt x="1394" y="328"/>
                  <a:pt x="1392" y="329"/>
                </a:cubicBezTo>
                <a:cubicBezTo>
                  <a:pt x="1392" y="329"/>
                  <a:pt x="1392" y="329"/>
                  <a:pt x="1392" y="328"/>
                </a:cubicBezTo>
                <a:cubicBezTo>
                  <a:pt x="1392" y="328"/>
                  <a:pt x="1392" y="328"/>
                  <a:pt x="1393" y="327"/>
                </a:cubicBezTo>
                <a:cubicBezTo>
                  <a:pt x="1393" y="327"/>
                  <a:pt x="1393" y="327"/>
                  <a:pt x="1394" y="326"/>
                </a:cubicBezTo>
                <a:cubicBezTo>
                  <a:pt x="1394" y="326"/>
                  <a:pt x="1394" y="326"/>
                  <a:pt x="1394" y="325"/>
                </a:cubicBezTo>
                <a:cubicBezTo>
                  <a:pt x="1394" y="325"/>
                  <a:pt x="1394" y="325"/>
                  <a:pt x="1395" y="324"/>
                </a:cubicBezTo>
                <a:cubicBezTo>
                  <a:pt x="1395" y="324"/>
                  <a:pt x="1395" y="324"/>
                  <a:pt x="1395" y="323"/>
                </a:cubicBezTo>
                <a:cubicBezTo>
                  <a:pt x="1395" y="323"/>
                  <a:pt x="1395" y="323"/>
                  <a:pt x="1396" y="322"/>
                </a:cubicBezTo>
                <a:cubicBezTo>
                  <a:pt x="1396" y="322"/>
                  <a:pt x="1396" y="322"/>
                  <a:pt x="1397" y="322"/>
                </a:cubicBezTo>
                <a:cubicBezTo>
                  <a:pt x="1397" y="322"/>
                  <a:pt x="1397" y="322"/>
                  <a:pt x="1397" y="321"/>
                </a:cubicBezTo>
                <a:cubicBezTo>
                  <a:pt x="1397" y="321"/>
                  <a:pt x="1397" y="321"/>
                  <a:pt x="1397" y="320"/>
                </a:cubicBezTo>
                <a:cubicBezTo>
                  <a:pt x="1397" y="320"/>
                  <a:pt x="1397" y="320"/>
                  <a:pt x="1398" y="320"/>
                </a:cubicBezTo>
                <a:cubicBezTo>
                  <a:pt x="1398" y="320"/>
                  <a:pt x="1398" y="320"/>
                  <a:pt x="1398" y="319"/>
                </a:cubicBezTo>
                <a:cubicBezTo>
                  <a:pt x="1398" y="319"/>
                  <a:pt x="1398" y="319"/>
                  <a:pt x="1399" y="320"/>
                </a:cubicBezTo>
                <a:cubicBezTo>
                  <a:pt x="1399" y="320"/>
                  <a:pt x="1399" y="320"/>
                  <a:pt x="1399" y="321"/>
                </a:cubicBezTo>
                <a:cubicBezTo>
                  <a:pt x="1399" y="321"/>
                  <a:pt x="1399" y="321"/>
                  <a:pt x="1400" y="320"/>
                </a:cubicBezTo>
                <a:cubicBezTo>
                  <a:pt x="1400" y="320"/>
                  <a:pt x="1400" y="320"/>
                  <a:pt x="1401" y="319"/>
                </a:cubicBezTo>
                <a:cubicBezTo>
                  <a:pt x="1400" y="319"/>
                  <a:pt x="1400" y="319"/>
                  <a:pt x="1400" y="319"/>
                </a:cubicBezTo>
                <a:cubicBezTo>
                  <a:pt x="1400" y="319"/>
                  <a:pt x="1400" y="319"/>
                  <a:pt x="1400" y="318"/>
                </a:cubicBezTo>
                <a:cubicBezTo>
                  <a:pt x="1400" y="318"/>
                  <a:pt x="1400" y="318"/>
                  <a:pt x="1401" y="317"/>
                </a:cubicBezTo>
                <a:cubicBezTo>
                  <a:pt x="1401" y="317"/>
                  <a:pt x="1401" y="317"/>
                  <a:pt x="1403" y="317"/>
                </a:cubicBezTo>
                <a:cubicBezTo>
                  <a:pt x="1403" y="317"/>
                  <a:pt x="1403" y="317"/>
                  <a:pt x="1403" y="316"/>
                </a:cubicBezTo>
                <a:cubicBezTo>
                  <a:pt x="1403" y="316"/>
                  <a:pt x="1403" y="316"/>
                  <a:pt x="1402" y="316"/>
                </a:cubicBezTo>
                <a:cubicBezTo>
                  <a:pt x="1402" y="316"/>
                  <a:pt x="1402" y="316"/>
                  <a:pt x="1403" y="315"/>
                </a:cubicBezTo>
                <a:cubicBezTo>
                  <a:pt x="1403" y="315"/>
                  <a:pt x="1403" y="315"/>
                  <a:pt x="1404" y="315"/>
                </a:cubicBezTo>
                <a:cubicBezTo>
                  <a:pt x="1404" y="315"/>
                  <a:pt x="1404" y="315"/>
                  <a:pt x="1404" y="314"/>
                </a:cubicBezTo>
                <a:cubicBezTo>
                  <a:pt x="1404" y="314"/>
                  <a:pt x="1404" y="314"/>
                  <a:pt x="1405" y="314"/>
                </a:cubicBezTo>
                <a:cubicBezTo>
                  <a:pt x="1405" y="314"/>
                  <a:pt x="1405" y="314"/>
                  <a:pt x="1406" y="313"/>
                </a:cubicBezTo>
                <a:cubicBezTo>
                  <a:pt x="1406" y="313"/>
                  <a:pt x="1406" y="313"/>
                  <a:pt x="1407" y="313"/>
                </a:cubicBezTo>
                <a:cubicBezTo>
                  <a:pt x="1407" y="313"/>
                  <a:pt x="1407" y="313"/>
                  <a:pt x="1408" y="311"/>
                </a:cubicBezTo>
                <a:cubicBezTo>
                  <a:pt x="1408" y="311"/>
                  <a:pt x="1408" y="311"/>
                  <a:pt x="1407" y="311"/>
                </a:cubicBezTo>
                <a:cubicBezTo>
                  <a:pt x="1407" y="311"/>
                  <a:pt x="1407" y="311"/>
                  <a:pt x="1407" y="312"/>
                </a:cubicBezTo>
                <a:cubicBezTo>
                  <a:pt x="1407" y="312"/>
                  <a:pt x="1407" y="312"/>
                  <a:pt x="1406" y="312"/>
                </a:cubicBezTo>
                <a:cubicBezTo>
                  <a:pt x="1406" y="312"/>
                  <a:pt x="1406" y="312"/>
                  <a:pt x="1406" y="311"/>
                </a:cubicBezTo>
                <a:cubicBezTo>
                  <a:pt x="1406" y="311"/>
                  <a:pt x="1406" y="311"/>
                  <a:pt x="1406" y="310"/>
                </a:cubicBezTo>
                <a:cubicBezTo>
                  <a:pt x="1406" y="310"/>
                  <a:pt x="1406" y="310"/>
                  <a:pt x="1405" y="310"/>
                </a:cubicBezTo>
                <a:cubicBezTo>
                  <a:pt x="1405" y="310"/>
                  <a:pt x="1405" y="310"/>
                  <a:pt x="1405" y="309"/>
                </a:cubicBezTo>
                <a:cubicBezTo>
                  <a:pt x="1405" y="309"/>
                  <a:pt x="1405" y="309"/>
                  <a:pt x="1406" y="309"/>
                </a:cubicBezTo>
                <a:cubicBezTo>
                  <a:pt x="1406" y="309"/>
                  <a:pt x="1406" y="309"/>
                  <a:pt x="1407" y="310"/>
                </a:cubicBezTo>
                <a:cubicBezTo>
                  <a:pt x="1407" y="310"/>
                  <a:pt x="1407" y="310"/>
                  <a:pt x="1407" y="309"/>
                </a:cubicBezTo>
                <a:cubicBezTo>
                  <a:pt x="1407" y="309"/>
                  <a:pt x="1407" y="309"/>
                  <a:pt x="1407" y="308"/>
                </a:cubicBezTo>
                <a:cubicBezTo>
                  <a:pt x="1407" y="308"/>
                  <a:pt x="1407" y="308"/>
                  <a:pt x="1406" y="308"/>
                </a:cubicBezTo>
                <a:cubicBezTo>
                  <a:pt x="1406" y="308"/>
                  <a:pt x="1406" y="308"/>
                  <a:pt x="1406" y="307"/>
                </a:cubicBezTo>
                <a:cubicBezTo>
                  <a:pt x="1406" y="307"/>
                  <a:pt x="1406" y="307"/>
                  <a:pt x="1407" y="307"/>
                </a:cubicBezTo>
                <a:cubicBezTo>
                  <a:pt x="1407" y="307"/>
                  <a:pt x="1407" y="307"/>
                  <a:pt x="1407" y="306"/>
                </a:cubicBezTo>
                <a:cubicBezTo>
                  <a:pt x="1407" y="306"/>
                  <a:pt x="1407" y="306"/>
                  <a:pt x="1407" y="305"/>
                </a:cubicBezTo>
                <a:cubicBezTo>
                  <a:pt x="1407" y="305"/>
                  <a:pt x="1407" y="305"/>
                  <a:pt x="1408" y="304"/>
                </a:cubicBezTo>
                <a:cubicBezTo>
                  <a:pt x="1408" y="304"/>
                  <a:pt x="1408" y="304"/>
                  <a:pt x="1409" y="305"/>
                </a:cubicBezTo>
                <a:cubicBezTo>
                  <a:pt x="1409" y="305"/>
                  <a:pt x="1409" y="305"/>
                  <a:pt x="1409" y="304"/>
                </a:cubicBezTo>
                <a:cubicBezTo>
                  <a:pt x="1409" y="304"/>
                  <a:pt x="1409" y="304"/>
                  <a:pt x="1408" y="303"/>
                </a:cubicBezTo>
                <a:cubicBezTo>
                  <a:pt x="1408" y="303"/>
                  <a:pt x="1408" y="303"/>
                  <a:pt x="1407" y="303"/>
                </a:cubicBezTo>
                <a:cubicBezTo>
                  <a:pt x="1407" y="303"/>
                  <a:pt x="1407" y="303"/>
                  <a:pt x="1407" y="302"/>
                </a:cubicBezTo>
                <a:cubicBezTo>
                  <a:pt x="1407" y="302"/>
                  <a:pt x="1407" y="302"/>
                  <a:pt x="1408" y="301"/>
                </a:cubicBezTo>
                <a:cubicBezTo>
                  <a:pt x="1408" y="301"/>
                  <a:pt x="1408" y="301"/>
                  <a:pt x="1410" y="301"/>
                </a:cubicBezTo>
                <a:cubicBezTo>
                  <a:pt x="1410" y="301"/>
                  <a:pt x="1410" y="301"/>
                  <a:pt x="1410" y="302"/>
                </a:cubicBezTo>
                <a:cubicBezTo>
                  <a:pt x="1410" y="302"/>
                  <a:pt x="1410" y="302"/>
                  <a:pt x="1411" y="302"/>
                </a:cubicBezTo>
                <a:cubicBezTo>
                  <a:pt x="1411" y="302"/>
                  <a:pt x="1411" y="302"/>
                  <a:pt x="1411" y="301"/>
                </a:cubicBezTo>
                <a:cubicBezTo>
                  <a:pt x="1411" y="301"/>
                  <a:pt x="1411" y="301"/>
                  <a:pt x="1410" y="301"/>
                </a:cubicBezTo>
                <a:cubicBezTo>
                  <a:pt x="1410" y="301"/>
                  <a:pt x="1410" y="301"/>
                  <a:pt x="1410" y="300"/>
                </a:cubicBezTo>
                <a:cubicBezTo>
                  <a:pt x="1410" y="300"/>
                  <a:pt x="1410" y="300"/>
                  <a:pt x="1408" y="299"/>
                </a:cubicBezTo>
                <a:cubicBezTo>
                  <a:pt x="1408" y="299"/>
                  <a:pt x="1408" y="299"/>
                  <a:pt x="1408" y="298"/>
                </a:cubicBezTo>
                <a:cubicBezTo>
                  <a:pt x="1408" y="298"/>
                  <a:pt x="1408" y="298"/>
                  <a:pt x="1409" y="298"/>
                </a:cubicBezTo>
                <a:cubicBezTo>
                  <a:pt x="1409" y="298"/>
                  <a:pt x="1409" y="298"/>
                  <a:pt x="1410" y="297"/>
                </a:cubicBezTo>
                <a:cubicBezTo>
                  <a:pt x="1410" y="297"/>
                  <a:pt x="1410" y="297"/>
                  <a:pt x="1409" y="297"/>
                </a:cubicBezTo>
                <a:cubicBezTo>
                  <a:pt x="1409" y="297"/>
                  <a:pt x="1409" y="297"/>
                  <a:pt x="1410" y="296"/>
                </a:cubicBezTo>
                <a:cubicBezTo>
                  <a:pt x="1411" y="296"/>
                  <a:pt x="1411" y="296"/>
                  <a:pt x="1411" y="296"/>
                </a:cubicBezTo>
                <a:cubicBezTo>
                  <a:pt x="1411" y="296"/>
                  <a:pt x="1411" y="296"/>
                  <a:pt x="1411" y="295"/>
                </a:cubicBezTo>
                <a:cubicBezTo>
                  <a:pt x="1411" y="295"/>
                  <a:pt x="1411" y="295"/>
                  <a:pt x="1410" y="295"/>
                </a:cubicBezTo>
                <a:cubicBezTo>
                  <a:pt x="1410" y="295"/>
                  <a:pt x="1410" y="295"/>
                  <a:pt x="1410" y="294"/>
                </a:cubicBezTo>
                <a:cubicBezTo>
                  <a:pt x="1410" y="294"/>
                  <a:pt x="1410" y="294"/>
                  <a:pt x="1411" y="294"/>
                </a:cubicBezTo>
                <a:cubicBezTo>
                  <a:pt x="1411" y="294"/>
                  <a:pt x="1411" y="294"/>
                  <a:pt x="1412" y="294"/>
                </a:cubicBezTo>
                <a:cubicBezTo>
                  <a:pt x="1412" y="294"/>
                  <a:pt x="1412" y="294"/>
                  <a:pt x="1411" y="293"/>
                </a:cubicBezTo>
                <a:cubicBezTo>
                  <a:pt x="1411" y="293"/>
                  <a:pt x="1411" y="293"/>
                  <a:pt x="1410" y="293"/>
                </a:cubicBezTo>
                <a:cubicBezTo>
                  <a:pt x="1410" y="293"/>
                  <a:pt x="1410" y="293"/>
                  <a:pt x="1410" y="292"/>
                </a:cubicBezTo>
                <a:cubicBezTo>
                  <a:pt x="1410" y="292"/>
                  <a:pt x="1410" y="292"/>
                  <a:pt x="1411" y="292"/>
                </a:cubicBezTo>
                <a:cubicBezTo>
                  <a:pt x="1411" y="292"/>
                  <a:pt x="1411" y="292"/>
                  <a:pt x="1413" y="291"/>
                </a:cubicBezTo>
                <a:cubicBezTo>
                  <a:pt x="1413" y="291"/>
                  <a:pt x="1413" y="291"/>
                  <a:pt x="1413" y="292"/>
                </a:cubicBezTo>
                <a:cubicBezTo>
                  <a:pt x="1413" y="292"/>
                  <a:pt x="1413" y="292"/>
                  <a:pt x="1414" y="291"/>
                </a:cubicBezTo>
                <a:cubicBezTo>
                  <a:pt x="1414" y="291"/>
                  <a:pt x="1414" y="291"/>
                  <a:pt x="1414" y="290"/>
                </a:cubicBezTo>
                <a:cubicBezTo>
                  <a:pt x="1414" y="290"/>
                  <a:pt x="1414" y="290"/>
                  <a:pt x="1416" y="290"/>
                </a:cubicBezTo>
                <a:cubicBezTo>
                  <a:pt x="1416" y="290"/>
                  <a:pt x="1416" y="290"/>
                  <a:pt x="1418" y="290"/>
                </a:cubicBezTo>
                <a:cubicBezTo>
                  <a:pt x="1418" y="290"/>
                  <a:pt x="1418" y="290"/>
                  <a:pt x="1419" y="291"/>
                </a:cubicBezTo>
                <a:cubicBezTo>
                  <a:pt x="1419" y="291"/>
                  <a:pt x="1419" y="291"/>
                  <a:pt x="1419" y="290"/>
                </a:cubicBezTo>
                <a:cubicBezTo>
                  <a:pt x="1419" y="290"/>
                  <a:pt x="1419" y="290"/>
                  <a:pt x="1418" y="289"/>
                </a:cubicBezTo>
                <a:cubicBezTo>
                  <a:pt x="1418" y="289"/>
                  <a:pt x="1418" y="289"/>
                  <a:pt x="1417" y="289"/>
                </a:cubicBezTo>
                <a:cubicBezTo>
                  <a:pt x="1417" y="289"/>
                  <a:pt x="1417" y="289"/>
                  <a:pt x="1416" y="288"/>
                </a:cubicBezTo>
                <a:cubicBezTo>
                  <a:pt x="1416" y="288"/>
                  <a:pt x="1416" y="288"/>
                  <a:pt x="1415" y="289"/>
                </a:cubicBezTo>
                <a:cubicBezTo>
                  <a:pt x="1415" y="289"/>
                  <a:pt x="1415" y="289"/>
                  <a:pt x="1414" y="288"/>
                </a:cubicBezTo>
                <a:cubicBezTo>
                  <a:pt x="1414" y="288"/>
                  <a:pt x="1414" y="288"/>
                  <a:pt x="1415" y="287"/>
                </a:cubicBezTo>
                <a:cubicBezTo>
                  <a:pt x="1415" y="287"/>
                  <a:pt x="1415" y="287"/>
                  <a:pt x="1417" y="287"/>
                </a:cubicBezTo>
                <a:cubicBezTo>
                  <a:pt x="1417" y="287"/>
                  <a:pt x="1417" y="287"/>
                  <a:pt x="1416" y="286"/>
                </a:cubicBezTo>
                <a:cubicBezTo>
                  <a:pt x="1416" y="286"/>
                  <a:pt x="1416" y="286"/>
                  <a:pt x="1416" y="285"/>
                </a:cubicBezTo>
                <a:cubicBezTo>
                  <a:pt x="1416" y="285"/>
                  <a:pt x="1416" y="285"/>
                  <a:pt x="1417" y="285"/>
                </a:cubicBezTo>
                <a:cubicBezTo>
                  <a:pt x="1417" y="285"/>
                  <a:pt x="1417" y="285"/>
                  <a:pt x="1418" y="286"/>
                </a:cubicBezTo>
                <a:cubicBezTo>
                  <a:pt x="1418" y="286"/>
                  <a:pt x="1418" y="286"/>
                  <a:pt x="1419" y="286"/>
                </a:cubicBezTo>
                <a:cubicBezTo>
                  <a:pt x="1419" y="286"/>
                  <a:pt x="1419" y="286"/>
                  <a:pt x="1420" y="287"/>
                </a:cubicBezTo>
                <a:cubicBezTo>
                  <a:pt x="1420" y="287"/>
                  <a:pt x="1420" y="287"/>
                  <a:pt x="1420" y="286"/>
                </a:cubicBezTo>
                <a:cubicBezTo>
                  <a:pt x="1420" y="286"/>
                  <a:pt x="1420" y="286"/>
                  <a:pt x="1418" y="285"/>
                </a:cubicBezTo>
                <a:cubicBezTo>
                  <a:pt x="1418" y="285"/>
                  <a:pt x="1418" y="285"/>
                  <a:pt x="1418" y="284"/>
                </a:cubicBezTo>
                <a:cubicBezTo>
                  <a:pt x="1418" y="284"/>
                  <a:pt x="1418" y="284"/>
                  <a:pt x="1418" y="283"/>
                </a:cubicBezTo>
                <a:cubicBezTo>
                  <a:pt x="1418" y="283"/>
                  <a:pt x="1418" y="283"/>
                  <a:pt x="1420" y="283"/>
                </a:cubicBezTo>
                <a:cubicBezTo>
                  <a:pt x="1420" y="283"/>
                  <a:pt x="1420" y="283"/>
                  <a:pt x="1419" y="282"/>
                </a:cubicBezTo>
                <a:cubicBezTo>
                  <a:pt x="1419" y="282"/>
                  <a:pt x="1419" y="282"/>
                  <a:pt x="1418" y="282"/>
                </a:cubicBezTo>
                <a:cubicBezTo>
                  <a:pt x="1418" y="282"/>
                  <a:pt x="1418" y="282"/>
                  <a:pt x="1417" y="283"/>
                </a:cubicBezTo>
                <a:cubicBezTo>
                  <a:pt x="1417" y="283"/>
                  <a:pt x="1417" y="283"/>
                  <a:pt x="1416" y="282"/>
                </a:cubicBezTo>
                <a:cubicBezTo>
                  <a:pt x="1416" y="282"/>
                  <a:pt x="1416" y="282"/>
                  <a:pt x="1416" y="281"/>
                </a:cubicBezTo>
                <a:cubicBezTo>
                  <a:pt x="1416" y="281"/>
                  <a:pt x="1416" y="281"/>
                  <a:pt x="1417" y="281"/>
                </a:cubicBezTo>
                <a:cubicBezTo>
                  <a:pt x="1417" y="281"/>
                  <a:pt x="1417" y="281"/>
                  <a:pt x="1418" y="281"/>
                </a:cubicBezTo>
                <a:cubicBezTo>
                  <a:pt x="1418" y="281"/>
                  <a:pt x="1418" y="281"/>
                  <a:pt x="1420" y="281"/>
                </a:cubicBezTo>
                <a:cubicBezTo>
                  <a:pt x="1420" y="281"/>
                  <a:pt x="1420" y="281"/>
                  <a:pt x="1421" y="280"/>
                </a:cubicBezTo>
                <a:cubicBezTo>
                  <a:pt x="1421" y="280"/>
                  <a:pt x="1421" y="280"/>
                  <a:pt x="1420" y="279"/>
                </a:cubicBezTo>
                <a:cubicBezTo>
                  <a:pt x="1420" y="279"/>
                  <a:pt x="1420" y="279"/>
                  <a:pt x="1419" y="279"/>
                </a:cubicBezTo>
                <a:cubicBezTo>
                  <a:pt x="1419" y="279"/>
                  <a:pt x="1419" y="279"/>
                  <a:pt x="1420" y="278"/>
                </a:cubicBezTo>
                <a:cubicBezTo>
                  <a:pt x="1420" y="278"/>
                  <a:pt x="1420" y="278"/>
                  <a:pt x="1421" y="277"/>
                </a:cubicBezTo>
                <a:cubicBezTo>
                  <a:pt x="1421" y="277"/>
                  <a:pt x="1421" y="277"/>
                  <a:pt x="1422" y="279"/>
                </a:cubicBezTo>
                <a:cubicBezTo>
                  <a:pt x="1422" y="279"/>
                  <a:pt x="1422" y="279"/>
                  <a:pt x="1422" y="280"/>
                </a:cubicBezTo>
                <a:cubicBezTo>
                  <a:pt x="1422" y="280"/>
                  <a:pt x="1422" y="280"/>
                  <a:pt x="1423" y="280"/>
                </a:cubicBezTo>
                <a:cubicBezTo>
                  <a:pt x="1423" y="280"/>
                  <a:pt x="1423" y="280"/>
                  <a:pt x="1422" y="279"/>
                </a:cubicBezTo>
                <a:cubicBezTo>
                  <a:pt x="1422" y="279"/>
                  <a:pt x="1422" y="279"/>
                  <a:pt x="1423" y="278"/>
                </a:cubicBezTo>
                <a:cubicBezTo>
                  <a:pt x="1423" y="278"/>
                  <a:pt x="1423" y="278"/>
                  <a:pt x="1423" y="277"/>
                </a:cubicBezTo>
                <a:cubicBezTo>
                  <a:pt x="1423" y="277"/>
                  <a:pt x="1423" y="277"/>
                  <a:pt x="1422" y="277"/>
                </a:cubicBezTo>
                <a:cubicBezTo>
                  <a:pt x="1422" y="277"/>
                  <a:pt x="1422" y="277"/>
                  <a:pt x="1423" y="276"/>
                </a:cubicBezTo>
                <a:cubicBezTo>
                  <a:pt x="1423" y="276"/>
                  <a:pt x="1423" y="276"/>
                  <a:pt x="1424" y="277"/>
                </a:cubicBezTo>
                <a:cubicBezTo>
                  <a:pt x="1424" y="277"/>
                  <a:pt x="1424" y="277"/>
                  <a:pt x="1424" y="276"/>
                </a:cubicBezTo>
                <a:cubicBezTo>
                  <a:pt x="1424" y="276"/>
                  <a:pt x="1424" y="276"/>
                  <a:pt x="1425" y="276"/>
                </a:cubicBezTo>
                <a:cubicBezTo>
                  <a:pt x="1425" y="276"/>
                  <a:pt x="1425" y="276"/>
                  <a:pt x="1426" y="276"/>
                </a:cubicBezTo>
                <a:cubicBezTo>
                  <a:pt x="1426" y="276"/>
                  <a:pt x="1426" y="276"/>
                  <a:pt x="1427" y="277"/>
                </a:cubicBezTo>
                <a:cubicBezTo>
                  <a:pt x="1427" y="277"/>
                  <a:pt x="1427" y="277"/>
                  <a:pt x="1428" y="276"/>
                </a:cubicBezTo>
                <a:cubicBezTo>
                  <a:pt x="1428" y="276"/>
                  <a:pt x="1428" y="276"/>
                  <a:pt x="1428" y="275"/>
                </a:cubicBezTo>
                <a:cubicBezTo>
                  <a:pt x="1428" y="275"/>
                  <a:pt x="1428" y="275"/>
                  <a:pt x="1428" y="274"/>
                </a:cubicBezTo>
                <a:cubicBezTo>
                  <a:pt x="1428" y="274"/>
                  <a:pt x="1428" y="274"/>
                  <a:pt x="1426" y="274"/>
                </a:cubicBezTo>
                <a:cubicBezTo>
                  <a:pt x="1426" y="274"/>
                  <a:pt x="1426" y="274"/>
                  <a:pt x="1423" y="275"/>
                </a:cubicBezTo>
                <a:cubicBezTo>
                  <a:pt x="1423" y="275"/>
                  <a:pt x="1423" y="275"/>
                  <a:pt x="1422" y="275"/>
                </a:cubicBezTo>
                <a:cubicBezTo>
                  <a:pt x="1422" y="275"/>
                  <a:pt x="1422" y="275"/>
                  <a:pt x="1423" y="273"/>
                </a:cubicBezTo>
                <a:cubicBezTo>
                  <a:pt x="1423" y="273"/>
                  <a:pt x="1423" y="273"/>
                  <a:pt x="1424" y="273"/>
                </a:cubicBezTo>
                <a:cubicBezTo>
                  <a:pt x="1424" y="273"/>
                  <a:pt x="1424" y="273"/>
                  <a:pt x="1424" y="272"/>
                </a:cubicBezTo>
                <a:cubicBezTo>
                  <a:pt x="1424" y="272"/>
                  <a:pt x="1424" y="272"/>
                  <a:pt x="1425" y="271"/>
                </a:cubicBezTo>
                <a:cubicBezTo>
                  <a:pt x="1425" y="271"/>
                  <a:pt x="1425" y="271"/>
                  <a:pt x="1426" y="271"/>
                </a:cubicBezTo>
                <a:cubicBezTo>
                  <a:pt x="1426" y="271"/>
                  <a:pt x="1426" y="271"/>
                  <a:pt x="1426" y="272"/>
                </a:cubicBezTo>
                <a:cubicBezTo>
                  <a:pt x="1426" y="272"/>
                  <a:pt x="1426" y="272"/>
                  <a:pt x="1427" y="271"/>
                </a:cubicBezTo>
                <a:cubicBezTo>
                  <a:pt x="1427" y="271"/>
                  <a:pt x="1427" y="271"/>
                  <a:pt x="1428" y="271"/>
                </a:cubicBezTo>
                <a:cubicBezTo>
                  <a:pt x="1428" y="271"/>
                  <a:pt x="1428" y="271"/>
                  <a:pt x="1428" y="270"/>
                </a:cubicBezTo>
                <a:cubicBezTo>
                  <a:pt x="1428" y="270"/>
                  <a:pt x="1428" y="270"/>
                  <a:pt x="1427" y="269"/>
                </a:cubicBezTo>
                <a:cubicBezTo>
                  <a:pt x="1427" y="269"/>
                  <a:pt x="1427" y="269"/>
                  <a:pt x="1428" y="269"/>
                </a:cubicBezTo>
                <a:cubicBezTo>
                  <a:pt x="1428" y="269"/>
                  <a:pt x="1428" y="269"/>
                  <a:pt x="1429" y="269"/>
                </a:cubicBezTo>
                <a:cubicBezTo>
                  <a:pt x="1429" y="269"/>
                  <a:pt x="1429" y="269"/>
                  <a:pt x="1428" y="268"/>
                </a:cubicBezTo>
                <a:cubicBezTo>
                  <a:pt x="1428" y="268"/>
                  <a:pt x="1428" y="268"/>
                  <a:pt x="1427" y="268"/>
                </a:cubicBezTo>
                <a:cubicBezTo>
                  <a:pt x="1427" y="268"/>
                  <a:pt x="1427" y="268"/>
                  <a:pt x="1428" y="266"/>
                </a:cubicBezTo>
                <a:cubicBezTo>
                  <a:pt x="1428" y="266"/>
                  <a:pt x="1428" y="266"/>
                  <a:pt x="1429" y="266"/>
                </a:cubicBezTo>
                <a:cubicBezTo>
                  <a:pt x="1429" y="266"/>
                  <a:pt x="1429" y="266"/>
                  <a:pt x="1430" y="267"/>
                </a:cubicBezTo>
                <a:cubicBezTo>
                  <a:pt x="1430" y="267"/>
                  <a:pt x="1430" y="267"/>
                  <a:pt x="1430" y="265"/>
                </a:cubicBezTo>
                <a:cubicBezTo>
                  <a:pt x="1430" y="265"/>
                  <a:pt x="1430" y="265"/>
                  <a:pt x="1430" y="263"/>
                </a:cubicBezTo>
                <a:cubicBezTo>
                  <a:pt x="1430" y="263"/>
                  <a:pt x="1430" y="263"/>
                  <a:pt x="1431" y="263"/>
                </a:cubicBezTo>
                <a:cubicBezTo>
                  <a:pt x="1431" y="263"/>
                  <a:pt x="1431" y="263"/>
                  <a:pt x="1432" y="264"/>
                </a:cubicBezTo>
                <a:cubicBezTo>
                  <a:pt x="1432" y="264"/>
                  <a:pt x="1432" y="264"/>
                  <a:pt x="1432" y="265"/>
                </a:cubicBezTo>
                <a:cubicBezTo>
                  <a:pt x="1432" y="265"/>
                  <a:pt x="1432" y="265"/>
                  <a:pt x="1433" y="265"/>
                </a:cubicBezTo>
                <a:cubicBezTo>
                  <a:pt x="1433" y="265"/>
                  <a:pt x="1433" y="265"/>
                  <a:pt x="1434" y="265"/>
                </a:cubicBezTo>
                <a:cubicBezTo>
                  <a:pt x="1434" y="265"/>
                  <a:pt x="1434" y="265"/>
                  <a:pt x="1434" y="264"/>
                </a:cubicBezTo>
                <a:cubicBezTo>
                  <a:pt x="1434" y="264"/>
                  <a:pt x="1434" y="264"/>
                  <a:pt x="1433" y="264"/>
                </a:cubicBezTo>
                <a:cubicBezTo>
                  <a:pt x="1433" y="264"/>
                  <a:pt x="1433" y="264"/>
                  <a:pt x="1432" y="263"/>
                </a:cubicBezTo>
                <a:cubicBezTo>
                  <a:pt x="1432" y="263"/>
                  <a:pt x="1432" y="263"/>
                  <a:pt x="1432" y="262"/>
                </a:cubicBezTo>
                <a:cubicBezTo>
                  <a:pt x="1432" y="262"/>
                  <a:pt x="1432" y="262"/>
                  <a:pt x="1433" y="262"/>
                </a:cubicBezTo>
                <a:cubicBezTo>
                  <a:pt x="1433" y="262"/>
                  <a:pt x="1433" y="262"/>
                  <a:pt x="1434" y="262"/>
                </a:cubicBezTo>
                <a:cubicBezTo>
                  <a:pt x="1434" y="262"/>
                  <a:pt x="1434" y="262"/>
                  <a:pt x="1435" y="264"/>
                </a:cubicBezTo>
                <a:cubicBezTo>
                  <a:pt x="1435" y="264"/>
                  <a:pt x="1435" y="264"/>
                  <a:pt x="1436" y="265"/>
                </a:cubicBezTo>
                <a:cubicBezTo>
                  <a:pt x="1436" y="265"/>
                  <a:pt x="1436" y="265"/>
                  <a:pt x="1436" y="266"/>
                </a:cubicBezTo>
                <a:cubicBezTo>
                  <a:pt x="1436" y="266"/>
                  <a:pt x="1436" y="266"/>
                  <a:pt x="1437" y="265"/>
                </a:cubicBezTo>
                <a:cubicBezTo>
                  <a:pt x="1437" y="265"/>
                  <a:pt x="1437" y="265"/>
                  <a:pt x="1437" y="264"/>
                </a:cubicBezTo>
                <a:cubicBezTo>
                  <a:pt x="1437" y="264"/>
                  <a:pt x="1437" y="264"/>
                  <a:pt x="1435" y="263"/>
                </a:cubicBezTo>
                <a:cubicBezTo>
                  <a:pt x="1435" y="263"/>
                  <a:pt x="1435" y="263"/>
                  <a:pt x="1435" y="262"/>
                </a:cubicBezTo>
                <a:cubicBezTo>
                  <a:pt x="1435" y="262"/>
                  <a:pt x="1435" y="262"/>
                  <a:pt x="1434" y="261"/>
                </a:cubicBezTo>
                <a:cubicBezTo>
                  <a:pt x="1434" y="261"/>
                  <a:pt x="1434" y="261"/>
                  <a:pt x="1435" y="259"/>
                </a:cubicBezTo>
                <a:cubicBezTo>
                  <a:pt x="1435" y="259"/>
                  <a:pt x="1435" y="259"/>
                  <a:pt x="1437" y="258"/>
                </a:cubicBezTo>
                <a:cubicBezTo>
                  <a:pt x="1437" y="258"/>
                  <a:pt x="1437" y="258"/>
                  <a:pt x="1438" y="260"/>
                </a:cubicBezTo>
                <a:cubicBezTo>
                  <a:pt x="1438" y="260"/>
                  <a:pt x="1438" y="260"/>
                  <a:pt x="1437" y="261"/>
                </a:cubicBezTo>
                <a:cubicBezTo>
                  <a:pt x="1437" y="261"/>
                  <a:pt x="1437" y="261"/>
                  <a:pt x="1437" y="263"/>
                </a:cubicBezTo>
                <a:cubicBezTo>
                  <a:pt x="1437" y="263"/>
                  <a:pt x="1437" y="263"/>
                  <a:pt x="1438" y="261"/>
                </a:cubicBezTo>
                <a:cubicBezTo>
                  <a:pt x="1438" y="261"/>
                  <a:pt x="1438" y="261"/>
                  <a:pt x="1438" y="260"/>
                </a:cubicBezTo>
                <a:cubicBezTo>
                  <a:pt x="1438" y="259"/>
                  <a:pt x="1438" y="259"/>
                  <a:pt x="1438" y="259"/>
                </a:cubicBezTo>
                <a:cubicBezTo>
                  <a:pt x="1438" y="259"/>
                  <a:pt x="1438" y="259"/>
                  <a:pt x="1439" y="257"/>
                </a:cubicBezTo>
                <a:cubicBezTo>
                  <a:pt x="1439" y="257"/>
                  <a:pt x="1439" y="257"/>
                  <a:pt x="1440" y="256"/>
                </a:cubicBezTo>
                <a:cubicBezTo>
                  <a:pt x="1440" y="256"/>
                  <a:pt x="1440" y="256"/>
                  <a:pt x="1441" y="260"/>
                </a:cubicBezTo>
                <a:cubicBezTo>
                  <a:pt x="1441" y="260"/>
                  <a:pt x="1441" y="260"/>
                  <a:pt x="1440" y="262"/>
                </a:cubicBezTo>
                <a:cubicBezTo>
                  <a:pt x="1440" y="262"/>
                  <a:pt x="1440" y="262"/>
                  <a:pt x="1439" y="263"/>
                </a:cubicBezTo>
                <a:cubicBezTo>
                  <a:pt x="1439" y="263"/>
                  <a:pt x="1439" y="263"/>
                  <a:pt x="1439" y="264"/>
                </a:cubicBezTo>
                <a:cubicBezTo>
                  <a:pt x="1439" y="264"/>
                  <a:pt x="1439" y="264"/>
                  <a:pt x="1441" y="263"/>
                </a:cubicBezTo>
                <a:cubicBezTo>
                  <a:pt x="1441" y="263"/>
                  <a:pt x="1441" y="263"/>
                  <a:pt x="1441" y="262"/>
                </a:cubicBezTo>
                <a:cubicBezTo>
                  <a:pt x="1441" y="262"/>
                  <a:pt x="1441" y="262"/>
                  <a:pt x="1442" y="260"/>
                </a:cubicBezTo>
                <a:cubicBezTo>
                  <a:pt x="1442" y="260"/>
                  <a:pt x="1442" y="260"/>
                  <a:pt x="1443" y="261"/>
                </a:cubicBezTo>
                <a:cubicBezTo>
                  <a:pt x="1443" y="261"/>
                  <a:pt x="1443" y="261"/>
                  <a:pt x="1444" y="261"/>
                </a:cubicBezTo>
                <a:cubicBezTo>
                  <a:pt x="1444" y="261"/>
                  <a:pt x="1444" y="261"/>
                  <a:pt x="1443" y="260"/>
                </a:cubicBezTo>
                <a:cubicBezTo>
                  <a:pt x="1443" y="260"/>
                  <a:pt x="1443" y="260"/>
                  <a:pt x="1442" y="259"/>
                </a:cubicBezTo>
                <a:cubicBezTo>
                  <a:pt x="1442" y="259"/>
                  <a:pt x="1442" y="259"/>
                  <a:pt x="1442" y="258"/>
                </a:cubicBezTo>
                <a:cubicBezTo>
                  <a:pt x="1442" y="258"/>
                  <a:pt x="1442" y="258"/>
                  <a:pt x="1443" y="257"/>
                </a:cubicBezTo>
                <a:cubicBezTo>
                  <a:pt x="1443" y="257"/>
                  <a:pt x="1443" y="257"/>
                  <a:pt x="1444" y="256"/>
                </a:cubicBezTo>
                <a:cubicBezTo>
                  <a:pt x="1444" y="256"/>
                  <a:pt x="1444" y="256"/>
                  <a:pt x="1444" y="258"/>
                </a:cubicBezTo>
                <a:cubicBezTo>
                  <a:pt x="1444" y="258"/>
                  <a:pt x="1444" y="258"/>
                  <a:pt x="1445" y="257"/>
                </a:cubicBezTo>
                <a:cubicBezTo>
                  <a:pt x="1445" y="257"/>
                  <a:pt x="1445" y="257"/>
                  <a:pt x="1445" y="256"/>
                </a:cubicBezTo>
                <a:cubicBezTo>
                  <a:pt x="1445" y="256"/>
                  <a:pt x="1445" y="256"/>
                  <a:pt x="1446" y="256"/>
                </a:cubicBezTo>
                <a:cubicBezTo>
                  <a:pt x="1446" y="256"/>
                  <a:pt x="1446" y="256"/>
                  <a:pt x="1447" y="257"/>
                </a:cubicBezTo>
                <a:cubicBezTo>
                  <a:pt x="1447" y="257"/>
                  <a:pt x="1447" y="257"/>
                  <a:pt x="1448" y="258"/>
                </a:cubicBezTo>
                <a:cubicBezTo>
                  <a:pt x="1448" y="258"/>
                  <a:pt x="1448" y="258"/>
                  <a:pt x="1448" y="259"/>
                </a:cubicBezTo>
                <a:cubicBezTo>
                  <a:pt x="1448" y="259"/>
                  <a:pt x="1448" y="259"/>
                  <a:pt x="1449" y="258"/>
                </a:cubicBezTo>
                <a:cubicBezTo>
                  <a:pt x="1449" y="258"/>
                  <a:pt x="1449" y="258"/>
                  <a:pt x="1448" y="257"/>
                </a:cubicBezTo>
                <a:cubicBezTo>
                  <a:pt x="1448" y="257"/>
                  <a:pt x="1448" y="257"/>
                  <a:pt x="1448" y="256"/>
                </a:cubicBezTo>
                <a:cubicBezTo>
                  <a:pt x="1448" y="256"/>
                  <a:pt x="1448" y="256"/>
                  <a:pt x="1448" y="255"/>
                </a:cubicBezTo>
                <a:cubicBezTo>
                  <a:pt x="1448" y="255"/>
                  <a:pt x="1448" y="255"/>
                  <a:pt x="1447" y="254"/>
                </a:cubicBezTo>
                <a:cubicBezTo>
                  <a:pt x="1447" y="254"/>
                  <a:pt x="1447" y="254"/>
                  <a:pt x="1446" y="254"/>
                </a:cubicBezTo>
                <a:cubicBezTo>
                  <a:pt x="1446" y="254"/>
                  <a:pt x="1446" y="254"/>
                  <a:pt x="1445" y="254"/>
                </a:cubicBezTo>
                <a:cubicBezTo>
                  <a:pt x="1445" y="254"/>
                  <a:pt x="1445" y="254"/>
                  <a:pt x="1444" y="252"/>
                </a:cubicBezTo>
                <a:cubicBezTo>
                  <a:pt x="1444" y="252"/>
                  <a:pt x="1444" y="252"/>
                  <a:pt x="1445" y="251"/>
                </a:cubicBezTo>
                <a:cubicBezTo>
                  <a:pt x="1445" y="251"/>
                  <a:pt x="1445" y="251"/>
                  <a:pt x="1446" y="251"/>
                </a:cubicBezTo>
                <a:cubicBezTo>
                  <a:pt x="1446" y="251"/>
                  <a:pt x="1446" y="251"/>
                  <a:pt x="1447" y="251"/>
                </a:cubicBezTo>
                <a:cubicBezTo>
                  <a:pt x="1447" y="251"/>
                  <a:pt x="1447" y="251"/>
                  <a:pt x="1448" y="251"/>
                </a:cubicBezTo>
                <a:cubicBezTo>
                  <a:pt x="1448" y="251"/>
                  <a:pt x="1448" y="251"/>
                  <a:pt x="1450" y="252"/>
                </a:cubicBezTo>
                <a:cubicBezTo>
                  <a:pt x="1450" y="252"/>
                  <a:pt x="1450" y="252"/>
                  <a:pt x="1451" y="252"/>
                </a:cubicBezTo>
                <a:cubicBezTo>
                  <a:pt x="1451" y="252"/>
                  <a:pt x="1451" y="252"/>
                  <a:pt x="1452" y="252"/>
                </a:cubicBezTo>
                <a:cubicBezTo>
                  <a:pt x="1452" y="252"/>
                  <a:pt x="1452" y="252"/>
                  <a:pt x="1453" y="253"/>
                </a:cubicBezTo>
                <a:cubicBezTo>
                  <a:pt x="1453" y="253"/>
                  <a:pt x="1453" y="253"/>
                  <a:pt x="1452" y="253"/>
                </a:cubicBezTo>
                <a:cubicBezTo>
                  <a:pt x="1452" y="253"/>
                  <a:pt x="1452" y="253"/>
                  <a:pt x="1453" y="254"/>
                </a:cubicBezTo>
                <a:cubicBezTo>
                  <a:pt x="1453" y="254"/>
                  <a:pt x="1453" y="254"/>
                  <a:pt x="1453" y="255"/>
                </a:cubicBezTo>
                <a:cubicBezTo>
                  <a:pt x="1453" y="255"/>
                  <a:pt x="1453" y="255"/>
                  <a:pt x="1455" y="255"/>
                </a:cubicBezTo>
                <a:cubicBezTo>
                  <a:pt x="1455" y="255"/>
                  <a:pt x="1455" y="255"/>
                  <a:pt x="1456" y="255"/>
                </a:cubicBezTo>
                <a:cubicBezTo>
                  <a:pt x="1456" y="255"/>
                  <a:pt x="1456" y="255"/>
                  <a:pt x="1455" y="254"/>
                </a:cubicBezTo>
                <a:cubicBezTo>
                  <a:pt x="1455" y="254"/>
                  <a:pt x="1455" y="254"/>
                  <a:pt x="1454" y="254"/>
                </a:cubicBezTo>
                <a:cubicBezTo>
                  <a:pt x="1454" y="254"/>
                  <a:pt x="1454" y="254"/>
                  <a:pt x="1455" y="253"/>
                </a:cubicBezTo>
                <a:cubicBezTo>
                  <a:pt x="1455" y="253"/>
                  <a:pt x="1455" y="253"/>
                  <a:pt x="1454" y="252"/>
                </a:cubicBezTo>
                <a:cubicBezTo>
                  <a:pt x="1454" y="252"/>
                  <a:pt x="1454" y="252"/>
                  <a:pt x="1454" y="251"/>
                </a:cubicBezTo>
                <a:cubicBezTo>
                  <a:pt x="1454" y="251"/>
                  <a:pt x="1454" y="251"/>
                  <a:pt x="1455" y="251"/>
                </a:cubicBezTo>
                <a:cubicBezTo>
                  <a:pt x="1455" y="251"/>
                  <a:pt x="1455" y="251"/>
                  <a:pt x="1455" y="250"/>
                </a:cubicBezTo>
                <a:cubicBezTo>
                  <a:pt x="1455" y="250"/>
                  <a:pt x="1455" y="250"/>
                  <a:pt x="1456" y="249"/>
                </a:cubicBezTo>
                <a:cubicBezTo>
                  <a:pt x="1456" y="249"/>
                  <a:pt x="1456" y="249"/>
                  <a:pt x="1456" y="248"/>
                </a:cubicBezTo>
                <a:cubicBezTo>
                  <a:pt x="1456" y="248"/>
                  <a:pt x="1456" y="248"/>
                  <a:pt x="1457" y="248"/>
                </a:cubicBezTo>
                <a:cubicBezTo>
                  <a:pt x="1457" y="248"/>
                  <a:pt x="1457" y="248"/>
                  <a:pt x="1458" y="249"/>
                </a:cubicBezTo>
                <a:cubicBezTo>
                  <a:pt x="1458" y="249"/>
                  <a:pt x="1458" y="249"/>
                  <a:pt x="1458" y="248"/>
                </a:cubicBezTo>
                <a:cubicBezTo>
                  <a:pt x="1458" y="248"/>
                  <a:pt x="1458" y="248"/>
                  <a:pt x="1458" y="247"/>
                </a:cubicBezTo>
                <a:cubicBezTo>
                  <a:pt x="1458" y="247"/>
                  <a:pt x="1458" y="247"/>
                  <a:pt x="1459" y="247"/>
                </a:cubicBezTo>
                <a:cubicBezTo>
                  <a:pt x="1459" y="247"/>
                  <a:pt x="1459" y="247"/>
                  <a:pt x="1460" y="247"/>
                </a:cubicBezTo>
                <a:cubicBezTo>
                  <a:pt x="1460" y="247"/>
                  <a:pt x="1460" y="247"/>
                  <a:pt x="1460" y="246"/>
                </a:cubicBezTo>
                <a:cubicBezTo>
                  <a:pt x="1460" y="246"/>
                  <a:pt x="1460" y="246"/>
                  <a:pt x="1458" y="245"/>
                </a:cubicBezTo>
                <a:cubicBezTo>
                  <a:pt x="1458" y="245"/>
                  <a:pt x="1458" y="245"/>
                  <a:pt x="1458" y="244"/>
                </a:cubicBezTo>
                <a:cubicBezTo>
                  <a:pt x="1458" y="244"/>
                  <a:pt x="1458" y="244"/>
                  <a:pt x="1459" y="244"/>
                </a:cubicBezTo>
                <a:cubicBezTo>
                  <a:pt x="1459" y="244"/>
                  <a:pt x="1459" y="244"/>
                  <a:pt x="1460" y="245"/>
                </a:cubicBezTo>
                <a:cubicBezTo>
                  <a:pt x="1460" y="245"/>
                  <a:pt x="1460" y="245"/>
                  <a:pt x="1460" y="244"/>
                </a:cubicBezTo>
                <a:cubicBezTo>
                  <a:pt x="1460" y="244"/>
                  <a:pt x="1460" y="244"/>
                  <a:pt x="1460" y="243"/>
                </a:cubicBezTo>
                <a:cubicBezTo>
                  <a:pt x="1460" y="243"/>
                  <a:pt x="1460" y="243"/>
                  <a:pt x="1461" y="242"/>
                </a:cubicBezTo>
                <a:cubicBezTo>
                  <a:pt x="1461" y="242"/>
                  <a:pt x="1461" y="242"/>
                  <a:pt x="1462" y="242"/>
                </a:cubicBezTo>
                <a:cubicBezTo>
                  <a:pt x="1462" y="242"/>
                  <a:pt x="1462" y="242"/>
                  <a:pt x="1462" y="243"/>
                </a:cubicBezTo>
                <a:cubicBezTo>
                  <a:pt x="1462" y="243"/>
                  <a:pt x="1462" y="243"/>
                  <a:pt x="1463" y="244"/>
                </a:cubicBezTo>
                <a:cubicBezTo>
                  <a:pt x="1463" y="244"/>
                  <a:pt x="1463" y="244"/>
                  <a:pt x="1463" y="243"/>
                </a:cubicBezTo>
                <a:cubicBezTo>
                  <a:pt x="1463" y="243"/>
                  <a:pt x="1463" y="243"/>
                  <a:pt x="1463" y="242"/>
                </a:cubicBezTo>
                <a:cubicBezTo>
                  <a:pt x="1463" y="242"/>
                  <a:pt x="1463" y="242"/>
                  <a:pt x="1464" y="242"/>
                </a:cubicBezTo>
                <a:cubicBezTo>
                  <a:pt x="1464" y="242"/>
                  <a:pt x="1464" y="242"/>
                  <a:pt x="1465" y="243"/>
                </a:cubicBezTo>
                <a:cubicBezTo>
                  <a:pt x="1465" y="243"/>
                  <a:pt x="1465" y="243"/>
                  <a:pt x="1466" y="243"/>
                </a:cubicBezTo>
                <a:cubicBezTo>
                  <a:pt x="1466" y="243"/>
                  <a:pt x="1466" y="243"/>
                  <a:pt x="1466" y="244"/>
                </a:cubicBezTo>
                <a:cubicBezTo>
                  <a:pt x="1466" y="244"/>
                  <a:pt x="1466" y="244"/>
                  <a:pt x="1465" y="244"/>
                </a:cubicBezTo>
                <a:cubicBezTo>
                  <a:pt x="1465" y="244"/>
                  <a:pt x="1465" y="244"/>
                  <a:pt x="1465" y="245"/>
                </a:cubicBezTo>
                <a:cubicBezTo>
                  <a:pt x="1465" y="245"/>
                  <a:pt x="1465" y="245"/>
                  <a:pt x="1463" y="247"/>
                </a:cubicBezTo>
                <a:cubicBezTo>
                  <a:pt x="1463" y="247"/>
                  <a:pt x="1463" y="247"/>
                  <a:pt x="1464" y="249"/>
                </a:cubicBezTo>
                <a:cubicBezTo>
                  <a:pt x="1464" y="249"/>
                  <a:pt x="1464" y="249"/>
                  <a:pt x="1463" y="249"/>
                </a:cubicBezTo>
                <a:cubicBezTo>
                  <a:pt x="1463" y="249"/>
                  <a:pt x="1463" y="249"/>
                  <a:pt x="1464" y="250"/>
                </a:cubicBezTo>
                <a:cubicBezTo>
                  <a:pt x="1464" y="250"/>
                  <a:pt x="1464" y="250"/>
                  <a:pt x="1462" y="252"/>
                </a:cubicBezTo>
                <a:cubicBezTo>
                  <a:pt x="1462" y="252"/>
                  <a:pt x="1462" y="252"/>
                  <a:pt x="1463" y="253"/>
                </a:cubicBezTo>
                <a:cubicBezTo>
                  <a:pt x="1463" y="253"/>
                  <a:pt x="1463" y="253"/>
                  <a:pt x="1463" y="254"/>
                </a:cubicBezTo>
                <a:cubicBezTo>
                  <a:pt x="1463" y="254"/>
                  <a:pt x="1463" y="254"/>
                  <a:pt x="1464" y="254"/>
                </a:cubicBezTo>
                <a:cubicBezTo>
                  <a:pt x="1464" y="254"/>
                  <a:pt x="1464" y="254"/>
                  <a:pt x="1465" y="252"/>
                </a:cubicBezTo>
                <a:cubicBezTo>
                  <a:pt x="1465" y="252"/>
                  <a:pt x="1465" y="252"/>
                  <a:pt x="1465" y="251"/>
                </a:cubicBezTo>
                <a:cubicBezTo>
                  <a:pt x="1465" y="251"/>
                  <a:pt x="1465" y="251"/>
                  <a:pt x="1465" y="250"/>
                </a:cubicBezTo>
                <a:cubicBezTo>
                  <a:pt x="1465" y="250"/>
                  <a:pt x="1465" y="250"/>
                  <a:pt x="1466" y="248"/>
                </a:cubicBezTo>
                <a:cubicBezTo>
                  <a:pt x="1466" y="248"/>
                  <a:pt x="1466" y="248"/>
                  <a:pt x="1467" y="246"/>
                </a:cubicBezTo>
                <a:cubicBezTo>
                  <a:pt x="1467" y="246"/>
                  <a:pt x="1467" y="246"/>
                  <a:pt x="1467" y="245"/>
                </a:cubicBezTo>
                <a:cubicBezTo>
                  <a:pt x="1467" y="245"/>
                  <a:pt x="1467" y="245"/>
                  <a:pt x="1469" y="242"/>
                </a:cubicBezTo>
                <a:cubicBezTo>
                  <a:pt x="1469" y="242"/>
                  <a:pt x="1469" y="242"/>
                  <a:pt x="1470" y="243"/>
                </a:cubicBezTo>
                <a:cubicBezTo>
                  <a:pt x="1470" y="243"/>
                  <a:pt x="1470" y="243"/>
                  <a:pt x="1470" y="245"/>
                </a:cubicBezTo>
                <a:cubicBezTo>
                  <a:pt x="1470" y="245"/>
                  <a:pt x="1470" y="245"/>
                  <a:pt x="1469" y="245"/>
                </a:cubicBezTo>
                <a:cubicBezTo>
                  <a:pt x="1469" y="245"/>
                  <a:pt x="1469" y="245"/>
                  <a:pt x="1469" y="246"/>
                </a:cubicBezTo>
                <a:cubicBezTo>
                  <a:pt x="1469" y="246"/>
                  <a:pt x="1469" y="246"/>
                  <a:pt x="1470" y="246"/>
                </a:cubicBezTo>
                <a:cubicBezTo>
                  <a:pt x="1470" y="246"/>
                  <a:pt x="1470" y="246"/>
                  <a:pt x="1469" y="248"/>
                </a:cubicBezTo>
                <a:cubicBezTo>
                  <a:pt x="1469" y="248"/>
                  <a:pt x="1469" y="248"/>
                  <a:pt x="1469" y="250"/>
                </a:cubicBezTo>
                <a:cubicBezTo>
                  <a:pt x="1469" y="250"/>
                  <a:pt x="1469" y="250"/>
                  <a:pt x="1470" y="249"/>
                </a:cubicBezTo>
                <a:cubicBezTo>
                  <a:pt x="1470" y="249"/>
                  <a:pt x="1470" y="249"/>
                  <a:pt x="1471" y="248"/>
                </a:cubicBezTo>
                <a:cubicBezTo>
                  <a:pt x="1471" y="248"/>
                  <a:pt x="1471" y="248"/>
                  <a:pt x="1471" y="249"/>
                </a:cubicBezTo>
                <a:cubicBezTo>
                  <a:pt x="1471" y="249"/>
                  <a:pt x="1471" y="249"/>
                  <a:pt x="1472" y="248"/>
                </a:cubicBezTo>
                <a:cubicBezTo>
                  <a:pt x="1472" y="248"/>
                  <a:pt x="1472" y="248"/>
                  <a:pt x="1471" y="247"/>
                </a:cubicBezTo>
                <a:cubicBezTo>
                  <a:pt x="1471" y="247"/>
                  <a:pt x="1471" y="247"/>
                  <a:pt x="1472" y="247"/>
                </a:cubicBezTo>
                <a:cubicBezTo>
                  <a:pt x="1472" y="247"/>
                  <a:pt x="1472" y="247"/>
                  <a:pt x="1472" y="246"/>
                </a:cubicBezTo>
                <a:cubicBezTo>
                  <a:pt x="1472" y="246"/>
                  <a:pt x="1472" y="246"/>
                  <a:pt x="1472" y="245"/>
                </a:cubicBezTo>
                <a:cubicBezTo>
                  <a:pt x="1472" y="245"/>
                  <a:pt x="1472" y="245"/>
                  <a:pt x="1473" y="245"/>
                </a:cubicBezTo>
                <a:cubicBezTo>
                  <a:pt x="1473" y="245"/>
                  <a:pt x="1473" y="245"/>
                  <a:pt x="1473" y="244"/>
                </a:cubicBezTo>
                <a:cubicBezTo>
                  <a:pt x="1473" y="244"/>
                  <a:pt x="1473" y="244"/>
                  <a:pt x="1473" y="243"/>
                </a:cubicBezTo>
                <a:cubicBezTo>
                  <a:pt x="1473" y="243"/>
                  <a:pt x="1473" y="243"/>
                  <a:pt x="1472" y="243"/>
                </a:cubicBezTo>
                <a:cubicBezTo>
                  <a:pt x="1472" y="243"/>
                  <a:pt x="1472" y="243"/>
                  <a:pt x="1472" y="242"/>
                </a:cubicBezTo>
                <a:cubicBezTo>
                  <a:pt x="1472" y="242"/>
                  <a:pt x="1472" y="242"/>
                  <a:pt x="1472" y="241"/>
                </a:cubicBezTo>
                <a:cubicBezTo>
                  <a:pt x="1472" y="241"/>
                  <a:pt x="1472" y="241"/>
                  <a:pt x="1473" y="241"/>
                </a:cubicBezTo>
                <a:cubicBezTo>
                  <a:pt x="1473" y="241"/>
                  <a:pt x="1473" y="241"/>
                  <a:pt x="1474" y="242"/>
                </a:cubicBezTo>
                <a:cubicBezTo>
                  <a:pt x="1474" y="242"/>
                  <a:pt x="1474" y="242"/>
                  <a:pt x="1475" y="241"/>
                </a:cubicBezTo>
                <a:cubicBezTo>
                  <a:pt x="1475" y="241"/>
                  <a:pt x="1475" y="241"/>
                  <a:pt x="1474" y="240"/>
                </a:cubicBezTo>
                <a:cubicBezTo>
                  <a:pt x="1474" y="240"/>
                  <a:pt x="1474" y="240"/>
                  <a:pt x="1475" y="239"/>
                </a:cubicBezTo>
                <a:cubicBezTo>
                  <a:pt x="1475" y="239"/>
                  <a:pt x="1475" y="239"/>
                  <a:pt x="1476" y="240"/>
                </a:cubicBezTo>
                <a:cubicBezTo>
                  <a:pt x="1476" y="240"/>
                  <a:pt x="1476" y="240"/>
                  <a:pt x="1477" y="239"/>
                </a:cubicBezTo>
                <a:cubicBezTo>
                  <a:pt x="1477" y="239"/>
                  <a:pt x="1477" y="239"/>
                  <a:pt x="1477" y="240"/>
                </a:cubicBezTo>
                <a:cubicBezTo>
                  <a:pt x="1477" y="240"/>
                  <a:pt x="1477" y="240"/>
                  <a:pt x="1477" y="241"/>
                </a:cubicBezTo>
                <a:cubicBezTo>
                  <a:pt x="1477" y="241"/>
                  <a:pt x="1477" y="241"/>
                  <a:pt x="1478" y="241"/>
                </a:cubicBezTo>
                <a:cubicBezTo>
                  <a:pt x="1478" y="241"/>
                  <a:pt x="1478" y="241"/>
                  <a:pt x="1479" y="241"/>
                </a:cubicBezTo>
                <a:cubicBezTo>
                  <a:pt x="1479" y="241"/>
                  <a:pt x="1479" y="241"/>
                  <a:pt x="1478" y="243"/>
                </a:cubicBezTo>
                <a:cubicBezTo>
                  <a:pt x="1478" y="243"/>
                  <a:pt x="1478" y="243"/>
                  <a:pt x="1477" y="243"/>
                </a:cubicBezTo>
                <a:cubicBezTo>
                  <a:pt x="1477" y="243"/>
                  <a:pt x="1477" y="243"/>
                  <a:pt x="1476" y="243"/>
                </a:cubicBezTo>
                <a:cubicBezTo>
                  <a:pt x="1476" y="243"/>
                  <a:pt x="1476" y="243"/>
                  <a:pt x="1476" y="244"/>
                </a:cubicBezTo>
                <a:cubicBezTo>
                  <a:pt x="1476" y="244"/>
                  <a:pt x="1476" y="244"/>
                  <a:pt x="1477" y="244"/>
                </a:cubicBezTo>
                <a:cubicBezTo>
                  <a:pt x="1477" y="244"/>
                  <a:pt x="1477" y="244"/>
                  <a:pt x="1477" y="245"/>
                </a:cubicBezTo>
                <a:cubicBezTo>
                  <a:pt x="1477" y="245"/>
                  <a:pt x="1477" y="245"/>
                  <a:pt x="1476" y="245"/>
                </a:cubicBezTo>
                <a:cubicBezTo>
                  <a:pt x="1476" y="245"/>
                  <a:pt x="1476" y="245"/>
                  <a:pt x="1476" y="246"/>
                </a:cubicBezTo>
                <a:cubicBezTo>
                  <a:pt x="1476" y="246"/>
                  <a:pt x="1476" y="246"/>
                  <a:pt x="1477" y="246"/>
                </a:cubicBezTo>
                <a:cubicBezTo>
                  <a:pt x="1477" y="246"/>
                  <a:pt x="1477" y="246"/>
                  <a:pt x="1478" y="245"/>
                </a:cubicBezTo>
                <a:cubicBezTo>
                  <a:pt x="1478" y="245"/>
                  <a:pt x="1478" y="245"/>
                  <a:pt x="1478" y="246"/>
                </a:cubicBezTo>
                <a:cubicBezTo>
                  <a:pt x="1478" y="246"/>
                  <a:pt x="1478" y="246"/>
                  <a:pt x="1478" y="247"/>
                </a:cubicBezTo>
                <a:cubicBezTo>
                  <a:pt x="1478" y="247"/>
                  <a:pt x="1478" y="247"/>
                  <a:pt x="1477" y="247"/>
                </a:cubicBezTo>
                <a:cubicBezTo>
                  <a:pt x="1477" y="247"/>
                  <a:pt x="1477" y="247"/>
                  <a:pt x="1476" y="249"/>
                </a:cubicBezTo>
                <a:cubicBezTo>
                  <a:pt x="1476" y="249"/>
                  <a:pt x="1476" y="249"/>
                  <a:pt x="1477" y="248"/>
                </a:cubicBezTo>
                <a:cubicBezTo>
                  <a:pt x="1477" y="248"/>
                  <a:pt x="1477" y="248"/>
                  <a:pt x="1478" y="248"/>
                </a:cubicBezTo>
                <a:cubicBezTo>
                  <a:pt x="1478" y="248"/>
                  <a:pt x="1478" y="248"/>
                  <a:pt x="1479" y="248"/>
                </a:cubicBezTo>
                <a:cubicBezTo>
                  <a:pt x="1479" y="248"/>
                  <a:pt x="1479" y="248"/>
                  <a:pt x="1480" y="249"/>
                </a:cubicBezTo>
                <a:cubicBezTo>
                  <a:pt x="1480" y="249"/>
                  <a:pt x="1480" y="249"/>
                  <a:pt x="1480" y="248"/>
                </a:cubicBezTo>
                <a:cubicBezTo>
                  <a:pt x="1480" y="248"/>
                  <a:pt x="1480" y="248"/>
                  <a:pt x="1481" y="248"/>
                </a:cubicBezTo>
                <a:cubicBezTo>
                  <a:pt x="1481" y="248"/>
                  <a:pt x="1481" y="248"/>
                  <a:pt x="1480" y="246"/>
                </a:cubicBezTo>
                <a:cubicBezTo>
                  <a:pt x="1480" y="246"/>
                  <a:pt x="1480" y="246"/>
                  <a:pt x="1480" y="245"/>
                </a:cubicBezTo>
                <a:cubicBezTo>
                  <a:pt x="1480" y="245"/>
                  <a:pt x="1480" y="245"/>
                  <a:pt x="1481" y="245"/>
                </a:cubicBezTo>
                <a:cubicBezTo>
                  <a:pt x="1481" y="245"/>
                  <a:pt x="1481" y="245"/>
                  <a:pt x="1481" y="243"/>
                </a:cubicBezTo>
                <a:cubicBezTo>
                  <a:pt x="1481" y="243"/>
                  <a:pt x="1481" y="243"/>
                  <a:pt x="1482" y="243"/>
                </a:cubicBezTo>
                <a:cubicBezTo>
                  <a:pt x="1482" y="243"/>
                  <a:pt x="1482" y="243"/>
                  <a:pt x="1483" y="243"/>
                </a:cubicBezTo>
                <a:cubicBezTo>
                  <a:pt x="1483" y="243"/>
                  <a:pt x="1483" y="243"/>
                  <a:pt x="1484" y="243"/>
                </a:cubicBezTo>
                <a:cubicBezTo>
                  <a:pt x="1484" y="243"/>
                  <a:pt x="1484" y="243"/>
                  <a:pt x="1484" y="244"/>
                </a:cubicBezTo>
                <a:cubicBezTo>
                  <a:pt x="1484" y="244"/>
                  <a:pt x="1484" y="244"/>
                  <a:pt x="1483" y="245"/>
                </a:cubicBezTo>
                <a:cubicBezTo>
                  <a:pt x="1483" y="245"/>
                  <a:pt x="1483" y="245"/>
                  <a:pt x="1484" y="245"/>
                </a:cubicBezTo>
                <a:cubicBezTo>
                  <a:pt x="1484" y="245"/>
                  <a:pt x="1484" y="245"/>
                  <a:pt x="1485" y="245"/>
                </a:cubicBezTo>
                <a:cubicBezTo>
                  <a:pt x="1485" y="245"/>
                  <a:pt x="1485" y="245"/>
                  <a:pt x="1485" y="246"/>
                </a:cubicBezTo>
                <a:cubicBezTo>
                  <a:pt x="1485" y="246"/>
                  <a:pt x="1485" y="246"/>
                  <a:pt x="1486" y="244"/>
                </a:cubicBezTo>
                <a:cubicBezTo>
                  <a:pt x="1486" y="244"/>
                  <a:pt x="1486" y="244"/>
                  <a:pt x="1487" y="244"/>
                </a:cubicBezTo>
                <a:cubicBezTo>
                  <a:pt x="1487" y="244"/>
                  <a:pt x="1487" y="244"/>
                  <a:pt x="1488" y="245"/>
                </a:cubicBezTo>
                <a:cubicBezTo>
                  <a:pt x="1488" y="245"/>
                  <a:pt x="1488" y="245"/>
                  <a:pt x="1488" y="246"/>
                </a:cubicBezTo>
                <a:cubicBezTo>
                  <a:pt x="1488" y="246"/>
                  <a:pt x="1488" y="246"/>
                  <a:pt x="1487" y="246"/>
                </a:cubicBezTo>
                <a:cubicBezTo>
                  <a:pt x="1487" y="246"/>
                  <a:pt x="1487" y="246"/>
                  <a:pt x="1488" y="247"/>
                </a:cubicBezTo>
                <a:cubicBezTo>
                  <a:pt x="1488" y="247"/>
                  <a:pt x="1488" y="247"/>
                  <a:pt x="1489" y="246"/>
                </a:cubicBezTo>
                <a:cubicBezTo>
                  <a:pt x="1489" y="246"/>
                  <a:pt x="1489" y="246"/>
                  <a:pt x="1490" y="246"/>
                </a:cubicBezTo>
                <a:cubicBezTo>
                  <a:pt x="1490" y="246"/>
                  <a:pt x="1490" y="246"/>
                  <a:pt x="1492" y="247"/>
                </a:cubicBezTo>
                <a:cubicBezTo>
                  <a:pt x="1492" y="247"/>
                  <a:pt x="1492" y="247"/>
                  <a:pt x="1493" y="247"/>
                </a:cubicBezTo>
                <a:cubicBezTo>
                  <a:pt x="1493" y="247"/>
                  <a:pt x="1493" y="247"/>
                  <a:pt x="1494" y="248"/>
                </a:cubicBezTo>
                <a:cubicBezTo>
                  <a:pt x="1494" y="248"/>
                  <a:pt x="1494" y="248"/>
                  <a:pt x="1493" y="249"/>
                </a:cubicBezTo>
                <a:cubicBezTo>
                  <a:pt x="1493" y="249"/>
                  <a:pt x="1493" y="249"/>
                  <a:pt x="1491" y="250"/>
                </a:cubicBezTo>
                <a:cubicBezTo>
                  <a:pt x="1491" y="250"/>
                  <a:pt x="1491" y="250"/>
                  <a:pt x="1490" y="252"/>
                </a:cubicBezTo>
                <a:cubicBezTo>
                  <a:pt x="1490" y="252"/>
                  <a:pt x="1490" y="252"/>
                  <a:pt x="1488" y="253"/>
                </a:cubicBezTo>
                <a:cubicBezTo>
                  <a:pt x="1488" y="253"/>
                  <a:pt x="1488" y="253"/>
                  <a:pt x="1486" y="252"/>
                </a:cubicBezTo>
                <a:cubicBezTo>
                  <a:pt x="1486" y="252"/>
                  <a:pt x="1486" y="252"/>
                  <a:pt x="1485" y="252"/>
                </a:cubicBezTo>
                <a:cubicBezTo>
                  <a:pt x="1485" y="252"/>
                  <a:pt x="1485" y="252"/>
                  <a:pt x="1483" y="252"/>
                </a:cubicBezTo>
                <a:cubicBezTo>
                  <a:pt x="1483" y="252"/>
                  <a:pt x="1483" y="252"/>
                  <a:pt x="1481" y="252"/>
                </a:cubicBezTo>
                <a:cubicBezTo>
                  <a:pt x="1481" y="252"/>
                  <a:pt x="1481" y="252"/>
                  <a:pt x="1482" y="253"/>
                </a:cubicBezTo>
                <a:cubicBezTo>
                  <a:pt x="1482" y="253"/>
                  <a:pt x="1482" y="253"/>
                  <a:pt x="1483" y="253"/>
                </a:cubicBezTo>
                <a:cubicBezTo>
                  <a:pt x="1483" y="253"/>
                  <a:pt x="1483" y="253"/>
                  <a:pt x="1484" y="253"/>
                </a:cubicBezTo>
                <a:cubicBezTo>
                  <a:pt x="1484" y="253"/>
                  <a:pt x="1484" y="253"/>
                  <a:pt x="1485" y="253"/>
                </a:cubicBezTo>
                <a:cubicBezTo>
                  <a:pt x="1485" y="253"/>
                  <a:pt x="1485" y="253"/>
                  <a:pt x="1486" y="254"/>
                </a:cubicBezTo>
                <a:cubicBezTo>
                  <a:pt x="1486" y="254"/>
                  <a:pt x="1486" y="254"/>
                  <a:pt x="1486" y="255"/>
                </a:cubicBezTo>
                <a:cubicBezTo>
                  <a:pt x="1486" y="255"/>
                  <a:pt x="1486" y="255"/>
                  <a:pt x="1487" y="255"/>
                </a:cubicBezTo>
                <a:cubicBezTo>
                  <a:pt x="1487" y="255"/>
                  <a:pt x="1487" y="255"/>
                  <a:pt x="1487" y="256"/>
                </a:cubicBezTo>
                <a:cubicBezTo>
                  <a:pt x="1487" y="256"/>
                  <a:pt x="1487" y="256"/>
                  <a:pt x="1487" y="257"/>
                </a:cubicBezTo>
                <a:cubicBezTo>
                  <a:pt x="1487" y="257"/>
                  <a:pt x="1487" y="257"/>
                  <a:pt x="1488" y="256"/>
                </a:cubicBezTo>
                <a:cubicBezTo>
                  <a:pt x="1488" y="256"/>
                  <a:pt x="1488" y="256"/>
                  <a:pt x="1489" y="257"/>
                </a:cubicBezTo>
                <a:cubicBezTo>
                  <a:pt x="1489" y="257"/>
                  <a:pt x="1489" y="257"/>
                  <a:pt x="1490" y="256"/>
                </a:cubicBezTo>
                <a:cubicBezTo>
                  <a:pt x="1490" y="256"/>
                  <a:pt x="1490" y="256"/>
                  <a:pt x="1491" y="256"/>
                </a:cubicBezTo>
                <a:cubicBezTo>
                  <a:pt x="1491" y="256"/>
                  <a:pt x="1491" y="256"/>
                  <a:pt x="1491" y="255"/>
                </a:cubicBezTo>
                <a:cubicBezTo>
                  <a:pt x="1491" y="255"/>
                  <a:pt x="1491" y="255"/>
                  <a:pt x="1492" y="255"/>
                </a:cubicBezTo>
                <a:cubicBezTo>
                  <a:pt x="1492" y="255"/>
                  <a:pt x="1492" y="255"/>
                  <a:pt x="1493" y="256"/>
                </a:cubicBezTo>
                <a:cubicBezTo>
                  <a:pt x="1494" y="256"/>
                  <a:pt x="1494" y="256"/>
                  <a:pt x="1494" y="256"/>
                </a:cubicBezTo>
                <a:cubicBezTo>
                  <a:pt x="1495" y="257"/>
                  <a:pt x="1495" y="257"/>
                  <a:pt x="1495" y="257"/>
                </a:cubicBezTo>
                <a:cubicBezTo>
                  <a:pt x="1495" y="258"/>
                  <a:pt x="1495" y="258"/>
                  <a:pt x="1495" y="258"/>
                </a:cubicBezTo>
                <a:cubicBezTo>
                  <a:pt x="1496" y="259"/>
                  <a:pt x="1496" y="259"/>
                  <a:pt x="1496" y="259"/>
                </a:cubicBezTo>
                <a:cubicBezTo>
                  <a:pt x="1496" y="257"/>
                  <a:pt x="1496" y="257"/>
                  <a:pt x="1496" y="257"/>
                </a:cubicBezTo>
                <a:cubicBezTo>
                  <a:pt x="1496" y="256"/>
                  <a:pt x="1496" y="256"/>
                  <a:pt x="1496" y="256"/>
                </a:cubicBezTo>
                <a:cubicBezTo>
                  <a:pt x="1497" y="256"/>
                  <a:pt x="1497" y="256"/>
                  <a:pt x="1497" y="256"/>
                </a:cubicBezTo>
                <a:cubicBezTo>
                  <a:pt x="1498" y="256"/>
                  <a:pt x="1498" y="256"/>
                  <a:pt x="1498" y="256"/>
                </a:cubicBezTo>
                <a:cubicBezTo>
                  <a:pt x="1496" y="255"/>
                  <a:pt x="1496" y="255"/>
                  <a:pt x="1496" y="255"/>
                </a:cubicBezTo>
                <a:cubicBezTo>
                  <a:pt x="1497" y="255"/>
                  <a:pt x="1497" y="255"/>
                  <a:pt x="1497" y="255"/>
                </a:cubicBezTo>
                <a:cubicBezTo>
                  <a:pt x="1498" y="255"/>
                  <a:pt x="1498" y="255"/>
                  <a:pt x="1498" y="255"/>
                </a:cubicBezTo>
                <a:cubicBezTo>
                  <a:pt x="1498" y="254"/>
                  <a:pt x="1498" y="254"/>
                  <a:pt x="1498" y="254"/>
                </a:cubicBezTo>
                <a:cubicBezTo>
                  <a:pt x="1497" y="254"/>
                  <a:pt x="1497" y="254"/>
                  <a:pt x="1497" y="254"/>
                </a:cubicBezTo>
                <a:cubicBezTo>
                  <a:pt x="1497" y="253"/>
                  <a:pt x="1497" y="253"/>
                  <a:pt x="1497" y="253"/>
                </a:cubicBezTo>
                <a:cubicBezTo>
                  <a:pt x="1499" y="253"/>
                  <a:pt x="1499" y="253"/>
                  <a:pt x="1499" y="253"/>
                </a:cubicBezTo>
                <a:cubicBezTo>
                  <a:pt x="1500" y="254"/>
                  <a:pt x="1500" y="254"/>
                  <a:pt x="1500" y="254"/>
                </a:cubicBezTo>
                <a:cubicBezTo>
                  <a:pt x="1501" y="255"/>
                  <a:pt x="1501" y="255"/>
                  <a:pt x="1501" y="255"/>
                </a:cubicBezTo>
                <a:cubicBezTo>
                  <a:pt x="1502" y="255"/>
                  <a:pt x="1502" y="255"/>
                  <a:pt x="1502" y="255"/>
                </a:cubicBezTo>
                <a:cubicBezTo>
                  <a:pt x="1503" y="255"/>
                  <a:pt x="1503" y="255"/>
                  <a:pt x="1503" y="255"/>
                </a:cubicBezTo>
                <a:cubicBezTo>
                  <a:pt x="1503" y="256"/>
                  <a:pt x="1503" y="256"/>
                  <a:pt x="1503" y="256"/>
                </a:cubicBezTo>
                <a:cubicBezTo>
                  <a:pt x="1504" y="256"/>
                  <a:pt x="1504" y="256"/>
                  <a:pt x="1504" y="256"/>
                </a:cubicBezTo>
                <a:cubicBezTo>
                  <a:pt x="1504" y="257"/>
                  <a:pt x="1504" y="257"/>
                  <a:pt x="1504" y="257"/>
                </a:cubicBezTo>
                <a:cubicBezTo>
                  <a:pt x="1503" y="258"/>
                  <a:pt x="1503" y="258"/>
                  <a:pt x="1503" y="258"/>
                </a:cubicBezTo>
                <a:cubicBezTo>
                  <a:pt x="1502" y="257"/>
                  <a:pt x="1502" y="257"/>
                  <a:pt x="1502" y="257"/>
                </a:cubicBezTo>
                <a:cubicBezTo>
                  <a:pt x="1500" y="258"/>
                  <a:pt x="1500" y="258"/>
                  <a:pt x="1500" y="258"/>
                </a:cubicBezTo>
                <a:cubicBezTo>
                  <a:pt x="1499" y="257"/>
                  <a:pt x="1499" y="257"/>
                  <a:pt x="1499" y="257"/>
                </a:cubicBezTo>
                <a:cubicBezTo>
                  <a:pt x="1499" y="258"/>
                  <a:pt x="1499" y="258"/>
                  <a:pt x="1499" y="258"/>
                </a:cubicBezTo>
                <a:cubicBezTo>
                  <a:pt x="1499" y="259"/>
                  <a:pt x="1499" y="259"/>
                  <a:pt x="1499" y="259"/>
                </a:cubicBezTo>
                <a:cubicBezTo>
                  <a:pt x="1500" y="258"/>
                  <a:pt x="1500" y="258"/>
                  <a:pt x="1500" y="258"/>
                </a:cubicBezTo>
                <a:cubicBezTo>
                  <a:pt x="1500" y="259"/>
                  <a:pt x="1500" y="259"/>
                  <a:pt x="1500" y="259"/>
                </a:cubicBezTo>
                <a:cubicBezTo>
                  <a:pt x="1501" y="260"/>
                  <a:pt x="1501" y="260"/>
                  <a:pt x="1501" y="260"/>
                </a:cubicBezTo>
                <a:cubicBezTo>
                  <a:pt x="1502" y="259"/>
                  <a:pt x="1502" y="259"/>
                  <a:pt x="1502" y="259"/>
                </a:cubicBezTo>
                <a:cubicBezTo>
                  <a:pt x="1503" y="259"/>
                  <a:pt x="1503" y="259"/>
                  <a:pt x="1503" y="259"/>
                </a:cubicBezTo>
                <a:cubicBezTo>
                  <a:pt x="1503" y="260"/>
                  <a:pt x="1503" y="260"/>
                  <a:pt x="1503" y="260"/>
                </a:cubicBezTo>
                <a:cubicBezTo>
                  <a:pt x="1504" y="259"/>
                  <a:pt x="1504" y="259"/>
                  <a:pt x="1504" y="259"/>
                </a:cubicBezTo>
                <a:cubicBezTo>
                  <a:pt x="1504" y="260"/>
                  <a:pt x="1504" y="260"/>
                  <a:pt x="1504" y="260"/>
                </a:cubicBezTo>
                <a:cubicBezTo>
                  <a:pt x="1504" y="261"/>
                  <a:pt x="1504" y="261"/>
                  <a:pt x="1504" y="261"/>
                </a:cubicBezTo>
                <a:cubicBezTo>
                  <a:pt x="1505" y="260"/>
                  <a:pt x="1505" y="260"/>
                  <a:pt x="1505" y="260"/>
                </a:cubicBezTo>
                <a:cubicBezTo>
                  <a:pt x="1505" y="259"/>
                  <a:pt x="1505" y="259"/>
                  <a:pt x="1505" y="259"/>
                </a:cubicBezTo>
                <a:cubicBezTo>
                  <a:pt x="1506" y="259"/>
                  <a:pt x="1506" y="259"/>
                  <a:pt x="1506" y="259"/>
                </a:cubicBezTo>
                <a:cubicBezTo>
                  <a:pt x="1506" y="260"/>
                  <a:pt x="1506" y="260"/>
                  <a:pt x="1506" y="260"/>
                </a:cubicBezTo>
                <a:cubicBezTo>
                  <a:pt x="1505" y="261"/>
                  <a:pt x="1505" y="261"/>
                  <a:pt x="1505" y="261"/>
                </a:cubicBezTo>
                <a:cubicBezTo>
                  <a:pt x="1506" y="261"/>
                  <a:pt x="1506" y="261"/>
                  <a:pt x="1506" y="261"/>
                </a:cubicBezTo>
                <a:cubicBezTo>
                  <a:pt x="1507" y="261"/>
                  <a:pt x="1507" y="261"/>
                  <a:pt x="1507" y="261"/>
                </a:cubicBezTo>
                <a:cubicBezTo>
                  <a:pt x="1506" y="262"/>
                  <a:pt x="1506" y="262"/>
                  <a:pt x="1506" y="262"/>
                </a:cubicBezTo>
                <a:cubicBezTo>
                  <a:pt x="1505" y="263"/>
                  <a:pt x="1505" y="263"/>
                  <a:pt x="1505" y="263"/>
                </a:cubicBezTo>
                <a:cubicBezTo>
                  <a:pt x="1507" y="263"/>
                  <a:pt x="1507" y="263"/>
                  <a:pt x="1507" y="263"/>
                </a:cubicBezTo>
                <a:cubicBezTo>
                  <a:pt x="1507" y="261"/>
                  <a:pt x="1507" y="261"/>
                  <a:pt x="1507" y="261"/>
                </a:cubicBezTo>
                <a:cubicBezTo>
                  <a:pt x="1507" y="260"/>
                  <a:pt x="1507" y="260"/>
                  <a:pt x="1507" y="260"/>
                </a:cubicBezTo>
                <a:cubicBezTo>
                  <a:pt x="1508" y="260"/>
                  <a:pt x="1508" y="260"/>
                  <a:pt x="1508" y="260"/>
                </a:cubicBezTo>
                <a:cubicBezTo>
                  <a:pt x="1509" y="260"/>
                  <a:pt x="1509" y="260"/>
                  <a:pt x="1509" y="260"/>
                </a:cubicBezTo>
                <a:cubicBezTo>
                  <a:pt x="1510" y="260"/>
                  <a:pt x="1510" y="260"/>
                  <a:pt x="1510" y="260"/>
                </a:cubicBezTo>
                <a:cubicBezTo>
                  <a:pt x="1509" y="259"/>
                  <a:pt x="1509" y="259"/>
                  <a:pt x="1509" y="259"/>
                </a:cubicBezTo>
                <a:cubicBezTo>
                  <a:pt x="1511" y="259"/>
                  <a:pt x="1511" y="259"/>
                  <a:pt x="1511" y="259"/>
                </a:cubicBezTo>
                <a:cubicBezTo>
                  <a:pt x="1511" y="260"/>
                  <a:pt x="1511" y="260"/>
                  <a:pt x="1511" y="260"/>
                </a:cubicBezTo>
                <a:cubicBezTo>
                  <a:pt x="1513" y="260"/>
                  <a:pt x="1513" y="260"/>
                  <a:pt x="1513" y="260"/>
                </a:cubicBezTo>
                <a:cubicBezTo>
                  <a:pt x="1514" y="261"/>
                  <a:pt x="1514" y="261"/>
                  <a:pt x="1514" y="261"/>
                </a:cubicBezTo>
                <a:cubicBezTo>
                  <a:pt x="1515" y="260"/>
                  <a:pt x="1515" y="260"/>
                  <a:pt x="1515" y="260"/>
                </a:cubicBezTo>
                <a:cubicBezTo>
                  <a:pt x="1517" y="260"/>
                  <a:pt x="1517" y="260"/>
                  <a:pt x="1517" y="260"/>
                </a:cubicBezTo>
                <a:cubicBezTo>
                  <a:pt x="1518" y="261"/>
                  <a:pt x="1518" y="261"/>
                  <a:pt x="1518" y="261"/>
                </a:cubicBezTo>
                <a:cubicBezTo>
                  <a:pt x="1518" y="260"/>
                  <a:pt x="1518" y="260"/>
                  <a:pt x="1518" y="260"/>
                </a:cubicBezTo>
                <a:cubicBezTo>
                  <a:pt x="1520" y="261"/>
                  <a:pt x="1520" y="261"/>
                  <a:pt x="1520" y="261"/>
                </a:cubicBezTo>
                <a:cubicBezTo>
                  <a:pt x="1526" y="264"/>
                  <a:pt x="1526" y="264"/>
                  <a:pt x="1526" y="264"/>
                </a:cubicBezTo>
                <a:cubicBezTo>
                  <a:pt x="1530" y="267"/>
                  <a:pt x="1530" y="267"/>
                  <a:pt x="1530" y="267"/>
                </a:cubicBezTo>
                <a:cubicBezTo>
                  <a:pt x="1531" y="268"/>
                  <a:pt x="1531" y="268"/>
                  <a:pt x="1531" y="268"/>
                </a:cubicBezTo>
                <a:cubicBezTo>
                  <a:pt x="1533" y="269"/>
                  <a:pt x="1533" y="269"/>
                  <a:pt x="1533" y="269"/>
                </a:cubicBezTo>
                <a:cubicBezTo>
                  <a:pt x="1534" y="271"/>
                  <a:pt x="1534" y="271"/>
                  <a:pt x="1534" y="271"/>
                </a:cubicBezTo>
                <a:cubicBezTo>
                  <a:pt x="1535" y="271"/>
                  <a:pt x="1535" y="271"/>
                  <a:pt x="1535" y="271"/>
                </a:cubicBezTo>
                <a:cubicBezTo>
                  <a:pt x="1535" y="270"/>
                  <a:pt x="1535" y="270"/>
                  <a:pt x="1535" y="270"/>
                </a:cubicBezTo>
                <a:cubicBezTo>
                  <a:pt x="1537" y="271"/>
                  <a:pt x="1537" y="271"/>
                  <a:pt x="1537" y="271"/>
                </a:cubicBezTo>
                <a:cubicBezTo>
                  <a:pt x="1538" y="271"/>
                  <a:pt x="1538" y="271"/>
                  <a:pt x="1538" y="271"/>
                </a:cubicBezTo>
                <a:cubicBezTo>
                  <a:pt x="1540" y="273"/>
                  <a:pt x="1540" y="273"/>
                  <a:pt x="1540" y="273"/>
                </a:cubicBezTo>
                <a:cubicBezTo>
                  <a:pt x="1541" y="273"/>
                  <a:pt x="1541" y="273"/>
                  <a:pt x="1541" y="273"/>
                </a:cubicBezTo>
                <a:cubicBezTo>
                  <a:pt x="1544" y="275"/>
                  <a:pt x="1544" y="275"/>
                  <a:pt x="1544" y="275"/>
                </a:cubicBezTo>
                <a:cubicBezTo>
                  <a:pt x="1544" y="276"/>
                  <a:pt x="1544" y="276"/>
                  <a:pt x="1544" y="276"/>
                </a:cubicBezTo>
                <a:cubicBezTo>
                  <a:pt x="1545" y="276"/>
                  <a:pt x="1545" y="276"/>
                  <a:pt x="1545" y="276"/>
                </a:cubicBezTo>
                <a:cubicBezTo>
                  <a:pt x="1546" y="276"/>
                  <a:pt x="1546" y="276"/>
                  <a:pt x="1546" y="276"/>
                </a:cubicBezTo>
                <a:cubicBezTo>
                  <a:pt x="1548" y="277"/>
                  <a:pt x="1548" y="277"/>
                  <a:pt x="1548" y="277"/>
                </a:cubicBezTo>
                <a:cubicBezTo>
                  <a:pt x="1548" y="279"/>
                  <a:pt x="1548" y="279"/>
                  <a:pt x="1548" y="279"/>
                </a:cubicBezTo>
                <a:cubicBezTo>
                  <a:pt x="1549" y="279"/>
                  <a:pt x="1549" y="279"/>
                  <a:pt x="1549" y="279"/>
                </a:cubicBezTo>
                <a:cubicBezTo>
                  <a:pt x="1550" y="281"/>
                  <a:pt x="1550" y="281"/>
                  <a:pt x="1550" y="281"/>
                </a:cubicBezTo>
                <a:cubicBezTo>
                  <a:pt x="1551" y="281"/>
                  <a:pt x="1551" y="281"/>
                  <a:pt x="1551" y="281"/>
                </a:cubicBezTo>
                <a:cubicBezTo>
                  <a:pt x="1551" y="283"/>
                  <a:pt x="1551" y="283"/>
                  <a:pt x="1551" y="283"/>
                </a:cubicBezTo>
                <a:cubicBezTo>
                  <a:pt x="1551" y="284"/>
                  <a:pt x="1551" y="284"/>
                  <a:pt x="1551" y="284"/>
                </a:cubicBezTo>
                <a:cubicBezTo>
                  <a:pt x="1551" y="286"/>
                  <a:pt x="1551" y="286"/>
                  <a:pt x="1551" y="286"/>
                </a:cubicBezTo>
                <a:cubicBezTo>
                  <a:pt x="1550" y="287"/>
                  <a:pt x="1550" y="287"/>
                  <a:pt x="1550" y="287"/>
                </a:cubicBezTo>
                <a:cubicBezTo>
                  <a:pt x="1550" y="288"/>
                  <a:pt x="1550" y="288"/>
                  <a:pt x="1550" y="288"/>
                </a:cubicBezTo>
                <a:cubicBezTo>
                  <a:pt x="1549" y="290"/>
                  <a:pt x="1549" y="290"/>
                  <a:pt x="1549" y="290"/>
                </a:cubicBezTo>
                <a:cubicBezTo>
                  <a:pt x="1546" y="294"/>
                  <a:pt x="1546" y="294"/>
                  <a:pt x="1546" y="294"/>
                </a:cubicBezTo>
                <a:cubicBezTo>
                  <a:pt x="1545" y="295"/>
                  <a:pt x="1545" y="295"/>
                  <a:pt x="1545" y="295"/>
                </a:cubicBezTo>
                <a:cubicBezTo>
                  <a:pt x="1542" y="295"/>
                  <a:pt x="1542" y="295"/>
                  <a:pt x="1542" y="295"/>
                </a:cubicBezTo>
                <a:cubicBezTo>
                  <a:pt x="1542" y="296"/>
                  <a:pt x="1542" y="296"/>
                  <a:pt x="1542" y="296"/>
                </a:cubicBezTo>
                <a:cubicBezTo>
                  <a:pt x="1540" y="296"/>
                  <a:pt x="1540" y="296"/>
                  <a:pt x="1540" y="296"/>
                </a:cubicBezTo>
                <a:cubicBezTo>
                  <a:pt x="1539" y="296"/>
                  <a:pt x="1539" y="296"/>
                  <a:pt x="1539" y="296"/>
                </a:cubicBezTo>
                <a:cubicBezTo>
                  <a:pt x="1537" y="297"/>
                  <a:pt x="1537" y="297"/>
                  <a:pt x="1537" y="297"/>
                </a:cubicBezTo>
                <a:cubicBezTo>
                  <a:pt x="1533" y="296"/>
                  <a:pt x="1533" y="296"/>
                  <a:pt x="1533" y="296"/>
                </a:cubicBezTo>
                <a:cubicBezTo>
                  <a:pt x="1531" y="296"/>
                  <a:pt x="1531" y="296"/>
                  <a:pt x="1531" y="296"/>
                </a:cubicBezTo>
                <a:cubicBezTo>
                  <a:pt x="1529" y="295"/>
                  <a:pt x="1529" y="295"/>
                  <a:pt x="1529" y="295"/>
                </a:cubicBezTo>
                <a:cubicBezTo>
                  <a:pt x="1528" y="295"/>
                  <a:pt x="1528" y="295"/>
                  <a:pt x="1528" y="295"/>
                </a:cubicBezTo>
                <a:cubicBezTo>
                  <a:pt x="1527" y="295"/>
                  <a:pt x="1527" y="295"/>
                  <a:pt x="1527" y="295"/>
                </a:cubicBezTo>
                <a:cubicBezTo>
                  <a:pt x="1526" y="295"/>
                  <a:pt x="1526" y="295"/>
                  <a:pt x="1526" y="295"/>
                </a:cubicBezTo>
                <a:cubicBezTo>
                  <a:pt x="1525" y="294"/>
                  <a:pt x="1525" y="294"/>
                  <a:pt x="1525" y="294"/>
                </a:cubicBezTo>
                <a:cubicBezTo>
                  <a:pt x="1524" y="294"/>
                  <a:pt x="1524" y="294"/>
                  <a:pt x="1524" y="294"/>
                </a:cubicBezTo>
                <a:cubicBezTo>
                  <a:pt x="1523" y="295"/>
                  <a:pt x="1523" y="295"/>
                  <a:pt x="1523" y="295"/>
                </a:cubicBezTo>
                <a:cubicBezTo>
                  <a:pt x="1522" y="293"/>
                  <a:pt x="1522" y="293"/>
                  <a:pt x="1522" y="293"/>
                </a:cubicBezTo>
                <a:cubicBezTo>
                  <a:pt x="1522" y="292"/>
                  <a:pt x="1522" y="292"/>
                  <a:pt x="1522" y="292"/>
                </a:cubicBezTo>
                <a:cubicBezTo>
                  <a:pt x="1521" y="293"/>
                  <a:pt x="1521" y="293"/>
                  <a:pt x="1521" y="293"/>
                </a:cubicBezTo>
                <a:cubicBezTo>
                  <a:pt x="1520" y="293"/>
                  <a:pt x="1520" y="293"/>
                  <a:pt x="1520" y="293"/>
                </a:cubicBezTo>
                <a:cubicBezTo>
                  <a:pt x="1520" y="292"/>
                  <a:pt x="1520" y="292"/>
                  <a:pt x="1520" y="292"/>
                </a:cubicBezTo>
                <a:cubicBezTo>
                  <a:pt x="1518" y="292"/>
                  <a:pt x="1518" y="292"/>
                  <a:pt x="1518" y="292"/>
                </a:cubicBezTo>
                <a:cubicBezTo>
                  <a:pt x="1518" y="293"/>
                  <a:pt x="1518" y="293"/>
                  <a:pt x="1518" y="293"/>
                </a:cubicBezTo>
                <a:cubicBezTo>
                  <a:pt x="1516" y="293"/>
                  <a:pt x="1516" y="293"/>
                  <a:pt x="1516" y="293"/>
                </a:cubicBezTo>
                <a:cubicBezTo>
                  <a:pt x="1516" y="292"/>
                  <a:pt x="1516" y="292"/>
                  <a:pt x="1516" y="292"/>
                </a:cubicBezTo>
                <a:cubicBezTo>
                  <a:pt x="1517" y="291"/>
                  <a:pt x="1517" y="291"/>
                  <a:pt x="1517" y="291"/>
                </a:cubicBezTo>
                <a:cubicBezTo>
                  <a:pt x="1516" y="290"/>
                  <a:pt x="1516" y="290"/>
                  <a:pt x="1516" y="290"/>
                </a:cubicBezTo>
                <a:cubicBezTo>
                  <a:pt x="1516" y="291"/>
                  <a:pt x="1516" y="291"/>
                  <a:pt x="1516" y="291"/>
                </a:cubicBezTo>
                <a:cubicBezTo>
                  <a:pt x="1513" y="291"/>
                  <a:pt x="1513" y="291"/>
                  <a:pt x="1513" y="291"/>
                </a:cubicBezTo>
                <a:cubicBezTo>
                  <a:pt x="1512" y="290"/>
                  <a:pt x="1512" y="290"/>
                  <a:pt x="1512" y="290"/>
                </a:cubicBezTo>
                <a:cubicBezTo>
                  <a:pt x="1511" y="290"/>
                  <a:pt x="1511" y="290"/>
                  <a:pt x="1511" y="290"/>
                </a:cubicBezTo>
                <a:cubicBezTo>
                  <a:pt x="1508" y="288"/>
                  <a:pt x="1508" y="288"/>
                  <a:pt x="1508" y="288"/>
                </a:cubicBezTo>
                <a:cubicBezTo>
                  <a:pt x="1508" y="287"/>
                  <a:pt x="1508" y="287"/>
                  <a:pt x="1508" y="287"/>
                </a:cubicBezTo>
                <a:cubicBezTo>
                  <a:pt x="1507" y="287"/>
                  <a:pt x="1507" y="287"/>
                  <a:pt x="1507" y="287"/>
                </a:cubicBezTo>
                <a:cubicBezTo>
                  <a:pt x="1506" y="286"/>
                  <a:pt x="1506" y="286"/>
                  <a:pt x="1506" y="286"/>
                </a:cubicBezTo>
                <a:cubicBezTo>
                  <a:pt x="1505" y="286"/>
                  <a:pt x="1505" y="286"/>
                  <a:pt x="1505" y="286"/>
                </a:cubicBezTo>
                <a:cubicBezTo>
                  <a:pt x="1505" y="287"/>
                  <a:pt x="1505" y="287"/>
                  <a:pt x="1505" y="287"/>
                </a:cubicBezTo>
                <a:cubicBezTo>
                  <a:pt x="1506" y="288"/>
                  <a:pt x="1506" y="288"/>
                  <a:pt x="1506" y="288"/>
                </a:cubicBezTo>
                <a:cubicBezTo>
                  <a:pt x="1506" y="289"/>
                  <a:pt x="1506" y="289"/>
                  <a:pt x="1506" y="289"/>
                </a:cubicBezTo>
                <a:cubicBezTo>
                  <a:pt x="1508" y="290"/>
                  <a:pt x="1508" y="290"/>
                  <a:pt x="1508" y="290"/>
                </a:cubicBezTo>
                <a:cubicBezTo>
                  <a:pt x="1508" y="291"/>
                  <a:pt x="1508" y="291"/>
                  <a:pt x="1508" y="291"/>
                </a:cubicBezTo>
                <a:cubicBezTo>
                  <a:pt x="1510" y="292"/>
                  <a:pt x="1510" y="292"/>
                  <a:pt x="1510" y="292"/>
                </a:cubicBezTo>
                <a:cubicBezTo>
                  <a:pt x="1509" y="293"/>
                  <a:pt x="1509" y="293"/>
                  <a:pt x="1509" y="293"/>
                </a:cubicBezTo>
                <a:cubicBezTo>
                  <a:pt x="1509" y="294"/>
                  <a:pt x="1509" y="294"/>
                  <a:pt x="1509" y="294"/>
                </a:cubicBezTo>
                <a:cubicBezTo>
                  <a:pt x="1511" y="293"/>
                  <a:pt x="1511" y="293"/>
                  <a:pt x="1511" y="293"/>
                </a:cubicBezTo>
                <a:cubicBezTo>
                  <a:pt x="1512" y="293"/>
                  <a:pt x="1512" y="293"/>
                  <a:pt x="1512" y="293"/>
                </a:cubicBezTo>
                <a:cubicBezTo>
                  <a:pt x="1513" y="293"/>
                  <a:pt x="1513" y="293"/>
                  <a:pt x="1513" y="293"/>
                </a:cubicBezTo>
                <a:cubicBezTo>
                  <a:pt x="1512" y="294"/>
                  <a:pt x="1512" y="294"/>
                  <a:pt x="1512" y="294"/>
                </a:cubicBezTo>
                <a:cubicBezTo>
                  <a:pt x="1513" y="294"/>
                  <a:pt x="1513" y="294"/>
                  <a:pt x="1513" y="294"/>
                </a:cubicBezTo>
                <a:cubicBezTo>
                  <a:pt x="1513" y="295"/>
                  <a:pt x="1513" y="295"/>
                  <a:pt x="1513" y="295"/>
                </a:cubicBezTo>
                <a:cubicBezTo>
                  <a:pt x="1512" y="295"/>
                  <a:pt x="1512" y="295"/>
                  <a:pt x="1512" y="295"/>
                </a:cubicBezTo>
                <a:cubicBezTo>
                  <a:pt x="1511" y="296"/>
                  <a:pt x="1511" y="296"/>
                  <a:pt x="1511" y="296"/>
                </a:cubicBezTo>
                <a:cubicBezTo>
                  <a:pt x="1513" y="296"/>
                  <a:pt x="1513" y="296"/>
                  <a:pt x="1513" y="296"/>
                </a:cubicBezTo>
                <a:cubicBezTo>
                  <a:pt x="1514" y="296"/>
                  <a:pt x="1514" y="296"/>
                  <a:pt x="1514" y="296"/>
                </a:cubicBezTo>
                <a:cubicBezTo>
                  <a:pt x="1515" y="297"/>
                  <a:pt x="1515" y="297"/>
                  <a:pt x="1515" y="297"/>
                </a:cubicBezTo>
                <a:cubicBezTo>
                  <a:pt x="1515" y="296"/>
                  <a:pt x="1515" y="296"/>
                  <a:pt x="1515" y="296"/>
                </a:cubicBezTo>
                <a:cubicBezTo>
                  <a:pt x="1518" y="297"/>
                  <a:pt x="1518" y="297"/>
                  <a:pt x="1518" y="297"/>
                </a:cubicBezTo>
                <a:cubicBezTo>
                  <a:pt x="1520" y="299"/>
                  <a:pt x="1520" y="299"/>
                  <a:pt x="1520" y="299"/>
                </a:cubicBezTo>
                <a:cubicBezTo>
                  <a:pt x="1520" y="300"/>
                  <a:pt x="1520" y="300"/>
                  <a:pt x="1520" y="300"/>
                </a:cubicBezTo>
                <a:cubicBezTo>
                  <a:pt x="1520" y="301"/>
                  <a:pt x="1520" y="301"/>
                  <a:pt x="1520" y="301"/>
                </a:cubicBezTo>
                <a:cubicBezTo>
                  <a:pt x="1520" y="302"/>
                  <a:pt x="1520" y="302"/>
                  <a:pt x="1520" y="302"/>
                </a:cubicBezTo>
                <a:cubicBezTo>
                  <a:pt x="1520" y="304"/>
                  <a:pt x="1520" y="304"/>
                  <a:pt x="1520" y="304"/>
                </a:cubicBezTo>
                <a:cubicBezTo>
                  <a:pt x="1519" y="305"/>
                  <a:pt x="1519" y="305"/>
                  <a:pt x="1519" y="305"/>
                </a:cubicBezTo>
                <a:cubicBezTo>
                  <a:pt x="1519" y="306"/>
                  <a:pt x="1519" y="306"/>
                  <a:pt x="1519" y="306"/>
                </a:cubicBezTo>
                <a:cubicBezTo>
                  <a:pt x="1520" y="306"/>
                  <a:pt x="1520" y="306"/>
                  <a:pt x="1520" y="306"/>
                </a:cubicBezTo>
                <a:cubicBezTo>
                  <a:pt x="1520" y="307"/>
                  <a:pt x="1520" y="307"/>
                  <a:pt x="1520" y="307"/>
                </a:cubicBezTo>
                <a:cubicBezTo>
                  <a:pt x="1522" y="309"/>
                  <a:pt x="1522" y="309"/>
                  <a:pt x="1522" y="309"/>
                </a:cubicBezTo>
                <a:cubicBezTo>
                  <a:pt x="1522" y="310"/>
                  <a:pt x="1522" y="310"/>
                  <a:pt x="1522" y="310"/>
                </a:cubicBezTo>
                <a:cubicBezTo>
                  <a:pt x="1523" y="311"/>
                  <a:pt x="1523" y="311"/>
                  <a:pt x="1523" y="311"/>
                </a:cubicBezTo>
                <a:cubicBezTo>
                  <a:pt x="1523" y="312"/>
                  <a:pt x="1523" y="312"/>
                  <a:pt x="1523" y="312"/>
                </a:cubicBezTo>
                <a:cubicBezTo>
                  <a:pt x="1523" y="314"/>
                  <a:pt x="1523" y="314"/>
                  <a:pt x="1523" y="314"/>
                </a:cubicBezTo>
                <a:cubicBezTo>
                  <a:pt x="1523" y="315"/>
                  <a:pt x="1523" y="315"/>
                  <a:pt x="1523" y="315"/>
                </a:cubicBezTo>
                <a:cubicBezTo>
                  <a:pt x="1524" y="316"/>
                  <a:pt x="1524" y="316"/>
                  <a:pt x="1524" y="316"/>
                </a:cubicBezTo>
                <a:cubicBezTo>
                  <a:pt x="1526" y="317"/>
                  <a:pt x="1526" y="317"/>
                  <a:pt x="1526" y="317"/>
                </a:cubicBezTo>
                <a:cubicBezTo>
                  <a:pt x="1527" y="316"/>
                  <a:pt x="1527" y="316"/>
                  <a:pt x="1527" y="316"/>
                </a:cubicBezTo>
                <a:cubicBezTo>
                  <a:pt x="1528" y="316"/>
                  <a:pt x="1528" y="316"/>
                  <a:pt x="1528" y="316"/>
                </a:cubicBezTo>
                <a:cubicBezTo>
                  <a:pt x="1529" y="318"/>
                  <a:pt x="1529" y="318"/>
                  <a:pt x="1529" y="318"/>
                </a:cubicBezTo>
                <a:cubicBezTo>
                  <a:pt x="1530" y="318"/>
                  <a:pt x="1530" y="318"/>
                  <a:pt x="1530" y="318"/>
                </a:cubicBezTo>
                <a:cubicBezTo>
                  <a:pt x="1530" y="320"/>
                  <a:pt x="1530" y="320"/>
                  <a:pt x="1530" y="320"/>
                </a:cubicBezTo>
                <a:cubicBezTo>
                  <a:pt x="1531" y="320"/>
                  <a:pt x="1531" y="320"/>
                  <a:pt x="1531" y="320"/>
                </a:cubicBezTo>
                <a:cubicBezTo>
                  <a:pt x="1533" y="320"/>
                  <a:pt x="1533" y="320"/>
                  <a:pt x="1533" y="320"/>
                </a:cubicBezTo>
                <a:cubicBezTo>
                  <a:pt x="1533" y="321"/>
                  <a:pt x="1533" y="321"/>
                  <a:pt x="1533" y="321"/>
                </a:cubicBezTo>
                <a:cubicBezTo>
                  <a:pt x="1535" y="321"/>
                  <a:pt x="1535" y="321"/>
                  <a:pt x="1535" y="321"/>
                </a:cubicBezTo>
                <a:cubicBezTo>
                  <a:pt x="1536" y="322"/>
                  <a:pt x="1536" y="322"/>
                  <a:pt x="1536" y="322"/>
                </a:cubicBezTo>
                <a:cubicBezTo>
                  <a:pt x="1537" y="322"/>
                  <a:pt x="1537" y="322"/>
                  <a:pt x="1537" y="322"/>
                </a:cubicBezTo>
                <a:cubicBezTo>
                  <a:pt x="1538" y="321"/>
                  <a:pt x="1538" y="321"/>
                  <a:pt x="1538" y="321"/>
                </a:cubicBezTo>
                <a:cubicBezTo>
                  <a:pt x="1539" y="320"/>
                  <a:pt x="1539" y="320"/>
                  <a:pt x="1539" y="320"/>
                </a:cubicBezTo>
                <a:cubicBezTo>
                  <a:pt x="1540" y="320"/>
                  <a:pt x="1540" y="320"/>
                  <a:pt x="1540" y="320"/>
                </a:cubicBezTo>
                <a:cubicBezTo>
                  <a:pt x="1540" y="318"/>
                  <a:pt x="1540" y="318"/>
                  <a:pt x="1540" y="318"/>
                </a:cubicBezTo>
                <a:cubicBezTo>
                  <a:pt x="1539" y="317"/>
                  <a:pt x="1539" y="317"/>
                  <a:pt x="1539" y="317"/>
                </a:cubicBezTo>
                <a:cubicBezTo>
                  <a:pt x="1540" y="317"/>
                  <a:pt x="1540" y="317"/>
                  <a:pt x="1540" y="317"/>
                </a:cubicBezTo>
                <a:cubicBezTo>
                  <a:pt x="1540" y="316"/>
                  <a:pt x="1540" y="316"/>
                  <a:pt x="1540" y="316"/>
                </a:cubicBezTo>
                <a:cubicBezTo>
                  <a:pt x="1538" y="316"/>
                  <a:pt x="1538" y="316"/>
                  <a:pt x="1538" y="316"/>
                </a:cubicBezTo>
                <a:cubicBezTo>
                  <a:pt x="1538" y="315"/>
                  <a:pt x="1538" y="315"/>
                  <a:pt x="1538" y="315"/>
                </a:cubicBezTo>
                <a:cubicBezTo>
                  <a:pt x="1537" y="315"/>
                  <a:pt x="1537" y="315"/>
                  <a:pt x="1537" y="315"/>
                </a:cubicBezTo>
                <a:cubicBezTo>
                  <a:pt x="1536" y="315"/>
                  <a:pt x="1536" y="315"/>
                  <a:pt x="1536" y="315"/>
                </a:cubicBezTo>
                <a:cubicBezTo>
                  <a:pt x="1535" y="316"/>
                  <a:pt x="1535" y="316"/>
                  <a:pt x="1535" y="316"/>
                </a:cubicBezTo>
                <a:cubicBezTo>
                  <a:pt x="1534" y="315"/>
                  <a:pt x="1534" y="315"/>
                  <a:pt x="1534" y="315"/>
                </a:cubicBezTo>
                <a:cubicBezTo>
                  <a:pt x="1533" y="314"/>
                  <a:pt x="1533" y="314"/>
                  <a:pt x="1533" y="314"/>
                </a:cubicBezTo>
                <a:cubicBezTo>
                  <a:pt x="1531" y="313"/>
                  <a:pt x="1531" y="313"/>
                  <a:pt x="1531" y="313"/>
                </a:cubicBezTo>
                <a:cubicBezTo>
                  <a:pt x="1531" y="312"/>
                  <a:pt x="1531" y="312"/>
                  <a:pt x="1531" y="312"/>
                </a:cubicBezTo>
                <a:cubicBezTo>
                  <a:pt x="1530" y="310"/>
                  <a:pt x="1530" y="310"/>
                  <a:pt x="1530" y="310"/>
                </a:cubicBezTo>
                <a:cubicBezTo>
                  <a:pt x="1531" y="310"/>
                  <a:pt x="1531" y="310"/>
                  <a:pt x="1531" y="310"/>
                </a:cubicBezTo>
                <a:cubicBezTo>
                  <a:pt x="1532" y="309"/>
                  <a:pt x="1532" y="309"/>
                  <a:pt x="1532" y="309"/>
                </a:cubicBezTo>
                <a:cubicBezTo>
                  <a:pt x="1531" y="308"/>
                  <a:pt x="1531" y="308"/>
                  <a:pt x="1531" y="308"/>
                </a:cubicBezTo>
                <a:cubicBezTo>
                  <a:pt x="1532" y="308"/>
                  <a:pt x="1532" y="308"/>
                  <a:pt x="1532" y="308"/>
                </a:cubicBezTo>
                <a:cubicBezTo>
                  <a:pt x="1531" y="307"/>
                  <a:pt x="1531" y="307"/>
                  <a:pt x="1531" y="307"/>
                </a:cubicBezTo>
                <a:cubicBezTo>
                  <a:pt x="1531" y="306"/>
                  <a:pt x="1531" y="306"/>
                  <a:pt x="1531" y="306"/>
                </a:cubicBezTo>
                <a:cubicBezTo>
                  <a:pt x="1533" y="306"/>
                  <a:pt x="1533" y="306"/>
                  <a:pt x="1533" y="306"/>
                </a:cubicBezTo>
                <a:cubicBezTo>
                  <a:pt x="1534" y="307"/>
                  <a:pt x="1534" y="307"/>
                  <a:pt x="1534" y="307"/>
                </a:cubicBezTo>
                <a:cubicBezTo>
                  <a:pt x="1536" y="307"/>
                  <a:pt x="1536" y="307"/>
                  <a:pt x="1536" y="307"/>
                </a:cubicBezTo>
                <a:cubicBezTo>
                  <a:pt x="1537" y="309"/>
                  <a:pt x="1537" y="309"/>
                  <a:pt x="1537" y="309"/>
                </a:cubicBezTo>
                <a:cubicBezTo>
                  <a:pt x="1538" y="310"/>
                  <a:pt x="1538" y="310"/>
                  <a:pt x="1538" y="310"/>
                </a:cubicBezTo>
                <a:cubicBezTo>
                  <a:pt x="1540" y="310"/>
                  <a:pt x="1540" y="310"/>
                  <a:pt x="1540" y="310"/>
                </a:cubicBezTo>
                <a:cubicBezTo>
                  <a:pt x="1541" y="311"/>
                  <a:pt x="1541" y="311"/>
                  <a:pt x="1541" y="311"/>
                </a:cubicBezTo>
                <a:cubicBezTo>
                  <a:pt x="1542" y="311"/>
                  <a:pt x="1542" y="311"/>
                  <a:pt x="1542" y="311"/>
                </a:cubicBezTo>
                <a:cubicBezTo>
                  <a:pt x="1546" y="313"/>
                  <a:pt x="1546" y="313"/>
                  <a:pt x="1546" y="313"/>
                </a:cubicBezTo>
                <a:cubicBezTo>
                  <a:pt x="1548" y="314"/>
                  <a:pt x="1548" y="314"/>
                  <a:pt x="1548" y="314"/>
                </a:cubicBezTo>
                <a:cubicBezTo>
                  <a:pt x="1548" y="313"/>
                  <a:pt x="1548" y="313"/>
                  <a:pt x="1548" y="313"/>
                </a:cubicBezTo>
                <a:cubicBezTo>
                  <a:pt x="1549" y="312"/>
                  <a:pt x="1549" y="312"/>
                  <a:pt x="1549" y="312"/>
                </a:cubicBezTo>
                <a:cubicBezTo>
                  <a:pt x="1549" y="311"/>
                  <a:pt x="1549" y="311"/>
                  <a:pt x="1549" y="311"/>
                </a:cubicBezTo>
                <a:cubicBezTo>
                  <a:pt x="1550" y="311"/>
                  <a:pt x="1550" y="311"/>
                  <a:pt x="1550" y="311"/>
                </a:cubicBezTo>
                <a:cubicBezTo>
                  <a:pt x="1551" y="310"/>
                  <a:pt x="1551" y="310"/>
                  <a:pt x="1551" y="310"/>
                </a:cubicBezTo>
                <a:cubicBezTo>
                  <a:pt x="1550" y="307"/>
                  <a:pt x="1550" y="307"/>
                  <a:pt x="1550" y="307"/>
                </a:cubicBezTo>
                <a:cubicBezTo>
                  <a:pt x="1547" y="304"/>
                  <a:pt x="1547" y="304"/>
                  <a:pt x="1547" y="304"/>
                </a:cubicBezTo>
                <a:cubicBezTo>
                  <a:pt x="1546" y="303"/>
                  <a:pt x="1546" y="303"/>
                  <a:pt x="1546" y="303"/>
                </a:cubicBezTo>
                <a:cubicBezTo>
                  <a:pt x="1546" y="301"/>
                  <a:pt x="1546" y="301"/>
                  <a:pt x="1546" y="301"/>
                </a:cubicBezTo>
                <a:cubicBezTo>
                  <a:pt x="1548" y="300"/>
                  <a:pt x="1548" y="300"/>
                  <a:pt x="1548" y="300"/>
                </a:cubicBezTo>
                <a:cubicBezTo>
                  <a:pt x="1549" y="298"/>
                  <a:pt x="1549" y="298"/>
                  <a:pt x="1549" y="298"/>
                </a:cubicBezTo>
                <a:cubicBezTo>
                  <a:pt x="1550" y="297"/>
                  <a:pt x="1550" y="297"/>
                  <a:pt x="1550" y="297"/>
                </a:cubicBezTo>
                <a:cubicBezTo>
                  <a:pt x="1551" y="296"/>
                  <a:pt x="1551" y="296"/>
                  <a:pt x="1551" y="296"/>
                </a:cubicBezTo>
                <a:cubicBezTo>
                  <a:pt x="1552" y="295"/>
                  <a:pt x="1552" y="295"/>
                  <a:pt x="1552" y="295"/>
                </a:cubicBezTo>
                <a:cubicBezTo>
                  <a:pt x="1554" y="294"/>
                  <a:pt x="1554" y="294"/>
                  <a:pt x="1554" y="294"/>
                </a:cubicBezTo>
                <a:cubicBezTo>
                  <a:pt x="1556" y="291"/>
                  <a:pt x="1556" y="291"/>
                  <a:pt x="1556" y="291"/>
                </a:cubicBezTo>
                <a:cubicBezTo>
                  <a:pt x="1557" y="290"/>
                  <a:pt x="1557" y="290"/>
                  <a:pt x="1557" y="290"/>
                </a:cubicBezTo>
                <a:cubicBezTo>
                  <a:pt x="1558" y="290"/>
                  <a:pt x="1558" y="290"/>
                  <a:pt x="1558" y="290"/>
                </a:cubicBezTo>
                <a:cubicBezTo>
                  <a:pt x="1559" y="291"/>
                  <a:pt x="1559" y="291"/>
                  <a:pt x="1559" y="291"/>
                </a:cubicBezTo>
                <a:cubicBezTo>
                  <a:pt x="1561" y="291"/>
                  <a:pt x="1561" y="291"/>
                  <a:pt x="1561" y="291"/>
                </a:cubicBezTo>
                <a:cubicBezTo>
                  <a:pt x="1563" y="291"/>
                  <a:pt x="1563" y="291"/>
                  <a:pt x="1563" y="291"/>
                </a:cubicBezTo>
                <a:cubicBezTo>
                  <a:pt x="1564" y="292"/>
                  <a:pt x="1564" y="292"/>
                  <a:pt x="1564" y="292"/>
                </a:cubicBezTo>
                <a:cubicBezTo>
                  <a:pt x="1564" y="293"/>
                  <a:pt x="1564" y="293"/>
                  <a:pt x="1564" y="293"/>
                </a:cubicBezTo>
                <a:cubicBezTo>
                  <a:pt x="1565" y="292"/>
                  <a:pt x="1565" y="292"/>
                  <a:pt x="1565" y="292"/>
                </a:cubicBezTo>
                <a:cubicBezTo>
                  <a:pt x="1567" y="293"/>
                  <a:pt x="1567" y="293"/>
                  <a:pt x="1567" y="293"/>
                </a:cubicBezTo>
                <a:cubicBezTo>
                  <a:pt x="1567" y="295"/>
                  <a:pt x="1567" y="295"/>
                  <a:pt x="1567" y="295"/>
                </a:cubicBezTo>
                <a:cubicBezTo>
                  <a:pt x="1568" y="295"/>
                  <a:pt x="1568" y="295"/>
                  <a:pt x="1568" y="295"/>
                </a:cubicBezTo>
                <a:cubicBezTo>
                  <a:pt x="1568" y="293"/>
                  <a:pt x="1568" y="293"/>
                  <a:pt x="1568" y="293"/>
                </a:cubicBezTo>
                <a:cubicBezTo>
                  <a:pt x="1567" y="292"/>
                  <a:pt x="1567" y="292"/>
                  <a:pt x="1567" y="292"/>
                </a:cubicBezTo>
                <a:cubicBezTo>
                  <a:pt x="1568" y="291"/>
                  <a:pt x="1568" y="291"/>
                  <a:pt x="1568" y="291"/>
                </a:cubicBezTo>
                <a:cubicBezTo>
                  <a:pt x="1568" y="288"/>
                  <a:pt x="1568" y="288"/>
                  <a:pt x="1568" y="288"/>
                </a:cubicBezTo>
                <a:cubicBezTo>
                  <a:pt x="1568" y="287"/>
                  <a:pt x="1568" y="287"/>
                  <a:pt x="1568" y="287"/>
                </a:cubicBezTo>
                <a:cubicBezTo>
                  <a:pt x="1567" y="287"/>
                  <a:pt x="1567" y="287"/>
                  <a:pt x="1567" y="287"/>
                </a:cubicBezTo>
                <a:cubicBezTo>
                  <a:pt x="1567" y="286"/>
                  <a:pt x="1567" y="286"/>
                  <a:pt x="1567" y="286"/>
                </a:cubicBezTo>
                <a:cubicBezTo>
                  <a:pt x="1568" y="285"/>
                  <a:pt x="1568" y="285"/>
                  <a:pt x="1568" y="285"/>
                </a:cubicBezTo>
                <a:cubicBezTo>
                  <a:pt x="1567" y="284"/>
                  <a:pt x="1567" y="284"/>
                  <a:pt x="1567" y="284"/>
                </a:cubicBezTo>
                <a:cubicBezTo>
                  <a:pt x="1568" y="284"/>
                  <a:pt x="1568" y="284"/>
                  <a:pt x="1568" y="284"/>
                </a:cubicBezTo>
                <a:cubicBezTo>
                  <a:pt x="1567" y="283"/>
                  <a:pt x="1567" y="283"/>
                  <a:pt x="1567" y="283"/>
                </a:cubicBezTo>
                <a:cubicBezTo>
                  <a:pt x="1565" y="282"/>
                  <a:pt x="1565" y="282"/>
                  <a:pt x="1565" y="282"/>
                </a:cubicBezTo>
                <a:cubicBezTo>
                  <a:pt x="1563" y="282"/>
                  <a:pt x="1563" y="282"/>
                  <a:pt x="1563" y="282"/>
                </a:cubicBezTo>
                <a:cubicBezTo>
                  <a:pt x="1563" y="280"/>
                  <a:pt x="1563" y="280"/>
                  <a:pt x="1563" y="280"/>
                </a:cubicBezTo>
                <a:cubicBezTo>
                  <a:pt x="1563" y="279"/>
                  <a:pt x="1563" y="279"/>
                  <a:pt x="1563" y="279"/>
                </a:cubicBezTo>
                <a:cubicBezTo>
                  <a:pt x="1563" y="276"/>
                  <a:pt x="1563" y="276"/>
                  <a:pt x="1563" y="276"/>
                </a:cubicBezTo>
                <a:cubicBezTo>
                  <a:pt x="1564" y="276"/>
                  <a:pt x="1564" y="276"/>
                  <a:pt x="1564" y="276"/>
                </a:cubicBezTo>
                <a:cubicBezTo>
                  <a:pt x="1564" y="275"/>
                  <a:pt x="1564" y="275"/>
                  <a:pt x="1564" y="275"/>
                </a:cubicBezTo>
                <a:cubicBezTo>
                  <a:pt x="1564" y="274"/>
                  <a:pt x="1564" y="274"/>
                  <a:pt x="1564" y="274"/>
                </a:cubicBezTo>
                <a:cubicBezTo>
                  <a:pt x="1564" y="273"/>
                  <a:pt x="1564" y="273"/>
                  <a:pt x="1564" y="273"/>
                </a:cubicBezTo>
                <a:cubicBezTo>
                  <a:pt x="1563" y="272"/>
                  <a:pt x="1563" y="272"/>
                  <a:pt x="1563" y="272"/>
                </a:cubicBezTo>
                <a:cubicBezTo>
                  <a:pt x="1563" y="271"/>
                  <a:pt x="1563" y="271"/>
                  <a:pt x="1563" y="271"/>
                </a:cubicBezTo>
                <a:cubicBezTo>
                  <a:pt x="1563" y="268"/>
                  <a:pt x="1563" y="268"/>
                  <a:pt x="1563" y="268"/>
                </a:cubicBezTo>
                <a:cubicBezTo>
                  <a:pt x="1561" y="267"/>
                  <a:pt x="1561" y="267"/>
                  <a:pt x="1561" y="267"/>
                </a:cubicBezTo>
                <a:cubicBezTo>
                  <a:pt x="1558" y="264"/>
                  <a:pt x="1558" y="264"/>
                  <a:pt x="1558" y="264"/>
                </a:cubicBezTo>
                <a:cubicBezTo>
                  <a:pt x="1559" y="264"/>
                  <a:pt x="1559" y="264"/>
                  <a:pt x="1559" y="264"/>
                </a:cubicBezTo>
                <a:cubicBezTo>
                  <a:pt x="1562" y="265"/>
                  <a:pt x="1562" y="265"/>
                  <a:pt x="1562" y="265"/>
                </a:cubicBezTo>
                <a:cubicBezTo>
                  <a:pt x="1563" y="265"/>
                  <a:pt x="1563" y="265"/>
                  <a:pt x="1563" y="265"/>
                </a:cubicBezTo>
                <a:cubicBezTo>
                  <a:pt x="1564" y="265"/>
                  <a:pt x="1564" y="265"/>
                  <a:pt x="1564" y="265"/>
                </a:cubicBezTo>
                <a:cubicBezTo>
                  <a:pt x="1566" y="265"/>
                  <a:pt x="1566" y="265"/>
                  <a:pt x="1566" y="265"/>
                </a:cubicBezTo>
                <a:cubicBezTo>
                  <a:pt x="1570" y="265"/>
                  <a:pt x="1570" y="265"/>
                  <a:pt x="1570" y="265"/>
                </a:cubicBezTo>
                <a:cubicBezTo>
                  <a:pt x="1571" y="266"/>
                  <a:pt x="1571" y="266"/>
                  <a:pt x="1571" y="266"/>
                </a:cubicBezTo>
                <a:cubicBezTo>
                  <a:pt x="1571" y="267"/>
                  <a:pt x="1571" y="267"/>
                  <a:pt x="1571" y="267"/>
                </a:cubicBezTo>
                <a:cubicBezTo>
                  <a:pt x="1573" y="269"/>
                  <a:pt x="1573" y="269"/>
                  <a:pt x="1573" y="269"/>
                </a:cubicBezTo>
                <a:cubicBezTo>
                  <a:pt x="1574" y="269"/>
                  <a:pt x="1574" y="269"/>
                  <a:pt x="1574" y="269"/>
                </a:cubicBezTo>
                <a:cubicBezTo>
                  <a:pt x="1574" y="270"/>
                  <a:pt x="1574" y="270"/>
                  <a:pt x="1574" y="270"/>
                </a:cubicBezTo>
                <a:cubicBezTo>
                  <a:pt x="1576" y="272"/>
                  <a:pt x="1576" y="272"/>
                  <a:pt x="1576" y="272"/>
                </a:cubicBezTo>
                <a:cubicBezTo>
                  <a:pt x="1576" y="273"/>
                  <a:pt x="1576" y="273"/>
                  <a:pt x="1576" y="273"/>
                </a:cubicBezTo>
                <a:cubicBezTo>
                  <a:pt x="1574" y="273"/>
                  <a:pt x="1574" y="273"/>
                  <a:pt x="1574" y="273"/>
                </a:cubicBezTo>
                <a:cubicBezTo>
                  <a:pt x="1573" y="274"/>
                  <a:pt x="1573" y="274"/>
                  <a:pt x="1573" y="274"/>
                </a:cubicBezTo>
                <a:cubicBezTo>
                  <a:pt x="1571" y="274"/>
                  <a:pt x="1571" y="274"/>
                  <a:pt x="1571" y="274"/>
                </a:cubicBezTo>
                <a:cubicBezTo>
                  <a:pt x="1570" y="275"/>
                  <a:pt x="1570" y="275"/>
                  <a:pt x="1570" y="275"/>
                </a:cubicBezTo>
                <a:cubicBezTo>
                  <a:pt x="1571" y="275"/>
                  <a:pt x="1571" y="275"/>
                  <a:pt x="1571" y="275"/>
                </a:cubicBezTo>
                <a:cubicBezTo>
                  <a:pt x="1570" y="276"/>
                  <a:pt x="1570" y="276"/>
                  <a:pt x="1570" y="276"/>
                </a:cubicBezTo>
                <a:cubicBezTo>
                  <a:pt x="1569" y="276"/>
                  <a:pt x="1569" y="276"/>
                  <a:pt x="1569" y="276"/>
                </a:cubicBezTo>
                <a:cubicBezTo>
                  <a:pt x="1569" y="277"/>
                  <a:pt x="1569" y="277"/>
                  <a:pt x="1569" y="277"/>
                </a:cubicBezTo>
                <a:cubicBezTo>
                  <a:pt x="1569" y="278"/>
                  <a:pt x="1569" y="278"/>
                  <a:pt x="1569" y="278"/>
                </a:cubicBezTo>
                <a:cubicBezTo>
                  <a:pt x="1570" y="279"/>
                  <a:pt x="1570" y="279"/>
                  <a:pt x="1570" y="279"/>
                </a:cubicBezTo>
                <a:cubicBezTo>
                  <a:pt x="1573" y="281"/>
                  <a:pt x="1573" y="281"/>
                  <a:pt x="1573" y="281"/>
                </a:cubicBezTo>
                <a:cubicBezTo>
                  <a:pt x="1575" y="284"/>
                  <a:pt x="1575" y="284"/>
                  <a:pt x="1575" y="284"/>
                </a:cubicBezTo>
                <a:cubicBezTo>
                  <a:pt x="1576" y="284"/>
                  <a:pt x="1576" y="284"/>
                  <a:pt x="1576" y="284"/>
                </a:cubicBezTo>
                <a:cubicBezTo>
                  <a:pt x="1578" y="283"/>
                  <a:pt x="1578" y="283"/>
                  <a:pt x="1578" y="283"/>
                </a:cubicBezTo>
                <a:cubicBezTo>
                  <a:pt x="1579" y="285"/>
                  <a:pt x="1579" y="285"/>
                  <a:pt x="1579" y="285"/>
                </a:cubicBezTo>
                <a:cubicBezTo>
                  <a:pt x="1579" y="284"/>
                  <a:pt x="1579" y="284"/>
                  <a:pt x="1579" y="284"/>
                </a:cubicBezTo>
                <a:cubicBezTo>
                  <a:pt x="1581" y="284"/>
                  <a:pt x="1581" y="284"/>
                  <a:pt x="1581" y="284"/>
                </a:cubicBezTo>
                <a:cubicBezTo>
                  <a:pt x="1581" y="283"/>
                  <a:pt x="1581" y="283"/>
                  <a:pt x="1581" y="283"/>
                </a:cubicBezTo>
                <a:cubicBezTo>
                  <a:pt x="1583" y="282"/>
                  <a:pt x="1583" y="282"/>
                  <a:pt x="1583" y="282"/>
                </a:cubicBezTo>
                <a:cubicBezTo>
                  <a:pt x="1584" y="281"/>
                  <a:pt x="1584" y="281"/>
                  <a:pt x="1584" y="281"/>
                </a:cubicBezTo>
                <a:cubicBezTo>
                  <a:pt x="1583" y="279"/>
                  <a:pt x="1583" y="279"/>
                  <a:pt x="1583" y="279"/>
                </a:cubicBezTo>
                <a:cubicBezTo>
                  <a:pt x="1584" y="277"/>
                  <a:pt x="1584" y="277"/>
                  <a:pt x="1584" y="277"/>
                </a:cubicBezTo>
                <a:cubicBezTo>
                  <a:pt x="1584" y="276"/>
                  <a:pt x="1584" y="276"/>
                  <a:pt x="1584" y="276"/>
                </a:cubicBezTo>
                <a:cubicBezTo>
                  <a:pt x="1583" y="275"/>
                  <a:pt x="1583" y="275"/>
                  <a:pt x="1583" y="275"/>
                </a:cubicBezTo>
                <a:cubicBezTo>
                  <a:pt x="1587" y="274"/>
                  <a:pt x="1587" y="274"/>
                  <a:pt x="1587" y="274"/>
                </a:cubicBezTo>
                <a:cubicBezTo>
                  <a:pt x="1589" y="274"/>
                  <a:pt x="1589" y="274"/>
                  <a:pt x="1589" y="274"/>
                </a:cubicBezTo>
                <a:cubicBezTo>
                  <a:pt x="1589" y="273"/>
                  <a:pt x="1589" y="273"/>
                  <a:pt x="1589" y="273"/>
                </a:cubicBezTo>
                <a:cubicBezTo>
                  <a:pt x="1587" y="272"/>
                  <a:pt x="1587" y="272"/>
                  <a:pt x="1587" y="272"/>
                </a:cubicBezTo>
                <a:cubicBezTo>
                  <a:pt x="1587" y="271"/>
                  <a:pt x="1587" y="271"/>
                  <a:pt x="1587" y="271"/>
                </a:cubicBezTo>
                <a:cubicBezTo>
                  <a:pt x="1588" y="271"/>
                  <a:pt x="1588" y="271"/>
                  <a:pt x="1588" y="271"/>
                </a:cubicBezTo>
                <a:cubicBezTo>
                  <a:pt x="1588" y="272"/>
                  <a:pt x="1588" y="272"/>
                  <a:pt x="1588" y="272"/>
                </a:cubicBezTo>
                <a:cubicBezTo>
                  <a:pt x="1590" y="271"/>
                  <a:pt x="1590" y="271"/>
                  <a:pt x="1590" y="271"/>
                </a:cubicBezTo>
                <a:cubicBezTo>
                  <a:pt x="1592" y="268"/>
                  <a:pt x="1592" y="268"/>
                  <a:pt x="1592" y="268"/>
                </a:cubicBezTo>
                <a:cubicBezTo>
                  <a:pt x="1593" y="268"/>
                  <a:pt x="1593" y="268"/>
                  <a:pt x="1593" y="268"/>
                </a:cubicBezTo>
                <a:cubicBezTo>
                  <a:pt x="1595" y="265"/>
                  <a:pt x="1595" y="265"/>
                  <a:pt x="1595" y="265"/>
                </a:cubicBezTo>
                <a:cubicBezTo>
                  <a:pt x="1595" y="264"/>
                  <a:pt x="1595" y="264"/>
                  <a:pt x="1595" y="264"/>
                </a:cubicBezTo>
                <a:cubicBezTo>
                  <a:pt x="1596" y="264"/>
                  <a:pt x="1596" y="264"/>
                  <a:pt x="1596" y="264"/>
                </a:cubicBezTo>
                <a:cubicBezTo>
                  <a:pt x="1597" y="264"/>
                  <a:pt x="1597" y="264"/>
                  <a:pt x="1597" y="264"/>
                </a:cubicBezTo>
                <a:cubicBezTo>
                  <a:pt x="1599" y="263"/>
                  <a:pt x="1599" y="263"/>
                  <a:pt x="1599" y="263"/>
                </a:cubicBezTo>
                <a:cubicBezTo>
                  <a:pt x="1602" y="262"/>
                  <a:pt x="1602" y="262"/>
                  <a:pt x="1602" y="262"/>
                </a:cubicBezTo>
                <a:cubicBezTo>
                  <a:pt x="1602" y="263"/>
                  <a:pt x="1602" y="263"/>
                  <a:pt x="1602" y="263"/>
                </a:cubicBezTo>
                <a:cubicBezTo>
                  <a:pt x="1603" y="264"/>
                  <a:pt x="1603" y="264"/>
                  <a:pt x="1603" y="264"/>
                </a:cubicBezTo>
                <a:cubicBezTo>
                  <a:pt x="1602" y="264"/>
                  <a:pt x="1602" y="264"/>
                  <a:pt x="1602" y="264"/>
                </a:cubicBezTo>
                <a:cubicBezTo>
                  <a:pt x="1603" y="265"/>
                  <a:pt x="1603" y="265"/>
                  <a:pt x="1603" y="265"/>
                </a:cubicBezTo>
                <a:cubicBezTo>
                  <a:pt x="1604" y="264"/>
                  <a:pt x="1604" y="264"/>
                  <a:pt x="1604" y="264"/>
                </a:cubicBezTo>
                <a:cubicBezTo>
                  <a:pt x="1604" y="263"/>
                  <a:pt x="1604" y="263"/>
                  <a:pt x="1604" y="263"/>
                </a:cubicBezTo>
                <a:cubicBezTo>
                  <a:pt x="1604" y="262"/>
                  <a:pt x="1604" y="262"/>
                  <a:pt x="1604" y="262"/>
                </a:cubicBezTo>
                <a:cubicBezTo>
                  <a:pt x="1603" y="261"/>
                  <a:pt x="1603" y="261"/>
                  <a:pt x="1603" y="261"/>
                </a:cubicBezTo>
                <a:cubicBezTo>
                  <a:pt x="1605" y="259"/>
                  <a:pt x="1605" y="259"/>
                  <a:pt x="1605" y="259"/>
                </a:cubicBezTo>
                <a:cubicBezTo>
                  <a:pt x="1605" y="258"/>
                  <a:pt x="1605" y="258"/>
                  <a:pt x="1605" y="258"/>
                </a:cubicBezTo>
                <a:cubicBezTo>
                  <a:pt x="1606" y="259"/>
                  <a:pt x="1606" y="259"/>
                  <a:pt x="1606" y="259"/>
                </a:cubicBezTo>
                <a:cubicBezTo>
                  <a:pt x="1605" y="260"/>
                  <a:pt x="1605" y="260"/>
                  <a:pt x="1605" y="260"/>
                </a:cubicBezTo>
                <a:cubicBezTo>
                  <a:pt x="1606" y="261"/>
                  <a:pt x="1606" y="261"/>
                  <a:pt x="1606" y="261"/>
                </a:cubicBezTo>
                <a:cubicBezTo>
                  <a:pt x="1607" y="261"/>
                  <a:pt x="1607" y="261"/>
                  <a:pt x="1607" y="261"/>
                </a:cubicBezTo>
                <a:cubicBezTo>
                  <a:pt x="1607" y="260"/>
                  <a:pt x="1607" y="260"/>
                  <a:pt x="1607" y="260"/>
                </a:cubicBezTo>
                <a:cubicBezTo>
                  <a:pt x="1606" y="258"/>
                  <a:pt x="1606" y="258"/>
                  <a:pt x="1606" y="258"/>
                </a:cubicBezTo>
                <a:cubicBezTo>
                  <a:pt x="1607" y="257"/>
                  <a:pt x="1607" y="257"/>
                  <a:pt x="1607" y="257"/>
                </a:cubicBezTo>
                <a:cubicBezTo>
                  <a:pt x="1610" y="256"/>
                  <a:pt x="1610" y="256"/>
                  <a:pt x="1610" y="256"/>
                </a:cubicBezTo>
                <a:cubicBezTo>
                  <a:pt x="1613" y="255"/>
                  <a:pt x="1613" y="255"/>
                  <a:pt x="1613" y="255"/>
                </a:cubicBezTo>
                <a:cubicBezTo>
                  <a:pt x="1613" y="256"/>
                  <a:pt x="1613" y="256"/>
                  <a:pt x="1613" y="256"/>
                </a:cubicBezTo>
                <a:cubicBezTo>
                  <a:pt x="1612" y="256"/>
                  <a:pt x="1612" y="256"/>
                  <a:pt x="1612" y="256"/>
                </a:cubicBezTo>
                <a:cubicBezTo>
                  <a:pt x="1611" y="256"/>
                  <a:pt x="1611" y="256"/>
                  <a:pt x="1611" y="256"/>
                </a:cubicBezTo>
                <a:cubicBezTo>
                  <a:pt x="1608" y="258"/>
                  <a:pt x="1608" y="258"/>
                  <a:pt x="1608" y="258"/>
                </a:cubicBezTo>
                <a:cubicBezTo>
                  <a:pt x="1609" y="258"/>
                  <a:pt x="1609" y="258"/>
                  <a:pt x="1609" y="258"/>
                </a:cubicBezTo>
                <a:cubicBezTo>
                  <a:pt x="1610" y="258"/>
                  <a:pt x="1610" y="258"/>
                  <a:pt x="1610" y="258"/>
                </a:cubicBezTo>
                <a:cubicBezTo>
                  <a:pt x="1612" y="259"/>
                  <a:pt x="1612" y="259"/>
                  <a:pt x="1612" y="259"/>
                </a:cubicBezTo>
                <a:cubicBezTo>
                  <a:pt x="1611" y="260"/>
                  <a:pt x="1611" y="260"/>
                  <a:pt x="1611" y="260"/>
                </a:cubicBezTo>
                <a:cubicBezTo>
                  <a:pt x="1611" y="262"/>
                  <a:pt x="1611" y="262"/>
                  <a:pt x="1611" y="262"/>
                </a:cubicBezTo>
                <a:cubicBezTo>
                  <a:pt x="1610" y="262"/>
                  <a:pt x="1610" y="262"/>
                  <a:pt x="1610" y="262"/>
                </a:cubicBezTo>
                <a:cubicBezTo>
                  <a:pt x="1608" y="264"/>
                  <a:pt x="1608" y="264"/>
                  <a:pt x="1608" y="264"/>
                </a:cubicBezTo>
                <a:cubicBezTo>
                  <a:pt x="1609" y="265"/>
                  <a:pt x="1609" y="265"/>
                  <a:pt x="1609" y="265"/>
                </a:cubicBezTo>
                <a:cubicBezTo>
                  <a:pt x="1610" y="265"/>
                  <a:pt x="1610" y="265"/>
                  <a:pt x="1610" y="265"/>
                </a:cubicBezTo>
                <a:cubicBezTo>
                  <a:pt x="1611" y="265"/>
                  <a:pt x="1611" y="265"/>
                  <a:pt x="1611" y="265"/>
                </a:cubicBezTo>
                <a:cubicBezTo>
                  <a:pt x="1612" y="264"/>
                  <a:pt x="1612" y="264"/>
                  <a:pt x="1612" y="264"/>
                </a:cubicBezTo>
                <a:cubicBezTo>
                  <a:pt x="1614" y="265"/>
                  <a:pt x="1614" y="265"/>
                  <a:pt x="1614" y="265"/>
                </a:cubicBezTo>
                <a:cubicBezTo>
                  <a:pt x="1615" y="263"/>
                  <a:pt x="1615" y="263"/>
                  <a:pt x="1615" y="263"/>
                </a:cubicBezTo>
                <a:cubicBezTo>
                  <a:pt x="1616" y="263"/>
                  <a:pt x="1616" y="263"/>
                  <a:pt x="1616" y="263"/>
                </a:cubicBezTo>
                <a:cubicBezTo>
                  <a:pt x="1617" y="264"/>
                  <a:pt x="1617" y="264"/>
                  <a:pt x="1617" y="264"/>
                </a:cubicBezTo>
                <a:cubicBezTo>
                  <a:pt x="1618" y="265"/>
                  <a:pt x="1618" y="265"/>
                  <a:pt x="1618" y="265"/>
                </a:cubicBezTo>
                <a:cubicBezTo>
                  <a:pt x="1618" y="264"/>
                  <a:pt x="1618" y="264"/>
                  <a:pt x="1618" y="264"/>
                </a:cubicBezTo>
                <a:cubicBezTo>
                  <a:pt x="1618" y="263"/>
                  <a:pt x="1618" y="263"/>
                  <a:pt x="1618" y="263"/>
                </a:cubicBezTo>
                <a:cubicBezTo>
                  <a:pt x="1617" y="262"/>
                  <a:pt x="1617" y="262"/>
                  <a:pt x="1617" y="262"/>
                </a:cubicBezTo>
                <a:cubicBezTo>
                  <a:pt x="1617" y="261"/>
                  <a:pt x="1617" y="261"/>
                  <a:pt x="1617" y="261"/>
                </a:cubicBezTo>
                <a:cubicBezTo>
                  <a:pt x="1618" y="260"/>
                  <a:pt x="1618" y="260"/>
                  <a:pt x="1618" y="260"/>
                </a:cubicBezTo>
                <a:cubicBezTo>
                  <a:pt x="1619" y="260"/>
                  <a:pt x="1619" y="260"/>
                  <a:pt x="1619" y="260"/>
                </a:cubicBezTo>
                <a:cubicBezTo>
                  <a:pt x="1620" y="259"/>
                  <a:pt x="1620" y="259"/>
                  <a:pt x="1620" y="259"/>
                </a:cubicBezTo>
                <a:cubicBezTo>
                  <a:pt x="1621" y="258"/>
                  <a:pt x="1621" y="258"/>
                  <a:pt x="1621" y="258"/>
                </a:cubicBezTo>
                <a:cubicBezTo>
                  <a:pt x="1622" y="259"/>
                  <a:pt x="1622" y="259"/>
                  <a:pt x="1622" y="259"/>
                </a:cubicBezTo>
                <a:cubicBezTo>
                  <a:pt x="1623" y="259"/>
                  <a:pt x="1623" y="259"/>
                  <a:pt x="1623" y="259"/>
                </a:cubicBezTo>
                <a:cubicBezTo>
                  <a:pt x="1624" y="259"/>
                  <a:pt x="1624" y="259"/>
                  <a:pt x="1624" y="259"/>
                </a:cubicBezTo>
                <a:cubicBezTo>
                  <a:pt x="1625" y="259"/>
                  <a:pt x="1625" y="259"/>
                  <a:pt x="1625" y="259"/>
                </a:cubicBezTo>
                <a:cubicBezTo>
                  <a:pt x="1627" y="259"/>
                  <a:pt x="1627" y="259"/>
                  <a:pt x="1627" y="259"/>
                </a:cubicBezTo>
                <a:cubicBezTo>
                  <a:pt x="1628" y="258"/>
                  <a:pt x="1628" y="258"/>
                  <a:pt x="1628" y="258"/>
                </a:cubicBezTo>
                <a:cubicBezTo>
                  <a:pt x="1628" y="257"/>
                  <a:pt x="1628" y="257"/>
                  <a:pt x="1628" y="257"/>
                </a:cubicBezTo>
                <a:cubicBezTo>
                  <a:pt x="1629" y="257"/>
                  <a:pt x="1629" y="257"/>
                  <a:pt x="1629" y="257"/>
                </a:cubicBezTo>
                <a:cubicBezTo>
                  <a:pt x="1630" y="257"/>
                  <a:pt x="1630" y="257"/>
                  <a:pt x="1630" y="257"/>
                </a:cubicBezTo>
                <a:cubicBezTo>
                  <a:pt x="1631" y="256"/>
                  <a:pt x="1631" y="256"/>
                  <a:pt x="1631" y="256"/>
                </a:cubicBezTo>
                <a:cubicBezTo>
                  <a:pt x="1632" y="255"/>
                  <a:pt x="1632" y="255"/>
                  <a:pt x="1632" y="255"/>
                </a:cubicBezTo>
                <a:cubicBezTo>
                  <a:pt x="1633" y="255"/>
                  <a:pt x="1633" y="255"/>
                  <a:pt x="1633" y="255"/>
                </a:cubicBezTo>
                <a:cubicBezTo>
                  <a:pt x="1634" y="253"/>
                  <a:pt x="1634" y="253"/>
                  <a:pt x="1634" y="253"/>
                </a:cubicBezTo>
                <a:cubicBezTo>
                  <a:pt x="1635" y="253"/>
                  <a:pt x="1635" y="253"/>
                  <a:pt x="1635" y="253"/>
                </a:cubicBezTo>
                <a:cubicBezTo>
                  <a:pt x="1636" y="252"/>
                  <a:pt x="1636" y="252"/>
                  <a:pt x="1636" y="252"/>
                </a:cubicBezTo>
                <a:cubicBezTo>
                  <a:pt x="1636" y="253"/>
                  <a:pt x="1636" y="253"/>
                  <a:pt x="1636" y="253"/>
                </a:cubicBezTo>
                <a:cubicBezTo>
                  <a:pt x="1635" y="254"/>
                  <a:pt x="1635" y="254"/>
                  <a:pt x="1635" y="254"/>
                </a:cubicBezTo>
                <a:cubicBezTo>
                  <a:pt x="1636" y="254"/>
                  <a:pt x="1636" y="254"/>
                  <a:pt x="1636" y="254"/>
                </a:cubicBezTo>
                <a:cubicBezTo>
                  <a:pt x="1637" y="256"/>
                  <a:pt x="1637" y="256"/>
                  <a:pt x="1637" y="256"/>
                </a:cubicBezTo>
                <a:cubicBezTo>
                  <a:pt x="1638" y="256"/>
                  <a:pt x="1638" y="256"/>
                  <a:pt x="1638" y="256"/>
                </a:cubicBezTo>
                <a:cubicBezTo>
                  <a:pt x="1637" y="257"/>
                  <a:pt x="1637" y="257"/>
                  <a:pt x="1637" y="257"/>
                </a:cubicBezTo>
                <a:cubicBezTo>
                  <a:pt x="1637" y="258"/>
                  <a:pt x="1637" y="258"/>
                  <a:pt x="1637" y="258"/>
                </a:cubicBezTo>
                <a:cubicBezTo>
                  <a:pt x="1637" y="259"/>
                  <a:pt x="1637" y="259"/>
                  <a:pt x="1637" y="259"/>
                </a:cubicBezTo>
                <a:cubicBezTo>
                  <a:pt x="1638" y="260"/>
                  <a:pt x="1638" y="260"/>
                  <a:pt x="1638" y="260"/>
                </a:cubicBezTo>
                <a:cubicBezTo>
                  <a:pt x="1641" y="260"/>
                  <a:pt x="1641" y="260"/>
                  <a:pt x="1641" y="260"/>
                </a:cubicBezTo>
                <a:cubicBezTo>
                  <a:pt x="1641" y="259"/>
                  <a:pt x="1641" y="259"/>
                  <a:pt x="1641" y="259"/>
                </a:cubicBezTo>
                <a:cubicBezTo>
                  <a:pt x="1640" y="257"/>
                  <a:pt x="1640" y="257"/>
                  <a:pt x="1640" y="257"/>
                </a:cubicBezTo>
                <a:cubicBezTo>
                  <a:pt x="1640" y="256"/>
                  <a:pt x="1640" y="256"/>
                  <a:pt x="1640" y="256"/>
                </a:cubicBezTo>
                <a:cubicBezTo>
                  <a:pt x="1641" y="256"/>
                  <a:pt x="1641" y="256"/>
                  <a:pt x="1641" y="256"/>
                </a:cubicBezTo>
                <a:cubicBezTo>
                  <a:pt x="1642" y="256"/>
                  <a:pt x="1642" y="256"/>
                  <a:pt x="1642" y="256"/>
                </a:cubicBezTo>
                <a:cubicBezTo>
                  <a:pt x="1644" y="256"/>
                  <a:pt x="1644" y="256"/>
                  <a:pt x="1644" y="256"/>
                </a:cubicBezTo>
                <a:cubicBezTo>
                  <a:pt x="1644" y="253"/>
                  <a:pt x="1644" y="253"/>
                  <a:pt x="1644" y="253"/>
                </a:cubicBezTo>
                <a:cubicBezTo>
                  <a:pt x="1645" y="253"/>
                  <a:pt x="1645" y="253"/>
                  <a:pt x="1645" y="253"/>
                </a:cubicBezTo>
                <a:cubicBezTo>
                  <a:pt x="1646" y="254"/>
                  <a:pt x="1646" y="254"/>
                  <a:pt x="1646" y="254"/>
                </a:cubicBezTo>
                <a:cubicBezTo>
                  <a:pt x="1647" y="254"/>
                  <a:pt x="1647" y="254"/>
                  <a:pt x="1647" y="254"/>
                </a:cubicBezTo>
                <a:cubicBezTo>
                  <a:pt x="1646" y="252"/>
                  <a:pt x="1646" y="252"/>
                  <a:pt x="1646" y="252"/>
                </a:cubicBezTo>
                <a:cubicBezTo>
                  <a:pt x="1644" y="252"/>
                  <a:pt x="1644" y="252"/>
                  <a:pt x="1644" y="252"/>
                </a:cubicBezTo>
                <a:cubicBezTo>
                  <a:pt x="1644" y="251"/>
                  <a:pt x="1644" y="251"/>
                  <a:pt x="1644" y="251"/>
                </a:cubicBezTo>
                <a:cubicBezTo>
                  <a:pt x="1643" y="249"/>
                  <a:pt x="1643" y="249"/>
                  <a:pt x="1643" y="249"/>
                </a:cubicBezTo>
                <a:cubicBezTo>
                  <a:pt x="1642" y="249"/>
                  <a:pt x="1642" y="249"/>
                  <a:pt x="1642" y="249"/>
                </a:cubicBezTo>
                <a:cubicBezTo>
                  <a:pt x="1642" y="250"/>
                  <a:pt x="1642" y="250"/>
                  <a:pt x="1642" y="250"/>
                </a:cubicBezTo>
                <a:cubicBezTo>
                  <a:pt x="1641" y="249"/>
                  <a:pt x="1641" y="249"/>
                  <a:pt x="1641" y="249"/>
                </a:cubicBezTo>
                <a:cubicBezTo>
                  <a:pt x="1641" y="246"/>
                  <a:pt x="1641" y="246"/>
                  <a:pt x="1641" y="246"/>
                </a:cubicBezTo>
                <a:cubicBezTo>
                  <a:pt x="1640" y="246"/>
                  <a:pt x="1640" y="246"/>
                  <a:pt x="1640" y="246"/>
                </a:cubicBezTo>
                <a:cubicBezTo>
                  <a:pt x="1639" y="244"/>
                  <a:pt x="1639" y="244"/>
                  <a:pt x="1639" y="244"/>
                </a:cubicBezTo>
                <a:cubicBezTo>
                  <a:pt x="1640" y="244"/>
                  <a:pt x="1640" y="244"/>
                  <a:pt x="1640" y="244"/>
                </a:cubicBezTo>
                <a:cubicBezTo>
                  <a:pt x="1640" y="242"/>
                  <a:pt x="1640" y="242"/>
                  <a:pt x="1640" y="242"/>
                </a:cubicBezTo>
                <a:cubicBezTo>
                  <a:pt x="1640" y="241"/>
                  <a:pt x="1640" y="241"/>
                  <a:pt x="1640" y="241"/>
                </a:cubicBezTo>
                <a:cubicBezTo>
                  <a:pt x="1640" y="240"/>
                  <a:pt x="1640" y="240"/>
                  <a:pt x="1640" y="240"/>
                </a:cubicBezTo>
                <a:cubicBezTo>
                  <a:pt x="1641" y="241"/>
                  <a:pt x="1641" y="241"/>
                  <a:pt x="1641" y="241"/>
                </a:cubicBezTo>
                <a:cubicBezTo>
                  <a:pt x="1642" y="240"/>
                  <a:pt x="1642" y="240"/>
                  <a:pt x="1642" y="240"/>
                </a:cubicBezTo>
                <a:cubicBezTo>
                  <a:pt x="1643" y="241"/>
                  <a:pt x="1643" y="241"/>
                  <a:pt x="1643" y="241"/>
                </a:cubicBezTo>
                <a:cubicBezTo>
                  <a:pt x="1644" y="241"/>
                  <a:pt x="1644" y="241"/>
                  <a:pt x="1644" y="241"/>
                </a:cubicBezTo>
                <a:cubicBezTo>
                  <a:pt x="1645" y="241"/>
                  <a:pt x="1645" y="241"/>
                  <a:pt x="1645" y="241"/>
                </a:cubicBezTo>
                <a:cubicBezTo>
                  <a:pt x="1650" y="241"/>
                  <a:pt x="1650" y="241"/>
                  <a:pt x="1650" y="241"/>
                </a:cubicBezTo>
                <a:cubicBezTo>
                  <a:pt x="1656" y="241"/>
                  <a:pt x="1656" y="241"/>
                  <a:pt x="1656" y="241"/>
                </a:cubicBezTo>
                <a:cubicBezTo>
                  <a:pt x="1658" y="242"/>
                  <a:pt x="1658" y="242"/>
                  <a:pt x="1658" y="242"/>
                </a:cubicBezTo>
                <a:cubicBezTo>
                  <a:pt x="1662" y="244"/>
                  <a:pt x="1662" y="244"/>
                  <a:pt x="1662" y="244"/>
                </a:cubicBezTo>
                <a:cubicBezTo>
                  <a:pt x="1662" y="245"/>
                  <a:pt x="1662" y="245"/>
                  <a:pt x="1662" y="245"/>
                </a:cubicBezTo>
                <a:cubicBezTo>
                  <a:pt x="1662" y="247"/>
                  <a:pt x="1662" y="247"/>
                  <a:pt x="1662" y="247"/>
                </a:cubicBezTo>
                <a:cubicBezTo>
                  <a:pt x="1664" y="245"/>
                  <a:pt x="1664" y="245"/>
                  <a:pt x="1664" y="245"/>
                </a:cubicBezTo>
                <a:cubicBezTo>
                  <a:pt x="1665" y="245"/>
                  <a:pt x="1665" y="245"/>
                  <a:pt x="1665" y="245"/>
                </a:cubicBezTo>
                <a:cubicBezTo>
                  <a:pt x="1666" y="246"/>
                  <a:pt x="1666" y="246"/>
                  <a:pt x="1666" y="246"/>
                </a:cubicBezTo>
                <a:cubicBezTo>
                  <a:pt x="1667" y="246"/>
                  <a:pt x="1667" y="246"/>
                  <a:pt x="1667" y="246"/>
                </a:cubicBezTo>
                <a:cubicBezTo>
                  <a:pt x="1668" y="247"/>
                  <a:pt x="1668" y="247"/>
                  <a:pt x="1668" y="247"/>
                </a:cubicBezTo>
                <a:cubicBezTo>
                  <a:pt x="1670" y="247"/>
                  <a:pt x="1670" y="247"/>
                  <a:pt x="1670" y="247"/>
                </a:cubicBezTo>
                <a:cubicBezTo>
                  <a:pt x="1673" y="249"/>
                  <a:pt x="1673" y="249"/>
                  <a:pt x="1673" y="249"/>
                </a:cubicBezTo>
                <a:cubicBezTo>
                  <a:pt x="1677" y="250"/>
                  <a:pt x="1677" y="250"/>
                  <a:pt x="1677" y="250"/>
                </a:cubicBezTo>
                <a:cubicBezTo>
                  <a:pt x="1678" y="251"/>
                  <a:pt x="1678" y="251"/>
                  <a:pt x="1678" y="251"/>
                </a:cubicBezTo>
                <a:cubicBezTo>
                  <a:pt x="1679" y="252"/>
                  <a:pt x="1679" y="252"/>
                  <a:pt x="1679" y="252"/>
                </a:cubicBezTo>
                <a:cubicBezTo>
                  <a:pt x="1681" y="253"/>
                  <a:pt x="1681" y="253"/>
                  <a:pt x="1681" y="253"/>
                </a:cubicBezTo>
                <a:cubicBezTo>
                  <a:pt x="1682" y="254"/>
                  <a:pt x="1682" y="254"/>
                  <a:pt x="1682" y="254"/>
                </a:cubicBezTo>
                <a:cubicBezTo>
                  <a:pt x="1684" y="257"/>
                  <a:pt x="1684" y="257"/>
                  <a:pt x="1684" y="257"/>
                </a:cubicBezTo>
                <a:cubicBezTo>
                  <a:pt x="1685" y="257"/>
                  <a:pt x="1685" y="257"/>
                  <a:pt x="1685" y="257"/>
                </a:cubicBezTo>
                <a:cubicBezTo>
                  <a:pt x="1685" y="256"/>
                  <a:pt x="1685" y="256"/>
                  <a:pt x="1685" y="256"/>
                </a:cubicBezTo>
                <a:cubicBezTo>
                  <a:pt x="1685" y="255"/>
                  <a:pt x="1685" y="255"/>
                  <a:pt x="1685" y="255"/>
                </a:cubicBezTo>
                <a:cubicBezTo>
                  <a:pt x="1686" y="255"/>
                  <a:pt x="1686" y="255"/>
                  <a:pt x="1686" y="255"/>
                </a:cubicBezTo>
                <a:cubicBezTo>
                  <a:pt x="1686" y="254"/>
                  <a:pt x="1686" y="254"/>
                  <a:pt x="1686" y="254"/>
                </a:cubicBezTo>
                <a:cubicBezTo>
                  <a:pt x="1685" y="253"/>
                  <a:pt x="1685" y="253"/>
                  <a:pt x="1685" y="253"/>
                </a:cubicBezTo>
                <a:cubicBezTo>
                  <a:pt x="1685" y="252"/>
                  <a:pt x="1685" y="252"/>
                  <a:pt x="1685" y="252"/>
                </a:cubicBezTo>
                <a:cubicBezTo>
                  <a:pt x="1685" y="248"/>
                  <a:pt x="1685" y="248"/>
                  <a:pt x="1685" y="248"/>
                </a:cubicBezTo>
                <a:cubicBezTo>
                  <a:pt x="1685" y="247"/>
                  <a:pt x="1685" y="247"/>
                  <a:pt x="1685" y="247"/>
                </a:cubicBezTo>
                <a:cubicBezTo>
                  <a:pt x="1684" y="247"/>
                  <a:pt x="1684" y="247"/>
                  <a:pt x="1684" y="247"/>
                </a:cubicBezTo>
                <a:cubicBezTo>
                  <a:pt x="1683" y="248"/>
                  <a:pt x="1683" y="248"/>
                  <a:pt x="1683" y="248"/>
                </a:cubicBezTo>
                <a:cubicBezTo>
                  <a:pt x="1682" y="247"/>
                  <a:pt x="1682" y="247"/>
                  <a:pt x="1682" y="247"/>
                </a:cubicBezTo>
                <a:cubicBezTo>
                  <a:pt x="1679" y="244"/>
                  <a:pt x="1679" y="244"/>
                  <a:pt x="1679" y="244"/>
                </a:cubicBezTo>
                <a:cubicBezTo>
                  <a:pt x="1678" y="243"/>
                  <a:pt x="1678" y="243"/>
                  <a:pt x="1678" y="243"/>
                </a:cubicBezTo>
                <a:cubicBezTo>
                  <a:pt x="1678" y="241"/>
                  <a:pt x="1678" y="241"/>
                  <a:pt x="1678" y="241"/>
                </a:cubicBezTo>
                <a:cubicBezTo>
                  <a:pt x="1677" y="240"/>
                  <a:pt x="1677" y="240"/>
                  <a:pt x="1677" y="240"/>
                </a:cubicBezTo>
                <a:cubicBezTo>
                  <a:pt x="1676" y="242"/>
                  <a:pt x="1676" y="242"/>
                  <a:pt x="1676" y="242"/>
                </a:cubicBezTo>
                <a:cubicBezTo>
                  <a:pt x="1674" y="241"/>
                  <a:pt x="1674" y="241"/>
                  <a:pt x="1674" y="241"/>
                </a:cubicBezTo>
                <a:cubicBezTo>
                  <a:pt x="1673" y="241"/>
                  <a:pt x="1673" y="241"/>
                  <a:pt x="1673" y="241"/>
                </a:cubicBezTo>
                <a:cubicBezTo>
                  <a:pt x="1672" y="240"/>
                  <a:pt x="1672" y="240"/>
                  <a:pt x="1672" y="240"/>
                </a:cubicBezTo>
                <a:cubicBezTo>
                  <a:pt x="1671" y="241"/>
                  <a:pt x="1671" y="241"/>
                  <a:pt x="1671" y="241"/>
                </a:cubicBezTo>
                <a:cubicBezTo>
                  <a:pt x="1671" y="239"/>
                  <a:pt x="1671" y="239"/>
                  <a:pt x="1671" y="239"/>
                </a:cubicBezTo>
                <a:cubicBezTo>
                  <a:pt x="1670" y="238"/>
                  <a:pt x="1670" y="238"/>
                  <a:pt x="1670" y="238"/>
                </a:cubicBezTo>
                <a:cubicBezTo>
                  <a:pt x="1669" y="235"/>
                  <a:pt x="1669" y="235"/>
                  <a:pt x="1669" y="235"/>
                </a:cubicBezTo>
                <a:cubicBezTo>
                  <a:pt x="1669" y="234"/>
                  <a:pt x="1669" y="234"/>
                  <a:pt x="1669" y="234"/>
                </a:cubicBezTo>
                <a:cubicBezTo>
                  <a:pt x="1670" y="235"/>
                  <a:pt x="1670" y="235"/>
                  <a:pt x="1670" y="235"/>
                </a:cubicBezTo>
                <a:cubicBezTo>
                  <a:pt x="1671" y="234"/>
                  <a:pt x="1671" y="234"/>
                  <a:pt x="1671" y="234"/>
                </a:cubicBezTo>
                <a:cubicBezTo>
                  <a:pt x="1671" y="233"/>
                  <a:pt x="1671" y="233"/>
                  <a:pt x="1671" y="233"/>
                </a:cubicBezTo>
                <a:cubicBezTo>
                  <a:pt x="1669" y="231"/>
                  <a:pt x="1669" y="231"/>
                  <a:pt x="1669" y="231"/>
                </a:cubicBezTo>
                <a:cubicBezTo>
                  <a:pt x="1669" y="230"/>
                  <a:pt x="1669" y="230"/>
                  <a:pt x="1669" y="230"/>
                </a:cubicBezTo>
                <a:cubicBezTo>
                  <a:pt x="1669" y="229"/>
                  <a:pt x="1669" y="229"/>
                  <a:pt x="1669" y="229"/>
                </a:cubicBezTo>
                <a:cubicBezTo>
                  <a:pt x="1670" y="229"/>
                  <a:pt x="1670" y="229"/>
                  <a:pt x="1670" y="229"/>
                </a:cubicBezTo>
                <a:cubicBezTo>
                  <a:pt x="1669" y="228"/>
                  <a:pt x="1669" y="228"/>
                  <a:pt x="1669" y="228"/>
                </a:cubicBezTo>
                <a:cubicBezTo>
                  <a:pt x="1668" y="228"/>
                  <a:pt x="1668" y="228"/>
                  <a:pt x="1668" y="228"/>
                </a:cubicBezTo>
                <a:cubicBezTo>
                  <a:pt x="1667" y="225"/>
                  <a:pt x="1667" y="225"/>
                  <a:pt x="1667" y="225"/>
                </a:cubicBezTo>
                <a:cubicBezTo>
                  <a:pt x="1666" y="225"/>
                  <a:pt x="1666" y="225"/>
                  <a:pt x="1666" y="225"/>
                </a:cubicBezTo>
                <a:cubicBezTo>
                  <a:pt x="1665" y="225"/>
                  <a:pt x="1665" y="225"/>
                  <a:pt x="1665" y="225"/>
                </a:cubicBezTo>
                <a:cubicBezTo>
                  <a:pt x="1664" y="224"/>
                  <a:pt x="1664" y="224"/>
                  <a:pt x="1664" y="224"/>
                </a:cubicBezTo>
                <a:cubicBezTo>
                  <a:pt x="1664" y="222"/>
                  <a:pt x="1664" y="222"/>
                  <a:pt x="1664" y="222"/>
                </a:cubicBezTo>
                <a:cubicBezTo>
                  <a:pt x="1665" y="221"/>
                  <a:pt x="1665" y="221"/>
                  <a:pt x="1665" y="221"/>
                </a:cubicBezTo>
                <a:cubicBezTo>
                  <a:pt x="1664" y="219"/>
                  <a:pt x="1664" y="219"/>
                  <a:pt x="1664" y="219"/>
                </a:cubicBezTo>
                <a:cubicBezTo>
                  <a:pt x="1664" y="218"/>
                  <a:pt x="1664" y="218"/>
                  <a:pt x="1664" y="218"/>
                </a:cubicBezTo>
                <a:cubicBezTo>
                  <a:pt x="1667" y="214"/>
                  <a:pt x="1667" y="214"/>
                  <a:pt x="1667" y="214"/>
                </a:cubicBezTo>
                <a:cubicBezTo>
                  <a:pt x="1668" y="213"/>
                  <a:pt x="1668" y="213"/>
                  <a:pt x="1668" y="213"/>
                </a:cubicBezTo>
                <a:cubicBezTo>
                  <a:pt x="1668" y="211"/>
                  <a:pt x="1668" y="211"/>
                  <a:pt x="1668" y="211"/>
                </a:cubicBezTo>
                <a:cubicBezTo>
                  <a:pt x="1668" y="210"/>
                  <a:pt x="1668" y="210"/>
                  <a:pt x="1668" y="210"/>
                </a:cubicBezTo>
                <a:cubicBezTo>
                  <a:pt x="1669" y="208"/>
                  <a:pt x="1669" y="208"/>
                  <a:pt x="1669" y="208"/>
                </a:cubicBezTo>
                <a:cubicBezTo>
                  <a:pt x="1668" y="207"/>
                  <a:pt x="1668" y="207"/>
                  <a:pt x="1668" y="207"/>
                </a:cubicBezTo>
                <a:cubicBezTo>
                  <a:pt x="1667" y="205"/>
                  <a:pt x="1667" y="205"/>
                  <a:pt x="1667" y="205"/>
                </a:cubicBezTo>
                <a:cubicBezTo>
                  <a:pt x="1668" y="204"/>
                  <a:pt x="1668" y="204"/>
                  <a:pt x="1668" y="204"/>
                </a:cubicBezTo>
                <a:cubicBezTo>
                  <a:pt x="1667" y="203"/>
                  <a:pt x="1667" y="203"/>
                  <a:pt x="1667" y="203"/>
                </a:cubicBezTo>
                <a:cubicBezTo>
                  <a:pt x="1668" y="201"/>
                  <a:pt x="1668" y="201"/>
                  <a:pt x="1668" y="201"/>
                </a:cubicBezTo>
                <a:cubicBezTo>
                  <a:pt x="1667" y="201"/>
                  <a:pt x="1667" y="201"/>
                  <a:pt x="1667" y="201"/>
                </a:cubicBezTo>
                <a:cubicBezTo>
                  <a:pt x="1667" y="198"/>
                  <a:pt x="1667" y="198"/>
                  <a:pt x="1667" y="198"/>
                </a:cubicBezTo>
                <a:cubicBezTo>
                  <a:pt x="1668" y="198"/>
                  <a:pt x="1668" y="198"/>
                  <a:pt x="1668" y="198"/>
                </a:cubicBezTo>
                <a:cubicBezTo>
                  <a:pt x="1667" y="196"/>
                  <a:pt x="1667" y="196"/>
                  <a:pt x="1667" y="196"/>
                </a:cubicBezTo>
                <a:cubicBezTo>
                  <a:pt x="1667" y="194"/>
                  <a:pt x="1667" y="194"/>
                  <a:pt x="1667" y="194"/>
                </a:cubicBezTo>
                <a:cubicBezTo>
                  <a:pt x="1667" y="192"/>
                  <a:pt x="1667" y="192"/>
                  <a:pt x="1667" y="192"/>
                </a:cubicBezTo>
                <a:cubicBezTo>
                  <a:pt x="1668" y="191"/>
                  <a:pt x="1668" y="191"/>
                  <a:pt x="1668" y="191"/>
                </a:cubicBezTo>
                <a:cubicBezTo>
                  <a:pt x="1669" y="192"/>
                  <a:pt x="1669" y="192"/>
                  <a:pt x="1669" y="192"/>
                </a:cubicBezTo>
                <a:cubicBezTo>
                  <a:pt x="1669" y="193"/>
                  <a:pt x="1669" y="193"/>
                  <a:pt x="1669" y="193"/>
                </a:cubicBezTo>
                <a:cubicBezTo>
                  <a:pt x="1670" y="192"/>
                  <a:pt x="1670" y="192"/>
                  <a:pt x="1670" y="192"/>
                </a:cubicBezTo>
                <a:cubicBezTo>
                  <a:pt x="1672" y="192"/>
                  <a:pt x="1672" y="192"/>
                  <a:pt x="1672" y="192"/>
                </a:cubicBezTo>
                <a:cubicBezTo>
                  <a:pt x="1674" y="192"/>
                  <a:pt x="1674" y="192"/>
                  <a:pt x="1674" y="192"/>
                </a:cubicBezTo>
                <a:cubicBezTo>
                  <a:pt x="1675" y="192"/>
                  <a:pt x="1675" y="192"/>
                  <a:pt x="1675" y="192"/>
                </a:cubicBezTo>
                <a:cubicBezTo>
                  <a:pt x="1676" y="192"/>
                  <a:pt x="1676" y="192"/>
                  <a:pt x="1676" y="192"/>
                </a:cubicBezTo>
                <a:cubicBezTo>
                  <a:pt x="1677" y="191"/>
                  <a:pt x="1677" y="191"/>
                  <a:pt x="1677" y="191"/>
                </a:cubicBezTo>
                <a:cubicBezTo>
                  <a:pt x="1678" y="192"/>
                  <a:pt x="1678" y="192"/>
                  <a:pt x="1678" y="192"/>
                </a:cubicBezTo>
                <a:cubicBezTo>
                  <a:pt x="1682" y="193"/>
                  <a:pt x="1682" y="193"/>
                  <a:pt x="1682" y="193"/>
                </a:cubicBezTo>
                <a:cubicBezTo>
                  <a:pt x="1684" y="193"/>
                  <a:pt x="1684" y="193"/>
                  <a:pt x="1684" y="193"/>
                </a:cubicBezTo>
                <a:cubicBezTo>
                  <a:pt x="1685" y="193"/>
                  <a:pt x="1685" y="193"/>
                  <a:pt x="1685" y="193"/>
                </a:cubicBezTo>
                <a:cubicBezTo>
                  <a:pt x="1685" y="195"/>
                  <a:pt x="1685" y="195"/>
                  <a:pt x="1685" y="195"/>
                </a:cubicBezTo>
                <a:cubicBezTo>
                  <a:pt x="1684" y="195"/>
                  <a:pt x="1684" y="195"/>
                  <a:pt x="1684" y="195"/>
                </a:cubicBezTo>
                <a:cubicBezTo>
                  <a:pt x="1685" y="196"/>
                  <a:pt x="1685" y="196"/>
                  <a:pt x="1685" y="196"/>
                </a:cubicBezTo>
                <a:cubicBezTo>
                  <a:pt x="1685" y="198"/>
                  <a:pt x="1685" y="198"/>
                  <a:pt x="1685" y="198"/>
                </a:cubicBezTo>
                <a:cubicBezTo>
                  <a:pt x="1686" y="199"/>
                  <a:pt x="1686" y="199"/>
                  <a:pt x="1686" y="199"/>
                </a:cubicBezTo>
                <a:cubicBezTo>
                  <a:pt x="1686" y="201"/>
                  <a:pt x="1686" y="201"/>
                  <a:pt x="1686" y="201"/>
                </a:cubicBezTo>
                <a:cubicBezTo>
                  <a:pt x="1687" y="203"/>
                  <a:pt x="1687" y="203"/>
                  <a:pt x="1687" y="203"/>
                </a:cubicBezTo>
                <a:cubicBezTo>
                  <a:pt x="1686" y="206"/>
                  <a:pt x="1686" y="206"/>
                  <a:pt x="1686" y="206"/>
                </a:cubicBezTo>
                <a:cubicBezTo>
                  <a:pt x="1687" y="207"/>
                  <a:pt x="1687" y="207"/>
                  <a:pt x="1687" y="207"/>
                </a:cubicBezTo>
                <a:cubicBezTo>
                  <a:pt x="1686" y="208"/>
                  <a:pt x="1686" y="208"/>
                  <a:pt x="1686" y="208"/>
                </a:cubicBezTo>
                <a:cubicBezTo>
                  <a:pt x="1687" y="209"/>
                  <a:pt x="1687" y="209"/>
                  <a:pt x="1687" y="209"/>
                </a:cubicBezTo>
                <a:cubicBezTo>
                  <a:pt x="1687" y="210"/>
                  <a:pt x="1687" y="210"/>
                  <a:pt x="1687" y="210"/>
                </a:cubicBezTo>
                <a:cubicBezTo>
                  <a:pt x="1686" y="211"/>
                  <a:pt x="1686" y="211"/>
                  <a:pt x="1686" y="211"/>
                </a:cubicBezTo>
                <a:cubicBezTo>
                  <a:pt x="1686" y="212"/>
                  <a:pt x="1686" y="212"/>
                  <a:pt x="1686" y="212"/>
                </a:cubicBezTo>
                <a:cubicBezTo>
                  <a:pt x="1688" y="213"/>
                  <a:pt x="1688" y="213"/>
                  <a:pt x="1688" y="213"/>
                </a:cubicBezTo>
                <a:cubicBezTo>
                  <a:pt x="1689" y="215"/>
                  <a:pt x="1689" y="215"/>
                  <a:pt x="1689" y="215"/>
                </a:cubicBezTo>
                <a:cubicBezTo>
                  <a:pt x="1690" y="215"/>
                  <a:pt x="1690" y="215"/>
                  <a:pt x="1690" y="215"/>
                </a:cubicBezTo>
                <a:cubicBezTo>
                  <a:pt x="1690" y="216"/>
                  <a:pt x="1690" y="216"/>
                  <a:pt x="1690" y="216"/>
                </a:cubicBezTo>
                <a:cubicBezTo>
                  <a:pt x="1691" y="215"/>
                  <a:pt x="1691" y="215"/>
                  <a:pt x="1691" y="215"/>
                </a:cubicBezTo>
                <a:cubicBezTo>
                  <a:pt x="1692" y="216"/>
                  <a:pt x="1692" y="216"/>
                  <a:pt x="1692" y="216"/>
                </a:cubicBezTo>
                <a:cubicBezTo>
                  <a:pt x="1692" y="218"/>
                  <a:pt x="1692" y="218"/>
                  <a:pt x="1692" y="218"/>
                </a:cubicBezTo>
                <a:cubicBezTo>
                  <a:pt x="1694" y="219"/>
                  <a:pt x="1694" y="219"/>
                  <a:pt x="1694" y="219"/>
                </a:cubicBezTo>
                <a:cubicBezTo>
                  <a:pt x="1695" y="221"/>
                  <a:pt x="1695" y="221"/>
                  <a:pt x="1695" y="221"/>
                </a:cubicBezTo>
                <a:cubicBezTo>
                  <a:pt x="1695" y="225"/>
                  <a:pt x="1695" y="225"/>
                  <a:pt x="1695" y="225"/>
                </a:cubicBezTo>
                <a:cubicBezTo>
                  <a:pt x="1696" y="226"/>
                  <a:pt x="1696" y="226"/>
                  <a:pt x="1696" y="226"/>
                </a:cubicBezTo>
                <a:cubicBezTo>
                  <a:pt x="1696" y="227"/>
                  <a:pt x="1696" y="227"/>
                  <a:pt x="1696" y="227"/>
                </a:cubicBezTo>
                <a:cubicBezTo>
                  <a:pt x="1697" y="229"/>
                  <a:pt x="1697" y="229"/>
                  <a:pt x="1697" y="229"/>
                </a:cubicBezTo>
                <a:cubicBezTo>
                  <a:pt x="1697" y="231"/>
                  <a:pt x="1697" y="231"/>
                  <a:pt x="1697" y="231"/>
                </a:cubicBezTo>
                <a:cubicBezTo>
                  <a:pt x="1699" y="234"/>
                  <a:pt x="1699" y="234"/>
                  <a:pt x="1699" y="234"/>
                </a:cubicBezTo>
                <a:cubicBezTo>
                  <a:pt x="1698" y="235"/>
                  <a:pt x="1698" y="235"/>
                  <a:pt x="1698" y="235"/>
                </a:cubicBezTo>
                <a:cubicBezTo>
                  <a:pt x="1699" y="237"/>
                  <a:pt x="1699" y="237"/>
                  <a:pt x="1699" y="237"/>
                </a:cubicBezTo>
                <a:cubicBezTo>
                  <a:pt x="1701" y="237"/>
                  <a:pt x="1701" y="237"/>
                  <a:pt x="1701" y="237"/>
                </a:cubicBezTo>
                <a:cubicBezTo>
                  <a:pt x="1700" y="239"/>
                  <a:pt x="1700" y="239"/>
                  <a:pt x="1700" y="239"/>
                </a:cubicBezTo>
                <a:cubicBezTo>
                  <a:pt x="1701" y="239"/>
                  <a:pt x="1701" y="239"/>
                  <a:pt x="1701" y="239"/>
                </a:cubicBezTo>
                <a:cubicBezTo>
                  <a:pt x="1701" y="242"/>
                  <a:pt x="1701" y="242"/>
                  <a:pt x="1701" y="242"/>
                </a:cubicBezTo>
                <a:cubicBezTo>
                  <a:pt x="1704" y="245"/>
                  <a:pt x="1704" y="245"/>
                  <a:pt x="1704" y="245"/>
                </a:cubicBezTo>
                <a:cubicBezTo>
                  <a:pt x="1706" y="246"/>
                  <a:pt x="1706" y="246"/>
                  <a:pt x="1706" y="246"/>
                </a:cubicBezTo>
                <a:cubicBezTo>
                  <a:pt x="1706" y="247"/>
                  <a:pt x="1706" y="247"/>
                  <a:pt x="1706" y="247"/>
                </a:cubicBezTo>
                <a:cubicBezTo>
                  <a:pt x="1707" y="247"/>
                  <a:pt x="1707" y="247"/>
                  <a:pt x="1707" y="247"/>
                </a:cubicBezTo>
                <a:cubicBezTo>
                  <a:pt x="1709" y="249"/>
                  <a:pt x="1709" y="249"/>
                  <a:pt x="1709" y="249"/>
                </a:cubicBezTo>
                <a:cubicBezTo>
                  <a:pt x="1709" y="250"/>
                  <a:pt x="1709" y="250"/>
                  <a:pt x="1709" y="250"/>
                </a:cubicBezTo>
                <a:cubicBezTo>
                  <a:pt x="1709" y="251"/>
                  <a:pt x="1709" y="251"/>
                  <a:pt x="1709" y="251"/>
                </a:cubicBezTo>
                <a:cubicBezTo>
                  <a:pt x="1708" y="253"/>
                  <a:pt x="1708" y="253"/>
                  <a:pt x="1708" y="253"/>
                </a:cubicBezTo>
                <a:cubicBezTo>
                  <a:pt x="1709" y="255"/>
                  <a:pt x="1709" y="255"/>
                  <a:pt x="1709" y="255"/>
                </a:cubicBezTo>
                <a:cubicBezTo>
                  <a:pt x="1711" y="256"/>
                  <a:pt x="1711" y="256"/>
                  <a:pt x="1711" y="256"/>
                </a:cubicBezTo>
                <a:cubicBezTo>
                  <a:pt x="1711" y="258"/>
                  <a:pt x="1711" y="258"/>
                  <a:pt x="1711" y="258"/>
                </a:cubicBezTo>
                <a:cubicBezTo>
                  <a:pt x="1710" y="259"/>
                  <a:pt x="1710" y="259"/>
                  <a:pt x="1710" y="259"/>
                </a:cubicBezTo>
                <a:cubicBezTo>
                  <a:pt x="1710" y="260"/>
                  <a:pt x="1710" y="260"/>
                  <a:pt x="1710" y="260"/>
                </a:cubicBezTo>
                <a:cubicBezTo>
                  <a:pt x="1709" y="261"/>
                  <a:pt x="1709" y="261"/>
                  <a:pt x="1709" y="261"/>
                </a:cubicBezTo>
                <a:cubicBezTo>
                  <a:pt x="1709" y="262"/>
                  <a:pt x="1709" y="262"/>
                  <a:pt x="1709" y="262"/>
                </a:cubicBezTo>
                <a:cubicBezTo>
                  <a:pt x="1709" y="264"/>
                  <a:pt x="1709" y="264"/>
                  <a:pt x="1709" y="264"/>
                </a:cubicBezTo>
                <a:cubicBezTo>
                  <a:pt x="1708" y="265"/>
                  <a:pt x="1708" y="265"/>
                  <a:pt x="1708" y="265"/>
                </a:cubicBezTo>
                <a:cubicBezTo>
                  <a:pt x="1708" y="266"/>
                  <a:pt x="1708" y="266"/>
                  <a:pt x="1708" y="266"/>
                </a:cubicBezTo>
                <a:cubicBezTo>
                  <a:pt x="1709" y="265"/>
                  <a:pt x="1709" y="265"/>
                  <a:pt x="1709" y="265"/>
                </a:cubicBezTo>
                <a:cubicBezTo>
                  <a:pt x="1709" y="266"/>
                  <a:pt x="1709" y="266"/>
                  <a:pt x="1709" y="266"/>
                </a:cubicBezTo>
                <a:cubicBezTo>
                  <a:pt x="1708" y="267"/>
                  <a:pt x="1708" y="267"/>
                  <a:pt x="1708" y="267"/>
                </a:cubicBezTo>
                <a:cubicBezTo>
                  <a:pt x="1708" y="270"/>
                  <a:pt x="1708" y="270"/>
                  <a:pt x="1708" y="270"/>
                </a:cubicBezTo>
                <a:cubicBezTo>
                  <a:pt x="1707" y="270"/>
                  <a:pt x="1707" y="270"/>
                  <a:pt x="1707" y="270"/>
                </a:cubicBezTo>
                <a:cubicBezTo>
                  <a:pt x="1706" y="270"/>
                  <a:pt x="1706" y="270"/>
                  <a:pt x="1706" y="270"/>
                </a:cubicBezTo>
                <a:cubicBezTo>
                  <a:pt x="1706" y="271"/>
                  <a:pt x="1706" y="271"/>
                  <a:pt x="1706" y="271"/>
                </a:cubicBezTo>
                <a:cubicBezTo>
                  <a:pt x="1707" y="272"/>
                  <a:pt x="1707" y="272"/>
                  <a:pt x="1707" y="272"/>
                </a:cubicBezTo>
                <a:cubicBezTo>
                  <a:pt x="1707" y="273"/>
                  <a:pt x="1707" y="273"/>
                  <a:pt x="1707" y="273"/>
                </a:cubicBezTo>
                <a:cubicBezTo>
                  <a:pt x="1706" y="274"/>
                  <a:pt x="1706" y="274"/>
                  <a:pt x="1706" y="274"/>
                </a:cubicBezTo>
                <a:cubicBezTo>
                  <a:pt x="1705" y="275"/>
                  <a:pt x="1705" y="275"/>
                  <a:pt x="1705" y="275"/>
                </a:cubicBezTo>
                <a:cubicBezTo>
                  <a:pt x="1702" y="275"/>
                  <a:pt x="1702" y="275"/>
                  <a:pt x="1702" y="275"/>
                </a:cubicBezTo>
                <a:cubicBezTo>
                  <a:pt x="1701" y="274"/>
                  <a:pt x="1701" y="274"/>
                  <a:pt x="1701" y="274"/>
                </a:cubicBezTo>
                <a:cubicBezTo>
                  <a:pt x="1703" y="273"/>
                  <a:pt x="1703" y="273"/>
                  <a:pt x="1703" y="273"/>
                </a:cubicBezTo>
                <a:cubicBezTo>
                  <a:pt x="1703" y="272"/>
                  <a:pt x="1703" y="272"/>
                  <a:pt x="1703" y="272"/>
                </a:cubicBezTo>
                <a:cubicBezTo>
                  <a:pt x="1702" y="272"/>
                  <a:pt x="1702" y="272"/>
                  <a:pt x="1702" y="272"/>
                </a:cubicBezTo>
                <a:cubicBezTo>
                  <a:pt x="1702" y="273"/>
                  <a:pt x="1702" y="273"/>
                  <a:pt x="1702" y="273"/>
                </a:cubicBezTo>
                <a:cubicBezTo>
                  <a:pt x="1701" y="273"/>
                  <a:pt x="1701" y="273"/>
                  <a:pt x="1701" y="273"/>
                </a:cubicBezTo>
                <a:cubicBezTo>
                  <a:pt x="1698" y="271"/>
                  <a:pt x="1698" y="271"/>
                  <a:pt x="1698" y="271"/>
                </a:cubicBezTo>
                <a:cubicBezTo>
                  <a:pt x="1697" y="272"/>
                  <a:pt x="1697" y="272"/>
                  <a:pt x="1697" y="272"/>
                </a:cubicBezTo>
                <a:cubicBezTo>
                  <a:pt x="1694" y="273"/>
                  <a:pt x="1694" y="273"/>
                  <a:pt x="1694" y="273"/>
                </a:cubicBezTo>
                <a:cubicBezTo>
                  <a:pt x="1692" y="273"/>
                  <a:pt x="1692" y="273"/>
                  <a:pt x="1692" y="273"/>
                </a:cubicBezTo>
                <a:cubicBezTo>
                  <a:pt x="1691" y="274"/>
                  <a:pt x="1691" y="274"/>
                  <a:pt x="1691" y="274"/>
                </a:cubicBezTo>
                <a:cubicBezTo>
                  <a:pt x="1692" y="274"/>
                  <a:pt x="1692" y="274"/>
                  <a:pt x="1692" y="274"/>
                </a:cubicBezTo>
                <a:cubicBezTo>
                  <a:pt x="1692" y="275"/>
                  <a:pt x="1692" y="275"/>
                  <a:pt x="1692" y="275"/>
                </a:cubicBezTo>
                <a:cubicBezTo>
                  <a:pt x="1693" y="274"/>
                  <a:pt x="1693" y="274"/>
                  <a:pt x="1693" y="274"/>
                </a:cubicBezTo>
                <a:cubicBezTo>
                  <a:pt x="1695" y="273"/>
                  <a:pt x="1695" y="273"/>
                  <a:pt x="1695" y="273"/>
                </a:cubicBezTo>
                <a:cubicBezTo>
                  <a:pt x="1695" y="275"/>
                  <a:pt x="1695" y="275"/>
                  <a:pt x="1695" y="275"/>
                </a:cubicBezTo>
                <a:cubicBezTo>
                  <a:pt x="1697" y="276"/>
                  <a:pt x="1697" y="276"/>
                  <a:pt x="1697" y="276"/>
                </a:cubicBezTo>
                <a:cubicBezTo>
                  <a:pt x="1702" y="277"/>
                  <a:pt x="1702" y="277"/>
                  <a:pt x="1702" y="277"/>
                </a:cubicBezTo>
                <a:cubicBezTo>
                  <a:pt x="1704" y="278"/>
                  <a:pt x="1704" y="278"/>
                  <a:pt x="1704" y="278"/>
                </a:cubicBezTo>
                <a:cubicBezTo>
                  <a:pt x="1706" y="277"/>
                  <a:pt x="1706" y="277"/>
                  <a:pt x="1706" y="277"/>
                </a:cubicBezTo>
                <a:cubicBezTo>
                  <a:pt x="1708" y="277"/>
                  <a:pt x="1708" y="277"/>
                  <a:pt x="1708" y="277"/>
                </a:cubicBezTo>
                <a:cubicBezTo>
                  <a:pt x="1709" y="278"/>
                  <a:pt x="1709" y="278"/>
                  <a:pt x="1709" y="278"/>
                </a:cubicBezTo>
                <a:cubicBezTo>
                  <a:pt x="1711" y="278"/>
                  <a:pt x="1711" y="278"/>
                  <a:pt x="1711" y="278"/>
                </a:cubicBezTo>
                <a:cubicBezTo>
                  <a:pt x="1713" y="277"/>
                  <a:pt x="1713" y="277"/>
                  <a:pt x="1713" y="277"/>
                </a:cubicBezTo>
                <a:cubicBezTo>
                  <a:pt x="1713" y="276"/>
                  <a:pt x="1713" y="276"/>
                  <a:pt x="1713" y="276"/>
                </a:cubicBezTo>
                <a:cubicBezTo>
                  <a:pt x="1712" y="275"/>
                  <a:pt x="1712" y="275"/>
                  <a:pt x="1712" y="275"/>
                </a:cubicBezTo>
                <a:cubicBezTo>
                  <a:pt x="1712" y="273"/>
                  <a:pt x="1712" y="273"/>
                  <a:pt x="1712" y="273"/>
                </a:cubicBezTo>
                <a:cubicBezTo>
                  <a:pt x="1713" y="272"/>
                  <a:pt x="1713" y="272"/>
                  <a:pt x="1713" y="272"/>
                </a:cubicBezTo>
                <a:cubicBezTo>
                  <a:pt x="1714" y="272"/>
                  <a:pt x="1714" y="272"/>
                  <a:pt x="1714" y="272"/>
                </a:cubicBezTo>
                <a:cubicBezTo>
                  <a:pt x="1714" y="271"/>
                  <a:pt x="1714" y="271"/>
                  <a:pt x="1714" y="271"/>
                </a:cubicBezTo>
                <a:cubicBezTo>
                  <a:pt x="1716" y="269"/>
                  <a:pt x="1716" y="269"/>
                  <a:pt x="1716" y="269"/>
                </a:cubicBezTo>
                <a:cubicBezTo>
                  <a:pt x="1716" y="268"/>
                  <a:pt x="1716" y="268"/>
                  <a:pt x="1716" y="268"/>
                </a:cubicBezTo>
                <a:cubicBezTo>
                  <a:pt x="1717" y="265"/>
                  <a:pt x="1717" y="265"/>
                  <a:pt x="1717" y="265"/>
                </a:cubicBezTo>
                <a:cubicBezTo>
                  <a:pt x="1716" y="263"/>
                  <a:pt x="1716" y="263"/>
                  <a:pt x="1716" y="263"/>
                </a:cubicBezTo>
                <a:cubicBezTo>
                  <a:pt x="1716" y="261"/>
                  <a:pt x="1716" y="261"/>
                  <a:pt x="1716" y="261"/>
                </a:cubicBezTo>
                <a:cubicBezTo>
                  <a:pt x="1718" y="258"/>
                  <a:pt x="1718" y="258"/>
                  <a:pt x="1718" y="258"/>
                </a:cubicBezTo>
                <a:cubicBezTo>
                  <a:pt x="1719" y="257"/>
                  <a:pt x="1719" y="257"/>
                  <a:pt x="1719" y="257"/>
                </a:cubicBezTo>
                <a:cubicBezTo>
                  <a:pt x="1717" y="252"/>
                  <a:pt x="1717" y="252"/>
                  <a:pt x="1717" y="252"/>
                </a:cubicBezTo>
                <a:cubicBezTo>
                  <a:pt x="1714" y="250"/>
                  <a:pt x="1714" y="250"/>
                  <a:pt x="1714" y="250"/>
                </a:cubicBezTo>
                <a:cubicBezTo>
                  <a:pt x="1713" y="249"/>
                  <a:pt x="1713" y="249"/>
                  <a:pt x="1713" y="249"/>
                </a:cubicBezTo>
                <a:cubicBezTo>
                  <a:pt x="1713" y="246"/>
                  <a:pt x="1713" y="246"/>
                  <a:pt x="1713" y="246"/>
                </a:cubicBezTo>
                <a:cubicBezTo>
                  <a:pt x="1715" y="244"/>
                  <a:pt x="1715" y="244"/>
                  <a:pt x="1715" y="244"/>
                </a:cubicBezTo>
                <a:cubicBezTo>
                  <a:pt x="1716" y="243"/>
                  <a:pt x="1716" y="243"/>
                  <a:pt x="1716" y="243"/>
                </a:cubicBezTo>
                <a:cubicBezTo>
                  <a:pt x="1718" y="243"/>
                  <a:pt x="1718" y="243"/>
                  <a:pt x="1718" y="243"/>
                </a:cubicBezTo>
                <a:cubicBezTo>
                  <a:pt x="1720" y="240"/>
                  <a:pt x="1720" y="240"/>
                  <a:pt x="1720" y="240"/>
                </a:cubicBezTo>
                <a:cubicBezTo>
                  <a:pt x="1722" y="240"/>
                  <a:pt x="1722" y="240"/>
                  <a:pt x="1722" y="240"/>
                </a:cubicBezTo>
                <a:cubicBezTo>
                  <a:pt x="1724" y="242"/>
                  <a:pt x="1724" y="242"/>
                  <a:pt x="1724" y="242"/>
                </a:cubicBezTo>
                <a:cubicBezTo>
                  <a:pt x="1724" y="244"/>
                  <a:pt x="1724" y="244"/>
                  <a:pt x="1724" y="244"/>
                </a:cubicBezTo>
                <a:cubicBezTo>
                  <a:pt x="1726" y="245"/>
                  <a:pt x="1726" y="245"/>
                  <a:pt x="1726" y="245"/>
                </a:cubicBezTo>
                <a:cubicBezTo>
                  <a:pt x="1727" y="246"/>
                  <a:pt x="1727" y="246"/>
                  <a:pt x="1727" y="246"/>
                </a:cubicBezTo>
                <a:cubicBezTo>
                  <a:pt x="1729" y="247"/>
                  <a:pt x="1729" y="247"/>
                  <a:pt x="1729" y="247"/>
                </a:cubicBezTo>
                <a:cubicBezTo>
                  <a:pt x="1728" y="249"/>
                  <a:pt x="1728" y="249"/>
                  <a:pt x="1728" y="249"/>
                </a:cubicBezTo>
                <a:cubicBezTo>
                  <a:pt x="1730" y="250"/>
                  <a:pt x="1730" y="250"/>
                  <a:pt x="1730" y="250"/>
                </a:cubicBezTo>
                <a:cubicBezTo>
                  <a:pt x="1730" y="251"/>
                  <a:pt x="1730" y="251"/>
                  <a:pt x="1730" y="251"/>
                </a:cubicBezTo>
                <a:cubicBezTo>
                  <a:pt x="1731" y="253"/>
                  <a:pt x="1731" y="253"/>
                  <a:pt x="1731" y="253"/>
                </a:cubicBezTo>
                <a:cubicBezTo>
                  <a:pt x="1731" y="254"/>
                  <a:pt x="1731" y="254"/>
                  <a:pt x="1731" y="254"/>
                </a:cubicBezTo>
                <a:cubicBezTo>
                  <a:pt x="1731" y="255"/>
                  <a:pt x="1731" y="255"/>
                  <a:pt x="1731" y="255"/>
                </a:cubicBezTo>
                <a:cubicBezTo>
                  <a:pt x="1732" y="256"/>
                  <a:pt x="1732" y="256"/>
                  <a:pt x="1732" y="256"/>
                </a:cubicBezTo>
                <a:cubicBezTo>
                  <a:pt x="1733" y="256"/>
                  <a:pt x="1733" y="256"/>
                  <a:pt x="1733" y="256"/>
                </a:cubicBezTo>
                <a:cubicBezTo>
                  <a:pt x="1735" y="257"/>
                  <a:pt x="1735" y="257"/>
                  <a:pt x="1735" y="257"/>
                </a:cubicBezTo>
                <a:cubicBezTo>
                  <a:pt x="1737" y="257"/>
                  <a:pt x="1737" y="257"/>
                  <a:pt x="1737" y="257"/>
                </a:cubicBezTo>
                <a:cubicBezTo>
                  <a:pt x="1738" y="257"/>
                  <a:pt x="1738" y="257"/>
                  <a:pt x="1738" y="257"/>
                </a:cubicBezTo>
                <a:cubicBezTo>
                  <a:pt x="1739" y="257"/>
                  <a:pt x="1739" y="257"/>
                  <a:pt x="1739" y="257"/>
                </a:cubicBezTo>
                <a:cubicBezTo>
                  <a:pt x="1740" y="256"/>
                  <a:pt x="1740" y="256"/>
                  <a:pt x="1740" y="256"/>
                </a:cubicBezTo>
                <a:cubicBezTo>
                  <a:pt x="1741" y="255"/>
                  <a:pt x="1741" y="255"/>
                  <a:pt x="1741" y="255"/>
                </a:cubicBezTo>
                <a:cubicBezTo>
                  <a:pt x="1740" y="255"/>
                  <a:pt x="1740" y="255"/>
                  <a:pt x="1740" y="255"/>
                </a:cubicBezTo>
                <a:cubicBezTo>
                  <a:pt x="1739" y="255"/>
                  <a:pt x="1739" y="255"/>
                  <a:pt x="1739" y="255"/>
                </a:cubicBezTo>
                <a:cubicBezTo>
                  <a:pt x="1738" y="254"/>
                  <a:pt x="1738" y="254"/>
                  <a:pt x="1738" y="254"/>
                </a:cubicBezTo>
                <a:cubicBezTo>
                  <a:pt x="1737" y="256"/>
                  <a:pt x="1737" y="256"/>
                  <a:pt x="1737" y="256"/>
                </a:cubicBezTo>
                <a:cubicBezTo>
                  <a:pt x="1735" y="256"/>
                  <a:pt x="1735" y="256"/>
                  <a:pt x="1735" y="256"/>
                </a:cubicBezTo>
                <a:cubicBezTo>
                  <a:pt x="1735" y="255"/>
                  <a:pt x="1735" y="255"/>
                  <a:pt x="1735" y="255"/>
                </a:cubicBezTo>
                <a:cubicBezTo>
                  <a:pt x="1733" y="255"/>
                  <a:pt x="1733" y="255"/>
                  <a:pt x="1733" y="255"/>
                </a:cubicBezTo>
                <a:cubicBezTo>
                  <a:pt x="1732" y="254"/>
                  <a:pt x="1732" y="254"/>
                  <a:pt x="1732" y="254"/>
                </a:cubicBezTo>
                <a:cubicBezTo>
                  <a:pt x="1733" y="253"/>
                  <a:pt x="1733" y="253"/>
                  <a:pt x="1733" y="253"/>
                </a:cubicBezTo>
                <a:cubicBezTo>
                  <a:pt x="1732" y="252"/>
                  <a:pt x="1732" y="252"/>
                  <a:pt x="1732" y="252"/>
                </a:cubicBezTo>
                <a:cubicBezTo>
                  <a:pt x="1731" y="251"/>
                  <a:pt x="1731" y="251"/>
                  <a:pt x="1731" y="251"/>
                </a:cubicBezTo>
                <a:cubicBezTo>
                  <a:pt x="1731" y="248"/>
                  <a:pt x="1731" y="248"/>
                  <a:pt x="1731" y="248"/>
                </a:cubicBezTo>
                <a:cubicBezTo>
                  <a:pt x="1733" y="248"/>
                  <a:pt x="1733" y="248"/>
                  <a:pt x="1733" y="248"/>
                </a:cubicBezTo>
                <a:cubicBezTo>
                  <a:pt x="1734" y="247"/>
                  <a:pt x="1734" y="247"/>
                  <a:pt x="1734" y="247"/>
                </a:cubicBezTo>
                <a:cubicBezTo>
                  <a:pt x="1733" y="247"/>
                  <a:pt x="1733" y="247"/>
                  <a:pt x="1733" y="247"/>
                </a:cubicBezTo>
                <a:cubicBezTo>
                  <a:pt x="1732" y="246"/>
                  <a:pt x="1732" y="246"/>
                  <a:pt x="1732" y="246"/>
                </a:cubicBezTo>
                <a:cubicBezTo>
                  <a:pt x="1732" y="245"/>
                  <a:pt x="1732" y="245"/>
                  <a:pt x="1732" y="245"/>
                </a:cubicBezTo>
                <a:cubicBezTo>
                  <a:pt x="1732" y="244"/>
                  <a:pt x="1732" y="244"/>
                  <a:pt x="1732" y="244"/>
                </a:cubicBezTo>
                <a:cubicBezTo>
                  <a:pt x="1730" y="243"/>
                  <a:pt x="1730" y="243"/>
                  <a:pt x="1730" y="243"/>
                </a:cubicBezTo>
                <a:cubicBezTo>
                  <a:pt x="1730" y="242"/>
                  <a:pt x="1730" y="242"/>
                  <a:pt x="1730" y="242"/>
                </a:cubicBezTo>
                <a:cubicBezTo>
                  <a:pt x="1728" y="240"/>
                  <a:pt x="1728" y="240"/>
                  <a:pt x="1728" y="240"/>
                </a:cubicBezTo>
                <a:cubicBezTo>
                  <a:pt x="1726" y="240"/>
                  <a:pt x="1726" y="240"/>
                  <a:pt x="1726" y="240"/>
                </a:cubicBezTo>
                <a:cubicBezTo>
                  <a:pt x="1723" y="239"/>
                  <a:pt x="1723" y="239"/>
                  <a:pt x="1723" y="239"/>
                </a:cubicBezTo>
                <a:cubicBezTo>
                  <a:pt x="1722" y="238"/>
                  <a:pt x="1722" y="238"/>
                  <a:pt x="1722" y="238"/>
                </a:cubicBezTo>
                <a:cubicBezTo>
                  <a:pt x="1721" y="238"/>
                  <a:pt x="1721" y="238"/>
                  <a:pt x="1721" y="238"/>
                </a:cubicBezTo>
                <a:cubicBezTo>
                  <a:pt x="1719" y="237"/>
                  <a:pt x="1719" y="237"/>
                  <a:pt x="1719" y="237"/>
                </a:cubicBezTo>
                <a:cubicBezTo>
                  <a:pt x="1717" y="237"/>
                  <a:pt x="1717" y="237"/>
                  <a:pt x="1717" y="237"/>
                </a:cubicBezTo>
                <a:cubicBezTo>
                  <a:pt x="1716" y="237"/>
                  <a:pt x="1716" y="237"/>
                  <a:pt x="1716" y="237"/>
                </a:cubicBezTo>
                <a:cubicBezTo>
                  <a:pt x="1714" y="238"/>
                  <a:pt x="1714" y="238"/>
                  <a:pt x="1714" y="238"/>
                </a:cubicBezTo>
                <a:cubicBezTo>
                  <a:pt x="1714" y="240"/>
                  <a:pt x="1714" y="240"/>
                  <a:pt x="1714" y="240"/>
                </a:cubicBezTo>
                <a:cubicBezTo>
                  <a:pt x="1713" y="241"/>
                  <a:pt x="1713" y="241"/>
                  <a:pt x="1713" y="241"/>
                </a:cubicBezTo>
                <a:cubicBezTo>
                  <a:pt x="1711" y="240"/>
                  <a:pt x="1711" y="240"/>
                  <a:pt x="1711" y="240"/>
                </a:cubicBezTo>
                <a:cubicBezTo>
                  <a:pt x="1709" y="241"/>
                  <a:pt x="1709" y="241"/>
                  <a:pt x="1709" y="241"/>
                </a:cubicBezTo>
                <a:cubicBezTo>
                  <a:pt x="1707" y="241"/>
                  <a:pt x="1707" y="241"/>
                  <a:pt x="1707" y="241"/>
                </a:cubicBezTo>
                <a:cubicBezTo>
                  <a:pt x="1707" y="240"/>
                  <a:pt x="1707" y="240"/>
                  <a:pt x="1707" y="240"/>
                </a:cubicBezTo>
                <a:cubicBezTo>
                  <a:pt x="1707" y="238"/>
                  <a:pt x="1707" y="238"/>
                  <a:pt x="1707" y="238"/>
                </a:cubicBezTo>
                <a:cubicBezTo>
                  <a:pt x="1707" y="237"/>
                  <a:pt x="1707" y="237"/>
                  <a:pt x="1707" y="237"/>
                </a:cubicBezTo>
                <a:cubicBezTo>
                  <a:pt x="1704" y="234"/>
                  <a:pt x="1704" y="234"/>
                  <a:pt x="1704" y="234"/>
                </a:cubicBezTo>
                <a:cubicBezTo>
                  <a:pt x="1703" y="233"/>
                  <a:pt x="1703" y="233"/>
                  <a:pt x="1703" y="233"/>
                </a:cubicBezTo>
                <a:cubicBezTo>
                  <a:pt x="1704" y="230"/>
                  <a:pt x="1704" y="230"/>
                  <a:pt x="1704" y="230"/>
                </a:cubicBezTo>
                <a:cubicBezTo>
                  <a:pt x="1702" y="228"/>
                  <a:pt x="1702" y="228"/>
                  <a:pt x="1702" y="228"/>
                </a:cubicBezTo>
                <a:cubicBezTo>
                  <a:pt x="1703" y="226"/>
                  <a:pt x="1703" y="226"/>
                  <a:pt x="1703" y="226"/>
                </a:cubicBezTo>
                <a:cubicBezTo>
                  <a:pt x="1703" y="222"/>
                  <a:pt x="1703" y="222"/>
                  <a:pt x="1703" y="222"/>
                </a:cubicBezTo>
                <a:cubicBezTo>
                  <a:pt x="1702" y="220"/>
                  <a:pt x="1702" y="220"/>
                  <a:pt x="1702" y="220"/>
                </a:cubicBezTo>
                <a:cubicBezTo>
                  <a:pt x="1700" y="218"/>
                  <a:pt x="1700" y="218"/>
                  <a:pt x="1700" y="218"/>
                </a:cubicBezTo>
                <a:cubicBezTo>
                  <a:pt x="1699" y="218"/>
                  <a:pt x="1699" y="218"/>
                  <a:pt x="1699" y="218"/>
                </a:cubicBezTo>
                <a:cubicBezTo>
                  <a:pt x="1698" y="216"/>
                  <a:pt x="1698" y="216"/>
                  <a:pt x="1698" y="216"/>
                </a:cubicBezTo>
                <a:cubicBezTo>
                  <a:pt x="1695" y="214"/>
                  <a:pt x="1695" y="214"/>
                  <a:pt x="1695" y="214"/>
                </a:cubicBezTo>
                <a:cubicBezTo>
                  <a:pt x="1693" y="213"/>
                  <a:pt x="1693" y="213"/>
                  <a:pt x="1693" y="213"/>
                </a:cubicBezTo>
                <a:cubicBezTo>
                  <a:pt x="1693" y="211"/>
                  <a:pt x="1693" y="211"/>
                  <a:pt x="1693" y="211"/>
                </a:cubicBezTo>
                <a:cubicBezTo>
                  <a:pt x="1694" y="209"/>
                  <a:pt x="1694" y="209"/>
                  <a:pt x="1694" y="209"/>
                </a:cubicBezTo>
                <a:cubicBezTo>
                  <a:pt x="1693" y="207"/>
                  <a:pt x="1693" y="207"/>
                  <a:pt x="1693" y="207"/>
                </a:cubicBezTo>
                <a:cubicBezTo>
                  <a:pt x="1692" y="206"/>
                  <a:pt x="1692" y="206"/>
                  <a:pt x="1692" y="206"/>
                </a:cubicBezTo>
                <a:cubicBezTo>
                  <a:pt x="1692" y="205"/>
                  <a:pt x="1692" y="205"/>
                  <a:pt x="1692" y="205"/>
                </a:cubicBezTo>
                <a:cubicBezTo>
                  <a:pt x="1694" y="204"/>
                  <a:pt x="1694" y="204"/>
                  <a:pt x="1694" y="204"/>
                </a:cubicBezTo>
                <a:cubicBezTo>
                  <a:pt x="1696" y="201"/>
                  <a:pt x="1696" y="201"/>
                  <a:pt x="1696" y="201"/>
                </a:cubicBezTo>
                <a:cubicBezTo>
                  <a:pt x="1697" y="199"/>
                  <a:pt x="1697" y="199"/>
                  <a:pt x="1697" y="199"/>
                </a:cubicBezTo>
                <a:cubicBezTo>
                  <a:pt x="1696" y="195"/>
                  <a:pt x="1696" y="195"/>
                  <a:pt x="1696" y="195"/>
                </a:cubicBezTo>
                <a:cubicBezTo>
                  <a:pt x="1693" y="190"/>
                  <a:pt x="1693" y="190"/>
                  <a:pt x="1693" y="190"/>
                </a:cubicBezTo>
                <a:cubicBezTo>
                  <a:pt x="1694" y="190"/>
                  <a:pt x="1694" y="190"/>
                  <a:pt x="1694" y="190"/>
                </a:cubicBezTo>
                <a:cubicBezTo>
                  <a:pt x="1696" y="191"/>
                  <a:pt x="1696" y="191"/>
                  <a:pt x="1696" y="191"/>
                </a:cubicBezTo>
                <a:cubicBezTo>
                  <a:pt x="1696" y="193"/>
                  <a:pt x="1696" y="193"/>
                  <a:pt x="1696" y="193"/>
                </a:cubicBezTo>
                <a:cubicBezTo>
                  <a:pt x="1697" y="193"/>
                  <a:pt x="1697" y="193"/>
                  <a:pt x="1697" y="193"/>
                </a:cubicBezTo>
                <a:cubicBezTo>
                  <a:pt x="1698" y="195"/>
                  <a:pt x="1698" y="195"/>
                  <a:pt x="1698" y="195"/>
                </a:cubicBezTo>
                <a:cubicBezTo>
                  <a:pt x="1699" y="197"/>
                  <a:pt x="1699" y="197"/>
                  <a:pt x="1699" y="197"/>
                </a:cubicBezTo>
                <a:cubicBezTo>
                  <a:pt x="1699" y="200"/>
                  <a:pt x="1699" y="200"/>
                  <a:pt x="1699" y="200"/>
                </a:cubicBezTo>
                <a:cubicBezTo>
                  <a:pt x="1700" y="201"/>
                  <a:pt x="1700" y="201"/>
                  <a:pt x="1700" y="201"/>
                </a:cubicBezTo>
                <a:cubicBezTo>
                  <a:pt x="1699" y="203"/>
                  <a:pt x="1699" y="203"/>
                  <a:pt x="1699" y="203"/>
                </a:cubicBezTo>
                <a:cubicBezTo>
                  <a:pt x="1700" y="204"/>
                  <a:pt x="1700" y="204"/>
                  <a:pt x="1700" y="204"/>
                </a:cubicBezTo>
                <a:cubicBezTo>
                  <a:pt x="1702" y="206"/>
                  <a:pt x="1702" y="206"/>
                  <a:pt x="1702" y="206"/>
                </a:cubicBezTo>
                <a:cubicBezTo>
                  <a:pt x="1702" y="207"/>
                  <a:pt x="1702" y="207"/>
                  <a:pt x="1702" y="207"/>
                </a:cubicBezTo>
                <a:cubicBezTo>
                  <a:pt x="1703" y="208"/>
                  <a:pt x="1703" y="208"/>
                  <a:pt x="1703" y="208"/>
                </a:cubicBezTo>
                <a:cubicBezTo>
                  <a:pt x="1703" y="209"/>
                  <a:pt x="1703" y="209"/>
                  <a:pt x="1703" y="209"/>
                </a:cubicBezTo>
                <a:cubicBezTo>
                  <a:pt x="1702" y="209"/>
                  <a:pt x="1702" y="209"/>
                  <a:pt x="1702" y="209"/>
                </a:cubicBezTo>
                <a:cubicBezTo>
                  <a:pt x="1702" y="210"/>
                  <a:pt x="1702" y="210"/>
                  <a:pt x="1702" y="210"/>
                </a:cubicBezTo>
                <a:cubicBezTo>
                  <a:pt x="1704" y="210"/>
                  <a:pt x="1704" y="210"/>
                  <a:pt x="1704" y="210"/>
                </a:cubicBezTo>
                <a:cubicBezTo>
                  <a:pt x="1706" y="211"/>
                  <a:pt x="1706" y="211"/>
                  <a:pt x="1706" y="211"/>
                </a:cubicBezTo>
                <a:cubicBezTo>
                  <a:pt x="1708" y="211"/>
                  <a:pt x="1708" y="211"/>
                  <a:pt x="1708" y="211"/>
                </a:cubicBezTo>
                <a:cubicBezTo>
                  <a:pt x="1709" y="211"/>
                  <a:pt x="1709" y="211"/>
                  <a:pt x="1709" y="211"/>
                </a:cubicBezTo>
                <a:cubicBezTo>
                  <a:pt x="1710" y="212"/>
                  <a:pt x="1710" y="212"/>
                  <a:pt x="1710" y="212"/>
                </a:cubicBezTo>
                <a:cubicBezTo>
                  <a:pt x="1711" y="213"/>
                  <a:pt x="1711" y="213"/>
                  <a:pt x="1711" y="213"/>
                </a:cubicBezTo>
                <a:cubicBezTo>
                  <a:pt x="1712" y="211"/>
                  <a:pt x="1712" y="211"/>
                  <a:pt x="1712" y="211"/>
                </a:cubicBezTo>
                <a:cubicBezTo>
                  <a:pt x="1713" y="211"/>
                  <a:pt x="1713" y="211"/>
                  <a:pt x="1713" y="211"/>
                </a:cubicBezTo>
                <a:cubicBezTo>
                  <a:pt x="1714" y="210"/>
                  <a:pt x="1714" y="210"/>
                  <a:pt x="1714" y="210"/>
                </a:cubicBezTo>
                <a:cubicBezTo>
                  <a:pt x="1716" y="211"/>
                  <a:pt x="1716" y="211"/>
                  <a:pt x="1716" y="211"/>
                </a:cubicBezTo>
                <a:cubicBezTo>
                  <a:pt x="1717" y="213"/>
                  <a:pt x="1717" y="213"/>
                  <a:pt x="1717" y="213"/>
                </a:cubicBezTo>
                <a:cubicBezTo>
                  <a:pt x="1718" y="213"/>
                  <a:pt x="1718" y="213"/>
                  <a:pt x="1718" y="213"/>
                </a:cubicBezTo>
                <a:cubicBezTo>
                  <a:pt x="1720" y="214"/>
                  <a:pt x="1720" y="214"/>
                  <a:pt x="1720" y="214"/>
                </a:cubicBezTo>
                <a:cubicBezTo>
                  <a:pt x="1723" y="213"/>
                  <a:pt x="1723" y="213"/>
                  <a:pt x="1723" y="213"/>
                </a:cubicBezTo>
                <a:cubicBezTo>
                  <a:pt x="1724" y="212"/>
                  <a:pt x="1724" y="212"/>
                  <a:pt x="1724" y="212"/>
                </a:cubicBezTo>
                <a:cubicBezTo>
                  <a:pt x="1722" y="213"/>
                  <a:pt x="1722" y="213"/>
                  <a:pt x="1722" y="213"/>
                </a:cubicBezTo>
                <a:cubicBezTo>
                  <a:pt x="1720" y="213"/>
                  <a:pt x="1720" y="213"/>
                  <a:pt x="1720" y="213"/>
                </a:cubicBezTo>
                <a:cubicBezTo>
                  <a:pt x="1720" y="211"/>
                  <a:pt x="1720" y="211"/>
                  <a:pt x="1720" y="211"/>
                </a:cubicBezTo>
                <a:cubicBezTo>
                  <a:pt x="1719" y="211"/>
                  <a:pt x="1719" y="211"/>
                  <a:pt x="1719" y="211"/>
                </a:cubicBezTo>
                <a:cubicBezTo>
                  <a:pt x="1718" y="209"/>
                  <a:pt x="1718" y="209"/>
                  <a:pt x="1718" y="209"/>
                </a:cubicBezTo>
                <a:cubicBezTo>
                  <a:pt x="1716" y="209"/>
                  <a:pt x="1716" y="209"/>
                  <a:pt x="1716" y="209"/>
                </a:cubicBezTo>
                <a:cubicBezTo>
                  <a:pt x="1716" y="208"/>
                  <a:pt x="1716" y="208"/>
                  <a:pt x="1716" y="208"/>
                </a:cubicBezTo>
                <a:cubicBezTo>
                  <a:pt x="1715" y="208"/>
                  <a:pt x="1715" y="208"/>
                  <a:pt x="1715" y="208"/>
                </a:cubicBezTo>
                <a:cubicBezTo>
                  <a:pt x="1714" y="209"/>
                  <a:pt x="1714" y="209"/>
                  <a:pt x="1714" y="209"/>
                </a:cubicBezTo>
                <a:cubicBezTo>
                  <a:pt x="1711" y="209"/>
                  <a:pt x="1711" y="209"/>
                  <a:pt x="1711" y="209"/>
                </a:cubicBezTo>
                <a:cubicBezTo>
                  <a:pt x="1710" y="208"/>
                  <a:pt x="1710" y="208"/>
                  <a:pt x="1710" y="208"/>
                </a:cubicBezTo>
                <a:cubicBezTo>
                  <a:pt x="1708" y="208"/>
                  <a:pt x="1708" y="208"/>
                  <a:pt x="1708" y="208"/>
                </a:cubicBezTo>
                <a:cubicBezTo>
                  <a:pt x="1706" y="206"/>
                  <a:pt x="1706" y="206"/>
                  <a:pt x="1706" y="206"/>
                </a:cubicBezTo>
                <a:cubicBezTo>
                  <a:pt x="1705" y="204"/>
                  <a:pt x="1705" y="204"/>
                  <a:pt x="1705" y="204"/>
                </a:cubicBezTo>
                <a:cubicBezTo>
                  <a:pt x="1703" y="201"/>
                  <a:pt x="1703" y="201"/>
                  <a:pt x="1703" y="201"/>
                </a:cubicBezTo>
                <a:cubicBezTo>
                  <a:pt x="1704" y="201"/>
                  <a:pt x="1704" y="201"/>
                  <a:pt x="1704" y="201"/>
                </a:cubicBezTo>
                <a:cubicBezTo>
                  <a:pt x="1704" y="200"/>
                  <a:pt x="1704" y="200"/>
                  <a:pt x="1704" y="200"/>
                </a:cubicBezTo>
                <a:cubicBezTo>
                  <a:pt x="1706" y="199"/>
                  <a:pt x="1706" y="199"/>
                  <a:pt x="1706" y="199"/>
                </a:cubicBezTo>
                <a:cubicBezTo>
                  <a:pt x="1707" y="199"/>
                  <a:pt x="1707" y="199"/>
                  <a:pt x="1707" y="199"/>
                </a:cubicBezTo>
                <a:cubicBezTo>
                  <a:pt x="1709" y="201"/>
                  <a:pt x="1709" y="201"/>
                  <a:pt x="1709" y="201"/>
                </a:cubicBezTo>
                <a:cubicBezTo>
                  <a:pt x="1711" y="202"/>
                  <a:pt x="1711" y="202"/>
                  <a:pt x="1711" y="202"/>
                </a:cubicBezTo>
                <a:cubicBezTo>
                  <a:pt x="1713" y="202"/>
                  <a:pt x="1713" y="202"/>
                  <a:pt x="1713" y="202"/>
                </a:cubicBezTo>
                <a:cubicBezTo>
                  <a:pt x="1715" y="199"/>
                  <a:pt x="1715" y="199"/>
                  <a:pt x="1715" y="199"/>
                </a:cubicBezTo>
                <a:cubicBezTo>
                  <a:pt x="1713" y="197"/>
                  <a:pt x="1713" y="197"/>
                  <a:pt x="1713" y="197"/>
                </a:cubicBezTo>
                <a:cubicBezTo>
                  <a:pt x="1711" y="196"/>
                  <a:pt x="1711" y="196"/>
                  <a:pt x="1711" y="196"/>
                </a:cubicBezTo>
                <a:cubicBezTo>
                  <a:pt x="1709" y="198"/>
                  <a:pt x="1709" y="198"/>
                  <a:pt x="1709" y="198"/>
                </a:cubicBezTo>
                <a:cubicBezTo>
                  <a:pt x="1708" y="197"/>
                  <a:pt x="1708" y="197"/>
                  <a:pt x="1708" y="197"/>
                </a:cubicBezTo>
                <a:cubicBezTo>
                  <a:pt x="1709" y="196"/>
                  <a:pt x="1709" y="196"/>
                  <a:pt x="1709" y="196"/>
                </a:cubicBezTo>
                <a:cubicBezTo>
                  <a:pt x="1710" y="196"/>
                  <a:pt x="1710" y="196"/>
                  <a:pt x="1710" y="196"/>
                </a:cubicBezTo>
                <a:cubicBezTo>
                  <a:pt x="1710" y="195"/>
                  <a:pt x="1710" y="195"/>
                  <a:pt x="1710" y="195"/>
                </a:cubicBezTo>
                <a:cubicBezTo>
                  <a:pt x="1712" y="192"/>
                  <a:pt x="1712" y="192"/>
                  <a:pt x="1712" y="192"/>
                </a:cubicBezTo>
                <a:cubicBezTo>
                  <a:pt x="1713" y="191"/>
                  <a:pt x="1713" y="191"/>
                  <a:pt x="1713" y="191"/>
                </a:cubicBezTo>
                <a:cubicBezTo>
                  <a:pt x="1714" y="192"/>
                  <a:pt x="1714" y="192"/>
                  <a:pt x="1714" y="192"/>
                </a:cubicBezTo>
                <a:cubicBezTo>
                  <a:pt x="1719" y="192"/>
                  <a:pt x="1719" y="192"/>
                  <a:pt x="1719" y="192"/>
                </a:cubicBezTo>
                <a:cubicBezTo>
                  <a:pt x="1720" y="193"/>
                  <a:pt x="1720" y="193"/>
                  <a:pt x="1720" y="193"/>
                </a:cubicBezTo>
                <a:cubicBezTo>
                  <a:pt x="1722" y="194"/>
                  <a:pt x="1722" y="194"/>
                  <a:pt x="1722" y="194"/>
                </a:cubicBezTo>
                <a:cubicBezTo>
                  <a:pt x="1725" y="195"/>
                  <a:pt x="1725" y="195"/>
                  <a:pt x="1725" y="195"/>
                </a:cubicBezTo>
                <a:cubicBezTo>
                  <a:pt x="1726" y="196"/>
                  <a:pt x="1726" y="196"/>
                  <a:pt x="1726" y="196"/>
                </a:cubicBezTo>
                <a:cubicBezTo>
                  <a:pt x="1727" y="197"/>
                  <a:pt x="1727" y="197"/>
                  <a:pt x="1727" y="197"/>
                </a:cubicBezTo>
                <a:cubicBezTo>
                  <a:pt x="1730" y="200"/>
                  <a:pt x="1730" y="200"/>
                  <a:pt x="1730" y="200"/>
                </a:cubicBezTo>
                <a:cubicBezTo>
                  <a:pt x="1731" y="200"/>
                  <a:pt x="1731" y="200"/>
                  <a:pt x="1731" y="200"/>
                </a:cubicBezTo>
                <a:cubicBezTo>
                  <a:pt x="1735" y="199"/>
                  <a:pt x="1735" y="199"/>
                  <a:pt x="1735" y="199"/>
                </a:cubicBezTo>
                <a:cubicBezTo>
                  <a:pt x="1737" y="198"/>
                  <a:pt x="1737" y="198"/>
                  <a:pt x="1737" y="198"/>
                </a:cubicBezTo>
                <a:cubicBezTo>
                  <a:pt x="1738" y="199"/>
                  <a:pt x="1738" y="199"/>
                  <a:pt x="1738" y="199"/>
                </a:cubicBezTo>
                <a:cubicBezTo>
                  <a:pt x="1739" y="198"/>
                  <a:pt x="1739" y="198"/>
                  <a:pt x="1739" y="198"/>
                </a:cubicBezTo>
                <a:cubicBezTo>
                  <a:pt x="1740" y="199"/>
                  <a:pt x="1740" y="199"/>
                  <a:pt x="1740" y="199"/>
                </a:cubicBezTo>
                <a:cubicBezTo>
                  <a:pt x="1740" y="201"/>
                  <a:pt x="1740" y="201"/>
                  <a:pt x="1740" y="201"/>
                </a:cubicBezTo>
                <a:cubicBezTo>
                  <a:pt x="1740" y="202"/>
                  <a:pt x="1740" y="202"/>
                  <a:pt x="1740" y="202"/>
                </a:cubicBezTo>
                <a:cubicBezTo>
                  <a:pt x="1740" y="203"/>
                  <a:pt x="1740" y="203"/>
                  <a:pt x="1740" y="203"/>
                </a:cubicBezTo>
                <a:cubicBezTo>
                  <a:pt x="1738" y="204"/>
                  <a:pt x="1738" y="204"/>
                  <a:pt x="1738" y="204"/>
                </a:cubicBezTo>
                <a:cubicBezTo>
                  <a:pt x="1738" y="206"/>
                  <a:pt x="1738" y="206"/>
                  <a:pt x="1738" y="206"/>
                </a:cubicBezTo>
                <a:cubicBezTo>
                  <a:pt x="1739" y="207"/>
                  <a:pt x="1739" y="207"/>
                  <a:pt x="1739" y="207"/>
                </a:cubicBezTo>
                <a:cubicBezTo>
                  <a:pt x="1739" y="209"/>
                  <a:pt x="1739" y="209"/>
                  <a:pt x="1739" y="209"/>
                </a:cubicBezTo>
                <a:cubicBezTo>
                  <a:pt x="1741" y="211"/>
                  <a:pt x="1741" y="211"/>
                  <a:pt x="1741" y="211"/>
                </a:cubicBezTo>
                <a:cubicBezTo>
                  <a:pt x="1741" y="212"/>
                  <a:pt x="1741" y="212"/>
                  <a:pt x="1741" y="212"/>
                </a:cubicBezTo>
                <a:cubicBezTo>
                  <a:pt x="1740" y="213"/>
                  <a:pt x="1740" y="213"/>
                  <a:pt x="1740" y="213"/>
                </a:cubicBezTo>
                <a:cubicBezTo>
                  <a:pt x="1741" y="217"/>
                  <a:pt x="1741" y="217"/>
                  <a:pt x="1741" y="217"/>
                </a:cubicBezTo>
                <a:cubicBezTo>
                  <a:pt x="1742" y="217"/>
                  <a:pt x="1742" y="217"/>
                  <a:pt x="1742" y="217"/>
                </a:cubicBezTo>
                <a:cubicBezTo>
                  <a:pt x="1742" y="216"/>
                  <a:pt x="1742" y="216"/>
                  <a:pt x="1742" y="216"/>
                </a:cubicBezTo>
                <a:cubicBezTo>
                  <a:pt x="1742" y="215"/>
                  <a:pt x="1742" y="215"/>
                  <a:pt x="1742" y="215"/>
                </a:cubicBezTo>
                <a:cubicBezTo>
                  <a:pt x="1743" y="214"/>
                  <a:pt x="1743" y="214"/>
                  <a:pt x="1743" y="214"/>
                </a:cubicBezTo>
                <a:cubicBezTo>
                  <a:pt x="1742" y="213"/>
                  <a:pt x="1742" y="213"/>
                  <a:pt x="1742" y="213"/>
                </a:cubicBezTo>
                <a:cubicBezTo>
                  <a:pt x="1743" y="212"/>
                  <a:pt x="1743" y="212"/>
                  <a:pt x="1743" y="212"/>
                </a:cubicBezTo>
                <a:cubicBezTo>
                  <a:pt x="1744" y="210"/>
                  <a:pt x="1744" y="210"/>
                  <a:pt x="1744" y="210"/>
                </a:cubicBezTo>
                <a:cubicBezTo>
                  <a:pt x="1745" y="211"/>
                  <a:pt x="1745" y="211"/>
                  <a:pt x="1745" y="211"/>
                </a:cubicBezTo>
                <a:cubicBezTo>
                  <a:pt x="1746" y="213"/>
                  <a:pt x="1746" y="213"/>
                  <a:pt x="1746" y="213"/>
                </a:cubicBezTo>
                <a:cubicBezTo>
                  <a:pt x="1746" y="216"/>
                  <a:pt x="1746" y="216"/>
                  <a:pt x="1746" y="216"/>
                </a:cubicBezTo>
                <a:cubicBezTo>
                  <a:pt x="1746" y="217"/>
                  <a:pt x="1746" y="217"/>
                  <a:pt x="1746" y="217"/>
                </a:cubicBezTo>
                <a:cubicBezTo>
                  <a:pt x="1746" y="218"/>
                  <a:pt x="1746" y="218"/>
                  <a:pt x="1746" y="218"/>
                </a:cubicBezTo>
                <a:cubicBezTo>
                  <a:pt x="1746" y="219"/>
                  <a:pt x="1746" y="219"/>
                  <a:pt x="1746" y="219"/>
                </a:cubicBezTo>
                <a:cubicBezTo>
                  <a:pt x="1745" y="220"/>
                  <a:pt x="1745" y="220"/>
                  <a:pt x="1745" y="220"/>
                </a:cubicBezTo>
                <a:cubicBezTo>
                  <a:pt x="1747" y="221"/>
                  <a:pt x="1747" y="221"/>
                  <a:pt x="1747" y="221"/>
                </a:cubicBezTo>
                <a:cubicBezTo>
                  <a:pt x="1749" y="221"/>
                  <a:pt x="1749" y="221"/>
                  <a:pt x="1749" y="221"/>
                </a:cubicBezTo>
                <a:cubicBezTo>
                  <a:pt x="1751" y="221"/>
                  <a:pt x="1751" y="221"/>
                  <a:pt x="1751" y="221"/>
                </a:cubicBezTo>
                <a:cubicBezTo>
                  <a:pt x="1752" y="223"/>
                  <a:pt x="1752" y="223"/>
                  <a:pt x="1752" y="223"/>
                </a:cubicBezTo>
                <a:cubicBezTo>
                  <a:pt x="1752" y="224"/>
                  <a:pt x="1752" y="224"/>
                  <a:pt x="1752" y="224"/>
                </a:cubicBezTo>
                <a:cubicBezTo>
                  <a:pt x="1754" y="225"/>
                  <a:pt x="1754" y="225"/>
                  <a:pt x="1754" y="225"/>
                </a:cubicBezTo>
                <a:cubicBezTo>
                  <a:pt x="1756" y="225"/>
                  <a:pt x="1756" y="225"/>
                  <a:pt x="1756" y="225"/>
                </a:cubicBezTo>
                <a:cubicBezTo>
                  <a:pt x="1757" y="226"/>
                  <a:pt x="1758" y="227"/>
                  <a:pt x="1758" y="227"/>
                </a:cubicBezTo>
                <a:cubicBezTo>
                  <a:pt x="1759" y="225"/>
                  <a:pt x="1759" y="225"/>
                  <a:pt x="1759" y="225"/>
                </a:cubicBezTo>
                <a:cubicBezTo>
                  <a:pt x="1760" y="223"/>
                  <a:pt x="1760" y="223"/>
                  <a:pt x="1760" y="223"/>
                </a:cubicBezTo>
                <a:cubicBezTo>
                  <a:pt x="1758" y="225"/>
                  <a:pt x="1758" y="225"/>
                  <a:pt x="1758" y="225"/>
                </a:cubicBezTo>
                <a:cubicBezTo>
                  <a:pt x="1757" y="224"/>
                  <a:pt x="1757" y="224"/>
                  <a:pt x="1757" y="224"/>
                </a:cubicBezTo>
                <a:cubicBezTo>
                  <a:pt x="1756" y="225"/>
                  <a:pt x="1756" y="225"/>
                  <a:pt x="1756" y="225"/>
                </a:cubicBezTo>
                <a:cubicBezTo>
                  <a:pt x="1754" y="224"/>
                  <a:pt x="1754" y="224"/>
                  <a:pt x="1754" y="224"/>
                </a:cubicBezTo>
                <a:cubicBezTo>
                  <a:pt x="1752" y="221"/>
                  <a:pt x="1752" y="221"/>
                  <a:pt x="1752" y="221"/>
                </a:cubicBezTo>
                <a:cubicBezTo>
                  <a:pt x="1751" y="220"/>
                  <a:pt x="1751" y="220"/>
                  <a:pt x="1751" y="220"/>
                </a:cubicBezTo>
                <a:cubicBezTo>
                  <a:pt x="1749" y="220"/>
                  <a:pt x="1749" y="220"/>
                  <a:pt x="1749" y="220"/>
                </a:cubicBezTo>
                <a:cubicBezTo>
                  <a:pt x="1748" y="219"/>
                  <a:pt x="1748" y="219"/>
                  <a:pt x="1748" y="219"/>
                </a:cubicBezTo>
                <a:cubicBezTo>
                  <a:pt x="1749" y="218"/>
                  <a:pt x="1749" y="218"/>
                  <a:pt x="1749" y="218"/>
                </a:cubicBezTo>
                <a:cubicBezTo>
                  <a:pt x="1751" y="216"/>
                  <a:pt x="1751" y="216"/>
                  <a:pt x="1751" y="216"/>
                </a:cubicBezTo>
                <a:cubicBezTo>
                  <a:pt x="1750" y="214"/>
                  <a:pt x="1750" y="214"/>
                  <a:pt x="1750" y="214"/>
                </a:cubicBezTo>
                <a:cubicBezTo>
                  <a:pt x="1748" y="213"/>
                  <a:pt x="1748" y="213"/>
                  <a:pt x="1748" y="213"/>
                </a:cubicBezTo>
                <a:cubicBezTo>
                  <a:pt x="1748" y="214"/>
                  <a:pt x="1748" y="215"/>
                  <a:pt x="1748" y="216"/>
                </a:cubicBezTo>
                <a:cubicBezTo>
                  <a:pt x="1748" y="216"/>
                  <a:pt x="1748" y="216"/>
                  <a:pt x="1747" y="217"/>
                </a:cubicBezTo>
                <a:cubicBezTo>
                  <a:pt x="1747" y="217"/>
                  <a:pt x="1747" y="217"/>
                  <a:pt x="1747" y="215"/>
                </a:cubicBezTo>
                <a:cubicBezTo>
                  <a:pt x="1747" y="215"/>
                  <a:pt x="1747" y="215"/>
                  <a:pt x="1746" y="213"/>
                </a:cubicBezTo>
                <a:cubicBezTo>
                  <a:pt x="1746" y="213"/>
                  <a:pt x="1746" y="213"/>
                  <a:pt x="1746" y="211"/>
                </a:cubicBezTo>
                <a:cubicBezTo>
                  <a:pt x="1746" y="211"/>
                  <a:pt x="1746" y="211"/>
                  <a:pt x="1747" y="211"/>
                </a:cubicBezTo>
                <a:cubicBezTo>
                  <a:pt x="1747" y="211"/>
                  <a:pt x="1747" y="211"/>
                  <a:pt x="1748" y="212"/>
                </a:cubicBezTo>
                <a:cubicBezTo>
                  <a:pt x="1748" y="210"/>
                  <a:pt x="1748" y="210"/>
                  <a:pt x="1748" y="210"/>
                </a:cubicBezTo>
                <a:cubicBezTo>
                  <a:pt x="1746" y="207"/>
                  <a:pt x="1746" y="207"/>
                  <a:pt x="1746" y="207"/>
                </a:cubicBezTo>
                <a:cubicBezTo>
                  <a:pt x="1744" y="206"/>
                  <a:pt x="1744" y="206"/>
                  <a:pt x="1744" y="206"/>
                </a:cubicBezTo>
                <a:cubicBezTo>
                  <a:pt x="1743" y="205"/>
                  <a:pt x="1743" y="205"/>
                  <a:pt x="1743" y="205"/>
                </a:cubicBezTo>
                <a:cubicBezTo>
                  <a:pt x="1743" y="203"/>
                  <a:pt x="1743" y="203"/>
                  <a:pt x="1743" y="203"/>
                </a:cubicBezTo>
                <a:cubicBezTo>
                  <a:pt x="1743" y="202"/>
                  <a:pt x="1743" y="202"/>
                  <a:pt x="1743" y="202"/>
                </a:cubicBezTo>
                <a:cubicBezTo>
                  <a:pt x="1743" y="199"/>
                  <a:pt x="1743" y="199"/>
                  <a:pt x="1743" y="199"/>
                </a:cubicBezTo>
                <a:cubicBezTo>
                  <a:pt x="1741" y="197"/>
                  <a:pt x="1741" y="197"/>
                  <a:pt x="1741" y="197"/>
                </a:cubicBezTo>
                <a:cubicBezTo>
                  <a:pt x="1740" y="197"/>
                  <a:pt x="1740" y="197"/>
                  <a:pt x="1740" y="197"/>
                </a:cubicBezTo>
                <a:cubicBezTo>
                  <a:pt x="1738" y="196"/>
                  <a:pt x="1738" y="196"/>
                  <a:pt x="1738" y="196"/>
                </a:cubicBezTo>
                <a:cubicBezTo>
                  <a:pt x="1735" y="196"/>
                  <a:pt x="1735" y="196"/>
                  <a:pt x="1735" y="196"/>
                </a:cubicBezTo>
                <a:cubicBezTo>
                  <a:pt x="1734" y="194"/>
                  <a:pt x="1734" y="194"/>
                  <a:pt x="1734" y="194"/>
                </a:cubicBezTo>
                <a:cubicBezTo>
                  <a:pt x="1732" y="193"/>
                  <a:pt x="1732" y="193"/>
                  <a:pt x="1732" y="193"/>
                </a:cubicBezTo>
                <a:cubicBezTo>
                  <a:pt x="1732" y="191"/>
                  <a:pt x="1732" y="191"/>
                  <a:pt x="1732" y="191"/>
                </a:cubicBezTo>
                <a:cubicBezTo>
                  <a:pt x="1732" y="190"/>
                  <a:pt x="1732" y="190"/>
                  <a:pt x="1732" y="190"/>
                </a:cubicBezTo>
                <a:cubicBezTo>
                  <a:pt x="1732" y="189"/>
                  <a:pt x="1732" y="189"/>
                  <a:pt x="1732" y="189"/>
                </a:cubicBezTo>
                <a:cubicBezTo>
                  <a:pt x="1730" y="190"/>
                  <a:pt x="1730" y="190"/>
                  <a:pt x="1730" y="190"/>
                </a:cubicBezTo>
                <a:cubicBezTo>
                  <a:pt x="1726" y="190"/>
                  <a:pt x="1726" y="190"/>
                  <a:pt x="1726" y="190"/>
                </a:cubicBezTo>
                <a:cubicBezTo>
                  <a:pt x="1724" y="190"/>
                  <a:pt x="1724" y="190"/>
                  <a:pt x="1724" y="190"/>
                </a:cubicBezTo>
                <a:cubicBezTo>
                  <a:pt x="1722" y="189"/>
                  <a:pt x="1722" y="189"/>
                  <a:pt x="1722" y="189"/>
                </a:cubicBezTo>
                <a:cubicBezTo>
                  <a:pt x="1722" y="187"/>
                  <a:pt x="1722" y="187"/>
                  <a:pt x="1722" y="187"/>
                </a:cubicBezTo>
                <a:cubicBezTo>
                  <a:pt x="1721" y="186"/>
                  <a:pt x="1721" y="186"/>
                  <a:pt x="1721" y="186"/>
                </a:cubicBezTo>
                <a:cubicBezTo>
                  <a:pt x="1721" y="184"/>
                  <a:pt x="1721" y="184"/>
                  <a:pt x="1721" y="184"/>
                </a:cubicBezTo>
                <a:cubicBezTo>
                  <a:pt x="1720" y="181"/>
                  <a:pt x="1720" y="181"/>
                  <a:pt x="1720" y="181"/>
                </a:cubicBezTo>
                <a:cubicBezTo>
                  <a:pt x="1717" y="180"/>
                  <a:pt x="1717" y="180"/>
                  <a:pt x="1717" y="180"/>
                </a:cubicBezTo>
                <a:cubicBezTo>
                  <a:pt x="1718" y="179"/>
                  <a:pt x="1718" y="179"/>
                  <a:pt x="1718" y="179"/>
                </a:cubicBezTo>
                <a:cubicBezTo>
                  <a:pt x="1718" y="178"/>
                  <a:pt x="1718" y="178"/>
                  <a:pt x="1718" y="178"/>
                </a:cubicBezTo>
                <a:cubicBezTo>
                  <a:pt x="1717" y="178"/>
                  <a:pt x="1717" y="178"/>
                  <a:pt x="1717" y="178"/>
                </a:cubicBezTo>
                <a:cubicBezTo>
                  <a:pt x="1716" y="177"/>
                  <a:pt x="1716" y="177"/>
                  <a:pt x="1716" y="177"/>
                </a:cubicBezTo>
                <a:cubicBezTo>
                  <a:pt x="1716" y="176"/>
                  <a:pt x="1716" y="176"/>
                  <a:pt x="1716" y="176"/>
                </a:cubicBezTo>
                <a:cubicBezTo>
                  <a:pt x="1716" y="174"/>
                  <a:pt x="1716" y="174"/>
                  <a:pt x="1716" y="174"/>
                </a:cubicBezTo>
                <a:cubicBezTo>
                  <a:pt x="1715" y="173"/>
                  <a:pt x="1715" y="173"/>
                  <a:pt x="1715" y="173"/>
                </a:cubicBezTo>
                <a:cubicBezTo>
                  <a:pt x="1716" y="173"/>
                  <a:pt x="1716" y="173"/>
                  <a:pt x="1716" y="173"/>
                </a:cubicBezTo>
                <a:cubicBezTo>
                  <a:pt x="1718" y="173"/>
                  <a:pt x="1718" y="173"/>
                  <a:pt x="1718" y="173"/>
                </a:cubicBezTo>
                <a:cubicBezTo>
                  <a:pt x="1719" y="171"/>
                  <a:pt x="1719" y="171"/>
                  <a:pt x="1719" y="171"/>
                </a:cubicBezTo>
                <a:cubicBezTo>
                  <a:pt x="1721" y="171"/>
                  <a:pt x="1721" y="171"/>
                  <a:pt x="1721" y="171"/>
                </a:cubicBezTo>
                <a:cubicBezTo>
                  <a:pt x="1724" y="170"/>
                  <a:pt x="1724" y="170"/>
                  <a:pt x="1724" y="170"/>
                </a:cubicBezTo>
                <a:cubicBezTo>
                  <a:pt x="1729" y="168"/>
                  <a:pt x="1729" y="168"/>
                  <a:pt x="1729" y="168"/>
                </a:cubicBezTo>
                <a:cubicBezTo>
                  <a:pt x="1731" y="167"/>
                  <a:pt x="1731" y="167"/>
                  <a:pt x="1731" y="167"/>
                </a:cubicBezTo>
                <a:cubicBezTo>
                  <a:pt x="1732" y="167"/>
                  <a:pt x="1732" y="167"/>
                  <a:pt x="1732" y="167"/>
                </a:cubicBezTo>
                <a:cubicBezTo>
                  <a:pt x="1733" y="167"/>
                  <a:pt x="1733" y="167"/>
                  <a:pt x="1733" y="167"/>
                </a:cubicBezTo>
                <a:cubicBezTo>
                  <a:pt x="1735" y="166"/>
                  <a:pt x="1735" y="166"/>
                  <a:pt x="1735" y="166"/>
                </a:cubicBezTo>
                <a:cubicBezTo>
                  <a:pt x="1736" y="165"/>
                  <a:pt x="1736" y="165"/>
                  <a:pt x="1736" y="165"/>
                </a:cubicBezTo>
                <a:cubicBezTo>
                  <a:pt x="1738" y="164"/>
                  <a:pt x="1738" y="164"/>
                  <a:pt x="1738" y="164"/>
                </a:cubicBezTo>
                <a:cubicBezTo>
                  <a:pt x="1742" y="162"/>
                  <a:pt x="1742" y="162"/>
                  <a:pt x="1742" y="162"/>
                </a:cubicBezTo>
                <a:cubicBezTo>
                  <a:pt x="1743" y="163"/>
                  <a:pt x="1743" y="163"/>
                  <a:pt x="1743" y="163"/>
                </a:cubicBezTo>
                <a:cubicBezTo>
                  <a:pt x="1742" y="164"/>
                  <a:pt x="1742" y="164"/>
                  <a:pt x="1742" y="164"/>
                </a:cubicBezTo>
                <a:cubicBezTo>
                  <a:pt x="1742" y="165"/>
                  <a:pt x="1742" y="165"/>
                  <a:pt x="1742" y="165"/>
                </a:cubicBezTo>
                <a:cubicBezTo>
                  <a:pt x="1741" y="166"/>
                  <a:pt x="1741" y="166"/>
                  <a:pt x="1741" y="166"/>
                </a:cubicBezTo>
                <a:cubicBezTo>
                  <a:pt x="1740" y="168"/>
                  <a:pt x="1740" y="168"/>
                  <a:pt x="1740" y="168"/>
                </a:cubicBezTo>
                <a:cubicBezTo>
                  <a:pt x="1740" y="170"/>
                  <a:pt x="1740" y="170"/>
                  <a:pt x="1740" y="170"/>
                </a:cubicBezTo>
                <a:cubicBezTo>
                  <a:pt x="1743" y="172"/>
                  <a:pt x="1743" y="172"/>
                  <a:pt x="1743" y="172"/>
                </a:cubicBezTo>
                <a:cubicBezTo>
                  <a:pt x="1745" y="172"/>
                  <a:pt x="1745" y="172"/>
                  <a:pt x="1745" y="172"/>
                </a:cubicBezTo>
                <a:cubicBezTo>
                  <a:pt x="1744" y="171"/>
                  <a:pt x="1744" y="171"/>
                  <a:pt x="1744" y="171"/>
                </a:cubicBezTo>
                <a:cubicBezTo>
                  <a:pt x="1741" y="169"/>
                  <a:pt x="1741" y="169"/>
                  <a:pt x="1741" y="169"/>
                </a:cubicBezTo>
                <a:cubicBezTo>
                  <a:pt x="1741" y="168"/>
                  <a:pt x="1741" y="168"/>
                  <a:pt x="1741" y="168"/>
                </a:cubicBezTo>
                <a:cubicBezTo>
                  <a:pt x="1742" y="167"/>
                  <a:pt x="1742" y="167"/>
                  <a:pt x="1742" y="167"/>
                </a:cubicBezTo>
                <a:cubicBezTo>
                  <a:pt x="1745" y="165"/>
                  <a:pt x="1745" y="165"/>
                  <a:pt x="1745" y="165"/>
                </a:cubicBezTo>
                <a:cubicBezTo>
                  <a:pt x="1746" y="163"/>
                  <a:pt x="1746" y="163"/>
                  <a:pt x="1746" y="163"/>
                </a:cubicBezTo>
                <a:cubicBezTo>
                  <a:pt x="1745" y="161"/>
                  <a:pt x="1745" y="161"/>
                  <a:pt x="1745" y="161"/>
                </a:cubicBezTo>
                <a:cubicBezTo>
                  <a:pt x="1743" y="161"/>
                  <a:pt x="1743" y="161"/>
                  <a:pt x="1743" y="161"/>
                </a:cubicBezTo>
                <a:cubicBezTo>
                  <a:pt x="1742" y="160"/>
                  <a:pt x="1742" y="160"/>
                  <a:pt x="1742" y="160"/>
                </a:cubicBezTo>
                <a:cubicBezTo>
                  <a:pt x="1742" y="159"/>
                  <a:pt x="1742" y="159"/>
                  <a:pt x="1742" y="159"/>
                </a:cubicBezTo>
                <a:cubicBezTo>
                  <a:pt x="1740" y="159"/>
                  <a:pt x="1740" y="159"/>
                  <a:pt x="1740" y="159"/>
                </a:cubicBezTo>
                <a:cubicBezTo>
                  <a:pt x="1739" y="159"/>
                  <a:pt x="1739" y="159"/>
                  <a:pt x="1739" y="159"/>
                </a:cubicBezTo>
                <a:cubicBezTo>
                  <a:pt x="1738" y="157"/>
                  <a:pt x="1738" y="157"/>
                  <a:pt x="1738" y="157"/>
                </a:cubicBezTo>
                <a:cubicBezTo>
                  <a:pt x="1736" y="157"/>
                  <a:pt x="1736" y="157"/>
                  <a:pt x="1736" y="157"/>
                </a:cubicBezTo>
                <a:cubicBezTo>
                  <a:pt x="1735" y="158"/>
                  <a:pt x="1735" y="158"/>
                  <a:pt x="1735" y="158"/>
                </a:cubicBezTo>
                <a:cubicBezTo>
                  <a:pt x="1733" y="156"/>
                  <a:pt x="1733" y="156"/>
                  <a:pt x="1733" y="156"/>
                </a:cubicBezTo>
                <a:cubicBezTo>
                  <a:pt x="1734" y="155"/>
                  <a:pt x="1734" y="155"/>
                  <a:pt x="1734" y="155"/>
                </a:cubicBezTo>
                <a:cubicBezTo>
                  <a:pt x="1734" y="154"/>
                  <a:pt x="1734" y="154"/>
                  <a:pt x="1734" y="154"/>
                </a:cubicBezTo>
                <a:cubicBezTo>
                  <a:pt x="1735" y="154"/>
                  <a:pt x="1735" y="154"/>
                  <a:pt x="1735" y="154"/>
                </a:cubicBezTo>
                <a:cubicBezTo>
                  <a:pt x="1736" y="155"/>
                  <a:pt x="1736" y="155"/>
                  <a:pt x="1736" y="155"/>
                </a:cubicBezTo>
                <a:cubicBezTo>
                  <a:pt x="1738" y="155"/>
                  <a:pt x="1738" y="155"/>
                  <a:pt x="1738" y="155"/>
                </a:cubicBezTo>
                <a:cubicBezTo>
                  <a:pt x="1739" y="154"/>
                  <a:pt x="1739" y="154"/>
                  <a:pt x="1739" y="154"/>
                </a:cubicBezTo>
                <a:cubicBezTo>
                  <a:pt x="1738" y="154"/>
                  <a:pt x="1738" y="154"/>
                  <a:pt x="1738" y="154"/>
                </a:cubicBezTo>
                <a:cubicBezTo>
                  <a:pt x="1737" y="154"/>
                  <a:pt x="1737" y="154"/>
                  <a:pt x="1737" y="154"/>
                </a:cubicBezTo>
                <a:cubicBezTo>
                  <a:pt x="1735" y="153"/>
                  <a:pt x="1735" y="153"/>
                  <a:pt x="1735" y="153"/>
                </a:cubicBezTo>
                <a:cubicBezTo>
                  <a:pt x="1735" y="152"/>
                  <a:pt x="1735" y="152"/>
                  <a:pt x="1735" y="152"/>
                </a:cubicBezTo>
                <a:cubicBezTo>
                  <a:pt x="1734" y="152"/>
                  <a:pt x="1734" y="152"/>
                  <a:pt x="1734" y="152"/>
                </a:cubicBezTo>
                <a:cubicBezTo>
                  <a:pt x="1732" y="151"/>
                  <a:pt x="1732" y="151"/>
                  <a:pt x="1732" y="151"/>
                </a:cubicBezTo>
                <a:cubicBezTo>
                  <a:pt x="1730" y="152"/>
                  <a:pt x="1730" y="152"/>
                  <a:pt x="1730" y="152"/>
                </a:cubicBezTo>
                <a:cubicBezTo>
                  <a:pt x="1730" y="151"/>
                  <a:pt x="1730" y="151"/>
                  <a:pt x="1730" y="151"/>
                </a:cubicBezTo>
                <a:cubicBezTo>
                  <a:pt x="1730" y="150"/>
                  <a:pt x="1730" y="150"/>
                  <a:pt x="1730" y="150"/>
                </a:cubicBezTo>
                <a:cubicBezTo>
                  <a:pt x="1730" y="149"/>
                  <a:pt x="1730" y="149"/>
                  <a:pt x="1730" y="149"/>
                </a:cubicBezTo>
                <a:cubicBezTo>
                  <a:pt x="1729" y="148"/>
                  <a:pt x="1729" y="148"/>
                  <a:pt x="1729" y="148"/>
                </a:cubicBezTo>
                <a:cubicBezTo>
                  <a:pt x="1730" y="147"/>
                  <a:pt x="1730" y="147"/>
                  <a:pt x="1730" y="147"/>
                </a:cubicBezTo>
                <a:cubicBezTo>
                  <a:pt x="1731" y="148"/>
                  <a:pt x="1731" y="148"/>
                  <a:pt x="1731" y="148"/>
                </a:cubicBezTo>
                <a:cubicBezTo>
                  <a:pt x="1732" y="149"/>
                  <a:pt x="1732" y="149"/>
                  <a:pt x="1732" y="149"/>
                </a:cubicBezTo>
                <a:cubicBezTo>
                  <a:pt x="1733" y="149"/>
                  <a:pt x="1733" y="149"/>
                  <a:pt x="1733" y="149"/>
                </a:cubicBezTo>
                <a:cubicBezTo>
                  <a:pt x="1735" y="151"/>
                  <a:pt x="1735" y="151"/>
                  <a:pt x="1735" y="151"/>
                </a:cubicBezTo>
                <a:cubicBezTo>
                  <a:pt x="1735" y="150"/>
                  <a:pt x="1735" y="150"/>
                  <a:pt x="1735" y="150"/>
                </a:cubicBezTo>
                <a:cubicBezTo>
                  <a:pt x="1734" y="149"/>
                  <a:pt x="1734" y="149"/>
                  <a:pt x="1734" y="149"/>
                </a:cubicBezTo>
                <a:cubicBezTo>
                  <a:pt x="1736" y="148"/>
                  <a:pt x="1736" y="148"/>
                  <a:pt x="1736" y="148"/>
                </a:cubicBezTo>
                <a:cubicBezTo>
                  <a:pt x="1736" y="146"/>
                  <a:pt x="1736" y="146"/>
                  <a:pt x="1736" y="146"/>
                </a:cubicBezTo>
                <a:cubicBezTo>
                  <a:pt x="1735" y="145"/>
                  <a:pt x="1735" y="145"/>
                  <a:pt x="1735" y="145"/>
                </a:cubicBezTo>
                <a:cubicBezTo>
                  <a:pt x="1735" y="144"/>
                  <a:pt x="1735" y="144"/>
                  <a:pt x="1735" y="144"/>
                </a:cubicBezTo>
                <a:cubicBezTo>
                  <a:pt x="1736" y="145"/>
                  <a:pt x="1736" y="145"/>
                  <a:pt x="1736" y="145"/>
                </a:cubicBezTo>
                <a:cubicBezTo>
                  <a:pt x="1737" y="144"/>
                  <a:pt x="1737" y="144"/>
                  <a:pt x="1737" y="144"/>
                </a:cubicBezTo>
                <a:cubicBezTo>
                  <a:pt x="1734" y="143"/>
                  <a:pt x="1734" y="143"/>
                  <a:pt x="1734" y="143"/>
                </a:cubicBezTo>
                <a:cubicBezTo>
                  <a:pt x="1734" y="144"/>
                  <a:pt x="1734" y="144"/>
                  <a:pt x="1734" y="144"/>
                </a:cubicBezTo>
                <a:cubicBezTo>
                  <a:pt x="1733" y="144"/>
                  <a:pt x="1733" y="144"/>
                  <a:pt x="1733" y="144"/>
                </a:cubicBezTo>
                <a:cubicBezTo>
                  <a:pt x="1733" y="143"/>
                  <a:pt x="1733" y="143"/>
                  <a:pt x="1733" y="143"/>
                </a:cubicBezTo>
                <a:cubicBezTo>
                  <a:pt x="1734" y="142"/>
                  <a:pt x="1734" y="142"/>
                  <a:pt x="1734" y="142"/>
                </a:cubicBezTo>
                <a:cubicBezTo>
                  <a:pt x="1736" y="141"/>
                  <a:pt x="1736" y="141"/>
                  <a:pt x="1736" y="141"/>
                </a:cubicBezTo>
                <a:cubicBezTo>
                  <a:pt x="1738" y="141"/>
                  <a:pt x="1738" y="141"/>
                  <a:pt x="1738" y="141"/>
                </a:cubicBezTo>
                <a:cubicBezTo>
                  <a:pt x="1737" y="140"/>
                  <a:pt x="1737" y="140"/>
                  <a:pt x="1737" y="140"/>
                </a:cubicBezTo>
                <a:cubicBezTo>
                  <a:pt x="1739" y="138"/>
                  <a:pt x="1739" y="138"/>
                  <a:pt x="1739" y="138"/>
                </a:cubicBezTo>
                <a:cubicBezTo>
                  <a:pt x="1739" y="137"/>
                  <a:pt x="1739" y="137"/>
                  <a:pt x="1739" y="137"/>
                </a:cubicBezTo>
                <a:cubicBezTo>
                  <a:pt x="1739" y="136"/>
                  <a:pt x="1739" y="136"/>
                  <a:pt x="1739" y="136"/>
                </a:cubicBezTo>
                <a:cubicBezTo>
                  <a:pt x="1740" y="134"/>
                  <a:pt x="1740" y="134"/>
                  <a:pt x="1740" y="134"/>
                </a:cubicBezTo>
                <a:cubicBezTo>
                  <a:pt x="1741" y="135"/>
                  <a:pt x="1741" y="135"/>
                  <a:pt x="1741" y="135"/>
                </a:cubicBezTo>
                <a:cubicBezTo>
                  <a:pt x="1742" y="135"/>
                  <a:pt x="1742" y="135"/>
                  <a:pt x="1742" y="135"/>
                </a:cubicBezTo>
                <a:cubicBezTo>
                  <a:pt x="1742" y="134"/>
                  <a:pt x="1742" y="134"/>
                  <a:pt x="1742" y="134"/>
                </a:cubicBezTo>
                <a:cubicBezTo>
                  <a:pt x="1743" y="134"/>
                  <a:pt x="1743" y="134"/>
                  <a:pt x="1743" y="134"/>
                </a:cubicBezTo>
                <a:cubicBezTo>
                  <a:pt x="1742" y="133"/>
                  <a:pt x="1742" y="133"/>
                  <a:pt x="1742" y="133"/>
                </a:cubicBezTo>
                <a:cubicBezTo>
                  <a:pt x="1742" y="132"/>
                  <a:pt x="1742" y="132"/>
                  <a:pt x="1742" y="132"/>
                </a:cubicBezTo>
                <a:cubicBezTo>
                  <a:pt x="1744" y="131"/>
                  <a:pt x="1744" y="131"/>
                  <a:pt x="1744" y="131"/>
                </a:cubicBezTo>
                <a:cubicBezTo>
                  <a:pt x="1745" y="131"/>
                  <a:pt x="1745" y="131"/>
                  <a:pt x="1745" y="131"/>
                </a:cubicBezTo>
                <a:cubicBezTo>
                  <a:pt x="1745" y="130"/>
                  <a:pt x="1745" y="130"/>
                  <a:pt x="1745" y="130"/>
                </a:cubicBezTo>
                <a:cubicBezTo>
                  <a:pt x="1746" y="130"/>
                  <a:pt x="1746" y="130"/>
                  <a:pt x="1746" y="130"/>
                </a:cubicBezTo>
                <a:cubicBezTo>
                  <a:pt x="1747" y="130"/>
                  <a:pt x="1747" y="130"/>
                  <a:pt x="1747" y="130"/>
                </a:cubicBezTo>
                <a:cubicBezTo>
                  <a:pt x="1749" y="130"/>
                  <a:pt x="1749" y="130"/>
                  <a:pt x="1749" y="130"/>
                </a:cubicBezTo>
                <a:cubicBezTo>
                  <a:pt x="1748" y="129"/>
                  <a:pt x="1748" y="129"/>
                  <a:pt x="1748" y="129"/>
                </a:cubicBezTo>
                <a:cubicBezTo>
                  <a:pt x="1749" y="128"/>
                  <a:pt x="1749" y="128"/>
                  <a:pt x="1749" y="128"/>
                </a:cubicBezTo>
                <a:cubicBezTo>
                  <a:pt x="1751" y="128"/>
                  <a:pt x="1751" y="128"/>
                  <a:pt x="1751" y="128"/>
                </a:cubicBezTo>
                <a:cubicBezTo>
                  <a:pt x="1753" y="127"/>
                  <a:pt x="1753" y="127"/>
                  <a:pt x="1753" y="127"/>
                </a:cubicBezTo>
                <a:cubicBezTo>
                  <a:pt x="1754" y="125"/>
                  <a:pt x="1754" y="125"/>
                  <a:pt x="1754" y="125"/>
                </a:cubicBezTo>
                <a:cubicBezTo>
                  <a:pt x="1757" y="124"/>
                  <a:pt x="1757" y="124"/>
                  <a:pt x="1757" y="124"/>
                </a:cubicBezTo>
                <a:cubicBezTo>
                  <a:pt x="1757" y="123"/>
                  <a:pt x="1757" y="123"/>
                  <a:pt x="1757" y="123"/>
                </a:cubicBezTo>
                <a:cubicBezTo>
                  <a:pt x="1754" y="124"/>
                  <a:pt x="1754" y="124"/>
                  <a:pt x="1754" y="124"/>
                </a:cubicBezTo>
                <a:cubicBezTo>
                  <a:pt x="1754" y="123"/>
                  <a:pt x="1754" y="123"/>
                  <a:pt x="1754" y="123"/>
                </a:cubicBezTo>
                <a:cubicBezTo>
                  <a:pt x="1752" y="125"/>
                  <a:pt x="1752" y="125"/>
                  <a:pt x="1752" y="125"/>
                </a:cubicBezTo>
                <a:cubicBezTo>
                  <a:pt x="1752" y="124"/>
                  <a:pt x="1752" y="124"/>
                  <a:pt x="1752" y="124"/>
                </a:cubicBezTo>
                <a:cubicBezTo>
                  <a:pt x="1752" y="121"/>
                  <a:pt x="1752" y="121"/>
                  <a:pt x="1752" y="121"/>
                </a:cubicBezTo>
                <a:cubicBezTo>
                  <a:pt x="1753" y="119"/>
                  <a:pt x="1753" y="119"/>
                  <a:pt x="1753" y="119"/>
                </a:cubicBezTo>
                <a:cubicBezTo>
                  <a:pt x="1753" y="120"/>
                  <a:pt x="1753" y="120"/>
                  <a:pt x="1753" y="120"/>
                </a:cubicBezTo>
                <a:cubicBezTo>
                  <a:pt x="1754" y="120"/>
                  <a:pt x="1754" y="120"/>
                  <a:pt x="1754" y="120"/>
                </a:cubicBezTo>
                <a:cubicBezTo>
                  <a:pt x="1755" y="120"/>
                  <a:pt x="1755" y="120"/>
                  <a:pt x="1755" y="120"/>
                </a:cubicBezTo>
                <a:cubicBezTo>
                  <a:pt x="1753" y="118"/>
                  <a:pt x="1753" y="118"/>
                  <a:pt x="1753" y="118"/>
                </a:cubicBezTo>
                <a:cubicBezTo>
                  <a:pt x="1755" y="118"/>
                  <a:pt x="1755" y="118"/>
                  <a:pt x="1755" y="118"/>
                </a:cubicBezTo>
                <a:cubicBezTo>
                  <a:pt x="1756" y="119"/>
                  <a:pt x="1756" y="119"/>
                  <a:pt x="1756" y="119"/>
                </a:cubicBezTo>
                <a:cubicBezTo>
                  <a:pt x="1757" y="119"/>
                  <a:pt x="1757" y="119"/>
                  <a:pt x="1757" y="119"/>
                </a:cubicBezTo>
                <a:cubicBezTo>
                  <a:pt x="1759" y="118"/>
                  <a:pt x="1759" y="118"/>
                  <a:pt x="1759" y="118"/>
                </a:cubicBezTo>
                <a:cubicBezTo>
                  <a:pt x="1760" y="118"/>
                  <a:pt x="1760" y="118"/>
                  <a:pt x="1760" y="118"/>
                </a:cubicBezTo>
                <a:cubicBezTo>
                  <a:pt x="1764" y="117"/>
                  <a:pt x="1764" y="117"/>
                  <a:pt x="1764" y="117"/>
                </a:cubicBezTo>
                <a:cubicBezTo>
                  <a:pt x="1765" y="117"/>
                  <a:pt x="1765" y="117"/>
                  <a:pt x="1765" y="117"/>
                </a:cubicBezTo>
                <a:cubicBezTo>
                  <a:pt x="1766" y="118"/>
                  <a:pt x="1766" y="118"/>
                  <a:pt x="1766" y="118"/>
                </a:cubicBezTo>
                <a:cubicBezTo>
                  <a:pt x="1764" y="121"/>
                  <a:pt x="1764" y="121"/>
                  <a:pt x="1764" y="121"/>
                </a:cubicBezTo>
                <a:cubicBezTo>
                  <a:pt x="1764" y="122"/>
                  <a:pt x="1764" y="122"/>
                  <a:pt x="1764" y="122"/>
                </a:cubicBezTo>
                <a:cubicBezTo>
                  <a:pt x="1766" y="123"/>
                  <a:pt x="1766" y="123"/>
                  <a:pt x="1766" y="123"/>
                </a:cubicBezTo>
                <a:cubicBezTo>
                  <a:pt x="1766" y="121"/>
                  <a:pt x="1766" y="121"/>
                  <a:pt x="1766" y="121"/>
                </a:cubicBezTo>
                <a:cubicBezTo>
                  <a:pt x="1767" y="119"/>
                  <a:pt x="1767" y="119"/>
                  <a:pt x="1767" y="119"/>
                </a:cubicBezTo>
                <a:cubicBezTo>
                  <a:pt x="1767" y="118"/>
                  <a:pt x="1767" y="118"/>
                  <a:pt x="1767" y="118"/>
                </a:cubicBezTo>
                <a:cubicBezTo>
                  <a:pt x="1767" y="117"/>
                  <a:pt x="1767" y="117"/>
                  <a:pt x="1767" y="117"/>
                </a:cubicBezTo>
                <a:cubicBezTo>
                  <a:pt x="1768" y="119"/>
                  <a:pt x="1768" y="119"/>
                  <a:pt x="1768" y="119"/>
                </a:cubicBezTo>
                <a:cubicBezTo>
                  <a:pt x="1768" y="120"/>
                  <a:pt x="1768" y="120"/>
                  <a:pt x="1768" y="120"/>
                </a:cubicBezTo>
                <a:cubicBezTo>
                  <a:pt x="1769" y="120"/>
                  <a:pt x="1769" y="120"/>
                  <a:pt x="1769" y="120"/>
                </a:cubicBezTo>
                <a:cubicBezTo>
                  <a:pt x="1770" y="119"/>
                  <a:pt x="1770" y="119"/>
                  <a:pt x="1770" y="119"/>
                </a:cubicBezTo>
                <a:cubicBezTo>
                  <a:pt x="1769" y="118"/>
                  <a:pt x="1769" y="118"/>
                  <a:pt x="1769" y="118"/>
                </a:cubicBezTo>
                <a:cubicBezTo>
                  <a:pt x="1770" y="117"/>
                  <a:pt x="1770" y="117"/>
                  <a:pt x="1770" y="117"/>
                </a:cubicBezTo>
                <a:cubicBezTo>
                  <a:pt x="1771" y="117"/>
                  <a:pt x="1771" y="117"/>
                  <a:pt x="1771" y="117"/>
                </a:cubicBezTo>
                <a:cubicBezTo>
                  <a:pt x="1771" y="119"/>
                  <a:pt x="1771" y="119"/>
                  <a:pt x="1771" y="119"/>
                </a:cubicBezTo>
                <a:cubicBezTo>
                  <a:pt x="1773" y="117"/>
                  <a:pt x="1773" y="117"/>
                  <a:pt x="1773" y="117"/>
                </a:cubicBezTo>
                <a:cubicBezTo>
                  <a:pt x="1773" y="116"/>
                  <a:pt x="1773" y="116"/>
                  <a:pt x="1773" y="116"/>
                </a:cubicBezTo>
                <a:cubicBezTo>
                  <a:pt x="1772" y="115"/>
                  <a:pt x="1772" y="115"/>
                  <a:pt x="1772" y="115"/>
                </a:cubicBezTo>
                <a:cubicBezTo>
                  <a:pt x="1774" y="115"/>
                  <a:pt x="1774" y="115"/>
                  <a:pt x="1774" y="115"/>
                </a:cubicBezTo>
                <a:cubicBezTo>
                  <a:pt x="1773" y="114"/>
                  <a:pt x="1773" y="114"/>
                  <a:pt x="1773" y="114"/>
                </a:cubicBezTo>
                <a:cubicBezTo>
                  <a:pt x="1775" y="113"/>
                  <a:pt x="1775" y="113"/>
                  <a:pt x="1775" y="113"/>
                </a:cubicBezTo>
                <a:cubicBezTo>
                  <a:pt x="1776" y="113"/>
                  <a:pt x="1776" y="113"/>
                  <a:pt x="1776" y="113"/>
                </a:cubicBezTo>
                <a:cubicBezTo>
                  <a:pt x="1777" y="112"/>
                  <a:pt x="1777" y="112"/>
                  <a:pt x="1777" y="112"/>
                </a:cubicBezTo>
                <a:cubicBezTo>
                  <a:pt x="1778" y="112"/>
                  <a:pt x="1778" y="112"/>
                  <a:pt x="1778" y="112"/>
                </a:cubicBezTo>
                <a:cubicBezTo>
                  <a:pt x="1778" y="113"/>
                  <a:pt x="1778" y="113"/>
                  <a:pt x="1778" y="113"/>
                </a:cubicBezTo>
                <a:cubicBezTo>
                  <a:pt x="1779" y="113"/>
                  <a:pt x="1779" y="113"/>
                  <a:pt x="1779" y="113"/>
                </a:cubicBezTo>
                <a:cubicBezTo>
                  <a:pt x="1781" y="114"/>
                  <a:pt x="1781" y="114"/>
                  <a:pt x="1781" y="114"/>
                </a:cubicBezTo>
                <a:cubicBezTo>
                  <a:pt x="1781" y="115"/>
                  <a:pt x="1781" y="115"/>
                  <a:pt x="1781" y="115"/>
                </a:cubicBezTo>
                <a:cubicBezTo>
                  <a:pt x="1781" y="116"/>
                  <a:pt x="1781" y="116"/>
                  <a:pt x="1781" y="116"/>
                </a:cubicBezTo>
                <a:cubicBezTo>
                  <a:pt x="1780" y="119"/>
                  <a:pt x="1780" y="119"/>
                  <a:pt x="1780" y="119"/>
                </a:cubicBezTo>
                <a:cubicBezTo>
                  <a:pt x="1782" y="118"/>
                  <a:pt x="1782" y="118"/>
                  <a:pt x="1782" y="118"/>
                </a:cubicBezTo>
                <a:cubicBezTo>
                  <a:pt x="1783" y="116"/>
                  <a:pt x="1783" y="116"/>
                  <a:pt x="1783" y="116"/>
                </a:cubicBezTo>
                <a:cubicBezTo>
                  <a:pt x="1782" y="113"/>
                  <a:pt x="1782" y="113"/>
                  <a:pt x="1782" y="113"/>
                </a:cubicBezTo>
                <a:cubicBezTo>
                  <a:pt x="1780" y="112"/>
                  <a:pt x="1780" y="112"/>
                  <a:pt x="1780" y="112"/>
                </a:cubicBezTo>
                <a:cubicBezTo>
                  <a:pt x="1779" y="110"/>
                  <a:pt x="1779" y="110"/>
                  <a:pt x="1779" y="110"/>
                </a:cubicBezTo>
                <a:cubicBezTo>
                  <a:pt x="1778" y="111"/>
                  <a:pt x="1778" y="111"/>
                  <a:pt x="1778" y="111"/>
                </a:cubicBezTo>
                <a:cubicBezTo>
                  <a:pt x="1777" y="111"/>
                  <a:pt x="1777" y="111"/>
                  <a:pt x="1777" y="111"/>
                </a:cubicBezTo>
                <a:cubicBezTo>
                  <a:pt x="1775" y="111"/>
                  <a:pt x="1775" y="111"/>
                  <a:pt x="1775" y="111"/>
                </a:cubicBezTo>
                <a:cubicBezTo>
                  <a:pt x="1775" y="110"/>
                  <a:pt x="1775" y="110"/>
                  <a:pt x="1775" y="110"/>
                </a:cubicBezTo>
                <a:cubicBezTo>
                  <a:pt x="1774" y="109"/>
                  <a:pt x="1774" y="109"/>
                  <a:pt x="1774" y="109"/>
                </a:cubicBezTo>
                <a:cubicBezTo>
                  <a:pt x="1774" y="108"/>
                  <a:pt x="1774" y="108"/>
                  <a:pt x="1774" y="108"/>
                </a:cubicBezTo>
                <a:cubicBezTo>
                  <a:pt x="1777" y="108"/>
                  <a:pt x="1777" y="108"/>
                  <a:pt x="1777" y="108"/>
                </a:cubicBezTo>
                <a:cubicBezTo>
                  <a:pt x="1778" y="107"/>
                  <a:pt x="1778" y="107"/>
                  <a:pt x="1778" y="107"/>
                </a:cubicBezTo>
                <a:cubicBezTo>
                  <a:pt x="1779" y="107"/>
                  <a:pt x="1779" y="107"/>
                  <a:pt x="1779" y="107"/>
                </a:cubicBezTo>
                <a:cubicBezTo>
                  <a:pt x="1780" y="107"/>
                  <a:pt x="1780" y="107"/>
                  <a:pt x="1780" y="107"/>
                </a:cubicBezTo>
                <a:cubicBezTo>
                  <a:pt x="1782" y="107"/>
                  <a:pt x="1782" y="107"/>
                  <a:pt x="1782" y="107"/>
                </a:cubicBezTo>
                <a:cubicBezTo>
                  <a:pt x="1785" y="106"/>
                  <a:pt x="1785" y="106"/>
                  <a:pt x="1785" y="106"/>
                </a:cubicBezTo>
                <a:cubicBezTo>
                  <a:pt x="1787" y="107"/>
                  <a:pt x="1787" y="107"/>
                  <a:pt x="1787" y="107"/>
                </a:cubicBezTo>
                <a:cubicBezTo>
                  <a:pt x="1788" y="107"/>
                  <a:pt x="1788" y="107"/>
                  <a:pt x="1788" y="107"/>
                </a:cubicBezTo>
                <a:cubicBezTo>
                  <a:pt x="1789" y="107"/>
                  <a:pt x="1789" y="107"/>
                  <a:pt x="1789" y="107"/>
                </a:cubicBezTo>
                <a:cubicBezTo>
                  <a:pt x="1790" y="106"/>
                  <a:pt x="1790" y="106"/>
                  <a:pt x="1790" y="106"/>
                </a:cubicBezTo>
                <a:cubicBezTo>
                  <a:pt x="1789" y="105"/>
                  <a:pt x="1789" y="105"/>
                  <a:pt x="1789" y="105"/>
                </a:cubicBezTo>
                <a:cubicBezTo>
                  <a:pt x="1787" y="105"/>
                  <a:pt x="1787" y="105"/>
                  <a:pt x="1787" y="105"/>
                </a:cubicBezTo>
                <a:cubicBezTo>
                  <a:pt x="1785" y="105"/>
                  <a:pt x="1785" y="105"/>
                  <a:pt x="1785" y="105"/>
                </a:cubicBezTo>
                <a:cubicBezTo>
                  <a:pt x="1784" y="105"/>
                  <a:pt x="1784" y="105"/>
                  <a:pt x="1784" y="105"/>
                </a:cubicBezTo>
                <a:cubicBezTo>
                  <a:pt x="1782" y="105"/>
                  <a:pt x="1782" y="105"/>
                  <a:pt x="1782" y="105"/>
                </a:cubicBezTo>
                <a:cubicBezTo>
                  <a:pt x="1782" y="104"/>
                  <a:pt x="1782" y="104"/>
                  <a:pt x="1782" y="104"/>
                </a:cubicBezTo>
                <a:cubicBezTo>
                  <a:pt x="1781" y="103"/>
                  <a:pt x="1781" y="103"/>
                  <a:pt x="1781" y="103"/>
                </a:cubicBezTo>
                <a:cubicBezTo>
                  <a:pt x="1783" y="101"/>
                  <a:pt x="1783" y="101"/>
                  <a:pt x="1783" y="101"/>
                </a:cubicBezTo>
                <a:cubicBezTo>
                  <a:pt x="1781" y="101"/>
                  <a:pt x="1781" y="101"/>
                  <a:pt x="1781" y="101"/>
                </a:cubicBezTo>
                <a:cubicBezTo>
                  <a:pt x="1780" y="99"/>
                  <a:pt x="1780" y="99"/>
                  <a:pt x="1780" y="99"/>
                </a:cubicBezTo>
                <a:cubicBezTo>
                  <a:pt x="1778" y="99"/>
                  <a:pt x="1778" y="99"/>
                  <a:pt x="1778" y="99"/>
                </a:cubicBezTo>
                <a:cubicBezTo>
                  <a:pt x="1777" y="98"/>
                  <a:pt x="1777" y="98"/>
                  <a:pt x="1777" y="98"/>
                </a:cubicBezTo>
                <a:cubicBezTo>
                  <a:pt x="1777" y="96"/>
                  <a:pt x="1777" y="96"/>
                  <a:pt x="1777" y="96"/>
                </a:cubicBezTo>
                <a:cubicBezTo>
                  <a:pt x="1778" y="96"/>
                  <a:pt x="1778" y="96"/>
                  <a:pt x="1778" y="96"/>
                </a:cubicBezTo>
                <a:cubicBezTo>
                  <a:pt x="1778" y="95"/>
                  <a:pt x="1778" y="95"/>
                  <a:pt x="1778" y="95"/>
                </a:cubicBezTo>
                <a:cubicBezTo>
                  <a:pt x="1777" y="93"/>
                  <a:pt x="1777" y="93"/>
                  <a:pt x="1777" y="93"/>
                </a:cubicBezTo>
                <a:cubicBezTo>
                  <a:pt x="1777" y="87"/>
                  <a:pt x="1777" y="87"/>
                  <a:pt x="1777" y="87"/>
                </a:cubicBezTo>
                <a:cubicBezTo>
                  <a:pt x="1778" y="86"/>
                  <a:pt x="1778" y="86"/>
                  <a:pt x="1778" y="86"/>
                </a:cubicBezTo>
                <a:cubicBezTo>
                  <a:pt x="1778" y="84"/>
                  <a:pt x="1778" y="84"/>
                  <a:pt x="1778" y="84"/>
                </a:cubicBezTo>
                <a:cubicBezTo>
                  <a:pt x="1778" y="82"/>
                  <a:pt x="1778" y="82"/>
                  <a:pt x="1778" y="82"/>
                </a:cubicBezTo>
                <a:cubicBezTo>
                  <a:pt x="1779" y="81"/>
                  <a:pt x="1779" y="81"/>
                  <a:pt x="1779" y="81"/>
                </a:cubicBezTo>
                <a:cubicBezTo>
                  <a:pt x="1778" y="80"/>
                  <a:pt x="1778" y="80"/>
                  <a:pt x="1778" y="80"/>
                </a:cubicBezTo>
                <a:cubicBezTo>
                  <a:pt x="1780" y="80"/>
                  <a:pt x="1780" y="80"/>
                  <a:pt x="1780" y="80"/>
                </a:cubicBezTo>
                <a:cubicBezTo>
                  <a:pt x="1780" y="78"/>
                  <a:pt x="1780" y="78"/>
                  <a:pt x="1780" y="78"/>
                </a:cubicBezTo>
                <a:cubicBezTo>
                  <a:pt x="1782" y="77"/>
                  <a:pt x="1782" y="77"/>
                  <a:pt x="1782" y="77"/>
                </a:cubicBezTo>
                <a:cubicBezTo>
                  <a:pt x="1784" y="79"/>
                  <a:pt x="1784" y="79"/>
                  <a:pt x="1784" y="79"/>
                </a:cubicBezTo>
                <a:cubicBezTo>
                  <a:pt x="1785" y="78"/>
                  <a:pt x="1785" y="78"/>
                  <a:pt x="1785" y="78"/>
                </a:cubicBezTo>
                <a:cubicBezTo>
                  <a:pt x="1786" y="78"/>
                  <a:pt x="1786" y="78"/>
                  <a:pt x="1786" y="78"/>
                </a:cubicBezTo>
                <a:cubicBezTo>
                  <a:pt x="1787" y="79"/>
                  <a:pt x="1787" y="79"/>
                  <a:pt x="1787" y="79"/>
                </a:cubicBezTo>
                <a:cubicBezTo>
                  <a:pt x="1789" y="80"/>
                  <a:pt x="1789" y="80"/>
                  <a:pt x="1789" y="80"/>
                </a:cubicBezTo>
                <a:cubicBezTo>
                  <a:pt x="1790" y="78"/>
                  <a:pt x="1790" y="78"/>
                  <a:pt x="1790" y="78"/>
                </a:cubicBezTo>
                <a:cubicBezTo>
                  <a:pt x="1791" y="78"/>
                  <a:pt x="1791" y="78"/>
                  <a:pt x="1791" y="78"/>
                </a:cubicBezTo>
                <a:cubicBezTo>
                  <a:pt x="1791" y="80"/>
                  <a:pt x="1791" y="80"/>
                  <a:pt x="1791" y="80"/>
                </a:cubicBezTo>
                <a:cubicBezTo>
                  <a:pt x="1791" y="81"/>
                  <a:pt x="1791" y="81"/>
                  <a:pt x="1791" y="81"/>
                </a:cubicBezTo>
                <a:cubicBezTo>
                  <a:pt x="1793" y="81"/>
                  <a:pt x="1793" y="81"/>
                  <a:pt x="1793" y="81"/>
                </a:cubicBezTo>
                <a:cubicBezTo>
                  <a:pt x="1793" y="82"/>
                  <a:pt x="1793" y="82"/>
                  <a:pt x="1793" y="82"/>
                </a:cubicBezTo>
                <a:cubicBezTo>
                  <a:pt x="1792" y="83"/>
                  <a:pt x="1792" y="83"/>
                  <a:pt x="1792" y="83"/>
                </a:cubicBezTo>
                <a:cubicBezTo>
                  <a:pt x="1792" y="84"/>
                  <a:pt x="1792" y="84"/>
                  <a:pt x="1792" y="84"/>
                </a:cubicBezTo>
                <a:cubicBezTo>
                  <a:pt x="1792" y="85"/>
                  <a:pt x="1792" y="85"/>
                  <a:pt x="1792" y="85"/>
                </a:cubicBezTo>
                <a:cubicBezTo>
                  <a:pt x="1791" y="88"/>
                  <a:pt x="1791" y="88"/>
                  <a:pt x="1791" y="88"/>
                </a:cubicBezTo>
                <a:cubicBezTo>
                  <a:pt x="1789" y="88"/>
                  <a:pt x="1789" y="88"/>
                  <a:pt x="1789" y="88"/>
                </a:cubicBezTo>
                <a:cubicBezTo>
                  <a:pt x="1788" y="89"/>
                  <a:pt x="1788" y="89"/>
                  <a:pt x="1788" y="89"/>
                </a:cubicBezTo>
                <a:cubicBezTo>
                  <a:pt x="1789" y="90"/>
                  <a:pt x="1789" y="90"/>
                  <a:pt x="1789" y="90"/>
                </a:cubicBezTo>
                <a:cubicBezTo>
                  <a:pt x="1792" y="89"/>
                  <a:pt x="1792" y="89"/>
                  <a:pt x="1792" y="89"/>
                </a:cubicBezTo>
                <a:cubicBezTo>
                  <a:pt x="1794" y="86"/>
                  <a:pt x="1794" y="86"/>
                  <a:pt x="1794" y="86"/>
                </a:cubicBezTo>
                <a:cubicBezTo>
                  <a:pt x="1795" y="86"/>
                  <a:pt x="1795" y="86"/>
                  <a:pt x="1795" y="86"/>
                </a:cubicBezTo>
                <a:cubicBezTo>
                  <a:pt x="1795" y="87"/>
                  <a:pt x="1795" y="87"/>
                  <a:pt x="1795" y="87"/>
                </a:cubicBezTo>
                <a:cubicBezTo>
                  <a:pt x="1794" y="88"/>
                  <a:pt x="1794" y="88"/>
                  <a:pt x="1794" y="88"/>
                </a:cubicBezTo>
                <a:cubicBezTo>
                  <a:pt x="1794" y="89"/>
                  <a:pt x="1794" y="89"/>
                  <a:pt x="1794" y="89"/>
                </a:cubicBezTo>
                <a:cubicBezTo>
                  <a:pt x="1796" y="89"/>
                  <a:pt x="1796" y="89"/>
                  <a:pt x="1796" y="89"/>
                </a:cubicBezTo>
                <a:cubicBezTo>
                  <a:pt x="1797" y="87"/>
                  <a:pt x="1797" y="87"/>
                  <a:pt x="1797" y="87"/>
                </a:cubicBezTo>
                <a:cubicBezTo>
                  <a:pt x="1798" y="87"/>
                  <a:pt x="1798" y="87"/>
                  <a:pt x="1798" y="87"/>
                </a:cubicBezTo>
                <a:cubicBezTo>
                  <a:pt x="1800" y="87"/>
                  <a:pt x="1800" y="87"/>
                  <a:pt x="1800" y="87"/>
                </a:cubicBezTo>
                <a:cubicBezTo>
                  <a:pt x="1800" y="86"/>
                  <a:pt x="1800" y="86"/>
                  <a:pt x="1800" y="86"/>
                </a:cubicBezTo>
                <a:cubicBezTo>
                  <a:pt x="1801" y="85"/>
                  <a:pt x="1801" y="85"/>
                  <a:pt x="1801" y="85"/>
                </a:cubicBezTo>
                <a:cubicBezTo>
                  <a:pt x="1802" y="86"/>
                  <a:pt x="1802" y="86"/>
                  <a:pt x="1802" y="86"/>
                </a:cubicBezTo>
                <a:cubicBezTo>
                  <a:pt x="1803" y="85"/>
                  <a:pt x="1803" y="85"/>
                  <a:pt x="1803" y="85"/>
                </a:cubicBezTo>
                <a:cubicBezTo>
                  <a:pt x="1805" y="87"/>
                  <a:pt x="1805" y="87"/>
                  <a:pt x="1805" y="87"/>
                </a:cubicBezTo>
                <a:cubicBezTo>
                  <a:pt x="1805" y="88"/>
                  <a:pt x="1805" y="88"/>
                  <a:pt x="1805" y="88"/>
                </a:cubicBezTo>
                <a:cubicBezTo>
                  <a:pt x="1805" y="90"/>
                  <a:pt x="1805" y="90"/>
                  <a:pt x="1805" y="90"/>
                </a:cubicBezTo>
                <a:cubicBezTo>
                  <a:pt x="1805" y="91"/>
                  <a:pt x="1805" y="91"/>
                  <a:pt x="1805" y="91"/>
                </a:cubicBezTo>
                <a:cubicBezTo>
                  <a:pt x="1805" y="92"/>
                  <a:pt x="1805" y="92"/>
                  <a:pt x="1805" y="92"/>
                </a:cubicBezTo>
                <a:cubicBezTo>
                  <a:pt x="1804" y="94"/>
                  <a:pt x="1804" y="94"/>
                  <a:pt x="1804" y="94"/>
                </a:cubicBezTo>
                <a:cubicBezTo>
                  <a:pt x="1805" y="97"/>
                  <a:pt x="1805" y="97"/>
                  <a:pt x="1805" y="97"/>
                </a:cubicBezTo>
                <a:cubicBezTo>
                  <a:pt x="1805" y="98"/>
                  <a:pt x="1805" y="98"/>
                  <a:pt x="1805" y="98"/>
                </a:cubicBezTo>
                <a:cubicBezTo>
                  <a:pt x="1804" y="98"/>
                  <a:pt x="1804" y="98"/>
                  <a:pt x="1804" y="98"/>
                </a:cubicBezTo>
                <a:cubicBezTo>
                  <a:pt x="1803" y="99"/>
                  <a:pt x="1803" y="99"/>
                  <a:pt x="1803" y="99"/>
                </a:cubicBezTo>
                <a:cubicBezTo>
                  <a:pt x="1804" y="99"/>
                  <a:pt x="1804" y="99"/>
                  <a:pt x="1804" y="99"/>
                </a:cubicBezTo>
                <a:cubicBezTo>
                  <a:pt x="1807" y="99"/>
                  <a:pt x="1807" y="99"/>
                  <a:pt x="1807" y="99"/>
                </a:cubicBezTo>
                <a:cubicBezTo>
                  <a:pt x="1808" y="97"/>
                  <a:pt x="1808" y="97"/>
                  <a:pt x="1808" y="97"/>
                </a:cubicBezTo>
                <a:cubicBezTo>
                  <a:pt x="1810" y="97"/>
                  <a:pt x="1810" y="97"/>
                  <a:pt x="1810" y="97"/>
                </a:cubicBezTo>
                <a:cubicBezTo>
                  <a:pt x="1811" y="95"/>
                  <a:pt x="1811" y="95"/>
                  <a:pt x="1811" y="95"/>
                </a:cubicBezTo>
                <a:cubicBezTo>
                  <a:pt x="1811" y="93"/>
                  <a:pt x="1811" y="93"/>
                  <a:pt x="1811" y="93"/>
                </a:cubicBezTo>
                <a:cubicBezTo>
                  <a:pt x="1810" y="92"/>
                  <a:pt x="1810" y="92"/>
                  <a:pt x="1810" y="92"/>
                </a:cubicBezTo>
                <a:cubicBezTo>
                  <a:pt x="1809" y="92"/>
                  <a:pt x="1809" y="92"/>
                  <a:pt x="1809" y="92"/>
                </a:cubicBezTo>
                <a:cubicBezTo>
                  <a:pt x="1808" y="91"/>
                  <a:pt x="1808" y="91"/>
                  <a:pt x="1808" y="91"/>
                </a:cubicBezTo>
                <a:cubicBezTo>
                  <a:pt x="1808" y="90"/>
                  <a:pt x="1808" y="90"/>
                  <a:pt x="1808" y="90"/>
                </a:cubicBezTo>
                <a:cubicBezTo>
                  <a:pt x="1809" y="90"/>
                  <a:pt x="1809" y="90"/>
                  <a:pt x="1809" y="90"/>
                </a:cubicBezTo>
                <a:cubicBezTo>
                  <a:pt x="1810" y="90"/>
                  <a:pt x="1810" y="90"/>
                  <a:pt x="1810" y="90"/>
                </a:cubicBezTo>
                <a:cubicBezTo>
                  <a:pt x="1811" y="90"/>
                  <a:pt x="1811" y="90"/>
                  <a:pt x="1811" y="90"/>
                </a:cubicBezTo>
                <a:cubicBezTo>
                  <a:pt x="1813" y="89"/>
                  <a:pt x="1813" y="89"/>
                  <a:pt x="1813" y="89"/>
                </a:cubicBezTo>
                <a:cubicBezTo>
                  <a:pt x="1815" y="87"/>
                  <a:pt x="1815" y="87"/>
                  <a:pt x="1815" y="87"/>
                </a:cubicBezTo>
                <a:cubicBezTo>
                  <a:pt x="1816" y="88"/>
                  <a:pt x="1816" y="88"/>
                  <a:pt x="1816" y="88"/>
                </a:cubicBezTo>
                <a:cubicBezTo>
                  <a:pt x="1817" y="88"/>
                  <a:pt x="1817" y="88"/>
                  <a:pt x="1817" y="88"/>
                </a:cubicBezTo>
                <a:cubicBezTo>
                  <a:pt x="1818" y="86"/>
                  <a:pt x="1818" y="86"/>
                  <a:pt x="1818" y="86"/>
                </a:cubicBezTo>
                <a:cubicBezTo>
                  <a:pt x="1819" y="85"/>
                  <a:pt x="1819" y="85"/>
                  <a:pt x="1819" y="85"/>
                </a:cubicBezTo>
                <a:cubicBezTo>
                  <a:pt x="1819" y="86"/>
                  <a:pt x="1819" y="86"/>
                  <a:pt x="1819" y="86"/>
                </a:cubicBezTo>
                <a:cubicBezTo>
                  <a:pt x="1820" y="85"/>
                  <a:pt x="1820" y="85"/>
                  <a:pt x="1820" y="85"/>
                </a:cubicBezTo>
                <a:cubicBezTo>
                  <a:pt x="1822" y="84"/>
                  <a:pt x="1822" y="84"/>
                  <a:pt x="1822" y="84"/>
                </a:cubicBezTo>
                <a:cubicBezTo>
                  <a:pt x="1822" y="85"/>
                  <a:pt x="1822" y="85"/>
                  <a:pt x="1822" y="85"/>
                </a:cubicBezTo>
                <a:cubicBezTo>
                  <a:pt x="1824" y="85"/>
                  <a:pt x="1824" y="85"/>
                  <a:pt x="1824" y="85"/>
                </a:cubicBezTo>
                <a:cubicBezTo>
                  <a:pt x="1823" y="86"/>
                  <a:pt x="1823" y="86"/>
                  <a:pt x="1823" y="86"/>
                </a:cubicBezTo>
                <a:cubicBezTo>
                  <a:pt x="1824" y="87"/>
                  <a:pt x="1824" y="87"/>
                  <a:pt x="1824" y="87"/>
                </a:cubicBezTo>
                <a:cubicBezTo>
                  <a:pt x="1826" y="87"/>
                  <a:pt x="1826" y="87"/>
                  <a:pt x="1826" y="87"/>
                </a:cubicBezTo>
                <a:cubicBezTo>
                  <a:pt x="1827" y="87"/>
                  <a:pt x="1827" y="87"/>
                  <a:pt x="1827" y="87"/>
                </a:cubicBezTo>
                <a:cubicBezTo>
                  <a:pt x="1828" y="88"/>
                  <a:pt x="1828" y="88"/>
                  <a:pt x="1828" y="88"/>
                </a:cubicBezTo>
                <a:cubicBezTo>
                  <a:pt x="1833" y="90"/>
                  <a:pt x="1833" y="90"/>
                  <a:pt x="1833" y="90"/>
                </a:cubicBezTo>
                <a:cubicBezTo>
                  <a:pt x="1834" y="91"/>
                  <a:pt x="1834" y="91"/>
                  <a:pt x="1834" y="91"/>
                </a:cubicBezTo>
                <a:cubicBezTo>
                  <a:pt x="1834" y="92"/>
                  <a:pt x="1834" y="92"/>
                  <a:pt x="1834" y="92"/>
                </a:cubicBezTo>
                <a:cubicBezTo>
                  <a:pt x="1834" y="93"/>
                  <a:pt x="1834" y="93"/>
                  <a:pt x="1834" y="93"/>
                </a:cubicBezTo>
                <a:cubicBezTo>
                  <a:pt x="1837" y="95"/>
                  <a:pt x="1837" y="95"/>
                  <a:pt x="1837" y="95"/>
                </a:cubicBezTo>
                <a:cubicBezTo>
                  <a:pt x="1837" y="94"/>
                  <a:pt x="1837" y="94"/>
                  <a:pt x="1837" y="94"/>
                </a:cubicBezTo>
                <a:cubicBezTo>
                  <a:pt x="1838" y="94"/>
                  <a:pt x="1838" y="94"/>
                  <a:pt x="1838" y="94"/>
                </a:cubicBezTo>
                <a:cubicBezTo>
                  <a:pt x="1838" y="93"/>
                  <a:pt x="1838" y="93"/>
                  <a:pt x="1838" y="93"/>
                </a:cubicBezTo>
                <a:cubicBezTo>
                  <a:pt x="1837" y="93"/>
                  <a:pt x="1837" y="93"/>
                  <a:pt x="1837" y="93"/>
                </a:cubicBezTo>
                <a:cubicBezTo>
                  <a:pt x="1836" y="92"/>
                  <a:pt x="1836" y="92"/>
                  <a:pt x="1836" y="92"/>
                </a:cubicBezTo>
                <a:cubicBezTo>
                  <a:pt x="1836" y="91"/>
                  <a:pt x="1836" y="91"/>
                  <a:pt x="1836" y="91"/>
                </a:cubicBezTo>
                <a:cubicBezTo>
                  <a:pt x="1837" y="91"/>
                  <a:pt x="1837" y="91"/>
                  <a:pt x="1837" y="91"/>
                </a:cubicBezTo>
                <a:cubicBezTo>
                  <a:pt x="1838" y="91"/>
                  <a:pt x="1838" y="91"/>
                  <a:pt x="1838" y="91"/>
                </a:cubicBezTo>
                <a:cubicBezTo>
                  <a:pt x="1839" y="92"/>
                  <a:pt x="1839" y="92"/>
                  <a:pt x="1839" y="92"/>
                </a:cubicBezTo>
                <a:cubicBezTo>
                  <a:pt x="1840" y="92"/>
                  <a:pt x="1840" y="92"/>
                  <a:pt x="1840" y="92"/>
                </a:cubicBezTo>
                <a:cubicBezTo>
                  <a:pt x="1840" y="93"/>
                  <a:pt x="1840" y="93"/>
                  <a:pt x="1840" y="93"/>
                </a:cubicBezTo>
                <a:cubicBezTo>
                  <a:pt x="1841" y="95"/>
                  <a:pt x="1841" y="95"/>
                  <a:pt x="1841" y="95"/>
                </a:cubicBezTo>
                <a:cubicBezTo>
                  <a:pt x="1842" y="97"/>
                  <a:pt x="1842" y="97"/>
                  <a:pt x="1842" y="97"/>
                </a:cubicBezTo>
                <a:cubicBezTo>
                  <a:pt x="1843" y="96"/>
                  <a:pt x="1843" y="96"/>
                  <a:pt x="1843" y="96"/>
                </a:cubicBezTo>
                <a:cubicBezTo>
                  <a:pt x="1844" y="96"/>
                  <a:pt x="1844" y="96"/>
                  <a:pt x="1844" y="96"/>
                </a:cubicBezTo>
                <a:cubicBezTo>
                  <a:pt x="1844" y="97"/>
                  <a:pt x="1844" y="97"/>
                  <a:pt x="1844" y="97"/>
                </a:cubicBezTo>
                <a:cubicBezTo>
                  <a:pt x="1845" y="98"/>
                  <a:pt x="1845" y="98"/>
                  <a:pt x="1845" y="98"/>
                </a:cubicBezTo>
                <a:cubicBezTo>
                  <a:pt x="1845" y="99"/>
                  <a:pt x="1845" y="99"/>
                  <a:pt x="1845" y="99"/>
                </a:cubicBezTo>
                <a:cubicBezTo>
                  <a:pt x="1846" y="101"/>
                  <a:pt x="1846" y="101"/>
                  <a:pt x="1846" y="101"/>
                </a:cubicBezTo>
                <a:cubicBezTo>
                  <a:pt x="1845" y="100"/>
                  <a:pt x="1845" y="100"/>
                  <a:pt x="1845" y="100"/>
                </a:cubicBezTo>
                <a:cubicBezTo>
                  <a:pt x="1844" y="101"/>
                  <a:pt x="1844" y="101"/>
                  <a:pt x="1844" y="101"/>
                </a:cubicBezTo>
                <a:cubicBezTo>
                  <a:pt x="1843" y="100"/>
                  <a:pt x="1843" y="100"/>
                  <a:pt x="1843" y="100"/>
                </a:cubicBezTo>
                <a:cubicBezTo>
                  <a:pt x="1841" y="99"/>
                  <a:pt x="1841" y="99"/>
                  <a:pt x="1841" y="99"/>
                </a:cubicBezTo>
                <a:cubicBezTo>
                  <a:pt x="1839" y="99"/>
                  <a:pt x="1839" y="99"/>
                  <a:pt x="1839" y="99"/>
                </a:cubicBezTo>
                <a:cubicBezTo>
                  <a:pt x="1840" y="101"/>
                  <a:pt x="1840" y="101"/>
                  <a:pt x="1840" y="101"/>
                </a:cubicBezTo>
                <a:cubicBezTo>
                  <a:pt x="1841" y="101"/>
                  <a:pt x="1841" y="101"/>
                  <a:pt x="1841" y="101"/>
                </a:cubicBezTo>
                <a:cubicBezTo>
                  <a:pt x="1842" y="101"/>
                  <a:pt x="1842" y="101"/>
                  <a:pt x="1842" y="101"/>
                </a:cubicBezTo>
                <a:cubicBezTo>
                  <a:pt x="1842" y="102"/>
                  <a:pt x="1842" y="102"/>
                  <a:pt x="1842" y="102"/>
                </a:cubicBezTo>
                <a:cubicBezTo>
                  <a:pt x="1843" y="103"/>
                  <a:pt x="1843" y="103"/>
                  <a:pt x="1843" y="103"/>
                </a:cubicBezTo>
                <a:cubicBezTo>
                  <a:pt x="1843" y="104"/>
                  <a:pt x="1843" y="104"/>
                  <a:pt x="1843" y="104"/>
                </a:cubicBezTo>
                <a:cubicBezTo>
                  <a:pt x="1844" y="103"/>
                  <a:pt x="1844" y="103"/>
                  <a:pt x="1844" y="103"/>
                </a:cubicBezTo>
                <a:cubicBezTo>
                  <a:pt x="1844" y="102"/>
                  <a:pt x="1844" y="102"/>
                  <a:pt x="1844" y="102"/>
                </a:cubicBezTo>
                <a:cubicBezTo>
                  <a:pt x="1845" y="102"/>
                  <a:pt x="1845" y="102"/>
                  <a:pt x="1845" y="102"/>
                </a:cubicBezTo>
                <a:cubicBezTo>
                  <a:pt x="1845" y="103"/>
                  <a:pt x="1845" y="103"/>
                  <a:pt x="1845" y="103"/>
                </a:cubicBezTo>
                <a:cubicBezTo>
                  <a:pt x="1846" y="103"/>
                  <a:pt x="1846" y="103"/>
                  <a:pt x="1846" y="103"/>
                </a:cubicBezTo>
                <a:cubicBezTo>
                  <a:pt x="1847" y="103"/>
                  <a:pt x="1847" y="103"/>
                  <a:pt x="1847" y="103"/>
                </a:cubicBezTo>
                <a:cubicBezTo>
                  <a:pt x="1848" y="103"/>
                  <a:pt x="1848" y="103"/>
                  <a:pt x="1848" y="103"/>
                </a:cubicBezTo>
                <a:cubicBezTo>
                  <a:pt x="1848" y="104"/>
                  <a:pt x="1848" y="104"/>
                  <a:pt x="1848" y="104"/>
                </a:cubicBezTo>
                <a:cubicBezTo>
                  <a:pt x="1848" y="105"/>
                  <a:pt x="1848" y="105"/>
                  <a:pt x="1848" y="105"/>
                </a:cubicBezTo>
                <a:cubicBezTo>
                  <a:pt x="1849" y="107"/>
                  <a:pt x="1849" y="107"/>
                  <a:pt x="1849" y="107"/>
                </a:cubicBezTo>
                <a:cubicBezTo>
                  <a:pt x="1849" y="109"/>
                  <a:pt x="1849" y="109"/>
                  <a:pt x="1849" y="109"/>
                </a:cubicBezTo>
                <a:cubicBezTo>
                  <a:pt x="1849" y="111"/>
                  <a:pt x="1849" y="111"/>
                  <a:pt x="1849" y="111"/>
                </a:cubicBezTo>
                <a:cubicBezTo>
                  <a:pt x="1848" y="113"/>
                  <a:pt x="1848" y="113"/>
                  <a:pt x="1848" y="113"/>
                </a:cubicBezTo>
                <a:cubicBezTo>
                  <a:pt x="1847" y="114"/>
                  <a:pt x="1847" y="114"/>
                  <a:pt x="1847" y="114"/>
                </a:cubicBezTo>
                <a:cubicBezTo>
                  <a:pt x="1847" y="115"/>
                  <a:pt x="1847" y="115"/>
                  <a:pt x="1847" y="115"/>
                </a:cubicBezTo>
                <a:cubicBezTo>
                  <a:pt x="1847" y="117"/>
                  <a:pt x="1847" y="117"/>
                  <a:pt x="1847" y="117"/>
                </a:cubicBezTo>
                <a:cubicBezTo>
                  <a:pt x="1847" y="118"/>
                  <a:pt x="1847" y="118"/>
                  <a:pt x="1847" y="118"/>
                </a:cubicBezTo>
                <a:cubicBezTo>
                  <a:pt x="1847" y="120"/>
                  <a:pt x="1847" y="120"/>
                  <a:pt x="1847" y="120"/>
                </a:cubicBezTo>
                <a:cubicBezTo>
                  <a:pt x="1846" y="120"/>
                  <a:pt x="1846" y="120"/>
                  <a:pt x="1846" y="120"/>
                </a:cubicBezTo>
                <a:cubicBezTo>
                  <a:pt x="1845" y="122"/>
                  <a:pt x="1845" y="122"/>
                  <a:pt x="1845" y="122"/>
                </a:cubicBezTo>
                <a:cubicBezTo>
                  <a:pt x="1846" y="122"/>
                  <a:pt x="1846" y="122"/>
                  <a:pt x="1846" y="122"/>
                </a:cubicBezTo>
                <a:cubicBezTo>
                  <a:pt x="1845" y="124"/>
                  <a:pt x="1845" y="124"/>
                  <a:pt x="1845" y="124"/>
                </a:cubicBezTo>
                <a:cubicBezTo>
                  <a:pt x="1844" y="125"/>
                  <a:pt x="1844" y="125"/>
                  <a:pt x="1844" y="125"/>
                </a:cubicBezTo>
                <a:cubicBezTo>
                  <a:pt x="1844" y="126"/>
                  <a:pt x="1844" y="126"/>
                  <a:pt x="1844" y="126"/>
                </a:cubicBezTo>
                <a:cubicBezTo>
                  <a:pt x="1844" y="127"/>
                  <a:pt x="1844" y="127"/>
                  <a:pt x="1844" y="127"/>
                </a:cubicBezTo>
                <a:cubicBezTo>
                  <a:pt x="1843" y="127"/>
                  <a:pt x="1843" y="127"/>
                  <a:pt x="1843" y="127"/>
                </a:cubicBezTo>
                <a:cubicBezTo>
                  <a:pt x="1841" y="129"/>
                  <a:pt x="1841" y="129"/>
                  <a:pt x="1841" y="129"/>
                </a:cubicBezTo>
                <a:cubicBezTo>
                  <a:pt x="1842" y="129"/>
                  <a:pt x="1842" y="129"/>
                  <a:pt x="1842" y="129"/>
                </a:cubicBezTo>
                <a:cubicBezTo>
                  <a:pt x="1843" y="128"/>
                  <a:pt x="1843" y="128"/>
                  <a:pt x="1843" y="128"/>
                </a:cubicBezTo>
                <a:cubicBezTo>
                  <a:pt x="1844" y="130"/>
                  <a:pt x="1844" y="130"/>
                  <a:pt x="1844" y="130"/>
                </a:cubicBezTo>
                <a:cubicBezTo>
                  <a:pt x="1843" y="132"/>
                  <a:pt x="1843" y="132"/>
                  <a:pt x="1843" y="132"/>
                </a:cubicBezTo>
                <a:cubicBezTo>
                  <a:pt x="1842" y="134"/>
                  <a:pt x="1842" y="134"/>
                  <a:pt x="1842" y="134"/>
                </a:cubicBezTo>
                <a:cubicBezTo>
                  <a:pt x="1841" y="137"/>
                  <a:pt x="1841" y="137"/>
                  <a:pt x="1841" y="137"/>
                </a:cubicBezTo>
                <a:cubicBezTo>
                  <a:pt x="1842" y="138"/>
                  <a:pt x="1842" y="138"/>
                  <a:pt x="1842" y="138"/>
                </a:cubicBezTo>
                <a:cubicBezTo>
                  <a:pt x="1842" y="139"/>
                  <a:pt x="1842" y="139"/>
                  <a:pt x="1842" y="139"/>
                </a:cubicBezTo>
                <a:cubicBezTo>
                  <a:pt x="1841" y="142"/>
                  <a:pt x="1841" y="142"/>
                  <a:pt x="1841" y="142"/>
                </a:cubicBezTo>
                <a:cubicBezTo>
                  <a:pt x="1839" y="142"/>
                  <a:pt x="1839" y="142"/>
                  <a:pt x="1839" y="142"/>
                </a:cubicBezTo>
                <a:cubicBezTo>
                  <a:pt x="1838" y="142"/>
                  <a:pt x="1838" y="142"/>
                  <a:pt x="1838" y="142"/>
                </a:cubicBezTo>
                <a:cubicBezTo>
                  <a:pt x="1838" y="143"/>
                  <a:pt x="1838" y="143"/>
                  <a:pt x="1838" y="143"/>
                </a:cubicBezTo>
                <a:cubicBezTo>
                  <a:pt x="1838" y="144"/>
                  <a:pt x="1838" y="144"/>
                  <a:pt x="1838" y="144"/>
                </a:cubicBezTo>
                <a:cubicBezTo>
                  <a:pt x="1839" y="146"/>
                  <a:pt x="1839" y="146"/>
                  <a:pt x="1839" y="146"/>
                </a:cubicBezTo>
                <a:cubicBezTo>
                  <a:pt x="1838" y="147"/>
                  <a:pt x="1838" y="147"/>
                  <a:pt x="1838" y="147"/>
                </a:cubicBezTo>
                <a:cubicBezTo>
                  <a:pt x="1837" y="148"/>
                  <a:pt x="1837" y="148"/>
                  <a:pt x="1837" y="148"/>
                </a:cubicBezTo>
                <a:cubicBezTo>
                  <a:pt x="1836" y="150"/>
                  <a:pt x="1836" y="150"/>
                  <a:pt x="1836" y="150"/>
                </a:cubicBezTo>
                <a:cubicBezTo>
                  <a:pt x="1837" y="152"/>
                  <a:pt x="1837" y="152"/>
                  <a:pt x="1837" y="152"/>
                </a:cubicBezTo>
                <a:cubicBezTo>
                  <a:pt x="1837" y="153"/>
                  <a:pt x="1837" y="153"/>
                  <a:pt x="1837" y="153"/>
                </a:cubicBezTo>
                <a:cubicBezTo>
                  <a:pt x="1837" y="154"/>
                  <a:pt x="1837" y="154"/>
                  <a:pt x="1837" y="154"/>
                </a:cubicBezTo>
                <a:cubicBezTo>
                  <a:pt x="1837" y="155"/>
                  <a:pt x="1837" y="155"/>
                  <a:pt x="1837" y="155"/>
                </a:cubicBezTo>
                <a:cubicBezTo>
                  <a:pt x="1838" y="155"/>
                  <a:pt x="1838" y="155"/>
                  <a:pt x="1838" y="155"/>
                </a:cubicBezTo>
                <a:cubicBezTo>
                  <a:pt x="1837" y="159"/>
                  <a:pt x="1837" y="159"/>
                  <a:pt x="1837" y="159"/>
                </a:cubicBezTo>
                <a:cubicBezTo>
                  <a:pt x="1836" y="159"/>
                  <a:pt x="1836" y="159"/>
                  <a:pt x="1836" y="159"/>
                </a:cubicBezTo>
                <a:cubicBezTo>
                  <a:pt x="1835" y="161"/>
                  <a:pt x="1835" y="161"/>
                  <a:pt x="1835" y="161"/>
                </a:cubicBezTo>
                <a:cubicBezTo>
                  <a:pt x="1836" y="160"/>
                  <a:pt x="1836" y="160"/>
                  <a:pt x="1836" y="160"/>
                </a:cubicBezTo>
                <a:cubicBezTo>
                  <a:pt x="1837" y="160"/>
                  <a:pt x="1837" y="160"/>
                  <a:pt x="1837" y="160"/>
                </a:cubicBezTo>
                <a:cubicBezTo>
                  <a:pt x="1838" y="159"/>
                  <a:pt x="1838" y="159"/>
                  <a:pt x="1838" y="159"/>
                </a:cubicBezTo>
                <a:cubicBezTo>
                  <a:pt x="1839" y="157"/>
                  <a:pt x="1839" y="157"/>
                  <a:pt x="1839" y="157"/>
                </a:cubicBezTo>
                <a:cubicBezTo>
                  <a:pt x="1838" y="157"/>
                  <a:pt x="1838" y="157"/>
                  <a:pt x="1838" y="157"/>
                </a:cubicBezTo>
                <a:cubicBezTo>
                  <a:pt x="1839" y="156"/>
                  <a:pt x="1839" y="156"/>
                  <a:pt x="1839" y="156"/>
                </a:cubicBezTo>
                <a:cubicBezTo>
                  <a:pt x="1841" y="156"/>
                  <a:pt x="1841" y="156"/>
                  <a:pt x="1841" y="156"/>
                </a:cubicBezTo>
                <a:cubicBezTo>
                  <a:pt x="1841" y="155"/>
                  <a:pt x="1841" y="155"/>
                  <a:pt x="1841" y="155"/>
                </a:cubicBezTo>
                <a:cubicBezTo>
                  <a:pt x="1838" y="153"/>
                  <a:pt x="1838" y="153"/>
                  <a:pt x="1838" y="153"/>
                </a:cubicBezTo>
                <a:cubicBezTo>
                  <a:pt x="1838" y="152"/>
                  <a:pt x="1838" y="152"/>
                  <a:pt x="1838" y="152"/>
                </a:cubicBezTo>
                <a:cubicBezTo>
                  <a:pt x="1839" y="150"/>
                  <a:pt x="1839" y="150"/>
                  <a:pt x="1839" y="150"/>
                </a:cubicBezTo>
                <a:cubicBezTo>
                  <a:pt x="1841" y="150"/>
                  <a:pt x="1841" y="150"/>
                  <a:pt x="1841" y="150"/>
                </a:cubicBezTo>
                <a:cubicBezTo>
                  <a:pt x="1843" y="150"/>
                  <a:pt x="1843" y="150"/>
                  <a:pt x="1843" y="150"/>
                </a:cubicBezTo>
                <a:cubicBezTo>
                  <a:pt x="1845" y="148"/>
                  <a:pt x="1845" y="148"/>
                  <a:pt x="1845" y="148"/>
                </a:cubicBezTo>
                <a:cubicBezTo>
                  <a:pt x="1846" y="148"/>
                  <a:pt x="1846" y="148"/>
                  <a:pt x="1846" y="148"/>
                </a:cubicBezTo>
                <a:cubicBezTo>
                  <a:pt x="1846" y="147"/>
                  <a:pt x="1846" y="147"/>
                  <a:pt x="1846" y="147"/>
                </a:cubicBezTo>
                <a:cubicBezTo>
                  <a:pt x="1846" y="146"/>
                  <a:pt x="1846" y="146"/>
                  <a:pt x="1846" y="146"/>
                </a:cubicBezTo>
                <a:cubicBezTo>
                  <a:pt x="1848" y="145"/>
                  <a:pt x="1848" y="145"/>
                  <a:pt x="1848" y="145"/>
                </a:cubicBezTo>
                <a:cubicBezTo>
                  <a:pt x="1848" y="143"/>
                  <a:pt x="1848" y="143"/>
                  <a:pt x="1848" y="143"/>
                </a:cubicBezTo>
                <a:cubicBezTo>
                  <a:pt x="1848" y="142"/>
                  <a:pt x="1848" y="142"/>
                  <a:pt x="1848" y="142"/>
                </a:cubicBezTo>
                <a:cubicBezTo>
                  <a:pt x="1849" y="142"/>
                  <a:pt x="1849" y="142"/>
                  <a:pt x="1849" y="142"/>
                </a:cubicBezTo>
                <a:cubicBezTo>
                  <a:pt x="1851" y="142"/>
                  <a:pt x="1851" y="142"/>
                  <a:pt x="1851" y="142"/>
                </a:cubicBezTo>
                <a:cubicBezTo>
                  <a:pt x="1851" y="140"/>
                  <a:pt x="1851" y="140"/>
                  <a:pt x="1851" y="140"/>
                </a:cubicBezTo>
                <a:cubicBezTo>
                  <a:pt x="1853" y="138"/>
                  <a:pt x="1853" y="138"/>
                  <a:pt x="1853" y="138"/>
                </a:cubicBezTo>
                <a:cubicBezTo>
                  <a:pt x="1853" y="136"/>
                  <a:pt x="1853" y="136"/>
                  <a:pt x="1853" y="136"/>
                </a:cubicBezTo>
                <a:cubicBezTo>
                  <a:pt x="1853" y="135"/>
                  <a:pt x="1853" y="135"/>
                  <a:pt x="1853" y="135"/>
                </a:cubicBezTo>
                <a:cubicBezTo>
                  <a:pt x="1850" y="137"/>
                  <a:pt x="1850" y="137"/>
                  <a:pt x="1850" y="137"/>
                </a:cubicBezTo>
                <a:cubicBezTo>
                  <a:pt x="1850" y="138"/>
                  <a:pt x="1850" y="138"/>
                  <a:pt x="1850" y="138"/>
                </a:cubicBezTo>
                <a:cubicBezTo>
                  <a:pt x="1848" y="139"/>
                  <a:pt x="1848" y="139"/>
                  <a:pt x="1848" y="139"/>
                </a:cubicBezTo>
                <a:cubicBezTo>
                  <a:pt x="1847" y="138"/>
                  <a:pt x="1847" y="138"/>
                  <a:pt x="1847" y="138"/>
                </a:cubicBezTo>
                <a:cubicBezTo>
                  <a:pt x="1846" y="137"/>
                  <a:pt x="1846" y="137"/>
                  <a:pt x="1846" y="137"/>
                </a:cubicBezTo>
                <a:cubicBezTo>
                  <a:pt x="1847" y="135"/>
                  <a:pt x="1847" y="135"/>
                  <a:pt x="1847" y="135"/>
                </a:cubicBezTo>
                <a:cubicBezTo>
                  <a:pt x="1847" y="133"/>
                  <a:pt x="1847" y="133"/>
                  <a:pt x="1847" y="133"/>
                </a:cubicBezTo>
                <a:cubicBezTo>
                  <a:pt x="1848" y="132"/>
                  <a:pt x="1848" y="132"/>
                  <a:pt x="1848" y="132"/>
                </a:cubicBezTo>
                <a:cubicBezTo>
                  <a:pt x="1850" y="132"/>
                  <a:pt x="1850" y="132"/>
                  <a:pt x="1850" y="132"/>
                </a:cubicBezTo>
                <a:cubicBezTo>
                  <a:pt x="1852" y="134"/>
                  <a:pt x="1852" y="134"/>
                  <a:pt x="1852" y="134"/>
                </a:cubicBezTo>
                <a:cubicBezTo>
                  <a:pt x="1853" y="133"/>
                  <a:pt x="1853" y="133"/>
                  <a:pt x="1853" y="133"/>
                </a:cubicBezTo>
                <a:cubicBezTo>
                  <a:pt x="1853" y="131"/>
                  <a:pt x="1853" y="131"/>
                  <a:pt x="1853" y="131"/>
                </a:cubicBezTo>
                <a:cubicBezTo>
                  <a:pt x="1854" y="130"/>
                  <a:pt x="1854" y="130"/>
                  <a:pt x="1854" y="130"/>
                </a:cubicBezTo>
                <a:cubicBezTo>
                  <a:pt x="1855" y="131"/>
                  <a:pt x="1855" y="131"/>
                  <a:pt x="1855" y="131"/>
                </a:cubicBezTo>
                <a:cubicBezTo>
                  <a:pt x="1854" y="132"/>
                  <a:pt x="1854" y="132"/>
                  <a:pt x="1854" y="132"/>
                </a:cubicBezTo>
                <a:cubicBezTo>
                  <a:pt x="1854" y="133"/>
                  <a:pt x="1854" y="133"/>
                  <a:pt x="1854" y="133"/>
                </a:cubicBezTo>
                <a:cubicBezTo>
                  <a:pt x="1857" y="136"/>
                  <a:pt x="1857" y="136"/>
                  <a:pt x="1857" y="136"/>
                </a:cubicBezTo>
                <a:cubicBezTo>
                  <a:pt x="1859" y="136"/>
                  <a:pt x="1859" y="136"/>
                  <a:pt x="1859" y="136"/>
                </a:cubicBezTo>
                <a:cubicBezTo>
                  <a:pt x="1860" y="136"/>
                  <a:pt x="1860" y="136"/>
                  <a:pt x="1860" y="136"/>
                </a:cubicBezTo>
                <a:cubicBezTo>
                  <a:pt x="1862" y="135"/>
                  <a:pt x="1862" y="135"/>
                  <a:pt x="1862" y="135"/>
                </a:cubicBezTo>
                <a:cubicBezTo>
                  <a:pt x="1863" y="134"/>
                  <a:pt x="1863" y="134"/>
                  <a:pt x="1863" y="134"/>
                </a:cubicBezTo>
                <a:cubicBezTo>
                  <a:pt x="1863" y="133"/>
                  <a:pt x="1863" y="133"/>
                  <a:pt x="1863" y="133"/>
                </a:cubicBezTo>
                <a:cubicBezTo>
                  <a:pt x="1861" y="131"/>
                  <a:pt x="1861" y="131"/>
                  <a:pt x="1861" y="131"/>
                </a:cubicBezTo>
                <a:cubicBezTo>
                  <a:pt x="1861" y="130"/>
                  <a:pt x="1861" y="130"/>
                  <a:pt x="1861" y="130"/>
                </a:cubicBezTo>
                <a:cubicBezTo>
                  <a:pt x="1862" y="130"/>
                  <a:pt x="1862" y="130"/>
                  <a:pt x="1862" y="130"/>
                </a:cubicBezTo>
                <a:cubicBezTo>
                  <a:pt x="1864" y="132"/>
                  <a:pt x="1864" y="132"/>
                  <a:pt x="1864" y="132"/>
                </a:cubicBezTo>
                <a:cubicBezTo>
                  <a:pt x="1865" y="133"/>
                  <a:pt x="1865" y="133"/>
                  <a:pt x="1865" y="133"/>
                </a:cubicBezTo>
                <a:cubicBezTo>
                  <a:pt x="1866" y="134"/>
                  <a:pt x="1866" y="134"/>
                  <a:pt x="1866" y="134"/>
                </a:cubicBezTo>
                <a:cubicBezTo>
                  <a:pt x="1866" y="135"/>
                  <a:pt x="1866" y="135"/>
                  <a:pt x="1866" y="135"/>
                </a:cubicBezTo>
                <a:cubicBezTo>
                  <a:pt x="1866" y="136"/>
                  <a:pt x="1866" y="136"/>
                  <a:pt x="1866" y="136"/>
                </a:cubicBezTo>
                <a:cubicBezTo>
                  <a:pt x="1868" y="137"/>
                  <a:pt x="1868" y="137"/>
                  <a:pt x="1868" y="137"/>
                </a:cubicBezTo>
                <a:cubicBezTo>
                  <a:pt x="1868" y="139"/>
                  <a:pt x="1868" y="139"/>
                  <a:pt x="1868" y="139"/>
                </a:cubicBezTo>
                <a:cubicBezTo>
                  <a:pt x="1869" y="140"/>
                  <a:pt x="1869" y="140"/>
                  <a:pt x="1869" y="140"/>
                </a:cubicBezTo>
                <a:cubicBezTo>
                  <a:pt x="1869" y="139"/>
                  <a:pt x="1869" y="139"/>
                  <a:pt x="1869" y="139"/>
                </a:cubicBezTo>
                <a:cubicBezTo>
                  <a:pt x="1870" y="138"/>
                  <a:pt x="1870" y="138"/>
                  <a:pt x="1870" y="138"/>
                </a:cubicBezTo>
                <a:cubicBezTo>
                  <a:pt x="1871" y="138"/>
                  <a:pt x="1871" y="138"/>
                  <a:pt x="1871" y="138"/>
                </a:cubicBezTo>
                <a:cubicBezTo>
                  <a:pt x="1871" y="137"/>
                  <a:pt x="1871" y="137"/>
                  <a:pt x="1871" y="137"/>
                </a:cubicBezTo>
                <a:cubicBezTo>
                  <a:pt x="1871" y="136"/>
                  <a:pt x="1871" y="136"/>
                  <a:pt x="1871" y="136"/>
                </a:cubicBezTo>
                <a:cubicBezTo>
                  <a:pt x="1870" y="137"/>
                  <a:pt x="1870" y="137"/>
                  <a:pt x="1870" y="137"/>
                </a:cubicBezTo>
                <a:cubicBezTo>
                  <a:pt x="1869" y="137"/>
                  <a:pt x="1869" y="137"/>
                  <a:pt x="1869" y="137"/>
                </a:cubicBezTo>
                <a:cubicBezTo>
                  <a:pt x="1868" y="135"/>
                  <a:pt x="1868" y="135"/>
                  <a:pt x="1868" y="135"/>
                </a:cubicBezTo>
                <a:cubicBezTo>
                  <a:pt x="1870" y="133"/>
                  <a:pt x="1870" y="133"/>
                  <a:pt x="1870" y="133"/>
                </a:cubicBezTo>
                <a:cubicBezTo>
                  <a:pt x="1871" y="133"/>
                  <a:pt x="1871" y="133"/>
                  <a:pt x="1871" y="133"/>
                </a:cubicBezTo>
                <a:cubicBezTo>
                  <a:pt x="1871" y="132"/>
                  <a:pt x="1871" y="132"/>
                  <a:pt x="1871" y="132"/>
                </a:cubicBezTo>
                <a:cubicBezTo>
                  <a:pt x="1872" y="132"/>
                  <a:pt x="1872" y="132"/>
                  <a:pt x="1872" y="132"/>
                </a:cubicBezTo>
                <a:cubicBezTo>
                  <a:pt x="1873" y="131"/>
                  <a:pt x="1873" y="131"/>
                  <a:pt x="1873" y="131"/>
                </a:cubicBezTo>
                <a:cubicBezTo>
                  <a:pt x="1875" y="130"/>
                  <a:pt x="1875" y="130"/>
                  <a:pt x="1875" y="130"/>
                </a:cubicBezTo>
                <a:cubicBezTo>
                  <a:pt x="1880" y="129"/>
                  <a:pt x="1880" y="129"/>
                  <a:pt x="1880" y="129"/>
                </a:cubicBezTo>
                <a:cubicBezTo>
                  <a:pt x="1885" y="129"/>
                  <a:pt x="1885" y="129"/>
                  <a:pt x="1885" y="129"/>
                </a:cubicBezTo>
                <a:cubicBezTo>
                  <a:pt x="1888" y="127"/>
                  <a:pt x="1888" y="127"/>
                  <a:pt x="1888" y="127"/>
                </a:cubicBezTo>
                <a:cubicBezTo>
                  <a:pt x="1890" y="127"/>
                  <a:pt x="1890" y="127"/>
                  <a:pt x="1890" y="127"/>
                </a:cubicBezTo>
                <a:cubicBezTo>
                  <a:pt x="1892" y="128"/>
                  <a:pt x="1892" y="128"/>
                  <a:pt x="1892" y="128"/>
                </a:cubicBezTo>
                <a:cubicBezTo>
                  <a:pt x="1892" y="129"/>
                  <a:pt x="1892" y="129"/>
                  <a:pt x="1892" y="129"/>
                </a:cubicBezTo>
                <a:cubicBezTo>
                  <a:pt x="1891" y="129"/>
                  <a:pt x="1891" y="129"/>
                  <a:pt x="1891" y="129"/>
                </a:cubicBezTo>
                <a:cubicBezTo>
                  <a:pt x="1891" y="131"/>
                  <a:pt x="1891" y="131"/>
                  <a:pt x="1891" y="131"/>
                </a:cubicBezTo>
                <a:cubicBezTo>
                  <a:pt x="1891" y="133"/>
                  <a:pt x="1891" y="133"/>
                  <a:pt x="1891" y="133"/>
                </a:cubicBezTo>
                <a:cubicBezTo>
                  <a:pt x="1893" y="135"/>
                  <a:pt x="1893" y="135"/>
                  <a:pt x="1893" y="135"/>
                </a:cubicBezTo>
                <a:cubicBezTo>
                  <a:pt x="1899" y="135"/>
                  <a:pt x="1899" y="135"/>
                  <a:pt x="1899" y="135"/>
                </a:cubicBezTo>
                <a:cubicBezTo>
                  <a:pt x="1900" y="135"/>
                  <a:pt x="1900" y="135"/>
                  <a:pt x="1900" y="135"/>
                </a:cubicBezTo>
                <a:cubicBezTo>
                  <a:pt x="1902" y="135"/>
                  <a:pt x="1902" y="135"/>
                  <a:pt x="1902" y="135"/>
                </a:cubicBezTo>
                <a:cubicBezTo>
                  <a:pt x="1904" y="135"/>
                  <a:pt x="1904" y="135"/>
                  <a:pt x="1904" y="135"/>
                </a:cubicBezTo>
                <a:cubicBezTo>
                  <a:pt x="1908" y="135"/>
                  <a:pt x="1908" y="135"/>
                  <a:pt x="1908" y="135"/>
                </a:cubicBezTo>
                <a:cubicBezTo>
                  <a:pt x="1910" y="133"/>
                  <a:pt x="1910" y="133"/>
                  <a:pt x="1910" y="133"/>
                </a:cubicBezTo>
                <a:cubicBezTo>
                  <a:pt x="1911" y="134"/>
                  <a:pt x="1911" y="134"/>
                  <a:pt x="1911" y="134"/>
                </a:cubicBezTo>
                <a:cubicBezTo>
                  <a:pt x="1913" y="133"/>
                  <a:pt x="1913" y="133"/>
                  <a:pt x="1913" y="133"/>
                </a:cubicBezTo>
                <a:cubicBezTo>
                  <a:pt x="1913" y="132"/>
                  <a:pt x="1913" y="132"/>
                  <a:pt x="1913" y="132"/>
                </a:cubicBezTo>
                <a:cubicBezTo>
                  <a:pt x="1913" y="131"/>
                  <a:pt x="1913" y="131"/>
                  <a:pt x="1913" y="131"/>
                </a:cubicBezTo>
                <a:cubicBezTo>
                  <a:pt x="1914" y="131"/>
                  <a:pt x="1914" y="131"/>
                  <a:pt x="1914" y="131"/>
                </a:cubicBezTo>
                <a:cubicBezTo>
                  <a:pt x="1915" y="131"/>
                  <a:pt x="1915" y="131"/>
                  <a:pt x="1915" y="131"/>
                </a:cubicBezTo>
                <a:cubicBezTo>
                  <a:pt x="1917" y="131"/>
                  <a:pt x="1917" y="131"/>
                  <a:pt x="1917" y="131"/>
                </a:cubicBezTo>
                <a:cubicBezTo>
                  <a:pt x="1917" y="132"/>
                  <a:pt x="1917" y="132"/>
                  <a:pt x="1917" y="132"/>
                </a:cubicBezTo>
                <a:cubicBezTo>
                  <a:pt x="1918" y="132"/>
                  <a:pt x="1918" y="132"/>
                  <a:pt x="1918" y="132"/>
                </a:cubicBezTo>
                <a:cubicBezTo>
                  <a:pt x="1919" y="131"/>
                  <a:pt x="1919" y="131"/>
                  <a:pt x="1919" y="131"/>
                </a:cubicBezTo>
                <a:cubicBezTo>
                  <a:pt x="1918" y="130"/>
                  <a:pt x="1918" y="130"/>
                  <a:pt x="1918" y="130"/>
                </a:cubicBezTo>
                <a:cubicBezTo>
                  <a:pt x="1917" y="129"/>
                  <a:pt x="1917" y="129"/>
                  <a:pt x="1917" y="129"/>
                </a:cubicBezTo>
                <a:cubicBezTo>
                  <a:pt x="1917" y="128"/>
                  <a:pt x="1917" y="128"/>
                  <a:pt x="1917" y="128"/>
                </a:cubicBezTo>
                <a:cubicBezTo>
                  <a:pt x="1917" y="127"/>
                  <a:pt x="1917" y="127"/>
                  <a:pt x="1917" y="127"/>
                </a:cubicBezTo>
                <a:cubicBezTo>
                  <a:pt x="1915" y="126"/>
                  <a:pt x="1915" y="126"/>
                  <a:pt x="1915" y="126"/>
                </a:cubicBezTo>
                <a:cubicBezTo>
                  <a:pt x="1915" y="125"/>
                  <a:pt x="1915" y="125"/>
                  <a:pt x="1915" y="125"/>
                </a:cubicBezTo>
                <a:cubicBezTo>
                  <a:pt x="1914" y="125"/>
                  <a:pt x="1914" y="125"/>
                  <a:pt x="1914" y="125"/>
                </a:cubicBezTo>
                <a:cubicBezTo>
                  <a:pt x="1914" y="123"/>
                  <a:pt x="1914" y="123"/>
                  <a:pt x="1914" y="123"/>
                </a:cubicBezTo>
                <a:cubicBezTo>
                  <a:pt x="1913" y="122"/>
                  <a:pt x="1913" y="122"/>
                  <a:pt x="1913" y="122"/>
                </a:cubicBezTo>
                <a:cubicBezTo>
                  <a:pt x="1913" y="121"/>
                  <a:pt x="1913" y="121"/>
                  <a:pt x="1913" y="121"/>
                </a:cubicBezTo>
                <a:cubicBezTo>
                  <a:pt x="1914" y="120"/>
                  <a:pt x="1914" y="120"/>
                  <a:pt x="1914" y="120"/>
                </a:cubicBezTo>
                <a:cubicBezTo>
                  <a:pt x="1915" y="121"/>
                  <a:pt x="1915" y="121"/>
                  <a:pt x="1915" y="121"/>
                </a:cubicBezTo>
                <a:cubicBezTo>
                  <a:pt x="1916" y="120"/>
                  <a:pt x="1916" y="120"/>
                  <a:pt x="1916" y="120"/>
                </a:cubicBezTo>
                <a:cubicBezTo>
                  <a:pt x="1916" y="119"/>
                  <a:pt x="1916" y="119"/>
                  <a:pt x="1916" y="119"/>
                </a:cubicBezTo>
                <a:cubicBezTo>
                  <a:pt x="1915" y="118"/>
                  <a:pt x="1915" y="118"/>
                  <a:pt x="1915" y="118"/>
                </a:cubicBezTo>
                <a:cubicBezTo>
                  <a:pt x="1916" y="118"/>
                  <a:pt x="1916" y="118"/>
                  <a:pt x="1916" y="118"/>
                </a:cubicBezTo>
                <a:cubicBezTo>
                  <a:pt x="1918" y="119"/>
                  <a:pt x="1918" y="119"/>
                  <a:pt x="1918" y="119"/>
                </a:cubicBezTo>
                <a:cubicBezTo>
                  <a:pt x="1919" y="118"/>
                  <a:pt x="1919" y="118"/>
                  <a:pt x="1919" y="118"/>
                </a:cubicBezTo>
                <a:cubicBezTo>
                  <a:pt x="1921" y="118"/>
                  <a:pt x="1921" y="118"/>
                  <a:pt x="1921" y="118"/>
                </a:cubicBezTo>
                <a:cubicBezTo>
                  <a:pt x="1922" y="118"/>
                  <a:pt x="1922" y="118"/>
                  <a:pt x="1922" y="118"/>
                </a:cubicBezTo>
                <a:cubicBezTo>
                  <a:pt x="1922" y="117"/>
                  <a:pt x="1922" y="117"/>
                  <a:pt x="1922" y="117"/>
                </a:cubicBezTo>
                <a:cubicBezTo>
                  <a:pt x="1923" y="118"/>
                  <a:pt x="1923" y="118"/>
                  <a:pt x="1923" y="118"/>
                </a:cubicBezTo>
                <a:cubicBezTo>
                  <a:pt x="1924" y="119"/>
                  <a:pt x="1924" y="119"/>
                  <a:pt x="1924" y="119"/>
                </a:cubicBezTo>
                <a:cubicBezTo>
                  <a:pt x="1925" y="120"/>
                  <a:pt x="1925" y="120"/>
                  <a:pt x="1925" y="120"/>
                </a:cubicBezTo>
                <a:cubicBezTo>
                  <a:pt x="1926" y="119"/>
                  <a:pt x="1926" y="119"/>
                  <a:pt x="1926" y="119"/>
                </a:cubicBezTo>
                <a:cubicBezTo>
                  <a:pt x="1926" y="118"/>
                  <a:pt x="1926" y="118"/>
                  <a:pt x="1926" y="118"/>
                </a:cubicBezTo>
                <a:cubicBezTo>
                  <a:pt x="1927" y="118"/>
                  <a:pt x="1927" y="118"/>
                  <a:pt x="1927" y="118"/>
                </a:cubicBezTo>
                <a:cubicBezTo>
                  <a:pt x="1928" y="119"/>
                  <a:pt x="1928" y="119"/>
                  <a:pt x="1928" y="119"/>
                </a:cubicBezTo>
                <a:cubicBezTo>
                  <a:pt x="1927" y="120"/>
                  <a:pt x="1927" y="120"/>
                  <a:pt x="1927" y="120"/>
                </a:cubicBezTo>
                <a:cubicBezTo>
                  <a:pt x="1926" y="121"/>
                  <a:pt x="1926" y="121"/>
                  <a:pt x="1926" y="121"/>
                </a:cubicBezTo>
                <a:cubicBezTo>
                  <a:pt x="1927" y="121"/>
                  <a:pt x="1927" y="121"/>
                  <a:pt x="1927" y="121"/>
                </a:cubicBezTo>
                <a:cubicBezTo>
                  <a:pt x="1928" y="121"/>
                  <a:pt x="1928" y="121"/>
                  <a:pt x="1928" y="121"/>
                </a:cubicBezTo>
                <a:cubicBezTo>
                  <a:pt x="1929" y="121"/>
                  <a:pt x="1929" y="121"/>
                  <a:pt x="1929" y="121"/>
                </a:cubicBezTo>
                <a:cubicBezTo>
                  <a:pt x="1929" y="120"/>
                  <a:pt x="1929" y="120"/>
                  <a:pt x="1929" y="120"/>
                </a:cubicBezTo>
                <a:cubicBezTo>
                  <a:pt x="1930" y="120"/>
                  <a:pt x="1930" y="120"/>
                  <a:pt x="1930" y="120"/>
                </a:cubicBezTo>
                <a:cubicBezTo>
                  <a:pt x="1930" y="119"/>
                  <a:pt x="1930" y="119"/>
                  <a:pt x="1930" y="119"/>
                </a:cubicBezTo>
                <a:cubicBezTo>
                  <a:pt x="1929" y="118"/>
                  <a:pt x="1929" y="118"/>
                  <a:pt x="1929" y="118"/>
                </a:cubicBezTo>
                <a:cubicBezTo>
                  <a:pt x="1930" y="118"/>
                  <a:pt x="1930" y="118"/>
                  <a:pt x="1930" y="118"/>
                </a:cubicBezTo>
                <a:cubicBezTo>
                  <a:pt x="1932" y="117"/>
                  <a:pt x="1932" y="117"/>
                  <a:pt x="1932" y="117"/>
                </a:cubicBezTo>
                <a:cubicBezTo>
                  <a:pt x="1933" y="118"/>
                  <a:pt x="1933" y="118"/>
                  <a:pt x="1933" y="118"/>
                </a:cubicBezTo>
                <a:cubicBezTo>
                  <a:pt x="1934" y="118"/>
                  <a:pt x="1934" y="118"/>
                  <a:pt x="1934" y="118"/>
                </a:cubicBezTo>
                <a:cubicBezTo>
                  <a:pt x="1935" y="118"/>
                  <a:pt x="1935" y="118"/>
                  <a:pt x="1935" y="118"/>
                </a:cubicBezTo>
                <a:cubicBezTo>
                  <a:pt x="1936" y="120"/>
                  <a:pt x="1936" y="120"/>
                  <a:pt x="1936" y="120"/>
                </a:cubicBezTo>
                <a:cubicBezTo>
                  <a:pt x="1936" y="119"/>
                  <a:pt x="1936" y="119"/>
                  <a:pt x="1936" y="119"/>
                </a:cubicBezTo>
                <a:cubicBezTo>
                  <a:pt x="1937" y="119"/>
                  <a:pt x="1937" y="119"/>
                  <a:pt x="1937" y="119"/>
                </a:cubicBezTo>
                <a:cubicBezTo>
                  <a:pt x="1938" y="118"/>
                  <a:pt x="1938" y="118"/>
                  <a:pt x="1938" y="118"/>
                </a:cubicBezTo>
                <a:cubicBezTo>
                  <a:pt x="1938" y="120"/>
                  <a:pt x="1938" y="120"/>
                  <a:pt x="1938" y="120"/>
                </a:cubicBezTo>
                <a:cubicBezTo>
                  <a:pt x="1939" y="120"/>
                  <a:pt x="1939" y="120"/>
                  <a:pt x="1939" y="120"/>
                </a:cubicBezTo>
                <a:cubicBezTo>
                  <a:pt x="1940" y="119"/>
                  <a:pt x="1940" y="119"/>
                  <a:pt x="1940" y="119"/>
                </a:cubicBezTo>
                <a:cubicBezTo>
                  <a:pt x="1941" y="120"/>
                  <a:pt x="1941" y="120"/>
                  <a:pt x="1941" y="120"/>
                </a:cubicBezTo>
                <a:cubicBezTo>
                  <a:pt x="1942" y="122"/>
                  <a:pt x="1942" y="122"/>
                  <a:pt x="1942" y="122"/>
                </a:cubicBezTo>
                <a:cubicBezTo>
                  <a:pt x="1942" y="121"/>
                  <a:pt x="1942" y="121"/>
                  <a:pt x="1942" y="121"/>
                </a:cubicBezTo>
                <a:cubicBezTo>
                  <a:pt x="1943" y="120"/>
                  <a:pt x="1943" y="120"/>
                  <a:pt x="1943" y="120"/>
                </a:cubicBezTo>
                <a:cubicBezTo>
                  <a:pt x="1944" y="121"/>
                  <a:pt x="1944" y="121"/>
                  <a:pt x="1944" y="121"/>
                </a:cubicBezTo>
                <a:cubicBezTo>
                  <a:pt x="1943" y="123"/>
                  <a:pt x="1943" y="123"/>
                  <a:pt x="1943" y="123"/>
                </a:cubicBezTo>
                <a:cubicBezTo>
                  <a:pt x="1944" y="123"/>
                  <a:pt x="1944" y="123"/>
                  <a:pt x="1944" y="123"/>
                </a:cubicBezTo>
                <a:cubicBezTo>
                  <a:pt x="1944" y="124"/>
                  <a:pt x="1944" y="124"/>
                  <a:pt x="1944" y="124"/>
                </a:cubicBezTo>
                <a:cubicBezTo>
                  <a:pt x="1946" y="124"/>
                  <a:pt x="1946" y="124"/>
                  <a:pt x="1946" y="124"/>
                </a:cubicBezTo>
                <a:cubicBezTo>
                  <a:pt x="1946" y="125"/>
                  <a:pt x="1946" y="125"/>
                  <a:pt x="1946" y="125"/>
                </a:cubicBezTo>
                <a:cubicBezTo>
                  <a:pt x="1947" y="125"/>
                  <a:pt x="1947" y="125"/>
                  <a:pt x="1947" y="125"/>
                </a:cubicBezTo>
                <a:cubicBezTo>
                  <a:pt x="1947" y="126"/>
                  <a:pt x="1947" y="126"/>
                  <a:pt x="1947" y="126"/>
                </a:cubicBezTo>
                <a:cubicBezTo>
                  <a:pt x="1946" y="127"/>
                  <a:pt x="1946" y="127"/>
                  <a:pt x="1946" y="127"/>
                </a:cubicBezTo>
                <a:cubicBezTo>
                  <a:pt x="1947" y="128"/>
                  <a:pt x="1947" y="128"/>
                  <a:pt x="1947" y="128"/>
                </a:cubicBezTo>
                <a:cubicBezTo>
                  <a:pt x="1948" y="127"/>
                  <a:pt x="1948" y="127"/>
                  <a:pt x="1948" y="127"/>
                </a:cubicBezTo>
                <a:cubicBezTo>
                  <a:pt x="1949" y="127"/>
                  <a:pt x="1949" y="127"/>
                  <a:pt x="1949" y="127"/>
                </a:cubicBezTo>
                <a:cubicBezTo>
                  <a:pt x="1950" y="128"/>
                  <a:pt x="1950" y="128"/>
                  <a:pt x="1950" y="128"/>
                </a:cubicBezTo>
                <a:cubicBezTo>
                  <a:pt x="1947" y="130"/>
                  <a:pt x="1947" y="130"/>
                  <a:pt x="1947" y="130"/>
                </a:cubicBezTo>
                <a:cubicBezTo>
                  <a:pt x="1947" y="131"/>
                  <a:pt x="1947" y="131"/>
                  <a:pt x="1947" y="131"/>
                </a:cubicBezTo>
                <a:cubicBezTo>
                  <a:pt x="1949" y="132"/>
                  <a:pt x="1949" y="132"/>
                  <a:pt x="1949" y="132"/>
                </a:cubicBezTo>
                <a:cubicBezTo>
                  <a:pt x="1950" y="131"/>
                  <a:pt x="1950" y="131"/>
                  <a:pt x="1950" y="131"/>
                </a:cubicBezTo>
                <a:cubicBezTo>
                  <a:pt x="1951" y="130"/>
                  <a:pt x="1951" y="130"/>
                  <a:pt x="1951" y="130"/>
                </a:cubicBezTo>
                <a:cubicBezTo>
                  <a:pt x="1952" y="131"/>
                  <a:pt x="1952" y="131"/>
                  <a:pt x="1952" y="131"/>
                </a:cubicBezTo>
                <a:cubicBezTo>
                  <a:pt x="1952" y="132"/>
                  <a:pt x="1952" y="132"/>
                  <a:pt x="1952" y="132"/>
                </a:cubicBezTo>
                <a:cubicBezTo>
                  <a:pt x="1953" y="131"/>
                  <a:pt x="1953" y="131"/>
                  <a:pt x="1953" y="131"/>
                </a:cubicBezTo>
                <a:cubicBezTo>
                  <a:pt x="1954" y="133"/>
                  <a:pt x="1954" y="133"/>
                  <a:pt x="1954" y="133"/>
                </a:cubicBezTo>
                <a:cubicBezTo>
                  <a:pt x="1954" y="135"/>
                  <a:pt x="1954" y="135"/>
                  <a:pt x="1954" y="135"/>
                </a:cubicBezTo>
                <a:cubicBezTo>
                  <a:pt x="1955" y="135"/>
                  <a:pt x="1955" y="135"/>
                  <a:pt x="1955" y="135"/>
                </a:cubicBezTo>
                <a:cubicBezTo>
                  <a:pt x="1955" y="136"/>
                  <a:pt x="1955" y="136"/>
                  <a:pt x="1955" y="136"/>
                </a:cubicBezTo>
                <a:cubicBezTo>
                  <a:pt x="1956" y="135"/>
                  <a:pt x="1956" y="135"/>
                  <a:pt x="1956" y="135"/>
                </a:cubicBezTo>
                <a:cubicBezTo>
                  <a:pt x="1956" y="136"/>
                  <a:pt x="1956" y="136"/>
                  <a:pt x="1956" y="136"/>
                </a:cubicBezTo>
                <a:cubicBezTo>
                  <a:pt x="1955" y="138"/>
                  <a:pt x="1955" y="138"/>
                  <a:pt x="1955" y="138"/>
                </a:cubicBezTo>
                <a:cubicBezTo>
                  <a:pt x="1954" y="139"/>
                  <a:pt x="1954" y="139"/>
                  <a:pt x="1954" y="139"/>
                </a:cubicBezTo>
                <a:cubicBezTo>
                  <a:pt x="1953" y="138"/>
                  <a:pt x="1953" y="138"/>
                  <a:pt x="1953" y="138"/>
                </a:cubicBezTo>
                <a:cubicBezTo>
                  <a:pt x="1950" y="137"/>
                  <a:pt x="1950" y="137"/>
                  <a:pt x="1950" y="137"/>
                </a:cubicBezTo>
                <a:cubicBezTo>
                  <a:pt x="1947" y="137"/>
                  <a:pt x="1947" y="137"/>
                  <a:pt x="1947" y="137"/>
                </a:cubicBezTo>
                <a:cubicBezTo>
                  <a:pt x="1949" y="138"/>
                  <a:pt x="1949" y="138"/>
                  <a:pt x="1949" y="138"/>
                </a:cubicBezTo>
                <a:cubicBezTo>
                  <a:pt x="1949" y="139"/>
                  <a:pt x="1949" y="139"/>
                  <a:pt x="1949" y="139"/>
                </a:cubicBezTo>
                <a:cubicBezTo>
                  <a:pt x="1951" y="139"/>
                  <a:pt x="1951" y="139"/>
                  <a:pt x="1951" y="139"/>
                </a:cubicBezTo>
                <a:cubicBezTo>
                  <a:pt x="1952" y="140"/>
                  <a:pt x="1952" y="140"/>
                  <a:pt x="1952" y="140"/>
                </a:cubicBezTo>
                <a:cubicBezTo>
                  <a:pt x="1954" y="142"/>
                  <a:pt x="1954" y="142"/>
                  <a:pt x="1954" y="142"/>
                </a:cubicBezTo>
                <a:cubicBezTo>
                  <a:pt x="1957" y="143"/>
                  <a:pt x="1957" y="143"/>
                  <a:pt x="1957" y="143"/>
                </a:cubicBezTo>
                <a:cubicBezTo>
                  <a:pt x="1958" y="144"/>
                  <a:pt x="1958" y="144"/>
                  <a:pt x="1958" y="144"/>
                </a:cubicBezTo>
                <a:cubicBezTo>
                  <a:pt x="1959" y="144"/>
                  <a:pt x="1959" y="144"/>
                  <a:pt x="1959" y="144"/>
                </a:cubicBezTo>
                <a:cubicBezTo>
                  <a:pt x="1960" y="144"/>
                  <a:pt x="1960" y="144"/>
                  <a:pt x="1960" y="144"/>
                </a:cubicBezTo>
                <a:cubicBezTo>
                  <a:pt x="1965" y="148"/>
                  <a:pt x="1965" y="148"/>
                  <a:pt x="1965" y="148"/>
                </a:cubicBezTo>
                <a:cubicBezTo>
                  <a:pt x="1966" y="148"/>
                  <a:pt x="1966" y="148"/>
                  <a:pt x="1966" y="148"/>
                </a:cubicBezTo>
                <a:cubicBezTo>
                  <a:pt x="1967" y="150"/>
                  <a:pt x="1967" y="150"/>
                  <a:pt x="1967" y="150"/>
                </a:cubicBezTo>
                <a:cubicBezTo>
                  <a:pt x="1970" y="150"/>
                  <a:pt x="1970" y="150"/>
                  <a:pt x="1970" y="150"/>
                </a:cubicBezTo>
                <a:cubicBezTo>
                  <a:pt x="1972" y="152"/>
                  <a:pt x="1972" y="152"/>
                  <a:pt x="1972" y="152"/>
                </a:cubicBezTo>
                <a:cubicBezTo>
                  <a:pt x="1973" y="152"/>
                  <a:pt x="1973" y="152"/>
                  <a:pt x="1973" y="152"/>
                </a:cubicBezTo>
                <a:cubicBezTo>
                  <a:pt x="1974" y="152"/>
                  <a:pt x="1974" y="152"/>
                  <a:pt x="1974" y="152"/>
                </a:cubicBezTo>
                <a:cubicBezTo>
                  <a:pt x="1973" y="151"/>
                  <a:pt x="1973" y="151"/>
                  <a:pt x="1973" y="151"/>
                </a:cubicBezTo>
                <a:cubicBezTo>
                  <a:pt x="1974" y="150"/>
                  <a:pt x="1974" y="150"/>
                  <a:pt x="1974" y="150"/>
                </a:cubicBezTo>
                <a:cubicBezTo>
                  <a:pt x="1975" y="151"/>
                  <a:pt x="1975" y="151"/>
                  <a:pt x="1975" y="151"/>
                </a:cubicBezTo>
                <a:cubicBezTo>
                  <a:pt x="1975" y="152"/>
                  <a:pt x="1975" y="152"/>
                  <a:pt x="1975" y="152"/>
                </a:cubicBezTo>
                <a:cubicBezTo>
                  <a:pt x="1976" y="154"/>
                  <a:pt x="1976" y="154"/>
                  <a:pt x="1976" y="154"/>
                </a:cubicBezTo>
                <a:cubicBezTo>
                  <a:pt x="1977" y="154"/>
                  <a:pt x="1977" y="154"/>
                  <a:pt x="1977" y="154"/>
                </a:cubicBezTo>
                <a:cubicBezTo>
                  <a:pt x="1977" y="152"/>
                  <a:pt x="1977" y="152"/>
                  <a:pt x="1977" y="152"/>
                </a:cubicBezTo>
                <a:cubicBezTo>
                  <a:pt x="1976" y="145"/>
                  <a:pt x="1976" y="145"/>
                  <a:pt x="1976" y="145"/>
                </a:cubicBezTo>
                <a:cubicBezTo>
                  <a:pt x="1975" y="142"/>
                  <a:pt x="1975" y="142"/>
                  <a:pt x="1975" y="142"/>
                </a:cubicBezTo>
                <a:cubicBezTo>
                  <a:pt x="1973" y="139"/>
                  <a:pt x="1973" y="139"/>
                  <a:pt x="1973" y="139"/>
                </a:cubicBezTo>
                <a:cubicBezTo>
                  <a:pt x="1973" y="135"/>
                  <a:pt x="1973" y="135"/>
                  <a:pt x="1973" y="135"/>
                </a:cubicBezTo>
                <a:cubicBezTo>
                  <a:pt x="1972" y="133"/>
                  <a:pt x="1972" y="133"/>
                  <a:pt x="1972" y="133"/>
                </a:cubicBezTo>
                <a:cubicBezTo>
                  <a:pt x="1971" y="132"/>
                  <a:pt x="1971" y="132"/>
                  <a:pt x="1971" y="132"/>
                </a:cubicBezTo>
                <a:cubicBezTo>
                  <a:pt x="1973" y="133"/>
                  <a:pt x="1973" y="133"/>
                  <a:pt x="1973" y="133"/>
                </a:cubicBezTo>
                <a:cubicBezTo>
                  <a:pt x="1973" y="134"/>
                  <a:pt x="1973" y="134"/>
                  <a:pt x="1973" y="134"/>
                </a:cubicBezTo>
                <a:cubicBezTo>
                  <a:pt x="1975" y="136"/>
                  <a:pt x="1975" y="136"/>
                  <a:pt x="1975" y="136"/>
                </a:cubicBezTo>
                <a:cubicBezTo>
                  <a:pt x="1976" y="136"/>
                  <a:pt x="1976" y="136"/>
                  <a:pt x="1976" y="136"/>
                </a:cubicBezTo>
                <a:cubicBezTo>
                  <a:pt x="1978" y="138"/>
                  <a:pt x="1978" y="138"/>
                  <a:pt x="1978" y="138"/>
                </a:cubicBezTo>
                <a:cubicBezTo>
                  <a:pt x="1980" y="138"/>
                  <a:pt x="1980" y="138"/>
                  <a:pt x="1980" y="138"/>
                </a:cubicBezTo>
                <a:cubicBezTo>
                  <a:pt x="1985" y="138"/>
                  <a:pt x="1985" y="138"/>
                  <a:pt x="1985" y="138"/>
                </a:cubicBezTo>
                <a:cubicBezTo>
                  <a:pt x="1986" y="138"/>
                  <a:pt x="1986" y="138"/>
                  <a:pt x="1986" y="138"/>
                </a:cubicBezTo>
                <a:cubicBezTo>
                  <a:pt x="1987" y="137"/>
                  <a:pt x="1987" y="137"/>
                  <a:pt x="1987" y="137"/>
                </a:cubicBezTo>
                <a:cubicBezTo>
                  <a:pt x="1988" y="136"/>
                  <a:pt x="1988" y="136"/>
                  <a:pt x="1988" y="136"/>
                </a:cubicBezTo>
                <a:cubicBezTo>
                  <a:pt x="1987" y="135"/>
                  <a:pt x="1987" y="135"/>
                  <a:pt x="1987" y="135"/>
                </a:cubicBezTo>
                <a:cubicBezTo>
                  <a:pt x="1987" y="134"/>
                  <a:pt x="1987" y="134"/>
                  <a:pt x="1987" y="134"/>
                </a:cubicBezTo>
                <a:cubicBezTo>
                  <a:pt x="1987" y="133"/>
                  <a:pt x="1987" y="133"/>
                  <a:pt x="1987" y="133"/>
                </a:cubicBezTo>
                <a:cubicBezTo>
                  <a:pt x="1992" y="131"/>
                  <a:pt x="1992" y="131"/>
                  <a:pt x="1992" y="131"/>
                </a:cubicBezTo>
                <a:cubicBezTo>
                  <a:pt x="1992" y="132"/>
                  <a:pt x="1992" y="132"/>
                  <a:pt x="1992" y="132"/>
                </a:cubicBezTo>
                <a:cubicBezTo>
                  <a:pt x="1993" y="132"/>
                  <a:pt x="1993" y="132"/>
                  <a:pt x="1993" y="132"/>
                </a:cubicBezTo>
                <a:cubicBezTo>
                  <a:pt x="1995" y="132"/>
                  <a:pt x="1995" y="132"/>
                  <a:pt x="1995" y="132"/>
                </a:cubicBezTo>
                <a:cubicBezTo>
                  <a:pt x="1997" y="132"/>
                  <a:pt x="1997" y="132"/>
                  <a:pt x="1997" y="132"/>
                </a:cubicBezTo>
                <a:cubicBezTo>
                  <a:pt x="1998" y="134"/>
                  <a:pt x="1998" y="134"/>
                  <a:pt x="1998" y="134"/>
                </a:cubicBezTo>
                <a:cubicBezTo>
                  <a:pt x="2000" y="134"/>
                  <a:pt x="2000" y="134"/>
                  <a:pt x="2000" y="134"/>
                </a:cubicBezTo>
                <a:cubicBezTo>
                  <a:pt x="2000" y="136"/>
                  <a:pt x="2000" y="136"/>
                  <a:pt x="2000" y="136"/>
                </a:cubicBezTo>
                <a:cubicBezTo>
                  <a:pt x="2003" y="136"/>
                  <a:pt x="2003" y="136"/>
                  <a:pt x="2003" y="136"/>
                </a:cubicBezTo>
                <a:cubicBezTo>
                  <a:pt x="2003" y="137"/>
                  <a:pt x="2003" y="137"/>
                  <a:pt x="2003" y="137"/>
                </a:cubicBezTo>
                <a:cubicBezTo>
                  <a:pt x="2006" y="137"/>
                  <a:pt x="2006" y="137"/>
                  <a:pt x="2006" y="137"/>
                </a:cubicBezTo>
                <a:cubicBezTo>
                  <a:pt x="2004" y="136"/>
                  <a:pt x="2004" y="136"/>
                  <a:pt x="2004" y="136"/>
                </a:cubicBezTo>
                <a:cubicBezTo>
                  <a:pt x="2004" y="135"/>
                  <a:pt x="2004" y="135"/>
                  <a:pt x="2004" y="135"/>
                </a:cubicBezTo>
                <a:cubicBezTo>
                  <a:pt x="2006" y="136"/>
                  <a:pt x="2006" y="136"/>
                  <a:pt x="2006" y="136"/>
                </a:cubicBezTo>
                <a:cubicBezTo>
                  <a:pt x="2007" y="135"/>
                  <a:pt x="2007" y="135"/>
                  <a:pt x="2007" y="135"/>
                </a:cubicBezTo>
                <a:cubicBezTo>
                  <a:pt x="2006" y="134"/>
                  <a:pt x="2006" y="134"/>
                  <a:pt x="2006" y="134"/>
                </a:cubicBezTo>
                <a:cubicBezTo>
                  <a:pt x="2007" y="133"/>
                  <a:pt x="2007" y="133"/>
                  <a:pt x="2007" y="133"/>
                </a:cubicBezTo>
                <a:cubicBezTo>
                  <a:pt x="2006" y="132"/>
                  <a:pt x="2006" y="132"/>
                  <a:pt x="2006" y="132"/>
                </a:cubicBezTo>
                <a:cubicBezTo>
                  <a:pt x="2004" y="133"/>
                  <a:pt x="2004" y="133"/>
                  <a:pt x="2004" y="133"/>
                </a:cubicBezTo>
                <a:cubicBezTo>
                  <a:pt x="2002" y="133"/>
                  <a:pt x="2002" y="133"/>
                  <a:pt x="2002" y="133"/>
                </a:cubicBezTo>
                <a:cubicBezTo>
                  <a:pt x="2002" y="132"/>
                  <a:pt x="2002" y="132"/>
                  <a:pt x="2002" y="132"/>
                </a:cubicBezTo>
                <a:cubicBezTo>
                  <a:pt x="2002" y="131"/>
                  <a:pt x="2002" y="131"/>
                  <a:pt x="2002" y="131"/>
                </a:cubicBezTo>
                <a:cubicBezTo>
                  <a:pt x="2002" y="129"/>
                  <a:pt x="2002" y="129"/>
                  <a:pt x="2002" y="129"/>
                </a:cubicBezTo>
                <a:cubicBezTo>
                  <a:pt x="2003" y="129"/>
                  <a:pt x="2003" y="129"/>
                  <a:pt x="2003" y="129"/>
                </a:cubicBezTo>
                <a:cubicBezTo>
                  <a:pt x="2004" y="129"/>
                  <a:pt x="2004" y="129"/>
                  <a:pt x="2004" y="129"/>
                </a:cubicBezTo>
                <a:cubicBezTo>
                  <a:pt x="2004" y="128"/>
                  <a:pt x="2004" y="128"/>
                  <a:pt x="2004" y="128"/>
                </a:cubicBezTo>
                <a:cubicBezTo>
                  <a:pt x="2005" y="127"/>
                  <a:pt x="2005" y="127"/>
                  <a:pt x="2005" y="127"/>
                </a:cubicBezTo>
                <a:cubicBezTo>
                  <a:pt x="2007" y="129"/>
                  <a:pt x="2007" y="129"/>
                  <a:pt x="2007" y="129"/>
                </a:cubicBezTo>
                <a:cubicBezTo>
                  <a:pt x="2007" y="130"/>
                  <a:pt x="2007" y="130"/>
                  <a:pt x="2007" y="130"/>
                </a:cubicBezTo>
                <a:cubicBezTo>
                  <a:pt x="2008" y="130"/>
                  <a:pt x="2008" y="130"/>
                  <a:pt x="2008" y="130"/>
                </a:cubicBezTo>
                <a:cubicBezTo>
                  <a:pt x="2009" y="130"/>
                  <a:pt x="2009" y="130"/>
                  <a:pt x="2009" y="130"/>
                </a:cubicBezTo>
                <a:cubicBezTo>
                  <a:pt x="2009" y="128"/>
                  <a:pt x="2009" y="128"/>
                  <a:pt x="2009" y="128"/>
                </a:cubicBezTo>
                <a:cubicBezTo>
                  <a:pt x="2010" y="128"/>
                  <a:pt x="2010" y="128"/>
                  <a:pt x="2010" y="128"/>
                </a:cubicBezTo>
                <a:cubicBezTo>
                  <a:pt x="2011" y="129"/>
                  <a:pt x="2011" y="129"/>
                  <a:pt x="2011" y="129"/>
                </a:cubicBezTo>
                <a:cubicBezTo>
                  <a:pt x="2012" y="127"/>
                  <a:pt x="2012" y="127"/>
                  <a:pt x="2012" y="127"/>
                </a:cubicBezTo>
                <a:cubicBezTo>
                  <a:pt x="2010" y="125"/>
                  <a:pt x="2010" y="125"/>
                  <a:pt x="2010" y="125"/>
                </a:cubicBezTo>
                <a:cubicBezTo>
                  <a:pt x="2008" y="125"/>
                  <a:pt x="2008" y="125"/>
                  <a:pt x="2008" y="125"/>
                </a:cubicBezTo>
                <a:cubicBezTo>
                  <a:pt x="2007" y="123"/>
                  <a:pt x="2007" y="123"/>
                  <a:pt x="2007" y="123"/>
                </a:cubicBezTo>
                <a:cubicBezTo>
                  <a:pt x="2007" y="122"/>
                  <a:pt x="2007" y="122"/>
                  <a:pt x="2007" y="122"/>
                </a:cubicBezTo>
                <a:cubicBezTo>
                  <a:pt x="2006" y="121"/>
                  <a:pt x="2006" y="121"/>
                  <a:pt x="2006" y="121"/>
                </a:cubicBezTo>
                <a:cubicBezTo>
                  <a:pt x="2005" y="122"/>
                  <a:pt x="2005" y="122"/>
                  <a:pt x="2005" y="122"/>
                </a:cubicBezTo>
                <a:cubicBezTo>
                  <a:pt x="2004" y="121"/>
                  <a:pt x="2004" y="121"/>
                  <a:pt x="2004" y="121"/>
                </a:cubicBezTo>
                <a:cubicBezTo>
                  <a:pt x="2005" y="120"/>
                  <a:pt x="2005" y="120"/>
                  <a:pt x="2005" y="120"/>
                </a:cubicBezTo>
                <a:cubicBezTo>
                  <a:pt x="2005" y="119"/>
                  <a:pt x="2005" y="119"/>
                  <a:pt x="2005" y="119"/>
                </a:cubicBezTo>
                <a:cubicBezTo>
                  <a:pt x="2004" y="117"/>
                  <a:pt x="2004" y="117"/>
                  <a:pt x="2004" y="117"/>
                </a:cubicBezTo>
                <a:cubicBezTo>
                  <a:pt x="2006" y="117"/>
                  <a:pt x="2006" y="117"/>
                  <a:pt x="2006" y="117"/>
                </a:cubicBezTo>
                <a:cubicBezTo>
                  <a:pt x="2006" y="115"/>
                  <a:pt x="2006" y="115"/>
                  <a:pt x="2006" y="115"/>
                </a:cubicBezTo>
                <a:cubicBezTo>
                  <a:pt x="2004" y="116"/>
                  <a:pt x="2004" y="116"/>
                  <a:pt x="2004" y="116"/>
                </a:cubicBezTo>
                <a:cubicBezTo>
                  <a:pt x="2003" y="117"/>
                  <a:pt x="2003" y="117"/>
                  <a:pt x="2003" y="117"/>
                </a:cubicBezTo>
                <a:cubicBezTo>
                  <a:pt x="2003" y="119"/>
                  <a:pt x="2003" y="119"/>
                  <a:pt x="2003" y="119"/>
                </a:cubicBezTo>
                <a:cubicBezTo>
                  <a:pt x="2000" y="118"/>
                  <a:pt x="2000" y="118"/>
                  <a:pt x="2000" y="118"/>
                </a:cubicBezTo>
                <a:cubicBezTo>
                  <a:pt x="1999" y="116"/>
                  <a:pt x="1999" y="116"/>
                  <a:pt x="1999" y="116"/>
                </a:cubicBezTo>
                <a:cubicBezTo>
                  <a:pt x="2000" y="114"/>
                  <a:pt x="2000" y="114"/>
                  <a:pt x="2000" y="114"/>
                </a:cubicBezTo>
                <a:cubicBezTo>
                  <a:pt x="2000" y="113"/>
                  <a:pt x="2000" y="113"/>
                  <a:pt x="2000" y="113"/>
                </a:cubicBezTo>
                <a:cubicBezTo>
                  <a:pt x="2002" y="112"/>
                  <a:pt x="2002" y="112"/>
                  <a:pt x="2002" y="112"/>
                </a:cubicBezTo>
                <a:cubicBezTo>
                  <a:pt x="2003" y="112"/>
                  <a:pt x="2003" y="112"/>
                  <a:pt x="2003" y="112"/>
                </a:cubicBezTo>
                <a:cubicBezTo>
                  <a:pt x="2006" y="110"/>
                  <a:pt x="2006" y="110"/>
                  <a:pt x="2006" y="110"/>
                </a:cubicBezTo>
                <a:cubicBezTo>
                  <a:pt x="2006" y="109"/>
                  <a:pt x="2006" y="109"/>
                  <a:pt x="2006" y="109"/>
                </a:cubicBezTo>
                <a:cubicBezTo>
                  <a:pt x="2004" y="107"/>
                  <a:pt x="2004" y="107"/>
                  <a:pt x="2004" y="107"/>
                </a:cubicBezTo>
                <a:cubicBezTo>
                  <a:pt x="2003" y="108"/>
                  <a:pt x="2003" y="108"/>
                  <a:pt x="2003" y="108"/>
                </a:cubicBezTo>
                <a:cubicBezTo>
                  <a:pt x="2002" y="107"/>
                  <a:pt x="2002" y="107"/>
                  <a:pt x="2002" y="107"/>
                </a:cubicBezTo>
                <a:cubicBezTo>
                  <a:pt x="2000" y="107"/>
                  <a:pt x="2000" y="107"/>
                  <a:pt x="2000" y="107"/>
                </a:cubicBezTo>
                <a:cubicBezTo>
                  <a:pt x="1999" y="106"/>
                  <a:pt x="1999" y="106"/>
                  <a:pt x="1999" y="106"/>
                </a:cubicBezTo>
                <a:cubicBezTo>
                  <a:pt x="2000" y="105"/>
                  <a:pt x="2000" y="105"/>
                  <a:pt x="2000" y="105"/>
                </a:cubicBezTo>
                <a:cubicBezTo>
                  <a:pt x="2003" y="104"/>
                  <a:pt x="2003" y="104"/>
                  <a:pt x="2003" y="104"/>
                </a:cubicBezTo>
                <a:cubicBezTo>
                  <a:pt x="2006" y="106"/>
                  <a:pt x="2006" y="106"/>
                  <a:pt x="2006" y="106"/>
                </a:cubicBezTo>
                <a:cubicBezTo>
                  <a:pt x="2008" y="105"/>
                  <a:pt x="2008" y="105"/>
                  <a:pt x="2008" y="105"/>
                </a:cubicBezTo>
                <a:cubicBezTo>
                  <a:pt x="2012" y="105"/>
                  <a:pt x="2012" y="105"/>
                  <a:pt x="2012" y="105"/>
                </a:cubicBezTo>
                <a:cubicBezTo>
                  <a:pt x="2020" y="105"/>
                  <a:pt x="2020" y="105"/>
                  <a:pt x="2020" y="105"/>
                </a:cubicBezTo>
                <a:cubicBezTo>
                  <a:pt x="2021" y="104"/>
                  <a:pt x="2021" y="104"/>
                  <a:pt x="2021" y="104"/>
                </a:cubicBezTo>
                <a:cubicBezTo>
                  <a:pt x="2026" y="104"/>
                  <a:pt x="2026" y="104"/>
                  <a:pt x="2026" y="104"/>
                </a:cubicBezTo>
                <a:cubicBezTo>
                  <a:pt x="2029" y="104"/>
                  <a:pt x="2029" y="104"/>
                  <a:pt x="2029" y="104"/>
                </a:cubicBezTo>
                <a:cubicBezTo>
                  <a:pt x="2031" y="104"/>
                  <a:pt x="2031" y="104"/>
                  <a:pt x="2031" y="104"/>
                </a:cubicBezTo>
                <a:cubicBezTo>
                  <a:pt x="2032" y="104"/>
                  <a:pt x="2032" y="104"/>
                  <a:pt x="2032" y="104"/>
                </a:cubicBezTo>
                <a:cubicBezTo>
                  <a:pt x="2028" y="106"/>
                  <a:pt x="2028" y="106"/>
                  <a:pt x="2028" y="106"/>
                </a:cubicBezTo>
                <a:cubicBezTo>
                  <a:pt x="2026" y="105"/>
                  <a:pt x="2026" y="105"/>
                  <a:pt x="2026" y="105"/>
                </a:cubicBezTo>
                <a:cubicBezTo>
                  <a:pt x="2026" y="106"/>
                  <a:pt x="2026" y="106"/>
                  <a:pt x="2026" y="106"/>
                </a:cubicBezTo>
                <a:cubicBezTo>
                  <a:pt x="2024" y="105"/>
                  <a:pt x="2024" y="105"/>
                  <a:pt x="2024" y="105"/>
                </a:cubicBezTo>
                <a:cubicBezTo>
                  <a:pt x="2024" y="108"/>
                  <a:pt x="2024" y="108"/>
                  <a:pt x="2024" y="108"/>
                </a:cubicBezTo>
                <a:cubicBezTo>
                  <a:pt x="2025" y="109"/>
                  <a:pt x="2025" y="109"/>
                  <a:pt x="2025" y="109"/>
                </a:cubicBezTo>
                <a:cubicBezTo>
                  <a:pt x="2024" y="110"/>
                  <a:pt x="2024" y="110"/>
                  <a:pt x="2024" y="110"/>
                </a:cubicBezTo>
                <a:cubicBezTo>
                  <a:pt x="2024" y="111"/>
                  <a:pt x="2024" y="111"/>
                  <a:pt x="2024" y="111"/>
                </a:cubicBezTo>
                <a:cubicBezTo>
                  <a:pt x="2025" y="111"/>
                  <a:pt x="2025" y="111"/>
                  <a:pt x="2025" y="111"/>
                </a:cubicBezTo>
                <a:cubicBezTo>
                  <a:pt x="2027" y="110"/>
                  <a:pt x="2027" y="110"/>
                  <a:pt x="2027" y="110"/>
                </a:cubicBezTo>
                <a:cubicBezTo>
                  <a:pt x="2027" y="109"/>
                  <a:pt x="2027" y="109"/>
                  <a:pt x="2027" y="109"/>
                </a:cubicBezTo>
                <a:cubicBezTo>
                  <a:pt x="2030" y="106"/>
                  <a:pt x="2030" y="106"/>
                  <a:pt x="2030" y="106"/>
                </a:cubicBezTo>
                <a:cubicBezTo>
                  <a:pt x="2034" y="105"/>
                  <a:pt x="2034" y="105"/>
                  <a:pt x="2034" y="105"/>
                </a:cubicBezTo>
                <a:cubicBezTo>
                  <a:pt x="2035" y="107"/>
                  <a:pt x="2035" y="107"/>
                  <a:pt x="2035" y="107"/>
                </a:cubicBezTo>
                <a:cubicBezTo>
                  <a:pt x="2035" y="110"/>
                  <a:pt x="2035" y="110"/>
                  <a:pt x="2035" y="110"/>
                </a:cubicBezTo>
                <a:cubicBezTo>
                  <a:pt x="2035" y="111"/>
                  <a:pt x="2035" y="111"/>
                  <a:pt x="2035" y="111"/>
                </a:cubicBezTo>
                <a:cubicBezTo>
                  <a:pt x="2034" y="109"/>
                  <a:pt x="2034" y="109"/>
                  <a:pt x="2034" y="109"/>
                </a:cubicBezTo>
                <a:cubicBezTo>
                  <a:pt x="2033" y="108"/>
                  <a:pt x="2033" y="108"/>
                  <a:pt x="2033" y="108"/>
                </a:cubicBezTo>
                <a:cubicBezTo>
                  <a:pt x="2033" y="106"/>
                  <a:pt x="2033" y="106"/>
                  <a:pt x="2033" y="106"/>
                </a:cubicBezTo>
                <a:cubicBezTo>
                  <a:pt x="2031" y="108"/>
                  <a:pt x="2031" y="108"/>
                  <a:pt x="2031" y="108"/>
                </a:cubicBezTo>
                <a:cubicBezTo>
                  <a:pt x="2030" y="107"/>
                  <a:pt x="2030" y="107"/>
                  <a:pt x="2030" y="107"/>
                </a:cubicBezTo>
                <a:cubicBezTo>
                  <a:pt x="2031" y="110"/>
                  <a:pt x="2031" y="110"/>
                  <a:pt x="2031" y="110"/>
                </a:cubicBezTo>
                <a:cubicBezTo>
                  <a:pt x="2033" y="110"/>
                  <a:pt x="2033" y="110"/>
                  <a:pt x="2033" y="110"/>
                </a:cubicBezTo>
                <a:cubicBezTo>
                  <a:pt x="2033" y="113"/>
                  <a:pt x="2033" y="113"/>
                  <a:pt x="2033" y="113"/>
                </a:cubicBezTo>
                <a:cubicBezTo>
                  <a:pt x="2032" y="115"/>
                  <a:pt x="2032" y="115"/>
                  <a:pt x="2032" y="115"/>
                </a:cubicBezTo>
                <a:cubicBezTo>
                  <a:pt x="2031" y="114"/>
                  <a:pt x="2031" y="114"/>
                  <a:pt x="2031" y="114"/>
                </a:cubicBezTo>
                <a:cubicBezTo>
                  <a:pt x="2030" y="115"/>
                  <a:pt x="2030" y="115"/>
                  <a:pt x="2030" y="115"/>
                </a:cubicBezTo>
                <a:cubicBezTo>
                  <a:pt x="2032" y="116"/>
                  <a:pt x="2032" y="116"/>
                  <a:pt x="2032" y="116"/>
                </a:cubicBezTo>
                <a:cubicBezTo>
                  <a:pt x="2032" y="117"/>
                  <a:pt x="2032" y="117"/>
                  <a:pt x="2032" y="117"/>
                </a:cubicBezTo>
                <a:cubicBezTo>
                  <a:pt x="2033" y="117"/>
                  <a:pt x="2033" y="117"/>
                  <a:pt x="2033" y="117"/>
                </a:cubicBezTo>
                <a:cubicBezTo>
                  <a:pt x="2035" y="116"/>
                  <a:pt x="2035" y="116"/>
                  <a:pt x="2035" y="116"/>
                </a:cubicBezTo>
                <a:cubicBezTo>
                  <a:pt x="2035" y="114"/>
                  <a:pt x="2035" y="114"/>
                  <a:pt x="2035" y="114"/>
                </a:cubicBezTo>
                <a:cubicBezTo>
                  <a:pt x="2036" y="113"/>
                  <a:pt x="2036" y="113"/>
                  <a:pt x="2036" y="113"/>
                </a:cubicBezTo>
                <a:cubicBezTo>
                  <a:pt x="2036" y="111"/>
                  <a:pt x="2036" y="111"/>
                  <a:pt x="2036" y="111"/>
                </a:cubicBezTo>
                <a:cubicBezTo>
                  <a:pt x="2036" y="110"/>
                  <a:pt x="2036" y="110"/>
                  <a:pt x="2036" y="110"/>
                </a:cubicBezTo>
                <a:cubicBezTo>
                  <a:pt x="2035" y="103"/>
                  <a:pt x="2035" y="103"/>
                  <a:pt x="2035" y="103"/>
                </a:cubicBezTo>
                <a:cubicBezTo>
                  <a:pt x="2038" y="102"/>
                  <a:pt x="2038" y="102"/>
                  <a:pt x="2038" y="102"/>
                </a:cubicBezTo>
                <a:cubicBezTo>
                  <a:pt x="2041" y="101"/>
                  <a:pt x="2041" y="101"/>
                  <a:pt x="2041" y="101"/>
                </a:cubicBezTo>
                <a:cubicBezTo>
                  <a:pt x="2045" y="100"/>
                  <a:pt x="2045" y="100"/>
                  <a:pt x="2045" y="100"/>
                </a:cubicBezTo>
                <a:cubicBezTo>
                  <a:pt x="2048" y="100"/>
                  <a:pt x="2048" y="100"/>
                  <a:pt x="2048" y="100"/>
                </a:cubicBezTo>
                <a:cubicBezTo>
                  <a:pt x="2052" y="102"/>
                  <a:pt x="2052" y="102"/>
                  <a:pt x="2052" y="102"/>
                </a:cubicBezTo>
                <a:cubicBezTo>
                  <a:pt x="2054" y="105"/>
                  <a:pt x="2054" y="105"/>
                  <a:pt x="2054" y="105"/>
                </a:cubicBezTo>
                <a:cubicBezTo>
                  <a:pt x="2054" y="106"/>
                  <a:pt x="2054" y="106"/>
                  <a:pt x="2054" y="106"/>
                </a:cubicBezTo>
                <a:cubicBezTo>
                  <a:pt x="2053" y="107"/>
                  <a:pt x="2053" y="107"/>
                  <a:pt x="2053" y="107"/>
                </a:cubicBezTo>
                <a:cubicBezTo>
                  <a:pt x="2051" y="105"/>
                  <a:pt x="2051" y="105"/>
                  <a:pt x="2051" y="105"/>
                </a:cubicBezTo>
                <a:cubicBezTo>
                  <a:pt x="2050" y="105"/>
                  <a:pt x="2050" y="105"/>
                  <a:pt x="2050" y="105"/>
                </a:cubicBezTo>
                <a:cubicBezTo>
                  <a:pt x="2051" y="107"/>
                  <a:pt x="2051" y="107"/>
                  <a:pt x="2051" y="107"/>
                </a:cubicBezTo>
                <a:cubicBezTo>
                  <a:pt x="2051" y="108"/>
                  <a:pt x="2051" y="108"/>
                  <a:pt x="2051" y="108"/>
                </a:cubicBezTo>
                <a:cubicBezTo>
                  <a:pt x="2051" y="109"/>
                  <a:pt x="2051" y="109"/>
                  <a:pt x="2051" y="109"/>
                </a:cubicBezTo>
                <a:cubicBezTo>
                  <a:pt x="2050" y="110"/>
                  <a:pt x="2050" y="110"/>
                  <a:pt x="2050" y="110"/>
                </a:cubicBezTo>
                <a:cubicBezTo>
                  <a:pt x="2051" y="110"/>
                  <a:pt x="2051" y="110"/>
                  <a:pt x="2051" y="110"/>
                </a:cubicBezTo>
                <a:cubicBezTo>
                  <a:pt x="2052" y="110"/>
                  <a:pt x="2052" y="110"/>
                  <a:pt x="2052" y="110"/>
                </a:cubicBezTo>
                <a:cubicBezTo>
                  <a:pt x="2054" y="109"/>
                  <a:pt x="2054" y="109"/>
                  <a:pt x="2054" y="109"/>
                </a:cubicBezTo>
                <a:cubicBezTo>
                  <a:pt x="2056" y="108"/>
                  <a:pt x="2056" y="108"/>
                  <a:pt x="2056" y="108"/>
                </a:cubicBezTo>
                <a:cubicBezTo>
                  <a:pt x="2056" y="110"/>
                  <a:pt x="2056" y="110"/>
                  <a:pt x="2056" y="110"/>
                </a:cubicBezTo>
                <a:cubicBezTo>
                  <a:pt x="2057" y="111"/>
                  <a:pt x="2057" y="111"/>
                  <a:pt x="2057" y="111"/>
                </a:cubicBezTo>
                <a:cubicBezTo>
                  <a:pt x="2057" y="113"/>
                  <a:pt x="2057" y="113"/>
                  <a:pt x="2057" y="113"/>
                </a:cubicBezTo>
                <a:cubicBezTo>
                  <a:pt x="2058" y="114"/>
                  <a:pt x="2058" y="114"/>
                  <a:pt x="2058" y="114"/>
                </a:cubicBezTo>
                <a:cubicBezTo>
                  <a:pt x="2059" y="112"/>
                  <a:pt x="2059" y="112"/>
                  <a:pt x="2059" y="112"/>
                </a:cubicBezTo>
                <a:cubicBezTo>
                  <a:pt x="2058" y="111"/>
                  <a:pt x="2058" y="111"/>
                  <a:pt x="2058" y="111"/>
                </a:cubicBezTo>
                <a:cubicBezTo>
                  <a:pt x="2060" y="110"/>
                  <a:pt x="2060" y="110"/>
                  <a:pt x="2060" y="110"/>
                </a:cubicBezTo>
                <a:cubicBezTo>
                  <a:pt x="2062" y="111"/>
                  <a:pt x="2062" y="111"/>
                  <a:pt x="2062" y="111"/>
                </a:cubicBezTo>
                <a:cubicBezTo>
                  <a:pt x="2062" y="112"/>
                  <a:pt x="2062" y="112"/>
                  <a:pt x="2062" y="112"/>
                </a:cubicBezTo>
                <a:cubicBezTo>
                  <a:pt x="2062" y="113"/>
                  <a:pt x="2062" y="113"/>
                  <a:pt x="2062" y="113"/>
                </a:cubicBezTo>
                <a:cubicBezTo>
                  <a:pt x="2061" y="115"/>
                  <a:pt x="2061" y="115"/>
                  <a:pt x="2061" y="115"/>
                </a:cubicBezTo>
                <a:cubicBezTo>
                  <a:pt x="2061" y="116"/>
                  <a:pt x="2061" y="116"/>
                  <a:pt x="2061" y="116"/>
                </a:cubicBezTo>
                <a:cubicBezTo>
                  <a:pt x="2062" y="115"/>
                  <a:pt x="2062" y="115"/>
                  <a:pt x="2062" y="115"/>
                </a:cubicBezTo>
                <a:cubicBezTo>
                  <a:pt x="2063" y="114"/>
                  <a:pt x="2063" y="114"/>
                  <a:pt x="2063" y="114"/>
                </a:cubicBezTo>
                <a:cubicBezTo>
                  <a:pt x="2064" y="113"/>
                  <a:pt x="2064" y="113"/>
                  <a:pt x="2064" y="113"/>
                </a:cubicBezTo>
                <a:cubicBezTo>
                  <a:pt x="2065" y="110"/>
                  <a:pt x="2065" y="110"/>
                  <a:pt x="2065" y="110"/>
                </a:cubicBezTo>
                <a:cubicBezTo>
                  <a:pt x="2066" y="110"/>
                  <a:pt x="2066" y="110"/>
                  <a:pt x="2066" y="110"/>
                </a:cubicBezTo>
                <a:cubicBezTo>
                  <a:pt x="2067" y="110"/>
                  <a:pt x="2067" y="110"/>
                  <a:pt x="2067" y="110"/>
                </a:cubicBezTo>
                <a:cubicBezTo>
                  <a:pt x="2070" y="112"/>
                  <a:pt x="2070" y="112"/>
                  <a:pt x="2070" y="112"/>
                </a:cubicBezTo>
                <a:cubicBezTo>
                  <a:pt x="2073" y="113"/>
                  <a:pt x="2073" y="113"/>
                  <a:pt x="2073" y="113"/>
                </a:cubicBezTo>
                <a:cubicBezTo>
                  <a:pt x="2075" y="115"/>
                  <a:pt x="2075" y="115"/>
                  <a:pt x="2075" y="115"/>
                </a:cubicBezTo>
                <a:cubicBezTo>
                  <a:pt x="2074" y="116"/>
                  <a:pt x="2074" y="116"/>
                  <a:pt x="2074" y="116"/>
                </a:cubicBezTo>
                <a:cubicBezTo>
                  <a:pt x="2072" y="117"/>
                  <a:pt x="2072" y="117"/>
                  <a:pt x="2072" y="117"/>
                </a:cubicBezTo>
                <a:cubicBezTo>
                  <a:pt x="2071" y="119"/>
                  <a:pt x="2071" y="119"/>
                  <a:pt x="2071" y="119"/>
                </a:cubicBezTo>
                <a:cubicBezTo>
                  <a:pt x="2073" y="118"/>
                  <a:pt x="2073" y="118"/>
                  <a:pt x="2073" y="118"/>
                </a:cubicBezTo>
                <a:cubicBezTo>
                  <a:pt x="2075" y="117"/>
                  <a:pt x="2075" y="117"/>
                  <a:pt x="2075" y="117"/>
                </a:cubicBezTo>
                <a:cubicBezTo>
                  <a:pt x="2077" y="118"/>
                  <a:pt x="2077" y="118"/>
                  <a:pt x="2077" y="118"/>
                </a:cubicBezTo>
                <a:cubicBezTo>
                  <a:pt x="2079" y="117"/>
                  <a:pt x="2079" y="117"/>
                  <a:pt x="2079" y="117"/>
                </a:cubicBezTo>
                <a:cubicBezTo>
                  <a:pt x="2081" y="116"/>
                  <a:pt x="2081" y="116"/>
                  <a:pt x="2081" y="116"/>
                </a:cubicBezTo>
                <a:cubicBezTo>
                  <a:pt x="2082" y="115"/>
                  <a:pt x="2082" y="115"/>
                  <a:pt x="2082" y="115"/>
                </a:cubicBezTo>
                <a:cubicBezTo>
                  <a:pt x="2085" y="113"/>
                  <a:pt x="2085" y="113"/>
                  <a:pt x="2085" y="113"/>
                </a:cubicBezTo>
                <a:cubicBezTo>
                  <a:pt x="2086" y="113"/>
                  <a:pt x="2086" y="113"/>
                  <a:pt x="2086" y="113"/>
                </a:cubicBezTo>
                <a:cubicBezTo>
                  <a:pt x="2088" y="111"/>
                  <a:pt x="2088" y="111"/>
                  <a:pt x="2088" y="111"/>
                </a:cubicBezTo>
                <a:cubicBezTo>
                  <a:pt x="2090" y="110"/>
                  <a:pt x="2090" y="110"/>
                  <a:pt x="2090" y="110"/>
                </a:cubicBezTo>
                <a:cubicBezTo>
                  <a:pt x="2095" y="108"/>
                  <a:pt x="2095" y="108"/>
                  <a:pt x="2095" y="108"/>
                </a:cubicBezTo>
                <a:cubicBezTo>
                  <a:pt x="2097" y="107"/>
                  <a:pt x="2097" y="107"/>
                  <a:pt x="2097" y="107"/>
                </a:cubicBezTo>
                <a:cubicBezTo>
                  <a:pt x="2098" y="107"/>
                  <a:pt x="2098" y="107"/>
                  <a:pt x="2098" y="107"/>
                </a:cubicBezTo>
                <a:cubicBezTo>
                  <a:pt x="2101" y="105"/>
                  <a:pt x="2101" y="105"/>
                  <a:pt x="2101" y="105"/>
                </a:cubicBezTo>
                <a:cubicBezTo>
                  <a:pt x="2103" y="105"/>
                  <a:pt x="2103" y="105"/>
                  <a:pt x="2103" y="105"/>
                </a:cubicBezTo>
                <a:cubicBezTo>
                  <a:pt x="2106" y="105"/>
                  <a:pt x="2106" y="105"/>
                  <a:pt x="2106" y="105"/>
                </a:cubicBezTo>
                <a:cubicBezTo>
                  <a:pt x="2112" y="107"/>
                  <a:pt x="2112" y="107"/>
                  <a:pt x="2112" y="107"/>
                </a:cubicBezTo>
                <a:cubicBezTo>
                  <a:pt x="2114" y="110"/>
                  <a:pt x="2114" y="110"/>
                  <a:pt x="2114" y="110"/>
                </a:cubicBezTo>
                <a:cubicBezTo>
                  <a:pt x="2117" y="111"/>
                  <a:pt x="2117" y="111"/>
                  <a:pt x="2117" y="111"/>
                </a:cubicBezTo>
                <a:cubicBezTo>
                  <a:pt x="2119" y="114"/>
                  <a:pt x="2119" y="114"/>
                  <a:pt x="2119" y="114"/>
                </a:cubicBezTo>
                <a:cubicBezTo>
                  <a:pt x="2121" y="116"/>
                  <a:pt x="2121" y="116"/>
                  <a:pt x="2121" y="116"/>
                </a:cubicBezTo>
                <a:cubicBezTo>
                  <a:pt x="2121" y="117"/>
                  <a:pt x="2121" y="117"/>
                  <a:pt x="2121" y="117"/>
                </a:cubicBezTo>
                <a:cubicBezTo>
                  <a:pt x="2121" y="118"/>
                  <a:pt x="2121" y="118"/>
                  <a:pt x="2121" y="118"/>
                </a:cubicBezTo>
                <a:cubicBezTo>
                  <a:pt x="2121" y="120"/>
                  <a:pt x="2121" y="120"/>
                  <a:pt x="2121" y="120"/>
                </a:cubicBezTo>
                <a:cubicBezTo>
                  <a:pt x="2122" y="122"/>
                  <a:pt x="2122" y="122"/>
                  <a:pt x="2122" y="122"/>
                </a:cubicBezTo>
                <a:cubicBezTo>
                  <a:pt x="2123" y="123"/>
                  <a:pt x="2123" y="123"/>
                  <a:pt x="2123" y="123"/>
                </a:cubicBezTo>
                <a:cubicBezTo>
                  <a:pt x="2122" y="125"/>
                  <a:pt x="2122" y="125"/>
                  <a:pt x="2122" y="125"/>
                </a:cubicBezTo>
                <a:cubicBezTo>
                  <a:pt x="2123" y="124"/>
                  <a:pt x="2123" y="124"/>
                  <a:pt x="2123" y="124"/>
                </a:cubicBezTo>
                <a:cubicBezTo>
                  <a:pt x="2125" y="123"/>
                  <a:pt x="2125" y="123"/>
                  <a:pt x="2125" y="123"/>
                </a:cubicBezTo>
                <a:cubicBezTo>
                  <a:pt x="2126" y="123"/>
                  <a:pt x="2126" y="123"/>
                  <a:pt x="2126" y="123"/>
                </a:cubicBezTo>
                <a:cubicBezTo>
                  <a:pt x="2127" y="123"/>
                  <a:pt x="2127" y="123"/>
                  <a:pt x="2127" y="123"/>
                </a:cubicBezTo>
                <a:cubicBezTo>
                  <a:pt x="2127" y="122"/>
                  <a:pt x="2127" y="122"/>
                  <a:pt x="2127" y="122"/>
                </a:cubicBezTo>
                <a:cubicBezTo>
                  <a:pt x="2129" y="122"/>
                  <a:pt x="2129" y="122"/>
                  <a:pt x="2129" y="122"/>
                </a:cubicBezTo>
                <a:cubicBezTo>
                  <a:pt x="2130" y="123"/>
                  <a:pt x="2130" y="123"/>
                  <a:pt x="2130" y="123"/>
                </a:cubicBezTo>
                <a:cubicBezTo>
                  <a:pt x="2131" y="125"/>
                  <a:pt x="2131" y="125"/>
                  <a:pt x="2131" y="125"/>
                </a:cubicBezTo>
                <a:cubicBezTo>
                  <a:pt x="2131" y="123"/>
                  <a:pt x="2131" y="123"/>
                  <a:pt x="2131" y="123"/>
                </a:cubicBezTo>
                <a:cubicBezTo>
                  <a:pt x="2131" y="121"/>
                  <a:pt x="2131" y="121"/>
                  <a:pt x="2131" y="121"/>
                </a:cubicBezTo>
                <a:cubicBezTo>
                  <a:pt x="2132" y="121"/>
                  <a:pt x="2132" y="121"/>
                  <a:pt x="2132" y="121"/>
                </a:cubicBezTo>
                <a:cubicBezTo>
                  <a:pt x="2133" y="123"/>
                  <a:pt x="2133" y="123"/>
                  <a:pt x="2133" y="123"/>
                </a:cubicBezTo>
                <a:cubicBezTo>
                  <a:pt x="2135" y="125"/>
                  <a:pt x="2135" y="125"/>
                  <a:pt x="2135" y="125"/>
                </a:cubicBezTo>
                <a:cubicBezTo>
                  <a:pt x="2135" y="127"/>
                  <a:pt x="2135" y="127"/>
                  <a:pt x="2135" y="127"/>
                </a:cubicBezTo>
                <a:cubicBezTo>
                  <a:pt x="2136" y="127"/>
                  <a:pt x="2136" y="127"/>
                  <a:pt x="2136" y="127"/>
                </a:cubicBezTo>
                <a:cubicBezTo>
                  <a:pt x="2138" y="130"/>
                  <a:pt x="2138" y="130"/>
                  <a:pt x="2138" y="130"/>
                </a:cubicBezTo>
                <a:cubicBezTo>
                  <a:pt x="2138" y="129"/>
                  <a:pt x="2138" y="129"/>
                  <a:pt x="2138" y="129"/>
                </a:cubicBezTo>
                <a:cubicBezTo>
                  <a:pt x="2137" y="127"/>
                  <a:pt x="2137" y="127"/>
                  <a:pt x="2137" y="127"/>
                </a:cubicBezTo>
                <a:cubicBezTo>
                  <a:pt x="2136" y="126"/>
                  <a:pt x="2136" y="126"/>
                  <a:pt x="2136" y="126"/>
                </a:cubicBezTo>
                <a:cubicBezTo>
                  <a:pt x="2136" y="125"/>
                  <a:pt x="2136" y="125"/>
                  <a:pt x="2136" y="125"/>
                </a:cubicBezTo>
                <a:cubicBezTo>
                  <a:pt x="2137" y="126"/>
                  <a:pt x="2137" y="126"/>
                  <a:pt x="2137" y="126"/>
                </a:cubicBezTo>
                <a:cubicBezTo>
                  <a:pt x="2138" y="126"/>
                  <a:pt x="2138" y="126"/>
                  <a:pt x="2138" y="126"/>
                </a:cubicBezTo>
                <a:cubicBezTo>
                  <a:pt x="2140" y="127"/>
                  <a:pt x="2140" y="127"/>
                  <a:pt x="2140" y="127"/>
                </a:cubicBezTo>
                <a:cubicBezTo>
                  <a:pt x="2141" y="129"/>
                  <a:pt x="2141" y="129"/>
                  <a:pt x="2141" y="129"/>
                </a:cubicBezTo>
                <a:cubicBezTo>
                  <a:pt x="2141" y="127"/>
                  <a:pt x="2141" y="127"/>
                  <a:pt x="2141" y="127"/>
                </a:cubicBezTo>
                <a:cubicBezTo>
                  <a:pt x="2139" y="124"/>
                  <a:pt x="2139" y="124"/>
                  <a:pt x="2139" y="124"/>
                </a:cubicBezTo>
                <a:cubicBezTo>
                  <a:pt x="2139" y="121"/>
                  <a:pt x="2139" y="121"/>
                  <a:pt x="2139" y="121"/>
                </a:cubicBezTo>
                <a:cubicBezTo>
                  <a:pt x="2139" y="119"/>
                  <a:pt x="2139" y="119"/>
                  <a:pt x="2139" y="119"/>
                </a:cubicBezTo>
                <a:cubicBezTo>
                  <a:pt x="2140" y="117"/>
                  <a:pt x="2140" y="117"/>
                  <a:pt x="2140" y="117"/>
                </a:cubicBezTo>
                <a:cubicBezTo>
                  <a:pt x="2143" y="117"/>
                  <a:pt x="2143" y="117"/>
                  <a:pt x="2143" y="117"/>
                </a:cubicBezTo>
                <a:cubicBezTo>
                  <a:pt x="2144" y="116"/>
                  <a:pt x="2144" y="116"/>
                  <a:pt x="2144" y="116"/>
                </a:cubicBezTo>
                <a:cubicBezTo>
                  <a:pt x="2146" y="115"/>
                  <a:pt x="2146" y="115"/>
                  <a:pt x="2146" y="115"/>
                </a:cubicBezTo>
                <a:cubicBezTo>
                  <a:pt x="2146" y="114"/>
                  <a:pt x="2146" y="114"/>
                  <a:pt x="2146" y="114"/>
                </a:cubicBezTo>
                <a:cubicBezTo>
                  <a:pt x="2147" y="114"/>
                  <a:pt x="2147" y="114"/>
                  <a:pt x="2147" y="114"/>
                </a:cubicBezTo>
                <a:cubicBezTo>
                  <a:pt x="2148" y="115"/>
                  <a:pt x="2148" y="115"/>
                  <a:pt x="2148" y="115"/>
                </a:cubicBezTo>
                <a:cubicBezTo>
                  <a:pt x="2150" y="115"/>
                  <a:pt x="2150" y="115"/>
                  <a:pt x="2150" y="115"/>
                </a:cubicBezTo>
                <a:cubicBezTo>
                  <a:pt x="2151" y="115"/>
                  <a:pt x="2151" y="115"/>
                  <a:pt x="2151" y="115"/>
                </a:cubicBezTo>
                <a:cubicBezTo>
                  <a:pt x="2153" y="113"/>
                  <a:pt x="2153" y="113"/>
                  <a:pt x="2153" y="113"/>
                </a:cubicBezTo>
                <a:cubicBezTo>
                  <a:pt x="2154" y="114"/>
                  <a:pt x="2154" y="114"/>
                  <a:pt x="2154" y="114"/>
                </a:cubicBezTo>
                <a:cubicBezTo>
                  <a:pt x="2156" y="113"/>
                  <a:pt x="2156" y="113"/>
                  <a:pt x="2156" y="113"/>
                </a:cubicBezTo>
                <a:cubicBezTo>
                  <a:pt x="2159" y="113"/>
                  <a:pt x="2159" y="113"/>
                  <a:pt x="2159" y="113"/>
                </a:cubicBezTo>
                <a:cubicBezTo>
                  <a:pt x="2160" y="112"/>
                  <a:pt x="2160" y="112"/>
                  <a:pt x="2160" y="112"/>
                </a:cubicBezTo>
                <a:cubicBezTo>
                  <a:pt x="2161" y="112"/>
                  <a:pt x="2161" y="112"/>
                  <a:pt x="2161" y="112"/>
                </a:cubicBezTo>
                <a:cubicBezTo>
                  <a:pt x="2161" y="113"/>
                  <a:pt x="2161" y="113"/>
                  <a:pt x="2161" y="113"/>
                </a:cubicBezTo>
                <a:cubicBezTo>
                  <a:pt x="2162" y="114"/>
                  <a:pt x="2162" y="114"/>
                  <a:pt x="2162" y="114"/>
                </a:cubicBezTo>
                <a:cubicBezTo>
                  <a:pt x="2162" y="113"/>
                  <a:pt x="2162" y="113"/>
                  <a:pt x="2162" y="113"/>
                </a:cubicBezTo>
                <a:cubicBezTo>
                  <a:pt x="2164" y="111"/>
                  <a:pt x="2164" y="111"/>
                  <a:pt x="2164" y="111"/>
                </a:cubicBezTo>
                <a:cubicBezTo>
                  <a:pt x="2163" y="110"/>
                  <a:pt x="2163" y="110"/>
                  <a:pt x="2163" y="110"/>
                </a:cubicBezTo>
                <a:cubicBezTo>
                  <a:pt x="2163" y="108"/>
                  <a:pt x="2163" y="108"/>
                  <a:pt x="2163" y="108"/>
                </a:cubicBezTo>
                <a:cubicBezTo>
                  <a:pt x="2164" y="107"/>
                  <a:pt x="2164" y="107"/>
                  <a:pt x="2164" y="107"/>
                </a:cubicBezTo>
                <a:cubicBezTo>
                  <a:pt x="2164" y="106"/>
                  <a:pt x="2164" y="106"/>
                  <a:pt x="2164" y="106"/>
                </a:cubicBezTo>
                <a:cubicBezTo>
                  <a:pt x="2164" y="106"/>
                  <a:pt x="2164" y="106"/>
                  <a:pt x="2163" y="106"/>
                </a:cubicBezTo>
                <a:cubicBezTo>
                  <a:pt x="2163" y="106"/>
                  <a:pt x="2163" y="106"/>
                  <a:pt x="2163" y="105"/>
                </a:cubicBezTo>
                <a:cubicBezTo>
                  <a:pt x="2163" y="105"/>
                  <a:pt x="2163" y="105"/>
                  <a:pt x="2163" y="103"/>
                </a:cubicBezTo>
                <a:cubicBezTo>
                  <a:pt x="2163" y="103"/>
                  <a:pt x="2163" y="103"/>
                  <a:pt x="2163" y="102"/>
                </a:cubicBezTo>
                <a:cubicBezTo>
                  <a:pt x="2163" y="102"/>
                  <a:pt x="2163" y="102"/>
                  <a:pt x="2164" y="102"/>
                </a:cubicBezTo>
                <a:cubicBezTo>
                  <a:pt x="2164" y="102"/>
                  <a:pt x="2164" y="102"/>
                  <a:pt x="2164" y="101"/>
                </a:cubicBezTo>
                <a:cubicBezTo>
                  <a:pt x="2164" y="101"/>
                  <a:pt x="2164" y="101"/>
                  <a:pt x="2165" y="101"/>
                </a:cubicBezTo>
                <a:cubicBezTo>
                  <a:pt x="2165" y="101"/>
                  <a:pt x="2165" y="101"/>
                  <a:pt x="2166" y="101"/>
                </a:cubicBezTo>
                <a:cubicBezTo>
                  <a:pt x="2166" y="101"/>
                  <a:pt x="2166" y="101"/>
                  <a:pt x="2167" y="102"/>
                </a:cubicBezTo>
                <a:cubicBezTo>
                  <a:pt x="2167" y="102"/>
                  <a:pt x="2167" y="102"/>
                  <a:pt x="2168" y="102"/>
                </a:cubicBezTo>
                <a:cubicBezTo>
                  <a:pt x="2168" y="102"/>
                  <a:pt x="2168" y="102"/>
                  <a:pt x="2168" y="101"/>
                </a:cubicBezTo>
                <a:cubicBezTo>
                  <a:pt x="2168" y="101"/>
                  <a:pt x="2168" y="101"/>
                  <a:pt x="2170" y="102"/>
                </a:cubicBezTo>
                <a:cubicBezTo>
                  <a:pt x="2170" y="102"/>
                  <a:pt x="2170" y="102"/>
                  <a:pt x="2170" y="103"/>
                </a:cubicBezTo>
                <a:cubicBezTo>
                  <a:pt x="2170" y="103"/>
                  <a:pt x="2170" y="103"/>
                  <a:pt x="2170" y="104"/>
                </a:cubicBezTo>
                <a:cubicBezTo>
                  <a:pt x="2170" y="104"/>
                  <a:pt x="2170" y="104"/>
                  <a:pt x="2171" y="105"/>
                </a:cubicBezTo>
                <a:cubicBezTo>
                  <a:pt x="2171" y="105"/>
                  <a:pt x="2171" y="105"/>
                  <a:pt x="2171" y="106"/>
                </a:cubicBezTo>
                <a:cubicBezTo>
                  <a:pt x="2171" y="106"/>
                  <a:pt x="2171" y="106"/>
                  <a:pt x="2170" y="107"/>
                </a:cubicBezTo>
                <a:cubicBezTo>
                  <a:pt x="2170" y="107"/>
                  <a:pt x="2170" y="107"/>
                  <a:pt x="2169" y="108"/>
                </a:cubicBezTo>
                <a:cubicBezTo>
                  <a:pt x="2169" y="108"/>
                  <a:pt x="2169" y="108"/>
                  <a:pt x="2167" y="107"/>
                </a:cubicBezTo>
                <a:cubicBezTo>
                  <a:pt x="2167" y="107"/>
                  <a:pt x="2167" y="107"/>
                  <a:pt x="2166" y="106"/>
                </a:cubicBezTo>
                <a:cubicBezTo>
                  <a:pt x="2167" y="108"/>
                  <a:pt x="2167" y="108"/>
                  <a:pt x="2167" y="108"/>
                </a:cubicBezTo>
                <a:cubicBezTo>
                  <a:pt x="2167" y="109"/>
                  <a:pt x="2167" y="109"/>
                  <a:pt x="2167" y="109"/>
                </a:cubicBezTo>
                <a:cubicBezTo>
                  <a:pt x="2169" y="109"/>
                  <a:pt x="2169" y="109"/>
                  <a:pt x="2169" y="109"/>
                </a:cubicBezTo>
                <a:cubicBezTo>
                  <a:pt x="2170" y="110"/>
                  <a:pt x="2170" y="110"/>
                  <a:pt x="2170" y="110"/>
                </a:cubicBezTo>
                <a:cubicBezTo>
                  <a:pt x="2170" y="111"/>
                  <a:pt x="2170" y="111"/>
                  <a:pt x="2170" y="111"/>
                </a:cubicBezTo>
                <a:cubicBezTo>
                  <a:pt x="2172" y="113"/>
                  <a:pt x="2172" y="113"/>
                  <a:pt x="2172" y="113"/>
                </a:cubicBezTo>
                <a:cubicBezTo>
                  <a:pt x="2173" y="114"/>
                  <a:pt x="2173" y="114"/>
                  <a:pt x="2173" y="114"/>
                </a:cubicBezTo>
                <a:cubicBezTo>
                  <a:pt x="2174" y="114"/>
                  <a:pt x="2174" y="114"/>
                  <a:pt x="2174" y="114"/>
                </a:cubicBezTo>
                <a:cubicBezTo>
                  <a:pt x="2177" y="114"/>
                  <a:pt x="2177" y="114"/>
                  <a:pt x="2177" y="114"/>
                </a:cubicBezTo>
                <a:cubicBezTo>
                  <a:pt x="2178" y="114"/>
                  <a:pt x="2178" y="114"/>
                  <a:pt x="2178" y="114"/>
                </a:cubicBezTo>
                <a:cubicBezTo>
                  <a:pt x="2179" y="114"/>
                  <a:pt x="2179" y="114"/>
                  <a:pt x="2179" y="114"/>
                </a:cubicBezTo>
                <a:cubicBezTo>
                  <a:pt x="2181" y="117"/>
                  <a:pt x="2181" y="117"/>
                  <a:pt x="2181" y="117"/>
                </a:cubicBezTo>
                <a:cubicBezTo>
                  <a:pt x="2181" y="118"/>
                  <a:pt x="2181" y="118"/>
                  <a:pt x="2181" y="118"/>
                </a:cubicBezTo>
                <a:cubicBezTo>
                  <a:pt x="2182" y="119"/>
                  <a:pt x="2182" y="119"/>
                  <a:pt x="2182" y="119"/>
                </a:cubicBezTo>
                <a:cubicBezTo>
                  <a:pt x="2184" y="119"/>
                  <a:pt x="2184" y="119"/>
                  <a:pt x="2184" y="119"/>
                </a:cubicBezTo>
                <a:cubicBezTo>
                  <a:pt x="2185" y="119"/>
                  <a:pt x="2185" y="119"/>
                  <a:pt x="2185" y="119"/>
                </a:cubicBezTo>
                <a:cubicBezTo>
                  <a:pt x="2186" y="118"/>
                  <a:pt x="2186" y="118"/>
                  <a:pt x="2186" y="118"/>
                </a:cubicBezTo>
                <a:cubicBezTo>
                  <a:pt x="2186" y="117"/>
                  <a:pt x="2186" y="117"/>
                  <a:pt x="2186" y="117"/>
                </a:cubicBezTo>
                <a:cubicBezTo>
                  <a:pt x="2188" y="116"/>
                  <a:pt x="2188" y="116"/>
                  <a:pt x="2188" y="116"/>
                </a:cubicBezTo>
                <a:cubicBezTo>
                  <a:pt x="2188" y="117"/>
                  <a:pt x="2188" y="117"/>
                  <a:pt x="2188" y="117"/>
                </a:cubicBezTo>
                <a:cubicBezTo>
                  <a:pt x="2189" y="116"/>
                  <a:pt x="2189" y="116"/>
                  <a:pt x="2189" y="116"/>
                </a:cubicBezTo>
                <a:cubicBezTo>
                  <a:pt x="2188" y="115"/>
                  <a:pt x="2188" y="115"/>
                  <a:pt x="2188" y="115"/>
                </a:cubicBezTo>
                <a:cubicBezTo>
                  <a:pt x="2189" y="115"/>
                  <a:pt x="2189" y="115"/>
                  <a:pt x="2189" y="115"/>
                </a:cubicBezTo>
                <a:cubicBezTo>
                  <a:pt x="2188" y="114"/>
                  <a:pt x="2188" y="114"/>
                  <a:pt x="2188" y="114"/>
                </a:cubicBezTo>
                <a:cubicBezTo>
                  <a:pt x="2188" y="113"/>
                  <a:pt x="2188" y="113"/>
                  <a:pt x="2188" y="113"/>
                </a:cubicBezTo>
                <a:cubicBezTo>
                  <a:pt x="2187" y="111"/>
                  <a:pt x="2187" y="111"/>
                  <a:pt x="2187" y="111"/>
                </a:cubicBezTo>
                <a:cubicBezTo>
                  <a:pt x="2185" y="111"/>
                  <a:pt x="2185" y="111"/>
                  <a:pt x="2185" y="111"/>
                </a:cubicBezTo>
                <a:cubicBezTo>
                  <a:pt x="2185" y="109"/>
                  <a:pt x="2185" y="109"/>
                  <a:pt x="2185" y="109"/>
                </a:cubicBezTo>
                <a:cubicBezTo>
                  <a:pt x="2183" y="106"/>
                  <a:pt x="2183" y="106"/>
                  <a:pt x="2183" y="106"/>
                </a:cubicBezTo>
                <a:cubicBezTo>
                  <a:pt x="2182" y="106"/>
                  <a:pt x="2182" y="106"/>
                  <a:pt x="2182" y="106"/>
                </a:cubicBezTo>
                <a:cubicBezTo>
                  <a:pt x="2181" y="105"/>
                  <a:pt x="2181" y="105"/>
                  <a:pt x="2181" y="105"/>
                </a:cubicBezTo>
                <a:cubicBezTo>
                  <a:pt x="2179" y="104"/>
                  <a:pt x="2179" y="104"/>
                  <a:pt x="2179" y="104"/>
                </a:cubicBezTo>
                <a:cubicBezTo>
                  <a:pt x="2178" y="105"/>
                  <a:pt x="2178" y="105"/>
                  <a:pt x="2178" y="105"/>
                </a:cubicBezTo>
                <a:cubicBezTo>
                  <a:pt x="2177" y="105"/>
                  <a:pt x="2177" y="105"/>
                  <a:pt x="2177" y="105"/>
                </a:cubicBezTo>
                <a:cubicBezTo>
                  <a:pt x="2177" y="104"/>
                  <a:pt x="2177" y="104"/>
                  <a:pt x="2177" y="104"/>
                </a:cubicBezTo>
                <a:cubicBezTo>
                  <a:pt x="2178" y="103"/>
                  <a:pt x="2178" y="103"/>
                  <a:pt x="2178" y="103"/>
                </a:cubicBezTo>
                <a:cubicBezTo>
                  <a:pt x="2177" y="101"/>
                  <a:pt x="2177" y="101"/>
                  <a:pt x="2177" y="101"/>
                </a:cubicBezTo>
                <a:cubicBezTo>
                  <a:pt x="2176" y="100"/>
                  <a:pt x="2176" y="100"/>
                  <a:pt x="2176" y="100"/>
                </a:cubicBezTo>
                <a:cubicBezTo>
                  <a:pt x="2176" y="99"/>
                  <a:pt x="2176" y="99"/>
                  <a:pt x="2176" y="99"/>
                </a:cubicBezTo>
                <a:cubicBezTo>
                  <a:pt x="2175" y="97"/>
                  <a:pt x="2175" y="97"/>
                  <a:pt x="2175" y="97"/>
                </a:cubicBezTo>
                <a:cubicBezTo>
                  <a:pt x="2173" y="96"/>
                  <a:pt x="2173" y="96"/>
                  <a:pt x="2173" y="96"/>
                </a:cubicBezTo>
                <a:cubicBezTo>
                  <a:pt x="2173" y="95"/>
                  <a:pt x="2173" y="95"/>
                  <a:pt x="2173" y="95"/>
                </a:cubicBezTo>
                <a:cubicBezTo>
                  <a:pt x="2176" y="95"/>
                  <a:pt x="2176" y="95"/>
                  <a:pt x="2176" y="95"/>
                </a:cubicBezTo>
                <a:cubicBezTo>
                  <a:pt x="2177" y="95"/>
                  <a:pt x="2177" y="95"/>
                  <a:pt x="2177" y="95"/>
                </a:cubicBezTo>
                <a:cubicBezTo>
                  <a:pt x="2180" y="95"/>
                  <a:pt x="2180" y="95"/>
                  <a:pt x="2180" y="95"/>
                </a:cubicBezTo>
                <a:cubicBezTo>
                  <a:pt x="2183" y="95"/>
                  <a:pt x="2183" y="95"/>
                  <a:pt x="2183" y="95"/>
                </a:cubicBezTo>
                <a:cubicBezTo>
                  <a:pt x="2183" y="94"/>
                  <a:pt x="2183" y="94"/>
                  <a:pt x="2183" y="94"/>
                </a:cubicBezTo>
                <a:cubicBezTo>
                  <a:pt x="2185" y="94"/>
                  <a:pt x="2185" y="94"/>
                  <a:pt x="2185" y="94"/>
                </a:cubicBezTo>
                <a:cubicBezTo>
                  <a:pt x="2186" y="95"/>
                  <a:pt x="2186" y="95"/>
                  <a:pt x="2186" y="95"/>
                </a:cubicBezTo>
                <a:cubicBezTo>
                  <a:pt x="2187" y="94"/>
                  <a:pt x="2187" y="94"/>
                  <a:pt x="2187" y="94"/>
                </a:cubicBezTo>
                <a:cubicBezTo>
                  <a:pt x="2188" y="94"/>
                  <a:pt x="2188" y="94"/>
                  <a:pt x="2188" y="94"/>
                </a:cubicBezTo>
                <a:cubicBezTo>
                  <a:pt x="2188" y="93"/>
                  <a:pt x="2188" y="93"/>
                  <a:pt x="2188" y="93"/>
                </a:cubicBezTo>
                <a:cubicBezTo>
                  <a:pt x="2190" y="93"/>
                  <a:pt x="2190" y="93"/>
                  <a:pt x="2190" y="93"/>
                </a:cubicBezTo>
                <a:cubicBezTo>
                  <a:pt x="2191" y="94"/>
                  <a:pt x="2191" y="94"/>
                  <a:pt x="2191" y="94"/>
                </a:cubicBezTo>
                <a:cubicBezTo>
                  <a:pt x="2192" y="92"/>
                  <a:pt x="2192" y="92"/>
                  <a:pt x="2192" y="92"/>
                </a:cubicBezTo>
                <a:cubicBezTo>
                  <a:pt x="2193" y="93"/>
                  <a:pt x="2193" y="93"/>
                  <a:pt x="2193" y="93"/>
                </a:cubicBezTo>
                <a:cubicBezTo>
                  <a:pt x="2193" y="92"/>
                  <a:pt x="2193" y="92"/>
                  <a:pt x="2193" y="92"/>
                </a:cubicBezTo>
                <a:cubicBezTo>
                  <a:pt x="2198" y="90"/>
                  <a:pt x="2198" y="90"/>
                  <a:pt x="2198" y="90"/>
                </a:cubicBezTo>
                <a:cubicBezTo>
                  <a:pt x="2199" y="92"/>
                  <a:pt x="2199" y="92"/>
                  <a:pt x="2199" y="92"/>
                </a:cubicBezTo>
                <a:cubicBezTo>
                  <a:pt x="2199" y="91"/>
                  <a:pt x="2199" y="91"/>
                  <a:pt x="2199" y="91"/>
                </a:cubicBezTo>
                <a:cubicBezTo>
                  <a:pt x="2200" y="89"/>
                  <a:pt x="2200" y="89"/>
                  <a:pt x="2200" y="89"/>
                </a:cubicBezTo>
                <a:cubicBezTo>
                  <a:pt x="2200" y="90"/>
                  <a:pt x="2200" y="90"/>
                  <a:pt x="2200" y="90"/>
                </a:cubicBezTo>
                <a:cubicBezTo>
                  <a:pt x="2202" y="90"/>
                  <a:pt x="2202" y="90"/>
                  <a:pt x="2202" y="90"/>
                </a:cubicBezTo>
                <a:cubicBezTo>
                  <a:pt x="2203" y="89"/>
                  <a:pt x="2203" y="89"/>
                  <a:pt x="2203" y="89"/>
                </a:cubicBezTo>
                <a:cubicBezTo>
                  <a:pt x="2204" y="90"/>
                  <a:pt x="2204" y="90"/>
                  <a:pt x="2204" y="90"/>
                </a:cubicBezTo>
                <a:cubicBezTo>
                  <a:pt x="2206" y="90"/>
                  <a:pt x="2206" y="90"/>
                  <a:pt x="2206" y="90"/>
                </a:cubicBezTo>
                <a:cubicBezTo>
                  <a:pt x="2207" y="90"/>
                  <a:pt x="2207" y="90"/>
                  <a:pt x="2207" y="90"/>
                </a:cubicBezTo>
                <a:cubicBezTo>
                  <a:pt x="2208" y="91"/>
                  <a:pt x="2208" y="91"/>
                  <a:pt x="2208" y="91"/>
                </a:cubicBezTo>
                <a:cubicBezTo>
                  <a:pt x="2209" y="91"/>
                  <a:pt x="2209" y="91"/>
                  <a:pt x="2209" y="91"/>
                </a:cubicBezTo>
                <a:cubicBezTo>
                  <a:pt x="2210" y="90"/>
                  <a:pt x="2210" y="90"/>
                  <a:pt x="2210" y="90"/>
                </a:cubicBezTo>
                <a:cubicBezTo>
                  <a:pt x="2212" y="90"/>
                  <a:pt x="2212" y="90"/>
                  <a:pt x="2212" y="90"/>
                </a:cubicBezTo>
                <a:cubicBezTo>
                  <a:pt x="2216" y="91"/>
                  <a:pt x="2216" y="91"/>
                  <a:pt x="2216" y="91"/>
                </a:cubicBezTo>
                <a:cubicBezTo>
                  <a:pt x="2217" y="92"/>
                  <a:pt x="2217" y="92"/>
                  <a:pt x="2217" y="92"/>
                </a:cubicBezTo>
                <a:cubicBezTo>
                  <a:pt x="2218" y="92"/>
                  <a:pt x="2218" y="92"/>
                  <a:pt x="2218" y="92"/>
                </a:cubicBezTo>
                <a:cubicBezTo>
                  <a:pt x="2217" y="91"/>
                  <a:pt x="2217" y="91"/>
                  <a:pt x="2217" y="91"/>
                </a:cubicBezTo>
                <a:cubicBezTo>
                  <a:pt x="2219" y="91"/>
                  <a:pt x="2219" y="91"/>
                  <a:pt x="2219" y="91"/>
                </a:cubicBezTo>
                <a:cubicBezTo>
                  <a:pt x="2220" y="92"/>
                  <a:pt x="2220" y="92"/>
                  <a:pt x="2220" y="92"/>
                </a:cubicBezTo>
                <a:cubicBezTo>
                  <a:pt x="2219" y="92"/>
                  <a:pt x="2219" y="92"/>
                  <a:pt x="2219" y="92"/>
                </a:cubicBezTo>
                <a:cubicBezTo>
                  <a:pt x="2220" y="93"/>
                  <a:pt x="2220" y="93"/>
                  <a:pt x="2220" y="93"/>
                </a:cubicBezTo>
                <a:cubicBezTo>
                  <a:pt x="2222" y="92"/>
                  <a:pt x="2222" y="92"/>
                  <a:pt x="2222" y="92"/>
                </a:cubicBezTo>
                <a:cubicBezTo>
                  <a:pt x="2226" y="93"/>
                  <a:pt x="2226" y="93"/>
                  <a:pt x="2226" y="93"/>
                </a:cubicBezTo>
                <a:cubicBezTo>
                  <a:pt x="2229" y="95"/>
                  <a:pt x="2229" y="95"/>
                  <a:pt x="2229" y="95"/>
                </a:cubicBezTo>
                <a:cubicBezTo>
                  <a:pt x="2229" y="96"/>
                  <a:pt x="2229" y="96"/>
                  <a:pt x="2229" y="96"/>
                </a:cubicBezTo>
                <a:cubicBezTo>
                  <a:pt x="2229" y="96"/>
                  <a:pt x="2229" y="96"/>
                  <a:pt x="2229" y="96"/>
                </a:cubicBezTo>
                <a:cubicBezTo>
                  <a:pt x="2228" y="95"/>
                  <a:pt x="2228" y="95"/>
                  <a:pt x="2228" y="95"/>
                </a:cubicBezTo>
                <a:cubicBezTo>
                  <a:pt x="2226" y="94"/>
                  <a:pt x="2226" y="94"/>
                  <a:pt x="2226" y="94"/>
                </a:cubicBezTo>
                <a:cubicBezTo>
                  <a:pt x="2226" y="95"/>
                  <a:pt x="2226" y="95"/>
                  <a:pt x="2226" y="95"/>
                </a:cubicBezTo>
                <a:cubicBezTo>
                  <a:pt x="2227" y="95"/>
                  <a:pt x="2228" y="96"/>
                  <a:pt x="2229" y="96"/>
                </a:cubicBezTo>
                <a:cubicBezTo>
                  <a:pt x="2229" y="96"/>
                  <a:pt x="2229" y="96"/>
                  <a:pt x="2229" y="96"/>
                </a:cubicBezTo>
                <a:cubicBezTo>
                  <a:pt x="2229" y="96"/>
                  <a:pt x="2229" y="96"/>
                  <a:pt x="2229" y="96"/>
                </a:cubicBezTo>
                <a:cubicBezTo>
                  <a:pt x="2230" y="96"/>
                  <a:pt x="2230" y="96"/>
                  <a:pt x="2230" y="96"/>
                </a:cubicBezTo>
                <a:cubicBezTo>
                  <a:pt x="2231" y="96"/>
                  <a:pt x="2231" y="96"/>
                  <a:pt x="2231" y="96"/>
                </a:cubicBezTo>
                <a:cubicBezTo>
                  <a:pt x="2232" y="95"/>
                  <a:pt x="2232" y="95"/>
                  <a:pt x="2232" y="95"/>
                </a:cubicBezTo>
                <a:cubicBezTo>
                  <a:pt x="2234" y="95"/>
                  <a:pt x="2234" y="95"/>
                  <a:pt x="2234" y="95"/>
                </a:cubicBezTo>
                <a:cubicBezTo>
                  <a:pt x="2235" y="95"/>
                  <a:pt x="2235" y="95"/>
                  <a:pt x="2235" y="95"/>
                </a:cubicBezTo>
                <a:cubicBezTo>
                  <a:pt x="2235" y="94"/>
                  <a:pt x="2235" y="94"/>
                  <a:pt x="2235" y="94"/>
                </a:cubicBezTo>
                <a:cubicBezTo>
                  <a:pt x="2236" y="94"/>
                  <a:pt x="2236" y="94"/>
                  <a:pt x="2236" y="94"/>
                </a:cubicBezTo>
                <a:cubicBezTo>
                  <a:pt x="2237" y="95"/>
                  <a:pt x="2237" y="95"/>
                  <a:pt x="2237" y="95"/>
                </a:cubicBezTo>
                <a:cubicBezTo>
                  <a:pt x="2238" y="95"/>
                  <a:pt x="2238" y="95"/>
                  <a:pt x="2238" y="95"/>
                </a:cubicBezTo>
                <a:cubicBezTo>
                  <a:pt x="2239" y="95"/>
                  <a:pt x="2239" y="95"/>
                  <a:pt x="2239" y="95"/>
                </a:cubicBezTo>
                <a:cubicBezTo>
                  <a:pt x="2239" y="94"/>
                  <a:pt x="2239" y="94"/>
                  <a:pt x="2239" y="94"/>
                </a:cubicBezTo>
                <a:cubicBezTo>
                  <a:pt x="2241" y="95"/>
                  <a:pt x="2241" y="95"/>
                  <a:pt x="2241" y="95"/>
                </a:cubicBezTo>
                <a:cubicBezTo>
                  <a:pt x="2241" y="96"/>
                  <a:pt x="2241" y="96"/>
                  <a:pt x="2241" y="96"/>
                </a:cubicBezTo>
                <a:cubicBezTo>
                  <a:pt x="2243" y="96"/>
                  <a:pt x="2243" y="96"/>
                  <a:pt x="2243" y="96"/>
                </a:cubicBezTo>
                <a:cubicBezTo>
                  <a:pt x="2244" y="96"/>
                  <a:pt x="2244" y="96"/>
                  <a:pt x="2244" y="96"/>
                </a:cubicBezTo>
                <a:cubicBezTo>
                  <a:pt x="2250" y="97"/>
                  <a:pt x="2250" y="97"/>
                  <a:pt x="2250" y="97"/>
                </a:cubicBezTo>
                <a:cubicBezTo>
                  <a:pt x="2249" y="96"/>
                  <a:pt x="2249" y="96"/>
                  <a:pt x="2249" y="96"/>
                </a:cubicBezTo>
                <a:cubicBezTo>
                  <a:pt x="2251" y="96"/>
                  <a:pt x="2251" y="96"/>
                  <a:pt x="2251" y="96"/>
                </a:cubicBezTo>
                <a:cubicBezTo>
                  <a:pt x="2252" y="97"/>
                  <a:pt x="2252" y="97"/>
                  <a:pt x="2252" y="97"/>
                </a:cubicBezTo>
                <a:cubicBezTo>
                  <a:pt x="2253" y="97"/>
                  <a:pt x="2253" y="97"/>
                  <a:pt x="2253" y="97"/>
                </a:cubicBezTo>
                <a:cubicBezTo>
                  <a:pt x="2252" y="96"/>
                  <a:pt x="2252" y="96"/>
                  <a:pt x="2252" y="96"/>
                </a:cubicBezTo>
                <a:cubicBezTo>
                  <a:pt x="2253" y="96"/>
                  <a:pt x="2253" y="96"/>
                  <a:pt x="2253" y="96"/>
                </a:cubicBezTo>
                <a:cubicBezTo>
                  <a:pt x="2255" y="96"/>
                  <a:pt x="2255" y="96"/>
                  <a:pt x="2255" y="96"/>
                </a:cubicBezTo>
                <a:cubicBezTo>
                  <a:pt x="2254" y="97"/>
                  <a:pt x="2254" y="97"/>
                  <a:pt x="2254" y="97"/>
                </a:cubicBezTo>
                <a:cubicBezTo>
                  <a:pt x="2255" y="98"/>
                  <a:pt x="2255" y="98"/>
                  <a:pt x="2255" y="98"/>
                </a:cubicBezTo>
                <a:cubicBezTo>
                  <a:pt x="2257" y="98"/>
                  <a:pt x="2257" y="98"/>
                  <a:pt x="2257" y="98"/>
                </a:cubicBezTo>
                <a:cubicBezTo>
                  <a:pt x="2257" y="97"/>
                  <a:pt x="2257" y="97"/>
                  <a:pt x="2257" y="97"/>
                </a:cubicBezTo>
                <a:cubicBezTo>
                  <a:pt x="2259" y="97"/>
                  <a:pt x="2259" y="97"/>
                  <a:pt x="2259" y="97"/>
                </a:cubicBezTo>
                <a:cubicBezTo>
                  <a:pt x="2259" y="98"/>
                  <a:pt x="2259" y="98"/>
                  <a:pt x="2259" y="98"/>
                </a:cubicBezTo>
                <a:cubicBezTo>
                  <a:pt x="2260" y="99"/>
                  <a:pt x="2260" y="99"/>
                  <a:pt x="2260" y="99"/>
                </a:cubicBezTo>
                <a:cubicBezTo>
                  <a:pt x="2262" y="100"/>
                  <a:pt x="2262" y="100"/>
                  <a:pt x="2262" y="100"/>
                </a:cubicBezTo>
                <a:cubicBezTo>
                  <a:pt x="2264" y="99"/>
                  <a:pt x="2264" y="99"/>
                  <a:pt x="2264" y="99"/>
                </a:cubicBezTo>
                <a:cubicBezTo>
                  <a:pt x="2262" y="99"/>
                  <a:pt x="2262" y="99"/>
                  <a:pt x="2262" y="99"/>
                </a:cubicBezTo>
                <a:cubicBezTo>
                  <a:pt x="2260" y="98"/>
                  <a:pt x="2260" y="98"/>
                  <a:pt x="2260" y="98"/>
                </a:cubicBezTo>
                <a:cubicBezTo>
                  <a:pt x="2260" y="97"/>
                  <a:pt x="2260" y="97"/>
                  <a:pt x="2260" y="97"/>
                </a:cubicBezTo>
                <a:cubicBezTo>
                  <a:pt x="2261" y="97"/>
                  <a:pt x="2261" y="97"/>
                  <a:pt x="2261" y="97"/>
                </a:cubicBezTo>
                <a:cubicBezTo>
                  <a:pt x="2263" y="97"/>
                  <a:pt x="2263" y="97"/>
                  <a:pt x="2263" y="97"/>
                </a:cubicBezTo>
                <a:cubicBezTo>
                  <a:pt x="2265" y="98"/>
                  <a:pt x="2265" y="98"/>
                  <a:pt x="2265" y="98"/>
                </a:cubicBezTo>
                <a:cubicBezTo>
                  <a:pt x="2266" y="100"/>
                  <a:pt x="2266" y="100"/>
                  <a:pt x="2266" y="100"/>
                </a:cubicBezTo>
                <a:cubicBezTo>
                  <a:pt x="2267" y="100"/>
                  <a:pt x="2267" y="100"/>
                  <a:pt x="2267" y="100"/>
                </a:cubicBezTo>
                <a:cubicBezTo>
                  <a:pt x="2267" y="99"/>
                  <a:pt x="2267" y="99"/>
                  <a:pt x="2267" y="99"/>
                </a:cubicBezTo>
                <a:cubicBezTo>
                  <a:pt x="2268" y="99"/>
                  <a:pt x="2268" y="99"/>
                  <a:pt x="2268" y="99"/>
                </a:cubicBezTo>
                <a:cubicBezTo>
                  <a:pt x="2268" y="100"/>
                  <a:pt x="2268" y="100"/>
                  <a:pt x="2268" y="100"/>
                </a:cubicBezTo>
                <a:cubicBezTo>
                  <a:pt x="2269" y="102"/>
                  <a:pt x="2269" y="102"/>
                  <a:pt x="2269" y="102"/>
                </a:cubicBezTo>
                <a:cubicBezTo>
                  <a:pt x="2271" y="105"/>
                  <a:pt x="2271" y="105"/>
                  <a:pt x="2271" y="105"/>
                </a:cubicBezTo>
                <a:cubicBezTo>
                  <a:pt x="2274" y="106"/>
                  <a:pt x="2274" y="106"/>
                  <a:pt x="2274" y="106"/>
                </a:cubicBezTo>
                <a:cubicBezTo>
                  <a:pt x="2274" y="107"/>
                  <a:pt x="2274" y="107"/>
                  <a:pt x="2274" y="107"/>
                </a:cubicBezTo>
                <a:cubicBezTo>
                  <a:pt x="2275" y="108"/>
                  <a:pt x="2275" y="108"/>
                  <a:pt x="2275" y="108"/>
                </a:cubicBezTo>
                <a:cubicBezTo>
                  <a:pt x="2276" y="110"/>
                  <a:pt x="2276" y="110"/>
                  <a:pt x="2276" y="110"/>
                </a:cubicBezTo>
                <a:cubicBezTo>
                  <a:pt x="2275" y="110"/>
                  <a:pt x="2275" y="110"/>
                  <a:pt x="2275" y="110"/>
                </a:cubicBezTo>
                <a:cubicBezTo>
                  <a:pt x="2276" y="112"/>
                  <a:pt x="2276" y="112"/>
                  <a:pt x="2276" y="112"/>
                </a:cubicBezTo>
                <a:cubicBezTo>
                  <a:pt x="2277" y="112"/>
                  <a:pt x="2277" y="112"/>
                  <a:pt x="2277" y="112"/>
                </a:cubicBezTo>
                <a:cubicBezTo>
                  <a:pt x="2278" y="111"/>
                  <a:pt x="2278" y="111"/>
                  <a:pt x="2278" y="111"/>
                </a:cubicBezTo>
                <a:cubicBezTo>
                  <a:pt x="2280" y="111"/>
                  <a:pt x="2280" y="111"/>
                  <a:pt x="2280" y="111"/>
                </a:cubicBezTo>
                <a:cubicBezTo>
                  <a:pt x="2281" y="113"/>
                  <a:pt x="2281" y="113"/>
                  <a:pt x="2281" y="113"/>
                </a:cubicBezTo>
                <a:cubicBezTo>
                  <a:pt x="2282" y="113"/>
                  <a:pt x="2282" y="113"/>
                  <a:pt x="2282" y="113"/>
                </a:cubicBezTo>
                <a:cubicBezTo>
                  <a:pt x="2281" y="112"/>
                  <a:pt x="2281" y="112"/>
                  <a:pt x="2281" y="112"/>
                </a:cubicBezTo>
                <a:cubicBezTo>
                  <a:pt x="2281" y="111"/>
                  <a:pt x="2281" y="111"/>
                  <a:pt x="2281" y="111"/>
                </a:cubicBezTo>
                <a:cubicBezTo>
                  <a:pt x="2282" y="110"/>
                  <a:pt x="2282" y="110"/>
                  <a:pt x="2282" y="110"/>
                </a:cubicBezTo>
                <a:cubicBezTo>
                  <a:pt x="2283" y="112"/>
                  <a:pt x="2283" y="112"/>
                  <a:pt x="2283" y="112"/>
                </a:cubicBezTo>
                <a:cubicBezTo>
                  <a:pt x="2284" y="113"/>
                  <a:pt x="2284" y="113"/>
                  <a:pt x="2284" y="113"/>
                </a:cubicBezTo>
                <a:cubicBezTo>
                  <a:pt x="2283" y="111"/>
                  <a:pt x="2283" y="111"/>
                  <a:pt x="2283" y="111"/>
                </a:cubicBezTo>
                <a:cubicBezTo>
                  <a:pt x="2283" y="109"/>
                  <a:pt x="2283" y="109"/>
                  <a:pt x="2283" y="109"/>
                </a:cubicBezTo>
                <a:cubicBezTo>
                  <a:pt x="2282" y="108"/>
                  <a:pt x="2282" y="108"/>
                  <a:pt x="2282" y="108"/>
                </a:cubicBezTo>
                <a:cubicBezTo>
                  <a:pt x="2281" y="109"/>
                  <a:pt x="2281" y="109"/>
                  <a:pt x="2281" y="109"/>
                </a:cubicBezTo>
                <a:cubicBezTo>
                  <a:pt x="2279" y="110"/>
                  <a:pt x="2279" y="110"/>
                  <a:pt x="2279" y="110"/>
                </a:cubicBezTo>
                <a:cubicBezTo>
                  <a:pt x="2279" y="109"/>
                  <a:pt x="2279" y="109"/>
                  <a:pt x="2279" y="109"/>
                </a:cubicBezTo>
                <a:cubicBezTo>
                  <a:pt x="2280" y="108"/>
                  <a:pt x="2280" y="108"/>
                  <a:pt x="2280" y="108"/>
                </a:cubicBezTo>
                <a:cubicBezTo>
                  <a:pt x="2279" y="106"/>
                  <a:pt x="2279" y="106"/>
                  <a:pt x="2279" y="106"/>
                </a:cubicBezTo>
                <a:cubicBezTo>
                  <a:pt x="2277" y="105"/>
                  <a:pt x="2277" y="105"/>
                  <a:pt x="2277" y="105"/>
                </a:cubicBezTo>
                <a:cubicBezTo>
                  <a:pt x="2276" y="103"/>
                  <a:pt x="2276" y="103"/>
                  <a:pt x="2276" y="103"/>
                </a:cubicBezTo>
                <a:cubicBezTo>
                  <a:pt x="2275" y="102"/>
                  <a:pt x="2275" y="102"/>
                  <a:pt x="2275" y="102"/>
                </a:cubicBezTo>
                <a:cubicBezTo>
                  <a:pt x="2273" y="103"/>
                  <a:pt x="2273" y="103"/>
                  <a:pt x="2273" y="103"/>
                </a:cubicBezTo>
                <a:cubicBezTo>
                  <a:pt x="2274" y="102"/>
                  <a:pt x="2274" y="102"/>
                  <a:pt x="2274" y="102"/>
                </a:cubicBezTo>
                <a:cubicBezTo>
                  <a:pt x="2275" y="100"/>
                  <a:pt x="2275" y="100"/>
                  <a:pt x="2275" y="100"/>
                </a:cubicBezTo>
                <a:cubicBezTo>
                  <a:pt x="2277" y="98"/>
                  <a:pt x="2277" y="98"/>
                  <a:pt x="2277" y="98"/>
                </a:cubicBezTo>
                <a:cubicBezTo>
                  <a:pt x="2278" y="100"/>
                  <a:pt x="2278" y="100"/>
                  <a:pt x="2278" y="100"/>
                </a:cubicBezTo>
                <a:cubicBezTo>
                  <a:pt x="2279" y="101"/>
                  <a:pt x="2279" y="101"/>
                  <a:pt x="2279" y="101"/>
                </a:cubicBezTo>
                <a:cubicBezTo>
                  <a:pt x="2280" y="100"/>
                  <a:pt x="2280" y="100"/>
                  <a:pt x="2280" y="100"/>
                </a:cubicBezTo>
                <a:cubicBezTo>
                  <a:pt x="2279" y="99"/>
                  <a:pt x="2279" y="99"/>
                  <a:pt x="2279" y="99"/>
                </a:cubicBezTo>
                <a:cubicBezTo>
                  <a:pt x="2278" y="98"/>
                  <a:pt x="2278" y="98"/>
                  <a:pt x="2278" y="98"/>
                </a:cubicBezTo>
                <a:cubicBezTo>
                  <a:pt x="2279" y="98"/>
                  <a:pt x="2279" y="98"/>
                  <a:pt x="2279" y="98"/>
                </a:cubicBezTo>
                <a:cubicBezTo>
                  <a:pt x="2280" y="97"/>
                  <a:pt x="2280" y="97"/>
                  <a:pt x="2280" y="97"/>
                </a:cubicBezTo>
                <a:cubicBezTo>
                  <a:pt x="2281" y="96"/>
                  <a:pt x="2281" y="96"/>
                  <a:pt x="2281" y="96"/>
                </a:cubicBezTo>
                <a:cubicBezTo>
                  <a:pt x="2280" y="96"/>
                  <a:pt x="2280" y="96"/>
                  <a:pt x="2280" y="96"/>
                </a:cubicBezTo>
                <a:cubicBezTo>
                  <a:pt x="2280" y="95"/>
                  <a:pt x="2280" y="95"/>
                  <a:pt x="2280" y="95"/>
                </a:cubicBezTo>
                <a:cubicBezTo>
                  <a:pt x="2282" y="95"/>
                  <a:pt x="2282" y="95"/>
                  <a:pt x="2282" y="95"/>
                </a:cubicBezTo>
                <a:cubicBezTo>
                  <a:pt x="2283" y="93"/>
                  <a:pt x="2283" y="93"/>
                  <a:pt x="2283" y="93"/>
                </a:cubicBezTo>
                <a:cubicBezTo>
                  <a:pt x="2284" y="93"/>
                  <a:pt x="2284" y="93"/>
                  <a:pt x="2284" y="93"/>
                </a:cubicBezTo>
                <a:cubicBezTo>
                  <a:pt x="2284" y="94"/>
                  <a:pt x="2284" y="94"/>
                  <a:pt x="2284" y="94"/>
                </a:cubicBezTo>
                <a:cubicBezTo>
                  <a:pt x="2285" y="94"/>
                  <a:pt x="2285" y="94"/>
                  <a:pt x="2285" y="94"/>
                </a:cubicBezTo>
                <a:cubicBezTo>
                  <a:pt x="2286" y="94"/>
                  <a:pt x="2286" y="94"/>
                  <a:pt x="2286" y="94"/>
                </a:cubicBezTo>
                <a:cubicBezTo>
                  <a:pt x="2286" y="95"/>
                  <a:pt x="2286" y="95"/>
                  <a:pt x="2286" y="95"/>
                </a:cubicBezTo>
                <a:cubicBezTo>
                  <a:pt x="2287" y="96"/>
                  <a:pt x="2287" y="96"/>
                  <a:pt x="2287" y="96"/>
                </a:cubicBezTo>
                <a:cubicBezTo>
                  <a:pt x="2289" y="96"/>
                  <a:pt x="2289" y="96"/>
                  <a:pt x="2289" y="96"/>
                </a:cubicBezTo>
                <a:cubicBezTo>
                  <a:pt x="2290" y="96"/>
                  <a:pt x="2290" y="96"/>
                  <a:pt x="2290" y="96"/>
                </a:cubicBezTo>
                <a:cubicBezTo>
                  <a:pt x="2294" y="96"/>
                  <a:pt x="2294" y="96"/>
                  <a:pt x="2294" y="96"/>
                </a:cubicBezTo>
                <a:cubicBezTo>
                  <a:pt x="2294" y="98"/>
                  <a:pt x="2294" y="98"/>
                  <a:pt x="2294" y="98"/>
                </a:cubicBezTo>
                <a:cubicBezTo>
                  <a:pt x="2295" y="98"/>
                  <a:pt x="2295" y="98"/>
                  <a:pt x="2295" y="98"/>
                </a:cubicBezTo>
                <a:cubicBezTo>
                  <a:pt x="2295" y="97"/>
                  <a:pt x="2295" y="97"/>
                  <a:pt x="2295" y="97"/>
                </a:cubicBezTo>
                <a:cubicBezTo>
                  <a:pt x="2296" y="97"/>
                  <a:pt x="2296" y="97"/>
                  <a:pt x="2296" y="97"/>
                </a:cubicBezTo>
                <a:cubicBezTo>
                  <a:pt x="2296" y="99"/>
                  <a:pt x="2296" y="99"/>
                  <a:pt x="2296" y="99"/>
                </a:cubicBezTo>
                <a:cubicBezTo>
                  <a:pt x="2297" y="98"/>
                  <a:pt x="2297" y="98"/>
                  <a:pt x="2297" y="98"/>
                </a:cubicBezTo>
                <a:cubicBezTo>
                  <a:pt x="2298" y="97"/>
                  <a:pt x="2298" y="97"/>
                  <a:pt x="2298" y="97"/>
                </a:cubicBezTo>
                <a:cubicBezTo>
                  <a:pt x="2299" y="97"/>
                  <a:pt x="2299" y="97"/>
                  <a:pt x="2299" y="97"/>
                </a:cubicBezTo>
                <a:cubicBezTo>
                  <a:pt x="2299" y="98"/>
                  <a:pt x="2299" y="98"/>
                  <a:pt x="2299" y="98"/>
                </a:cubicBezTo>
                <a:cubicBezTo>
                  <a:pt x="2299" y="99"/>
                  <a:pt x="2299" y="99"/>
                  <a:pt x="2299" y="99"/>
                </a:cubicBezTo>
                <a:cubicBezTo>
                  <a:pt x="2298" y="100"/>
                  <a:pt x="2298" y="100"/>
                  <a:pt x="2298" y="100"/>
                </a:cubicBezTo>
                <a:cubicBezTo>
                  <a:pt x="2299" y="103"/>
                  <a:pt x="2299" y="103"/>
                  <a:pt x="2299" y="103"/>
                </a:cubicBezTo>
                <a:cubicBezTo>
                  <a:pt x="2299" y="105"/>
                  <a:pt x="2299" y="105"/>
                  <a:pt x="2299" y="105"/>
                </a:cubicBezTo>
                <a:cubicBezTo>
                  <a:pt x="2299" y="106"/>
                  <a:pt x="2299" y="106"/>
                  <a:pt x="2299" y="106"/>
                </a:cubicBezTo>
                <a:cubicBezTo>
                  <a:pt x="2300" y="105"/>
                  <a:pt x="2300" y="105"/>
                  <a:pt x="2300" y="105"/>
                </a:cubicBezTo>
                <a:cubicBezTo>
                  <a:pt x="2301" y="107"/>
                  <a:pt x="2301" y="107"/>
                  <a:pt x="2301" y="107"/>
                </a:cubicBezTo>
                <a:cubicBezTo>
                  <a:pt x="2303" y="107"/>
                  <a:pt x="2303" y="107"/>
                  <a:pt x="2303" y="107"/>
                </a:cubicBezTo>
                <a:cubicBezTo>
                  <a:pt x="2303" y="108"/>
                  <a:pt x="2303" y="108"/>
                  <a:pt x="2303" y="108"/>
                </a:cubicBezTo>
                <a:cubicBezTo>
                  <a:pt x="2302" y="109"/>
                  <a:pt x="2302" y="109"/>
                  <a:pt x="2302" y="109"/>
                </a:cubicBezTo>
                <a:cubicBezTo>
                  <a:pt x="2300" y="109"/>
                  <a:pt x="2300" y="109"/>
                  <a:pt x="2300" y="109"/>
                </a:cubicBezTo>
                <a:cubicBezTo>
                  <a:pt x="2298" y="110"/>
                  <a:pt x="2298" y="110"/>
                  <a:pt x="2298" y="110"/>
                </a:cubicBezTo>
                <a:cubicBezTo>
                  <a:pt x="2301" y="110"/>
                  <a:pt x="2301" y="110"/>
                  <a:pt x="2301" y="110"/>
                </a:cubicBezTo>
                <a:cubicBezTo>
                  <a:pt x="2302" y="111"/>
                  <a:pt x="2302" y="111"/>
                  <a:pt x="2302" y="111"/>
                </a:cubicBezTo>
                <a:cubicBezTo>
                  <a:pt x="2302" y="112"/>
                  <a:pt x="2302" y="112"/>
                  <a:pt x="2302" y="112"/>
                </a:cubicBezTo>
                <a:cubicBezTo>
                  <a:pt x="2300" y="113"/>
                  <a:pt x="2300" y="113"/>
                  <a:pt x="2300" y="113"/>
                </a:cubicBezTo>
                <a:cubicBezTo>
                  <a:pt x="2299" y="115"/>
                  <a:pt x="2299" y="115"/>
                  <a:pt x="2299" y="115"/>
                </a:cubicBezTo>
                <a:cubicBezTo>
                  <a:pt x="2298" y="114"/>
                  <a:pt x="2298" y="114"/>
                  <a:pt x="2298" y="114"/>
                </a:cubicBezTo>
                <a:cubicBezTo>
                  <a:pt x="2297" y="115"/>
                  <a:pt x="2297" y="115"/>
                  <a:pt x="2297" y="115"/>
                </a:cubicBezTo>
                <a:cubicBezTo>
                  <a:pt x="2295" y="115"/>
                  <a:pt x="2295" y="115"/>
                  <a:pt x="2295" y="115"/>
                </a:cubicBezTo>
                <a:cubicBezTo>
                  <a:pt x="2294" y="117"/>
                  <a:pt x="2294" y="117"/>
                  <a:pt x="2294" y="117"/>
                </a:cubicBezTo>
                <a:cubicBezTo>
                  <a:pt x="2296" y="116"/>
                  <a:pt x="2296" y="116"/>
                  <a:pt x="2296" y="116"/>
                </a:cubicBezTo>
                <a:cubicBezTo>
                  <a:pt x="2297" y="117"/>
                  <a:pt x="2297" y="117"/>
                  <a:pt x="2297" y="117"/>
                </a:cubicBezTo>
                <a:cubicBezTo>
                  <a:pt x="2297" y="118"/>
                  <a:pt x="2297" y="118"/>
                  <a:pt x="2297" y="118"/>
                </a:cubicBezTo>
                <a:cubicBezTo>
                  <a:pt x="2298" y="117"/>
                  <a:pt x="2298" y="117"/>
                  <a:pt x="2298" y="117"/>
                </a:cubicBezTo>
                <a:cubicBezTo>
                  <a:pt x="2299" y="117"/>
                  <a:pt x="2299" y="117"/>
                  <a:pt x="2299" y="117"/>
                </a:cubicBezTo>
                <a:cubicBezTo>
                  <a:pt x="2299" y="118"/>
                  <a:pt x="2299" y="118"/>
                  <a:pt x="2299" y="118"/>
                </a:cubicBezTo>
                <a:cubicBezTo>
                  <a:pt x="2300" y="119"/>
                  <a:pt x="2300" y="119"/>
                  <a:pt x="2300" y="119"/>
                </a:cubicBezTo>
                <a:cubicBezTo>
                  <a:pt x="2299" y="120"/>
                  <a:pt x="2299" y="120"/>
                  <a:pt x="2299" y="120"/>
                </a:cubicBezTo>
                <a:cubicBezTo>
                  <a:pt x="2299" y="122"/>
                  <a:pt x="2299" y="122"/>
                  <a:pt x="2299" y="122"/>
                </a:cubicBezTo>
                <a:cubicBezTo>
                  <a:pt x="2300" y="120"/>
                  <a:pt x="2300" y="120"/>
                  <a:pt x="2300" y="120"/>
                </a:cubicBezTo>
                <a:cubicBezTo>
                  <a:pt x="2302" y="120"/>
                  <a:pt x="2302" y="120"/>
                  <a:pt x="2302" y="120"/>
                </a:cubicBezTo>
                <a:cubicBezTo>
                  <a:pt x="2304" y="122"/>
                  <a:pt x="2304" y="122"/>
                  <a:pt x="2304" y="122"/>
                </a:cubicBezTo>
                <a:cubicBezTo>
                  <a:pt x="2303" y="123"/>
                  <a:pt x="2303" y="123"/>
                  <a:pt x="2303" y="123"/>
                </a:cubicBezTo>
                <a:cubicBezTo>
                  <a:pt x="2304" y="124"/>
                  <a:pt x="2304" y="124"/>
                  <a:pt x="2304" y="124"/>
                </a:cubicBezTo>
                <a:cubicBezTo>
                  <a:pt x="2303" y="125"/>
                  <a:pt x="2303" y="125"/>
                  <a:pt x="2303" y="125"/>
                </a:cubicBezTo>
                <a:cubicBezTo>
                  <a:pt x="2304" y="126"/>
                  <a:pt x="2304" y="126"/>
                  <a:pt x="2304" y="126"/>
                </a:cubicBezTo>
                <a:cubicBezTo>
                  <a:pt x="2304" y="128"/>
                  <a:pt x="2304" y="128"/>
                  <a:pt x="2304" y="128"/>
                </a:cubicBezTo>
                <a:cubicBezTo>
                  <a:pt x="2303" y="128"/>
                  <a:pt x="2303" y="128"/>
                  <a:pt x="2303" y="128"/>
                </a:cubicBezTo>
                <a:cubicBezTo>
                  <a:pt x="2302" y="129"/>
                  <a:pt x="2302" y="129"/>
                  <a:pt x="2302" y="129"/>
                </a:cubicBezTo>
                <a:cubicBezTo>
                  <a:pt x="2303" y="130"/>
                  <a:pt x="2303" y="130"/>
                  <a:pt x="2303" y="130"/>
                </a:cubicBezTo>
                <a:cubicBezTo>
                  <a:pt x="2303" y="129"/>
                  <a:pt x="2303" y="129"/>
                  <a:pt x="2303" y="129"/>
                </a:cubicBezTo>
                <a:cubicBezTo>
                  <a:pt x="2304" y="129"/>
                  <a:pt x="2304" y="129"/>
                  <a:pt x="2304" y="129"/>
                </a:cubicBezTo>
                <a:cubicBezTo>
                  <a:pt x="2305" y="129"/>
                  <a:pt x="2305" y="129"/>
                  <a:pt x="2305" y="129"/>
                </a:cubicBezTo>
                <a:cubicBezTo>
                  <a:pt x="2305" y="131"/>
                  <a:pt x="2305" y="131"/>
                  <a:pt x="2305" y="131"/>
                </a:cubicBezTo>
                <a:cubicBezTo>
                  <a:pt x="2306" y="131"/>
                  <a:pt x="2306" y="131"/>
                  <a:pt x="2306" y="131"/>
                </a:cubicBezTo>
                <a:cubicBezTo>
                  <a:pt x="2307" y="132"/>
                  <a:pt x="2307" y="132"/>
                  <a:pt x="2307" y="132"/>
                </a:cubicBezTo>
                <a:cubicBezTo>
                  <a:pt x="2307" y="131"/>
                  <a:pt x="2307" y="131"/>
                  <a:pt x="2307" y="131"/>
                </a:cubicBezTo>
                <a:cubicBezTo>
                  <a:pt x="2307" y="130"/>
                  <a:pt x="2307" y="130"/>
                  <a:pt x="2307" y="130"/>
                </a:cubicBezTo>
                <a:cubicBezTo>
                  <a:pt x="2308" y="130"/>
                  <a:pt x="2308" y="130"/>
                  <a:pt x="2308" y="130"/>
                </a:cubicBezTo>
                <a:cubicBezTo>
                  <a:pt x="2310" y="131"/>
                  <a:pt x="2310" y="131"/>
                  <a:pt x="2310" y="131"/>
                </a:cubicBezTo>
                <a:cubicBezTo>
                  <a:pt x="2310" y="132"/>
                  <a:pt x="2310" y="132"/>
                  <a:pt x="2310" y="132"/>
                </a:cubicBezTo>
                <a:cubicBezTo>
                  <a:pt x="2309" y="133"/>
                  <a:pt x="2309" y="133"/>
                  <a:pt x="2309" y="133"/>
                </a:cubicBezTo>
                <a:cubicBezTo>
                  <a:pt x="2308" y="132"/>
                  <a:pt x="2308" y="132"/>
                  <a:pt x="2308" y="132"/>
                </a:cubicBezTo>
                <a:cubicBezTo>
                  <a:pt x="2307" y="133"/>
                  <a:pt x="2307" y="133"/>
                  <a:pt x="2307" y="133"/>
                </a:cubicBezTo>
                <a:cubicBezTo>
                  <a:pt x="2308" y="134"/>
                  <a:pt x="2308" y="134"/>
                  <a:pt x="2308" y="134"/>
                </a:cubicBezTo>
                <a:cubicBezTo>
                  <a:pt x="2309" y="134"/>
                  <a:pt x="2309" y="134"/>
                  <a:pt x="2309" y="134"/>
                </a:cubicBezTo>
                <a:cubicBezTo>
                  <a:pt x="2310" y="135"/>
                  <a:pt x="2310" y="135"/>
                  <a:pt x="2310" y="135"/>
                </a:cubicBezTo>
                <a:cubicBezTo>
                  <a:pt x="2310" y="136"/>
                  <a:pt x="2310" y="136"/>
                  <a:pt x="2310" y="136"/>
                </a:cubicBezTo>
                <a:cubicBezTo>
                  <a:pt x="2308" y="137"/>
                  <a:pt x="2308" y="137"/>
                  <a:pt x="2308" y="137"/>
                </a:cubicBezTo>
                <a:cubicBezTo>
                  <a:pt x="2307" y="135"/>
                  <a:pt x="2307" y="135"/>
                  <a:pt x="2307" y="135"/>
                </a:cubicBezTo>
                <a:cubicBezTo>
                  <a:pt x="2306" y="135"/>
                  <a:pt x="2306" y="135"/>
                  <a:pt x="2306" y="135"/>
                </a:cubicBezTo>
                <a:cubicBezTo>
                  <a:pt x="2307" y="137"/>
                  <a:pt x="2307" y="137"/>
                  <a:pt x="2307" y="137"/>
                </a:cubicBezTo>
                <a:cubicBezTo>
                  <a:pt x="2306" y="138"/>
                  <a:pt x="2306" y="138"/>
                  <a:pt x="2306" y="138"/>
                </a:cubicBezTo>
                <a:cubicBezTo>
                  <a:pt x="2305" y="137"/>
                  <a:pt x="2305" y="137"/>
                  <a:pt x="2305" y="137"/>
                </a:cubicBezTo>
                <a:cubicBezTo>
                  <a:pt x="2304" y="137"/>
                  <a:pt x="2304" y="137"/>
                  <a:pt x="2304" y="137"/>
                </a:cubicBezTo>
                <a:cubicBezTo>
                  <a:pt x="2303" y="137"/>
                  <a:pt x="2303" y="137"/>
                  <a:pt x="2303" y="137"/>
                </a:cubicBezTo>
                <a:cubicBezTo>
                  <a:pt x="2301" y="137"/>
                  <a:pt x="2301" y="137"/>
                  <a:pt x="2301" y="137"/>
                </a:cubicBezTo>
                <a:cubicBezTo>
                  <a:pt x="2299" y="137"/>
                  <a:pt x="2299" y="137"/>
                  <a:pt x="2299" y="137"/>
                </a:cubicBezTo>
                <a:cubicBezTo>
                  <a:pt x="2298" y="137"/>
                  <a:pt x="2298" y="137"/>
                  <a:pt x="2298" y="137"/>
                </a:cubicBezTo>
                <a:cubicBezTo>
                  <a:pt x="2299" y="136"/>
                  <a:pt x="2299" y="136"/>
                  <a:pt x="2299" y="136"/>
                </a:cubicBezTo>
                <a:cubicBezTo>
                  <a:pt x="2298" y="136"/>
                  <a:pt x="2298" y="136"/>
                  <a:pt x="2298" y="136"/>
                </a:cubicBezTo>
                <a:cubicBezTo>
                  <a:pt x="2297" y="135"/>
                  <a:pt x="2297" y="135"/>
                  <a:pt x="2297" y="135"/>
                </a:cubicBezTo>
                <a:cubicBezTo>
                  <a:pt x="2297" y="137"/>
                  <a:pt x="2297" y="137"/>
                  <a:pt x="2297" y="137"/>
                </a:cubicBezTo>
                <a:cubicBezTo>
                  <a:pt x="2296" y="137"/>
                  <a:pt x="2296" y="137"/>
                  <a:pt x="2296" y="137"/>
                </a:cubicBezTo>
                <a:cubicBezTo>
                  <a:pt x="2297" y="138"/>
                  <a:pt x="2297" y="138"/>
                  <a:pt x="2297" y="138"/>
                </a:cubicBezTo>
                <a:cubicBezTo>
                  <a:pt x="2296" y="140"/>
                  <a:pt x="2296" y="140"/>
                  <a:pt x="2296" y="140"/>
                </a:cubicBezTo>
                <a:cubicBezTo>
                  <a:pt x="2296" y="139"/>
                  <a:pt x="2296" y="139"/>
                  <a:pt x="2296" y="139"/>
                </a:cubicBezTo>
                <a:cubicBezTo>
                  <a:pt x="2295" y="139"/>
                  <a:pt x="2295" y="139"/>
                  <a:pt x="2295" y="139"/>
                </a:cubicBezTo>
                <a:cubicBezTo>
                  <a:pt x="2293" y="139"/>
                  <a:pt x="2293" y="139"/>
                  <a:pt x="2293" y="139"/>
                </a:cubicBezTo>
                <a:cubicBezTo>
                  <a:pt x="2292" y="139"/>
                  <a:pt x="2292" y="139"/>
                  <a:pt x="2292" y="139"/>
                </a:cubicBezTo>
                <a:cubicBezTo>
                  <a:pt x="2292" y="138"/>
                  <a:pt x="2292" y="138"/>
                  <a:pt x="2292" y="138"/>
                </a:cubicBezTo>
                <a:cubicBezTo>
                  <a:pt x="2291" y="137"/>
                  <a:pt x="2291" y="137"/>
                  <a:pt x="2291" y="137"/>
                </a:cubicBezTo>
                <a:cubicBezTo>
                  <a:pt x="2291" y="136"/>
                  <a:pt x="2291" y="136"/>
                  <a:pt x="2291" y="136"/>
                </a:cubicBezTo>
                <a:cubicBezTo>
                  <a:pt x="2288" y="134"/>
                  <a:pt x="2288" y="134"/>
                  <a:pt x="2288" y="134"/>
                </a:cubicBezTo>
                <a:cubicBezTo>
                  <a:pt x="2288" y="133"/>
                  <a:pt x="2288" y="133"/>
                  <a:pt x="2288" y="133"/>
                </a:cubicBezTo>
                <a:cubicBezTo>
                  <a:pt x="2286" y="132"/>
                  <a:pt x="2286" y="132"/>
                  <a:pt x="2286" y="132"/>
                </a:cubicBezTo>
                <a:cubicBezTo>
                  <a:pt x="2285" y="134"/>
                  <a:pt x="2285" y="134"/>
                  <a:pt x="2285" y="134"/>
                </a:cubicBezTo>
                <a:cubicBezTo>
                  <a:pt x="2283" y="134"/>
                  <a:pt x="2283" y="134"/>
                  <a:pt x="2283" y="134"/>
                </a:cubicBezTo>
                <a:cubicBezTo>
                  <a:pt x="2282" y="135"/>
                  <a:pt x="2282" y="135"/>
                  <a:pt x="2282" y="135"/>
                </a:cubicBezTo>
                <a:cubicBezTo>
                  <a:pt x="2282" y="136"/>
                  <a:pt x="2282" y="136"/>
                  <a:pt x="2282" y="136"/>
                </a:cubicBezTo>
                <a:cubicBezTo>
                  <a:pt x="2281" y="134"/>
                  <a:pt x="2281" y="134"/>
                  <a:pt x="2281" y="134"/>
                </a:cubicBezTo>
                <a:cubicBezTo>
                  <a:pt x="2281" y="136"/>
                  <a:pt x="2281" y="136"/>
                  <a:pt x="2281" y="136"/>
                </a:cubicBezTo>
                <a:cubicBezTo>
                  <a:pt x="2281" y="138"/>
                  <a:pt x="2281" y="138"/>
                  <a:pt x="2281" y="138"/>
                </a:cubicBezTo>
                <a:cubicBezTo>
                  <a:pt x="2281" y="139"/>
                  <a:pt x="2281" y="139"/>
                  <a:pt x="2281" y="139"/>
                </a:cubicBezTo>
                <a:cubicBezTo>
                  <a:pt x="2279" y="143"/>
                  <a:pt x="2279" y="143"/>
                  <a:pt x="2279" y="143"/>
                </a:cubicBezTo>
                <a:cubicBezTo>
                  <a:pt x="2277" y="142"/>
                  <a:pt x="2277" y="142"/>
                  <a:pt x="2277" y="142"/>
                </a:cubicBezTo>
                <a:cubicBezTo>
                  <a:pt x="2277" y="140"/>
                  <a:pt x="2277" y="140"/>
                  <a:pt x="2277" y="140"/>
                </a:cubicBezTo>
                <a:cubicBezTo>
                  <a:pt x="2276" y="140"/>
                  <a:pt x="2276" y="140"/>
                  <a:pt x="2276" y="140"/>
                </a:cubicBezTo>
                <a:cubicBezTo>
                  <a:pt x="2275" y="140"/>
                  <a:pt x="2275" y="140"/>
                  <a:pt x="2275" y="140"/>
                </a:cubicBezTo>
                <a:cubicBezTo>
                  <a:pt x="2272" y="138"/>
                  <a:pt x="2272" y="138"/>
                  <a:pt x="2272" y="138"/>
                </a:cubicBezTo>
                <a:cubicBezTo>
                  <a:pt x="2272" y="137"/>
                  <a:pt x="2272" y="137"/>
                  <a:pt x="2272" y="137"/>
                </a:cubicBezTo>
                <a:cubicBezTo>
                  <a:pt x="2272" y="134"/>
                  <a:pt x="2272" y="134"/>
                  <a:pt x="2272" y="134"/>
                </a:cubicBezTo>
                <a:cubicBezTo>
                  <a:pt x="2270" y="134"/>
                  <a:pt x="2270" y="134"/>
                  <a:pt x="2270" y="134"/>
                </a:cubicBezTo>
                <a:cubicBezTo>
                  <a:pt x="2270" y="133"/>
                  <a:pt x="2270" y="133"/>
                  <a:pt x="2270" y="133"/>
                </a:cubicBezTo>
                <a:cubicBezTo>
                  <a:pt x="2269" y="132"/>
                  <a:pt x="2269" y="132"/>
                  <a:pt x="2269" y="132"/>
                </a:cubicBezTo>
                <a:cubicBezTo>
                  <a:pt x="2269" y="133"/>
                  <a:pt x="2269" y="133"/>
                  <a:pt x="2269" y="133"/>
                </a:cubicBezTo>
                <a:cubicBezTo>
                  <a:pt x="2269" y="134"/>
                  <a:pt x="2269" y="134"/>
                  <a:pt x="2269" y="134"/>
                </a:cubicBezTo>
                <a:cubicBezTo>
                  <a:pt x="2269" y="135"/>
                  <a:pt x="2269" y="135"/>
                  <a:pt x="2269" y="135"/>
                </a:cubicBezTo>
                <a:cubicBezTo>
                  <a:pt x="2270" y="135"/>
                  <a:pt x="2270" y="135"/>
                  <a:pt x="2270" y="135"/>
                </a:cubicBezTo>
                <a:cubicBezTo>
                  <a:pt x="2269" y="136"/>
                  <a:pt x="2269" y="136"/>
                  <a:pt x="2269" y="136"/>
                </a:cubicBezTo>
                <a:cubicBezTo>
                  <a:pt x="2267" y="135"/>
                  <a:pt x="2267" y="135"/>
                  <a:pt x="2267" y="135"/>
                </a:cubicBezTo>
                <a:cubicBezTo>
                  <a:pt x="2266" y="134"/>
                  <a:pt x="2266" y="134"/>
                  <a:pt x="2266" y="134"/>
                </a:cubicBezTo>
                <a:cubicBezTo>
                  <a:pt x="2266" y="135"/>
                  <a:pt x="2266" y="135"/>
                  <a:pt x="2266" y="135"/>
                </a:cubicBezTo>
                <a:cubicBezTo>
                  <a:pt x="2266" y="136"/>
                  <a:pt x="2266" y="136"/>
                  <a:pt x="2266" y="136"/>
                </a:cubicBezTo>
                <a:cubicBezTo>
                  <a:pt x="2268" y="136"/>
                  <a:pt x="2268" y="136"/>
                  <a:pt x="2268" y="136"/>
                </a:cubicBezTo>
                <a:cubicBezTo>
                  <a:pt x="2269" y="137"/>
                  <a:pt x="2269" y="137"/>
                  <a:pt x="2269" y="137"/>
                </a:cubicBezTo>
                <a:cubicBezTo>
                  <a:pt x="2268" y="139"/>
                  <a:pt x="2268" y="139"/>
                  <a:pt x="2268" y="139"/>
                </a:cubicBezTo>
                <a:cubicBezTo>
                  <a:pt x="2266" y="139"/>
                  <a:pt x="2266" y="139"/>
                  <a:pt x="2266" y="139"/>
                </a:cubicBezTo>
                <a:cubicBezTo>
                  <a:pt x="2266" y="140"/>
                  <a:pt x="2266" y="140"/>
                  <a:pt x="2266" y="140"/>
                </a:cubicBezTo>
                <a:cubicBezTo>
                  <a:pt x="2267" y="140"/>
                  <a:pt x="2267" y="140"/>
                  <a:pt x="2267" y="140"/>
                </a:cubicBezTo>
                <a:cubicBezTo>
                  <a:pt x="2270" y="144"/>
                  <a:pt x="2270" y="144"/>
                  <a:pt x="2270" y="144"/>
                </a:cubicBezTo>
                <a:cubicBezTo>
                  <a:pt x="2273" y="145"/>
                  <a:pt x="2273" y="145"/>
                  <a:pt x="2273" y="145"/>
                </a:cubicBezTo>
                <a:cubicBezTo>
                  <a:pt x="2274" y="144"/>
                  <a:pt x="2274" y="144"/>
                  <a:pt x="2274" y="144"/>
                </a:cubicBezTo>
                <a:cubicBezTo>
                  <a:pt x="2276" y="145"/>
                  <a:pt x="2276" y="145"/>
                  <a:pt x="2276" y="145"/>
                </a:cubicBezTo>
                <a:cubicBezTo>
                  <a:pt x="2276" y="147"/>
                  <a:pt x="2276" y="147"/>
                  <a:pt x="2276" y="147"/>
                </a:cubicBezTo>
                <a:cubicBezTo>
                  <a:pt x="2275" y="145"/>
                  <a:pt x="2275" y="145"/>
                  <a:pt x="2275" y="145"/>
                </a:cubicBezTo>
                <a:cubicBezTo>
                  <a:pt x="2274" y="145"/>
                  <a:pt x="2274" y="145"/>
                  <a:pt x="2274" y="145"/>
                </a:cubicBezTo>
                <a:cubicBezTo>
                  <a:pt x="2275" y="147"/>
                  <a:pt x="2275" y="147"/>
                  <a:pt x="2275" y="147"/>
                </a:cubicBezTo>
                <a:cubicBezTo>
                  <a:pt x="2277" y="149"/>
                  <a:pt x="2277" y="149"/>
                  <a:pt x="2277" y="149"/>
                </a:cubicBezTo>
                <a:cubicBezTo>
                  <a:pt x="2277" y="150"/>
                  <a:pt x="2277" y="150"/>
                  <a:pt x="2277" y="150"/>
                </a:cubicBezTo>
                <a:cubicBezTo>
                  <a:pt x="2279" y="152"/>
                  <a:pt x="2279" y="152"/>
                  <a:pt x="2279" y="152"/>
                </a:cubicBezTo>
                <a:cubicBezTo>
                  <a:pt x="2279" y="154"/>
                  <a:pt x="2279" y="154"/>
                  <a:pt x="2279" y="154"/>
                </a:cubicBezTo>
                <a:cubicBezTo>
                  <a:pt x="2278" y="158"/>
                  <a:pt x="2278" y="158"/>
                  <a:pt x="2278" y="158"/>
                </a:cubicBezTo>
                <a:cubicBezTo>
                  <a:pt x="2278" y="161"/>
                  <a:pt x="2278" y="161"/>
                  <a:pt x="2278" y="161"/>
                </a:cubicBezTo>
                <a:cubicBezTo>
                  <a:pt x="2278" y="163"/>
                  <a:pt x="2278" y="163"/>
                  <a:pt x="2278" y="163"/>
                </a:cubicBezTo>
                <a:cubicBezTo>
                  <a:pt x="2279" y="163"/>
                  <a:pt x="2279" y="163"/>
                  <a:pt x="2279" y="163"/>
                </a:cubicBezTo>
                <a:cubicBezTo>
                  <a:pt x="2277" y="166"/>
                  <a:pt x="2277" y="166"/>
                  <a:pt x="2277" y="166"/>
                </a:cubicBezTo>
                <a:cubicBezTo>
                  <a:pt x="2277" y="167"/>
                  <a:pt x="2277" y="167"/>
                  <a:pt x="2277" y="167"/>
                </a:cubicBezTo>
                <a:cubicBezTo>
                  <a:pt x="2276" y="168"/>
                  <a:pt x="2276" y="168"/>
                  <a:pt x="2276" y="168"/>
                </a:cubicBezTo>
                <a:cubicBezTo>
                  <a:pt x="2276" y="167"/>
                  <a:pt x="2276" y="167"/>
                  <a:pt x="2276" y="167"/>
                </a:cubicBezTo>
                <a:cubicBezTo>
                  <a:pt x="2276" y="166"/>
                  <a:pt x="2276" y="166"/>
                  <a:pt x="2276" y="166"/>
                </a:cubicBezTo>
                <a:cubicBezTo>
                  <a:pt x="2273" y="169"/>
                  <a:pt x="2273" y="169"/>
                  <a:pt x="2273" y="169"/>
                </a:cubicBezTo>
                <a:cubicBezTo>
                  <a:pt x="2272" y="168"/>
                  <a:pt x="2272" y="168"/>
                  <a:pt x="2272" y="168"/>
                </a:cubicBezTo>
                <a:cubicBezTo>
                  <a:pt x="2271" y="169"/>
                  <a:pt x="2271" y="169"/>
                  <a:pt x="2271" y="169"/>
                </a:cubicBezTo>
                <a:cubicBezTo>
                  <a:pt x="2270" y="168"/>
                  <a:pt x="2270" y="168"/>
                  <a:pt x="2270" y="168"/>
                </a:cubicBezTo>
                <a:cubicBezTo>
                  <a:pt x="2269" y="167"/>
                  <a:pt x="2269" y="167"/>
                  <a:pt x="2269" y="167"/>
                </a:cubicBezTo>
                <a:cubicBezTo>
                  <a:pt x="2268" y="167"/>
                  <a:pt x="2268" y="167"/>
                  <a:pt x="2268" y="167"/>
                </a:cubicBezTo>
                <a:cubicBezTo>
                  <a:pt x="2266" y="165"/>
                  <a:pt x="2266" y="165"/>
                  <a:pt x="2266" y="165"/>
                </a:cubicBezTo>
                <a:cubicBezTo>
                  <a:pt x="2265" y="164"/>
                  <a:pt x="2265" y="164"/>
                  <a:pt x="2265" y="164"/>
                </a:cubicBezTo>
                <a:cubicBezTo>
                  <a:pt x="2263" y="164"/>
                  <a:pt x="2263" y="164"/>
                  <a:pt x="2263" y="164"/>
                </a:cubicBezTo>
                <a:cubicBezTo>
                  <a:pt x="2262" y="163"/>
                  <a:pt x="2262" y="163"/>
                  <a:pt x="2262" y="163"/>
                </a:cubicBezTo>
                <a:cubicBezTo>
                  <a:pt x="2261" y="164"/>
                  <a:pt x="2261" y="164"/>
                  <a:pt x="2261" y="164"/>
                </a:cubicBezTo>
                <a:cubicBezTo>
                  <a:pt x="2260" y="165"/>
                  <a:pt x="2260" y="165"/>
                  <a:pt x="2260" y="165"/>
                </a:cubicBezTo>
                <a:cubicBezTo>
                  <a:pt x="2259" y="165"/>
                  <a:pt x="2259" y="165"/>
                  <a:pt x="2259" y="165"/>
                </a:cubicBezTo>
                <a:cubicBezTo>
                  <a:pt x="2260" y="166"/>
                  <a:pt x="2260" y="166"/>
                  <a:pt x="2260" y="166"/>
                </a:cubicBezTo>
                <a:cubicBezTo>
                  <a:pt x="2262" y="166"/>
                  <a:pt x="2262" y="166"/>
                  <a:pt x="2262" y="166"/>
                </a:cubicBezTo>
                <a:cubicBezTo>
                  <a:pt x="2262" y="164"/>
                  <a:pt x="2262" y="164"/>
                  <a:pt x="2262" y="164"/>
                </a:cubicBezTo>
                <a:cubicBezTo>
                  <a:pt x="2266" y="166"/>
                  <a:pt x="2266" y="166"/>
                  <a:pt x="2266" y="166"/>
                </a:cubicBezTo>
                <a:cubicBezTo>
                  <a:pt x="2266" y="167"/>
                  <a:pt x="2266" y="167"/>
                  <a:pt x="2266" y="167"/>
                </a:cubicBezTo>
                <a:cubicBezTo>
                  <a:pt x="2265" y="168"/>
                  <a:pt x="2265" y="168"/>
                  <a:pt x="2265" y="168"/>
                </a:cubicBezTo>
                <a:cubicBezTo>
                  <a:pt x="2264" y="167"/>
                  <a:pt x="2264" y="167"/>
                  <a:pt x="2264" y="167"/>
                </a:cubicBezTo>
                <a:cubicBezTo>
                  <a:pt x="2262" y="167"/>
                  <a:pt x="2262" y="167"/>
                  <a:pt x="2262" y="167"/>
                </a:cubicBezTo>
                <a:cubicBezTo>
                  <a:pt x="2262" y="169"/>
                  <a:pt x="2262" y="169"/>
                  <a:pt x="2262" y="169"/>
                </a:cubicBezTo>
                <a:cubicBezTo>
                  <a:pt x="2261" y="167"/>
                  <a:pt x="2261" y="167"/>
                  <a:pt x="2261" y="167"/>
                </a:cubicBezTo>
                <a:cubicBezTo>
                  <a:pt x="2260" y="168"/>
                  <a:pt x="2260" y="168"/>
                  <a:pt x="2260" y="168"/>
                </a:cubicBezTo>
                <a:cubicBezTo>
                  <a:pt x="2261" y="169"/>
                  <a:pt x="2261" y="169"/>
                  <a:pt x="2261" y="169"/>
                </a:cubicBezTo>
                <a:cubicBezTo>
                  <a:pt x="2263" y="170"/>
                  <a:pt x="2263" y="170"/>
                  <a:pt x="2263" y="170"/>
                </a:cubicBezTo>
                <a:cubicBezTo>
                  <a:pt x="2262" y="172"/>
                  <a:pt x="2262" y="172"/>
                  <a:pt x="2262" y="172"/>
                </a:cubicBezTo>
                <a:cubicBezTo>
                  <a:pt x="2263" y="174"/>
                  <a:pt x="2263" y="174"/>
                  <a:pt x="2263" y="174"/>
                </a:cubicBezTo>
                <a:cubicBezTo>
                  <a:pt x="2264" y="175"/>
                  <a:pt x="2264" y="175"/>
                  <a:pt x="2264" y="175"/>
                </a:cubicBezTo>
                <a:cubicBezTo>
                  <a:pt x="2264" y="174"/>
                  <a:pt x="2264" y="174"/>
                  <a:pt x="2264" y="174"/>
                </a:cubicBezTo>
                <a:cubicBezTo>
                  <a:pt x="2264" y="172"/>
                  <a:pt x="2264" y="172"/>
                  <a:pt x="2264" y="172"/>
                </a:cubicBezTo>
                <a:cubicBezTo>
                  <a:pt x="2265" y="171"/>
                  <a:pt x="2265" y="171"/>
                  <a:pt x="2265" y="171"/>
                </a:cubicBezTo>
                <a:cubicBezTo>
                  <a:pt x="2266" y="171"/>
                  <a:pt x="2266" y="171"/>
                  <a:pt x="2266" y="171"/>
                </a:cubicBezTo>
                <a:cubicBezTo>
                  <a:pt x="2268" y="169"/>
                  <a:pt x="2268" y="169"/>
                  <a:pt x="2268" y="169"/>
                </a:cubicBezTo>
                <a:cubicBezTo>
                  <a:pt x="2269" y="169"/>
                  <a:pt x="2269" y="169"/>
                  <a:pt x="2269" y="169"/>
                </a:cubicBezTo>
                <a:cubicBezTo>
                  <a:pt x="2270" y="169"/>
                  <a:pt x="2270" y="169"/>
                  <a:pt x="2270" y="169"/>
                </a:cubicBezTo>
                <a:cubicBezTo>
                  <a:pt x="2270" y="170"/>
                  <a:pt x="2270" y="170"/>
                  <a:pt x="2270" y="170"/>
                </a:cubicBezTo>
                <a:cubicBezTo>
                  <a:pt x="2271" y="172"/>
                  <a:pt x="2271" y="172"/>
                  <a:pt x="2271" y="172"/>
                </a:cubicBezTo>
                <a:cubicBezTo>
                  <a:pt x="2273" y="173"/>
                  <a:pt x="2273" y="173"/>
                  <a:pt x="2273" y="173"/>
                </a:cubicBezTo>
                <a:cubicBezTo>
                  <a:pt x="2274" y="174"/>
                  <a:pt x="2274" y="174"/>
                  <a:pt x="2274" y="174"/>
                </a:cubicBezTo>
                <a:cubicBezTo>
                  <a:pt x="2276" y="174"/>
                  <a:pt x="2276" y="174"/>
                  <a:pt x="2276" y="174"/>
                </a:cubicBezTo>
                <a:cubicBezTo>
                  <a:pt x="2277" y="173"/>
                  <a:pt x="2277" y="173"/>
                  <a:pt x="2277" y="173"/>
                </a:cubicBezTo>
                <a:cubicBezTo>
                  <a:pt x="2276" y="172"/>
                  <a:pt x="2276" y="172"/>
                  <a:pt x="2276" y="172"/>
                </a:cubicBezTo>
                <a:cubicBezTo>
                  <a:pt x="2277" y="172"/>
                  <a:pt x="2277" y="172"/>
                  <a:pt x="2277" y="172"/>
                </a:cubicBezTo>
                <a:cubicBezTo>
                  <a:pt x="2280" y="175"/>
                  <a:pt x="2280" y="175"/>
                  <a:pt x="2280" y="175"/>
                </a:cubicBezTo>
                <a:cubicBezTo>
                  <a:pt x="2281" y="176"/>
                  <a:pt x="2281" y="176"/>
                  <a:pt x="2281" y="176"/>
                </a:cubicBezTo>
                <a:cubicBezTo>
                  <a:pt x="2279" y="176"/>
                  <a:pt x="2279" y="176"/>
                  <a:pt x="2279" y="176"/>
                </a:cubicBezTo>
                <a:cubicBezTo>
                  <a:pt x="2279" y="177"/>
                  <a:pt x="2279" y="177"/>
                  <a:pt x="2279" y="177"/>
                </a:cubicBezTo>
                <a:cubicBezTo>
                  <a:pt x="2282" y="179"/>
                  <a:pt x="2282" y="179"/>
                  <a:pt x="2282" y="179"/>
                </a:cubicBezTo>
                <a:cubicBezTo>
                  <a:pt x="2282" y="177"/>
                  <a:pt x="2282" y="177"/>
                  <a:pt x="2282" y="177"/>
                </a:cubicBezTo>
                <a:cubicBezTo>
                  <a:pt x="2284" y="178"/>
                  <a:pt x="2284" y="178"/>
                  <a:pt x="2284" y="178"/>
                </a:cubicBezTo>
                <a:cubicBezTo>
                  <a:pt x="2287" y="182"/>
                  <a:pt x="2287" y="182"/>
                  <a:pt x="2287" y="182"/>
                </a:cubicBezTo>
                <a:cubicBezTo>
                  <a:pt x="2286" y="181"/>
                  <a:pt x="2286" y="181"/>
                  <a:pt x="2286" y="181"/>
                </a:cubicBezTo>
                <a:cubicBezTo>
                  <a:pt x="2285" y="181"/>
                  <a:pt x="2285" y="181"/>
                  <a:pt x="2285" y="181"/>
                </a:cubicBezTo>
                <a:cubicBezTo>
                  <a:pt x="2285" y="182"/>
                  <a:pt x="2285" y="182"/>
                  <a:pt x="2285" y="182"/>
                </a:cubicBezTo>
                <a:cubicBezTo>
                  <a:pt x="2286" y="183"/>
                  <a:pt x="2286" y="183"/>
                  <a:pt x="2286" y="183"/>
                </a:cubicBezTo>
                <a:cubicBezTo>
                  <a:pt x="2284" y="184"/>
                  <a:pt x="2284" y="184"/>
                  <a:pt x="2284" y="184"/>
                </a:cubicBezTo>
                <a:cubicBezTo>
                  <a:pt x="2284" y="185"/>
                  <a:pt x="2284" y="185"/>
                  <a:pt x="2284" y="185"/>
                </a:cubicBezTo>
                <a:cubicBezTo>
                  <a:pt x="2285" y="186"/>
                  <a:pt x="2285" y="186"/>
                  <a:pt x="2285" y="186"/>
                </a:cubicBezTo>
                <a:cubicBezTo>
                  <a:pt x="2286" y="186"/>
                  <a:pt x="2286" y="186"/>
                  <a:pt x="2286" y="186"/>
                </a:cubicBezTo>
                <a:cubicBezTo>
                  <a:pt x="2286" y="184"/>
                  <a:pt x="2286" y="184"/>
                  <a:pt x="2286" y="184"/>
                </a:cubicBezTo>
                <a:cubicBezTo>
                  <a:pt x="2287" y="184"/>
                  <a:pt x="2287" y="184"/>
                  <a:pt x="2287" y="184"/>
                </a:cubicBezTo>
                <a:cubicBezTo>
                  <a:pt x="2288" y="184"/>
                  <a:pt x="2288" y="184"/>
                  <a:pt x="2288" y="184"/>
                </a:cubicBezTo>
                <a:cubicBezTo>
                  <a:pt x="2288" y="183"/>
                  <a:pt x="2288" y="183"/>
                  <a:pt x="2288" y="183"/>
                </a:cubicBezTo>
                <a:cubicBezTo>
                  <a:pt x="2289" y="185"/>
                  <a:pt x="2289" y="185"/>
                  <a:pt x="2289" y="185"/>
                </a:cubicBezTo>
                <a:cubicBezTo>
                  <a:pt x="2292" y="187"/>
                  <a:pt x="2292" y="187"/>
                  <a:pt x="2292" y="187"/>
                </a:cubicBezTo>
                <a:cubicBezTo>
                  <a:pt x="2295" y="187"/>
                  <a:pt x="2295" y="187"/>
                  <a:pt x="2295" y="187"/>
                </a:cubicBezTo>
                <a:cubicBezTo>
                  <a:pt x="2296" y="189"/>
                  <a:pt x="2296" y="189"/>
                  <a:pt x="2296" y="189"/>
                </a:cubicBezTo>
                <a:cubicBezTo>
                  <a:pt x="2295" y="190"/>
                  <a:pt x="2295" y="190"/>
                  <a:pt x="2295" y="190"/>
                </a:cubicBezTo>
                <a:cubicBezTo>
                  <a:pt x="2297" y="192"/>
                  <a:pt x="2297" y="192"/>
                  <a:pt x="2297" y="192"/>
                </a:cubicBezTo>
                <a:cubicBezTo>
                  <a:pt x="2298" y="192"/>
                  <a:pt x="2298" y="192"/>
                  <a:pt x="2298" y="192"/>
                </a:cubicBezTo>
                <a:cubicBezTo>
                  <a:pt x="2300" y="195"/>
                  <a:pt x="2300" y="195"/>
                  <a:pt x="2300" y="195"/>
                </a:cubicBezTo>
                <a:cubicBezTo>
                  <a:pt x="2300" y="199"/>
                  <a:pt x="2300" y="199"/>
                  <a:pt x="2300" y="199"/>
                </a:cubicBezTo>
                <a:cubicBezTo>
                  <a:pt x="2299" y="199"/>
                  <a:pt x="2299" y="199"/>
                  <a:pt x="2299" y="199"/>
                </a:cubicBezTo>
                <a:cubicBezTo>
                  <a:pt x="2299" y="200"/>
                  <a:pt x="2299" y="200"/>
                  <a:pt x="2299" y="200"/>
                </a:cubicBezTo>
                <a:cubicBezTo>
                  <a:pt x="2301" y="200"/>
                  <a:pt x="2301" y="200"/>
                  <a:pt x="2301" y="200"/>
                </a:cubicBezTo>
                <a:cubicBezTo>
                  <a:pt x="2301" y="202"/>
                  <a:pt x="2301" y="202"/>
                  <a:pt x="2301" y="202"/>
                </a:cubicBezTo>
                <a:cubicBezTo>
                  <a:pt x="2300" y="202"/>
                  <a:pt x="2300" y="202"/>
                  <a:pt x="2300" y="202"/>
                </a:cubicBezTo>
                <a:cubicBezTo>
                  <a:pt x="2295" y="202"/>
                  <a:pt x="2295" y="202"/>
                  <a:pt x="2295" y="202"/>
                </a:cubicBezTo>
                <a:cubicBezTo>
                  <a:pt x="2294" y="201"/>
                  <a:pt x="2294" y="201"/>
                  <a:pt x="2294" y="201"/>
                </a:cubicBezTo>
                <a:cubicBezTo>
                  <a:pt x="2293" y="201"/>
                  <a:pt x="2293" y="201"/>
                  <a:pt x="2293" y="201"/>
                </a:cubicBezTo>
                <a:cubicBezTo>
                  <a:pt x="2292" y="201"/>
                  <a:pt x="2292" y="201"/>
                  <a:pt x="2292" y="201"/>
                </a:cubicBezTo>
                <a:cubicBezTo>
                  <a:pt x="2292" y="200"/>
                  <a:pt x="2292" y="200"/>
                  <a:pt x="2292" y="200"/>
                </a:cubicBezTo>
                <a:cubicBezTo>
                  <a:pt x="2291" y="199"/>
                  <a:pt x="2291" y="199"/>
                  <a:pt x="2291" y="199"/>
                </a:cubicBezTo>
                <a:cubicBezTo>
                  <a:pt x="2291" y="200"/>
                  <a:pt x="2291" y="200"/>
                  <a:pt x="2291" y="200"/>
                </a:cubicBezTo>
                <a:cubicBezTo>
                  <a:pt x="2291" y="201"/>
                  <a:pt x="2291" y="201"/>
                  <a:pt x="2291" y="201"/>
                </a:cubicBezTo>
                <a:cubicBezTo>
                  <a:pt x="2289" y="202"/>
                  <a:pt x="2289" y="202"/>
                  <a:pt x="2289" y="202"/>
                </a:cubicBezTo>
                <a:cubicBezTo>
                  <a:pt x="2288" y="202"/>
                  <a:pt x="2288" y="202"/>
                  <a:pt x="2288" y="202"/>
                </a:cubicBezTo>
                <a:cubicBezTo>
                  <a:pt x="2287" y="203"/>
                  <a:pt x="2287" y="203"/>
                  <a:pt x="2287" y="203"/>
                </a:cubicBezTo>
                <a:cubicBezTo>
                  <a:pt x="2288" y="203"/>
                  <a:pt x="2288" y="203"/>
                  <a:pt x="2288" y="203"/>
                </a:cubicBezTo>
                <a:cubicBezTo>
                  <a:pt x="2286" y="205"/>
                  <a:pt x="2286" y="205"/>
                  <a:pt x="2286" y="205"/>
                </a:cubicBezTo>
                <a:cubicBezTo>
                  <a:pt x="2285" y="205"/>
                  <a:pt x="2285" y="205"/>
                  <a:pt x="2285" y="205"/>
                </a:cubicBezTo>
                <a:cubicBezTo>
                  <a:pt x="2285" y="206"/>
                  <a:pt x="2285" y="206"/>
                  <a:pt x="2285" y="206"/>
                </a:cubicBezTo>
                <a:cubicBezTo>
                  <a:pt x="2285" y="207"/>
                  <a:pt x="2285" y="207"/>
                  <a:pt x="2285" y="207"/>
                </a:cubicBezTo>
                <a:cubicBezTo>
                  <a:pt x="2284" y="209"/>
                  <a:pt x="2284" y="209"/>
                  <a:pt x="2284" y="209"/>
                </a:cubicBezTo>
                <a:cubicBezTo>
                  <a:pt x="2283" y="210"/>
                  <a:pt x="2283" y="210"/>
                  <a:pt x="2283" y="210"/>
                </a:cubicBezTo>
                <a:cubicBezTo>
                  <a:pt x="2283" y="209"/>
                  <a:pt x="2283" y="209"/>
                  <a:pt x="2283" y="209"/>
                </a:cubicBezTo>
                <a:cubicBezTo>
                  <a:pt x="2282" y="209"/>
                  <a:pt x="2282" y="209"/>
                  <a:pt x="2282" y="209"/>
                </a:cubicBezTo>
                <a:cubicBezTo>
                  <a:pt x="2282" y="211"/>
                  <a:pt x="2282" y="211"/>
                  <a:pt x="2282" y="211"/>
                </a:cubicBezTo>
                <a:cubicBezTo>
                  <a:pt x="2282" y="213"/>
                  <a:pt x="2282" y="213"/>
                  <a:pt x="2282" y="213"/>
                </a:cubicBezTo>
                <a:cubicBezTo>
                  <a:pt x="2281" y="214"/>
                  <a:pt x="2281" y="214"/>
                  <a:pt x="2281" y="214"/>
                </a:cubicBezTo>
                <a:cubicBezTo>
                  <a:pt x="2280" y="213"/>
                  <a:pt x="2280" y="213"/>
                  <a:pt x="2280" y="213"/>
                </a:cubicBezTo>
                <a:cubicBezTo>
                  <a:pt x="2280" y="215"/>
                  <a:pt x="2280" y="215"/>
                  <a:pt x="2280" y="215"/>
                </a:cubicBezTo>
                <a:cubicBezTo>
                  <a:pt x="2281" y="216"/>
                  <a:pt x="2281" y="216"/>
                  <a:pt x="2281" y="216"/>
                </a:cubicBezTo>
                <a:cubicBezTo>
                  <a:pt x="2279" y="217"/>
                  <a:pt x="2279" y="217"/>
                  <a:pt x="2279" y="217"/>
                </a:cubicBezTo>
                <a:cubicBezTo>
                  <a:pt x="2278" y="217"/>
                  <a:pt x="2278" y="217"/>
                  <a:pt x="2278" y="217"/>
                </a:cubicBezTo>
                <a:cubicBezTo>
                  <a:pt x="2279" y="218"/>
                  <a:pt x="2279" y="218"/>
                  <a:pt x="2279" y="218"/>
                </a:cubicBezTo>
                <a:cubicBezTo>
                  <a:pt x="2279" y="219"/>
                  <a:pt x="2279" y="219"/>
                  <a:pt x="2279" y="219"/>
                </a:cubicBezTo>
                <a:cubicBezTo>
                  <a:pt x="2278" y="220"/>
                  <a:pt x="2278" y="220"/>
                  <a:pt x="2278" y="220"/>
                </a:cubicBezTo>
                <a:cubicBezTo>
                  <a:pt x="2277" y="219"/>
                  <a:pt x="2277" y="219"/>
                  <a:pt x="2277" y="219"/>
                </a:cubicBezTo>
                <a:cubicBezTo>
                  <a:pt x="2276" y="220"/>
                  <a:pt x="2276" y="220"/>
                  <a:pt x="2276" y="220"/>
                </a:cubicBezTo>
                <a:cubicBezTo>
                  <a:pt x="2277" y="221"/>
                  <a:pt x="2277" y="221"/>
                  <a:pt x="2277" y="221"/>
                </a:cubicBezTo>
                <a:cubicBezTo>
                  <a:pt x="2277" y="222"/>
                  <a:pt x="2277" y="222"/>
                  <a:pt x="2277" y="222"/>
                </a:cubicBezTo>
                <a:cubicBezTo>
                  <a:pt x="2276" y="223"/>
                  <a:pt x="2276" y="223"/>
                  <a:pt x="2276" y="223"/>
                </a:cubicBezTo>
                <a:cubicBezTo>
                  <a:pt x="2277" y="224"/>
                  <a:pt x="2277" y="224"/>
                  <a:pt x="2277" y="224"/>
                </a:cubicBezTo>
                <a:cubicBezTo>
                  <a:pt x="2276" y="225"/>
                  <a:pt x="2276" y="225"/>
                  <a:pt x="2276" y="225"/>
                </a:cubicBezTo>
                <a:cubicBezTo>
                  <a:pt x="2275" y="225"/>
                  <a:pt x="2275" y="225"/>
                  <a:pt x="2275" y="225"/>
                </a:cubicBezTo>
                <a:cubicBezTo>
                  <a:pt x="2275" y="224"/>
                  <a:pt x="2275" y="224"/>
                  <a:pt x="2275" y="224"/>
                </a:cubicBezTo>
                <a:cubicBezTo>
                  <a:pt x="2274" y="224"/>
                  <a:pt x="2274" y="224"/>
                  <a:pt x="2274" y="224"/>
                </a:cubicBezTo>
                <a:cubicBezTo>
                  <a:pt x="2275" y="225"/>
                  <a:pt x="2275" y="225"/>
                  <a:pt x="2275" y="225"/>
                </a:cubicBezTo>
                <a:cubicBezTo>
                  <a:pt x="2277" y="226"/>
                  <a:pt x="2277" y="226"/>
                  <a:pt x="2277" y="226"/>
                </a:cubicBezTo>
                <a:cubicBezTo>
                  <a:pt x="2276" y="228"/>
                  <a:pt x="2276" y="228"/>
                  <a:pt x="2276" y="228"/>
                </a:cubicBezTo>
                <a:cubicBezTo>
                  <a:pt x="2274" y="228"/>
                  <a:pt x="2274" y="228"/>
                  <a:pt x="2274" y="228"/>
                </a:cubicBezTo>
                <a:cubicBezTo>
                  <a:pt x="2275" y="229"/>
                  <a:pt x="2275" y="229"/>
                  <a:pt x="2275" y="229"/>
                </a:cubicBezTo>
                <a:cubicBezTo>
                  <a:pt x="2276" y="231"/>
                  <a:pt x="2276" y="231"/>
                  <a:pt x="2276" y="231"/>
                </a:cubicBezTo>
                <a:cubicBezTo>
                  <a:pt x="2275" y="232"/>
                  <a:pt x="2275" y="232"/>
                  <a:pt x="2275" y="232"/>
                </a:cubicBezTo>
                <a:cubicBezTo>
                  <a:pt x="2276" y="232"/>
                  <a:pt x="2276" y="232"/>
                  <a:pt x="2276" y="232"/>
                </a:cubicBezTo>
                <a:cubicBezTo>
                  <a:pt x="2274" y="234"/>
                  <a:pt x="2274" y="234"/>
                  <a:pt x="2274" y="234"/>
                </a:cubicBezTo>
                <a:cubicBezTo>
                  <a:pt x="2275" y="235"/>
                  <a:pt x="2275" y="235"/>
                  <a:pt x="2275" y="235"/>
                </a:cubicBezTo>
                <a:cubicBezTo>
                  <a:pt x="2274" y="238"/>
                  <a:pt x="2274" y="238"/>
                  <a:pt x="2274" y="238"/>
                </a:cubicBezTo>
                <a:cubicBezTo>
                  <a:pt x="2273" y="240"/>
                  <a:pt x="2273" y="240"/>
                  <a:pt x="2273" y="240"/>
                </a:cubicBezTo>
                <a:cubicBezTo>
                  <a:pt x="2273" y="242"/>
                  <a:pt x="2273" y="242"/>
                  <a:pt x="2273" y="242"/>
                </a:cubicBezTo>
                <a:cubicBezTo>
                  <a:pt x="2272" y="243"/>
                  <a:pt x="2272" y="243"/>
                  <a:pt x="2272" y="243"/>
                </a:cubicBezTo>
                <a:cubicBezTo>
                  <a:pt x="2273" y="243"/>
                  <a:pt x="2273" y="243"/>
                  <a:pt x="2273" y="243"/>
                </a:cubicBezTo>
                <a:cubicBezTo>
                  <a:pt x="2274" y="244"/>
                  <a:pt x="2274" y="244"/>
                  <a:pt x="2274" y="244"/>
                </a:cubicBezTo>
                <a:cubicBezTo>
                  <a:pt x="2273" y="244"/>
                  <a:pt x="2273" y="244"/>
                  <a:pt x="2273" y="244"/>
                </a:cubicBezTo>
                <a:cubicBezTo>
                  <a:pt x="2275" y="247"/>
                  <a:pt x="2275" y="247"/>
                  <a:pt x="2275" y="247"/>
                </a:cubicBezTo>
                <a:cubicBezTo>
                  <a:pt x="2275" y="248"/>
                  <a:pt x="2275" y="248"/>
                  <a:pt x="2275" y="248"/>
                </a:cubicBezTo>
                <a:cubicBezTo>
                  <a:pt x="2274" y="248"/>
                  <a:pt x="2274" y="248"/>
                  <a:pt x="2274" y="248"/>
                </a:cubicBezTo>
                <a:cubicBezTo>
                  <a:pt x="2273" y="248"/>
                  <a:pt x="2273" y="248"/>
                  <a:pt x="2273" y="248"/>
                </a:cubicBezTo>
                <a:cubicBezTo>
                  <a:pt x="2271" y="247"/>
                  <a:pt x="2271" y="247"/>
                  <a:pt x="2271" y="247"/>
                </a:cubicBezTo>
                <a:cubicBezTo>
                  <a:pt x="2269" y="245"/>
                  <a:pt x="2269" y="245"/>
                  <a:pt x="2269" y="245"/>
                </a:cubicBezTo>
                <a:cubicBezTo>
                  <a:pt x="2268" y="245"/>
                  <a:pt x="2268" y="245"/>
                  <a:pt x="2268" y="245"/>
                </a:cubicBezTo>
                <a:cubicBezTo>
                  <a:pt x="2267" y="245"/>
                  <a:pt x="2267" y="245"/>
                  <a:pt x="2267" y="245"/>
                </a:cubicBezTo>
                <a:cubicBezTo>
                  <a:pt x="2267" y="244"/>
                  <a:pt x="2267" y="244"/>
                  <a:pt x="2267" y="244"/>
                </a:cubicBezTo>
                <a:cubicBezTo>
                  <a:pt x="2263" y="242"/>
                  <a:pt x="2263" y="242"/>
                  <a:pt x="2263" y="242"/>
                </a:cubicBezTo>
                <a:cubicBezTo>
                  <a:pt x="2262" y="241"/>
                  <a:pt x="2262" y="241"/>
                  <a:pt x="2262" y="241"/>
                </a:cubicBezTo>
                <a:cubicBezTo>
                  <a:pt x="2260" y="243"/>
                  <a:pt x="2260" y="243"/>
                  <a:pt x="2260" y="243"/>
                </a:cubicBezTo>
                <a:cubicBezTo>
                  <a:pt x="2259" y="242"/>
                  <a:pt x="2259" y="242"/>
                  <a:pt x="2259" y="242"/>
                </a:cubicBezTo>
                <a:cubicBezTo>
                  <a:pt x="2258" y="242"/>
                  <a:pt x="2258" y="242"/>
                  <a:pt x="2258" y="242"/>
                </a:cubicBezTo>
                <a:cubicBezTo>
                  <a:pt x="2256" y="244"/>
                  <a:pt x="2256" y="244"/>
                  <a:pt x="2256" y="244"/>
                </a:cubicBezTo>
                <a:cubicBezTo>
                  <a:pt x="2255" y="244"/>
                  <a:pt x="2255" y="244"/>
                  <a:pt x="2255" y="244"/>
                </a:cubicBezTo>
                <a:cubicBezTo>
                  <a:pt x="2254" y="247"/>
                  <a:pt x="2254" y="247"/>
                  <a:pt x="2254" y="247"/>
                </a:cubicBezTo>
                <a:cubicBezTo>
                  <a:pt x="2253" y="247"/>
                  <a:pt x="2253" y="247"/>
                  <a:pt x="2253" y="247"/>
                </a:cubicBezTo>
                <a:cubicBezTo>
                  <a:pt x="2252" y="247"/>
                  <a:pt x="2252" y="247"/>
                  <a:pt x="2252" y="247"/>
                </a:cubicBezTo>
                <a:cubicBezTo>
                  <a:pt x="2253" y="248"/>
                  <a:pt x="2253" y="248"/>
                  <a:pt x="2253" y="248"/>
                </a:cubicBezTo>
                <a:cubicBezTo>
                  <a:pt x="2252" y="249"/>
                  <a:pt x="2252" y="249"/>
                  <a:pt x="2252" y="249"/>
                </a:cubicBezTo>
                <a:cubicBezTo>
                  <a:pt x="2253" y="251"/>
                  <a:pt x="2253" y="251"/>
                  <a:pt x="2253" y="251"/>
                </a:cubicBezTo>
                <a:cubicBezTo>
                  <a:pt x="2252" y="252"/>
                  <a:pt x="2252" y="252"/>
                  <a:pt x="2252" y="252"/>
                </a:cubicBezTo>
                <a:cubicBezTo>
                  <a:pt x="2252" y="255"/>
                  <a:pt x="2252" y="255"/>
                  <a:pt x="2252" y="255"/>
                </a:cubicBezTo>
                <a:cubicBezTo>
                  <a:pt x="2251" y="256"/>
                  <a:pt x="2251" y="256"/>
                  <a:pt x="2251" y="256"/>
                </a:cubicBezTo>
                <a:cubicBezTo>
                  <a:pt x="2250" y="255"/>
                  <a:pt x="2250" y="255"/>
                  <a:pt x="2250" y="255"/>
                </a:cubicBezTo>
                <a:cubicBezTo>
                  <a:pt x="2249" y="251"/>
                  <a:pt x="2249" y="251"/>
                  <a:pt x="2249" y="251"/>
                </a:cubicBezTo>
                <a:cubicBezTo>
                  <a:pt x="2249" y="249"/>
                  <a:pt x="2249" y="249"/>
                  <a:pt x="2249" y="249"/>
                </a:cubicBezTo>
                <a:cubicBezTo>
                  <a:pt x="2248" y="249"/>
                  <a:pt x="2248" y="249"/>
                  <a:pt x="2248" y="249"/>
                </a:cubicBezTo>
                <a:cubicBezTo>
                  <a:pt x="2247" y="248"/>
                  <a:pt x="2247" y="248"/>
                  <a:pt x="2247" y="248"/>
                </a:cubicBezTo>
                <a:cubicBezTo>
                  <a:pt x="2247" y="249"/>
                  <a:pt x="2247" y="249"/>
                  <a:pt x="2247" y="249"/>
                </a:cubicBezTo>
                <a:cubicBezTo>
                  <a:pt x="2245" y="252"/>
                  <a:pt x="2245" y="252"/>
                  <a:pt x="2245" y="252"/>
                </a:cubicBezTo>
                <a:cubicBezTo>
                  <a:pt x="2244" y="252"/>
                  <a:pt x="2244" y="252"/>
                  <a:pt x="2244" y="252"/>
                </a:cubicBezTo>
                <a:cubicBezTo>
                  <a:pt x="2244" y="254"/>
                  <a:pt x="2244" y="254"/>
                  <a:pt x="2244" y="254"/>
                </a:cubicBezTo>
                <a:cubicBezTo>
                  <a:pt x="2245" y="254"/>
                  <a:pt x="2245" y="254"/>
                  <a:pt x="2245" y="254"/>
                </a:cubicBezTo>
                <a:cubicBezTo>
                  <a:pt x="2244" y="257"/>
                  <a:pt x="2244" y="257"/>
                  <a:pt x="2244" y="257"/>
                </a:cubicBezTo>
                <a:cubicBezTo>
                  <a:pt x="2243" y="255"/>
                  <a:pt x="2243" y="255"/>
                  <a:pt x="2243" y="255"/>
                </a:cubicBezTo>
                <a:cubicBezTo>
                  <a:pt x="2242" y="255"/>
                  <a:pt x="2242" y="255"/>
                  <a:pt x="2242" y="255"/>
                </a:cubicBezTo>
                <a:cubicBezTo>
                  <a:pt x="2241" y="255"/>
                  <a:pt x="2241" y="255"/>
                  <a:pt x="2241" y="255"/>
                </a:cubicBezTo>
                <a:cubicBezTo>
                  <a:pt x="2240" y="256"/>
                  <a:pt x="2240" y="256"/>
                  <a:pt x="2240" y="256"/>
                </a:cubicBezTo>
                <a:cubicBezTo>
                  <a:pt x="2240" y="257"/>
                  <a:pt x="2240" y="257"/>
                  <a:pt x="2240" y="257"/>
                </a:cubicBezTo>
                <a:cubicBezTo>
                  <a:pt x="2238" y="256"/>
                  <a:pt x="2238" y="256"/>
                  <a:pt x="2238" y="256"/>
                </a:cubicBezTo>
                <a:cubicBezTo>
                  <a:pt x="2237" y="256"/>
                  <a:pt x="2237" y="256"/>
                  <a:pt x="2237" y="256"/>
                </a:cubicBezTo>
                <a:cubicBezTo>
                  <a:pt x="2237" y="257"/>
                  <a:pt x="2237" y="257"/>
                  <a:pt x="2237" y="257"/>
                </a:cubicBezTo>
                <a:cubicBezTo>
                  <a:pt x="2238" y="258"/>
                  <a:pt x="2238" y="258"/>
                  <a:pt x="2238" y="258"/>
                </a:cubicBezTo>
                <a:cubicBezTo>
                  <a:pt x="2237" y="258"/>
                  <a:pt x="2237" y="258"/>
                  <a:pt x="2237" y="258"/>
                </a:cubicBezTo>
                <a:cubicBezTo>
                  <a:pt x="2237" y="260"/>
                  <a:pt x="2237" y="260"/>
                  <a:pt x="2237" y="260"/>
                </a:cubicBezTo>
                <a:cubicBezTo>
                  <a:pt x="2237" y="261"/>
                  <a:pt x="2237" y="261"/>
                  <a:pt x="2237" y="261"/>
                </a:cubicBezTo>
                <a:cubicBezTo>
                  <a:pt x="2238" y="262"/>
                  <a:pt x="2238" y="262"/>
                  <a:pt x="2238" y="262"/>
                </a:cubicBezTo>
                <a:cubicBezTo>
                  <a:pt x="2238" y="263"/>
                  <a:pt x="2238" y="263"/>
                  <a:pt x="2238" y="263"/>
                </a:cubicBezTo>
                <a:cubicBezTo>
                  <a:pt x="2238" y="264"/>
                  <a:pt x="2238" y="264"/>
                  <a:pt x="2238" y="264"/>
                </a:cubicBezTo>
                <a:cubicBezTo>
                  <a:pt x="2238" y="265"/>
                  <a:pt x="2238" y="265"/>
                  <a:pt x="2238" y="265"/>
                </a:cubicBezTo>
                <a:cubicBezTo>
                  <a:pt x="2239" y="265"/>
                  <a:pt x="2239" y="265"/>
                  <a:pt x="2239" y="265"/>
                </a:cubicBezTo>
                <a:cubicBezTo>
                  <a:pt x="2240" y="266"/>
                  <a:pt x="2240" y="266"/>
                  <a:pt x="2240" y="266"/>
                </a:cubicBezTo>
                <a:cubicBezTo>
                  <a:pt x="2240" y="267"/>
                  <a:pt x="2240" y="267"/>
                  <a:pt x="2240" y="267"/>
                </a:cubicBezTo>
                <a:cubicBezTo>
                  <a:pt x="2240" y="268"/>
                  <a:pt x="2240" y="268"/>
                  <a:pt x="2240" y="268"/>
                </a:cubicBezTo>
                <a:cubicBezTo>
                  <a:pt x="2241" y="268"/>
                  <a:pt x="2241" y="268"/>
                  <a:pt x="2241" y="268"/>
                </a:cubicBezTo>
                <a:cubicBezTo>
                  <a:pt x="2241" y="269"/>
                  <a:pt x="2241" y="269"/>
                  <a:pt x="2241" y="269"/>
                </a:cubicBezTo>
                <a:cubicBezTo>
                  <a:pt x="2241" y="270"/>
                  <a:pt x="2241" y="270"/>
                  <a:pt x="2241" y="270"/>
                </a:cubicBezTo>
                <a:cubicBezTo>
                  <a:pt x="2240" y="269"/>
                  <a:pt x="2240" y="269"/>
                  <a:pt x="2240" y="269"/>
                </a:cubicBezTo>
                <a:cubicBezTo>
                  <a:pt x="2239" y="269"/>
                  <a:pt x="2239" y="269"/>
                  <a:pt x="2239" y="269"/>
                </a:cubicBezTo>
                <a:cubicBezTo>
                  <a:pt x="2239" y="270"/>
                  <a:pt x="2239" y="270"/>
                  <a:pt x="2239" y="270"/>
                </a:cubicBezTo>
                <a:cubicBezTo>
                  <a:pt x="2240" y="271"/>
                  <a:pt x="2240" y="271"/>
                  <a:pt x="2240" y="271"/>
                </a:cubicBezTo>
                <a:cubicBezTo>
                  <a:pt x="2241" y="271"/>
                  <a:pt x="2241" y="271"/>
                  <a:pt x="2241" y="271"/>
                </a:cubicBezTo>
                <a:cubicBezTo>
                  <a:pt x="2241" y="272"/>
                  <a:pt x="2241" y="272"/>
                  <a:pt x="2241" y="272"/>
                </a:cubicBezTo>
                <a:cubicBezTo>
                  <a:pt x="2241" y="273"/>
                  <a:pt x="2241" y="273"/>
                  <a:pt x="2241" y="273"/>
                </a:cubicBezTo>
                <a:cubicBezTo>
                  <a:pt x="2241" y="275"/>
                  <a:pt x="2241" y="275"/>
                  <a:pt x="2241" y="275"/>
                </a:cubicBezTo>
                <a:cubicBezTo>
                  <a:pt x="2240" y="276"/>
                  <a:pt x="2240" y="276"/>
                  <a:pt x="2240" y="276"/>
                </a:cubicBezTo>
                <a:cubicBezTo>
                  <a:pt x="2241" y="278"/>
                  <a:pt x="2241" y="278"/>
                  <a:pt x="2241" y="278"/>
                </a:cubicBezTo>
                <a:cubicBezTo>
                  <a:pt x="2240" y="278"/>
                  <a:pt x="2240" y="278"/>
                  <a:pt x="2240" y="278"/>
                </a:cubicBezTo>
                <a:cubicBezTo>
                  <a:pt x="2241" y="280"/>
                  <a:pt x="2241" y="280"/>
                  <a:pt x="2241" y="280"/>
                </a:cubicBezTo>
                <a:cubicBezTo>
                  <a:pt x="2241" y="282"/>
                  <a:pt x="2241" y="282"/>
                  <a:pt x="2241" y="282"/>
                </a:cubicBezTo>
                <a:cubicBezTo>
                  <a:pt x="2242" y="284"/>
                  <a:pt x="2242" y="284"/>
                  <a:pt x="2242" y="284"/>
                </a:cubicBezTo>
                <a:cubicBezTo>
                  <a:pt x="2241" y="285"/>
                  <a:pt x="2241" y="285"/>
                  <a:pt x="2241" y="285"/>
                </a:cubicBezTo>
                <a:cubicBezTo>
                  <a:pt x="2242" y="285"/>
                  <a:pt x="2242" y="285"/>
                  <a:pt x="2242" y="285"/>
                </a:cubicBezTo>
                <a:cubicBezTo>
                  <a:pt x="2244" y="286"/>
                  <a:pt x="2244" y="286"/>
                  <a:pt x="2244" y="286"/>
                </a:cubicBezTo>
                <a:cubicBezTo>
                  <a:pt x="2245" y="289"/>
                  <a:pt x="2245" y="289"/>
                  <a:pt x="2245" y="289"/>
                </a:cubicBezTo>
                <a:cubicBezTo>
                  <a:pt x="2247" y="289"/>
                  <a:pt x="2247" y="289"/>
                  <a:pt x="2247" y="289"/>
                </a:cubicBezTo>
                <a:cubicBezTo>
                  <a:pt x="2247" y="288"/>
                  <a:pt x="2247" y="288"/>
                  <a:pt x="2247" y="288"/>
                </a:cubicBezTo>
                <a:cubicBezTo>
                  <a:pt x="2246" y="286"/>
                  <a:pt x="2246" y="286"/>
                  <a:pt x="2246" y="286"/>
                </a:cubicBezTo>
                <a:cubicBezTo>
                  <a:pt x="2246" y="285"/>
                  <a:pt x="2246" y="285"/>
                  <a:pt x="2246" y="285"/>
                </a:cubicBezTo>
                <a:cubicBezTo>
                  <a:pt x="2247" y="284"/>
                  <a:pt x="2247" y="284"/>
                  <a:pt x="2247" y="284"/>
                </a:cubicBezTo>
                <a:cubicBezTo>
                  <a:pt x="2248" y="285"/>
                  <a:pt x="2248" y="285"/>
                  <a:pt x="2248" y="285"/>
                </a:cubicBezTo>
                <a:cubicBezTo>
                  <a:pt x="2250" y="286"/>
                  <a:pt x="2250" y="286"/>
                  <a:pt x="2250" y="286"/>
                </a:cubicBezTo>
                <a:cubicBezTo>
                  <a:pt x="2251" y="286"/>
                  <a:pt x="2251" y="286"/>
                  <a:pt x="2251" y="286"/>
                </a:cubicBezTo>
                <a:cubicBezTo>
                  <a:pt x="2252" y="286"/>
                  <a:pt x="2252" y="286"/>
                  <a:pt x="2252" y="286"/>
                </a:cubicBezTo>
                <a:cubicBezTo>
                  <a:pt x="2252" y="287"/>
                  <a:pt x="2252" y="287"/>
                  <a:pt x="2252" y="287"/>
                </a:cubicBezTo>
                <a:cubicBezTo>
                  <a:pt x="2252" y="288"/>
                  <a:pt x="2252" y="288"/>
                  <a:pt x="2252" y="288"/>
                </a:cubicBezTo>
                <a:cubicBezTo>
                  <a:pt x="2253" y="289"/>
                  <a:pt x="2253" y="289"/>
                  <a:pt x="2253" y="289"/>
                </a:cubicBezTo>
                <a:cubicBezTo>
                  <a:pt x="2252" y="290"/>
                  <a:pt x="2252" y="290"/>
                  <a:pt x="2252" y="290"/>
                </a:cubicBezTo>
                <a:cubicBezTo>
                  <a:pt x="2252" y="291"/>
                  <a:pt x="2252" y="291"/>
                  <a:pt x="2252" y="291"/>
                </a:cubicBezTo>
                <a:cubicBezTo>
                  <a:pt x="2252" y="292"/>
                  <a:pt x="2252" y="292"/>
                  <a:pt x="2252" y="292"/>
                </a:cubicBezTo>
                <a:cubicBezTo>
                  <a:pt x="2251" y="293"/>
                  <a:pt x="2251" y="293"/>
                  <a:pt x="2251" y="293"/>
                </a:cubicBezTo>
                <a:cubicBezTo>
                  <a:pt x="2252" y="295"/>
                  <a:pt x="2252" y="295"/>
                  <a:pt x="2252" y="295"/>
                </a:cubicBezTo>
                <a:cubicBezTo>
                  <a:pt x="2253" y="297"/>
                  <a:pt x="2253" y="297"/>
                  <a:pt x="2253" y="297"/>
                </a:cubicBezTo>
                <a:cubicBezTo>
                  <a:pt x="2253" y="299"/>
                  <a:pt x="2253" y="299"/>
                  <a:pt x="2253" y="299"/>
                </a:cubicBezTo>
                <a:cubicBezTo>
                  <a:pt x="2254" y="300"/>
                  <a:pt x="2254" y="300"/>
                  <a:pt x="2254" y="300"/>
                </a:cubicBezTo>
                <a:cubicBezTo>
                  <a:pt x="2255" y="299"/>
                  <a:pt x="2255" y="299"/>
                  <a:pt x="2255" y="299"/>
                </a:cubicBezTo>
                <a:cubicBezTo>
                  <a:pt x="2256" y="298"/>
                  <a:pt x="2256" y="298"/>
                  <a:pt x="2256" y="298"/>
                </a:cubicBezTo>
                <a:cubicBezTo>
                  <a:pt x="2258" y="298"/>
                  <a:pt x="2258" y="298"/>
                  <a:pt x="2258" y="298"/>
                </a:cubicBezTo>
                <a:cubicBezTo>
                  <a:pt x="2258" y="301"/>
                  <a:pt x="2258" y="301"/>
                  <a:pt x="2258" y="301"/>
                </a:cubicBezTo>
                <a:cubicBezTo>
                  <a:pt x="2261" y="304"/>
                  <a:pt x="2261" y="304"/>
                  <a:pt x="2261" y="304"/>
                </a:cubicBezTo>
                <a:cubicBezTo>
                  <a:pt x="2262" y="306"/>
                  <a:pt x="2262" y="306"/>
                  <a:pt x="2262" y="306"/>
                </a:cubicBezTo>
                <a:cubicBezTo>
                  <a:pt x="2261" y="306"/>
                  <a:pt x="2261" y="306"/>
                  <a:pt x="2261" y="306"/>
                </a:cubicBezTo>
                <a:cubicBezTo>
                  <a:pt x="2261" y="308"/>
                  <a:pt x="2261" y="308"/>
                  <a:pt x="2261" y="308"/>
                </a:cubicBezTo>
                <a:cubicBezTo>
                  <a:pt x="2260" y="309"/>
                  <a:pt x="2260" y="309"/>
                  <a:pt x="2260" y="309"/>
                </a:cubicBezTo>
                <a:cubicBezTo>
                  <a:pt x="2258" y="307"/>
                  <a:pt x="2258" y="307"/>
                  <a:pt x="2258" y="307"/>
                </a:cubicBezTo>
                <a:cubicBezTo>
                  <a:pt x="2257" y="307"/>
                  <a:pt x="2257" y="307"/>
                  <a:pt x="2257" y="307"/>
                </a:cubicBezTo>
                <a:cubicBezTo>
                  <a:pt x="2256" y="305"/>
                  <a:pt x="2256" y="305"/>
                  <a:pt x="2256" y="305"/>
                </a:cubicBezTo>
                <a:cubicBezTo>
                  <a:pt x="2257" y="304"/>
                  <a:pt x="2257" y="304"/>
                  <a:pt x="2257" y="304"/>
                </a:cubicBezTo>
                <a:cubicBezTo>
                  <a:pt x="2257" y="302"/>
                  <a:pt x="2257" y="302"/>
                  <a:pt x="2257" y="302"/>
                </a:cubicBezTo>
                <a:cubicBezTo>
                  <a:pt x="2257" y="301"/>
                  <a:pt x="2257" y="301"/>
                  <a:pt x="2257" y="301"/>
                </a:cubicBezTo>
                <a:cubicBezTo>
                  <a:pt x="2256" y="302"/>
                  <a:pt x="2256" y="302"/>
                  <a:pt x="2256" y="302"/>
                </a:cubicBezTo>
                <a:cubicBezTo>
                  <a:pt x="2256" y="303"/>
                  <a:pt x="2256" y="303"/>
                  <a:pt x="2256" y="303"/>
                </a:cubicBezTo>
                <a:cubicBezTo>
                  <a:pt x="2255" y="303"/>
                  <a:pt x="2255" y="303"/>
                  <a:pt x="2255" y="303"/>
                </a:cubicBezTo>
                <a:cubicBezTo>
                  <a:pt x="2254" y="305"/>
                  <a:pt x="2254" y="305"/>
                  <a:pt x="2254" y="305"/>
                </a:cubicBezTo>
                <a:cubicBezTo>
                  <a:pt x="2254" y="306"/>
                  <a:pt x="2254" y="306"/>
                  <a:pt x="2254" y="306"/>
                </a:cubicBezTo>
                <a:cubicBezTo>
                  <a:pt x="2256" y="305"/>
                  <a:pt x="2256" y="305"/>
                  <a:pt x="2256" y="305"/>
                </a:cubicBezTo>
                <a:cubicBezTo>
                  <a:pt x="2256" y="307"/>
                  <a:pt x="2256" y="307"/>
                  <a:pt x="2256" y="307"/>
                </a:cubicBezTo>
                <a:cubicBezTo>
                  <a:pt x="2255" y="308"/>
                  <a:pt x="2255" y="308"/>
                  <a:pt x="2255" y="308"/>
                </a:cubicBezTo>
                <a:cubicBezTo>
                  <a:pt x="2255" y="310"/>
                  <a:pt x="2255" y="310"/>
                  <a:pt x="2255" y="310"/>
                </a:cubicBezTo>
                <a:cubicBezTo>
                  <a:pt x="2255" y="311"/>
                  <a:pt x="2255" y="311"/>
                  <a:pt x="2255" y="311"/>
                </a:cubicBezTo>
                <a:cubicBezTo>
                  <a:pt x="2255" y="315"/>
                  <a:pt x="2255" y="315"/>
                  <a:pt x="2255" y="315"/>
                </a:cubicBezTo>
                <a:cubicBezTo>
                  <a:pt x="2256" y="316"/>
                  <a:pt x="2256" y="316"/>
                  <a:pt x="2256" y="316"/>
                </a:cubicBezTo>
                <a:cubicBezTo>
                  <a:pt x="2256" y="317"/>
                  <a:pt x="2256" y="317"/>
                  <a:pt x="2256" y="317"/>
                </a:cubicBezTo>
                <a:cubicBezTo>
                  <a:pt x="2259" y="322"/>
                  <a:pt x="2259" y="322"/>
                  <a:pt x="2259" y="322"/>
                </a:cubicBezTo>
                <a:cubicBezTo>
                  <a:pt x="2260" y="322"/>
                  <a:pt x="2260" y="322"/>
                  <a:pt x="2260" y="322"/>
                </a:cubicBezTo>
                <a:cubicBezTo>
                  <a:pt x="2262" y="325"/>
                  <a:pt x="2262" y="325"/>
                  <a:pt x="2262" y="325"/>
                </a:cubicBezTo>
                <a:cubicBezTo>
                  <a:pt x="2264" y="326"/>
                  <a:pt x="2264" y="326"/>
                  <a:pt x="2264" y="326"/>
                </a:cubicBezTo>
                <a:cubicBezTo>
                  <a:pt x="2263" y="327"/>
                  <a:pt x="2263" y="327"/>
                  <a:pt x="2263" y="327"/>
                </a:cubicBezTo>
                <a:cubicBezTo>
                  <a:pt x="2263" y="328"/>
                  <a:pt x="2263" y="328"/>
                  <a:pt x="2263" y="328"/>
                </a:cubicBezTo>
                <a:cubicBezTo>
                  <a:pt x="2259" y="330"/>
                  <a:pt x="2259" y="330"/>
                  <a:pt x="2259" y="330"/>
                </a:cubicBezTo>
                <a:cubicBezTo>
                  <a:pt x="2259" y="329"/>
                  <a:pt x="2259" y="329"/>
                  <a:pt x="2259" y="329"/>
                </a:cubicBezTo>
                <a:cubicBezTo>
                  <a:pt x="2257" y="330"/>
                  <a:pt x="2257" y="330"/>
                  <a:pt x="2257" y="330"/>
                </a:cubicBezTo>
                <a:cubicBezTo>
                  <a:pt x="2256" y="330"/>
                  <a:pt x="2256" y="330"/>
                  <a:pt x="2256" y="330"/>
                </a:cubicBezTo>
                <a:cubicBezTo>
                  <a:pt x="2257" y="331"/>
                  <a:pt x="2257" y="331"/>
                  <a:pt x="2257" y="331"/>
                </a:cubicBezTo>
                <a:cubicBezTo>
                  <a:pt x="2255" y="333"/>
                  <a:pt x="2255" y="333"/>
                  <a:pt x="2255" y="333"/>
                </a:cubicBezTo>
                <a:cubicBezTo>
                  <a:pt x="2255" y="335"/>
                  <a:pt x="2255" y="335"/>
                  <a:pt x="2255" y="335"/>
                </a:cubicBezTo>
                <a:cubicBezTo>
                  <a:pt x="2254" y="335"/>
                  <a:pt x="2254" y="335"/>
                  <a:pt x="2254" y="335"/>
                </a:cubicBezTo>
                <a:cubicBezTo>
                  <a:pt x="2255" y="337"/>
                  <a:pt x="2255" y="337"/>
                  <a:pt x="2255" y="337"/>
                </a:cubicBezTo>
                <a:cubicBezTo>
                  <a:pt x="2255" y="340"/>
                  <a:pt x="2255" y="340"/>
                  <a:pt x="2255" y="340"/>
                </a:cubicBezTo>
                <a:cubicBezTo>
                  <a:pt x="2256" y="343"/>
                  <a:pt x="2256" y="343"/>
                  <a:pt x="2256" y="343"/>
                </a:cubicBezTo>
                <a:cubicBezTo>
                  <a:pt x="2258" y="344"/>
                  <a:pt x="2258" y="344"/>
                  <a:pt x="2258" y="344"/>
                </a:cubicBezTo>
                <a:cubicBezTo>
                  <a:pt x="2258" y="346"/>
                  <a:pt x="2258" y="346"/>
                  <a:pt x="2258" y="346"/>
                </a:cubicBezTo>
                <a:cubicBezTo>
                  <a:pt x="2259" y="347"/>
                  <a:pt x="2259" y="347"/>
                  <a:pt x="2259" y="347"/>
                </a:cubicBezTo>
                <a:cubicBezTo>
                  <a:pt x="2260" y="348"/>
                  <a:pt x="2260" y="348"/>
                  <a:pt x="2260" y="348"/>
                </a:cubicBezTo>
                <a:cubicBezTo>
                  <a:pt x="2259" y="348"/>
                  <a:pt x="2259" y="348"/>
                  <a:pt x="2259" y="348"/>
                </a:cubicBezTo>
                <a:cubicBezTo>
                  <a:pt x="2258" y="347"/>
                  <a:pt x="2258" y="347"/>
                  <a:pt x="2258" y="347"/>
                </a:cubicBezTo>
                <a:cubicBezTo>
                  <a:pt x="2257" y="348"/>
                  <a:pt x="2257" y="348"/>
                  <a:pt x="2257" y="348"/>
                </a:cubicBezTo>
                <a:cubicBezTo>
                  <a:pt x="2256" y="349"/>
                  <a:pt x="2256" y="349"/>
                  <a:pt x="2256" y="349"/>
                </a:cubicBezTo>
                <a:cubicBezTo>
                  <a:pt x="2255" y="349"/>
                  <a:pt x="2255" y="349"/>
                  <a:pt x="2255" y="349"/>
                </a:cubicBezTo>
                <a:cubicBezTo>
                  <a:pt x="2253" y="351"/>
                  <a:pt x="2253" y="351"/>
                  <a:pt x="2253" y="351"/>
                </a:cubicBezTo>
                <a:cubicBezTo>
                  <a:pt x="2252" y="350"/>
                  <a:pt x="2252" y="350"/>
                  <a:pt x="2252" y="350"/>
                </a:cubicBezTo>
                <a:cubicBezTo>
                  <a:pt x="2251" y="351"/>
                  <a:pt x="2251" y="351"/>
                  <a:pt x="2251" y="351"/>
                </a:cubicBezTo>
                <a:cubicBezTo>
                  <a:pt x="2252" y="352"/>
                  <a:pt x="2252" y="352"/>
                  <a:pt x="2252" y="352"/>
                </a:cubicBezTo>
                <a:cubicBezTo>
                  <a:pt x="2254" y="352"/>
                  <a:pt x="2254" y="352"/>
                  <a:pt x="2254" y="352"/>
                </a:cubicBezTo>
                <a:cubicBezTo>
                  <a:pt x="2253" y="353"/>
                  <a:pt x="2253" y="353"/>
                  <a:pt x="2253" y="353"/>
                </a:cubicBezTo>
                <a:cubicBezTo>
                  <a:pt x="2253" y="354"/>
                  <a:pt x="2253" y="354"/>
                  <a:pt x="2253" y="354"/>
                </a:cubicBezTo>
                <a:cubicBezTo>
                  <a:pt x="2254" y="355"/>
                  <a:pt x="2254" y="355"/>
                  <a:pt x="2254" y="355"/>
                </a:cubicBezTo>
                <a:cubicBezTo>
                  <a:pt x="2254" y="356"/>
                  <a:pt x="2254" y="356"/>
                  <a:pt x="2254" y="356"/>
                </a:cubicBezTo>
                <a:cubicBezTo>
                  <a:pt x="2253" y="355"/>
                  <a:pt x="2253" y="355"/>
                  <a:pt x="2253" y="355"/>
                </a:cubicBezTo>
                <a:cubicBezTo>
                  <a:pt x="2254" y="357"/>
                  <a:pt x="2254" y="357"/>
                  <a:pt x="2254" y="357"/>
                </a:cubicBezTo>
                <a:cubicBezTo>
                  <a:pt x="2253" y="358"/>
                  <a:pt x="2253" y="358"/>
                  <a:pt x="2253" y="358"/>
                </a:cubicBezTo>
                <a:cubicBezTo>
                  <a:pt x="2254" y="358"/>
                  <a:pt x="2254" y="358"/>
                  <a:pt x="2254" y="358"/>
                </a:cubicBezTo>
                <a:cubicBezTo>
                  <a:pt x="2255" y="358"/>
                  <a:pt x="2255" y="358"/>
                  <a:pt x="2255" y="358"/>
                </a:cubicBezTo>
                <a:cubicBezTo>
                  <a:pt x="2256" y="359"/>
                  <a:pt x="2256" y="359"/>
                  <a:pt x="2256" y="359"/>
                </a:cubicBezTo>
                <a:cubicBezTo>
                  <a:pt x="2255" y="360"/>
                  <a:pt x="2255" y="360"/>
                  <a:pt x="2255" y="360"/>
                </a:cubicBezTo>
                <a:cubicBezTo>
                  <a:pt x="2255" y="362"/>
                  <a:pt x="2255" y="362"/>
                  <a:pt x="2255" y="362"/>
                </a:cubicBezTo>
                <a:cubicBezTo>
                  <a:pt x="2256" y="363"/>
                  <a:pt x="2256" y="363"/>
                  <a:pt x="2256" y="363"/>
                </a:cubicBezTo>
                <a:cubicBezTo>
                  <a:pt x="2255" y="366"/>
                  <a:pt x="2255" y="366"/>
                  <a:pt x="2255" y="366"/>
                </a:cubicBezTo>
                <a:cubicBezTo>
                  <a:pt x="2255" y="367"/>
                  <a:pt x="2255" y="367"/>
                  <a:pt x="2255" y="367"/>
                </a:cubicBezTo>
                <a:cubicBezTo>
                  <a:pt x="2255" y="368"/>
                  <a:pt x="2255" y="368"/>
                  <a:pt x="2255" y="368"/>
                </a:cubicBezTo>
                <a:cubicBezTo>
                  <a:pt x="2253" y="370"/>
                  <a:pt x="2253" y="370"/>
                  <a:pt x="2253" y="370"/>
                </a:cubicBezTo>
                <a:cubicBezTo>
                  <a:pt x="2253" y="371"/>
                  <a:pt x="2253" y="371"/>
                  <a:pt x="2253" y="371"/>
                </a:cubicBezTo>
                <a:cubicBezTo>
                  <a:pt x="2252" y="374"/>
                  <a:pt x="2252" y="374"/>
                  <a:pt x="2252" y="374"/>
                </a:cubicBezTo>
                <a:cubicBezTo>
                  <a:pt x="2251" y="377"/>
                  <a:pt x="2251" y="377"/>
                  <a:pt x="2251" y="377"/>
                </a:cubicBezTo>
                <a:cubicBezTo>
                  <a:pt x="2251" y="376"/>
                  <a:pt x="2251" y="376"/>
                  <a:pt x="2251" y="376"/>
                </a:cubicBezTo>
                <a:cubicBezTo>
                  <a:pt x="2250" y="375"/>
                  <a:pt x="2250" y="375"/>
                  <a:pt x="2250" y="375"/>
                </a:cubicBezTo>
                <a:cubicBezTo>
                  <a:pt x="2251" y="373"/>
                  <a:pt x="2251" y="373"/>
                  <a:pt x="2251" y="373"/>
                </a:cubicBezTo>
                <a:cubicBezTo>
                  <a:pt x="2250" y="373"/>
                  <a:pt x="2250" y="373"/>
                  <a:pt x="2250" y="373"/>
                </a:cubicBezTo>
                <a:cubicBezTo>
                  <a:pt x="2248" y="372"/>
                  <a:pt x="2248" y="372"/>
                  <a:pt x="2248" y="372"/>
                </a:cubicBezTo>
                <a:cubicBezTo>
                  <a:pt x="2246" y="370"/>
                  <a:pt x="2246" y="370"/>
                  <a:pt x="2246" y="370"/>
                </a:cubicBezTo>
                <a:cubicBezTo>
                  <a:pt x="2246" y="368"/>
                  <a:pt x="2246" y="368"/>
                  <a:pt x="2246" y="368"/>
                </a:cubicBezTo>
                <a:cubicBezTo>
                  <a:pt x="2244" y="363"/>
                  <a:pt x="2244" y="363"/>
                  <a:pt x="2244" y="363"/>
                </a:cubicBezTo>
                <a:cubicBezTo>
                  <a:pt x="2242" y="360"/>
                  <a:pt x="2242" y="360"/>
                  <a:pt x="2242" y="360"/>
                </a:cubicBezTo>
                <a:cubicBezTo>
                  <a:pt x="2243" y="360"/>
                  <a:pt x="2243" y="360"/>
                  <a:pt x="2243" y="360"/>
                </a:cubicBezTo>
                <a:cubicBezTo>
                  <a:pt x="2244" y="360"/>
                  <a:pt x="2244" y="360"/>
                  <a:pt x="2244" y="360"/>
                </a:cubicBezTo>
                <a:cubicBezTo>
                  <a:pt x="2244" y="359"/>
                  <a:pt x="2244" y="359"/>
                  <a:pt x="2244" y="359"/>
                </a:cubicBezTo>
                <a:cubicBezTo>
                  <a:pt x="2243" y="359"/>
                  <a:pt x="2243" y="359"/>
                  <a:pt x="2243" y="359"/>
                </a:cubicBezTo>
                <a:cubicBezTo>
                  <a:pt x="2242" y="359"/>
                  <a:pt x="2242" y="359"/>
                  <a:pt x="2242" y="359"/>
                </a:cubicBezTo>
                <a:cubicBezTo>
                  <a:pt x="2240" y="358"/>
                  <a:pt x="2240" y="358"/>
                  <a:pt x="2240" y="358"/>
                </a:cubicBezTo>
                <a:cubicBezTo>
                  <a:pt x="2235" y="349"/>
                  <a:pt x="2235" y="349"/>
                  <a:pt x="2235" y="349"/>
                </a:cubicBezTo>
                <a:cubicBezTo>
                  <a:pt x="2230" y="344"/>
                  <a:pt x="2230" y="344"/>
                  <a:pt x="2230" y="344"/>
                </a:cubicBezTo>
                <a:cubicBezTo>
                  <a:pt x="2230" y="342"/>
                  <a:pt x="2230" y="342"/>
                  <a:pt x="2230" y="342"/>
                </a:cubicBezTo>
                <a:cubicBezTo>
                  <a:pt x="2229" y="340"/>
                  <a:pt x="2229" y="340"/>
                  <a:pt x="2229" y="340"/>
                </a:cubicBezTo>
                <a:cubicBezTo>
                  <a:pt x="2225" y="335"/>
                  <a:pt x="2225" y="335"/>
                  <a:pt x="2225" y="335"/>
                </a:cubicBezTo>
                <a:cubicBezTo>
                  <a:pt x="2222" y="328"/>
                  <a:pt x="2222" y="328"/>
                  <a:pt x="2222" y="328"/>
                </a:cubicBezTo>
                <a:cubicBezTo>
                  <a:pt x="2219" y="322"/>
                  <a:pt x="2219" y="322"/>
                  <a:pt x="2219" y="322"/>
                </a:cubicBezTo>
                <a:cubicBezTo>
                  <a:pt x="2219" y="320"/>
                  <a:pt x="2219" y="320"/>
                  <a:pt x="2219" y="320"/>
                </a:cubicBezTo>
                <a:cubicBezTo>
                  <a:pt x="2217" y="317"/>
                  <a:pt x="2217" y="317"/>
                  <a:pt x="2217" y="317"/>
                </a:cubicBezTo>
                <a:cubicBezTo>
                  <a:pt x="2217" y="313"/>
                  <a:pt x="2217" y="313"/>
                  <a:pt x="2217" y="313"/>
                </a:cubicBezTo>
                <a:cubicBezTo>
                  <a:pt x="2216" y="310"/>
                  <a:pt x="2216" y="310"/>
                  <a:pt x="2216" y="310"/>
                </a:cubicBezTo>
                <a:cubicBezTo>
                  <a:pt x="2216" y="308"/>
                  <a:pt x="2216" y="308"/>
                  <a:pt x="2216" y="308"/>
                </a:cubicBezTo>
                <a:cubicBezTo>
                  <a:pt x="2217" y="306"/>
                  <a:pt x="2217" y="306"/>
                  <a:pt x="2217" y="306"/>
                </a:cubicBezTo>
                <a:cubicBezTo>
                  <a:pt x="2218" y="304"/>
                  <a:pt x="2218" y="304"/>
                  <a:pt x="2218" y="304"/>
                </a:cubicBezTo>
                <a:cubicBezTo>
                  <a:pt x="2219" y="304"/>
                  <a:pt x="2219" y="304"/>
                  <a:pt x="2219" y="304"/>
                </a:cubicBezTo>
                <a:cubicBezTo>
                  <a:pt x="2218" y="303"/>
                  <a:pt x="2218" y="303"/>
                  <a:pt x="2218" y="303"/>
                </a:cubicBezTo>
                <a:cubicBezTo>
                  <a:pt x="2219" y="302"/>
                  <a:pt x="2219" y="302"/>
                  <a:pt x="2219" y="302"/>
                </a:cubicBezTo>
                <a:cubicBezTo>
                  <a:pt x="2219" y="299"/>
                  <a:pt x="2219" y="299"/>
                  <a:pt x="2219" y="299"/>
                </a:cubicBezTo>
                <a:cubicBezTo>
                  <a:pt x="2216" y="296"/>
                  <a:pt x="2216" y="296"/>
                  <a:pt x="2216" y="296"/>
                </a:cubicBezTo>
                <a:cubicBezTo>
                  <a:pt x="2215" y="296"/>
                  <a:pt x="2215" y="296"/>
                  <a:pt x="2215" y="296"/>
                </a:cubicBezTo>
                <a:cubicBezTo>
                  <a:pt x="2215" y="295"/>
                  <a:pt x="2215" y="295"/>
                  <a:pt x="2215" y="295"/>
                </a:cubicBezTo>
                <a:cubicBezTo>
                  <a:pt x="2216" y="294"/>
                  <a:pt x="2216" y="294"/>
                  <a:pt x="2216" y="294"/>
                </a:cubicBezTo>
                <a:cubicBezTo>
                  <a:pt x="2218" y="295"/>
                  <a:pt x="2218" y="295"/>
                  <a:pt x="2218" y="295"/>
                </a:cubicBezTo>
                <a:cubicBezTo>
                  <a:pt x="2220" y="293"/>
                  <a:pt x="2220" y="293"/>
                  <a:pt x="2220" y="293"/>
                </a:cubicBezTo>
                <a:cubicBezTo>
                  <a:pt x="2219" y="292"/>
                  <a:pt x="2219" y="292"/>
                  <a:pt x="2219" y="292"/>
                </a:cubicBezTo>
                <a:cubicBezTo>
                  <a:pt x="2219" y="290"/>
                  <a:pt x="2219" y="290"/>
                  <a:pt x="2219" y="290"/>
                </a:cubicBezTo>
                <a:cubicBezTo>
                  <a:pt x="2221" y="290"/>
                  <a:pt x="2221" y="290"/>
                  <a:pt x="2221" y="290"/>
                </a:cubicBezTo>
                <a:cubicBezTo>
                  <a:pt x="2223" y="290"/>
                  <a:pt x="2223" y="290"/>
                  <a:pt x="2223" y="290"/>
                </a:cubicBezTo>
                <a:cubicBezTo>
                  <a:pt x="2222" y="288"/>
                  <a:pt x="2222" y="288"/>
                  <a:pt x="2222" y="288"/>
                </a:cubicBezTo>
                <a:cubicBezTo>
                  <a:pt x="2224" y="285"/>
                  <a:pt x="2224" y="285"/>
                  <a:pt x="2224" y="285"/>
                </a:cubicBezTo>
                <a:cubicBezTo>
                  <a:pt x="2223" y="282"/>
                  <a:pt x="2223" y="282"/>
                  <a:pt x="2223" y="282"/>
                </a:cubicBezTo>
                <a:cubicBezTo>
                  <a:pt x="2223" y="280"/>
                  <a:pt x="2223" y="280"/>
                  <a:pt x="2223" y="280"/>
                </a:cubicBezTo>
                <a:cubicBezTo>
                  <a:pt x="2222" y="278"/>
                  <a:pt x="2222" y="278"/>
                  <a:pt x="2222" y="278"/>
                </a:cubicBezTo>
                <a:cubicBezTo>
                  <a:pt x="2223" y="277"/>
                  <a:pt x="2223" y="277"/>
                  <a:pt x="2223" y="277"/>
                </a:cubicBezTo>
                <a:cubicBezTo>
                  <a:pt x="2223" y="276"/>
                  <a:pt x="2223" y="276"/>
                  <a:pt x="2223" y="276"/>
                </a:cubicBezTo>
                <a:cubicBezTo>
                  <a:pt x="2223" y="275"/>
                  <a:pt x="2223" y="275"/>
                  <a:pt x="2223" y="275"/>
                </a:cubicBezTo>
                <a:cubicBezTo>
                  <a:pt x="2223" y="273"/>
                  <a:pt x="2223" y="273"/>
                  <a:pt x="2223" y="273"/>
                </a:cubicBezTo>
                <a:cubicBezTo>
                  <a:pt x="2224" y="273"/>
                  <a:pt x="2224" y="273"/>
                  <a:pt x="2224" y="273"/>
                </a:cubicBezTo>
                <a:cubicBezTo>
                  <a:pt x="2223" y="272"/>
                  <a:pt x="2223" y="272"/>
                  <a:pt x="2223" y="272"/>
                </a:cubicBezTo>
                <a:cubicBezTo>
                  <a:pt x="2223" y="271"/>
                  <a:pt x="2223" y="271"/>
                  <a:pt x="2223" y="271"/>
                </a:cubicBezTo>
                <a:cubicBezTo>
                  <a:pt x="2223" y="270"/>
                  <a:pt x="2223" y="270"/>
                  <a:pt x="2223" y="270"/>
                </a:cubicBezTo>
                <a:cubicBezTo>
                  <a:pt x="2223" y="268"/>
                  <a:pt x="2223" y="268"/>
                  <a:pt x="2223" y="268"/>
                </a:cubicBezTo>
                <a:cubicBezTo>
                  <a:pt x="2223" y="267"/>
                  <a:pt x="2223" y="267"/>
                  <a:pt x="2223" y="267"/>
                </a:cubicBezTo>
                <a:cubicBezTo>
                  <a:pt x="2223" y="266"/>
                  <a:pt x="2223" y="266"/>
                  <a:pt x="2223" y="266"/>
                </a:cubicBezTo>
                <a:cubicBezTo>
                  <a:pt x="2224" y="266"/>
                  <a:pt x="2224" y="266"/>
                  <a:pt x="2224" y="266"/>
                </a:cubicBezTo>
                <a:cubicBezTo>
                  <a:pt x="2225" y="265"/>
                  <a:pt x="2225" y="265"/>
                  <a:pt x="2225" y="265"/>
                </a:cubicBezTo>
                <a:cubicBezTo>
                  <a:pt x="2225" y="263"/>
                  <a:pt x="2225" y="263"/>
                  <a:pt x="2225" y="263"/>
                </a:cubicBezTo>
                <a:cubicBezTo>
                  <a:pt x="2225" y="260"/>
                  <a:pt x="2225" y="260"/>
                  <a:pt x="2225" y="260"/>
                </a:cubicBezTo>
                <a:cubicBezTo>
                  <a:pt x="2224" y="260"/>
                  <a:pt x="2224" y="260"/>
                  <a:pt x="2224" y="260"/>
                </a:cubicBezTo>
                <a:cubicBezTo>
                  <a:pt x="2224" y="259"/>
                  <a:pt x="2224" y="259"/>
                  <a:pt x="2224" y="259"/>
                </a:cubicBezTo>
                <a:cubicBezTo>
                  <a:pt x="2225" y="257"/>
                  <a:pt x="2225" y="257"/>
                  <a:pt x="2225" y="257"/>
                </a:cubicBezTo>
                <a:cubicBezTo>
                  <a:pt x="2225" y="255"/>
                  <a:pt x="2225" y="255"/>
                  <a:pt x="2225" y="255"/>
                </a:cubicBezTo>
                <a:cubicBezTo>
                  <a:pt x="2224" y="255"/>
                  <a:pt x="2224" y="255"/>
                  <a:pt x="2224" y="255"/>
                </a:cubicBezTo>
                <a:cubicBezTo>
                  <a:pt x="2224" y="254"/>
                  <a:pt x="2224" y="254"/>
                  <a:pt x="2224" y="254"/>
                </a:cubicBezTo>
                <a:cubicBezTo>
                  <a:pt x="2225" y="253"/>
                  <a:pt x="2225" y="253"/>
                  <a:pt x="2225" y="253"/>
                </a:cubicBezTo>
                <a:cubicBezTo>
                  <a:pt x="2225" y="252"/>
                  <a:pt x="2225" y="252"/>
                  <a:pt x="2225" y="252"/>
                </a:cubicBezTo>
                <a:cubicBezTo>
                  <a:pt x="2226" y="251"/>
                  <a:pt x="2226" y="251"/>
                  <a:pt x="2226" y="251"/>
                </a:cubicBezTo>
                <a:cubicBezTo>
                  <a:pt x="2227" y="250"/>
                  <a:pt x="2227" y="250"/>
                  <a:pt x="2227" y="250"/>
                </a:cubicBezTo>
                <a:cubicBezTo>
                  <a:pt x="2228" y="249"/>
                  <a:pt x="2228" y="249"/>
                  <a:pt x="2228" y="249"/>
                </a:cubicBezTo>
                <a:cubicBezTo>
                  <a:pt x="2229" y="247"/>
                  <a:pt x="2229" y="247"/>
                  <a:pt x="2229" y="247"/>
                </a:cubicBezTo>
                <a:cubicBezTo>
                  <a:pt x="2231" y="246"/>
                  <a:pt x="2231" y="246"/>
                  <a:pt x="2231" y="246"/>
                </a:cubicBezTo>
                <a:cubicBezTo>
                  <a:pt x="2232" y="245"/>
                  <a:pt x="2232" y="245"/>
                  <a:pt x="2232" y="245"/>
                </a:cubicBezTo>
                <a:cubicBezTo>
                  <a:pt x="2231" y="245"/>
                  <a:pt x="2231" y="245"/>
                  <a:pt x="2231" y="245"/>
                </a:cubicBezTo>
                <a:cubicBezTo>
                  <a:pt x="2230" y="245"/>
                  <a:pt x="2230" y="245"/>
                  <a:pt x="2230" y="245"/>
                </a:cubicBezTo>
                <a:cubicBezTo>
                  <a:pt x="2229" y="245"/>
                  <a:pt x="2229" y="245"/>
                  <a:pt x="2229" y="245"/>
                </a:cubicBezTo>
                <a:cubicBezTo>
                  <a:pt x="2228" y="245"/>
                  <a:pt x="2228" y="245"/>
                  <a:pt x="2228" y="245"/>
                </a:cubicBezTo>
                <a:cubicBezTo>
                  <a:pt x="2228" y="242"/>
                  <a:pt x="2228" y="242"/>
                  <a:pt x="2228" y="242"/>
                </a:cubicBezTo>
                <a:cubicBezTo>
                  <a:pt x="2229" y="240"/>
                  <a:pt x="2229" y="240"/>
                  <a:pt x="2229" y="240"/>
                </a:cubicBezTo>
                <a:cubicBezTo>
                  <a:pt x="2229" y="239"/>
                  <a:pt x="2229" y="239"/>
                  <a:pt x="2229" y="239"/>
                </a:cubicBezTo>
                <a:cubicBezTo>
                  <a:pt x="2228" y="238"/>
                  <a:pt x="2228" y="238"/>
                  <a:pt x="2228" y="238"/>
                </a:cubicBezTo>
                <a:cubicBezTo>
                  <a:pt x="2227" y="239"/>
                  <a:pt x="2227" y="239"/>
                  <a:pt x="2227" y="239"/>
                </a:cubicBezTo>
                <a:cubicBezTo>
                  <a:pt x="2226" y="236"/>
                  <a:pt x="2226" y="236"/>
                  <a:pt x="2226" y="236"/>
                </a:cubicBezTo>
                <a:cubicBezTo>
                  <a:pt x="2227" y="235"/>
                  <a:pt x="2227" y="235"/>
                  <a:pt x="2227" y="235"/>
                </a:cubicBezTo>
                <a:cubicBezTo>
                  <a:pt x="2227" y="234"/>
                  <a:pt x="2227" y="234"/>
                  <a:pt x="2227" y="234"/>
                </a:cubicBezTo>
                <a:cubicBezTo>
                  <a:pt x="2227" y="233"/>
                  <a:pt x="2227" y="233"/>
                  <a:pt x="2227" y="233"/>
                </a:cubicBezTo>
                <a:cubicBezTo>
                  <a:pt x="2225" y="232"/>
                  <a:pt x="2225" y="232"/>
                  <a:pt x="2225" y="232"/>
                </a:cubicBezTo>
                <a:cubicBezTo>
                  <a:pt x="2225" y="231"/>
                  <a:pt x="2225" y="231"/>
                  <a:pt x="2225" y="231"/>
                </a:cubicBezTo>
                <a:cubicBezTo>
                  <a:pt x="2224" y="229"/>
                  <a:pt x="2224" y="229"/>
                  <a:pt x="2224" y="229"/>
                </a:cubicBezTo>
                <a:cubicBezTo>
                  <a:pt x="2223" y="228"/>
                  <a:pt x="2223" y="228"/>
                  <a:pt x="2223" y="228"/>
                </a:cubicBezTo>
                <a:cubicBezTo>
                  <a:pt x="2223" y="227"/>
                  <a:pt x="2223" y="227"/>
                  <a:pt x="2223" y="227"/>
                </a:cubicBezTo>
                <a:cubicBezTo>
                  <a:pt x="2222" y="225"/>
                  <a:pt x="2222" y="225"/>
                  <a:pt x="2222" y="225"/>
                </a:cubicBezTo>
                <a:cubicBezTo>
                  <a:pt x="2222" y="224"/>
                  <a:pt x="2222" y="224"/>
                  <a:pt x="2222" y="224"/>
                </a:cubicBezTo>
                <a:cubicBezTo>
                  <a:pt x="2224" y="222"/>
                  <a:pt x="2224" y="222"/>
                  <a:pt x="2224" y="222"/>
                </a:cubicBezTo>
                <a:cubicBezTo>
                  <a:pt x="2225" y="223"/>
                  <a:pt x="2225" y="223"/>
                  <a:pt x="2225" y="223"/>
                </a:cubicBezTo>
                <a:cubicBezTo>
                  <a:pt x="2227" y="222"/>
                  <a:pt x="2227" y="222"/>
                  <a:pt x="2227" y="222"/>
                </a:cubicBezTo>
                <a:cubicBezTo>
                  <a:pt x="2226" y="222"/>
                  <a:pt x="2226" y="222"/>
                  <a:pt x="2226" y="222"/>
                </a:cubicBezTo>
                <a:cubicBezTo>
                  <a:pt x="2228" y="221"/>
                  <a:pt x="2228" y="221"/>
                  <a:pt x="2228" y="221"/>
                </a:cubicBezTo>
                <a:cubicBezTo>
                  <a:pt x="2227" y="221"/>
                  <a:pt x="2227" y="221"/>
                  <a:pt x="2227" y="221"/>
                </a:cubicBezTo>
                <a:cubicBezTo>
                  <a:pt x="2226" y="221"/>
                  <a:pt x="2226" y="221"/>
                  <a:pt x="2226" y="221"/>
                </a:cubicBezTo>
                <a:cubicBezTo>
                  <a:pt x="2225" y="220"/>
                  <a:pt x="2225" y="220"/>
                  <a:pt x="2225" y="220"/>
                </a:cubicBezTo>
                <a:cubicBezTo>
                  <a:pt x="2223" y="220"/>
                  <a:pt x="2223" y="220"/>
                  <a:pt x="2223" y="220"/>
                </a:cubicBezTo>
                <a:cubicBezTo>
                  <a:pt x="2221" y="219"/>
                  <a:pt x="2221" y="219"/>
                  <a:pt x="2221" y="219"/>
                </a:cubicBezTo>
                <a:cubicBezTo>
                  <a:pt x="2219" y="219"/>
                  <a:pt x="2219" y="219"/>
                  <a:pt x="2219" y="219"/>
                </a:cubicBezTo>
                <a:cubicBezTo>
                  <a:pt x="2218" y="221"/>
                  <a:pt x="2218" y="221"/>
                  <a:pt x="2218" y="221"/>
                </a:cubicBezTo>
                <a:cubicBezTo>
                  <a:pt x="2217" y="221"/>
                  <a:pt x="2217" y="221"/>
                  <a:pt x="2217" y="221"/>
                </a:cubicBezTo>
                <a:cubicBezTo>
                  <a:pt x="2215" y="222"/>
                  <a:pt x="2215" y="222"/>
                  <a:pt x="2215" y="222"/>
                </a:cubicBezTo>
                <a:cubicBezTo>
                  <a:pt x="2216" y="223"/>
                  <a:pt x="2216" y="223"/>
                  <a:pt x="2216" y="223"/>
                </a:cubicBezTo>
                <a:cubicBezTo>
                  <a:pt x="2215" y="224"/>
                  <a:pt x="2215" y="224"/>
                  <a:pt x="2215" y="224"/>
                </a:cubicBezTo>
                <a:cubicBezTo>
                  <a:pt x="2217" y="225"/>
                  <a:pt x="2217" y="225"/>
                  <a:pt x="2217" y="225"/>
                </a:cubicBezTo>
                <a:cubicBezTo>
                  <a:pt x="2217" y="226"/>
                  <a:pt x="2217" y="226"/>
                  <a:pt x="2217" y="226"/>
                </a:cubicBezTo>
                <a:cubicBezTo>
                  <a:pt x="2217" y="227"/>
                  <a:pt x="2217" y="227"/>
                  <a:pt x="2217" y="227"/>
                </a:cubicBezTo>
                <a:cubicBezTo>
                  <a:pt x="2217" y="229"/>
                  <a:pt x="2217" y="229"/>
                  <a:pt x="2217" y="229"/>
                </a:cubicBezTo>
                <a:cubicBezTo>
                  <a:pt x="2218" y="230"/>
                  <a:pt x="2218" y="230"/>
                  <a:pt x="2218" y="230"/>
                </a:cubicBezTo>
                <a:cubicBezTo>
                  <a:pt x="2219" y="231"/>
                  <a:pt x="2219" y="231"/>
                  <a:pt x="2219" y="231"/>
                </a:cubicBezTo>
                <a:cubicBezTo>
                  <a:pt x="2220" y="233"/>
                  <a:pt x="2220" y="233"/>
                  <a:pt x="2220" y="233"/>
                </a:cubicBezTo>
                <a:cubicBezTo>
                  <a:pt x="2222" y="234"/>
                  <a:pt x="2222" y="234"/>
                  <a:pt x="2222" y="234"/>
                </a:cubicBezTo>
                <a:cubicBezTo>
                  <a:pt x="2221" y="236"/>
                  <a:pt x="2221" y="236"/>
                  <a:pt x="2221" y="236"/>
                </a:cubicBezTo>
                <a:cubicBezTo>
                  <a:pt x="2220" y="235"/>
                  <a:pt x="2220" y="235"/>
                  <a:pt x="2220" y="235"/>
                </a:cubicBezTo>
                <a:cubicBezTo>
                  <a:pt x="2219" y="236"/>
                  <a:pt x="2219" y="236"/>
                  <a:pt x="2219" y="236"/>
                </a:cubicBezTo>
                <a:cubicBezTo>
                  <a:pt x="2218" y="237"/>
                  <a:pt x="2218" y="237"/>
                  <a:pt x="2218" y="237"/>
                </a:cubicBezTo>
                <a:cubicBezTo>
                  <a:pt x="2217" y="238"/>
                  <a:pt x="2217" y="238"/>
                  <a:pt x="2217" y="238"/>
                </a:cubicBezTo>
                <a:cubicBezTo>
                  <a:pt x="2218" y="239"/>
                  <a:pt x="2218" y="239"/>
                  <a:pt x="2218" y="239"/>
                </a:cubicBezTo>
                <a:cubicBezTo>
                  <a:pt x="2217" y="241"/>
                  <a:pt x="2217" y="241"/>
                  <a:pt x="2217" y="241"/>
                </a:cubicBezTo>
                <a:cubicBezTo>
                  <a:pt x="2217" y="242"/>
                  <a:pt x="2217" y="242"/>
                  <a:pt x="2217" y="242"/>
                </a:cubicBezTo>
                <a:cubicBezTo>
                  <a:pt x="2217" y="243"/>
                  <a:pt x="2217" y="243"/>
                  <a:pt x="2217" y="243"/>
                </a:cubicBezTo>
                <a:cubicBezTo>
                  <a:pt x="2216" y="244"/>
                  <a:pt x="2216" y="244"/>
                  <a:pt x="2216" y="244"/>
                </a:cubicBezTo>
                <a:cubicBezTo>
                  <a:pt x="2217" y="245"/>
                  <a:pt x="2217" y="245"/>
                  <a:pt x="2217" y="245"/>
                </a:cubicBezTo>
                <a:cubicBezTo>
                  <a:pt x="2216" y="246"/>
                  <a:pt x="2216" y="246"/>
                  <a:pt x="2216" y="246"/>
                </a:cubicBezTo>
                <a:cubicBezTo>
                  <a:pt x="2216" y="249"/>
                  <a:pt x="2216" y="249"/>
                  <a:pt x="2216" y="249"/>
                </a:cubicBezTo>
                <a:cubicBezTo>
                  <a:pt x="2216" y="250"/>
                  <a:pt x="2216" y="250"/>
                  <a:pt x="2216" y="250"/>
                </a:cubicBezTo>
                <a:cubicBezTo>
                  <a:pt x="2216" y="251"/>
                  <a:pt x="2216" y="251"/>
                  <a:pt x="2216" y="251"/>
                </a:cubicBezTo>
                <a:cubicBezTo>
                  <a:pt x="2215" y="251"/>
                  <a:pt x="2215" y="251"/>
                  <a:pt x="2215" y="251"/>
                </a:cubicBezTo>
                <a:cubicBezTo>
                  <a:pt x="2214" y="253"/>
                  <a:pt x="2214" y="253"/>
                  <a:pt x="2214" y="253"/>
                </a:cubicBezTo>
                <a:cubicBezTo>
                  <a:pt x="2214" y="252"/>
                  <a:pt x="2214" y="252"/>
                  <a:pt x="2214" y="252"/>
                </a:cubicBezTo>
                <a:cubicBezTo>
                  <a:pt x="2213" y="251"/>
                  <a:pt x="2213" y="251"/>
                  <a:pt x="2213" y="251"/>
                </a:cubicBezTo>
                <a:cubicBezTo>
                  <a:pt x="2214" y="249"/>
                  <a:pt x="2214" y="249"/>
                  <a:pt x="2214" y="249"/>
                </a:cubicBezTo>
                <a:cubicBezTo>
                  <a:pt x="2213" y="248"/>
                  <a:pt x="2213" y="248"/>
                  <a:pt x="2213" y="248"/>
                </a:cubicBezTo>
                <a:cubicBezTo>
                  <a:pt x="2212" y="248"/>
                  <a:pt x="2212" y="248"/>
                  <a:pt x="2212" y="248"/>
                </a:cubicBezTo>
                <a:cubicBezTo>
                  <a:pt x="2211" y="249"/>
                  <a:pt x="2211" y="249"/>
                  <a:pt x="2211" y="249"/>
                </a:cubicBezTo>
                <a:cubicBezTo>
                  <a:pt x="2211" y="250"/>
                  <a:pt x="2211" y="250"/>
                  <a:pt x="2211" y="250"/>
                </a:cubicBezTo>
                <a:cubicBezTo>
                  <a:pt x="2210" y="250"/>
                  <a:pt x="2210" y="250"/>
                  <a:pt x="2210" y="250"/>
                </a:cubicBezTo>
                <a:cubicBezTo>
                  <a:pt x="2210" y="248"/>
                  <a:pt x="2210" y="248"/>
                  <a:pt x="2210" y="248"/>
                </a:cubicBezTo>
                <a:cubicBezTo>
                  <a:pt x="2209" y="248"/>
                  <a:pt x="2209" y="248"/>
                  <a:pt x="2209" y="248"/>
                </a:cubicBezTo>
                <a:cubicBezTo>
                  <a:pt x="2209" y="247"/>
                  <a:pt x="2209" y="247"/>
                  <a:pt x="2209" y="247"/>
                </a:cubicBezTo>
                <a:cubicBezTo>
                  <a:pt x="2207" y="248"/>
                  <a:pt x="2207" y="248"/>
                  <a:pt x="2207" y="248"/>
                </a:cubicBezTo>
                <a:cubicBezTo>
                  <a:pt x="2207" y="247"/>
                  <a:pt x="2207" y="247"/>
                  <a:pt x="2207" y="247"/>
                </a:cubicBezTo>
                <a:cubicBezTo>
                  <a:pt x="2208" y="246"/>
                  <a:pt x="2208" y="246"/>
                  <a:pt x="2208" y="246"/>
                </a:cubicBezTo>
                <a:cubicBezTo>
                  <a:pt x="2208" y="245"/>
                  <a:pt x="2208" y="245"/>
                  <a:pt x="2208" y="245"/>
                </a:cubicBezTo>
                <a:cubicBezTo>
                  <a:pt x="2208" y="243"/>
                  <a:pt x="2208" y="243"/>
                  <a:pt x="2208" y="243"/>
                </a:cubicBezTo>
                <a:cubicBezTo>
                  <a:pt x="2207" y="243"/>
                  <a:pt x="2207" y="243"/>
                  <a:pt x="2207" y="243"/>
                </a:cubicBezTo>
                <a:cubicBezTo>
                  <a:pt x="2208" y="242"/>
                  <a:pt x="2208" y="242"/>
                  <a:pt x="2208" y="242"/>
                </a:cubicBezTo>
                <a:cubicBezTo>
                  <a:pt x="2207" y="241"/>
                  <a:pt x="2207" y="241"/>
                  <a:pt x="2207" y="241"/>
                </a:cubicBezTo>
                <a:cubicBezTo>
                  <a:pt x="2207" y="240"/>
                  <a:pt x="2207" y="240"/>
                  <a:pt x="2207" y="240"/>
                </a:cubicBezTo>
                <a:cubicBezTo>
                  <a:pt x="2207" y="238"/>
                  <a:pt x="2207" y="238"/>
                  <a:pt x="2207" y="238"/>
                </a:cubicBezTo>
                <a:cubicBezTo>
                  <a:pt x="2206" y="237"/>
                  <a:pt x="2206" y="237"/>
                  <a:pt x="2206" y="237"/>
                </a:cubicBezTo>
                <a:cubicBezTo>
                  <a:pt x="2205" y="236"/>
                  <a:pt x="2205" y="236"/>
                  <a:pt x="2205" y="236"/>
                </a:cubicBezTo>
                <a:cubicBezTo>
                  <a:pt x="2205" y="238"/>
                  <a:pt x="2205" y="238"/>
                  <a:pt x="2205" y="238"/>
                </a:cubicBezTo>
                <a:cubicBezTo>
                  <a:pt x="2204" y="238"/>
                  <a:pt x="2204" y="238"/>
                  <a:pt x="2204" y="238"/>
                </a:cubicBezTo>
                <a:cubicBezTo>
                  <a:pt x="2204" y="240"/>
                  <a:pt x="2204" y="240"/>
                  <a:pt x="2204" y="240"/>
                </a:cubicBezTo>
                <a:cubicBezTo>
                  <a:pt x="2203" y="241"/>
                  <a:pt x="2203" y="241"/>
                  <a:pt x="2203" y="241"/>
                </a:cubicBezTo>
                <a:cubicBezTo>
                  <a:pt x="2202" y="241"/>
                  <a:pt x="2202" y="241"/>
                  <a:pt x="2202" y="241"/>
                </a:cubicBezTo>
                <a:cubicBezTo>
                  <a:pt x="2202" y="239"/>
                  <a:pt x="2202" y="239"/>
                  <a:pt x="2202" y="239"/>
                </a:cubicBezTo>
                <a:cubicBezTo>
                  <a:pt x="2201" y="239"/>
                  <a:pt x="2201" y="239"/>
                  <a:pt x="2201" y="239"/>
                </a:cubicBezTo>
                <a:cubicBezTo>
                  <a:pt x="2201" y="240"/>
                  <a:pt x="2201" y="240"/>
                  <a:pt x="2201" y="240"/>
                </a:cubicBezTo>
                <a:cubicBezTo>
                  <a:pt x="2200" y="238"/>
                  <a:pt x="2200" y="238"/>
                  <a:pt x="2200" y="238"/>
                </a:cubicBezTo>
                <a:cubicBezTo>
                  <a:pt x="2199" y="238"/>
                  <a:pt x="2199" y="238"/>
                  <a:pt x="2199" y="238"/>
                </a:cubicBezTo>
                <a:cubicBezTo>
                  <a:pt x="2199" y="239"/>
                  <a:pt x="2199" y="239"/>
                  <a:pt x="2199" y="239"/>
                </a:cubicBezTo>
                <a:cubicBezTo>
                  <a:pt x="2198" y="239"/>
                  <a:pt x="2198" y="239"/>
                  <a:pt x="2198" y="239"/>
                </a:cubicBezTo>
                <a:cubicBezTo>
                  <a:pt x="2198" y="240"/>
                  <a:pt x="2198" y="240"/>
                  <a:pt x="2198" y="240"/>
                </a:cubicBezTo>
                <a:cubicBezTo>
                  <a:pt x="2197" y="240"/>
                  <a:pt x="2197" y="240"/>
                  <a:pt x="2197" y="240"/>
                </a:cubicBezTo>
                <a:cubicBezTo>
                  <a:pt x="2197" y="241"/>
                  <a:pt x="2197" y="241"/>
                  <a:pt x="2197" y="241"/>
                </a:cubicBezTo>
                <a:cubicBezTo>
                  <a:pt x="2194" y="241"/>
                  <a:pt x="2194" y="241"/>
                  <a:pt x="2194" y="241"/>
                </a:cubicBezTo>
                <a:cubicBezTo>
                  <a:pt x="2194" y="242"/>
                  <a:pt x="2194" y="242"/>
                  <a:pt x="2194" y="242"/>
                </a:cubicBezTo>
                <a:cubicBezTo>
                  <a:pt x="2193" y="242"/>
                  <a:pt x="2193" y="242"/>
                  <a:pt x="2193" y="242"/>
                </a:cubicBezTo>
                <a:cubicBezTo>
                  <a:pt x="2192" y="242"/>
                  <a:pt x="2192" y="242"/>
                  <a:pt x="2192" y="242"/>
                </a:cubicBezTo>
                <a:cubicBezTo>
                  <a:pt x="2191" y="242"/>
                  <a:pt x="2191" y="242"/>
                  <a:pt x="2191" y="242"/>
                </a:cubicBezTo>
                <a:cubicBezTo>
                  <a:pt x="2189" y="244"/>
                  <a:pt x="2189" y="244"/>
                  <a:pt x="2189" y="244"/>
                </a:cubicBezTo>
                <a:cubicBezTo>
                  <a:pt x="2188" y="245"/>
                  <a:pt x="2188" y="245"/>
                  <a:pt x="2188" y="245"/>
                </a:cubicBezTo>
                <a:cubicBezTo>
                  <a:pt x="2189" y="246"/>
                  <a:pt x="2189" y="246"/>
                  <a:pt x="2189" y="246"/>
                </a:cubicBezTo>
                <a:cubicBezTo>
                  <a:pt x="2187" y="247"/>
                  <a:pt x="2187" y="247"/>
                  <a:pt x="2187" y="247"/>
                </a:cubicBezTo>
                <a:cubicBezTo>
                  <a:pt x="2187" y="248"/>
                  <a:pt x="2187" y="248"/>
                  <a:pt x="2187" y="248"/>
                </a:cubicBezTo>
                <a:cubicBezTo>
                  <a:pt x="2188" y="248"/>
                  <a:pt x="2188" y="248"/>
                  <a:pt x="2188" y="248"/>
                </a:cubicBezTo>
                <a:cubicBezTo>
                  <a:pt x="2188" y="250"/>
                  <a:pt x="2188" y="250"/>
                  <a:pt x="2188" y="250"/>
                </a:cubicBezTo>
                <a:cubicBezTo>
                  <a:pt x="2190" y="252"/>
                  <a:pt x="2190" y="252"/>
                  <a:pt x="2190" y="252"/>
                </a:cubicBezTo>
                <a:cubicBezTo>
                  <a:pt x="2189" y="253"/>
                  <a:pt x="2189" y="253"/>
                  <a:pt x="2189" y="253"/>
                </a:cubicBezTo>
                <a:cubicBezTo>
                  <a:pt x="2188" y="257"/>
                  <a:pt x="2188" y="257"/>
                  <a:pt x="2188" y="257"/>
                </a:cubicBezTo>
                <a:cubicBezTo>
                  <a:pt x="2190" y="259"/>
                  <a:pt x="2190" y="259"/>
                  <a:pt x="2190" y="259"/>
                </a:cubicBezTo>
                <a:cubicBezTo>
                  <a:pt x="2188" y="259"/>
                  <a:pt x="2188" y="259"/>
                  <a:pt x="2188" y="259"/>
                </a:cubicBezTo>
                <a:cubicBezTo>
                  <a:pt x="2189" y="260"/>
                  <a:pt x="2189" y="260"/>
                  <a:pt x="2189" y="260"/>
                </a:cubicBezTo>
                <a:cubicBezTo>
                  <a:pt x="2189" y="261"/>
                  <a:pt x="2189" y="261"/>
                  <a:pt x="2189" y="261"/>
                </a:cubicBezTo>
                <a:cubicBezTo>
                  <a:pt x="2188" y="262"/>
                  <a:pt x="2188" y="262"/>
                  <a:pt x="2188" y="262"/>
                </a:cubicBezTo>
                <a:cubicBezTo>
                  <a:pt x="2187" y="264"/>
                  <a:pt x="2187" y="264"/>
                  <a:pt x="2187" y="264"/>
                </a:cubicBezTo>
                <a:cubicBezTo>
                  <a:pt x="2186" y="265"/>
                  <a:pt x="2186" y="265"/>
                  <a:pt x="2186" y="265"/>
                </a:cubicBezTo>
                <a:cubicBezTo>
                  <a:pt x="2186" y="267"/>
                  <a:pt x="2186" y="267"/>
                  <a:pt x="2186" y="267"/>
                </a:cubicBezTo>
                <a:cubicBezTo>
                  <a:pt x="2186" y="269"/>
                  <a:pt x="2186" y="269"/>
                  <a:pt x="2186" y="269"/>
                </a:cubicBezTo>
                <a:cubicBezTo>
                  <a:pt x="2187" y="271"/>
                  <a:pt x="2187" y="271"/>
                  <a:pt x="2187" y="271"/>
                </a:cubicBezTo>
                <a:cubicBezTo>
                  <a:pt x="2186" y="271"/>
                  <a:pt x="2186" y="271"/>
                  <a:pt x="2186" y="271"/>
                </a:cubicBezTo>
                <a:cubicBezTo>
                  <a:pt x="2188" y="274"/>
                  <a:pt x="2188" y="274"/>
                  <a:pt x="2188" y="274"/>
                </a:cubicBezTo>
                <a:cubicBezTo>
                  <a:pt x="2187" y="274"/>
                  <a:pt x="2187" y="274"/>
                  <a:pt x="2187" y="274"/>
                </a:cubicBezTo>
                <a:cubicBezTo>
                  <a:pt x="2187" y="275"/>
                  <a:pt x="2187" y="275"/>
                  <a:pt x="2187" y="275"/>
                </a:cubicBezTo>
                <a:cubicBezTo>
                  <a:pt x="2188" y="276"/>
                  <a:pt x="2188" y="276"/>
                  <a:pt x="2188" y="276"/>
                </a:cubicBezTo>
                <a:cubicBezTo>
                  <a:pt x="2188" y="275"/>
                  <a:pt x="2188" y="275"/>
                  <a:pt x="2188" y="275"/>
                </a:cubicBezTo>
                <a:cubicBezTo>
                  <a:pt x="2189" y="275"/>
                  <a:pt x="2189" y="275"/>
                  <a:pt x="2189" y="275"/>
                </a:cubicBezTo>
                <a:cubicBezTo>
                  <a:pt x="2190" y="274"/>
                  <a:pt x="2190" y="274"/>
                  <a:pt x="2190" y="274"/>
                </a:cubicBezTo>
                <a:cubicBezTo>
                  <a:pt x="2191" y="275"/>
                  <a:pt x="2191" y="275"/>
                  <a:pt x="2191" y="275"/>
                </a:cubicBezTo>
                <a:cubicBezTo>
                  <a:pt x="2191" y="274"/>
                  <a:pt x="2191" y="274"/>
                  <a:pt x="2191" y="274"/>
                </a:cubicBezTo>
                <a:cubicBezTo>
                  <a:pt x="2192" y="274"/>
                  <a:pt x="2192" y="274"/>
                  <a:pt x="2192" y="274"/>
                </a:cubicBezTo>
                <a:cubicBezTo>
                  <a:pt x="2192" y="275"/>
                  <a:pt x="2192" y="275"/>
                  <a:pt x="2192" y="275"/>
                </a:cubicBezTo>
                <a:cubicBezTo>
                  <a:pt x="2193" y="275"/>
                  <a:pt x="2193" y="275"/>
                  <a:pt x="2193" y="275"/>
                </a:cubicBezTo>
                <a:cubicBezTo>
                  <a:pt x="2194" y="276"/>
                  <a:pt x="2194" y="276"/>
                  <a:pt x="2194" y="276"/>
                </a:cubicBezTo>
                <a:cubicBezTo>
                  <a:pt x="2193" y="276"/>
                  <a:pt x="2193" y="276"/>
                  <a:pt x="2193" y="276"/>
                </a:cubicBezTo>
                <a:cubicBezTo>
                  <a:pt x="2194" y="277"/>
                  <a:pt x="2194" y="277"/>
                  <a:pt x="2194" y="277"/>
                </a:cubicBezTo>
                <a:cubicBezTo>
                  <a:pt x="2194" y="278"/>
                  <a:pt x="2194" y="278"/>
                  <a:pt x="2194" y="278"/>
                </a:cubicBezTo>
                <a:cubicBezTo>
                  <a:pt x="2193" y="278"/>
                  <a:pt x="2193" y="278"/>
                  <a:pt x="2193" y="278"/>
                </a:cubicBezTo>
                <a:cubicBezTo>
                  <a:pt x="2192" y="278"/>
                  <a:pt x="2192" y="278"/>
                  <a:pt x="2192" y="278"/>
                </a:cubicBezTo>
                <a:cubicBezTo>
                  <a:pt x="2191" y="279"/>
                  <a:pt x="2191" y="279"/>
                  <a:pt x="2191" y="279"/>
                </a:cubicBezTo>
                <a:cubicBezTo>
                  <a:pt x="2191" y="280"/>
                  <a:pt x="2191" y="280"/>
                  <a:pt x="2191" y="280"/>
                </a:cubicBezTo>
                <a:cubicBezTo>
                  <a:pt x="2190" y="281"/>
                  <a:pt x="2190" y="281"/>
                  <a:pt x="2190" y="281"/>
                </a:cubicBezTo>
                <a:cubicBezTo>
                  <a:pt x="2189" y="281"/>
                  <a:pt x="2189" y="281"/>
                  <a:pt x="2189" y="281"/>
                </a:cubicBezTo>
                <a:cubicBezTo>
                  <a:pt x="2189" y="280"/>
                  <a:pt x="2189" y="280"/>
                  <a:pt x="2189" y="280"/>
                </a:cubicBezTo>
                <a:cubicBezTo>
                  <a:pt x="2188" y="279"/>
                  <a:pt x="2188" y="279"/>
                  <a:pt x="2188" y="279"/>
                </a:cubicBezTo>
                <a:cubicBezTo>
                  <a:pt x="2187" y="280"/>
                  <a:pt x="2187" y="280"/>
                  <a:pt x="2187" y="280"/>
                </a:cubicBezTo>
                <a:cubicBezTo>
                  <a:pt x="2186" y="279"/>
                  <a:pt x="2186" y="279"/>
                  <a:pt x="2186" y="279"/>
                </a:cubicBezTo>
                <a:cubicBezTo>
                  <a:pt x="2186" y="280"/>
                  <a:pt x="2186" y="280"/>
                  <a:pt x="2186" y="280"/>
                </a:cubicBezTo>
                <a:cubicBezTo>
                  <a:pt x="2186" y="281"/>
                  <a:pt x="2186" y="281"/>
                  <a:pt x="2186" y="281"/>
                </a:cubicBezTo>
                <a:cubicBezTo>
                  <a:pt x="2186" y="282"/>
                  <a:pt x="2186" y="282"/>
                  <a:pt x="2186" y="282"/>
                </a:cubicBezTo>
                <a:cubicBezTo>
                  <a:pt x="2185" y="282"/>
                  <a:pt x="2185" y="282"/>
                  <a:pt x="2185" y="282"/>
                </a:cubicBezTo>
                <a:cubicBezTo>
                  <a:pt x="2184" y="283"/>
                  <a:pt x="2184" y="283"/>
                  <a:pt x="2184" y="283"/>
                </a:cubicBezTo>
                <a:cubicBezTo>
                  <a:pt x="2184" y="284"/>
                  <a:pt x="2184" y="284"/>
                  <a:pt x="2184" y="284"/>
                </a:cubicBezTo>
                <a:cubicBezTo>
                  <a:pt x="2183" y="284"/>
                  <a:pt x="2183" y="284"/>
                  <a:pt x="2183" y="284"/>
                </a:cubicBezTo>
                <a:cubicBezTo>
                  <a:pt x="2181" y="283"/>
                  <a:pt x="2181" y="283"/>
                  <a:pt x="2181" y="283"/>
                </a:cubicBezTo>
                <a:cubicBezTo>
                  <a:pt x="2182" y="284"/>
                  <a:pt x="2182" y="284"/>
                  <a:pt x="2182" y="284"/>
                </a:cubicBezTo>
                <a:cubicBezTo>
                  <a:pt x="2180" y="285"/>
                  <a:pt x="2180" y="285"/>
                  <a:pt x="2180" y="285"/>
                </a:cubicBezTo>
                <a:cubicBezTo>
                  <a:pt x="2181" y="285"/>
                  <a:pt x="2181" y="285"/>
                  <a:pt x="2181" y="285"/>
                </a:cubicBezTo>
                <a:cubicBezTo>
                  <a:pt x="2180" y="286"/>
                  <a:pt x="2180" y="286"/>
                  <a:pt x="2180" y="286"/>
                </a:cubicBezTo>
                <a:cubicBezTo>
                  <a:pt x="2178" y="287"/>
                  <a:pt x="2178" y="287"/>
                  <a:pt x="2178" y="287"/>
                </a:cubicBezTo>
                <a:cubicBezTo>
                  <a:pt x="2177" y="287"/>
                  <a:pt x="2177" y="287"/>
                  <a:pt x="2177" y="287"/>
                </a:cubicBezTo>
                <a:cubicBezTo>
                  <a:pt x="2176" y="285"/>
                  <a:pt x="2176" y="285"/>
                  <a:pt x="2176" y="285"/>
                </a:cubicBezTo>
                <a:cubicBezTo>
                  <a:pt x="2175" y="285"/>
                  <a:pt x="2175" y="285"/>
                  <a:pt x="2175" y="285"/>
                </a:cubicBezTo>
                <a:cubicBezTo>
                  <a:pt x="2174" y="285"/>
                  <a:pt x="2174" y="285"/>
                  <a:pt x="2174" y="285"/>
                </a:cubicBezTo>
                <a:cubicBezTo>
                  <a:pt x="2175" y="284"/>
                  <a:pt x="2175" y="284"/>
                  <a:pt x="2175" y="284"/>
                </a:cubicBezTo>
                <a:cubicBezTo>
                  <a:pt x="2176" y="284"/>
                  <a:pt x="2176" y="284"/>
                  <a:pt x="2176" y="284"/>
                </a:cubicBezTo>
                <a:cubicBezTo>
                  <a:pt x="2175" y="283"/>
                  <a:pt x="2175" y="283"/>
                  <a:pt x="2175" y="283"/>
                </a:cubicBezTo>
                <a:cubicBezTo>
                  <a:pt x="2176" y="282"/>
                  <a:pt x="2176" y="282"/>
                  <a:pt x="2176" y="282"/>
                </a:cubicBezTo>
                <a:cubicBezTo>
                  <a:pt x="2178" y="282"/>
                  <a:pt x="2178" y="282"/>
                  <a:pt x="2178" y="282"/>
                </a:cubicBezTo>
                <a:cubicBezTo>
                  <a:pt x="2180" y="281"/>
                  <a:pt x="2180" y="281"/>
                  <a:pt x="2180" y="281"/>
                </a:cubicBezTo>
                <a:cubicBezTo>
                  <a:pt x="2180" y="280"/>
                  <a:pt x="2180" y="280"/>
                  <a:pt x="2180" y="280"/>
                </a:cubicBezTo>
                <a:cubicBezTo>
                  <a:pt x="2179" y="280"/>
                  <a:pt x="2179" y="280"/>
                  <a:pt x="2179" y="280"/>
                </a:cubicBezTo>
                <a:cubicBezTo>
                  <a:pt x="2178" y="281"/>
                  <a:pt x="2178" y="281"/>
                  <a:pt x="2178" y="281"/>
                </a:cubicBezTo>
                <a:cubicBezTo>
                  <a:pt x="2176" y="280"/>
                  <a:pt x="2176" y="280"/>
                  <a:pt x="2176" y="280"/>
                </a:cubicBezTo>
                <a:cubicBezTo>
                  <a:pt x="2175" y="279"/>
                  <a:pt x="2175" y="279"/>
                  <a:pt x="2175" y="279"/>
                </a:cubicBezTo>
                <a:cubicBezTo>
                  <a:pt x="2174" y="279"/>
                  <a:pt x="2174" y="279"/>
                  <a:pt x="2174" y="279"/>
                </a:cubicBezTo>
                <a:cubicBezTo>
                  <a:pt x="2172" y="278"/>
                  <a:pt x="2172" y="278"/>
                  <a:pt x="2172" y="278"/>
                </a:cubicBezTo>
                <a:cubicBezTo>
                  <a:pt x="2170" y="278"/>
                  <a:pt x="2170" y="278"/>
                  <a:pt x="2170" y="278"/>
                </a:cubicBezTo>
                <a:cubicBezTo>
                  <a:pt x="2171" y="279"/>
                  <a:pt x="2171" y="279"/>
                  <a:pt x="2171" y="279"/>
                </a:cubicBezTo>
                <a:cubicBezTo>
                  <a:pt x="2170" y="280"/>
                  <a:pt x="2170" y="280"/>
                  <a:pt x="2170" y="280"/>
                </a:cubicBezTo>
                <a:cubicBezTo>
                  <a:pt x="2169" y="279"/>
                  <a:pt x="2169" y="279"/>
                  <a:pt x="2169" y="279"/>
                </a:cubicBezTo>
                <a:cubicBezTo>
                  <a:pt x="2169" y="278"/>
                  <a:pt x="2169" y="278"/>
                  <a:pt x="2169" y="278"/>
                </a:cubicBezTo>
                <a:cubicBezTo>
                  <a:pt x="2167" y="279"/>
                  <a:pt x="2167" y="279"/>
                  <a:pt x="2167" y="279"/>
                </a:cubicBezTo>
                <a:cubicBezTo>
                  <a:pt x="2165" y="278"/>
                  <a:pt x="2165" y="278"/>
                  <a:pt x="2165" y="278"/>
                </a:cubicBezTo>
                <a:cubicBezTo>
                  <a:pt x="2164" y="279"/>
                  <a:pt x="2164" y="279"/>
                  <a:pt x="2164" y="279"/>
                </a:cubicBezTo>
                <a:cubicBezTo>
                  <a:pt x="2163" y="278"/>
                  <a:pt x="2163" y="278"/>
                  <a:pt x="2163" y="278"/>
                </a:cubicBezTo>
                <a:cubicBezTo>
                  <a:pt x="2161" y="278"/>
                  <a:pt x="2161" y="278"/>
                  <a:pt x="2161" y="278"/>
                </a:cubicBezTo>
                <a:cubicBezTo>
                  <a:pt x="2160" y="280"/>
                  <a:pt x="2160" y="280"/>
                  <a:pt x="2160" y="280"/>
                </a:cubicBezTo>
                <a:cubicBezTo>
                  <a:pt x="2159" y="280"/>
                  <a:pt x="2159" y="280"/>
                  <a:pt x="2159" y="280"/>
                </a:cubicBezTo>
                <a:cubicBezTo>
                  <a:pt x="2159" y="281"/>
                  <a:pt x="2159" y="281"/>
                  <a:pt x="2159" y="281"/>
                </a:cubicBezTo>
                <a:cubicBezTo>
                  <a:pt x="2161" y="282"/>
                  <a:pt x="2161" y="282"/>
                  <a:pt x="2161" y="282"/>
                </a:cubicBezTo>
                <a:cubicBezTo>
                  <a:pt x="2159" y="282"/>
                  <a:pt x="2159" y="282"/>
                  <a:pt x="2159" y="282"/>
                </a:cubicBezTo>
                <a:cubicBezTo>
                  <a:pt x="2158" y="281"/>
                  <a:pt x="2158" y="281"/>
                  <a:pt x="2158" y="281"/>
                </a:cubicBezTo>
                <a:cubicBezTo>
                  <a:pt x="2157" y="283"/>
                  <a:pt x="2157" y="283"/>
                  <a:pt x="2157" y="283"/>
                </a:cubicBezTo>
                <a:cubicBezTo>
                  <a:pt x="2159" y="284"/>
                  <a:pt x="2159" y="284"/>
                  <a:pt x="2159" y="284"/>
                </a:cubicBezTo>
                <a:cubicBezTo>
                  <a:pt x="2160" y="283"/>
                  <a:pt x="2160" y="283"/>
                  <a:pt x="2160" y="283"/>
                </a:cubicBezTo>
                <a:cubicBezTo>
                  <a:pt x="2160" y="284"/>
                  <a:pt x="2160" y="284"/>
                  <a:pt x="2160" y="284"/>
                </a:cubicBezTo>
                <a:cubicBezTo>
                  <a:pt x="2160" y="285"/>
                  <a:pt x="2160" y="285"/>
                  <a:pt x="2160" y="285"/>
                </a:cubicBezTo>
                <a:cubicBezTo>
                  <a:pt x="2158" y="286"/>
                  <a:pt x="2158" y="286"/>
                  <a:pt x="2158" y="286"/>
                </a:cubicBezTo>
                <a:cubicBezTo>
                  <a:pt x="2157" y="285"/>
                  <a:pt x="2157" y="285"/>
                  <a:pt x="2157" y="285"/>
                </a:cubicBezTo>
                <a:cubicBezTo>
                  <a:pt x="2155" y="284"/>
                  <a:pt x="2155" y="284"/>
                  <a:pt x="2155" y="284"/>
                </a:cubicBezTo>
                <a:cubicBezTo>
                  <a:pt x="2154" y="285"/>
                  <a:pt x="2154" y="285"/>
                  <a:pt x="2154" y="285"/>
                </a:cubicBezTo>
                <a:cubicBezTo>
                  <a:pt x="2155" y="286"/>
                  <a:pt x="2155" y="286"/>
                  <a:pt x="2155" y="286"/>
                </a:cubicBezTo>
                <a:cubicBezTo>
                  <a:pt x="2154" y="286"/>
                  <a:pt x="2154" y="286"/>
                  <a:pt x="2154" y="286"/>
                </a:cubicBezTo>
                <a:cubicBezTo>
                  <a:pt x="2153" y="287"/>
                  <a:pt x="2153" y="287"/>
                  <a:pt x="2153" y="287"/>
                </a:cubicBezTo>
                <a:cubicBezTo>
                  <a:pt x="2152" y="287"/>
                  <a:pt x="2152" y="287"/>
                  <a:pt x="2152" y="287"/>
                </a:cubicBezTo>
                <a:cubicBezTo>
                  <a:pt x="2152" y="286"/>
                  <a:pt x="2152" y="286"/>
                  <a:pt x="2152" y="286"/>
                </a:cubicBezTo>
                <a:cubicBezTo>
                  <a:pt x="2149" y="286"/>
                  <a:pt x="2149" y="286"/>
                  <a:pt x="2149" y="286"/>
                </a:cubicBezTo>
                <a:cubicBezTo>
                  <a:pt x="2148" y="286"/>
                  <a:pt x="2148" y="286"/>
                  <a:pt x="2148" y="286"/>
                </a:cubicBezTo>
                <a:cubicBezTo>
                  <a:pt x="2146" y="286"/>
                  <a:pt x="2146" y="286"/>
                  <a:pt x="2146" y="286"/>
                </a:cubicBezTo>
                <a:cubicBezTo>
                  <a:pt x="2144" y="287"/>
                  <a:pt x="2144" y="287"/>
                  <a:pt x="2144" y="287"/>
                </a:cubicBezTo>
                <a:cubicBezTo>
                  <a:pt x="2146" y="289"/>
                  <a:pt x="2146" y="289"/>
                  <a:pt x="2146" y="289"/>
                </a:cubicBezTo>
                <a:cubicBezTo>
                  <a:pt x="2145" y="290"/>
                  <a:pt x="2145" y="290"/>
                  <a:pt x="2145" y="290"/>
                </a:cubicBezTo>
                <a:cubicBezTo>
                  <a:pt x="2145" y="291"/>
                  <a:pt x="2145" y="291"/>
                  <a:pt x="2145" y="291"/>
                </a:cubicBezTo>
                <a:cubicBezTo>
                  <a:pt x="2143" y="290"/>
                  <a:pt x="2143" y="290"/>
                  <a:pt x="2143" y="290"/>
                </a:cubicBezTo>
                <a:cubicBezTo>
                  <a:pt x="2143" y="289"/>
                  <a:pt x="2143" y="289"/>
                  <a:pt x="2143" y="289"/>
                </a:cubicBezTo>
                <a:cubicBezTo>
                  <a:pt x="2143" y="288"/>
                  <a:pt x="2143" y="288"/>
                  <a:pt x="2143" y="288"/>
                </a:cubicBezTo>
                <a:cubicBezTo>
                  <a:pt x="2142" y="287"/>
                  <a:pt x="2142" y="287"/>
                  <a:pt x="2142" y="287"/>
                </a:cubicBezTo>
                <a:cubicBezTo>
                  <a:pt x="2141" y="288"/>
                  <a:pt x="2141" y="288"/>
                  <a:pt x="2141" y="288"/>
                </a:cubicBezTo>
                <a:cubicBezTo>
                  <a:pt x="2140" y="288"/>
                  <a:pt x="2140" y="288"/>
                  <a:pt x="2140" y="288"/>
                </a:cubicBezTo>
                <a:cubicBezTo>
                  <a:pt x="2139" y="288"/>
                  <a:pt x="2139" y="288"/>
                  <a:pt x="2139" y="288"/>
                </a:cubicBezTo>
                <a:cubicBezTo>
                  <a:pt x="2138" y="289"/>
                  <a:pt x="2138" y="289"/>
                  <a:pt x="2138" y="289"/>
                </a:cubicBezTo>
                <a:cubicBezTo>
                  <a:pt x="2137" y="289"/>
                  <a:pt x="2137" y="289"/>
                  <a:pt x="2137" y="289"/>
                </a:cubicBezTo>
                <a:cubicBezTo>
                  <a:pt x="2135" y="290"/>
                  <a:pt x="2135" y="290"/>
                  <a:pt x="2135" y="290"/>
                </a:cubicBezTo>
                <a:cubicBezTo>
                  <a:pt x="2133" y="290"/>
                  <a:pt x="2133" y="290"/>
                  <a:pt x="2133" y="290"/>
                </a:cubicBezTo>
                <a:cubicBezTo>
                  <a:pt x="2131" y="292"/>
                  <a:pt x="2131" y="292"/>
                  <a:pt x="2131" y="292"/>
                </a:cubicBezTo>
                <a:cubicBezTo>
                  <a:pt x="2129" y="292"/>
                  <a:pt x="2129" y="292"/>
                  <a:pt x="2129" y="292"/>
                </a:cubicBezTo>
                <a:cubicBezTo>
                  <a:pt x="2129" y="291"/>
                  <a:pt x="2129" y="291"/>
                  <a:pt x="2129" y="291"/>
                </a:cubicBezTo>
                <a:cubicBezTo>
                  <a:pt x="2128" y="292"/>
                  <a:pt x="2128" y="292"/>
                  <a:pt x="2128" y="292"/>
                </a:cubicBezTo>
                <a:cubicBezTo>
                  <a:pt x="2127" y="293"/>
                  <a:pt x="2127" y="293"/>
                  <a:pt x="2127" y="293"/>
                </a:cubicBezTo>
                <a:cubicBezTo>
                  <a:pt x="2125" y="294"/>
                  <a:pt x="2125" y="294"/>
                  <a:pt x="2125" y="294"/>
                </a:cubicBezTo>
                <a:cubicBezTo>
                  <a:pt x="2125" y="296"/>
                  <a:pt x="2125" y="296"/>
                  <a:pt x="2125" y="296"/>
                </a:cubicBezTo>
                <a:cubicBezTo>
                  <a:pt x="2124" y="297"/>
                  <a:pt x="2124" y="297"/>
                  <a:pt x="2124" y="297"/>
                </a:cubicBezTo>
                <a:cubicBezTo>
                  <a:pt x="2123" y="298"/>
                  <a:pt x="2123" y="298"/>
                  <a:pt x="2123" y="298"/>
                </a:cubicBezTo>
                <a:cubicBezTo>
                  <a:pt x="2125" y="301"/>
                  <a:pt x="2125" y="301"/>
                  <a:pt x="2125" y="301"/>
                </a:cubicBezTo>
                <a:cubicBezTo>
                  <a:pt x="2125" y="303"/>
                  <a:pt x="2125" y="303"/>
                  <a:pt x="2125" y="303"/>
                </a:cubicBezTo>
                <a:cubicBezTo>
                  <a:pt x="2123" y="305"/>
                  <a:pt x="2123" y="305"/>
                  <a:pt x="2123" y="305"/>
                </a:cubicBezTo>
                <a:cubicBezTo>
                  <a:pt x="2122" y="307"/>
                  <a:pt x="2122" y="307"/>
                  <a:pt x="2122" y="307"/>
                </a:cubicBezTo>
                <a:cubicBezTo>
                  <a:pt x="2122" y="309"/>
                  <a:pt x="2122" y="309"/>
                  <a:pt x="2122" y="309"/>
                </a:cubicBezTo>
                <a:cubicBezTo>
                  <a:pt x="2122" y="311"/>
                  <a:pt x="2122" y="311"/>
                  <a:pt x="2122" y="311"/>
                </a:cubicBezTo>
                <a:cubicBezTo>
                  <a:pt x="2123" y="312"/>
                  <a:pt x="2123" y="312"/>
                  <a:pt x="2123" y="312"/>
                </a:cubicBezTo>
                <a:cubicBezTo>
                  <a:pt x="2123" y="314"/>
                  <a:pt x="2123" y="314"/>
                  <a:pt x="2123" y="314"/>
                </a:cubicBezTo>
                <a:cubicBezTo>
                  <a:pt x="2122" y="314"/>
                  <a:pt x="2122" y="314"/>
                  <a:pt x="2122" y="314"/>
                </a:cubicBezTo>
                <a:cubicBezTo>
                  <a:pt x="2121" y="314"/>
                  <a:pt x="2121" y="314"/>
                  <a:pt x="2121" y="314"/>
                </a:cubicBezTo>
                <a:cubicBezTo>
                  <a:pt x="2121" y="316"/>
                  <a:pt x="2121" y="316"/>
                  <a:pt x="2121" y="316"/>
                </a:cubicBezTo>
                <a:cubicBezTo>
                  <a:pt x="2121" y="318"/>
                  <a:pt x="2121" y="318"/>
                  <a:pt x="2121" y="318"/>
                </a:cubicBezTo>
                <a:cubicBezTo>
                  <a:pt x="2120" y="319"/>
                  <a:pt x="2120" y="319"/>
                  <a:pt x="2120" y="319"/>
                </a:cubicBezTo>
                <a:cubicBezTo>
                  <a:pt x="2120" y="321"/>
                  <a:pt x="2120" y="321"/>
                  <a:pt x="2120" y="321"/>
                </a:cubicBezTo>
                <a:cubicBezTo>
                  <a:pt x="2118" y="323"/>
                  <a:pt x="2118" y="323"/>
                  <a:pt x="2118" y="323"/>
                </a:cubicBezTo>
                <a:cubicBezTo>
                  <a:pt x="2119" y="324"/>
                  <a:pt x="2119" y="324"/>
                  <a:pt x="2119" y="324"/>
                </a:cubicBezTo>
                <a:cubicBezTo>
                  <a:pt x="2118" y="325"/>
                  <a:pt x="2118" y="325"/>
                  <a:pt x="2118" y="325"/>
                </a:cubicBezTo>
                <a:cubicBezTo>
                  <a:pt x="2117" y="327"/>
                  <a:pt x="2117" y="327"/>
                  <a:pt x="2117" y="327"/>
                </a:cubicBezTo>
                <a:cubicBezTo>
                  <a:pt x="2116" y="330"/>
                  <a:pt x="2116" y="330"/>
                  <a:pt x="2116" y="330"/>
                </a:cubicBezTo>
                <a:cubicBezTo>
                  <a:pt x="2116" y="332"/>
                  <a:pt x="2116" y="332"/>
                  <a:pt x="2116" y="332"/>
                </a:cubicBezTo>
                <a:cubicBezTo>
                  <a:pt x="2116" y="333"/>
                  <a:pt x="2116" y="333"/>
                  <a:pt x="2116" y="333"/>
                </a:cubicBezTo>
                <a:cubicBezTo>
                  <a:pt x="2116" y="335"/>
                  <a:pt x="2116" y="335"/>
                  <a:pt x="2116" y="335"/>
                </a:cubicBezTo>
                <a:cubicBezTo>
                  <a:pt x="2115" y="336"/>
                  <a:pt x="2115" y="336"/>
                  <a:pt x="2115" y="336"/>
                </a:cubicBezTo>
                <a:cubicBezTo>
                  <a:pt x="2115" y="337"/>
                  <a:pt x="2115" y="337"/>
                  <a:pt x="2115" y="337"/>
                </a:cubicBezTo>
                <a:cubicBezTo>
                  <a:pt x="2114" y="339"/>
                  <a:pt x="2114" y="339"/>
                  <a:pt x="2114" y="339"/>
                </a:cubicBezTo>
                <a:cubicBezTo>
                  <a:pt x="2114" y="340"/>
                  <a:pt x="2114" y="340"/>
                  <a:pt x="2114" y="340"/>
                </a:cubicBezTo>
                <a:cubicBezTo>
                  <a:pt x="2113" y="340"/>
                  <a:pt x="2113" y="340"/>
                  <a:pt x="2113" y="340"/>
                </a:cubicBezTo>
                <a:cubicBezTo>
                  <a:pt x="2113" y="342"/>
                  <a:pt x="2113" y="342"/>
                  <a:pt x="2113" y="342"/>
                </a:cubicBezTo>
                <a:cubicBezTo>
                  <a:pt x="2111" y="343"/>
                  <a:pt x="2111" y="343"/>
                  <a:pt x="2111" y="343"/>
                </a:cubicBezTo>
                <a:cubicBezTo>
                  <a:pt x="2111" y="345"/>
                  <a:pt x="2111" y="345"/>
                  <a:pt x="2111" y="345"/>
                </a:cubicBezTo>
                <a:cubicBezTo>
                  <a:pt x="2110" y="347"/>
                  <a:pt x="2110" y="347"/>
                  <a:pt x="2110" y="347"/>
                </a:cubicBezTo>
                <a:cubicBezTo>
                  <a:pt x="2110" y="348"/>
                  <a:pt x="2110" y="348"/>
                  <a:pt x="2110" y="348"/>
                </a:cubicBezTo>
                <a:cubicBezTo>
                  <a:pt x="2108" y="350"/>
                  <a:pt x="2108" y="350"/>
                  <a:pt x="2108" y="350"/>
                </a:cubicBezTo>
                <a:cubicBezTo>
                  <a:pt x="2108" y="351"/>
                  <a:pt x="2108" y="351"/>
                  <a:pt x="2108" y="351"/>
                </a:cubicBezTo>
                <a:cubicBezTo>
                  <a:pt x="2107" y="352"/>
                  <a:pt x="2107" y="352"/>
                  <a:pt x="2107" y="352"/>
                </a:cubicBezTo>
                <a:cubicBezTo>
                  <a:pt x="2108" y="353"/>
                  <a:pt x="2108" y="353"/>
                  <a:pt x="2108" y="353"/>
                </a:cubicBezTo>
                <a:cubicBezTo>
                  <a:pt x="2109" y="354"/>
                  <a:pt x="2109" y="354"/>
                  <a:pt x="2109" y="354"/>
                </a:cubicBezTo>
                <a:cubicBezTo>
                  <a:pt x="2110" y="354"/>
                  <a:pt x="2110" y="354"/>
                  <a:pt x="2110" y="354"/>
                </a:cubicBezTo>
                <a:cubicBezTo>
                  <a:pt x="2111" y="355"/>
                  <a:pt x="2111" y="355"/>
                  <a:pt x="2111" y="355"/>
                </a:cubicBezTo>
                <a:cubicBezTo>
                  <a:pt x="2113" y="355"/>
                  <a:pt x="2113" y="355"/>
                  <a:pt x="2113" y="355"/>
                </a:cubicBezTo>
                <a:cubicBezTo>
                  <a:pt x="2114" y="354"/>
                  <a:pt x="2114" y="354"/>
                  <a:pt x="2114" y="354"/>
                </a:cubicBezTo>
                <a:cubicBezTo>
                  <a:pt x="2115" y="353"/>
                  <a:pt x="2115" y="353"/>
                  <a:pt x="2115" y="353"/>
                </a:cubicBezTo>
                <a:cubicBezTo>
                  <a:pt x="2116" y="353"/>
                  <a:pt x="2116" y="353"/>
                  <a:pt x="2116" y="353"/>
                </a:cubicBezTo>
                <a:cubicBezTo>
                  <a:pt x="2117" y="353"/>
                  <a:pt x="2117" y="353"/>
                  <a:pt x="2117" y="353"/>
                </a:cubicBezTo>
                <a:cubicBezTo>
                  <a:pt x="2118" y="352"/>
                  <a:pt x="2118" y="352"/>
                  <a:pt x="2118" y="352"/>
                </a:cubicBezTo>
                <a:cubicBezTo>
                  <a:pt x="2118" y="356"/>
                  <a:pt x="2118" y="356"/>
                  <a:pt x="2118" y="356"/>
                </a:cubicBezTo>
                <a:cubicBezTo>
                  <a:pt x="2120" y="358"/>
                  <a:pt x="2120" y="358"/>
                  <a:pt x="2120" y="358"/>
                </a:cubicBezTo>
                <a:cubicBezTo>
                  <a:pt x="2120" y="360"/>
                  <a:pt x="2120" y="360"/>
                  <a:pt x="2120" y="360"/>
                </a:cubicBezTo>
                <a:cubicBezTo>
                  <a:pt x="2120" y="361"/>
                  <a:pt x="2120" y="361"/>
                  <a:pt x="2120" y="361"/>
                </a:cubicBezTo>
                <a:cubicBezTo>
                  <a:pt x="2122" y="362"/>
                  <a:pt x="2122" y="362"/>
                  <a:pt x="2122" y="362"/>
                </a:cubicBezTo>
                <a:cubicBezTo>
                  <a:pt x="2122" y="361"/>
                  <a:pt x="2122" y="361"/>
                  <a:pt x="2122" y="361"/>
                </a:cubicBezTo>
                <a:cubicBezTo>
                  <a:pt x="2123" y="362"/>
                  <a:pt x="2123" y="362"/>
                  <a:pt x="2123" y="362"/>
                </a:cubicBezTo>
                <a:cubicBezTo>
                  <a:pt x="2123" y="361"/>
                  <a:pt x="2123" y="361"/>
                  <a:pt x="2123" y="361"/>
                </a:cubicBezTo>
                <a:cubicBezTo>
                  <a:pt x="2124" y="360"/>
                  <a:pt x="2124" y="360"/>
                  <a:pt x="2124" y="360"/>
                </a:cubicBezTo>
                <a:cubicBezTo>
                  <a:pt x="2125" y="359"/>
                  <a:pt x="2125" y="359"/>
                  <a:pt x="2125" y="359"/>
                </a:cubicBezTo>
                <a:cubicBezTo>
                  <a:pt x="2125" y="360"/>
                  <a:pt x="2125" y="360"/>
                  <a:pt x="2125" y="360"/>
                </a:cubicBezTo>
                <a:cubicBezTo>
                  <a:pt x="2126" y="360"/>
                  <a:pt x="2126" y="360"/>
                  <a:pt x="2126" y="360"/>
                </a:cubicBezTo>
                <a:cubicBezTo>
                  <a:pt x="2127" y="360"/>
                  <a:pt x="2127" y="360"/>
                  <a:pt x="2127" y="360"/>
                </a:cubicBezTo>
                <a:cubicBezTo>
                  <a:pt x="2126" y="361"/>
                  <a:pt x="2126" y="361"/>
                  <a:pt x="2126" y="361"/>
                </a:cubicBezTo>
                <a:cubicBezTo>
                  <a:pt x="2127" y="363"/>
                  <a:pt x="2127" y="363"/>
                  <a:pt x="2127" y="363"/>
                </a:cubicBezTo>
                <a:cubicBezTo>
                  <a:pt x="2126" y="363"/>
                  <a:pt x="2126" y="363"/>
                  <a:pt x="2126" y="363"/>
                </a:cubicBezTo>
                <a:cubicBezTo>
                  <a:pt x="2125" y="364"/>
                  <a:pt x="2125" y="364"/>
                  <a:pt x="2125" y="364"/>
                </a:cubicBezTo>
                <a:cubicBezTo>
                  <a:pt x="2128" y="364"/>
                  <a:pt x="2128" y="364"/>
                  <a:pt x="2128" y="364"/>
                </a:cubicBezTo>
                <a:cubicBezTo>
                  <a:pt x="2129" y="363"/>
                  <a:pt x="2129" y="363"/>
                  <a:pt x="2129" y="363"/>
                </a:cubicBezTo>
                <a:cubicBezTo>
                  <a:pt x="2130" y="361"/>
                  <a:pt x="2130" y="361"/>
                  <a:pt x="2130" y="361"/>
                </a:cubicBezTo>
                <a:cubicBezTo>
                  <a:pt x="2130" y="360"/>
                  <a:pt x="2130" y="360"/>
                  <a:pt x="2130" y="360"/>
                </a:cubicBezTo>
                <a:cubicBezTo>
                  <a:pt x="2130" y="359"/>
                  <a:pt x="2130" y="359"/>
                  <a:pt x="2130" y="359"/>
                </a:cubicBezTo>
                <a:cubicBezTo>
                  <a:pt x="2131" y="361"/>
                  <a:pt x="2131" y="361"/>
                  <a:pt x="2131" y="361"/>
                </a:cubicBezTo>
                <a:cubicBezTo>
                  <a:pt x="2131" y="362"/>
                  <a:pt x="2131" y="362"/>
                  <a:pt x="2131" y="362"/>
                </a:cubicBezTo>
                <a:cubicBezTo>
                  <a:pt x="2131" y="364"/>
                  <a:pt x="2131" y="364"/>
                  <a:pt x="2131" y="364"/>
                </a:cubicBezTo>
                <a:cubicBezTo>
                  <a:pt x="2132" y="363"/>
                  <a:pt x="2132" y="363"/>
                  <a:pt x="2132" y="363"/>
                </a:cubicBezTo>
                <a:cubicBezTo>
                  <a:pt x="2132" y="362"/>
                  <a:pt x="2132" y="362"/>
                  <a:pt x="2132" y="362"/>
                </a:cubicBezTo>
                <a:cubicBezTo>
                  <a:pt x="2131" y="360"/>
                  <a:pt x="2131" y="360"/>
                  <a:pt x="2131" y="360"/>
                </a:cubicBezTo>
                <a:cubicBezTo>
                  <a:pt x="2132" y="358"/>
                  <a:pt x="2132" y="358"/>
                  <a:pt x="2132" y="358"/>
                </a:cubicBezTo>
                <a:cubicBezTo>
                  <a:pt x="2131" y="357"/>
                  <a:pt x="2131" y="357"/>
                  <a:pt x="2131" y="357"/>
                </a:cubicBezTo>
                <a:cubicBezTo>
                  <a:pt x="2130" y="355"/>
                  <a:pt x="2130" y="355"/>
                  <a:pt x="2130" y="355"/>
                </a:cubicBezTo>
                <a:cubicBezTo>
                  <a:pt x="2132" y="355"/>
                  <a:pt x="2132" y="355"/>
                  <a:pt x="2132" y="355"/>
                </a:cubicBezTo>
                <a:cubicBezTo>
                  <a:pt x="2133" y="356"/>
                  <a:pt x="2133" y="356"/>
                  <a:pt x="2133" y="356"/>
                </a:cubicBezTo>
                <a:cubicBezTo>
                  <a:pt x="2133" y="357"/>
                  <a:pt x="2133" y="357"/>
                  <a:pt x="2133" y="357"/>
                </a:cubicBezTo>
                <a:cubicBezTo>
                  <a:pt x="2134" y="357"/>
                  <a:pt x="2134" y="357"/>
                  <a:pt x="2134" y="357"/>
                </a:cubicBezTo>
                <a:cubicBezTo>
                  <a:pt x="2134" y="356"/>
                  <a:pt x="2134" y="356"/>
                  <a:pt x="2134" y="356"/>
                </a:cubicBezTo>
                <a:cubicBezTo>
                  <a:pt x="2136" y="356"/>
                  <a:pt x="2136" y="356"/>
                  <a:pt x="2136" y="356"/>
                </a:cubicBezTo>
                <a:cubicBezTo>
                  <a:pt x="2137" y="355"/>
                  <a:pt x="2137" y="355"/>
                  <a:pt x="2137" y="355"/>
                </a:cubicBezTo>
                <a:cubicBezTo>
                  <a:pt x="2138" y="356"/>
                  <a:pt x="2138" y="356"/>
                  <a:pt x="2138" y="356"/>
                </a:cubicBezTo>
                <a:cubicBezTo>
                  <a:pt x="2140" y="356"/>
                  <a:pt x="2140" y="356"/>
                  <a:pt x="2140" y="356"/>
                </a:cubicBezTo>
                <a:cubicBezTo>
                  <a:pt x="2141" y="357"/>
                  <a:pt x="2141" y="357"/>
                  <a:pt x="2141" y="357"/>
                </a:cubicBezTo>
                <a:cubicBezTo>
                  <a:pt x="2141" y="359"/>
                  <a:pt x="2141" y="359"/>
                  <a:pt x="2141" y="359"/>
                </a:cubicBezTo>
                <a:cubicBezTo>
                  <a:pt x="2142" y="359"/>
                  <a:pt x="2142" y="359"/>
                  <a:pt x="2142" y="359"/>
                </a:cubicBezTo>
                <a:cubicBezTo>
                  <a:pt x="2144" y="359"/>
                  <a:pt x="2144" y="359"/>
                  <a:pt x="2144" y="359"/>
                </a:cubicBezTo>
                <a:cubicBezTo>
                  <a:pt x="2145" y="360"/>
                  <a:pt x="2145" y="360"/>
                  <a:pt x="2145" y="360"/>
                </a:cubicBezTo>
                <a:cubicBezTo>
                  <a:pt x="2147" y="361"/>
                  <a:pt x="2147" y="361"/>
                  <a:pt x="2147" y="361"/>
                </a:cubicBezTo>
                <a:cubicBezTo>
                  <a:pt x="2148" y="362"/>
                  <a:pt x="2148" y="362"/>
                  <a:pt x="2148" y="362"/>
                </a:cubicBezTo>
                <a:cubicBezTo>
                  <a:pt x="2149" y="362"/>
                  <a:pt x="2149" y="362"/>
                  <a:pt x="2149" y="362"/>
                </a:cubicBezTo>
                <a:cubicBezTo>
                  <a:pt x="2149" y="363"/>
                  <a:pt x="2149" y="363"/>
                  <a:pt x="2149" y="363"/>
                </a:cubicBezTo>
                <a:cubicBezTo>
                  <a:pt x="2150" y="363"/>
                  <a:pt x="2150" y="363"/>
                  <a:pt x="2150" y="363"/>
                </a:cubicBezTo>
                <a:cubicBezTo>
                  <a:pt x="2151" y="365"/>
                  <a:pt x="2151" y="365"/>
                  <a:pt x="2151" y="365"/>
                </a:cubicBezTo>
                <a:cubicBezTo>
                  <a:pt x="2151" y="366"/>
                  <a:pt x="2151" y="366"/>
                  <a:pt x="2151" y="366"/>
                </a:cubicBezTo>
                <a:cubicBezTo>
                  <a:pt x="2151" y="367"/>
                  <a:pt x="2151" y="367"/>
                  <a:pt x="2151" y="367"/>
                </a:cubicBezTo>
                <a:cubicBezTo>
                  <a:pt x="2150" y="368"/>
                  <a:pt x="2150" y="368"/>
                  <a:pt x="2150" y="368"/>
                </a:cubicBezTo>
                <a:cubicBezTo>
                  <a:pt x="2151" y="369"/>
                  <a:pt x="2151" y="369"/>
                  <a:pt x="2151" y="369"/>
                </a:cubicBezTo>
                <a:cubicBezTo>
                  <a:pt x="2152" y="369"/>
                  <a:pt x="2152" y="369"/>
                  <a:pt x="2152" y="369"/>
                </a:cubicBezTo>
                <a:cubicBezTo>
                  <a:pt x="2153" y="371"/>
                  <a:pt x="2153" y="371"/>
                  <a:pt x="2153" y="371"/>
                </a:cubicBezTo>
                <a:cubicBezTo>
                  <a:pt x="2154" y="372"/>
                  <a:pt x="2154" y="372"/>
                  <a:pt x="2154" y="372"/>
                </a:cubicBezTo>
                <a:cubicBezTo>
                  <a:pt x="2153" y="373"/>
                  <a:pt x="2153" y="373"/>
                  <a:pt x="2153" y="373"/>
                </a:cubicBezTo>
                <a:cubicBezTo>
                  <a:pt x="2153" y="375"/>
                  <a:pt x="2153" y="375"/>
                  <a:pt x="2153" y="375"/>
                </a:cubicBezTo>
                <a:cubicBezTo>
                  <a:pt x="2154" y="376"/>
                  <a:pt x="2154" y="376"/>
                  <a:pt x="2154" y="376"/>
                </a:cubicBezTo>
                <a:cubicBezTo>
                  <a:pt x="2155" y="376"/>
                  <a:pt x="2155" y="376"/>
                  <a:pt x="2155" y="376"/>
                </a:cubicBezTo>
                <a:cubicBezTo>
                  <a:pt x="2156" y="375"/>
                  <a:pt x="2156" y="375"/>
                  <a:pt x="2156" y="375"/>
                </a:cubicBezTo>
                <a:cubicBezTo>
                  <a:pt x="2156" y="376"/>
                  <a:pt x="2156" y="376"/>
                  <a:pt x="2156" y="376"/>
                </a:cubicBezTo>
                <a:cubicBezTo>
                  <a:pt x="2156" y="377"/>
                  <a:pt x="2156" y="377"/>
                  <a:pt x="2156" y="377"/>
                </a:cubicBezTo>
                <a:cubicBezTo>
                  <a:pt x="2156" y="379"/>
                  <a:pt x="2156" y="379"/>
                  <a:pt x="2156" y="379"/>
                </a:cubicBezTo>
                <a:cubicBezTo>
                  <a:pt x="2157" y="379"/>
                  <a:pt x="2157" y="379"/>
                  <a:pt x="2157" y="379"/>
                </a:cubicBezTo>
                <a:cubicBezTo>
                  <a:pt x="2156" y="380"/>
                  <a:pt x="2156" y="380"/>
                  <a:pt x="2156" y="380"/>
                </a:cubicBezTo>
                <a:cubicBezTo>
                  <a:pt x="2156" y="381"/>
                  <a:pt x="2156" y="381"/>
                  <a:pt x="2156" y="381"/>
                </a:cubicBezTo>
                <a:cubicBezTo>
                  <a:pt x="2156" y="382"/>
                  <a:pt x="2156" y="382"/>
                  <a:pt x="2156" y="382"/>
                </a:cubicBezTo>
                <a:cubicBezTo>
                  <a:pt x="2156" y="383"/>
                  <a:pt x="2156" y="383"/>
                  <a:pt x="2156" y="383"/>
                </a:cubicBezTo>
                <a:cubicBezTo>
                  <a:pt x="2156" y="384"/>
                  <a:pt x="2156" y="384"/>
                  <a:pt x="2156" y="384"/>
                </a:cubicBezTo>
                <a:cubicBezTo>
                  <a:pt x="2156" y="385"/>
                  <a:pt x="2156" y="385"/>
                  <a:pt x="2156" y="385"/>
                </a:cubicBezTo>
                <a:cubicBezTo>
                  <a:pt x="2157" y="386"/>
                  <a:pt x="2157" y="386"/>
                  <a:pt x="2157" y="386"/>
                </a:cubicBezTo>
                <a:cubicBezTo>
                  <a:pt x="2156" y="387"/>
                  <a:pt x="2156" y="387"/>
                  <a:pt x="2156" y="387"/>
                </a:cubicBezTo>
                <a:cubicBezTo>
                  <a:pt x="2157" y="390"/>
                  <a:pt x="2157" y="390"/>
                  <a:pt x="2157" y="390"/>
                </a:cubicBezTo>
                <a:cubicBezTo>
                  <a:pt x="2156" y="390"/>
                  <a:pt x="2156" y="390"/>
                  <a:pt x="2156" y="390"/>
                </a:cubicBezTo>
                <a:cubicBezTo>
                  <a:pt x="2157" y="393"/>
                  <a:pt x="2157" y="393"/>
                  <a:pt x="2157" y="393"/>
                </a:cubicBezTo>
                <a:cubicBezTo>
                  <a:pt x="2157" y="394"/>
                  <a:pt x="2157" y="394"/>
                  <a:pt x="2157" y="394"/>
                </a:cubicBezTo>
                <a:cubicBezTo>
                  <a:pt x="2157" y="395"/>
                  <a:pt x="2157" y="395"/>
                  <a:pt x="2157" y="395"/>
                </a:cubicBezTo>
                <a:cubicBezTo>
                  <a:pt x="2158" y="399"/>
                  <a:pt x="2158" y="399"/>
                  <a:pt x="2158" y="399"/>
                </a:cubicBezTo>
                <a:cubicBezTo>
                  <a:pt x="2159" y="399"/>
                  <a:pt x="2159" y="399"/>
                  <a:pt x="2159" y="399"/>
                </a:cubicBezTo>
                <a:cubicBezTo>
                  <a:pt x="2160" y="398"/>
                  <a:pt x="2160" y="398"/>
                  <a:pt x="2160" y="398"/>
                </a:cubicBezTo>
                <a:cubicBezTo>
                  <a:pt x="2160" y="399"/>
                  <a:pt x="2160" y="399"/>
                  <a:pt x="2160" y="399"/>
                </a:cubicBezTo>
                <a:cubicBezTo>
                  <a:pt x="2159" y="400"/>
                  <a:pt x="2159" y="400"/>
                  <a:pt x="2159" y="400"/>
                </a:cubicBezTo>
                <a:cubicBezTo>
                  <a:pt x="2159" y="401"/>
                  <a:pt x="2159" y="401"/>
                  <a:pt x="2159" y="401"/>
                </a:cubicBezTo>
                <a:cubicBezTo>
                  <a:pt x="2159" y="402"/>
                  <a:pt x="2159" y="402"/>
                  <a:pt x="2159" y="402"/>
                </a:cubicBezTo>
                <a:cubicBezTo>
                  <a:pt x="2160" y="402"/>
                  <a:pt x="2160" y="402"/>
                  <a:pt x="2160" y="402"/>
                </a:cubicBezTo>
                <a:cubicBezTo>
                  <a:pt x="2162" y="404"/>
                  <a:pt x="2162" y="404"/>
                  <a:pt x="2162" y="404"/>
                </a:cubicBezTo>
                <a:cubicBezTo>
                  <a:pt x="2162" y="406"/>
                  <a:pt x="2162" y="406"/>
                  <a:pt x="2162" y="406"/>
                </a:cubicBezTo>
                <a:cubicBezTo>
                  <a:pt x="2162" y="407"/>
                  <a:pt x="2162" y="407"/>
                  <a:pt x="2162" y="407"/>
                </a:cubicBezTo>
                <a:cubicBezTo>
                  <a:pt x="2162" y="408"/>
                  <a:pt x="2162" y="408"/>
                  <a:pt x="2162" y="408"/>
                </a:cubicBezTo>
                <a:cubicBezTo>
                  <a:pt x="2162" y="411"/>
                  <a:pt x="2162" y="411"/>
                  <a:pt x="2162" y="411"/>
                </a:cubicBezTo>
                <a:cubicBezTo>
                  <a:pt x="2163" y="411"/>
                  <a:pt x="2163" y="411"/>
                  <a:pt x="2163" y="411"/>
                </a:cubicBezTo>
                <a:cubicBezTo>
                  <a:pt x="2163" y="413"/>
                  <a:pt x="2163" y="413"/>
                  <a:pt x="2163" y="413"/>
                </a:cubicBezTo>
                <a:cubicBezTo>
                  <a:pt x="2163" y="415"/>
                  <a:pt x="2163" y="415"/>
                  <a:pt x="2163" y="415"/>
                </a:cubicBezTo>
                <a:cubicBezTo>
                  <a:pt x="2164" y="416"/>
                  <a:pt x="2164" y="416"/>
                  <a:pt x="2164" y="416"/>
                </a:cubicBezTo>
                <a:cubicBezTo>
                  <a:pt x="2164" y="418"/>
                  <a:pt x="2164" y="418"/>
                  <a:pt x="2164" y="418"/>
                </a:cubicBezTo>
                <a:cubicBezTo>
                  <a:pt x="2162" y="420"/>
                  <a:pt x="2162" y="420"/>
                  <a:pt x="2162" y="420"/>
                </a:cubicBezTo>
                <a:cubicBezTo>
                  <a:pt x="2162" y="421"/>
                  <a:pt x="2162" y="421"/>
                  <a:pt x="2162" y="421"/>
                </a:cubicBezTo>
                <a:cubicBezTo>
                  <a:pt x="2161" y="423"/>
                  <a:pt x="2161" y="423"/>
                  <a:pt x="2161" y="423"/>
                </a:cubicBezTo>
                <a:cubicBezTo>
                  <a:pt x="2161" y="426"/>
                  <a:pt x="2161" y="426"/>
                  <a:pt x="2161" y="426"/>
                </a:cubicBezTo>
                <a:cubicBezTo>
                  <a:pt x="2161" y="428"/>
                  <a:pt x="2161" y="428"/>
                  <a:pt x="2161" y="428"/>
                </a:cubicBezTo>
                <a:cubicBezTo>
                  <a:pt x="2160" y="429"/>
                  <a:pt x="2160" y="429"/>
                  <a:pt x="2160" y="429"/>
                </a:cubicBezTo>
                <a:cubicBezTo>
                  <a:pt x="2160" y="430"/>
                  <a:pt x="2160" y="430"/>
                  <a:pt x="2160" y="430"/>
                </a:cubicBezTo>
                <a:cubicBezTo>
                  <a:pt x="2159" y="432"/>
                  <a:pt x="2159" y="432"/>
                  <a:pt x="2159" y="432"/>
                </a:cubicBezTo>
                <a:cubicBezTo>
                  <a:pt x="2160" y="432"/>
                  <a:pt x="2160" y="432"/>
                  <a:pt x="2160" y="432"/>
                </a:cubicBezTo>
                <a:cubicBezTo>
                  <a:pt x="2160" y="433"/>
                  <a:pt x="2160" y="433"/>
                  <a:pt x="2160" y="433"/>
                </a:cubicBezTo>
                <a:cubicBezTo>
                  <a:pt x="2159" y="435"/>
                  <a:pt x="2159" y="435"/>
                  <a:pt x="2159" y="435"/>
                </a:cubicBezTo>
                <a:cubicBezTo>
                  <a:pt x="2159" y="438"/>
                  <a:pt x="2159" y="438"/>
                  <a:pt x="2159" y="438"/>
                </a:cubicBezTo>
                <a:cubicBezTo>
                  <a:pt x="2158" y="439"/>
                  <a:pt x="2158" y="439"/>
                  <a:pt x="2158" y="439"/>
                </a:cubicBezTo>
                <a:cubicBezTo>
                  <a:pt x="2159" y="441"/>
                  <a:pt x="2159" y="441"/>
                  <a:pt x="2159" y="441"/>
                </a:cubicBezTo>
                <a:cubicBezTo>
                  <a:pt x="2159" y="442"/>
                  <a:pt x="2159" y="442"/>
                  <a:pt x="2159" y="442"/>
                </a:cubicBezTo>
                <a:cubicBezTo>
                  <a:pt x="2158" y="444"/>
                  <a:pt x="2158" y="444"/>
                  <a:pt x="2158" y="444"/>
                </a:cubicBezTo>
                <a:cubicBezTo>
                  <a:pt x="2157" y="445"/>
                  <a:pt x="2157" y="445"/>
                  <a:pt x="2157" y="445"/>
                </a:cubicBezTo>
                <a:cubicBezTo>
                  <a:pt x="2156" y="446"/>
                  <a:pt x="2156" y="446"/>
                  <a:pt x="2156" y="446"/>
                </a:cubicBezTo>
                <a:cubicBezTo>
                  <a:pt x="2156" y="448"/>
                  <a:pt x="2156" y="448"/>
                  <a:pt x="2156" y="448"/>
                </a:cubicBezTo>
                <a:cubicBezTo>
                  <a:pt x="2155" y="449"/>
                  <a:pt x="2155" y="449"/>
                  <a:pt x="2155" y="449"/>
                </a:cubicBezTo>
                <a:cubicBezTo>
                  <a:pt x="2153" y="455"/>
                  <a:pt x="2153" y="455"/>
                  <a:pt x="2153" y="455"/>
                </a:cubicBezTo>
                <a:cubicBezTo>
                  <a:pt x="2153" y="457"/>
                  <a:pt x="2153" y="457"/>
                  <a:pt x="2153" y="457"/>
                </a:cubicBezTo>
                <a:cubicBezTo>
                  <a:pt x="2153" y="458"/>
                  <a:pt x="2153" y="458"/>
                  <a:pt x="2153" y="458"/>
                </a:cubicBezTo>
                <a:cubicBezTo>
                  <a:pt x="2151" y="459"/>
                  <a:pt x="2151" y="459"/>
                  <a:pt x="2151" y="459"/>
                </a:cubicBezTo>
                <a:cubicBezTo>
                  <a:pt x="2151" y="460"/>
                  <a:pt x="2151" y="460"/>
                  <a:pt x="2151" y="460"/>
                </a:cubicBezTo>
                <a:cubicBezTo>
                  <a:pt x="2150" y="461"/>
                  <a:pt x="2150" y="461"/>
                  <a:pt x="2150" y="461"/>
                </a:cubicBezTo>
                <a:cubicBezTo>
                  <a:pt x="2150" y="463"/>
                  <a:pt x="2150" y="463"/>
                  <a:pt x="2150" y="463"/>
                </a:cubicBezTo>
                <a:cubicBezTo>
                  <a:pt x="2149" y="463"/>
                  <a:pt x="2149" y="463"/>
                  <a:pt x="2149" y="463"/>
                </a:cubicBezTo>
                <a:cubicBezTo>
                  <a:pt x="2150" y="464"/>
                  <a:pt x="2150" y="464"/>
                  <a:pt x="2150" y="464"/>
                </a:cubicBezTo>
                <a:cubicBezTo>
                  <a:pt x="2149" y="466"/>
                  <a:pt x="2149" y="466"/>
                  <a:pt x="2149" y="466"/>
                </a:cubicBezTo>
                <a:cubicBezTo>
                  <a:pt x="2148" y="466"/>
                  <a:pt x="2148" y="466"/>
                  <a:pt x="2148" y="466"/>
                </a:cubicBezTo>
                <a:cubicBezTo>
                  <a:pt x="2147" y="465"/>
                  <a:pt x="2147" y="465"/>
                  <a:pt x="2147" y="465"/>
                </a:cubicBezTo>
                <a:cubicBezTo>
                  <a:pt x="2148" y="467"/>
                  <a:pt x="2148" y="467"/>
                  <a:pt x="2148" y="467"/>
                </a:cubicBezTo>
                <a:cubicBezTo>
                  <a:pt x="2148" y="468"/>
                  <a:pt x="2148" y="468"/>
                  <a:pt x="2148" y="468"/>
                </a:cubicBezTo>
                <a:cubicBezTo>
                  <a:pt x="2146" y="469"/>
                  <a:pt x="2146" y="469"/>
                  <a:pt x="2146" y="469"/>
                </a:cubicBezTo>
                <a:cubicBezTo>
                  <a:pt x="2147" y="470"/>
                  <a:pt x="2147" y="470"/>
                  <a:pt x="2147" y="470"/>
                </a:cubicBezTo>
                <a:cubicBezTo>
                  <a:pt x="2145" y="472"/>
                  <a:pt x="2145" y="472"/>
                  <a:pt x="2145" y="472"/>
                </a:cubicBezTo>
                <a:cubicBezTo>
                  <a:pt x="2144" y="474"/>
                  <a:pt x="2144" y="474"/>
                  <a:pt x="2144" y="474"/>
                </a:cubicBezTo>
                <a:cubicBezTo>
                  <a:pt x="2143" y="474"/>
                  <a:pt x="2143" y="474"/>
                  <a:pt x="2143" y="474"/>
                </a:cubicBezTo>
                <a:cubicBezTo>
                  <a:pt x="2143" y="475"/>
                  <a:pt x="2143" y="475"/>
                  <a:pt x="2143" y="475"/>
                </a:cubicBezTo>
                <a:cubicBezTo>
                  <a:pt x="2141" y="475"/>
                  <a:pt x="2141" y="475"/>
                  <a:pt x="2141" y="475"/>
                </a:cubicBezTo>
                <a:cubicBezTo>
                  <a:pt x="2139" y="476"/>
                  <a:pt x="2139" y="476"/>
                  <a:pt x="2139" y="476"/>
                </a:cubicBezTo>
                <a:cubicBezTo>
                  <a:pt x="2138" y="476"/>
                  <a:pt x="2138" y="476"/>
                  <a:pt x="2138" y="476"/>
                </a:cubicBezTo>
                <a:cubicBezTo>
                  <a:pt x="2136" y="475"/>
                  <a:pt x="2136" y="475"/>
                  <a:pt x="2136" y="475"/>
                </a:cubicBezTo>
                <a:cubicBezTo>
                  <a:pt x="2134" y="475"/>
                  <a:pt x="2134" y="475"/>
                  <a:pt x="2134" y="475"/>
                </a:cubicBezTo>
                <a:cubicBezTo>
                  <a:pt x="2134" y="472"/>
                  <a:pt x="2134" y="472"/>
                  <a:pt x="2134" y="472"/>
                </a:cubicBezTo>
                <a:cubicBezTo>
                  <a:pt x="2133" y="472"/>
                  <a:pt x="2133" y="472"/>
                  <a:pt x="2133" y="472"/>
                </a:cubicBezTo>
                <a:cubicBezTo>
                  <a:pt x="2132" y="472"/>
                  <a:pt x="2132" y="472"/>
                  <a:pt x="2132" y="472"/>
                </a:cubicBezTo>
                <a:cubicBezTo>
                  <a:pt x="2130" y="472"/>
                  <a:pt x="2130" y="472"/>
                  <a:pt x="2130" y="472"/>
                </a:cubicBezTo>
                <a:cubicBezTo>
                  <a:pt x="2130" y="473"/>
                  <a:pt x="2130" y="473"/>
                  <a:pt x="2130" y="473"/>
                </a:cubicBezTo>
                <a:cubicBezTo>
                  <a:pt x="2129" y="474"/>
                  <a:pt x="2129" y="474"/>
                  <a:pt x="2129" y="474"/>
                </a:cubicBezTo>
                <a:cubicBezTo>
                  <a:pt x="2129" y="477"/>
                  <a:pt x="2129" y="477"/>
                  <a:pt x="2129" y="477"/>
                </a:cubicBezTo>
                <a:cubicBezTo>
                  <a:pt x="2128" y="477"/>
                  <a:pt x="2128" y="477"/>
                  <a:pt x="2128" y="477"/>
                </a:cubicBezTo>
                <a:cubicBezTo>
                  <a:pt x="2127" y="479"/>
                  <a:pt x="2127" y="479"/>
                  <a:pt x="2127" y="479"/>
                </a:cubicBezTo>
                <a:cubicBezTo>
                  <a:pt x="2125" y="479"/>
                  <a:pt x="2125" y="479"/>
                  <a:pt x="2125" y="479"/>
                </a:cubicBezTo>
                <a:cubicBezTo>
                  <a:pt x="2125" y="481"/>
                  <a:pt x="2125" y="481"/>
                  <a:pt x="2125" y="481"/>
                </a:cubicBezTo>
                <a:cubicBezTo>
                  <a:pt x="2124" y="481"/>
                  <a:pt x="2124" y="481"/>
                  <a:pt x="2124" y="481"/>
                </a:cubicBezTo>
                <a:cubicBezTo>
                  <a:pt x="2124" y="481"/>
                  <a:pt x="2124" y="481"/>
                  <a:pt x="2122" y="483"/>
                </a:cubicBezTo>
                <a:cubicBezTo>
                  <a:pt x="2122" y="483"/>
                  <a:pt x="2122" y="483"/>
                  <a:pt x="2121" y="484"/>
                </a:cubicBezTo>
                <a:cubicBezTo>
                  <a:pt x="2121" y="484"/>
                  <a:pt x="2121" y="484"/>
                  <a:pt x="2121" y="488"/>
                </a:cubicBezTo>
                <a:cubicBezTo>
                  <a:pt x="2121" y="488"/>
                  <a:pt x="2121" y="488"/>
                  <a:pt x="2121" y="489"/>
                </a:cubicBezTo>
                <a:cubicBezTo>
                  <a:pt x="2121" y="489"/>
                  <a:pt x="2121" y="489"/>
                  <a:pt x="2122" y="490"/>
                </a:cubicBezTo>
                <a:cubicBezTo>
                  <a:pt x="2122" y="490"/>
                  <a:pt x="2122" y="490"/>
                  <a:pt x="2122" y="494"/>
                </a:cubicBezTo>
                <a:cubicBezTo>
                  <a:pt x="2122" y="494"/>
                  <a:pt x="2122" y="494"/>
                  <a:pt x="2123" y="494"/>
                </a:cubicBezTo>
                <a:cubicBezTo>
                  <a:pt x="2123" y="494"/>
                  <a:pt x="2123" y="494"/>
                  <a:pt x="2123" y="496"/>
                </a:cubicBezTo>
                <a:cubicBezTo>
                  <a:pt x="2123" y="496"/>
                  <a:pt x="2123" y="496"/>
                  <a:pt x="2121" y="497"/>
                </a:cubicBezTo>
                <a:cubicBezTo>
                  <a:pt x="2121" y="497"/>
                  <a:pt x="2121" y="497"/>
                  <a:pt x="2121" y="498"/>
                </a:cubicBezTo>
                <a:cubicBezTo>
                  <a:pt x="2121" y="498"/>
                  <a:pt x="2121" y="498"/>
                  <a:pt x="2118" y="501"/>
                </a:cubicBezTo>
                <a:cubicBezTo>
                  <a:pt x="2118" y="501"/>
                  <a:pt x="2118" y="501"/>
                  <a:pt x="2118" y="502"/>
                </a:cubicBezTo>
                <a:cubicBezTo>
                  <a:pt x="2118" y="502"/>
                  <a:pt x="2118" y="502"/>
                  <a:pt x="2118" y="503"/>
                </a:cubicBezTo>
                <a:cubicBezTo>
                  <a:pt x="2118" y="503"/>
                  <a:pt x="2118" y="503"/>
                  <a:pt x="2117" y="503"/>
                </a:cubicBezTo>
                <a:cubicBezTo>
                  <a:pt x="2117" y="503"/>
                  <a:pt x="2117" y="503"/>
                  <a:pt x="2116" y="503"/>
                </a:cubicBezTo>
                <a:cubicBezTo>
                  <a:pt x="2116" y="503"/>
                  <a:pt x="2116" y="503"/>
                  <a:pt x="2115" y="504"/>
                </a:cubicBezTo>
                <a:cubicBezTo>
                  <a:pt x="2115" y="504"/>
                  <a:pt x="2115" y="504"/>
                  <a:pt x="2114" y="506"/>
                </a:cubicBezTo>
                <a:cubicBezTo>
                  <a:pt x="2114" y="506"/>
                  <a:pt x="2114" y="506"/>
                  <a:pt x="2113" y="507"/>
                </a:cubicBezTo>
                <a:cubicBezTo>
                  <a:pt x="2113" y="507"/>
                  <a:pt x="2113" y="507"/>
                  <a:pt x="2113" y="508"/>
                </a:cubicBezTo>
                <a:cubicBezTo>
                  <a:pt x="2113" y="508"/>
                  <a:pt x="2113" y="508"/>
                  <a:pt x="2113" y="510"/>
                </a:cubicBezTo>
                <a:cubicBezTo>
                  <a:pt x="2113" y="510"/>
                  <a:pt x="2113" y="510"/>
                  <a:pt x="2112" y="510"/>
                </a:cubicBezTo>
                <a:cubicBezTo>
                  <a:pt x="2112" y="510"/>
                  <a:pt x="2112" y="510"/>
                  <a:pt x="2113" y="512"/>
                </a:cubicBezTo>
                <a:cubicBezTo>
                  <a:pt x="2113" y="512"/>
                  <a:pt x="2113" y="512"/>
                  <a:pt x="2115" y="512"/>
                </a:cubicBezTo>
                <a:cubicBezTo>
                  <a:pt x="2115" y="512"/>
                  <a:pt x="2115" y="512"/>
                  <a:pt x="2116" y="513"/>
                </a:cubicBezTo>
                <a:cubicBezTo>
                  <a:pt x="2116" y="513"/>
                  <a:pt x="2116" y="513"/>
                  <a:pt x="2120" y="516"/>
                </a:cubicBezTo>
                <a:cubicBezTo>
                  <a:pt x="2120" y="516"/>
                  <a:pt x="2120" y="516"/>
                  <a:pt x="2121" y="517"/>
                </a:cubicBezTo>
                <a:cubicBezTo>
                  <a:pt x="2121" y="517"/>
                  <a:pt x="2121" y="517"/>
                  <a:pt x="2123" y="522"/>
                </a:cubicBezTo>
                <a:cubicBezTo>
                  <a:pt x="2123" y="522"/>
                  <a:pt x="2123" y="522"/>
                  <a:pt x="2127" y="525"/>
                </a:cubicBezTo>
                <a:cubicBezTo>
                  <a:pt x="2127" y="525"/>
                  <a:pt x="2127" y="525"/>
                  <a:pt x="2130" y="530"/>
                </a:cubicBezTo>
                <a:cubicBezTo>
                  <a:pt x="2130" y="530"/>
                  <a:pt x="2130" y="530"/>
                  <a:pt x="2131" y="533"/>
                </a:cubicBezTo>
                <a:cubicBezTo>
                  <a:pt x="2131" y="533"/>
                  <a:pt x="2131" y="533"/>
                  <a:pt x="2132" y="534"/>
                </a:cubicBezTo>
                <a:cubicBezTo>
                  <a:pt x="2132" y="534"/>
                  <a:pt x="2132" y="534"/>
                  <a:pt x="2132" y="538"/>
                </a:cubicBezTo>
                <a:cubicBezTo>
                  <a:pt x="2132" y="538"/>
                  <a:pt x="2132" y="538"/>
                  <a:pt x="2132" y="539"/>
                </a:cubicBezTo>
                <a:cubicBezTo>
                  <a:pt x="2132" y="539"/>
                  <a:pt x="2132" y="539"/>
                  <a:pt x="2133" y="539"/>
                </a:cubicBezTo>
                <a:cubicBezTo>
                  <a:pt x="2133" y="539"/>
                  <a:pt x="2133" y="539"/>
                  <a:pt x="2134" y="544"/>
                </a:cubicBezTo>
                <a:cubicBezTo>
                  <a:pt x="2134" y="544"/>
                  <a:pt x="2134" y="544"/>
                  <a:pt x="2133" y="544"/>
                </a:cubicBezTo>
                <a:cubicBezTo>
                  <a:pt x="2133" y="544"/>
                  <a:pt x="2133" y="544"/>
                  <a:pt x="2133" y="545"/>
                </a:cubicBezTo>
                <a:cubicBezTo>
                  <a:pt x="2133" y="545"/>
                  <a:pt x="2133" y="545"/>
                  <a:pt x="2131" y="547"/>
                </a:cubicBezTo>
                <a:cubicBezTo>
                  <a:pt x="2131" y="547"/>
                  <a:pt x="2131" y="547"/>
                  <a:pt x="2130" y="547"/>
                </a:cubicBezTo>
                <a:cubicBezTo>
                  <a:pt x="2130" y="547"/>
                  <a:pt x="2130" y="547"/>
                  <a:pt x="2128" y="548"/>
                </a:cubicBezTo>
                <a:cubicBezTo>
                  <a:pt x="2128" y="548"/>
                  <a:pt x="2128" y="548"/>
                  <a:pt x="2129" y="549"/>
                </a:cubicBezTo>
                <a:cubicBezTo>
                  <a:pt x="2129" y="549"/>
                  <a:pt x="2129" y="549"/>
                  <a:pt x="2128" y="550"/>
                </a:cubicBezTo>
                <a:cubicBezTo>
                  <a:pt x="2128" y="550"/>
                  <a:pt x="2128" y="550"/>
                  <a:pt x="2128" y="549"/>
                </a:cubicBezTo>
                <a:cubicBezTo>
                  <a:pt x="2128" y="549"/>
                  <a:pt x="2128" y="549"/>
                  <a:pt x="2127" y="549"/>
                </a:cubicBezTo>
                <a:cubicBezTo>
                  <a:pt x="2127" y="549"/>
                  <a:pt x="2127" y="549"/>
                  <a:pt x="2126" y="548"/>
                </a:cubicBezTo>
                <a:cubicBezTo>
                  <a:pt x="2126" y="548"/>
                  <a:pt x="2126" y="548"/>
                  <a:pt x="2125" y="548"/>
                </a:cubicBezTo>
                <a:cubicBezTo>
                  <a:pt x="2125" y="548"/>
                  <a:pt x="2125" y="548"/>
                  <a:pt x="2125" y="549"/>
                </a:cubicBezTo>
                <a:cubicBezTo>
                  <a:pt x="2125" y="549"/>
                  <a:pt x="2125" y="549"/>
                  <a:pt x="2124" y="549"/>
                </a:cubicBezTo>
                <a:cubicBezTo>
                  <a:pt x="2124" y="549"/>
                  <a:pt x="2124" y="549"/>
                  <a:pt x="2123" y="549"/>
                </a:cubicBezTo>
                <a:cubicBezTo>
                  <a:pt x="2123" y="549"/>
                  <a:pt x="2123" y="549"/>
                  <a:pt x="2120" y="551"/>
                </a:cubicBezTo>
                <a:cubicBezTo>
                  <a:pt x="2120" y="551"/>
                  <a:pt x="2120" y="551"/>
                  <a:pt x="2120" y="552"/>
                </a:cubicBezTo>
                <a:cubicBezTo>
                  <a:pt x="2120" y="552"/>
                  <a:pt x="2120" y="552"/>
                  <a:pt x="2119" y="552"/>
                </a:cubicBezTo>
                <a:cubicBezTo>
                  <a:pt x="2119" y="552"/>
                  <a:pt x="2119" y="552"/>
                  <a:pt x="2119" y="553"/>
                </a:cubicBezTo>
                <a:cubicBezTo>
                  <a:pt x="2119" y="553"/>
                  <a:pt x="2119" y="553"/>
                  <a:pt x="2118" y="554"/>
                </a:cubicBezTo>
                <a:cubicBezTo>
                  <a:pt x="2118" y="554"/>
                  <a:pt x="2118" y="554"/>
                  <a:pt x="2118" y="553"/>
                </a:cubicBezTo>
                <a:cubicBezTo>
                  <a:pt x="2118" y="553"/>
                  <a:pt x="2118" y="553"/>
                  <a:pt x="2117" y="551"/>
                </a:cubicBezTo>
                <a:cubicBezTo>
                  <a:pt x="2117" y="551"/>
                  <a:pt x="2117" y="551"/>
                  <a:pt x="2116" y="551"/>
                </a:cubicBezTo>
                <a:cubicBezTo>
                  <a:pt x="2116" y="551"/>
                  <a:pt x="2116" y="551"/>
                  <a:pt x="2115" y="548"/>
                </a:cubicBezTo>
                <a:cubicBezTo>
                  <a:pt x="2115" y="548"/>
                  <a:pt x="2115" y="548"/>
                  <a:pt x="2116" y="548"/>
                </a:cubicBezTo>
                <a:cubicBezTo>
                  <a:pt x="2116" y="548"/>
                  <a:pt x="2116" y="548"/>
                  <a:pt x="2115" y="547"/>
                </a:cubicBezTo>
                <a:cubicBezTo>
                  <a:pt x="2115" y="547"/>
                  <a:pt x="2115" y="547"/>
                  <a:pt x="2115" y="546"/>
                </a:cubicBezTo>
                <a:cubicBezTo>
                  <a:pt x="2115" y="546"/>
                  <a:pt x="2115" y="546"/>
                  <a:pt x="2116" y="545"/>
                </a:cubicBezTo>
                <a:cubicBezTo>
                  <a:pt x="2116" y="545"/>
                  <a:pt x="2116" y="545"/>
                  <a:pt x="2116" y="544"/>
                </a:cubicBezTo>
                <a:cubicBezTo>
                  <a:pt x="2116" y="544"/>
                  <a:pt x="2116" y="544"/>
                  <a:pt x="2115" y="543"/>
                </a:cubicBezTo>
                <a:cubicBezTo>
                  <a:pt x="2115" y="543"/>
                  <a:pt x="2115" y="543"/>
                  <a:pt x="2117" y="541"/>
                </a:cubicBezTo>
                <a:cubicBezTo>
                  <a:pt x="2117" y="541"/>
                  <a:pt x="2117" y="541"/>
                  <a:pt x="2116" y="539"/>
                </a:cubicBezTo>
                <a:cubicBezTo>
                  <a:pt x="2116" y="539"/>
                  <a:pt x="2116" y="539"/>
                  <a:pt x="2115" y="540"/>
                </a:cubicBezTo>
                <a:cubicBezTo>
                  <a:pt x="2115" y="540"/>
                  <a:pt x="2115" y="540"/>
                  <a:pt x="2115" y="539"/>
                </a:cubicBezTo>
                <a:cubicBezTo>
                  <a:pt x="2115" y="539"/>
                  <a:pt x="2115" y="539"/>
                  <a:pt x="2115" y="537"/>
                </a:cubicBezTo>
                <a:cubicBezTo>
                  <a:pt x="2115" y="537"/>
                  <a:pt x="2115" y="537"/>
                  <a:pt x="2114" y="535"/>
                </a:cubicBezTo>
                <a:cubicBezTo>
                  <a:pt x="2114" y="535"/>
                  <a:pt x="2114" y="535"/>
                  <a:pt x="2113" y="535"/>
                </a:cubicBezTo>
                <a:cubicBezTo>
                  <a:pt x="2113" y="535"/>
                  <a:pt x="2113" y="535"/>
                  <a:pt x="2111" y="534"/>
                </a:cubicBezTo>
                <a:cubicBezTo>
                  <a:pt x="2111" y="534"/>
                  <a:pt x="2111" y="534"/>
                  <a:pt x="2112" y="532"/>
                </a:cubicBezTo>
                <a:cubicBezTo>
                  <a:pt x="2112" y="532"/>
                  <a:pt x="2112" y="532"/>
                  <a:pt x="2113" y="533"/>
                </a:cubicBezTo>
                <a:cubicBezTo>
                  <a:pt x="2113" y="533"/>
                  <a:pt x="2113" y="533"/>
                  <a:pt x="2113" y="531"/>
                </a:cubicBezTo>
                <a:cubicBezTo>
                  <a:pt x="2113" y="531"/>
                  <a:pt x="2113" y="531"/>
                  <a:pt x="2114" y="532"/>
                </a:cubicBezTo>
                <a:cubicBezTo>
                  <a:pt x="2114" y="532"/>
                  <a:pt x="2114" y="532"/>
                  <a:pt x="2116" y="533"/>
                </a:cubicBezTo>
                <a:cubicBezTo>
                  <a:pt x="2116" y="533"/>
                  <a:pt x="2116" y="533"/>
                  <a:pt x="2115" y="532"/>
                </a:cubicBezTo>
                <a:cubicBezTo>
                  <a:pt x="2115" y="532"/>
                  <a:pt x="2115" y="532"/>
                  <a:pt x="2114" y="530"/>
                </a:cubicBezTo>
                <a:cubicBezTo>
                  <a:pt x="2114" y="530"/>
                  <a:pt x="2114" y="530"/>
                  <a:pt x="2112" y="527"/>
                </a:cubicBezTo>
                <a:cubicBezTo>
                  <a:pt x="2112" y="527"/>
                  <a:pt x="2112" y="527"/>
                  <a:pt x="2110" y="525"/>
                </a:cubicBezTo>
                <a:cubicBezTo>
                  <a:pt x="2110" y="525"/>
                  <a:pt x="2110" y="525"/>
                  <a:pt x="2109" y="525"/>
                </a:cubicBezTo>
                <a:cubicBezTo>
                  <a:pt x="2109" y="525"/>
                  <a:pt x="2109" y="525"/>
                  <a:pt x="2108" y="525"/>
                </a:cubicBezTo>
                <a:cubicBezTo>
                  <a:pt x="2108" y="525"/>
                  <a:pt x="2108" y="525"/>
                  <a:pt x="2107" y="525"/>
                </a:cubicBezTo>
                <a:cubicBezTo>
                  <a:pt x="2107" y="525"/>
                  <a:pt x="2107" y="525"/>
                  <a:pt x="2106" y="524"/>
                </a:cubicBezTo>
                <a:cubicBezTo>
                  <a:pt x="2106" y="524"/>
                  <a:pt x="2106" y="524"/>
                  <a:pt x="2105" y="524"/>
                </a:cubicBezTo>
                <a:cubicBezTo>
                  <a:pt x="2105" y="524"/>
                  <a:pt x="2105" y="524"/>
                  <a:pt x="2106" y="525"/>
                </a:cubicBezTo>
                <a:cubicBezTo>
                  <a:pt x="2106" y="525"/>
                  <a:pt x="2106" y="525"/>
                  <a:pt x="2105" y="526"/>
                </a:cubicBezTo>
                <a:cubicBezTo>
                  <a:pt x="2105" y="526"/>
                  <a:pt x="2105" y="526"/>
                  <a:pt x="2104" y="526"/>
                </a:cubicBezTo>
                <a:cubicBezTo>
                  <a:pt x="2104" y="526"/>
                  <a:pt x="2104" y="526"/>
                  <a:pt x="2103" y="527"/>
                </a:cubicBezTo>
                <a:cubicBezTo>
                  <a:pt x="2103" y="527"/>
                  <a:pt x="2103" y="527"/>
                  <a:pt x="2102" y="526"/>
                </a:cubicBezTo>
                <a:cubicBezTo>
                  <a:pt x="2102" y="526"/>
                  <a:pt x="2102" y="526"/>
                  <a:pt x="2103" y="524"/>
                </a:cubicBezTo>
                <a:cubicBezTo>
                  <a:pt x="2103" y="524"/>
                  <a:pt x="2103" y="524"/>
                  <a:pt x="2102" y="524"/>
                </a:cubicBezTo>
                <a:cubicBezTo>
                  <a:pt x="2102" y="524"/>
                  <a:pt x="2102" y="524"/>
                  <a:pt x="2101" y="524"/>
                </a:cubicBezTo>
                <a:cubicBezTo>
                  <a:pt x="2101" y="524"/>
                  <a:pt x="2101" y="524"/>
                  <a:pt x="2100" y="524"/>
                </a:cubicBezTo>
                <a:cubicBezTo>
                  <a:pt x="2100" y="524"/>
                  <a:pt x="2100" y="524"/>
                  <a:pt x="2100" y="523"/>
                </a:cubicBezTo>
                <a:cubicBezTo>
                  <a:pt x="2100" y="523"/>
                  <a:pt x="2100" y="523"/>
                  <a:pt x="2101" y="520"/>
                </a:cubicBezTo>
                <a:cubicBezTo>
                  <a:pt x="2101" y="520"/>
                  <a:pt x="2101" y="520"/>
                  <a:pt x="2101" y="519"/>
                </a:cubicBezTo>
                <a:cubicBezTo>
                  <a:pt x="2101" y="519"/>
                  <a:pt x="2101" y="519"/>
                  <a:pt x="2103" y="519"/>
                </a:cubicBezTo>
                <a:cubicBezTo>
                  <a:pt x="2103" y="519"/>
                  <a:pt x="2103" y="519"/>
                  <a:pt x="2104" y="517"/>
                </a:cubicBezTo>
                <a:cubicBezTo>
                  <a:pt x="2104" y="517"/>
                  <a:pt x="2104" y="517"/>
                  <a:pt x="2103" y="518"/>
                </a:cubicBezTo>
                <a:cubicBezTo>
                  <a:pt x="2103" y="518"/>
                  <a:pt x="2103" y="518"/>
                  <a:pt x="2101" y="518"/>
                </a:cubicBezTo>
                <a:cubicBezTo>
                  <a:pt x="2101" y="518"/>
                  <a:pt x="2101" y="518"/>
                  <a:pt x="2100" y="517"/>
                </a:cubicBezTo>
                <a:cubicBezTo>
                  <a:pt x="2100" y="517"/>
                  <a:pt x="2100" y="517"/>
                  <a:pt x="2100" y="514"/>
                </a:cubicBezTo>
                <a:cubicBezTo>
                  <a:pt x="2100" y="514"/>
                  <a:pt x="2100" y="514"/>
                  <a:pt x="2102" y="512"/>
                </a:cubicBezTo>
                <a:cubicBezTo>
                  <a:pt x="2102" y="512"/>
                  <a:pt x="2102" y="512"/>
                  <a:pt x="2101" y="511"/>
                </a:cubicBezTo>
                <a:cubicBezTo>
                  <a:pt x="2101" y="511"/>
                  <a:pt x="2101" y="511"/>
                  <a:pt x="2102" y="510"/>
                </a:cubicBezTo>
                <a:cubicBezTo>
                  <a:pt x="2102" y="510"/>
                  <a:pt x="2102" y="510"/>
                  <a:pt x="2102" y="509"/>
                </a:cubicBezTo>
                <a:cubicBezTo>
                  <a:pt x="2102" y="509"/>
                  <a:pt x="2102" y="509"/>
                  <a:pt x="2101" y="509"/>
                </a:cubicBezTo>
                <a:cubicBezTo>
                  <a:pt x="2101" y="509"/>
                  <a:pt x="2101" y="509"/>
                  <a:pt x="2101" y="510"/>
                </a:cubicBezTo>
                <a:cubicBezTo>
                  <a:pt x="2101" y="510"/>
                  <a:pt x="2101" y="510"/>
                  <a:pt x="2099" y="510"/>
                </a:cubicBezTo>
                <a:cubicBezTo>
                  <a:pt x="2099" y="510"/>
                  <a:pt x="2099" y="510"/>
                  <a:pt x="2098" y="509"/>
                </a:cubicBezTo>
                <a:cubicBezTo>
                  <a:pt x="2098" y="509"/>
                  <a:pt x="2098" y="509"/>
                  <a:pt x="2097" y="509"/>
                </a:cubicBezTo>
                <a:cubicBezTo>
                  <a:pt x="2097" y="509"/>
                  <a:pt x="2097" y="509"/>
                  <a:pt x="2097" y="510"/>
                </a:cubicBezTo>
                <a:cubicBezTo>
                  <a:pt x="2097" y="510"/>
                  <a:pt x="2097" y="510"/>
                  <a:pt x="2096" y="510"/>
                </a:cubicBezTo>
                <a:cubicBezTo>
                  <a:pt x="2096" y="510"/>
                  <a:pt x="2096" y="510"/>
                  <a:pt x="2095" y="508"/>
                </a:cubicBezTo>
                <a:cubicBezTo>
                  <a:pt x="2094" y="507"/>
                  <a:pt x="2094" y="507"/>
                  <a:pt x="2094" y="507"/>
                </a:cubicBezTo>
                <a:cubicBezTo>
                  <a:pt x="2092" y="509"/>
                  <a:pt x="2092" y="509"/>
                  <a:pt x="2092" y="509"/>
                </a:cubicBezTo>
                <a:cubicBezTo>
                  <a:pt x="2091" y="509"/>
                  <a:pt x="2091" y="509"/>
                  <a:pt x="2091" y="509"/>
                </a:cubicBezTo>
                <a:cubicBezTo>
                  <a:pt x="2090" y="509"/>
                  <a:pt x="2090" y="509"/>
                  <a:pt x="2090" y="509"/>
                </a:cubicBezTo>
                <a:cubicBezTo>
                  <a:pt x="2090" y="508"/>
                  <a:pt x="2090" y="508"/>
                  <a:pt x="2090" y="508"/>
                </a:cubicBezTo>
                <a:cubicBezTo>
                  <a:pt x="2088" y="510"/>
                  <a:pt x="2088" y="510"/>
                  <a:pt x="2088" y="510"/>
                </a:cubicBezTo>
                <a:cubicBezTo>
                  <a:pt x="2087" y="510"/>
                  <a:pt x="2087" y="510"/>
                  <a:pt x="2087" y="510"/>
                </a:cubicBezTo>
                <a:cubicBezTo>
                  <a:pt x="2086" y="511"/>
                  <a:pt x="2086" y="511"/>
                  <a:pt x="2086" y="511"/>
                </a:cubicBezTo>
                <a:cubicBezTo>
                  <a:pt x="2083" y="513"/>
                  <a:pt x="2083" y="513"/>
                  <a:pt x="2083" y="513"/>
                </a:cubicBezTo>
                <a:cubicBezTo>
                  <a:pt x="2081" y="514"/>
                  <a:pt x="2081" y="514"/>
                  <a:pt x="2081" y="514"/>
                </a:cubicBezTo>
                <a:cubicBezTo>
                  <a:pt x="2082" y="515"/>
                  <a:pt x="2082" y="515"/>
                  <a:pt x="2082" y="515"/>
                </a:cubicBezTo>
                <a:cubicBezTo>
                  <a:pt x="2082" y="516"/>
                  <a:pt x="2082" y="516"/>
                  <a:pt x="2082" y="516"/>
                </a:cubicBezTo>
                <a:cubicBezTo>
                  <a:pt x="2080" y="517"/>
                  <a:pt x="2080" y="517"/>
                  <a:pt x="2080" y="517"/>
                </a:cubicBezTo>
                <a:cubicBezTo>
                  <a:pt x="2079" y="518"/>
                  <a:pt x="2079" y="518"/>
                  <a:pt x="2079" y="518"/>
                </a:cubicBezTo>
                <a:cubicBezTo>
                  <a:pt x="2078" y="518"/>
                  <a:pt x="2078" y="518"/>
                  <a:pt x="2078" y="518"/>
                </a:cubicBezTo>
                <a:cubicBezTo>
                  <a:pt x="2077" y="519"/>
                  <a:pt x="2077" y="519"/>
                  <a:pt x="2077" y="519"/>
                </a:cubicBezTo>
                <a:cubicBezTo>
                  <a:pt x="2076" y="518"/>
                  <a:pt x="2076" y="518"/>
                  <a:pt x="2076" y="518"/>
                </a:cubicBezTo>
                <a:cubicBezTo>
                  <a:pt x="2075" y="518"/>
                  <a:pt x="2075" y="518"/>
                  <a:pt x="2075" y="518"/>
                </a:cubicBezTo>
                <a:cubicBezTo>
                  <a:pt x="2076" y="517"/>
                  <a:pt x="2076" y="517"/>
                  <a:pt x="2076" y="517"/>
                </a:cubicBezTo>
                <a:cubicBezTo>
                  <a:pt x="2077" y="517"/>
                  <a:pt x="2077" y="517"/>
                  <a:pt x="2077" y="517"/>
                </a:cubicBezTo>
                <a:cubicBezTo>
                  <a:pt x="2078" y="516"/>
                  <a:pt x="2078" y="516"/>
                  <a:pt x="2078" y="516"/>
                </a:cubicBezTo>
                <a:cubicBezTo>
                  <a:pt x="2079" y="516"/>
                  <a:pt x="2079" y="516"/>
                  <a:pt x="2079" y="516"/>
                </a:cubicBezTo>
                <a:cubicBezTo>
                  <a:pt x="2080" y="515"/>
                  <a:pt x="2080" y="515"/>
                  <a:pt x="2080" y="515"/>
                </a:cubicBezTo>
                <a:cubicBezTo>
                  <a:pt x="2079" y="515"/>
                  <a:pt x="2079" y="515"/>
                  <a:pt x="2079" y="515"/>
                </a:cubicBezTo>
                <a:cubicBezTo>
                  <a:pt x="2079" y="514"/>
                  <a:pt x="2079" y="514"/>
                  <a:pt x="2079" y="514"/>
                </a:cubicBezTo>
                <a:cubicBezTo>
                  <a:pt x="2080" y="513"/>
                  <a:pt x="2080" y="513"/>
                  <a:pt x="2080" y="513"/>
                </a:cubicBezTo>
                <a:cubicBezTo>
                  <a:pt x="2081" y="512"/>
                  <a:pt x="2081" y="512"/>
                  <a:pt x="2081" y="512"/>
                </a:cubicBezTo>
                <a:cubicBezTo>
                  <a:pt x="2079" y="513"/>
                  <a:pt x="2079" y="513"/>
                  <a:pt x="2079" y="513"/>
                </a:cubicBezTo>
                <a:cubicBezTo>
                  <a:pt x="2078" y="514"/>
                  <a:pt x="2078" y="514"/>
                  <a:pt x="2078" y="514"/>
                </a:cubicBezTo>
                <a:cubicBezTo>
                  <a:pt x="2077" y="513"/>
                  <a:pt x="2077" y="513"/>
                  <a:pt x="2077" y="513"/>
                </a:cubicBezTo>
                <a:cubicBezTo>
                  <a:pt x="2077" y="512"/>
                  <a:pt x="2077" y="512"/>
                  <a:pt x="2077" y="512"/>
                </a:cubicBezTo>
                <a:cubicBezTo>
                  <a:pt x="2078" y="512"/>
                  <a:pt x="2078" y="512"/>
                  <a:pt x="2078" y="512"/>
                </a:cubicBezTo>
                <a:cubicBezTo>
                  <a:pt x="2078" y="511"/>
                  <a:pt x="2078" y="511"/>
                  <a:pt x="2078" y="511"/>
                </a:cubicBezTo>
                <a:cubicBezTo>
                  <a:pt x="2076" y="510"/>
                  <a:pt x="2076" y="510"/>
                  <a:pt x="2076" y="510"/>
                </a:cubicBezTo>
                <a:cubicBezTo>
                  <a:pt x="2077" y="508"/>
                  <a:pt x="2077" y="508"/>
                  <a:pt x="2077" y="508"/>
                </a:cubicBezTo>
                <a:cubicBezTo>
                  <a:pt x="2078" y="508"/>
                  <a:pt x="2078" y="508"/>
                  <a:pt x="2078" y="508"/>
                </a:cubicBezTo>
                <a:cubicBezTo>
                  <a:pt x="2078" y="506"/>
                  <a:pt x="2078" y="506"/>
                  <a:pt x="2078" y="506"/>
                </a:cubicBezTo>
                <a:cubicBezTo>
                  <a:pt x="2079" y="504"/>
                  <a:pt x="2079" y="504"/>
                  <a:pt x="2079" y="504"/>
                </a:cubicBezTo>
                <a:cubicBezTo>
                  <a:pt x="2079" y="503"/>
                  <a:pt x="2079" y="503"/>
                  <a:pt x="2079" y="503"/>
                </a:cubicBezTo>
                <a:cubicBezTo>
                  <a:pt x="2080" y="503"/>
                  <a:pt x="2080" y="503"/>
                  <a:pt x="2080" y="503"/>
                </a:cubicBezTo>
                <a:cubicBezTo>
                  <a:pt x="2080" y="502"/>
                  <a:pt x="2080" y="502"/>
                  <a:pt x="2080" y="502"/>
                </a:cubicBezTo>
                <a:cubicBezTo>
                  <a:pt x="2077" y="500"/>
                  <a:pt x="2077" y="500"/>
                  <a:pt x="2077" y="500"/>
                </a:cubicBezTo>
                <a:cubicBezTo>
                  <a:pt x="2075" y="498"/>
                  <a:pt x="2075" y="498"/>
                  <a:pt x="2075" y="498"/>
                </a:cubicBezTo>
                <a:cubicBezTo>
                  <a:pt x="2075" y="499"/>
                  <a:pt x="2075" y="499"/>
                  <a:pt x="2075" y="499"/>
                </a:cubicBezTo>
                <a:cubicBezTo>
                  <a:pt x="2074" y="499"/>
                  <a:pt x="2074" y="499"/>
                  <a:pt x="2074" y="499"/>
                </a:cubicBezTo>
                <a:cubicBezTo>
                  <a:pt x="2073" y="499"/>
                  <a:pt x="2073" y="499"/>
                  <a:pt x="2073" y="499"/>
                </a:cubicBezTo>
                <a:cubicBezTo>
                  <a:pt x="2072" y="499"/>
                  <a:pt x="2072" y="499"/>
                  <a:pt x="2072" y="499"/>
                </a:cubicBezTo>
                <a:cubicBezTo>
                  <a:pt x="2071" y="500"/>
                  <a:pt x="2071" y="500"/>
                  <a:pt x="2071" y="500"/>
                </a:cubicBezTo>
                <a:cubicBezTo>
                  <a:pt x="2070" y="501"/>
                  <a:pt x="2070" y="501"/>
                  <a:pt x="2070" y="501"/>
                </a:cubicBezTo>
                <a:cubicBezTo>
                  <a:pt x="2070" y="502"/>
                  <a:pt x="2070" y="502"/>
                  <a:pt x="2070" y="502"/>
                </a:cubicBezTo>
                <a:cubicBezTo>
                  <a:pt x="2069" y="503"/>
                  <a:pt x="2069" y="503"/>
                  <a:pt x="2069" y="503"/>
                </a:cubicBezTo>
                <a:cubicBezTo>
                  <a:pt x="2069" y="506"/>
                  <a:pt x="2069" y="506"/>
                  <a:pt x="2069" y="506"/>
                </a:cubicBezTo>
                <a:cubicBezTo>
                  <a:pt x="2068" y="506"/>
                  <a:pt x="2068" y="506"/>
                  <a:pt x="2068" y="506"/>
                </a:cubicBezTo>
                <a:cubicBezTo>
                  <a:pt x="2067" y="508"/>
                  <a:pt x="2067" y="508"/>
                  <a:pt x="2067" y="508"/>
                </a:cubicBezTo>
                <a:cubicBezTo>
                  <a:pt x="2066" y="508"/>
                  <a:pt x="2066" y="508"/>
                  <a:pt x="2066" y="508"/>
                </a:cubicBezTo>
                <a:cubicBezTo>
                  <a:pt x="2064" y="509"/>
                  <a:pt x="2064" y="509"/>
                  <a:pt x="2064" y="509"/>
                </a:cubicBezTo>
                <a:cubicBezTo>
                  <a:pt x="2063" y="512"/>
                  <a:pt x="2063" y="512"/>
                  <a:pt x="2063" y="512"/>
                </a:cubicBezTo>
                <a:cubicBezTo>
                  <a:pt x="2062" y="513"/>
                  <a:pt x="2062" y="513"/>
                  <a:pt x="2062" y="513"/>
                </a:cubicBezTo>
                <a:cubicBezTo>
                  <a:pt x="2063" y="513"/>
                  <a:pt x="2063" y="513"/>
                  <a:pt x="2063" y="513"/>
                </a:cubicBezTo>
                <a:cubicBezTo>
                  <a:pt x="2063" y="515"/>
                  <a:pt x="2063" y="515"/>
                  <a:pt x="2063" y="515"/>
                </a:cubicBezTo>
                <a:cubicBezTo>
                  <a:pt x="2062" y="517"/>
                  <a:pt x="2062" y="517"/>
                  <a:pt x="2062" y="517"/>
                </a:cubicBezTo>
                <a:cubicBezTo>
                  <a:pt x="2060" y="517"/>
                  <a:pt x="2060" y="517"/>
                  <a:pt x="2060" y="517"/>
                </a:cubicBezTo>
                <a:cubicBezTo>
                  <a:pt x="2058" y="517"/>
                  <a:pt x="2058" y="517"/>
                  <a:pt x="2058" y="517"/>
                </a:cubicBezTo>
                <a:cubicBezTo>
                  <a:pt x="2056" y="516"/>
                  <a:pt x="2056" y="516"/>
                  <a:pt x="2056" y="516"/>
                </a:cubicBezTo>
                <a:cubicBezTo>
                  <a:pt x="2056" y="517"/>
                  <a:pt x="2056" y="517"/>
                  <a:pt x="2056" y="517"/>
                </a:cubicBezTo>
                <a:cubicBezTo>
                  <a:pt x="2055" y="517"/>
                  <a:pt x="2055" y="517"/>
                  <a:pt x="2055" y="517"/>
                </a:cubicBezTo>
                <a:cubicBezTo>
                  <a:pt x="2055" y="519"/>
                  <a:pt x="2055" y="519"/>
                  <a:pt x="2055" y="519"/>
                </a:cubicBezTo>
                <a:cubicBezTo>
                  <a:pt x="2055" y="520"/>
                  <a:pt x="2055" y="520"/>
                  <a:pt x="2055" y="520"/>
                </a:cubicBezTo>
                <a:cubicBezTo>
                  <a:pt x="2054" y="520"/>
                  <a:pt x="2054" y="520"/>
                  <a:pt x="2054" y="520"/>
                </a:cubicBezTo>
                <a:cubicBezTo>
                  <a:pt x="2055" y="522"/>
                  <a:pt x="2055" y="522"/>
                  <a:pt x="2055" y="522"/>
                </a:cubicBezTo>
                <a:cubicBezTo>
                  <a:pt x="2055" y="523"/>
                  <a:pt x="2055" y="523"/>
                  <a:pt x="2055" y="523"/>
                </a:cubicBezTo>
                <a:cubicBezTo>
                  <a:pt x="2056" y="524"/>
                  <a:pt x="2056" y="524"/>
                  <a:pt x="2056" y="524"/>
                </a:cubicBezTo>
                <a:cubicBezTo>
                  <a:pt x="2058" y="525"/>
                  <a:pt x="2058" y="525"/>
                  <a:pt x="2058" y="525"/>
                </a:cubicBezTo>
                <a:cubicBezTo>
                  <a:pt x="2059" y="526"/>
                  <a:pt x="2059" y="526"/>
                  <a:pt x="2059" y="526"/>
                </a:cubicBezTo>
                <a:cubicBezTo>
                  <a:pt x="2060" y="528"/>
                  <a:pt x="2060" y="528"/>
                  <a:pt x="2060" y="528"/>
                </a:cubicBezTo>
                <a:cubicBezTo>
                  <a:pt x="2061" y="527"/>
                  <a:pt x="2061" y="527"/>
                  <a:pt x="2061" y="527"/>
                </a:cubicBezTo>
                <a:cubicBezTo>
                  <a:pt x="2061" y="528"/>
                  <a:pt x="2061" y="528"/>
                  <a:pt x="2061" y="528"/>
                </a:cubicBezTo>
                <a:cubicBezTo>
                  <a:pt x="2062" y="527"/>
                  <a:pt x="2062" y="527"/>
                  <a:pt x="2062" y="527"/>
                </a:cubicBezTo>
                <a:cubicBezTo>
                  <a:pt x="2064" y="527"/>
                  <a:pt x="2064" y="527"/>
                  <a:pt x="2064" y="527"/>
                </a:cubicBezTo>
                <a:cubicBezTo>
                  <a:pt x="2064" y="528"/>
                  <a:pt x="2064" y="528"/>
                  <a:pt x="2064" y="528"/>
                </a:cubicBezTo>
                <a:cubicBezTo>
                  <a:pt x="2064" y="530"/>
                  <a:pt x="2064" y="530"/>
                  <a:pt x="2064" y="530"/>
                </a:cubicBezTo>
                <a:cubicBezTo>
                  <a:pt x="2066" y="534"/>
                  <a:pt x="2066" y="534"/>
                  <a:pt x="2066" y="534"/>
                </a:cubicBezTo>
                <a:cubicBezTo>
                  <a:pt x="2067" y="534"/>
                  <a:pt x="2067" y="534"/>
                  <a:pt x="2067" y="534"/>
                </a:cubicBezTo>
                <a:cubicBezTo>
                  <a:pt x="2069" y="533"/>
                  <a:pt x="2069" y="533"/>
                  <a:pt x="2069" y="533"/>
                </a:cubicBezTo>
                <a:cubicBezTo>
                  <a:pt x="2070" y="533"/>
                  <a:pt x="2070" y="533"/>
                  <a:pt x="2070" y="533"/>
                </a:cubicBezTo>
                <a:cubicBezTo>
                  <a:pt x="2071" y="532"/>
                  <a:pt x="2071" y="532"/>
                  <a:pt x="2071" y="532"/>
                </a:cubicBezTo>
                <a:cubicBezTo>
                  <a:pt x="2070" y="531"/>
                  <a:pt x="2070" y="531"/>
                  <a:pt x="2070" y="531"/>
                </a:cubicBezTo>
                <a:cubicBezTo>
                  <a:pt x="2072" y="530"/>
                  <a:pt x="2072" y="530"/>
                  <a:pt x="2072" y="530"/>
                </a:cubicBezTo>
                <a:cubicBezTo>
                  <a:pt x="2073" y="529"/>
                  <a:pt x="2073" y="529"/>
                  <a:pt x="2073" y="529"/>
                </a:cubicBezTo>
                <a:cubicBezTo>
                  <a:pt x="2073" y="528"/>
                  <a:pt x="2073" y="528"/>
                  <a:pt x="2073" y="528"/>
                </a:cubicBezTo>
                <a:cubicBezTo>
                  <a:pt x="2074" y="528"/>
                  <a:pt x="2074" y="528"/>
                  <a:pt x="2074" y="528"/>
                </a:cubicBezTo>
                <a:cubicBezTo>
                  <a:pt x="2077" y="526"/>
                  <a:pt x="2077" y="526"/>
                  <a:pt x="2077" y="526"/>
                </a:cubicBezTo>
                <a:cubicBezTo>
                  <a:pt x="2077" y="527"/>
                  <a:pt x="2077" y="527"/>
                  <a:pt x="2077" y="527"/>
                </a:cubicBezTo>
                <a:cubicBezTo>
                  <a:pt x="2078" y="527"/>
                  <a:pt x="2078" y="527"/>
                  <a:pt x="2078" y="527"/>
                </a:cubicBezTo>
                <a:cubicBezTo>
                  <a:pt x="2078" y="528"/>
                  <a:pt x="2078" y="528"/>
                  <a:pt x="2078" y="528"/>
                </a:cubicBezTo>
                <a:cubicBezTo>
                  <a:pt x="2079" y="529"/>
                  <a:pt x="2079" y="529"/>
                  <a:pt x="2079" y="529"/>
                </a:cubicBezTo>
                <a:cubicBezTo>
                  <a:pt x="2080" y="529"/>
                  <a:pt x="2080" y="529"/>
                  <a:pt x="2080" y="529"/>
                </a:cubicBezTo>
                <a:cubicBezTo>
                  <a:pt x="2084" y="529"/>
                  <a:pt x="2084" y="529"/>
                  <a:pt x="2084" y="529"/>
                </a:cubicBezTo>
                <a:cubicBezTo>
                  <a:pt x="2086" y="529"/>
                  <a:pt x="2086" y="529"/>
                  <a:pt x="2086" y="529"/>
                </a:cubicBezTo>
                <a:cubicBezTo>
                  <a:pt x="2087" y="529"/>
                  <a:pt x="2087" y="529"/>
                  <a:pt x="2087" y="529"/>
                </a:cubicBezTo>
                <a:cubicBezTo>
                  <a:pt x="2089" y="529"/>
                  <a:pt x="2089" y="529"/>
                  <a:pt x="2089" y="529"/>
                </a:cubicBezTo>
                <a:cubicBezTo>
                  <a:pt x="2090" y="529"/>
                  <a:pt x="2090" y="529"/>
                  <a:pt x="2090" y="529"/>
                </a:cubicBezTo>
                <a:cubicBezTo>
                  <a:pt x="2088" y="530"/>
                  <a:pt x="2088" y="530"/>
                  <a:pt x="2088" y="530"/>
                </a:cubicBezTo>
                <a:cubicBezTo>
                  <a:pt x="2089" y="532"/>
                  <a:pt x="2089" y="532"/>
                  <a:pt x="2089" y="532"/>
                </a:cubicBezTo>
                <a:cubicBezTo>
                  <a:pt x="2088" y="532"/>
                  <a:pt x="2088" y="532"/>
                  <a:pt x="2088" y="532"/>
                </a:cubicBezTo>
                <a:cubicBezTo>
                  <a:pt x="2088" y="533"/>
                  <a:pt x="2088" y="533"/>
                  <a:pt x="2088" y="533"/>
                </a:cubicBezTo>
                <a:cubicBezTo>
                  <a:pt x="2089" y="534"/>
                  <a:pt x="2089" y="534"/>
                  <a:pt x="2089" y="534"/>
                </a:cubicBezTo>
                <a:cubicBezTo>
                  <a:pt x="2087" y="536"/>
                  <a:pt x="2087" y="536"/>
                  <a:pt x="2087" y="536"/>
                </a:cubicBezTo>
                <a:cubicBezTo>
                  <a:pt x="2086" y="535"/>
                  <a:pt x="2086" y="535"/>
                  <a:pt x="2086" y="535"/>
                </a:cubicBezTo>
                <a:cubicBezTo>
                  <a:pt x="2086" y="534"/>
                  <a:pt x="2086" y="534"/>
                  <a:pt x="2086" y="534"/>
                </a:cubicBezTo>
                <a:cubicBezTo>
                  <a:pt x="2085" y="535"/>
                  <a:pt x="2085" y="535"/>
                  <a:pt x="2085" y="535"/>
                </a:cubicBezTo>
                <a:cubicBezTo>
                  <a:pt x="2085" y="534"/>
                  <a:pt x="2085" y="534"/>
                  <a:pt x="2085" y="534"/>
                </a:cubicBezTo>
                <a:cubicBezTo>
                  <a:pt x="2083" y="536"/>
                  <a:pt x="2083" y="536"/>
                  <a:pt x="2083" y="536"/>
                </a:cubicBezTo>
                <a:cubicBezTo>
                  <a:pt x="2081" y="537"/>
                  <a:pt x="2081" y="537"/>
                  <a:pt x="2081" y="537"/>
                </a:cubicBezTo>
                <a:cubicBezTo>
                  <a:pt x="2080" y="536"/>
                  <a:pt x="2080" y="536"/>
                  <a:pt x="2080" y="536"/>
                </a:cubicBezTo>
                <a:cubicBezTo>
                  <a:pt x="2080" y="537"/>
                  <a:pt x="2080" y="537"/>
                  <a:pt x="2080" y="537"/>
                </a:cubicBezTo>
                <a:cubicBezTo>
                  <a:pt x="2079" y="536"/>
                  <a:pt x="2079" y="536"/>
                  <a:pt x="2079" y="536"/>
                </a:cubicBezTo>
                <a:cubicBezTo>
                  <a:pt x="2078" y="537"/>
                  <a:pt x="2078" y="537"/>
                  <a:pt x="2078" y="537"/>
                </a:cubicBezTo>
                <a:cubicBezTo>
                  <a:pt x="2079" y="538"/>
                  <a:pt x="2079" y="538"/>
                  <a:pt x="2079" y="538"/>
                </a:cubicBezTo>
                <a:cubicBezTo>
                  <a:pt x="2078" y="539"/>
                  <a:pt x="2078" y="539"/>
                  <a:pt x="2078" y="539"/>
                </a:cubicBezTo>
                <a:cubicBezTo>
                  <a:pt x="2078" y="540"/>
                  <a:pt x="2078" y="540"/>
                  <a:pt x="2078" y="540"/>
                </a:cubicBezTo>
                <a:cubicBezTo>
                  <a:pt x="2076" y="540"/>
                  <a:pt x="2076" y="540"/>
                  <a:pt x="2076" y="540"/>
                </a:cubicBezTo>
                <a:cubicBezTo>
                  <a:pt x="2075" y="541"/>
                  <a:pt x="2075" y="541"/>
                  <a:pt x="2075" y="541"/>
                </a:cubicBezTo>
                <a:cubicBezTo>
                  <a:pt x="2075" y="542"/>
                  <a:pt x="2075" y="542"/>
                  <a:pt x="2075" y="542"/>
                </a:cubicBezTo>
                <a:cubicBezTo>
                  <a:pt x="2076" y="543"/>
                  <a:pt x="2076" y="543"/>
                  <a:pt x="2076" y="543"/>
                </a:cubicBezTo>
                <a:cubicBezTo>
                  <a:pt x="2075" y="544"/>
                  <a:pt x="2075" y="544"/>
                  <a:pt x="2075" y="544"/>
                </a:cubicBezTo>
                <a:cubicBezTo>
                  <a:pt x="2073" y="545"/>
                  <a:pt x="2073" y="545"/>
                  <a:pt x="2073" y="545"/>
                </a:cubicBezTo>
                <a:cubicBezTo>
                  <a:pt x="2073" y="546"/>
                  <a:pt x="2073" y="546"/>
                  <a:pt x="2073" y="546"/>
                </a:cubicBezTo>
                <a:cubicBezTo>
                  <a:pt x="2072" y="545"/>
                  <a:pt x="2072" y="545"/>
                  <a:pt x="2072" y="545"/>
                </a:cubicBezTo>
                <a:cubicBezTo>
                  <a:pt x="2072" y="547"/>
                  <a:pt x="2072" y="547"/>
                  <a:pt x="2072" y="547"/>
                </a:cubicBezTo>
                <a:cubicBezTo>
                  <a:pt x="2072" y="549"/>
                  <a:pt x="2072" y="549"/>
                  <a:pt x="2072" y="549"/>
                </a:cubicBezTo>
                <a:cubicBezTo>
                  <a:pt x="2072" y="551"/>
                  <a:pt x="2072" y="551"/>
                  <a:pt x="2072" y="551"/>
                </a:cubicBezTo>
                <a:cubicBezTo>
                  <a:pt x="2072" y="554"/>
                  <a:pt x="2072" y="554"/>
                  <a:pt x="2072" y="554"/>
                </a:cubicBezTo>
                <a:cubicBezTo>
                  <a:pt x="2076" y="555"/>
                  <a:pt x="2076" y="555"/>
                  <a:pt x="2076" y="555"/>
                </a:cubicBezTo>
                <a:cubicBezTo>
                  <a:pt x="2076" y="556"/>
                  <a:pt x="2076" y="556"/>
                  <a:pt x="2076" y="556"/>
                </a:cubicBezTo>
                <a:cubicBezTo>
                  <a:pt x="2080" y="557"/>
                  <a:pt x="2080" y="557"/>
                  <a:pt x="2080" y="557"/>
                </a:cubicBezTo>
                <a:cubicBezTo>
                  <a:pt x="2082" y="561"/>
                  <a:pt x="2082" y="561"/>
                  <a:pt x="2082" y="561"/>
                </a:cubicBezTo>
                <a:cubicBezTo>
                  <a:pt x="2082" y="562"/>
                  <a:pt x="2082" y="562"/>
                  <a:pt x="2082" y="562"/>
                </a:cubicBezTo>
                <a:cubicBezTo>
                  <a:pt x="2082" y="563"/>
                  <a:pt x="2082" y="563"/>
                  <a:pt x="2082" y="563"/>
                </a:cubicBezTo>
                <a:cubicBezTo>
                  <a:pt x="2083" y="563"/>
                  <a:pt x="2083" y="563"/>
                  <a:pt x="2083" y="563"/>
                </a:cubicBezTo>
                <a:cubicBezTo>
                  <a:pt x="2083" y="565"/>
                  <a:pt x="2083" y="565"/>
                  <a:pt x="2083" y="565"/>
                </a:cubicBezTo>
                <a:cubicBezTo>
                  <a:pt x="2085" y="567"/>
                  <a:pt x="2085" y="567"/>
                  <a:pt x="2085" y="567"/>
                </a:cubicBezTo>
                <a:cubicBezTo>
                  <a:pt x="2085" y="569"/>
                  <a:pt x="2085" y="569"/>
                  <a:pt x="2085" y="569"/>
                </a:cubicBezTo>
                <a:cubicBezTo>
                  <a:pt x="2087" y="571"/>
                  <a:pt x="2087" y="571"/>
                  <a:pt x="2087" y="571"/>
                </a:cubicBezTo>
                <a:cubicBezTo>
                  <a:pt x="2088" y="572"/>
                  <a:pt x="2088" y="572"/>
                  <a:pt x="2088" y="572"/>
                </a:cubicBezTo>
                <a:cubicBezTo>
                  <a:pt x="2090" y="572"/>
                  <a:pt x="2090" y="572"/>
                  <a:pt x="2090" y="572"/>
                </a:cubicBezTo>
                <a:cubicBezTo>
                  <a:pt x="2090" y="573"/>
                  <a:pt x="2090" y="573"/>
                  <a:pt x="2090" y="573"/>
                </a:cubicBezTo>
                <a:cubicBezTo>
                  <a:pt x="2092" y="574"/>
                  <a:pt x="2092" y="574"/>
                  <a:pt x="2092" y="574"/>
                </a:cubicBezTo>
                <a:cubicBezTo>
                  <a:pt x="2093" y="575"/>
                  <a:pt x="2093" y="575"/>
                  <a:pt x="2093" y="575"/>
                </a:cubicBezTo>
                <a:cubicBezTo>
                  <a:pt x="2093" y="577"/>
                  <a:pt x="2093" y="577"/>
                  <a:pt x="2093" y="577"/>
                </a:cubicBezTo>
                <a:cubicBezTo>
                  <a:pt x="2090" y="576"/>
                  <a:pt x="2090" y="576"/>
                  <a:pt x="2090" y="576"/>
                </a:cubicBezTo>
                <a:cubicBezTo>
                  <a:pt x="2088" y="577"/>
                  <a:pt x="2088" y="577"/>
                  <a:pt x="2088" y="577"/>
                </a:cubicBezTo>
                <a:cubicBezTo>
                  <a:pt x="2087" y="576"/>
                  <a:pt x="2087" y="576"/>
                  <a:pt x="2087" y="576"/>
                </a:cubicBezTo>
                <a:cubicBezTo>
                  <a:pt x="2086" y="576"/>
                  <a:pt x="2086" y="576"/>
                  <a:pt x="2086" y="576"/>
                </a:cubicBezTo>
                <a:cubicBezTo>
                  <a:pt x="2085" y="575"/>
                  <a:pt x="2085" y="575"/>
                  <a:pt x="2085" y="575"/>
                </a:cubicBezTo>
                <a:cubicBezTo>
                  <a:pt x="2087" y="578"/>
                  <a:pt x="2087" y="578"/>
                  <a:pt x="2087" y="578"/>
                </a:cubicBezTo>
                <a:cubicBezTo>
                  <a:pt x="2089" y="579"/>
                  <a:pt x="2089" y="579"/>
                  <a:pt x="2089" y="579"/>
                </a:cubicBezTo>
                <a:cubicBezTo>
                  <a:pt x="2093" y="581"/>
                  <a:pt x="2093" y="581"/>
                  <a:pt x="2093" y="581"/>
                </a:cubicBezTo>
                <a:cubicBezTo>
                  <a:pt x="2094" y="583"/>
                  <a:pt x="2094" y="583"/>
                  <a:pt x="2094" y="583"/>
                </a:cubicBezTo>
                <a:cubicBezTo>
                  <a:pt x="2094" y="584"/>
                  <a:pt x="2094" y="584"/>
                  <a:pt x="2094" y="584"/>
                </a:cubicBezTo>
                <a:cubicBezTo>
                  <a:pt x="2092" y="584"/>
                  <a:pt x="2092" y="584"/>
                  <a:pt x="2092" y="584"/>
                </a:cubicBezTo>
                <a:cubicBezTo>
                  <a:pt x="2091" y="586"/>
                  <a:pt x="2091" y="586"/>
                  <a:pt x="2091" y="586"/>
                </a:cubicBezTo>
                <a:cubicBezTo>
                  <a:pt x="2090" y="586"/>
                  <a:pt x="2090" y="586"/>
                  <a:pt x="2090" y="586"/>
                </a:cubicBezTo>
                <a:cubicBezTo>
                  <a:pt x="2090" y="587"/>
                  <a:pt x="2090" y="587"/>
                  <a:pt x="2090" y="587"/>
                </a:cubicBezTo>
                <a:cubicBezTo>
                  <a:pt x="2089" y="588"/>
                  <a:pt x="2089" y="588"/>
                  <a:pt x="2089" y="588"/>
                </a:cubicBezTo>
                <a:cubicBezTo>
                  <a:pt x="2088" y="588"/>
                  <a:pt x="2088" y="588"/>
                  <a:pt x="2088" y="588"/>
                </a:cubicBezTo>
                <a:cubicBezTo>
                  <a:pt x="2087" y="587"/>
                  <a:pt x="2087" y="587"/>
                  <a:pt x="2087" y="587"/>
                </a:cubicBezTo>
                <a:cubicBezTo>
                  <a:pt x="2086" y="588"/>
                  <a:pt x="2086" y="588"/>
                  <a:pt x="2086" y="588"/>
                </a:cubicBezTo>
                <a:cubicBezTo>
                  <a:pt x="2085" y="588"/>
                  <a:pt x="2085" y="588"/>
                  <a:pt x="2085" y="588"/>
                </a:cubicBezTo>
                <a:cubicBezTo>
                  <a:pt x="2084" y="589"/>
                  <a:pt x="2084" y="589"/>
                  <a:pt x="2084" y="589"/>
                </a:cubicBezTo>
                <a:cubicBezTo>
                  <a:pt x="2084" y="590"/>
                  <a:pt x="2084" y="590"/>
                  <a:pt x="2084" y="590"/>
                </a:cubicBezTo>
                <a:cubicBezTo>
                  <a:pt x="2085" y="589"/>
                  <a:pt x="2085" y="589"/>
                  <a:pt x="2085" y="589"/>
                </a:cubicBezTo>
                <a:cubicBezTo>
                  <a:pt x="2087" y="588"/>
                  <a:pt x="2087" y="588"/>
                  <a:pt x="2087" y="588"/>
                </a:cubicBezTo>
                <a:cubicBezTo>
                  <a:pt x="2088" y="590"/>
                  <a:pt x="2088" y="590"/>
                  <a:pt x="2088" y="590"/>
                </a:cubicBezTo>
                <a:cubicBezTo>
                  <a:pt x="2089" y="590"/>
                  <a:pt x="2089" y="590"/>
                  <a:pt x="2089" y="590"/>
                </a:cubicBezTo>
                <a:cubicBezTo>
                  <a:pt x="2091" y="589"/>
                  <a:pt x="2091" y="589"/>
                  <a:pt x="2091" y="589"/>
                </a:cubicBezTo>
                <a:cubicBezTo>
                  <a:pt x="2092" y="589"/>
                  <a:pt x="2092" y="589"/>
                  <a:pt x="2092" y="589"/>
                </a:cubicBezTo>
                <a:cubicBezTo>
                  <a:pt x="2094" y="592"/>
                  <a:pt x="2094" y="592"/>
                  <a:pt x="2094" y="592"/>
                </a:cubicBezTo>
                <a:cubicBezTo>
                  <a:pt x="2095" y="591"/>
                  <a:pt x="2095" y="591"/>
                  <a:pt x="2095" y="591"/>
                </a:cubicBezTo>
                <a:cubicBezTo>
                  <a:pt x="2095" y="592"/>
                  <a:pt x="2095" y="592"/>
                  <a:pt x="2095" y="592"/>
                </a:cubicBezTo>
                <a:cubicBezTo>
                  <a:pt x="2096" y="592"/>
                  <a:pt x="2096" y="592"/>
                  <a:pt x="2096" y="592"/>
                </a:cubicBezTo>
                <a:cubicBezTo>
                  <a:pt x="2097" y="592"/>
                  <a:pt x="2097" y="592"/>
                  <a:pt x="2097" y="592"/>
                </a:cubicBezTo>
                <a:cubicBezTo>
                  <a:pt x="2094" y="595"/>
                  <a:pt x="2094" y="595"/>
                  <a:pt x="2094" y="595"/>
                </a:cubicBezTo>
                <a:cubicBezTo>
                  <a:pt x="2092" y="595"/>
                  <a:pt x="2092" y="595"/>
                  <a:pt x="2092" y="595"/>
                </a:cubicBezTo>
                <a:cubicBezTo>
                  <a:pt x="2092" y="596"/>
                  <a:pt x="2092" y="596"/>
                  <a:pt x="2092" y="596"/>
                </a:cubicBezTo>
                <a:cubicBezTo>
                  <a:pt x="2093" y="596"/>
                  <a:pt x="2093" y="596"/>
                  <a:pt x="2093" y="596"/>
                </a:cubicBezTo>
                <a:cubicBezTo>
                  <a:pt x="2095" y="595"/>
                  <a:pt x="2095" y="595"/>
                  <a:pt x="2095" y="595"/>
                </a:cubicBezTo>
                <a:cubicBezTo>
                  <a:pt x="2096" y="595"/>
                  <a:pt x="2096" y="595"/>
                  <a:pt x="2096" y="595"/>
                </a:cubicBezTo>
                <a:cubicBezTo>
                  <a:pt x="2096" y="594"/>
                  <a:pt x="2096" y="594"/>
                  <a:pt x="2096" y="594"/>
                </a:cubicBezTo>
                <a:cubicBezTo>
                  <a:pt x="2097" y="594"/>
                  <a:pt x="2097" y="594"/>
                  <a:pt x="2097" y="594"/>
                </a:cubicBezTo>
                <a:cubicBezTo>
                  <a:pt x="2097" y="596"/>
                  <a:pt x="2097" y="596"/>
                  <a:pt x="2097" y="596"/>
                </a:cubicBezTo>
                <a:cubicBezTo>
                  <a:pt x="2098" y="597"/>
                  <a:pt x="2098" y="597"/>
                  <a:pt x="2098" y="597"/>
                </a:cubicBezTo>
                <a:cubicBezTo>
                  <a:pt x="2097" y="597"/>
                  <a:pt x="2097" y="597"/>
                  <a:pt x="2097" y="597"/>
                </a:cubicBezTo>
                <a:cubicBezTo>
                  <a:pt x="2096" y="596"/>
                  <a:pt x="2096" y="596"/>
                  <a:pt x="2096" y="596"/>
                </a:cubicBezTo>
                <a:cubicBezTo>
                  <a:pt x="2096" y="597"/>
                  <a:pt x="2096" y="597"/>
                  <a:pt x="2096" y="597"/>
                </a:cubicBezTo>
                <a:cubicBezTo>
                  <a:pt x="2095" y="597"/>
                  <a:pt x="2095" y="597"/>
                  <a:pt x="2095" y="597"/>
                </a:cubicBezTo>
                <a:cubicBezTo>
                  <a:pt x="2094" y="597"/>
                  <a:pt x="2094" y="597"/>
                  <a:pt x="2094" y="597"/>
                </a:cubicBezTo>
                <a:cubicBezTo>
                  <a:pt x="2093" y="598"/>
                  <a:pt x="2093" y="598"/>
                  <a:pt x="2093" y="598"/>
                </a:cubicBezTo>
                <a:cubicBezTo>
                  <a:pt x="2093" y="599"/>
                  <a:pt x="2093" y="599"/>
                  <a:pt x="2093" y="599"/>
                </a:cubicBezTo>
                <a:cubicBezTo>
                  <a:pt x="2095" y="599"/>
                  <a:pt x="2095" y="599"/>
                  <a:pt x="2095" y="599"/>
                </a:cubicBezTo>
                <a:cubicBezTo>
                  <a:pt x="2096" y="599"/>
                  <a:pt x="2096" y="599"/>
                  <a:pt x="2096" y="599"/>
                </a:cubicBezTo>
                <a:cubicBezTo>
                  <a:pt x="2095" y="600"/>
                  <a:pt x="2095" y="600"/>
                  <a:pt x="2095" y="600"/>
                </a:cubicBezTo>
                <a:cubicBezTo>
                  <a:pt x="2094" y="600"/>
                  <a:pt x="2094" y="600"/>
                  <a:pt x="2094" y="600"/>
                </a:cubicBezTo>
                <a:cubicBezTo>
                  <a:pt x="2095" y="601"/>
                  <a:pt x="2095" y="601"/>
                  <a:pt x="2095" y="601"/>
                </a:cubicBezTo>
                <a:cubicBezTo>
                  <a:pt x="2095" y="602"/>
                  <a:pt x="2095" y="602"/>
                  <a:pt x="2095" y="602"/>
                </a:cubicBezTo>
                <a:cubicBezTo>
                  <a:pt x="2094" y="602"/>
                  <a:pt x="2094" y="602"/>
                  <a:pt x="2094" y="602"/>
                </a:cubicBezTo>
                <a:cubicBezTo>
                  <a:pt x="2093" y="602"/>
                  <a:pt x="2093" y="602"/>
                  <a:pt x="2093" y="602"/>
                </a:cubicBezTo>
                <a:cubicBezTo>
                  <a:pt x="2094" y="603"/>
                  <a:pt x="2094" y="603"/>
                  <a:pt x="2094" y="603"/>
                </a:cubicBezTo>
                <a:cubicBezTo>
                  <a:pt x="2095" y="603"/>
                  <a:pt x="2095" y="603"/>
                  <a:pt x="2095" y="603"/>
                </a:cubicBezTo>
                <a:cubicBezTo>
                  <a:pt x="2096" y="604"/>
                  <a:pt x="2096" y="604"/>
                  <a:pt x="2096" y="604"/>
                </a:cubicBezTo>
                <a:cubicBezTo>
                  <a:pt x="2095" y="605"/>
                  <a:pt x="2095" y="605"/>
                  <a:pt x="2095" y="605"/>
                </a:cubicBezTo>
                <a:cubicBezTo>
                  <a:pt x="2095" y="606"/>
                  <a:pt x="2095" y="606"/>
                  <a:pt x="2095" y="606"/>
                </a:cubicBezTo>
                <a:cubicBezTo>
                  <a:pt x="2094" y="606"/>
                  <a:pt x="2094" y="606"/>
                  <a:pt x="2094" y="606"/>
                </a:cubicBezTo>
                <a:cubicBezTo>
                  <a:pt x="2094" y="605"/>
                  <a:pt x="2094" y="605"/>
                  <a:pt x="2094" y="605"/>
                </a:cubicBezTo>
                <a:cubicBezTo>
                  <a:pt x="2093" y="605"/>
                  <a:pt x="2093" y="605"/>
                  <a:pt x="2093" y="605"/>
                </a:cubicBezTo>
                <a:cubicBezTo>
                  <a:pt x="2092" y="607"/>
                  <a:pt x="2092" y="607"/>
                  <a:pt x="2092" y="607"/>
                </a:cubicBezTo>
                <a:cubicBezTo>
                  <a:pt x="2091" y="608"/>
                  <a:pt x="2091" y="608"/>
                  <a:pt x="2091" y="608"/>
                </a:cubicBezTo>
                <a:cubicBezTo>
                  <a:pt x="2091" y="609"/>
                  <a:pt x="2091" y="609"/>
                  <a:pt x="2091" y="609"/>
                </a:cubicBezTo>
                <a:cubicBezTo>
                  <a:pt x="2091" y="610"/>
                  <a:pt x="2091" y="610"/>
                  <a:pt x="2091" y="610"/>
                </a:cubicBezTo>
                <a:cubicBezTo>
                  <a:pt x="2091" y="611"/>
                  <a:pt x="2091" y="611"/>
                  <a:pt x="2091" y="611"/>
                </a:cubicBezTo>
                <a:cubicBezTo>
                  <a:pt x="2091" y="612"/>
                  <a:pt x="2091" y="612"/>
                  <a:pt x="2091" y="612"/>
                </a:cubicBezTo>
                <a:cubicBezTo>
                  <a:pt x="2091" y="613"/>
                  <a:pt x="2091" y="613"/>
                  <a:pt x="2091" y="613"/>
                </a:cubicBezTo>
                <a:cubicBezTo>
                  <a:pt x="2090" y="613"/>
                  <a:pt x="2090" y="613"/>
                  <a:pt x="2090" y="613"/>
                </a:cubicBezTo>
                <a:cubicBezTo>
                  <a:pt x="2089" y="612"/>
                  <a:pt x="2089" y="612"/>
                  <a:pt x="2089" y="612"/>
                </a:cubicBezTo>
                <a:cubicBezTo>
                  <a:pt x="2089" y="613"/>
                  <a:pt x="2089" y="613"/>
                  <a:pt x="2089" y="613"/>
                </a:cubicBezTo>
                <a:cubicBezTo>
                  <a:pt x="2090" y="613"/>
                  <a:pt x="2090" y="613"/>
                  <a:pt x="2090" y="613"/>
                </a:cubicBezTo>
                <a:cubicBezTo>
                  <a:pt x="2090" y="615"/>
                  <a:pt x="2090" y="615"/>
                  <a:pt x="2090" y="615"/>
                </a:cubicBezTo>
                <a:cubicBezTo>
                  <a:pt x="2089" y="614"/>
                  <a:pt x="2089" y="614"/>
                  <a:pt x="2089" y="614"/>
                </a:cubicBezTo>
                <a:cubicBezTo>
                  <a:pt x="2089" y="615"/>
                  <a:pt x="2089" y="615"/>
                  <a:pt x="2089" y="615"/>
                </a:cubicBezTo>
                <a:cubicBezTo>
                  <a:pt x="2087" y="617"/>
                  <a:pt x="2087" y="617"/>
                  <a:pt x="2087" y="617"/>
                </a:cubicBezTo>
                <a:cubicBezTo>
                  <a:pt x="2086" y="617"/>
                  <a:pt x="2086" y="617"/>
                  <a:pt x="2086" y="617"/>
                </a:cubicBezTo>
                <a:cubicBezTo>
                  <a:pt x="2087" y="616"/>
                  <a:pt x="2087" y="616"/>
                  <a:pt x="2087" y="616"/>
                </a:cubicBezTo>
                <a:cubicBezTo>
                  <a:pt x="2086" y="616"/>
                  <a:pt x="2086" y="616"/>
                  <a:pt x="2086" y="616"/>
                </a:cubicBezTo>
                <a:cubicBezTo>
                  <a:pt x="2085" y="617"/>
                  <a:pt x="2085" y="617"/>
                  <a:pt x="2085" y="617"/>
                </a:cubicBezTo>
                <a:cubicBezTo>
                  <a:pt x="2084" y="618"/>
                  <a:pt x="2084" y="618"/>
                  <a:pt x="2084" y="618"/>
                </a:cubicBezTo>
                <a:cubicBezTo>
                  <a:pt x="2085" y="618"/>
                  <a:pt x="2085" y="618"/>
                  <a:pt x="2085" y="618"/>
                </a:cubicBezTo>
                <a:cubicBezTo>
                  <a:pt x="2086" y="619"/>
                  <a:pt x="2086" y="619"/>
                  <a:pt x="2086" y="619"/>
                </a:cubicBezTo>
                <a:cubicBezTo>
                  <a:pt x="2085" y="619"/>
                  <a:pt x="2085" y="619"/>
                  <a:pt x="2085" y="619"/>
                </a:cubicBezTo>
                <a:cubicBezTo>
                  <a:pt x="2086" y="620"/>
                  <a:pt x="2086" y="620"/>
                  <a:pt x="2086" y="620"/>
                </a:cubicBezTo>
                <a:cubicBezTo>
                  <a:pt x="2087" y="620"/>
                  <a:pt x="2087" y="620"/>
                  <a:pt x="2087" y="620"/>
                </a:cubicBezTo>
                <a:cubicBezTo>
                  <a:pt x="2088" y="620"/>
                  <a:pt x="2088" y="620"/>
                  <a:pt x="2088" y="620"/>
                </a:cubicBezTo>
                <a:cubicBezTo>
                  <a:pt x="2086" y="621"/>
                  <a:pt x="2086" y="621"/>
                  <a:pt x="2086" y="621"/>
                </a:cubicBezTo>
                <a:cubicBezTo>
                  <a:pt x="2084" y="622"/>
                  <a:pt x="2084" y="622"/>
                  <a:pt x="2084" y="622"/>
                </a:cubicBezTo>
                <a:cubicBezTo>
                  <a:pt x="2084" y="623"/>
                  <a:pt x="2084" y="623"/>
                  <a:pt x="2084" y="623"/>
                </a:cubicBezTo>
                <a:cubicBezTo>
                  <a:pt x="2085" y="623"/>
                  <a:pt x="2085" y="623"/>
                  <a:pt x="2085" y="623"/>
                </a:cubicBezTo>
                <a:cubicBezTo>
                  <a:pt x="2086" y="623"/>
                  <a:pt x="2086" y="623"/>
                  <a:pt x="2086" y="623"/>
                </a:cubicBezTo>
                <a:cubicBezTo>
                  <a:pt x="2085" y="624"/>
                  <a:pt x="2085" y="624"/>
                  <a:pt x="2085" y="624"/>
                </a:cubicBezTo>
                <a:cubicBezTo>
                  <a:pt x="2086" y="625"/>
                  <a:pt x="2086" y="625"/>
                  <a:pt x="2086" y="625"/>
                </a:cubicBezTo>
                <a:cubicBezTo>
                  <a:pt x="2086" y="626"/>
                  <a:pt x="2086" y="626"/>
                  <a:pt x="2086" y="626"/>
                </a:cubicBezTo>
                <a:cubicBezTo>
                  <a:pt x="2085" y="626"/>
                  <a:pt x="2085" y="626"/>
                  <a:pt x="2085" y="626"/>
                </a:cubicBezTo>
                <a:cubicBezTo>
                  <a:pt x="2085" y="627"/>
                  <a:pt x="2085" y="627"/>
                  <a:pt x="2085" y="627"/>
                </a:cubicBezTo>
                <a:cubicBezTo>
                  <a:pt x="2084" y="626"/>
                  <a:pt x="2084" y="626"/>
                  <a:pt x="2084" y="626"/>
                </a:cubicBezTo>
                <a:cubicBezTo>
                  <a:pt x="2084" y="627"/>
                  <a:pt x="2084" y="627"/>
                  <a:pt x="2084" y="627"/>
                </a:cubicBezTo>
                <a:cubicBezTo>
                  <a:pt x="2083" y="627"/>
                  <a:pt x="2083" y="627"/>
                  <a:pt x="2083" y="627"/>
                </a:cubicBezTo>
                <a:cubicBezTo>
                  <a:pt x="2083" y="628"/>
                  <a:pt x="2083" y="628"/>
                  <a:pt x="2083" y="628"/>
                </a:cubicBezTo>
                <a:cubicBezTo>
                  <a:pt x="2084" y="629"/>
                  <a:pt x="2084" y="629"/>
                  <a:pt x="2084" y="629"/>
                </a:cubicBezTo>
                <a:cubicBezTo>
                  <a:pt x="2084" y="630"/>
                  <a:pt x="2084" y="630"/>
                  <a:pt x="2084" y="630"/>
                </a:cubicBezTo>
                <a:cubicBezTo>
                  <a:pt x="2083" y="629"/>
                  <a:pt x="2083" y="629"/>
                  <a:pt x="2083" y="629"/>
                </a:cubicBezTo>
                <a:cubicBezTo>
                  <a:pt x="2082" y="629"/>
                  <a:pt x="2082" y="629"/>
                  <a:pt x="2082" y="629"/>
                </a:cubicBezTo>
                <a:cubicBezTo>
                  <a:pt x="2082" y="630"/>
                  <a:pt x="2082" y="630"/>
                  <a:pt x="2082" y="630"/>
                </a:cubicBezTo>
                <a:cubicBezTo>
                  <a:pt x="2083" y="630"/>
                  <a:pt x="2083" y="630"/>
                  <a:pt x="2083" y="630"/>
                </a:cubicBezTo>
                <a:cubicBezTo>
                  <a:pt x="2083" y="631"/>
                  <a:pt x="2083" y="631"/>
                  <a:pt x="2083" y="631"/>
                </a:cubicBezTo>
                <a:cubicBezTo>
                  <a:pt x="2083" y="632"/>
                  <a:pt x="2083" y="632"/>
                  <a:pt x="2083" y="632"/>
                </a:cubicBezTo>
                <a:cubicBezTo>
                  <a:pt x="2081" y="631"/>
                  <a:pt x="2081" y="631"/>
                  <a:pt x="2081" y="631"/>
                </a:cubicBezTo>
                <a:cubicBezTo>
                  <a:pt x="2081" y="632"/>
                  <a:pt x="2081" y="632"/>
                  <a:pt x="2081" y="632"/>
                </a:cubicBezTo>
                <a:cubicBezTo>
                  <a:pt x="2083" y="633"/>
                  <a:pt x="2083" y="633"/>
                  <a:pt x="2083" y="633"/>
                </a:cubicBezTo>
                <a:cubicBezTo>
                  <a:pt x="2082" y="634"/>
                  <a:pt x="2082" y="634"/>
                  <a:pt x="2082" y="634"/>
                </a:cubicBezTo>
                <a:cubicBezTo>
                  <a:pt x="2080" y="633"/>
                  <a:pt x="2080" y="633"/>
                  <a:pt x="2080" y="633"/>
                </a:cubicBezTo>
                <a:cubicBezTo>
                  <a:pt x="2079" y="633"/>
                  <a:pt x="2079" y="633"/>
                  <a:pt x="2079" y="633"/>
                </a:cubicBezTo>
                <a:cubicBezTo>
                  <a:pt x="2078" y="634"/>
                  <a:pt x="2078" y="634"/>
                  <a:pt x="2078" y="634"/>
                </a:cubicBezTo>
                <a:cubicBezTo>
                  <a:pt x="2076" y="634"/>
                  <a:pt x="2076" y="634"/>
                  <a:pt x="2076" y="634"/>
                </a:cubicBezTo>
                <a:cubicBezTo>
                  <a:pt x="2078" y="636"/>
                  <a:pt x="2078" y="636"/>
                  <a:pt x="2078" y="636"/>
                </a:cubicBezTo>
                <a:cubicBezTo>
                  <a:pt x="2079" y="635"/>
                  <a:pt x="2079" y="635"/>
                  <a:pt x="2079" y="635"/>
                </a:cubicBezTo>
                <a:cubicBezTo>
                  <a:pt x="2080" y="635"/>
                  <a:pt x="2080" y="635"/>
                  <a:pt x="2080" y="635"/>
                </a:cubicBezTo>
                <a:cubicBezTo>
                  <a:pt x="2079" y="636"/>
                  <a:pt x="2079" y="636"/>
                  <a:pt x="2079" y="636"/>
                </a:cubicBezTo>
                <a:cubicBezTo>
                  <a:pt x="2079" y="637"/>
                  <a:pt x="2079" y="637"/>
                  <a:pt x="2079" y="637"/>
                </a:cubicBezTo>
                <a:cubicBezTo>
                  <a:pt x="2078" y="638"/>
                  <a:pt x="2078" y="638"/>
                  <a:pt x="2078" y="638"/>
                </a:cubicBezTo>
                <a:cubicBezTo>
                  <a:pt x="2078" y="637"/>
                  <a:pt x="2078" y="637"/>
                  <a:pt x="2078" y="637"/>
                </a:cubicBezTo>
                <a:cubicBezTo>
                  <a:pt x="2077" y="638"/>
                  <a:pt x="2077" y="638"/>
                  <a:pt x="2077" y="638"/>
                </a:cubicBezTo>
                <a:cubicBezTo>
                  <a:pt x="2076" y="638"/>
                  <a:pt x="2076" y="638"/>
                  <a:pt x="2076" y="638"/>
                </a:cubicBezTo>
                <a:cubicBezTo>
                  <a:pt x="2076" y="639"/>
                  <a:pt x="2076" y="639"/>
                  <a:pt x="2076" y="639"/>
                </a:cubicBezTo>
                <a:cubicBezTo>
                  <a:pt x="2075" y="639"/>
                  <a:pt x="2075" y="639"/>
                  <a:pt x="2075" y="639"/>
                </a:cubicBezTo>
                <a:cubicBezTo>
                  <a:pt x="2075" y="640"/>
                  <a:pt x="2075" y="640"/>
                  <a:pt x="2075" y="640"/>
                </a:cubicBezTo>
                <a:cubicBezTo>
                  <a:pt x="2074" y="640"/>
                  <a:pt x="2074" y="640"/>
                  <a:pt x="2074" y="640"/>
                </a:cubicBezTo>
                <a:cubicBezTo>
                  <a:pt x="2073" y="640"/>
                  <a:pt x="2073" y="640"/>
                  <a:pt x="2073" y="640"/>
                </a:cubicBezTo>
                <a:cubicBezTo>
                  <a:pt x="2072" y="640"/>
                  <a:pt x="2072" y="640"/>
                  <a:pt x="2072" y="640"/>
                </a:cubicBezTo>
                <a:cubicBezTo>
                  <a:pt x="2071" y="641"/>
                  <a:pt x="2071" y="641"/>
                  <a:pt x="2071" y="641"/>
                </a:cubicBezTo>
                <a:cubicBezTo>
                  <a:pt x="2071" y="642"/>
                  <a:pt x="2071" y="642"/>
                  <a:pt x="2071" y="642"/>
                </a:cubicBezTo>
                <a:cubicBezTo>
                  <a:pt x="2071" y="643"/>
                  <a:pt x="2071" y="643"/>
                  <a:pt x="2071" y="643"/>
                </a:cubicBezTo>
                <a:cubicBezTo>
                  <a:pt x="2070" y="644"/>
                  <a:pt x="2070" y="644"/>
                  <a:pt x="2070" y="644"/>
                </a:cubicBezTo>
                <a:cubicBezTo>
                  <a:pt x="2071" y="645"/>
                  <a:pt x="2071" y="645"/>
                  <a:pt x="2071" y="645"/>
                </a:cubicBezTo>
                <a:cubicBezTo>
                  <a:pt x="2070" y="645"/>
                  <a:pt x="2070" y="645"/>
                  <a:pt x="2070" y="645"/>
                </a:cubicBezTo>
                <a:cubicBezTo>
                  <a:pt x="2069" y="645"/>
                  <a:pt x="2069" y="645"/>
                  <a:pt x="2069" y="645"/>
                </a:cubicBezTo>
                <a:cubicBezTo>
                  <a:pt x="2068" y="645"/>
                  <a:pt x="2068" y="645"/>
                  <a:pt x="2068" y="645"/>
                </a:cubicBezTo>
                <a:cubicBezTo>
                  <a:pt x="2067" y="646"/>
                  <a:pt x="2067" y="646"/>
                  <a:pt x="2067" y="646"/>
                </a:cubicBezTo>
                <a:cubicBezTo>
                  <a:pt x="2066" y="646"/>
                  <a:pt x="2066" y="646"/>
                  <a:pt x="2066" y="646"/>
                </a:cubicBezTo>
                <a:cubicBezTo>
                  <a:pt x="2066" y="647"/>
                  <a:pt x="2066" y="647"/>
                  <a:pt x="2066" y="647"/>
                </a:cubicBezTo>
                <a:cubicBezTo>
                  <a:pt x="2065" y="647"/>
                  <a:pt x="2065" y="647"/>
                  <a:pt x="2065" y="647"/>
                </a:cubicBezTo>
                <a:cubicBezTo>
                  <a:pt x="2064" y="647"/>
                  <a:pt x="2064" y="647"/>
                  <a:pt x="2064" y="647"/>
                </a:cubicBezTo>
                <a:cubicBezTo>
                  <a:pt x="2064" y="648"/>
                  <a:pt x="2064" y="648"/>
                  <a:pt x="2064" y="648"/>
                </a:cubicBezTo>
                <a:cubicBezTo>
                  <a:pt x="2063" y="648"/>
                  <a:pt x="2063" y="648"/>
                  <a:pt x="2063" y="648"/>
                </a:cubicBezTo>
                <a:cubicBezTo>
                  <a:pt x="2062" y="647"/>
                  <a:pt x="2062" y="647"/>
                  <a:pt x="2062" y="647"/>
                </a:cubicBezTo>
                <a:cubicBezTo>
                  <a:pt x="2062" y="646"/>
                  <a:pt x="2062" y="646"/>
                  <a:pt x="2062" y="646"/>
                </a:cubicBezTo>
                <a:cubicBezTo>
                  <a:pt x="2061" y="647"/>
                  <a:pt x="2061" y="647"/>
                  <a:pt x="2061" y="647"/>
                </a:cubicBezTo>
                <a:cubicBezTo>
                  <a:pt x="2060" y="647"/>
                  <a:pt x="2060" y="647"/>
                  <a:pt x="2060" y="647"/>
                </a:cubicBezTo>
                <a:cubicBezTo>
                  <a:pt x="2060" y="648"/>
                  <a:pt x="2060" y="648"/>
                  <a:pt x="2060" y="648"/>
                </a:cubicBezTo>
                <a:cubicBezTo>
                  <a:pt x="2059" y="648"/>
                  <a:pt x="2059" y="648"/>
                  <a:pt x="2059" y="648"/>
                </a:cubicBezTo>
                <a:cubicBezTo>
                  <a:pt x="2058" y="648"/>
                  <a:pt x="2058" y="648"/>
                  <a:pt x="2058" y="648"/>
                </a:cubicBezTo>
                <a:cubicBezTo>
                  <a:pt x="2057" y="649"/>
                  <a:pt x="2057" y="649"/>
                  <a:pt x="2057" y="649"/>
                </a:cubicBezTo>
                <a:cubicBezTo>
                  <a:pt x="2056" y="650"/>
                  <a:pt x="2056" y="650"/>
                  <a:pt x="2056" y="650"/>
                </a:cubicBezTo>
                <a:cubicBezTo>
                  <a:pt x="2054" y="651"/>
                  <a:pt x="2054" y="651"/>
                  <a:pt x="2054" y="651"/>
                </a:cubicBezTo>
                <a:cubicBezTo>
                  <a:pt x="2054" y="650"/>
                  <a:pt x="2054" y="650"/>
                  <a:pt x="2054" y="650"/>
                </a:cubicBezTo>
                <a:cubicBezTo>
                  <a:pt x="2055" y="650"/>
                  <a:pt x="2055" y="650"/>
                  <a:pt x="2055" y="650"/>
                </a:cubicBezTo>
                <a:cubicBezTo>
                  <a:pt x="2055" y="649"/>
                  <a:pt x="2055" y="649"/>
                  <a:pt x="2055" y="649"/>
                </a:cubicBezTo>
                <a:cubicBezTo>
                  <a:pt x="2053" y="648"/>
                  <a:pt x="2053" y="648"/>
                  <a:pt x="2053" y="648"/>
                </a:cubicBezTo>
                <a:cubicBezTo>
                  <a:pt x="2053" y="647"/>
                  <a:pt x="2053" y="647"/>
                  <a:pt x="2053" y="647"/>
                </a:cubicBezTo>
                <a:cubicBezTo>
                  <a:pt x="2052" y="647"/>
                  <a:pt x="2052" y="647"/>
                  <a:pt x="2052" y="647"/>
                </a:cubicBezTo>
                <a:cubicBezTo>
                  <a:pt x="2051" y="646"/>
                  <a:pt x="2051" y="646"/>
                  <a:pt x="2051" y="646"/>
                </a:cubicBezTo>
                <a:cubicBezTo>
                  <a:pt x="2051" y="647"/>
                  <a:pt x="2051" y="647"/>
                  <a:pt x="2051" y="647"/>
                </a:cubicBezTo>
                <a:cubicBezTo>
                  <a:pt x="2051" y="648"/>
                  <a:pt x="2051" y="648"/>
                  <a:pt x="2051" y="648"/>
                </a:cubicBezTo>
                <a:cubicBezTo>
                  <a:pt x="2051" y="649"/>
                  <a:pt x="2051" y="649"/>
                  <a:pt x="2051" y="649"/>
                </a:cubicBezTo>
                <a:cubicBezTo>
                  <a:pt x="2052" y="650"/>
                  <a:pt x="2052" y="650"/>
                  <a:pt x="2052" y="650"/>
                </a:cubicBezTo>
                <a:cubicBezTo>
                  <a:pt x="2051" y="651"/>
                  <a:pt x="2051" y="651"/>
                  <a:pt x="2051" y="651"/>
                </a:cubicBezTo>
                <a:cubicBezTo>
                  <a:pt x="2050" y="652"/>
                  <a:pt x="2050" y="652"/>
                  <a:pt x="2050" y="652"/>
                </a:cubicBezTo>
                <a:cubicBezTo>
                  <a:pt x="2049" y="652"/>
                  <a:pt x="2049" y="652"/>
                  <a:pt x="2049" y="652"/>
                </a:cubicBezTo>
                <a:cubicBezTo>
                  <a:pt x="2048" y="653"/>
                  <a:pt x="2048" y="653"/>
                  <a:pt x="2048" y="653"/>
                </a:cubicBezTo>
                <a:cubicBezTo>
                  <a:pt x="2047" y="654"/>
                  <a:pt x="2047" y="654"/>
                  <a:pt x="2047" y="654"/>
                </a:cubicBezTo>
                <a:cubicBezTo>
                  <a:pt x="2045" y="655"/>
                  <a:pt x="2045" y="655"/>
                  <a:pt x="2045" y="655"/>
                </a:cubicBezTo>
                <a:cubicBezTo>
                  <a:pt x="2044" y="655"/>
                  <a:pt x="2044" y="655"/>
                  <a:pt x="2044" y="655"/>
                </a:cubicBezTo>
                <a:cubicBezTo>
                  <a:pt x="2043" y="655"/>
                  <a:pt x="2043" y="655"/>
                  <a:pt x="2043" y="655"/>
                </a:cubicBezTo>
                <a:cubicBezTo>
                  <a:pt x="2042" y="655"/>
                  <a:pt x="2042" y="655"/>
                  <a:pt x="2042" y="655"/>
                </a:cubicBezTo>
                <a:cubicBezTo>
                  <a:pt x="2041" y="655"/>
                  <a:pt x="2041" y="655"/>
                  <a:pt x="2041" y="655"/>
                </a:cubicBezTo>
                <a:cubicBezTo>
                  <a:pt x="2041" y="656"/>
                  <a:pt x="2041" y="656"/>
                  <a:pt x="2041" y="656"/>
                </a:cubicBezTo>
                <a:cubicBezTo>
                  <a:pt x="2040" y="657"/>
                  <a:pt x="2040" y="657"/>
                  <a:pt x="2040" y="657"/>
                </a:cubicBezTo>
                <a:cubicBezTo>
                  <a:pt x="2039" y="657"/>
                  <a:pt x="2039" y="657"/>
                  <a:pt x="2039" y="657"/>
                </a:cubicBezTo>
                <a:cubicBezTo>
                  <a:pt x="2038" y="657"/>
                  <a:pt x="2038" y="657"/>
                  <a:pt x="2038" y="657"/>
                </a:cubicBezTo>
                <a:cubicBezTo>
                  <a:pt x="2037" y="657"/>
                  <a:pt x="2037" y="657"/>
                  <a:pt x="2037" y="657"/>
                </a:cubicBezTo>
                <a:cubicBezTo>
                  <a:pt x="2036" y="658"/>
                  <a:pt x="2036" y="658"/>
                  <a:pt x="2036" y="658"/>
                </a:cubicBezTo>
                <a:cubicBezTo>
                  <a:pt x="2035" y="658"/>
                  <a:pt x="2035" y="658"/>
                  <a:pt x="2035" y="658"/>
                </a:cubicBezTo>
                <a:cubicBezTo>
                  <a:pt x="2035" y="657"/>
                  <a:pt x="2035" y="657"/>
                  <a:pt x="2035" y="657"/>
                </a:cubicBezTo>
                <a:cubicBezTo>
                  <a:pt x="2034" y="657"/>
                  <a:pt x="2034" y="657"/>
                  <a:pt x="2034" y="657"/>
                </a:cubicBezTo>
                <a:cubicBezTo>
                  <a:pt x="2034" y="658"/>
                  <a:pt x="2034" y="658"/>
                  <a:pt x="2034" y="658"/>
                </a:cubicBezTo>
                <a:cubicBezTo>
                  <a:pt x="2034" y="659"/>
                  <a:pt x="2034" y="659"/>
                  <a:pt x="2034" y="659"/>
                </a:cubicBezTo>
                <a:cubicBezTo>
                  <a:pt x="2033" y="659"/>
                  <a:pt x="2033" y="659"/>
                  <a:pt x="2033" y="659"/>
                </a:cubicBezTo>
                <a:cubicBezTo>
                  <a:pt x="2032" y="660"/>
                  <a:pt x="2032" y="660"/>
                  <a:pt x="2032" y="660"/>
                </a:cubicBezTo>
                <a:cubicBezTo>
                  <a:pt x="2033" y="661"/>
                  <a:pt x="2033" y="661"/>
                  <a:pt x="2033" y="661"/>
                </a:cubicBezTo>
                <a:cubicBezTo>
                  <a:pt x="2034" y="661"/>
                  <a:pt x="2034" y="661"/>
                  <a:pt x="2034" y="661"/>
                </a:cubicBezTo>
                <a:cubicBezTo>
                  <a:pt x="2034" y="662"/>
                  <a:pt x="2034" y="662"/>
                  <a:pt x="2034" y="662"/>
                </a:cubicBezTo>
                <a:cubicBezTo>
                  <a:pt x="2034" y="663"/>
                  <a:pt x="2034" y="663"/>
                  <a:pt x="2034" y="663"/>
                </a:cubicBezTo>
                <a:cubicBezTo>
                  <a:pt x="2035" y="663"/>
                  <a:pt x="2035" y="663"/>
                  <a:pt x="2035" y="663"/>
                </a:cubicBezTo>
                <a:cubicBezTo>
                  <a:pt x="2034" y="665"/>
                  <a:pt x="2034" y="665"/>
                  <a:pt x="2034" y="665"/>
                </a:cubicBezTo>
                <a:cubicBezTo>
                  <a:pt x="2033" y="665"/>
                  <a:pt x="2033" y="665"/>
                  <a:pt x="2033" y="665"/>
                </a:cubicBezTo>
                <a:cubicBezTo>
                  <a:pt x="2033" y="664"/>
                  <a:pt x="2033" y="664"/>
                  <a:pt x="2033" y="664"/>
                </a:cubicBezTo>
                <a:cubicBezTo>
                  <a:pt x="2032" y="664"/>
                  <a:pt x="2032" y="664"/>
                  <a:pt x="2032" y="664"/>
                </a:cubicBezTo>
                <a:cubicBezTo>
                  <a:pt x="2031" y="665"/>
                  <a:pt x="2031" y="665"/>
                  <a:pt x="2031" y="665"/>
                </a:cubicBezTo>
                <a:cubicBezTo>
                  <a:pt x="2031" y="664"/>
                  <a:pt x="2031" y="664"/>
                  <a:pt x="2031" y="664"/>
                </a:cubicBezTo>
                <a:cubicBezTo>
                  <a:pt x="2031" y="663"/>
                  <a:pt x="2031" y="663"/>
                  <a:pt x="2031" y="663"/>
                </a:cubicBezTo>
                <a:cubicBezTo>
                  <a:pt x="2030" y="663"/>
                  <a:pt x="2030" y="663"/>
                  <a:pt x="2030" y="663"/>
                </a:cubicBezTo>
                <a:cubicBezTo>
                  <a:pt x="2029" y="661"/>
                  <a:pt x="2029" y="661"/>
                  <a:pt x="2029" y="661"/>
                </a:cubicBezTo>
                <a:cubicBezTo>
                  <a:pt x="2029" y="660"/>
                  <a:pt x="2029" y="660"/>
                  <a:pt x="2029" y="660"/>
                </a:cubicBezTo>
                <a:cubicBezTo>
                  <a:pt x="2029" y="659"/>
                  <a:pt x="2029" y="659"/>
                  <a:pt x="2029" y="659"/>
                </a:cubicBezTo>
                <a:cubicBezTo>
                  <a:pt x="2030" y="658"/>
                  <a:pt x="2030" y="658"/>
                  <a:pt x="2030" y="658"/>
                </a:cubicBezTo>
                <a:cubicBezTo>
                  <a:pt x="2031" y="657"/>
                  <a:pt x="2031" y="657"/>
                  <a:pt x="2031" y="657"/>
                </a:cubicBezTo>
                <a:cubicBezTo>
                  <a:pt x="2030" y="657"/>
                  <a:pt x="2030" y="657"/>
                  <a:pt x="2030" y="657"/>
                </a:cubicBezTo>
                <a:cubicBezTo>
                  <a:pt x="2029" y="657"/>
                  <a:pt x="2029" y="657"/>
                  <a:pt x="2029" y="657"/>
                </a:cubicBezTo>
                <a:cubicBezTo>
                  <a:pt x="2028" y="656"/>
                  <a:pt x="2028" y="656"/>
                  <a:pt x="2028" y="656"/>
                </a:cubicBezTo>
                <a:cubicBezTo>
                  <a:pt x="2027" y="657"/>
                  <a:pt x="2027" y="657"/>
                  <a:pt x="2027" y="657"/>
                </a:cubicBezTo>
                <a:cubicBezTo>
                  <a:pt x="2026" y="657"/>
                  <a:pt x="2026" y="657"/>
                  <a:pt x="2026" y="657"/>
                </a:cubicBezTo>
                <a:cubicBezTo>
                  <a:pt x="2024" y="656"/>
                  <a:pt x="2024" y="656"/>
                  <a:pt x="2024" y="656"/>
                </a:cubicBezTo>
                <a:cubicBezTo>
                  <a:pt x="2023" y="655"/>
                  <a:pt x="2023" y="655"/>
                  <a:pt x="2023" y="655"/>
                </a:cubicBezTo>
                <a:cubicBezTo>
                  <a:pt x="2022" y="654"/>
                  <a:pt x="2022" y="654"/>
                  <a:pt x="2022" y="654"/>
                </a:cubicBezTo>
                <a:cubicBezTo>
                  <a:pt x="2022" y="655"/>
                  <a:pt x="2022" y="655"/>
                  <a:pt x="2022" y="655"/>
                </a:cubicBezTo>
                <a:cubicBezTo>
                  <a:pt x="2022" y="656"/>
                  <a:pt x="2022" y="656"/>
                  <a:pt x="2022" y="656"/>
                </a:cubicBezTo>
                <a:cubicBezTo>
                  <a:pt x="2021" y="656"/>
                  <a:pt x="2021" y="656"/>
                  <a:pt x="2021" y="656"/>
                </a:cubicBezTo>
                <a:cubicBezTo>
                  <a:pt x="2020" y="656"/>
                  <a:pt x="2020" y="656"/>
                  <a:pt x="2020" y="656"/>
                </a:cubicBezTo>
                <a:cubicBezTo>
                  <a:pt x="2019" y="656"/>
                  <a:pt x="2019" y="656"/>
                  <a:pt x="2019" y="656"/>
                </a:cubicBezTo>
                <a:cubicBezTo>
                  <a:pt x="2019" y="656"/>
                  <a:pt x="2019" y="656"/>
                  <a:pt x="2019" y="657"/>
                </a:cubicBezTo>
                <a:cubicBezTo>
                  <a:pt x="2019" y="657"/>
                  <a:pt x="2019" y="657"/>
                  <a:pt x="2018" y="658"/>
                </a:cubicBezTo>
                <a:cubicBezTo>
                  <a:pt x="2018" y="658"/>
                  <a:pt x="2018" y="658"/>
                  <a:pt x="2017" y="658"/>
                </a:cubicBezTo>
                <a:cubicBezTo>
                  <a:pt x="2017" y="658"/>
                  <a:pt x="2017" y="658"/>
                  <a:pt x="2016" y="658"/>
                </a:cubicBezTo>
                <a:cubicBezTo>
                  <a:pt x="2016" y="658"/>
                  <a:pt x="2016" y="658"/>
                  <a:pt x="2014" y="659"/>
                </a:cubicBezTo>
                <a:cubicBezTo>
                  <a:pt x="2014" y="659"/>
                  <a:pt x="2014" y="659"/>
                  <a:pt x="2014" y="660"/>
                </a:cubicBezTo>
                <a:cubicBezTo>
                  <a:pt x="2014" y="660"/>
                  <a:pt x="2014" y="660"/>
                  <a:pt x="2013" y="661"/>
                </a:cubicBezTo>
                <a:cubicBezTo>
                  <a:pt x="2013" y="661"/>
                  <a:pt x="2013" y="661"/>
                  <a:pt x="2013" y="660"/>
                </a:cubicBezTo>
                <a:cubicBezTo>
                  <a:pt x="2013" y="660"/>
                  <a:pt x="2013" y="660"/>
                  <a:pt x="2012" y="661"/>
                </a:cubicBezTo>
                <a:cubicBezTo>
                  <a:pt x="2012" y="661"/>
                  <a:pt x="2012" y="661"/>
                  <a:pt x="2011" y="661"/>
                </a:cubicBezTo>
                <a:cubicBezTo>
                  <a:pt x="2011" y="661"/>
                  <a:pt x="2011" y="661"/>
                  <a:pt x="2010" y="661"/>
                </a:cubicBezTo>
                <a:cubicBezTo>
                  <a:pt x="2010" y="661"/>
                  <a:pt x="2010" y="661"/>
                  <a:pt x="2010" y="662"/>
                </a:cubicBezTo>
                <a:cubicBezTo>
                  <a:pt x="2010" y="662"/>
                  <a:pt x="2010" y="662"/>
                  <a:pt x="2010" y="663"/>
                </a:cubicBezTo>
                <a:cubicBezTo>
                  <a:pt x="2010" y="663"/>
                  <a:pt x="2010" y="663"/>
                  <a:pt x="2010" y="664"/>
                </a:cubicBezTo>
                <a:cubicBezTo>
                  <a:pt x="2010" y="664"/>
                  <a:pt x="2010" y="664"/>
                  <a:pt x="2010" y="665"/>
                </a:cubicBezTo>
                <a:cubicBezTo>
                  <a:pt x="2010" y="665"/>
                  <a:pt x="2010" y="665"/>
                  <a:pt x="2010" y="666"/>
                </a:cubicBezTo>
                <a:cubicBezTo>
                  <a:pt x="2010" y="666"/>
                  <a:pt x="2010" y="666"/>
                  <a:pt x="2009" y="666"/>
                </a:cubicBezTo>
                <a:cubicBezTo>
                  <a:pt x="2009" y="666"/>
                  <a:pt x="2009" y="666"/>
                  <a:pt x="2008" y="668"/>
                </a:cubicBezTo>
                <a:cubicBezTo>
                  <a:pt x="2008" y="668"/>
                  <a:pt x="2008" y="668"/>
                  <a:pt x="2007" y="668"/>
                </a:cubicBezTo>
                <a:cubicBezTo>
                  <a:pt x="2007" y="668"/>
                  <a:pt x="2007" y="668"/>
                  <a:pt x="2006" y="668"/>
                </a:cubicBezTo>
                <a:cubicBezTo>
                  <a:pt x="2006" y="668"/>
                  <a:pt x="2006" y="668"/>
                  <a:pt x="2006" y="669"/>
                </a:cubicBezTo>
                <a:cubicBezTo>
                  <a:pt x="2006" y="669"/>
                  <a:pt x="2006" y="669"/>
                  <a:pt x="2006" y="670"/>
                </a:cubicBezTo>
                <a:cubicBezTo>
                  <a:pt x="2006" y="670"/>
                  <a:pt x="2006" y="670"/>
                  <a:pt x="2006" y="671"/>
                </a:cubicBezTo>
                <a:cubicBezTo>
                  <a:pt x="2006" y="671"/>
                  <a:pt x="2006" y="671"/>
                  <a:pt x="2007" y="672"/>
                </a:cubicBezTo>
                <a:cubicBezTo>
                  <a:pt x="2007" y="672"/>
                  <a:pt x="2007" y="672"/>
                  <a:pt x="2006" y="674"/>
                </a:cubicBezTo>
                <a:cubicBezTo>
                  <a:pt x="2006" y="674"/>
                  <a:pt x="2006" y="674"/>
                  <a:pt x="2005" y="675"/>
                </a:cubicBezTo>
                <a:cubicBezTo>
                  <a:pt x="2005" y="675"/>
                  <a:pt x="2005" y="675"/>
                  <a:pt x="2007" y="676"/>
                </a:cubicBezTo>
                <a:cubicBezTo>
                  <a:pt x="2007" y="676"/>
                  <a:pt x="2007" y="676"/>
                  <a:pt x="2006" y="677"/>
                </a:cubicBezTo>
                <a:cubicBezTo>
                  <a:pt x="2006" y="677"/>
                  <a:pt x="2006" y="677"/>
                  <a:pt x="2008" y="678"/>
                </a:cubicBezTo>
                <a:cubicBezTo>
                  <a:pt x="2008" y="678"/>
                  <a:pt x="2008" y="678"/>
                  <a:pt x="2010" y="680"/>
                </a:cubicBezTo>
                <a:cubicBezTo>
                  <a:pt x="2010" y="680"/>
                  <a:pt x="2010" y="680"/>
                  <a:pt x="2011" y="680"/>
                </a:cubicBezTo>
                <a:cubicBezTo>
                  <a:pt x="2011" y="680"/>
                  <a:pt x="2011" y="680"/>
                  <a:pt x="2011" y="681"/>
                </a:cubicBezTo>
                <a:cubicBezTo>
                  <a:pt x="2011" y="681"/>
                  <a:pt x="2011" y="681"/>
                  <a:pt x="2011" y="682"/>
                </a:cubicBezTo>
                <a:cubicBezTo>
                  <a:pt x="2011" y="682"/>
                  <a:pt x="2011" y="682"/>
                  <a:pt x="2012" y="684"/>
                </a:cubicBezTo>
                <a:cubicBezTo>
                  <a:pt x="2012" y="684"/>
                  <a:pt x="2012" y="684"/>
                  <a:pt x="2012" y="685"/>
                </a:cubicBezTo>
                <a:cubicBezTo>
                  <a:pt x="2012" y="685"/>
                  <a:pt x="2012" y="685"/>
                  <a:pt x="2014" y="687"/>
                </a:cubicBezTo>
                <a:cubicBezTo>
                  <a:pt x="2014" y="687"/>
                  <a:pt x="2014" y="687"/>
                  <a:pt x="2016" y="687"/>
                </a:cubicBezTo>
                <a:cubicBezTo>
                  <a:pt x="2016" y="687"/>
                  <a:pt x="2016" y="687"/>
                  <a:pt x="2016" y="688"/>
                </a:cubicBezTo>
                <a:cubicBezTo>
                  <a:pt x="2016" y="688"/>
                  <a:pt x="2016" y="688"/>
                  <a:pt x="2019" y="690"/>
                </a:cubicBezTo>
                <a:cubicBezTo>
                  <a:pt x="2019" y="690"/>
                  <a:pt x="2019" y="690"/>
                  <a:pt x="2022" y="692"/>
                </a:cubicBezTo>
                <a:cubicBezTo>
                  <a:pt x="2022" y="692"/>
                  <a:pt x="2022" y="692"/>
                  <a:pt x="2023" y="693"/>
                </a:cubicBezTo>
                <a:cubicBezTo>
                  <a:pt x="2023" y="693"/>
                  <a:pt x="2023" y="693"/>
                  <a:pt x="2026" y="695"/>
                </a:cubicBezTo>
                <a:cubicBezTo>
                  <a:pt x="2026" y="695"/>
                  <a:pt x="2026" y="695"/>
                  <a:pt x="2027" y="697"/>
                </a:cubicBezTo>
                <a:cubicBezTo>
                  <a:pt x="2027" y="697"/>
                  <a:pt x="2027" y="697"/>
                  <a:pt x="2027" y="698"/>
                </a:cubicBezTo>
                <a:cubicBezTo>
                  <a:pt x="2027" y="698"/>
                  <a:pt x="2027" y="698"/>
                  <a:pt x="2027" y="699"/>
                </a:cubicBezTo>
                <a:cubicBezTo>
                  <a:pt x="2027" y="699"/>
                  <a:pt x="2027" y="699"/>
                  <a:pt x="2029" y="700"/>
                </a:cubicBezTo>
                <a:cubicBezTo>
                  <a:pt x="2029" y="700"/>
                  <a:pt x="2029" y="700"/>
                  <a:pt x="2029" y="701"/>
                </a:cubicBezTo>
                <a:cubicBezTo>
                  <a:pt x="2029" y="701"/>
                  <a:pt x="2029" y="701"/>
                  <a:pt x="2029" y="702"/>
                </a:cubicBezTo>
                <a:cubicBezTo>
                  <a:pt x="2029" y="702"/>
                  <a:pt x="2029" y="702"/>
                  <a:pt x="2030" y="703"/>
                </a:cubicBezTo>
                <a:cubicBezTo>
                  <a:pt x="2030" y="703"/>
                  <a:pt x="2030" y="703"/>
                  <a:pt x="2030" y="705"/>
                </a:cubicBezTo>
                <a:cubicBezTo>
                  <a:pt x="2030" y="705"/>
                  <a:pt x="2030" y="705"/>
                  <a:pt x="2030" y="706"/>
                </a:cubicBezTo>
                <a:cubicBezTo>
                  <a:pt x="2030" y="706"/>
                  <a:pt x="2030" y="706"/>
                  <a:pt x="2031" y="708"/>
                </a:cubicBezTo>
                <a:cubicBezTo>
                  <a:pt x="2031" y="708"/>
                  <a:pt x="2031" y="708"/>
                  <a:pt x="2031" y="709"/>
                </a:cubicBezTo>
                <a:cubicBezTo>
                  <a:pt x="2031" y="709"/>
                  <a:pt x="2031" y="709"/>
                  <a:pt x="2031" y="710"/>
                </a:cubicBezTo>
                <a:cubicBezTo>
                  <a:pt x="2031" y="710"/>
                  <a:pt x="2031" y="710"/>
                  <a:pt x="2032" y="711"/>
                </a:cubicBezTo>
                <a:cubicBezTo>
                  <a:pt x="2032" y="711"/>
                  <a:pt x="2032" y="711"/>
                  <a:pt x="2031" y="712"/>
                </a:cubicBezTo>
                <a:cubicBezTo>
                  <a:pt x="2031" y="712"/>
                  <a:pt x="2031" y="712"/>
                  <a:pt x="2032" y="713"/>
                </a:cubicBezTo>
                <a:cubicBezTo>
                  <a:pt x="2032" y="713"/>
                  <a:pt x="2032" y="713"/>
                  <a:pt x="2032" y="714"/>
                </a:cubicBezTo>
                <a:cubicBezTo>
                  <a:pt x="2032" y="714"/>
                  <a:pt x="2032" y="714"/>
                  <a:pt x="2033" y="715"/>
                </a:cubicBezTo>
                <a:cubicBezTo>
                  <a:pt x="2033" y="715"/>
                  <a:pt x="2033" y="715"/>
                  <a:pt x="2033" y="716"/>
                </a:cubicBezTo>
                <a:cubicBezTo>
                  <a:pt x="2033" y="716"/>
                  <a:pt x="2033" y="716"/>
                  <a:pt x="2032" y="717"/>
                </a:cubicBezTo>
                <a:cubicBezTo>
                  <a:pt x="2032" y="717"/>
                  <a:pt x="2032" y="717"/>
                  <a:pt x="2032" y="718"/>
                </a:cubicBezTo>
                <a:cubicBezTo>
                  <a:pt x="2032" y="718"/>
                  <a:pt x="2032" y="718"/>
                  <a:pt x="2033" y="718"/>
                </a:cubicBezTo>
                <a:cubicBezTo>
                  <a:pt x="2033" y="718"/>
                  <a:pt x="2033" y="718"/>
                  <a:pt x="2033" y="719"/>
                </a:cubicBezTo>
                <a:cubicBezTo>
                  <a:pt x="2033" y="719"/>
                  <a:pt x="2033" y="719"/>
                  <a:pt x="2032" y="719"/>
                </a:cubicBezTo>
                <a:cubicBezTo>
                  <a:pt x="2032" y="719"/>
                  <a:pt x="2032" y="719"/>
                  <a:pt x="2032" y="720"/>
                </a:cubicBezTo>
                <a:cubicBezTo>
                  <a:pt x="2032" y="720"/>
                  <a:pt x="2032" y="720"/>
                  <a:pt x="2031" y="721"/>
                </a:cubicBezTo>
                <a:cubicBezTo>
                  <a:pt x="2031" y="721"/>
                  <a:pt x="2031" y="721"/>
                  <a:pt x="2032" y="722"/>
                </a:cubicBezTo>
                <a:cubicBezTo>
                  <a:pt x="2032" y="722"/>
                  <a:pt x="2032" y="722"/>
                  <a:pt x="2031" y="723"/>
                </a:cubicBezTo>
                <a:cubicBezTo>
                  <a:pt x="2031" y="723"/>
                  <a:pt x="2031" y="723"/>
                  <a:pt x="2032" y="724"/>
                </a:cubicBezTo>
                <a:cubicBezTo>
                  <a:pt x="2032" y="724"/>
                  <a:pt x="2032" y="724"/>
                  <a:pt x="2031" y="724"/>
                </a:cubicBezTo>
                <a:cubicBezTo>
                  <a:pt x="2031" y="724"/>
                  <a:pt x="2031" y="724"/>
                  <a:pt x="2030" y="725"/>
                </a:cubicBezTo>
                <a:cubicBezTo>
                  <a:pt x="2030" y="725"/>
                  <a:pt x="2030" y="725"/>
                  <a:pt x="2030" y="726"/>
                </a:cubicBezTo>
                <a:cubicBezTo>
                  <a:pt x="2030" y="726"/>
                  <a:pt x="2030" y="726"/>
                  <a:pt x="2029" y="727"/>
                </a:cubicBezTo>
                <a:cubicBezTo>
                  <a:pt x="2029" y="727"/>
                  <a:pt x="2029" y="727"/>
                  <a:pt x="2028" y="728"/>
                </a:cubicBezTo>
                <a:cubicBezTo>
                  <a:pt x="2028" y="728"/>
                  <a:pt x="2028" y="728"/>
                  <a:pt x="2027" y="728"/>
                </a:cubicBezTo>
                <a:cubicBezTo>
                  <a:pt x="2027" y="728"/>
                  <a:pt x="2027" y="728"/>
                  <a:pt x="2026" y="729"/>
                </a:cubicBezTo>
                <a:cubicBezTo>
                  <a:pt x="2026" y="729"/>
                  <a:pt x="2026" y="729"/>
                  <a:pt x="2026" y="730"/>
                </a:cubicBezTo>
                <a:cubicBezTo>
                  <a:pt x="2026" y="730"/>
                  <a:pt x="2026" y="730"/>
                  <a:pt x="2024" y="730"/>
                </a:cubicBezTo>
                <a:cubicBezTo>
                  <a:pt x="2024" y="730"/>
                  <a:pt x="2024" y="730"/>
                  <a:pt x="2024" y="731"/>
                </a:cubicBezTo>
                <a:cubicBezTo>
                  <a:pt x="2024" y="731"/>
                  <a:pt x="2024" y="731"/>
                  <a:pt x="2021" y="733"/>
                </a:cubicBezTo>
                <a:cubicBezTo>
                  <a:pt x="2021" y="733"/>
                  <a:pt x="2021" y="733"/>
                  <a:pt x="2019" y="733"/>
                </a:cubicBezTo>
                <a:cubicBezTo>
                  <a:pt x="2019" y="733"/>
                  <a:pt x="2019" y="733"/>
                  <a:pt x="2017" y="733"/>
                </a:cubicBezTo>
                <a:cubicBezTo>
                  <a:pt x="2017" y="733"/>
                  <a:pt x="2017" y="733"/>
                  <a:pt x="2017" y="732"/>
                </a:cubicBezTo>
                <a:cubicBezTo>
                  <a:pt x="2017" y="732"/>
                  <a:pt x="2017" y="732"/>
                  <a:pt x="2016" y="732"/>
                </a:cubicBezTo>
                <a:cubicBezTo>
                  <a:pt x="2016" y="732"/>
                  <a:pt x="2016" y="732"/>
                  <a:pt x="2017" y="733"/>
                </a:cubicBezTo>
                <a:cubicBezTo>
                  <a:pt x="2017" y="733"/>
                  <a:pt x="2017" y="733"/>
                  <a:pt x="2016" y="733"/>
                </a:cubicBezTo>
                <a:cubicBezTo>
                  <a:pt x="2016" y="733"/>
                  <a:pt x="2016" y="733"/>
                  <a:pt x="2015" y="733"/>
                </a:cubicBezTo>
                <a:cubicBezTo>
                  <a:pt x="2015" y="733"/>
                  <a:pt x="2015" y="733"/>
                  <a:pt x="2017" y="734"/>
                </a:cubicBezTo>
                <a:cubicBezTo>
                  <a:pt x="2017" y="734"/>
                  <a:pt x="2017" y="734"/>
                  <a:pt x="2016" y="734"/>
                </a:cubicBezTo>
                <a:cubicBezTo>
                  <a:pt x="2016" y="734"/>
                  <a:pt x="2016" y="734"/>
                  <a:pt x="2017" y="735"/>
                </a:cubicBezTo>
                <a:cubicBezTo>
                  <a:pt x="2017" y="735"/>
                  <a:pt x="2017" y="735"/>
                  <a:pt x="2016" y="736"/>
                </a:cubicBezTo>
                <a:cubicBezTo>
                  <a:pt x="2016" y="736"/>
                  <a:pt x="2016" y="736"/>
                  <a:pt x="2016" y="737"/>
                </a:cubicBezTo>
                <a:cubicBezTo>
                  <a:pt x="2016" y="737"/>
                  <a:pt x="2016" y="737"/>
                  <a:pt x="2015" y="737"/>
                </a:cubicBezTo>
                <a:cubicBezTo>
                  <a:pt x="2015" y="737"/>
                  <a:pt x="2015" y="737"/>
                  <a:pt x="2014" y="736"/>
                </a:cubicBezTo>
                <a:cubicBezTo>
                  <a:pt x="2014" y="736"/>
                  <a:pt x="2014" y="736"/>
                  <a:pt x="2013" y="737"/>
                </a:cubicBezTo>
                <a:cubicBezTo>
                  <a:pt x="2013" y="737"/>
                  <a:pt x="2013" y="737"/>
                  <a:pt x="2014" y="738"/>
                </a:cubicBezTo>
                <a:cubicBezTo>
                  <a:pt x="2014" y="738"/>
                  <a:pt x="2014" y="738"/>
                  <a:pt x="2013" y="739"/>
                </a:cubicBezTo>
                <a:cubicBezTo>
                  <a:pt x="2013" y="739"/>
                  <a:pt x="2013" y="739"/>
                  <a:pt x="2011" y="740"/>
                </a:cubicBezTo>
                <a:cubicBezTo>
                  <a:pt x="2011" y="740"/>
                  <a:pt x="2011" y="740"/>
                  <a:pt x="2010" y="740"/>
                </a:cubicBezTo>
                <a:cubicBezTo>
                  <a:pt x="2010" y="740"/>
                  <a:pt x="2010" y="740"/>
                  <a:pt x="2010" y="741"/>
                </a:cubicBezTo>
                <a:cubicBezTo>
                  <a:pt x="2010" y="741"/>
                  <a:pt x="2010" y="741"/>
                  <a:pt x="2010" y="742"/>
                </a:cubicBezTo>
                <a:cubicBezTo>
                  <a:pt x="2010" y="742"/>
                  <a:pt x="2010" y="742"/>
                  <a:pt x="2009" y="743"/>
                </a:cubicBezTo>
                <a:cubicBezTo>
                  <a:pt x="2009" y="743"/>
                  <a:pt x="2009" y="743"/>
                  <a:pt x="2008" y="743"/>
                </a:cubicBezTo>
                <a:cubicBezTo>
                  <a:pt x="2008" y="743"/>
                  <a:pt x="2008" y="743"/>
                  <a:pt x="2006" y="745"/>
                </a:cubicBezTo>
                <a:cubicBezTo>
                  <a:pt x="2006" y="745"/>
                  <a:pt x="2006" y="745"/>
                  <a:pt x="2004" y="744"/>
                </a:cubicBezTo>
                <a:cubicBezTo>
                  <a:pt x="2004" y="744"/>
                  <a:pt x="2004" y="744"/>
                  <a:pt x="2005" y="744"/>
                </a:cubicBezTo>
                <a:cubicBezTo>
                  <a:pt x="2005" y="744"/>
                  <a:pt x="2005" y="744"/>
                  <a:pt x="2006" y="743"/>
                </a:cubicBezTo>
                <a:cubicBezTo>
                  <a:pt x="2006" y="743"/>
                  <a:pt x="2006" y="743"/>
                  <a:pt x="2005" y="742"/>
                </a:cubicBezTo>
                <a:cubicBezTo>
                  <a:pt x="2005" y="742"/>
                  <a:pt x="2005" y="742"/>
                  <a:pt x="2006" y="740"/>
                </a:cubicBezTo>
                <a:cubicBezTo>
                  <a:pt x="2006" y="740"/>
                  <a:pt x="2006" y="740"/>
                  <a:pt x="2005" y="740"/>
                </a:cubicBezTo>
                <a:cubicBezTo>
                  <a:pt x="2005" y="740"/>
                  <a:pt x="2005" y="740"/>
                  <a:pt x="2006" y="739"/>
                </a:cubicBezTo>
                <a:cubicBezTo>
                  <a:pt x="2006" y="739"/>
                  <a:pt x="2006" y="739"/>
                  <a:pt x="2005" y="737"/>
                </a:cubicBezTo>
                <a:cubicBezTo>
                  <a:pt x="2005" y="737"/>
                  <a:pt x="2005" y="737"/>
                  <a:pt x="2006" y="736"/>
                </a:cubicBezTo>
                <a:cubicBezTo>
                  <a:pt x="2006" y="736"/>
                  <a:pt x="2006" y="736"/>
                  <a:pt x="2008" y="734"/>
                </a:cubicBezTo>
                <a:cubicBezTo>
                  <a:pt x="2008" y="734"/>
                  <a:pt x="2008" y="734"/>
                  <a:pt x="2006" y="734"/>
                </a:cubicBezTo>
                <a:cubicBezTo>
                  <a:pt x="2006" y="734"/>
                  <a:pt x="2006" y="734"/>
                  <a:pt x="2005" y="734"/>
                </a:cubicBezTo>
                <a:cubicBezTo>
                  <a:pt x="2005" y="734"/>
                  <a:pt x="2005" y="734"/>
                  <a:pt x="2004" y="734"/>
                </a:cubicBezTo>
                <a:cubicBezTo>
                  <a:pt x="2004" y="734"/>
                  <a:pt x="2004" y="734"/>
                  <a:pt x="2003" y="734"/>
                </a:cubicBezTo>
                <a:cubicBezTo>
                  <a:pt x="2003" y="734"/>
                  <a:pt x="2003" y="734"/>
                  <a:pt x="2003" y="733"/>
                </a:cubicBezTo>
                <a:cubicBezTo>
                  <a:pt x="2003" y="733"/>
                  <a:pt x="2003" y="733"/>
                  <a:pt x="2003" y="732"/>
                </a:cubicBezTo>
                <a:cubicBezTo>
                  <a:pt x="2003" y="732"/>
                  <a:pt x="2003" y="732"/>
                  <a:pt x="2002" y="731"/>
                </a:cubicBezTo>
                <a:cubicBezTo>
                  <a:pt x="2002" y="731"/>
                  <a:pt x="2002" y="731"/>
                  <a:pt x="2001" y="732"/>
                </a:cubicBezTo>
                <a:cubicBezTo>
                  <a:pt x="2001" y="732"/>
                  <a:pt x="2001" y="732"/>
                  <a:pt x="2000" y="731"/>
                </a:cubicBezTo>
                <a:cubicBezTo>
                  <a:pt x="2000" y="731"/>
                  <a:pt x="2000" y="731"/>
                  <a:pt x="1999" y="731"/>
                </a:cubicBezTo>
                <a:cubicBezTo>
                  <a:pt x="1999" y="731"/>
                  <a:pt x="1999" y="731"/>
                  <a:pt x="1998" y="732"/>
                </a:cubicBezTo>
                <a:cubicBezTo>
                  <a:pt x="1998" y="732"/>
                  <a:pt x="1998" y="732"/>
                  <a:pt x="1997" y="731"/>
                </a:cubicBezTo>
                <a:cubicBezTo>
                  <a:pt x="1997" y="731"/>
                  <a:pt x="1997" y="731"/>
                  <a:pt x="1998" y="730"/>
                </a:cubicBezTo>
                <a:cubicBezTo>
                  <a:pt x="1998" y="730"/>
                  <a:pt x="1998" y="730"/>
                  <a:pt x="1998" y="729"/>
                </a:cubicBezTo>
                <a:cubicBezTo>
                  <a:pt x="1998" y="729"/>
                  <a:pt x="1998" y="729"/>
                  <a:pt x="1998" y="728"/>
                </a:cubicBezTo>
                <a:cubicBezTo>
                  <a:pt x="1998" y="728"/>
                  <a:pt x="1998" y="728"/>
                  <a:pt x="1997" y="728"/>
                </a:cubicBezTo>
                <a:cubicBezTo>
                  <a:pt x="1997" y="728"/>
                  <a:pt x="1997" y="728"/>
                  <a:pt x="1996" y="729"/>
                </a:cubicBezTo>
                <a:cubicBezTo>
                  <a:pt x="1996" y="729"/>
                  <a:pt x="1996" y="729"/>
                  <a:pt x="1996" y="730"/>
                </a:cubicBezTo>
                <a:cubicBezTo>
                  <a:pt x="1996" y="730"/>
                  <a:pt x="1996" y="730"/>
                  <a:pt x="1995" y="730"/>
                </a:cubicBezTo>
                <a:cubicBezTo>
                  <a:pt x="1995" y="730"/>
                  <a:pt x="1995" y="730"/>
                  <a:pt x="1994" y="729"/>
                </a:cubicBezTo>
                <a:cubicBezTo>
                  <a:pt x="1994" y="729"/>
                  <a:pt x="1994" y="729"/>
                  <a:pt x="1994" y="728"/>
                </a:cubicBezTo>
                <a:cubicBezTo>
                  <a:pt x="1994" y="728"/>
                  <a:pt x="1994" y="728"/>
                  <a:pt x="1994" y="727"/>
                </a:cubicBezTo>
                <a:cubicBezTo>
                  <a:pt x="1994" y="727"/>
                  <a:pt x="1994" y="727"/>
                  <a:pt x="1994" y="726"/>
                </a:cubicBezTo>
                <a:cubicBezTo>
                  <a:pt x="1994" y="726"/>
                  <a:pt x="1994" y="726"/>
                  <a:pt x="1993" y="726"/>
                </a:cubicBezTo>
                <a:cubicBezTo>
                  <a:pt x="1993" y="726"/>
                  <a:pt x="1993" y="726"/>
                  <a:pt x="1992" y="725"/>
                </a:cubicBezTo>
                <a:cubicBezTo>
                  <a:pt x="1992" y="725"/>
                  <a:pt x="1992" y="725"/>
                  <a:pt x="1992" y="724"/>
                </a:cubicBezTo>
                <a:cubicBezTo>
                  <a:pt x="1992" y="724"/>
                  <a:pt x="1992" y="724"/>
                  <a:pt x="1991" y="723"/>
                </a:cubicBezTo>
                <a:cubicBezTo>
                  <a:pt x="1991" y="723"/>
                  <a:pt x="1991" y="723"/>
                  <a:pt x="1991" y="722"/>
                </a:cubicBezTo>
                <a:cubicBezTo>
                  <a:pt x="1991" y="722"/>
                  <a:pt x="1991" y="722"/>
                  <a:pt x="1990" y="721"/>
                </a:cubicBezTo>
                <a:cubicBezTo>
                  <a:pt x="1990" y="722"/>
                  <a:pt x="1990" y="722"/>
                  <a:pt x="1990" y="722"/>
                </a:cubicBezTo>
                <a:cubicBezTo>
                  <a:pt x="1989" y="721"/>
                  <a:pt x="1989" y="721"/>
                  <a:pt x="1989" y="721"/>
                </a:cubicBezTo>
                <a:cubicBezTo>
                  <a:pt x="1988" y="720"/>
                  <a:pt x="1988" y="720"/>
                  <a:pt x="1988" y="720"/>
                </a:cubicBezTo>
                <a:cubicBezTo>
                  <a:pt x="1987" y="719"/>
                  <a:pt x="1987" y="719"/>
                  <a:pt x="1987" y="719"/>
                </a:cubicBezTo>
                <a:cubicBezTo>
                  <a:pt x="1985" y="718"/>
                  <a:pt x="1985" y="718"/>
                  <a:pt x="1985" y="718"/>
                </a:cubicBezTo>
                <a:cubicBezTo>
                  <a:pt x="1984" y="717"/>
                  <a:pt x="1984" y="717"/>
                  <a:pt x="1984" y="717"/>
                </a:cubicBezTo>
                <a:cubicBezTo>
                  <a:pt x="1984" y="718"/>
                  <a:pt x="1984" y="718"/>
                  <a:pt x="1984" y="718"/>
                </a:cubicBezTo>
                <a:cubicBezTo>
                  <a:pt x="1984" y="719"/>
                  <a:pt x="1984" y="719"/>
                  <a:pt x="1984" y="719"/>
                </a:cubicBezTo>
                <a:cubicBezTo>
                  <a:pt x="1983" y="718"/>
                  <a:pt x="1983" y="718"/>
                  <a:pt x="1983" y="718"/>
                </a:cubicBezTo>
                <a:cubicBezTo>
                  <a:pt x="1982" y="718"/>
                  <a:pt x="1982" y="718"/>
                  <a:pt x="1982" y="718"/>
                </a:cubicBezTo>
                <a:cubicBezTo>
                  <a:pt x="1980" y="718"/>
                  <a:pt x="1980" y="718"/>
                  <a:pt x="1980" y="718"/>
                </a:cubicBezTo>
                <a:cubicBezTo>
                  <a:pt x="1979" y="718"/>
                  <a:pt x="1979" y="718"/>
                  <a:pt x="1979" y="718"/>
                </a:cubicBezTo>
                <a:cubicBezTo>
                  <a:pt x="1979" y="717"/>
                  <a:pt x="1979" y="717"/>
                  <a:pt x="1979" y="717"/>
                </a:cubicBezTo>
                <a:cubicBezTo>
                  <a:pt x="1979" y="716"/>
                  <a:pt x="1979" y="716"/>
                  <a:pt x="1979" y="716"/>
                </a:cubicBezTo>
                <a:cubicBezTo>
                  <a:pt x="1979" y="714"/>
                  <a:pt x="1979" y="714"/>
                  <a:pt x="1979" y="714"/>
                </a:cubicBezTo>
                <a:cubicBezTo>
                  <a:pt x="1979" y="713"/>
                  <a:pt x="1979" y="713"/>
                  <a:pt x="1979" y="713"/>
                </a:cubicBezTo>
                <a:cubicBezTo>
                  <a:pt x="1978" y="712"/>
                  <a:pt x="1978" y="712"/>
                  <a:pt x="1978" y="712"/>
                </a:cubicBezTo>
                <a:cubicBezTo>
                  <a:pt x="1977" y="712"/>
                  <a:pt x="1977" y="712"/>
                  <a:pt x="1977" y="712"/>
                </a:cubicBezTo>
                <a:cubicBezTo>
                  <a:pt x="1976" y="713"/>
                  <a:pt x="1976" y="713"/>
                  <a:pt x="1976" y="713"/>
                </a:cubicBezTo>
                <a:cubicBezTo>
                  <a:pt x="1975" y="713"/>
                  <a:pt x="1975" y="713"/>
                  <a:pt x="1975" y="713"/>
                </a:cubicBezTo>
                <a:cubicBezTo>
                  <a:pt x="1975" y="712"/>
                  <a:pt x="1975" y="712"/>
                  <a:pt x="1975" y="712"/>
                </a:cubicBezTo>
                <a:cubicBezTo>
                  <a:pt x="1974" y="713"/>
                  <a:pt x="1974" y="713"/>
                  <a:pt x="1974" y="713"/>
                </a:cubicBezTo>
                <a:cubicBezTo>
                  <a:pt x="1973" y="713"/>
                  <a:pt x="1973" y="713"/>
                  <a:pt x="1973" y="713"/>
                </a:cubicBezTo>
                <a:cubicBezTo>
                  <a:pt x="1973" y="714"/>
                  <a:pt x="1973" y="714"/>
                  <a:pt x="1973" y="714"/>
                </a:cubicBezTo>
                <a:cubicBezTo>
                  <a:pt x="1974" y="714"/>
                  <a:pt x="1974" y="714"/>
                  <a:pt x="1974" y="714"/>
                </a:cubicBezTo>
                <a:cubicBezTo>
                  <a:pt x="1974" y="715"/>
                  <a:pt x="1974" y="715"/>
                  <a:pt x="1974" y="715"/>
                </a:cubicBezTo>
                <a:cubicBezTo>
                  <a:pt x="1973" y="716"/>
                  <a:pt x="1973" y="716"/>
                  <a:pt x="1973" y="716"/>
                </a:cubicBezTo>
                <a:cubicBezTo>
                  <a:pt x="1973" y="718"/>
                  <a:pt x="1973" y="718"/>
                  <a:pt x="1973" y="718"/>
                </a:cubicBezTo>
                <a:cubicBezTo>
                  <a:pt x="1973" y="719"/>
                  <a:pt x="1973" y="719"/>
                  <a:pt x="1973" y="719"/>
                </a:cubicBezTo>
                <a:cubicBezTo>
                  <a:pt x="1974" y="719"/>
                  <a:pt x="1974" y="719"/>
                  <a:pt x="1974" y="719"/>
                </a:cubicBezTo>
                <a:cubicBezTo>
                  <a:pt x="1973" y="721"/>
                  <a:pt x="1973" y="721"/>
                  <a:pt x="1973" y="721"/>
                </a:cubicBezTo>
                <a:cubicBezTo>
                  <a:pt x="1973" y="722"/>
                  <a:pt x="1973" y="722"/>
                  <a:pt x="1973" y="722"/>
                </a:cubicBezTo>
                <a:cubicBezTo>
                  <a:pt x="1972" y="723"/>
                  <a:pt x="1972" y="723"/>
                  <a:pt x="1972" y="723"/>
                </a:cubicBezTo>
                <a:cubicBezTo>
                  <a:pt x="1971" y="724"/>
                  <a:pt x="1971" y="724"/>
                  <a:pt x="1971" y="724"/>
                </a:cubicBezTo>
                <a:cubicBezTo>
                  <a:pt x="1971" y="729"/>
                  <a:pt x="1971" y="729"/>
                  <a:pt x="1971" y="729"/>
                </a:cubicBezTo>
                <a:cubicBezTo>
                  <a:pt x="1970" y="731"/>
                  <a:pt x="1970" y="731"/>
                  <a:pt x="1970" y="731"/>
                </a:cubicBezTo>
                <a:cubicBezTo>
                  <a:pt x="1970" y="732"/>
                  <a:pt x="1970" y="732"/>
                  <a:pt x="1970" y="732"/>
                </a:cubicBezTo>
                <a:cubicBezTo>
                  <a:pt x="1969" y="734"/>
                  <a:pt x="1969" y="734"/>
                  <a:pt x="1969" y="734"/>
                </a:cubicBezTo>
                <a:cubicBezTo>
                  <a:pt x="1970" y="734"/>
                  <a:pt x="1970" y="734"/>
                  <a:pt x="1970" y="734"/>
                </a:cubicBezTo>
                <a:cubicBezTo>
                  <a:pt x="1969" y="735"/>
                  <a:pt x="1969" y="735"/>
                  <a:pt x="1969" y="735"/>
                </a:cubicBezTo>
                <a:cubicBezTo>
                  <a:pt x="1970" y="737"/>
                  <a:pt x="1970" y="737"/>
                  <a:pt x="1970" y="737"/>
                </a:cubicBezTo>
                <a:cubicBezTo>
                  <a:pt x="1970" y="738"/>
                  <a:pt x="1970" y="738"/>
                  <a:pt x="1970" y="738"/>
                </a:cubicBezTo>
                <a:cubicBezTo>
                  <a:pt x="1971" y="739"/>
                  <a:pt x="1971" y="739"/>
                  <a:pt x="1971" y="739"/>
                </a:cubicBezTo>
                <a:cubicBezTo>
                  <a:pt x="1970" y="741"/>
                  <a:pt x="1970" y="741"/>
                  <a:pt x="1970" y="741"/>
                </a:cubicBezTo>
                <a:cubicBezTo>
                  <a:pt x="1971" y="741"/>
                  <a:pt x="1971" y="741"/>
                  <a:pt x="1971" y="741"/>
                </a:cubicBezTo>
                <a:cubicBezTo>
                  <a:pt x="1971" y="740"/>
                  <a:pt x="1971" y="740"/>
                  <a:pt x="1971" y="740"/>
                </a:cubicBezTo>
                <a:cubicBezTo>
                  <a:pt x="1972" y="740"/>
                  <a:pt x="1972" y="740"/>
                  <a:pt x="1972" y="740"/>
                </a:cubicBezTo>
                <a:cubicBezTo>
                  <a:pt x="1973" y="740"/>
                  <a:pt x="1973" y="740"/>
                  <a:pt x="1973" y="740"/>
                </a:cubicBezTo>
                <a:cubicBezTo>
                  <a:pt x="1974" y="741"/>
                  <a:pt x="1974" y="741"/>
                  <a:pt x="1974" y="741"/>
                </a:cubicBezTo>
                <a:cubicBezTo>
                  <a:pt x="1974" y="742"/>
                  <a:pt x="1974" y="742"/>
                  <a:pt x="1974" y="742"/>
                </a:cubicBezTo>
                <a:cubicBezTo>
                  <a:pt x="1975" y="743"/>
                  <a:pt x="1975" y="743"/>
                  <a:pt x="1975" y="743"/>
                </a:cubicBezTo>
                <a:cubicBezTo>
                  <a:pt x="1974" y="744"/>
                  <a:pt x="1974" y="744"/>
                  <a:pt x="1974" y="744"/>
                </a:cubicBezTo>
                <a:cubicBezTo>
                  <a:pt x="1975" y="744"/>
                  <a:pt x="1975" y="744"/>
                  <a:pt x="1975" y="744"/>
                </a:cubicBezTo>
                <a:cubicBezTo>
                  <a:pt x="1976" y="746"/>
                  <a:pt x="1976" y="746"/>
                  <a:pt x="1976" y="746"/>
                </a:cubicBezTo>
                <a:cubicBezTo>
                  <a:pt x="1976" y="745"/>
                  <a:pt x="1976" y="745"/>
                  <a:pt x="1976" y="745"/>
                </a:cubicBezTo>
                <a:cubicBezTo>
                  <a:pt x="1977" y="744"/>
                  <a:pt x="1977" y="744"/>
                  <a:pt x="1977" y="744"/>
                </a:cubicBezTo>
                <a:cubicBezTo>
                  <a:pt x="1977" y="745"/>
                  <a:pt x="1977" y="745"/>
                  <a:pt x="1977" y="745"/>
                </a:cubicBezTo>
                <a:cubicBezTo>
                  <a:pt x="1978" y="746"/>
                  <a:pt x="1978" y="746"/>
                  <a:pt x="1978" y="746"/>
                </a:cubicBezTo>
                <a:cubicBezTo>
                  <a:pt x="1978" y="747"/>
                  <a:pt x="1978" y="747"/>
                  <a:pt x="1978" y="747"/>
                </a:cubicBezTo>
                <a:cubicBezTo>
                  <a:pt x="1978" y="748"/>
                  <a:pt x="1978" y="748"/>
                  <a:pt x="1978" y="748"/>
                </a:cubicBezTo>
                <a:cubicBezTo>
                  <a:pt x="1979" y="750"/>
                  <a:pt x="1979" y="750"/>
                  <a:pt x="1979" y="750"/>
                </a:cubicBezTo>
                <a:cubicBezTo>
                  <a:pt x="1978" y="751"/>
                  <a:pt x="1978" y="751"/>
                  <a:pt x="1978" y="751"/>
                </a:cubicBezTo>
                <a:cubicBezTo>
                  <a:pt x="1977" y="751"/>
                  <a:pt x="1977" y="751"/>
                  <a:pt x="1977" y="751"/>
                </a:cubicBezTo>
                <a:cubicBezTo>
                  <a:pt x="1977" y="752"/>
                  <a:pt x="1977" y="752"/>
                  <a:pt x="1977" y="752"/>
                </a:cubicBezTo>
                <a:cubicBezTo>
                  <a:pt x="1979" y="753"/>
                  <a:pt x="1979" y="753"/>
                  <a:pt x="1979" y="753"/>
                </a:cubicBezTo>
                <a:cubicBezTo>
                  <a:pt x="1980" y="754"/>
                  <a:pt x="1980" y="754"/>
                  <a:pt x="1980" y="754"/>
                </a:cubicBezTo>
                <a:cubicBezTo>
                  <a:pt x="1982" y="756"/>
                  <a:pt x="1982" y="756"/>
                  <a:pt x="1982" y="756"/>
                </a:cubicBezTo>
                <a:cubicBezTo>
                  <a:pt x="1983" y="756"/>
                  <a:pt x="1983" y="756"/>
                  <a:pt x="1983" y="756"/>
                </a:cubicBezTo>
                <a:cubicBezTo>
                  <a:pt x="1984" y="756"/>
                  <a:pt x="1984" y="756"/>
                  <a:pt x="1984" y="756"/>
                </a:cubicBezTo>
                <a:cubicBezTo>
                  <a:pt x="1986" y="757"/>
                  <a:pt x="1986" y="757"/>
                  <a:pt x="1986" y="757"/>
                </a:cubicBezTo>
                <a:cubicBezTo>
                  <a:pt x="1986" y="759"/>
                  <a:pt x="1986" y="759"/>
                  <a:pt x="1986" y="759"/>
                </a:cubicBezTo>
                <a:cubicBezTo>
                  <a:pt x="1987" y="759"/>
                  <a:pt x="1987" y="759"/>
                  <a:pt x="1987" y="759"/>
                </a:cubicBezTo>
                <a:cubicBezTo>
                  <a:pt x="1988" y="760"/>
                  <a:pt x="1988" y="760"/>
                  <a:pt x="1988" y="760"/>
                </a:cubicBezTo>
                <a:cubicBezTo>
                  <a:pt x="1988" y="761"/>
                  <a:pt x="1988" y="761"/>
                  <a:pt x="1988" y="761"/>
                </a:cubicBezTo>
                <a:cubicBezTo>
                  <a:pt x="1988" y="761"/>
                  <a:pt x="1988" y="761"/>
                  <a:pt x="1989" y="761"/>
                </a:cubicBezTo>
                <a:cubicBezTo>
                  <a:pt x="1989" y="761"/>
                  <a:pt x="1989" y="761"/>
                  <a:pt x="1990" y="760"/>
                </a:cubicBezTo>
                <a:cubicBezTo>
                  <a:pt x="1990" y="760"/>
                  <a:pt x="1990" y="760"/>
                  <a:pt x="1991" y="762"/>
                </a:cubicBezTo>
                <a:cubicBezTo>
                  <a:pt x="1991" y="762"/>
                  <a:pt x="1991" y="762"/>
                  <a:pt x="1996" y="766"/>
                </a:cubicBezTo>
                <a:cubicBezTo>
                  <a:pt x="1996" y="766"/>
                  <a:pt x="1996" y="766"/>
                  <a:pt x="1997" y="769"/>
                </a:cubicBezTo>
                <a:cubicBezTo>
                  <a:pt x="1997" y="769"/>
                  <a:pt x="1997" y="769"/>
                  <a:pt x="1998" y="771"/>
                </a:cubicBezTo>
                <a:cubicBezTo>
                  <a:pt x="1998" y="771"/>
                  <a:pt x="1998" y="771"/>
                  <a:pt x="1997" y="772"/>
                </a:cubicBezTo>
                <a:cubicBezTo>
                  <a:pt x="1997" y="772"/>
                  <a:pt x="1997" y="772"/>
                  <a:pt x="1998" y="775"/>
                </a:cubicBezTo>
                <a:cubicBezTo>
                  <a:pt x="1998" y="775"/>
                  <a:pt x="1998" y="775"/>
                  <a:pt x="1997" y="775"/>
                </a:cubicBezTo>
                <a:cubicBezTo>
                  <a:pt x="1997" y="775"/>
                  <a:pt x="1997" y="775"/>
                  <a:pt x="1997" y="776"/>
                </a:cubicBezTo>
                <a:cubicBezTo>
                  <a:pt x="1997" y="776"/>
                  <a:pt x="1997" y="776"/>
                  <a:pt x="1998" y="777"/>
                </a:cubicBezTo>
                <a:cubicBezTo>
                  <a:pt x="1998" y="777"/>
                  <a:pt x="1998" y="777"/>
                  <a:pt x="1998" y="780"/>
                </a:cubicBezTo>
                <a:cubicBezTo>
                  <a:pt x="1998" y="780"/>
                  <a:pt x="1998" y="780"/>
                  <a:pt x="1999" y="782"/>
                </a:cubicBezTo>
                <a:cubicBezTo>
                  <a:pt x="1999" y="782"/>
                  <a:pt x="1999" y="782"/>
                  <a:pt x="2000" y="783"/>
                </a:cubicBezTo>
                <a:cubicBezTo>
                  <a:pt x="2000" y="783"/>
                  <a:pt x="2000" y="783"/>
                  <a:pt x="2001" y="783"/>
                </a:cubicBezTo>
                <a:cubicBezTo>
                  <a:pt x="2001" y="783"/>
                  <a:pt x="2001" y="783"/>
                  <a:pt x="2001" y="784"/>
                </a:cubicBezTo>
                <a:cubicBezTo>
                  <a:pt x="2001" y="784"/>
                  <a:pt x="2001" y="784"/>
                  <a:pt x="2001" y="786"/>
                </a:cubicBezTo>
                <a:cubicBezTo>
                  <a:pt x="2001" y="786"/>
                  <a:pt x="2001" y="786"/>
                  <a:pt x="2002" y="787"/>
                </a:cubicBezTo>
                <a:cubicBezTo>
                  <a:pt x="2002" y="787"/>
                  <a:pt x="2002" y="787"/>
                  <a:pt x="2002" y="788"/>
                </a:cubicBezTo>
                <a:cubicBezTo>
                  <a:pt x="2002" y="788"/>
                  <a:pt x="2002" y="788"/>
                  <a:pt x="2004" y="790"/>
                </a:cubicBezTo>
                <a:cubicBezTo>
                  <a:pt x="2004" y="790"/>
                  <a:pt x="2004" y="790"/>
                  <a:pt x="2004" y="792"/>
                </a:cubicBezTo>
                <a:cubicBezTo>
                  <a:pt x="2004" y="792"/>
                  <a:pt x="2004" y="792"/>
                  <a:pt x="2003" y="792"/>
                </a:cubicBezTo>
                <a:cubicBezTo>
                  <a:pt x="2003" y="792"/>
                  <a:pt x="2003" y="792"/>
                  <a:pt x="2003" y="791"/>
                </a:cubicBezTo>
                <a:cubicBezTo>
                  <a:pt x="2003" y="791"/>
                  <a:pt x="2003" y="791"/>
                  <a:pt x="2002" y="790"/>
                </a:cubicBezTo>
                <a:cubicBezTo>
                  <a:pt x="2002" y="790"/>
                  <a:pt x="2002" y="790"/>
                  <a:pt x="2002" y="791"/>
                </a:cubicBezTo>
                <a:cubicBezTo>
                  <a:pt x="2002" y="791"/>
                  <a:pt x="2002" y="791"/>
                  <a:pt x="2002" y="792"/>
                </a:cubicBezTo>
                <a:cubicBezTo>
                  <a:pt x="2002" y="792"/>
                  <a:pt x="2002" y="792"/>
                  <a:pt x="2001" y="792"/>
                </a:cubicBezTo>
                <a:cubicBezTo>
                  <a:pt x="2001" y="792"/>
                  <a:pt x="2001" y="792"/>
                  <a:pt x="2000" y="792"/>
                </a:cubicBezTo>
                <a:cubicBezTo>
                  <a:pt x="2000" y="792"/>
                  <a:pt x="2000" y="792"/>
                  <a:pt x="1999" y="792"/>
                </a:cubicBezTo>
                <a:cubicBezTo>
                  <a:pt x="1999" y="792"/>
                  <a:pt x="1999" y="792"/>
                  <a:pt x="1998" y="791"/>
                </a:cubicBezTo>
                <a:cubicBezTo>
                  <a:pt x="1998" y="791"/>
                  <a:pt x="1998" y="791"/>
                  <a:pt x="1996" y="790"/>
                </a:cubicBezTo>
                <a:cubicBezTo>
                  <a:pt x="1996" y="790"/>
                  <a:pt x="1996" y="790"/>
                  <a:pt x="1994" y="789"/>
                </a:cubicBezTo>
                <a:cubicBezTo>
                  <a:pt x="1994" y="789"/>
                  <a:pt x="1994" y="789"/>
                  <a:pt x="1993" y="788"/>
                </a:cubicBezTo>
                <a:cubicBezTo>
                  <a:pt x="1993" y="788"/>
                  <a:pt x="1993" y="788"/>
                  <a:pt x="1992" y="788"/>
                </a:cubicBezTo>
                <a:cubicBezTo>
                  <a:pt x="1992" y="788"/>
                  <a:pt x="1992" y="788"/>
                  <a:pt x="1991" y="788"/>
                </a:cubicBezTo>
                <a:cubicBezTo>
                  <a:pt x="1991" y="788"/>
                  <a:pt x="1991" y="788"/>
                  <a:pt x="1989" y="786"/>
                </a:cubicBezTo>
                <a:cubicBezTo>
                  <a:pt x="1989" y="786"/>
                  <a:pt x="1989" y="786"/>
                  <a:pt x="1989" y="785"/>
                </a:cubicBezTo>
                <a:cubicBezTo>
                  <a:pt x="1989" y="785"/>
                  <a:pt x="1989" y="785"/>
                  <a:pt x="1988" y="784"/>
                </a:cubicBezTo>
                <a:cubicBezTo>
                  <a:pt x="1988" y="784"/>
                  <a:pt x="1988" y="784"/>
                  <a:pt x="1985" y="783"/>
                </a:cubicBezTo>
                <a:cubicBezTo>
                  <a:pt x="1985" y="783"/>
                  <a:pt x="1985" y="783"/>
                  <a:pt x="1985" y="782"/>
                </a:cubicBezTo>
                <a:cubicBezTo>
                  <a:pt x="1985" y="782"/>
                  <a:pt x="1985" y="782"/>
                  <a:pt x="1985" y="781"/>
                </a:cubicBezTo>
                <a:cubicBezTo>
                  <a:pt x="1985" y="781"/>
                  <a:pt x="1985" y="781"/>
                  <a:pt x="1986" y="780"/>
                </a:cubicBezTo>
                <a:cubicBezTo>
                  <a:pt x="1986" y="780"/>
                  <a:pt x="1986" y="780"/>
                  <a:pt x="1985" y="779"/>
                </a:cubicBezTo>
                <a:cubicBezTo>
                  <a:pt x="1985" y="779"/>
                  <a:pt x="1985" y="779"/>
                  <a:pt x="1984" y="778"/>
                </a:cubicBezTo>
                <a:cubicBezTo>
                  <a:pt x="1984" y="778"/>
                  <a:pt x="1984" y="778"/>
                  <a:pt x="1983" y="777"/>
                </a:cubicBezTo>
                <a:cubicBezTo>
                  <a:pt x="1983" y="777"/>
                  <a:pt x="1983" y="777"/>
                  <a:pt x="1981" y="776"/>
                </a:cubicBezTo>
                <a:cubicBezTo>
                  <a:pt x="1981" y="776"/>
                  <a:pt x="1981" y="776"/>
                  <a:pt x="1980" y="775"/>
                </a:cubicBezTo>
                <a:cubicBezTo>
                  <a:pt x="1980" y="775"/>
                  <a:pt x="1980" y="775"/>
                  <a:pt x="1980" y="774"/>
                </a:cubicBezTo>
                <a:cubicBezTo>
                  <a:pt x="1980" y="774"/>
                  <a:pt x="1980" y="774"/>
                  <a:pt x="1980" y="773"/>
                </a:cubicBezTo>
                <a:cubicBezTo>
                  <a:pt x="1980" y="773"/>
                  <a:pt x="1980" y="773"/>
                  <a:pt x="1979" y="772"/>
                </a:cubicBezTo>
                <a:cubicBezTo>
                  <a:pt x="1979" y="772"/>
                  <a:pt x="1979" y="772"/>
                  <a:pt x="1980" y="771"/>
                </a:cubicBezTo>
                <a:cubicBezTo>
                  <a:pt x="1980" y="771"/>
                  <a:pt x="1980" y="771"/>
                  <a:pt x="1980" y="769"/>
                </a:cubicBezTo>
                <a:cubicBezTo>
                  <a:pt x="1980" y="769"/>
                  <a:pt x="1980" y="769"/>
                  <a:pt x="1979" y="768"/>
                </a:cubicBezTo>
                <a:cubicBezTo>
                  <a:pt x="1979" y="768"/>
                  <a:pt x="1979" y="768"/>
                  <a:pt x="1979" y="766"/>
                </a:cubicBezTo>
                <a:cubicBezTo>
                  <a:pt x="1979" y="766"/>
                  <a:pt x="1979" y="766"/>
                  <a:pt x="1978" y="761"/>
                </a:cubicBezTo>
                <a:cubicBezTo>
                  <a:pt x="1978" y="761"/>
                  <a:pt x="1978" y="761"/>
                  <a:pt x="1977" y="759"/>
                </a:cubicBezTo>
                <a:cubicBezTo>
                  <a:pt x="1976" y="758"/>
                  <a:pt x="1976" y="758"/>
                  <a:pt x="1976" y="758"/>
                </a:cubicBezTo>
                <a:cubicBezTo>
                  <a:pt x="1973" y="756"/>
                  <a:pt x="1973" y="756"/>
                  <a:pt x="1973" y="756"/>
                </a:cubicBezTo>
                <a:cubicBezTo>
                  <a:pt x="1974" y="755"/>
                  <a:pt x="1974" y="755"/>
                  <a:pt x="1974" y="755"/>
                </a:cubicBezTo>
                <a:cubicBezTo>
                  <a:pt x="1974" y="754"/>
                  <a:pt x="1974" y="754"/>
                  <a:pt x="1974" y="754"/>
                </a:cubicBezTo>
                <a:cubicBezTo>
                  <a:pt x="1973" y="754"/>
                  <a:pt x="1973" y="754"/>
                  <a:pt x="1973" y="754"/>
                </a:cubicBezTo>
                <a:cubicBezTo>
                  <a:pt x="1973" y="753"/>
                  <a:pt x="1973" y="753"/>
                  <a:pt x="1973" y="753"/>
                </a:cubicBezTo>
                <a:cubicBezTo>
                  <a:pt x="1972" y="753"/>
                  <a:pt x="1972" y="753"/>
                  <a:pt x="1972" y="753"/>
                </a:cubicBezTo>
                <a:cubicBezTo>
                  <a:pt x="1972" y="752"/>
                  <a:pt x="1972" y="752"/>
                  <a:pt x="1972" y="752"/>
                </a:cubicBezTo>
                <a:cubicBezTo>
                  <a:pt x="1970" y="750"/>
                  <a:pt x="1970" y="750"/>
                  <a:pt x="1970" y="750"/>
                </a:cubicBezTo>
                <a:cubicBezTo>
                  <a:pt x="1969" y="750"/>
                  <a:pt x="1969" y="750"/>
                  <a:pt x="1969" y="750"/>
                </a:cubicBezTo>
                <a:cubicBezTo>
                  <a:pt x="1968" y="748"/>
                  <a:pt x="1968" y="748"/>
                  <a:pt x="1968" y="748"/>
                </a:cubicBezTo>
                <a:cubicBezTo>
                  <a:pt x="1967" y="748"/>
                  <a:pt x="1967" y="748"/>
                  <a:pt x="1967" y="748"/>
                </a:cubicBezTo>
                <a:cubicBezTo>
                  <a:pt x="1967" y="747"/>
                  <a:pt x="1967" y="747"/>
                  <a:pt x="1967" y="747"/>
                </a:cubicBezTo>
                <a:cubicBezTo>
                  <a:pt x="1967" y="746"/>
                  <a:pt x="1967" y="746"/>
                  <a:pt x="1967" y="746"/>
                </a:cubicBezTo>
                <a:cubicBezTo>
                  <a:pt x="1965" y="746"/>
                  <a:pt x="1965" y="746"/>
                  <a:pt x="1965" y="746"/>
                </a:cubicBezTo>
                <a:cubicBezTo>
                  <a:pt x="1966" y="747"/>
                  <a:pt x="1966" y="747"/>
                  <a:pt x="1966" y="747"/>
                </a:cubicBezTo>
                <a:cubicBezTo>
                  <a:pt x="1965" y="747"/>
                  <a:pt x="1965" y="747"/>
                  <a:pt x="1965" y="747"/>
                </a:cubicBezTo>
                <a:cubicBezTo>
                  <a:pt x="1964" y="746"/>
                  <a:pt x="1964" y="746"/>
                  <a:pt x="1964" y="746"/>
                </a:cubicBezTo>
                <a:cubicBezTo>
                  <a:pt x="1964" y="744"/>
                  <a:pt x="1964" y="744"/>
                  <a:pt x="1964" y="744"/>
                </a:cubicBezTo>
                <a:cubicBezTo>
                  <a:pt x="1964" y="742"/>
                  <a:pt x="1964" y="742"/>
                  <a:pt x="1964" y="742"/>
                </a:cubicBezTo>
                <a:cubicBezTo>
                  <a:pt x="1965" y="742"/>
                  <a:pt x="1965" y="742"/>
                  <a:pt x="1965" y="742"/>
                </a:cubicBezTo>
                <a:cubicBezTo>
                  <a:pt x="1965" y="739"/>
                  <a:pt x="1965" y="739"/>
                  <a:pt x="1965" y="739"/>
                </a:cubicBezTo>
                <a:cubicBezTo>
                  <a:pt x="1966" y="738"/>
                  <a:pt x="1966" y="738"/>
                  <a:pt x="1966" y="738"/>
                </a:cubicBezTo>
                <a:cubicBezTo>
                  <a:pt x="1965" y="738"/>
                  <a:pt x="1965" y="738"/>
                  <a:pt x="1965" y="738"/>
                </a:cubicBezTo>
                <a:cubicBezTo>
                  <a:pt x="1966" y="737"/>
                  <a:pt x="1966" y="737"/>
                  <a:pt x="1966" y="737"/>
                </a:cubicBezTo>
                <a:cubicBezTo>
                  <a:pt x="1966" y="736"/>
                  <a:pt x="1966" y="736"/>
                  <a:pt x="1966" y="736"/>
                </a:cubicBezTo>
                <a:cubicBezTo>
                  <a:pt x="1967" y="735"/>
                  <a:pt x="1967" y="735"/>
                  <a:pt x="1967" y="735"/>
                </a:cubicBezTo>
                <a:cubicBezTo>
                  <a:pt x="1966" y="735"/>
                  <a:pt x="1966" y="735"/>
                  <a:pt x="1966" y="735"/>
                </a:cubicBezTo>
                <a:cubicBezTo>
                  <a:pt x="1966" y="734"/>
                  <a:pt x="1966" y="734"/>
                  <a:pt x="1966" y="734"/>
                </a:cubicBezTo>
                <a:cubicBezTo>
                  <a:pt x="1966" y="734"/>
                  <a:pt x="1966" y="734"/>
                  <a:pt x="1965" y="736"/>
                </a:cubicBezTo>
                <a:cubicBezTo>
                  <a:pt x="1965" y="736"/>
                  <a:pt x="1965" y="736"/>
                  <a:pt x="1965" y="734"/>
                </a:cubicBezTo>
                <a:cubicBezTo>
                  <a:pt x="1965" y="734"/>
                  <a:pt x="1965" y="734"/>
                  <a:pt x="1965" y="732"/>
                </a:cubicBezTo>
                <a:cubicBezTo>
                  <a:pt x="1965" y="732"/>
                  <a:pt x="1965" y="732"/>
                  <a:pt x="1964" y="731"/>
                </a:cubicBezTo>
                <a:cubicBezTo>
                  <a:pt x="1964" y="731"/>
                  <a:pt x="1964" y="731"/>
                  <a:pt x="1965" y="731"/>
                </a:cubicBezTo>
                <a:cubicBezTo>
                  <a:pt x="1965" y="731"/>
                  <a:pt x="1965" y="731"/>
                  <a:pt x="1966" y="729"/>
                </a:cubicBezTo>
                <a:cubicBezTo>
                  <a:pt x="1966" y="729"/>
                  <a:pt x="1966" y="729"/>
                  <a:pt x="1966" y="728"/>
                </a:cubicBezTo>
                <a:cubicBezTo>
                  <a:pt x="1966" y="728"/>
                  <a:pt x="1966" y="728"/>
                  <a:pt x="1966" y="726"/>
                </a:cubicBezTo>
                <a:cubicBezTo>
                  <a:pt x="1966" y="726"/>
                  <a:pt x="1966" y="726"/>
                  <a:pt x="1966" y="725"/>
                </a:cubicBezTo>
                <a:cubicBezTo>
                  <a:pt x="1966" y="725"/>
                  <a:pt x="1966" y="725"/>
                  <a:pt x="1966" y="724"/>
                </a:cubicBezTo>
                <a:cubicBezTo>
                  <a:pt x="1966" y="724"/>
                  <a:pt x="1966" y="724"/>
                  <a:pt x="1967" y="723"/>
                </a:cubicBezTo>
                <a:cubicBezTo>
                  <a:pt x="1967" y="723"/>
                  <a:pt x="1967" y="723"/>
                  <a:pt x="1966" y="722"/>
                </a:cubicBezTo>
                <a:cubicBezTo>
                  <a:pt x="1966" y="722"/>
                  <a:pt x="1966" y="722"/>
                  <a:pt x="1965" y="721"/>
                </a:cubicBezTo>
                <a:cubicBezTo>
                  <a:pt x="1965" y="721"/>
                  <a:pt x="1965" y="721"/>
                  <a:pt x="1965" y="719"/>
                </a:cubicBezTo>
                <a:cubicBezTo>
                  <a:pt x="1965" y="719"/>
                  <a:pt x="1965" y="719"/>
                  <a:pt x="1966" y="719"/>
                </a:cubicBezTo>
                <a:cubicBezTo>
                  <a:pt x="1966" y="719"/>
                  <a:pt x="1966" y="719"/>
                  <a:pt x="1965" y="718"/>
                </a:cubicBezTo>
                <a:cubicBezTo>
                  <a:pt x="1965" y="718"/>
                  <a:pt x="1965" y="718"/>
                  <a:pt x="1965" y="717"/>
                </a:cubicBezTo>
                <a:cubicBezTo>
                  <a:pt x="1965" y="717"/>
                  <a:pt x="1965" y="717"/>
                  <a:pt x="1964" y="713"/>
                </a:cubicBezTo>
                <a:cubicBezTo>
                  <a:pt x="1964" y="713"/>
                  <a:pt x="1964" y="713"/>
                  <a:pt x="1963" y="713"/>
                </a:cubicBezTo>
                <a:cubicBezTo>
                  <a:pt x="1963" y="713"/>
                  <a:pt x="1963" y="713"/>
                  <a:pt x="1963" y="711"/>
                </a:cubicBezTo>
                <a:cubicBezTo>
                  <a:pt x="1963" y="711"/>
                  <a:pt x="1963" y="711"/>
                  <a:pt x="1962" y="710"/>
                </a:cubicBezTo>
                <a:cubicBezTo>
                  <a:pt x="1962" y="710"/>
                  <a:pt x="1962" y="710"/>
                  <a:pt x="1962" y="711"/>
                </a:cubicBezTo>
                <a:cubicBezTo>
                  <a:pt x="1962" y="711"/>
                  <a:pt x="1962" y="711"/>
                  <a:pt x="1961" y="710"/>
                </a:cubicBezTo>
                <a:cubicBezTo>
                  <a:pt x="1961" y="710"/>
                  <a:pt x="1961" y="710"/>
                  <a:pt x="1961" y="707"/>
                </a:cubicBezTo>
                <a:cubicBezTo>
                  <a:pt x="1961" y="707"/>
                  <a:pt x="1961" y="707"/>
                  <a:pt x="1960" y="706"/>
                </a:cubicBezTo>
                <a:cubicBezTo>
                  <a:pt x="1960" y="706"/>
                  <a:pt x="1960" y="706"/>
                  <a:pt x="1960" y="705"/>
                </a:cubicBezTo>
                <a:cubicBezTo>
                  <a:pt x="1960" y="705"/>
                  <a:pt x="1960" y="705"/>
                  <a:pt x="1961" y="704"/>
                </a:cubicBezTo>
                <a:cubicBezTo>
                  <a:pt x="1961" y="704"/>
                  <a:pt x="1961" y="704"/>
                  <a:pt x="1959" y="703"/>
                </a:cubicBezTo>
                <a:cubicBezTo>
                  <a:pt x="1959" y="703"/>
                  <a:pt x="1959" y="703"/>
                  <a:pt x="1959" y="701"/>
                </a:cubicBezTo>
                <a:cubicBezTo>
                  <a:pt x="1959" y="701"/>
                  <a:pt x="1959" y="701"/>
                  <a:pt x="1958" y="696"/>
                </a:cubicBezTo>
                <a:cubicBezTo>
                  <a:pt x="1958" y="696"/>
                  <a:pt x="1958" y="696"/>
                  <a:pt x="1957" y="696"/>
                </a:cubicBezTo>
                <a:cubicBezTo>
                  <a:pt x="1957" y="696"/>
                  <a:pt x="1957" y="696"/>
                  <a:pt x="1957" y="695"/>
                </a:cubicBezTo>
                <a:cubicBezTo>
                  <a:pt x="1957" y="695"/>
                  <a:pt x="1957" y="695"/>
                  <a:pt x="1957" y="694"/>
                </a:cubicBezTo>
                <a:cubicBezTo>
                  <a:pt x="1957" y="694"/>
                  <a:pt x="1957" y="694"/>
                  <a:pt x="1957" y="692"/>
                </a:cubicBezTo>
                <a:cubicBezTo>
                  <a:pt x="1957" y="692"/>
                  <a:pt x="1957" y="692"/>
                  <a:pt x="1956" y="692"/>
                </a:cubicBezTo>
                <a:cubicBezTo>
                  <a:pt x="1956" y="692"/>
                  <a:pt x="1956" y="692"/>
                  <a:pt x="1955" y="692"/>
                </a:cubicBezTo>
                <a:cubicBezTo>
                  <a:pt x="1955" y="692"/>
                  <a:pt x="1955" y="692"/>
                  <a:pt x="1954" y="691"/>
                </a:cubicBezTo>
                <a:cubicBezTo>
                  <a:pt x="1954" y="691"/>
                  <a:pt x="1954" y="691"/>
                  <a:pt x="1954" y="690"/>
                </a:cubicBezTo>
                <a:cubicBezTo>
                  <a:pt x="1954" y="690"/>
                  <a:pt x="1954" y="690"/>
                  <a:pt x="1953" y="687"/>
                </a:cubicBezTo>
                <a:cubicBezTo>
                  <a:pt x="1953" y="687"/>
                  <a:pt x="1953" y="687"/>
                  <a:pt x="1952" y="687"/>
                </a:cubicBezTo>
                <a:cubicBezTo>
                  <a:pt x="1952" y="687"/>
                  <a:pt x="1952" y="687"/>
                  <a:pt x="1952" y="686"/>
                </a:cubicBezTo>
                <a:cubicBezTo>
                  <a:pt x="1952" y="686"/>
                  <a:pt x="1952" y="686"/>
                  <a:pt x="1951" y="685"/>
                </a:cubicBezTo>
                <a:cubicBezTo>
                  <a:pt x="1951" y="685"/>
                  <a:pt x="1951" y="685"/>
                  <a:pt x="1951" y="686"/>
                </a:cubicBezTo>
                <a:cubicBezTo>
                  <a:pt x="1951" y="686"/>
                  <a:pt x="1951" y="686"/>
                  <a:pt x="1951" y="687"/>
                </a:cubicBezTo>
                <a:cubicBezTo>
                  <a:pt x="1951" y="687"/>
                  <a:pt x="1951" y="687"/>
                  <a:pt x="1952" y="688"/>
                </a:cubicBezTo>
                <a:cubicBezTo>
                  <a:pt x="1952" y="688"/>
                  <a:pt x="1952" y="688"/>
                  <a:pt x="1952" y="689"/>
                </a:cubicBezTo>
                <a:cubicBezTo>
                  <a:pt x="1952" y="689"/>
                  <a:pt x="1952" y="689"/>
                  <a:pt x="1951" y="690"/>
                </a:cubicBezTo>
                <a:cubicBezTo>
                  <a:pt x="1951" y="690"/>
                  <a:pt x="1951" y="690"/>
                  <a:pt x="1951" y="691"/>
                </a:cubicBezTo>
                <a:cubicBezTo>
                  <a:pt x="1951" y="691"/>
                  <a:pt x="1951" y="691"/>
                  <a:pt x="1950" y="692"/>
                </a:cubicBezTo>
                <a:cubicBezTo>
                  <a:pt x="1950" y="692"/>
                  <a:pt x="1950" y="692"/>
                  <a:pt x="1949" y="692"/>
                </a:cubicBezTo>
                <a:cubicBezTo>
                  <a:pt x="1949" y="692"/>
                  <a:pt x="1949" y="692"/>
                  <a:pt x="1948" y="691"/>
                </a:cubicBezTo>
                <a:cubicBezTo>
                  <a:pt x="1948" y="691"/>
                  <a:pt x="1948" y="691"/>
                  <a:pt x="1947" y="691"/>
                </a:cubicBezTo>
                <a:cubicBezTo>
                  <a:pt x="1947" y="691"/>
                  <a:pt x="1947" y="691"/>
                  <a:pt x="1948" y="692"/>
                </a:cubicBezTo>
                <a:cubicBezTo>
                  <a:pt x="1948" y="692"/>
                  <a:pt x="1948" y="692"/>
                  <a:pt x="1949" y="692"/>
                </a:cubicBezTo>
                <a:cubicBezTo>
                  <a:pt x="1949" y="692"/>
                  <a:pt x="1949" y="692"/>
                  <a:pt x="1947" y="693"/>
                </a:cubicBezTo>
                <a:cubicBezTo>
                  <a:pt x="1947" y="693"/>
                  <a:pt x="1947" y="693"/>
                  <a:pt x="1946" y="693"/>
                </a:cubicBezTo>
                <a:lnTo>
                  <a:pt x="1946" y="694"/>
                </a:lnTo>
                <a:close/>
                <a:moveTo>
                  <a:pt x="2077" y="573"/>
                </a:moveTo>
                <a:cubicBezTo>
                  <a:pt x="2076" y="574"/>
                  <a:pt x="2076" y="574"/>
                  <a:pt x="2076" y="574"/>
                </a:cubicBezTo>
                <a:cubicBezTo>
                  <a:pt x="2077" y="574"/>
                  <a:pt x="2077" y="574"/>
                  <a:pt x="2077" y="574"/>
                </a:cubicBezTo>
                <a:cubicBezTo>
                  <a:pt x="2078" y="574"/>
                  <a:pt x="2078" y="574"/>
                  <a:pt x="2078" y="574"/>
                </a:cubicBezTo>
                <a:cubicBezTo>
                  <a:pt x="2079" y="574"/>
                  <a:pt x="2079" y="574"/>
                  <a:pt x="2079" y="574"/>
                </a:cubicBezTo>
                <a:cubicBezTo>
                  <a:pt x="2079" y="575"/>
                  <a:pt x="2079" y="575"/>
                  <a:pt x="2079" y="575"/>
                </a:cubicBezTo>
                <a:cubicBezTo>
                  <a:pt x="2081" y="576"/>
                  <a:pt x="2081" y="576"/>
                  <a:pt x="2081" y="576"/>
                </a:cubicBezTo>
                <a:cubicBezTo>
                  <a:pt x="2082" y="577"/>
                  <a:pt x="2082" y="577"/>
                  <a:pt x="2082" y="577"/>
                </a:cubicBezTo>
                <a:cubicBezTo>
                  <a:pt x="2084" y="575"/>
                  <a:pt x="2084" y="575"/>
                  <a:pt x="2084" y="575"/>
                </a:cubicBezTo>
                <a:cubicBezTo>
                  <a:pt x="2083" y="575"/>
                  <a:pt x="2083" y="575"/>
                  <a:pt x="2083" y="575"/>
                </a:cubicBezTo>
                <a:cubicBezTo>
                  <a:pt x="2082" y="576"/>
                  <a:pt x="2082" y="576"/>
                  <a:pt x="2082" y="576"/>
                </a:cubicBezTo>
                <a:cubicBezTo>
                  <a:pt x="2081" y="576"/>
                  <a:pt x="2081" y="576"/>
                  <a:pt x="2081" y="576"/>
                </a:cubicBezTo>
                <a:cubicBezTo>
                  <a:pt x="2080" y="575"/>
                  <a:pt x="2080" y="575"/>
                  <a:pt x="2080" y="575"/>
                </a:cubicBezTo>
                <a:cubicBezTo>
                  <a:pt x="2079" y="573"/>
                  <a:pt x="2079" y="573"/>
                  <a:pt x="2079" y="573"/>
                </a:cubicBezTo>
                <a:cubicBezTo>
                  <a:pt x="2078" y="574"/>
                  <a:pt x="2078" y="574"/>
                  <a:pt x="2078" y="574"/>
                </a:cubicBezTo>
                <a:cubicBezTo>
                  <a:pt x="2077" y="573"/>
                  <a:pt x="2077" y="573"/>
                  <a:pt x="2077" y="573"/>
                </a:cubicBezTo>
                <a:close/>
                <a:moveTo>
                  <a:pt x="2074" y="574"/>
                </a:moveTo>
                <a:cubicBezTo>
                  <a:pt x="2072" y="577"/>
                  <a:pt x="2072" y="577"/>
                  <a:pt x="2072" y="577"/>
                </a:cubicBezTo>
                <a:cubicBezTo>
                  <a:pt x="2074" y="575"/>
                  <a:pt x="2074" y="575"/>
                  <a:pt x="2074" y="575"/>
                </a:cubicBezTo>
                <a:cubicBezTo>
                  <a:pt x="2075" y="574"/>
                  <a:pt x="2075" y="574"/>
                  <a:pt x="2075" y="574"/>
                </a:cubicBezTo>
                <a:cubicBezTo>
                  <a:pt x="2075" y="573"/>
                  <a:pt x="2075" y="573"/>
                  <a:pt x="2075" y="573"/>
                </a:cubicBezTo>
                <a:cubicBezTo>
                  <a:pt x="2074" y="574"/>
                  <a:pt x="2074" y="574"/>
                  <a:pt x="2074" y="574"/>
                </a:cubicBezTo>
                <a:close/>
                <a:moveTo>
                  <a:pt x="1376" y="348"/>
                </a:moveTo>
                <a:cubicBezTo>
                  <a:pt x="1376" y="348"/>
                  <a:pt x="1376" y="348"/>
                  <a:pt x="1378" y="347"/>
                </a:cubicBezTo>
                <a:cubicBezTo>
                  <a:pt x="1378" y="347"/>
                  <a:pt x="1378" y="347"/>
                  <a:pt x="1377" y="347"/>
                </a:cubicBezTo>
                <a:cubicBezTo>
                  <a:pt x="1377" y="347"/>
                  <a:pt x="1377" y="347"/>
                  <a:pt x="1376" y="348"/>
                </a:cubicBezTo>
                <a:close/>
                <a:moveTo>
                  <a:pt x="1474" y="470"/>
                </a:moveTo>
                <a:cubicBezTo>
                  <a:pt x="1474" y="470"/>
                  <a:pt x="1474" y="470"/>
                  <a:pt x="1474" y="469"/>
                </a:cubicBezTo>
                <a:cubicBezTo>
                  <a:pt x="1474" y="469"/>
                  <a:pt x="1474" y="469"/>
                  <a:pt x="1473" y="468"/>
                </a:cubicBezTo>
                <a:lnTo>
                  <a:pt x="1474" y="470"/>
                </a:lnTo>
                <a:close/>
                <a:moveTo>
                  <a:pt x="1495" y="469"/>
                </a:moveTo>
                <a:cubicBezTo>
                  <a:pt x="1495" y="469"/>
                  <a:pt x="1495" y="469"/>
                  <a:pt x="1499" y="468"/>
                </a:cubicBezTo>
                <a:cubicBezTo>
                  <a:pt x="1499" y="468"/>
                  <a:pt x="1499" y="468"/>
                  <a:pt x="1496" y="468"/>
                </a:cubicBezTo>
                <a:lnTo>
                  <a:pt x="1495" y="469"/>
                </a:lnTo>
                <a:close/>
                <a:moveTo>
                  <a:pt x="1397" y="474"/>
                </a:moveTo>
                <a:cubicBezTo>
                  <a:pt x="1397" y="474"/>
                  <a:pt x="1397" y="474"/>
                  <a:pt x="1398" y="475"/>
                </a:cubicBezTo>
                <a:cubicBezTo>
                  <a:pt x="1398" y="475"/>
                  <a:pt x="1398" y="475"/>
                  <a:pt x="1398" y="474"/>
                </a:cubicBezTo>
                <a:lnTo>
                  <a:pt x="1397" y="474"/>
                </a:lnTo>
                <a:close/>
                <a:moveTo>
                  <a:pt x="1385" y="488"/>
                </a:moveTo>
                <a:cubicBezTo>
                  <a:pt x="1385" y="488"/>
                  <a:pt x="1385" y="488"/>
                  <a:pt x="1384" y="487"/>
                </a:cubicBezTo>
                <a:cubicBezTo>
                  <a:pt x="1384" y="487"/>
                  <a:pt x="1384" y="487"/>
                  <a:pt x="1383" y="487"/>
                </a:cubicBezTo>
                <a:lnTo>
                  <a:pt x="1385" y="488"/>
                </a:lnTo>
                <a:close/>
                <a:moveTo>
                  <a:pt x="1527" y="815"/>
                </a:moveTo>
                <a:cubicBezTo>
                  <a:pt x="1527" y="815"/>
                  <a:pt x="1527" y="815"/>
                  <a:pt x="1526" y="816"/>
                </a:cubicBezTo>
                <a:cubicBezTo>
                  <a:pt x="1526" y="816"/>
                  <a:pt x="1526" y="816"/>
                  <a:pt x="1527" y="816"/>
                </a:cubicBezTo>
                <a:lnTo>
                  <a:pt x="1527" y="815"/>
                </a:lnTo>
                <a:close/>
                <a:moveTo>
                  <a:pt x="1428" y="712"/>
                </a:moveTo>
                <a:cubicBezTo>
                  <a:pt x="1428" y="712"/>
                  <a:pt x="1428" y="712"/>
                  <a:pt x="1430" y="713"/>
                </a:cubicBezTo>
                <a:cubicBezTo>
                  <a:pt x="1430" y="713"/>
                  <a:pt x="1430" y="713"/>
                  <a:pt x="1429" y="712"/>
                </a:cubicBezTo>
                <a:lnTo>
                  <a:pt x="1428" y="712"/>
                </a:lnTo>
                <a:close/>
                <a:moveTo>
                  <a:pt x="1479" y="915"/>
                </a:moveTo>
                <a:cubicBezTo>
                  <a:pt x="1479" y="915"/>
                  <a:pt x="1479" y="915"/>
                  <a:pt x="1495" y="911"/>
                </a:cubicBezTo>
                <a:cubicBezTo>
                  <a:pt x="1495" y="911"/>
                  <a:pt x="1495" y="911"/>
                  <a:pt x="1489" y="912"/>
                </a:cubicBezTo>
                <a:lnTo>
                  <a:pt x="1479" y="915"/>
                </a:lnTo>
                <a:close/>
                <a:moveTo>
                  <a:pt x="1420" y="716"/>
                </a:moveTo>
                <a:cubicBezTo>
                  <a:pt x="1420" y="716"/>
                  <a:pt x="1420" y="716"/>
                  <a:pt x="1421" y="717"/>
                </a:cubicBezTo>
                <a:cubicBezTo>
                  <a:pt x="1421" y="717"/>
                  <a:pt x="1421" y="717"/>
                  <a:pt x="1421" y="716"/>
                </a:cubicBezTo>
                <a:lnTo>
                  <a:pt x="1420" y="716"/>
                </a:lnTo>
                <a:close/>
                <a:moveTo>
                  <a:pt x="1555" y="805"/>
                </a:moveTo>
                <a:cubicBezTo>
                  <a:pt x="1557" y="805"/>
                  <a:pt x="1557" y="805"/>
                  <a:pt x="1557" y="805"/>
                </a:cubicBezTo>
                <a:cubicBezTo>
                  <a:pt x="1558" y="805"/>
                  <a:pt x="1558" y="805"/>
                  <a:pt x="1558" y="805"/>
                </a:cubicBezTo>
                <a:lnTo>
                  <a:pt x="1555" y="805"/>
                </a:lnTo>
                <a:close/>
                <a:moveTo>
                  <a:pt x="1430" y="653"/>
                </a:moveTo>
                <a:cubicBezTo>
                  <a:pt x="1430" y="653"/>
                  <a:pt x="1430" y="653"/>
                  <a:pt x="1436" y="651"/>
                </a:cubicBezTo>
                <a:cubicBezTo>
                  <a:pt x="1436" y="651"/>
                  <a:pt x="1436" y="651"/>
                  <a:pt x="1443" y="648"/>
                </a:cubicBezTo>
                <a:lnTo>
                  <a:pt x="1430" y="653"/>
                </a:lnTo>
                <a:close/>
                <a:moveTo>
                  <a:pt x="1542" y="971"/>
                </a:moveTo>
                <a:cubicBezTo>
                  <a:pt x="1542" y="971"/>
                  <a:pt x="1542" y="971"/>
                  <a:pt x="1541" y="971"/>
                </a:cubicBezTo>
                <a:cubicBezTo>
                  <a:pt x="1541" y="971"/>
                  <a:pt x="1541" y="971"/>
                  <a:pt x="1541" y="972"/>
                </a:cubicBezTo>
                <a:lnTo>
                  <a:pt x="1542" y="971"/>
                </a:lnTo>
                <a:close/>
                <a:moveTo>
                  <a:pt x="2022" y="419"/>
                </a:moveTo>
                <a:cubicBezTo>
                  <a:pt x="2022" y="419"/>
                  <a:pt x="2022" y="419"/>
                  <a:pt x="2021" y="419"/>
                </a:cubicBezTo>
                <a:cubicBezTo>
                  <a:pt x="2021" y="419"/>
                  <a:pt x="2021" y="419"/>
                  <a:pt x="2021" y="419"/>
                </a:cubicBezTo>
                <a:cubicBezTo>
                  <a:pt x="2021" y="419"/>
                  <a:pt x="2021" y="419"/>
                  <a:pt x="2022" y="419"/>
                </a:cubicBezTo>
                <a:close/>
                <a:moveTo>
                  <a:pt x="1764" y="224"/>
                </a:moveTo>
                <a:cubicBezTo>
                  <a:pt x="1762" y="223"/>
                  <a:pt x="1762" y="223"/>
                  <a:pt x="1762" y="223"/>
                </a:cubicBezTo>
                <a:cubicBezTo>
                  <a:pt x="1765" y="225"/>
                  <a:pt x="1765" y="225"/>
                  <a:pt x="1765" y="225"/>
                </a:cubicBezTo>
                <a:cubicBezTo>
                  <a:pt x="1766" y="225"/>
                  <a:pt x="1766" y="225"/>
                  <a:pt x="1766" y="225"/>
                </a:cubicBezTo>
                <a:cubicBezTo>
                  <a:pt x="1767" y="227"/>
                  <a:pt x="1767" y="227"/>
                  <a:pt x="1767" y="227"/>
                </a:cubicBezTo>
                <a:cubicBezTo>
                  <a:pt x="1768" y="229"/>
                  <a:pt x="1768" y="229"/>
                  <a:pt x="1768" y="229"/>
                </a:cubicBezTo>
                <a:cubicBezTo>
                  <a:pt x="1768" y="226"/>
                  <a:pt x="1768" y="226"/>
                  <a:pt x="1768" y="226"/>
                </a:cubicBezTo>
                <a:cubicBezTo>
                  <a:pt x="1767" y="225"/>
                  <a:pt x="1767" y="225"/>
                  <a:pt x="1767" y="225"/>
                </a:cubicBezTo>
                <a:cubicBezTo>
                  <a:pt x="1766" y="225"/>
                  <a:pt x="1766" y="225"/>
                  <a:pt x="1766" y="225"/>
                </a:cubicBezTo>
                <a:cubicBezTo>
                  <a:pt x="1764" y="224"/>
                  <a:pt x="1764" y="224"/>
                  <a:pt x="1764" y="224"/>
                </a:cubicBezTo>
                <a:close/>
                <a:moveTo>
                  <a:pt x="1646" y="682"/>
                </a:moveTo>
                <a:cubicBezTo>
                  <a:pt x="1646" y="682"/>
                  <a:pt x="1646" y="682"/>
                  <a:pt x="1670" y="675"/>
                </a:cubicBezTo>
                <a:cubicBezTo>
                  <a:pt x="1670" y="675"/>
                  <a:pt x="1670" y="675"/>
                  <a:pt x="1687" y="670"/>
                </a:cubicBezTo>
                <a:lnTo>
                  <a:pt x="1646" y="682"/>
                </a:lnTo>
                <a:close/>
                <a:moveTo>
                  <a:pt x="1671" y="552"/>
                </a:moveTo>
                <a:cubicBezTo>
                  <a:pt x="1671" y="552"/>
                  <a:pt x="1671" y="552"/>
                  <a:pt x="1670" y="551"/>
                </a:cubicBezTo>
                <a:cubicBezTo>
                  <a:pt x="1670" y="551"/>
                  <a:pt x="1670" y="551"/>
                  <a:pt x="1670" y="549"/>
                </a:cubicBezTo>
                <a:cubicBezTo>
                  <a:pt x="1670" y="549"/>
                  <a:pt x="1670" y="549"/>
                  <a:pt x="1668" y="546"/>
                </a:cubicBezTo>
                <a:cubicBezTo>
                  <a:pt x="1668" y="546"/>
                  <a:pt x="1668" y="546"/>
                  <a:pt x="1668" y="544"/>
                </a:cubicBezTo>
                <a:cubicBezTo>
                  <a:pt x="1668" y="544"/>
                  <a:pt x="1668" y="544"/>
                  <a:pt x="1668" y="541"/>
                </a:cubicBezTo>
                <a:cubicBezTo>
                  <a:pt x="1668" y="541"/>
                  <a:pt x="1668" y="541"/>
                  <a:pt x="1668" y="540"/>
                </a:cubicBezTo>
                <a:cubicBezTo>
                  <a:pt x="1668" y="540"/>
                  <a:pt x="1668" y="540"/>
                  <a:pt x="1668" y="538"/>
                </a:cubicBezTo>
                <a:cubicBezTo>
                  <a:pt x="1668" y="538"/>
                  <a:pt x="1668" y="538"/>
                  <a:pt x="1667" y="536"/>
                </a:cubicBezTo>
                <a:cubicBezTo>
                  <a:pt x="1667" y="536"/>
                  <a:pt x="1667" y="536"/>
                  <a:pt x="1666" y="536"/>
                </a:cubicBezTo>
                <a:cubicBezTo>
                  <a:pt x="1666" y="536"/>
                  <a:pt x="1666" y="536"/>
                  <a:pt x="1665" y="534"/>
                </a:cubicBezTo>
                <a:cubicBezTo>
                  <a:pt x="1665" y="534"/>
                  <a:pt x="1665" y="534"/>
                  <a:pt x="1664" y="534"/>
                </a:cubicBezTo>
                <a:cubicBezTo>
                  <a:pt x="1664" y="534"/>
                  <a:pt x="1664" y="534"/>
                  <a:pt x="1663" y="534"/>
                </a:cubicBezTo>
                <a:cubicBezTo>
                  <a:pt x="1663" y="534"/>
                  <a:pt x="1663" y="534"/>
                  <a:pt x="1663" y="536"/>
                </a:cubicBezTo>
                <a:cubicBezTo>
                  <a:pt x="1663" y="536"/>
                  <a:pt x="1663" y="536"/>
                  <a:pt x="1662" y="534"/>
                </a:cubicBezTo>
                <a:cubicBezTo>
                  <a:pt x="1662" y="534"/>
                  <a:pt x="1662" y="534"/>
                  <a:pt x="1662" y="533"/>
                </a:cubicBezTo>
                <a:cubicBezTo>
                  <a:pt x="1662" y="533"/>
                  <a:pt x="1662" y="533"/>
                  <a:pt x="1663" y="532"/>
                </a:cubicBezTo>
                <a:cubicBezTo>
                  <a:pt x="1663" y="532"/>
                  <a:pt x="1663" y="532"/>
                  <a:pt x="1664" y="533"/>
                </a:cubicBezTo>
                <a:cubicBezTo>
                  <a:pt x="1664" y="533"/>
                  <a:pt x="1664" y="533"/>
                  <a:pt x="1665" y="533"/>
                </a:cubicBezTo>
                <a:cubicBezTo>
                  <a:pt x="1665" y="533"/>
                  <a:pt x="1665" y="533"/>
                  <a:pt x="1666" y="533"/>
                </a:cubicBezTo>
                <a:cubicBezTo>
                  <a:pt x="1666" y="533"/>
                  <a:pt x="1666" y="533"/>
                  <a:pt x="1665" y="531"/>
                </a:cubicBezTo>
                <a:cubicBezTo>
                  <a:pt x="1665" y="531"/>
                  <a:pt x="1665" y="531"/>
                  <a:pt x="1664" y="532"/>
                </a:cubicBezTo>
                <a:cubicBezTo>
                  <a:pt x="1664" y="532"/>
                  <a:pt x="1664" y="532"/>
                  <a:pt x="1664" y="530"/>
                </a:cubicBezTo>
                <a:cubicBezTo>
                  <a:pt x="1664" y="530"/>
                  <a:pt x="1664" y="530"/>
                  <a:pt x="1664" y="529"/>
                </a:cubicBezTo>
                <a:cubicBezTo>
                  <a:pt x="1664" y="529"/>
                  <a:pt x="1664" y="529"/>
                  <a:pt x="1663" y="529"/>
                </a:cubicBezTo>
                <a:cubicBezTo>
                  <a:pt x="1663" y="529"/>
                  <a:pt x="1663" y="529"/>
                  <a:pt x="1661" y="529"/>
                </a:cubicBezTo>
                <a:cubicBezTo>
                  <a:pt x="1661" y="529"/>
                  <a:pt x="1661" y="529"/>
                  <a:pt x="1661" y="530"/>
                </a:cubicBezTo>
                <a:cubicBezTo>
                  <a:pt x="1661" y="530"/>
                  <a:pt x="1661" y="530"/>
                  <a:pt x="1662" y="531"/>
                </a:cubicBezTo>
                <a:cubicBezTo>
                  <a:pt x="1662" y="531"/>
                  <a:pt x="1662" y="531"/>
                  <a:pt x="1659" y="529"/>
                </a:cubicBezTo>
                <a:cubicBezTo>
                  <a:pt x="1659" y="529"/>
                  <a:pt x="1659" y="529"/>
                  <a:pt x="1659" y="528"/>
                </a:cubicBezTo>
                <a:cubicBezTo>
                  <a:pt x="1659" y="528"/>
                  <a:pt x="1659" y="528"/>
                  <a:pt x="1658" y="527"/>
                </a:cubicBezTo>
                <a:cubicBezTo>
                  <a:pt x="1658" y="527"/>
                  <a:pt x="1658" y="527"/>
                  <a:pt x="1658" y="524"/>
                </a:cubicBezTo>
                <a:cubicBezTo>
                  <a:pt x="1658" y="524"/>
                  <a:pt x="1658" y="524"/>
                  <a:pt x="1659" y="523"/>
                </a:cubicBezTo>
                <a:cubicBezTo>
                  <a:pt x="1659" y="523"/>
                  <a:pt x="1659" y="523"/>
                  <a:pt x="1659" y="521"/>
                </a:cubicBezTo>
                <a:cubicBezTo>
                  <a:pt x="1659" y="521"/>
                  <a:pt x="1659" y="521"/>
                  <a:pt x="1658" y="519"/>
                </a:cubicBezTo>
                <a:cubicBezTo>
                  <a:pt x="1658" y="519"/>
                  <a:pt x="1658" y="519"/>
                  <a:pt x="1657" y="518"/>
                </a:cubicBezTo>
                <a:cubicBezTo>
                  <a:pt x="1657" y="518"/>
                  <a:pt x="1657" y="518"/>
                  <a:pt x="1656" y="517"/>
                </a:cubicBezTo>
                <a:cubicBezTo>
                  <a:pt x="1656" y="517"/>
                  <a:pt x="1656" y="517"/>
                  <a:pt x="1656" y="516"/>
                </a:cubicBezTo>
                <a:cubicBezTo>
                  <a:pt x="1656" y="516"/>
                  <a:pt x="1656" y="516"/>
                  <a:pt x="1655" y="515"/>
                </a:cubicBezTo>
                <a:cubicBezTo>
                  <a:pt x="1655" y="515"/>
                  <a:pt x="1655" y="515"/>
                  <a:pt x="1655" y="514"/>
                </a:cubicBezTo>
                <a:cubicBezTo>
                  <a:pt x="1655" y="514"/>
                  <a:pt x="1655" y="514"/>
                  <a:pt x="1655" y="513"/>
                </a:cubicBezTo>
                <a:cubicBezTo>
                  <a:pt x="1655" y="513"/>
                  <a:pt x="1655" y="513"/>
                  <a:pt x="1654" y="511"/>
                </a:cubicBezTo>
                <a:cubicBezTo>
                  <a:pt x="1654" y="511"/>
                  <a:pt x="1654" y="511"/>
                  <a:pt x="1655" y="509"/>
                </a:cubicBezTo>
                <a:cubicBezTo>
                  <a:pt x="1655" y="509"/>
                  <a:pt x="1655" y="509"/>
                  <a:pt x="1655" y="508"/>
                </a:cubicBezTo>
                <a:cubicBezTo>
                  <a:pt x="1655" y="508"/>
                  <a:pt x="1655" y="508"/>
                  <a:pt x="1655" y="507"/>
                </a:cubicBezTo>
                <a:cubicBezTo>
                  <a:pt x="1655" y="507"/>
                  <a:pt x="1655" y="507"/>
                  <a:pt x="1656" y="507"/>
                </a:cubicBezTo>
                <a:cubicBezTo>
                  <a:pt x="1656" y="507"/>
                  <a:pt x="1656" y="507"/>
                  <a:pt x="1655" y="506"/>
                </a:cubicBezTo>
                <a:cubicBezTo>
                  <a:pt x="1655" y="506"/>
                  <a:pt x="1655" y="506"/>
                  <a:pt x="1654" y="506"/>
                </a:cubicBezTo>
                <a:cubicBezTo>
                  <a:pt x="1654" y="506"/>
                  <a:pt x="1654" y="506"/>
                  <a:pt x="1653" y="506"/>
                </a:cubicBezTo>
                <a:cubicBezTo>
                  <a:pt x="1653" y="506"/>
                  <a:pt x="1653" y="506"/>
                  <a:pt x="1652" y="506"/>
                </a:cubicBezTo>
                <a:cubicBezTo>
                  <a:pt x="1652" y="506"/>
                  <a:pt x="1652" y="506"/>
                  <a:pt x="1651" y="506"/>
                </a:cubicBezTo>
                <a:cubicBezTo>
                  <a:pt x="1651" y="506"/>
                  <a:pt x="1651" y="506"/>
                  <a:pt x="1650" y="506"/>
                </a:cubicBezTo>
                <a:cubicBezTo>
                  <a:pt x="1650" y="506"/>
                  <a:pt x="1650" y="506"/>
                  <a:pt x="1650" y="505"/>
                </a:cubicBezTo>
                <a:cubicBezTo>
                  <a:pt x="1650" y="505"/>
                  <a:pt x="1650" y="505"/>
                  <a:pt x="1649" y="504"/>
                </a:cubicBezTo>
                <a:cubicBezTo>
                  <a:pt x="1649" y="504"/>
                  <a:pt x="1649" y="504"/>
                  <a:pt x="1649" y="503"/>
                </a:cubicBezTo>
                <a:cubicBezTo>
                  <a:pt x="1649" y="503"/>
                  <a:pt x="1649" y="503"/>
                  <a:pt x="1648" y="503"/>
                </a:cubicBezTo>
                <a:cubicBezTo>
                  <a:pt x="1648" y="503"/>
                  <a:pt x="1648" y="503"/>
                  <a:pt x="1646" y="504"/>
                </a:cubicBezTo>
                <a:cubicBezTo>
                  <a:pt x="1646" y="504"/>
                  <a:pt x="1646" y="504"/>
                  <a:pt x="1646" y="502"/>
                </a:cubicBezTo>
                <a:cubicBezTo>
                  <a:pt x="1646" y="502"/>
                  <a:pt x="1646" y="502"/>
                  <a:pt x="1646" y="501"/>
                </a:cubicBezTo>
                <a:cubicBezTo>
                  <a:pt x="1646" y="501"/>
                  <a:pt x="1646" y="501"/>
                  <a:pt x="1644" y="499"/>
                </a:cubicBezTo>
                <a:cubicBezTo>
                  <a:pt x="1644" y="499"/>
                  <a:pt x="1644" y="499"/>
                  <a:pt x="1644" y="498"/>
                </a:cubicBezTo>
                <a:cubicBezTo>
                  <a:pt x="1644" y="498"/>
                  <a:pt x="1644" y="498"/>
                  <a:pt x="1643" y="498"/>
                </a:cubicBezTo>
                <a:cubicBezTo>
                  <a:pt x="1643" y="498"/>
                  <a:pt x="1643" y="498"/>
                  <a:pt x="1643" y="496"/>
                </a:cubicBezTo>
                <a:cubicBezTo>
                  <a:pt x="1643" y="496"/>
                  <a:pt x="1643" y="496"/>
                  <a:pt x="1642" y="496"/>
                </a:cubicBezTo>
                <a:cubicBezTo>
                  <a:pt x="1642" y="496"/>
                  <a:pt x="1642" y="496"/>
                  <a:pt x="1642" y="495"/>
                </a:cubicBezTo>
                <a:cubicBezTo>
                  <a:pt x="1642" y="495"/>
                  <a:pt x="1642" y="495"/>
                  <a:pt x="1641" y="495"/>
                </a:cubicBezTo>
                <a:cubicBezTo>
                  <a:pt x="1641" y="495"/>
                  <a:pt x="1641" y="495"/>
                  <a:pt x="1640" y="495"/>
                </a:cubicBezTo>
                <a:cubicBezTo>
                  <a:pt x="1640" y="495"/>
                  <a:pt x="1640" y="495"/>
                  <a:pt x="1639" y="494"/>
                </a:cubicBezTo>
                <a:cubicBezTo>
                  <a:pt x="1639" y="494"/>
                  <a:pt x="1639" y="494"/>
                  <a:pt x="1639" y="493"/>
                </a:cubicBezTo>
                <a:cubicBezTo>
                  <a:pt x="1639" y="493"/>
                  <a:pt x="1639" y="493"/>
                  <a:pt x="1639" y="492"/>
                </a:cubicBezTo>
                <a:cubicBezTo>
                  <a:pt x="1639" y="492"/>
                  <a:pt x="1639" y="492"/>
                  <a:pt x="1640" y="493"/>
                </a:cubicBezTo>
                <a:cubicBezTo>
                  <a:pt x="1640" y="493"/>
                  <a:pt x="1640" y="493"/>
                  <a:pt x="1642" y="492"/>
                </a:cubicBezTo>
                <a:cubicBezTo>
                  <a:pt x="1642" y="492"/>
                  <a:pt x="1642" y="492"/>
                  <a:pt x="1642" y="493"/>
                </a:cubicBezTo>
                <a:cubicBezTo>
                  <a:pt x="1642" y="493"/>
                  <a:pt x="1642" y="493"/>
                  <a:pt x="1643" y="493"/>
                </a:cubicBezTo>
                <a:cubicBezTo>
                  <a:pt x="1643" y="493"/>
                  <a:pt x="1643" y="493"/>
                  <a:pt x="1644" y="493"/>
                </a:cubicBezTo>
                <a:cubicBezTo>
                  <a:pt x="1644" y="493"/>
                  <a:pt x="1644" y="493"/>
                  <a:pt x="1644" y="492"/>
                </a:cubicBezTo>
                <a:cubicBezTo>
                  <a:pt x="1644" y="492"/>
                  <a:pt x="1644" y="492"/>
                  <a:pt x="1645" y="492"/>
                </a:cubicBezTo>
                <a:cubicBezTo>
                  <a:pt x="1645" y="492"/>
                  <a:pt x="1645" y="492"/>
                  <a:pt x="1646" y="493"/>
                </a:cubicBezTo>
                <a:cubicBezTo>
                  <a:pt x="1646" y="493"/>
                  <a:pt x="1646" y="493"/>
                  <a:pt x="1646" y="492"/>
                </a:cubicBezTo>
                <a:cubicBezTo>
                  <a:pt x="1646" y="492"/>
                  <a:pt x="1646" y="492"/>
                  <a:pt x="1645" y="492"/>
                </a:cubicBezTo>
                <a:cubicBezTo>
                  <a:pt x="1645" y="492"/>
                  <a:pt x="1645" y="492"/>
                  <a:pt x="1644" y="491"/>
                </a:cubicBezTo>
                <a:cubicBezTo>
                  <a:pt x="1644" y="491"/>
                  <a:pt x="1644" y="491"/>
                  <a:pt x="1643" y="489"/>
                </a:cubicBezTo>
                <a:cubicBezTo>
                  <a:pt x="1643" y="489"/>
                  <a:pt x="1643" y="489"/>
                  <a:pt x="1643" y="488"/>
                </a:cubicBezTo>
                <a:cubicBezTo>
                  <a:pt x="1643" y="488"/>
                  <a:pt x="1643" y="488"/>
                  <a:pt x="1644" y="488"/>
                </a:cubicBezTo>
                <a:cubicBezTo>
                  <a:pt x="1644" y="488"/>
                  <a:pt x="1644" y="488"/>
                  <a:pt x="1644" y="487"/>
                </a:cubicBezTo>
                <a:cubicBezTo>
                  <a:pt x="1644" y="487"/>
                  <a:pt x="1644" y="487"/>
                  <a:pt x="1644" y="486"/>
                </a:cubicBezTo>
                <a:cubicBezTo>
                  <a:pt x="1644" y="486"/>
                  <a:pt x="1644" y="486"/>
                  <a:pt x="1646" y="485"/>
                </a:cubicBezTo>
                <a:cubicBezTo>
                  <a:pt x="1646" y="485"/>
                  <a:pt x="1646" y="485"/>
                  <a:pt x="1647" y="485"/>
                </a:cubicBezTo>
                <a:cubicBezTo>
                  <a:pt x="1647" y="485"/>
                  <a:pt x="1647" y="485"/>
                  <a:pt x="1648" y="485"/>
                </a:cubicBezTo>
                <a:cubicBezTo>
                  <a:pt x="1648" y="485"/>
                  <a:pt x="1648" y="485"/>
                  <a:pt x="1649" y="485"/>
                </a:cubicBezTo>
                <a:cubicBezTo>
                  <a:pt x="1649" y="485"/>
                  <a:pt x="1649" y="485"/>
                  <a:pt x="1650" y="485"/>
                </a:cubicBezTo>
                <a:cubicBezTo>
                  <a:pt x="1650" y="485"/>
                  <a:pt x="1650" y="485"/>
                  <a:pt x="1651" y="485"/>
                </a:cubicBezTo>
                <a:cubicBezTo>
                  <a:pt x="1651" y="485"/>
                  <a:pt x="1651" y="485"/>
                  <a:pt x="1652" y="485"/>
                </a:cubicBezTo>
                <a:cubicBezTo>
                  <a:pt x="1652" y="485"/>
                  <a:pt x="1652" y="485"/>
                  <a:pt x="1653" y="486"/>
                </a:cubicBezTo>
                <a:cubicBezTo>
                  <a:pt x="1653" y="486"/>
                  <a:pt x="1653" y="486"/>
                  <a:pt x="1654" y="486"/>
                </a:cubicBezTo>
                <a:cubicBezTo>
                  <a:pt x="1654" y="486"/>
                  <a:pt x="1654" y="486"/>
                  <a:pt x="1655" y="486"/>
                </a:cubicBezTo>
                <a:cubicBezTo>
                  <a:pt x="1655" y="486"/>
                  <a:pt x="1655" y="486"/>
                  <a:pt x="1655" y="485"/>
                </a:cubicBezTo>
                <a:cubicBezTo>
                  <a:pt x="1655" y="485"/>
                  <a:pt x="1655" y="485"/>
                  <a:pt x="1653" y="484"/>
                </a:cubicBezTo>
                <a:cubicBezTo>
                  <a:pt x="1653" y="484"/>
                  <a:pt x="1653" y="484"/>
                  <a:pt x="1653" y="483"/>
                </a:cubicBezTo>
                <a:cubicBezTo>
                  <a:pt x="1653" y="483"/>
                  <a:pt x="1653" y="483"/>
                  <a:pt x="1653" y="481"/>
                </a:cubicBezTo>
                <a:cubicBezTo>
                  <a:pt x="1653" y="481"/>
                  <a:pt x="1653" y="481"/>
                  <a:pt x="1654" y="481"/>
                </a:cubicBezTo>
                <a:cubicBezTo>
                  <a:pt x="1654" y="481"/>
                  <a:pt x="1654" y="481"/>
                  <a:pt x="1654" y="480"/>
                </a:cubicBezTo>
                <a:cubicBezTo>
                  <a:pt x="1654" y="480"/>
                  <a:pt x="1654" y="480"/>
                  <a:pt x="1653" y="479"/>
                </a:cubicBezTo>
                <a:cubicBezTo>
                  <a:pt x="1653" y="479"/>
                  <a:pt x="1653" y="479"/>
                  <a:pt x="1654" y="478"/>
                </a:cubicBezTo>
                <a:cubicBezTo>
                  <a:pt x="1654" y="478"/>
                  <a:pt x="1654" y="478"/>
                  <a:pt x="1654" y="477"/>
                </a:cubicBezTo>
                <a:cubicBezTo>
                  <a:pt x="1654" y="477"/>
                  <a:pt x="1654" y="477"/>
                  <a:pt x="1653" y="476"/>
                </a:cubicBezTo>
                <a:cubicBezTo>
                  <a:pt x="1653" y="476"/>
                  <a:pt x="1653" y="476"/>
                  <a:pt x="1653" y="475"/>
                </a:cubicBezTo>
                <a:cubicBezTo>
                  <a:pt x="1653" y="475"/>
                  <a:pt x="1653" y="475"/>
                  <a:pt x="1653" y="474"/>
                </a:cubicBezTo>
                <a:cubicBezTo>
                  <a:pt x="1653" y="474"/>
                  <a:pt x="1653" y="474"/>
                  <a:pt x="1652" y="474"/>
                </a:cubicBezTo>
                <a:cubicBezTo>
                  <a:pt x="1652" y="474"/>
                  <a:pt x="1652" y="474"/>
                  <a:pt x="1652" y="473"/>
                </a:cubicBezTo>
                <a:cubicBezTo>
                  <a:pt x="1652" y="473"/>
                  <a:pt x="1652" y="473"/>
                  <a:pt x="1652" y="472"/>
                </a:cubicBezTo>
                <a:cubicBezTo>
                  <a:pt x="1652" y="472"/>
                  <a:pt x="1652" y="472"/>
                  <a:pt x="1649" y="472"/>
                </a:cubicBezTo>
                <a:cubicBezTo>
                  <a:pt x="1649" y="472"/>
                  <a:pt x="1649" y="472"/>
                  <a:pt x="1648" y="472"/>
                </a:cubicBezTo>
                <a:cubicBezTo>
                  <a:pt x="1648" y="472"/>
                  <a:pt x="1648" y="472"/>
                  <a:pt x="1648" y="473"/>
                </a:cubicBezTo>
                <a:cubicBezTo>
                  <a:pt x="1648" y="473"/>
                  <a:pt x="1648" y="473"/>
                  <a:pt x="1647" y="473"/>
                </a:cubicBezTo>
                <a:cubicBezTo>
                  <a:pt x="1647" y="473"/>
                  <a:pt x="1647" y="473"/>
                  <a:pt x="1647" y="474"/>
                </a:cubicBezTo>
                <a:cubicBezTo>
                  <a:pt x="1647" y="474"/>
                  <a:pt x="1647" y="474"/>
                  <a:pt x="1646" y="474"/>
                </a:cubicBezTo>
                <a:cubicBezTo>
                  <a:pt x="1646" y="474"/>
                  <a:pt x="1646" y="474"/>
                  <a:pt x="1645" y="474"/>
                </a:cubicBezTo>
                <a:cubicBezTo>
                  <a:pt x="1645" y="474"/>
                  <a:pt x="1645" y="474"/>
                  <a:pt x="1645" y="473"/>
                </a:cubicBezTo>
                <a:cubicBezTo>
                  <a:pt x="1645" y="473"/>
                  <a:pt x="1645" y="473"/>
                  <a:pt x="1644" y="474"/>
                </a:cubicBezTo>
                <a:cubicBezTo>
                  <a:pt x="1644" y="474"/>
                  <a:pt x="1644" y="474"/>
                  <a:pt x="1644" y="473"/>
                </a:cubicBezTo>
                <a:cubicBezTo>
                  <a:pt x="1644" y="473"/>
                  <a:pt x="1644" y="473"/>
                  <a:pt x="1644" y="472"/>
                </a:cubicBezTo>
                <a:cubicBezTo>
                  <a:pt x="1644" y="472"/>
                  <a:pt x="1644" y="472"/>
                  <a:pt x="1643" y="472"/>
                </a:cubicBezTo>
                <a:cubicBezTo>
                  <a:pt x="1643" y="472"/>
                  <a:pt x="1643" y="472"/>
                  <a:pt x="1642" y="472"/>
                </a:cubicBezTo>
                <a:cubicBezTo>
                  <a:pt x="1642" y="472"/>
                  <a:pt x="1642" y="472"/>
                  <a:pt x="1641" y="472"/>
                </a:cubicBezTo>
                <a:cubicBezTo>
                  <a:pt x="1641" y="472"/>
                  <a:pt x="1641" y="472"/>
                  <a:pt x="1640" y="472"/>
                </a:cubicBezTo>
                <a:cubicBezTo>
                  <a:pt x="1640" y="472"/>
                  <a:pt x="1640" y="472"/>
                  <a:pt x="1639" y="472"/>
                </a:cubicBezTo>
                <a:cubicBezTo>
                  <a:pt x="1639" y="472"/>
                  <a:pt x="1639" y="472"/>
                  <a:pt x="1639" y="473"/>
                </a:cubicBezTo>
                <a:cubicBezTo>
                  <a:pt x="1639" y="473"/>
                  <a:pt x="1639" y="473"/>
                  <a:pt x="1638" y="474"/>
                </a:cubicBezTo>
                <a:cubicBezTo>
                  <a:pt x="1638" y="474"/>
                  <a:pt x="1638" y="474"/>
                  <a:pt x="1638" y="473"/>
                </a:cubicBezTo>
                <a:cubicBezTo>
                  <a:pt x="1638" y="473"/>
                  <a:pt x="1638" y="473"/>
                  <a:pt x="1637" y="473"/>
                </a:cubicBezTo>
                <a:cubicBezTo>
                  <a:pt x="1637" y="473"/>
                  <a:pt x="1637" y="473"/>
                  <a:pt x="1637" y="474"/>
                </a:cubicBezTo>
                <a:cubicBezTo>
                  <a:pt x="1637" y="474"/>
                  <a:pt x="1637" y="474"/>
                  <a:pt x="1636" y="474"/>
                </a:cubicBezTo>
                <a:cubicBezTo>
                  <a:pt x="1636" y="474"/>
                  <a:pt x="1636" y="474"/>
                  <a:pt x="1635" y="475"/>
                </a:cubicBezTo>
                <a:cubicBezTo>
                  <a:pt x="1635" y="475"/>
                  <a:pt x="1635" y="475"/>
                  <a:pt x="1634" y="476"/>
                </a:cubicBezTo>
                <a:cubicBezTo>
                  <a:pt x="1634" y="476"/>
                  <a:pt x="1634" y="476"/>
                  <a:pt x="1633" y="477"/>
                </a:cubicBezTo>
                <a:cubicBezTo>
                  <a:pt x="1633" y="477"/>
                  <a:pt x="1633" y="477"/>
                  <a:pt x="1633" y="476"/>
                </a:cubicBezTo>
                <a:cubicBezTo>
                  <a:pt x="1633" y="476"/>
                  <a:pt x="1633" y="476"/>
                  <a:pt x="1632" y="476"/>
                </a:cubicBezTo>
                <a:cubicBezTo>
                  <a:pt x="1632" y="476"/>
                  <a:pt x="1632" y="476"/>
                  <a:pt x="1632" y="477"/>
                </a:cubicBezTo>
                <a:cubicBezTo>
                  <a:pt x="1632" y="477"/>
                  <a:pt x="1632" y="477"/>
                  <a:pt x="1631" y="477"/>
                </a:cubicBezTo>
                <a:cubicBezTo>
                  <a:pt x="1631" y="477"/>
                  <a:pt x="1631" y="477"/>
                  <a:pt x="1630" y="476"/>
                </a:cubicBezTo>
                <a:cubicBezTo>
                  <a:pt x="1630" y="477"/>
                  <a:pt x="1630" y="477"/>
                  <a:pt x="1630" y="477"/>
                </a:cubicBezTo>
                <a:cubicBezTo>
                  <a:pt x="1630" y="478"/>
                  <a:pt x="1630" y="478"/>
                  <a:pt x="1630" y="478"/>
                </a:cubicBezTo>
                <a:cubicBezTo>
                  <a:pt x="1629" y="478"/>
                  <a:pt x="1629" y="478"/>
                  <a:pt x="1629" y="478"/>
                </a:cubicBezTo>
                <a:cubicBezTo>
                  <a:pt x="1629" y="479"/>
                  <a:pt x="1629" y="479"/>
                  <a:pt x="1629" y="479"/>
                </a:cubicBezTo>
                <a:cubicBezTo>
                  <a:pt x="1629" y="480"/>
                  <a:pt x="1629" y="480"/>
                  <a:pt x="1629" y="480"/>
                </a:cubicBezTo>
                <a:cubicBezTo>
                  <a:pt x="1628" y="480"/>
                  <a:pt x="1628" y="480"/>
                  <a:pt x="1628" y="480"/>
                </a:cubicBezTo>
                <a:cubicBezTo>
                  <a:pt x="1627" y="480"/>
                  <a:pt x="1627" y="480"/>
                  <a:pt x="1627" y="480"/>
                </a:cubicBezTo>
                <a:cubicBezTo>
                  <a:pt x="1626" y="480"/>
                  <a:pt x="1626" y="480"/>
                  <a:pt x="1626" y="480"/>
                </a:cubicBezTo>
                <a:cubicBezTo>
                  <a:pt x="1628" y="481"/>
                  <a:pt x="1628" y="481"/>
                  <a:pt x="1628" y="481"/>
                </a:cubicBezTo>
                <a:cubicBezTo>
                  <a:pt x="1628" y="482"/>
                  <a:pt x="1628" y="482"/>
                  <a:pt x="1628" y="482"/>
                </a:cubicBezTo>
                <a:cubicBezTo>
                  <a:pt x="1627" y="481"/>
                  <a:pt x="1627" y="481"/>
                  <a:pt x="1627" y="481"/>
                </a:cubicBezTo>
                <a:cubicBezTo>
                  <a:pt x="1627" y="481"/>
                  <a:pt x="1627" y="481"/>
                  <a:pt x="1626" y="482"/>
                </a:cubicBezTo>
                <a:cubicBezTo>
                  <a:pt x="1625" y="483"/>
                  <a:pt x="1625" y="483"/>
                  <a:pt x="1625" y="483"/>
                </a:cubicBezTo>
                <a:cubicBezTo>
                  <a:pt x="1624" y="483"/>
                  <a:pt x="1624" y="483"/>
                  <a:pt x="1624" y="483"/>
                </a:cubicBezTo>
                <a:cubicBezTo>
                  <a:pt x="1623" y="483"/>
                  <a:pt x="1623" y="483"/>
                  <a:pt x="1623" y="483"/>
                </a:cubicBezTo>
                <a:cubicBezTo>
                  <a:pt x="1623" y="484"/>
                  <a:pt x="1623" y="484"/>
                  <a:pt x="1623" y="484"/>
                </a:cubicBezTo>
                <a:cubicBezTo>
                  <a:pt x="1622" y="484"/>
                  <a:pt x="1622" y="484"/>
                  <a:pt x="1622" y="484"/>
                </a:cubicBezTo>
                <a:cubicBezTo>
                  <a:pt x="1622" y="483"/>
                  <a:pt x="1622" y="483"/>
                  <a:pt x="1622" y="483"/>
                </a:cubicBezTo>
                <a:cubicBezTo>
                  <a:pt x="1621" y="483"/>
                  <a:pt x="1621" y="483"/>
                  <a:pt x="1621" y="483"/>
                </a:cubicBezTo>
                <a:cubicBezTo>
                  <a:pt x="1621" y="484"/>
                  <a:pt x="1621" y="484"/>
                  <a:pt x="1621" y="484"/>
                </a:cubicBezTo>
                <a:cubicBezTo>
                  <a:pt x="1620" y="485"/>
                  <a:pt x="1620" y="485"/>
                  <a:pt x="1620" y="485"/>
                </a:cubicBezTo>
                <a:cubicBezTo>
                  <a:pt x="1620" y="486"/>
                  <a:pt x="1620" y="486"/>
                  <a:pt x="1620" y="486"/>
                </a:cubicBezTo>
                <a:cubicBezTo>
                  <a:pt x="1620" y="487"/>
                  <a:pt x="1620" y="487"/>
                  <a:pt x="1620" y="487"/>
                </a:cubicBezTo>
                <a:cubicBezTo>
                  <a:pt x="1619" y="488"/>
                  <a:pt x="1619" y="488"/>
                  <a:pt x="1619" y="488"/>
                </a:cubicBezTo>
                <a:cubicBezTo>
                  <a:pt x="1619" y="489"/>
                  <a:pt x="1619" y="489"/>
                  <a:pt x="1619" y="489"/>
                </a:cubicBezTo>
                <a:cubicBezTo>
                  <a:pt x="1619" y="491"/>
                  <a:pt x="1619" y="491"/>
                  <a:pt x="1619" y="491"/>
                </a:cubicBezTo>
                <a:cubicBezTo>
                  <a:pt x="1618" y="492"/>
                  <a:pt x="1618" y="492"/>
                  <a:pt x="1618" y="492"/>
                </a:cubicBezTo>
                <a:cubicBezTo>
                  <a:pt x="1618" y="493"/>
                  <a:pt x="1618" y="493"/>
                  <a:pt x="1618" y="493"/>
                </a:cubicBezTo>
                <a:cubicBezTo>
                  <a:pt x="1618" y="495"/>
                  <a:pt x="1618" y="495"/>
                  <a:pt x="1618" y="495"/>
                </a:cubicBezTo>
                <a:cubicBezTo>
                  <a:pt x="1619" y="495"/>
                  <a:pt x="1619" y="495"/>
                  <a:pt x="1619" y="495"/>
                </a:cubicBezTo>
                <a:cubicBezTo>
                  <a:pt x="1620" y="495"/>
                  <a:pt x="1620" y="495"/>
                  <a:pt x="1620" y="495"/>
                </a:cubicBezTo>
                <a:cubicBezTo>
                  <a:pt x="1621" y="496"/>
                  <a:pt x="1621" y="496"/>
                  <a:pt x="1621" y="496"/>
                </a:cubicBezTo>
                <a:cubicBezTo>
                  <a:pt x="1622" y="497"/>
                  <a:pt x="1622" y="497"/>
                  <a:pt x="1622" y="497"/>
                </a:cubicBezTo>
                <a:cubicBezTo>
                  <a:pt x="1622" y="499"/>
                  <a:pt x="1622" y="499"/>
                  <a:pt x="1622" y="499"/>
                </a:cubicBezTo>
                <a:cubicBezTo>
                  <a:pt x="1623" y="499"/>
                  <a:pt x="1623" y="499"/>
                  <a:pt x="1623" y="499"/>
                </a:cubicBezTo>
                <a:cubicBezTo>
                  <a:pt x="1624" y="499"/>
                  <a:pt x="1624" y="499"/>
                  <a:pt x="1624" y="499"/>
                </a:cubicBezTo>
                <a:cubicBezTo>
                  <a:pt x="1625" y="499"/>
                  <a:pt x="1625" y="499"/>
                  <a:pt x="1625" y="499"/>
                </a:cubicBezTo>
                <a:cubicBezTo>
                  <a:pt x="1624" y="500"/>
                  <a:pt x="1624" y="500"/>
                  <a:pt x="1624" y="500"/>
                </a:cubicBezTo>
                <a:cubicBezTo>
                  <a:pt x="1624" y="501"/>
                  <a:pt x="1624" y="501"/>
                  <a:pt x="1624" y="501"/>
                </a:cubicBezTo>
                <a:cubicBezTo>
                  <a:pt x="1623" y="501"/>
                  <a:pt x="1623" y="501"/>
                  <a:pt x="1623" y="501"/>
                </a:cubicBezTo>
                <a:cubicBezTo>
                  <a:pt x="1623" y="502"/>
                  <a:pt x="1623" y="502"/>
                  <a:pt x="1623" y="502"/>
                </a:cubicBezTo>
                <a:cubicBezTo>
                  <a:pt x="1624" y="502"/>
                  <a:pt x="1624" y="502"/>
                  <a:pt x="1624" y="502"/>
                </a:cubicBezTo>
                <a:cubicBezTo>
                  <a:pt x="1624" y="503"/>
                  <a:pt x="1624" y="503"/>
                  <a:pt x="1624" y="503"/>
                </a:cubicBezTo>
                <a:cubicBezTo>
                  <a:pt x="1625" y="503"/>
                  <a:pt x="1625" y="503"/>
                  <a:pt x="1625" y="503"/>
                </a:cubicBezTo>
                <a:cubicBezTo>
                  <a:pt x="1625" y="505"/>
                  <a:pt x="1625" y="505"/>
                  <a:pt x="1625" y="505"/>
                </a:cubicBezTo>
                <a:cubicBezTo>
                  <a:pt x="1626" y="506"/>
                  <a:pt x="1626" y="506"/>
                  <a:pt x="1626" y="506"/>
                </a:cubicBezTo>
                <a:cubicBezTo>
                  <a:pt x="1626" y="508"/>
                  <a:pt x="1626" y="508"/>
                  <a:pt x="1626" y="508"/>
                </a:cubicBezTo>
                <a:cubicBezTo>
                  <a:pt x="1628" y="511"/>
                  <a:pt x="1628" y="511"/>
                  <a:pt x="1628" y="511"/>
                </a:cubicBezTo>
                <a:cubicBezTo>
                  <a:pt x="1632" y="514"/>
                  <a:pt x="1632" y="514"/>
                  <a:pt x="1632" y="514"/>
                </a:cubicBezTo>
                <a:cubicBezTo>
                  <a:pt x="1632" y="514"/>
                  <a:pt x="1632" y="514"/>
                  <a:pt x="1634" y="515"/>
                </a:cubicBezTo>
                <a:cubicBezTo>
                  <a:pt x="1634" y="515"/>
                  <a:pt x="1634" y="515"/>
                  <a:pt x="1636" y="518"/>
                </a:cubicBezTo>
                <a:cubicBezTo>
                  <a:pt x="1636" y="518"/>
                  <a:pt x="1636" y="518"/>
                  <a:pt x="1636" y="519"/>
                </a:cubicBezTo>
                <a:cubicBezTo>
                  <a:pt x="1636" y="519"/>
                  <a:pt x="1636" y="519"/>
                  <a:pt x="1636" y="521"/>
                </a:cubicBezTo>
                <a:cubicBezTo>
                  <a:pt x="1636" y="521"/>
                  <a:pt x="1636" y="521"/>
                  <a:pt x="1639" y="522"/>
                </a:cubicBezTo>
                <a:cubicBezTo>
                  <a:pt x="1639" y="522"/>
                  <a:pt x="1639" y="522"/>
                  <a:pt x="1639" y="523"/>
                </a:cubicBezTo>
                <a:cubicBezTo>
                  <a:pt x="1639" y="523"/>
                  <a:pt x="1639" y="523"/>
                  <a:pt x="1640" y="524"/>
                </a:cubicBezTo>
                <a:cubicBezTo>
                  <a:pt x="1640" y="524"/>
                  <a:pt x="1640" y="524"/>
                  <a:pt x="1642" y="524"/>
                </a:cubicBezTo>
                <a:cubicBezTo>
                  <a:pt x="1642" y="524"/>
                  <a:pt x="1642" y="524"/>
                  <a:pt x="1643" y="525"/>
                </a:cubicBezTo>
                <a:cubicBezTo>
                  <a:pt x="1643" y="525"/>
                  <a:pt x="1643" y="525"/>
                  <a:pt x="1644" y="526"/>
                </a:cubicBezTo>
                <a:cubicBezTo>
                  <a:pt x="1644" y="526"/>
                  <a:pt x="1644" y="526"/>
                  <a:pt x="1643" y="526"/>
                </a:cubicBezTo>
                <a:cubicBezTo>
                  <a:pt x="1643" y="526"/>
                  <a:pt x="1643" y="526"/>
                  <a:pt x="1643" y="527"/>
                </a:cubicBezTo>
                <a:cubicBezTo>
                  <a:pt x="1643" y="527"/>
                  <a:pt x="1643" y="527"/>
                  <a:pt x="1641" y="527"/>
                </a:cubicBezTo>
                <a:cubicBezTo>
                  <a:pt x="1641" y="527"/>
                  <a:pt x="1641" y="527"/>
                  <a:pt x="1639" y="528"/>
                </a:cubicBezTo>
                <a:cubicBezTo>
                  <a:pt x="1639" y="528"/>
                  <a:pt x="1639" y="528"/>
                  <a:pt x="1639" y="530"/>
                </a:cubicBezTo>
                <a:cubicBezTo>
                  <a:pt x="1639" y="530"/>
                  <a:pt x="1639" y="530"/>
                  <a:pt x="1639" y="531"/>
                </a:cubicBezTo>
                <a:cubicBezTo>
                  <a:pt x="1639" y="531"/>
                  <a:pt x="1639" y="531"/>
                  <a:pt x="1639" y="532"/>
                </a:cubicBezTo>
                <a:cubicBezTo>
                  <a:pt x="1639" y="532"/>
                  <a:pt x="1639" y="532"/>
                  <a:pt x="1639" y="533"/>
                </a:cubicBezTo>
                <a:cubicBezTo>
                  <a:pt x="1639" y="533"/>
                  <a:pt x="1639" y="533"/>
                  <a:pt x="1639" y="534"/>
                </a:cubicBezTo>
                <a:cubicBezTo>
                  <a:pt x="1639" y="534"/>
                  <a:pt x="1639" y="534"/>
                  <a:pt x="1639" y="535"/>
                </a:cubicBezTo>
                <a:cubicBezTo>
                  <a:pt x="1639" y="535"/>
                  <a:pt x="1639" y="535"/>
                  <a:pt x="1638" y="535"/>
                </a:cubicBezTo>
                <a:cubicBezTo>
                  <a:pt x="1638" y="535"/>
                  <a:pt x="1638" y="535"/>
                  <a:pt x="1638" y="536"/>
                </a:cubicBezTo>
                <a:cubicBezTo>
                  <a:pt x="1638" y="536"/>
                  <a:pt x="1638" y="536"/>
                  <a:pt x="1637" y="535"/>
                </a:cubicBezTo>
                <a:cubicBezTo>
                  <a:pt x="1637" y="535"/>
                  <a:pt x="1637" y="535"/>
                  <a:pt x="1637" y="536"/>
                </a:cubicBezTo>
                <a:cubicBezTo>
                  <a:pt x="1637" y="536"/>
                  <a:pt x="1637" y="536"/>
                  <a:pt x="1636" y="537"/>
                </a:cubicBezTo>
                <a:cubicBezTo>
                  <a:pt x="1636" y="537"/>
                  <a:pt x="1636" y="537"/>
                  <a:pt x="1637" y="538"/>
                </a:cubicBezTo>
                <a:cubicBezTo>
                  <a:pt x="1637" y="538"/>
                  <a:pt x="1637" y="538"/>
                  <a:pt x="1637" y="539"/>
                </a:cubicBezTo>
                <a:cubicBezTo>
                  <a:pt x="1637" y="539"/>
                  <a:pt x="1637" y="539"/>
                  <a:pt x="1637" y="540"/>
                </a:cubicBezTo>
                <a:cubicBezTo>
                  <a:pt x="1637" y="540"/>
                  <a:pt x="1637" y="540"/>
                  <a:pt x="1637" y="542"/>
                </a:cubicBezTo>
                <a:cubicBezTo>
                  <a:pt x="1637" y="542"/>
                  <a:pt x="1637" y="542"/>
                  <a:pt x="1637" y="543"/>
                </a:cubicBezTo>
                <a:cubicBezTo>
                  <a:pt x="1637" y="543"/>
                  <a:pt x="1637" y="543"/>
                  <a:pt x="1638" y="544"/>
                </a:cubicBezTo>
                <a:cubicBezTo>
                  <a:pt x="1638" y="544"/>
                  <a:pt x="1638" y="544"/>
                  <a:pt x="1638" y="545"/>
                </a:cubicBezTo>
                <a:cubicBezTo>
                  <a:pt x="1638" y="545"/>
                  <a:pt x="1638" y="545"/>
                  <a:pt x="1638" y="547"/>
                </a:cubicBezTo>
                <a:cubicBezTo>
                  <a:pt x="1638" y="547"/>
                  <a:pt x="1638" y="547"/>
                  <a:pt x="1639" y="548"/>
                </a:cubicBezTo>
                <a:cubicBezTo>
                  <a:pt x="1639" y="548"/>
                  <a:pt x="1639" y="548"/>
                  <a:pt x="1640" y="549"/>
                </a:cubicBezTo>
                <a:cubicBezTo>
                  <a:pt x="1640" y="549"/>
                  <a:pt x="1640" y="549"/>
                  <a:pt x="1642" y="549"/>
                </a:cubicBezTo>
                <a:cubicBezTo>
                  <a:pt x="1642" y="549"/>
                  <a:pt x="1642" y="549"/>
                  <a:pt x="1643" y="549"/>
                </a:cubicBezTo>
                <a:cubicBezTo>
                  <a:pt x="1643" y="549"/>
                  <a:pt x="1643" y="549"/>
                  <a:pt x="1644" y="549"/>
                </a:cubicBezTo>
                <a:cubicBezTo>
                  <a:pt x="1644" y="549"/>
                  <a:pt x="1644" y="549"/>
                  <a:pt x="1646" y="550"/>
                </a:cubicBezTo>
                <a:cubicBezTo>
                  <a:pt x="1646" y="550"/>
                  <a:pt x="1646" y="550"/>
                  <a:pt x="1647" y="550"/>
                </a:cubicBezTo>
                <a:cubicBezTo>
                  <a:pt x="1647" y="550"/>
                  <a:pt x="1647" y="550"/>
                  <a:pt x="1647" y="551"/>
                </a:cubicBezTo>
                <a:cubicBezTo>
                  <a:pt x="1647" y="551"/>
                  <a:pt x="1647" y="551"/>
                  <a:pt x="1648" y="552"/>
                </a:cubicBezTo>
                <a:cubicBezTo>
                  <a:pt x="1648" y="552"/>
                  <a:pt x="1648" y="552"/>
                  <a:pt x="1651" y="554"/>
                </a:cubicBezTo>
                <a:cubicBezTo>
                  <a:pt x="1651" y="554"/>
                  <a:pt x="1651" y="554"/>
                  <a:pt x="1653" y="554"/>
                </a:cubicBezTo>
                <a:cubicBezTo>
                  <a:pt x="1653" y="554"/>
                  <a:pt x="1653" y="554"/>
                  <a:pt x="1656" y="555"/>
                </a:cubicBezTo>
                <a:cubicBezTo>
                  <a:pt x="1656" y="555"/>
                  <a:pt x="1656" y="555"/>
                  <a:pt x="1658" y="555"/>
                </a:cubicBezTo>
                <a:cubicBezTo>
                  <a:pt x="1658" y="555"/>
                  <a:pt x="1658" y="555"/>
                  <a:pt x="1662" y="554"/>
                </a:cubicBezTo>
                <a:cubicBezTo>
                  <a:pt x="1662" y="554"/>
                  <a:pt x="1662" y="554"/>
                  <a:pt x="1666" y="553"/>
                </a:cubicBezTo>
                <a:cubicBezTo>
                  <a:pt x="1666" y="553"/>
                  <a:pt x="1666" y="553"/>
                  <a:pt x="1669" y="553"/>
                </a:cubicBezTo>
                <a:cubicBezTo>
                  <a:pt x="1669" y="553"/>
                  <a:pt x="1669" y="553"/>
                  <a:pt x="1671" y="554"/>
                </a:cubicBezTo>
                <a:lnTo>
                  <a:pt x="1671" y="552"/>
                </a:lnTo>
                <a:close/>
                <a:moveTo>
                  <a:pt x="1860" y="751"/>
                </a:moveTo>
                <a:cubicBezTo>
                  <a:pt x="1859" y="748"/>
                  <a:pt x="1859" y="748"/>
                  <a:pt x="1859" y="748"/>
                </a:cubicBezTo>
                <a:cubicBezTo>
                  <a:pt x="1858" y="746"/>
                  <a:pt x="1858" y="746"/>
                  <a:pt x="1858" y="746"/>
                </a:cubicBezTo>
                <a:cubicBezTo>
                  <a:pt x="1857" y="746"/>
                  <a:pt x="1857" y="746"/>
                  <a:pt x="1857" y="746"/>
                </a:cubicBezTo>
                <a:cubicBezTo>
                  <a:pt x="1856" y="746"/>
                  <a:pt x="1856" y="746"/>
                  <a:pt x="1856" y="746"/>
                </a:cubicBezTo>
                <a:cubicBezTo>
                  <a:pt x="1857" y="745"/>
                  <a:pt x="1857" y="745"/>
                  <a:pt x="1857" y="745"/>
                </a:cubicBezTo>
                <a:cubicBezTo>
                  <a:pt x="1857" y="744"/>
                  <a:pt x="1857" y="744"/>
                  <a:pt x="1857" y="744"/>
                </a:cubicBezTo>
                <a:cubicBezTo>
                  <a:pt x="1856" y="744"/>
                  <a:pt x="1856" y="744"/>
                  <a:pt x="1856" y="744"/>
                </a:cubicBezTo>
                <a:cubicBezTo>
                  <a:pt x="1855" y="743"/>
                  <a:pt x="1855" y="743"/>
                  <a:pt x="1855" y="743"/>
                </a:cubicBezTo>
                <a:cubicBezTo>
                  <a:pt x="1854" y="742"/>
                  <a:pt x="1854" y="742"/>
                  <a:pt x="1854" y="742"/>
                </a:cubicBezTo>
                <a:cubicBezTo>
                  <a:pt x="1854" y="741"/>
                  <a:pt x="1854" y="741"/>
                  <a:pt x="1854" y="741"/>
                </a:cubicBezTo>
                <a:cubicBezTo>
                  <a:pt x="1854" y="740"/>
                  <a:pt x="1854" y="740"/>
                  <a:pt x="1854" y="740"/>
                </a:cubicBezTo>
                <a:cubicBezTo>
                  <a:pt x="1852" y="740"/>
                  <a:pt x="1852" y="740"/>
                  <a:pt x="1852" y="740"/>
                </a:cubicBezTo>
                <a:cubicBezTo>
                  <a:pt x="1851" y="740"/>
                  <a:pt x="1851" y="740"/>
                  <a:pt x="1851" y="740"/>
                </a:cubicBezTo>
                <a:cubicBezTo>
                  <a:pt x="1851" y="739"/>
                  <a:pt x="1851" y="739"/>
                  <a:pt x="1851" y="739"/>
                </a:cubicBezTo>
                <a:cubicBezTo>
                  <a:pt x="1850" y="739"/>
                  <a:pt x="1850" y="739"/>
                  <a:pt x="1850" y="739"/>
                </a:cubicBezTo>
                <a:cubicBezTo>
                  <a:pt x="1850" y="740"/>
                  <a:pt x="1850" y="740"/>
                  <a:pt x="1850" y="740"/>
                </a:cubicBezTo>
                <a:cubicBezTo>
                  <a:pt x="1850" y="741"/>
                  <a:pt x="1850" y="741"/>
                  <a:pt x="1850" y="741"/>
                </a:cubicBezTo>
                <a:cubicBezTo>
                  <a:pt x="1849" y="743"/>
                  <a:pt x="1849" y="743"/>
                  <a:pt x="1849" y="743"/>
                </a:cubicBezTo>
                <a:cubicBezTo>
                  <a:pt x="1849" y="742"/>
                  <a:pt x="1849" y="742"/>
                  <a:pt x="1849" y="742"/>
                </a:cubicBezTo>
                <a:cubicBezTo>
                  <a:pt x="1848" y="742"/>
                  <a:pt x="1848" y="742"/>
                  <a:pt x="1848" y="742"/>
                </a:cubicBezTo>
                <a:cubicBezTo>
                  <a:pt x="1848" y="743"/>
                  <a:pt x="1848" y="743"/>
                  <a:pt x="1848" y="743"/>
                </a:cubicBezTo>
                <a:cubicBezTo>
                  <a:pt x="1848" y="744"/>
                  <a:pt x="1848" y="744"/>
                  <a:pt x="1848" y="744"/>
                </a:cubicBezTo>
                <a:cubicBezTo>
                  <a:pt x="1848" y="746"/>
                  <a:pt x="1848" y="746"/>
                  <a:pt x="1848" y="746"/>
                </a:cubicBezTo>
                <a:cubicBezTo>
                  <a:pt x="1847" y="747"/>
                  <a:pt x="1847" y="747"/>
                  <a:pt x="1847" y="747"/>
                </a:cubicBezTo>
                <a:cubicBezTo>
                  <a:pt x="1848" y="747"/>
                  <a:pt x="1848" y="747"/>
                  <a:pt x="1848" y="747"/>
                </a:cubicBezTo>
                <a:cubicBezTo>
                  <a:pt x="1848" y="748"/>
                  <a:pt x="1848" y="748"/>
                  <a:pt x="1848" y="748"/>
                </a:cubicBezTo>
                <a:cubicBezTo>
                  <a:pt x="1848" y="750"/>
                  <a:pt x="1848" y="750"/>
                  <a:pt x="1848" y="750"/>
                </a:cubicBezTo>
                <a:cubicBezTo>
                  <a:pt x="1847" y="751"/>
                  <a:pt x="1847" y="751"/>
                  <a:pt x="1847" y="751"/>
                </a:cubicBezTo>
                <a:cubicBezTo>
                  <a:pt x="1848" y="753"/>
                  <a:pt x="1848" y="753"/>
                  <a:pt x="1848" y="753"/>
                </a:cubicBezTo>
                <a:cubicBezTo>
                  <a:pt x="1848" y="754"/>
                  <a:pt x="1848" y="754"/>
                  <a:pt x="1848" y="754"/>
                </a:cubicBezTo>
                <a:cubicBezTo>
                  <a:pt x="1849" y="757"/>
                  <a:pt x="1849" y="757"/>
                  <a:pt x="1849" y="757"/>
                </a:cubicBezTo>
                <a:cubicBezTo>
                  <a:pt x="1850" y="760"/>
                  <a:pt x="1850" y="760"/>
                  <a:pt x="1850" y="760"/>
                </a:cubicBezTo>
                <a:cubicBezTo>
                  <a:pt x="1851" y="762"/>
                  <a:pt x="1851" y="762"/>
                  <a:pt x="1851" y="762"/>
                </a:cubicBezTo>
                <a:cubicBezTo>
                  <a:pt x="1852" y="762"/>
                  <a:pt x="1852" y="762"/>
                  <a:pt x="1852" y="762"/>
                </a:cubicBezTo>
                <a:cubicBezTo>
                  <a:pt x="1853" y="762"/>
                  <a:pt x="1853" y="762"/>
                  <a:pt x="1853" y="762"/>
                </a:cubicBezTo>
                <a:cubicBezTo>
                  <a:pt x="1855" y="762"/>
                  <a:pt x="1855" y="762"/>
                  <a:pt x="1855" y="762"/>
                </a:cubicBezTo>
                <a:cubicBezTo>
                  <a:pt x="1857" y="761"/>
                  <a:pt x="1857" y="761"/>
                  <a:pt x="1857" y="761"/>
                </a:cubicBezTo>
                <a:cubicBezTo>
                  <a:pt x="1859" y="759"/>
                  <a:pt x="1859" y="759"/>
                  <a:pt x="1859" y="759"/>
                </a:cubicBezTo>
                <a:cubicBezTo>
                  <a:pt x="1860" y="757"/>
                  <a:pt x="1860" y="757"/>
                  <a:pt x="1860" y="757"/>
                </a:cubicBezTo>
                <a:cubicBezTo>
                  <a:pt x="1861" y="756"/>
                  <a:pt x="1861" y="756"/>
                  <a:pt x="1861" y="756"/>
                </a:cubicBezTo>
                <a:cubicBezTo>
                  <a:pt x="1861" y="755"/>
                  <a:pt x="1861" y="755"/>
                  <a:pt x="1861" y="755"/>
                </a:cubicBezTo>
                <a:cubicBezTo>
                  <a:pt x="1861" y="753"/>
                  <a:pt x="1861" y="753"/>
                  <a:pt x="1861" y="753"/>
                </a:cubicBezTo>
                <a:cubicBezTo>
                  <a:pt x="1860" y="752"/>
                  <a:pt x="1860" y="752"/>
                  <a:pt x="1860" y="752"/>
                </a:cubicBezTo>
                <a:cubicBezTo>
                  <a:pt x="1861" y="751"/>
                  <a:pt x="1861" y="751"/>
                  <a:pt x="1861" y="751"/>
                </a:cubicBezTo>
                <a:cubicBezTo>
                  <a:pt x="1860" y="751"/>
                  <a:pt x="1860" y="751"/>
                  <a:pt x="1860" y="751"/>
                </a:cubicBezTo>
                <a:close/>
                <a:moveTo>
                  <a:pt x="1847" y="748"/>
                </a:moveTo>
                <a:cubicBezTo>
                  <a:pt x="1847" y="749"/>
                  <a:pt x="1847" y="749"/>
                  <a:pt x="1847" y="749"/>
                </a:cubicBezTo>
                <a:cubicBezTo>
                  <a:pt x="1848" y="748"/>
                  <a:pt x="1848" y="748"/>
                  <a:pt x="1848" y="748"/>
                </a:cubicBezTo>
                <a:cubicBezTo>
                  <a:pt x="1847" y="747"/>
                  <a:pt x="1847" y="747"/>
                  <a:pt x="1847" y="747"/>
                </a:cubicBezTo>
                <a:cubicBezTo>
                  <a:pt x="1847" y="748"/>
                  <a:pt x="1847" y="748"/>
                  <a:pt x="1847" y="748"/>
                </a:cubicBezTo>
                <a:close/>
                <a:moveTo>
                  <a:pt x="1848" y="737"/>
                </a:moveTo>
                <a:cubicBezTo>
                  <a:pt x="1848" y="738"/>
                  <a:pt x="1848" y="738"/>
                  <a:pt x="1848" y="738"/>
                </a:cubicBezTo>
                <a:cubicBezTo>
                  <a:pt x="1849" y="739"/>
                  <a:pt x="1849" y="739"/>
                  <a:pt x="1849" y="739"/>
                </a:cubicBezTo>
                <a:cubicBezTo>
                  <a:pt x="1849" y="738"/>
                  <a:pt x="1849" y="738"/>
                  <a:pt x="1849" y="738"/>
                </a:cubicBezTo>
                <a:cubicBezTo>
                  <a:pt x="1850" y="738"/>
                  <a:pt x="1850" y="738"/>
                  <a:pt x="1850" y="738"/>
                </a:cubicBezTo>
                <a:cubicBezTo>
                  <a:pt x="1850" y="737"/>
                  <a:pt x="1850" y="737"/>
                  <a:pt x="1850" y="737"/>
                </a:cubicBezTo>
                <a:cubicBezTo>
                  <a:pt x="1848" y="737"/>
                  <a:pt x="1848" y="737"/>
                  <a:pt x="1848" y="737"/>
                </a:cubicBezTo>
                <a:close/>
                <a:moveTo>
                  <a:pt x="1853" y="739"/>
                </a:moveTo>
                <a:cubicBezTo>
                  <a:pt x="1852" y="738"/>
                  <a:pt x="1852" y="738"/>
                  <a:pt x="1852" y="738"/>
                </a:cubicBezTo>
                <a:cubicBezTo>
                  <a:pt x="1852" y="737"/>
                  <a:pt x="1852" y="737"/>
                  <a:pt x="1852" y="737"/>
                </a:cubicBezTo>
                <a:cubicBezTo>
                  <a:pt x="1851" y="737"/>
                  <a:pt x="1851" y="737"/>
                  <a:pt x="1851" y="737"/>
                </a:cubicBezTo>
                <a:cubicBezTo>
                  <a:pt x="1851" y="738"/>
                  <a:pt x="1851" y="738"/>
                  <a:pt x="1851" y="738"/>
                </a:cubicBezTo>
                <a:cubicBezTo>
                  <a:pt x="1850" y="738"/>
                  <a:pt x="1850" y="738"/>
                  <a:pt x="1850" y="738"/>
                </a:cubicBezTo>
                <a:cubicBezTo>
                  <a:pt x="1852" y="739"/>
                  <a:pt x="1852" y="739"/>
                  <a:pt x="1852" y="739"/>
                </a:cubicBezTo>
                <a:cubicBezTo>
                  <a:pt x="1853" y="739"/>
                  <a:pt x="1853" y="739"/>
                  <a:pt x="1853" y="739"/>
                </a:cubicBezTo>
                <a:close/>
                <a:moveTo>
                  <a:pt x="1893" y="658"/>
                </a:moveTo>
                <a:cubicBezTo>
                  <a:pt x="1894" y="656"/>
                  <a:pt x="1894" y="656"/>
                  <a:pt x="1894" y="656"/>
                </a:cubicBezTo>
                <a:cubicBezTo>
                  <a:pt x="1893" y="657"/>
                  <a:pt x="1893" y="657"/>
                  <a:pt x="1893" y="657"/>
                </a:cubicBezTo>
                <a:cubicBezTo>
                  <a:pt x="1893" y="658"/>
                  <a:pt x="1893" y="658"/>
                  <a:pt x="1893" y="658"/>
                </a:cubicBezTo>
                <a:close/>
                <a:moveTo>
                  <a:pt x="1845" y="741"/>
                </a:moveTo>
                <a:cubicBezTo>
                  <a:pt x="1844" y="741"/>
                  <a:pt x="1844" y="741"/>
                  <a:pt x="1844" y="741"/>
                </a:cubicBezTo>
                <a:cubicBezTo>
                  <a:pt x="1845" y="742"/>
                  <a:pt x="1845" y="742"/>
                  <a:pt x="1845" y="742"/>
                </a:cubicBezTo>
                <a:cubicBezTo>
                  <a:pt x="1845" y="741"/>
                  <a:pt x="1845" y="741"/>
                  <a:pt x="1845" y="741"/>
                </a:cubicBezTo>
                <a:close/>
                <a:moveTo>
                  <a:pt x="1914" y="651"/>
                </a:moveTo>
                <a:cubicBezTo>
                  <a:pt x="1913" y="651"/>
                  <a:pt x="1913" y="651"/>
                  <a:pt x="1913" y="651"/>
                </a:cubicBezTo>
                <a:cubicBezTo>
                  <a:pt x="1913" y="652"/>
                  <a:pt x="1913" y="652"/>
                  <a:pt x="1913" y="652"/>
                </a:cubicBezTo>
                <a:cubicBezTo>
                  <a:pt x="1914" y="652"/>
                  <a:pt x="1914" y="652"/>
                  <a:pt x="1914" y="652"/>
                </a:cubicBezTo>
                <a:cubicBezTo>
                  <a:pt x="1914" y="651"/>
                  <a:pt x="1914" y="651"/>
                  <a:pt x="1914" y="651"/>
                </a:cubicBezTo>
                <a:close/>
                <a:moveTo>
                  <a:pt x="1909" y="652"/>
                </a:moveTo>
                <a:cubicBezTo>
                  <a:pt x="1909" y="653"/>
                  <a:pt x="1909" y="653"/>
                  <a:pt x="1909" y="653"/>
                </a:cubicBezTo>
                <a:cubicBezTo>
                  <a:pt x="1911" y="653"/>
                  <a:pt x="1911" y="653"/>
                  <a:pt x="1911" y="653"/>
                </a:cubicBezTo>
                <a:cubicBezTo>
                  <a:pt x="1910" y="651"/>
                  <a:pt x="1910" y="651"/>
                  <a:pt x="1910" y="651"/>
                </a:cubicBezTo>
                <a:cubicBezTo>
                  <a:pt x="1910" y="650"/>
                  <a:pt x="1910" y="650"/>
                  <a:pt x="1910" y="650"/>
                </a:cubicBezTo>
                <a:cubicBezTo>
                  <a:pt x="1908" y="650"/>
                  <a:pt x="1908" y="650"/>
                  <a:pt x="1908" y="650"/>
                </a:cubicBezTo>
                <a:cubicBezTo>
                  <a:pt x="1909" y="651"/>
                  <a:pt x="1909" y="651"/>
                  <a:pt x="1909" y="651"/>
                </a:cubicBezTo>
                <a:cubicBezTo>
                  <a:pt x="1909" y="652"/>
                  <a:pt x="1909" y="652"/>
                  <a:pt x="1909" y="652"/>
                </a:cubicBezTo>
                <a:close/>
                <a:moveTo>
                  <a:pt x="1913" y="652"/>
                </a:moveTo>
                <a:cubicBezTo>
                  <a:pt x="1912" y="651"/>
                  <a:pt x="1912" y="651"/>
                  <a:pt x="1912" y="651"/>
                </a:cubicBezTo>
                <a:cubicBezTo>
                  <a:pt x="1911" y="650"/>
                  <a:pt x="1911" y="650"/>
                  <a:pt x="1911" y="650"/>
                </a:cubicBezTo>
                <a:cubicBezTo>
                  <a:pt x="1911" y="651"/>
                  <a:pt x="1911" y="651"/>
                  <a:pt x="1911" y="651"/>
                </a:cubicBezTo>
                <a:cubicBezTo>
                  <a:pt x="1912" y="652"/>
                  <a:pt x="1912" y="652"/>
                  <a:pt x="1912" y="652"/>
                </a:cubicBezTo>
                <a:cubicBezTo>
                  <a:pt x="1911" y="653"/>
                  <a:pt x="1911" y="653"/>
                  <a:pt x="1911" y="653"/>
                </a:cubicBezTo>
                <a:cubicBezTo>
                  <a:pt x="1912" y="654"/>
                  <a:pt x="1912" y="654"/>
                  <a:pt x="1912" y="654"/>
                </a:cubicBezTo>
                <a:cubicBezTo>
                  <a:pt x="1913" y="652"/>
                  <a:pt x="1913" y="652"/>
                  <a:pt x="1913" y="652"/>
                </a:cubicBezTo>
                <a:close/>
                <a:moveTo>
                  <a:pt x="1410" y="412"/>
                </a:moveTo>
                <a:cubicBezTo>
                  <a:pt x="1409" y="412"/>
                  <a:pt x="1409" y="412"/>
                  <a:pt x="1409" y="412"/>
                </a:cubicBezTo>
                <a:cubicBezTo>
                  <a:pt x="1410" y="413"/>
                  <a:pt x="1410" y="413"/>
                  <a:pt x="1410" y="413"/>
                </a:cubicBezTo>
                <a:cubicBezTo>
                  <a:pt x="1410" y="412"/>
                  <a:pt x="1410" y="412"/>
                  <a:pt x="1410" y="412"/>
                </a:cubicBezTo>
                <a:close/>
                <a:moveTo>
                  <a:pt x="1409" y="415"/>
                </a:moveTo>
                <a:cubicBezTo>
                  <a:pt x="1409" y="415"/>
                  <a:pt x="1409" y="415"/>
                  <a:pt x="1409" y="414"/>
                </a:cubicBezTo>
                <a:cubicBezTo>
                  <a:pt x="1409" y="414"/>
                  <a:pt x="1409" y="414"/>
                  <a:pt x="1409" y="413"/>
                </a:cubicBezTo>
                <a:cubicBezTo>
                  <a:pt x="1409" y="413"/>
                  <a:pt x="1409" y="413"/>
                  <a:pt x="1408" y="413"/>
                </a:cubicBezTo>
                <a:cubicBezTo>
                  <a:pt x="1408" y="413"/>
                  <a:pt x="1408" y="413"/>
                  <a:pt x="1407" y="414"/>
                </a:cubicBezTo>
                <a:cubicBezTo>
                  <a:pt x="1407" y="414"/>
                  <a:pt x="1407" y="414"/>
                  <a:pt x="1406" y="414"/>
                </a:cubicBezTo>
                <a:cubicBezTo>
                  <a:pt x="1406" y="414"/>
                  <a:pt x="1406" y="414"/>
                  <a:pt x="1405" y="412"/>
                </a:cubicBezTo>
                <a:cubicBezTo>
                  <a:pt x="1405" y="412"/>
                  <a:pt x="1405" y="412"/>
                  <a:pt x="1404" y="412"/>
                </a:cubicBezTo>
                <a:cubicBezTo>
                  <a:pt x="1404" y="412"/>
                  <a:pt x="1404" y="412"/>
                  <a:pt x="1404" y="413"/>
                </a:cubicBezTo>
                <a:cubicBezTo>
                  <a:pt x="1404" y="413"/>
                  <a:pt x="1404" y="413"/>
                  <a:pt x="1404" y="414"/>
                </a:cubicBezTo>
                <a:cubicBezTo>
                  <a:pt x="1404" y="414"/>
                  <a:pt x="1404" y="414"/>
                  <a:pt x="1403" y="414"/>
                </a:cubicBezTo>
                <a:cubicBezTo>
                  <a:pt x="1403" y="414"/>
                  <a:pt x="1403" y="414"/>
                  <a:pt x="1404" y="415"/>
                </a:cubicBezTo>
                <a:cubicBezTo>
                  <a:pt x="1404" y="415"/>
                  <a:pt x="1404" y="415"/>
                  <a:pt x="1406" y="415"/>
                </a:cubicBezTo>
                <a:cubicBezTo>
                  <a:pt x="1406" y="415"/>
                  <a:pt x="1406" y="415"/>
                  <a:pt x="1407" y="415"/>
                </a:cubicBezTo>
                <a:cubicBezTo>
                  <a:pt x="1407" y="415"/>
                  <a:pt x="1407" y="415"/>
                  <a:pt x="1408" y="414"/>
                </a:cubicBezTo>
                <a:cubicBezTo>
                  <a:pt x="1408" y="414"/>
                  <a:pt x="1408" y="414"/>
                  <a:pt x="1408" y="415"/>
                </a:cubicBezTo>
                <a:cubicBezTo>
                  <a:pt x="1408" y="415"/>
                  <a:pt x="1408" y="415"/>
                  <a:pt x="1409" y="415"/>
                </a:cubicBezTo>
                <a:close/>
                <a:moveTo>
                  <a:pt x="1397" y="410"/>
                </a:moveTo>
                <a:cubicBezTo>
                  <a:pt x="1397" y="410"/>
                  <a:pt x="1397" y="410"/>
                  <a:pt x="1398" y="412"/>
                </a:cubicBezTo>
                <a:cubicBezTo>
                  <a:pt x="1398" y="412"/>
                  <a:pt x="1398" y="412"/>
                  <a:pt x="1399" y="412"/>
                </a:cubicBezTo>
                <a:cubicBezTo>
                  <a:pt x="1399" y="412"/>
                  <a:pt x="1399" y="412"/>
                  <a:pt x="1400" y="412"/>
                </a:cubicBezTo>
                <a:cubicBezTo>
                  <a:pt x="1400" y="412"/>
                  <a:pt x="1400" y="412"/>
                  <a:pt x="1401" y="412"/>
                </a:cubicBezTo>
                <a:cubicBezTo>
                  <a:pt x="1401" y="412"/>
                  <a:pt x="1401" y="412"/>
                  <a:pt x="1402" y="410"/>
                </a:cubicBezTo>
                <a:cubicBezTo>
                  <a:pt x="1402" y="410"/>
                  <a:pt x="1402" y="410"/>
                  <a:pt x="1402" y="409"/>
                </a:cubicBezTo>
                <a:cubicBezTo>
                  <a:pt x="1402" y="409"/>
                  <a:pt x="1402" y="409"/>
                  <a:pt x="1401" y="408"/>
                </a:cubicBezTo>
                <a:cubicBezTo>
                  <a:pt x="1401" y="408"/>
                  <a:pt x="1401" y="408"/>
                  <a:pt x="1400" y="408"/>
                </a:cubicBezTo>
                <a:cubicBezTo>
                  <a:pt x="1400" y="408"/>
                  <a:pt x="1400" y="408"/>
                  <a:pt x="1399" y="407"/>
                </a:cubicBezTo>
                <a:cubicBezTo>
                  <a:pt x="1399" y="407"/>
                  <a:pt x="1399" y="407"/>
                  <a:pt x="1397" y="407"/>
                </a:cubicBezTo>
                <a:cubicBezTo>
                  <a:pt x="1397" y="407"/>
                  <a:pt x="1397" y="407"/>
                  <a:pt x="1396" y="409"/>
                </a:cubicBezTo>
                <a:cubicBezTo>
                  <a:pt x="1396" y="409"/>
                  <a:pt x="1396" y="409"/>
                  <a:pt x="1397" y="410"/>
                </a:cubicBezTo>
                <a:close/>
                <a:moveTo>
                  <a:pt x="1402" y="411"/>
                </a:moveTo>
                <a:cubicBezTo>
                  <a:pt x="1402" y="412"/>
                  <a:pt x="1402" y="412"/>
                  <a:pt x="1402" y="412"/>
                </a:cubicBezTo>
                <a:cubicBezTo>
                  <a:pt x="1402" y="413"/>
                  <a:pt x="1402" y="413"/>
                  <a:pt x="1402" y="413"/>
                </a:cubicBezTo>
                <a:cubicBezTo>
                  <a:pt x="1402" y="414"/>
                  <a:pt x="1402" y="414"/>
                  <a:pt x="1402" y="414"/>
                </a:cubicBezTo>
                <a:cubicBezTo>
                  <a:pt x="1403" y="413"/>
                  <a:pt x="1403" y="413"/>
                  <a:pt x="1403" y="413"/>
                </a:cubicBezTo>
                <a:cubicBezTo>
                  <a:pt x="1403" y="412"/>
                  <a:pt x="1403" y="412"/>
                  <a:pt x="1403" y="412"/>
                </a:cubicBezTo>
                <a:lnTo>
                  <a:pt x="1402" y="411"/>
                </a:lnTo>
                <a:close/>
                <a:moveTo>
                  <a:pt x="1392" y="396"/>
                </a:moveTo>
                <a:cubicBezTo>
                  <a:pt x="1392" y="396"/>
                  <a:pt x="1392" y="396"/>
                  <a:pt x="1392" y="395"/>
                </a:cubicBezTo>
                <a:cubicBezTo>
                  <a:pt x="1392" y="395"/>
                  <a:pt x="1392" y="395"/>
                  <a:pt x="1391" y="395"/>
                </a:cubicBezTo>
                <a:cubicBezTo>
                  <a:pt x="1392" y="394"/>
                  <a:pt x="1392" y="394"/>
                  <a:pt x="1392" y="394"/>
                </a:cubicBezTo>
                <a:cubicBezTo>
                  <a:pt x="1392" y="395"/>
                  <a:pt x="1392" y="395"/>
                  <a:pt x="1392" y="395"/>
                </a:cubicBezTo>
                <a:cubicBezTo>
                  <a:pt x="1394" y="394"/>
                  <a:pt x="1394" y="394"/>
                  <a:pt x="1394" y="394"/>
                </a:cubicBezTo>
                <a:cubicBezTo>
                  <a:pt x="1395" y="395"/>
                  <a:pt x="1395" y="395"/>
                  <a:pt x="1395" y="395"/>
                </a:cubicBezTo>
                <a:cubicBezTo>
                  <a:pt x="1396" y="394"/>
                  <a:pt x="1396" y="394"/>
                  <a:pt x="1396" y="394"/>
                </a:cubicBezTo>
                <a:cubicBezTo>
                  <a:pt x="1397" y="394"/>
                  <a:pt x="1397" y="394"/>
                  <a:pt x="1397" y="394"/>
                </a:cubicBezTo>
                <a:cubicBezTo>
                  <a:pt x="1398" y="395"/>
                  <a:pt x="1398" y="395"/>
                  <a:pt x="1398" y="395"/>
                </a:cubicBezTo>
                <a:cubicBezTo>
                  <a:pt x="1399" y="395"/>
                  <a:pt x="1399" y="395"/>
                  <a:pt x="1399" y="395"/>
                </a:cubicBezTo>
                <a:cubicBezTo>
                  <a:pt x="1400" y="392"/>
                  <a:pt x="1400" y="392"/>
                  <a:pt x="1400" y="392"/>
                </a:cubicBezTo>
                <a:cubicBezTo>
                  <a:pt x="1400" y="391"/>
                  <a:pt x="1400" y="391"/>
                  <a:pt x="1400" y="391"/>
                </a:cubicBezTo>
                <a:cubicBezTo>
                  <a:pt x="1400" y="389"/>
                  <a:pt x="1400" y="389"/>
                  <a:pt x="1400" y="389"/>
                </a:cubicBezTo>
                <a:cubicBezTo>
                  <a:pt x="1401" y="388"/>
                  <a:pt x="1401" y="388"/>
                  <a:pt x="1401" y="388"/>
                </a:cubicBezTo>
                <a:cubicBezTo>
                  <a:pt x="1400" y="387"/>
                  <a:pt x="1400" y="387"/>
                  <a:pt x="1400" y="387"/>
                </a:cubicBezTo>
                <a:cubicBezTo>
                  <a:pt x="1399" y="389"/>
                  <a:pt x="1399" y="389"/>
                  <a:pt x="1399" y="389"/>
                </a:cubicBezTo>
                <a:cubicBezTo>
                  <a:pt x="1397" y="390"/>
                  <a:pt x="1397" y="390"/>
                  <a:pt x="1397" y="390"/>
                </a:cubicBezTo>
                <a:cubicBezTo>
                  <a:pt x="1396" y="390"/>
                  <a:pt x="1396" y="390"/>
                  <a:pt x="1396" y="390"/>
                </a:cubicBezTo>
                <a:cubicBezTo>
                  <a:pt x="1395" y="391"/>
                  <a:pt x="1395" y="391"/>
                  <a:pt x="1395" y="391"/>
                </a:cubicBezTo>
                <a:cubicBezTo>
                  <a:pt x="1395" y="392"/>
                  <a:pt x="1395" y="392"/>
                  <a:pt x="1395" y="392"/>
                </a:cubicBezTo>
                <a:cubicBezTo>
                  <a:pt x="1393" y="393"/>
                  <a:pt x="1393" y="393"/>
                  <a:pt x="1393" y="393"/>
                </a:cubicBezTo>
                <a:cubicBezTo>
                  <a:pt x="1392" y="393"/>
                  <a:pt x="1392" y="393"/>
                  <a:pt x="1392" y="393"/>
                </a:cubicBezTo>
                <a:cubicBezTo>
                  <a:pt x="1390" y="394"/>
                  <a:pt x="1390" y="394"/>
                  <a:pt x="1390" y="394"/>
                </a:cubicBezTo>
                <a:cubicBezTo>
                  <a:pt x="1389" y="394"/>
                  <a:pt x="1389" y="394"/>
                  <a:pt x="1389" y="394"/>
                </a:cubicBezTo>
                <a:cubicBezTo>
                  <a:pt x="1389" y="396"/>
                  <a:pt x="1389" y="396"/>
                  <a:pt x="1389" y="396"/>
                </a:cubicBezTo>
                <a:cubicBezTo>
                  <a:pt x="1388" y="397"/>
                  <a:pt x="1388" y="397"/>
                  <a:pt x="1388" y="397"/>
                </a:cubicBezTo>
                <a:cubicBezTo>
                  <a:pt x="1389" y="397"/>
                  <a:pt x="1389" y="397"/>
                  <a:pt x="1389" y="397"/>
                </a:cubicBezTo>
                <a:cubicBezTo>
                  <a:pt x="1390" y="398"/>
                  <a:pt x="1390" y="398"/>
                  <a:pt x="1390" y="398"/>
                </a:cubicBezTo>
                <a:cubicBezTo>
                  <a:pt x="1390" y="397"/>
                  <a:pt x="1390" y="397"/>
                  <a:pt x="1390" y="397"/>
                </a:cubicBezTo>
                <a:cubicBezTo>
                  <a:pt x="1390" y="396"/>
                  <a:pt x="1390" y="396"/>
                  <a:pt x="1390" y="396"/>
                </a:cubicBezTo>
                <a:cubicBezTo>
                  <a:pt x="1390" y="396"/>
                  <a:pt x="1390" y="396"/>
                  <a:pt x="1391" y="398"/>
                </a:cubicBezTo>
                <a:cubicBezTo>
                  <a:pt x="1391" y="398"/>
                  <a:pt x="1391" y="398"/>
                  <a:pt x="1391" y="397"/>
                </a:cubicBezTo>
                <a:cubicBezTo>
                  <a:pt x="1391" y="397"/>
                  <a:pt x="1391" y="397"/>
                  <a:pt x="1392" y="396"/>
                </a:cubicBezTo>
                <a:close/>
                <a:moveTo>
                  <a:pt x="1411" y="411"/>
                </a:moveTo>
                <a:cubicBezTo>
                  <a:pt x="1410" y="412"/>
                  <a:pt x="1410" y="412"/>
                  <a:pt x="1410" y="412"/>
                </a:cubicBezTo>
                <a:cubicBezTo>
                  <a:pt x="1411" y="412"/>
                  <a:pt x="1411" y="412"/>
                  <a:pt x="1411" y="412"/>
                </a:cubicBezTo>
                <a:cubicBezTo>
                  <a:pt x="1411" y="411"/>
                  <a:pt x="1411" y="411"/>
                  <a:pt x="1411" y="411"/>
                </a:cubicBezTo>
                <a:close/>
                <a:moveTo>
                  <a:pt x="1392" y="397"/>
                </a:moveTo>
                <a:cubicBezTo>
                  <a:pt x="1391" y="398"/>
                  <a:pt x="1391" y="398"/>
                  <a:pt x="1391" y="398"/>
                </a:cubicBezTo>
                <a:cubicBezTo>
                  <a:pt x="1392" y="399"/>
                  <a:pt x="1392" y="399"/>
                  <a:pt x="1392" y="399"/>
                </a:cubicBezTo>
                <a:cubicBezTo>
                  <a:pt x="1393" y="398"/>
                  <a:pt x="1393" y="398"/>
                  <a:pt x="1393" y="398"/>
                </a:cubicBezTo>
                <a:cubicBezTo>
                  <a:pt x="1392" y="397"/>
                  <a:pt x="1392" y="397"/>
                  <a:pt x="1392" y="397"/>
                </a:cubicBezTo>
                <a:close/>
                <a:moveTo>
                  <a:pt x="1412" y="406"/>
                </a:moveTo>
                <a:cubicBezTo>
                  <a:pt x="1411" y="407"/>
                  <a:pt x="1411" y="407"/>
                  <a:pt x="1411" y="407"/>
                </a:cubicBezTo>
                <a:cubicBezTo>
                  <a:pt x="1412" y="407"/>
                  <a:pt x="1412" y="407"/>
                  <a:pt x="1412" y="407"/>
                </a:cubicBezTo>
                <a:cubicBezTo>
                  <a:pt x="1412" y="406"/>
                  <a:pt x="1412" y="406"/>
                  <a:pt x="1412" y="406"/>
                </a:cubicBezTo>
                <a:close/>
                <a:moveTo>
                  <a:pt x="1404" y="407"/>
                </a:moveTo>
                <a:cubicBezTo>
                  <a:pt x="1404" y="407"/>
                  <a:pt x="1404" y="407"/>
                  <a:pt x="1405" y="408"/>
                </a:cubicBezTo>
                <a:cubicBezTo>
                  <a:pt x="1405" y="408"/>
                  <a:pt x="1405" y="408"/>
                  <a:pt x="1405" y="409"/>
                </a:cubicBezTo>
                <a:cubicBezTo>
                  <a:pt x="1405" y="409"/>
                  <a:pt x="1405" y="409"/>
                  <a:pt x="1405" y="410"/>
                </a:cubicBezTo>
                <a:cubicBezTo>
                  <a:pt x="1405" y="410"/>
                  <a:pt x="1405" y="410"/>
                  <a:pt x="1406" y="410"/>
                </a:cubicBezTo>
                <a:cubicBezTo>
                  <a:pt x="1406" y="410"/>
                  <a:pt x="1406" y="410"/>
                  <a:pt x="1408" y="410"/>
                </a:cubicBezTo>
                <a:cubicBezTo>
                  <a:pt x="1408" y="410"/>
                  <a:pt x="1408" y="410"/>
                  <a:pt x="1408" y="411"/>
                </a:cubicBezTo>
                <a:cubicBezTo>
                  <a:pt x="1408" y="411"/>
                  <a:pt x="1408" y="411"/>
                  <a:pt x="1407" y="411"/>
                </a:cubicBezTo>
                <a:cubicBezTo>
                  <a:pt x="1407" y="411"/>
                  <a:pt x="1407" y="411"/>
                  <a:pt x="1408" y="412"/>
                </a:cubicBezTo>
                <a:cubicBezTo>
                  <a:pt x="1408" y="412"/>
                  <a:pt x="1408" y="412"/>
                  <a:pt x="1409" y="412"/>
                </a:cubicBezTo>
                <a:cubicBezTo>
                  <a:pt x="1409" y="412"/>
                  <a:pt x="1409" y="412"/>
                  <a:pt x="1409" y="411"/>
                </a:cubicBezTo>
                <a:cubicBezTo>
                  <a:pt x="1409" y="411"/>
                  <a:pt x="1409" y="411"/>
                  <a:pt x="1409" y="410"/>
                </a:cubicBezTo>
                <a:cubicBezTo>
                  <a:pt x="1409" y="410"/>
                  <a:pt x="1409" y="410"/>
                  <a:pt x="1410" y="410"/>
                </a:cubicBezTo>
                <a:cubicBezTo>
                  <a:pt x="1410" y="410"/>
                  <a:pt x="1410" y="410"/>
                  <a:pt x="1411" y="409"/>
                </a:cubicBezTo>
                <a:cubicBezTo>
                  <a:pt x="1411" y="409"/>
                  <a:pt x="1411" y="409"/>
                  <a:pt x="1410" y="408"/>
                </a:cubicBezTo>
                <a:cubicBezTo>
                  <a:pt x="1410" y="408"/>
                  <a:pt x="1410" y="408"/>
                  <a:pt x="1410" y="407"/>
                </a:cubicBezTo>
                <a:cubicBezTo>
                  <a:pt x="1410" y="407"/>
                  <a:pt x="1410" y="407"/>
                  <a:pt x="1411" y="407"/>
                </a:cubicBezTo>
                <a:cubicBezTo>
                  <a:pt x="1411" y="407"/>
                  <a:pt x="1411" y="407"/>
                  <a:pt x="1411" y="405"/>
                </a:cubicBezTo>
                <a:cubicBezTo>
                  <a:pt x="1411" y="405"/>
                  <a:pt x="1411" y="405"/>
                  <a:pt x="1411" y="404"/>
                </a:cubicBezTo>
                <a:cubicBezTo>
                  <a:pt x="1411" y="404"/>
                  <a:pt x="1411" y="404"/>
                  <a:pt x="1411" y="403"/>
                </a:cubicBezTo>
                <a:cubicBezTo>
                  <a:pt x="1411" y="403"/>
                  <a:pt x="1411" y="403"/>
                  <a:pt x="1409" y="403"/>
                </a:cubicBezTo>
                <a:cubicBezTo>
                  <a:pt x="1409" y="403"/>
                  <a:pt x="1409" y="403"/>
                  <a:pt x="1408" y="403"/>
                </a:cubicBezTo>
                <a:cubicBezTo>
                  <a:pt x="1408" y="403"/>
                  <a:pt x="1408" y="403"/>
                  <a:pt x="1407" y="404"/>
                </a:cubicBezTo>
                <a:cubicBezTo>
                  <a:pt x="1407" y="404"/>
                  <a:pt x="1407" y="404"/>
                  <a:pt x="1408" y="405"/>
                </a:cubicBezTo>
                <a:cubicBezTo>
                  <a:pt x="1408" y="405"/>
                  <a:pt x="1408" y="405"/>
                  <a:pt x="1409" y="406"/>
                </a:cubicBezTo>
                <a:cubicBezTo>
                  <a:pt x="1409" y="406"/>
                  <a:pt x="1409" y="406"/>
                  <a:pt x="1408" y="406"/>
                </a:cubicBezTo>
                <a:cubicBezTo>
                  <a:pt x="1408" y="406"/>
                  <a:pt x="1408" y="406"/>
                  <a:pt x="1406" y="406"/>
                </a:cubicBezTo>
                <a:cubicBezTo>
                  <a:pt x="1406" y="406"/>
                  <a:pt x="1406" y="406"/>
                  <a:pt x="1406" y="405"/>
                </a:cubicBezTo>
                <a:cubicBezTo>
                  <a:pt x="1406" y="405"/>
                  <a:pt x="1406" y="405"/>
                  <a:pt x="1406" y="404"/>
                </a:cubicBezTo>
                <a:cubicBezTo>
                  <a:pt x="1406" y="404"/>
                  <a:pt x="1406" y="404"/>
                  <a:pt x="1405" y="405"/>
                </a:cubicBezTo>
                <a:cubicBezTo>
                  <a:pt x="1405" y="405"/>
                  <a:pt x="1405" y="405"/>
                  <a:pt x="1405" y="406"/>
                </a:cubicBezTo>
                <a:cubicBezTo>
                  <a:pt x="1405" y="406"/>
                  <a:pt x="1405" y="406"/>
                  <a:pt x="1404" y="406"/>
                </a:cubicBezTo>
                <a:cubicBezTo>
                  <a:pt x="1404" y="406"/>
                  <a:pt x="1404" y="406"/>
                  <a:pt x="1404" y="407"/>
                </a:cubicBezTo>
                <a:close/>
                <a:moveTo>
                  <a:pt x="1402" y="392"/>
                </a:moveTo>
                <a:cubicBezTo>
                  <a:pt x="1402" y="392"/>
                  <a:pt x="1402" y="392"/>
                  <a:pt x="1403" y="392"/>
                </a:cubicBezTo>
                <a:cubicBezTo>
                  <a:pt x="1403" y="392"/>
                  <a:pt x="1403" y="392"/>
                  <a:pt x="1404" y="391"/>
                </a:cubicBezTo>
                <a:cubicBezTo>
                  <a:pt x="1404" y="391"/>
                  <a:pt x="1404" y="391"/>
                  <a:pt x="1402" y="391"/>
                </a:cubicBezTo>
                <a:cubicBezTo>
                  <a:pt x="1402" y="391"/>
                  <a:pt x="1402" y="391"/>
                  <a:pt x="1402" y="392"/>
                </a:cubicBezTo>
                <a:close/>
                <a:moveTo>
                  <a:pt x="1426" y="411"/>
                </a:moveTo>
                <a:cubicBezTo>
                  <a:pt x="1425" y="409"/>
                  <a:pt x="1425" y="409"/>
                  <a:pt x="1425" y="409"/>
                </a:cubicBezTo>
                <a:cubicBezTo>
                  <a:pt x="1424" y="409"/>
                  <a:pt x="1424" y="409"/>
                  <a:pt x="1424" y="409"/>
                </a:cubicBezTo>
                <a:cubicBezTo>
                  <a:pt x="1424" y="410"/>
                  <a:pt x="1424" y="410"/>
                  <a:pt x="1424" y="410"/>
                </a:cubicBezTo>
                <a:cubicBezTo>
                  <a:pt x="1424" y="411"/>
                  <a:pt x="1424" y="411"/>
                  <a:pt x="1424" y="411"/>
                </a:cubicBezTo>
                <a:cubicBezTo>
                  <a:pt x="1426" y="412"/>
                  <a:pt x="1426" y="412"/>
                  <a:pt x="1426" y="412"/>
                </a:cubicBezTo>
                <a:cubicBezTo>
                  <a:pt x="1426" y="411"/>
                  <a:pt x="1426" y="411"/>
                  <a:pt x="1426" y="411"/>
                </a:cubicBezTo>
                <a:close/>
                <a:moveTo>
                  <a:pt x="1401" y="414"/>
                </a:moveTo>
                <a:cubicBezTo>
                  <a:pt x="1401" y="413"/>
                  <a:pt x="1401" y="413"/>
                  <a:pt x="1401" y="413"/>
                </a:cubicBezTo>
                <a:cubicBezTo>
                  <a:pt x="1400" y="413"/>
                  <a:pt x="1400" y="413"/>
                  <a:pt x="1400" y="413"/>
                </a:cubicBezTo>
                <a:cubicBezTo>
                  <a:pt x="1401" y="414"/>
                  <a:pt x="1401" y="414"/>
                  <a:pt x="1401" y="414"/>
                </a:cubicBezTo>
                <a:close/>
                <a:moveTo>
                  <a:pt x="1401" y="406"/>
                </a:moveTo>
                <a:cubicBezTo>
                  <a:pt x="1401" y="406"/>
                  <a:pt x="1401" y="406"/>
                  <a:pt x="1401" y="405"/>
                </a:cubicBezTo>
                <a:cubicBezTo>
                  <a:pt x="1401" y="405"/>
                  <a:pt x="1401" y="405"/>
                  <a:pt x="1400" y="406"/>
                </a:cubicBezTo>
                <a:cubicBezTo>
                  <a:pt x="1400" y="406"/>
                  <a:pt x="1400" y="406"/>
                  <a:pt x="1401" y="406"/>
                </a:cubicBezTo>
                <a:close/>
                <a:moveTo>
                  <a:pt x="1449" y="250"/>
                </a:moveTo>
                <a:cubicBezTo>
                  <a:pt x="1449" y="250"/>
                  <a:pt x="1449" y="250"/>
                  <a:pt x="1451" y="251"/>
                </a:cubicBezTo>
                <a:cubicBezTo>
                  <a:pt x="1451" y="251"/>
                  <a:pt x="1451" y="251"/>
                  <a:pt x="1452" y="251"/>
                </a:cubicBezTo>
                <a:cubicBezTo>
                  <a:pt x="1452" y="251"/>
                  <a:pt x="1452" y="251"/>
                  <a:pt x="1452" y="250"/>
                </a:cubicBezTo>
                <a:cubicBezTo>
                  <a:pt x="1452" y="250"/>
                  <a:pt x="1452" y="250"/>
                  <a:pt x="1450" y="250"/>
                </a:cubicBezTo>
                <a:cubicBezTo>
                  <a:pt x="1450" y="250"/>
                  <a:pt x="1450" y="250"/>
                  <a:pt x="1449" y="250"/>
                </a:cubicBezTo>
                <a:close/>
                <a:moveTo>
                  <a:pt x="1434" y="253"/>
                </a:moveTo>
                <a:cubicBezTo>
                  <a:pt x="1434" y="253"/>
                  <a:pt x="1434" y="253"/>
                  <a:pt x="1432" y="254"/>
                </a:cubicBezTo>
                <a:cubicBezTo>
                  <a:pt x="1432" y="254"/>
                  <a:pt x="1432" y="254"/>
                  <a:pt x="1432" y="255"/>
                </a:cubicBezTo>
                <a:cubicBezTo>
                  <a:pt x="1434" y="254"/>
                  <a:pt x="1434" y="254"/>
                  <a:pt x="1434" y="254"/>
                </a:cubicBezTo>
                <a:cubicBezTo>
                  <a:pt x="1434" y="254"/>
                  <a:pt x="1434" y="254"/>
                  <a:pt x="1434" y="253"/>
                </a:cubicBezTo>
                <a:close/>
                <a:moveTo>
                  <a:pt x="1489" y="255"/>
                </a:moveTo>
                <a:cubicBezTo>
                  <a:pt x="1490" y="256"/>
                  <a:pt x="1490" y="256"/>
                  <a:pt x="1490" y="256"/>
                </a:cubicBezTo>
                <a:cubicBezTo>
                  <a:pt x="1490" y="255"/>
                  <a:pt x="1490" y="255"/>
                  <a:pt x="1490" y="255"/>
                </a:cubicBezTo>
                <a:cubicBezTo>
                  <a:pt x="1489" y="255"/>
                  <a:pt x="1489" y="255"/>
                  <a:pt x="1489" y="255"/>
                </a:cubicBezTo>
                <a:close/>
                <a:moveTo>
                  <a:pt x="1458" y="246"/>
                </a:moveTo>
                <a:cubicBezTo>
                  <a:pt x="1458" y="246"/>
                  <a:pt x="1458" y="246"/>
                  <a:pt x="1456" y="245"/>
                </a:cubicBezTo>
                <a:cubicBezTo>
                  <a:pt x="1455" y="245"/>
                  <a:pt x="1455" y="245"/>
                  <a:pt x="1455" y="245"/>
                </a:cubicBezTo>
                <a:cubicBezTo>
                  <a:pt x="1455" y="245"/>
                  <a:pt x="1455" y="245"/>
                  <a:pt x="1456" y="246"/>
                </a:cubicBezTo>
                <a:cubicBezTo>
                  <a:pt x="1456" y="246"/>
                  <a:pt x="1456" y="246"/>
                  <a:pt x="1456" y="248"/>
                </a:cubicBezTo>
                <a:cubicBezTo>
                  <a:pt x="1456" y="248"/>
                  <a:pt x="1456" y="248"/>
                  <a:pt x="1457" y="247"/>
                </a:cubicBezTo>
                <a:cubicBezTo>
                  <a:pt x="1457" y="247"/>
                  <a:pt x="1457" y="247"/>
                  <a:pt x="1458" y="246"/>
                </a:cubicBezTo>
                <a:close/>
                <a:moveTo>
                  <a:pt x="1451" y="245"/>
                </a:moveTo>
                <a:cubicBezTo>
                  <a:pt x="1451" y="245"/>
                  <a:pt x="1451" y="245"/>
                  <a:pt x="1450" y="247"/>
                </a:cubicBezTo>
                <a:cubicBezTo>
                  <a:pt x="1450" y="247"/>
                  <a:pt x="1450" y="247"/>
                  <a:pt x="1450" y="246"/>
                </a:cubicBezTo>
                <a:cubicBezTo>
                  <a:pt x="1450" y="246"/>
                  <a:pt x="1450" y="246"/>
                  <a:pt x="1449" y="247"/>
                </a:cubicBezTo>
                <a:cubicBezTo>
                  <a:pt x="1449" y="247"/>
                  <a:pt x="1449" y="247"/>
                  <a:pt x="1447" y="246"/>
                </a:cubicBezTo>
                <a:cubicBezTo>
                  <a:pt x="1447" y="246"/>
                  <a:pt x="1447" y="246"/>
                  <a:pt x="1448" y="248"/>
                </a:cubicBezTo>
                <a:cubicBezTo>
                  <a:pt x="1448" y="248"/>
                  <a:pt x="1448" y="248"/>
                  <a:pt x="1450" y="248"/>
                </a:cubicBezTo>
                <a:cubicBezTo>
                  <a:pt x="1450" y="248"/>
                  <a:pt x="1450" y="248"/>
                  <a:pt x="1451" y="248"/>
                </a:cubicBezTo>
                <a:cubicBezTo>
                  <a:pt x="1451" y="248"/>
                  <a:pt x="1451" y="248"/>
                  <a:pt x="1454" y="245"/>
                </a:cubicBezTo>
                <a:cubicBezTo>
                  <a:pt x="1454" y="245"/>
                  <a:pt x="1454" y="245"/>
                  <a:pt x="1454" y="244"/>
                </a:cubicBezTo>
                <a:cubicBezTo>
                  <a:pt x="1454" y="244"/>
                  <a:pt x="1454" y="244"/>
                  <a:pt x="1452" y="246"/>
                </a:cubicBezTo>
                <a:cubicBezTo>
                  <a:pt x="1452" y="246"/>
                  <a:pt x="1452" y="246"/>
                  <a:pt x="1451" y="245"/>
                </a:cubicBezTo>
                <a:close/>
                <a:moveTo>
                  <a:pt x="1372" y="374"/>
                </a:moveTo>
                <a:cubicBezTo>
                  <a:pt x="1372" y="374"/>
                  <a:pt x="1372" y="374"/>
                  <a:pt x="1372" y="375"/>
                </a:cubicBezTo>
                <a:cubicBezTo>
                  <a:pt x="1372" y="375"/>
                  <a:pt x="1372" y="375"/>
                  <a:pt x="1373" y="375"/>
                </a:cubicBezTo>
                <a:cubicBezTo>
                  <a:pt x="1373" y="375"/>
                  <a:pt x="1373" y="375"/>
                  <a:pt x="1372" y="374"/>
                </a:cubicBezTo>
                <a:close/>
                <a:moveTo>
                  <a:pt x="1425" y="269"/>
                </a:moveTo>
                <a:cubicBezTo>
                  <a:pt x="1425" y="269"/>
                  <a:pt x="1425" y="269"/>
                  <a:pt x="1425" y="270"/>
                </a:cubicBezTo>
                <a:cubicBezTo>
                  <a:pt x="1425" y="270"/>
                  <a:pt x="1425" y="270"/>
                  <a:pt x="1426" y="270"/>
                </a:cubicBezTo>
                <a:cubicBezTo>
                  <a:pt x="1426" y="270"/>
                  <a:pt x="1426" y="270"/>
                  <a:pt x="1425" y="269"/>
                </a:cubicBezTo>
                <a:close/>
                <a:moveTo>
                  <a:pt x="1441" y="252"/>
                </a:moveTo>
                <a:cubicBezTo>
                  <a:pt x="1441" y="252"/>
                  <a:pt x="1441" y="252"/>
                  <a:pt x="1441" y="253"/>
                </a:cubicBezTo>
                <a:cubicBezTo>
                  <a:pt x="1441" y="253"/>
                  <a:pt x="1441" y="253"/>
                  <a:pt x="1441" y="255"/>
                </a:cubicBezTo>
                <a:cubicBezTo>
                  <a:pt x="1441" y="255"/>
                  <a:pt x="1441" y="255"/>
                  <a:pt x="1442" y="255"/>
                </a:cubicBezTo>
                <a:cubicBezTo>
                  <a:pt x="1442" y="255"/>
                  <a:pt x="1442" y="255"/>
                  <a:pt x="1442" y="256"/>
                </a:cubicBezTo>
                <a:cubicBezTo>
                  <a:pt x="1442" y="256"/>
                  <a:pt x="1442" y="256"/>
                  <a:pt x="1443" y="255"/>
                </a:cubicBezTo>
                <a:cubicBezTo>
                  <a:pt x="1443" y="255"/>
                  <a:pt x="1443" y="255"/>
                  <a:pt x="1442" y="254"/>
                </a:cubicBezTo>
                <a:cubicBezTo>
                  <a:pt x="1442" y="254"/>
                  <a:pt x="1442" y="254"/>
                  <a:pt x="1443" y="253"/>
                </a:cubicBezTo>
                <a:cubicBezTo>
                  <a:pt x="1443" y="253"/>
                  <a:pt x="1443" y="253"/>
                  <a:pt x="1441" y="252"/>
                </a:cubicBezTo>
                <a:close/>
                <a:moveTo>
                  <a:pt x="1434" y="252"/>
                </a:moveTo>
                <a:cubicBezTo>
                  <a:pt x="1434" y="252"/>
                  <a:pt x="1434" y="252"/>
                  <a:pt x="1434" y="253"/>
                </a:cubicBezTo>
                <a:cubicBezTo>
                  <a:pt x="1434" y="253"/>
                  <a:pt x="1434" y="253"/>
                  <a:pt x="1435" y="252"/>
                </a:cubicBezTo>
                <a:cubicBezTo>
                  <a:pt x="1435" y="252"/>
                  <a:pt x="1435" y="252"/>
                  <a:pt x="1434" y="252"/>
                </a:cubicBezTo>
                <a:close/>
                <a:moveTo>
                  <a:pt x="1437" y="257"/>
                </a:moveTo>
                <a:cubicBezTo>
                  <a:pt x="1437" y="257"/>
                  <a:pt x="1437" y="257"/>
                  <a:pt x="1437" y="256"/>
                </a:cubicBezTo>
                <a:cubicBezTo>
                  <a:pt x="1437" y="256"/>
                  <a:pt x="1437" y="256"/>
                  <a:pt x="1436" y="258"/>
                </a:cubicBezTo>
                <a:cubicBezTo>
                  <a:pt x="1436" y="258"/>
                  <a:pt x="1436" y="258"/>
                  <a:pt x="1437" y="257"/>
                </a:cubicBezTo>
                <a:close/>
                <a:moveTo>
                  <a:pt x="1432" y="261"/>
                </a:moveTo>
                <a:cubicBezTo>
                  <a:pt x="1432" y="261"/>
                  <a:pt x="1432" y="261"/>
                  <a:pt x="1433" y="261"/>
                </a:cubicBezTo>
                <a:cubicBezTo>
                  <a:pt x="1433" y="261"/>
                  <a:pt x="1433" y="261"/>
                  <a:pt x="1433" y="260"/>
                </a:cubicBezTo>
                <a:cubicBezTo>
                  <a:pt x="1433" y="260"/>
                  <a:pt x="1433" y="260"/>
                  <a:pt x="1434" y="259"/>
                </a:cubicBezTo>
                <a:cubicBezTo>
                  <a:pt x="1434" y="259"/>
                  <a:pt x="1434" y="259"/>
                  <a:pt x="1433" y="258"/>
                </a:cubicBezTo>
                <a:cubicBezTo>
                  <a:pt x="1433" y="258"/>
                  <a:pt x="1433" y="258"/>
                  <a:pt x="1433" y="259"/>
                </a:cubicBezTo>
                <a:cubicBezTo>
                  <a:pt x="1433" y="259"/>
                  <a:pt x="1433" y="259"/>
                  <a:pt x="1431" y="259"/>
                </a:cubicBezTo>
                <a:cubicBezTo>
                  <a:pt x="1431" y="259"/>
                  <a:pt x="1431" y="259"/>
                  <a:pt x="1431" y="260"/>
                </a:cubicBezTo>
                <a:cubicBezTo>
                  <a:pt x="1431" y="260"/>
                  <a:pt x="1431" y="260"/>
                  <a:pt x="1429" y="260"/>
                </a:cubicBezTo>
                <a:cubicBezTo>
                  <a:pt x="1429" y="260"/>
                  <a:pt x="1429" y="260"/>
                  <a:pt x="1431" y="262"/>
                </a:cubicBezTo>
                <a:cubicBezTo>
                  <a:pt x="1431" y="262"/>
                  <a:pt x="1431" y="262"/>
                  <a:pt x="1432" y="261"/>
                </a:cubicBezTo>
                <a:close/>
                <a:moveTo>
                  <a:pt x="1436" y="251"/>
                </a:moveTo>
                <a:cubicBezTo>
                  <a:pt x="1436" y="251"/>
                  <a:pt x="1436" y="251"/>
                  <a:pt x="1437" y="253"/>
                </a:cubicBezTo>
                <a:cubicBezTo>
                  <a:pt x="1437" y="253"/>
                  <a:pt x="1437" y="253"/>
                  <a:pt x="1437" y="251"/>
                </a:cubicBezTo>
                <a:cubicBezTo>
                  <a:pt x="1437" y="251"/>
                  <a:pt x="1437" y="251"/>
                  <a:pt x="1436" y="251"/>
                </a:cubicBezTo>
                <a:close/>
                <a:moveTo>
                  <a:pt x="1438" y="255"/>
                </a:moveTo>
                <a:cubicBezTo>
                  <a:pt x="1438" y="255"/>
                  <a:pt x="1438" y="255"/>
                  <a:pt x="1439" y="254"/>
                </a:cubicBezTo>
                <a:cubicBezTo>
                  <a:pt x="1439" y="254"/>
                  <a:pt x="1439" y="254"/>
                  <a:pt x="1437" y="253"/>
                </a:cubicBezTo>
                <a:cubicBezTo>
                  <a:pt x="1437" y="253"/>
                  <a:pt x="1437" y="253"/>
                  <a:pt x="1437" y="254"/>
                </a:cubicBezTo>
                <a:cubicBezTo>
                  <a:pt x="1437" y="254"/>
                  <a:pt x="1437" y="254"/>
                  <a:pt x="1438" y="255"/>
                </a:cubicBezTo>
                <a:close/>
                <a:moveTo>
                  <a:pt x="1436" y="255"/>
                </a:moveTo>
                <a:cubicBezTo>
                  <a:pt x="1436" y="255"/>
                  <a:pt x="1436" y="255"/>
                  <a:pt x="1435" y="255"/>
                </a:cubicBezTo>
                <a:cubicBezTo>
                  <a:pt x="1435" y="255"/>
                  <a:pt x="1435" y="255"/>
                  <a:pt x="1433" y="256"/>
                </a:cubicBezTo>
                <a:cubicBezTo>
                  <a:pt x="1433" y="256"/>
                  <a:pt x="1433" y="256"/>
                  <a:pt x="1434" y="258"/>
                </a:cubicBezTo>
                <a:cubicBezTo>
                  <a:pt x="1434" y="258"/>
                  <a:pt x="1434" y="258"/>
                  <a:pt x="1435" y="258"/>
                </a:cubicBezTo>
                <a:cubicBezTo>
                  <a:pt x="1435" y="258"/>
                  <a:pt x="1435" y="258"/>
                  <a:pt x="1436" y="257"/>
                </a:cubicBezTo>
                <a:cubicBezTo>
                  <a:pt x="1436" y="257"/>
                  <a:pt x="1436" y="257"/>
                  <a:pt x="1436" y="256"/>
                </a:cubicBezTo>
                <a:cubicBezTo>
                  <a:pt x="1436" y="256"/>
                  <a:pt x="1436" y="256"/>
                  <a:pt x="1437" y="255"/>
                </a:cubicBezTo>
                <a:cubicBezTo>
                  <a:pt x="1437" y="255"/>
                  <a:pt x="1437" y="255"/>
                  <a:pt x="1436" y="255"/>
                </a:cubicBezTo>
                <a:close/>
                <a:moveTo>
                  <a:pt x="1461" y="241"/>
                </a:moveTo>
                <a:cubicBezTo>
                  <a:pt x="1461" y="241"/>
                  <a:pt x="1461" y="241"/>
                  <a:pt x="1461" y="240"/>
                </a:cubicBezTo>
                <a:cubicBezTo>
                  <a:pt x="1461" y="240"/>
                  <a:pt x="1461" y="240"/>
                  <a:pt x="1460" y="240"/>
                </a:cubicBezTo>
                <a:cubicBezTo>
                  <a:pt x="1460" y="240"/>
                  <a:pt x="1460" y="240"/>
                  <a:pt x="1461" y="241"/>
                </a:cubicBezTo>
                <a:close/>
                <a:moveTo>
                  <a:pt x="1463" y="241"/>
                </a:moveTo>
                <a:cubicBezTo>
                  <a:pt x="1464" y="241"/>
                  <a:pt x="1464" y="241"/>
                  <a:pt x="1464" y="241"/>
                </a:cubicBezTo>
                <a:cubicBezTo>
                  <a:pt x="1464" y="241"/>
                  <a:pt x="1464" y="241"/>
                  <a:pt x="1465" y="242"/>
                </a:cubicBezTo>
                <a:cubicBezTo>
                  <a:pt x="1465" y="242"/>
                  <a:pt x="1465" y="242"/>
                  <a:pt x="1466" y="242"/>
                </a:cubicBezTo>
                <a:cubicBezTo>
                  <a:pt x="1466" y="242"/>
                  <a:pt x="1466" y="242"/>
                  <a:pt x="1467" y="241"/>
                </a:cubicBezTo>
                <a:cubicBezTo>
                  <a:pt x="1467" y="241"/>
                  <a:pt x="1467" y="241"/>
                  <a:pt x="1466" y="241"/>
                </a:cubicBezTo>
                <a:cubicBezTo>
                  <a:pt x="1466" y="241"/>
                  <a:pt x="1466" y="241"/>
                  <a:pt x="1466" y="240"/>
                </a:cubicBezTo>
                <a:cubicBezTo>
                  <a:pt x="1466" y="240"/>
                  <a:pt x="1466" y="240"/>
                  <a:pt x="1465" y="239"/>
                </a:cubicBezTo>
                <a:cubicBezTo>
                  <a:pt x="1465" y="239"/>
                  <a:pt x="1465" y="239"/>
                  <a:pt x="1464" y="240"/>
                </a:cubicBezTo>
                <a:cubicBezTo>
                  <a:pt x="1464" y="240"/>
                  <a:pt x="1464" y="240"/>
                  <a:pt x="1463" y="240"/>
                </a:cubicBezTo>
                <a:cubicBezTo>
                  <a:pt x="1463" y="240"/>
                  <a:pt x="1463" y="240"/>
                  <a:pt x="1463" y="241"/>
                </a:cubicBezTo>
                <a:close/>
                <a:moveTo>
                  <a:pt x="1372" y="342"/>
                </a:moveTo>
                <a:cubicBezTo>
                  <a:pt x="1372" y="342"/>
                  <a:pt x="1372" y="342"/>
                  <a:pt x="1372" y="343"/>
                </a:cubicBezTo>
                <a:cubicBezTo>
                  <a:pt x="1372" y="343"/>
                  <a:pt x="1372" y="343"/>
                  <a:pt x="1374" y="343"/>
                </a:cubicBezTo>
                <a:cubicBezTo>
                  <a:pt x="1374" y="343"/>
                  <a:pt x="1374" y="343"/>
                  <a:pt x="1373" y="342"/>
                </a:cubicBezTo>
                <a:cubicBezTo>
                  <a:pt x="1373" y="342"/>
                  <a:pt x="1373" y="342"/>
                  <a:pt x="1372" y="342"/>
                </a:cubicBezTo>
                <a:close/>
                <a:moveTo>
                  <a:pt x="1370" y="343"/>
                </a:moveTo>
                <a:cubicBezTo>
                  <a:pt x="1370" y="343"/>
                  <a:pt x="1370" y="343"/>
                  <a:pt x="1372" y="343"/>
                </a:cubicBezTo>
                <a:cubicBezTo>
                  <a:pt x="1372" y="343"/>
                  <a:pt x="1372" y="343"/>
                  <a:pt x="1371" y="342"/>
                </a:cubicBezTo>
                <a:cubicBezTo>
                  <a:pt x="1371" y="342"/>
                  <a:pt x="1371" y="342"/>
                  <a:pt x="1370" y="343"/>
                </a:cubicBezTo>
                <a:close/>
                <a:moveTo>
                  <a:pt x="1384" y="336"/>
                </a:moveTo>
                <a:cubicBezTo>
                  <a:pt x="1384" y="335"/>
                  <a:pt x="1384" y="335"/>
                  <a:pt x="1384" y="335"/>
                </a:cubicBezTo>
                <a:cubicBezTo>
                  <a:pt x="1383" y="336"/>
                  <a:pt x="1383" y="336"/>
                  <a:pt x="1383" y="336"/>
                </a:cubicBezTo>
                <a:cubicBezTo>
                  <a:pt x="1385" y="337"/>
                  <a:pt x="1385" y="337"/>
                  <a:pt x="1385" y="337"/>
                </a:cubicBezTo>
                <a:cubicBezTo>
                  <a:pt x="1384" y="336"/>
                  <a:pt x="1384" y="336"/>
                  <a:pt x="1384" y="336"/>
                </a:cubicBezTo>
                <a:close/>
                <a:moveTo>
                  <a:pt x="1429" y="264"/>
                </a:moveTo>
                <a:cubicBezTo>
                  <a:pt x="1429" y="264"/>
                  <a:pt x="1429" y="264"/>
                  <a:pt x="1429" y="262"/>
                </a:cubicBezTo>
                <a:cubicBezTo>
                  <a:pt x="1429" y="262"/>
                  <a:pt x="1429" y="262"/>
                  <a:pt x="1428" y="262"/>
                </a:cubicBezTo>
                <a:cubicBezTo>
                  <a:pt x="1428" y="262"/>
                  <a:pt x="1428" y="262"/>
                  <a:pt x="1428" y="261"/>
                </a:cubicBezTo>
                <a:cubicBezTo>
                  <a:pt x="1428" y="261"/>
                  <a:pt x="1428" y="261"/>
                  <a:pt x="1426" y="261"/>
                </a:cubicBezTo>
                <a:cubicBezTo>
                  <a:pt x="1426" y="261"/>
                  <a:pt x="1426" y="261"/>
                  <a:pt x="1426" y="262"/>
                </a:cubicBezTo>
                <a:cubicBezTo>
                  <a:pt x="1426" y="262"/>
                  <a:pt x="1426" y="262"/>
                  <a:pt x="1425" y="261"/>
                </a:cubicBezTo>
                <a:cubicBezTo>
                  <a:pt x="1425" y="261"/>
                  <a:pt x="1425" y="261"/>
                  <a:pt x="1425" y="263"/>
                </a:cubicBezTo>
                <a:cubicBezTo>
                  <a:pt x="1425" y="263"/>
                  <a:pt x="1425" y="263"/>
                  <a:pt x="1426" y="263"/>
                </a:cubicBezTo>
                <a:cubicBezTo>
                  <a:pt x="1426" y="263"/>
                  <a:pt x="1426" y="263"/>
                  <a:pt x="1424" y="264"/>
                </a:cubicBezTo>
                <a:cubicBezTo>
                  <a:pt x="1424" y="264"/>
                  <a:pt x="1424" y="264"/>
                  <a:pt x="1424" y="265"/>
                </a:cubicBezTo>
                <a:cubicBezTo>
                  <a:pt x="1424" y="265"/>
                  <a:pt x="1424" y="265"/>
                  <a:pt x="1425" y="265"/>
                </a:cubicBezTo>
                <a:cubicBezTo>
                  <a:pt x="1425" y="265"/>
                  <a:pt x="1425" y="265"/>
                  <a:pt x="1424" y="266"/>
                </a:cubicBezTo>
                <a:cubicBezTo>
                  <a:pt x="1424" y="266"/>
                  <a:pt x="1424" y="266"/>
                  <a:pt x="1425" y="267"/>
                </a:cubicBezTo>
                <a:cubicBezTo>
                  <a:pt x="1425" y="267"/>
                  <a:pt x="1425" y="267"/>
                  <a:pt x="1425" y="268"/>
                </a:cubicBezTo>
                <a:cubicBezTo>
                  <a:pt x="1425" y="268"/>
                  <a:pt x="1425" y="268"/>
                  <a:pt x="1426" y="268"/>
                </a:cubicBezTo>
                <a:cubicBezTo>
                  <a:pt x="1426" y="268"/>
                  <a:pt x="1426" y="268"/>
                  <a:pt x="1426" y="266"/>
                </a:cubicBezTo>
                <a:cubicBezTo>
                  <a:pt x="1426" y="266"/>
                  <a:pt x="1426" y="266"/>
                  <a:pt x="1428" y="266"/>
                </a:cubicBezTo>
                <a:cubicBezTo>
                  <a:pt x="1428" y="266"/>
                  <a:pt x="1428" y="266"/>
                  <a:pt x="1429" y="265"/>
                </a:cubicBezTo>
                <a:cubicBezTo>
                  <a:pt x="1429" y="265"/>
                  <a:pt x="1429" y="265"/>
                  <a:pt x="1429" y="264"/>
                </a:cubicBezTo>
                <a:close/>
                <a:moveTo>
                  <a:pt x="1368" y="346"/>
                </a:moveTo>
                <a:cubicBezTo>
                  <a:pt x="1368" y="346"/>
                  <a:pt x="1368" y="346"/>
                  <a:pt x="1369" y="346"/>
                </a:cubicBezTo>
                <a:cubicBezTo>
                  <a:pt x="1369" y="346"/>
                  <a:pt x="1369" y="346"/>
                  <a:pt x="1368" y="345"/>
                </a:cubicBezTo>
                <a:cubicBezTo>
                  <a:pt x="1368" y="345"/>
                  <a:pt x="1368" y="345"/>
                  <a:pt x="1368" y="346"/>
                </a:cubicBezTo>
                <a:close/>
                <a:moveTo>
                  <a:pt x="1370" y="345"/>
                </a:moveTo>
                <a:cubicBezTo>
                  <a:pt x="1369" y="344"/>
                  <a:pt x="1369" y="344"/>
                  <a:pt x="1369" y="344"/>
                </a:cubicBezTo>
                <a:cubicBezTo>
                  <a:pt x="1369" y="345"/>
                  <a:pt x="1369" y="345"/>
                  <a:pt x="1369" y="345"/>
                </a:cubicBezTo>
                <a:cubicBezTo>
                  <a:pt x="1370" y="346"/>
                  <a:pt x="1370" y="346"/>
                  <a:pt x="1370" y="346"/>
                </a:cubicBezTo>
                <a:cubicBezTo>
                  <a:pt x="1369" y="346"/>
                  <a:pt x="1369" y="346"/>
                  <a:pt x="1369" y="346"/>
                </a:cubicBezTo>
                <a:cubicBezTo>
                  <a:pt x="1370" y="347"/>
                  <a:pt x="1370" y="347"/>
                  <a:pt x="1370" y="347"/>
                </a:cubicBezTo>
                <a:cubicBezTo>
                  <a:pt x="1371" y="346"/>
                  <a:pt x="1371" y="346"/>
                  <a:pt x="1371" y="346"/>
                </a:cubicBezTo>
                <a:cubicBezTo>
                  <a:pt x="1370" y="345"/>
                  <a:pt x="1370" y="345"/>
                  <a:pt x="1370" y="345"/>
                </a:cubicBezTo>
                <a:close/>
                <a:moveTo>
                  <a:pt x="1372" y="366"/>
                </a:moveTo>
                <a:cubicBezTo>
                  <a:pt x="1372" y="366"/>
                  <a:pt x="1372" y="366"/>
                  <a:pt x="1372" y="365"/>
                </a:cubicBezTo>
                <a:cubicBezTo>
                  <a:pt x="1372" y="365"/>
                  <a:pt x="1372" y="365"/>
                  <a:pt x="1371" y="366"/>
                </a:cubicBezTo>
                <a:cubicBezTo>
                  <a:pt x="1371" y="366"/>
                  <a:pt x="1371" y="366"/>
                  <a:pt x="1372" y="366"/>
                </a:cubicBezTo>
                <a:close/>
                <a:moveTo>
                  <a:pt x="1452" y="249"/>
                </a:moveTo>
                <a:cubicBezTo>
                  <a:pt x="1452" y="249"/>
                  <a:pt x="1452" y="249"/>
                  <a:pt x="1453" y="250"/>
                </a:cubicBezTo>
                <a:cubicBezTo>
                  <a:pt x="1453" y="250"/>
                  <a:pt x="1453" y="250"/>
                  <a:pt x="1454" y="249"/>
                </a:cubicBezTo>
                <a:cubicBezTo>
                  <a:pt x="1454" y="249"/>
                  <a:pt x="1454" y="249"/>
                  <a:pt x="1455" y="248"/>
                </a:cubicBezTo>
                <a:cubicBezTo>
                  <a:pt x="1455" y="248"/>
                  <a:pt x="1455" y="248"/>
                  <a:pt x="1454" y="247"/>
                </a:cubicBezTo>
                <a:cubicBezTo>
                  <a:pt x="1454" y="247"/>
                  <a:pt x="1454" y="247"/>
                  <a:pt x="1452" y="249"/>
                </a:cubicBezTo>
                <a:close/>
                <a:moveTo>
                  <a:pt x="1419" y="277"/>
                </a:moveTo>
                <a:cubicBezTo>
                  <a:pt x="1418" y="277"/>
                  <a:pt x="1418" y="277"/>
                  <a:pt x="1418" y="277"/>
                </a:cubicBezTo>
                <a:cubicBezTo>
                  <a:pt x="1417" y="278"/>
                  <a:pt x="1417" y="278"/>
                  <a:pt x="1417" y="278"/>
                </a:cubicBezTo>
                <a:cubicBezTo>
                  <a:pt x="1418" y="279"/>
                  <a:pt x="1418" y="279"/>
                  <a:pt x="1418" y="279"/>
                </a:cubicBezTo>
                <a:cubicBezTo>
                  <a:pt x="1419" y="279"/>
                  <a:pt x="1419" y="279"/>
                  <a:pt x="1419" y="279"/>
                </a:cubicBezTo>
                <a:cubicBezTo>
                  <a:pt x="1419" y="278"/>
                  <a:pt x="1419" y="278"/>
                  <a:pt x="1419" y="278"/>
                </a:cubicBezTo>
                <a:cubicBezTo>
                  <a:pt x="1419" y="277"/>
                  <a:pt x="1419" y="277"/>
                  <a:pt x="1419" y="277"/>
                </a:cubicBezTo>
                <a:close/>
                <a:moveTo>
                  <a:pt x="1458" y="243"/>
                </a:moveTo>
                <a:cubicBezTo>
                  <a:pt x="1458" y="243"/>
                  <a:pt x="1458" y="243"/>
                  <a:pt x="1458" y="242"/>
                </a:cubicBezTo>
                <a:cubicBezTo>
                  <a:pt x="1458" y="242"/>
                  <a:pt x="1458" y="242"/>
                  <a:pt x="1457" y="242"/>
                </a:cubicBezTo>
                <a:cubicBezTo>
                  <a:pt x="1457" y="242"/>
                  <a:pt x="1457" y="242"/>
                  <a:pt x="1456" y="242"/>
                </a:cubicBezTo>
                <a:cubicBezTo>
                  <a:pt x="1456" y="242"/>
                  <a:pt x="1456" y="242"/>
                  <a:pt x="1457" y="243"/>
                </a:cubicBezTo>
                <a:cubicBezTo>
                  <a:pt x="1457" y="243"/>
                  <a:pt x="1457" y="243"/>
                  <a:pt x="1458" y="243"/>
                </a:cubicBezTo>
                <a:close/>
                <a:moveTo>
                  <a:pt x="1419" y="276"/>
                </a:moveTo>
                <a:cubicBezTo>
                  <a:pt x="1419" y="276"/>
                  <a:pt x="1419" y="276"/>
                  <a:pt x="1420" y="275"/>
                </a:cubicBezTo>
                <a:cubicBezTo>
                  <a:pt x="1420" y="275"/>
                  <a:pt x="1420" y="275"/>
                  <a:pt x="1421" y="274"/>
                </a:cubicBezTo>
                <a:cubicBezTo>
                  <a:pt x="1421" y="274"/>
                  <a:pt x="1421" y="274"/>
                  <a:pt x="1423" y="271"/>
                </a:cubicBezTo>
                <a:cubicBezTo>
                  <a:pt x="1423" y="271"/>
                  <a:pt x="1423" y="271"/>
                  <a:pt x="1422" y="270"/>
                </a:cubicBezTo>
                <a:cubicBezTo>
                  <a:pt x="1422" y="270"/>
                  <a:pt x="1422" y="270"/>
                  <a:pt x="1421" y="269"/>
                </a:cubicBezTo>
                <a:cubicBezTo>
                  <a:pt x="1421" y="269"/>
                  <a:pt x="1421" y="269"/>
                  <a:pt x="1421" y="270"/>
                </a:cubicBezTo>
                <a:cubicBezTo>
                  <a:pt x="1421" y="270"/>
                  <a:pt x="1421" y="270"/>
                  <a:pt x="1422" y="271"/>
                </a:cubicBezTo>
                <a:cubicBezTo>
                  <a:pt x="1422" y="271"/>
                  <a:pt x="1422" y="271"/>
                  <a:pt x="1420" y="271"/>
                </a:cubicBezTo>
                <a:cubicBezTo>
                  <a:pt x="1420" y="271"/>
                  <a:pt x="1420" y="271"/>
                  <a:pt x="1419" y="273"/>
                </a:cubicBezTo>
                <a:cubicBezTo>
                  <a:pt x="1419" y="273"/>
                  <a:pt x="1419" y="273"/>
                  <a:pt x="1419" y="272"/>
                </a:cubicBezTo>
                <a:cubicBezTo>
                  <a:pt x="1419" y="272"/>
                  <a:pt x="1419" y="272"/>
                  <a:pt x="1419" y="268"/>
                </a:cubicBezTo>
                <a:cubicBezTo>
                  <a:pt x="1419" y="268"/>
                  <a:pt x="1419" y="268"/>
                  <a:pt x="1418" y="271"/>
                </a:cubicBezTo>
                <a:cubicBezTo>
                  <a:pt x="1418" y="271"/>
                  <a:pt x="1418" y="271"/>
                  <a:pt x="1418" y="272"/>
                </a:cubicBezTo>
                <a:cubicBezTo>
                  <a:pt x="1418" y="272"/>
                  <a:pt x="1418" y="272"/>
                  <a:pt x="1417" y="273"/>
                </a:cubicBezTo>
                <a:cubicBezTo>
                  <a:pt x="1417" y="273"/>
                  <a:pt x="1417" y="273"/>
                  <a:pt x="1417" y="274"/>
                </a:cubicBezTo>
                <a:cubicBezTo>
                  <a:pt x="1417" y="274"/>
                  <a:pt x="1417" y="274"/>
                  <a:pt x="1416" y="276"/>
                </a:cubicBezTo>
                <a:cubicBezTo>
                  <a:pt x="1416" y="276"/>
                  <a:pt x="1416" y="276"/>
                  <a:pt x="1417" y="276"/>
                </a:cubicBezTo>
                <a:cubicBezTo>
                  <a:pt x="1417" y="276"/>
                  <a:pt x="1417" y="276"/>
                  <a:pt x="1418" y="274"/>
                </a:cubicBezTo>
                <a:cubicBezTo>
                  <a:pt x="1418" y="274"/>
                  <a:pt x="1418" y="274"/>
                  <a:pt x="1418" y="275"/>
                </a:cubicBezTo>
                <a:cubicBezTo>
                  <a:pt x="1418" y="275"/>
                  <a:pt x="1418" y="275"/>
                  <a:pt x="1419" y="276"/>
                </a:cubicBezTo>
                <a:close/>
                <a:moveTo>
                  <a:pt x="1413" y="290"/>
                </a:moveTo>
                <a:cubicBezTo>
                  <a:pt x="1413" y="290"/>
                  <a:pt x="1413" y="290"/>
                  <a:pt x="1413" y="291"/>
                </a:cubicBezTo>
                <a:cubicBezTo>
                  <a:pt x="1413" y="291"/>
                  <a:pt x="1413" y="291"/>
                  <a:pt x="1414" y="290"/>
                </a:cubicBezTo>
                <a:cubicBezTo>
                  <a:pt x="1414" y="290"/>
                  <a:pt x="1414" y="290"/>
                  <a:pt x="1413" y="290"/>
                </a:cubicBezTo>
                <a:close/>
                <a:moveTo>
                  <a:pt x="1406" y="304"/>
                </a:moveTo>
                <a:cubicBezTo>
                  <a:pt x="1406" y="304"/>
                  <a:pt x="1406" y="304"/>
                  <a:pt x="1407" y="303"/>
                </a:cubicBezTo>
                <a:cubicBezTo>
                  <a:pt x="1407" y="303"/>
                  <a:pt x="1407" y="303"/>
                  <a:pt x="1406" y="303"/>
                </a:cubicBezTo>
                <a:cubicBezTo>
                  <a:pt x="1406" y="303"/>
                  <a:pt x="1406" y="303"/>
                  <a:pt x="1406" y="304"/>
                </a:cubicBezTo>
                <a:close/>
                <a:moveTo>
                  <a:pt x="1404" y="306"/>
                </a:moveTo>
                <a:cubicBezTo>
                  <a:pt x="1404" y="306"/>
                  <a:pt x="1404" y="306"/>
                  <a:pt x="1403" y="306"/>
                </a:cubicBezTo>
                <a:cubicBezTo>
                  <a:pt x="1403" y="306"/>
                  <a:pt x="1403" y="306"/>
                  <a:pt x="1403" y="307"/>
                </a:cubicBezTo>
                <a:cubicBezTo>
                  <a:pt x="1403" y="307"/>
                  <a:pt x="1403" y="307"/>
                  <a:pt x="1403" y="308"/>
                </a:cubicBezTo>
                <a:cubicBezTo>
                  <a:pt x="1403" y="308"/>
                  <a:pt x="1403" y="308"/>
                  <a:pt x="1404" y="307"/>
                </a:cubicBezTo>
                <a:cubicBezTo>
                  <a:pt x="1404" y="307"/>
                  <a:pt x="1404" y="307"/>
                  <a:pt x="1404" y="306"/>
                </a:cubicBezTo>
                <a:close/>
                <a:moveTo>
                  <a:pt x="1402" y="313"/>
                </a:moveTo>
                <a:cubicBezTo>
                  <a:pt x="1402" y="313"/>
                  <a:pt x="1402" y="313"/>
                  <a:pt x="1402" y="314"/>
                </a:cubicBezTo>
                <a:cubicBezTo>
                  <a:pt x="1402" y="314"/>
                  <a:pt x="1402" y="314"/>
                  <a:pt x="1404" y="312"/>
                </a:cubicBezTo>
                <a:cubicBezTo>
                  <a:pt x="1404" y="312"/>
                  <a:pt x="1404" y="312"/>
                  <a:pt x="1402" y="313"/>
                </a:cubicBezTo>
                <a:close/>
                <a:moveTo>
                  <a:pt x="1405" y="303"/>
                </a:moveTo>
                <a:cubicBezTo>
                  <a:pt x="1405" y="303"/>
                  <a:pt x="1405" y="303"/>
                  <a:pt x="1406" y="301"/>
                </a:cubicBezTo>
                <a:cubicBezTo>
                  <a:pt x="1406" y="301"/>
                  <a:pt x="1406" y="301"/>
                  <a:pt x="1406" y="300"/>
                </a:cubicBezTo>
                <a:cubicBezTo>
                  <a:pt x="1406" y="300"/>
                  <a:pt x="1406" y="300"/>
                  <a:pt x="1405" y="301"/>
                </a:cubicBezTo>
                <a:cubicBezTo>
                  <a:pt x="1405" y="301"/>
                  <a:pt x="1405" y="301"/>
                  <a:pt x="1405" y="303"/>
                </a:cubicBezTo>
                <a:close/>
                <a:moveTo>
                  <a:pt x="1401" y="316"/>
                </a:moveTo>
                <a:cubicBezTo>
                  <a:pt x="1401" y="316"/>
                  <a:pt x="1401" y="316"/>
                  <a:pt x="1402" y="314"/>
                </a:cubicBezTo>
                <a:cubicBezTo>
                  <a:pt x="1402" y="314"/>
                  <a:pt x="1402" y="314"/>
                  <a:pt x="1401" y="315"/>
                </a:cubicBezTo>
                <a:cubicBezTo>
                  <a:pt x="1401" y="315"/>
                  <a:pt x="1401" y="315"/>
                  <a:pt x="1400" y="315"/>
                </a:cubicBezTo>
                <a:cubicBezTo>
                  <a:pt x="1400" y="315"/>
                  <a:pt x="1400" y="315"/>
                  <a:pt x="1399" y="316"/>
                </a:cubicBezTo>
                <a:cubicBezTo>
                  <a:pt x="1399" y="316"/>
                  <a:pt x="1399" y="316"/>
                  <a:pt x="1400" y="316"/>
                </a:cubicBezTo>
                <a:cubicBezTo>
                  <a:pt x="1400" y="316"/>
                  <a:pt x="1400" y="316"/>
                  <a:pt x="1400" y="317"/>
                </a:cubicBezTo>
                <a:cubicBezTo>
                  <a:pt x="1400" y="317"/>
                  <a:pt x="1400" y="317"/>
                  <a:pt x="1401" y="316"/>
                </a:cubicBezTo>
                <a:close/>
                <a:moveTo>
                  <a:pt x="1388" y="328"/>
                </a:moveTo>
                <a:cubicBezTo>
                  <a:pt x="1388" y="328"/>
                  <a:pt x="1388" y="328"/>
                  <a:pt x="1387" y="327"/>
                </a:cubicBezTo>
                <a:cubicBezTo>
                  <a:pt x="1387" y="327"/>
                  <a:pt x="1387" y="327"/>
                  <a:pt x="1385" y="329"/>
                </a:cubicBezTo>
                <a:cubicBezTo>
                  <a:pt x="1385" y="329"/>
                  <a:pt x="1385" y="329"/>
                  <a:pt x="1387" y="329"/>
                </a:cubicBezTo>
                <a:cubicBezTo>
                  <a:pt x="1387" y="329"/>
                  <a:pt x="1387" y="329"/>
                  <a:pt x="1388" y="328"/>
                </a:cubicBezTo>
                <a:close/>
                <a:moveTo>
                  <a:pt x="1423" y="268"/>
                </a:moveTo>
                <a:cubicBezTo>
                  <a:pt x="1423" y="268"/>
                  <a:pt x="1423" y="268"/>
                  <a:pt x="1422" y="268"/>
                </a:cubicBezTo>
                <a:cubicBezTo>
                  <a:pt x="1422" y="268"/>
                  <a:pt x="1422" y="268"/>
                  <a:pt x="1423" y="269"/>
                </a:cubicBezTo>
                <a:cubicBezTo>
                  <a:pt x="1423" y="269"/>
                  <a:pt x="1423" y="269"/>
                  <a:pt x="1423" y="268"/>
                </a:cubicBezTo>
                <a:close/>
                <a:moveTo>
                  <a:pt x="1405" y="284"/>
                </a:moveTo>
                <a:cubicBezTo>
                  <a:pt x="1405" y="284"/>
                  <a:pt x="1405" y="284"/>
                  <a:pt x="1405" y="285"/>
                </a:cubicBezTo>
                <a:cubicBezTo>
                  <a:pt x="1405" y="285"/>
                  <a:pt x="1405" y="285"/>
                  <a:pt x="1406" y="284"/>
                </a:cubicBezTo>
                <a:cubicBezTo>
                  <a:pt x="1406" y="284"/>
                  <a:pt x="1406" y="284"/>
                  <a:pt x="1405" y="284"/>
                </a:cubicBezTo>
                <a:close/>
                <a:moveTo>
                  <a:pt x="1387" y="331"/>
                </a:moveTo>
                <a:cubicBezTo>
                  <a:pt x="1387" y="331"/>
                  <a:pt x="1387" y="331"/>
                  <a:pt x="1388" y="331"/>
                </a:cubicBezTo>
                <a:cubicBezTo>
                  <a:pt x="1388" y="331"/>
                  <a:pt x="1388" y="331"/>
                  <a:pt x="1389" y="330"/>
                </a:cubicBezTo>
                <a:cubicBezTo>
                  <a:pt x="1389" y="330"/>
                  <a:pt x="1389" y="330"/>
                  <a:pt x="1389" y="329"/>
                </a:cubicBezTo>
                <a:cubicBezTo>
                  <a:pt x="1389" y="329"/>
                  <a:pt x="1389" y="329"/>
                  <a:pt x="1388" y="329"/>
                </a:cubicBezTo>
                <a:cubicBezTo>
                  <a:pt x="1388" y="329"/>
                  <a:pt x="1388" y="329"/>
                  <a:pt x="1387" y="330"/>
                </a:cubicBezTo>
                <a:cubicBezTo>
                  <a:pt x="1387" y="330"/>
                  <a:pt x="1387" y="330"/>
                  <a:pt x="1386" y="330"/>
                </a:cubicBezTo>
                <a:cubicBezTo>
                  <a:pt x="1386" y="330"/>
                  <a:pt x="1386" y="330"/>
                  <a:pt x="1385" y="331"/>
                </a:cubicBezTo>
                <a:cubicBezTo>
                  <a:pt x="1385" y="331"/>
                  <a:pt x="1385" y="331"/>
                  <a:pt x="1386" y="331"/>
                </a:cubicBezTo>
                <a:cubicBezTo>
                  <a:pt x="1386" y="331"/>
                  <a:pt x="1386" y="331"/>
                  <a:pt x="1387" y="331"/>
                </a:cubicBezTo>
                <a:close/>
                <a:moveTo>
                  <a:pt x="1419" y="267"/>
                </a:moveTo>
                <a:cubicBezTo>
                  <a:pt x="1419" y="267"/>
                  <a:pt x="1419" y="267"/>
                  <a:pt x="1419" y="266"/>
                </a:cubicBezTo>
                <a:cubicBezTo>
                  <a:pt x="1419" y="266"/>
                  <a:pt x="1419" y="266"/>
                  <a:pt x="1417" y="267"/>
                </a:cubicBezTo>
                <a:cubicBezTo>
                  <a:pt x="1417" y="267"/>
                  <a:pt x="1417" y="267"/>
                  <a:pt x="1417" y="269"/>
                </a:cubicBezTo>
                <a:cubicBezTo>
                  <a:pt x="1417" y="269"/>
                  <a:pt x="1417" y="269"/>
                  <a:pt x="1418" y="269"/>
                </a:cubicBezTo>
                <a:cubicBezTo>
                  <a:pt x="1418" y="269"/>
                  <a:pt x="1418" y="269"/>
                  <a:pt x="1419" y="267"/>
                </a:cubicBezTo>
                <a:close/>
                <a:moveTo>
                  <a:pt x="1406" y="282"/>
                </a:moveTo>
                <a:cubicBezTo>
                  <a:pt x="1406" y="282"/>
                  <a:pt x="1406" y="282"/>
                  <a:pt x="1407" y="281"/>
                </a:cubicBezTo>
                <a:cubicBezTo>
                  <a:pt x="1407" y="281"/>
                  <a:pt x="1407" y="281"/>
                  <a:pt x="1407" y="279"/>
                </a:cubicBezTo>
                <a:cubicBezTo>
                  <a:pt x="1407" y="279"/>
                  <a:pt x="1407" y="279"/>
                  <a:pt x="1406" y="281"/>
                </a:cubicBezTo>
                <a:cubicBezTo>
                  <a:pt x="1406" y="281"/>
                  <a:pt x="1406" y="281"/>
                  <a:pt x="1406" y="282"/>
                </a:cubicBezTo>
                <a:close/>
                <a:moveTo>
                  <a:pt x="1369" y="363"/>
                </a:moveTo>
                <a:cubicBezTo>
                  <a:pt x="1369" y="363"/>
                  <a:pt x="1369" y="363"/>
                  <a:pt x="1369" y="362"/>
                </a:cubicBezTo>
                <a:cubicBezTo>
                  <a:pt x="1369" y="362"/>
                  <a:pt x="1369" y="362"/>
                  <a:pt x="1368" y="362"/>
                </a:cubicBezTo>
                <a:cubicBezTo>
                  <a:pt x="1368" y="362"/>
                  <a:pt x="1368" y="362"/>
                  <a:pt x="1369" y="363"/>
                </a:cubicBezTo>
                <a:close/>
                <a:moveTo>
                  <a:pt x="1370" y="365"/>
                </a:moveTo>
                <a:cubicBezTo>
                  <a:pt x="1370" y="365"/>
                  <a:pt x="1370" y="365"/>
                  <a:pt x="1371" y="364"/>
                </a:cubicBezTo>
                <a:cubicBezTo>
                  <a:pt x="1371" y="364"/>
                  <a:pt x="1371" y="364"/>
                  <a:pt x="1369" y="365"/>
                </a:cubicBezTo>
                <a:cubicBezTo>
                  <a:pt x="1369" y="365"/>
                  <a:pt x="1369" y="365"/>
                  <a:pt x="1370" y="365"/>
                </a:cubicBezTo>
                <a:close/>
                <a:moveTo>
                  <a:pt x="1369" y="367"/>
                </a:moveTo>
                <a:cubicBezTo>
                  <a:pt x="1369" y="367"/>
                  <a:pt x="1369" y="367"/>
                  <a:pt x="1370" y="369"/>
                </a:cubicBezTo>
                <a:cubicBezTo>
                  <a:pt x="1370" y="369"/>
                  <a:pt x="1370" y="369"/>
                  <a:pt x="1371" y="368"/>
                </a:cubicBezTo>
                <a:cubicBezTo>
                  <a:pt x="1371" y="368"/>
                  <a:pt x="1371" y="368"/>
                  <a:pt x="1370" y="367"/>
                </a:cubicBezTo>
                <a:lnTo>
                  <a:pt x="1369" y="367"/>
                </a:lnTo>
                <a:close/>
                <a:moveTo>
                  <a:pt x="1368" y="361"/>
                </a:moveTo>
                <a:cubicBezTo>
                  <a:pt x="1368" y="361"/>
                  <a:pt x="1368" y="361"/>
                  <a:pt x="1369" y="360"/>
                </a:cubicBezTo>
                <a:cubicBezTo>
                  <a:pt x="1369" y="360"/>
                  <a:pt x="1369" y="360"/>
                  <a:pt x="1368" y="360"/>
                </a:cubicBezTo>
                <a:cubicBezTo>
                  <a:pt x="1368" y="360"/>
                  <a:pt x="1368" y="360"/>
                  <a:pt x="1368" y="361"/>
                </a:cubicBezTo>
                <a:close/>
                <a:moveTo>
                  <a:pt x="1384" y="332"/>
                </a:moveTo>
                <a:cubicBezTo>
                  <a:pt x="1384" y="332"/>
                  <a:pt x="1384" y="332"/>
                  <a:pt x="1383" y="331"/>
                </a:cubicBezTo>
                <a:cubicBezTo>
                  <a:pt x="1383" y="331"/>
                  <a:pt x="1383" y="331"/>
                  <a:pt x="1382" y="331"/>
                </a:cubicBezTo>
                <a:cubicBezTo>
                  <a:pt x="1382" y="331"/>
                  <a:pt x="1382" y="331"/>
                  <a:pt x="1383" y="332"/>
                </a:cubicBezTo>
                <a:lnTo>
                  <a:pt x="1384" y="332"/>
                </a:lnTo>
                <a:close/>
                <a:moveTo>
                  <a:pt x="1384" y="334"/>
                </a:moveTo>
                <a:cubicBezTo>
                  <a:pt x="1384" y="334"/>
                  <a:pt x="1384" y="334"/>
                  <a:pt x="1385" y="334"/>
                </a:cubicBezTo>
                <a:cubicBezTo>
                  <a:pt x="1385" y="334"/>
                  <a:pt x="1385" y="334"/>
                  <a:pt x="1385" y="333"/>
                </a:cubicBezTo>
                <a:cubicBezTo>
                  <a:pt x="1383" y="334"/>
                  <a:pt x="1383" y="334"/>
                  <a:pt x="1383" y="334"/>
                </a:cubicBezTo>
                <a:cubicBezTo>
                  <a:pt x="1383" y="334"/>
                  <a:pt x="1383" y="334"/>
                  <a:pt x="1384" y="334"/>
                </a:cubicBezTo>
                <a:close/>
                <a:moveTo>
                  <a:pt x="1370" y="362"/>
                </a:moveTo>
                <a:cubicBezTo>
                  <a:pt x="1370" y="362"/>
                  <a:pt x="1370" y="362"/>
                  <a:pt x="1371" y="364"/>
                </a:cubicBezTo>
                <a:cubicBezTo>
                  <a:pt x="1371" y="364"/>
                  <a:pt x="1371" y="364"/>
                  <a:pt x="1371" y="363"/>
                </a:cubicBezTo>
                <a:lnTo>
                  <a:pt x="1370" y="362"/>
                </a:lnTo>
                <a:close/>
                <a:moveTo>
                  <a:pt x="1368" y="358"/>
                </a:moveTo>
                <a:cubicBezTo>
                  <a:pt x="1368" y="358"/>
                  <a:pt x="1368" y="358"/>
                  <a:pt x="1367" y="359"/>
                </a:cubicBezTo>
                <a:cubicBezTo>
                  <a:pt x="1367" y="359"/>
                  <a:pt x="1367" y="359"/>
                  <a:pt x="1368" y="359"/>
                </a:cubicBezTo>
                <a:lnTo>
                  <a:pt x="1368" y="358"/>
                </a:lnTo>
                <a:close/>
                <a:moveTo>
                  <a:pt x="1420" y="264"/>
                </a:moveTo>
                <a:cubicBezTo>
                  <a:pt x="1420" y="264"/>
                  <a:pt x="1420" y="264"/>
                  <a:pt x="1419" y="264"/>
                </a:cubicBezTo>
                <a:cubicBezTo>
                  <a:pt x="1419" y="264"/>
                  <a:pt x="1419" y="264"/>
                  <a:pt x="1419" y="266"/>
                </a:cubicBezTo>
                <a:cubicBezTo>
                  <a:pt x="1419" y="266"/>
                  <a:pt x="1419" y="266"/>
                  <a:pt x="1421" y="265"/>
                </a:cubicBezTo>
                <a:cubicBezTo>
                  <a:pt x="1421" y="265"/>
                  <a:pt x="1421" y="265"/>
                  <a:pt x="1420" y="264"/>
                </a:cubicBezTo>
                <a:close/>
                <a:moveTo>
                  <a:pt x="1415" y="273"/>
                </a:moveTo>
                <a:cubicBezTo>
                  <a:pt x="1415" y="273"/>
                  <a:pt x="1415" y="273"/>
                  <a:pt x="1414" y="274"/>
                </a:cubicBezTo>
                <a:cubicBezTo>
                  <a:pt x="1414" y="274"/>
                  <a:pt x="1414" y="274"/>
                  <a:pt x="1416" y="274"/>
                </a:cubicBezTo>
                <a:cubicBezTo>
                  <a:pt x="1416" y="274"/>
                  <a:pt x="1416" y="274"/>
                  <a:pt x="1415" y="273"/>
                </a:cubicBezTo>
                <a:close/>
                <a:moveTo>
                  <a:pt x="1412" y="277"/>
                </a:moveTo>
                <a:cubicBezTo>
                  <a:pt x="1412" y="277"/>
                  <a:pt x="1412" y="277"/>
                  <a:pt x="1410" y="277"/>
                </a:cubicBezTo>
                <a:cubicBezTo>
                  <a:pt x="1410" y="277"/>
                  <a:pt x="1410" y="277"/>
                  <a:pt x="1409" y="280"/>
                </a:cubicBezTo>
                <a:cubicBezTo>
                  <a:pt x="1409" y="280"/>
                  <a:pt x="1409" y="280"/>
                  <a:pt x="1412" y="278"/>
                </a:cubicBezTo>
                <a:cubicBezTo>
                  <a:pt x="1412" y="278"/>
                  <a:pt x="1412" y="278"/>
                  <a:pt x="1412" y="277"/>
                </a:cubicBezTo>
                <a:close/>
                <a:moveTo>
                  <a:pt x="1417" y="270"/>
                </a:moveTo>
                <a:cubicBezTo>
                  <a:pt x="1417" y="270"/>
                  <a:pt x="1417" y="270"/>
                  <a:pt x="1416" y="268"/>
                </a:cubicBezTo>
                <a:cubicBezTo>
                  <a:pt x="1416" y="268"/>
                  <a:pt x="1416" y="268"/>
                  <a:pt x="1415" y="269"/>
                </a:cubicBezTo>
                <a:cubicBezTo>
                  <a:pt x="1415" y="269"/>
                  <a:pt x="1415" y="269"/>
                  <a:pt x="1416" y="269"/>
                </a:cubicBezTo>
                <a:cubicBezTo>
                  <a:pt x="1416" y="269"/>
                  <a:pt x="1416" y="269"/>
                  <a:pt x="1415" y="270"/>
                </a:cubicBezTo>
                <a:cubicBezTo>
                  <a:pt x="1415" y="270"/>
                  <a:pt x="1415" y="270"/>
                  <a:pt x="1413" y="270"/>
                </a:cubicBezTo>
                <a:cubicBezTo>
                  <a:pt x="1413" y="270"/>
                  <a:pt x="1413" y="270"/>
                  <a:pt x="1413" y="271"/>
                </a:cubicBezTo>
                <a:cubicBezTo>
                  <a:pt x="1413" y="271"/>
                  <a:pt x="1413" y="271"/>
                  <a:pt x="1413" y="272"/>
                </a:cubicBezTo>
                <a:cubicBezTo>
                  <a:pt x="1413" y="272"/>
                  <a:pt x="1413" y="272"/>
                  <a:pt x="1415" y="271"/>
                </a:cubicBezTo>
                <a:cubicBezTo>
                  <a:pt x="1415" y="271"/>
                  <a:pt x="1415" y="271"/>
                  <a:pt x="1416" y="271"/>
                </a:cubicBezTo>
                <a:cubicBezTo>
                  <a:pt x="1416" y="271"/>
                  <a:pt x="1416" y="271"/>
                  <a:pt x="1414" y="272"/>
                </a:cubicBezTo>
                <a:cubicBezTo>
                  <a:pt x="1414" y="272"/>
                  <a:pt x="1414" y="272"/>
                  <a:pt x="1415" y="273"/>
                </a:cubicBezTo>
                <a:cubicBezTo>
                  <a:pt x="1415" y="273"/>
                  <a:pt x="1415" y="273"/>
                  <a:pt x="1417" y="272"/>
                </a:cubicBezTo>
                <a:cubicBezTo>
                  <a:pt x="1417" y="272"/>
                  <a:pt x="1417" y="272"/>
                  <a:pt x="1417" y="270"/>
                </a:cubicBezTo>
                <a:close/>
                <a:moveTo>
                  <a:pt x="1415" y="277"/>
                </a:moveTo>
                <a:cubicBezTo>
                  <a:pt x="1415" y="277"/>
                  <a:pt x="1415" y="277"/>
                  <a:pt x="1415" y="275"/>
                </a:cubicBezTo>
                <a:cubicBezTo>
                  <a:pt x="1415" y="275"/>
                  <a:pt x="1415" y="275"/>
                  <a:pt x="1413" y="276"/>
                </a:cubicBezTo>
                <a:cubicBezTo>
                  <a:pt x="1413" y="276"/>
                  <a:pt x="1413" y="276"/>
                  <a:pt x="1412" y="277"/>
                </a:cubicBezTo>
                <a:cubicBezTo>
                  <a:pt x="1412" y="277"/>
                  <a:pt x="1412" y="277"/>
                  <a:pt x="1414" y="276"/>
                </a:cubicBezTo>
                <a:cubicBezTo>
                  <a:pt x="1414" y="276"/>
                  <a:pt x="1414" y="276"/>
                  <a:pt x="1415" y="277"/>
                </a:cubicBezTo>
                <a:close/>
                <a:moveTo>
                  <a:pt x="1408" y="279"/>
                </a:moveTo>
                <a:cubicBezTo>
                  <a:pt x="1408" y="279"/>
                  <a:pt x="1408" y="279"/>
                  <a:pt x="1408" y="280"/>
                </a:cubicBezTo>
                <a:cubicBezTo>
                  <a:pt x="1408" y="280"/>
                  <a:pt x="1408" y="280"/>
                  <a:pt x="1409" y="279"/>
                </a:cubicBezTo>
                <a:cubicBezTo>
                  <a:pt x="1409" y="279"/>
                  <a:pt x="1409" y="279"/>
                  <a:pt x="1408" y="278"/>
                </a:cubicBezTo>
                <a:cubicBezTo>
                  <a:pt x="1408" y="278"/>
                  <a:pt x="1408" y="278"/>
                  <a:pt x="1408" y="279"/>
                </a:cubicBezTo>
                <a:close/>
                <a:moveTo>
                  <a:pt x="1405" y="384"/>
                </a:moveTo>
                <a:cubicBezTo>
                  <a:pt x="1404" y="385"/>
                  <a:pt x="1404" y="385"/>
                  <a:pt x="1404" y="385"/>
                </a:cubicBezTo>
                <a:cubicBezTo>
                  <a:pt x="1405" y="385"/>
                  <a:pt x="1405" y="385"/>
                  <a:pt x="1405" y="385"/>
                </a:cubicBezTo>
                <a:cubicBezTo>
                  <a:pt x="1405" y="384"/>
                  <a:pt x="1405" y="384"/>
                  <a:pt x="1405" y="384"/>
                </a:cubicBezTo>
                <a:close/>
                <a:moveTo>
                  <a:pt x="1447" y="386"/>
                </a:moveTo>
                <a:cubicBezTo>
                  <a:pt x="1448" y="386"/>
                  <a:pt x="1448" y="386"/>
                  <a:pt x="1448" y="386"/>
                </a:cubicBezTo>
                <a:cubicBezTo>
                  <a:pt x="1449" y="385"/>
                  <a:pt x="1449" y="385"/>
                  <a:pt x="1449" y="385"/>
                </a:cubicBezTo>
                <a:cubicBezTo>
                  <a:pt x="1447" y="385"/>
                  <a:pt x="1447" y="385"/>
                  <a:pt x="1447" y="385"/>
                </a:cubicBezTo>
                <a:cubicBezTo>
                  <a:pt x="1447" y="386"/>
                  <a:pt x="1447" y="386"/>
                  <a:pt x="1447" y="386"/>
                </a:cubicBezTo>
                <a:close/>
                <a:moveTo>
                  <a:pt x="1445" y="387"/>
                </a:moveTo>
                <a:cubicBezTo>
                  <a:pt x="1444" y="387"/>
                  <a:pt x="1444" y="387"/>
                  <a:pt x="1444" y="387"/>
                </a:cubicBezTo>
                <a:cubicBezTo>
                  <a:pt x="1443" y="388"/>
                  <a:pt x="1443" y="388"/>
                  <a:pt x="1443" y="388"/>
                </a:cubicBezTo>
                <a:cubicBezTo>
                  <a:pt x="1442" y="389"/>
                  <a:pt x="1442" y="389"/>
                  <a:pt x="1442" y="389"/>
                </a:cubicBezTo>
                <a:cubicBezTo>
                  <a:pt x="1442" y="390"/>
                  <a:pt x="1442" y="390"/>
                  <a:pt x="1442" y="390"/>
                </a:cubicBezTo>
                <a:cubicBezTo>
                  <a:pt x="1442" y="391"/>
                  <a:pt x="1442" y="391"/>
                  <a:pt x="1442" y="391"/>
                </a:cubicBezTo>
                <a:cubicBezTo>
                  <a:pt x="1441" y="391"/>
                  <a:pt x="1441" y="391"/>
                  <a:pt x="1441" y="391"/>
                </a:cubicBezTo>
                <a:cubicBezTo>
                  <a:pt x="1443" y="393"/>
                  <a:pt x="1443" y="393"/>
                  <a:pt x="1443" y="393"/>
                </a:cubicBezTo>
                <a:cubicBezTo>
                  <a:pt x="1443" y="394"/>
                  <a:pt x="1443" y="394"/>
                  <a:pt x="1443" y="394"/>
                </a:cubicBezTo>
                <a:cubicBezTo>
                  <a:pt x="1442" y="395"/>
                  <a:pt x="1442" y="395"/>
                  <a:pt x="1442" y="395"/>
                </a:cubicBezTo>
                <a:cubicBezTo>
                  <a:pt x="1444" y="395"/>
                  <a:pt x="1444" y="395"/>
                  <a:pt x="1444" y="395"/>
                </a:cubicBezTo>
                <a:cubicBezTo>
                  <a:pt x="1444" y="394"/>
                  <a:pt x="1444" y="394"/>
                  <a:pt x="1444" y="394"/>
                </a:cubicBezTo>
                <a:cubicBezTo>
                  <a:pt x="1444" y="393"/>
                  <a:pt x="1444" y="393"/>
                  <a:pt x="1444" y="393"/>
                </a:cubicBezTo>
                <a:cubicBezTo>
                  <a:pt x="1445" y="392"/>
                  <a:pt x="1445" y="392"/>
                  <a:pt x="1445" y="392"/>
                </a:cubicBezTo>
                <a:cubicBezTo>
                  <a:pt x="1446" y="391"/>
                  <a:pt x="1446" y="391"/>
                  <a:pt x="1446" y="391"/>
                </a:cubicBezTo>
                <a:cubicBezTo>
                  <a:pt x="1446" y="390"/>
                  <a:pt x="1446" y="390"/>
                  <a:pt x="1446" y="390"/>
                </a:cubicBezTo>
                <a:cubicBezTo>
                  <a:pt x="1445" y="389"/>
                  <a:pt x="1445" y="389"/>
                  <a:pt x="1445" y="389"/>
                </a:cubicBezTo>
                <a:cubicBezTo>
                  <a:pt x="1446" y="388"/>
                  <a:pt x="1446" y="388"/>
                  <a:pt x="1446" y="388"/>
                </a:cubicBezTo>
                <a:cubicBezTo>
                  <a:pt x="1446" y="387"/>
                  <a:pt x="1446" y="387"/>
                  <a:pt x="1446" y="387"/>
                </a:cubicBezTo>
                <a:cubicBezTo>
                  <a:pt x="1447" y="387"/>
                  <a:pt x="1447" y="387"/>
                  <a:pt x="1447" y="387"/>
                </a:cubicBezTo>
                <a:cubicBezTo>
                  <a:pt x="1446" y="386"/>
                  <a:pt x="1446" y="386"/>
                  <a:pt x="1446" y="386"/>
                </a:cubicBezTo>
                <a:cubicBezTo>
                  <a:pt x="1445" y="387"/>
                  <a:pt x="1445" y="387"/>
                  <a:pt x="1445" y="387"/>
                </a:cubicBezTo>
                <a:close/>
                <a:moveTo>
                  <a:pt x="1447" y="381"/>
                </a:moveTo>
                <a:cubicBezTo>
                  <a:pt x="1447" y="380"/>
                  <a:pt x="1447" y="380"/>
                  <a:pt x="1447" y="380"/>
                </a:cubicBezTo>
                <a:cubicBezTo>
                  <a:pt x="1446" y="380"/>
                  <a:pt x="1446" y="380"/>
                  <a:pt x="1446" y="380"/>
                </a:cubicBezTo>
                <a:cubicBezTo>
                  <a:pt x="1447" y="381"/>
                  <a:pt x="1447" y="381"/>
                  <a:pt x="1447" y="381"/>
                </a:cubicBezTo>
                <a:close/>
                <a:moveTo>
                  <a:pt x="1406" y="383"/>
                </a:moveTo>
                <a:cubicBezTo>
                  <a:pt x="1405" y="382"/>
                  <a:pt x="1405" y="382"/>
                  <a:pt x="1405" y="382"/>
                </a:cubicBezTo>
                <a:cubicBezTo>
                  <a:pt x="1405" y="383"/>
                  <a:pt x="1405" y="383"/>
                  <a:pt x="1405" y="383"/>
                </a:cubicBezTo>
                <a:cubicBezTo>
                  <a:pt x="1406" y="383"/>
                  <a:pt x="1406" y="383"/>
                  <a:pt x="1406" y="383"/>
                </a:cubicBezTo>
                <a:close/>
                <a:moveTo>
                  <a:pt x="1433" y="396"/>
                </a:moveTo>
                <a:cubicBezTo>
                  <a:pt x="1433" y="399"/>
                  <a:pt x="1433" y="399"/>
                  <a:pt x="1433" y="399"/>
                </a:cubicBezTo>
                <a:cubicBezTo>
                  <a:pt x="1433" y="400"/>
                  <a:pt x="1433" y="400"/>
                  <a:pt x="1433" y="400"/>
                </a:cubicBezTo>
                <a:cubicBezTo>
                  <a:pt x="1433" y="401"/>
                  <a:pt x="1433" y="401"/>
                  <a:pt x="1433" y="401"/>
                </a:cubicBezTo>
                <a:cubicBezTo>
                  <a:pt x="1434" y="402"/>
                  <a:pt x="1434" y="402"/>
                  <a:pt x="1434" y="402"/>
                </a:cubicBezTo>
                <a:cubicBezTo>
                  <a:pt x="1434" y="401"/>
                  <a:pt x="1434" y="401"/>
                  <a:pt x="1434" y="401"/>
                </a:cubicBezTo>
                <a:cubicBezTo>
                  <a:pt x="1435" y="399"/>
                  <a:pt x="1435" y="399"/>
                  <a:pt x="1435" y="399"/>
                </a:cubicBezTo>
                <a:cubicBezTo>
                  <a:pt x="1435" y="396"/>
                  <a:pt x="1435" y="396"/>
                  <a:pt x="1435" y="396"/>
                </a:cubicBezTo>
                <a:cubicBezTo>
                  <a:pt x="1436" y="394"/>
                  <a:pt x="1436" y="394"/>
                  <a:pt x="1436" y="394"/>
                </a:cubicBezTo>
                <a:cubicBezTo>
                  <a:pt x="1436" y="393"/>
                  <a:pt x="1436" y="393"/>
                  <a:pt x="1436" y="393"/>
                </a:cubicBezTo>
                <a:cubicBezTo>
                  <a:pt x="1435" y="392"/>
                  <a:pt x="1435" y="392"/>
                  <a:pt x="1435" y="392"/>
                </a:cubicBezTo>
                <a:cubicBezTo>
                  <a:pt x="1434" y="393"/>
                  <a:pt x="1434" y="393"/>
                  <a:pt x="1434" y="393"/>
                </a:cubicBezTo>
                <a:cubicBezTo>
                  <a:pt x="1435" y="394"/>
                  <a:pt x="1435" y="394"/>
                  <a:pt x="1435" y="394"/>
                </a:cubicBezTo>
                <a:cubicBezTo>
                  <a:pt x="1434" y="395"/>
                  <a:pt x="1434" y="395"/>
                  <a:pt x="1434" y="395"/>
                </a:cubicBezTo>
                <a:cubicBezTo>
                  <a:pt x="1433" y="396"/>
                  <a:pt x="1433" y="396"/>
                  <a:pt x="1433" y="396"/>
                </a:cubicBezTo>
                <a:close/>
                <a:moveTo>
                  <a:pt x="1442" y="372"/>
                </a:moveTo>
                <a:cubicBezTo>
                  <a:pt x="1443" y="371"/>
                  <a:pt x="1443" y="371"/>
                  <a:pt x="1443" y="371"/>
                </a:cubicBezTo>
                <a:cubicBezTo>
                  <a:pt x="1443" y="369"/>
                  <a:pt x="1443" y="369"/>
                  <a:pt x="1443" y="369"/>
                </a:cubicBezTo>
                <a:cubicBezTo>
                  <a:pt x="1442" y="369"/>
                  <a:pt x="1442" y="369"/>
                  <a:pt x="1442" y="369"/>
                </a:cubicBezTo>
                <a:cubicBezTo>
                  <a:pt x="1441" y="371"/>
                  <a:pt x="1441" y="371"/>
                  <a:pt x="1441" y="371"/>
                </a:cubicBezTo>
                <a:cubicBezTo>
                  <a:pt x="1442" y="373"/>
                  <a:pt x="1442" y="373"/>
                  <a:pt x="1442" y="373"/>
                </a:cubicBezTo>
                <a:cubicBezTo>
                  <a:pt x="1442" y="372"/>
                  <a:pt x="1442" y="372"/>
                  <a:pt x="1442" y="372"/>
                </a:cubicBezTo>
                <a:close/>
                <a:moveTo>
                  <a:pt x="1456" y="360"/>
                </a:moveTo>
                <a:cubicBezTo>
                  <a:pt x="1456" y="360"/>
                  <a:pt x="1456" y="360"/>
                  <a:pt x="1457" y="359"/>
                </a:cubicBezTo>
                <a:cubicBezTo>
                  <a:pt x="1457" y="359"/>
                  <a:pt x="1457" y="359"/>
                  <a:pt x="1456" y="359"/>
                </a:cubicBezTo>
                <a:lnTo>
                  <a:pt x="1456" y="360"/>
                </a:lnTo>
                <a:close/>
                <a:moveTo>
                  <a:pt x="1460" y="360"/>
                </a:moveTo>
                <a:cubicBezTo>
                  <a:pt x="1460" y="360"/>
                  <a:pt x="1460" y="360"/>
                  <a:pt x="1458" y="359"/>
                </a:cubicBezTo>
                <a:cubicBezTo>
                  <a:pt x="1458" y="359"/>
                  <a:pt x="1458" y="359"/>
                  <a:pt x="1458" y="360"/>
                </a:cubicBezTo>
                <a:cubicBezTo>
                  <a:pt x="1458" y="360"/>
                  <a:pt x="1458" y="360"/>
                  <a:pt x="1459" y="360"/>
                </a:cubicBezTo>
                <a:cubicBezTo>
                  <a:pt x="1459" y="360"/>
                  <a:pt x="1459" y="360"/>
                  <a:pt x="1460" y="360"/>
                </a:cubicBezTo>
                <a:close/>
                <a:moveTo>
                  <a:pt x="1462" y="362"/>
                </a:moveTo>
                <a:cubicBezTo>
                  <a:pt x="1462" y="362"/>
                  <a:pt x="1462" y="362"/>
                  <a:pt x="1463" y="361"/>
                </a:cubicBezTo>
                <a:cubicBezTo>
                  <a:pt x="1463" y="361"/>
                  <a:pt x="1463" y="361"/>
                  <a:pt x="1463" y="360"/>
                </a:cubicBezTo>
                <a:cubicBezTo>
                  <a:pt x="1463" y="360"/>
                  <a:pt x="1463" y="360"/>
                  <a:pt x="1461" y="361"/>
                </a:cubicBezTo>
                <a:cubicBezTo>
                  <a:pt x="1461" y="361"/>
                  <a:pt x="1461" y="361"/>
                  <a:pt x="1462" y="362"/>
                </a:cubicBezTo>
                <a:close/>
                <a:moveTo>
                  <a:pt x="1453" y="329"/>
                </a:moveTo>
                <a:cubicBezTo>
                  <a:pt x="1453" y="329"/>
                  <a:pt x="1453" y="329"/>
                  <a:pt x="1453" y="330"/>
                </a:cubicBezTo>
                <a:cubicBezTo>
                  <a:pt x="1453" y="330"/>
                  <a:pt x="1453" y="330"/>
                  <a:pt x="1454" y="329"/>
                </a:cubicBezTo>
                <a:cubicBezTo>
                  <a:pt x="1454" y="329"/>
                  <a:pt x="1454" y="329"/>
                  <a:pt x="1453" y="329"/>
                </a:cubicBezTo>
                <a:close/>
                <a:moveTo>
                  <a:pt x="1464" y="363"/>
                </a:moveTo>
                <a:cubicBezTo>
                  <a:pt x="1464" y="362"/>
                  <a:pt x="1464" y="362"/>
                  <a:pt x="1464" y="362"/>
                </a:cubicBezTo>
                <a:cubicBezTo>
                  <a:pt x="1464" y="362"/>
                  <a:pt x="1464" y="362"/>
                  <a:pt x="1463" y="363"/>
                </a:cubicBezTo>
                <a:cubicBezTo>
                  <a:pt x="1463" y="363"/>
                  <a:pt x="1463" y="363"/>
                  <a:pt x="1464" y="363"/>
                </a:cubicBezTo>
                <a:close/>
                <a:moveTo>
                  <a:pt x="1447" y="362"/>
                </a:moveTo>
                <a:cubicBezTo>
                  <a:pt x="1447" y="362"/>
                  <a:pt x="1447" y="362"/>
                  <a:pt x="1448" y="362"/>
                </a:cubicBezTo>
                <a:cubicBezTo>
                  <a:pt x="1448" y="362"/>
                  <a:pt x="1448" y="362"/>
                  <a:pt x="1448" y="363"/>
                </a:cubicBezTo>
                <a:cubicBezTo>
                  <a:pt x="1448" y="363"/>
                  <a:pt x="1448" y="363"/>
                  <a:pt x="1449" y="363"/>
                </a:cubicBezTo>
                <a:cubicBezTo>
                  <a:pt x="1449" y="363"/>
                  <a:pt x="1449" y="363"/>
                  <a:pt x="1451" y="364"/>
                </a:cubicBezTo>
                <a:cubicBezTo>
                  <a:pt x="1451" y="364"/>
                  <a:pt x="1451" y="364"/>
                  <a:pt x="1451" y="363"/>
                </a:cubicBezTo>
                <a:cubicBezTo>
                  <a:pt x="1451" y="363"/>
                  <a:pt x="1451" y="363"/>
                  <a:pt x="1450" y="363"/>
                </a:cubicBezTo>
                <a:cubicBezTo>
                  <a:pt x="1450" y="363"/>
                  <a:pt x="1450" y="363"/>
                  <a:pt x="1450" y="362"/>
                </a:cubicBezTo>
                <a:cubicBezTo>
                  <a:pt x="1450" y="362"/>
                  <a:pt x="1450" y="362"/>
                  <a:pt x="1450" y="361"/>
                </a:cubicBezTo>
                <a:cubicBezTo>
                  <a:pt x="1450" y="361"/>
                  <a:pt x="1450" y="361"/>
                  <a:pt x="1451" y="361"/>
                </a:cubicBezTo>
                <a:cubicBezTo>
                  <a:pt x="1451" y="361"/>
                  <a:pt x="1451" y="361"/>
                  <a:pt x="1451" y="360"/>
                </a:cubicBezTo>
                <a:cubicBezTo>
                  <a:pt x="1451" y="360"/>
                  <a:pt x="1451" y="360"/>
                  <a:pt x="1449" y="359"/>
                </a:cubicBezTo>
                <a:cubicBezTo>
                  <a:pt x="1449" y="359"/>
                  <a:pt x="1449" y="359"/>
                  <a:pt x="1448" y="359"/>
                </a:cubicBezTo>
                <a:cubicBezTo>
                  <a:pt x="1448" y="359"/>
                  <a:pt x="1448" y="359"/>
                  <a:pt x="1448" y="360"/>
                </a:cubicBezTo>
                <a:cubicBezTo>
                  <a:pt x="1448" y="360"/>
                  <a:pt x="1448" y="360"/>
                  <a:pt x="1449" y="361"/>
                </a:cubicBezTo>
                <a:cubicBezTo>
                  <a:pt x="1449" y="361"/>
                  <a:pt x="1449" y="361"/>
                  <a:pt x="1447" y="361"/>
                </a:cubicBezTo>
                <a:lnTo>
                  <a:pt x="1447" y="362"/>
                </a:lnTo>
                <a:close/>
                <a:moveTo>
                  <a:pt x="1470" y="311"/>
                </a:moveTo>
                <a:cubicBezTo>
                  <a:pt x="1470" y="311"/>
                  <a:pt x="1470" y="311"/>
                  <a:pt x="1471" y="311"/>
                </a:cubicBezTo>
                <a:cubicBezTo>
                  <a:pt x="1471" y="311"/>
                  <a:pt x="1471" y="311"/>
                  <a:pt x="1471" y="310"/>
                </a:cubicBezTo>
                <a:cubicBezTo>
                  <a:pt x="1471" y="310"/>
                  <a:pt x="1471" y="310"/>
                  <a:pt x="1469" y="310"/>
                </a:cubicBezTo>
                <a:cubicBezTo>
                  <a:pt x="1469" y="310"/>
                  <a:pt x="1469" y="310"/>
                  <a:pt x="1468" y="311"/>
                </a:cubicBezTo>
                <a:cubicBezTo>
                  <a:pt x="1468" y="311"/>
                  <a:pt x="1468" y="311"/>
                  <a:pt x="1469" y="312"/>
                </a:cubicBezTo>
                <a:cubicBezTo>
                  <a:pt x="1469" y="312"/>
                  <a:pt x="1469" y="312"/>
                  <a:pt x="1470" y="312"/>
                </a:cubicBezTo>
                <a:cubicBezTo>
                  <a:pt x="1470" y="312"/>
                  <a:pt x="1470" y="312"/>
                  <a:pt x="1470" y="311"/>
                </a:cubicBezTo>
                <a:close/>
                <a:moveTo>
                  <a:pt x="1465" y="365"/>
                </a:moveTo>
                <a:cubicBezTo>
                  <a:pt x="1465" y="365"/>
                  <a:pt x="1465" y="365"/>
                  <a:pt x="1465" y="364"/>
                </a:cubicBezTo>
                <a:cubicBezTo>
                  <a:pt x="1465" y="364"/>
                  <a:pt x="1465" y="364"/>
                  <a:pt x="1464" y="364"/>
                </a:cubicBezTo>
                <a:cubicBezTo>
                  <a:pt x="1464" y="364"/>
                  <a:pt x="1464" y="364"/>
                  <a:pt x="1465" y="365"/>
                </a:cubicBezTo>
                <a:close/>
                <a:moveTo>
                  <a:pt x="1469" y="374"/>
                </a:moveTo>
                <a:cubicBezTo>
                  <a:pt x="1468" y="374"/>
                  <a:pt x="1468" y="374"/>
                  <a:pt x="1468" y="374"/>
                </a:cubicBezTo>
                <a:cubicBezTo>
                  <a:pt x="1468" y="375"/>
                  <a:pt x="1468" y="375"/>
                  <a:pt x="1468" y="375"/>
                </a:cubicBezTo>
                <a:cubicBezTo>
                  <a:pt x="1469" y="375"/>
                  <a:pt x="1469" y="375"/>
                  <a:pt x="1469" y="375"/>
                </a:cubicBezTo>
                <a:cubicBezTo>
                  <a:pt x="1469" y="374"/>
                  <a:pt x="1469" y="374"/>
                  <a:pt x="1469" y="374"/>
                </a:cubicBezTo>
                <a:close/>
                <a:moveTo>
                  <a:pt x="1468" y="378"/>
                </a:moveTo>
                <a:cubicBezTo>
                  <a:pt x="1469" y="379"/>
                  <a:pt x="1469" y="379"/>
                  <a:pt x="1469" y="379"/>
                </a:cubicBezTo>
                <a:cubicBezTo>
                  <a:pt x="1470" y="379"/>
                  <a:pt x="1470" y="379"/>
                  <a:pt x="1470" y="379"/>
                </a:cubicBezTo>
                <a:cubicBezTo>
                  <a:pt x="1469" y="377"/>
                  <a:pt x="1469" y="377"/>
                  <a:pt x="1469" y="377"/>
                </a:cubicBezTo>
                <a:cubicBezTo>
                  <a:pt x="1468" y="377"/>
                  <a:pt x="1468" y="377"/>
                  <a:pt x="1468" y="377"/>
                </a:cubicBezTo>
                <a:cubicBezTo>
                  <a:pt x="1468" y="378"/>
                  <a:pt x="1468" y="378"/>
                  <a:pt x="1468" y="378"/>
                </a:cubicBezTo>
                <a:close/>
                <a:moveTo>
                  <a:pt x="1462" y="382"/>
                </a:moveTo>
                <a:cubicBezTo>
                  <a:pt x="1463" y="383"/>
                  <a:pt x="1463" y="383"/>
                  <a:pt x="1463" y="383"/>
                </a:cubicBezTo>
                <a:cubicBezTo>
                  <a:pt x="1463" y="384"/>
                  <a:pt x="1463" y="384"/>
                  <a:pt x="1463" y="384"/>
                </a:cubicBezTo>
                <a:cubicBezTo>
                  <a:pt x="1462" y="385"/>
                  <a:pt x="1462" y="385"/>
                  <a:pt x="1462" y="385"/>
                </a:cubicBezTo>
                <a:cubicBezTo>
                  <a:pt x="1463" y="385"/>
                  <a:pt x="1463" y="385"/>
                  <a:pt x="1463" y="385"/>
                </a:cubicBezTo>
                <a:cubicBezTo>
                  <a:pt x="1464" y="384"/>
                  <a:pt x="1464" y="384"/>
                  <a:pt x="1464" y="384"/>
                </a:cubicBezTo>
                <a:cubicBezTo>
                  <a:pt x="1464" y="382"/>
                  <a:pt x="1464" y="382"/>
                  <a:pt x="1464" y="382"/>
                </a:cubicBezTo>
                <a:cubicBezTo>
                  <a:pt x="1466" y="382"/>
                  <a:pt x="1466" y="382"/>
                  <a:pt x="1466" y="382"/>
                </a:cubicBezTo>
                <a:cubicBezTo>
                  <a:pt x="1467" y="381"/>
                  <a:pt x="1467" y="381"/>
                  <a:pt x="1467" y="381"/>
                </a:cubicBezTo>
                <a:cubicBezTo>
                  <a:pt x="1468" y="380"/>
                  <a:pt x="1468" y="380"/>
                  <a:pt x="1468" y="380"/>
                </a:cubicBezTo>
                <a:cubicBezTo>
                  <a:pt x="1469" y="380"/>
                  <a:pt x="1469" y="380"/>
                  <a:pt x="1469" y="380"/>
                </a:cubicBezTo>
                <a:cubicBezTo>
                  <a:pt x="1468" y="379"/>
                  <a:pt x="1468" y="379"/>
                  <a:pt x="1468" y="379"/>
                </a:cubicBezTo>
                <a:cubicBezTo>
                  <a:pt x="1467" y="378"/>
                  <a:pt x="1467" y="378"/>
                  <a:pt x="1467" y="378"/>
                </a:cubicBezTo>
                <a:cubicBezTo>
                  <a:pt x="1465" y="378"/>
                  <a:pt x="1465" y="378"/>
                  <a:pt x="1465" y="378"/>
                </a:cubicBezTo>
                <a:cubicBezTo>
                  <a:pt x="1464" y="378"/>
                  <a:pt x="1464" y="378"/>
                  <a:pt x="1464" y="378"/>
                </a:cubicBezTo>
                <a:cubicBezTo>
                  <a:pt x="1464" y="379"/>
                  <a:pt x="1464" y="379"/>
                  <a:pt x="1464" y="379"/>
                </a:cubicBezTo>
                <a:cubicBezTo>
                  <a:pt x="1463" y="379"/>
                  <a:pt x="1463" y="379"/>
                  <a:pt x="1463" y="379"/>
                </a:cubicBezTo>
                <a:cubicBezTo>
                  <a:pt x="1462" y="379"/>
                  <a:pt x="1462" y="379"/>
                  <a:pt x="1462" y="379"/>
                </a:cubicBezTo>
                <a:cubicBezTo>
                  <a:pt x="1461" y="379"/>
                  <a:pt x="1461" y="379"/>
                  <a:pt x="1461" y="379"/>
                </a:cubicBezTo>
                <a:cubicBezTo>
                  <a:pt x="1462" y="380"/>
                  <a:pt x="1462" y="380"/>
                  <a:pt x="1462" y="380"/>
                </a:cubicBezTo>
                <a:cubicBezTo>
                  <a:pt x="1461" y="381"/>
                  <a:pt x="1461" y="381"/>
                  <a:pt x="1461" y="381"/>
                </a:cubicBezTo>
                <a:cubicBezTo>
                  <a:pt x="1462" y="382"/>
                  <a:pt x="1462" y="382"/>
                  <a:pt x="1462" y="382"/>
                </a:cubicBezTo>
                <a:close/>
                <a:moveTo>
                  <a:pt x="1466" y="374"/>
                </a:moveTo>
                <a:cubicBezTo>
                  <a:pt x="1465" y="374"/>
                  <a:pt x="1465" y="374"/>
                  <a:pt x="1465" y="374"/>
                </a:cubicBezTo>
                <a:cubicBezTo>
                  <a:pt x="1464" y="375"/>
                  <a:pt x="1464" y="375"/>
                  <a:pt x="1464" y="375"/>
                </a:cubicBezTo>
                <a:cubicBezTo>
                  <a:pt x="1462" y="376"/>
                  <a:pt x="1462" y="376"/>
                  <a:pt x="1462" y="376"/>
                </a:cubicBezTo>
                <a:cubicBezTo>
                  <a:pt x="1464" y="376"/>
                  <a:pt x="1464" y="376"/>
                  <a:pt x="1464" y="376"/>
                </a:cubicBezTo>
                <a:cubicBezTo>
                  <a:pt x="1465" y="376"/>
                  <a:pt x="1465" y="376"/>
                  <a:pt x="1465" y="376"/>
                </a:cubicBezTo>
                <a:cubicBezTo>
                  <a:pt x="1465" y="377"/>
                  <a:pt x="1465" y="377"/>
                  <a:pt x="1465" y="377"/>
                </a:cubicBezTo>
                <a:cubicBezTo>
                  <a:pt x="1466" y="376"/>
                  <a:pt x="1466" y="376"/>
                  <a:pt x="1466" y="376"/>
                </a:cubicBezTo>
                <a:cubicBezTo>
                  <a:pt x="1467" y="376"/>
                  <a:pt x="1467" y="376"/>
                  <a:pt x="1467" y="376"/>
                </a:cubicBezTo>
                <a:cubicBezTo>
                  <a:pt x="1468" y="376"/>
                  <a:pt x="1468" y="376"/>
                  <a:pt x="1468" y="376"/>
                </a:cubicBezTo>
                <a:cubicBezTo>
                  <a:pt x="1467" y="375"/>
                  <a:pt x="1467" y="375"/>
                  <a:pt x="1467" y="375"/>
                </a:cubicBezTo>
                <a:cubicBezTo>
                  <a:pt x="1466" y="374"/>
                  <a:pt x="1466" y="374"/>
                  <a:pt x="1466" y="374"/>
                </a:cubicBezTo>
                <a:close/>
                <a:moveTo>
                  <a:pt x="1540" y="486"/>
                </a:moveTo>
                <a:cubicBezTo>
                  <a:pt x="1539" y="486"/>
                  <a:pt x="1539" y="486"/>
                  <a:pt x="1539" y="486"/>
                </a:cubicBezTo>
                <a:cubicBezTo>
                  <a:pt x="1537" y="487"/>
                  <a:pt x="1537" y="487"/>
                  <a:pt x="1537" y="487"/>
                </a:cubicBezTo>
                <a:cubicBezTo>
                  <a:pt x="1535" y="488"/>
                  <a:pt x="1535" y="488"/>
                  <a:pt x="1535" y="488"/>
                </a:cubicBezTo>
                <a:cubicBezTo>
                  <a:pt x="1534" y="490"/>
                  <a:pt x="1534" y="490"/>
                  <a:pt x="1534" y="490"/>
                </a:cubicBezTo>
                <a:cubicBezTo>
                  <a:pt x="1535" y="490"/>
                  <a:pt x="1535" y="490"/>
                  <a:pt x="1535" y="490"/>
                </a:cubicBezTo>
                <a:cubicBezTo>
                  <a:pt x="1536" y="490"/>
                  <a:pt x="1536" y="490"/>
                  <a:pt x="1536" y="490"/>
                </a:cubicBezTo>
                <a:cubicBezTo>
                  <a:pt x="1537" y="490"/>
                  <a:pt x="1537" y="490"/>
                  <a:pt x="1537" y="490"/>
                </a:cubicBezTo>
                <a:cubicBezTo>
                  <a:pt x="1538" y="490"/>
                  <a:pt x="1538" y="490"/>
                  <a:pt x="1538" y="490"/>
                </a:cubicBezTo>
                <a:cubicBezTo>
                  <a:pt x="1540" y="492"/>
                  <a:pt x="1540" y="492"/>
                  <a:pt x="1540" y="492"/>
                </a:cubicBezTo>
                <a:cubicBezTo>
                  <a:pt x="1540" y="493"/>
                  <a:pt x="1540" y="493"/>
                  <a:pt x="1540" y="493"/>
                </a:cubicBezTo>
                <a:cubicBezTo>
                  <a:pt x="1539" y="495"/>
                  <a:pt x="1539" y="495"/>
                  <a:pt x="1539" y="495"/>
                </a:cubicBezTo>
                <a:cubicBezTo>
                  <a:pt x="1540" y="496"/>
                  <a:pt x="1540" y="496"/>
                  <a:pt x="1540" y="496"/>
                </a:cubicBezTo>
                <a:cubicBezTo>
                  <a:pt x="1542" y="496"/>
                  <a:pt x="1542" y="496"/>
                  <a:pt x="1542" y="496"/>
                </a:cubicBezTo>
                <a:cubicBezTo>
                  <a:pt x="1544" y="495"/>
                  <a:pt x="1544" y="495"/>
                  <a:pt x="1544" y="495"/>
                </a:cubicBezTo>
                <a:cubicBezTo>
                  <a:pt x="1547" y="493"/>
                  <a:pt x="1547" y="493"/>
                  <a:pt x="1547" y="493"/>
                </a:cubicBezTo>
                <a:cubicBezTo>
                  <a:pt x="1549" y="493"/>
                  <a:pt x="1549" y="493"/>
                  <a:pt x="1549" y="493"/>
                </a:cubicBezTo>
                <a:cubicBezTo>
                  <a:pt x="1550" y="492"/>
                  <a:pt x="1550" y="492"/>
                  <a:pt x="1550" y="492"/>
                </a:cubicBezTo>
                <a:cubicBezTo>
                  <a:pt x="1552" y="491"/>
                  <a:pt x="1552" y="491"/>
                  <a:pt x="1552" y="491"/>
                </a:cubicBezTo>
                <a:cubicBezTo>
                  <a:pt x="1554" y="491"/>
                  <a:pt x="1554" y="491"/>
                  <a:pt x="1554" y="491"/>
                </a:cubicBezTo>
                <a:cubicBezTo>
                  <a:pt x="1556" y="491"/>
                  <a:pt x="1556" y="491"/>
                  <a:pt x="1556" y="491"/>
                </a:cubicBezTo>
                <a:cubicBezTo>
                  <a:pt x="1557" y="490"/>
                  <a:pt x="1557" y="490"/>
                  <a:pt x="1557" y="490"/>
                </a:cubicBezTo>
                <a:cubicBezTo>
                  <a:pt x="1557" y="489"/>
                  <a:pt x="1557" y="489"/>
                  <a:pt x="1557" y="489"/>
                </a:cubicBezTo>
                <a:cubicBezTo>
                  <a:pt x="1558" y="488"/>
                  <a:pt x="1558" y="488"/>
                  <a:pt x="1558" y="488"/>
                </a:cubicBezTo>
                <a:cubicBezTo>
                  <a:pt x="1556" y="488"/>
                  <a:pt x="1556" y="488"/>
                  <a:pt x="1556" y="488"/>
                </a:cubicBezTo>
                <a:cubicBezTo>
                  <a:pt x="1554" y="488"/>
                  <a:pt x="1554" y="488"/>
                  <a:pt x="1554" y="488"/>
                </a:cubicBezTo>
                <a:cubicBezTo>
                  <a:pt x="1553" y="489"/>
                  <a:pt x="1553" y="489"/>
                  <a:pt x="1553" y="489"/>
                </a:cubicBezTo>
                <a:cubicBezTo>
                  <a:pt x="1552" y="488"/>
                  <a:pt x="1552" y="488"/>
                  <a:pt x="1552" y="488"/>
                </a:cubicBezTo>
                <a:cubicBezTo>
                  <a:pt x="1551" y="490"/>
                  <a:pt x="1551" y="490"/>
                  <a:pt x="1551" y="490"/>
                </a:cubicBezTo>
                <a:cubicBezTo>
                  <a:pt x="1550" y="489"/>
                  <a:pt x="1550" y="489"/>
                  <a:pt x="1550" y="489"/>
                </a:cubicBezTo>
                <a:cubicBezTo>
                  <a:pt x="1547" y="486"/>
                  <a:pt x="1547" y="486"/>
                  <a:pt x="1547" y="486"/>
                </a:cubicBezTo>
                <a:cubicBezTo>
                  <a:pt x="1546" y="484"/>
                  <a:pt x="1546" y="484"/>
                  <a:pt x="1546" y="484"/>
                </a:cubicBezTo>
                <a:cubicBezTo>
                  <a:pt x="1545" y="483"/>
                  <a:pt x="1545" y="483"/>
                  <a:pt x="1545" y="483"/>
                </a:cubicBezTo>
                <a:cubicBezTo>
                  <a:pt x="1545" y="485"/>
                  <a:pt x="1545" y="485"/>
                  <a:pt x="1545" y="485"/>
                </a:cubicBezTo>
                <a:cubicBezTo>
                  <a:pt x="1547" y="487"/>
                  <a:pt x="1547" y="487"/>
                  <a:pt x="1547" y="487"/>
                </a:cubicBezTo>
                <a:cubicBezTo>
                  <a:pt x="1548" y="488"/>
                  <a:pt x="1548" y="488"/>
                  <a:pt x="1548" y="488"/>
                </a:cubicBezTo>
                <a:cubicBezTo>
                  <a:pt x="1550" y="490"/>
                  <a:pt x="1550" y="490"/>
                  <a:pt x="1550" y="490"/>
                </a:cubicBezTo>
                <a:cubicBezTo>
                  <a:pt x="1549" y="490"/>
                  <a:pt x="1549" y="490"/>
                  <a:pt x="1549" y="490"/>
                </a:cubicBezTo>
                <a:cubicBezTo>
                  <a:pt x="1548" y="489"/>
                  <a:pt x="1548" y="489"/>
                  <a:pt x="1548" y="489"/>
                </a:cubicBezTo>
                <a:cubicBezTo>
                  <a:pt x="1547" y="489"/>
                  <a:pt x="1547" y="489"/>
                  <a:pt x="1547" y="489"/>
                </a:cubicBezTo>
                <a:cubicBezTo>
                  <a:pt x="1547" y="487"/>
                  <a:pt x="1547" y="487"/>
                  <a:pt x="1547" y="487"/>
                </a:cubicBezTo>
                <a:cubicBezTo>
                  <a:pt x="1546" y="487"/>
                  <a:pt x="1546" y="487"/>
                  <a:pt x="1546" y="487"/>
                </a:cubicBezTo>
                <a:cubicBezTo>
                  <a:pt x="1545" y="488"/>
                  <a:pt x="1545" y="488"/>
                  <a:pt x="1545" y="488"/>
                </a:cubicBezTo>
                <a:cubicBezTo>
                  <a:pt x="1545" y="487"/>
                  <a:pt x="1545" y="487"/>
                  <a:pt x="1545" y="487"/>
                </a:cubicBezTo>
                <a:cubicBezTo>
                  <a:pt x="1544" y="487"/>
                  <a:pt x="1544" y="487"/>
                  <a:pt x="1544" y="487"/>
                </a:cubicBezTo>
                <a:cubicBezTo>
                  <a:pt x="1544" y="486"/>
                  <a:pt x="1544" y="486"/>
                  <a:pt x="1544" y="486"/>
                </a:cubicBezTo>
                <a:cubicBezTo>
                  <a:pt x="1545" y="486"/>
                  <a:pt x="1545" y="486"/>
                  <a:pt x="1545" y="486"/>
                </a:cubicBezTo>
                <a:cubicBezTo>
                  <a:pt x="1544" y="485"/>
                  <a:pt x="1544" y="485"/>
                  <a:pt x="1544" y="485"/>
                </a:cubicBezTo>
                <a:cubicBezTo>
                  <a:pt x="1543" y="485"/>
                  <a:pt x="1543" y="485"/>
                  <a:pt x="1543" y="485"/>
                </a:cubicBezTo>
                <a:cubicBezTo>
                  <a:pt x="1542" y="484"/>
                  <a:pt x="1542" y="484"/>
                  <a:pt x="1542" y="484"/>
                </a:cubicBezTo>
                <a:cubicBezTo>
                  <a:pt x="1540" y="484"/>
                  <a:pt x="1540" y="484"/>
                  <a:pt x="1540" y="484"/>
                </a:cubicBezTo>
                <a:cubicBezTo>
                  <a:pt x="1539" y="483"/>
                  <a:pt x="1539" y="483"/>
                  <a:pt x="1539" y="483"/>
                </a:cubicBezTo>
                <a:cubicBezTo>
                  <a:pt x="1539" y="485"/>
                  <a:pt x="1539" y="485"/>
                  <a:pt x="1539" y="485"/>
                </a:cubicBezTo>
                <a:cubicBezTo>
                  <a:pt x="1540" y="486"/>
                  <a:pt x="1540" y="486"/>
                  <a:pt x="1540" y="486"/>
                </a:cubicBezTo>
                <a:close/>
                <a:moveTo>
                  <a:pt x="1430" y="497"/>
                </a:moveTo>
                <a:cubicBezTo>
                  <a:pt x="1430" y="497"/>
                  <a:pt x="1430" y="497"/>
                  <a:pt x="1430" y="498"/>
                </a:cubicBezTo>
                <a:cubicBezTo>
                  <a:pt x="1430" y="498"/>
                  <a:pt x="1430" y="498"/>
                  <a:pt x="1431" y="498"/>
                </a:cubicBezTo>
                <a:cubicBezTo>
                  <a:pt x="1431" y="498"/>
                  <a:pt x="1431" y="498"/>
                  <a:pt x="1430" y="497"/>
                </a:cubicBezTo>
                <a:close/>
                <a:moveTo>
                  <a:pt x="1430" y="499"/>
                </a:moveTo>
                <a:cubicBezTo>
                  <a:pt x="1430" y="499"/>
                  <a:pt x="1430" y="499"/>
                  <a:pt x="1429" y="499"/>
                </a:cubicBezTo>
                <a:cubicBezTo>
                  <a:pt x="1429" y="499"/>
                  <a:pt x="1429" y="499"/>
                  <a:pt x="1430" y="500"/>
                </a:cubicBezTo>
                <a:cubicBezTo>
                  <a:pt x="1430" y="500"/>
                  <a:pt x="1430" y="500"/>
                  <a:pt x="1430" y="499"/>
                </a:cubicBezTo>
                <a:close/>
                <a:moveTo>
                  <a:pt x="1432" y="502"/>
                </a:moveTo>
                <a:cubicBezTo>
                  <a:pt x="1432" y="502"/>
                  <a:pt x="1432" y="502"/>
                  <a:pt x="1430" y="501"/>
                </a:cubicBezTo>
                <a:cubicBezTo>
                  <a:pt x="1430" y="501"/>
                  <a:pt x="1430" y="501"/>
                  <a:pt x="1432" y="503"/>
                </a:cubicBezTo>
                <a:cubicBezTo>
                  <a:pt x="1432" y="503"/>
                  <a:pt x="1432" y="503"/>
                  <a:pt x="1432" y="502"/>
                </a:cubicBezTo>
                <a:close/>
                <a:moveTo>
                  <a:pt x="1431" y="499"/>
                </a:moveTo>
                <a:cubicBezTo>
                  <a:pt x="1431" y="499"/>
                  <a:pt x="1431" y="499"/>
                  <a:pt x="1432" y="500"/>
                </a:cubicBezTo>
                <a:cubicBezTo>
                  <a:pt x="1432" y="500"/>
                  <a:pt x="1432" y="500"/>
                  <a:pt x="1433" y="500"/>
                </a:cubicBezTo>
                <a:cubicBezTo>
                  <a:pt x="1433" y="500"/>
                  <a:pt x="1433" y="500"/>
                  <a:pt x="1432" y="499"/>
                </a:cubicBezTo>
                <a:cubicBezTo>
                  <a:pt x="1432" y="499"/>
                  <a:pt x="1432" y="499"/>
                  <a:pt x="1431" y="499"/>
                </a:cubicBezTo>
                <a:close/>
                <a:moveTo>
                  <a:pt x="1428" y="493"/>
                </a:moveTo>
                <a:cubicBezTo>
                  <a:pt x="1427" y="493"/>
                  <a:pt x="1427" y="493"/>
                  <a:pt x="1427" y="493"/>
                </a:cubicBezTo>
                <a:cubicBezTo>
                  <a:pt x="1427" y="493"/>
                  <a:pt x="1427" y="493"/>
                  <a:pt x="1427" y="495"/>
                </a:cubicBezTo>
                <a:cubicBezTo>
                  <a:pt x="1427" y="495"/>
                  <a:pt x="1427" y="495"/>
                  <a:pt x="1428" y="495"/>
                </a:cubicBezTo>
                <a:cubicBezTo>
                  <a:pt x="1428" y="495"/>
                  <a:pt x="1428" y="495"/>
                  <a:pt x="1428" y="496"/>
                </a:cubicBezTo>
                <a:cubicBezTo>
                  <a:pt x="1428" y="496"/>
                  <a:pt x="1428" y="496"/>
                  <a:pt x="1429" y="495"/>
                </a:cubicBezTo>
                <a:cubicBezTo>
                  <a:pt x="1429" y="495"/>
                  <a:pt x="1429" y="495"/>
                  <a:pt x="1428" y="493"/>
                </a:cubicBezTo>
                <a:close/>
                <a:moveTo>
                  <a:pt x="1427" y="497"/>
                </a:moveTo>
                <a:cubicBezTo>
                  <a:pt x="1427" y="497"/>
                  <a:pt x="1427" y="497"/>
                  <a:pt x="1428" y="498"/>
                </a:cubicBezTo>
                <a:cubicBezTo>
                  <a:pt x="1428" y="498"/>
                  <a:pt x="1428" y="498"/>
                  <a:pt x="1429" y="498"/>
                </a:cubicBezTo>
                <a:cubicBezTo>
                  <a:pt x="1429" y="498"/>
                  <a:pt x="1429" y="498"/>
                  <a:pt x="1428" y="496"/>
                </a:cubicBezTo>
                <a:cubicBezTo>
                  <a:pt x="1428" y="496"/>
                  <a:pt x="1428" y="496"/>
                  <a:pt x="1427" y="495"/>
                </a:cubicBezTo>
                <a:cubicBezTo>
                  <a:pt x="1427" y="495"/>
                  <a:pt x="1427" y="495"/>
                  <a:pt x="1427" y="497"/>
                </a:cubicBezTo>
                <a:close/>
                <a:moveTo>
                  <a:pt x="1446" y="510"/>
                </a:moveTo>
                <a:cubicBezTo>
                  <a:pt x="1444" y="509"/>
                  <a:pt x="1444" y="509"/>
                  <a:pt x="1444" y="509"/>
                </a:cubicBezTo>
                <a:cubicBezTo>
                  <a:pt x="1445" y="510"/>
                  <a:pt x="1445" y="510"/>
                  <a:pt x="1445" y="510"/>
                </a:cubicBezTo>
                <a:cubicBezTo>
                  <a:pt x="1446" y="510"/>
                  <a:pt x="1446" y="510"/>
                  <a:pt x="1446" y="510"/>
                </a:cubicBezTo>
                <a:close/>
                <a:moveTo>
                  <a:pt x="1442" y="510"/>
                </a:moveTo>
                <a:cubicBezTo>
                  <a:pt x="1442" y="510"/>
                  <a:pt x="1442" y="510"/>
                  <a:pt x="1444" y="510"/>
                </a:cubicBezTo>
                <a:cubicBezTo>
                  <a:pt x="1444" y="510"/>
                  <a:pt x="1444" y="510"/>
                  <a:pt x="1444" y="509"/>
                </a:cubicBezTo>
                <a:cubicBezTo>
                  <a:pt x="1442" y="509"/>
                  <a:pt x="1442" y="509"/>
                  <a:pt x="1442" y="509"/>
                </a:cubicBezTo>
                <a:cubicBezTo>
                  <a:pt x="1441" y="509"/>
                  <a:pt x="1441" y="509"/>
                  <a:pt x="1441" y="509"/>
                </a:cubicBezTo>
                <a:cubicBezTo>
                  <a:pt x="1441" y="509"/>
                  <a:pt x="1441" y="509"/>
                  <a:pt x="1442" y="510"/>
                </a:cubicBezTo>
                <a:close/>
                <a:moveTo>
                  <a:pt x="1442" y="507"/>
                </a:moveTo>
                <a:cubicBezTo>
                  <a:pt x="1442" y="507"/>
                  <a:pt x="1442" y="507"/>
                  <a:pt x="1441" y="507"/>
                </a:cubicBezTo>
                <a:cubicBezTo>
                  <a:pt x="1441" y="507"/>
                  <a:pt x="1441" y="507"/>
                  <a:pt x="1442" y="508"/>
                </a:cubicBezTo>
                <a:cubicBezTo>
                  <a:pt x="1442" y="508"/>
                  <a:pt x="1442" y="508"/>
                  <a:pt x="1443" y="507"/>
                </a:cubicBezTo>
                <a:cubicBezTo>
                  <a:pt x="1443" y="507"/>
                  <a:pt x="1443" y="507"/>
                  <a:pt x="1442" y="507"/>
                </a:cubicBezTo>
                <a:close/>
                <a:moveTo>
                  <a:pt x="1442" y="508"/>
                </a:moveTo>
                <a:cubicBezTo>
                  <a:pt x="1442" y="508"/>
                  <a:pt x="1441" y="508"/>
                  <a:pt x="1440" y="508"/>
                </a:cubicBezTo>
                <a:cubicBezTo>
                  <a:pt x="1440" y="508"/>
                  <a:pt x="1440" y="508"/>
                  <a:pt x="1442" y="509"/>
                </a:cubicBezTo>
                <a:cubicBezTo>
                  <a:pt x="1442" y="509"/>
                  <a:pt x="1442" y="509"/>
                  <a:pt x="1443" y="508"/>
                </a:cubicBezTo>
                <a:cubicBezTo>
                  <a:pt x="1443" y="508"/>
                  <a:pt x="1443" y="508"/>
                  <a:pt x="1442" y="508"/>
                </a:cubicBezTo>
                <a:close/>
                <a:moveTo>
                  <a:pt x="1452" y="414"/>
                </a:moveTo>
                <a:cubicBezTo>
                  <a:pt x="1451" y="416"/>
                  <a:pt x="1451" y="416"/>
                  <a:pt x="1451" y="416"/>
                </a:cubicBezTo>
                <a:cubicBezTo>
                  <a:pt x="1453" y="414"/>
                  <a:pt x="1453" y="414"/>
                  <a:pt x="1453" y="414"/>
                </a:cubicBezTo>
                <a:cubicBezTo>
                  <a:pt x="1452" y="414"/>
                  <a:pt x="1452" y="414"/>
                  <a:pt x="1452" y="414"/>
                </a:cubicBezTo>
                <a:close/>
                <a:moveTo>
                  <a:pt x="1448" y="414"/>
                </a:moveTo>
                <a:cubicBezTo>
                  <a:pt x="1446" y="413"/>
                  <a:pt x="1446" y="413"/>
                  <a:pt x="1446" y="413"/>
                </a:cubicBezTo>
                <a:cubicBezTo>
                  <a:pt x="1447" y="414"/>
                  <a:pt x="1447" y="414"/>
                  <a:pt x="1447" y="414"/>
                </a:cubicBezTo>
                <a:cubicBezTo>
                  <a:pt x="1448" y="414"/>
                  <a:pt x="1448" y="414"/>
                  <a:pt x="1448" y="414"/>
                </a:cubicBezTo>
                <a:close/>
                <a:moveTo>
                  <a:pt x="1389" y="424"/>
                </a:moveTo>
                <a:cubicBezTo>
                  <a:pt x="1388" y="424"/>
                  <a:pt x="1388" y="424"/>
                  <a:pt x="1388" y="424"/>
                </a:cubicBezTo>
                <a:cubicBezTo>
                  <a:pt x="1388" y="425"/>
                  <a:pt x="1388" y="425"/>
                  <a:pt x="1388" y="425"/>
                </a:cubicBezTo>
                <a:cubicBezTo>
                  <a:pt x="1389" y="426"/>
                  <a:pt x="1389" y="426"/>
                  <a:pt x="1389" y="426"/>
                </a:cubicBezTo>
                <a:cubicBezTo>
                  <a:pt x="1389" y="425"/>
                  <a:pt x="1389" y="425"/>
                  <a:pt x="1389" y="425"/>
                </a:cubicBezTo>
                <a:cubicBezTo>
                  <a:pt x="1389" y="424"/>
                  <a:pt x="1389" y="424"/>
                  <a:pt x="1389" y="424"/>
                </a:cubicBezTo>
                <a:close/>
                <a:moveTo>
                  <a:pt x="1412" y="417"/>
                </a:moveTo>
                <a:cubicBezTo>
                  <a:pt x="1411" y="417"/>
                  <a:pt x="1411" y="417"/>
                  <a:pt x="1411" y="417"/>
                </a:cubicBezTo>
                <a:cubicBezTo>
                  <a:pt x="1411" y="418"/>
                  <a:pt x="1411" y="418"/>
                  <a:pt x="1411" y="418"/>
                </a:cubicBezTo>
                <a:cubicBezTo>
                  <a:pt x="1412" y="418"/>
                  <a:pt x="1412" y="418"/>
                  <a:pt x="1412" y="418"/>
                </a:cubicBezTo>
                <a:cubicBezTo>
                  <a:pt x="1412" y="417"/>
                  <a:pt x="1412" y="417"/>
                  <a:pt x="1412" y="417"/>
                </a:cubicBezTo>
                <a:close/>
                <a:moveTo>
                  <a:pt x="1365" y="444"/>
                </a:moveTo>
                <a:cubicBezTo>
                  <a:pt x="1365" y="443"/>
                  <a:pt x="1365" y="443"/>
                  <a:pt x="1365" y="443"/>
                </a:cubicBezTo>
                <a:cubicBezTo>
                  <a:pt x="1364" y="442"/>
                  <a:pt x="1364" y="442"/>
                  <a:pt x="1364" y="442"/>
                </a:cubicBezTo>
                <a:cubicBezTo>
                  <a:pt x="1363" y="442"/>
                  <a:pt x="1363" y="442"/>
                  <a:pt x="1363" y="442"/>
                </a:cubicBezTo>
                <a:cubicBezTo>
                  <a:pt x="1362" y="442"/>
                  <a:pt x="1362" y="442"/>
                  <a:pt x="1362" y="442"/>
                </a:cubicBezTo>
                <a:cubicBezTo>
                  <a:pt x="1363" y="443"/>
                  <a:pt x="1363" y="443"/>
                  <a:pt x="1363" y="443"/>
                </a:cubicBezTo>
                <a:cubicBezTo>
                  <a:pt x="1364" y="443"/>
                  <a:pt x="1364" y="443"/>
                  <a:pt x="1364" y="443"/>
                </a:cubicBezTo>
                <a:cubicBezTo>
                  <a:pt x="1365" y="444"/>
                  <a:pt x="1365" y="444"/>
                  <a:pt x="1365" y="444"/>
                </a:cubicBezTo>
                <a:close/>
                <a:moveTo>
                  <a:pt x="1366" y="440"/>
                </a:moveTo>
                <a:cubicBezTo>
                  <a:pt x="1365" y="440"/>
                  <a:pt x="1365" y="440"/>
                  <a:pt x="1365" y="440"/>
                </a:cubicBezTo>
                <a:cubicBezTo>
                  <a:pt x="1365" y="441"/>
                  <a:pt x="1365" y="441"/>
                  <a:pt x="1365" y="441"/>
                </a:cubicBezTo>
                <a:cubicBezTo>
                  <a:pt x="1366" y="441"/>
                  <a:pt x="1366" y="441"/>
                  <a:pt x="1366" y="441"/>
                </a:cubicBezTo>
                <a:cubicBezTo>
                  <a:pt x="1366" y="440"/>
                  <a:pt x="1366" y="440"/>
                  <a:pt x="1366" y="440"/>
                </a:cubicBezTo>
                <a:close/>
                <a:moveTo>
                  <a:pt x="1364" y="441"/>
                </a:moveTo>
                <a:cubicBezTo>
                  <a:pt x="1364" y="442"/>
                  <a:pt x="1364" y="442"/>
                  <a:pt x="1364" y="442"/>
                </a:cubicBezTo>
                <a:cubicBezTo>
                  <a:pt x="1365" y="441"/>
                  <a:pt x="1365" y="441"/>
                  <a:pt x="1365" y="441"/>
                </a:cubicBezTo>
                <a:cubicBezTo>
                  <a:pt x="1364" y="441"/>
                  <a:pt x="1364" y="441"/>
                  <a:pt x="1364" y="441"/>
                </a:cubicBezTo>
                <a:close/>
                <a:moveTo>
                  <a:pt x="1308" y="347"/>
                </a:moveTo>
                <a:cubicBezTo>
                  <a:pt x="1307" y="347"/>
                  <a:pt x="1307" y="347"/>
                  <a:pt x="1307" y="347"/>
                </a:cubicBezTo>
                <a:cubicBezTo>
                  <a:pt x="1308" y="348"/>
                  <a:pt x="1308" y="348"/>
                  <a:pt x="1308" y="348"/>
                </a:cubicBezTo>
                <a:cubicBezTo>
                  <a:pt x="1308" y="347"/>
                  <a:pt x="1308" y="347"/>
                  <a:pt x="1308" y="347"/>
                </a:cubicBezTo>
                <a:close/>
                <a:moveTo>
                  <a:pt x="1308" y="352"/>
                </a:moveTo>
                <a:cubicBezTo>
                  <a:pt x="1308" y="351"/>
                  <a:pt x="1308" y="351"/>
                  <a:pt x="1308" y="351"/>
                </a:cubicBezTo>
                <a:cubicBezTo>
                  <a:pt x="1308" y="350"/>
                  <a:pt x="1308" y="350"/>
                  <a:pt x="1308" y="350"/>
                </a:cubicBezTo>
                <a:cubicBezTo>
                  <a:pt x="1307" y="350"/>
                  <a:pt x="1307" y="350"/>
                  <a:pt x="1307" y="350"/>
                </a:cubicBezTo>
                <a:cubicBezTo>
                  <a:pt x="1308" y="352"/>
                  <a:pt x="1308" y="352"/>
                  <a:pt x="1308" y="352"/>
                </a:cubicBezTo>
                <a:close/>
                <a:moveTo>
                  <a:pt x="1305" y="343"/>
                </a:moveTo>
                <a:cubicBezTo>
                  <a:pt x="1305" y="344"/>
                  <a:pt x="1305" y="344"/>
                  <a:pt x="1305" y="344"/>
                </a:cubicBezTo>
                <a:cubicBezTo>
                  <a:pt x="1306" y="345"/>
                  <a:pt x="1306" y="345"/>
                  <a:pt x="1306" y="345"/>
                </a:cubicBezTo>
                <a:cubicBezTo>
                  <a:pt x="1305" y="343"/>
                  <a:pt x="1305" y="343"/>
                  <a:pt x="1305" y="343"/>
                </a:cubicBezTo>
                <a:close/>
                <a:moveTo>
                  <a:pt x="1309" y="342"/>
                </a:moveTo>
                <a:cubicBezTo>
                  <a:pt x="1308" y="342"/>
                  <a:pt x="1308" y="342"/>
                  <a:pt x="1308" y="342"/>
                </a:cubicBezTo>
                <a:cubicBezTo>
                  <a:pt x="1309" y="343"/>
                  <a:pt x="1309" y="343"/>
                  <a:pt x="1309" y="343"/>
                </a:cubicBezTo>
                <a:cubicBezTo>
                  <a:pt x="1309" y="342"/>
                  <a:pt x="1309" y="342"/>
                  <a:pt x="1309" y="342"/>
                </a:cubicBezTo>
                <a:close/>
                <a:moveTo>
                  <a:pt x="1309" y="346"/>
                </a:moveTo>
                <a:cubicBezTo>
                  <a:pt x="1309" y="346"/>
                  <a:pt x="1309" y="346"/>
                  <a:pt x="1308" y="345"/>
                </a:cubicBezTo>
                <a:cubicBezTo>
                  <a:pt x="1308" y="345"/>
                  <a:pt x="1308" y="345"/>
                  <a:pt x="1306" y="342"/>
                </a:cubicBezTo>
                <a:cubicBezTo>
                  <a:pt x="1306" y="343"/>
                  <a:pt x="1306" y="343"/>
                  <a:pt x="1306" y="343"/>
                </a:cubicBezTo>
                <a:cubicBezTo>
                  <a:pt x="1306" y="343"/>
                  <a:pt x="1306" y="343"/>
                  <a:pt x="1306" y="344"/>
                </a:cubicBezTo>
                <a:cubicBezTo>
                  <a:pt x="1306" y="344"/>
                  <a:pt x="1306" y="344"/>
                  <a:pt x="1308" y="346"/>
                </a:cubicBezTo>
                <a:cubicBezTo>
                  <a:pt x="1308" y="346"/>
                  <a:pt x="1308" y="346"/>
                  <a:pt x="1309" y="346"/>
                </a:cubicBezTo>
                <a:close/>
                <a:moveTo>
                  <a:pt x="1308" y="344"/>
                </a:moveTo>
                <a:cubicBezTo>
                  <a:pt x="1308" y="344"/>
                  <a:pt x="1308" y="344"/>
                  <a:pt x="1308" y="343"/>
                </a:cubicBezTo>
                <a:cubicBezTo>
                  <a:pt x="1308" y="343"/>
                  <a:pt x="1308" y="343"/>
                  <a:pt x="1307" y="342"/>
                </a:cubicBezTo>
                <a:cubicBezTo>
                  <a:pt x="1306" y="342"/>
                  <a:pt x="1306" y="342"/>
                  <a:pt x="1306" y="342"/>
                </a:cubicBezTo>
                <a:cubicBezTo>
                  <a:pt x="1306" y="342"/>
                  <a:pt x="1306" y="342"/>
                  <a:pt x="1307" y="343"/>
                </a:cubicBezTo>
                <a:cubicBezTo>
                  <a:pt x="1307" y="343"/>
                  <a:pt x="1307" y="343"/>
                  <a:pt x="1308" y="344"/>
                </a:cubicBezTo>
                <a:close/>
                <a:moveTo>
                  <a:pt x="1298" y="411"/>
                </a:moveTo>
                <a:cubicBezTo>
                  <a:pt x="1298" y="411"/>
                  <a:pt x="1298" y="411"/>
                  <a:pt x="1299" y="411"/>
                </a:cubicBezTo>
                <a:cubicBezTo>
                  <a:pt x="1299" y="411"/>
                  <a:pt x="1299" y="411"/>
                  <a:pt x="1299" y="410"/>
                </a:cubicBezTo>
                <a:cubicBezTo>
                  <a:pt x="1299" y="410"/>
                  <a:pt x="1299" y="410"/>
                  <a:pt x="1300" y="410"/>
                </a:cubicBezTo>
                <a:cubicBezTo>
                  <a:pt x="1300" y="410"/>
                  <a:pt x="1300" y="410"/>
                  <a:pt x="1301" y="410"/>
                </a:cubicBezTo>
                <a:cubicBezTo>
                  <a:pt x="1301" y="410"/>
                  <a:pt x="1301" y="410"/>
                  <a:pt x="1302" y="410"/>
                </a:cubicBezTo>
                <a:cubicBezTo>
                  <a:pt x="1302" y="410"/>
                  <a:pt x="1302" y="410"/>
                  <a:pt x="1301" y="409"/>
                </a:cubicBezTo>
                <a:cubicBezTo>
                  <a:pt x="1301" y="409"/>
                  <a:pt x="1301" y="409"/>
                  <a:pt x="1302" y="409"/>
                </a:cubicBezTo>
                <a:cubicBezTo>
                  <a:pt x="1302" y="409"/>
                  <a:pt x="1302" y="409"/>
                  <a:pt x="1303" y="410"/>
                </a:cubicBezTo>
                <a:cubicBezTo>
                  <a:pt x="1303" y="410"/>
                  <a:pt x="1303" y="410"/>
                  <a:pt x="1302" y="411"/>
                </a:cubicBezTo>
                <a:cubicBezTo>
                  <a:pt x="1302" y="411"/>
                  <a:pt x="1302" y="411"/>
                  <a:pt x="1302" y="412"/>
                </a:cubicBezTo>
                <a:cubicBezTo>
                  <a:pt x="1302" y="412"/>
                  <a:pt x="1302" y="412"/>
                  <a:pt x="1303" y="410"/>
                </a:cubicBezTo>
                <a:cubicBezTo>
                  <a:pt x="1303" y="410"/>
                  <a:pt x="1303" y="410"/>
                  <a:pt x="1303" y="409"/>
                </a:cubicBezTo>
                <a:cubicBezTo>
                  <a:pt x="1303" y="409"/>
                  <a:pt x="1303" y="409"/>
                  <a:pt x="1304" y="409"/>
                </a:cubicBezTo>
                <a:cubicBezTo>
                  <a:pt x="1304" y="409"/>
                  <a:pt x="1304" y="409"/>
                  <a:pt x="1304" y="408"/>
                </a:cubicBezTo>
                <a:cubicBezTo>
                  <a:pt x="1304" y="408"/>
                  <a:pt x="1304" y="408"/>
                  <a:pt x="1305" y="409"/>
                </a:cubicBezTo>
                <a:cubicBezTo>
                  <a:pt x="1305" y="409"/>
                  <a:pt x="1305" y="409"/>
                  <a:pt x="1306" y="410"/>
                </a:cubicBezTo>
                <a:cubicBezTo>
                  <a:pt x="1306" y="410"/>
                  <a:pt x="1306" y="410"/>
                  <a:pt x="1305" y="410"/>
                </a:cubicBezTo>
                <a:cubicBezTo>
                  <a:pt x="1305" y="410"/>
                  <a:pt x="1305" y="410"/>
                  <a:pt x="1304" y="411"/>
                </a:cubicBezTo>
                <a:cubicBezTo>
                  <a:pt x="1305" y="411"/>
                  <a:pt x="1305" y="411"/>
                  <a:pt x="1305" y="411"/>
                </a:cubicBezTo>
                <a:cubicBezTo>
                  <a:pt x="1306" y="411"/>
                  <a:pt x="1306" y="411"/>
                  <a:pt x="1306" y="411"/>
                </a:cubicBezTo>
                <a:cubicBezTo>
                  <a:pt x="1307" y="411"/>
                  <a:pt x="1307" y="411"/>
                  <a:pt x="1307" y="411"/>
                </a:cubicBezTo>
                <a:cubicBezTo>
                  <a:pt x="1308" y="410"/>
                  <a:pt x="1308" y="410"/>
                  <a:pt x="1308" y="410"/>
                </a:cubicBezTo>
                <a:cubicBezTo>
                  <a:pt x="1310" y="410"/>
                  <a:pt x="1310" y="410"/>
                  <a:pt x="1310" y="410"/>
                </a:cubicBezTo>
                <a:cubicBezTo>
                  <a:pt x="1311" y="410"/>
                  <a:pt x="1311" y="410"/>
                  <a:pt x="1311" y="410"/>
                </a:cubicBezTo>
                <a:cubicBezTo>
                  <a:pt x="1311" y="412"/>
                  <a:pt x="1311" y="412"/>
                  <a:pt x="1311" y="412"/>
                </a:cubicBezTo>
                <a:cubicBezTo>
                  <a:pt x="1312" y="414"/>
                  <a:pt x="1312" y="414"/>
                  <a:pt x="1312" y="414"/>
                </a:cubicBezTo>
                <a:cubicBezTo>
                  <a:pt x="1312" y="415"/>
                  <a:pt x="1312" y="415"/>
                  <a:pt x="1312" y="415"/>
                </a:cubicBezTo>
                <a:cubicBezTo>
                  <a:pt x="1313" y="415"/>
                  <a:pt x="1313" y="415"/>
                  <a:pt x="1313" y="415"/>
                </a:cubicBezTo>
                <a:cubicBezTo>
                  <a:pt x="1314" y="418"/>
                  <a:pt x="1314" y="418"/>
                  <a:pt x="1314" y="418"/>
                </a:cubicBezTo>
                <a:cubicBezTo>
                  <a:pt x="1313" y="416"/>
                  <a:pt x="1313" y="416"/>
                  <a:pt x="1313" y="416"/>
                </a:cubicBezTo>
                <a:cubicBezTo>
                  <a:pt x="1312" y="417"/>
                  <a:pt x="1312" y="417"/>
                  <a:pt x="1312" y="417"/>
                </a:cubicBezTo>
                <a:cubicBezTo>
                  <a:pt x="1313" y="418"/>
                  <a:pt x="1313" y="418"/>
                  <a:pt x="1313" y="418"/>
                </a:cubicBezTo>
                <a:cubicBezTo>
                  <a:pt x="1313" y="419"/>
                  <a:pt x="1313" y="419"/>
                  <a:pt x="1313" y="419"/>
                </a:cubicBezTo>
                <a:cubicBezTo>
                  <a:pt x="1311" y="418"/>
                  <a:pt x="1311" y="418"/>
                  <a:pt x="1311" y="418"/>
                </a:cubicBezTo>
                <a:cubicBezTo>
                  <a:pt x="1311" y="419"/>
                  <a:pt x="1311" y="419"/>
                  <a:pt x="1311" y="419"/>
                </a:cubicBezTo>
                <a:cubicBezTo>
                  <a:pt x="1310" y="420"/>
                  <a:pt x="1310" y="420"/>
                  <a:pt x="1310" y="420"/>
                </a:cubicBezTo>
                <a:cubicBezTo>
                  <a:pt x="1310" y="421"/>
                  <a:pt x="1310" y="421"/>
                  <a:pt x="1310" y="421"/>
                </a:cubicBezTo>
                <a:cubicBezTo>
                  <a:pt x="1310" y="421"/>
                  <a:pt x="1310" y="421"/>
                  <a:pt x="1309" y="421"/>
                </a:cubicBezTo>
                <a:cubicBezTo>
                  <a:pt x="1309" y="421"/>
                  <a:pt x="1309" y="421"/>
                  <a:pt x="1308" y="421"/>
                </a:cubicBezTo>
                <a:cubicBezTo>
                  <a:pt x="1308" y="421"/>
                  <a:pt x="1308" y="421"/>
                  <a:pt x="1309" y="422"/>
                </a:cubicBezTo>
                <a:cubicBezTo>
                  <a:pt x="1309" y="422"/>
                  <a:pt x="1309" y="422"/>
                  <a:pt x="1309" y="423"/>
                </a:cubicBezTo>
                <a:cubicBezTo>
                  <a:pt x="1309" y="423"/>
                  <a:pt x="1309" y="423"/>
                  <a:pt x="1310" y="425"/>
                </a:cubicBezTo>
                <a:cubicBezTo>
                  <a:pt x="1310" y="425"/>
                  <a:pt x="1310" y="425"/>
                  <a:pt x="1310" y="426"/>
                </a:cubicBezTo>
                <a:cubicBezTo>
                  <a:pt x="1310" y="426"/>
                  <a:pt x="1310" y="426"/>
                  <a:pt x="1309" y="426"/>
                </a:cubicBezTo>
                <a:cubicBezTo>
                  <a:pt x="1309" y="426"/>
                  <a:pt x="1309" y="426"/>
                  <a:pt x="1310" y="427"/>
                </a:cubicBezTo>
                <a:cubicBezTo>
                  <a:pt x="1310" y="427"/>
                  <a:pt x="1310" y="427"/>
                  <a:pt x="1310" y="430"/>
                </a:cubicBezTo>
                <a:cubicBezTo>
                  <a:pt x="1310" y="430"/>
                  <a:pt x="1310" y="430"/>
                  <a:pt x="1310" y="431"/>
                </a:cubicBezTo>
                <a:cubicBezTo>
                  <a:pt x="1310" y="431"/>
                  <a:pt x="1310" y="431"/>
                  <a:pt x="1309" y="432"/>
                </a:cubicBezTo>
                <a:cubicBezTo>
                  <a:pt x="1309" y="432"/>
                  <a:pt x="1309" y="432"/>
                  <a:pt x="1309" y="433"/>
                </a:cubicBezTo>
                <a:cubicBezTo>
                  <a:pt x="1309" y="433"/>
                  <a:pt x="1309" y="433"/>
                  <a:pt x="1308" y="434"/>
                </a:cubicBezTo>
                <a:cubicBezTo>
                  <a:pt x="1308" y="434"/>
                  <a:pt x="1308" y="434"/>
                  <a:pt x="1307" y="435"/>
                </a:cubicBezTo>
                <a:cubicBezTo>
                  <a:pt x="1307" y="435"/>
                  <a:pt x="1307" y="435"/>
                  <a:pt x="1309" y="436"/>
                </a:cubicBezTo>
                <a:cubicBezTo>
                  <a:pt x="1309" y="436"/>
                  <a:pt x="1309" y="436"/>
                  <a:pt x="1307" y="436"/>
                </a:cubicBezTo>
                <a:cubicBezTo>
                  <a:pt x="1307" y="436"/>
                  <a:pt x="1307" y="436"/>
                  <a:pt x="1306" y="436"/>
                </a:cubicBezTo>
                <a:cubicBezTo>
                  <a:pt x="1306" y="436"/>
                  <a:pt x="1306" y="436"/>
                  <a:pt x="1305" y="437"/>
                </a:cubicBezTo>
                <a:cubicBezTo>
                  <a:pt x="1305" y="437"/>
                  <a:pt x="1305" y="437"/>
                  <a:pt x="1305" y="436"/>
                </a:cubicBezTo>
                <a:cubicBezTo>
                  <a:pt x="1305" y="436"/>
                  <a:pt x="1305" y="436"/>
                  <a:pt x="1304" y="437"/>
                </a:cubicBezTo>
                <a:cubicBezTo>
                  <a:pt x="1304" y="437"/>
                  <a:pt x="1304" y="437"/>
                  <a:pt x="1301" y="437"/>
                </a:cubicBezTo>
                <a:cubicBezTo>
                  <a:pt x="1301" y="437"/>
                  <a:pt x="1301" y="437"/>
                  <a:pt x="1301" y="438"/>
                </a:cubicBezTo>
                <a:cubicBezTo>
                  <a:pt x="1301" y="438"/>
                  <a:pt x="1301" y="438"/>
                  <a:pt x="1300" y="438"/>
                </a:cubicBezTo>
                <a:cubicBezTo>
                  <a:pt x="1300" y="438"/>
                  <a:pt x="1300" y="438"/>
                  <a:pt x="1299" y="439"/>
                </a:cubicBezTo>
                <a:cubicBezTo>
                  <a:pt x="1299" y="439"/>
                  <a:pt x="1299" y="439"/>
                  <a:pt x="1298" y="439"/>
                </a:cubicBezTo>
                <a:cubicBezTo>
                  <a:pt x="1298" y="439"/>
                  <a:pt x="1298" y="439"/>
                  <a:pt x="1297" y="438"/>
                </a:cubicBezTo>
                <a:cubicBezTo>
                  <a:pt x="1297" y="438"/>
                  <a:pt x="1297" y="438"/>
                  <a:pt x="1297" y="440"/>
                </a:cubicBezTo>
                <a:cubicBezTo>
                  <a:pt x="1297" y="440"/>
                  <a:pt x="1297" y="440"/>
                  <a:pt x="1296" y="441"/>
                </a:cubicBezTo>
                <a:cubicBezTo>
                  <a:pt x="1296" y="441"/>
                  <a:pt x="1296" y="441"/>
                  <a:pt x="1294" y="441"/>
                </a:cubicBezTo>
                <a:cubicBezTo>
                  <a:pt x="1294" y="441"/>
                  <a:pt x="1294" y="441"/>
                  <a:pt x="1291" y="442"/>
                </a:cubicBezTo>
                <a:cubicBezTo>
                  <a:pt x="1291" y="442"/>
                  <a:pt x="1291" y="442"/>
                  <a:pt x="1291" y="441"/>
                </a:cubicBezTo>
                <a:cubicBezTo>
                  <a:pt x="1291" y="441"/>
                  <a:pt x="1291" y="441"/>
                  <a:pt x="1289" y="441"/>
                </a:cubicBezTo>
                <a:cubicBezTo>
                  <a:pt x="1289" y="441"/>
                  <a:pt x="1289" y="441"/>
                  <a:pt x="1288" y="441"/>
                </a:cubicBezTo>
                <a:cubicBezTo>
                  <a:pt x="1288" y="441"/>
                  <a:pt x="1288" y="441"/>
                  <a:pt x="1290" y="440"/>
                </a:cubicBezTo>
                <a:cubicBezTo>
                  <a:pt x="1290" y="440"/>
                  <a:pt x="1290" y="440"/>
                  <a:pt x="1290" y="439"/>
                </a:cubicBezTo>
                <a:cubicBezTo>
                  <a:pt x="1290" y="439"/>
                  <a:pt x="1290" y="439"/>
                  <a:pt x="1288" y="440"/>
                </a:cubicBezTo>
                <a:cubicBezTo>
                  <a:pt x="1288" y="440"/>
                  <a:pt x="1288" y="440"/>
                  <a:pt x="1290" y="438"/>
                </a:cubicBezTo>
                <a:cubicBezTo>
                  <a:pt x="1290" y="438"/>
                  <a:pt x="1290" y="438"/>
                  <a:pt x="1287" y="439"/>
                </a:cubicBezTo>
                <a:cubicBezTo>
                  <a:pt x="1287" y="439"/>
                  <a:pt x="1287" y="439"/>
                  <a:pt x="1287" y="438"/>
                </a:cubicBezTo>
                <a:cubicBezTo>
                  <a:pt x="1287" y="438"/>
                  <a:pt x="1287" y="438"/>
                  <a:pt x="1286" y="438"/>
                </a:cubicBezTo>
                <a:cubicBezTo>
                  <a:pt x="1286" y="438"/>
                  <a:pt x="1286" y="438"/>
                  <a:pt x="1286" y="437"/>
                </a:cubicBezTo>
                <a:cubicBezTo>
                  <a:pt x="1286" y="437"/>
                  <a:pt x="1286" y="437"/>
                  <a:pt x="1288" y="437"/>
                </a:cubicBezTo>
                <a:cubicBezTo>
                  <a:pt x="1288" y="437"/>
                  <a:pt x="1288" y="437"/>
                  <a:pt x="1289" y="436"/>
                </a:cubicBezTo>
                <a:cubicBezTo>
                  <a:pt x="1289" y="436"/>
                  <a:pt x="1289" y="436"/>
                  <a:pt x="1285" y="436"/>
                </a:cubicBezTo>
                <a:cubicBezTo>
                  <a:pt x="1285" y="436"/>
                  <a:pt x="1285" y="436"/>
                  <a:pt x="1285" y="435"/>
                </a:cubicBezTo>
                <a:cubicBezTo>
                  <a:pt x="1285" y="435"/>
                  <a:pt x="1285" y="435"/>
                  <a:pt x="1287" y="434"/>
                </a:cubicBezTo>
                <a:cubicBezTo>
                  <a:pt x="1287" y="434"/>
                  <a:pt x="1287" y="434"/>
                  <a:pt x="1288" y="435"/>
                </a:cubicBezTo>
                <a:cubicBezTo>
                  <a:pt x="1288" y="435"/>
                  <a:pt x="1288" y="435"/>
                  <a:pt x="1289" y="435"/>
                </a:cubicBezTo>
                <a:cubicBezTo>
                  <a:pt x="1289" y="435"/>
                  <a:pt x="1289" y="435"/>
                  <a:pt x="1289" y="434"/>
                </a:cubicBezTo>
                <a:cubicBezTo>
                  <a:pt x="1289" y="434"/>
                  <a:pt x="1289" y="434"/>
                  <a:pt x="1288" y="433"/>
                </a:cubicBezTo>
                <a:cubicBezTo>
                  <a:pt x="1288" y="433"/>
                  <a:pt x="1288" y="433"/>
                  <a:pt x="1290" y="433"/>
                </a:cubicBezTo>
                <a:cubicBezTo>
                  <a:pt x="1290" y="433"/>
                  <a:pt x="1290" y="433"/>
                  <a:pt x="1290" y="432"/>
                </a:cubicBezTo>
                <a:cubicBezTo>
                  <a:pt x="1290" y="432"/>
                  <a:pt x="1290" y="432"/>
                  <a:pt x="1291" y="432"/>
                </a:cubicBezTo>
                <a:cubicBezTo>
                  <a:pt x="1291" y="432"/>
                  <a:pt x="1291" y="432"/>
                  <a:pt x="1291" y="431"/>
                </a:cubicBezTo>
                <a:cubicBezTo>
                  <a:pt x="1291" y="431"/>
                  <a:pt x="1291" y="431"/>
                  <a:pt x="1292" y="429"/>
                </a:cubicBezTo>
                <a:cubicBezTo>
                  <a:pt x="1292" y="429"/>
                  <a:pt x="1292" y="429"/>
                  <a:pt x="1291" y="429"/>
                </a:cubicBezTo>
                <a:cubicBezTo>
                  <a:pt x="1291" y="429"/>
                  <a:pt x="1291" y="429"/>
                  <a:pt x="1292" y="427"/>
                </a:cubicBezTo>
                <a:cubicBezTo>
                  <a:pt x="1292" y="427"/>
                  <a:pt x="1292" y="427"/>
                  <a:pt x="1293" y="428"/>
                </a:cubicBezTo>
                <a:cubicBezTo>
                  <a:pt x="1293" y="428"/>
                  <a:pt x="1293" y="428"/>
                  <a:pt x="1294" y="426"/>
                </a:cubicBezTo>
                <a:cubicBezTo>
                  <a:pt x="1294" y="426"/>
                  <a:pt x="1294" y="426"/>
                  <a:pt x="1291" y="426"/>
                </a:cubicBezTo>
                <a:cubicBezTo>
                  <a:pt x="1291" y="426"/>
                  <a:pt x="1291" y="426"/>
                  <a:pt x="1291" y="425"/>
                </a:cubicBezTo>
                <a:cubicBezTo>
                  <a:pt x="1291" y="425"/>
                  <a:pt x="1291" y="425"/>
                  <a:pt x="1290" y="425"/>
                </a:cubicBezTo>
                <a:cubicBezTo>
                  <a:pt x="1290" y="425"/>
                  <a:pt x="1290" y="425"/>
                  <a:pt x="1289" y="425"/>
                </a:cubicBezTo>
                <a:cubicBezTo>
                  <a:pt x="1289" y="425"/>
                  <a:pt x="1289" y="425"/>
                  <a:pt x="1288" y="424"/>
                </a:cubicBezTo>
                <a:cubicBezTo>
                  <a:pt x="1288" y="424"/>
                  <a:pt x="1288" y="424"/>
                  <a:pt x="1288" y="423"/>
                </a:cubicBezTo>
                <a:cubicBezTo>
                  <a:pt x="1288" y="423"/>
                  <a:pt x="1288" y="423"/>
                  <a:pt x="1290" y="423"/>
                </a:cubicBezTo>
                <a:cubicBezTo>
                  <a:pt x="1290" y="423"/>
                  <a:pt x="1290" y="423"/>
                  <a:pt x="1289" y="422"/>
                </a:cubicBezTo>
                <a:cubicBezTo>
                  <a:pt x="1289" y="422"/>
                  <a:pt x="1289" y="422"/>
                  <a:pt x="1290" y="422"/>
                </a:cubicBezTo>
                <a:cubicBezTo>
                  <a:pt x="1290" y="422"/>
                  <a:pt x="1290" y="422"/>
                  <a:pt x="1291" y="421"/>
                </a:cubicBezTo>
                <a:cubicBezTo>
                  <a:pt x="1291" y="421"/>
                  <a:pt x="1291" y="421"/>
                  <a:pt x="1291" y="420"/>
                </a:cubicBezTo>
                <a:cubicBezTo>
                  <a:pt x="1291" y="420"/>
                  <a:pt x="1291" y="420"/>
                  <a:pt x="1290" y="421"/>
                </a:cubicBezTo>
                <a:cubicBezTo>
                  <a:pt x="1290" y="421"/>
                  <a:pt x="1290" y="421"/>
                  <a:pt x="1289" y="420"/>
                </a:cubicBezTo>
                <a:cubicBezTo>
                  <a:pt x="1289" y="420"/>
                  <a:pt x="1289" y="420"/>
                  <a:pt x="1290" y="420"/>
                </a:cubicBezTo>
                <a:cubicBezTo>
                  <a:pt x="1290" y="420"/>
                  <a:pt x="1290" y="420"/>
                  <a:pt x="1290" y="419"/>
                </a:cubicBezTo>
                <a:cubicBezTo>
                  <a:pt x="1290" y="419"/>
                  <a:pt x="1290" y="419"/>
                  <a:pt x="1289" y="419"/>
                </a:cubicBezTo>
                <a:cubicBezTo>
                  <a:pt x="1289" y="419"/>
                  <a:pt x="1289" y="419"/>
                  <a:pt x="1289" y="418"/>
                </a:cubicBezTo>
                <a:cubicBezTo>
                  <a:pt x="1289" y="418"/>
                  <a:pt x="1289" y="418"/>
                  <a:pt x="1288" y="418"/>
                </a:cubicBezTo>
                <a:cubicBezTo>
                  <a:pt x="1288" y="418"/>
                  <a:pt x="1288" y="418"/>
                  <a:pt x="1289" y="417"/>
                </a:cubicBezTo>
                <a:cubicBezTo>
                  <a:pt x="1289" y="417"/>
                  <a:pt x="1289" y="417"/>
                  <a:pt x="1290" y="417"/>
                </a:cubicBezTo>
                <a:cubicBezTo>
                  <a:pt x="1290" y="417"/>
                  <a:pt x="1290" y="417"/>
                  <a:pt x="1293" y="417"/>
                </a:cubicBezTo>
                <a:cubicBezTo>
                  <a:pt x="1293" y="417"/>
                  <a:pt x="1293" y="417"/>
                  <a:pt x="1294" y="418"/>
                </a:cubicBezTo>
                <a:cubicBezTo>
                  <a:pt x="1294" y="418"/>
                  <a:pt x="1294" y="418"/>
                  <a:pt x="1294" y="417"/>
                </a:cubicBezTo>
                <a:cubicBezTo>
                  <a:pt x="1294" y="417"/>
                  <a:pt x="1294" y="417"/>
                  <a:pt x="1295" y="418"/>
                </a:cubicBezTo>
                <a:cubicBezTo>
                  <a:pt x="1295" y="418"/>
                  <a:pt x="1295" y="418"/>
                  <a:pt x="1297" y="417"/>
                </a:cubicBezTo>
                <a:cubicBezTo>
                  <a:pt x="1297" y="417"/>
                  <a:pt x="1297" y="417"/>
                  <a:pt x="1296" y="417"/>
                </a:cubicBezTo>
                <a:cubicBezTo>
                  <a:pt x="1296" y="417"/>
                  <a:pt x="1296" y="417"/>
                  <a:pt x="1298" y="416"/>
                </a:cubicBezTo>
                <a:cubicBezTo>
                  <a:pt x="1298" y="416"/>
                  <a:pt x="1298" y="416"/>
                  <a:pt x="1300" y="415"/>
                </a:cubicBezTo>
                <a:cubicBezTo>
                  <a:pt x="1300" y="415"/>
                  <a:pt x="1300" y="415"/>
                  <a:pt x="1299" y="415"/>
                </a:cubicBezTo>
                <a:cubicBezTo>
                  <a:pt x="1299" y="415"/>
                  <a:pt x="1299" y="415"/>
                  <a:pt x="1298" y="415"/>
                </a:cubicBezTo>
                <a:cubicBezTo>
                  <a:pt x="1298" y="415"/>
                  <a:pt x="1298" y="415"/>
                  <a:pt x="1297" y="415"/>
                </a:cubicBezTo>
                <a:cubicBezTo>
                  <a:pt x="1297" y="415"/>
                  <a:pt x="1297" y="415"/>
                  <a:pt x="1296" y="414"/>
                </a:cubicBezTo>
                <a:cubicBezTo>
                  <a:pt x="1296" y="414"/>
                  <a:pt x="1296" y="414"/>
                  <a:pt x="1298" y="413"/>
                </a:cubicBezTo>
                <a:cubicBezTo>
                  <a:pt x="1298" y="413"/>
                  <a:pt x="1298" y="413"/>
                  <a:pt x="1299" y="412"/>
                </a:cubicBezTo>
                <a:cubicBezTo>
                  <a:pt x="1299" y="412"/>
                  <a:pt x="1299" y="412"/>
                  <a:pt x="1298" y="412"/>
                </a:cubicBezTo>
                <a:lnTo>
                  <a:pt x="1298" y="411"/>
                </a:lnTo>
                <a:close/>
                <a:moveTo>
                  <a:pt x="1295" y="431"/>
                </a:moveTo>
                <a:cubicBezTo>
                  <a:pt x="1295" y="431"/>
                  <a:pt x="1295" y="431"/>
                  <a:pt x="1294" y="431"/>
                </a:cubicBezTo>
                <a:cubicBezTo>
                  <a:pt x="1294" y="431"/>
                  <a:pt x="1294" y="431"/>
                  <a:pt x="1294" y="431"/>
                </a:cubicBezTo>
                <a:cubicBezTo>
                  <a:pt x="1294" y="431"/>
                  <a:pt x="1294" y="431"/>
                  <a:pt x="1292" y="432"/>
                </a:cubicBezTo>
                <a:cubicBezTo>
                  <a:pt x="1292" y="432"/>
                  <a:pt x="1292" y="432"/>
                  <a:pt x="1293" y="432"/>
                </a:cubicBezTo>
                <a:cubicBezTo>
                  <a:pt x="1293" y="432"/>
                  <a:pt x="1293" y="432"/>
                  <a:pt x="1294" y="431"/>
                </a:cubicBezTo>
                <a:lnTo>
                  <a:pt x="1295" y="431"/>
                </a:lnTo>
                <a:close/>
                <a:moveTo>
                  <a:pt x="1288" y="419"/>
                </a:moveTo>
                <a:cubicBezTo>
                  <a:pt x="1289" y="420"/>
                  <a:pt x="1289" y="420"/>
                  <a:pt x="1289" y="420"/>
                </a:cubicBezTo>
                <a:cubicBezTo>
                  <a:pt x="1289" y="419"/>
                  <a:pt x="1289" y="419"/>
                  <a:pt x="1289" y="419"/>
                </a:cubicBezTo>
                <a:cubicBezTo>
                  <a:pt x="1288" y="419"/>
                  <a:pt x="1288" y="419"/>
                  <a:pt x="1288" y="419"/>
                </a:cubicBezTo>
                <a:close/>
                <a:moveTo>
                  <a:pt x="1289" y="432"/>
                </a:moveTo>
                <a:cubicBezTo>
                  <a:pt x="1291" y="431"/>
                  <a:pt x="1291" y="431"/>
                  <a:pt x="1291" y="431"/>
                </a:cubicBezTo>
                <a:cubicBezTo>
                  <a:pt x="1288" y="432"/>
                  <a:pt x="1288" y="432"/>
                  <a:pt x="1288" y="432"/>
                </a:cubicBezTo>
                <a:cubicBezTo>
                  <a:pt x="1289" y="432"/>
                  <a:pt x="1289" y="432"/>
                  <a:pt x="1289" y="432"/>
                </a:cubicBezTo>
                <a:close/>
                <a:moveTo>
                  <a:pt x="1303" y="394"/>
                </a:moveTo>
                <a:cubicBezTo>
                  <a:pt x="1303" y="394"/>
                  <a:pt x="1303" y="394"/>
                  <a:pt x="1303" y="395"/>
                </a:cubicBezTo>
                <a:cubicBezTo>
                  <a:pt x="1303" y="395"/>
                  <a:pt x="1303" y="395"/>
                  <a:pt x="1304" y="394"/>
                </a:cubicBezTo>
                <a:cubicBezTo>
                  <a:pt x="1304" y="394"/>
                  <a:pt x="1304" y="394"/>
                  <a:pt x="1303" y="394"/>
                </a:cubicBezTo>
                <a:close/>
                <a:moveTo>
                  <a:pt x="1305" y="392"/>
                </a:moveTo>
                <a:cubicBezTo>
                  <a:pt x="1305" y="391"/>
                  <a:pt x="1305" y="391"/>
                  <a:pt x="1305" y="391"/>
                </a:cubicBezTo>
                <a:cubicBezTo>
                  <a:pt x="1304" y="391"/>
                  <a:pt x="1304" y="391"/>
                  <a:pt x="1304" y="391"/>
                </a:cubicBezTo>
                <a:cubicBezTo>
                  <a:pt x="1304" y="392"/>
                  <a:pt x="1304" y="392"/>
                  <a:pt x="1304" y="392"/>
                </a:cubicBezTo>
                <a:cubicBezTo>
                  <a:pt x="1304" y="393"/>
                  <a:pt x="1304" y="393"/>
                  <a:pt x="1304" y="393"/>
                </a:cubicBezTo>
                <a:cubicBezTo>
                  <a:pt x="1305" y="393"/>
                  <a:pt x="1305" y="393"/>
                  <a:pt x="1305" y="393"/>
                </a:cubicBezTo>
                <a:cubicBezTo>
                  <a:pt x="1305" y="392"/>
                  <a:pt x="1305" y="392"/>
                  <a:pt x="1305" y="392"/>
                </a:cubicBezTo>
                <a:close/>
                <a:moveTo>
                  <a:pt x="1311" y="399"/>
                </a:moveTo>
                <a:cubicBezTo>
                  <a:pt x="1310" y="400"/>
                  <a:pt x="1310" y="400"/>
                  <a:pt x="1310" y="400"/>
                </a:cubicBezTo>
                <a:cubicBezTo>
                  <a:pt x="1309" y="401"/>
                  <a:pt x="1309" y="401"/>
                  <a:pt x="1309" y="401"/>
                </a:cubicBezTo>
                <a:cubicBezTo>
                  <a:pt x="1312" y="400"/>
                  <a:pt x="1312" y="400"/>
                  <a:pt x="1312" y="400"/>
                </a:cubicBezTo>
                <a:cubicBezTo>
                  <a:pt x="1312" y="401"/>
                  <a:pt x="1312" y="401"/>
                  <a:pt x="1312" y="401"/>
                </a:cubicBezTo>
                <a:cubicBezTo>
                  <a:pt x="1313" y="400"/>
                  <a:pt x="1313" y="400"/>
                  <a:pt x="1313" y="400"/>
                </a:cubicBezTo>
                <a:cubicBezTo>
                  <a:pt x="1312" y="399"/>
                  <a:pt x="1312" y="399"/>
                  <a:pt x="1312" y="399"/>
                </a:cubicBezTo>
                <a:cubicBezTo>
                  <a:pt x="1311" y="397"/>
                  <a:pt x="1311" y="397"/>
                  <a:pt x="1311" y="397"/>
                </a:cubicBezTo>
                <a:cubicBezTo>
                  <a:pt x="1309" y="398"/>
                  <a:pt x="1309" y="398"/>
                  <a:pt x="1309" y="398"/>
                </a:cubicBezTo>
                <a:cubicBezTo>
                  <a:pt x="1311" y="399"/>
                  <a:pt x="1311" y="399"/>
                  <a:pt x="1311" y="399"/>
                </a:cubicBezTo>
                <a:close/>
                <a:moveTo>
                  <a:pt x="1313" y="409"/>
                </a:moveTo>
                <a:cubicBezTo>
                  <a:pt x="1313" y="408"/>
                  <a:pt x="1313" y="408"/>
                  <a:pt x="1313" y="408"/>
                </a:cubicBezTo>
                <a:cubicBezTo>
                  <a:pt x="1312" y="409"/>
                  <a:pt x="1312" y="409"/>
                  <a:pt x="1312" y="409"/>
                </a:cubicBezTo>
                <a:cubicBezTo>
                  <a:pt x="1313" y="409"/>
                  <a:pt x="1313" y="409"/>
                  <a:pt x="1313" y="409"/>
                </a:cubicBezTo>
                <a:close/>
                <a:moveTo>
                  <a:pt x="1316" y="406"/>
                </a:moveTo>
                <a:cubicBezTo>
                  <a:pt x="1316" y="405"/>
                  <a:pt x="1316" y="405"/>
                  <a:pt x="1316" y="405"/>
                </a:cubicBezTo>
                <a:cubicBezTo>
                  <a:pt x="1316" y="404"/>
                  <a:pt x="1316" y="404"/>
                  <a:pt x="1316" y="404"/>
                </a:cubicBezTo>
                <a:cubicBezTo>
                  <a:pt x="1315" y="405"/>
                  <a:pt x="1315" y="405"/>
                  <a:pt x="1315" y="405"/>
                </a:cubicBezTo>
                <a:cubicBezTo>
                  <a:pt x="1316" y="406"/>
                  <a:pt x="1316" y="406"/>
                  <a:pt x="1316" y="406"/>
                </a:cubicBezTo>
                <a:close/>
                <a:moveTo>
                  <a:pt x="1326" y="426"/>
                </a:moveTo>
                <a:cubicBezTo>
                  <a:pt x="1327" y="427"/>
                  <a:pt x="1327" y="427"/>
                  <a:pt x="1327" y="427"/>
                </a:cubicBezTo>
                <a:cubicBezTo>
                  <a:pt x="1327" y="426"/>
                  <a:pt x="1327" y="426"/>
                  <a:pt x="1327" y="426"/>
                </a:cubicBezTo>
                <a:cubicBezTo>
                  <a:pt x="1326" y="426"/>
                  <a:pt x="1326" y="426"/>
                  <a:pt x="1326" y="426"/>
                </a:cubicBezTo>
                <a:close/>
                <a:moveTo>
                  <a:pt x="1308" y="398"/>
                </a:moveTo>
                <a:cubicBezTo>
                  <a:pt x="1308" y="398"/>
                  <a:pt x="1308" y="398"/>
                  <a:pt x="1309" y="398"/>
                </a:cubicBezTo>
                <a:cubicBezTo>
                  <a:pt x="1309" y="398"/>
                  <a:pt x="1309" y="398"/>
                  <a:pt x="1309" y="397"/>
                </a:cubicBezTo>
                <a:cubicBezTo>
                  <a:pt x="1309" y="397"/>
                  <a:pt x="1309" y="397"/>
                  <a:pt x="1308" y="398"/>
                </a:cubicBezTo>
                <a:close/>
                <a:moveTo>
                  <a:pt x="1309" y="394"/>
                </a:moveTo>
                <a:cubicBezTo>
                  <a:pt x="1310" y="395"/>
                  <a:pt x="1310" y="395"/>
                  <a:pt x="1310" y="395"/>
                </a:cubicBezTo>
                <a:cubicBezTo>
                  <a:pt x="1310" y="394"/>
                  <a:pt x="1310" y="394"/>
                  <a:pt x="1310" y="394"/>
                </a:cubicBezTo>
                <a:cubicBezTo>
                  <a:pt x="1309" y="394"/>
                  <a:pt x="1309" y="394"/>
                  <a:pt x="1309" y="394"/>
                </a:cubicBezTo>
                <a:close/>
                <a:moveTo>
                  <a:pt x="1310" y="395"/>
                </a:moveTo>
                <a:cubicBezTo>
                  <a:pt x="1310" y="396"/>
                  <a:pt x="1310" y="396"/>
                  <a:pt x="1310" y="396"/>
                </a:cubicBezTo>
                <a:cubicBezTo>
                  <a:pt x="1311" y="395"/>
                  <a:pt x="1311" y="395"/>
                  <a:pt x="1311" y="395"/>
                </a:cubicBezTo>
                <a:cubicBezTo>
                  <a:pt x="1310" y="395"/>
                  <a:pt x="1310" y="395"/>
                  <a:pt x="1310" y="395"/>
                </a:cubicBezTo>
                <a:close/>
                <a:moveTo>
                  <a:pt x="1325" y="378"/>
                </a:moveTo>
                <a:cubicBezTo>
                  <a:pt x="1324" y="378"/>
                  <a:pt x="1324" y="378"/>
                  <a:pt x="1324" y="378"/>
                </a:cubicBezTo>
                <a:cubicBezTo>
                  <a:pt x="1325" y="379"/>
                  <a:pt x="1325" y="379"/>
                  <a:pt x="1325" y="379"/>
                </a:cubicBezTo>
                <a:cubicBezTo>
                  <a:pt x="1325" y="378"/>
                  <a:pt x="1325" y="378"/>
                  <a:pt x="1325" y="378"/>
                </a:cubicBezTo>
                <a:close/>
                <a:moveTo>
                  <a:pt x="1338" y="360"/>
                </a:moveTo>
                <a:cubicBezTo>
                  <a:pt x="1338" y="360"/>
                  <a:pt x="1338" y="360"/>
                  <a:pt x="1338" y="358"/>
                </a:cubicBezTo>
                <a:cubicBezTo>
                  <a:pt x="1338" y="358"/>
                  <a:pt x="1338" y="358"/>
                  <a:pt x="1337" y="358"/>
                </a:cubicBezTo>
                <a:cubicBezTo>
                  <a:pt x="1337" y="358"/>
                  <a:pt x="1337" y="358"/>
                  <a:pt x="1337" y="359"/>
                </a:cubicBezTo>
                <a:cubicBezTo>
                  <a:pt x="1337" y="359"/>
                  <a:pt x="1337" y="359"/>
                  <a:pt x="1336" y="360"/>
                </a:cubicBezTo>
                <a:cubicBezTo>
                  <a:pt x="1336" y="360"/>
                  <a:pt x="1336" y="360"/>
                  <a:pt x="1337" y="360"/>
                </a:cubicBezTo>
                <a:cubicBezTo>
                  <a:pt x="1337" y="360"/>
                  <a:pt x="1337" y="360"/>
                  <a:pt x="1338" y="360"/>
                </a:cubicBezTo>
                <a:close/>
                <a:moveTo>
                  <a:pt x="1336" y="363"/>
                </a:moveTo>
                <a:cubicBezTo>
                  <a:pt x="1336" y="363"/>
                  <a:pt x="1336" y="363"/>
                  <a:pt x="1337" y="364"/>
                </a:cubicBezTo>
                <a:cubicBezTo>
                  <a:pt x="1337" y="364"/>
                  <a:pt x="1337" y="364"/>
                  <a:pt x="1337" y="363"/>
                </a:cubicBezTo>
                <a:cubicBezTo>
                  <a:pt x="1337" y="363"/>
                  <a:pt x="1337" y="363"/>
                  <a:pt x="1338" y="363"/>
                </a:cubicBezTo>
                <a:cubicBezTo>
                  <a:pt x="1338" y="363"/>
                  <a:pt x="1338" y="363"/>
                  <a:pt x="1337" y="362"/>
                </a:cubicBezTo>
                <a:cubicBezTo>
                  <a:pt x="1337" y="362"/>
                  <a:pt x="1337" y="362"/>
                  <a:pt x="1338" y="361"/>
                </a:cubicBezTo>
                <a:cubicBezTo>
                  <a:pt x="1338" y="361"/>
                  <a:pt x="1338" y="361"/>
                  <a:pt x="1337" y="361"/>
                </a:cubicBezTo>
                <a:cubicBezTo>
                  <a:pt x="1337" y="361"/>
                  <a:pt x="1337" y="361"/>
                  <a:pt x="1336" y="361"/>
                </a:cubicBezTo>
                <a:cubicBezTo>
                  <a:pt x="1336" y="361"/>
                  <a:pt x="1336" y="361"/>
                  <a:pt x="1336" y="362"/>
                </a:cubicBezTo>
                <a:cubicBezTo>
                  <a:pt x="1336" y="362"/>
                  <a:pt x="1336" y="362"/>
                  <a:pt x="1335" y="362"/>
                </a:cubicBezTo>
                <a:cubicBezTo>
                  <a:pt x="1335" y="362"/>
                  <a:pt x="1335" y="362"/>
                  <a:pt x="1334" y="362"/>
                </a:cubicBezTo>
                <a:cubicBezTo>
                  <a:pt x="1334" y="362"/>
                  <a:pt x="1334" y="362"/>
                  <a:pt x="1335" y="363"/>
                </a:cubicBezTo>
                <a:cubicBezTo>
                  <a:pt x="1335" y="363"/>
                  <a:pt x="1335" y="363"/>
                  <a:pt x="1336" y="363"/>
                </a:cubicBezTo>
                <a:close/>
                <a:moveTo>
                  <a:pt x="1335" y="360"/>
                </a:moveTo>
                <a:cubicBezTo>
                  <a:pt x="1335" y="361"/>
                  <a:pt x="1335" y="361"/>
                  <a:pt x="1335" y="361"/>
                </a:cubicBezTo>
                <a:cubicBezTo>
                  <a:pt x="1336" y="361"/>
                  <a:pt x="1336" y="361"/>
                  <a:pt x="1336" y="361"/>
                </a:cubicBezTo>
                <a:cubicBezTo>
                  <a:pt x="1336" y="360"/>
                  <a:pt x="1336" y="360"/>
                  <a:pt x="1336" y="360"/>
                </a:cubicBezTo>
                <a:cubicBezTo>
                  <a:pt x="1335" y="360"/>
                  <a:pt x="1335" y="360"/>
                  <a:pt x="1335" y="360"/>
                </a:cubicBezTo>
                <a:close/>
                <a:moveTo>
                  <a:pt x="1313" y="392"/>
                </a:moveTo>
                <a:cubicBezTo>
                  <a:pt x="1313" y="392"/>
                  <a:pt x="1313" y="392"/>
                  <a:pt x="1312" y="392"/>
                </a:cubicBezTo>
                <a:cubicBezTo>
                  <a:pt x="1312" y="392"/>
                  <a:pt x="1312" y="392"/>
                  <a:pt x="1311" y="391"/>
                </a:cubicBezTo>
                <a:cubicBezTo>
                  <a:pt x="1311" y="391"/>
                  <a:pt x="1311" y="391"/>
                  <a:pt x="1311" y="389"/>
                </a:cubicBezTo>
                <a:cubicBezTo>
                  <a:pt x="1311" y="389"/>
                  <a:pt x="1311" y="389"/>
                  <a:pt x="1310" y="388"/>
                </a:cubicBezTo>
                <a:cubicBezTo>
                  <a:pt x="1310" y="388"/>
                  <a:pt x="1310" y="388"/>
                  <a:pt x="1309" y="389"/>
                </a:cubicBezTo>
                <a:cubicBezTo>
                  <a:pt x="1309" y="389"/>
                  <a:pt x="1309" y="389"/>
                  <a:pt x="1310" y="390"/>
                </a:cubicBezTo>
                <a:cubicBezTo>
                  <a:pt x="1310" y="390"/>
                  <a:pt x="1310" y="390"/>
                  <a:pt x="1308" y="389"/>
                </a:cubicBezTo>
                <a:cubicBezTo>
                  <a:pt x="1308" y="389"/>
                  <a:pt x="1308" y="389"/>
                  <a:pt x="1308" y="390"/>
                </a:cubicBezTo>
                <a:cubicBezTo>
                  <a:pt x="1308" y="390"/>
                  <a:pt x="1308" y="390"/>
                  <a:pt x="1307" y="390"/>
                </a:cubicBezTo>
                <a:cubicBezTo>
                  <a:pt x="1307" y="390"/>
                  <a:pt x="1307" y="390"/>
                  <a:pt x="1309" y="391"/>
                </a:cubicBezTo>
                <a:cubicBezTo>
                  <a:pt x="1309" y="391"/>
                  <a:pt x="1309" y="391"/>
                  <a:pt x="1310" y="393"/>
                </a:cubicBezTo>
                <a:cubicBezTo>
                  <a:pt x="1310" y="393"/>
                  <a:pt x="1310" y="393"/>
                  <a:pt x="1311" y="393"/>
                </a:cubicBezTo>
                <a:cubicBezTo>
                  <a:pt x="1311" y="393"/>
                  <a:pt x="1311" y="393"/>
                  <a:pt x="1311" y="394"/>
                </a:cubicBezTo>
                <a:cubicBezTo>
                  <a:pt x="1311" y="394"/>
                  <a:pt x="1311" y="394"/>
                  <a:pt x="1312" y="394"/>
                </a:cubicBezTo>
                <a:cubicBezTo>
                  <a:pt x="1312" y="394"/>
                  <a:pt x="1312" y="394"/>
                  <a:pt x="1312" y="393"/>
                </a:cubicBezTo>
                <a:cubicBezTo>
                  <a:pt x="1312" y="393"/>
                  <a:pt x="1312" y="393"/>
                  <a:pt x="1313" y="392"/>
                </a:cubicBezTo>
                <a:close/>
                <a:moveTo>
                  <a:pt x="1325" y="375"/>
                </a:moveTo>
                <a:cubicBezTo>
                  <a:pt x="1326" y="376"/>
                  <a:pt x="1326" y="376"/>
                  <a:pt x="1326" y="376"/>
                </a:cubicBezTo>
                <a:cubicBezTo>
                  <a:pt x="1326" y="375"/>
                  <a:pt x="1326" y="375"/>
                  <a:pt x="1326" y="375"/>
                </a:cubicBezTo>
                <a:cubicBezTo>
                  <a:pt x="1325" y="375"/>
                  <a:pt x="1325" y="375"/>
                  <a:pt x="1325" y="375"/>
                </a:cubicBezTo>
                <a:close/>
                <a:moveTo>
                  <a:pt x="1326" y="376"/>
                </a:moveTo>
                <a:cubicBezTo>
                  <a:pt x="1326" y="376"/>
                  <a:pt x="1326" y="376"/>
                  <a:pt x="1325" y="376"/>
                </a:cubicBezTo>
                <a:cubicBezTo>
                  <a:pt x="1325" y="376"/>
                  <a:pt x="1325" y="376"/>
                  <a:pt x="1324" y="376"/>
                </a:cubicBezTo>
                <a:cubicBezTo>
                  <a:pt x="1324" y="376"/>
                  <a:pt x="1324" y="376"/>
                  <a:pt x="1324" y="377"/>
                </a:cubicBezTo>
                <a:cubicBezTo>
                  <a:pt x="1324" y="377"/>
                  <a:pt x="1324" y="377"/>
                  <a:pt x="1325" y="377"/>
                </a:cubicBezTo>
                <a:cubicBezTo>
                  <a:pt x="1325" y="377"/>
                  <a:pt x="1325" y="377"/>
                  <a:pt x="1326" y="376"/>
                </a:cubicBezTo>
                <a:close/>
                <a:moveTo>
                  <a:pt x="1327" y="378"/>
                </a:moveTo>
                <a:cubicBezTo>
                  <a:pt x="1327" y="378"/>
                  <a:pt x="1327" y="378"/>
                  <a:pt x="1327" y="377"/>
                </a:cubicBezTo>
                <a:cubicBezTo>
                  <a:pt x="1327" y="377"/>
                  <a:pt x="1327" y="377"/>
                  <a:pt x="1326" y="377"/>
                </a:cubicBezTo>
                <a:cubicBezTo>
                  <a:pt x="1326" y="377"/>
                  <a:pt x="1326" y="377"/>
                  <a:pt x="1327" y="378"/>
                </a:cubicBezTo>
                <a:close/>
                <a:moveTo>
                  <a:pt x="1311" y="404"/>
                </a:moveTo>
                <a:cubicBezTo>
                  <a:pt x="1311" y="404"/>
                  <a:pt x="1311" y="404"/>
                  <a:pt x="1311" y="405"/>
                </a:cubicBezTo>
                <a:cubicBezTo>
                  <a:pt x="1311" y="405"/>
                  <a:pt x="1311" y="405"/>
                  <a:pt x="1312" y="404"/>
                </a:cubicBezTo>
                <a:cubicBezTo>
                  <a:pt x="1312" y="404"/>
                  <a:pt x="1312" y="404"/>
                  <a:pt x="1313" y="402"/>
                </a:cubicBezTo>
                <a:cubicBezTo>
                  <a:pt x="1313" y="402"/>
                  <a:pt x="1313" y="402"/>
                  <a:pt x="1311" y="404"/>
                </a:cubicBezTo>
                <a:close/>
                <a:moveTo>
                  <a:pt x="1307" y="388"/>
                </a:moveTo>
                <a:cubicBezTo>
                  <a:pt x="1308" y="387"/>
                  <a:pt x="1308" y="387"/>
                  <a:pt x="1308" y="387"/>
                </a:cubicBezTo>
                <a:cubicBezTo>
                  <a:pt x="1307" y="386"/>
                  <a:pt x="1307" y="386"/>
                  <a:pt x="1307" y="386"/>
                </a:cubicBezTo>
                <a:cubicBezTo>
                  <a:pt x="1306" y="387"/>
                  <a:pt x="1306" y="387"/>
                  <a:pt x="1306" y="387"/>
                </a:cubicBezTo>
                <a:cubicBezTo>
                  <a:pt x="1307" y="388"/>
                  <a:pt x="1307" y="388"/>
                  <a:pt x="1307" y="388"/>
                </a:cubicBezTo>
                <a:close/>
                <a:moveTo>
                  <a:pt x="1317" y="419"/>
                </a:moveTo>
                <a:cubicBezTo>
                  <a:pt x="1317" y="419"/>
                  <a:pt x="1317" y="419"/>
                  <a:pt x="1317" y="420"/>
                </a:cubicBezTo>
                <a:cubicBezTo>
                  <a:pt x="1317" y="420"/>
                  <a:pt x="1317" y="420"/>
                  <a:pt x="1318" y="420"/>
                </a:cubicBezTo>
                <a:cubicBezTo>
                  <a:pt x="1318" y="420"/>
                  <a:pt x="1318" y="420"/>
                  <a:pt x="1320" y="419"/>
                </a:cubicBezTo>
                <a:cubicBezTo>
                  <a:pt x="1320" y="419"/>
                  <a:pt x="1320" y="419"/>
                  <a:pt x="1319" y="418"/>
                </a:cubicBezTo>
                <a:cubicBezTo>
                  <a:pt x="1319" y="418"/>
                  <a:pt x="1319" y="418"/>
                  <a:pt x="1320" y="417"/>
                </a:cubicBezTo>
                <a:cubicBezTo>
                  <a:pt x="1320" y="417"/>
                  <a:pt x="1320" y="417"/>
                  <a:pt x="1317" y="419"/>
                </a:cubicBezTo>
                <a:close/>
                <a:moveTo>
                  <a:pt x="1319" y="426"/>
                </a:moveTo>
                <a:cubicBezTo>
                  <a:pt x="1318" y="427"/>
                  <a:pt x="1318" y="427"/>
                  <a:pt x="1318" y="427"/>
                </a:cubicBezTo>
                <a:cubicBezTo>
                  <a:pt x="1320" y="428"/>
                  <a:pt x="1320" y="428"/>
                  <a:pt x="1320" y="428"/>
                </a:cubicBezTo>
                <a:cubicBezTo>
                  <a:pt x="1321" y="427"/>
                  <a:pt x="1321" y="427"/>
                  <a:pt x="1321" y="427"/>
                </a:cubicBezTo>
                <a:cubicBezTo>
                  <a:pt x="1320" y="427"/>
                  <a:pt x="1320" y="427"/>
                  <a:pt x="1320" y="427"/>
                </a:cubicBezTo>
                <a:cubicBezTo>
                  <a:pt x="1320" y="426"/>
                  <a:pt x="1320" y="426"/>
                  <a:pt x="1320" y="426"/>
                </a:cubicBezTo>
                <a:cubicBezTo>
                  <a:pt x="1319" y="426"/>
                  <a:pt x="1319" y="426"/>
                  <a:pt x="1319" y="426"/>
                </a:cubicBezTo>
                <a:close/>
                <a:moveTo>
                  <a:pt x="1313" y="393"/>
                </a:moveTo>
                <a:cubicBezTo>
                  <a:pt x="1312" y="394"/>
                  <a:pt x="1312" y="394"/>
                  <a:pt x="1312" y="394"/>
                </a:cubicBezTo>
                <a:cubicBezTo>
                  <a:pt x="1313" y="394"/>
                  <a:pt x="1313" y="394"/>
                  <a:pt x="1313" y="394"/>
                </a:cubicBezTo>
                <a:cubicBezTo>
                  <a:pt x="1313" y="395"/>
                  <a:pt x="1313" y="395"/>
                  <a:pt x="1313" y="395"/>
                </a:cubicBezTo>
                <a:cubicBezTo>
                  <a:pt x="1312" y="394"/>
                  <a:pt x="1312" y="394"/>
                  <a:pt x="1312" y="394"/>
                </a:cubicBezTo>
                <a:cubicBezTo>
                  <a:pt x="1312" y="395"/>
                  <a:pt x="1312" y="395"/>
                  <a:pt x="1312" y="395"/>
                </a:cubicBezTo>
                <a:cubicBezTo>
                  <a:pt x="1312" y="396"/>
                  <a:pt x="1312" y="396"/>
                  <a:pt x="1312" y="396"/>
                </a:cubicBezTo>
                <a:cubicBezTo>
                  <a:pt x="1310" y="396"/>
                  <a:pt x="1310" y="396"/>
                  <a:pt x="1310" y="396"/>
                </a:cubicBezTo>
                <a:cubicBezTo>
                  <a:pt x="1310" y="397"/>
                  <a:pt x="1310" y="397"/>
                  <a:pt x="1310" y="397"/>
                </a:cubicBezTo>
                <a:cubicBezTo>
                  <a:pt x="1311" y="397"/>
                  <a:pt x="1311" y="397"/>
                  <a:pt x="1311" y="397"/>
                </a:cubicBezTo>
                <a:cubicBezTo>
                  <a:pt x="1312" y="398"/>
                  <a:pt x="1312" y="398"/>
                  <a:pt x="1312" y="398"/>
                </a:cubicBezTo>
                <a:cubicBezTo>
                  <a:pt x="1313" y="399"/>
                  <a:pt x="1313" y="399"/>
                  <a:pt x="1313" y="399"/>
                </a:cubicBezTo>
                <a:cubicBezTo>
                  <a:pt x="1315" y="396"/>
                  <a:pt x="1315" y="396"/>
                  <a:pt x="1315" y="396"/>
                </a:cubicBezTo>
                <a:cubicBezTo>
                  <a:pt x="1315" y="397"/>
                  <a:pt x="1315" y="397"/>
                  <a:pt x="1315" y="397"/>
                </a:cubicBezTo>
                <a:cubicBezTo>
                  <a:pt x="1314" y="399"/>
                  <a:pt x="1314" y="399"/>
                  <a:pt x="1314" y="399"/>
                </a:cubicBezTo>
                <a:cubicBezTo>
                  <a:pt x="1313" y="401"/>
                  <a:pt x="1313" y="401"/>
                  <a:pt x="1313" y="401"/>
                </a:cubicBezTo>
                <a:cubicBezTo>
                  <a:pt x="1314" y="401"/>
                  <a:pt x="1314" y="401"/>
                  <a:pt x="1314" y="401"/>
                </a:cubicBezTo>
                <a:cubicBezTo>
                  <a:pt x="1313" y="403"/>
                  <a:pt x="1313" y="403"/>
                  <a:pt x="1313" y="403"/>
                </a:cubicBezTo>
                <a:cubicBezTo>
                  <a:pt x="1313" y="404"/>
                  <a:pt x="1313" y="404"/>
                  <a:pt x="1313" y="404"/>
                </a:cubicBezTo>
                <a:cubicBezTo>
                  <a:pt x="1313" y="405"/>
                  <a:pt x="1313" y="405"/>
                  <a:pt x="1313" y="405"/>
                </a:cubicBezTo>
                <a:cubicBezTo>
                  <a:pt x="1313" y="406"/>
                  <a:pt x="1313" y="406"/>
                  <a:pt x="1313" y="406"/>
                </a:cubicBezTo>
                <a:cubicBezTo>
                  <a:pt x="1313" y="408"/>
                  <a:pt x="1313" y="408"/>
                  <a:pt x="1313" y="408"/>
                </a:cubicBezTo>
                <a:cubicBezTo>
                  <a:pt x="1314" y="407"/>
                  <a:pt x="1314" y="407"/>
                  <a:pt x="1314" y="407"/>
                </a:cubicBezTo>
                <a:cubicBezTo>
                  <a:pt x="1314" y="408"/>
                  <a:pt x="1314" y="408"/>
                  <a:pt x="1314" y="408"/>
                </a:cubicBezTo>
                <a:cubicBezTo>
                  <a:pt x="1316" y="409"/>
                  <a:pt x="1316" y="409"/>
                  <a:pt x="1316" y="409"/>
                </a:cubicBezTo>
                <a:cubicBezTo>
                  <a:pt x="1316" y="407"/>
                  <a:pt x="1316" y="407"/>
                  <a:pt x="1316" y="407"/>
                </a:cubicBezTo>
                <a:cubicBezTo>
                  <a:pt x="1315" y="406"/>
                  <a:pt x="1315" y="406"/>
                  <a:pt x="1315" y="406"/>
                </a:cubicBezTo>
                <a:cubicBezTo>
                  <a:pt x="1314" y="406"/>
                  <a:pt x="1314" y="406"/>
                  <a:pt x="1314" y="406"/>
                </a:cubicBezTo>
                <a:cubicBezTo>
                  <a:pt x="1314" y="405"/>
                  <a:pt x="1314" y="405"/>
                  <a:pt x="1314" y="405"/>
                </a:cubicBezTo>
                <a:cubicBezTo>
                  <a:pt x="1314" y="403"/>
                  <a:pt x="1314" y="403"/>
                  <a:pt x="1314" y="403"/>
                </a:cubicBezTo>
                <a:cubicBezTo>
                  <a:pt x="1316" y="401"/>
                  <a:pt x="1316" y="401"/>
                  <a:pt x="1316" y="401"/>
                </a:cubicBezTo>
                <a:cubicBezTo>
                  <a:pt x="1315" y="403"/>
                  <a:pt x="1315" y="403"/>
                  <a:pt x="1315" y="403"/>
                </a:cubicBezTo>
                <a:cubicBezTo>
                  <a:pt x="1315" y="404"/>
                  <a:pt x="1315" y="404"/>
                  <a:pt x="1315" y="404"/>
                </a:cubicBezTo>
                <a:cubicBezTo>
                  <a:pt x="1316" y="403"/>
                  <a:pt x="1316" y="403"/>
                  <a:pt x="1316" y="403"/>
                </a:cubicBezTo>
                <a:cubicBezTo>
                  <a:pt x="1316" y="404"/>
                  <a:pt x="1316" y="404"/>
                  <a:pt x="1316" y="404"/>
                </a:cubicBezTo>
                <a:cubicBezTo>
                  <a:pt x="1317" y="403"/>
                  <a:pt x="1317" y="403"/>
                  <a:pt x="1317" y="403"/>
                </a:cubicBezTo>
                <a:cubicBezTo>
                  <a:pt x="1317" y="405"/>
                  <a:pt x="1317" y="405"/>
                  <a:pt x="1317" y="405"/>
                </a:cubicBezTo>
                <a:cubicBezTo>
                  <a:pt x="1317" y="406"/>
                  <a:pt x="1317" y="406"/>
                  <a:pt x="1317" y="406"/>
                </a:cubicBezTo>
                <a:cubicBezTo>
                  <a:pt x="1318" y="407"/>
                  <a:pt x="1318" y="407"/>
                  <a:pt x="1318" y="407"/>
                </a:cubicBezTo>
                <a:cubicBezTo>
                  <a:pt x="1318" y="408"/>
                  <a:pt x="1318" y="408"/>
                  <a:pt x="1318" y="408"/>
                </a:cubicBezTo>
                <a:cubicBezTo>
                  <a:pt x="1317" y="409"/>
                  <a:pt x="1317" y="409"/>
                  <a:pt x="1317" y="409"/>
                </a:cubicBezTo>
                <a:cubicBezTo>
                  <a:pt x="1316" y="411"/>
                  <a:pt x="1316" y="411"/>
                  <a:pt x="1316" y="411"/>
                </a:cubicBezTo>
                <a:cubicBezTo>
                  <a:pt x="1316" y="413"/>
                  <a:pt x="1316" y="413"/>
                  <a:pt x="1316" y="413"/>
                </a:cubicBezTo>
                <a:cubicBezTo>
                  <a:pt x="1317" y="413"/>
                  <a:pt x="1317" y="413"/>
                  <a:pt x="1317" y="413"/>
                </a:cubicBezTo>
                <a:cubicBezTo>
                  <a:pt x="1319" y="415"/>
                  <a:pt x="1319" y="415"/>
                  <a:pt x="1319" y="415"/>
                </a:cubicBezTo>
                <a:cubicBezTo>
                  <a:pt x="1319" y="414"/>
                  <a:pt x="1319" y="414"/>
                  <a:pt x="1319" y="414"/>
                </a:cubicBezTo>
                <a:cubicBezTo>
                  <a:pt x="1319" y="413"/>
                  <a:pt x="1319" y="413"/>
                  <a:pt x="1319" y="413"/>
                </a:cubicBezTo>
                <a:cubicBezTo>
                  <a:pt x="1321" y="414"/>
                  <a:pt x="1321" y="414"/>
                  <a:pt x="1321" y="414"/>
                </a:cubicBezTo>
                <a:cubicBezTo>
                  <a:pt x="1322" y="414"/>
                  <a:pt x="1322" y="414"/>
                  <a:pt x="1322" y="414"/>
                </a:cubicBezTo>
                <a:cubicBezTo>
                  <a:pt x="1322" y="413"/>
                  <a:pt x="1322" y="413"/>
                  <a:pt x="1322" y="413"/>
                </a:cubicBezTo>
                <a:cubicBezTo>
                  <a:pt x="1323" y="413"/>
                  <a:pt x="1323" y="413"/>
                  <a:pt x="1323" y="413"/>
                </a:cubicBezTo>
                <a:cubicBezTo>
                  <a:pt x="1324" y="412"/>
                  <a:pt x="1324" y="412"/>
                  <a:pt x="1324" y="412"/>
                </a:cubicBezTo>
                <a:cubicBezTo>
                  <a:pt x="1327" y="412"/>
                  <a:pt x="1327" y="412"/>
                  <a:pt x="1327" y="412"/>
                </a:cubicBezTo>
                <a:cubicBezTo>
                  <a:pt x="1325" y="413"/>
                  <a:pt x="1325" y="413"/>
                  <a:pt x="1325" y="413"/>
                </a:cubicBezTo>
                <a:cubicBezTo>
                  <a:pt x="1323" y="416"/>
                  <a:pt x="1323" y="416"/>
                  <a:pt x="1323" y="416"/>
                </a:cubicBezTo>
                <a:cubicBezTo>
                  <a:pt x="1325" y="419"/>
                  <a:pt x="1325" y="419"/>
                  <a:pt x="1325" y="419"/>
                </a:cubicBezTo>
                <a:cubicBezTo>
                  <a:pt x="1326" y="419"/>
                  <a:pt x="1326" y="419"/>
                  <a:pt x="1326" y="419"/>
                </a:cubicBezTo>
                <a:cubicBezTo>
                  <a:pt x="1326" y="420"/>
                  <a:pt x="1326" y="420"/>
                  <a:pt x="1326" y="420"/>
                </a:cubicBezTo>
                <a:cubicBezTo>
                  <a:pt x="1327" y="419"/>
                  <a:pt x="1327" y="419"/>
                  <a:pt x="1327" y="419"/>
                </a:cubicBezTo>
                <a:cubicBezTo>
                  <a:pt x="1328" y="419"/>
                  <a:pt x="1328" y="419"/>
                  <a:pt x="1328" y="419"/>
                </a:cubicBezTo>
                <a:cubicBezTo>
                  <a:pt x="1328" y="420"/>
                  <a:pt x="1328" y="420"/>
                  <a:pt x="1328" y="420"/>
                </a:cubicBezTo>
                <a:cubicBezTo>
                  <a:pt x="1328" y="421"/>
                  <a:pt x="1328" y="421"/>
                  <a:pt x="1328" y="421"/>
                </a:cubicBezTo>
                <a:cubicBezTo>
                  <a:pt x="1327" y="422"/>
                  <a:pt x="1327" y="422"/>
                  <a:pt x="1327" y="422"/>
                </a:cubicBezTo>
                <a:cubicBezTo>
                  <a:pt x="1327" y="423"/>
                  <a:pt x="1327" y="423"/>
                  <a:pt x="1327" y="423"/>
                </a:cubicBezTo>
                <a:cubicBezTo>
                  <a:pt x="1326" y="425"/>
                  <a:pt x="1326" y="425"/>
                  <a:pt x="1326" y="425"/>
                </a:cubicBezTo>
                <a:cubicBezTo>
                  <a:pt x="1327" y="426"/>
                  <a:pt x="1327" y="426"/>
                  <a:pt x="1327" y="426"/>
                </a:cubicBezTo>
                <a:cubicBezTo>
                  <a:pt x="1328" y="426"/>
                  <a:pt x="1328" y="426"/>
                  <a:pt x="1328" y="426"/>
                </a:cubicBezTo>
                <a:cubicBezTo>
                  <a:pt x="1329" y="427"/>
                  <a:pt x="1329" y="427"/>
                  <a:pt x="1329" y="427"/>
                </a:cubicBezTo>
                <a:cubicBezTo>
                  <a:pt x="1328" y="427"/>
                  <a:pt x="1328" y="427"/>
                  <a:pt x="1328" y="427"/>
                </a:cubicBezTo>
                <a:cubicBezTo>
                  <a:pt x="1327" y="427"/>
                  <a:pt x="1327" y="427"/>
                  <a:pt x="1327" y="427"/>
                </a:cubicBezTo>
                <a:cubicBezTo>
                  <a:pt x="1327" y="428"/>
                  <a:pt x="1327" y="428"/>
                  <a:pt x="1327" y="428"/>
                </a:cubicBezTo>
                <a:cubicBezTo>
                  <a:pt x="1326" y="427"/>
                  <a:pt x="1326" y="427"/>
                  <a:pt x="1326" y="427"/>
                </a:cubicBezTo>
                <a:cubicBezTo>
                  <a:pt x="1325" y="427"/>
                  <a:pt x="1325" y="427"/>
                  <a:pt x="1325" y="427"/>
                </a:cubicBezTo>
                <a:cubicBezTo>
                  <a:pt x="1323" y="427"/>
                  <a:pt x="1323" y="427"/>
                  <a:pt x="1323" y="427"/>
                </a:cubicBezTo>
                <a:cubicBezTo>
                  <a:pt x="1321" y="428"/>
                  <a:pt x="1321" y="428"/>
                  <a:pt x="1321" y="428"/>
                </a:cubicBezTo>
                <a:cubicBezTo>
                  <a:pt x="1319" y="430"/>
                  <a:pt x="1319" y="430"/>
                  <a:pt x="1319" y="430"/>
                </a:cubicBezTo>
                <a:cubicBezTo>
                  <a:pt x="1318" y="431"/>
                  <a:pt x="1318" y="431"/>
                  <a:pt x="1318" y="431"/>
                </a:cubicBezTo>
                <a:cubicBezTo>
                  <a:pt x="1319" y="431"/>
                  <a:pt x="1319" y="431"/>
                  <a:pt x="1319" y="431"/>
                </a:cubicBezTo>
                <a:cubicBezTo>
                  <a:pt x="1321" y="430"/>
                  <a:pt x="1321" y="430"/>
                  <a:pt x="1321" y="430"/>
                </a:cubicBezTo>
                <a:cubicBezTo>
                  <a:pt x="1321" y="431"/>
                  <a:pt x="1321" y="431"/>
                  <a:pt x="1321" y="431"/>
                </a:cubicBezTo>
                <a:cubicBezTo>
                  <a:pt x="1322" y="432"/>
                  <a:pt x="1322" y="432"/>
                  <a:pt x="1322" y="432"/>
                </a:cubicBezTo>
                <a:cubicBezTo>
                  <a:pt x="1321" y="433"/>
                  <a:pt x="1321" y="433"/>
                  <a:pt x="1321" y="433"/>
                </a:cubicBezTo>
                <a:cubicBezTo>
                  <a:pt x="1321" y="434"/>
                  <a:pt x="1321" y="434"/>
                  <a:pt x="1321" y="434"/>
                </a:cubicBezTo>
                <a:cubicBezTo>
                  <a:pt x="1322" y="434"/>
                  <a:pt x="1322" y="434"/>
                  <a:pt x="1322" y="434"/>
                </a:cubicBezTo>
                <a:cubicBezTo>
                  <a:pt x="1320" y="436"/>
                  <a:pt x="1320" y="436"/>
                  <a:pt x="1320" y="436"/>
                </a:cubicBezTo>
                <a:cubicBezTo>
                  <a:pt x="1319" y="437"/>
                  <a:pt x="1319" y="437"/>
                  <a:pt x="1319" y="437"/>
                </a:cubicBezTo>
                <a:cubicBezTo>
                  <a:pt x="1318" y="437"/>
                  <a:pt x="1318" y="437"/>
                  <a:pt x="1318" y="437"/>
                </a:cubicBezTo>
                <a:cubicBezTo>
                  <a:pt x="1317" y="438"/>
                  <a:pt x="1317" y="438"/>
                  <a:pt x="1317" y="438"/>
                </a:cubicBezTo>
                <a:cubicBezTo>
                  <a:pt x="1316" y="438"/>
                  <a:pt x="1316" y="438"/>
                  <a:pt x="1316" y="438"/>
                </a:cubicBezTo>
                <a:cubicBezTo>
                  <a:pt x="1314" y="439"/>
                  <a:pt x="1314" y="439"/>
                  <a:pt x="1314" y="439"/>
                </a:cubicBezTo>
                <a:cubicBezTo>
                  <a:pt x="1315" y="439"/>
                  <a:pt x="1315" y="439"/>
                  <a:pt x="1315" y="439"/>
                </a:cubicBezTo>
                <a:cubicBezTo>
                  <a:pt x="1315" y="440"/>
                  <a:pt x="1315" y="440"/>
                  <a:pt x="1315" y="440"/>
                </a:cubicBezTo>
                <a:cubicBezTo>
                  <a:pt x="1315" y="441"/>
                  <a:pt x="1315" y="441"/>
                  <a:pt x="1315" y="441"/>
                </a:cubicBezTo>
                <a:cubicBezTo>
                  <a:pt x="1316" y="441"/>
                  <a:pt x="1316" y="441"/>
                  <a:pt x="1316" y="441"/>
                </a:cubicBezTo>
                <a:cubicBezTo>
                  <a:pt x="1316" y="442"/>
                  <a:pt x="1316" y="442"/>
                  <a:pt x="1316" y="442"/>
                </a:cubicBezTo>
                <a:cubicBezTo>
                  <a:pt x="1317" y="441"/>
                  <a:pt x="1317" y="441"/>
                  <a:pt x="1317" y="441"/>
                </a:cubicBezTo>
                <a:cubicBezTo>
                  <a:pt x="1318" y="441"/>
                  <a:pt x="1318" y="441"/>
                  <a:pt x="1318" y="441"/>
                </a:cubicBezTo>
                <a:cubicBezTo>
                  <a:pt x="1320" y="440"/>
                  <a:pt x="1320" y="440"/>
                  <a:pt x="1320" y="440"/>
                </a:cubicBezTo>
                <a:cubicBezTo>
                  <a:pt x="1320" y="441"/>
                  <a:pt x="1320" y="441"/>
                  <a:pt x="1320" y="441"/>
                </a:cubicBezTo>
                <a:cubicBezTo>
                  <a:pt x="1321" y="441"/>
                  <a:pt x="1321" y="441"/>
                  <a:pt x="1321" y="441"/>
                </a:cubicBezTo>
                <a:cubicBezTo>
                  <a:pt x="1320" y="442"/>
                  <a:pt x="1320" y="442"/>
                  <a:pt x="1320" y="442"/>
                </a:cubicBezTo>
                <a:cubicBezTo>
                  <a:pt x="1322" y="442"/>
                  <a:pt x="1322" y="442"/>
                  <a:pt x="1322" y="442"/>
                </a:cubicBezTo>
                <a:cubicBezTo>
                  <a:pt x="1323" y="442"/>
                  <a:pt x="1323" y="442"/>
                  <a:pt x="1323" y="442"/>
                </a:cubicBezTo>
                <a:cubicBezTo>
                  <a:pt x="1324" y="443"/>
                  <a:pt x="1324" y="443"/>
                  <a:pt x="1324" y="443"/>
                </a:cubicBezTo>
                <a:cubicBezTo>
                  <a:pt x="1324" y="444"/>
                  <a:pt x="1324" y="444"/>
                  <a:pt x="1324" y="444"/>
                </a:cubicBezTo>
                <a:cubicBezTo>
                  <a:pt x="1326" y="444"/>
                  <a:pt x="1326" y="444"/>
                  <a:pt x="1326" y="444"/>
                </a:cubicBezTo>
                <a:cubicBezTo>
                  <a:pt x="1327" y="443"/>
                  <a:pt x="1327" y="443"/>
                  <a:pt x="1327" y="443"/>
                </a:cubicBezTo>
                <a:cubicBezTo>
                  <a:pt x="1328" y="442"/>
                  <a:pt x="1328" y="442"/>
                  <a:pt x="1328" y="442"/>
                </a:cubicBezTo>
                <a:cubicBezTo>
                  <a:pt x="1329" y="442"/>
                  <a:pt x="1329" y="442"/>
                  <a:pt x="1329" y="442"/>
                </a:cubicBezTo>
                <a:cubicBezTo>
                  <a:pt x="1330" y="441"/>
                  <a:pt x="1330" y="441"/>
                  <a:pt x="1330" y="441"/>
                </a:cubicBezTo>
                <a:cubicBezTo>
                  <a:pt x="1331" y="441"/>
                  <a:pt x="1331" y="441"/>
                  <a:pt x="1331" y="441"/>
                </a:cubicBezTo>
                <a:cubicBezTo>
                  <a:pt x="1329" y="442"/>
                  <a:pt x="1329" y="442"/>
                  <a:pt x="1329" y="442"/>
                </a:cubicBezTo>
                <a:cubicBezTo>
                  <a:pt x="1328" y="444"/>
                  <a:pt x="1328" y="444"/>
                  <a:pt x="1328" y="444"/>
                </a:cubicBezTo>
                <a:cubicBezTo>
                  <a:pt x="1328" y="446"/>
                  <a:pt x="1328" y="446"/>
                  <a:pt x="1328" y="446"/>
                </a:cubicBezTo>
                <a:cubicBezTo>
                  <a:pt x="1327" y="446"/>
                  <a:pt x="1327" y="446"/>
                  <a:pt x="1327" y="446"/>
                </a:cubicBezTo>
                <a:cubicBezTo>
                  <a:pt x="1326" y="446"/>
                  <a:pt x="1326" y="446"/>
                  <a:pt x="1326" y="446"/>
                </a:cubicBezTo>
                <a:cubicBezTo>
                  <a:pt x="1325" y="445"/>
                  <a:pt x="1325" y="445"/>
                  <a:pt x="1325" y="445"/>
                </a:cubicBezTo>
                <a:cubicBezTo>
                  <a:pt x="1322" y="445"/>
                  <a:pt x="1322" y="445"/>
                  <a:pt x="1322" y="445"/>
                </a:cubicBezTo>
                <a:cubicBezTo>
                  <a:pt x="1320" y="446"/>
                  <a:pt x="1320" y="446"/>
                  <a:pt x="1320" y="446"/>
                </a:cubicBezTo>
                <a:cubicBezTo>
                  <a:pt x="1320" y="447"/>
                  <a:pt x="1320" y="447"/>
                  <a:pt x="1320" y="447"/>
                </a:cubicBezTo>
                <a:cubicBezTo>
                  <a:pt x="1319" y="447"/>
                  <a:pt x="1319" y="447"/>
                  <a:pt x="1319" y="447"/>
                </a:cubicBezTo>
                <a:cubicBezTo>
                  <a:pt x="1318" y="449"/>
                  <a:pt x="1318" y="449"/>
                  <a:pt x="1318" y="449"/>
                </a:cubicBezTo>
                <a:cubicBezTo>
                  <a:pt x="1317" y="450"/>
                  <a:pt x="1317" y="450"/>
                  <a:pt x="1317" y="450"/>
                </a:cubicBezTo>
                <a:cubicBezTo>
                  <a:pt x="1317" y="451"/>
                  <a:pt x="1317" y="451"/>
                  <a:pt x="1317" y="451"/>
                </a:cubicBezTo>
                <a:cubicBezTo>
                  <a:pt x="1316" y="451"/>
                  <a:pt x="1316" y="451"/>
                  <a:pt x="1316" y="451"/>
                </a:cubicBezTo>
                <a:cubicBezTo>
                  <a:pt x="1316" y="452"/>
                  <a:pt x="1316" y="452"/>
                  <a:pt x="1316" y="452"/>
                </a:cubicBezTo>
                <a:cubicBezTo>
                  <a:pt x="1315" y="452"/>
                  <a:pt x="1315" y="452"/>
                  <a:pt x="1315" y="452"/>
                </a:cubicBezTo>
                <a:cubicBezTo>
                  <a:pt x="1315" y="453"/>
                  <a:pt x="1315" y="453"/>
                  <a:pt x="1315" y="453"/>
                </a:cubicBezTo>
                <a:cubicBezTo>
                  <a:pt x="1313" y="454"/>
                  <a:pt x="1313" y="454"/>
                  <a:pt x="1313" y="454"/>
                </a:cubicBezTo>
                <a:cubicBezTo>
                  <a:pt x="1312" y="455"/>
                  <a:pt x="1312" y="455"/>
                  <a:pt x="1312" y="455"/>
                </a:cubicBezTo>
                <a:cubicBezTo>
                  <a:pt x="1312" y="456"/>
                  <a:pt x="1312" y="456"/>
                  <a:pt x="1312" y="456"/>
                </a:cubicBezTo>
                <a:cubicBezTo>
                  <a:pt x="1313" y="456"/>
                  <a:pt x="1313" y="456"/>
                  <a:pt x="1313" y="456"/>
                </a:cubicBezTo>
                <a:cubicBezTo>
                  <a:pt x="1313" y="455"/>
                  <a:pt x="1313" y="455"/>
                  <a:pt x="1313" y="455"/>
                </a:cubicBezTo>
                <a:cubicBezTo>
                  <a:pt x="1314" y="455"/>
                  <a:pt x="1314" y="455"/>
                  <a:pt x="1314" y="455"/>
                </a:cubicBezTo>
                <a:cubicBezTo>
                  <a:pt x="1315" y="456"/>
                  <a:pt x="1315" y="456"/>
                  <a:pt x="1315" y="456"/>
                </a:cubicBezTo>
                <a:cubicBezTo>
                  <a:pt x="1315" y="455"/>
                  <a:pt x="1315" y="455"/>
                  <a:pt x="1315" y="455"/>
                </a:cubicBezTo>
                <a:cubicBezTo>
                  <a:pt x="1316" y="454"/>
                  <a:pt x="1316" y="454"/>
                  <a:pt x="1316" y="454"/>
                </a:cubicBezTo>
                <a:cubicBezTo>
                  <a:pt x="1316" y="455"/>
                  <a:pt x="1316" y="455"/>
                  <a:pt x="1316" y="455"/>
                </a:cubicBezTo>
                <a:cubicBezTo>
                  <a:pt x="1317" y="454"/>
                  <a:pt x="1317" y="454"/>
                  <a:pt x="1317" y="454"/>
                </a:cubicBezTo>
                <a:cubicBezTo>
                  <a:pt x="1318" y="453"/>
                  <a:pt x="1318" y="453"/>
                  <a:pt x="1318" y="453"/>
                </a:cubicBezTo>
                <a:cubicBezTo>
                  <a:pt x="1319" y="453"/>
                  <a:pt x="1319" y="453"/>
                  <a:pt x="1319" y="453"/>
                </a:cubicBezTo>
                <a:cubicBezTo>
                  <a:pt x="1320" y="453"/>
                  <a:pt x="1320" y="453"/>
                  <a:pt x="1320" y="453"/>
                </a:cubicBezTo>
                <a:cubicBezTo>
                  <a:pt x="1321" y="453"/>
                  <a:pt x="1321" y="453"/>
                  <a:pt x="1321" y="453"/>
                </a:cubicBezTo>
                <a:cubicBezTo>
                  <a:pt x="1322" y="453"/>
                  <a:pt x="1322" y="453"/>
                  <a:pt x="1322" y="453"/>
                </a:cubicBezTo>
                <a:cubicBezTo>
                  <a:pt x="1323" y="454"/>
                  <a:pt x="1323" y="454"/>
                  <a:pt x="1323" y="454"/>
                </a:cubicBezTo>
                <a:cubicBezTo>
                  <a:pt x="1324" y="454"/>
                  <a:pt x="1324" y="454"/>
                  <a:pt x="1324" y="454"/>
                </a:cubicBezTo>
                <a:cubicBezTo>
                  <a:pt x="1324" y="453"/>
                  <a:pt x="1324" y="453"/>
                  <a:pt x="1324" y="453"/>
                </a:cubicBezTo>
                <a:cubicBezTo>
                  <a:pt x="1325" y="453"/>
                  <a:pt x="1325" y="453"/>
                  <a:pt x="1325" y="453"/>
                </a:cubicBezTo>
                <a:cubicBezTo>
                  <a:pt x="1325" y="452"/>
                  <a:pt x="1325" y="452"/>
                  <a:pt x="1325" y="452"/>
                </a:cubicBezTo>
                <a:cubicBezTo>
                  <a:pt x="1325" y="451"/>
                  <a:pt x="1325" y="451"/>
                  <a:pt x="1325" y="451"/>
                </a:cubicBezTo>
                <a:cubicBezTo>
                  <a:pt x="1326" y="450"/>
                  <a:pt x="1326" y="450"/>
                  <a:pt x="1326" y="450"/>
                </a:cubicBezTo>
                <a:cubicBezTo>
                  <a:pt x="1328" y="450"/>
                  <a:pt x="1328" y="450"/>
                  <a:pt x="1328" y="450"/>
                </a:cubicBezTo>
                <a:cubicBezTo>
                  <a:pt x="1329" y="450"/>
                  <a:pt x="1329" y="450"/>
                  <a:pt x="1329" y="450"/>
                </a:cubicBezTo>
                <a:cubicBezTo>
                  <a:pt x="1331" y="451"/>
                  <a:pt x="1331" y="451"/>
                  <a:pt x="1331" y="451"/>
                </a:cubicBezTo>
                <a:cubicBezTo>
                  <a:pt x="1331" y="450"/>
                  <a:pt x="1331" y="450"/>
                  <a:pt x="1331" y="450"/>
                </a:cubicBezTo>
                <a:cubicBezTo>
                  <a:pt x="1333" y="450"/>
                  <a:pt x="1333" y="450"/>
                  <a:pt x="1333" y="450"/>
                </a:cubicBezTo>
                <a:cubicBezTo>
                  <a:pt x="1334" y="451"/>
                  <a:pt x="1334" y="451"/>
                  <a:pt x="1334" y="451"/>
                </a:cubicBezTo>
                <a:cubicBezTo>
                  <a:pt x="1334" y="450"/>
                  <a:pt x="1334" y="450"/>
                  <a:pt x="1334" y="450"/>
                </a:cubicBezTo>
                <a:cubicBezTo>
                  <a:pt x="1335" y="449"/>
                  <a:pt x="1335" y="449"/>
                  <a:pt x="1335" y="449"/>
                </a:cubicBezTo>
                <a:cubicBezTo>
                  <a:pt x="1336" y="449"/>
                  <a:pt x="1336" y="449"/>
                  <a:pt x="1336" y="449"/>
                </a:cubicBezTo>
                <a:cubicBezTo>
                  <a:pt x="1337" y="448"/>
                  <a:pt x="1337" y="448"/>
                  <a:pt x="1337" y="448"/>
                </a:cubicBezTo>
                <a:cubicBezTo>
                  <a:pt x="1338" y="449"/>
                  <a:pt x="1338" y="449"/>
                  <a:pt x="1338" y="449"/>
                </a:cubicBezTo>
                <a:cubicBezTo>
                  <a:pt x="1338" y="449"/>
                  <a:pt x="1338" y="449"/>
                  <a:pt x="1337" y="449"/>
                </a:cubicBezTo>
                <a:cubicBezTo>
                  <a:pt x="1337" y="449"/>
                  <a:pt x="1337" y="449"/>
                  <a:pt x="1336" y="450"/>
                </a:cubicBezTo>
                <a:cubicBezTo>
                  <a:pt x="1336" y="450"/>
                  <a:pt x="1336" y="450"/>
                  <a:pt x="1337" y="450"/>
                </a:cubicBezTo>
                <a:cubicBezTo>
                  <a:pt x="1337" y="450"/>
                  <a:pt x="1337" y="450"/>
                  <a:pt x="1337" y="451"/>
                </a:cubicBezTo>
                <a:cubicBezTo>
                  <a:pt x="1337" y="451"/>
                  <a:pt x="1337" y="451"/>
                  <a:pt x="1338" y="451"/>
                </a:cubicBezTo>
                <a:cubicBezTo>
                  <a:pt x="1338" y="451"/>
                  <a:pt x="1338" y="451"/>
                  <a:pt x="1338" y="450"/>
                </a:cubicBezTo>
                <a:cubicBezTo>
                  <a:pt x="1338" y="450"/>
                  <a:pt x="1338" y="450"/>
                  <a:pt x="1339" y="449"/>
                </a:cubicBezTo>
                <a:cubicBezTo>
                  <a:pt x="1340" y="448"/>
                  <a:pt x="1340" y="448"/>
                  <a:pt x="1340" y="448"/>
                </a:cubicBezTo>
                <a:cubicBezTo>
                  <a:pt x="1340" y="449"/>
                  <a:pt x="1340" y="449"/>
                  <a:pt x="1340" y="449"/>
                </a:cubicBezTo>
                <a:cubicBezTo>
                  <a:pt x="1341" y="448"/>
                  <a:pt x="1341" y="448"/>
                  <a:pt x="1341" y="448"/>
                </a:cubicBezTo>
                <a:cubicBezTo>
                  <a:pt x="1343" y="448"/>
                  <a:pt x="1343" y="448"/>
                  <a:pt x="1343" y="448"/>
                </a:cubicBezTo>
                <a:cubicBezTo>
                  <a:pt x="1345" y="448"/>
                  <a:pt x="1345" y="448"/>
                  <a:pt x="1345" y="448"/>
                </a:cubicBezTo>
                <a:cubicBezTo>
                  <a:pt x="1346" y="449"/>
                  <a:pt x="1346" y="449"/>
                  <a:pt x="1346" y="449"/>
                </a:cubicBezTo>
                <a:cubicBezTo>
                  <a:pt x="1347" y="449"/>
                  <a:pt x="1347" y="449"/>
                  <a:pt x="1347" y="449"/>
                </a:cubicBezTo>
                <a:cubicBezTo>
                  <a:pt x="1347" y="448"/>
                  <a:pt x="1347" y="448"/>
                  <a:pt x="1347" y="448"/>
                </a:cubicBezTo>
                <a:cubicBezTo>
                  <a:pt x="1349" y="448"/>
                  <a:pt x="1349" y="448"/>
                  <a:pt x="1349" y="448"/>
                </a:cubicBezTo>
                <a:cubicBezTo>
                  <a:pt x="1349" y="447"/>
                  <a:pt x="1349" y="447"/>
                  <a:pt x="1349" y="447"/>
                </a:cubicBezTo>
                <a:cubicBezTo>
                  <a:pt x="1350" y="447"/>
                  <a:pt x="1350" y="447"/>
                  <a:pt x="1350" y="447"/>
                </a:cubicBezTo>
                <a:cubicBezTo>
                  <a:pt x="1351" y="447"/>
                  <a:pt x="1351" y="447"/>
                  <a:pt x="1351" y="447"/>
                </a:cubicBezTo>
                <a:cubicBezTo>
                  <a:pt x="1351" y="446"/>
                  <a:pt x="1351" y="446"/>
                  <a:pt x="1351" y="446"/>
                </a:cubicBezTo>
                <a:cubicBezTo>
                  <a:pt x="1352" y="445"/>
                  <a:pt x="1352" y="445"/>
                  <a:pt x="1352" y="445"/>
                </a:cubicBezTo>
                <a:cubicBezTo>
                  <a:pt x="1353" y="445"/>
                  <a:pt x="1353" y="445"/>
                  <a:pt x="1353" y="445"/>
                </a:cubicBezTo>
                <a:cubicBezTo>
                  <a:pt x="1353" y="444"/>
                  <a:pt x="1353" y="444"/>
                  <a:pt x="1353" y="444"/>
                </a:cubicBezTo>
                <a:cubicBezTo>
                  <a:pt x="1353" y="443"/>
                  <a:pt x="1353" y="443"/>
                  <a:pt x="1353" y="443"/>
                </a:cubicBezTo>
                <a:cubicBezTo>
                  <a:pt x="1351" y="443"/>
                  <a:pt x="1351" y="443"/>
                  <a:pt x="1351" y="443"/>
                </a:cubicBezTo>
                <a:cubicBezTo>
                  <a:pt x="1350" y="443"/>
                  <a:pt x="1350" y="443"/>
                  <a:pt x="1350" y="443"/>
                </a:cubicBezTo>
                <a:cubicBezTo>
                  <a:pt x="1349" y="442"/>
                  <a:pt x="1349" y="442"/>
                  <a:pt x="1349" y="442"/>
                </a:cubicBezTo>
                <a:cubicBezTo>
                  <a:pt x="1349" y="443"/>
                  <a:pt x="1349" y="443"/>
                  <a:pt x="1349" y="443"/>
                </a:cubicBezTo>
                <a:cubicBezTo>
                  <a:pt x="1348" y="443"/>
                  <a:pt x="1348" y="443"/>
                  <a:pt x="1348" y="443"/>
                </a:cubicBezTo>
                <a:cubicBezTo>
                  <a:pt x="1349" y="442"/>
                  <a:pt x="1349" y="442"/>
                  <a:pt x="1349" y="442"/>
                </a:cubicBezTo>
                <a:cubicBezTo>
                  <a:pt x="1348" y="442"/>
                  <a:pt x="1348" y="442"/>
                  <a:pt x="1348" y="442"/>
                </a:cubicBezTo>
                <a:cubicBezTo>
                  <a:pt x="1347" y="442"/>
                  <a:pt x="1347" y="442"/>
                  <a:pt x="1347" y="442"/>
                </a:cubicBezTo>
                <a:cubicBezTo>
                  <a:pt x="1348" y="441"/>
                  <a:pt x="1348" y="441"/>
                  <a:pt x="1348" y="441"/>
                </a:cubicBezTo>
                <a:cubicBezTo>
                  <a:pt x="1349" y="442"/>
                  <a:pt x="1349" y="442"/>
                  <a:pt x="1349" y="442"/>
                </a:cubicBezTo>
                <a:cubicBezTo>
                  <a:pt x="1350" y="441"/>
                  <a:pt x="1350" y="441"/>
                  <a:pt x="1350" y="441"/>
                </a:cubicBezTo>
                <a:cubicBezTo>
                  <a:pt x="1350" y="440"/>
                  <a:pt x="1350" y="440"/>
                  <a:pt x="1350" y="440"/>
                </a:cubicBezTo>
                <a:cubicBezTo>
                  <a:pt x="1349" y="440"/>
                  <a:pt x="1349" y="440"/>
                  <a:pt x="1349" y="440"/>
                </a:cubicBezTo>
                <a:cubicBezTo>
                  <a:pt x="1350" y="439"/>
                  <a:pt x="1350" y="439"/>
                  <a:pt x="1350" y="439"/>
                </a:cubicBezTo>
                <a:cubicBezTo>
                  <a:pt x="1351" y="440"/>
                  <a:pt x="1351" y="440"/>
                  <a:pt x="1351" y="440"/>
                </a:cubicBezTo>
                <a:cubicBezTo>
                  <a:pt x="1351" y="439"/>
                  <a:pt x="1351" y="439"/>
                  <a:pt x="1351" y="439"/>
                </a:cubicBezTo>
                <a:cubicBezTo>
                  <a:pt x="1352" y="438"/>
                  <a:pt x="1352" y="438"/>
                  <a:pt x="1352" y="438"/>
                </a:cubicBezTo>
                <a:cubicBezTo>
                  <a:pt x="1351" y="438"/>
                  <a:pt x="1351" y="438"/>
                  <a:pt x="1351" y="438"/>
                </a:cubicBezTo>
                <a:cubicBezTo>
                  <a:pt x="1351" y="437"/>
                  <a:pt x="1351" y="437"/>
                  <a:pt x="1351" y="437"/>
                </a:cubicBezTo>
                <a:cubicBezTo>
                  <a:pt x="1352" y="437"/>
                  <a:pt x="1352" y="437"/>
                  <a:pt x="1352" y="437"/>
                </a:cubicBezTo>
                <a:cubicBezTo>
                  <a:pt x="1352" y="438"/>
                  <a:pt x="1352" y="438"/>
                  <a:pt x="1352" y="438"/>
                </a:cubicBezTo>
                <a:cubicBezTo>
                  <a:pt x="1353" y="437"/>
                  <a:pt x="1353" y="437"/>
                  <a:pt x="1353" y="437"/>
                </a:cubicBezTo>
                <a:cubicBezTo>
                  <a:pt x="1353" y="435"/>
                  <a:pt x="1353" y="435"/>
                  <a:pt x="1353" y="435"/>
                </a:cubicBezTo>
                <a:cubicBezTo>
                  <a:pt x="1354" y="433"/>
                  <a:pt x="1354" y="433"/>
                  <a:pt x="1354" y="433"/>
                </a:cubicBezTo>
                <a:cubicBezTo>
                  <a:pt x="1354" y="432"/>
                  <a:pt x="1354" y="432"/>
                  <a:pt x="1354" y="432"/>
                </a:cubicBezTo>
                <a:cubicBezTo>
                  <a:pt x="1353" y="431"/>
                  <a:pt x="1353" y="431"/>
                  <a:pt x="1353" y="431"/>
                </a:cubicBezTo>
                <a:cubicBezTo>
                  <a:pt x="1351" y="429"/>
                  <a:pt x="1351" y="429"/>
                  <a:pt x="1351" y="429"/>
                </a:cubicBezTo>
                <a:cubicBezTo>
                  <a:pt x="1348" y="429"/>
                  <a:pt x="1348" y="429"/>
                  <a:pt x="1348" y="429"/>
                </a:cubicBezTo>
                <a:cubicBezTo>
                  <a:pt x="1346" y="429"/>
                  <a:pt x="1346" y="429"/>
                  <a:pt x="1346" y="429"/>
                </a:cubicBezTo>
                <a:cubicBezTo>
                  <a:pt x="1346" y="430"/>
                  <a:pt x="1346" y="430"/>
                  <a:pt x="1346" y="430"/>
                </a:cubicBezTo>
                <a:cubicBezTo>
                  <a:pt x="1346" y="431"/>
                  <a:pt x="1346" y="431"/>
                  <a:pt x="1346" y="431"/>
                </a:cubicBezTo>
                <a:cubicBezTo>
                  <a:pt x="1345" y="430"/>
                  <a:pt x="1345" y="430"/>
                  <a:pt x="1345" y="430"/>
                </a:cubicBezTo>
                <a:cubicBezTo>
                  <a:pt x="1344" y="430"/>
                  <a:pt x="1344" y="430"/>
                  <a:pt x="1344" y="430"/>
                </a:cubicBezTo>
                <a:cubicBezTo>
                  <a:pt x="1346" y="428"/>
                  <a:pt x="1346" y="428"/>
                  <a:pt x="1346" y="428"/>
                </a:cubicBezTo>
                <a:cubicBezTo>
                  <a:pt x="1346" y="427"/>
                  <a:pt x="1346" y="427"/>
                  <a:pt x="1346" y="427"/>
                </a:cubicBezTo>
                <a:cubicBezTo>
                  <a:pt x="1344" y="425"/>
                  <a:pt x="1344" y="425"/>
                  <a:pt x="1344" y="425"/>
                </a:cubicBezTo>
                <a:cubicBezTo>
                  <a:pt x="1342" y="424"/>
                  <a:pt x="1342" y="424"/>
                  <a:pt x="1342" y="424"/>
                </a:cubicBezTo>
                <a:cubicBezTo>
                  <a:pt x="1342" y="423"/>
                  <a:pt x="1342" y="423"/>
                  <a:pt x="1342" y="423"/>
                </a:cubicBezTo>
                <a:cubicBezTo>
                  <a:pt x="1343" y="423"/>
                  <a:pt x="1343" y="423"/>
                  <a:pt x="1343" y="423"/>
                </a:cubicBezTo>
                <a:cubicBezTo>
                  <a:pt x="1344" y="423"/>
                  <a:pt x="1344" y="423"/>
                  <a:pt x="1344" y="423"/>
                </a:cubicBezTo>
                <a:cubicBezTo>
                  <a:pt x="1342" y="421"/>
                  <a:pt x="1342" y="421"/>
                  <a:pt x="1342" y="421"/>
                </a:cubicBezTo>
                <a:cubicBezTo>
                  <a:pt x="1342" y="420"/>
                  <a:pt x="1342" y="420"/>
                  <a:pt x="1342" y="420"/>
                </a:cubicBezTo>
                <a:cubicBezTo>
                  <a:pt x="1343" y="419"/>
                  <a:pt x="1343" y="419"/>
                  <a:pt x="1343" y="419"/>
                </a:cubicBezTo>
                <a:cubicBezTo>
                  <a:pt x="1342" y="419"/>
                  <a:pt x="1342" y="419"/>
                  <a:pt x="1342" y="419"/>
                </a:cubicBezTo>
                <a:cubicBezTo>
                  <a:pt x="1341" y="418"/>
                  <a:pt x="1341" y="418"/>
                  <a:pt x="1341" y="418"/>
                </a:cubicBezTo>
                <a:cubicBezTo>
                  <a:pt x="1340" y="416"/>
                  <a:pt x="1340" y="416"/>
                  <a:pt x="1340" y="416"/>
                </a:cubicBezTo>
                <a:cubicBezTo>
                  <a:pt x="1339" y="416"/>
                  <a:pt x="1339" y="416"/>
                  <a:pt x="1339" y="416"/>
                </a:cubicBezTo>
                <a:cubicBezTo>
                  <a:pt x="1336" y="415"/>
                  <a:pt x="1336" y="415"/>
                  <a:pt x="1336" y="415"/>
                </a:cubicBezTo>
                <a:cubicBezTo>
                  <a:pt x="1336" y="414"/>
                  <a:pt x="1336" y="414"/>
                  <a:pt x="1336" y="414"/>
                </a:cubicBezTo>
                <a:cubicBezTo>
                  <a:pt x="1335" y="412"/>
                  <a:pt x="1335" y="412"/>
                  <a:pt x="1335" y="412"/>
                </a:cubicBezTo>
                <a:cubicBezTo>
                  <a:pt x="1334" y="411"/>
                  <a:pt x="1334" y="411"/>
                  <a:pt x="1334" y="411"/>
                </a:cubicBezTo>
                <a:cubicBezTo>
                  <a:pt x="1334" y="408"/>
                  <a:pt x="1334" y="408"/>
                  <a:pt x="1334" y="408"/>
                </a:cubicBezTo>
                <a:cubicBezTo>
                  <a:pt x="1333" y="407"/>
                  <a:pt x="1333" y="407"/>
                  <a:pt x="1333" y="407"/>
                </a:cubicBezTo>
                <a:cubicBezTo>
                  <a:pt x="1331" y="404"/>
                  <a:pt x="1331" y="404"/>
                  <a:pt x="1331" y="404"/>
                </a:cubicBezTo>
                <a:cubicBezTo>
                  <a:pt x="1330" y="404"/>
                  <a:pt x="1330" y="404"/>
                  <a:pt x="1330" y="404"/>
                </a:cubicBezTo>
                <a:cubicBezTo>
                  <a:pt x="1329" y="403"/>
                  <a:pt x="1329" y="403"/>
                  <a:pt x="1329" y="403"/>
                </a:cubicBezTo>
                <a:cubicBezTo>
                  <a:pt x="1328" y="403"/>
                  <a:pt x="1328" y="403"/>
                  <a:pt x="1328" y="403"/>
                </a:cubicBezTo>
                <a:cubicBezTo>
                  <a:pt x="1327" y="403"/>
                  <a:pt x="1327" y="403"/>
                  <a:pt x="1327" y="403"/>
                </a:cubicBezTo>
                <a:cubicBezTo>
                  <a:pt x="1326" y="404"/>
                  <a:pt x="1326" y="404"/>
                  <a:pt x="1326" y="404"/>
                </a:cubicBezTo>
                <a:cubicBezTo>
                  <a:pt x="1325" y="403"/>
                  <a:pt x="1325" y="403"/>
                  <a:pt x="1325" y="403"/>
                </a:cubicBezTo>
                <a:cubicBezTo>
                  <a:pt x="1326" y="402"/>
                  <a:pt x="1326" y="402"/>
                  <a:pt x="1326" y="402"/>
                </a:cubicBezTo>
                <a:cubicBezTo>
                  <a:pt x="1327" y="402"/>
                  <a:pt x="1327" y="402"/>
                  <a:pt x="1327" y="402"/>
                </a:cubicBezTo>
                <a:cubicBezTo>
                  <a:pt x="1328" y="401"/>
                  <a:pt x="1328" y="401"/>
                  <a:pt x="1328" y="401"/>
                </a:cubicBezTo>
                <a:cubicBezTo>
                  <a:pt x="1327" y="400"/>
                  <a:pt x="1327" y="400"/>
                  <a:pt x="1327" y="400"/>
                </a:cubicBezTo>
                <a:cubicBezTo>
                  <a:pt x="1327" y="399"/>
                  <a:pt x="1327" y="399"/>
                  <a:pt x="1327" y="399"/>
                </a:cubicBezTo>
                <a:cubicBezTo>
                  <a:pt x="1325" y="400"/>
                  <a:pt x="1325" y="400"/>
                  <a:pt x="1325" y="400"/>
                </a:cubicBezTo>
                <a:cubicBezTo>
                  <a:pt x="1326" y="399"/>
                  <a:pt x="1326" y="399"/>
                  <a:pt x="1326" y="399"/>
                </a:cubicBezTo>
                <a:cubicBezTo>
                  <a:pt x="1327" y="399"/>
                  <a:pt x="1327" y="399"/>
                  <a:pt x="1327" y="399"/>
                </a:cubicBezTo>
                <a:cubicBezTo>
                  <a:pt x="1328" y="399"/>
                  <a:pt x="1328" y="399"/>
                  <a:pt x="1328" y="399"/>
                </a:cubicBezTo>
                <a:cubicBezTo>
                  <a:pt x="1328" y="398"/>
                  <a:pt x="1328" y="398"/>
                  <a:pt x="1328" y="398"/>
                </a:cubicBezTo>
                <a:cubicBezTo>
                  <a:pt x="1329" y="398"/>
                  <a:pt x="1329" y="398"/>
                  <a:pt x="1329" y="398"/>
                </a:cubicBezTo>
                <a:cubicBezTo>
                  <a:pt x="1329" y="397"/>
                  <a:pt x="1329" y="397"/>
                  <a:pt x="1329" y="397"/>
                </a:cubicBezTo>
                <a:cubicBezTo>
                  <a:pt x="1330" y="396"/>
                  <a:pt x="1330" y="396"/>
                  <a:pt x="1330" y="396"/>
                </a:cubicBezTo>
                <a:cubicBezTo>
                  <a:pt x="1331" y="395"/>
                  <a:pt x="1331" y="395"/>
                  <a:pt x="1331" y="395"/>
                </a:cubicBezTo>
                <a:cubicBezTo>
                  <a:pt x="1330" y="394"/>
                  <a:pt x="1330" y="394"/>
                  <a:pt x="1330" y="394"/>
                </a:cubicBezTo>
                <a:cubicBezTo>
                  <a:pt x="1331" y="393"/>
                  <a:pt x="1331" y="393"/>
                  <a:pt x="1331" y="393"/>
                </a:cubicBezTo>
                <a:cubicBezTo>
                  <a:pt x="1331" y="391"/>
                  <a:pt x="1331" y="391"/>
                  <a:pt x="1331" y="391"/>
                </a:cubicBezTo>
                <a:cubicBezTo>
                  <a:pt x="1332" y="390"/>
                  <a:pt x="1332" y="390"/>
                  <a:pt x="1332" y="390"/>
                </a:cubicBezTo>
                <a:cubicBezTo>
                  <a:pt x="1331" y="388"/>
                  <a:pt x="1331" y="388"/>
                  <a:pt x="1331" y="388"/>
                </a:cubicBezTo>
                <a:cubicBezTo>
                  <a:pt x="1328" y="388"/>
                  <a:pt x="1328" y="388"/>
                  <a:pt x="1328" y="388"/>
                </a:cubicBezTo>
                <a:cubicBezTo>
                  <a:pt x="1327" y="388"/>
                  <a:pt x="1327" y="388"/>
                  <a:pt x="1327" y="388"/>
                </a:cubicBezTo>
                <a:cubicBezTo>
                  <a:pt x="1326" y="389"/>
                  <a:pt x="1326" y="389"/>
                  <a:pt x="1326" y="389"/>
                </a:cubicBezTo>
                <a:cubicBezTo>
                  <a:pt x="1325" y="389"/>
                  <a:pt x="1325" y="389"/>
                  <a:pt x="1325" y="389"/>
                </a:cubicBezTo>
                <a:cubicBezTo>
                  <a:pt x="1324" y="388"/>
                  <a:pt x="1324" y="388"/>
                  <a:pt x="1324" y="388"/>
                </a:cubicBezTo>
                <a:cubicBezTo>
                  <a:pt x="1324" y="389"/>
                  <a:pt x="1324" y="389"/>
                  <a:pt x="1324" y="389"/>
                </a:cubicBezTo>
                <a:cubicBezTo>
                  <a:pt x="1323" y="389"/>
                  <a:pt x="1323" y="389"/>
                  <a:pt x="1323" y="389"/>
                </a:cubicBezTo>
                <a:cubicBezTo>
                  <a:pt x="1322" y="389"/>
                  <a:pt x="1322" y="389"/>
                  <a:pt x="1322" y="389"/>
                </a:cubicBezTo>
                <a:cubicBezTo>
                  <a:pt x="1321" y="389"/>
                  <a:pt x="1321" y="389"/>
                  <a:pt x="1321" y="389"/>
                </a:cubicBezTo>
                <a:cubicBezTo>
                  <a:pt x="1321" y="390"/>
                  <a:pt x="1321" y="390"/>
                  <a:pt x="1321" y="390"/>
                </a:cubicBezTo>
                <a:cubicBezTo>
                  <a:pt x="1320" y="390"/>
                  <a:pt x="1320" y="390"/>
                  <a:pt x="1320" y="390"/>
                </a:cubicBezTo>
                <a:cubicBezTo>
                  <a:pt x="1321" y="389"/>
                  <a:pt x="1321" y="389"/>
                  <a:pt x="1321" y="389"/>
                </a:cubicBezTo>
                <a:cubicBezTo>
                  <a:pt x="1322" y="387"/>
                  <a:pt x="1322" y="387"/>
                  <a:pt x="1322" y="387"/>
                </a:cubicBezTo>
                <a:cubicBezTo>
                  <a:pt x="1321" y="387"/>
                  <a:pt x="1321" y="387"/>
                  <a:pt x="1321" y="387"/>
                </a:cubicBezTo>
                <a:cubicBezTo>
                  <a:pt x="1321" y="386"/>
                  <a:pt x="1321" y="386"/>
                  <a:pt x="1321" y="386"/>
                </a:cubicBezTo>
                <a:cubicBezTo>
                  <a:pt x="1324" y="384"/>
                  <a:pt x="1324" y="384"/>
                  <a:pt x="1324" y="384"/>
                </a:cubicBezTo>
                <a:cubicBezTo>
                  <a:pt x="1325" y="383"/>
                  <a:pt x="1325" y="383"/>
                  <a:pt x="1325" y="383"/>
                </a:cubicBezTo>
                <a:cubicBezTo>
                  <a:pt x="1326" y="382"/>
                  <a:pt x="1326" y="382"/>
                  <a:pt x="1326" y="382"/>
                </a:cubicBezTo>
                <a:cubicBezTo>
                  <a:pt x="1325" y="381"/>
                  <a:pt x="1325" y="381"/>
                  <a:pt x="1325" y="381"/>
                </a:cubicBezTo>
                <a:cubicBezTo>
                  <a:pt x="1326" y="380"/>
                  <a:pt x="1326" y="380"/>
                  <a:pt x="1326" y="380"/>
                </a:cubicBezTo>
                <a:cubicBezTo>
                  <a:pt x="1325" y="380"/>
                  <a:pt x="1325" y="380"/>
                  <a:pt x="1325" y="380"/>
                </a:cubicBezTo>
                <a:cubicBezTo>
                  <a:pt x="1324" y="380"/>
                  <a:pt x="1324" y="380"/>
                  <a:pt x="1324" y="380"/>
                </a:cubicBezTo>
                <a:cubicBezTo>
                  <a:pt x="1323" y="380"/>
                  <a:pt x="1323" y="380"/>
                  <a:pt x="1323" y="380"/>
                </a:cubicBezTo>
                <a:cubicBezTo>
                  <a:pt x="1322" y="381"/>
                  <a:pt x="1322" y="381"/>
                  <a:pt x="1322" y="381"/>
                </a:cubicBezTo>
                <a:cubicBezTo>
                  <a:pt x="1321" y="381"/>
                  <a:pt x="1321" y="381"/>
                  <a:pt x="1321" y="381"/>
                </a:cubicBezTo>
                <a:cubicBezTo>
                  <a:pt x="1320" y="381"/>
                  <a:pt x="1320" y="381"/>
                  <a:pt x="1320" y="381"/>
                </a:cubicBezTo>
                <a:cubicBezTo>
                  <a:pt x="1319" y="382"/>
                  <a:pt x="1319" y="382"/>
                  <a:pt x="1319" y="382"/>
                </a:cubicBezTo>
                <a:cubicBezTo>
                  <a:pt x="1319" y="381"/>
                  <a:pt x="1319" y="381"/>
                  <a:pt x="1319" y="381"/>
                </a:cubicBezTo>
                <a:cubicBezTo>
                  <a:pt x="1318" y="382"/>
                  <a:pt x="1318" y="382"/>
                  <a:pt x="1318" y="382"/>
                </a:cubicBezTo>
                <a:cubicBezTo>
                  <a:pt x="1318" y="381"/>
                  <a:pt x="1318" y="381"/>
                  <a:pt x="1318" y="381"/>
                </a:cubicBezTo>
                <a:cubicBezTo>
                  <a:pt x="1316" y="380"/>
                  <a:pt x="1316" y="380"/>
                  <a:pt x="1316" y="380"/>
                </a:cubicBezTo>
                <a:cubicBezTo>
                  <a:pt x="1316" y="381"/>
                  <a:pt x="1316" y="381"/>
                  <a:pt x="1316" y="381"/>
                </a:cubicBezTo>
                <a:cubicBezTo>
                  <a:pt x="1316" y="382"/>
                  <a:pt x="1316" y="382"/>
                  <a:pt x="1316" y="382"/>
                </a:cubicBezTo>
                <a:cubicBezTo>
                  <a:pt x="1316" y="383"/>
                  <a:pt x="1316" y="383"/>
                  <a:pt x="1316" y="383"/>
                </a:cubicBezTo>
                <a:cubicBezTo>
                  <a:pt x="1315" y="383"/>
                  <a:pt x="1315" y="383"/>
                  <a:pt x="1315" y="383"/>
                </a:cubicBezTo>
                <a:cubicBezTo>
                  <a:pt x="1315" y="384"/>
                  <a:pt x="1315" y="384"/>
                  <a:pt x="1315" y="384"/>
                </a:cubicBezTo>
                <a:cubicBezTo>
                  <a:pt x="1315" y="385"/>
                  <a:pt x="1315" y="385"/>
                  <a:pt x="1315" y="385"/>
                </a:cubicBezTo>
                <a:cubicBezTo>
                  <a:pt x="1314" y="385"/>
                  <a:pt x="1314" y="385"/>
                  <a:pt x="1314" y="385"/>
                </a:cubicBezTo>
                <a:cubicBezTo>
                  <a:pt x="1315" y="386"/>
                  <a:pt x="1315" y="386"/>
                  <a:pt x="1315" y="386"/>
                </a:cubicBezTo>
                <a:cubicBezTo>
                  <a:pt x="1314" y="387"/>
                  <a:pt x="1314" y="387"/>
                  <a:pt x="1314" y="387"/>
                </a:cubicBezTo>
                <a:cubicBezTo>
                  <a:pt x="1313" y="386"/>
                  <a:pt x="1313" y="386"/>
                  <a:pt x="1313" y="386"/>
                </a:cubicBezTo>
                <a:cubicBezTo>
                  <a:pt x="1313" y="387"/>
                  <a:pt x="1313" y="387"/>
                  <a:pt x="1313" y="387"/>
                </a:cubicBezTo>
                <a:cubicBezTo>
                  <a:pt x="1312" y="388"/>
                  <a:pt x="1312" y="388"/>
                  <a:pt x="1312" y="388"/>
                </a:cubicBezTo>
                <a:cubicBezTo>
                  <a:pt x="1313" y="388"/>
                  <a:pt x="1313" y="388"/>
                  <a:pt x="1313" y="388"/>
                </a:cubicBezTo>
                <a:cubicBezTo>
                  <a:pt x="1312" y="389"/>
                  <a:pt x="1312" y="389"/>
                  <a:pt x="1312" y="389"/>
                </a:cubicBezTo>
                <a:cubicBezTo>
                  <a:pt x="1312" y="391"/>
                  <a:pt x="1312" y="391"/>
                  <a:pt x="1312" y="391"/>
                </a:cubicBezTo>
                <a:cubicBezTo>
                  <a:pt x="1314" y="391"/>
                  <a:pt x="1314" y="391"/>
                  <a:pt x="1314" y="391"/>
                </a:cubicBezTo>
                <a:cubicBezTo>
                  <a:pt x="1313" y="392"/>
                  <a:pt x="1313" y="392"/>
                  <a:pt x="1313" y="392"/>
                </a:cubicBezTo>
                <a:cubicBezTo>
                  <a:pt x="1313" y="393"/>
                  <a:pt x="1313" y="393"/>
                  <a:pt x="1313" y="393"/>
                </a:cubicBezTo>
                <a:close/>
                <a:moveTo>
                  <a:pt x="1308" y="384"/>
                </a:moveTo>
                <a:cubicBezTo>
                  <a:pt x="1308" y="384"/>
                  <a:pt x="1308" y="384"/>
                  <a:pt x="1307" y="383"/>
                </a:cubicBezTo>
                <a:cubicBezTo>
                  <a:pt x="1307" y="383"/>
                  <a:pt x="1307" y="383"/>
                  <a:pt x="1306" y="384"/>
                </a:cubicBezTo>
                <a:cubicBezTo>
                  <a:pt x="1306" y="384"/>
                  <a:pt x="1306" y="384"/>
                  <a:pt x="1307" y="385"/>
                </a:cubicBezTo>
                <a:cubicBezTo>
                  <a:pt x="1307" y="385"/>
                  <a:pt x="1307" y="385"/>
                  <a:pt x="1306" y="385"/>
                </a:cubicBezTo>
                <a:cubicBezTo>
                  <a:pt x="1306" y="385"/>
                  <a:pt x="1306" y="385"/>
                  <a:pt x="1307" y="386"/>
                </a:cubicBezTo>
                <a:cubicBezTo>
                  <a:pt x="1307" y="386"/>
                  <a:pt x="1307" y="386"/>
                  <a:pt x="1308" y="386"/>
                </a:cubicBezTo>
                <a:cubicBezTo>
                  <a:pt x="1308" y="386"/>
                  <a:pt x="1308" y="386"/>
                  <a:pt x="1309" y="386"/>
                </a:cubicBezTo>
                <a:cubicBezTo>
                  <a:pt x="1309" y="386"/>
                  <a:pt x="1309" y="386"/>
                  <a:pt x="1310" y="385"/>
                </a:cubicBezTo>
                <a:cubicBezTo>
                  <a:pt x="1310" y="385"/>
                  <a:pt x="1310" y="385"/>
                  <a:pt x="1309" y="385"/>
                </a:cubicBezTo>
                <a:cubicBezTo>
                  <a:pt x="1309" y="385"/>
                  <a:pt x="1309" y="385"/>
                  <a:pt x="1310" y="384"/>
                </a:cubicBezTo>
                <a:cubicBezTo>
                  <a:pt x="1310" y="384"/>
                  <a:pt x="1310" y="384"/>
                  <a:pt x="1311" y="383"/>
                </a:cubicBezTo>
                <a:cubicBezTo>
                  <a:pt x="1311" y="383"/>
                  <a:pt x="1311" y="383"/>
                  <a:pt x="1310" y="381"/>
                </a:cubicBezTo>
                <a:cubicBezTo>
                  <a:pt x="1310" y="381"/>
                  <a:pt x="1310" y="381"/>
                  <a:pt x="1308" y="383"/>
                </a:cubicBezTo>
                <a:cubicBezTo>
                  <a:pt x="1308" y="383"/>
                  <a:pt x="1308" y="383"/>
                  <a:pt x="1308" y="384"/>
                </a:cubicBezTo>
                <a:close/>
                <a:moveTo>
                  <a:pt x="1311" y="406"/>
                </a:moveTo>
                <a:cubicBezTo>
                  <a:pt x="1310" y="404"/>
                  <a:pt x="1310" y="404"/>
                  <a:pt x="1310" y="404"/>
                </a:cubicBezTo>
                <a:cubicBezTo>
                  <a:pt x="1308" y="405"/>
                  <a:pt x="1308" y="405"/>
                  <a:pt x="1308" y="405"/>
                </a:cubicBezTo>
                <a:cubicBezTo>
                  <a:pt x="1308" y="406"/>
                  <a:pt x="1308" y="406"/>
                  <a:pt x="1308" y="406"/>
                </a:cubicBezTo>
                <a:cubicBezTo>
                  <a:pt x="1310" y="405"/>
                  <a:pt x="1310" y="405"/>
                  <a:pt x="1310" y="405"/>
                </a:cubicBezTo>
                <a:cubicBezTo>
                  <a:pt x="1309" y="407"/>
                  <a:pt x="1309" y="407"/>
                  <a:pt x="1309" y="407"/>
                </a:cubicBezTo>
                <a:cubicBezTo>
                  <a:pt x="1311" y="406"/>
                  <a:pt x="1311" y="406"/>
                  <a:pt x="1311" y="406"/>
                </a:cubicBezTo>
                <a:close/>
                <a:moveTo>
                  <a:pt x="1306" y="399"/>
                </a:moveTo>
                <a:cubicBezTo>
                  <a:pt x="1306" y="399"/>
                  <a:pt x="1306" y="399"/>
                  <a:pt x="1307" y="398"/>
                </a:cubicBezTo>
                <a:cubicBezTo>
                  <a:pt x="1307" y="398"/>
                  <a:pt x="1307" y="398"/>
                  <a:pt x="1306" y="398"/>
                </a:cubicBezTo>
                <a:cubicBezTo>
                  <a:pt x="1306" y="398"/>
                  <a:pt x="1306" y="398"/>
                  <a:pt x="1306" y="399"/>
                </a:cubicBezTo>
                <a:close/>
                <a:moveTo>
                  <a:pt x="1306" y="389"/>
                </a:moveTo>
                <a:cubicBezTo>
                  <a:pt x="1306" y="389"/>
                  <a:pt x="1306" y="389"/>
                  <a:pt x="1306" y="388"/>
                </a:cubicBezTo>
                <a:cubicBezTo>
                  <a:pt x="1306" y="388"/>
                  <a:pt x="1306" y="388"/>
                  <a:pt x="1304" y="388"/>
                </a:cubicBezTo>
                <a:cubicBezTo>
                  <a:pt x="1304" y="388"/>
                  <a:pt x="1304" y="388"/>
                  <a:pt x="1304" y="389"/>
                </a:cubicBezTo>
                <a:cubicBezTo>
                  <a:pt x="1304" y="389"/>
                  <a:pt x="1304" y="389"/>
                  <a:pt x="1305" y="389"/>
                </a:cubicBezTo>
                <a:cubicBezTo>
                  <a:pt x="1305" y="389"/>
                  <a:pt x="1305" y="389"/>
                  <a:pt x="1306" y="389"/>
                </a:cubicBezTo>
                <a:close/>
                <a:moveTo>
                  <a:pt x="1304" y="390"/>
                </a:moveTo>
                <a:cubicBezTo>
                  <a:pt x="1304" y="390"/>
                  <a:pt x="1304" y="390"/>
                  <a:pt x="1305" y="391"/>
                </a:cubicBezTo>
                <a:cubicBezTo>
                  <a:pt x="1305" y="391"/>
                  <a:pt x="1305" y="391"/>
                  <a:pt x="1305" y="390"/>
                </a:cubicBezTo>
                <a:cubicBezTo>
                  <a:pt x="1305" y="390"/>
                  <a:pt x="1305" y="390"/>
                  <a:pt x="1304" y="390"/>
                </a:cubicBezTo>
                <a:close/>
                <a:moveTo>
                  <a:pt x="1394" y="518"/>
                </a:moveTo>
                <a:cubicBezTo>
                  <a:pt x="1395" y="518"/>
                  <a:pt x="1395" y="518"/>
                  <a:pt x="1395" y="518"/>
                </a:cubicBezTo>
                <a:cubicBezTo>
                  <a:pt x="1395" y="519"/>
                  <a:pt x="1395" y="519"/>
                  <a:pt x="1395" y="519"/>
                </a:cubicBezTo>
                <a:cubicBezTo>
                  <a:pt x="1395" y="520"/>
                  <a:pt x="1395" y="520"/>
                  <a:pt x="1395" y="520"/>
                </a:cubicBezTo>
                <a:cubicBezTo>
                  <a:pt x="1394" y="520"/>
                  <a:pt x="1394" y="520"/>
                  <a:pt x="1394" y="520"/>
                </a:cubicBezTo>
                <a:cubicBezTo>
                  <a:pt x="1395" y="521"/>
                  <a:pt x="1395" y="521"/>
                  <a:pt x="1395" y="521"/>
                </a:cubicBezTo>
                <a:cubicBezTo>
                  <a:pt x="1397" y="522"/>
                  <a:pt x="1397" y="522"/>
                  <a:pt x="1397" y="522"/>
                </a:cubicBezTo>
                <a:cubicBezTo>
                  <a:pt x="1398" y="521"/>
                  <a:pt x="1398" y="521"/>
                  <a:pt x="1398" y="521"/>
                </a:cubicBezTo>
                <a:cubicBezTo>
                  <a:pt x="1399" y="519"/>
                  <a:pt x="1399" y="519"/>
                  <a:pt x="1399" y="519"/>
                </a:cubicBezTo>
                <a:cubicBezTo>
                  <a:pt x="1398" y="518"/>
                  <a:pt x="1398" y="518"/>
                  <a:pt x="1398" y="518"/>
                </a:cubicBezTo>
                <a:cubicBezTo>
                  <a:pt x="1399" y="515"/>
                  <a:pt x="1399" y="515"/>
                  <a:pt x="1399" y="515"/>
                </a:cubicBezTo>
                <a:cubicBezTo>
                  <a:pt x="1399" y="512"/>
                  <a:pt x="1399" y="512"/>
                  <a:pt x="1399" y="512"/>
                </a:cubicBezTo>
                <a:cubicBezTo>
                  <a:pt x="1399" y="511"/>
                  <a:pt x="1399" y="511"/>
                  <a:pt x="1399" y="511"/>
                </a:cubicBezTo>
                <a:cubicBezTo>
                  <a:pt x="1398" y="509"/>
                  <a:pt x="1398" y="509"/>
                  <a:pt x="1398" y="509"/>
                </a:cubicBezTo>
                <a:cubicBezTo>
                  <a:pt x="1398" y="510"/>
                  <a:pt x="1398" y="510"/>
                  <a:pt x="1398" y="510"/>
                </a:cubicBezTo>
                <a:cubicBezTo>
                  <a:pt x="1398" y="511"/>
                  <a:pt x="1398" y="511"/>
                  <a:pt x="1398" y="511"/>
                </a:cubicBezTo>
                <a:cubicBezTo>
                  <a:pt x="1398" y="512"/>
                  <a:pt x="1398" y="512"/>
                  <a:pt x="1398" y="512"/>
                </a:cubicBezTo>
                <a:cubicBezTo>
                  <a:pt x="1397" y="512"/>
                  <a:pt x="1397" y="512"/>
                  <a:pt x="1397" y="512"/>
                </a:cubicBezTo>
                <a:cubicBezTo>
                  <a:pt x="1396" y="511"/>
                  <a:pt x="1396" y="511"/>
                  <a:pt x="1396" y="511"/>
                </a:cubicBezTo>
                <a:cubicBezTo>
                  <a:pt x="1396" y="512"/>
                  <a:pt x="1396" y="512"/>
                  <a:pt x="1396" y="512"/>
                </a:cubicBezTo>
                <a:cubicBezTo>
                  <a:pt x="1394" y="512"/>
                  <a:pt x="1394" y="512"/>
                  <a:pt x="1394" y="512"/>
                </a:cubicBezTo>
                <a:cubicBezTo>
                  <a:pt x="1393" y="514"/>
                  <a:pt x="1393" y="514"/>
                  <a:pt x="1393" y="514"/>
                </a:cubicBezTo>
                <a:cubicBezTo>
                  <a:pt x="1394" y="515"/>
                  <a:pt x="1394" y="515"/>
                  <a:pt x="1394" y="515"/>
                </a:cubicBezTo>
                <a:cubicBezTo>
                  <a:pt x="1393" y="515"/>
                  <a:pt x="1393" y="515"/>
                  <a:pt x="1393" y="515"/>
                </a:cubicBezTo>
                <a:cubicBezTo>
                  <a:pt x="1393" y="516"/>
                  <a:pt x="1393" y="516"/>
                  <a:pt x="1393" y="516"/>
                </a:cubicBezTo>
                <a:cubicBezTo>
                  <a:pt x="1394" y="517"/>
                  <a:pt x="1394" y="517"/>
                  <a:pt x="1394" y="517"/>
                </a:cubicBezTo>
                <a:cubicBezTo>
                  <a:pt x="1393" y="517"/>
                  <a:pt x="1393" y="517"/>
                  <a:pt x="1393" y="517"/>
                </a:cubicBezTo>
                <a:cubicBezTo>
                  <a:pt x="1394" y="518"/>
                  <a:pt x="1394" y="518"/>
                  <a:pt x="1394" y="518"/>
                </a:cubicBezTo>
                <a:close/>
                <a:moveTo>
                  <a:pt x="1430" y="564"/>
                </a:moveTo>
                <a:cubicBezTo>
                  <a:pt x="1431" y="565"/>
                  <a:pt x="1431" y="565"/>
                  <a:pt x="1431" y="565"/>
                </a:cubicBezTo>
                <a:cubicBezTo>
                  <a:pt x="1432" y="564"/>
                  <a:pt x="1432" y="564"/>
                  <a:pt x="1432" y="564"/>
                </a:cubicBezTo>
                <a:cubicBezTo>
                  <a:pt x="1432" y="563"/>
                  <a:pt x="1432" y="563"/>
                  <a:pt x="1432" y="563"/>
                </a:cubicBezTo>
                <a:cubicBezTo>
                  <a:pt x="1430" y="563"/>
                  <a:pt x="1430" y="563"/>
                  <a:pt x="1430" y="563"/>
                </a:cubicBezTo>
                <a:cubicBezTo>
                  <a:pt x="1430" y="564"/>
                  <a:pt x="1430" y="564"/>
                  <a:pt x="1430" y="564"/>
                </a:cubicBezTo>
                <a:close/>
                <a:moveTo>
                  <a:pt x="1392" y="523"/>
                </a:moveTo>
                <a:cubicBezTo>
                  <a:pt x="1391" y="524"/>
                  <a:pt x="1391" y="524"/>
                  <a:pt x="1391" y="524"/>
                </a:cubicBezTo>
                <a:cubicBezTo>
                  <a:pt x="1392" y="524"/>
                  <a:pt x="1392" y="524"/>
                  <a:pt x="1392" y="524"/>
                </a:cubicBezTo>
                <a:cubicBezTo>
                  <a:pt x="1393" y="523"/>
                  <a:pt x="1393" y="523"/>
                  <a:pt x="1393" y="523"/>
                </a:cubicBezTo>
                <a:cubicBezTo>
                  <a:pt x="1392" y="523"/>
                  <a:pt x="1392" y="523"/>
                  <a:pt x="1392" y="523"/>
                </a:cubicBezTo>
                <a:close/>
                <a:moveTo>
                  <a:pt x="1418" y="548"/>
                </a:moveTo>
                <a:cubicBezTo>
                  <a:pt x="1418" y="550"/>
                  <a:pt x="1418" y="550"/>
                  <a:pt x="1418" y="550"/>
                </a:cubicBezTo>
                <a:cubicBezTo>
                  <a:pt x="1419" y="551"/>
                  <a:pt x="1419" y="551"/>
                  <a:pt x="1419" y="551"/>
                </a:cubicBezTo>
                <a:cubicBezTo>
                  <a:pt x="1421" y="551"/>
                  <a:pt x="1421" y="551"/>
                  <a:pt x="1421" y="551"/>
                </a:cubicBezTo>
                <a:cubicBezTo>
                  <a:pt x="1423" y="553"/>
                  <a:pt x="1423" y="553"/>
                  <a:pt x="1423" y="553"/>
                </a:cubicBezTo>
                <a:cubicBezTo>
                  <a:pt x="1424" y="553"/>
                  <a:pt x="1424" y="553"/>
                  <a:pt x="1424" y="553"/>
                </a:cubicBezTo>
                <a:cubicBezTo>
                  <a:pt x="1426" y="554"/>
                  <a:pt x="1426" y="554"/>
                  <a:pt x="1426" y="554"/>
                </a:cubicBezTo>
                <a:cubicBezTo>
                  <a:pt x="1428" y="555"/>
                  <a:pt x="1428" y="555"/>
                  <a:pt x="1428" y="555"/>
                </a:cubicBezTo>
                <a:cubicBezTo>
                  <a:pt x="1429" y="555"/>
                  <a:pt x="1429" y="555"/>
                  <a:pt x="1429" y="555"/>
                </a:cubicBezTo>
                <a:cubicBezTo>
                  <a:pt x="1430" y="556"/>
                  <a:pt x="1430" y="556"/>
                  <a:pt x="1430" y="556"/>
                </a:cubicBezTo>
                <a:cubicBezTo>
                  <a:pt x="1430" y="557"/>
                  <a:pt x="1430" y="557"/>
                  <a:pt x="1430" y="557"/>
                </a:cubicBezTo>
                <a:cubicBezTo>
                  <a:pt x="1433" y="558"/>
                  <a:pt x="1433" y="558"/>
                  <a:pt x="1433" y="558"/>
                </a:cubicBezTo>
                <a:cubicBezTo>
                  <a:pt x="1434" y="558"/>
                  <a:pt x="1434" y="558"/>
                  <a:pt x="1434" y="558"/>
                </a:cubicBezTo>
                <a:cubicBezTo>
                  <a:pt x="1434" y="556"/>
                  <a:pt x="1434" y="556"/>
                  <a:pt x="1434" y="556"/>
                </a:cubicBezTo>
                <a:cubicBezTo>
                  <a:pt x="1435" y="556"/>
                  <a:pt x="1435" y="556"/>
                  <a:pt x="1435" y="556"/>
                </a:cubicBezTo>
                <a:cubicBezTo>
                  <a:pt x="1435" y="554"/>
                  <a:pt x="1435" y="554"/>
                  <a:pt x="1435" y="554"/>
                </a:cubicBezTo>
                <a:cubicBezTo>
                  <a:pt x="1434" y="553"/>
                  <a:pt x="1434" y="553"/>
                  <a:pt x="1434" y="553"/>
                </a:cubicBezTo>
                <a:cubicBezTo>
                  <a:pt x="1435" y="550"/>
                  <a:pt x="1435" y="550"/>
                  <a:pt x="1435" y="550"/>
                </a:cubicBezTo>
                <a:cubicBezTo>
                  <a:pt x="1436" y="549"/>
                  <a:pt x="1436" y="549"/>
                  <a:pt x="1436" y="549"/>
                </a:cubicBezTo>
                <a:cubicBezTo>
                  <a:pt x="1436" y="547"/>
                  <a:pt x="1436" y="547"/>
                  <a:pt x="1436" y="547"/>
                </a:cubicBezTo>
                <a:cubicBezTo>
                  <a:pt x="1435" y="546"/>
                  <a:pt x="1435" y="546"/>
                  <a:pt x="1435" y="546"/>
                </a:cubicBezTo>
                <a:cubicBezTo>
                  <a:pt x="1434" y="547"/>
                  <a:pt x="1434" y="547"/>
                  <a:pt x="1434" y="547"/>
                </a:cubicBezTo>
                <a:cubicBezTo>
                  <a:pt x="1433" y="547"/>
                  <a:pt x="1433" y="547"/>
                  <a:pt x="1433" y="547"/>
                </a:cubicBezTo>
                <a:cubicBezTo>
                  <a:pt x="1432" y="546"/>
                  <a:pt x="1432" y="546"/>
                  <a:pt x="1432" y="546"/>
                </a:cubicBezTo>
                <a:cubicBezTo>
                  <a:pt x="1430" y="548"/>
                  <a:pt x="1430" y="548"/>
                  <a:pt x="1430" y="548"/>
                </a:cubicBezTo>
                <a:cubicBezTo>
                  <a:pt x="1427" y="548"/>
                  <a:pt x="1427" y="548"/>
                  <a:pt x="1427" y="548"/>
                </a:cubicBezTo>
                <a:cubicBezTo>
                  <a:pt x="1425" y="548"/>
                  <a:pt x="1425" y="548"/>
                  <a:pt x="1425" y="548"/>
                </a:cubicBezTo>
                <a:cubicBezTo>
                  <a:pt x="1423" y="548"/>
                  <a:pt x="1423" y="548"/>
                  <a:pt x="1423" y="548"/>
                </a:cubicBezTo>
                <a:cubicBezTo>
                  <a:pt x="1422" y="547"/>
                  <a:pt x="1422" y="547"/>
                  <a:pt x="1422" y="547"/>
                </a:cubicBezTo>
                <a:cubicBezTo>
                  <a:pt x="1421" y="547"/>
                  <a:pt x="1421" y="547"/>
                  <a:pt x="1421" y="547"/>
                </a:cubicBezTo>
                <a:cubicBezTo>
                  <a:pt x="1420" y="548"/>
                  <a:pt x="1420" y="548"/>
                  <a:pt x="1420" y="548"/>
                </a:cubicBezTo>
                <a:cubicBezTo>
                  <a:pt x="1420" y="547"/>
                  <a:pt x="1420" y="547"/>
                  <a:pt x="1420" y="547"/>
                </a:cubicBezTo>
                <a:cubicBezTo>
                  <a:pt x="1418" y="548"/>
                  <a:pt x="1418" y="548"/>
                  <a:pt x="1418" y="548"/>
                </a:cubicBezTo>
                <a:close/>
                <a:moveTo>
                  <a:pt x="1391" y="527"/>
                </a:moveTo>
                <a:cubicBezTo>
                  <a:pt x="1392" y="528"/>
                  <a:pt x="1392" y="528"/>
                  <a:pt x="1392" y="528"/>
                </a:cubicBezTo>
                <a:cubicBezTo>
                  <a:pt x="1392" y="529"/>
                  <a:pt x="1392" y="529"/>
                  <a:pt x="1392" y="529"/>
                </a:cubicBezTo>
                <a:cubicBezTo>
                  <a:pt x="1393" y="530"/>
                  <a:pt x="1393" y="530"/>
                  <a:pt x="1393" y="530"/>
                </a:cubicBezTo>
                <a:cubicBezTo>
                  <a:pt x="1393" y="532"/>
                  <a:pt x="1393" y="532"/>
                  <a:pt x="1393" y="532"/>
                </a:cubicBezTo>
                <a:cubicBezTo>
                  <a:pt x="1392" y="533"/>
                  <a:pt x="1392" y="533"/>
                  <a:pt x="1392" y="533"/>
                </a:cubicBezTo>
                <a:cubicBezTo>
                  <a:pt x="1393" y="533"/>
                  <a:pt x="1393" y="533"/>
                  <a:pt x="1393" y="533"/>
                </a:cubicBezTo>
                <a:cubicBezTo>
                  <a:pt x="1394" y="533"/>
                  <a:pt x="1394" y="533"/>
                  <a:pt x="1394" y="533"/>
                </a:cubicBezTo>
                <a:cubicBezTo>
                  <a:pt x="1394" y="534"/>
                  <a:pt x="1394" y="534"/>
                  <a:pt x="1394" y="534"/>
                </a:cubicBezTo>
                <a:cubicBezTo>
                  <a:pt x="1393" y="535"/>
                  <a:pt x="1393" y="535"/>
                  <a:pt x="1393" y="535"/>
                </a:cubicBezTo>
                <a:cubicBezTo>
                  <a:pt x="1393" y="537"/>
                  <a:pt x="1393" y="537"/>
                  <a:pt x="1393" y="537"/>
                </a:cubicBezTo>
                <a:cubicBezTo>
                  <a:pt x="1393" y="538"/>
                  <a:pt x="1393" y="538"/>
                  <a:pt x="1393" y="538"/>
                </a:cubicBezTo>
                <a:cubicBezTo>
                  <a:pt x="1394" y="540"/>
                  <a:pt x="1394" y="540"/>
                  <a:pt x="1394" y="540"/>
                </a:cubicBezTo>
                <a:cubicBezTo>
                  <a:pt x="1395" y="541"/>
                  <a:pt x="1395" y="541"/>
                  <a:pt x="1395" y="541"/>
                </a:cubicBezTo>
                <a:cubicBezTo>
                  <a:pt x="1396" y="541"/>
                  <a:pt x="1396" y="541"/>
                  <a:pt x="1396" y="541"/>
                </a:cubicBezTo>
                <a:cubicBezTo>
                  <a:pt x="1397" y="541"/>
                  <a:pt x="1397" y="541"/>
                  <a:pt x="1397" y="541"/>
                </a:cubicBezTo>
                <a:cubicBezTo>
                  <a:pt x="1397" y="540"/>
                  <a:pt x="1397" y="540"/>
                  <a:pt x="1397" y="540"/>
                </a:cubicBezTo>
                <a:cubicBezTo>
                  <a:pt x="1397" y="539"/>
                  <a:pt x="1397" y="539"/>
                  <a:pt x="1397" y="539"/>
                </a:cubicBezTo>
                <a:cubicBezTo>
                  <a:pt x="1398" y="539"/>
                  <a:pt x="1398" y="539"/>
                  <a:pt x="1398" y="539"/>
                </a:cubicBezTo>
                <a:cubicBezTo>
                  <a:pt x="1399" y="540"/>
                  <a:pt x="1399" y="540"/>
                  <a:pt x="1399" y="540"/>
                </a:cubicBezTo>
                <a:cubicBezTo>
                  <a:pt x="1400" y="540"/>
                  <a:pt x="1400" y="540"/>
                  <a:pt x="1400" y="540"/>
                </a:cubicBezTo>
                <a:cubicBezTo>
                  <a:pt x="1400" y="539"/>
                  <a:pt x="1400" y="539"/>
                  <a:pt x="1400" y="539"/>
                </a:cubicBezTo>
                <a:cubicBezTo>
                  <a:pt x="1400" y="536"/>
                  <a:pt x="1400" y="536"/>
                  <a:pt x="1400" y="536"/>
                </a:cubicBezTo>
                <a:cubicBezTo>
                  <a:pt x="1401" y="536"/>
                  <a:pt x="1401" y="536"/>
                  <a:pt x="1401" y="536"/>
                </a:cubicBezTo>
                <a:cubicBezTo>
                  <a:pt x="1400" y="533"/>
                  <a:pt x="1400" y="533"/>
                  <a:pt x="1400" y="533"/>
                </a:cubicBezTo>
                <a:cubicBezTo>
                  <a:pt x="1401" y="531"/>
                  <a:pt x="1401" y="531"/>
                  <a:pt x="1401" y="531"/>
                </a:cubicBezTo>
                <a:cubicBezTo>
                  <a:pt x="1399" y="529"/>
                  <a:pt x="1399" y="529"/>
                  <a:pt x="1399" y="529"/>
                </a:cubicBezTo>
                <a:cubicBezTo>
                  <a:pt x="1401" y="529"/>
                  <a:pt x="1401" y="529"/>
                  <a:pt x="1401" y="529"/>
                </a:cubicBezTo>
                <a:cubicBezTo>
                  <a:pt x="1401" y="528"/>
                  <a:pt x="1401" y="528"/>
                  <a:pt x="1401" y="528"/>
                </a:cubicBezTo>
                <a:cubicBezTo>
                  <a:pt x="1400" y="526"/>
                  <a:pt x="1400" y="526"/>
                  <a:pt x="1400" y="526"/>
                </a:cubicBezTo>
                <a:cubicBezTo>
                  <a:pt x="1400" y="525"/>
                  <a:pt x="1400" y="525"/>
                  <a:pt x="1400" y="525"/>
                </a:cubicBezTo>
                <a:cubicBezTo>
                  <a:pt x="1399" y="524"/>
                  <a:pt x="1399" y="524"/>
                  <a:pt x="1399" y="524"/>
                </a:cubicBezTo>
                <a:cubicBezTo>
                  <a:pt x="1398" y="524"/>
                  <a:pt x="1398" y="524"/>
                  <a:pt x="1398" y="524"/>
                </a:cubicBezTo>
                <a:cubicBezTo>
                  <a:pt x="1397" y="523"/>
                  <a:pt x="1397" y="523"/>
                  <a:pt x="1397" y="523"/>
                </a:cubicBezTo>
                <a:cubicBezTo>
                  <a:pt x="1396" y="523"/>
                  <a:pt x="1396" y="523"/>
                  <a:pt x="1396" y="523"/>
                </a:cubicBezTo>
                <a:cubicBezTo>
                  <a:pt x="1394" y="526"/>
                  <a:pt x="1394" y="526"/>
                  <a:pt x="1394" y="526"/>
                </a:cubicBezTo>
                <a:cubicBezTo>
                  <a:pt x="1393" y="526"/>
                  <a:pt x="1393" y="526"/>
                  <a:pt x="1393" y="526"/>
                </a:cubicBezTo>
                <a:cubicBezTo>
                  <a:pt x="1391" y="525"/>
                  <a:pt x="1391" y="525"/>
                  <a:pt x="1391" y="525"/>
                </a:cubicBezTo>
                <a:cubicBezTo>
                  <a:pt x="1391" y="527"/>
                  <a:pt x="1391" y="527"/>
                  <a:pt x="1391" y="527"/>
                </a:cubicBezTo>
                <a:close/>
                <a:moveTo>
                  <a:pt x="1407" y="514"/>
                </a:moveTo>
                <a:cubicBezTo>
                  <a:pt x="1408" y="515"/>
                  <a:pt x="1408" y="515"/>
                  <a:pt x="1408" y="515"/>
                </a:cubicBezTo>
                <a:cubicBezTo>
                  <a:pt x="1408" y="514"/>
                  <a:pt x="1408" y="514"/>
                  <a:pt x="1408" y="514"/>
                </a:cubicBezTo>
                <a:cubicBezTo>
                  <a:pt x="1407" y="514"/>
                  <a:pt x="1407" y="514"/>
                  <a:pt x="1407" y="514"/>
                </a:cubicBezTo>
                <a:close/>
                <a:moveTo>
                  <a:pt x="1404" y="511"/>
                </a:moveTo>
                <a:cubicBezTo>
                  <a:pt x="1405" y="511"/>
                  <a:pt x="1405" y="511"/>
                  <a:pt x="1405" y="511"/>
                </a:cubicBezTo>
                <a:cubicBezTo>
                  <a:pt x="1405" y="510"/>
                  <a:pt x="1405" y="510"/>
                  <a:pt x="1405" y="510"/>
                </a:cubicBezTo>
                <a:cubicBezTo>
                  <a:pt x="1404" y="510"/>
                  <a:pt x="1404" y="510"/>
                  <a:pt x="1404" y="510"/>
                </a:cubicBezTo>
                <a:cubicBezTo>
                  <a:pt x="1402" y="511"/>
                  <a:pt x="1402" y="511"/>
                  <a:pt x="1402" y="511"/>
                </a:cubicBezTo>
                <a:cubicBezTo>
                  <a:pt x="1403" y="512"/>
                  <a:pt x="1403" y="512"/>
                  <a:pt x="1403" y="512"/>
                </a:cubicBezTo>
                <a:cubicBezTo>
                  <a:pt x="1404" y="511"/>
                  <a:pt x="1404" y="511"/>
                  <a:pt x="1404" y="511"/>
                </a:cubicBezTo>
                <a:close/>
                <a:moveTo>
                  <a:pt x="1368" y="534"/>
                </a:moveTo>
                <a:cubicBezTo>
                  <a:pt x="1369" y="534"/>
                  <a:pt x="1369" y="534"/>
                  <a:pt x="1369" y="534"/>
                </a:cubicBezTo>
                <a:cubicBezTo>
                  <a:pt x="1367" y="533"/>
                  <a:pt x="1367" y="533"/>
                  <a:pt x="1367" y="533"/>
                </a:cubicBezTo>
                <a:cubicBezTo>
                  <a:pt x="1365" y="533"/>
                  <a:pt x="1365" y="533"/>
                  <a:pt x="1365" y="533"/>
                </a:cubicBezTo>
                <a:cubicBezTo>
                  <a:pt x="1365" y="534"/>
                  <a:pt x="1365" y="534"/>
                  <a:pt x="1365" y="534"/>
                </a:cubicBezTo>
                <a:cubicBezTo>
                  <a:pt x="1367" y="534"/>
                  <a:pt x="1367" y="534"/>
                  <a:pt x="1367" y="534"/>
                </a:cubicBezTo>
                <a:cubicBezTo>
                  <a:pt x="1368" y="534"/>
                  <a:pt x="1368" y="534"/>
                  <a:pt x="1368" y="534"/>
                </a:cubicBezTo>
                <a:close/>
                <a:moveTo>
                  <a:pt x="1355" y="540"/>
                </a:moveTo>
                <a:cubicBezTo>
                  <a:pt x="1353" y="540"/>
                  <a:pt x="1353" y="540"/>
                  <a:pt x="1353" y="540"/>
                </a:cubicBezTo>
                <a:cubicBezTo>
                  <a:pt x="1353" y="541"/>
                  <a:pt x="1353" y="541"/>
                  <a:pt x="1353" y="541"/>
                </a:cubicBezTo>
                <a:cubicBezTo>
                  <a:pt x="1354" y="542"/>
                  <a:pt x="1354" y="542"/>
                  <a:pt x="1354" y="542"/>
                </a:cubicBezTo>
                <a:cubicBezTo>
                  <a:pt x="1355" y="541"/>
                  <a:pt x="1355" y="541"/>
                  <a:pt x="1355" y="541"/>
                </a:cubicBezTo>
                <a:cubicBezTo>
                  <a:pt x="1355" y="540"/>
                  <a:pt x="1355" y="540"/>
                  <a:pt x="1355" y="540"/>
                </a:cubicBezTo>
                <a:close/>
                <a:moveTo>
                  <a:pt x="1362" y="538"/>
                </a:moveTo>
                <a:cubicBezTo>
                  <a:pt x="1362" y="536"/>
                  <a:pt x="1362" y="536"/>
                  <a:pt x="1362" y="536"/>
                </a:cubicBezTo>
                <a:cubicBezTo>
                  <a:pt x="1364" y="535"/>
                  <a:pt x="1364" y="535"/>
                  <a:pt x="1364" y="535"/>
                </a:cubicBezTo>
                <a:cubicBezTo>
                  <a:pt x="1362" y="535"/>
                  <a:pt x="1362" y="535"/>
                  <a:pt x="1362" y="535"/>
                </a:cubicBezTo>
                <a:cubicBezTo>
                  <a:pt x="1361" y="535"/>
                  <a:pt x="1361" y="535"/>
                  <a:pt x="1361" y="535"/>
                </a:cubicBezTo>
                <a:cubicBezTo>
                  <a:pt x="1360" y="536"/>
                  <a:pt x="1360" y="536"/>
                  <a:pt x="1360" y="536"/>
                </a:cubicBezTo>
                <a:cubicBezTo>
                  <a:pt x="1359" y="537"/>
                  <a:pt x="1359" y="537"/>
                  <a:pt x="1359" y="537"/>
                </a:cubicBezTo>
                <a:cubicBezTo>
                  <a:pt x="1361" y="537"/>
                  <a:pt x="1361" y="537"/>
                  <a:pt x="1361" y="537"/>
                </a:cubicBezTo>
                <a:cubicBezTo>
                  <a:pt x="1362" y="538"/>
                  <a:pt x="1362" y="538"/>
                  <a:pt x="1362" y="538"/>
                </a:cubicBezTo>
                <a:close/>
                <a:moveTo>
                  <a:pt x="1479" y="560"/>
                </a:moveTo>
                <a:cubicBezTo>
                  <a:pt x="1479" y="558"/>
                  <a:pt x="1479" y="558"/>
                  <a:pt x="1479" y="558"/>
                </a:cubicBezTo>
                <a:cubicBezTo>
                  <a:pt x="1478" y="559"/>
                  <a:pt x="1478" y="559"/>
                  <a:pt x="1478" y="559"/>
                </a:cubicBezTo>
                <a:cubicBezTo>
                  <a:pt x="1479" y="560"/>
                  <a:pt x="1479" y="560"/>
                  <a:pt x="1479" y="560"/>
                </a:cubicBezTo>
                <a:close/>
                <a:moveTo>
                  <a:pt x="1496" y="555"/>
                </a:moveTo>
                <a:cubicBezTo>
                  <a:pt x="1496" y="555"/>
                  <a:pt x="1496" y="555"/>
                  <a:pt x="1497" y="556"/>
                </a:cubicBezTo>
                <a:cubicBezTo>
                  <a:pt x="1497" y="556"/>
                  <a:pt x="1497" y="556"/>
                  <a:pt x="1498" y="555"/>
                </a:cubicBezTo>
                <a:cubicBezTo>
                  <a:pt x="1498" y="555"/>
                  <a:pt x="1498" y="555"/>
                  <a:pt x="1498" y="554"/>
                </a:cubicBezTo>
                <a:cubicBezTo>
                  <a:pt x="1498" y="554"/>
                  <a:pt x="1498" y="554"/>
                  <a:pt x="1497" y="554"/>
                </a:cubicBezTo>
                <a:cubicBezTo>
                  <a:pt x="1497" y="554"/>
                  <a:pt x="1497" y="554"/>
                  <a:pt x="1496" y="555"/>
                </a:cubicBezTo>
                <a:close/>
                <a:moveTo>
                  <a:pt x="1504" y="551"/>
                </a:moveTo>
                <a:cubicBezTo>
                  <a:pt x="1504" y="551"/>
                  <a:pt x="1504" y="551"/>
                  <a:pt x="1505" y="551"/>
                </a:cubicBezTo>
                <a:cubicBezTo>
                  <a:pt x="1505" y="551"/>
                  <a:pt x="1505" y="551"/>
                  <a:pt x="1506" y="550"/>
                </a:cubicBezTo>
                <a:cubicBezTo>
                  <a:pt x="1506" y="550"/>
                  <a:pt x="1506" y="550"/>
                  <a:pt x="1505" y="550"/>
                </a:cubicBezTo>
                <a:cubicBezTo>
                  <a:pt x="1505" y="550"/>
                  <a:pt x="1505" y="550"/>
                  <a:pt x="1504" y="549"/>
                </a:cubicBezTo>
                <a:cubicBezTo>
                  <a:pt x="1504" y="549"/>
                  <a:pt x="1504" y="549"/>
                  <a:pt x="1503" y="549"/>
                </a:cubicBezTo>
                <a:cubicBezTo>
                  <a:pt x="1503" y="549"/>
                  <a:pt x="1503" y="549"/>
                  <a:pt x="1502" y="550"/>
                </a:cubicBezTo>
                <a:cubicBezTo>
                  <a:pt x="1502" y="550"/>
                  <a:pt x="1502" y="550"/>
                  <a:pt x="1502" y="551"/>
                </a:cubicBezTo>
                <a:cubicBezTo>
                  <a:pt x="1502" y="551"/>
                  <a:pt x="1502" y="551"/>
                  <a:pt x="1503" y="550"/>
                </a:cubicBezTo>
                <a:cubicBezTo>
                  <a:pt x="1503" y="550"/>
                  <a:pt x="1503" y="550"/>
                  <a:pt x="1504" y="551"/>
                </a:cubicBezTo>
                <a:close/>
                <a:moveTo>
                  <a:pt x="1508" y="565"/>
                </a:moveTo>
                <a:cubicBezTo>
                  <a:pt x="1508" y="565"/>
                  <a:pt x="1508" y="565"/>
                  <a:pt x="1508" y="564"/>
                </a:cubicBezTo>
                <a:cubicBezTo>
                  <a:pt x="1508" y="564"/>
                  <a:pt x="1508" y="564"/>
                  <a:pt x="1507" y="565"/>
                </a:cubicBezTo>
                <a:cubicBezTo>
                  <a:pt x="1507" y="565"/>
                  <a:pt x="1507" y="565"/>
                  <a:pt x="1507" y="566"/>
                </a:cubicBezTo>
                <a:cubicBezTo>
                  <a:pt x="1507" y="566"/>
                  <a:pt x="1507" y="566"/>
                  <a:pt x="1508" y="567"/>
                </a:cubicBezTo>
                <a:cubicBezTo>
                  <a:pt x="1508" y="567"/>
                  <a:pt x="1508" y="567"/>
                  <a:pt x="1508" y="565"/>
                </a:cubicBezTo>
                <a:close/>
                <a:moveTo>
                  <a:pt x="1502" y="559"/>
                </a:moveTo>
                <a:cubicBezTo>
                  <a:pt x="1503" y="559"/>
                  <a:pt x="1503" y="559"/>
                  <a:pt x="1503" y="559"/>
                </a:cubicBezTo>
                <a:cubicBezTo>
                  <a:pt x="1503" y="559"/>
                  <a:pt x="1503" y="559"/>
                  <a:pt x="1504" y="558"/>
                </a:cubicBezTo>
                <a:cubicBezTo>
                  <a:pt x="1504" y="558"/>
                  <a:pt x="1504" y="558"/>
                  <a:pt x="1503" y="558"/>
                </a:cubicBezTo>
                <a:cubicBezTo>
                  <a:pt x="1503" y="558"/>
                  <a:pt x="1503" y="558"/>
                  <a:pt x="1502" y="558"/>
                </a:cubicBezTo>
                <a:cubicBezTo>
                  <a:pt x="1502" y="558"/>
                  <a:pt x="1502" y="558"/>
                  <a:pt x="1502" y="559"/>
                </a:cubicBezTo>
                <a:close/>
                <a:moveTo>
                  <a:pt x="1460" y="535"/>
                </a:moveTo>
                <a:cubicBezTo>
                  <a:pt x="1460" y="535"/>
                  <a:pt x="1460" y="535"/>
                  <a:pt x="1461" y="535"/>
                </a:cubicBezTo>
                <a:cubicBezTo>
                  <a:pt x="1461" y="535"/>
                  <a:pt x="1461" y="535"/>
                  <a:pt x="1461" y="536"/>
                </a:cubicBezTo>
                <a:cubicBezTo>
                  <a:pt x="1461" y="536"/>
                  <a:pt x="1461" y="536"/>
                  <a:pt x="1462" y="537"/>
                </a:cubicBezTo>
                <a:cubicBezTo>
                  <a:pt x="1462" y="537"/>
                  <a:pt x="1462" y="537"/>
                  <a:pt x="1463" y="537"/>
                </a:cubicBezTo>
                <a:cubicBezTo>
                  <a:pt x="1463" y="537"/>
                  <a:pt x="1463" y="537"/>
                  <a:pt x="1462" y="536"/>
                </a:cubicBezTo>
                <a:cubicBezTo>
                  <a:pt x="1462" y="536"/>
                  <a:pt x="1462" y="536"/>
                  <a:pt x="1462" y="534"/>
                </a:cubicBezTo>
                <a:cubicBezTo>
                  <a:pt x="1462" y="534"/>
                  <a:pt x="1462" y="534"/>
                  <a:pt x="1461" y="534"/>
                </a:cubicBezTo>
                <a:cubicBezTo>
                  <a:pt x="1461" y="534"/>
                  <a:pt x="1461" y="534"/>
                  <a:pt x="1460" y="535"/>
                </a:cubicBezTo>
                <a:close/>
                <a:moveTo>
                  <a:pt x="1485" y="540"/>
                </a:moveTo>
                <a:cubicBezTo>
                  <a:pt x="1485" y="540"/>
                  <a:pt x="1485" y="540"/>
                  <a:pt x="1485" y="539"/>
                </a:cubicBezTo>
                <a:cubicBezTo>
                  <a:pt x="1485" y="539"/>
                  <a:pt x="1485" y="539"/>
                  <a:pt x="1484" y="539"/>
                </a:cubicBezTo>
                <a:cubicBezTo>
                  <a:pt x="1484" y="539"/>
                  <a:pt x="1484" y="539"/>
                  <a:pt x="1485" y="540"/>
                </a:cubicBezTo>
                <a:close/>
                <a:moveTo>
                  <a:pt x="1481" y="540"/>
                </a:moveTo>
                <a:cubicBezTo>
                  <a:pt x="1481" y="540"/>
                  <a:pt x="1481" y="540"/>
                  <a:pt x="1480" y="541"/>
                </a:cubicBezTo>
                <a:cubicBezTo>
                  <a:pt x="1480" y="541"/>
                  <a:pt x="1480" y="541"/>
                  <a:pt x="1481" y="541"/>
                </a:cubicBezTo>
                <a:cubicBezTo>
                  <a:pt x="1481" y="541"/>
                  <a:pt x="1481" y="541"/>
                  <a:pt x="1482" y="541"/>
                </a:cubicBezTo>
                <a:cubicBezTo>
                  <a:pt x="1482" y="541"/>
                  <a:pt x="1482" y="541"/>
                  <a:pt x="1482" y="542"/>
                </a:cubicBezTo>
                <a:cubicBezTo>
                  <a:pt x="1482" y="542"/>
                  <a:pt x="1482" y="542"/>
                  <a:pt x="1483" y="542"/>
                </a:cubicBezTo>
                <a:cubicBezTo>
                  <a:pt x="1483" y="542"/>
                  <a:pt x="1483" y="542"/>
                  <a:pt x="1484" y="543"/>
                </a:cubicBezTo>
                <a:cubicBezTo>
                  <a:pt x="1484" y="543"/>
                  <a:pt x="1484" y="543"/>
                  <a:pt x="1485" y="544"/>
                </a:cubicBezTo>
                <a:cubicBezTo>
                  <a:pt x="1485" y="544"/>
                  <a:pt x="1485" y="544"/>
                  <a:pt x="1486" y="545"/>
                </a:cubicBezTo>
                <a:cubicBezTo>
                  <a:pt x="1486" y="545"/>
                  <a:pt x="1486" y="545"/>
                  <a:pt x="1487" y="545"/>
                </a:cubicBezTo>
                <a:cubicBezTo>
                  <a:pt x="1487" y="545"/>
                  <a:pt x="1487" y="545"/>
                  <a:pt x="1488" y="546"/>
                </a:cubicBezTo>
                <a:cubicBezTo>
                  <a:pt x="1488" y="546"/>
                  <a:pt x="1488" y="546"/>
                  <a:pt x="1488" y="547"/>
                </a:cubicBezTo>
                <a:cubicBezTo>
                  <a:pt x="1488" y="547"/>
                  <a:pt x="1488" y="547"/>
                  <a:pt x="1489" y="548"/>
                </a:cubicBezTo>
                <a:cubicBezTo>
                  <a:pt x="1489" y="548"/>
                  <a:pt x="1489" y="548"/>
                  <a:pt x="1490" y="549"/>
                </a:cubicBezTo>
                <a:cubicBezTo>
                  <a:pt x="1490" y="549"/>
                  <a:pt x="1490" y="549"/>
                  <a:pt x="1490" y="548"/>
                </a:cubicBezTo>
                <a:cubicBezTo>
                  <a:pt x="1490" y="548"/>
                  <a:pt x="1490" y="548"/>
                  <a:pt x="1489" y="547"/>
                </a:cubicBezTo>
                <a:cubicBezTo>
                  <a:pt x="1489" y="547"/>
                  <a:pt x="1489" y="547"/>
                  <a:pt x="1489" y="546"/>
                </a:cubicBezTo>
                <a:cubicBezTo>
                  <a:pt x="1489" y="546"/>
                  <a:pt x="1489" y="546"/>
                  <a:pt x="1489" y="545"/>
                </a:cubicBezTo>
                <a:cubicBezTo>
                  <a:pt x="1489" y="545"/>
                  <a:pt x="1489" y="545"/>
                  <a:pt x="1488" y="544"/>
                </a:cubicBezTo>
                <a:cubicBezTo>
                  <a:pt x="1488" y="544"/>
                  <a:pt x="1488" y="544"/>
                  <a:pt x="1487" y="542"/>
                </a:cubicBezTo>
                <a:cubicBezTo>
                  <a:pt x="1487" y="542"/>
                  <a:pt x="1487" y="542"/>
                  <a:pt x="1486" y="542"/>
                </a:cubicBezTo>
                <a:cubicBezTo>
                  <a:pt x="1486" y="542"/>
                  <a:pt x="1486" y="542"/>
                  <a:pt x="1485" y="542"/>
                </a:cubicBezTo>
                <a:cubicBezTo>
                  <a:pt x="1485" y="542"/>
                  <a:pt x="1485" y="542"/>
                  <a:pt x="1483" y="541"/>
                </a:cubicBezTo>
                <a:cubicBezTo>
                  <a:pt x="1483" y="541"/>
                  <a:pt x="1483" y="541"/>
                  <a:pt x="1482" y="540"/>
                </a:cubicBezTo>
                <a:cubicBezTo>
                  <a:pt x="1482" y="538"/>
                  <a:pt x="1482" y="538"/>
                  <a:pt x="1482" y="538"/>
                </a:cubicBezTo>
                <a:cubicBezTo>
                  <a:pt x="1481" y="539"/>
                  <a:pt x="1481" y="539"/>
                  <a:pt x="1481" y="539"/>
                </a:cubicBezTo>
                <a:cubicBezTo>
                  <a:pt x="1481" y="540"/>
                  <a:pt x="1481" y="540"/>
                  <a:pt x="1481" y="540"/>
                </a:cubicBezTo>
                <a:close/>
                <a:moveTo>
                  <a:pt x="1495" y="555"/>
                </a:moveTo>
                <a:cubicBezTo>
                  <a:pt x="1495" y="555"/>
                  <a:pt x="1495" y="555"/>
                  <a:pt x="1495" y="556"/>
                </a:cubicBezTo>
                <a:cubicBezTo>
                  <a:pt x="1495" y="556"/>
                  <a:pt x="1495" y="556"/>
                  <a:pt x="1496" y="555"/>
                </a:cubicBezTo>
                <a:cubicBezTo>
                  <a:pt x="1496" y="555"/>
                  <a:pt x="1496" y="555"/>
                  <a:pt x="1495" y="554"/>
                </a:cubicBezTo>
                <a:cubicBezTo>
                  <a:pt x="1495" y="554"/>
                  <a:pt x="1495" y="554"/>
                  <a:pt x="1495" y="555"/>
                </a:cubicBezTo>
                <a:close/>
                <a:moveTo>
                  <a:pt x="1495" y="533"/>
                </a:moveTo>
                <a:cubicBezTo>
                  <a:pt x="1495" y="533"/>
                  <a:pt x="1495" y="533"/>
                  <a:pt x="1495" y="532"/>
                </a:cubicBezTo>
                <a:cubicBezTo>
                  <a:pt x="1495" y="532"/>
                  <a:pt x="1495" y="532"/>
                  <a:pt x="1495" y="531"/>
                </a:cubicBezTo>
                <a:cubicBezTo>
                  <a:pt x="1495" y="531"/>
                  <a:pt x="1495" y="531"/>
                  <a:pt x="1494" y="532"/>
                </a:cubicBezTo>
                <a:cubicBezTo>
                  <a:pt x="1494" y="532"/>
                  <a:pt x="1494" y="532"/>
                  <a:pt x="1493" y="532"/>
                </a:cubicBezTo>
                <a:cubicBezTo>
                  <a:pt x="1493" y="532"/>
                  <a:pt x="1493" y="532"/>
                  <a:pt x="1492" y="532"/>
                </a:cubicBezTo>
                <a:cubicBezTo>
                  <a:pt x="1492" y="532"/>
                  <a:pt x="1492" y="532"/>
                  <a:pt x="1493" y="533"/>
                </a:cubicBezTo>
                <a:cubicBezTo>
                  <a:pt x="1493" y="533"/>
                  <a:pt x="1493" y="533"/>
                  <a:pt x="1493" y="534"/>
                </a:cubicBezTo>
                <a:cubicBezTo>
                  <a:pt x="1493" y="534"/>
                  <a:pt x="1493" y="534"/>
                  <a:pt x="1494" y="533"/>
                </a:cubicBezTo>
                <a:cubicBezTo>
                  <a:pt x="1494" y="533"/>
                  <a:pt x="1494" y="533"/>
                  <a:pt x="1494" y="534"/>
                </a:cubicBezTo>
                <a:cubicBezTo>
                  <a:pt x="1494" y="534"/>
                  <a:pt x="1494" y="534"/>
                  <a:pt x="1495" y="533"/>
                </a:cubicBezTo>
                <a:close/>
                <a:moveTo>
                  <a:pt x="1491" y="542"/>
                </a:moveTo>
                <a:cubicBezTo>
                  <a:pt x="1491" y="542"/>
                  <a:pt x="1491" y="542"/>
                  <a:pt x="1492" y="542"/>
                </a:cubicBezTo>
                <a:cubicBezTo>
                  <a:pt x="1492" y="542"/>
                  <a:pt x="1492" y="542"/>
                  <a:pt x="1492" y="541"/>
                </a:cubicBezTo>
                <a:cubicBezTo>
                  <a:pt x="1492" y="541"/>
                  <a:pt x="1492" y="541"/>
                  <a:pt x="1491" y="541"/>
                </a:cubicBezTo>
                <a:cubicBezTo>
                  <a:pt x="1491" y="541"/>
                  <a:pt x="1491" y="541"/>
                  <a:pt x="1491" y="542"/>
                </a:cubicBezTo>
                <a:close/>
                <a:moveTo>
                  <a:pt x="1511" y="563"/>
                </a:moveTo>
                <a:cubicBezTo>
                  <a:pt x="1511" y="563"/>
                  <a:pt x="1511" y="563"/>
                  <a:pt x="1512" y="562"/>
                </a:cubicBezTo>
                <a:cubicBezTo>
                  <a:pt x="1512" y="562"/>
                  <a:pt x="1512" y="562"/>
                  <a:pt x="1513" y="562"/>
                </a:cubicBezTo>
                <a:cubicBezTo>
                  <a:pt x="1513" y="562"/>
                  <a:pt x="1513" y="562"/>
                  <a:pt x="1513" y="561"/>
                </a:cubicBezTo>
                <a:cubicBezTo>
                  <a:pt x="1513" y="561"/>
                  <a:pt x="1513" y="561"/>
                  <a:pt x="1514" y="561"/>
                </a:cubicBezTo>
                <a:cubicBezTo>
                  <a:pt x="1514" y="561"/>
                  <a:pt x="1514" y="561"/>
                  <a:pt x="1514" y="560"/>
                </a:cubicBezTo>
                <a:cubicBezTo>
                  <a:pt x="1514" y="560"/>
                  <a:pt x="1514" y="560"/>
                  <a:pt x="1514" y="559"/>
                </a:cubicBezTo>
                <a:cubicBezTo>
                  <a:pt x="1514" y="559"/>
                  <a:pt x="1514" y="559"/>
                  <a:pt x="1513" y="559"/>
                </a:cubicBezTo>
                <a:cubicBezTo>
                  <a:pt x="1513" y="559"/>
                  <a:pt x="1513" y="559"/>
                  <a:pt x="1512" y="560"/>
                </a:cubicBezTo>
                <a:cubicBezTo>
                  <a:pt x="1512" y="560"/>
                  <a:pt x="1512" y="560"/>
                  <a:pt x="1511" y="561"/>
                </a:cubicBezTo>
                <a:cubicBezTo>
                  <a:pt x="1511" y="561"/>
                  <a:pt x="1511" y="561"/>
                  <a:pt x="1511" y="562"/>
                </a:cubicBezTo>
                <a:cubicBezTo>
                  <a:pt x="1511" y="562"/>
                  <a:pt x="1511" y="562"/>
                  <a:pt x="1510" y="563"/>
                </a:cubicBezTo>
                <a:cubicBezTo>
                  <a:pt x="1510" y="563"/>
                  <a:pt x="1510" y="563"/>
                  <a:pt x="1511" y="563"/>
                </a:cubicBezTo>
                <a:close/>
                <a:moveTo>
                  <a:pt x="1502" y="540"/>
                </a:moveTo>
                <a:cubicBezTo>
                  <a:pt x="1502" y="540"/>
                  <a:pt x="1502" y="540"/>
                  <a:pt x="1502" y="539"/>
                </a:cubicBezTo>
                <a:cubicBezTo>
                  <a:pt x="1502" y="539"/>
                  <a:pt x="1502" y="539"/>
                  <a:pt x="1502" y="538"/>
                </a:cubicBezTo>
                <a:cubicBezTo>
                  <a:pt x="1502" y="538"/>
                  <a:pt x="1502" y="538"/>
                  <a:pt x="1502" y="537"/>
                </a:cubicBezTo>
                <a:cubicBezTo>
                  <a:pt x="1502" y="537"/>
                  <a:pt x="1502" y="537"/>
                  <a:pt x="1500" y="537"/>
                </a:cubicBezTo>
                <a:cubicBezTo>
                  <a:pt x="1500" y="537"/>
                  <a:pt x="1500" y="537"/>
                  <a:pt x="1500" y="538"/>
                </a:cubicBezTo>
                <a:cubicBezTo>
                  <a:pt x="1500" y="538"/>
                  <a:pt x="1500" y="538"/>
                  <a:pt x="1501" y="538"/>
                </a:cubicBezTo>
                <a:cubicBezTo>
                  <a:pt x="1501" y="538"/>
                  <a:pt x="1501" y="538"/>
                  <a:pt x="1501" y="539"/>
                </a:cubicBezTo>
                <a:cubicBezTo>
                  <a:pt x="1501" y="539"/>
                  <a:pt x="1501" y="539"/>
                  <a:pt x="1500" y="539"/>
                </a:cubicBezTo>
                <a:cubicBezTo>
                  <a:pt x="1500" y="539"/>
                  <a:pt x="1500" y="539"/>
                  <a:pt x="1500" y="540"/>
                </a:cubicBezTo>
                <a:cubicBezTo>
                  <a:pt x="1500" y="540"/>
                  <a:pt x="1500" y="540"/>
                  <a:pt x="1501" y="540"/>
                </a:cubicBezTo>
                <a:cubicBezTo>
                  <a:pt x="1501" y="540"/>
                  <a:pt x="1501" y="540"/>
                  <a:pt x="1502" y="540"/>
                </a:cubicBezTo>
                <a:close/>
                <a:moveTo>
                  <a:pt x="1493" y="551"/>
                </a:moveTo>
                <a:cubicBezTo>
                  <a:pt x="1493" y="551"/>
                  <a:pt x="1493" y="551"/>
                  <a:pt x="1494" y="551"/>
                </a:cubicBezTo>
                <a:cubicBezTo>
                  <a:pt x="1494" y="551"/>
                  <a:pt x="1494" y="551"/>
                  <a:pt x="1494" y="550"/>
                </a:cubicBezTo>
                <a:cubicBezTo>
                  <a:pt x="1494" y="550"/>
                  <a:pt x="1494" y="550"/>
                  <a:pt x="1493" y="549"/>
                </a:cubicBezTo>
                <a:cubicBezTo>
                  <a:pt x="1493" y="549"/>
                  <a:pt x="1493" y="549"/>
                  <a:pt x="1492" y="549"/>
                </a:cubicBezTo>
                <a:cubicBezTo>
                  <a:pt x="1492" y="549"/>
                  <a:pt x="1492" y="549"/>
                  <a:pt x="1491" y="549"/>
                </a:cubicBezTo>
                <a:cubicBezTo>
                  <a:pt x="1491" y="549"/>
                  <a:pt x="1491" y="549"/>
                  <a:pt x="1492" y="550"/>
                </a:cubicBezTo>
                <a:cubicBezTo>
                  <a:pt x="1492" y="550"/>
                  <a:pt x="1492" y="550"/>
                  <a:pt x="1493" y="551"/>
                </a:cubicBezTo>
                <a:close/>
                <a:moveTo>
                  <a:pt x="1468" y="543"/>
                </a:moveTo>
                <a:cubicBezTo>
                  <a:pt x="1468" y="543"/>
                  <a:pt x="1468" y="543"/>
                  <a:pt x="1467" y="542"/>
                </a:cubicBezTo>
                <a:cubicBezTo>
                  <a:pt x="1467" y="542"/>
                  <a:pt x="1467" y="542"/>
                  <a:pt x="1466" y="543"/>
                </a:cubicBezTo>
                <a:cubicBezTo>
                  <a:pt x="1466" y="543"/>
                  <a:pt x="1466" y="543"/>
                  <a:pt x="1467" y="544"/>
                </a:cubicBezTo>
                <a:cubicBezTo>
                  <a:pt x="1467" y="544"/>
                  <a:pt x="1467" y="544"/>
                  <a:pt x="1467" y="543"/>
                </a:cubicBezTo>
                <a:cubicBezTo>
                  <a:pt x="1467" y="543"/>
                  <a:pt x="1467" y="543"/>
                  <a:pt x="1468" y="543"/>
                </a:cubicBezTo>
                <a:close/>
                <a:moveTo>
                  <a:pt x="1496" y="552"/>
                </a:moveTo>
                <a:cubicBezTo>
                  <a:pt x="1496" y="552"/>
                  <a:pt x="1496" y="552"/>
                  <a:pt x="1495" y="551"/>
                </a:cubicBezTo>
                <a:cubicBezTo>
                  <a:pt x="1495" y="551"/>
                  <a:pt x="1495" y="551"/>
                  <a:pt x="1494" y="551"/>
                </a:cubicBezTo>
                <a:cubicBezTo>
                  <a:pt x="1494" y="551"/>
                  <a:pt x="1494" y="551"/>
                  <a:pt x="1495" y="552"/>
                </a:cubicBezTo>
                <a:cubicBezTo>
                  <a:pt x="1495" y="552"/>
                  <a:pt x="1495" y="552"/>
                  <a:pt x="1496" y="552"/>
                </a:cubicBezTo>
                <a:close/>
                <a:moveTo>
                  <a:pt x="1483" y="561"/>
                </a:moveTo>
                <a:cubicBezTo>
                  <a:pt x="1483" y="561"/>
                  <a:pt x="1483" y="561"/>
                  <a:pt x="1482" y="560"/>
                </a:cubicBezTo>
                <a:cubicBezTo>
                  <a:pt x="1482" y="560"/>
                  <a:pt x="1482" y="560"/>
                  <a:pt x="1481" y="560"/>
                </a:cubicBezTo>
                <a:cubicBezTo>
                  <a:pt x="1481" y="560"/>
                  <a:pt x="1481" y="560"/>
                  <a:pt x="1482" y="561"/>
                </a:cubicBezTo>
                <a:cubicBezTo>
                  <a:pt x="1482" y="561"/>
                  <a:pt x="1482" y="561"/>
                  <a:pt x="1482" y="562"/>
                </a:cubicBezTo>
                <a:cubicBezTo>
                  <a:pt x="1482" y="562"/>
                  <a:pt x="1482" y="562"/>
                  <a:pt x="1483" y="561"/>
                </a:cubicBezTo>
                <a:close/>
                <a:moveTo>
                  <a:pt x="1490" y="552"/>
                </a:moveTo>
                <a:cubicBezTo>
                  <a:pt x="1490" y="552"/>
                  <a:pt x="1490" y="552"/>
                  <a:pt x="1490" y="551"/>
                </a:cubicBezTo>
                <a:cubicBezTo>
                  <a:pt x="1490" y="551"/>
                  <a:pt x="1490" y="551"/>
                  <a:pt x="1489" y="552"/>
                </a:cubicBezTo>
                <a:cubicBezTo>
                  <a:pt x="1489" y="552"/>
                  <a:pt x="1489" y="552"/>
                  <a:pt x="1490" y="552"/>
                </a:cubicBezTo>
                <a:close/>
                <a:moveTo>
                  <a:pt x="1497" y="552"/>
                </a:moveTo>
                <a:cubicBezTo>
                  <a:pt x="1497" y="552"/>
                  <a:pt x="1497" y="552"/>
                  <a:pt x="1496" y="552"/>
                </a:cubicBezTo>
                <a:cubicBezTo>
                  <a:pt x="1496" y="552"/>
                  <a:pt x="1496" y="552"/>
                  <a:pt x="1496" y="553"/>
                </a:cubicBezTo>
                <a:cubicBezTo>
                  <a:pt x="1496" y="553"/>
                  <a:pt x="1496" y="553"/>
                  <a:pt x="1497" y="552"/>
                </a:cubicBezTo>
                <a:close/>
                <a:moveTo>
                  <a:pt x="1466" y="545"/>
                </a:moveTo>
                <a:cubicBezTo>
                  <a:pt x="1466" y="545"/>
                  <a:pt x="1466" y="545"/>
                  <a:pt x="1465" y="546"/>
                </a:cubicBezTo>
                <a:cubicBezTo>
                  <a:pt x="1465" y="546"/>
                  <a:pt x="1465" y="546"/>
                  <a:pt x="1465" y="547"/>
                </a:cubicBezTo>
                <a:cubicBezTo>
                  <a:pt x="1465" y="547"/>
                  <a:pt x="1465" y="547"/>
                  <a:pt x="1466" y="547"/>
                </a:cubicBezTo>
                <a:cubicBezTo>
                  <a:pt x="1466" y="547"/>
                  <a:pt x="1466" y="547"/>
                  <a:pt x="1467" y="548"/>
                </a:cubicBezTo>
                <a:cubicBezTo>
                  <a:pt x="1467" y="548"/>
                  <a:pt x="1467" y="548"/>
                  <a:pt x="1468" y="548"/>
                </a:cubicBezTo>
                <a:cubicBezTo>
                  <a:pt x="1468" y="548"/>
                  <a:pt x="1468" y="548"/>
                  <a:pt x="1468" y="547"/>
                </a:cubicBezTo>
                <a:cubicBezTo>
                  <a:pt x="1468" y="547"/>
                  <a:pt x="1468" y="547"/>
                  <a:pt x="1468" y="546"/>
                </a:cubicBezTo>
                <a:cubicBezTo>
                  <a:pt x="1468" y="546"/>
                  <a:pt x="1468" y="546"/>
                  <a:pt x="1467" y="546"/>
                </a:cubicBezTo>
                <a:cubicBezTo>
                  <a:pt x="1467" y="546"/>
                  <a:pt x="1467" y="546"/>
                  <a:pt x="1468" y="545"/>
                </a:cubicBezTo>
                <a:cubicBezTo>
                  <a:pt x="1468" y="545"/>
                  <a:pt x="1468" y="545"/>
                  <a:pt x="1467" y="544"/>
                </a:cubicBezTo>
                <a:cubicBezTo>
                  <a:pt x="1467" y="544"/>
                  <a:pt x="1467" y="544"/>
                  <a:pt x="1467" y="545"/>
                </a:cubicBezTo>
                <a:cubicBezTo>
                  <a:pt x="1467" y="545"/>
                  <a:pt x="1467" y="545"/>
                  <a:pt x="1466" y="545"/>
                </a:cubicBezTo>
                <a:close/>
                <a:moveTo>
                  <a:pt x="1491" y="547"/>
                </a:moveTo>
                <a:cubicBezTo>
                  <a:pt x="1491" y="547"/>
                  <a:pt x="1491" y="547"/>
                  <a:pt x="1490" y="547"/>
                </a:cubicBezTo>
                <a:cubicBezTo>
                  <a:pt x="1490" y="547"/>
                  <a:pt x="1490" y="547"/>
                  <a:pt x="1490" y="548"/>
                </a:cubicBezTo>
                <a:cubicBezTo>
                  <a:pt x="1490" y="548"/>
                  <a:pt x="1490" y="548"/>
                  <a:pt x="1491" y="549"/>
                </a:cubicBezTo>
                <a:cubicBezTo>
                  <a:pt x="1491" y="549"/>
                  <a:pt x="1491" y="549"/>
                  <a:pt x="1491" y="547"/>
                </a:cubicBezTo>
                <a:close/>
                <a:moveTo>
                  <a:pt x="1490" y="553"/>
                </a:moveTo>
                <a:cubicBezTo>
                  <a:pt x="1490" y="553"/>
                  <a:pt x="1490" y="553"/>
                  <a:pt x="1490" y="554"/>
                </a:cubicBezTo>
                <a:cubicBezTo>
                  <a:pt x="1491" y="553"/>
                  <a:pt x="1491" y="553"/>
                  <a:pt x="1491" y="553"/>
                </a:cubicBezTo>
                <a:cubicBezTo>
                  <a:pt x="1491" y="553"/>
                  <a:pt x="1491" y="553"/>
                  <a:pt x="1490" y="553"/>
                </a:cubicBezTo>
                <a:close/>
                <a:moveTo>
                  <a:pt x="1500" y="551"/>
                </a:moveTo>
                <a:cubicBezTo>
                  <a:pt x="1500" y="551"/>
                  <a:pt x="1500" y="551"/>
                  <a:pt x="1500" y="552"/>
                </a:cubicBezTo>
                <a:cubicBezTo>
                  <a:pt x="1500" y="552"/>
                  <a:pt x="1500" y="552"/>
                  <a:pt x="1501" y="551"/>
                </a:cubicBezTo>
                <a:cubicBezTo>
                  <a:pt x="1501" y="551"/>
                  <a:pt x="1501" y="551"/>
                  <a:pt x="1500" y="551"/>
                </a:cubicBezTo>
                <a:close/>
                <a:moveTo>
                  <a:pt x="1498" y="538"/>
                </a:moveTo>
                <a:cubicBezTo>
                  <a:pt x="1498" y="538"/>
                  <a:pt x="1498" y="538"/>
                  <a:pt x="1498" y="539"/>
                </a:cubicBezTo>
                <a:cubicBezTo>
                  <a:pt x="1498" y="539"/>
                  <a:pt x="1498" y="539"/>
                  <a:pt x="1499" y="540"/>
                </a:cubicBezTo>
                <a:cubicBezTo>
                  <a:pt x="1499" y="540"/>
                  <a:pt x="1499" y="540"/>
                  <a:pt x="1500" y="539"/>
                </a:cubicBezTo>
                <a:cubicBezTo>
                  <a:pt x="1500" y="539"/>
                  <a:pt x="1500" y="539"/>
                  <a:pt x="1500" y="538"/>
                </a:cubicBezTo>
                <a:cubicBezTo>
                  <a:pt x="1500" y="538"/>
                  <a:pt x="1500" y="538"/>
                  <a:pt x="1498" y="538"/>
                </a:cubicBezTo>
                <a:close/>
                <a:moveTo>
                  <a:pt x="1467" y="549"/>
                </a:moveTo>
                <a:cubicBezTo>
                  <a:pt x="1467" y="549"/>
                  <a:pt x="1467" y="549"/>
                  <a:pt x="1467" y="550"/>
                </a:cubicBezTo>
                <a:cubicBezTo>
                  <a:pt x="1467" y="550"/>
                  <a:pt x="1467" y="550"/>
                  <a:pt x="1468" y="551"/>
                </a:cubicBezTo>
                <a:cubicBezTo>
                  <a:pt x="1468" y="551"/>
                  <a:pt x="1468" y="551"/>
                  <a:pt x="1469" y="550"/>
                </a:cubicBezTo>
                <a:cubicBezTo>
                  <a:pt x="1469" y="550"/>
                  <a:pt x="1469" y="550"/>
                  <a:pt x="1468" y="549"/>
                </a:cubicBezTo>
                <a:cubicBezTo>
                  <a:pt x="1468" y="549"/>
                  <a:pt x="1468" y="549"/>
                  <a:pt x="1467" y="549"/>
                </a:cubicBezTo>
                <a:close/>
                <a:moveTo>
                  <a:pt x="1491" y="554"/>
                </a:moveTo>
                <a:cubicBezTo>
                  <a:pt x="1491" y="554"/>
                  <a:pt x="1491" y="554"/>
                  <a:pt x="1490" y="555"/>
                </a:cubicBezTo>
                <a:cubicBezTo>
                  <a:pt x="1490" y="555"/>
                  <a:pt x="1490" y="555"/>
                  <a:pt x="1491" y="555"/>
                </a:cubicBezTo>
                <a:cubicBezTo>
                  <a:pt x="1491" y="555"/>
                  <a:pt x="1491" y="555"/>
                  <a:pt x="1491" y="554"/>
                </a:cubicBezTo>
                <a:close/>
                <a:moveTo>
                  <a:pt x="1489" y="566"/>
                </a:moveTo>
                <a:cubicBezTo>
                  <a:pt x="1488" y="566"/>
                  <a:pt x="1488" y="566"/>
                  <a:pt x="1488" y="566"/>
                </a:cubicBezTo>
                <a:cubicBezTo>
                  <a:pt x="1487" y="565"/>
                  <a:pt x="1487" y="565"/>
                  <a:pt x="1487" y="565"/>
                </a:cubicBezTo>
                <a:cubicBezTo>
                  <a:pt x="1487" y="566"/>
                  <a:pt x="1487" y="566"/>
                  <a:pt x="1487" y="566"/>
                </a:cubicBezTo>
                <a:cubicBezTo>
                  <a:pt x="1486" y="565"/>
                  <a:pt x="1486" y="565"/>
                  <a:pt x="1486" y="565"/>
                </a:cubicBezTo>
                <a:cubicBezTo>
                  <a:pt x="1486" y="566"/>
                  <a:pt x="1486" y="566"/>
                  <a:pt x="1486" y="566"/>
                </a:cubicBezTo>
                <a:cubicBezTo>
                  <a:pt x="1486" y="567"/>
                  <a:pt x="1486" y="567"/>
                  <a:pt x="1486" y="567"/>
                </a:cubicBezTo>
                <a:cubicBezTo>
                  <a:pt x="1486" y="568"/>
                  <a:pt x="1486" y="568"/>
                  <a:pt x="1486" y="568"/>
                </a:cubicBezTo>
                <a:cubicBezTo>
                  <a:pt x="1487" y="568"/>
                  <a:pt x="1487" y="568"/>
                  <a:pt x="1487" y="568"/>
                </a:cubicBezTo>
                <a:cubicBezTo>
                  <a:pt x="1489" y="568"/>
                  <a:pt x="1489" y="568"/>
                  <a:pt x="1489" y="568"/>
                </a:cubicBezTo>
                <a:cubicBezTo>
                  <a:pt x="1490" y="568"/>
                  <a:pt x="1490" y="568"/>
                  <a:pt x="1490" y="568"/>
                </a:cubicBezTo>
                <a:cubicBezTo>
                  <a:pt x="1491" y="568"/>
                  <a:pt x="1491" y="568"/>
                  <a:pt x="1491" y="568"/>
                </a:cubicBezTo>
                <a:cubicBezTo>
                  <a:pt x="1492" y="568"/>
                  <a:pt x="1492" y="568"/>
                  <a:pt x="1492" y="568"/>
                </a:cubicBezTo>
                <a:cubicBezTo>
                  <a:pt x="1493" y="569"/>
                  <a:pt x="1493" y="569"/>
                  <a:pt x="1493" y="569"/>
                </a:cubicBezTo>
                <a:cubicBezTo>
                  <a:pt x="1493" y="570"/>
                  <a:pt x="1493" y="570"/>
                  <a:pt x="1493" y="570"/>
                </a:cubicBezTo>
                <a:cubicBezTo>
                  <a:pt x="1495" y="570"/>
                  <a:pt x="1495" y="570"/>
                  <a:pt x="1495" y="570"/>
                </a:cubicBezTo>
                <a:cubicBezTo>
                  <a:pt x="1496" y="569"/>
                  <a:pt x="1496" y="569"/>
                  <a:pt x="1496" y="569"/>
                </a:cubicBezTo>
                <a:cubicBezTo>
                  <a:pt x="1498" y="569"/>
                  <a:pt x="1498" y="569"/>
                  <a:pt x="1498" y="569"/>
                </a:cubicBezTo>
                <a:cubicBezTo>
                  <a:pt x="1500" y="569"/>
                  <a:pt x="1500" y="569"/>
                  <a:pt x="1500" y="569"/>
                </a:cubicBezTo>
                <a:cubicBezTo>
                  <a:pt x="1502" y="569"/>
                  <a:pt x="1502" y="569"/>
                  <a:pt x="1502" y="569"/>
                </a:cubicBezTo>
                <a:cubicBezTo>
                  <a:pt x="1503" y="569"/>
                  <a:pt x="1503" y="569"/>
                  <a:pt x="1503" y="569"/>
                </a:cubicBezTo>
                <a:cubicBezTo>
                  <a:pt x="1503" y="568"/>
                  <a:pt x="1503" y="568"/>
                  <a:pt x="1503" y="568"/>
                </a:cubicBezTo>
                <a:cubicBezTo>
                  <a:pt x="1503" y="567"/>
                  <a:pt x="1503" y="567"/>
                  <a:pt x="1503" y="567"/>
                </a:cubicBezTo>
                <a:cubicBezTo>
                  <a:pt x="1503" y="566"/>
                  <a:pt x="1503" y="566"/>
                  <a:pt x="1503" y="566"/>
                </a:cubicBezTo>
                <a:cubicBezTo>
                  <a:pt x="1502" y="567"/>
                  <a:pt x="1502" y="567"/>
                  <a:pt x="1502" y="567"/>
                </a:cubicBezTo>
                <a:cubicBezTo>
                  <a:pt x="1502" y="568"/>
                  <a:pt x="1502" y="568"/>
                  <a:pt x="1502" y="568"/>
                </a:cubicBezTo>
                <a:cubicBezTo>
                  <a:pt x="1501" y="568"/>
                  <a:pt x="1501" y="568"/>
                  <a:pt x="1501" y="568"/>
                </a:cubicBezTo>
                <a:cubicBezTo>
                  <a:pt x="1500" y="568"/>
                  <a:pt x="1500" y="568"/>
                  <a:pt x="1500" y="568"/>
                </a:cubicBezTo>
                <a:cubicBezTo>
                  <a:pt x="1500" y="567"/>
                  <a:pt x="1500" y="567"/>
                  <a:pt x="1500" y="567"/>
                </a:cubicBezTo>
                <a:cubicBezTo>
                  <a:pt x="1499" y="566"/>
                  <a:pt x="1499" y="566"/>
                  <a:pt x="1499" y="566"/>
                </a:cubicBezTo>
                <a:cubicBezTo>
                  <a:pt x="1497" y="566"/>
                  <a:pt x="1497" y="566"/>
                  <a:pt x="1497" y="566"/>
                </a:cubicBezTo>
                <a:cubicBezTo>
                  <a:pt x="1496" y="566"/>
                  <a:pt x="1496" y="566"/>
                  <a:pt x="1496" y="566"/>
                </a:cubicBezTo>
                <a:cubicBezTo>
                  <a:pt x="1494" y="566"/>
                  <a:pt x="1494" y="566"/>
                  <a:pt x="1494" y="566"/>
                </a:cubicBezTo>
                <a:cubicBezTo>
                  <a:pt x="1493" y="567"/>
                  <a:pt x="1493" y="567"/>
                  <a:pt x="1493" y="567"/>
                </a:cubicBezTo>
                <a:cubicBezTo>
                  <a:pt x="1491" y="567"/>
                  <a:pt x="1491" y="567"/>
                  <a:pt x="1491" y="567"/>
                </a:cubicBezTo>
                <a:cubicBezTo>
                  <a:pt x="1491" y="566"/>
                  <a:pt x="1491" y="566"/>
                  <a:pt x="1491" y="566"/>
                </a:cubicBezTo>
                <a:cubicBezTo>
                  <a:pt x="1490" y="566"/>
                  <a:pt x="1490" y="566"/>
                  <a:pt x="1490" y="566"/>
                </a:cubicBezTo>
                <a:cubicBezTo>
                  <a:pt x="1489" y="565"/>
                  <a:pt x="1489" y="565"/>
                  <a:pt x="1489" y="565"/>
                </a:cubicBezTo>
                <a:cubicBezTo>
                  <a:pt x="1489" y="566"/>
                  <a:pt x="1489" y="566"/>
                  <a:pt x="1489" y="566"/>
                </a:cubicBezTo>
                <a:close/>
                <a:moveTo>
                  <a:pt x="1490" y="559"/>
                </a:moveTo>
                <a:cubicBezTo>
                  <a:pt x="1490" y="559"/>
                  <a:pt x="1490" y="559"/>
                  <a:pt x="1491" y="558"/>
                </a:cubicBezTo>
                <a:cubicBezTo>
                  <a:pt x="1491" y="558"/>
                  <a:pt x="1491" y="558"/>
                  <a:pt x="1490" y="558"/>
                </a:cubicBezTo>
                <a:cubicBezTo>
                  <a:pt x="1490" y="558"/>
                  <a:pt x="1490" y="558"/>
                  <a:pt x="1490" y="559"/>
                </a:cubicBezTo>
                <a:close/>
                <a:moveTo>
                  <a:pt x="1497" y="528"/>
                </a:moveTo>
                <a:cubicBezTo>
                  <a:pt x="1497" y="528"/>
                  <a:pt x="1497" y="528"/>
                  <a:pt x="1496" y="528"/>
                </a:cubicBezTo>
                <a:cubicBezTo>
                  <a:pt x="1496" y="528"/>
                  <a:pt x="1496" y="528"/>
                  <a:pt x="1495" y="528"/>
                </a:cubicBezTo>
                <a:cubicBezTo>
                  <a:pt x="1495" y="528"/>
                  <a:pt x="1495" y="528"/>
                  <a:pt x="1497" y="529"/>
                </a:cubicBezTo>
                <a:cubicBezTo>
                  <a:pt x="1497" y="529"/>
                  <a:pt x="1497" y="529"/>
                  <a:pt x="1497" y="528"/>
                </a:cubicBezTo>
                <a:close/>
                <a:moveTo>
                  <a:pt x="1499" y="546"/>
                </a:moveTo>
                <a:cubicBezTo>
                  <a:pt x="1499" y="546"/>
                  <a:pt x="1499" y="546"/>
                  <a:pt x="1500" y="546"/>
                </a:cubicBezTo>
                <a:cubicBezTo>
                  <a:pt x="1500" y="546"/>
                  <a:pt x="1500" y="546"/>
                  <a:pt x="1500" y="545"/>
                </a:cubicBezTo>
                <a:cubicBezTo>
                  <a:pt x="1500" y="545"/>
                  <a:pt x="1500" y="545"/>
                  <a:pt x="1500" y="543"/>
                </a:cubicBezTo>
                <a:cubicBezTo>
                  <a:pt x="1500" y="543"/>
                  <a:pt x="1500" y="543"/>
                  <a:pt x="1499" y="543"/>
                </a:cubicBezTo>
                <a:cubicBezTo>
                  <a:pt x="1499" y="543"/>
                  <a:pt x="1499" y="543"/>
                  <a:pt x="1498" y="543"/>
                </a:cubicBezTo>
                <a:cubicBezTo>
                  <a:pt x="1498" y="543"/>
                  <a:pt x="1498" y="543"/>
                  <a:pt x="1498" y="544"/>
                </a:cubicBezTo>
                <a:cubicBezTo>
                  <a:pt x="1498" y="544"/>
                  <a:pt x="1498" y="544"/>
                  <a:pt x="1499" y="544"/>
                </a:cubicBezTo>
                <a:cubicBezTo>
                  <a:pt x="1499" y="544"/>
                  <a:pt x="1499" y="544"/>
                  <a:pt x="1499" y="545"/>
                </a:cubicBezTo>
                <a:cubicBezTo>
                  <a:pt x="1499" y="545"/>
                  <a:pt x="1499" y="545"/>
                  <a:pt x="1499" y="546"/>
                </a:cubicBezTo>
                <a:close/>
                <a:moveTo>
                  <a:pt x="1509" y="558"/>
                </a:moveTo>
                <a:cubicBezTo>
                  <a:pt x="1510" y="557"/>
                  <a:pt x="1510" y="557"/>
                  <a:pt x="1510" y="557"/>
                </a:cubicBezTo>
                <a:cubicBezTo>
                  <a:pt x="1508" y="557"/>
                  <a:pt x="1508" y="557"/>
                  <a:pt x="1508" y="557"/>
                </a:cubicBezTo>
                <a:cubicBezTo>
                  <a:pt x="1509" y="558"/>
                  <a:pt x="1509" y="558"/>
                  <a:pt x="1509" y="558"/>
                </a:cubicBezTo>
                <a:close/>
                <a:moveTo>
                  <a:pt x="1507" y="555"/>
                </a:moveTo>
                <a:cubicBezTo>
                  <a:pt x="1508" y="555"/>
                  <a:pt x="1508" y="555"/>
                  <a:pt x="1508" y="555"/>
                </a:cubicBezTo>
                <a:cubicBezTo>
                  <a:pt x="1507" y="554"/>
                  <a:pt x="1507" y="554"/>
                  <a:pt x="1507" y="554"/>
                </a:cubicBezTo>
                <a:cubicBezTo>
                  <a:pt x="1507" y="555"/>
                  <a:pt x="1507" y="555"/>
                  <a:pt x="1507" y="555"/>
                </a:cubicBezTo>
                <a:close/>
                <a:moveTo>
                  <a:pt x="1499" y="530"/>
                </a:moveTo>
                <a:cubicBezTo>
                  <a:pt x="1498" y="529"/>
                  <a:pt x="1498" y="529"/>
                  <a:pt x="1498" y="529"/>
                </a:cubicBezTo>
                <a:cubicBezTo>
                  <a:pt x="1498" y="530"/>
                  <a:pt x="1498" y="530"/>
                  <a:pt x="1498" y="530"/>
                </a:cubicBezTo>
                <a:cubicBezTo>
                  <a:pt x="1497" y="530"/>
                  <a:pt x="1497" y="530"/>
                  <a:pt x="1497" y="530"/>
                </a:cubicBezTo>
                <a:cubicBezTo>
                  <a:pt x="1496" y="530"/>
                  <a:pt x="1496" y="530"/>
                  <a:pt x="1496" y="530"/>
                </a:cubicBezTo>
                <a:cubicBezTo>
                  <a:pt x="1497" y="531"/>
                  <a:pt x="1497" y="531"/>
                  <a:pt x="1497" y="531"/>
                </a:cubicBezTo>
                <a:cubicBezTo>
                  <a:pt x="1499" y="530"/>
                  <a:pt x="1499" y="530"/>
                  <a:pt x="1499" y="530"/>
                </a:cubicBezTo>
                <a:close/>
                <a:moveTo>
                  <a:pt x="1511" y="558"/>
                </a:moveTo>
                <a:cubicBezTo>
                  <a:pt x="1510" y="558"/>
                  <a:pt x="1510" y="558"/>
                  <a:pt x="1510" y="558"/>
                </a:cubicBezTo>
                <a:cubicBezTo>
                  <a:pt x="1511" y="559"/>
                  <a:pt x="1511" y="559"/>
                  <a:pt x="1511" y="559"/>
                </a:cubicBezTo>
                <a:cubicBezTo>
                  <a:pt x="1511" y="558"/>
                  <a:pt x="1511" y="558"/>
                  <a:pt x="1511" y="558"/>
                </a:cubicBezTo>
                <a:close/>
                <a:moveTo>
                  <a:pt x="1542" y="572"/>
                </a:moveTo>
                <a:cubicBezTo>
                  <a:pt x="1543" y="572"/>
                  <a:pt x="1543" y="572"/>
                  <a:pt x="1543" y="572"/>
                </a:cubicBezTo>
                <a:cubicBezTo>
                  <a:pt x="1544" y="572"/>
                  <a:pt x="1544" y="572"/>
                  <a:pt x="1544" y="572"/>
                </a:cubicBezTo>
                <a:cubicBezTo>
                  <a:pt x="1545" y="572"/>
                  <a:pt x="1545" y="572"/>
                  <a:pt x="1545" y="572"/>
                </a:cubicBezTo>
                <a:cubicBezTo>
                  <a:pt x="1546" y="571"/>
                  <a:pt x="1546" y="571"/>
                  <a:pt x="1546" y="571"/>
                </a:cubicBezTo>
                <a:cubicBezTo>
                  <a:pt x="1548" y="570"/>
                  <a:pt x="1548" y="570"/>
                  <a:pt x="1548" y="570"/>
                </a:cubicBezTo>
                <a:cubicBezTo>
                  <a:pt x="1549" y="570"/>
                  <a:pt x="1549" y="570"/>
                  <a:pt x="1549" y="570"/>
                </a:cubicBezTo>
                <a:cubicBezTo>
                  <a:pt x="1550" y="570"/>
                  <a:pt x="1550" y="570"/>
                  <a:pt x="1550" y="570"/>
                </a:cubicBezTo>
                <a:cubicBezTo>
                  <a:pt x="1550" y="569"/>
                  <a:pt x="1550" y="569"/>
                  <a:pt x="1550" y="569"/>
                </a:cubicBezTo>
                <a:cubicBezTo>
                  <a:pt x="1550" y="567"/>
                  <a:pt x="1550" y="567"/>
                  <a:pt x="1550" y="567"/>
                </a:cubicBezTo>
                <a:cubicBezTo>
                  <a:pt x="1551" y="566"/>
                  <a:pt x="1551" y="566"/>
                  <a:pt x="1551" y="566"/>
                </a:cubicBezTo>
                <a:cubicBezTo>
                  <a:pt x="1553" y="565"/>
                  <a:pt x="1553" y="565"/>
                  <a:pt x="1553" y="565"/>
                </a:cubicBezTo>
                <a:cubicBezTo>
                  <a:pt x="1553" y="564"/>
                  <a:pt x="1553" y="564"/>
                  <a:pt x="1553" y="564"/>
                </a:cubicBezTo>
                <a:cubicBezTo>
                  <a:pt x="1552" y="564"/>
                  <a:pt x="1552" y="564"/>
                  <a:pt x="1552" y="564"/>
                </a:cubicBezTo>
                <a:cubicBezTo>
                  <a:pt x="1550" y="565"/>
                  <a:pt x="1550" y="565"/>
                  <a:pt x="1550" y="565"/>
                </a:cubicBezTo>
                <a:cubicBezTo>
                  <a:pt x="1547" y="566"/>
                  <a:pt x="1547" y="566"/>
                  <a:pt x="1547" y="566"/>
                </a:cubicBezTo>
                <a:cubicBezTo>
                  <a:pt x="1546" y="567"/>
                  <a:pt x="1546" y="567"/>
                  <a:pt x="1546" y="567"/>
                </a:cubicBezTo>
                <a:cubicBezTo>
                  <a:pt x="1545" y="566"/>
                  <a:pt x="1545" y="566"/>
                  <a:pt x="1545" y="566"/>
                </a:cubicBezTo>
                <a:cubicBezTo>
                  <a:pt x="1543" y="566"/>
                  <a:pt x="1543" y="566"/>
                  <a:pt x="1543" y="566"/>
                </a:cubicBezTo>
                <a:cubicBezTo>
                  <a:pt x="1543" y="567"/>
                  <a:pt x="1543" y="567"/>
                  <a:pt x="1543" y="567"/>
                </a:cubicBezTo>
                <a:cubicBezTo>
                  <a:pt x="1543" y="568"/>
                  <a:pt x="1543" y="568"/>
                  <a:pt x="1543" y="568"/>
                </a:cubicBezTo>
                <a:cubicBezTo>
                  <a:pt x="1542" y="568"/>
                  <a:pt x="1542" y="568"/>
                  <a:pt x="1542" y="568"/>
                </a:cubicBezTo>
                <a:cubicBezTo>
                  <a:pt x="1541" y="567"/>
                  <a:pt x="1541" y="567"/>
                  <a:pt x="1541" y="567"/>
                </a:cubicBezTo>
                <a:cubicBezTo>
                  <a:pt x="1540" y="568"/>
                  <a:pt x="1540" y="568"/>
                  <a:pt x="1540" y="568"/>
                </a:cubicBezTo>
                <a:cubicBezTo>
                  <a:pt x="1539" y="568"/>
                  <a:pt x="1539" y="568"/>
                  <a:pt x="1539" y="568"/>
                </a:cubicBezTo>
                <a:cubicBezTo>
                  <a:pt x="1539" y="570"/>
                  <a:pt x="1539" y="570"/>
                  <a:pt x="1539" y="570"/>
                </a:cubicBezTo>
                <a:cubicBezTo>
                  <a:pt x="1540" y="571"/>
                  <a:pt x="1540" y="571"/>
                  <a:pt x="1540" y="571"/>
                </a:cubicBezTo>
                <a:cubicBezTo>
                  <a:pt x="1542" y="572"/>
                  <a:pt x="1542" y="572"/>
                  <a:pt x="1542" y="572"/>
                </a:cubicBezTo>
                <a:close/>
                <a:moveTo>
                  <a:pt x="1176" y="541"/>
                </a:moveTo>
                <a:cubicBezTo>
                  <a:pt x="1178" y="542"/>
                  <a:pt x="1178" y="542"/>
                  <a:pt x="1178" y="542"/>
                </a:cubicBezTo>
                <a:cubicBezTo>
                  <a:pt x="1177" y="541"/>
                  <a:pt x="1177" y="541"/>
                  <a:pt x="1177" y="541"/>
                </a:cubicBezTo>
                <a:cubicBezTo>
                  <a:pt x="1176" y="541"/>
                  <a:pt x="1176" y="541"/>
                  <a:pt x="1176" y="541"/>
                </a:cubicBezTo>
                <a:close/>
                <a:moveTo>
                  <a:pt x="1191" y="548"/>
                </a:moveTo>
                <a:cubicBezTo>
                  <a:pt x="1190" y="548"/>
                  <a:pt x="1190" y="548"/>
                  <a:pt x="1190" y="548"/>
                </a:cubicBezTo>
                <a:cubicBezTo>
                  <a:pt x="1191" y="549"/>
                  <a:pt x="1191" y="549"/>
                  <a:pt x="1191" y="549"/>
                </a:cubicBezTo>
                <a:cubicBezTo>
                  <a:pt x="1192" y="549"/>
                  <a:pt x="1192" y="549"/>
                  <a:pt x="1192" y="549"/>
                </a:cubicBezTo>
                <a:cubicBezTo>
                  <a:pt x="1193" y="548"/>
                  <a:pt x="1193" y="548"/>
                  <a:pt x="1193" y="548"/>
                </a:cubicBezTo>
                <a:cubicBezTo>
                  <a:pt x="1192" y="548"/>
                  <a:pt x="1192" y="548"/>
                  <a:pt x="1192" y="548"/>
                </a:cubicBezTo>
                <a:cubicBezTo>
                  <a:pt x="1191" y="548"/>
                  <a:pt x="1191" y="548"/>
                  <a:pt x="1191" y="548"/>
                </a:cubicBezTo>
                <a:close/>
                <a:moveTo>
                  <a:pt x="1174" y="542"/>
                </a:moveTo>
                <a:cubicBezTo>
                  <a:pt x="1174" y="543"/>
                  <a:pt x="1174" y="543"/>
                  <a:pt x="1174" y="543"/>
                </a:cubicBezTo>
                <a:cubicBezTo>
                  <a:pt x="1176" y="543"/>
                  <a:pt x="1176" y="543"/>
                  <a:pt x="1176" y="543"/>
                </a:cubicBezTo>
                <a:cubicBezTo>
                  <a:pt x="1175" y="542"/>
                  <a:pt x="1175" y="542"/>
                  <a:pt x="1175" y="542"/>
                </a:cubicBezTo>
                <a:cubicBezTo>
                  <a:pt x="1174" y="542"/>
                  <a:pt x="1174" y="542"/>
                  <a:pt x="1174" y="542"/>
                </a:cubicBezTo>
                <a:close/>
                <a:moveTo>
                  <a:pt x="1243" y="586"/>
                </a:moveTo>
                <a:cubicBezTo>
                  <a:pt x="1244" y="586"/>
                  <a:pt x="1244" y="586"/>
                  <a:pt x="1244" y="586"/>
                </a:cubicBezTo>
                <a:cubicBezTo>
                  <a:pt x="1244" y="586"/>
                  <a:pt x="1244" y="586"/>
                  <a:pt x="1243" y="584"/>
                </a:cubicBezTo>
                <a:cubicBezTo>
                  <a:pt x="1243" y="584"/>
                  <a:pt x="1243" y="584"/>
                  <a:pt x="1241" y="585"/>
                </a:cubicBezTo>
                <a:cubicBezTo>
                  <a:pt x="1241" y="585"/>
                  <a:pt x="1241" y="585"/>
                  <a:pt x="1242" y="585"/>
                </a:cubicBezTo>
                <a:cubicBezTo>
                  <a:pt x="1242" y="585"/>
                  <a:pt x="1242" y="585"/>
                  <a:pt x="1243" y="586"/>
                </a:cubicBezTo>
                <a:close/>
                <a:moveTo>
                  <a:pt x="1236" y="621"/>
                </a:moveTo>
                <a:cubicBezTo>
                  <a:pt x="1236" y="621"/>
                  <a:pt x="1236" y="621"/>
                  <a:pt x="1236" y="620"/>
                </a:cubicBezTo>
                <a:cubicBezTo>
                  <a:pt x="1236" y="620"/>
                  <a:pt x="1236" y="620"/>
                  <a:pt x="1235" y="620"/>
                </a:cubicBezTo>
                <a:cubicBezTo>
                  <a:pt x="1235" y="620"/>
                  <a:pt x="1235" y="620"/>
                  <a:pt x="1236" y="621"/>
                </a:cubicBezTo>
                <a:close/>
                <a:moveTo>
                  <a:pt x="1237" y="615"/>
                </a:moveTo>
                <a:cubicBezTo>
                  <a:pt x="1238" y="615"/>
                  <a:pt x="1238" y="615"/>
                  <a:pt x="1238" y="615"/>
                </a:cubicBezTo>
                <a:cubicBezTo>
                  <a:pt x="1238" y="615"/>
                  <a:pt x="1238" y="615"/>
                  <a:pt x="1238" y="613"/>
                </a:cubicBezTo>
                <a:cubicBezTo>
                  <a:pt x="1237" y="612"/>
                  <a:pt x="1237" y="612"/>
                  <a:pt x="1237" y="612"/>
                </a:cubicBezTo>
                <a:cubicBezTo>
                  <a:pt x="1236" y="613"/>
                  <a:pt x="1236" y="613"/>
                  <a:pt x="1236" y="613"/>
                </a:cubicBezTo>
                <a:cubicBezTo>
                  <a:pt x="1236" y="613"/>
                  <a:pt x="1236" y="613"/>
                  <a:pt x="1237" y="614"/>
                </a:cubicBezTo>
                <a:cubicBezTo>
                  <a:pt x="1237" y="614"/>
                  <a:pt x="1237" y="614"/>
                  <a:pt x="1237" y="615"/>
                </a:cubicBezTo>
                <a:close/>
                <a:moveTo>
                  <a:pt x="1250" y="617"/>
                </a:moveTo>
                <a:cubicBezTo>
                  <a:pt x="1249" y="617"/>
                  <a:pt x="1249" y="617"/>
                  <a:pt x="1249" y="617"/>
                </a:cubicBezTo>
                <a:cubicBezTo>
                  <a:pt x="1249" y="619"/>
                  <a:pt x="1249" y="619"/>
                  <a:pt x="1249" y="619"/>
                </a:cubicBezTo>
                <a:cubicBezTo>
                  <a:pt x="1250" y="620"/>
                  <a:pt x="1250" y="620"/>
                  <a:pt x="1250" y="620"/>
                </a:cubicBezTo>
                <a:cubicBezTo>
                  <a:pt x="1251" y="619"/>
                  <a:pt x="1251" y="619"/>
                  <a:pt x="1251" y="619"/>
                </a:cubicBezTo>
                <a:cubicBezTo>
                  <a:pt x="1252" y="619"/>
                  <a:pt x="1252" y="619"/>
                  <a:pt x="1252" y="619"/>
                </a:cubicBezTo>
                <a:cubicBezTo>
                  <a:pt x="1251" y="618"/>
                  <a:pt x="1251" y="618"/>
                  <a:pt x="1251" y="618"/>
                </a:cubicBezTo>
                <a:cubicBezTo>
                  <a:pt x="1250" y="617"/>
                  <a:pt x="1250" y="617"/>
                  <a:pt x="1250" y="617"/>
                </a:cubicBezTo>
                <a:close/>
                <a:moveTo>
                  <a:pt x="1245" y="617"/>
                </a:moveTo>
                <a:cubicBezTo>
                  <a:pt x="1245" y="617"/>
                  <a:pt x="1245" y="617"/>
                  <a:pt x="1247" y="617"/>
                </a:cubicBezTo>
                <a:cubicBezTo>
                  <a:pt x="1247" y="617"/>
                  <a:pt x="1247" y="617"/>
                  <a:pt x="1247" y="615"/>
                </a:cubicBezTo>
                <a:cubicBezTo>
                  <a:pt x="1247" y="615"/>
                  <a:pt x="1247" y="615"/>
                  <a:pt x="1246" y="615"/>
                </a:cubicBezTo>
                <a:cubicBezTo>
                  <a:pt x="1246" y="615"/>
                  <a:pt x="1246" y="615"/>
                  <a:pt x="1245" y="616"/>
                </a:cubicBezTo>
                <a:cubicBezTo>
                  <a:pt x="1245" y="616"/>
                  <a:pt x="1245" y="616"/>
                  <a:pt x="1244" y="616"/>
                </a:cubicBezTo>
                <a:cubicBezTo>
                  <a:pt x="1244" y="616"/>
                  <a:pt x="1244" y="616"/>
                  <a:pt x="1243" y="616"/>
                </a:cubicBezTo>
                <a:cubicBezTo>
                  <a:pt x="1243" y="616"/>
                  <a:pt x="1243" y="616"/>
                  <a:pt x="1242" y="617"/>
                </a:cubicBezTo>
                <a:cubicBezTo>
                  <a:pt x="1242" y="617"/>
                  <a:pt x="1242" y="617"/>
                  <a:pt x="1242" y="618"/>
                </a:cubicBezTo>
                <a:cubicBezTo>
                  <a:pt x="1242" y="618"/>
                  <a:pt x="1242" y="618"/>
                  <a:pt x="1243" y="618"/>
                </a:cubicBezTo>
                <a:cubicBezTo>
                  <a:pt x="1243" y="618"/>
                  <a:pt x="1243" y="618"/>
                  <a:pt x="1245" y="617"/>
                </a:cubicBezTo>
                <a:close/>
                <a:moveTo>
                  <a:pt x="1261" y="613"/>
                </a:moveTo>
                <a:cubicBezTo>
                  <a:pt x="1261" y="613"/>
                  <a:pt x="1261" y="613"/>
                  <a:pt x="1262" y="612"/>
                </a:cubicBezTo>
                <a:cubicBezTo>
                  <a:pt x="1262" y="612"/>
                  <a:pt x="1262" y="612"/>
                  <a:pt x="1264" y="612"/>
                </a:cubicBezTo>
                <a:cubicBezTo>
                  <a:pt x="1264" y="612"/>
                  <a:pt x="1264" y="612"/>
                  <a:pt x="1263" y="611"/>
                </a:cubicBezTo>
                <a:cubicBezTo>
                  <a:pt x="1263" y="611"/>
                  <a:pt x="1263" y="611"/>
                  <a:pt x="1262" y="611"/>
                </a:cubicBezTo>
                <a:cubicBezTo>
                  <a:pt x="1262" y="611"/>
                  <a:pt x="1262" y="611"/>
                  <a:pt x="1261" y="613"/>
                </a:cubicBezTo>
                <a:close/>
                <a:moveTo>
                  <a:pt x="1257" y="618"/>
                </a:moveTo>
                <a:cubicBezTo>
                  <a:pt x="1258" y="618"/>
                  <a:pt x="1258" y="618"/>
                  <a:pt x="1258" y="618"/>
                </a:cubicBezTo>
                <a:cubicBezTo>
                  <a:pt x="1258" y="618"/>
                  <a:pt x="1258" y="618"/>
                  <a:pt x="1259" y="618"/>
                </a:cubicBezTo>
                <a:cubicBezTo>
                  <a:pt x="1259" y="618"/>
                  <a:pt x="1259" y="618"/>
                  <a:pt x="1261" y="616"/>
                </a:cubicBezTo>
                <a:cubicBezTo>
                  <a:pt x="1261" y="616"/>
                  <a:pt x="1261" y="616"/>
                  <a:pt x="1261" y="614"/>
                </a:cubicBezTo>
                <a:cubicBezTo>
                  <a:pt x="1261" y="614"/>
                  <a:pt x="1261" y="614"/>
                  <a:pt x="1259" y="615"/>
                </a:cubicBezTo>
                <a:cubicBezTo>
                  <a:pt x="1259" y="615"/>
                  <a:pt x="1259" y="615"/>
                  <a:pt x="1259" y="616"/>
                </a:cubicBezTo>
                <a:cubicBezTo>
                  <a:pt x="1259" y="616"/>
                  <a:pt x="1259" y="616"/>
                  <a:pt x="1257" y="618"/>
                </a:cubicBezTo>
                <a:close/>
                <a:moveTo>
                  <a:pt x="1203" y="692"/>
                </a:moveTo>
                <a:cubicBezTo>
                  <a:pt x="1203" y="692"/>
                  <a:pt x="1203" y="692"/>
                  <a:pt x="1204" y="692"/>
                </a:cubicBezTo>
                <a:cubicBezTo>
                  <a:pt x="1204" y="692"/>
                  <a:pt x="1204" y="692"/>
                  <a:pt x="1204" y="690"/>
                </a:cubicBezTo>
                <a:cubicBezTo>
                  <a:pt x="1204" y="690"/>
                  <a:pt x="1204" y="690"/>
                  <a:pt x="1203" y="691"/>
                </a:cubicBezTo>
                <a:cubicBezTo>
                  <a:pt x="1203" y="691"/>
                  <a:pt x="1203" y="691"/>
                  <a:pt x="1203" y="692"/>
                </a:cubicBezTo>
                <a:close/>
                <a:moveTo>
                  <a:pt x="1202" y="695"/>
                </a:moveTo>
                <a:cubicBezTo>
                  <a:pt x="1202" y="695"/>
                  <a:pt x="1202" y="695"/>
                  <a:pt x="1203" y="696"/>
                </a:cubicBezTo>
                <a:cubicBezTo>
                  <a:pt x="1203" y="696"/>
                  <a:pt x="1203" y="696"/>
                  <a:pt x="1204" y="696"/>
                </a:cubicBezTo>
                <a:cubicBezTo>
                  <a:pt x="1204" y="696"/>
                  <a:pt x="1204" y="696"/>
                  <a:pt x="1204" y="695"/>
                </a:cubicBezTo>
                <a:cubicBezTo>
                  <a:pt x="1204" y="695"/>
                  <a:pt x="1204" y="695"/>
                  <a:pt x="1203" y="695"/>
                </a:cubicBezTo>
                <a:cubicBezTo>
                  <a:pt x="1203" y="695"/>
                  <a:pt x="1203" y="695"/>
                  <a:pt x="1202" y="695"/>
                </a:cubicBezTo>
                <a:close/>
                <a:moveTo>
                  <a:pt x="1195" y="693"/>
                </a:moveTo>
                <a:cubicBezTo>
                  <a:pt x="1195" y="693"/>
                  <a:pt x="1195" y="693"/>
                  <a:pt x="1196" y="693"/>
                </a:cubicBezTo>
                <a:cubicBezTo>
                  <a:pt x="1196" y="693"/>
                  <a:pt x="1196" y="693"/>
                  <a:pt x="1196" y="692"/>
                </a:cubicBezTo>
                <a:cubicBezTo>
                  <a:pt x="1196" y="692"/>
                  <a:pt x="1196" y="692"/>
                  <a:pt x="1195" y="692"/>
                </a:cubicBezTo>
                <a:cubicBezTo>
                  <a:pt x="1195" y="692"/>
                  <a:pt x="1195" y="692"/>
                  <a:pt x="1195" y="693"/>
                </a:cubicBezTo>
                <a:close/>
                <a:moveTo>
                  <a:pt x="1190" y="689"/>
                </a:moveTo>
                <a:cubicBezTo>
                  <a:pt x="1189" y="689"/>
                  <a:pt x="1189" y="689"/>
                  <a:pt x="1189" y="689"/>
                </a:cubicBezTo>
                <a:cubicBezTo>
                  <a:pt x="1188" y="689"/>
                  <a:pt x="1188" y="689"/>
                  <a:pt x="1188" y="689"/>
                </a:cubicBezTo>
                <a:cubicBezTo>
                  <a:pt x="1189" y="690"/>
                  <a:pt x="1189" y="690"/>
                  <a:pt x="1189" y="690"/>
                </a:cubicBezTo>
                <a:cubicBezTo>
                  <a:pt x="1189" y="690"/>
                  <a:pt x="1189" y="690"/>
                  <a:pt x="1190" y="690"/>
                </a:cubicBezTo>
                <a:cubicBezTo>
                  <a:pt x="1191" y="689"/>
                  <a:pt x="1191" y="689"/>
                  <a:pt x="1191" y="689"/>
                </a:cubicBezTo>
                <a:cubicBezTo>
                  <a:pt x="1190" y="689"/>
                  <a:pt x="1190" y="689"/>
                  <a:pt x="1190" y="689"/>
                </a:cubicBezTo>
                <a:close/>
                <a:moveTo>
                  <a:pt x="1198" y="701"/>
                </a:moveTo>
                <a:cubicBezTo>
                  <a:pt x="1198" y="701"/>
                  <a:pt x="1198" y="701"/>
                  <a:pt x="1198" y="702"/>
                </a:cubicBezTo>
                <a:cubicBezTo>
                  <a:pt x="1198" y="702"/>
                  <a:pt x="1198" y="702"/>
                  <a:pt x="1198" y="703"/>
                </a:cubicBezTo>
                <a:cubicBezTo>
                  <a:pt x="1200" y="704"/>
                  <a:pt x="1200" y="704"/>
                  <a:pt x="1200" y="704"/>
                </a:cubicBezTo>
                <a:cubicBezTo>
                  <a:pt x="1200" y="704"/>
                  <a:pt x="1200" y="704"/>
                  <a:pt x="1200" y="703"/>
                </a:cubicBezTo>
                <a:cubicBezTo>
                  <a:pt x="1200" y="703"/>
                  <a:pt x="1200" y="703"/>
                  <a:pt x="1199" y="701"/>
                </a:cubicBezTo>
                <a:cubicBezTo>
                  <a:pt x="1199" y="701"/>
                  <a:pt x="1199" y="701"/>
                  <a:pt x="1198" y="701"/>
                </a:cubicBezTo>
                <a:close/>
                <a:moveTo>
                  <a:pt x="1197" y="692"/>
                </a:moveTo>
                <a:cubicBezTo>
                  <a:pt x="1197" y="692"/>
                  <a:pt x="1197" y="692"/>
                  <a:pt x="1197" y="693"/>
                </a:cubicBezTo>
                <a:cubicBezTo>
                  <a:pt x="1197" y="693"/>
                  <a:pt x="1197" y="693"/>
                  <a:pt x="1198" y="693"/>
                </a:cubicBezTo>
                <a:cubicBezTo>
                  <a:pt x="1198" y="693"/>
                  <a:pt x="1198" y="693"/>
                  <a:pt x="1197" y="692"/>
                </a:cubicBezTo>
                <a:close/>
                <a:moveTo>
                  <a:pt x="1191" y="691"/>
                </a:moveTo>
                <a:cubicBezTo>
                  <a:pt x="1192" y="691"/>
                  <a:pt x="1192" y="691"/>
                  <a:pt x="1192" y="691"/>
                </a:cubicBezTo>
                <a:cubicBezTo>
                  <a:pt x="1192" y="691"/>
                  <a:pt x="1192" y="691"/>
                  <a:pt x="1192" y="690"/>
                </a:cubicBezTo>
                <a:cubicBezTo>
                  <a:pt x="1192" y="690"/>
                  <a:pt x="1192" y="690"/>
                  <a:pt x="1191" y="690"/>
                </a:cubicBezTo>
                <a:cubicBezTo>
                  <a:pt x="1191" y="690"/>
                  <a:pt x="1191" y="690"/>
                  <a:pt x="1191" y="691"/>
                </a:cubicBezTo>
                <a:close/>
                <a:moveTo>
                  <a:pt x="1202" y="702"/>
                </a:moveTo>
                <a:cubicBezTo>
                  <a:pt x="1202" y="702"/>
                  <a:pt x="1202" y="702"/>
                  <a:pt x="1202" y="701"/>
                </a:cubicBezTo>
                <a:cubicBezTo>
                  <a:pt x="1202" y="701"/>
                  <a:pt x="1202" y="701"/>
                  <a:pt x="1201" y="701"/>
                </a:cubicBezTo>
                <a:cubicBezTo>
                  <a:pt x="1201" y="701"/>
                  <a:pt x="1201" y="701"/>
                  <a:pt x="1202" y="702"/>
                </a:cubicBezTo>
                <a:close/>
                <a:moveTo>
                  <a:pt x="1685" y="719"/>
                </a:moveTo>
                <a:cubicBezTo>
                  <a:pt x="1684" y="719"/>
                  <a:pt x="1684" y="719"/>
                  <a:pt x="1684" y="719"/>
                </a:cubicBezTo>
                <a:cubicBezTo>
                  <a:pt x="1683" y="719"/>
                  <a:pt x="1683" y="719"/>
                  <a:pt x="1683" y="719"/>
                </a:cubicBezTo>
                <a:cubicBezTo>
                  <a:pt x="1682" y="719"/>
                  <a:pt x="1682" y="719"/>
                  <a:pt x="1682" y="719"/>
                </a:cubicBezTo>
                <a:cubicBezTo>
                  <a:pt x="1682" y="718"/>
                  <a:pt x="1682" y="718"/>
                  <a:pt x="1682" y="718"/>
                </a:cubicBezTo>
                <a:cubicBezTo>
                  <a:pt x="1681" y="718"/>
                  <a:pt x="1681" y="718"/>
                  <a:pt x="1681" y="718"/>
                </a:cubicBezTo>
                <a:cubicBezTo>
                  <a:pt x="1680" y="719"/>
                  <a:pt x="1680" y="719"/>
                  <a:pt x="1680" y="719"/>
                </a:cubicBezTo>
                <a:cubicBezTo>
                  <a:pt x="1680" y="720"/>
                  <a:pt x="1680" y="720"/>
                  <a:pt x="1680" y="720"/>
                </a:cubicBezTo>
                <a:cubicBezTo>
                  <a:pt x="1680" y="721"/>
                  <a:pt x="1680" y="721"/>
                  <a:pt x="1680" y="721"/>
                </a:cubicBezTo>
                <a:cubicBezTo>
                  <a:pt x="1681" y="721"/>
                  <a:pt x="1681" y="721"/>
                  <a:pt x="1681" y="721"/>
                </a:cubicBezTo>
                <a:cubicBezTo>
                  <a:pt x="1683" y="721"/>
                  <a:pt x="1683" y="721"/>
                  <a:pt x="1683" y="721"/>
                </a:cubicBezTo>
                <a:cubicBezTo>
                  <a:pt x="1684" y="721"/>
                  <a:pt x="1684" y="721"/>
                  <a:pt x="1684" y="721"/>
                </a:cubicBezTo>
                <a:cubicBezTo>
                  <a:pt x="1686" y="720"/>
                  <a:pt x="1686" y="720"/>
                  <a:pt x="1686" y="720"/>
                </a:cubicBezTo>
                <a:cubicBezTo>
                  <a:pt x="1687" y="720"/>
                  <a:pt x="1687" y="720"/>
                  <a:pt x="1687" y="720"/>
                </a:cubicBezTo>
                <a:cubicBezTo>
                  <a:pt x="1687" y="719"/>
                  <a:pt x="1687" y="719"/>
                  <a:pt x="1687" y="719"/>
                </a:cubicBezTo>
                <a:cubicBezTo>
                  <a:pt x="1686" y="719"/>
                  <a:pt x="1686" y="719"/>
                  <a:pt x="1686" y="719"/>
                </a:cubicBezTo>
                <a:cubicBezTo>
                  <a:pt x="1685" y="719"/>
                  <a:pt x="1685" y="719"/>
                  <a:pt x="1685" y="719"/>
                </a:cubicBezTo>
                <a:close/>
                <a:moveTo>
                  <a:pt x="1668" y="734"/>
                </a:moveTo>
                <a:cubicBezTo>
                  <a:pt x="1667" y="733"/>
                  <a:pt x="1667" y="733"/>
                  <a:pt x="1667" y="733"/>
                </a:cubicBezTo>
                <a:cubicBezTo>
                  <a:pt x="1667" y="734"/>
                  <a:pt x="1667" y="734"/>
                  <a:pt x="1667" y="734"/>
                </a:cubicBezTo>
                <a:cubicBezTo>
                  <a:pt x="1668" y="734"/>
                  <a:pt x="1668" y="734"/>
                  <a:pt x="1668" y="734"/>
                </a:cubicBezTo>
                <a:close/>
                <a:moveTo>
                  <a:pt x="1409" y="579"/>
                </a:moveTo>
                <a:cubicBezTo>
                  <a:pt x="1410" y="579"/>
                  <a:pt x="1410" y="579"/>
                  <a:pt x="1410" y="579"/>
                </a:cubicBezTo>
                <a:cubicBezTo>
                  <a:pt x="1410" y="578"/>
                  <a:pt x="1410" y="578"/>
                  <a:pt x="1410" y="578"/>
                </a:cubicBezTo>
                <a:cubicBezTo>
                  <a:pt x="1409" y="578"/>
                  <a:pt x="1409" y="578"/>
                  <a:pt x="1409" y="578"/>
                </a:cubicBezTo>
                <a:cubicBezTo>
                  <a:pt x="1408" y="578"/>
                  <a:pt x="1408" y="578"/>
                  <a:pt x="1408" y="578"/>
                </a:cubicBezTo>
                <a:cubicBezTo>
                  <a:pt x="1409" y="579"/>
                  <a:pt x="1409" y="579"/>
                  <a:pt x="1409" y="579"/>
                </a:cubicBezTo>
                <a:close/>
                <a:moveTo>
                  <a:pt x="1267" y="752"/>
                </a:moveTo>
                <a:cubicBezTo>
                  <a:pt x="1268" y="753"/>
                  <a:pt x="1268" y="753"/>
                  <a:pt x="1268" y="753"/>
                </a:cubicBezTo>
                <a:cubicBezTo>
                  <a:pt x="1268" y="752"/>
                  <a:pt x="1268" y="752"/>
                  <a:pt x="1268" y="752"/>
                </a:cubicBezTo>
                <a:cubicBezTo>
                  <a:pt x="1267" y="751"/>
                  <a:pt x="1267" y="751"/>
                  <a:pt x="1267" y="751"/>
                </a:cubicBezTo>
                <a:cubicBezTo>
                  <a:pt x="1267" y="752"/>
                  <a:pt x="1267" y="752"/>
                  <a:pt x="1267" y="752"/>
                </a:cubicBezTo>
                <a:close/>
                <a:moveTo>
                  <a:pt x="1385" y="798"/>
                </a:moveTo>
                <a:cubicBezTo>
                  <a:pt x="1385" y="799"/>
                  <a:pt x="1385" y="799"/>
                  <a:pt x="1385" y="799"/>
                </a:cubicBezTo>
                <a:cubicBezTo>
                  <a:pt x="1386" y="799"/>
                  <a:pt x="1386" y="799"/>
                  <a:pt x="1386" y="799"/>
                </a:cubicBezTo>
                <a:cubicBezTo>
                  <a:pt x="1387" y="798"/>
                  <a:pt x="1387" y="798"/>
                  <a:pt x="1387" y="798"/>
                </a:cubicBezTo>
                <a:cubicBezTo>
                  <a:pt x="1386" y="797"/>
                  <a:pt x="1386" y="797"/>
                  <a:pt x="1386" y="797"/>
                </a:cubicBezTo>
                <a:cubicBezTo>
                  <a:pt x="1385" y="798"/>
                  <a:pt x="1385" y="798"/>
                  <a:pt x="1385" y="798"/>
                </a:cubicBezTo>
                <a:close/>
                <a:moveTo>
                  <a:pt x="1400" y="777"/>
                </a:moveTo>
                <a:cubicBezTo>
                  <a:pt x="1400" y="775"/>
                  <a:pt x="1400" y="775"/>
                  <a:pt x="1400" y="775"/>
                </a:cubicBezTo>
                <a:cubicBezTo>
                  <a:pt x="1398" y="776"/>
                  <a:pt x="1398" y="776"/>
                  <a:pt x="1398" y="776"/>
                </a:cubicBezTo>
                <a:cubicBezTo>
                  <a:pt x="1398" y="778"/>
                  <a:pt x="1398" y="778"/>
                  <a:pt x="1398" y="778"/>
                </a:cubicBezTo>
                <a:cubicBezTo>
                  <a:pt x="1397" y="778"/>
                  <a:pt x="1397" y="778"/>
                  <a:pt x="1397" y="778"/>
                </a:cubicBezTo>
                <a:cubicBezTo>
                  <a:pt x="1397" y="779"/>
                  <a:pt x="1397" y="779"/>
                  <a:pt x="1397" y="779"/>
                </a:cubicBezTo>
                <a:cubicBezTo>
                  <a:pt x="1398" y="779"/>
                  <a:pt x="1398" y="779"/>
                  <a:pt x="1398" y="779"/>
                </a:cubicBezTo>
                <a:cubicBezTo>
                  <a:pt x="1399" y="780"/>
                  <a:pt x="1399" y="780"/>
                  <a:pt x="1399" y="780"/>
                </a:cubicBezTo>
                <a:cubicBezTo>
                  <a:pt x="1400" y="777"/>
                  <a:pt x="1400" y="777"/>
                  <a:pt x="1400" y="777"/>
                </a:cubicBezTo>
                <a:close/>
                <a:moveTo>
                  <a:pt x="2392" y="947"/>
                </a:moveTo>
                <a:cubicBezTo>
                  <a:pt x="2392" y="946"/>
                  <a:pt x="2392" y="946"/>
                  <a:pt x="2392" y="946"/>
                </a:cubicBezTo>
                <a:cubicBezTo>
                  <a:pt x="2392" y="945"/>
                  <a:pt x="2392" y="945"/>
                  <a:pt x="2392" y="945"/>
                </a:cubicBezTo>
                <a:cubicBezTo>
                  <a:pt x="2391" y="944"/>
                  <a:pt x="2391" y="944"/>
                  <a:pt x="2391" y="944"/>
                </a:cubicBezTo>
                <a:cubicBezTo>
                  <a:pt x="2390" y="945"/>
                  <a:pt x="2390" y="945"/>
                  <a:pt x="2390" y="945"/>
                </a:cubicBezTo>
                <a:cubicBezTo>
                  <a:pt x="2390" y="946"/>
                  <a:pt x="2390" y="946"/>
                  <a:pt x="2390" y="946"/>
                </a:cubicBezTo>
                <a:cubicBezTo>
                  <a:pt x="2390" y="947"/>
                  <a:pt x="2390" y="947"/>
                  <a:pt x="2390" y="947"/>
                </a:cubicBezTo>
                <a:cubicBezTo>
                  <a:pt x="2391" y="948"/>
                  <a:pt x="2391" y="948"/>
                  <a:pt x="2391" y="948"/>
                </a:cubicBezTo>
                <a:cubicBezTo>
                  <a:pt x="2392" y="948"/>
                  <a:pt x="2392" y="948"/>
                  <a:pt x="2392" y="948"/>
                </a:cubicBezTo>
                <a:cubicBezTo>
                  <a:pt x="2393" y="948"/>
                  <a:pt x="2393" y="948"/>
                  <a:pt x="2393" y="948"/>
                </a:cubicBezTo>
                <a:cubicBezTo>
                  <a:pt x="2392" y="947"/>
                  <a:pt x="2392" y="947"/>
                  <a:pt x="2392" y="947"/>
                </a:cubicBezTo>
                <a:close/>
                <a:moveTo>
                  <a:pt x="2375" y="947"/>
                </a:moveTo>
                <a:cubicBezTo>
                  <a:pt x="2375" y="948"/>
                  <a:pt x="2375" y="948"/>
                  <a:pt x="2375" y="948"/>
                </a:cubicBezTo>
                <a:cubicBezTo>
                  <a:pt x="2376" y="949"/>
                  <a:pt x="2376" y="949"/>
                  <a:pt x="2376" y="949"/>
                </a:cubicBezTo>
                <a:cubicBezTo>
                  <a:pt x="2377" y="949"/>
                  <a:pt x="2377" y="949"/>
                  <a:pt x="2377" y="949"/>
                </a:cubicBezTo>
                <a:cubicBezTo>
                  <a:pt x="2377" y="950"/>
                  <a:pt x="2377" y="950"/>
                  <a:pt x="2377" y="950"/>
                </a:cubicBezTo>
                <a:cubicBezTo>
                  <a:pt x="2379" y="951"/>
                  <a:pt x="2379" y="951"/>
                  <a:pt x="2379" y="951"/>
                </a:cubicBezTo>
                <a:cubicBezTo>
                  <a:pt x="2380" y="953"/>
                  <a:pt x="2380" y="953"/>
                  <a:pt x="2380" y="953"/>
                </a:cubicBezTo>
                <a:cubicBezTo>
                  <a:pt x="2381" y="953"/>
                  <a:pt x="2381" y="953"/>
                  <a:pt x="2381" y="953"/>
                </a:cubicBezTo>
                <a:cubicBezTo>
                  <a:pt x="2381" y="955"/>
                  <a:pt x="2381" y="955"/>
                  <a:pt x="2381" y="955"/>
                </a:cubicBezTo>
                <a:cubicBezTo>
                  <a:pt x="2383" y="955"/>
                  <a:pt x="2383" y="955"/>
                  <a:pt x="2383" y="955"/>
                </a:cubicBezTo>
                <a:cubicBezTo>
                  <a:pt x="2383" y="956"/>
                  <a:pt x="2383" y="956"/>
                  <a:pt x="2383" y="956"/>
                </a:cubicBezTo>
                <a:cubicBezTo>
                  <a:pt x="2384" y="957"/>
                  <a:pt x="2384" y="957"/>
                  <a:pt x="2384" y="957"/>
                </a:cubicBezTo>
                <a:cubicBezTo>
                  <a:pt x="2386" y="957"/>
                  <a:pt x="2386" y="957"/>
                  <a:pt x="2386" y="957"/>
                </a:cubicBezTo>
                <a:cubicBezTo>
                  <a:pt x="2387" y="958"/>
                  <a:pt x="2387" y="958"/>
                  <a:pt x="2387" y="958"/>
                </a:cubicBezTo>
                <a:cubicBezTo>
                  <a:pt x="2387" y="957"/>
                  <a:pt x="2387" y="957"/>
                  <a:pt x="2387" y="957"/>
                </a:cubicBezTo>
                <a:cubicBezTo>
                  <a:pt x="2388" y="958"/>
                  <a:pt x="2388" y="958"/>
                  <a:pt x="2388" y="958"/>
                </a:cubicBezTo>
                <a:cubicBezTo>
                  <a:pt x="2388" y="956"/>
                  <a:pt x="2388" y="956"/>
                  <a:pt x="2388" y="956"/>
                </a:cubicBezTo>
                <a:cubicBezTo>
                  <a:pt x="2387" y="956"/>
                  <a:pt x="2387" y="956"/>
                  <a:pt x="2387" y="956"/>
                </a:cubicBezTo>
                <a:cubicBezTo>
                  <a:pt x="2385" y="954"/>
                  <a:pt x="2385" y="954"/>
                  <a:pt x="2385" y="954"/>
                </a:cubicBezTo>
                <a:cubicBezTo>
                  <a:pt x="2383" y="951"/>
                  <a:pt x="2383" y="951"/>
                  <a:pt x="2383" y="951"/>
                </a:cubicBezTo>
                <a:cubicBezTo>
                  <a:pt x="2382" y="951"/>
                  <a:pt x="2382" y="951"/>
                  <a:pt x="2382" y="951"/>
                </a:cubicBezTo>
                <a:cubicBezTo>
                  <a:pt x="2380" y="949"/>
                  <a:pt x="2380" y="949"/>
                  <a:pt x="2380" y="949"/>
                </a:cubicBezTo>
                <a:cubicBezTo>
                  <a:pt x="2378" y="945"/>
                  <a:pt x="2378" y="945"/>
                  <a:pt x="2378" y="945"/>
                </a:cubicBezTo>
                <a:cubicBezTo>
                  <a:pt x="2377" y="945"/>
                  <a:pt x="2377" y="945"/>
                  <a:pt x="2377" y="945"/>
                </a:cubicBezTo>
                <a:cubicBezTo>
                  <a:pt x="2377" y="944"/>
                  <a:pt x="2377" y="944"/>
                  <a:pt x="2377" y="944"/>
                </a:cubicBezTo>
                <a:cubicBezTo>
                  <a:pt x="2375" y="943"/>
                  <a:pt x="2375" y="943"/>
                  <a:pt x="2375" y="943"/>
                </a:cubicBezTo>
                <a:cubicBezTo>
                  <a:pt x="2375" y="942"/>
                  <a:pt x="2375" y="942"/>
                  <a:pt x="2375" y="942"/>
                </a:cubicBezTo>
                <a:cubicBezTo>
                  <a:pt x="2374" y="941"/>
                  <a:pt x="2374" y="941"/>
                  <a:pt x="2374" y="941"/>
                </a:cubicBezTo>
                <a:cubicBezTo>
                  <a:pt x="2374" y="942"/>
                  <a:pt x="2374" y="942"/>
                  <a:pt x="2374" y="942"/>
                </a:cubicBezTo>
                <a:cubicBezTo>
                  <a:pt x="2372" y="940"/>
                  <a:pt x="2372" y="940"/>
                  <a:pt x="2372" y="940"/>
                </a:cubicBezTo>
                <a:cubicBezTo>
                  <a:pt x="2372" y="941"/>
                  <a:pt x="2372" y="941"/>
                  <a:pt x="2372" y="941"/>
                </a:cubicBezTo>
                <a:cubicBezTo>
                  <a:pt x="2372" y="942"/>
                  <a:pt x="2372" y="942"/>
                  <a:pt x="2372" y="942"/>
                </a:cubicBezTo>
                <a:cubicBezTo>
                  <a:pt x="2372" y="943"/>
                  <a:pt x="2372" y="943"/>
                  <a:pt x="2372" y="943"/>
                </a:cubicBezTo>
                <a:cubicBezTo>
                  <a:pt x="2374" y="946"/>
                  <a:pt x="2374" y="946"/>
                  <a:pt x="2374" y="946"/>
                </a:cubicBezTo>
                <a:cubicBezTo>
                  <a:pt x="2375" y="947"/>
                  <a:pt x="2375" y="947"/>
                  <a:pt x="2375" y="947"/>
                </a:cubicBezTo>
                <a:close/>
                <a:moveTo>
                  <a:pt x="2397" y="951"/>
                </a:moveTo>
                <a:cubicBezTo>
                  <a:pt x="2396" y="950"/>
                  <a:pt x="2396" y="950"/>
                  <a:pt x="2396" y="950"/>
                </a:cubicBezTo>
                <a:cubicBezTo>
                  <a:pt x="2394" y="951"/>
                  <a:pt x="2394" y="951"/>
                  <a:pt x="2394" y="951"/>
                </a:cubicBezTo>
                <a:cubicBezTo>
                  <a:pt x="2394" y="952"/>
                  <a:pt x="2394" y="952"/>
                  <a:pt x="2394" y="952"/>
                </a:cubicBezTo>
                <a:cubicBezTo>
                  <a:pt x="2395" y="953"/>
                  <a:pt x="2395" y="953"/>
                  <a:pt x="2395" y="953"/>
                </a:cubicBezTo>
                <a:cubicBezTo>
                  <a:pt x="2396" y="952"/>
                  <a:pt x="2396" y="952"/>
                  <a:pt x="2396" y="952"/>
                </a:cubicBezTo>
                <a:cubicBezTo>
                  <a:pt x="2397" y="951"/>
                  <a:pt x="2397" y="951"/>
                  <a:pt x="2397" y="951"/>
                </a:cubicBezTo>
                <a:close/>
                <a:moveTo>
                  <a:pt x="2388" y="944"/>
                </a:moveTo>
                <a:cubicBezTo>
                  <a:pt x="2388" y="943"/>
                  <a:pt x="2388" y="943"/>
                  <a:pt x="2388" y="943"/>
                </a:cubicBezTo>
                <a:cubicBezTo>
                  <a:pt x="2387" y="943"/>
                  <a:pt x="2387" y="943"/>
                  <a:pt x="2387" y="943"/>
                </a:cubicBezTo>
                <a:cubicBezTo>
                  <a:pt x="2387" y="944"/>
                  <a:pt x="2387" y="944"/>
                  <a:pt x="2387" y="944"/>
                </a:cubicBezTo>
                <a:cubicBezTo>
                  <a:pt x="2386" y="945"/>
                  <a:pt x="2386" y="945"/>
                  <a:pt x="2386" y="945"/>
                </a:cubicBezTo>
                <a:cubicBezTo>
                  <a:pt x="2388" y="945"/>
                  <a:pt x="2388" y="945"/>
                  <a:pt x="2388" y="945"/>
                </a:cubicBezTo>
                <a:cubicBezTo>
                  <a:pt x="2388" y="944"/>
                  <a:pt x="2388" y="944"/>
                  <a:pt x="2388" y="944"/>
                </a:cubicBezTo>
                <a:close/>
                <a:moveTo>
                  <a:pt x="1757" y="1185"/>
                </a:moveTo>
                <a:cubicBezTo>
                  <a:pt x="1757" y="1186"/>
                  <a:pt x="1757" y="1186"/>
                  <a:pt x="1757" y="1186"/>
                </a:cubicBezTo>
                <a:cubicBezTo>
                  <a:pt x="1757" y="1187"/>
                  <a:pt x="1757" y="1187"/>
                  <a:pt x="1757" y="1187"/>
                </a:cubicBezTo>
                <a:cubicBezTo>
                  <a:pt x="1758" y="1187"/>
                  <a:pt x="1758" y="1187"/>
                  <a:pt x="1758" y="1187"/>
                </a:cubicBezTo>
                <a:cubicBezTo>
                  <a:pt x="1758" y="1188"/>
                  <a:pt x="1758" y="1188"/>
                  <a:pt x="1758" y="1188"/>
                </a:cubicBezTo>
                <a:cubicBezTo>
                  <a:pt x="1759" y="1188"/>
                  <a:pt x="1759" y="1188"/>
                  <a:pt x="1759" y="1188"/>
                </a:cubicBezTo>
                <a:cubicBezTo>
                  <a:pt x="1758" y="1186"/>
                  <a:pt x="1758" y="1186"/>
                  <a:pt x="1758" y="1186"/>
                </a:cubicBezTo>
                <a:cubicBezTo>
                  <a:pt x="1757" y="1185"/>
                  <a:pt x="1757" y="1185"/>
                  <a:pt x="1757" y="1185"/>
                </a:cubicBezTo>
                <a:close/>
                <a:moveTo>
                  <a:pt x="1741" y="1146"/>
                </a:moveTo>
                <a:cubicBezTo>
                  <a:pt x="1740" y="1146"/>
                  <a:pt x="1740" y="1146"/>
                  <a:pt x="1740" y="1146"/>
                </a:cubicBezTo>
                <a:cubicBezTo>
                  <a:pt x="1739" y="1147"/>
                  <a:pt x="1739" y="1147"/>
                  <a:pt x="1739" y="1147"/>
                </a:cubicBezTo>
                <a:cubicBezTo>
                  <a:pt x="1740" y="1148"/>
                  <a:pt x="1740" y="1148"/>
                  <a:pt x="1740" y="1148"/>
                </a:cubicBezTo>
                <a:cubicBezTo>
                  <a:pt x="1740" y="1147"/>
                  <a:pt x="1740" y="1147"/>
                  <a:pt x="1740" y="1147"/>
                </a:cubicBezTo>
                <a:cubicBezTo>
                  <a:pt x="1741" y="1146"/>
                  <a:pt x="1741" y="1146"/>
                  <a:pt x="1741" y="1146"/>
                </a:cubicBezTo>
                <a:close/>
                <a:moveTo>
                  <a:pt x="1743" y="1147"/>
                </a:moveTo>
                <a:cubicBezTo>
                  <a:pt x="1742" y="1147"/>
                  <a:pt x="1742" y="1147"/>
                  <a:pt x="1742" y="1147"/>
                </a:cubicBezTo>
                <a:cubicBezTo>
                  <a:pt x="1742" y="1148"/>
                  <a:pt x="1742" y="1148"/>
                  <a:pt x="1742" y="1148"/>
                </a:cubicBezTo>
                <a:cubicBezTo>
                  <a:pt x="1743" y="1148"/>
                  <a:pt x="1743" y="1148"/>
                  <a:pt x="1743" y="1148"/>
                </a:cubicBezTo>
                <a:cubicBezTo>
                  <a:pt x="1743" y="1147"/>
                  <a:pt x="1743" y="1147"/>
                  <a:pt x="1743" y="1147"/>
                </a:cubicBezTo>
                <a:close/>
                <a:moveTo>
                  <a:pt x="1746" y="1149"/>
                </a:moveTo>
                <a:cubicBezTo>
                  <a:pt x="1745" y="1151"/>
                  <a:pt x="1745" y="1151"/>
                  <a:pt x="1745" y="1151"/>
                </a:cubicBezTo>
                <a:cubicBezTo>
                  <a:pt x="1744" y="1151"/>
                  <a:pt x="1744" y="1151"/>
                  <a:pt x="1744" y="1151"/>
                </a:cubicBezTo>
                <a:cubicBezTo>
                  <a:pt x="1744" y="1149"/>
                  <a:pt x="1744" y="1149"/>
                  <a:pt x="1744" y="1149"/>
                </a:cubicBezTo>
                <a:cubicBezTo>
                  <a:pt x="1744" y="1148"/>
                  <a:pt x="1744" y="1148"/>
                  <a:pt x="1744" y="1148"/>
                </a:cubicBezTo>
                <a:cubicBezTo>
                  <a:pt x="1743" y="1149"/>
                  <a:pt x="1743" y="1149"/>
                  <a:pt x="1743" y="1149"/>
                </a:cubicBezTo>
                <a:cubicBezTo>
                  <a:pt x="1743" y="1150"/>
                  <a:pt x="1743" y="1150"/>
                  <a:pt x="1743" y="1150"/>
                </a:cubicBezTo>
                <a:cubicBezTo>
                  <a:pt x="1742" y="1149"/>
                  <a:pt x="1742" y="1149"/>
                  <a:pt x="1742" y="1149"/>
                </a:cubicBezTo>
                <a:cubicBezTo>
                  <a:pt x="1741" y="1149"/>
                  <a:pt x="1741" y="1149"/>
                  <a:pt x="1741" y="1149"/>
                </a:cubicBezTo>
                <a:cubicBezTo>
                  <a:pt x="1740" y="1148"/>
                  <a:pt x="1740" y="1148"/>
                  <a:pt x="1740" y="1148"/>
                </a:cubicBezTo>
                <a:cubicBezTo>
                  <a:pt x="1740" y="1149"/>
                  <a:pt x="1740" y="1149"/>
                  <a:pt x="1740" y="1149"/>
                </a:cubicBezTo>
                <a:cubicBezTo>
                  <a:pt x="1740" y="1150"/>
                  <a:pt x="1740" y="1150"/>
                  <a:pt x="1740" y="1150"/>
                </a:cubicBezTo>
                <a:cubicBezTo>
                  <a:pt x="1739" y="1151"/>
                  <a:pt x="1739" y="1151"/>
                  <a:pt x="1739" y="1151"/>
                </a:cubicBezTo>
                <a:cubicBezTo>
                  <a:pt x="1738" y="1152"/>
                  <a:pt x="1738" y="1152"/>
                  <a:pt x="1738" y="1152"/>
                </a:cubicBezTo>
                <a:cubicBezTo>
                  <a:pt x="1738" y="1153"/>
                  <a:pt x="1738" y="1153"/>
                  <a:pt x="1738" y="1153"/>
                </a:cubicBezTo>
                <a:cubicBezTo>
                  <a:pt x="1739" y="1153"/>
                  <a:pt x="1739" y="1153"/>
                  <a:pt x="1739" y="1153"/>
                </a:cubicBezTo>
                <a:cubicBezTo>
                  <a:pt x="1740" y="1152"/>
                  <a:pt x="1740" y="1152"/>
                  <a:pt x="1740" y="1152"/>
                </a:cubicBezTo>
                <a:cubicBezTo>
                  <a:pt x="1741" y="1152"/>
                  <a:pt x="1741" y="1152"/>
                  <a:pt x="1741" y="1152"/>
                </a:cubicBezTo>
                <a:cubicBezTo>
                  <a:pt x="1742" y="1153"/>
                  <a:pt x="1742" y="1153"/>
                  <a:pt x="1742" y="1153"/>
                </a:cubicBezTo>
                <a:cubicBezTo>
                  <a:pt x="1743" y="1153"/>
                  <a:pt x="1743" y="1153"/>
                  <a:pt x="1743" y="1153"/>
                </a:cubicBezTo>
                <a:cubicBezTo>
                  <a:pt x="1744" y="1152"/>
                  <a:pt x="1744" y="1152"/>
                  <a:pt x="1744" y="1152"/>
                </a:cubicBezTo>
                <a:cubicBezTo>
                  <a:pt x="1744" y="1153"/>
                  <a:pt x="1744" y="1153"/>
                  <a:pt x="1744" y="1153"/>
                </a:cubicBezTo>
                <a:cubicBezTo>
                  <a:pt x="1745" y="1154"/>
                  <a:pt x="1745" y="1154"/>
                  <a:pt x="1745" y="1154"/>
                </a:cubicBezTo>
                <a:cubicBezTo>
                  <a:pt x="1746" y="1154"/>
                  <a:pt x="1746" y="1154"/>
                  <a:pt x="1746" y="1154"/>
                </a:cubicBezTo>
                <a:cubicBezTo>
                  <a:pt x="1747" y="1153"/>
                  <a:pt x="1747" y="1153"/>
                  <a:pt x="1747" y="1153"/>
                </a:cubicBezTo>
                <a:cubicBezTo>
                  <a:pt x="1746" y="1153"/>
                  <a:pt x="1746" y="1153"/>
                  <a:pt x="1746" y="1153"/>
                </a:cubicBezTo>
                <a:cubicBezTo>
                  <a:pt x="1745" y="1152"/>
                  <a:pt x="1745" y="1152"/>
                  <a:pt x="1745" y="1152"/>
                </a:cubicBezTo>
                <a:cubicBezTo>
                  <a:pt x="1746" y="1151"/>
                  <a:pt x="1746" y="1151"/>
                  <a:pt x="1746" y="1151"/>
                </a:cubicBezTo>
                <a:cubicBezTo>
                  <a:pt x="1747" y="1151"/>
                  <a:pt x="1747" y="1151"/>
                  <a:pt x="1747" y="1151"/>
                </a:cubicBezTo>
                <a:cubicBezTo>
                  <a:pt x="1748" y="1151"/>
                  <a:pt x="1748" y="1151"/>
                  <a:pt x="1748" y="1151"/>
                </a:cubicBezTo>
                <a:cubicBezTo>
                  <a:pt x="1748" y="1150"/>
                  <a:pt x="1748" y="1150"/>
                  <a:pt x="1748" y="1150"/>
                </a:cubicBezTo>
                <a:cubicBezTo>
                  <a:pt x="1748" y="1149"/>
                  <a:pt x="1748" y="1149"/>
                  <a:pt x="1748" y="1149"/>
                </a:cubicBezTo>
                <a:cubicBezTo>
                  <a:pt x="1747" y="1150"/>
                  <a:pt x="1747" y="1150"/>
                  <a:pt x="1747" y="1150"/>
                </a:cubicBezTo>
                <a:cubicBezTo>
                  <a:pt x="1746" y="1149"/>
                  <a:pt x="1746" y="1149"/>
                  <a:pt x="1746" y="1149"/>
                </a:cubicBezTo>
                <a:close/>
                <a:moveTo>
                  <a:pt x="1703" y="929"/>
                </a:moveTo>
                <a:cubicBezTo>
                  <a:pt x="1702" y="928"/>
                  <a:pt x="1702" y="928"/>
                  <a:pt x="1702" y="928"/>
                </a:cubicBezTo>
                <a:cubicBezTo>
                  <a:pt x="1702" y="930"/>
                  <a:pt x="1702" y="930"/>
                  <a:pt x="1702" y="930"/>
                </a:cubicBezTo>
                <a:cubicBezTo>
                  <a:pt x="1701" y="931"/>
                  <a:pt x="1701" y="931"/>
                  <a:pt x="1701" y="931"/>
                </a:cubicBezTo>
                <a:cubicBezTo>
                  <a:pt x="1703" y="932"/>
                  <a:pt x="1703" y="932"/>
                  <a:pt x="1703" y="932"/>
                </a:cubicBezTo>
                <a:cubicBezTo>
                  <a:pt x="1704" y="931"/>
                  <a:pt x="1704" y="931"/>
                  <a:pt x="1704" y="931"/>
                </a:cubicBezTo>
                <a:cubicBezTo>
                  <a:pt x="1704" y="930"/>
                  <a:pt x="1704" y="930"/>
                  <a:pt x="1704" y="930"/>
                </a:cubicBezTo>
                <a:cubicBezTo>
                  <a:pt x="1705" y="930"/>
                  <a:pt x="1705" y="930"/>
                  <a:pt x="1705" y="930"/>
                </a:cubicBezTo>
                <a:cubicBezTo>
                  <a:pt x="1705" y="929"/>
                  <a:pt x="1705" y="929"/>
                  <a:pt x="1705" y="929"/>
                </a:cubicBezTo>
                <a:cubicBezTo>
                  <a:pt x="1704" y="928"/>
                  <a:pt x="1704" y="928"/>
                  <a:pt x="1704" y="928"/>
                </a:cubicBezTo>
                <a:cubicBezTo>
                  <a:pt x="1703" y="929"/>
                  <a:pt x="1703" y="929"/>
                  <a:pt x="1703" y="929"/>
                </a:cubicBezTo>
                <a:close/>
                <a:moveTo>
                  <a:pt x="1689" y="933"/>
                </a:moveTo>
                <a:cubicBezTo>
                  <a:pt x="1689" y="935"/>
                  <a:pt x="1689" y="935"/>
                  <a:pt x="1689" y="935"/>
                </a:cubicBezTo>
                <a:cubicBezTo>
                  <a:pt x="1690" y="937"/>
                  <a:pt x="1690" y="937"/>
                  <a:pt x="1690" y="937"/>
                </a:cubicBezTo>
                <a:cubicBezTo>
                  <a:pt x="1691" y="937"/>
                  <a:pt x="1691" y="937"/>
                  <a:pt x="1691" y="937"/>
                </a:cubicBezTo>
                <a:cubicBezTo>
                  <a:pt x="1692" y="936"/>
                  <a:pt x="1692" y="936"/>
                  <a:pt x="1692" y="936"/>
                </a:cubicBezTo>
                <a:cubicBezTo>
                  <a:pt x="1692" y="935"/>
                  <a:pt x="1692" y="935"/>
                  <a:pt x="1692" y="935"/>
                </a:cubicBezTo>
                <a:cubicBezTo>
                  <a:pt x="1691" y="934"/>
                  <a:pt x="1691" y="934"/>
                  <a:pt x="1691" y="934"/>
                </a:cubicBezTo>
                <a:cubicBezTo>
                  <a:pt x="1689" y="933"/>
                  <a:pt x="1689" y="933"/>
                  <a:pt x="1689" y="933"/>
                </a:cubicBezTo>
                <a:close/>
                <a:moveTo>
                  <a:pt x="1648" y="884"/>
                </a:moveTo>
                <a:cubicBezTo>
                  <a:pt x="1648" y="885"/>
                  <a:pt x="1648" y="885"/>
                  <a:pt x="1648" y="885"/>
                </a:cubicBezTo>
                <a:cubicBezTo>
                  <a:pt x="1649" y="884"/>
                  <a:pt x="1649" y="884"/>
                  <a:pt x="1649" y="884"/>
                </a:cubicBezTo>
                <a:cubicBezTo>
                  <a:pt x="1648" y="884"/>
                  <a:pt x="1648" y="884"/>
                  <a:pt x="1648" y="884"/>
                </a:cubicBezTo>
                <a:close/>
                <a:moveTo>
                  <a:pt x="1655" y="908"/>
                </a:moveTo>
                <a:cubicBezTo>
                  <a:pt x="1656" y="907"/>
                  <a:pt x="1656" y="907"/>
                  <a:pt x="1656" y="907"/>
                </a:cubicBezTo>
                <a:cubicBezTo>
                  <a:pt x="1655" y="907"/>
                  <a:pt x="1655" y="907"/>
                  <a:pt x="1655" y="907"/>
                </a:cubicBezTo>
                <a:cubicBezTo>
                  <a:pt x="1655" y="908"/>
                  <a:pt x="1655" y="908"/>
                  <a:pt x="1655" y="908"/>
                </a:cubicBezTo>
                <a:close/>
                <a:moveTo>
                  <a:pt x="1649" y="881"/>
                </a:moveTo>
                <a:cubicBezTo>
                  <a:pt x="1648" y="882"/>
                  <a:pt x="1648" y="882"/>
                  <a:pt x="1648" y="882"/>
                </a:cubicBezTo>
                <a:cubicBezTo>
                  <a:pt x="1649" y="882"/>
                  <a:pt x="1649" y="882"/>
                  <a:pt x="1649" y="882"/>
                </a:cubicBezTo>
                <a:cubicBezTo>
                  <a:pt x="1649" y="881"/>
                  <a:pt x="1649" y="881"/>
                  <a:pt x="1649" y="881"/>
                </a:cubicBezTo>
                <a:close/>
                <a:moveTo>
                  <a:pt x="1657" y="894"/>
                </a:moveTo>
                <a:cubicBezTo>
                  <a:pt x="1658" y="893"/>
                  <a:pt x="1658" y="893"/>
                  <a:pt x="1658" y="893"/>
                </a:cubicBezTo>
                <a:cubicBezTo>
                  <a:pt x="1658" y="892"/>
                  <a:pt x="1658" y="892"/>
                  <a:pt x="1658" y="892"/>
                </a:cubicBezTo>
                <a:cubicBezTo>
                  <a:pt x="1657" y="890"/>
                  <a:pt x="1657" y="890"/>
                  <a:pt x="1657" y="890"/>
                </a:cubicBezTo>
                <a:cubicBezTo>
                  <a:pt x="1658" y="889"/>
                  <a:pt x="1658" y="889"/>
                  <a:pt x="1658" y="889"/>
                </a:cubicBezTo>
                <a:cubicBezTo>
                  <a:pt x="1658" y="886"/>
                  <a:pt x="1658" y="886"/>
                  <a:pt x="1658" y="886"/>
                </a:cubicBezTo>
                <a:cubicBezTo>
                  <a:pt x="1657" y="885"/>
                  <a:pt x="1657" y="885"/>
                  <a:pt x="1657" y="885"/>
                </a:cubicBezTo>
                <a:cubicBezTo>
                  <a:pt x="1657" y="882"/>
                  <a:pt x="1657" y="882"/>
                  <a:pt x="1657" y="882"/>
                </a:cubicBezTo>
                <a:cubicBezTo>
                  <a:pt x="1656" y="881"/>
                  <a:pt x="1656" y="881"/>
                  <a:pt x="1656" y="881"/>
                </a:cubicBezTo>
                <a:cubicBezTo>
                  <a:pt x="1655" y="880"/>
                  <a:pt x="1655" y="880"/>
                  <a:pt x="1655" y="880"/>
                </a:cubicBezTo>
                <a:cubicBezTo>
                  <a:pt x="1654" y="879"/>
                  <a:pt x="1654" y="879"/>
                  <a:pt x="1654" y="879"/>
                </a:cubicBezTo>
                <a:cubicBezTo>
                  <a:pt x="1653" y="878"/>
                  <a:pt x="1653" y="878"/>
                  <a:pt x="1653" y="878"/>
                </a:cubicBezTo>
                <a:cubicBezTo>
                  <a:pt x="1654" y="877"/>
                  <a:pt x="1654" y="877"/>
                  <a:pt x="1654" y="877"/>
                </a:cubicBezTo>
                <a:cubicBezTo>
                  <a:pt x="1654" y="876"/>
                  <a:pt x="1654" y="876"/>
                  <a:pt x="1654" y="876"/>
                </a:cubicBezTo>
                <a:cubicBezTo>
                  <a:pt x="1652" y="877"/>
                  <a:pt x="1652" y="877"/>
                  <a:pt x="1652" y="877"/>
                </a:cubicBezTo>
                <a:cubicBezTo>
                  <a:pt x="1652" y="878"/>
                  <a:pt x="1652" y="878"/>
                  <a:pt x="1652" y="878"/>
                </a:cubicBezTo>
                <a:cubicBezTo>
                  <a:pt x="1651" y="879"/>
                  <a:pt x="1651" y="879"/>
                  <a:pt x="1651" y="879"/>
                </a:cubicBezTo>
                <a:cubicBezTo>
                  <a:pt x="1651" y="880"/>
                  <a:pt x="1651" y="880"/>
                  <a:pt x="1651" y="880"/>
                </a:cubicBezTo>
                <a:cubicBezTo>
                  <a:pt x="1651" y="881"/>
                  <a:pt x="1651" y="881"/>
                  <a:pt x="1651" y="881"/>
                </a:cubicBezTo>
                <a:cubicBezTo>
                  <a:pt x="1650" y="883"/>
                  <a:pt x="1650" y="883"/>
                  <a:pt x="1650" y="883"/>
                </a:cubicBezTo>
                <a:cubicBezTo>
                  <a:pt x="1650" y="884"/>
                  <a:pt x="1650" y="884"/>
                  <a:pt x="1650" y="884"/>
                </a:cubicBezTo>
                <a:cubicBezTo>
                  <a:pt x="1649" y="886"/>
                  <a:pt x="1649" y="886"/>
                  <a:pt x="1649" y="886"/>
                </a:cubicBezTo>
                <a:cubicBezTo>
                  <a:pt x="1648" y="885"/>
                  <a:pt x="1648" y="885"/>
                  <a:pt x="1648" y="885"/>
                </a:cubicBezTo>
                <a:cubicBezTo>
                  <a:pt x="1647" y="887"/>
                  <a:pt x="1647" y="887"/>
                  <a:pt x="1647" y="887"/>
                </a:cubicBezTo>
                <a:cubicBezTo>
                  <a:pt x="1647" y="888"/>
                  <a:pt x="1647" y="888"/>
                  <a:pt x="1647" y="888"/>
                </a:cubicBezTo>
                <a:cubicBezTo>
                  <a:pt x="1646" y="888"/>
                  <a:pt x="1646" y="888"/>
                  <a:pt x="1646" y="888"/>
                </a:cubicBezTo>
                <a:cubicBezTo>
                  <a:pt x="1646" y="886"/>
                  <a:pt x="1646" y="886"/>
                  <a:pt x="1646" y="886"/>
                </a:cubicBezTo>
                <a:cubicBezTo>
                  <a:pt x="1645" y="886"/>
                  <a:pt x="1645" y="886"/>
                  <a:pt x="1645" y="886"/>
                </a:cubicBezTo>
                <a:cubicBezTo>
                  <a:pt x="1644" y="887"/>
                  <a:pt x="1644" y="887"/>
                  <a:pt x="1644" y="887"/>
                </a:cubicBezTo>
                <a:cubicBezTo>
                  <a:pt x="1644" y="888"/>
                  <a:pt x="1644" y="888"/>
                  <a:pt x="1644" y="888"/>
                </a:cubicBezTo>
                <a:cubicBezTo>
                  <a:pt x="1645" y="890"/>
                  <a:pt x="1645" y="890"/>
                  <a:pt x="1645" y="890"/>
                </a:cubicBezTo>
                <a:cubicBezTo>
                  <a:pt x="1646" y="890"/>
                  <a:pt x="1646" y="890"/>
                  <a:pt x="1646" y="890"/>
                </a:cubicBezTo>
                <a:cubicBezTo>
                  <a:pt x="1645" y="891"/>
                  <a:pt x="1645" y="891"/>
                  <a:pt x="1645" y="891"/>
                </a:cubicBezTo>
                <a:cubicBezTo>
                  <a:pt x="1645" y="890"/>
                  <a:pt x="1645" y="890"/>
                  <a:pt x="1645" y="890"/>
                </a:cubicBezTo>
                <a:cubicBezTo>
                  <a:pt x="1643" y="891"/>
                  <a:pt x="1643" y="891"/>
                  <a:pt x="1643" y="891"/>
                </a:cubicBezTo>
                <a:cubicBezTo>
                  <a:pt x="1644" y="892"/>
                  <a:pt x="1644" y="892"/>
                  <a:pt x="1644" y="892"/>
                </a:cubicBezTo>
                <a:cubicBezTo>
                  <a:pt x="1645" y="892"/>
                  <a:pt x="1645" y="892"/>
                  <a:pt x="1645" y="892"/>
                </a:cubicBezTo>
                <a:cubicBezTo>
                  <a:pt x="1645" y="893"/>
                  <a:pt x="1645" y="893"/>
                  <a:pt x="1645" y="893"/>
                </a:cubicBezTo>
                <a:cubicBezTo>
                  <a:pt x="1644" y="894"/>
                  <a:pt x="1644" y="894"/>
                  <a:pt x="1644" y="894"/>
                </a:cubicBezTo>
                <a:cubicBezTo>
                  <a:pt x="1644" y="893"/>
                  <a:pt x="1644" y="893"/>
                  <a:pt x="1644" y="893"/>
                </a:cubicBezTo>
                <a:cubicBezTo>
                  <a:pt x="1643" y="893"/>
                  <a:pt x="1643" y="893"/>
                  <a:pt x="1643" y="893"/>
                </a:cubicBezTo>
                <a:cubicBezTo>
                  <a:pt x="1643" y="894"/>
                  <a:pt x="1643" y="894"/>
                  <a:pt x="1643" y="894"/>
                </a:cubicBezTo>
                <a:cubicBezTo>
                  <a:pt x="1641" y="896"/>
                  <a:pt x="1641" y="896"/>
                  <a:pt x="1641" y="896"/>
                </a:cubicBezTo>
                <a:cubicBezTo>
                  <a:pt x="1641" y="894"/>
                  <a:pt x="1641" y="894"/>
                  <a:pt x="1641" y="894"/>
                </a:cubicBezTo>
                <a:cubicBezTo>
                  <a:pt x="1641" y="893"/>
                  <a:pt x="1641" y="893"/>
                  <a:pt x="1641" y="893"/>
                </a:cubicBezTo>
                <a:cubicBezTo>
                  <a:pt x="1640" y="894"/>
                  <a:pt x="1640" y="894"/>
                  <a:pt x="1640" y="894"/>
                </a:cubicBezTo>
                <a:cubicBezTo>
                  <a:pt x="1640" y="895"/>
                  <a:pt x="1640" y="895"/>
                  <a:pt x="1640" y="895"/>
                </a:cubicBezTo>
                <a:cubicBezTo>
                  <a:pt x="1639" y="896"/>
                  <a:pt x="1639" y="896"/>
                  <a:pt x="1639" y="896"/>
                </a:cubicBezTo>
                <a:cubicBezTo>
                  <a:pt x="1639" y="897"/>
                  <a:pt x="1639" y="897"/>
                  <a:pt x="1639" y="897"/>
                </a:cubicBezTo>
                <a:cubicBezTo>
                  <a:pt x="1640" y="897"/>
                  <a:pt x="1640" y="897"/>
                  <a:pt x="1640" y="897"/>
                </a:cubicBezTo>
                <a:cubicBezTo>
                  <a:pt x="1640" y="898"/>
                  <a:pt x="1640" y="898"/>
                  <a:pt x="1640" y="898"/>
                </a:cubicBezTo>
                <a:cubicBezTo>
                  <a:pt x="1639" y="898"/>
                  <a:pt x="1639" y="898"/>
                  <a:pt x="1639" y="898"/>
                </a:cubicBezTo>
                <a:cubicBezTo>
                  <a:pt x="1638" y="899"/>
                  <a:pt x="1638" y="899"/>
                  <a:pt x="1638" y="899"/>
                </a:cubicBezTo>
                <a:cubicBezTo>
                  <a:pt x="1638" y="898"/>
                  <a:pt x="1638" y="898"/>
                  <a:pt x="1638" y="898"/>
                </a:cubicBezTo>
                <a:cubicBezTo>
                  <a:pt x="1637" y="898"/>
                  <a:pt x="1637" y="898"/>
                  <a:pt x="1637" y="898"/>
                </a:cubicBezTo>
                <a:cubicBezTo>
                  <a:pt x="1638" y="897"/>
                  <a:pt x="1638" y="897"/>
                  <a:pt x="1638" y="897"/>
                </a:cubicBezTo>
                <a:cubicBezTo>
                  <a:pt x="1637" y="897"/>
                  <a:pt x="1637" y="897"/>
                  <a:pt x="1637" y="897"/>
                </a:cubicBezTo>
                <a:cubicBezTo>
                  <a:pt x="1635" y="899"/>
                  <a:pt x="1635" y="899"/>
                  <a:pt x="1635" y="899"/>
                </a:cubicBezTo>
                <a:cubicBezTo>
                  <a:pt x="1635" y="900"/>
                  <a:pt x="1635" y="900"/>
                  <a:pt x="1635" y="900"/>
                </a:cubicBezTo>
                <a:cubicBezTo>
                  <a:pt x="1635" y="901"/>
                  <a:pt x="1635" y="901"/>
                  <a:pt x="1635" y="901"/>
                </a:cubicBezTo>
                <a:cubicBezTo>
                  <a:pt x="1635" y="902"/>
                  <a:pt x="1635" y="902"/>
                  <a:pt x="1635" y="902"/>
                </a:cubicBezTo>
                <a:cubicBezTo>
                  <a:pt x="1634" y="902"/>
                  <a:pt x="1634" y="902"/>
                  <a:pt x="1634" y="902"/>
                </a:cubicBezTo>
                <a:cubicBezTo>
                  <a:pt x="1633" y="901"/>
                  <a:pt x="1633" y="901"/>
                  <a:pt x="1633" y="901"/>
                </a:cubicBezTo>
                <a:cubicBezTo>
                  <a:pt x="1633" y="900"/>
                  <a:pt x="1633" y="900"/>
                  <a:pt x="1633" y="900"/>
                </a:cubicBezTo>
                <a:cubicBezTo>
                  <a:pt x="1633" y="899"/>
                  <a:pt x="1633" y="899"/>
                  <a:pt x="1633" y="899"/>
                </a:cubicBezTo>
                <a:cubicBezTo>
                  <a:pt x="1631" y="901"/>
                  <a:pt x="1631" y="901"/>
                  <a:pt x="1631" y="901"/>
                </a:cubicBezTo>
                <a:cubicBezTo>
                  <a:pt x="1630" y="900"/>
                  <a:pt x="1630" y="900"/>
                  <a:pt x="1630" y="900"/>
                </a:cubicBezTo>
                <a:cubicBezTo>
                  <a:pt x="1629" y="900"/>
                  <a:pt x="1629" y="900"/>
                  <a:pt x="1629" y="900"/>
                </a:cubicBezTo>
                <a:cubicBezTo>
                  <a:pt x="1629" y="902"/>
                  <a:pt x="1629" y="902"/>
                  <a:pt x="1629" y="902"/>
                </a:cubicBezTo>
                <a:cubicBezTo>
                  <a:pt x="1628" y="902"/>
                  <a:pt x="1628" y="902"/>
                  <a:pt x="1628" y="902"/>
                </a:cubicBezTo>
                <a:cubicBezTo>
                  <a:pt x="1628" y="901"/>
                  <a:pt x="1628" y="901"/>
                  <a:pt x="1628" y="901"/>
                </a:cubicBezTo>
                <a:cubicBezTo>
                  <a:pt x="1627" y="901"/>
                  <a:pt x="1627" y="901"/>
                  <a:pt x="1627" y="901"/>
                </a:cubicBezTo>
                <a:cubicBezTo>
                  <a:pt x="1627" y="902"/>
                  <a:pt x="1627" y="902"/>
                  <a:pt x="1627" y="902"/>
                </a:cubicBezTo>
                <a:cubicBezTo>
                  <a:pt x="1626" y="901"/>
                  <a:pt x="1626" y="901"/>
                  <a:pt x="1626" y="901"/>
                </a:cubicBezTo>
                <a:cubicBezTo>
                  <a:pt x="1624" y="903"/>
                  <a:pt x="1624" y="903"/>
                  <a:pt x="1624" y="903"/>
                </a:cubicBezTo>
                <a:cubicBezTo>
                  <a:pt x="1623" y="903"/>
                  <a:pt x="1623" y="903"/>
                  <a:pt x="1623" y="903"/>
                </a:cubicBezTo>
                <a:cubicBezTo>
                  <a:pt x="1622" y="903"/>
                  <a:pt x="1622" y="903"/>
                  <a:pt x="1622" y="903"/>
                </a:cubicBezTo>
                <a:cubicBezTo>
                  <a:pt x="1621" y="903"/>
                  <a:pt x="1621" y="903"/>
                  <a:pt x="1621" y="903"/>
                </a:cubicBezTo>
                <a:cubicBezTo>
                  <a:pt x="1621" y="904"/>
                  <a:pt x="1621" y="904"/>
                  <a:pt x="1621" y="904"/>
                </a:cubicBezTo>
                <a:cubicBezTo>
                  <a:pt x="1621" y="906"/>
                  <a:pt x="1621" y="906"/>
                  <a:pt x="1621" y="906"/>
                </a:cubicBezTo>
                <a:cubicBezTo>
                  <a:pt x="1619" y="909"/>
                  <a:pt x="1619" y="909"/>
                  <a:pt x="1619" y="909"/>
                </a:cubicBezTo>
                <a:cubicBezTo>
                  <a:pt x="1617" y="911"/>
                  <a:pt x="1617" y="911"/>
                  <a:pt x="1617" y="911"/>
                </a:cubicBezTo>
                <a:cubicBezTo>
                  <a:pt x="1617" y="912"/>
                  <a:pt x="1617" y="912"/>
                  <a:pt x="1617" y="912"/>
                </a:cubicBezTo>
                <a:cubicBezTo>
                  <a:pt x="1618" y="913"/>
                  <a:pt x="1618" y="913"/>
                  <a:pt x="1618" y="913"/>
                </a:cubicBezTo>
                <a:cubicBezTo>
                  <a:pt x="1617" y="914"/>
                  <a:pt x="1617" y="914"/>
                  <a:pt x="1617" y="914"/>
                </a:cubicBezTo>
                <a:cubicBezTo>
                  <a:pt x="1618" y="916"/>
                  <a:pt x="1618" y="916"/>
                  <a:pt x="1618" y="916"/>
                </a:cubicBezTo>
                <a:cubicBezTo>
                  <a:pt x="1618" y="917"/>
                  <a:pt x="1618" y="917"/>
                  <a:pt x="1618" y="917"/>
                </a:cubicBezTo>
                <a:cubicBezTo>
                  <a:pt x="1620" y="921"/>
                  <a:pt x="1620" y="921"/>
                  <a:pt x="1620" y="921"/>
                </a:cubicBezTo>
                <a:cubicBezTo>
                  <a:pt x="1620" y="922"/>
                  <a:pt x="1620" y="922"/>
                  <a:pt x="1620" y="922"/>
                </a:cubicBezTo>
                <a:cubicBezTo>
                  <a:pt x="1621" y="923"/>
                  <a:pt x="1621" y="923"/>
                  <a:pt x="1621" y="923"/>
                </a:cubicBezTo>
                <a:cubicBezTo>
                  <a:pt x="1620" y="924"/>
                  <a:pt x="1620" y="924"/>
                  <a:pt x="1620" y="924"/>
                </a:cubicBezTo>
                <a:cubicBezTo>
                  <a:pt x="1620" y="925"/>
                  <a:pt x="1620" y="925"/>
                  <a:pt x="1620" y="925"/>
                </a:cubicBezTo>
                <a:cubicBezTo>
                  <a:pt x="1620" y="928"/>
                  <a:pt x="1620" y="928"/>
                  <a:pt x="1620" y="928"/>
                </a:cubicBezTo>
                <a:cubicBezTo>
                  <a:pt x="1618" y="929"/>
                  <a:pt x="1618" y="929"/>
                  <a:pt x="1618" y="929"/>
                </a:cubicBezTo>
                <a:cubicBezTo>
                  <a:pt x="1618" y="930"/>
                  <a:pt x="1618" y="930"/>
                  <a:pt x="1618" y="930"/>
                </a:cubicBezTo>
                <a:cubicBezTo>
                  <a:pt x="1617" y="930"/>
                  <a:pt x="1617" y="930"/>
                  <a:pt x="1617" y="930"/>
                </a:cubicBezTo>
                <a:cubicBezTo>
                  <a:pt x="1617" y="932"/>
                  <a:pt x="1617" y="932"/>
                  <a:pt x="1617" y="932"/>
                </a:cubicBezTo>
                <a:cubicBezTo>
                  <a:pt x="1616" y="932"/>
                  <a:pt x="1616" y="932"/>
                  <a:pt x="1616" y="932"/>
                </a:cubicBezTo>
                <a:cubicBezTo>
                  <a:pt x="1616" y="935"/>
                  <a:pt x="1616" y="935"/>
                  <a:pt x="1616" y="935"/>
                </a:cubicBezTo>
                <a:cubicBezTo>
                  <a:pt x="1615" y="936"/>
                  <a:pt x="1615" y="936"/>
                  <a:pt x="1615" y="936"/>
                </a:cubicBezTo>
                <a:cubicBezTo>
                  <a:pt x="1613" y="936"/>
                  <a:pt x="1613" y="936"/>
                  <a:pt x="1613" y="936"/>
                </a:cubicBezTo>
                <a:cubicBezTo>
                  <a:pt x="1613" y="937"/>
                  <a:pt x="1613" y="937"/>
                  <a:pt x="1613" y="937"/>
                </a:cubicBezTo>
                <a:cubicBezTo>
                  <a:pt x="1613" y="939"/>
                  <a:pt x="1613" y="939"/>
                  <a:pt x="1613" y="939"/>
                </a:cubicBezTo>
                <a:cubicBezTo>
                  <a:pt x="1611" y="940"/>
                  <a:pt x="1611" y="940"/>
                  <a:pt x="1611" y="940"/>
                </a:cubicBezTo>
                <a:cubicBezTo>
                  <a:pt x="1611" y="942"/>
                  <a:pt x="1611" y="942"/>
                  <a:pt x="1611" y="942"/>
                </a:cubicBezTo>
                <a:cubicBezTo>
                  <a:pt x="1611" y="943"/>
                  <a:pt x="1611" y="943"/>
                  <a:pt x="1611" y="943"/>
                </a:cubicBezTo>
                <a:cubicBezTo>
                  <a:pt x="1611" y="944"/>
                  <a:pt x="1611" y="944"/>
                  <a:pt x="1611" y="944"/>
                </a:cubicBezTo>
                <a:cubicBezTo>
                  <a:pt x="1611" y="946"/>
                  <a:pt x="1611" y="946"/>
                  <a:pt x="1611" y="946"/>
                </a:cubicBezTo>
                <a:cubicBezTo>
                  <a:pt x="1613" y="948"/>
                  <a:pt x="1613" y="948"/>
                  <a:pt x="1613" y="948"/>
                </a:cubicBezTo>
                <a:cubicBezTo>
                  <a:pt x="1613" y="949"/>
                  <a:pt x="1613" y="949"/>
                  <a:pt x="1613" y="949"/>
                </a:cubicBezTo>
                <a:cubicBezTo>
                  <a:pt x="1613" y="950"/>
                  <a:pt x="1613" y="950"/>
                  <a:pt x="1613" y="950"/>
                </a:cubicBezTo>
                <a:cubicBezTo>
                  <a:pt x="1614" y="950"/>
                  <a:pt x="1614" y="950"/>
                  <a:pt x="1614" y="950"/>
                </a:cubicBezTo>
                <a:cubicBezTo>
                  <a:pt x="1614" y="951"/>
                  <a:pt x="1614" y="951"/>
                  <a:pt x="1614" y="951"/>
                </a:cubicBezTo>
                <a:cubicBezTo>
                  <a:pt x="1613" y="951"/>
                  <a:pt x="1613" y="951"/>
                  <a:pt x="1613" y="951"/>
                </a:cubicBezTo>
                <a:cubicBezTo>
                  <a:pt x="1613" y="952"/>
                  <a:pt x="1613" y="952"/>
                  <a:pt x="1613" y="952"/>
                </a:cubicBezTo>
                <a:cubicBezTo>
                  <a:pt x="1613" y="954"/>
                  <a:pt x="1613" y="954"/>
                  <a:pt x="1613" y="954"/>
                </a:cubicBezTo>
                <a:cubicBezTo>
                  <a:pt x="1613" y="957"/>
                  <a:pt x="1613" y="957"/>
                  <a:pt x="1613" y="957"/>
                </a:cubicBezTo>
                <a:cubicBezTo>
                  <a:pt x="1613" y="958"/>
                  <a:pt x="1613" y="958"/>
                  <a:pt x="1613" y="958"/>
                </a:cubicBezTo>
                <a:cubicBezTo>
                  <a:pt x="1614" y="959"/>
                  <a:pt x="1614" y="959"/>
                  <a:pt x="1614" y="959"/>
                </a:cubicBezTo>
                <a:cubicBezTo>
                  <a:pt x="1615" y="960"/>
                  <a:pt x="1615" y="960"/>
                  <a:pt x="1615" y="960"/>
                </a:cubicBezTo>
                <a:cubicBezTo>
                  <a:pt x="1616" y="961"/>
                  <a:pt x="1616" y="961"/>
                  <a:pt x="1616" y="961"/>
                </a:cubicBezTo>
                <a:cubicBezTo>
                  <a:pt x="1617" y="962"/>
                  <a:pt x="1617" y="962"/>
                  <a:pt x="1617" y="962"/>
                </a:cubicBezTo>
                <a:cubicBezTo>
                  <a:pt x="1618" y="962"/>
                  <a:pt x="1618" y="962"/>
                  <a:pt x="1618" y="962"/>
                </a:cubicBezTo>
                <a:cubicBezTo>
                  <a:pt x="1619" y="963"/>
                  <a:pt x="1619" y="963"/>
                  <a:pt x="1619" y="963"/>
                </a:cubicBezTo>
                <a:cubicBezTo>
                  <a:pt x="1620" y="964"/>
                  <a:pt x="1620" y="964"/>
                  <a:pt x="1620" y="964"/>
                </a:cubicBezTo>
                <a:cubicBezTo>
                  <a:pt x="1621" y="964"/>
                  <a:pt x="1621" y="964"/>
                  <a:pt x="1621" y="964"/>
                </a:cubicBezTo>
                <a:cubicBezTo>
                  <a:pt x="1621" y="965"/>
                  <a:pt x="1621" y="965"/>
                  <a:pt x="1621" y="965"/>
                </a:cubicBezTo>
                <a:cubicBezTo>
                  <a:pt x="1622" y="964"/>
                  <a:pt x="1622" y="964"/>
                  <a:pt x="1622" y="964"/>
                </a:cubicBezTo>
                <a:cubicBezTo>
                  <a:pt x="1623" y="965"/>
                  <a:pt x="1623" y="965"/>
                  <a:pt x="1623" y="965"/>
                </a:cubicBezTo>
                <a:cubicBezTo>
                  <a:pt x="1625" y="964"/>
                  <a:pt x="1625" y="964"/>
                  <a:pt x="1625" y="964"/>
                </a:cubicBezTo>
                <a:cubicBezTo>
                  <a:pt x="1626" y="962"/>
                  <a:pt x="1626" y="962"/>
                  <a:pt x="1626" y="962"/>
                </a:cubicBezTo>
                <a:cubicBezTo>
                  <a:pt x="1630" y="962"/>
                  <a:pt x="1630" y="962"/>
                  <a:pt x="1630" y="962"/>
                </a:cubicBezTo>
                <a:cubicBezTo>
                  <a:pt x="1631" y="962"/>
                  <a:pt x="1631" y="962"/>
                  <a:pt x="1631" y="962"/>
                </a:cubicBezTo>
                <a:cubicBezTo>
                  <a:pt x="1633" y="961"/>
                  <a:pt x="1633" y="961"/>
                  <a:pt x="1633" y="961"/>
                </a:cubicBezTo>
                <a:cubicBezTo>
                  <a:pt x="1634" y="960"/>
                  <a:pt x="1634" y="960"/>
                  <a:pt x="1634" y="960"/>
                </a:cubicBezTo>
                <a:cubicBezTo>
                  <a:pt x="1635" y="960"/>
                  <a:pt x="1635" y="960"/>
                  <a:pt x="1635" y="960"/>
                </a:cubicBezTo>
                <a:cubicBezTo>
                  <a:pt x="1635" y="958"/>
                  <a:pt x="1635" y="958"/>
                  <a:pt x="1635" y="958"/>
                </a:cubicBezTo>
                <a:cubicBezTo>
                  <a:pt x="1636" y="957"/>
                  <a:pt x="1636" y="957"/>
                  <a:pt x="1636" y="957"/>
                </a:cubicBezTo>
                <a:cubicBezTo>
                  <a:pt x="1637" y="955"/>
                  <a:pt x="1637" y="955"/>
                  <a:pt x="1637" y="955"/>
                </a:cubicBezTo>
                <a:cubicBezTo>
                  <a:pt x="1638" y="955"/>
                  <a:pt x="1638" y="955"/>
                  <a:pt x="1638" y="955"/>
                </a:cubicBezTo>
                <a:cubicBezTo>
                  <a:pt x="1638" y="953"/>
                  <a:pt x="1638" y="953"/>
                  <a:pt x="1638" y="953"/>
                </a:cubicBezTo>
                <a:cubicBezTo>
                  <a:pt x="1637" y="952"/>
                  <a:pt x="1637" y="952"/>
                  <a:pt x="1637" y="952"/>
                </a:cubicBezTo>
                <a:cubicBezTo>
                  <a:pt x="1638" y="952"/>
                  <a:pt x="1638" y="952"/>
                  <a:pt x="1638" y="952"/>
                </a:cubicBezTo>
                <a:cubicBezTo>
                  <a:pt x="1639" y="950"/>
                  <a:pt x="1639" y="950"/>
                  <a:pt x="1639" y="950"/>
                </a:cubicBezTo>
                <a:cubicBezTo>
                  <a:pt x="1639" y="949"/>
                  <a:pt x="1639" y="949"/>
                  <a:pt x="1639" y="949"/>
                </a:cubicBezTo>
                <a:cubicBezTo>
                  <a:pt x="1640" y="948"/>
                  <a:pt x="1640" y="948"/>
                  <a:pt x="1640" y="948"/>
                </a:cubicBezTo>
                <a:cubicBezTo>
                  <a:pt x="1641" y="943"/>
                  <a:pt x="1641" y="943"/>
                  <a:pt x="1641" y="943"/>
                </a:cubicBezTo>
                <a:cubicBezTo>
                  <a:pt x="1642" y="941"/>
                  <a:pt x="1642" y="941"/>
                  <a:pt x="1642" y="941"/>
                </a:cubicBezTo>
                <a:cubicBezTo>
                  <a:pt x="1643" y="940"/>
                  <a:pt x="1643" y="940"/>
                  <a:pt x="1643" y="940"/>
                </a:cubicBezTo>
                <a:cubicBezTo>
                  <a:pt x="1643" y="937"/>
                  <a:pt x="1643" y="937"/>
                  <a:pt x="1643" y="937"/>
                </a:cubicBezTo>
                <a:cubicBezTo>
                  <a:pt x="1645" y="934"/>
                  <a:pt x="1645" y="934"/>
                  <a:pt x="1645" y="934"/>
                </a:cubicBezTo>
                <a:cubicBezTo>
                  <a:pt x="1647" y="929"/>
                  <a:pt x="1647" y="929"/>
                  <a:pt x="1647" y="929"/>
                </a:cubicBezTo>
                <a:cubicBezTo>
                  <a:pt x="1648" y="928"/>
                  <a:pt x="1648" y="928"/>
                  <a:pt x="1648" y="928"/>
                </a:cubicBezTo>
                <a:cubicBezTo>
                  <a:pt x="1648" y="925"/>
                  <a:pt x="1648" y="925"/>
                  <a:pt x="1648" y="925"/>
                </a:cubicBezTo>
                <a:cubicBezTo>
                  <a:pt x="1649" y="923"/>
                  <a:pt x="1649" y="923"/>
                  <a:pt x="1649" y="923"/>
                </a:cubicBezTo>
                <a:cubicBezTo>
                  <a:pt x="1649" y="922"/>
                  <a:pt x="1649" y="922"/>
                  <a:pt x="1649" y="922"/>
                </a:cubicBezTo>
                <a:cubicBezTo>
                  <a:pt x="1651" y="920"/>
                  <a:pt x="1651" y="920"/>
                  <a:pt x="1651" y="920"/>
                </a:cubicBezTo>
                <a:cubicBezTo>
                  <a:pt x="1651" y="916"/>
                  <a:pt x="1651" y="916"/>
                  <a:pt x="1651" y="916"/>
                </a:cubicBezTo>
                <a:cubicBezTo>
                  <a:pt x="1652" y="914"/>
                  <a:pt x="1652" y="914"/>
                  <a:pt x="1652" y="914"/>
                </a:cubicBezTo>
                <a:cubicBezTo>
                  <a:pt x="1653" y="913"/>
                  <a:pt x="1653" y="913"/>
                  <a:pt x="1653" y="913"/>
                </a:cubicBezTo>
                <a:cubicBezTo>
                  <a:pt x="1653" y="911"/>
                  <a:pt x="1653" y="911"/>
                  <a:pt x="1653" y="911"/>
                </a:cubicBezTo>
                <a:cubicBezTo>
                  <a:pt x="1652" y="910"/>
                  <a:pt x="1652" y="910"/>
                  <a:pt x="1652" y="910"/>
                </a:cubicBezTo>
                <a:cubicBezTo>
                  <a:pt x="1653" y="909"/>
                  <a:pt x="1653" y="909"/>
                  <a:pt x="1653" y="909"/>
                </a:cubicBezTo>
                <a:cubicBezTo>
                  <a:pt x="1654" y="907"/>
                  <a:pt x="1654" y="907"/>
                  <a:pt x="1654" y="907"/>
                </a:cubicBezTo>
                <a:cubicBezTo>
                  <a:pt x="1654" y="906"/>
                  <a:pt x="1654" y="906"/>
                  <a:pt x="1654" y="906"/>
                </a:cubicBezTo>
                <a:cubicBezTo>
                  <a:pt x="1655" y="905"/>
                  <a:pt x="1655" y="905"/>
                  <a:pt x="1655" y="905"/>
                </a:cubicBezTo>
                <a:cubicBezTo>
                  <a:pt x="1655" y="904"/>
                  <a:pt x="1655" y="904"/>
                  <a:pt x="1655" y="904"/>
                </a:cubicBezTo>
                <a:cubicBezTo>
                  <a:pt x="1654" y="903"/>
                  <a:pt x="1654" y="903"/>
                  <a:pt x="1654" y="903"/>
                </a:cubicBezTo>
                <a:cubicBezTo>
                  <a:pt x="1655" y="902"/>
                  <a:pt x="1655" y="902"/>
                  <a:pt x="1655" y="902"/>
                </a:cubicBezTo>
                <a:cubicBezTo>
                  <a:pt x="1654" y="900"/>
                  <a:pt x="1654" y="900"/>
                  <a:pt x="1654" y="900"/>
                </a:cubicBezTo>
                <a:cubicBezTo>
                  <a:pt x="1654" y="899"/>
                  <a:pt x="1654" y="899"/>
                  <a:pt x="1654" y="899"/>
                </a:cubicBezTo>
                <a:cubicBezTo>
                  <a:pt x="1655" y="898"/>
                  <a:pt x="1655" y="898"/>
                  <a:pt x="1655" y="898"/>
                </a:cubicBezTo>
                <a:cubicBezTo>
                  <a:pt x="1655" y="899"/>
                  <a:pt x="1655" y="899"/>
                  <a:pt x="1655" y="899"/>
                </a:cubicBezTo>
                <a:cubicBezTo>
                  <a:pt x="1656" y="900"/>
                  <a:pt x="1656" y="900"/>
                  <a:pt x="1656" y="900"/>
                </a:cubicBezTo>
                <a:cubicBezTo>
                  <a:pt x="1657" y="901"/>
                  <a:pt x="1657" y="901"/>
                  <a:pt x="1657" y="901"/>
                </a:cubicBezTo>
                <a:cubicBezTo>
                  <a:pt x="1658" y="902"/>
                  <a:pt x="1658" y="902"/>
                  <a:pt x="1658" y="902"/>
                </a:cubicBezTo>
                <a:cubicBezTo>
                  <a:pt x="1658" y="901"/>
                  <a:pt x="1658" y="901"/>
                  <a:pt x="1658" y="901"/>
                </a:cubicBezTo>
                <a:cubicBezTo>
                  <a:pt x="1658" y="900"/>
                  <a:pt x="1658" y="900"/>
                  <a:pt x="1658" y="900"/>
                </a:cubicBezTo>
                <a:cubicBezTo>
                  <a:pt x="1658" y="899"/>
                  <a:pt x="1658" y="899"/>
                  <a:pt x="1658" y="899"/>
                </a:cubicBezTo>
                <a:cubicBezTo>
                  <a:pt x="1659" y="898"/>
                  <a:pt x="1659" y="898"/>
                  <a:pt x="1659" y="898"/>
                </a:cubicBezTo>
                <a:cubicBezTo>
                  <a:pt x="1659" y="897"/>
                  <a:pt x="1659" y="897"/>
                  <a:pt x="1659" y="897"/>
                </a:cubicBezTo>
                <a:cubicBezTo>
                  <a:pt x="1658" y="895"/>
                  <a:pt x="1658" y="895"/>
                  <a:pt x="1658" y="895"/>
                </a:cubicBezTo>
                <a:cubicBezTo>
                  <a:pt x="1657" y="894"/>
                  <a:pt x="1657" y="894"/>
                  <a:pt x="1657" y="894"/>
                </a:cubicBezTo>
                <a:close/>
                <a:moveTo>
                  <a:pt x="1647" y="884"/>
                </a:moveTo>
                <a:cubicBezTo>
                  <a:pt x="1646" y="884"/>
                  <a:pt x="1646" y="884"/>
                  <a:pt x="1646" y="884"/>
                </a:cubicBezTo>
                <a:cubicBezTo>
                  <a:pt x="1646" y="885"/>
                  <a:pt x="1646" y="885"/>
                  <a:pt x="1646" y="885"/>
                </a:cubicBezTo>
                <a:cubicBezTo>
                  <a:pt x="1647" y="885"/>
                  <a:pt x="1647" y="885"/>
                  <a:pt x="1647" y="885"/>
                </a:cubicBezTo>
                <a:cubicBezTo>
                  <a:pt x="1647" y="884"/>
                  <a:pt x="1647" y="884"/>
                  <a:pt x="1647" y="884"/>
                </a:cubicBezTo>
                <a:close/>
                <a:moveTo>
                  <a:pt x="2216" y="1108"/>
                </a:moveTo>
                <a:cubicBezTo>
                  <a:pt x="2216" y="1108"/>
                  <a:pt x="2216" y="1108"/>
                  <a:pt x="2216" y="1109"/>
                </a:cubicBezTo>
                <a:cubicBezTo>
                  <a:pt x="2216" y="1109"/>
                  <a:pt x="2216" y="1109"/>
                  <a:pt x="2217" y="1108"/>
                </a:cubicBezTo>
                <a:cubicBezTo>
                  <a:pt x="2217" y="1108"/>
                  <a:pt x="2217" y="1108"/>
                  <a:pt x="2217" y="1107"/>
                </a:cubicBezTo>
                <a:cubicBezTo>
                  <a:pt x="2217" y="1107"/>
                  <a:pt x="2217" y="1107"/>
                  <a:pt x="2216" y="1108"/>
                </a:cubicBezTo>
                <a:close/>
                <a:moveTo>
                  <a:pt x="2218" y="1109"/>
                </a:moveTo>
                <a:cubicBezTo>
                  <a:pt x="2218" y="1108"/>
                  <a:pt x="2218" y="1108"/>
                  <a:pt x="2218" y="1108"/>
                </a:cubicBezTo>
                <a:cubicBezTo>
                  <a:pt x="2217" y="1108"/>
                  <a:pt x="2217" y="1108"/>
                  <a:pt x="2217" y="1108"/>
                </a:cubicBezTo>
                <a:cubicBezTo>
                  <a:pt x="2217" y="1109"/>
                  <a:pt x="2217" y="1109"/>
                  <a:pt x="2217" y="1109"/>
                </a:cubicBezTo>
                <a:cubicBezTo>
                  <a:pt x="2218" y="1109"/>
                  <a:pt x="2218" y="1109"/>
                  <a:pt x="2218" y="1109"/>
                </a:cubicBezTo>
                <a:close/>
                <a:moveTo>
                  <a:pt x="2201" y="892"/>
                </a:moveTo>
                <a:cubicBezTo>
                  <a:pt x="2201" y="892"/>
                  <a:pt x="2201" y="892"/>
                  <a:pt x="2201" y="893"/>
                </a:cubicBezTo>
                <a:cubicBezTo>
                  <a:pt x="2201" y="893"/>
                  <a:pt x="2201" y="893"/>
                  <a:pt x="2202" y="893"/>
                </a:cubicBezTo>
                <a:cubicBezTo>
                  <a:pt x="2202" y="893"/>
                  <a:pt x="2202" y="893"/>
                  <a:pt x="2201" y="892"/>
                </a:cubicBezTo>
                <a:close/>
                <a:moveTo>
                  <a:pt x="2217" y="1111"/>
                </a:moveTo>
                <a:cubicBezTo>
                  <a:pt x="2218" y="1111"/>
                  <a:pt x="2218" y="1111"/>
                  <a:pt x="2218" y="1111"/>
                </a:cubicBezTo>
                <a:cubicBezTo>
                  <a:pt x="2218" y="1110"/>
                  <a:pt x="2218" y="1110"/>
                  <a:pt x="2218" y="1110"/>
                </a:cubicBezTo>
                <a:cubicBezTo>
                  <a:pt x="2217" y="1110"/>
                  <a:pt x="2217" y="1110"/>
                  <a:pt x="2217" y="1110"/>
                </a:cubicBezTo>
                <a:cubicBezTo>
                  <a:pt x="2217" y="1111"/>
                  <a:pt x="2217" y="1111"/>
                  <a:pt x="2217" y="1111"/>
                </a:cubicBezTo>
                <a:close/>
                <a:moveTo>
                  <a:pt x="2299" y="974"/>
                </a:moveTo>
                <a:cubicBezTo>
                  <a:pt x="2299" y="974"/>
                  <a:pt x="2299" y="974"/>
                  <a:pt x="2299" y="975"/>
                </a:cubicBezTo>
                <a:cubicBezTo>
                  <a:pt x="2299" y="975"/>
                  <a:pt x="2299" y="975"/>
                  <a:pt x="2298" y="977"/>
                </a:cubicBezTo>
                <a:cubicBezTo>
                  <a:pt x="2298" y="977"/>
                  <a:pt x="2298" y="977"/>
                  <a:pt x="2297" y="978"/>
                </a:cubicBezTo>
                <a:cubicBezTo>
                  <a:pt x="2297" y="978"/>
                  <a:pt x="2297" y="978"/>
                  <a:pt x="2297" y="979"/>
                </a:cubicBezTo>
                <a:cubicBezTo>
                  <a:pt x="2297" y="979"/>
                  <a:pt x="2297" y="979"/>
                  <a:pt x="2297" y="980"/>
                </a:cubicBezTo>
                <a:cubicBezTo>
                  <a:pt x="2297" y="980"/>
                  <a:pt x="2297" y="980"/>
                  <a:pt x="2297" y="982"/>
                </a:cubicBezTo>
                <a:cubicBezTo>
                  <a:pt x="2297" y="982"/>
                  <a:pt x="2297" y="982"/>
                  <a:pt x="2298" y="982"/>
                </a:cubicBezTo>
                <a:cubicBezTo>
                  <a:pt x="2298" y="982"/>
                  <a:pt x="2298" y="982"/>
                  <a:pt x="2298" y="981"/>
                </a:cubicBezTo>
                <a:cubicBezTo>
                  <a:pt x="2298" y="981"/>
                  <a:pt x="2298" y="981"/>
                  <a:pt x="2298" y="979"/>
                </a:cubicBezTo>
                <a:cubicBezTo>
                  <a:pt x="2298" y="979"/>
                  <a:pt x="2298" y="979"/>
                  <a:pt x="2299" y="977"/>
                </a:cubicBezTo>
                <a:cubicBezTo>
                  <a:pt x="2299" y="977"/>
                  <a:pt x="2299" y="977"/>
                  <a:pt x="2300" y="975"/>
                </a:cubicBezTo>
                <a:cubicBezTo>
                  <a:pt x="2300" y="975"/>
                  <a:pt x="2300" y="975"/>
                  <a:pt x="2299" y="973"/>
                </a:cubicBezTo>
                <a:cubicBezTo>
                  <a:pt x="2299" y="973"/>
                  <a:pt x="2299" y="973"/>
                  <a:pt x="2299" y="974"/>
                </a:cubicBezTo>
                <a:close/>
                <a:moveTo>
                  <a:pt x="2203" y="896"/>
                </a:moveTo>
                <a:cubicBezTo>
                  <a:pt x="2204" y="895"/>
                  <a:pt x="2204" y="895"/>
                  <a:pt x="2204" y="895"/>
                </a:cubicBezTo>
                <a:cubicBezTo>
                  <a:pt x="2205" y="895"/>
                  <a:pt x="2205" y="895"/>
                  <a:pt x="2205" y="895"/>
                </a:cubicBezTo>
                <a:cubicBezTo>
                  <a:pt x="2206" y="894"/>
                  <a:pt x="2206" y="894"/>
                  <a:pt x="2206" y="894"/>
                </a:cubicBezTo>
                <a:cubicBezTo>
                  <a:pt x="2205" y="894"/>
                  <a:pt x="2205" y="894"/>
                  <a:pt x="2205" y="894"/>
                </a:cubicBezTo>
                <a:cubicBezTo>
                  <a:pt x="2204" y="894"/>
                  <a:pt x="2204" y="894"/>
                  <a:pt x="2204" y="894"/>
                </a:cubicBezTo>
                <a:cubicBezTo>
                  <a:pt x="2205" y="893"/>
                  <a:pt x="2205" y="893"/>
                  <a:pt x="2205" y="893"/>
                </a:cubicBezTo>
                <a:cubicBezTo>
                  <a:pt x="2204" y="893"/>
                  <a:pt x="2204" y="893"/>
                  <a:pt x="2204" y="893"/>
                </a:cubicBezTo>
                <a:cubicBezTo>
                  <a:pt x="2204" y="892"/>
                  <a:pt x="2204" y="892"/>
                  <a:pt x="2204" y="892"/>
                </a:cubicBezTo>
                <a:cubicBezTo>
                  <a:pt x="2203" y="893"/>
                  <a:pt x="2203" y="893"/>
                  <a:pt x="2203" y="893"/>
                </a:cubicBezTo>
                <a:cubicBezTo>
                  <a:pt x="2202" y="894"/>
                  <a:pt x="2202" y="894"/>
                  <a:pt x="2202" y="894"/>
                </a:cubicBezTo>
                <a:cubicBezTo>
                  <a:pt x="2203" y="895"/>
                  <a:pt x="2203" y="895"/>
                  <a:pt x="2203" y="895"/>
                </a:cubicBezTo>
                <a:cubicBezTo>
                  <a:pt x="2202" y="896"/>
                  <a:pt x="2202" y="896"/>
                  <a:pt x="2202" y="896"/>
                </a:cubicBezTo>
                <a:cubicBezTo>
                  <a:pt x="2203" y="896"/>
                  <a:pt x="2203" y="896"/>
                  <a:pt x="2203" y="896"/>
                </a:cubicBezTo>
                <a:close/>
                <a:moveTo>
                  <a:pt x="2214" y="1104"/>
                </a:moveTo>
                <a:cubicBezTo>
                  <a:pt x="2214" y="1104"/>
                  <a:pt x="2214" y="1104"/>
                  <a:pt x="2215" y="1102"/>
                </a:cubicBezTo>
                <a:cubicBezTo>
                  <a:pt x="2215" y="1102"/>
                  <a:pt x="2215" y="1102"/>
                  <a:pt x="2215" y="1100"/>
                </a:cubicBezTo>
                <a:cubicBezTo>
                  <a:pt x="2215" y="1100"/>
                  <a:pt x="2215" y="1100"/>
                  <a:pt x="2214" y="1099"/>
                </a:cubicBezTo>
                <a:cubicBezTo>
                  <a:pt x="2214" y="1099"/>
                  <a:pt x="2214" y="1099"/>
                  <a:pt x="2214" y="1100"/>
                </a:cubicBezTo>
                <a:cubicBezTo>
                  <a:pt x="2214" y="1100"/>
                  <a:pt x="2214" y="1100"/>
                  <a:pt x="2213" y="1101"/>
                </a:cubicBezTo>
                <a:cubicBezTo>
                  <a:pt x="2213" y="1101"/>
                  <a:pt x="2213" y="1101"/>
                  <a:pt x="2213" y="1102"/>
                </a:cubicBezTo>
                <a:cubicBezTo>
                  <a:pt x="2213" y="1102"/>
                  <a:pt x="2213" y="1102"/>
                  <a:pt x="2212" y="1103"/>
                </a:cubicBezTo>
                <a:cubicBezTo>
                  <a:pt x="2212" y="1103"/>
                  <a:pt x="2212" y="1103"/>
                  <a:pt x="2212" y="1104"/>
                </a:cubicBezTo>
                <a:cubicBezTo>
                  <a:pt x="2212" y="1104"/>
                  <a:pt x="2212" y="1104"/>
                  <a:pt x="2212" y="1105"/>
                </a:cubicBezTo>
                <a:cubicBezTo>
                  <a:pt x="2212" y="1105"/>
                  <a:pt x="2212" y="1105"/>
                  <a:pt x="2213" y="1105"/>
                </a:cubicBezTo>
                <a:cubicBezTo>
                  <a:pt x="2213" y="1105"/>
                  <a:pt x="2213" y="1105"/>
                  <a:pt x="2214" y="1104"/>
                </a:cubicBezTo>
                <a:close/>
                <a:moveTo>
                  <a:pt x="2045" y="974"/>
                </a:moveTo>
                <a:cubicBezTo>
                  <a:pt x="2045" y="974"/>
                  <a:pt x="2045" y="974"/>
                  <a:pt x="2045" y="975"/>
                </a:cubicBezTo>
                <a:cubicBezTo>
                  <a:pt x="2045" y="975"/>
                  <a:pt x="2045" y="975"/>
                  <a:pt x="2045" y="978"/>
                </a:cubicBezTo>
                <a:cubicBezTo>
                  <a:pt x="2045" y="978"/>
                  <a:pt x="2045" y="978"/>
                  <a:pt x="2046" y="976"/>
                </a:cubicBezTo>
                <a:cubicBezTo>
                  <a:pt x="2046" y="976"/>
                  <a:pt x="2046" y="976"/>
                  <a:pt x="2045" y="974"/>
                </a:cubicBezTo>
                <a:close/>
                <a:moveTo>
                  <a:pt x="2186" y="1062"/>
                </a:moveTo>
                <a:cubicBezTo>
                  <a:pt x="2187" y="1062"/>
                  <a:pt x="2187" y="1062"/>
                  <a:pt x="2187" y="1062"/>
                </a:cubicBezTo>
                <a:cubicBezTo>
                  <a:pt x="2187" y="1062"/>
                  <a:pt x="2187" y="1062"/>
                  <a:pt x="2188" y="1062"/>
                </a:cubicBezTo>
                <a:cubicBezTo>
                  <a:pt x="2188" y="1062"/>
                  <a:pt x="2188" y="1062"/>
                  <a:pt x="2187" y="1061"/>
                </a:cubicBezTo>
                <a:cubicBezTo>
                  <a:pt x="2187" y="1061"/>
                  <a:pt x="2187" y="1061"/>
                  <a:pt x="2186" y="1062"/>
                </a:cubicBezTo>
                <a:close/>
                <a:moveTo>
                  <a:pt x="2046" y="972"/>
                </a:moveTo>
                <a:cubicBezTo>
                  <a:pt x="2046" y="972"/>
                  <a:pt x="2046" y="972"/>
                  <a:pt x="2046" y="970"/>
                </a:cubicBezTo>
                <a:cubicBezTo>
                  <a:pt x="2046" y="970"/>
                  <a:pt x="2046" y="970"/>
                  <a:pt x="2045" y="973"/>
                </a:cubicBezTo>
                <a:lnTo>
                  <a:pt x="2046" y="972"/>
                </a:lnTo>
                <a:close/>
                <a:moveTo>
                  <a:pt x="2235" y="1114"/>
                </a:moveTo>
                <a:cubicBezTo>
                  <a:pt x="2235" y="1114"/>
                  <a:pt x="2235" y="1114"/>
                  <a:pt x="2234" y="1115"/>
                </a:cubicBezTo>
                <a:cubicBezTo>
                  <a:pt x="2234" y="1115"/>
                  <a:pt x="2234" y="1115"/>
                  <a:pt x="2234" y="1114"/>
                </a:cubicBezTo>
                <a:cubicBezTo>
                  <a:pt x="2234" y="1114"/>
                  <a:pt x="2234" y="1114"/>
                  <a:pt x="2233" y="1114"/>
                </a:cubicBezTo>
                <a:cubicBezTo>
                  <a:pt x="2233" y="1114"/>
                  <a:pt x="2233" y="1114"/>
                  <a:pt x="2232" y="1115"/>
                </a:cubicBezTo>
                <a:cubicBezTo>
                  <a:pt x="2232" y="1115"/>
                  <a:pt x="2232" y="1115"/>
                  <a:pt x="2232" y="1116"/>
                </a:cubicBezTo>
                <a:cubicBezTo>
                  <a:pt x="2232" y="1116"/>
                  <a:pt x="2232" y="1116"/>
                  <a:pt x="2228" y="1115"/>
                </a:cubicBezTo>
                <a:cubicBezTo>
                  <a:pt x="2228" y="1115"/>
                  <a:pt x="2228" y="1115"/>
                  <a:pt x="2227" y="1116"/>
                </a:cubicBezTo>
                <a:cubicBezTo>
                  <a:pt x="2227" y="1116"/>
                  <a:pt x="2227" y="1116"/>
                  <a:pt x="2227" y="1117"/>
                </a:cubicBezTo>
                <a:cubicBezTo>
                  <a:pt x="2227" y="1117"/>
                  <a:pt x="2227" y="1117"/>
                  <a:pt x="2226" y="1116"/>
                </a:cubicBezTo>
                <a:cubicBezTo>
                  <a:pt x="2226" y="1116"/>
                  <a:pt x="2226" y="1116"/>
                  <a:pt x="2225" y="1116"/>
                </a:cubicBezTo>
                <a:cubicBezTo>
                  <a:pt x="2225" y="1116"/>
                  <a:pt x="2225" y="1116"/>
                  <a:pt x="2224" y="1117"/>
                </a:cubicBezTo>
                <a:cubicBezTo>
                  <a:pt x="2224" y="1117"/>
                  <a:pt x="2224" y="1117"/>
                  <a:pt x="2223" y="1116"/>
                </a:cubicBezTo>
                <a:cubicBezTo>
                  <a:pt x="2223" y="1116"/>
                  <a:pt x="2223" y="1116"/>
                  <a:pt x="2221" y="1114"/>
                </a:cubicBezTo>
                <a:cubicBezTo>
                  <a:pt x="2221" y="1114"/>
                  <a:pt x="2221" y="1114"/>
                  <a:pt x="2219" y="1113"/>
                </a:cubicBezTo>
                <a:cubicBezTo>
                  <a:pt x="2219" y="1113"/>
                  <a:pt x="2219" y="1113"/>
                  <a:pt x="2219" y="1112"/>
                </a:cubicBezTo>
                <a:cubicBezTo>
                  <a:pt x="2219" y="1112"/>
                  <a:pt x="2219" y="1112"/>
                  <a:pt x="2218" y="1113"/>
                </a:cubicBezTo>
                <a:cubicBezTo>
                  <a:pt x="2218" y="1113"/>
                  <a:pt x="2218" y="1113"/>
                  <a:pt x="2218" y="1112"/>
                </a:cubicBezTo>
                <a:cubicBezTo>
                  <a:pt x="2218" y="1112"/>
                  <a:pt x="2218" y="1112"/>
                  <a:pt x="2216" y="1111"/>
                </a:cubicBezTo>
                <a:cubicBezTo>
                  <a:pt x="2216" y="1111"/>
                  <a:pt x="2216" y="1111"/>
                  <a:pt x="2215" y="1110"/>
                </a:cubicBezTo>
                <a:cubicBezTo>
                  <a:pt x="2215" y="1110"/>
                  <a:pt x="2215" y="1110"/>
                  <a:pt x="2215" y="1111"/>
                </a:cubicBezTo>
                <a:cubicBezTo>
                  <a:pt x="2215" y="1111"/>
                  <a:pt x="2215" y="1111"/>
                  <a:pt x="2215" y="1112"/>
                </a:cubicBezTo>
                <a:cubicBezTo>
                  <a:pt x="2215" y="1112"/>
                  <a:pt x="2215" y="1112"/>
                  <a:pt x="2214" y="1113"/>
                </a:cubicBezTo>
                <a:cubicBezTo>
                  <a:pt x="2214" y="1113"/>
                  <a:pt x="2214" y="1113"/>
                  <a:pt x="2214" y="1114"/>
                </a:cubicBezTo>
                <a:cubicBezTo>
                  <a:pt x="2214" y="1114"/>
                  <a:pt x="2214" y="1114"/>
                  <a:pt x="2215" y="1116"/>
                </a:cubicBezTo>
                <a:cubicBezTo>
                  <a:pt x="2215" y="1116"/>
                  <a:pt x="2215" y="1116"/>
                  <a:pt x="2214" y="1118"/>
                </a:cubicBezTo>
                <a:cubicBezTo>
                  <a:pt x="2214" y="1118"/>
                  <a:pt x="2214" y="1118"/>
                  <a:pt x="2214" y="1121"/>
                </a:cubicBezTo>
                <a:cubicBezTo>
                  <a:pt x="2214" y="1121"/>
                  <a:pt x="2214" y="1121"/>
                  <a:pt x="2215" y="1123"/>
                </a:cubicBezTo>
                <a:cubicBezTo>
                  <a:pt x="2215" y="1123"/>
                  <a:pt x="2215" y="1123"/>
                  <a:pt x="2214" y="1125"/>
                </a:cubicBezTo>
                <a:cubicBezTo>
                  <a:pt x="2214" y="1125"/>
                  <a:pt x="2214" y="1125"/>
                  <a:pt x="2215" y="1125"/>
                </a:cubicBezTo>
                <a:cubicBezTo>
                  <a:pt x="2215" y="1125"/>
                  <a:pt x="2215" y="1125"/>
                  <a:pt x="2215" y="1126"/>
                </a:cubicBezTo>
                <a:cubicBezTo>
                  <a:pt x="2215" y="1126"/>
                  <a:pt x="2215" y="1126"/>
                  <a:pt x="2216" y="1127"/>
                </a:cubicBezTo>
                <a:cubicBezTo>
                  <a:pt x="2216" y="1127"/>
                  <a:pt x="2216" y="1127"/>
                  <a:pt x="2215" y="1127"/>
                </a:cubicBezTo>
                <a:cubicBezTo>
                  <a:pt x="2215" y="1127"/>
                  <a:pt x="2215" y="1127"/>
                  <a:pt x="2214" y="1126"/>
                </a:cubicBezTo>
                <a:cubicBezTo>
                  <a:pt x="2214" y="1126"/>
                  <a:pt x="2214" y="1126"/>
                  <a:pt x="2213" y="1127"/>
                </a:cubicBezTo>
                <a:cubicBezTo>
                  <a:pt x="2213" y="1127"/>
                  <a:pt x="2213" y="1127"/>
                  <a:pt x="2213" y="1129"/>
                </a:cubicBezTo>
                <a:cubicBezTo>
                  <a:pt x="2213" y="1129"/>
                  <a:pt x="2213" y="1129"/>
                  <a:pt x="2214" y="1130"/>
                </a:cubicBezTo>
                <a:cubicBezTo>
                  <a:pt x="2214" y="1130"/>
                  <a:pt x="2214" y="1130"/>
                  <a:pt x="2214" y="1131"/>
                </a:cubicBezTo>
                <a:cubicBezTo>
                  <a:pt x="2214" y="1131"/>
                  <a:pt x="2214" y="1131"/>
                  <a:pt x="2214" y="1134"/>
                </a:cubicBezTo>
                <a:cubicBezTo>
                  <a:pt x="2214" y="1134"/>
                  <a:pt x="2214" y="1134"/>
                  <a:pt x="2215" y="1135"/>
                </a:cubicBezTo>
                <a:cubicBezTo>
                  <a:pt x="2215" y="1135"/>
                  <a:pt x="2215" y="1135"/>
                  <a:pt x="2214" y="1135"/>
                </a:cubicBezTo>
                <a:cubicBezTo>
                  <a:pt x="2214" y="1135"/>
                  <a:pt x="2214" y="1135"/>
                  <a:pt x="2215" y="1137"/>
                </a:cubicBezTo>
                <a:cubicBezTo>
                  <a:pt x="2215" y="1137"/>
                  <a:pt x="2215" y="1137"/>
                  <a:pt x="2216" y="1137"/>
                </a:cubicBezTo>
                <a:cubicBezTo>
                  <a:pt x="2216" y="1137"/>
                  <a:pt x="2216" y="1137"/>
                  <a:pt x="2215" y="1138"/>
                </a:cubicBezTo>
                <a:cubicBezTo>
                  <a:pt x="2215" y="1138"/>
                  <a:pt x="2215" y="1138"/>
                  <a:pt x="2215" y="1139"/>
                </a:cubicBezTo>
                <a:cubicBezTo>
                  <a:pt x="2216" y="1140"/>
                  <a:pt x="2216" y="1140"/>
                  <a:pt x="2216" y="1140"/>
                </a:cubicBezTo>
                <a:cubicBezTo>
                  <a:pt x="2216" y="1140"/>
                  <a:pt x="2216" y="1140"/>
                  <a:pt x="2217" y="1139"/>
                </a:cubicBezTo>
                <a:cubicBezTo>
                  <a:pt x="2217" y="1139"/>
                  <a:pt x="2217" y="1139"/>
                  <a:pt x="2218" y="1140"/>
                </a:cubicBezTo>
                <a:cubicBezTo>
                  <a:pt x="2218" y="1140"/>
                  <a:pt x="2218" y="1140"/>
                  <a:pt x="2219" y="1139"/>
                </a:cubicBezTo>
                <a:cubicBezTo>
                  <a:pt x="2219" y="1139"/>
                  <a:pt x="2219" y="1139"/>
                  <a:pt x="2219" y="1140"/>
                </a:cubicBezTo>
                <a:cubicBezTo>
                  <a:pt x="2219" y="1140"/>
                  <a:pt x="2219" y="1140"/>
                  <a:pt x="2219" y="1141"/>
                </a:cubicBezTo>
                <a:cubicBezTo>
                  <a:pt x="2219" y="1141"/>
                  <a:pt x="2219" y="1141"/>
                  <a:pt x="2220" y="1141"/>
                </a:cubicBezTo>
                <a:cubicBezTo>
                  <a:pt x="2220" y="1141"/>
                  <a:pt x="2220" y="1141"/>
                  <a:pt x="2221" y="1139"/>
                </a:cubicBezTo>
                <a:cubicBezTo>
                  <a:pt x="2221" y="1139"/>
                  <a:pt x="2221" y="1139"/>
                  <a:pt x="2222" y="1138"/>
                </a:cubicBezTo>
                <a:cubicBezTo>
                  <a:pt x="2222" y="1138"/>
                  <a:pt x="2222" y="1138"/>
                  <a:pt x="2222" y="1136"/>
                </a:cubicBezTo>
                <a:cubicBezTo>
                  <a:pt x="2222" y="1136"/>
                  <a:pt x="2222" y="1136"/>
                  <a:pt x="2223" y="1137"/>
                </a:cubicBezTo>
                <a:cubicBezTo>
                  <a:pt x="2223" y="1137"/>
                  <a:pt x="2223" y="1137"/>
                  <a:pt x="2223" y="1136"/>
                </a:cubicBezTo>
                <a:cubicBezTo>
                  <a:pt x="2223" y="1136"/>
                  <a:pt x="2223" y="1136"/>
                  <a:pt x="2224" y="1135"/>
                </a:cubicBezTo>
                <a:cubicBezTo>
                  <a:pt x="2224" y="1135"/>
                  <a:pt x="2224" y="1135"/>
                  <a:pt x="2225" y="1134"/>
                </a:cubicBezTo>
                <a:cubicBezTo>
                  <a:pt x="2225" y="1134"/>
                  <a:pt x="2225" y="1134"/>
                  <a:pt x="2225" y="1135"/>
                </a:cubicBezTo>
                <a:cubicBezTo>
                  <a:pt x="2225" y="1135"/>
                  <a:pt x="2225" y="1135"/>
                  <a:pt x="2226" y="1136"/>
                </a:cubicBezTo>
                <a:cubicBezTo>
                  <a:pt x="2226" y="1136"/>
                  <a:pt x="2226" y="1136"/>
                  <a:pt x="2226" y="1134"/>
                </a:cubicBezTo>
                <a:cubicBezTo>
                  <a:pt x="2226" y="1134"/>
                  <a:pt x="2226" y="1134"/>
                  <a:pt x="2227" y="1134"/>
                </a:cubicBezTo>
                <a:cubicBezTo>
                  <a:pt x="2227" y="1134"/>
                  <a:pt x="2227" y="1134"/>
                  <a:pt x="2228" y="1135"/>
                </a:cubicBezTo>
                <a:cubicBezTo>
                  <a:pt x="2228" y="1135"/>
                  <a:pt x="2228" y="1135"/>
                  <a:pt x="2228" y="1136"/>
                </a:cubicBezTo>
                <a:cubicBezTo>
                  <a:pt x="2228" y="1136"/>
                  <a:pt x="2228" y="1136"/>
                  <a:pt x="2227" y="1135"/>
                </a:cubicBezTo>
                <a:cubicBezTo>
                  <a:pt x="2227" y="1135"/>
                  <a:pt x="2227" y="1135"/>
                  <a:pt x="2227" y="1137"/>
                </a:cubicBezTo>
                <a:cubicBezTo>
                  <a:pt x="2227" y="1137"/>
                  <a:pt x="2227" y="1137"/>
                  <a:pt x="2228" y="1137"/>
                </a:cubicBezTo>
                <a:cubicBezTo>
                  <a:pt x="2228" y="1137"/>
                  <a:pt x="2228" y="1137"/>
                  <a:pt x="2230" y="1135"/>
                </a:cubicBezTo>
                <a:cubicBezTo>
                  <a:pt x="2230" y="1135"/>
                  <a:pt x="2230" y="1135"/>
                  <a:pt x="2230" y="1134"/>
                </a:cubicBezTo>
                <a:cubicBezTo>
                  <a:pt x="2230" y="1134"/>
                  <a:pt x="2230" y="1134"/>
                  <a:pt x="2229" y="1133"/>
                </a:cubicBezTo>
                <a:cubicBezTo>
                  <a:pt x="2229" y="1133"/>
                  <a:pt x="2229" y="1133"/>
                  <a:pt x="2230" y="1132"/>
                </a:cubicBezTo>
                <a:cubicBezTo>
                  <a:pt x="2230" y="1132"/>
                  <a:pt x="2230" y="1132"/>
                  <a:pt x="2230" y="1131"/>
                </a:cubicBezTo>
                <a:cubicBezTo>
                  <a:pt x="2230" y="1131"/>
                  <a:pt x="2230" y="1131"/>
                  <a:pt x="2231" y="1131"/>
                </a:cubicBezTo>
                <a:cubicBezTo>
                  <a:pt x="2231" y="1131"/>
                  <a:pt x="2231" y="1131"/>
                  <a:pt x="2231" y="1130"/>
                </a:cubicBezTo>
                <a:cubicBezTo>
                  <a:pt x="2231" y="1130"/>
                  <a:pt x="2231" y="1130"/>
                  <a:pt x="2231" y="1128"/>
                </a:cubicBezTo>
                <a:cubicBezTo>
                  <a:pt x="2231" y="1128"/>
                  <a:pt x="2231" y="1128"/>
                  <a:pt x="2232" y="1127"/>
                </a:cubicBezTo>
                <a:cubicBezTo>
                  <a:pt x="2232" y="1127"/>
                  <a:pt x="2232" y="1127"/>
                  <a:pt x="2233" y="1126"/>
                </a:cubicBezTo>
                <a:cubicBezTo>
                  <a:pt x="2233" y="1126"/>
                  <a:pt x="2233" y="1126"/>
                  <a:pt x="2233" y="1128"/>
                </a:cubicBezTo>
                <a:cubicBezTo>
                  <a:pt x="2233" y="1128"/>
                  <a:pt x="2233" y="1128"/>
                  <a:pt x="2233" y="1129"/>
                </a:cubicBezTo>
                <a:cubicBezTo>
                  <a:pt x="2233" y="1129"/>
                  <a:pt x="2233" y="1129"/>
                  <a:pt x="2234" y="1127"/>
                </a:cubicBezTo>
                <a:cubicBezTo>
                  <a:pt x="2234" y="1127"/>
                  <a:pt x="2234" y="1127"/>
                  <a:pt x="2234" y="1126"/>
                </a:cubicBezTo>
                <a:cubicBezTo>
                  <a:pt x="2234" y="1126"/>
                  <a:pt x="2234" y="1126"/>
                  <a:pt x="2234" y="1125"/>
                </a:cubicBezTo>
                <a:cubicBezTo>
                  <a:pt x="2234" y="1125"/>
                  <a:pt x="2234" y="1125"/>
                  <a:pt x="2234" y="1124"/>
                </a:cubicBezTo>
                <a:cubicBezTo>
                  <a:pt x="2234" y="1124"/>
                  <a:pt x="2234" y="1124"/>
                  <a:pt x="2235" y="1123"/>
                </a:cubicBezTo>
                <a:cubicBezTo>
                  <a:pt x="2235" y="1123"/>
                  <a:pt x="2235" y="1123"/>
                  <a:pt x="2235" y="1120"/>
                </a:cubicBezTo>
                <a:cubicBezTo>
                  <a:pt x="2235" y="1120"/>
                  <a:pt x="2235" y="1120"/>
                  <a:pt x="2236" y="1119"/>
                </a:cubicBezTo>
                <a:cubicBezTo>
                  <a:pt x="2236" y="1119"/>
                  <a:pt x="2236" y="1119"/>
                  <a:pt x="2237" y="1116"/>
                </a:cubicBezTo>
                <a:cubicBezTo>
                  <a:pt x="2237" y="1116"/>
                  <a:pt x="2237" y="1116"/>
                  <a:pt x="2237" y="1115"/>
                </a:cubicBezTo>
                <a:cubicBezTo>
                  <a:pt x="2237" y="1115"/>
                  <a:pt x="2237" y="1115"/>
                  <a:pt x="2236" y="1114"/>
                </a:cubicBezTo>
                <a:cubicBezTo>
                  <a:pt x="2236" y="1114"/>
                  <a:pt x="2236" y="1114"/>
                  <a:pt x="2235" y="1114"/>
                </a:cubicBezTo>
                <a:close/>
                <a:moveTo>
                  <a:pt x="2180" y="876"/>
                </a:moveTo>
                <a:cubicBezTo>
                  <a:pt x="2180" y="876"/>
                  <a:pt x="2180" y="876"/>
                  <a:pt x="2180" y="874"/>
                </a:cubicBezTo>
                <a:cubicBezTo>
                  <a:pt x="2180" y="874"/>
                  <a:pt x="2180" y="874"/>
                  <a:pt x="2180" y="873"/>
                </a:cubicBezTo>
                <a:cubicBezTo>
                  <a:pt x="2180" y="873"/>
                  <a:pt x="2180" y="873"/>
                  <a:pt x="2179" y="873"/>
                </a:cubicBezTo>
                <a:cubicBezTo>
                  <a:pt x="2179" y="873"/>
                  <a:pt x="2179" y="873"/>
                  <a:pt x="2179" y="874"/>
                </a:cubicBezTo>
                <a:cubicBezTo>
                  <a:pt x="2179" y="874"/>
                  <a:pt x="2179" y="874"/>
                  <a:pt x="2180" y="876"/>
                </a:cubicBezTo>
                <a:close/>
                <a:moveTo>
                  <a:pt x="2182" y="1060"/>
                </a:moveTo>
                <a:cubicBezTo>
                  <a:pt x="2182" y="1060"/>
                  <a:pt x="2182" y="1060"/>
                  <a:pt x="2179" y="1061"/>
                </a:cubicBezTo>
                <a:cubicBezTo>
                  <a:pt x="2179" y="1061"/>
                  <a:pt x="2179" y="1061"/>
                  <a:pt x="2178" y="1061"/>
                </a:cubicBezTo>
                <a:cubicBezTo>
                  <a:pt x="2178" y="1061"/>
                  <a:pt x="2178" y="1061"/>
                  <a:pt x="2177" y="1062"/>
                </a:cubicBezTo>
                <a:cubicBezTo>
                  <a:pt x="2177" y="1062"/>
                  <a:pt x="2177" y="1062"/>
                  <a:pt x="2178" y="1063"/>
                </a:cubicBezTo>
                <a:cubicBezTo>
                  <a:pt x="2178" y="1063"/>
                  <a:pt x="2178" y="1063"/>
                  <a:pt x="2180" y="1063"/>
                </a:cubicBezTo>
                <a:cubicBezTo>
                  <a:pt x="2180" y="1063"/>
                  <a:pt x="2180" y="1063"/>
                  <a:pt x="2181" y="1063"/>
                </a:cubicBezTo>
                <a:cubicBezTo>
                  <a:pt x="2181" y="1063"/>
                  <a:pt x="2181" y="1063"/>
                  <a:pt x="2182" y="1063"/>
                </a:cubicBezTo>
                <a:cubicBezTo>
                  <a:pt x="2182" y="1063"/>
                  <a:pt x="2182" y="1063"/>
                  <a:pt x="2183" y="1063"/>
                </a:cubicBezTo>
                <a:cubicBezTo>
                  <a:pt x="2183" y="1063"/>
                  <a:pt x="2183" y="1063"/>
                  <a:pt x="2184" y="1063"/>
                </a:cubicBezTo>
                <a:cubicBezTo>
                  <a:pt x="2184" y="1063"/>
                  <a:pt x="2184" y="1063"/>
                  <a:pt x="2184" y="1062"/>
                </a:cubicBezTo>
                <a:cubicBezTo>
                  <a:pt x="2184" y="1062"/>
                  <a:pt x="2184" y="1062"/>
                  <a:pt x="2185" y="1062"/>
                </a:cubicBezTo>
                <a:cubicBezTo>
                  <a:pt x="2185" y="1062"/>
                  <a:pt x="2185" y="1062"/>
                  <a:pt x="2185" y="1061"/>
                </a:cubicBezTo>
                <a:cubicBezTo>
                  <a:pt x="2185" y="1061"/>
                  <a:pt x="2185" y="1061"/>
                  <a:pt x="2184" y="1060"/>
                </a:cubicBezTo>
                <a:cubicBezTo>
                  <a:pt x="2184" y="1060"/>
                  <a:pt x="2184" y="1060"/>
                  <a:pt x="2182" y="1060"/>
                </a:cubicBezTo>
                <a:close/>
                <a:moveTo>
                  <a:pt x="2222" y="1139"/>
                </a:moveTo>
                <a:cubicBezTo>
                  <a:pt x="2222" y="1139"/>
                  <a:pt x="2222" y="1139"/>
                  <a:pt x="2223" y="1140"/>
                </a:cubicBezTo>
                <a:cubicBezTo>
                  <a:pt x="2223" y="1140"/>
                  <a:pt x="2223" y="1140"/>
                  <a:pt x="2224" y="1138"/>
                </a:cubicBezTo>
                <a:cubicBezTo>
                  <a:pt x="2224" y="1138"/>
                  <a:pt x="2224" y="1138"/>
                  <a:pt x="2224" y="1137"/>
                </a:cubicBezTo>
                <a:cubicBezTo>
                  <a:pt x="2224" y="1137"/>
                  <a:pt x="2224" y="1137"/>
                  <a:pt x="2223" y="1137"/>
                </a:cubicBezTo>
                <a:cubicBezTo>
                  <a:pt x="2223" y="1137"/>
                  <a:pt x="2223" y="1137"/>
                  <a:pt x="2223" y="1138"/>
                </a:cubicBezTo>
                <a:cubicBezTo>
                  <a:pt x="2223" y="1138"/>
                  <a:pt x="2223" y="1138"/>
                  <a:pt x="2222" y="1139"/>
                </a:cubicBezTo>
                <a:close/>
                <a:moveTo>
                  <a:pt x="2287" y="963"/>
                </a:moveTo>
                <a:cubicBezTo>
                  <a:pt x="2287" y="964"/>
                  <a:pt x="2287" y="964"/>
                  <a:pt x="2287" y="964"/>
                </a:cubicBezTo>
                <a:cubicBezTo>
                  <a:pt x="2288" y="965"/>
                  <a:pt x="2288" y="965"/>
                  <a:pt x="2288" y="965"/>
                </a:cubicBezTo>
                <a:cubicBezTo>
                  <a:pt x="2289" y="966"/>
                  <a:pt x="2289" y="966"/>
                  <a:pt x="2289" y="966"/>
                </a:cubicBezTo>
                <a:cubicBezTo>
                  <a:pt x="2289" y="965"/>
                  <a:pt x="2289" y="965"/>
                  <a:pt x="2289" y="965"/>
                </a:cubicBezTo>
                <a:cubicBezTo>
                  <a:pt x="2288" y="964"/>
                  <a:pt x="2288" y="964"/>
                  <a:pt x="2288" y="964"/>
                </a:cubicBezTo>
                <a:cubicBezTo>
                  <a:pt x="2287" y="963"/>
                  <a:pt x="2287" y="963"/>
                  <a:pt x="2287" y="963"/>
                </a:cubicBezTo>
                <a:close/>
                <a:moveTo>
                  <a:pt x="2168" y="879"/>
                </a:moveTo>
                <a:cubicBezTo>
                  <a:pt x="2169" y="880"/>
                  <a:pt x="2169" y="880"/>
                  <a:pt x="2169" y="880"/>
                </a:cubicBezTo>
                <a:cubicBezTo>
                  <a:pt x="2172" y="877"/>
                  <a:pt x="2172" y="877"/>
                  <a:pt x="2172" y="877"/>
                </a:cubicBezTo>
                <a:cubicBezTo>
                  <a:pt x="2173" y="876"/>
                  <a:pt x="2173" y="876"/>
                  <a:pt x="2173" y="876"/>
                </a:cubicBezTo>
                <a:cubicBezTo>
                  <a:pt x="2172" y="876"/>
                  <a:pt x="2172" y="876"/>
                  <a:pt x="2172" y="876"/>
                </a:cubicBezTo>
                <a:cubicBezTo>
                  <a:pt x="2172" y="875"/>
                  <a:pt x="2172" y="875"/>
                  <a:pt x="2172" y="875"/>
                </a:cubicBezTo>
                <a:cubicBezTo>
                  <a:pt x="2171" y="875"/>
                  <a:pt x="2171" y="875"/>
                  <a:pt x="2171" y="875"/>
                </a:cubicBezTo>
                <a:cubicBezTo>
                  <a:pt x="2169" y="875"/>
                  <a:pt x="2169" y="875"/>
                  <a:pt x="2169" y="875"/>
                </a:cubicBezTo>
                <a:cubicBezTo>
                  <a:pt x="2168" y="876"/>
                  <a:pt x="2168" y="876"/>
                  <a:pt x="2168" y="876"/>
                </a:cubicBezTo>
                <a:cubicBezTo>
                  <a:pt x="2167" y="875"/>
                  <a:pt x="2167" y="875"/>
                  <a:pt x="2167" y="875"/>
                </a:cubicBezTo>
                <a:cubicBezTo>
                  <a:pt x="2166" y="875"/>
                  <a:pt x="2166" y="875"/>
                  <a:pt x="2166" y="875"/>
                </a:cubicBezTo>
                <a:cubicBezTo>
                  <a:pt x="2166" y="876"/>
                  <a:pt x="2166" y="876"/>
                  <a:pt x="2166" y="876"/>
                </a:cubicBezTo>
                <a:cubicBezTo>
                  <a:pt x="2167" y="878"/>
                  <a:pt x="2167" y="878"/>
                  <a:pt x="2167" y="878"/>
                </a:cubicBezTo>
                <a:cubicBezTo>
                  <a:pt x="2168" y="879"/>
                  <a:pt x="2168" y="879"/>
                  <a:pt x="2168" y="879"/>
                </a:cubicBezTo>
                <a:close/>
                <a:moveTo>
                  <a:pt x="2064" y="941"/>
                </a:moveTo>
                <a:cubicBezTo>
                  <a:pt x="2064" y="941"/>
                  <a:pt x="2064" y="941"/>
                  <a:pt x="2065" y="940"/>
                </a:cubicBezTo>
                <a:cubicBezTo>
                  <a:pt x="2065" y="940"/>
                  <a:pt x="2065" y="940"/>
                  <a:pt x="2065" y="938"/>
                </a:cubicBezTo>
                <a:cubicBezTo>
                  <a:pt x="2065" y="938"/>
                  <a:pt x="2065" y="938"/>
                  <a:pt x="2064" y="940"/>
                </a:cubicBezTo>
                <a:cubicBezTo>
                  <a:pt x="2064" y="940"/>
                  <a:pt x="2064" y="940"/>
                  <a:pt x="2064" y="941"/>
                </a:cubicBezTo>
                <a:close/>
                <a:moveTo>
                  <a:pt x="2241" y="872"/>
                </a:moveTo>
                <a:cubicBezTo>
                  <a:pt x="2241" y="871"/>
                  <a:pt x="2241" y="871"/>
                  <a:pt x="2241" y="871"/>
                </a:cubicBezTo>
                <a:cubicBezTo>
                  <a:pt x="2240" y="870"/>
                  <a:pt x="2240" y="870"/>
                  <a:pt x="2240" y="870"/>
                </a:cubicBezTo>
                <a:cubicBezTo>
                  <a:pt x="2240" y="872"/>
                  <a:pt x="2240" y="872"/>
                  <a:pt x="2240" y="872"/>
                </a:cubicBezTo>
                <a:cubicBezTo>
                  <a:pt x="2241" y="872"/>
                  <a:pt x="2241" y="872"/>
                  <a:pt x="2241" y="872"/>
                </a:cubicBezTo>
                <a:close/>
                <a:moveTo>
                  <a:pt x="2220" y="911"/>
                </a:moveTo>
                <a:cubicBezTo>
                  <a:pt x="2218" y="912"/>
                  <a:pt x="2218" y="912"/>
                  <a:pt x="2218" y="912"/>
                </a:cubicBezTo>
                <a:cubicBezTo>
                  <a:pt x="2218" y="913"/>
                  <a:pt x="2218" y="913"/>
                  <a:pt x="2218" y="913"/>
                </a:cubicBezTo>
                <a:cubicBezTo>
                  <a:pt x="2219" y="914"/>
                  <a:pt x="2219" y="914"/>
                  <a:pt x="2219" y="914"/>
                </a:cubicBezTo>
                <a:cubicBezTo>
                  <a:pt x="2219" y="913"/>
                  <a:pt x="2219" y="913"/>
                  <a:pt x="2219" y="913"/>
                </a:cubicBezTo>
                <a:cubicBezTo>
                  <a:pt x="2220" y="912"/>
                  <a:pt x="2220" y="912"/>
                  <a:pt x="2220" y="912"/>
                </a:cubicBezTo>
                <a:cubicBezTo>
                  <a:pt x="2222" y="912"/>
                  <a:pt x="2222" y="912"/>
                  <a:pt x="2222" y="912"/>
                </a:cubicBezTo>
                <a:cubicBezTo>
                  <a:pt x="2220" y="911"/>
                  <a:pt x="2220" y="911"/>
                  <a:pt x="2220" y="911"/>
                </a:cubicBezTo>
                <a:close/>
                <a:moveTo>
                  <a:pt x="2221" y="916"/>
                </a:moveTo>
                <a:cubicBezTo>
                  <a:pt x="2221" y="915"/>
                  <a:pt x="2221" y="915"/>
                  <a:pt x="2221" y="915"/>
                </a:cubicBezTo>
                <a:cubicBezTo>
                  <a:pt x="2220" y="916"/>
                  <a:pt x="2220" y="916"/>
                  <a:pt x="2220" y="916"/>
                </a:cubicBezTo>
                <a:cubicBezTo>
                  <a:pt x="2221" y="916"/>
                  <a:pt x="2221" y="916"/>
                  <a:pt x="2221" y="916"/>
                </a:cubicBezTo>
                <a:close/>
                <a:moveTo>
                  <a:pt x="2204" y="876"/>
                </a:moveTo>
                <a:cubicBezTo>
                  <a:pt x="2205" y="876"/>
                  <a:pt x="2205" y="876"/>
                  <a:pt x="2205" y="876"/>
                </a:cubicBezTo>
                <a:cubicBezTo>
                  <a:pt x="2205" y="875"/>
                  <a:pt x="2205" y="875"/>
                  <a:pt x="2205" y="875"/>
                </a:cubicBezTo>
                <a:cubicBezTo>
                  <a:pt x="2206" y="874"/>
                  <a:pt x="2206" y="874"/>
                  <a:pt x="2206" y="874"/>
                </a:cubicBezTo>
                <a:cubicBezTo>
                  <a:pt x="2205" y="874"/>
                  <a:pt x="2205" y="874"/>
                  <a:pt x="2205" y="874"/>
                </a:cubicBezTo>
                <a:cubicBezTo>
                  <a:pt x="2204" y="875"/>
                  <a:pt x="2204" y="875"/>
                  <a:pt x="2204" y="875"/>
                </a:cubicBezTo>
                <a:cubicBezTo>
                  <a:pt x="2204" y="876"/>
                  <a:pt x="2204" y="876"/>
                  <a:pt x="2204" y="876"/>
                </a:cubicBezTo>
                <a:close/>
                <a:moveTo>
                  <a:pt x="2205" y="905"/>
                </a:moveTo>
                <a:cubicBezTo>
                  <a:pt x="2205" y="905"/>
                  <a:pt x="2205" y="905"/>
                  <a:pt x="2205" y="906"/>
                </a:cubicBezTo>
                <a:cubicBezTo>
                  <a:pt x="2205" y="906"/>
                  <a:pt x="2205" y="906"/>
                  <a:pt x="2205" y="907"/>
                </a:cubicBezTo>
                <a:cubicBezTo>
                  <a:pt x="2205" y="907"/>
                  <a:pt x="2205" y="907"/>
                  <a:pt x="2206" y="906"/>
                </a:cubicBezTo>
                <a:cubicBezTo>
                  <a:pt x="2206" y="906"/>
                  <a:pt x="2206" y="906"/>
                  <a:pt x="2205" y="905"/>
                </a:cubicBezTo>
                <a:close/>
                <a:moveTo>
                  <a:pt x="2203" y="876"/>
                </a:moveTo>
                <a:cubicBezTo>
                  <a:pt x="2202" y="877"/>
                  <a:pt x="2202" y="877"/>
                  <a:pt x="2202" y="877"/>
                </a:cubicBezTo>
                <a:cubicBezTo>
                  <a:pt x="2203" y="877"/>
                  <a:pt x="2203" y="877"/>
                  <a:pt x="2203" y="877"/>
                </a:cubicBezTo>
                <a:cubicBezTo>
                  <a:pt x="2203" y="876"/>
                  <a:pt x="2203" y="876"/>
                  <a:pt x="2203" y="876"/>
                </a:cubicBezTo>
                <a:close/>
                <a:moveTo>
                  <a:pt x="2202" y="878"/>
                </a:moveTo>
                <a:cubicBezTo>
                  <a:pt x="2202" y="877"/>
                  <a:pt x="2202" y="877"/>
                  <a:pt x="2202" y="877"/>
                </a:cubicBezTo>
                <a:cubicBezTo>
                  <a:pt x="2201" y="877"/>
                  <a:pt x="2201" y="877"/>
                  <a:pt x="2201" y="877"/>
                </a:cubicBezTo>
                <a:cubicBezTo>
                  <a:pt x="2202" y="878"/>
                  <a:pt x="2202" y="878"/>
                  <a:pt x="2202" y="878"/>
                </a:cubicBezTo>
                <a:close/>
                <a:moveTo>
                  <a:pt x="2262" y="926"/>
                </a:moveTo>
                <a:cubicBezTo>
                  <a:pt x="2262" y="926"/>
                  <a:pt x="2262" y="926"/>
                  <a:pt x="2261" y="927"/>
                </a:cubicBezTo>
                <a:cubicBezTo>
                  <a:pt x="2261" y="927"/>
                  <a:pt x="2261" y="927"/>
                  <a:pt x="2262" y="928"/>
                </a:cubicBezTo>
                <a:cubicBezTo>
                  <a:pt x="2262" y="928"/>
                  <a:pt x="2262" y="928"/>
                  <a:pt x="2262" y="926"/>
                </a:cubicBezTo>
                <a:close/>
                <a:moveTo>
                  <a:pt x="2261" y="925"/>
                </a:moveTo>
                <a:cubicBezTo>
                  <a:pt x="2261" y="925"/>
                  <a:pt x="2261" y="925"/>
                  <a:pt x="2262" y="926"/>
                </a:cubicBezTo>
                <a:cubicBezTo>
                  <a:pt x="2262" y="926"/>
                  <a:pt x="2262" y="926"/>
                  <a:pt x="2262" y="925"/>
                </a:cubicBezTo>
                <a:cubicBezTo>
                  <a:pt x="2262" y="925"/>
                  <a:pt x="2262" y="925"/>
                  <a:pt x="2261" y="925"/>
                </a:cubicBezTo>
                <a:close/>
                <a:moveTo>
                  <a:pt x="2125" y="902"/>
                </a:moveTo>
                <a:cubicBezTo>
                  <a:pt x="2126" y="903"/>
                  <a:pt x="2126" y="903"/>
                  <a:pt x="2126" y="903"/>
                </a:cubicBezTo>
                <a:cubicBezTo>
                  <a:pt x="2127" y="903"/>
                  <a:pt x="2127" y="903"/>
                  <a:pt x="2127" y="903"/>
                </a:cubicBezTo>
                <a:cubicBezTo>
                  <a:pt x="2126" y="902"/>
                  <a:pt x="2126" y="902"/>
                  <a:pt x="2126" y="902"/>
                </a:cubicBezTo>
                <a:lnTo>
                  <a:pt x="2125" y="902"/>
                </a:lnTo>
                <a:close/>
                <a:moveTo>
                  <a:pt x="2295" y="977"/>
                </a:moveTo>
                <a:cubicBezTo>
                  <a:pt x="2295" y="975"/>
                  <a:pt x="2295" y="975"/>
                  <a:pt x="2295" y="975"/>
                </a:cubicBezTo>
                <a:cubicBezTo>
                  <a:pt x="2293" y="974"/>
                  <a:pt x="2293" y="974"/>
                  <a:pt x="2293" y="974"/>
                </a:cubicBezTo>
                <a:cubicBezTo>
                  <a:pt x="2292" y="972"/>
                  <a:pt x="2292" y="972"/>
                  <a:pt x="2292" y="972"/>
                </a:cubicBezTo>
                <a:cubicBezTo>
                  <a:pt x="2292" y="970"/>
                  <a:pt x="2292" y="970"/>
                  <a:pt x="2292" y="970"/>
                </a:cubicBezTo>
                <a:cubicBezTo>
                  <a:pt x="2291" y="969"/>
                  <a:pt x="2291" y="969"/>
                  <a:pt x="2291" y="969"/>
                </a:cubicBezTo>
                <a:cubicBezTo>
                  <a:pt x="2290" y="969"/>
                  <a:pt x="2290" y="969"/>
                  <a:pt x="2290" y="969"/>
                </a:cubicBezTo>
                <a:cubicBezTo>
                  <a:pt x="2289" y="969"/>
                  <a:pt x="2289" y="969"/>
                  <a:pt x="2289" y="969"/>
                </a:cubicBezTo>
                <a:cubicBezTo>
                  <a:pt x="2289" y="968"/>
                  <a:pt x="2289" y="968"/>
                  <a:pt x="2289" y="968"/>
                </a:cubicBezTo>
                <a:cubicBezTo>
                  <a:pt x="2288" y="967"/>
                  <a:pt x="2288" y="967"/>
                  <a:pt x="2288" y="967"/>
                </a:cubicBezTo>
                <a:cubicBezTo>
                  <a:pt x="2288" y="966"/>
                  <a:pt x="2288" y="966"/>
                  <a:pt x="2288" y="966"/>
                </a:cubicBezTo>
                <a:cubicBezTo>
                  <a:pt x="2286" y="964"/>
                  <a:pt x="2286" y="964"/>
                  <a:pt x="2286" y="964"/>
                </a:cubicBezTo>
                <a:cubicBezTo>
                  <a:pt x="2285" y="964"/>
                  <a:pt x="2285" y="964"/>
                  <a:pt x="2285" y="964"/>
                </a:cubicBezTo>
                <a:cubicBezTo>
                  <a:pt x="2286" y="963"/>
                  <a:pt x="2286" y="963"/>
                  <a:pt x="2286" y="963"/>
                </a:cubicBezTo>
                <a:cubicBezTo>
                  <a:pt x="2285" y="961"/>
                  <a:pt x="2285" y="961"/>
                  <a:pt x="2285" y="961"/>
                </a:cubicBezTo>
                <a:cubicBezTo>
                  <a:pt x="2286" y="960"/>
                  <a:pt x="2286" y="960"/>
                  <a:pt x="2286" y="960"/>
                </a:cubicBezTo>
                <a:cubicBezTo>
                  <a:pt x="2286" y="958"/>
                  <a:pt x="2286" y="958"/>
                  <a:pt x="2286" y="958"/>
                </a:cubicBezTo>
                <a:cubicBezTo>
                  <a:pt x="2286" y="957"/>
                  <a:pt x="2286" y="957"/>
                  <a:pt x="2286" y="957"/>
                </a:cubicBezTo>
                <a:cubicBezTo>
                  <a:pt x="2286" y="956"/>
                  <a:pt x="2286" y="956"/>
                  <a:pt x="2286" y="956"/>
                </a:cubicBezTo>
                <a:cubicBezTo>
                  <a:pt x="2285" y="955"/>
                  <a:pt x="2285" y="955"/>
                  <a:pt x="2285" y="955"/>
                </a:cubicBezTo>
                <a:cubicBezTo>
                  <a:pt x="2285" y="956"/>
                  <a:pt x="2285" y="956"/>
                  <a:pt x="2285" y="956"/>
                </a:cubicBezTo>
                <a:cubicBezTo>
                  <a:pt x="2285" y="957"/>
                  <a:pt x="2285" y="957"/>
                  <a:pt x="2285" y="957"/>
                </a:cubicBezTo>
                <a:cubicBezTo>
                  <a:pt x="2282" y="954"/>
                  <a:pt x="2282" y="954"/>
                  <a:pt x="2282" y="954"/>
                </a:cubicBezTo>
                <a:cubicBezTo>
                  <a:pt x="2282" y="953"/>
                  <a:pt x="2282" y="953"/>
                  <a:pt x="2282" y="953"/>
                </a:cubicBezTo>
                <a:cubicBezTo>
                  <a:pt x="2281" y="953"/>
                  <a:pt x="2281" y="953"/>
                  <a:pt x="2281" y="953"/>
                </a:cubicBezTo>
                <a:cubicBezTo>
                  <a:pt x="2281" y="954"/>
                  <a:pt x="2281" y="954"/>
                  <a:pt x="2281" y="954"/>
                </a:cubicBezTo>
                <a:cubicBezTo>
                  <a:pt x="2281" y="955"/>
                  <a:pt x="2281" y="955"/>
                  <a:pt x="2281" y="955"/>
                </a:cubicBezTo>
                <a:cubicBezTo>
                  <a:pt x="2281" y="957"/>
                  <a:pt x="2281" y="957"/>
                  <a:pt x="2281" y="957"/>
                </a:cubicBezTo>
                <a:cubicBezTo>
                  <a:pt x="2280" y="955"/>
                  <a:pt x="2280" y="955"/>
                  <a:pt x="2280" y="955"/>
                </a:cubicBezTo>
                <a:cubicBezTo>
                  <a:pt x="2279" y="956"/>
                  <a:pt x="2279" y="956"/>
                  <a:pt x="2279" y="956"/>
                </a:cubicBezTo>
                <a:cubicBezTo>
                  <a:pt x="2279" y="955"/>
                  <a:pt x="2279" y="955"/>
                  <a:pt x="2279" y="955"/>
                </a:cubicBezTo>
                <a:cubicBezTo>
                  <a:pt x="2279" y="954"/>
                  <a:pt x="2279" y="954"/>
                  <a:pt x="2279" y="954"/>
                </a:cubicBezTo>
                <a:cubicBezTo>
                  <a:pt x="2279" y="950"/>
                  <a:pt x="2279" y="950"/>
                  <a:pt x="2279" y="950"/>
                </a:cubicBezTo>
                <a:cubicBezTo>
                  <a:pt x="2279" y="949"/>
                  <a:pt x="2279" y="949"/>
                  <a:pt x="2279" y="949"/>
                </a:cubicBezTo>
                <a:cubicBezTo>
                  <a:pt x="2278" y="948"/>
                  <a:pt x="2278" y="948"/>
                  <a:pt x="2278" y="948"/>
                </a:cubicBezTo>
                <a:cubicBezTo>
                  <a:pt x="2278" y="947"/>
                  <a:pt x="2278" y="947"/>
                  <a:pt x="2278" y="947"/>
                </a:cubicBezTo>
                <a:cubicBezTo>
                  <a:pt x="2277" y="947"/>
                  <a:pt x="2277" y="947"/>
                  <a:pt x="2277" y="947"/>
                </a:cubicBezTo>
                <a:cubicBezTo>
                  <a:pt x="2278" y="946"/>
                  <a:pt x="2278" y="946"/>
                  <a:pt x="2278" y="946"/>
                </a:cubicBezTo>
                <a:cubicBezTo>
                  <a:pt x="2276" y="944"/>
                  <a:pt x="2276" y="944"/>
                  <a:pt x="2276" y="944"/>
                </a:cubicBezTo>
                <a:cubicBezTo>
                  <a:pt x="2275" y="943"/>
                  <a:pt x="2275" y="943"/>
                  <a:pt x="2275" y="943"/>
                </a:cubicBezTo>
                <a:cubicBezTo>
                  <a:pt x="2275" y="941"/>
                  <a:pt x="2275" y="941"/>
                  <a:pt x="2275" y="941"/>
                </a:cubicBezTo>
                <a:cubicBezTo>
                  <a:pt x="2276" y="941"/>
                  <a:pt x="2276" y="941"/>
                  <a:pt x="2276" y="941"/>
                </a:cubicBezTo>
                <a:cubicBezTo>
                  <a:pt x="2276" y="940"/>
                  <a:pt x="2276" y="940"/>
                  <a:pt x="2276" y="940"/>
                </a:cubicBezTo>
                <a:cubicBezTo>
                  <a:pt x="2275" y="938"/>
                  <a:pt x="2275" y="938"/>
                  <a:pt x="2275" y="938"/>
                </a:cubicBezTo>
                <a:cubicBezTo>
                  <a:pt x="2275" y="939"/>
                  <a:pt x="2275" y="939"/>
                  <a:pt x="2275" y="939"/>
                </a:cubicBezTo>
                <a:cubicBezTo>
                  <a:pt x="2273" y="938"/>
                  <a:pt x="2273" y="938"/>
                  <a:pt x="2273" y="938"/>
                </a:cubicBezTo>
                <a:cubicBezTo>
                  <a:pt x="2272" y="937"/>
                  <a:pt x="2272" y="937"/>
                  <a:pt x="2272" y="937"/>
                </a:cubicBezTo>
                <a:cubicBezTo>
                  <a:pt x="2271" y="937"/>
                  <a:pt x="2271" y="937"/>
                  <a:pt x="2271" y="937"/>
                </a:cubicBezTo>
                <a:cubicBezTo>
                  <a:pt x="2270" y="936"/>
                  <a:pt x="2270" y="936"/>
                  <a:pt x="2270" y="936"/>
                </a:cubicBezTo>
                <a:cubicBezTo>
                  <a:pt x="2269" y="936"/>
                  <a:pt x="2269" y="936"/>
                  <a:pt x="2269" y="936"/>
                </a:cubicBezTo>
                <a:cubicBezTo>
                  <a:pt x="2268" y="935"/>
                  <a:pt x="2268" y="935"/>
                  <a:pt x="2268" y="935"/>
                </a:cubicBezTo>
                <a:cubicBezTo>
                  <a:pt x="2267" y="936"/>
                  <a:pt x="2267" y="936"/>
                  <a:pt x="2267" y="936"/>
                </a:cubicBezTo>
                <a:cubicBezTo>
                  <a:pt x="2267" y="935"/>
                  <a:pt x="2267" y="935"/>
                  <a:pt x="2267" y="935"/>
                </a:cubicBezTo>
                <a:cubicBezTo>
                  <a:pt x="2269" y="934"/>
                  <a:pt x="2269" y="934"/>
                  <a:pt x="2269" y="934"/>
                </a:cubicBezTo>
                <a:cubicBezTo>
                  <a:pt x="2268" y="933"/>
                  <a:pt x="2268" y="933"/>
                  <a:pt x="2268" y="933"/>
                </a:cubicBezTo>
                <a:cubicBezTo>
                  <a:pt x="2267" y="933"/>
                  <a:pt x="2267" y="933"/>
                  <a:pt x="2267" y="933"/>
                </a:cubicBezTo>
                <a:cubicBezTo>
                  <a:pt x="2266" y="933"/>
                  <a:pt x="2266" y="933"/>
                  <a:pt x="2266" y="933"/>
                </a:cubicBezTo>
                <a:cubicBezTo>
                  <a:pt x="2266" y="932"/>
                  <a:pt x="2266" y="932"/>
                  <a:pt x="2266" y="932"/>
                </a:cubicBezTo>
                <a:cubicBezTo>
                  <a:pt x="2265" y="932"/>
                  <a:pt x="2265" y="932"/>
                  <a:pt x="2265" y="932"/>
                </a:cubicBezTo>
                <a:cubicBezTo>
                  <a:pt x="2262" y="931"/>
                  <a:pt x="2262" y="931"/>
                  <a:pt x="2262" y="931"/>
                </a:cubicBezTo>
                <a:cubicBezTo>
                  <a:pt x="2261" y="928"/>
                  <a:pt x="2261" y="928"/>
                  <a:pt x="2261" y="928"/>
                </a:cubicBezTo>
                <a:cubicBezTo>
                  <a:pt x="2261" y="927"/>
                  <a:pt x="2261" y="927"/>
                  <a:pt x="2261" y="927"/>
                </a:cubicBezTo>
                <a:cubicBezTo>
                  <a:pt x="2261" y="926"/>
                  <a:pt x="2261" y="926"/>
                  <a:pt x="2261" y="926"/>
                </a:cubicBezTo>
                <a:cubicBezTo>
                  <a:pt x="2260" y="925"/>
                  <a:pt x="2260" y="925"/>
                  <a:pt x="2260" y="925"/>
                </a:cubicBezTo>
                <a:cubicBezTo>
                  <a:pt x="2260" y="923"/>
                  <a:pt x="2260" y="923"/>
                  <a:pt x="2260" y="923"/>
                </a:cubicBezTo>
                <a:cubicBezTo>
                  <a:pt x="2261" y="923"/>
                  <a:pt x="2261" y="923"/>
                  <a:pt x="2261" y="923"/>
                </a:cubicBezTo>
                <a:cubicBezTo>
                  <a:pt x="2261" y="921"/>
                  <a:pt x="2261" y="921"/>
                  <a:pt x="2261" y="921"/>
                </a:cubicBezTo>
                <a:cubicBezTo>
                  <a:pt x="2261" y="917"/>
                  <a:pt x="2261" y="917"/>
                  <a:pt x="2261" y="917"/>
                </a:cubicBezTo>
                <a:cubicBezTo>
                  <a:pt x="2260" y="916"/>
                  <a:pt x="2260" y="916"/>
                  <a:pt x="2260" y="916"/>
                </a:cubicBezTo>
                <a:cubicBezTo>
                  <a:pt x="2261" y="916"/>
                  <a:pt x="2261" y="916"/>
                  <a:pt x="2261" y="916"/>
                </a:cubicBezTo>
                <a:cubicBezTo>
                  <a:pt x="2260" y="915"/>
                  <a:pt x="2260" y="915"/>
                  <a:pt x="2260" y="915"/>
                </a:cubicBezTo>
                <a:cubicBezTo>
                  <a:pt x="2259" y="915"/>
                  <a:pt x="2259" y="915"/>
                  <a:pt x="2259" y="915"/>
                </a:cubicBezTo>
                <a:cubicBezTo>
                  <a:pt x="2258" y="912"/>
                  <a:pt x="2258" y="912"/>
                  <a:pt x="2258" y="912"/>
                </a:cubicBezTo>
                <a:cubicBezTo>
                  <a:pt x="2258" y="909"/>
                  <a:pt x="2258" y="909"/>
                  <a:pt x="2258" y="909"/>
                </a:cubicBezTo>
                <a:cubicBezTo>
                  <a:pt x="2258" y="908"/>
                  <a:pt x="2258" y="908"/>
                  <a:pt x="2258" y="908"/>
                </a:cubicBezTo>
                <a:cubicBezTo>
                  <a:pt x="2258" y="907"/>
                  <a:pt x="2258" y="907"/>
                  <a:pt x="2258" y="907"/>
                </a:cubicBezTo>
                <a:cubicBezTo>
                  <a:pt x="2257" y="904"/>
                  <a:pt x="2257" y="904"/>
                  <a:pt x="2257" y="904"/>
                </a:cubicBezTo>
                <a:cubicBezTo>
                  <a:pt x="2258" y="903"/>
                  <a:pt x="2258" y="903"/>
                  <a:pt x="2258" y="903"/>
                </a:cubicBezTo>
                <a:cubicBezTo>
                  <a:pt x="2257" y="901"/>
                  <a:pt x="2257" y="901"/>
                  <a:pt x="2257" y="901"/>
                </a:cubicBezTo>
                <a:cubicBezTo>
                  <a:pt x="2258" y="901"/>
                  <a:pt x="2258" y="901"/>
                  <a:pt x="2258" y="901"/>
                </a:cubicBezTo>
                <a:cubicBezTo>
                  <a:pt x="2258" y="900"/>
                  <a:pt x="2258" y="900"/>
                  <a:pt x="2258" y="900"/>
                </a:cubicBezTo>
                <a:cubicBezTo>
                  <a:pt x="2256" y="898"/>
                  <a:pt x="2256" y="898"/>
                  <a:pt x="2256" y="898"/>
                </a:cubicBezTo>
                <a:cubicBezTo>
                  <a:pt x="2254" y="897"/>
                  <a:pt x="2254" y="897"/>
                  <a:pt x="2254" y="897"/>
                </a:cubicBezTo>
                <a:cubicBezTo>
                  <a:pt x="2255" y="897"/>
                  <a:pt x="2255" y="897"/>
                  <a:pt x="2255" y="897"/>
                </a:cubicBezTo>
                <a:cubicBezTo>
                  <a:pt x="2253" y="895"/>
                  <a:pt x="2253" y="895"/>
                  <a:pt x="2253" y="895"/>
                </a:cubicBezTo>
                <a:cubicBezTo>
                  <a:pt x="2252" y="896"/>
                  <a:pt x="2252" y="896"/>
                  <a:pt x="2252" y="896"/>
                </a:cubicBezTo>
                <a:cubicBezTo>
                  <a:pt x="2251" y="896"/>
                  <a:pt x="2251" y="896"/>
                  <a:pt x="2251" y="896"/>
                </a:cubicBezTo>
                <a:cubicBezTo>
                  <a:pt x="2251" y="897"/>
                  <a:pt x="2251" y="897"/>
                  <a:pt x="2251" y="897"/>
                </a:cubicBezTo>
                <a:cubicBezTo>
                  <a:pt x="2250" y="897"/>
                  <a:pt x="2250" y="897"/>
                  <a:pt x="2250" y="897"/>
                </a:cubicBezTo>
                <a:cubicBezTo>
                  <a:pt x="2248" y="895"/>
                  <a:pt x="2248" y="895"/>
                  <a:pt x="2248" y="895"/>
                </a:cubicBezTo>
                <a:cubicBezTo>
                  <a:pt x="2248" y="894"/>
                  <a:pt x="2248" y="894"/>
                  <a:pt x="2248" y="894"/>
                </a:cubicBezTo>
                <a:cubicBezTo>
                  <a:pt x="2248" y="892"/>
                  <a:pt x="2248" y="892"/>
                  <a:pt x="2248" y="892"/>
                </a:cubicBezTo>
                <a:cubicBezTo>
                  <a:pt x="2248" y="890"/>
                  <a:pt x="2248" y="890"/>
                  <a:pt x="2248" y="890"/>
                </a:cubicBezTo>
                <a:cubicBezTo>
                  <a:pt x="2248" y="887"/>
                  <a:pt x="2248" y="887"/>
                  <a:pt x="2248" y="887"/>
                </a:cubicBezTo>
                <a:cubicBezTo>
                  <a:pt x="2247" y="887"/>
                  <a:pt x="2247" y="887"/>
                  <a:pt x="2247" y="887"/>
                </a:cubicBezTo>
                <a:cubicBezTo>
                  <a:pt x="2247" y="886"/>
                  <a:pt x="2247" y="886"/>
                  <a:pt x="2247" y="886"/>
                </a:cubicBezTo>
                <a:cubicBezTo>
                  <a:pt x="2247" y="885"/>
                  <a:pt x="2247" y="885"/>
                  <a:pt x="2247" y="885"/>
                </a:cubicBezTo>
                <a:cubicBezTo>
                  <a:pt x="2246" y="884"/>
                  <a:pt x="2246" y="884"/>
                  <a:pt x="2246" y="884"/>
                </a:cubicBezTo>
                <a:cubicBezTo>
                  <a:pt x="2246" y="883"/>
                  <a:pt x="2246" y="883"/>
                  <a:pt x="2246" y="883"/>
                </a:cubicBezTo>
                <a:cubicBezTo>
                  <a:pt x="2246" y="882"/>
                  <a:pt x="2246" y="882"/>
                  <a:pt x="2246" y="882"/>
                </a:cubicBezTo>
                <a:cubicBezTo>
                  <a:pt x="2246" y="881"/>
                  <a:pt x="2246" y="881"/>
                  <a:pt x="2246" y="881"/>
                </a:cubicBezTo>
                <a:cubicBezTo>
                  <a:pt x="2247" y="880"/>
                  <a:pt x="2247" y="880"/>
                  <a:pt x="2247" y="880"/>
                </a:cubicBezTo>
                <a:cubicBezTo>
                  <a:pt x="2246" y="879"/>
                  <a:pt x="2246" y="879"/>
                  <a:pt x="2246" y="879"/>
                </a:cubicBezTo>
                <a:cubicBezTo>
                  <a:pt x="2245" y="880"/>
                  <a:pt x="2245" y="880"/>
                  <a:pt x="2245" y="880"/>
                </a:cubicBezTo>
                <a:cubicBezTo>
                  <a:pt x="2244" y="879"/>
                  <a:pt x="2244" y="879"/>
                  <a:pt x="2244" y="879"/>
                </a:cubicBezTo>
                <a:cubicBezTo>
                  <a:pt x="2244" y="876"/>
                  <a:pt x="2244" y="876"/>
                  <a:pt x="2244" y="876"/>
                </a:cubicBezTo>
                <a:cubicBezTo>
                  <a:pt x="2244" y="875"/>
                  <a:pt x="2244" y="875"/>
                  <a:pt x="2244" y="875"/>
                </a:cubicBezTo>
                <a:cubicBezTo>
                  <a:pt x="2244" y="874"/>
                  <a:pt x="2244" y="874"/>
                  <a:pt x="2244" y="874"/>
                </a:cubicBezTo>
                <a:cubicBezTo>
                  <a:pt x="2242" y="873"/>
                  <a:pt x="2242" y="873"/>
                  <a:pt x="2242" y="873"/>
                </a:cubicBezTo>
                <a:cubicBezTo>
                  <a:pt x="2242" y="872"/>
                  <a:pt x="2242" y="872"/>
                  <a:pt x="2242" y="872"/>
                </a:cubicBezTo>
                <a:cubicBezTo>
                  <a:pt x="2241" y="873"/>
                  <a:pt x="2241" y="873"/>
                  <a:pt x="2241" y="873"/>
                </a:cubicBezTo>
                <a:cubicBezTo>
                  <a:pt x="2240" y="874"/>
                  <a:pt x="2240" y="874"/>
                  <a:pt x="2240" y="874"/>
                </a:cubicBezTo>
                <a:cubicBezTo>
                  <a:pt x="2240" y="876"/>
                  <a:pt x="2240" y="876"/>
                  <a:pt x="2240" y="876"/>
                </a:cubicBezTo>
                <a:cubicBezTo>
                  <a:pt x="2239" y="878"/>
                  <a:pt x="2239" y="878"/>
                  <a:pt x="2239" y="878"/>
                </a:cubicBezTo>
                <a:cubicBezTo>
                  <a:pt x="2239" y="879"/>
                  <a:pt x="2239" y="879"/>
                  <a:pt x="2239" y="879"/>
                </a:cubicBezTo>
                <a:cubicBezTo>
                  <a:pt x="2239" y="880"/>
                  <a:pt x="2239" y="880"/>
                  <a:pt x="2239" y="880"/>
                </a:cubicBezTo>
                <a:cubicBezTo>
                  <a:pt x="2238" y="880"/>
                  <a:pt x="2238" y="880"/>
                  <a:pt x="2238" y="880"/>
                </a:cubicBezTo>
                <a:cubicBezTo>
                  <a:pt x="2238" y="882"/>
                  <a:pt x="2238" y="882"/>
                  <a:pt x="2238" y="882"/>
                </a:cubicBezTo>
                <a:cubicBezTo>
                  <a:pt x="2237" y="883"/>
                  <a:pt x="2237" y="883"/>
                  <a:pt x="2237" y="883"/>
                </a:cubicBezTo>
                <a:cubicBezTo>
                  <a:pt x="2237" y="884"/>
                  <a:pt x="2237" y="884"/>
                  <a:pt x="2237" y="884"/>
                </a:cubicBezTo>
                <a:cubicBezTo>
                  <a:pt x="2239" y="885"/>
                  <a:pt x="2239" y="885"/>
                  <a:pt x="2239" y="885"/>
                </a:cubicBezTo>
                <a:cubicBezTo>
                  <a:pt x="2238" y="886"/>
                  <a:pt x="2238" y="886"/>
                  <a:pt x="2238" y="886"/>
                </a:cubicBezTo>
                <a:cubicBezTo>
                  <a:pt x="2237" y="886"/>
                  <a:pt x="2237" y="886"/>
                  <a:pt x="2237" y="886"/>
                </a:cubicBezTo>
                <a:cubicBezTo>
                  <a:pt x="2237" y="887"/>
                  <a:pt x="2237" y="887"/>
                  <a:pt x="2237" y="887"/>
                </a:cubicBezTo>
                <a:cubicBezTo>
                  <a:pt x="2236" y="888"/>
                  <a:pt x="2236" y="888"/>
                  <a:pt x="2236" y="888"/>
                </a:cubicBezTo>
                <a:cubicBezTo>
                  <a:pt x="2237" y="890"/>
                  <a:pt x="2237" y="890"/>
                  <a:pt x="2237" y="890"/>
                </a:cubicBezTo>
                <a:cubicBezTo>
                  <a:pt x="2237" y="891"/>
                  <a:pt x="2237" y="891"/>
                  <a:pt x="2237" y="891"/>
                </a:cubicBezTo>
                <a:cubicBezTo>
                  <a:pt x="2236" y="890"/>
                  <a:pt x="2236" y="890"/>
                  <a:pt x="2236" y="890"/>
                </a:cubicBezTo>
                <a:cubicBezTo>
                  <a:pt x="2235" y="891"/>
                  <a:pt x="2235" y="891"/>
                  <a:pt x="2235" y="891"/>
                </a:cubicBezTo>
                <a:cubicBezTo>
                  <a:pt x="2235" y="894"/>
                  <a:pt x="2235" y="894"/>
                  <a:pt x="2235" y="894"/>
                </a:cubicBezTo>
                <a:cubicBezTo>
                  <a:pt x="2235" y="896"/>
                  <a:pt x="2235" y="896"/>
                  <a:pt x="2235" y="896"/>
                </a:cubicBezTo>
                <a:cubicBezTo>
                  <a:pt x="2235" y="898"/>
                  <a:pt x="2235" y="898"/>
                  <a:pt x="2235" y="898"/>
                </a:cubicBezTo>
                <a:cubicBezTo>
                  <a:pt x="2235" y="900"/>
                  <a:pt x="2235" y="900"/>
                  <a:pt x="2235" y="900"/>
                </a:cubicBezTo>
                <a:cubicBezTo>
                  <a:pt x="2235" y="902"/>
                  <a:pt x="2235" y="902"/>
                  <a:pt x="2235" y="902"/>
                </a:cubicBezTo>
                <a:cubicBezTo>
                  <a:pt x="2234" y="903"/>
                  <a:pt x="2234" y="903"/>
                  <a:pt x="2234" y="903"/>
                </a:cubicBezTo>
                <a:cubicBezTo>
                  <a:pt x="2234" y="904"/>
                  <a:pt x="2234" y="904"/>
                  <a:pt x="2234" y="904"/>
                </a:cubicBezTo>
                <a:cubicBezTo>
                  <a:pt x="2233" y="906"/>
                  <a:pt x="2233" y="906"/>
                  <a:pt x="2233" y="906"/>
                </a:cubicBezTo>
                <a:cubicBezTo>
                  <a:pt x="2233" y="910"/>
                  <a:pt x="2233" y="910"/>
                  <a:pt x="2233" y="910"/>
                </a:cubicBezTo>
                <a:cubicBezTo>
                  <a:pt x="2232" y="911"/>
                  <a:pt x="2232" y="911"/>
                  <a:pt x="2232" y="911"/>
                </a:cubicBezTo>
                <a:cubicBezTo>
                  <a:pt x="2232" y="912"/>
                  <a:pt x="2232" y="912"/>
                  <a:pt x="2232" y="912"/>
                </a:cubicBezTo>
                <a:cubicBezTo>
                  <a:pt x="2231" y="914"/>
                  <a:pt x="2231" y="914"/>
                  <a:pt x="2231" y="914"/>
                </a:cubicBezTo>
                <a:cubicBezTo>
                  <a:pt x="2230" y="915"/>
                  <a:pt x="2230" y="915"/>
                  <a:pt x="2230" y="915"/>
                </a:cubicBezTo>
                <a:cubicBezTo>
                  <a:pt x="2230" y="918"/>
                  <a:pt x="2230" y="918"/>
                  <a:pt x="2230" y="918"/>
                </a:cubicBezTo>
                <a:cubicBezTo>
                  <a:pt x="2228" y="919"/>
                  <a:pt x="2228" y="919"/>
                  <a:pt x="2228" y="919"/>
                </a:cubicBezTo>
                <a:cubicBezTo>
                  <a:pt x="2224" y="921"/>
                  <a:pt x="2224" y="921"/>
                  <a:pt x="2224" y="921"/>
                </a:cubicBezTo>
                <a:cubicBezTo>
                  <a:pt x="2222" y="920"/>
                  <a:pt x="2222" y="920"/>
                  <a:pt x="2222" y="920"/>
                </a:cubicBezTo>
                <a:cubicBezTo>
                  <a:pt x="2221" y="920"/>
                  <a:pt x="2221" y="920"/>
                  <a:pt x="2221" y="920"/>
                </a:cubicBezTo>
                <a:cubicBezTo>
                  <a:pt x="2220" y="918"/>
                  <a:pt x="2220" y="918"/>
                  <a:pt x="2220" y="918"/>
                </a:cubicBezTo>
                <a:cubicBezTo>
                  <a:pt x="2218" y="917"/>
                  <a:pt x="2218" y="917"/>
                  <a:pt x="2218" y="917"/>
                </a:cubicBezTo>
                <a:cubicBezTo>
                  <a:pt x="2218" y="916"/>
                  <a:pt x="2218" y="916"/>
                  <a:pt x="2218" y="916"/>
                </a:cubicBezTo>
                <a:cubicBezTo>
                  <a:pt x="2217" y="915"/>
                  <a:pt x="2217" y="915"/>
                  <a:pt x="2217" y="915"/>
                </a:cubicBezTo>
                <a:cubicBezTo>
                  <a:pt x="2216" y="914"/>
                  <a:pt x="2216" y="914"/>
                  <a:pt x="2216" y="914"/>
                </a:cubicBezTo>
                <a:cubicBezTo>
                  <a:pt x="2215" y="914"/>
                  <a:pt x="2215" y="914"/>
                  <a:pt x="2215" y="914"/>
                </a:cubicBezTo>
                <a:cubicBezTo>
                  <a:pt x="2213" y="914"/>
                  <a:pt x="2213" y="914"/>
                  <a:pt x="2213" y="914"/>
                </a:cubicBezTo>
                <a:cubicBezTo>
                  <a:pt x="2211" y="913"/>
                  <a:pt x="2211" y="913"/>
                  <a:pt x="2211" y="913"/>
                </a:cubicBezTo>
                <a:cubicBezTo>
                  <a:pt x="2211" y="911"/>
                  <a:pt x="2211" y="911"/>
                  <a:pt x="2211" y="911"/>
                </a:cubicBezTo>
                <a:cubicBezTo>
                  <a:pt x="2209" y="910"/>
                  <a:pt x="2209" y="910"/>
                  <a:pt x="2209" y="910"/>
                </a:cubicBezTo>
                <a:cubicBezTo>
                  <a:pt x="2208" y="910"/>
                  <a:pt x="2208" y="910"/>
                  <a:pt x="2208" y="910"/>
                </a:cubicBezTo>
                <a:cubicBezTo>
                  <a:pt x="2206" y="909"/>
                  <a:pt x="2206" y="909"/>
                  <a:pt x="2206" y="909"/>
                </a:cubicBezTo>
                <a:cubicBezTo>
                  <a:pt x="2206" y="908"/>
                  <a:pt x="2206" y="908"/>
                  <a:pt x="2206" y="908"/>
                </a:cubicBezTo>
                <a:cubicBezTo>
                  <a:pt x="2205" y="908"/>
                  <a:pt x="2205" y="908"/>
                  <a:pt x="2205" y="908"/>
                </a:cubicBezTo>
                <a:cubicBezTo>
                  <a:pt x="2205" y="907"/>
                  <a:pt x="2205" y="907"/>
                  <a:pt x="2205" y="907"/>
                </a:cubicBezTo>
                <a:cubicBezTo>
                  <a:pt x="2203" y="907"/>
                  <a:pt x="2203" y="907"/>
                  <a:pt x="2203" y="907"/>
                </a:cubicBezTo>
                <a:cubicBezTo>
                  <a:pt x="2202" y="907"/>
                  <a:pt x="2202" y="907"/>
                  <a:pt x="2202" y="907"/>
                </a:cubicBezTo>
                <a:cubicBezTo>
                  <a:pt x="2202" y="906"/>
                  <a:pt x="2202" y="906"/>
                  <a:pt x="2202" y="906"/>
                </a:cubicBezTo>
                <a:cubicBezTo>
                  <a:pt x="2201" y="905"/>
                  <a:pt x="2201" y="905"/>
                  <a:pt x="2201" y="905"/>
                </a:cubicBezTo>
                <a:cubicBezTo>
                  <a:pt x="2201" y="904"/>
                  <a:pt x="2201" y="904"/>
                  <a:pt x="2201" y="904"/>
                </a:cubicBezTo>
                <a:cubicBezTo>
                  <a:pt x="2199" y="902"/>
                  <a:pt x="2199" y="902"/>
                  <a:pt x="2199" y="902"/>
                </a:cubicBezTo>
                <a:cubicBezTo>
                  <a:pt x="2198" y="902"/>
                  <a:pt x="2198" y="902"/>
                  <a:pt x="2198" y="902"/>
                </a:cubicBezTo>
                <a:cubicBezTo>
                  <a:pt x="2197" y="900"/>
                  <a:pt x="2197" y="900"/>
                  <a:pt x="2197" y="900"/>
                </a:cubicBezTo>
                <a:cubicBezTo>
                  <a:pt x="2196" y="899"/>
                  <a:pt x="2196" y="899"/>
                  <a:pt x="2196" y="899"/>
                </a:cubicBezTo>
                <a:cubicBezTo>
                  <a:pt x="2198" y="897"/>
                  <a:pt x="2198" y="897"/>
                  <a:pt x="2198" y="897"/>
                </a:cubicBezTo>
                <a:cubicBezTo>
                  <a:pt x="2198" y="895"/>
                  <a:pt x="2198" y="895"/>
                  <a:pt x="2198" y="895"/>
                </a:cubicBezTo>
                <a:cubicBezTo>
                  <a:pt x="2199" y="895"/>
                  <a:pt x="2199" y="895"/>
                  <a:pt x="2199" y="895"/>
                </a:cubicBezTo>
                <a:cubicBezTo>
                  <a:pt x="2200" y="893"/>
                  <a:pt x="2200" y="893"/>
                  <a:pt x="2200" y="893"/>
                </a:cubicBezTo>
                <a:cubicBezTo>
                  <a:pt x="2200" y="892"/>
                  <a:pt x="2200" y="892"/>
                  <a:pt x="2200" y="892"/>
                </a:cubicBezTo>
                <a:cubicBezTo>
                  <a:pt x="2199" y="893"/>
                  <a:pt x="2199" y="893"/>
                  <a:pt x="2199" y="893"/>
                </a:cubicBezTo>
                <a:cubicBezTo>
                  <a:pt x="2198" y="891"/>
                  <a:pt x="2198" y="891"/>
                  <a:pt x="2198" y="891"/>
                </a:cubicBezTo>
                <a:cubicBezTo>
                  <a:pt x="2199" y="890"/>
                  <a:pt x="2199" y="890"/>
                  <a:pt x="2199" y="890"/>
                </a:cubicBezTo>
                <a:cubicBezTo>
                  <a:pt x="2199" y="889"/>
                  <a:pt x="2199" y="889"/>
                  <a:pt x="2199" y="889"/>
                </a:cubicBezTo>
                <a:cubicBezTo>
                  <a:pt x="2200" y="889"/>
                  <a:pt x="2200" y="889"/>
                  <a:pt x="2200" y="889"/>
                </a:cubicBezTo>
                <a:cubicBezTo>
                  <a:pt x="2201" y="888"/>
                  <a:pt x="2201" y="888"/>
                  <a:pt x="2201" y="888"/>
                </a:cubicBezTo>
                <a:cubicBezTo>
                  <a:pt x="2201" y="889"/>
                  <a:pt x="2201" y="889"/>
                  <a:pt x="2201" y="889"/>
                </a:cubicBezTo>
                <a:cubicBezTo>
                  <a:pt x="2202" y="889"/>
                  <a:pt x="2202" y="889"/>
                  <a:pt x="2202" y="889"/>
                </a:cubicBezTo>
                <a:cubicBezTo>
                  <a:pt x="2204" y="888"/>
                  <a:pt x="2204" y="888"/>
                  <a:pt x="2204" y="888"/>
                </a:cubicBezTo>
                <a:cubicBezTo>
                  <a:pt x="2204" y="887"/>
                  <a:pt x="2204" y="887"/>
                  <a:pt x="2204" y="887"/>
                </a:cubicBezTo>
                <a:cubicBezTo>
                  <a:pt x="2203" y="886"/>
                  <a:pt x="2203" y="886"/>
                  <a:pt x="2203" y="886"/>
                </a:cubicBezTo>
                <a:cubicBezTo>
                  <a:pt x="2204" y="885"/>
                  <a:pt x="2204" y="885"/>
                  <a:pt x="2204" y="885"/>
                </a:cubicBezTo>
                <a:cubicBezTo>
                  <a:pt x="2205" y="886"/>
                  <a:pt x="2205" y="886"/>
                  <a:pt x="2205" y="886"/>
                </a:cubicBezTo>
                <a:cubicBezTo>
                  <a:pt x="2205" y="883"/>
                  <a:pt x="2205" y="883"/>
                  <a:pt x="2205" y="883"/>
                </a:cubicBezTo>
                <a:cubicBezTo>
                  <a:pt x="2206" y="883"/>
                  <a:pt x="2206" y="883"/>
                  <a:pt x="2206" y="883"/>
                </a:cubicBezTo>
                <a:cubicBezTo>
                  <a:pt x="2207" y="882"/>
                  <a:pt x="2207" y="882"/>
                  <a:pt x="2207" y="882"/>
                </a:cubicBezTo>
                <a:cubicBezTo>
                  <a:pt x="2207" y="881"/>
                  <a:pt x="2207" y="881"/>
                  <a:pt x="2207" y="881"/>
                </a:cubicBezTo>
                <a:cubicBezTo>
                  <a:pt x="2206" y="881"/>
                  <a:pt x="2206" y="881"/>
                  <a:pt x="2206" y="881"/>
                </a:cubicBezTo>
                <a:cubicBezTo>
                  <a:pt x="2205" y="882"/>
                  <a:pt x="2205" y="882"/>
                  <a:pt x="2205" y="882"/>
                </a:cubicBezTo>
                <a:cubicBezTo>
                  <a:pt x="2204" y="881"/>
                  <a:pt x="2204" y="881"/>
                  <a:pt x="2204" y="881"/>
                </a:cubicBezTo>
                <a:cubicBezTo>
                  <a:pt x="2204" y="879"/>
                  <a:pt x="2204" y="879"/>
                  <a:pt x="2204" y="879"/>
                </a:cubicBezTo>
                <a:cubicBezTo>
                  <a:pt x="2203" y="880"/>
                  <a:pt x="2203" y="880"/>
                  <a:pt x="2203" y="880"/>
                </a:cubicBezTo>
                <a:cubicBezTo>
                  <a:pt x="2201" y="881"/>
                  <a:pt x="2201" y="881"/>
                  <a:pt x="2201" y="881"/>
                </a:cubicBezTo>
                <a:cubicBezTo>
                  <a:pt x="2202" y="882"/>
                  <a:pt x="2202" y="882"/>
                  <a:pt x="2202" y="882"/>
                </a:cubicBezTo>
                <a:cubicBezTo>
                  <a:pt x="2202" y="883"/>
                  <a:pt x="2202" y="883"/>
                  <a:pt x="2202" y="883"/>
                </a:cubicBezTo>
                <a:cubicBezTo>
                  <a:pt x="2201" y="883"/>
                  <a:pt x="2201" y="883"/>
                  <a:pt x="2201" y="883"/>
                </a:cubicBezTo>
                <a:cubicBezTo>
                  <a:pt x="2200" y="882"/>
                  <a:pt x="2200" y="882"/>
                  <a:pt x="2200" y="882"/>
                </a:cubicBezTo>
                <a:cubicBezTo>
                  <a:pt x="2199" y="881"/>
                  <a:pt x="2199" y="881"/>
                  <a:pt x="2199" y="881"/>
                </a:cubicBezTo>
                <a:cubicBezTo>
                  <a:pt x="2199" y="882"/>
                  <a:pt x="2199" y="882"/>
                  <a:pt x="2199" y="882"/>
                </a:cubicBezTo>
                <a:cubicBezTo>
                  <a:pt x="2198" y="882"/>
                  <a:pt x="2198" y="882"/>
                  <a:pt x="2198" y="882"/>
                </a:cubicBezTo>
                <a:cubicBezTo>
                  <a:pt x="2198" y="881"/>
                  <a:pt x="2198" y="881"/>
                  <a:pt x="2198" y="881"/>
                </a:cubicBezTo>
                <a:cubicBezTo>
                  <a:pt x="2197" y="881"/>
                  <a:pt x="2197" y="881"/>
                  <a:pt x="2197" y="881"/>
                </a:cubicBezTo>
                <a:cubicBezTo>
                  <a:pt x="2197" y="880"/>
                  <a:pt x="2197" y="880"/>
                  <a:pt x="2197" y="880"/>
                </a:cubicBezTo>
                <a:cubicBezTo>
                  <a:pt x="2196" y="881"/>
                  <a:pt x="2196" y="881"/>
                  <a:pt x="2196" y="881"/>
                </a:cubicBezTo>
                <a:cubicBezTo>
                  <a:pt x="2196" y="882"/>
                  <a:pt x="2196" y="882"/>
                  <a:pt x="2196" y="882"/>
                </a:cubicBezTo>
                <a:cubicBezTo>
                  <a:pt x="2195" y="882"/>
                  <a:pt x="2195" y="882"/>
                  <a:pt x="2195" y="882"/>
                </a:cubicBezTo>
                <a:cubicBezTo>
                  <a:pt x="2194" y="881"/>
                  <a:pt x="2194" y="881"/>
                  <a:pt x="2194" y="881"/>
                </a:cubicBezTo>
                <a:cubicBezTo>
                  <a:pt x="2193" y="880"/>
                  <a:pt x="2193" y="880"/>
                  <a:pt x="2193" y="880"/>
                </a:cubicBezTo>
                <a:cubicBezTo>
                  <a:pt x="2192" y="879"/>
                  <a:pt x="2192" y="879"/>
                  <a:pt x="2192" y="879"/>
                </a:cubicBezTo>
                <a:cubicBezTo>
                  <a:pt x="2191" y="880"/>
                  <a:pt x="2191" y="880"/>
                  <a:pt x="2191" y="880"/>
                </a:cubicBezTo>
                <a:cubicBezTo>
                  <a:pt x="2190" y="880"/>
                  <a:pt x="2190" y="880"/>
                  <a:pt x="2190" y="880"/>
                </a:cubicBezTo>
                <a:cubicBezTo>
                  <a:pt x="2189" y="880"/>
                  <a:pt x="2189" y="880"/>
                  <a:pt x="2189" y="880"/>
                </a:cubicBezTo>
                <a:cubicBezTo>
                  <a:pt x="2189" y="879"/>
                  <a:pt x="2189" y="879"/>
                  <a:pt x="2189" y="879"/>
                </a:cubicBezTo>
                <a:cubicBezTo>
                  <a:pt x="2188" y="879"/>
                  <a:pt x="2188" y="879"/>
                  <a:pt x="2188" y="879"/>
                </a:cubicBezTo>
                <a:cubicBezTo>
                  <a:pt x="2187" y="878"/>
                  <a:pt x="2187" y="878"/>
                  <a:pt x="2187" y="878"/>
                </a:cubicBezTo>
                <a:cubicBezTo>
                  <a:pt x="2186" y="879"/>
                  <a:pt x="2186" y="879"/>
                  <a:pt x="2186" y="879"/>
                </a:cubicBezTo>
                <a:cubicBezTo>
                  <a:pt x="2184" y="878"/>
                  <a:pt x="2184" y="878"/>
                  <a:pt x="2184" y="878"/>
                </a:cubicBezTo>
                <a:cubicBezTo>
                  <a:pt x="2183" y="878"/>
                  <a:pt x="2183" y="878"/>
                  <a:pt x="2183" y="878"/>
                </a:cubicBezTo>
                <a:cubicBezTo>
                  <a:pt x="2183" y="877"/>
                  <a:pt x="2183" y="877"/>
                  <a:pt x="2183" y="877"/>
                </a:cubicBezTo>
                <a:cubicBezTo>
                  <a:pt x="2182" y="876"/>
                  <a:pt x="2182" y="876"/>
                  <a:pt x="2182" y="876"/>
                </a:cubicBezTo>
                <a:cubicBezTo>
                  <a:pt x="2180" y="877"/>
                  <a:pt x="2180" y="877"/>
                  <a:pt x="2180" y="877"/>
                </a:cubicBezTo>
                <a:cubicBezTo>
                  <a:pt x="2179" y="876"/>
                  <a:pt x="2179" y="876"/>
                  <a:pt x="2179" y="876"/>
                </a:cubicBezTo>
                <a:cubicBezTo>
                  <a:pt x="2178" y="875"/>
                  <a:pt x="2178" y="875"/>
                  <a:pt x="2178" y="875"/>
                </a:cubicBezTo>
                <a:cubicBezTo>
                  <a:pt x="2177" y="874"/>
                  <a:pt x="2177" y="874"/>
                  <a:pt x="2177" y="874"/>
                </a:cubicBezTo>
                <a:cubicBezTo>
                  <a:pt x="2176" y="875"/>
                  <a:pt x="2176" y="875"/>
                  <a:pt x="2176" y="875"/>
                </a:cubicBezTo>
                <a:cubicBezTo>
                  <a:pt x="2176" y="874"/>
                  <a:pt x="2176" y="874"/>
                  <a:pt x="2176" y="874"/>
                </a:cubicBezTo>
                <a:cubicBezTo>
                  <a:pt x="2174" y="875"/>
                  <a:pt x="2174" y="875"/>
                  <a:pt x="2174" y="875"/>
                </a:cubicBezTo>
                <a:cubicBezTo>
                  <a:pt x="2176" y="876"/>
                  <a:pt x="2176" y="876"/>
                  <a:pt x="2176" y="876"/>
                </a:cubicBezTo>
                <a:cubicBezTo>
                  <a:pt x="2175" y="876"/>
                  <a:pt x="2175" y="876"/>
                  <a:pt x="2175" y="876"/>
                </a:cubicBezTo>
                <a:cubicBezTo>
                  <a:pt x="2177" y="877"/>
                  <a:pt x="2177" y="877"/>
                  <a:pt x="2177" y="877"/>
                </a:cubicBezTo>
                <a:cubicBezTo>
                  <a:pt x="2178" y="876"/>
                  <a:pt x="2178" y="876"/>
                  <a:pt x="2178" y="876"/>
                </a:cubicBezTo>
                <a:cubicBezTo>
                  <a:pt x="2179" y="878"/>
                  <a:pt x="2179" y="878"/>
                  <a:pt x="2179" y="878"/>
                </a:cubicBezTo>
                <a:cubicBezTo>
                  <a:pt x="2180" y="880"/>
                  <a:pt x="2180" y="880"/>
                  <a:pt x="2180" y="880"/>
                </a:cubicBezTo>
                <a:cubicBezTo>
                  <a:pt x="2178" y="881"/>
                  <a:pt x="2178" y="881"/>
                  <a:pt x="2178" y="881"/>
                </a:cubicBezTo>
                <a:cubicBezTo>
                  <a:pt x="2178" y="882"/>
                  <a:pt x="2178" y="882"/>
                  <a:pt x="2178" y="882"/>
                </a:cubicBezTo>
                <a:cubicBezTo>
                  <a:pt x="2177" y="881"/>
                  <a:pt x="2177" y="881"/>
                  <a:pt x="2177" y="881"/>
                </a:cubicBezTo>
                <a:cubicBezTo>
                  <a:pt x="2176" y="881"/>
                  <a:pt x="2176" y="881"/>
                  <a:pt x="2176" y="881"/>
                </a:cubicBezTo>
                <a:cubicBezTo>
                  <a:pt x="2175" y="881"/>
                  <a:pt x="2175" y="881"/>
                  <a:pt x="2175" y="881"/>
                </a:cubicBezTo>
                <a:cubicBezTo>
                  <a:pt x="2172" y="882"/>
                  <a:pt x="2172" y="882"/>
                  <a:pt x="2172" y="882"/>
                </a:cubicBezTo>
                <a:cubicBezTo>
                  <a:pt x="2170" y="880"/>
                  <a:pt x="2170" y="880"/>
                  <a:pt x="2170" y="880"/>
                </a:cubicBezTo>
                <a:cubicBezTo>
                  <a:pt x="2170" y="881"/>
                  <a:pt x="2170" y="881"/>
                  <a:pt x="2170" y="881"/>
                </a:cubicBezTo>
                <a:cubicBezTo>
                  <a:pt x="2169" y="882"/>
                  <a:pt x="2169" y="882"/>
                  <a:pt x="2169" y="882"/>
                </a:cubicBezTo>
                <a:cubicBezTo>
                  <a:pt x="2169" y="883"/>
                  <a:pt x="2169" y="883"/>
                  <a:pt x="2169" y="883"/>
                </a:cubicBezTo>
                <a:cubicBezTo>
                  <a:pt x="2168" y="882"/>
                  <a:pt x="2168" y="882"/>
                  <a:pt x="2168" y="882"/>
                </a:cubicBezTo>
                <a:cubicBezTo>
                  <a:pt x="2168" y="884"/>
                  <a:pt x="2168" y="884"/>
                  <a:pt x="2168" y="884"/>
                </a:cubicBezTo>
                <a:cubicBezTo>
                  <a:pt x="2166" y="883"/>
                  <a:pt x="2166" y="883"/>
                  <a:pt x="2166" y="883"/>
                </a:cubicBezTo>
                <a:cubicBezTo>
                  <a:pt x="2166" y="884"/>
                  <a:pt x="2166" y="884"/>
                  <a:pt x="2166" y="884"/>
                </a:cubicBezTo>
                <a:cubicBezTo>
                  <a:pt x="2166" y="885"/>
                  <a:pt x="2166" y="885"/>
                  <a:pt x="2166" y="885"/>
                </a:cubicBezTo>
                <a:cubicBezTo>
                  <a:pt x="2165" y="885"/>
                  <a:pt x="2165" y="885"/>
                  <a:pt x="2165" y="885"/>
                </a:cubicBezTo>
                <a:cubicBezTo>
                  <a:pt x="2164" y="886"/>
                  <a:pt x="2164" y="886"/>
                  <a:pt x="2164" y="886"/>
                </a:cubicBezTo>
                <a:cubicBezTo>
                  <a:pt x="2164" y="887"/>
                  <a:pt x="2164" y="887"/>
                  <a:pt x="2164" y="887"/>
                </a:cubicBezTo>
                <a:cubicBezTo>
                  <a:pt x="2163" y="887"/>
                  <a:pt x="2163" y="887"/>
                  <a:pt x="2163" y="887"/>
                </a:cubicBezTo>
                <a:cubicBezTo>
                  <a:pt x="2163" y="888"/>
                  <a:pt x="2163" y="888"/>
                  <a:pt x="2163" y="888"/>
                </a:cubicBezTo>
                <a:cubicBezTo>
                  <a:pt x="2164" y="889"/>
                  <a:pt x="2164" y="889"/>
                  <a:pt x="2164" y="889"/>
                </a:cubicBezTo>
                <a:cubicBezTo>
                  <a:pt x="2164" y="890"/>
                  <a:pt x="2164" y="890"/>
                  <a:pt x="2164" y="890"/>
                </a:cubicBezTo>
                <a:cubicBezTo>
                  <a:pt x="2163" y="889"/>
                  <a:pt x="2163" y="889"/>
                  <a:pt x="2163" y="889"/>
                </a:cubicBezTo>
                <a:cubicBezTo>
                  <a:pt x="2162" y="890"/>
                  <a:pt x="2162" y="890"/>
                  <a:pt x="2162" y="890"/>
                </a:cubicBezTo>
                <a:cubicBezTo>
                  <a:pt x="2161" y="890"/>
                  <a:pt x="2161" y="890"/>
                  <a:pt x="2161" y="890"/>
                </a:cubicBezTo>
                <a:cubicBezTo>
                  <a:pt x="2160" y="892"/>
                  <a:pt x="2160" y="892"/>
                  <a:pt x="2160" y="892"/>
                </a:cubicBezTo>
                <a:cubicBezTo>
                  <a:pt x="2159" y="894"/>
                  <a:pt x="2159" y="894"/>
                  <a:pt x="2159" y="894"/>
                </a:cubicBezTo>
                <a:cubicBezTo>
                  <a:pt x="2158" y="894"/>
                  <a:pt x="2158" y="894"/>
                  <a:pt x="2158" y="894"/>
                </a:cubicBezTo>
                <a:cubicBezTo>
                  <a:pt x="2158" y="895"/>
                  <a:pt x="2158" y="895"/>
                  <a:pt x="2158" y="895"/>
                </a:cubicBezTo>
                <a:cubicBezTo>
                  <a:pt x="2157" y="896"/>
                  <a:pt x="2157" y="896"/>
                  <a:pt x="2157" y="896"/>
                </a:cubicBezTo>
                <a:cubicBezTo>
                  <a:pt x="2158" y="897"/>
                  <a:pt x="2158" y="897"/>
                  <a:pt x="2158" y="897"/>
                </a:cubicBezTo>
                <a:cubicBezTo>
                  <a:pt x="2160" y="897"/>
                  <a:pt x="2160" y="897"/>
                  <a:pt x="2160" y="897"/>
                </a:cubicBezTo>
                <a:cubicBezTo>
                  <a:pt x="2159" y="898"/>
                  <a:pt x="2159" y="898"/>
                  <a:pt x="2159" y="898"/>
                </a:cubicBezTo>
                <a:cubicBezTo>
                  <a:pt x="2158" y="898"/>
                  <a:pt x="2158" y="898"/>
                  <a:pt x="2158" y="898"/>
                </a:cubicBezTo>
                <a:cubicBezTo>
                  <a:pt x="2161" y="899"/>
                  <a:pt x="2161" y="899"/>
                  <a:pt x="2161" y="899"/>
                </a:cubicBezTo>
                <a:cubicBezTo>
                  <a:pt x="2160" y="900"/>
                  <a:pt x="2160" y="900"/>
                  <a:pt x="2160" y="900"/>
                </a:cubicBezTo>
                <a:cubicBezTo>
                  <a:pt x="2159" y="900"/>
                  <a:pt x="2159" y="900"/>
                  <a:pt x="2159" y="900"/>
                </a:cubicBezTo>
                <a:cubicBezTo>
                  <a:pt x="2159" y="902"/>
                  <a:pt x="2159" y="902"/>
                  <a:pt x="2159" y="902"/>
                </a:cubicBezTo>
                <a:cubicBezTo>
                  <a:pt x="2160" y="903"/>
                  <a:pt x="2160" y="903"/>
                  <a:pt x="2160" y="903"/>
                </a:cubicBezTo>
                <a:cubicBezTo>
                  <a:pt x="2158" y="902"/>
                  <a:pt x="2158" y="902"/>
                  <a:pt x="2158" y="902"/>
                </a:cubicBezTo>
                <a:cubicBezTo>
                  <a:pt x="2157" y="900"/>
                  <a:pt x="2157" y="900"/>
                  <a:pt x="2157" y="900"/>
                </a:cubicBezTo>
                <a:cubicBezTo>
                  <a:pt x="2156" y="900"/>
                  <a:pt x="2156" y="900"/>
                  <a:pt x="2156" y="900"/>
                </a:cubicBezTo>
                <a:cubicBezTo>
                  <a:pt x="2156" y="901"/>
                  <a:pt x="2156" y="901"/>
                  <a:pt x="2156" y="901"/>
                </a:cubicBezTo>
                <a:cubicBezTo>
                  <a:pt x="2156" y="902"/>
                  <a:pt x="2156" y="902"/>
                  <a:pt x="2156" y="902"/>
                </a:cubicBezTo>
                <a:cubicBezTo>
                  <a:pt x="2155" y="901"/>
                  <a:pt x="2155" y="901"/>
                  <a:pt x="2155" y="901"/>
                </a:cubicBezTo>
                <a:cubicBezTo>
                  <a:pt x="2153" y="899"/>
                  <a:pt x="2153" y="899"/>
                  <a:pt x="2153" y="899"/>
                </a:cubicBezTo>
                <a:cubicBezTo>
                  <a:pt x="2151" y="899"/>
                  <a:pt x="2151" y="899"/>
                  <a:pt x="2151" y="899"/>
                </a:cubicBezTo>
                <a:cubicBezTo>
                  <a:pt x="2151" y="900"/>
                  <a:pt x="2151" y="900"/>
                  <a:pt x="2151" y="900"/>
                </a:cubicBezTo>
                <a:cubicBezTo>
                  <a:pt x="2151" y="901"/>
                  <a:pt x="2151" y="901"/>
                  <a:pt x="2151" y="901"/>
                </a:cubicBezTo>
                <a:cubicBezTo>
                  <a:pt x="2150" y="900"/>
                  <a:pt x="2150" y="900"/>
                  <a:pt x="2150" y="900"/>
                </a:cubicBezTo>
                <a:cubicBezTo>
                  <a:pt x="2149" y="901"/>
                  <a:pt x="2149" y="901"/>
                  <a:pt x="2149" y="901"/>
                </a:cubicBezTo>
                <a:cubicBezTo>
                  <a:pt x="2150" y="902"/>
                  <a:pt x="2150" y="902"/>
                  <a:pt x="2150" y="902"/>
                </a:cubicBezTo>
                <a:cubicBezTo>
                  <a:pt x="2149" y="902"/>
                  <a:pt x="2149" y="902"/>
                  <a:pt x="2149" y="902"/>
                </a:cubicBezTo>
                <a:cubicBezTo>
                  <a:pt x="2149" y="903"/>
                  <a:pt x="2149" y="903"/>
                  <a:pt x="2149" y="903"/>
                </a:cubicBezTo>
                <a:cubicBezTo>
                  <a:pt x="2148" y="904"/>
                  <a:pt x="2148" y="904"/>
                  <a:pt x="2148" y="904"/>
                </a:cubicBezTo>
                <a:cubicBezTo>
                  <a:pt x="2146" y="904"/>
                  <a:pt x="2146" y="904"/>
                  <a:pt x="2146" y="904"/>
                </a:cubicBezTo>
                <a:cubicBezTo>
                  <a:pt x="2147" y="903"/>
                  <a:pt x="2147" y="903"/>
                  <a:pt x="2147" y="903"/>
                </a:cubicBezTo>
                <a:cubicBezTo>
                  <a:pt x="2148" y="902"/>
                  <a:pt x="2148" y="902"/>
                  <a:pt x="2148" y="902"/>
                </a:cubicBezTo>
                <a:cubicBezTo>
                  <a:pt x="2148" y="900"/>
                  <a:pt x="2148" y="900"/>
                  <a:pt x="2148" y="900"/>
                </a:cubicBezTo>
                <a:cubicBezTo>
                  <a:pt x="2149" y="899"/>
                  <a:pt x="2149" y="899"/>
                  <a:pt x="2149" y="899"/>
                </a:cubicBezTo>
                <a:cubicBezTo>
                  <a:pt x="2149" y="898"/>
                  <a:pt x="2149" y="898"/>
                  <a:pt x="2149" y="898"/>
                </a:cubicBezTo>
                <a:cubicBezTo>
                  <a:pt x="2147" y="898"/>
                  <a:pt x="2147" y="898"/>
                  <a:pt x="2147" y="898"/>
                </a:cubicBezTo>
                <a:cubicBezTo>
                  <a:pt x="2146" y="895"/>
                  <a:pt x="2146" y="895"/>
                  <a:pt x="2146" y="895"/>
                </a:cubicBezTo>
                <a:cubicBezTo>
                  <a:pt x="2145" y="893"/>
                  <a:pt x="2145" y="893"/>
                  <a:pt x="2145" y="893"/>
                </a:cubicBezTo>
                <a:cubicBezTo>
                  <a:pt x="2143" y="893"/>
                  <a:pt x="2143" y="893"/>
                  <a:pt x="2143" y="893"/>
                </a:cubicBezTo>
                <a:cubicBezTo>
                  <a:pt x="2142" y="892"/>
                  <a:pt x="2142" y="892"/>
                  <a:pt x="2142" y="892"/>
                </a:cubicBezTo>
                <a:cubicBezTo>
                  <a:pt x="2141" y="892"/>
                  <a:pt x="2141" y="892"/>
                  <a:pt x="2141" y="892"/>
                </a:cubicBezTo>
                <a:cubicBezTo>
                  <a:pt x="2142" y="893"/>
                  <a:pt x="2142" y="893"/>
                  <a:pt x="2142" y="893"/>
                </a:cubicBezTo>
                <a:cubicBezTo>
                  <a:pt x="2141" y="893"/>
                  <a:pt x="2141" y="893"/>
                  <a:pt x="2141" y="893"/>
                </a:cubicBezTo>
                <a:cubicBezTo>
                  <a:pt x="2140" y="895"/>
                  <a:pt x="2140" y="895"/>
                  <a:pt x="2140" y="895"/>
                </a:cubicBezTo>
                <a:cubicBezTo>
                  <a:pt x="2139" y="894"/>
                  <a:pt x="2139" y="894"/>
                  <a:pt x="2139" y="894"/>
                </a:cubicBezTo>
                <a:cubicBezTo>
                  <a:pt x="2138" y="894"/>
                  <a:pt x="2138" y="894"/>
                  <a:pt x="2138" y="894"/>
                </a:cubicBezTo>
                <a:cubicBezTo>
                  <a:pt x="2138" y="895"/>
                  <a:pt x="2138" y="895"/>
                  <a:pt x="2138" y="895"/>
                </a:cubicBezTo>
                <a:cubicBezTo>
                  <a:pt x="2137" y="893"/>
                  <a:pt x="2137" y="893"/>
                  <a:pt x="2137" y="893"/>
                </a:cubicBezTo>
                <a:cubicBezTo>
                  <a:pt x="2136" y="894"/>
                  <a:pt x="2136" y="894"/>
                  <a:pt x="2136" y="894"/>
                </a:cubicBezTo>
                <a:cubicBezTo>
                  <a:pt x="2137" y="894"/>
                  <a:pt x="2137" y="894"/>
                  <a:pt x="2137" y="894"/>
                </a:cubicBezTo>
                <a:cubicBezTo>
                  <a:pt x="2136" y="895"/>
                  <a:pt x="2136" y="895"/>
                  <a:pt x="2136" y="895"/>
                </a:cubicBezTo>
                <a:cubicBezTo>
                  <a:pt x="2136" y="897"/>
                  <a:pt x="2136" y="897"/>
                  <a:pt x="2136" y="897"/>
                </a:cubicBezTo>
                <a:cubicBezTo>
                  <a:pt x="2135" y="898"/>
                  <a:pt x="2135" y="898"/>
                  <a:pt x="2135" y="898"/>
                </a:cubicBezTo>
                <a:cubicBezTo>
                  <a:pt x="2134" y="897"/>
                  <a:pt x="2134" y="897"/>
                  <a:pt x="2134" y="897"/>
                </a:cubicBezTo>
                <a:cubicBezTo>
                  <a:pt x="2133" y="897"/>
                  <a:pt x="2133" y="897"/>
                  <a:pt x="2133" y="897"/>
                </a:cubicBezTo>
                <a:cubicBezTo>
                  <a:pt x="2131" y="897"/>
                  <a:pt x="2131" y="897"/>
                  <a:pt x="2131" y="897"/>
                </a:cubicBezTo>
                <a:cubicBezTo>
                  <a:pt x="2131" y="898"/>
                  <a:pt x="2131" y="898"/>
                  <a:pt x="2131" y="898"/>
                </a:cubicBezTo>
                <a:cubicBezTo>
                  <a:pt x="2131" y="899"/>
                  <a:pt x="2131" y="899"/>
                  <a:pt x="2131" y="899"/>
                </a:cubicBezTo>
                <a:cubicBezTo>
                  <a:pt x="2132" y="900"/>
                  <a:pt x="2132" y="900"/>
                  <a:pt x="2132" y="900"/>
                </a:cubicBezTo>
                <a:cubicBezTo>
                  <a:pt x="2131" y="901"/>
                  <a:pt x="2131" y="901"/>
                  <a:pt x="2131" y="901"/>
                </a:cubicBezTo>
                <a:cubicBezTo>
                  <a:pt x="2130" y="901"/>
                  <a:pt x="2130" y="901"/>
                  <a:pt x="2130" y="901"/>
                </a:cubicBezTo>
                <a:cubicBezTo>
                  <a:pt x="2128" y="902"/>
                  <a:pt x="2128" y="902"/>
                  <a:pt x="2128" y="902"/>
                </a:cubicBezTo>
                <a:cubicBezTo>
                  <a:pt x="2130" y="903"/>
                  <a:pt x="2130" y="903"/>
                  <a:pt x="2130" y="903"/>
                </a:cubicBezTo>
                <a:cubicBezTo>
                  <a:pt x="2130" y="904"/>
                  <a:pt x="2130" y="904"/>
                  <a:pt x="2130" y="904"/>
                </a:cubicBezTo>
                <a:cubicBezTo>
                  <a:pt x="2129" y="904"/>
                  <a:pt x="2129" y="904"/>
                  <a:pt x="2129" y="904"/>
                </a:cubicBezTo>
                <a:cubicBezTo>
                  <a:pt x="2128" y="902"/>
                  <a:pt x="2128" y="902"/>
                  <a:pt x="2128" y="902"/>
                </a:cubicBezTo>
                <a:cubicBezTo>
                  <a:pt x="2127" y="903"/>
                  <a:pt x="2127" y="903"/>
                  <a:pt x="2127" y="903"/>
                </a:cubicBezTo>
                <a:cubicBezTo>
                  <a:pt x="2126" y="904"/>
                  <a:pt x="2126" y="904"/>
                  <a:pt x="2126" y="904"/>
                </a:cubicBezTo>
                <a:cubicBezTo>
                  <a:pt x="2125" y="904"/>
                  <a:pt x="2125" y="904"/>
                  <a:pt x="2125" y="904"/>
                </a:cubicBezTo>
                <a:cubicBezTo>
                  <a:pt x="2125" y="905"/>
                  <a:pt x="2125" y="905"/>
                  <a:pt x="2125" y="905"/>
                </a:cubicBezTo>
                <a:cubicBezTo>
                  <a:pt x="2126" y="906"/>
                  <a:pt x="2126" y="906"/>
                  <a:pt x="2126" y="906"/>
                </a:cubicBezTo>
                <a:cubicBezTo>
                  <a:pt x="2127" y="906"/>
                  <a:pt x="2127" y="906"/>
                  <a:pt x="2127" y="906"/>
                </a:cubicBezTo>
                <a:cubicBezTo>
                  <a:pt x="2126" y="907"/>
                  <a:pt x="2126" y="907"/>
                  <a:pt x="2126" y="907"/>
                </a:cubicBezTo>
                <a:cubicBezTo>
                  <a:pt x="2126" y="908"/>
                  <a:pt x="2126" y="908"/>
                  <a:pt x="2126" y="908"/>
                </a:cubicBezTo>
                <a:cubicBezTo>
                  <a:pt x="2125" y="909"/>
                  <a:pt x="2125" y="909"/>
                  <a:pt x="2125" y="909"/>
                </a:cubicBezTo>
                <a:cubicBezTo>
                  <a:pt x="2125" y="910"/>
                  <a:pt x="2125" y="910"/>
                  <a:pt x="2125" y="910"/>
                </a:cubicBezTo>
                <a:cubicBezTo>
                  <a:pt x="2127" y="910"/>
                  <a:pt x="2127" y="910"/>
                  <a:pt x="2127" y="910"/>
                </a:cubicBezTo>
                <a:cubicBezTo>
                  <a:pt x="2125" y="911"/>
                  <a:pt x="2125" y="911"/>
                  <a:pt x="2125" y="911"/>
                </a:cubicBezTo>
                <a:cubicBezTo>
                  <a:pt x="2124" y="911"/>
                  <a:pt x="2124" y="911"/>
                  <a:pt x="2124" y="911"/>
                </a:cubicBezTo>
                <a:cubicBezTo>
                  <a:pt x="2123" y="910"/>
                  <a:pt x="2123" y="910"/>
                  <a:pt x="2123" y="910"/>
                </a:cubicBezTo>
                <a:cubicBezTo>
                  <a:pt x="2122" y="909"/>
                  <a:pt x="2122" y="909"/>
                  <a:pt x="2122" y="909"/>
                </a:cubicBezTo>
                <a:cubicBezTo>
                  <a:pt x="2121" y="910"/>
                  <a:pt x="2121" y="910"/>
                  <a:pt x="2121" y="910"/>
                </a:cubicBezTo>
                <a:cubicBezTo>
                  <a:pt x="2121" y="909"/>
                  <a:pt x="2121" y="909"/>
                  <a:pt x="2121" y="909"/>
                </a:cubicBezTo>
                <a:cubicBezTo>
                  <a:pt x="2120" y="909"/>
                  <a:pt x="2120" y="909"/>
                  <a:pt x="2120" y="909"/>
                </a:cubicBezTo>
                <a:cubicBezTo>
                  <a:pt x="2119" y="909"/>
                  <a:pt x="2119" y="909"/>
                  <a:pt x="2119" y="909"/>
                </a:cubicBezTo>
                <a:cubicBezTo>
                  <a:pt x="2120" y="910"/>
                  <a:pt x="2120" y="910"/>
                  <a:pt x="2120" y="910"/>
                </a:cubicBezTo>
                <a:cubicBezTo>
                  <a:pt x="2120" y="911"/>
                  <a:pt x="2120" y="911"/>
                  <a:pt x="2120" y="911"/>
                </a:cubicBezTo>
                <a:cubicBezTo>
                  <a:pt x="2119" y="912"/>
                  <a:pt x="2119" y="912"/>
                  <a:pt x="2119" y="912"/>
                </a:cubicBezTo>
                <a:cubicBezTo>
                  <a:pt x="2120" y="913"/>
                  <a:pt x="2120" y="913"/>
                  <a:pt x="2120" y="913"/>
                </a:cubicBezTo>
                <a:cubicBezTo>
                  <a:pt x="2122" y="913"/>
                  <a:pt x="2122" y="913"/>
                  <a:pt x="2122" y="913"/>
                </a:cubicBezTo>
                <a:cubicBezTo>
                  <a:pt x="2121" y="914"/>
                  <a:pt x="2121" y="914"/>
                  <a:pt x="2121" y="914"/>
                </a:cubicBezTo>
                <a:cubicBezTo>
                  <a:pt x="2121" y="915"/>
                  <a:pt x="2121" y="915"/>
                  <a:pt x="2121" y="915"/>
                </a:cubicBezTo>
                <a:cubicBezTo>
                  <a:pt x="2120" y="915"/>
                  <a:pt x="2120" y="915"/>
                  <a:pt x="2120" y="915"/>
                </a:cubicBezTo>
                <a:cubicBezTo>
                  <a:pt x="2120" y="916"/>
                  <a:pt x="2120" y="916"/>
                  <a:pt x="2120" y="916"/>
                </a:cubicBezTo>
                <a:cubicBezTo>
                  <a:pt x="2120" y="917"/>
                  <a:pt x="2120" y="917"/>
                  <a:pt x="2120" y="917"/>
                </a:cubicBezTo>
                <a:cubicBezTo>
                  <a:pt x="2119" y="919"/>
                  <a:pt x="2119" y="919"/>
                  <a:pt x="2119" y="919"/>
                </a:cubicBezTo>
                <a:cubicBezTo>
                  <a:pt x="2117" y="915"/>
                  <a:pt x="2117" y="915"/>
                  <a:pt x="2117" y="915"/>
                </a:cubicBezTo>
                <a:cubicBezTo>
                  <a:pt x="2116" y="912"/>
                  <a:pt x="2116" y="912"/>
                  <a:pt x="2116" y="912"/>
                </a:cubicBezTo>
                <a:cubicBezTo>
                  <a:pt x="2115" y="911"/>
                  <a:pt x="2115" y="911"/>
                  <a:pt x="2115" y="911"/>
                </a:cubicBezTo>
                <a:cubicBezTo>
                  <a:pt x="2116" y="910"/>
                  <a:pt x="2116" y="910"/>
                  <a:pt x="2116" y="910"/>
                </a:cubicBezTo>
                <a:cubicBezTo>
                  <a:pt x="2115" y="910"/>
                  <a:pt x="2115" y="910"/>
                  <a:pt x="2115" y="910"/>
                </a:cubicBezTo>
                <a:cubicBezTo>
                  <a:pt x="2114" y="911"/>
                  <a:pt x="2114" y="911"/>
                  <a:pt x="2114" y="911"/>
                </a:cubicBezTo>
                <a:cubicBezTo>
                  <a:pt x="2114" y="913"/>
                  <a:pt x="2114" y="913"/>
                  <a:pt x="2114" y="913"/>
                </a:cubicBezTo>
                <a:cubicBezTo>
                  <a:pt x="2113" y="913"/>
                  <a:pt x="2113" y="913"/>
                  <a:pt x="2113" y="913"/>
                </a:cubicBezTo>
                <a:cubicBezTo>
                  <a:pt x="2112" y="914"/>
                  <a:pt x="2112" y="914"/>
                  <a:pt x="2112" y="914"/>
                </a:cubicBezTo>
                <a:cubicBezTo>
                  <a:pt x="2111" y="914"/>
                  <a:pt x="2111" y="914"/>
                  <a:pt x="2111" y="914"/>
                </a:cubicBezTo>
                <a:cubicBezTo>
                  <a:pt x="2111" y="915"/>
                  <a:pt x="2111" y="915"/>
                  <a:pt x="2111" y="915"/>
                </a:cubicBezTo>
                <a:cubicBezTo>
                  <a:pt x="2109" y="916"/>
                  <a:pt x="2109" y="916"/>
                  <a:pt x="2109" y="916"/>
                </a:cubicBezTo>
                <a:cubicBezTo>
                  <a:pt x="2110" y="917"/>
                  <a:pt x="2110" y="917"/>
                  <a:pt x="2110" y="917"/>
                </a:cubicBezTo>
                <a:cubicBezTo>
                  <a:pt x="2110" y="921"/>
                  <a:pt x="2110" y="921"/>
                  <a:pt x="2110" y="921"/>
                </a:cubicBezTo>
                <a:cubicBezTo>
                  <a:pt x="2110" y="922"/>
                  <a:pt x="2110" y="922"/>
                  <a:pt x="2110" y="922"/>
                </a:cubicBezTo>
                <a:cubicBezTo>
                  <a:pt x="2109" y="923"/>
                  <a:pt x="2109" y="923"/>
                  <a:pt x="2109" y="923"/>
                </a:cubicBezTo>
                <a:cubicBezTo>
                  <a:pt x="2109" y="924"/>
                  <a:pt x="2109" y="924"/>
                  <a:pt x="2109" y="924"/>
                </a:cubicBezTo>
                <a:cubicBezTo>
                  <a:pt x="2107" y="924"/>
                  <a:pt x="2107" y="924"/>
                  <a:pt x="2107" y="924"/>
                </a:cubicBezTo>
                <a:cubicBezTo>
                  <a:pt x="2107" y="925"/>
                  <a:pt x="2107" y="925"/>
                  <a:pt x="2107" y="925"/>
                </a:cubicBezTo>
                <a:cubicBezTo>
                  <a:pt x="2105" y="926"/>
                  <a:pt x="2105" y="926"/>
                  <a:pt x="2105" y="926"/>
                </a:cubicBezTo>
                <a:cubicBezTo>
                  <a:pt x="2106" y="928"/>
                  <a:pt x="2106" y="928"/>
                  <a:pt x="2106" y="928"/>
                </a:cubicBezTo>
                <a:cubicBezTo>
                  <a:pt x="2105" y="928"/>
                  <a:pt x="2105" y="928"/>
                  <a:pt x="2105" y="928"/>
                </a:cubicBezTo>
                <a:cubicBezTo>
                  <a:pt x="2103" y="931"/>
                  <a:pt x="2103" y="931"/>
                  <a:pt x="2103" y="931"/>
                </a:cubicBezTo>
                <a:cubicBezTo>
                  <a:pt x="2099" y="933"/>
                  <a:pt x="2099" y="933"/>
                  <a:pt x="2099" y="933"/>
                </a:cubicBezTo>
                <a:cubicBezTo>
                  <a:pt x="2096" y="934"/>
                  <a:pt x="2096" y="934"/>
                  <a:pt x="2096" y="934"/>
                </a:cubicBezTo>
                <a:cubicBezTo>
                  <a:pt x="2094" y="934"/>
                  <a:pt x="2094" y="934"/>
                  <a:pt x="2094" y="934"/>
                </a:cubicBezTo>
                <a:cubicBezTo>
                  <a:pt x="2093" y="934"/>
                  <a:pt x="2093" y="934"/>
                  <a:pt x="2093" y="934"/>
                </a:cubicBezTo>
                <a:cubicBezTo>
                  <a:pt x="2091" y="935"/>
                  <a:pt x="2091" y="935"/>
                  <a:pt x="2091" y="935"/>
                </a:cubicBezTo>
                <a:cubicBezTo>
                  <a:pt x="2090" y="934"/>
                  <a:pt x="2090" y="934"/>
                  <a:pt x="2090" y="934"/>
                </a:cubicBezTo>
                <a:cubicBezTo>
                  <a:pt x="2088" y="935"/>
                  <a:pt x="2088" y="935"/>
                  <a:pt x="2088" y="935"/>
                </a:cubicBezTo>
                <a:cubicBezTo>
                  <a:pt x="2087" y="936"/>
                  <a:pt x="2087" y="936"/>
                  <a:pt x="2087" y="936"/>
                </a:cubicBezTo>
                <a:cubicBezTo>
                  <a:pt x="2086" y="937"/>
                  <a:pt x="2086" y="937"/>
                  <a:pt x="2086" y="937"/>
                </a:cubicBezTo>
                <a:cubicBezTo>
                  <a:pt x="2082" y="937"/>
                  <a:pt x="2082" y="937"/>
                  <a:pt x="2082" y="937"/>
                </a:cubicBezTo>
                <a:cubicBezTo>
                  <a:pt x="2081" y="937"/>
                  <a:pt x="2081" y="937"/>
                  <a:pt x="2081" y="937"/>
                </a:cubicBezTo>
                <a:cubicBezTo>
                  <a:pt x="2081" y="938"/>
                  <a:pt x="2081" y="938"/>
                  <a:pt x="2081" y="938"/>
                </a:cubicBezTo>
                <a:cubicBezTo>
                  <a:pt x="2078" y="939"/>
                  <a:pt x="2078" y="939"/>
                  <a:pt x="2078" y="939"/>
                </a:cubicBezTo>
                <a:cubicBezTo>
                  <a:pt x="2076" y="939"/>
                  <a:pt x="2076" y="939"/>
                  <a:pt x="2076" y="939"/>
                </a:cubicBezTo>
                <a:cubicBezTo>
                  <a:pt x="2075" y="939"/>
                  <a:pt x="2075" y="939"/>
                  <a:pt x="2075" y="939"/>
                </a:cubicBezTo>
                <a:cubicBezTo>
                  <a:pt x="2074" y="939"/>
                  <a:pt x="2074" y="939"/>
                  <a:pt x="2074" y="939"/>
                </a:cubicBezTo>
                <a:cubicBezTo>
                  <a:pt x="2074" y="938"/>
                  <a:pt x="2074" y="938"/>
                  <a:pt x="2074" y="938"/>
                </a:cubicBezTo>
                <a:cubicBezTo>
                  <a:pt x="2073" y="939"/>
                  <a:pt x="2073" y="939"/>
                  <a:pt x="2073" y="939"/>
                </a:cubicBezTo>
                <a:cubicBezTo>
                  <a:pt x="2072" y="940"/>
                  <a:pt x="2072" y="940"/>
                  <a:pt x="2072" y="940"/>
                </a:cubicBezTo>
                <a:cubicBezTo>
                  <a:pt x="2069" y="941"/>
                  <a:pt x="2069" y="941"/>
                  <a:pt x="2069" y="941"/>
                </a:cubicBezTo>
                <a:cubicBezTo>
                  <a:pt x="2068" y="941"/>
                  <a:pt x="2068" y="941"/>
                  <a:pt x="2068" y="941"/>
                </a:cubicBezTo>
                <a:cubicBezTo>
                  <a:pt x="2066" y="943"/>
                  <a:pt x="2066" y="943"/>
                  <a:pt x="2066" y="943"/>
                </a:cubicBezTo>
                <a:cubicBezTo>
                  <a:pt x="2063" y="945"/>
                  <a:pt x="2063" y="945"/>
                  <a:pt x="2063" y="945"/>
                </a:cubicBezTo>
                <a:cubicBezTo>
                  <a:pt x="2060" y="946"/>
                  <a:pt x="2060" y="946"/>
                  <a:pt x="2060" y="946"/>
                </a:cubicBezTo>
                <a:cubicBezTo>
                  <a:pt x="2058" y="948"/>
                  <a:pt x="2058" y="948"/>
                  <a:pt x="2058" y="948"/>
                </a:cubicBezTo>
                <a:cubicBezTo>
                  <a:pt x="2058" y="950"/>
                  <a:pt x="2058" y="950"/>
                  <a:pt x="2058" y="950"/>
                </a:cubicBezTo>
                <a:cubicBezTo>
                  <a:pt x="2057" y="951"/>
                  <a:pt x="2057" y="951"/>
                  <a:pt x="2057" y="951"/>
                </a:cubicBezTo>
                <a:cubicBezTo>
                  <a:pt x="2056" y="950"/>
                  <a:pt x="2056" y="950"/>
                  <a:pt x="2056" y="950"/>
                </a:cubicBezTo>
                <a:cubicBezTo>
                  <a:pt x="2056" y="949"/>
                  <a:pt x="2056" y="949"/>
                  <a:pt x="2056" y="949"/>
                </a:cubicBezTo>
                <a:cubicBezTo>
                  <a:pt x="2057" y="947"/>
                  <a:pt x="2057" y="947"/>
                  <a:pt x="2057" y="947"/>
                </a:cubicBezTo>
                <a:cubicBezTo>
                  <a:pt x="2057" y="946"/>
                  <a:pt x="2057" y="946"/>
                  <a:pt x="2057" y="946"/>
                </a:cubicBezTo>
                <a:cubicBezTo>
                  <a:pt x="2055" y="948"/>
                  <a:pt x="2055" y="948"/>
                  <a:pt x="2055" y="948"/>
                </a:cubicBezTo>
                <a:cubicBezTo>
                  <a:pt x="2054" y="949"/>
                  <a:pt x="2054" y="949"/>
                  <a:pt x="2054" y="949"/>
                </a:cubicBezTo>
                <a:cubicBezTo>
                  <a:pt x="2053" y="952"/>
                  <a:pt x="2053" y="952"/>
                  <a:pt x="2053" y="952"/>
                </a:cubicBezTo>
                <a:cubicBezTo>
                  <a:pt x="2054" y="954"/>
                  <a:pt x="2054" y="954"/>
                  <a:pt x="2054" y="954"/>
                </a:cubicBezTo>
                <a:cubicBezTo>
                  <a:pt x="2053" y="956"/>
                  <a:pt x="2053" y="956"/>
                  <a:pt x="2053" y="956"/>
                </a:cubicBezTo>
                <a:cubicBezTo>
                  <a:pt x="2053" y="958"/>
                  <a:pt x="2053" y="958"/>
                  <a:pt x="2053" y="958"/>
                </a:cubicBezTo>
                <a:cubicBezTo>
                  <a:pt x="2051" y="961"/>
                  <a:pt x="2051" y="961"/>
                  <a:pt x="2051" y="961"/>
                </a:cubicBezTo>
                <a:cubicBezTo>
                  <a:pt x="2050" y="966"/>
                  <a:pt x="2050" y="966"/>
                  <a:pt x="2050" y="966"/>
                </a:cubicBezTo>
                <a:cubicBezTo>
                  <a:pt x="2050" y="968"/>
                  <a:pt x="2050" y="968"/>
                  <a:pt x="2050" y="968"/>
                </a:cubicBezTo>
                <a:cubicBezTo>
                  <a:pt x="2050" y="971"/>
                  <a:pt x="2050" y="971"/>
                  <a:pt x="2050" y="971"/>
                </a:cubicBezTo>
                <a:cubicBezTo>
                  <a:pt x="2052" y="974"/>
                  <a:pt x="2052" y="974"/>
                  <a:pt x="2052" y="974"/>
                </a:cubicBezTo>
                <a:cubicBezTo>
                  <a:pt x="2052" y="976"/>
                  <a:pt x="2052" y="976"/>
                  <a:pt x="2052" y="976"/>
                </a:cubicBezTo>
                <a:cubicBezTo>
                  <a:pt x="2053" y="977"/>
                  <a:pt x="2053" y="977"/>
                  <a:pt x="2053" y="977"/>
                </a:cubicBezTo>
                <a:cubicBezTo>
                  <a:pt x="2052" y="979"/>
                  <a:pt x="2052" y="979"/>
                  <a:pt x="2052" y="979"/>
                </a:cubicBezTo>
                <a:cubicBezTo>
                  <a:pt x="2053" y="980"/>
                  <a:pt x="2053" y="980"/>
                  <a:pt x="2053" y="980"/>
                </a:cubicBezTo>
                <a:cubicBezTo>
                  <a:pt x="2051" y="981"/>
                  <a:pt x="2051" y="981"/>
                  <a:pt x="2051" y="981"/>
                </a:cubicBezTo>
                <a:cubicBezTo>
                  <a:pt x="2051" y="980"/>
                  <a:pt x="2051" y="980"/>
                  <a:pt x="2051" y="980"/>
                </a:cubicBezTo>
                <a:cubicBezTo>
                  <a:pt x="2051" y="978"/>
                  <a:pt x="2051" y="978"/>
                  <a:pt x="2051" y="978"/>
                </a:cubicBezTo>
                <a:cubicBezTo>
                  <a:pt x="2050" y="979"/>
                  <a:pt x="2050" y="979"/>
                  <a:pt x="2050" y="979"/>
                </a:cubicBezTo>
                <a:cubicBezTo>
                  <a:pt x="2050" y="977"/>
                  <a:pt x="2050" y="977"/>
                  <a:pt x="2050" y="977"/>
                </a:cubicBezTo>
                <a:cubicBezTo>
                  <a:pt x="2048" y="974"/>
                  <a:pt x="2048" y="974"/>
                  <a:pt x="2048" y="974"/>
                </a:cubicBezTo>
                <a:cubicBezTo>
                  <a:pt x="2048" y="975"/>
                  <a:pt x="2048" y="975"/>
                  <a:pt x="2048" y="975"/>
                </a:cubicBezTo>
                <a:cubicBezTo>
                  <a:pt x="2048" y="978"/>
                  <a:pt x="2048" y="978"/>
                  <a:pt x="2048" y="978"/>
                </a:cubicBezTo>
                <a:cubicBezTo>
                  <a:pt x="2050" y="980"/>
                  <a:pt x="2050" y="980"/>
                  <a:pt x="2050" y="980"/>
                </a:cubicBezTo>
                <a:cubicBezTo>
                  <a:pt x="2051" y="982"/>
                  <a:pt x="2051" y="982"/>
                  <a:pt x="2051" y="982"/>
                </a:cubicBezTo>
                <a:cubicBezTo>
                  <a:pt x="2049" y="982"/>
                  <a:pt x="2049" y="982"/>
                  <a:pt x="2049" y="982"/>
                </a:cubicBezTo>
                <a:cubicBezTo>
                  <a:pt x="2048" y="980"/>
                  <a:pt x="2048" y="980"/>
                  <a:pt x="2048" y="980"/>
                </a:cubicBezTo>
                <a:cubicBezTo>
                  <a:pt x="2047" y="978"/>
                  <a:pt x="2047" y="978"/>
                  <a:pt x="2047" y="978"/>
                </a:cubicBezTo>
                <a:cubicBezTo>
                  <a:pt x="2047" y="979"/>
                  <a:pt x="2047" y="979"/>
                  <a:pt x="2047" y="979"/>
                </a:cubicBezTo>
                <a:cubicBezTo>
                  <a:pt x="2046" y="979"/>
                  <a:pt x="2046" y="979"/>
                  <a:pt x="2046" y="979"/>
                </a:cubicBezTo>
                <a:cubicBezTo>
                  <a:pt x="2047" y="982"/>
                  <a:pt x="2047" y="982"/>
                  <a:pt x="2047" y="982"/>
                </a:cubicBezTo>
                <a:cubicBezTo>
                  <a:pt x="2049" y="984"/>
                  <a:pt x="2049" y="984"/>
                  <a:pt x="2049" y="984"/>
                </a:cubicBezTo>
                <a:cubicBezTo>
                  <a:pt x="2051" y="988"/>
                  <a:pt x="2051" y="988"/>
                  <a:pt x="2051" y="988"/>
                </a:cubicBezTo>
                <a:cubicBezTo>
                  <a:pt x="2050" y="994"/>
                  <a:pt x="2050" y="994"/>
                  <a:pt x="2050" y="994"/>
                </a:cubicBezTo>
                <a:cubicBezTo>
                  <a:pt x="2051" y="995"/>
                  <a:pt x="2051" y="995"/>
                  <a:pt x="2051" y="995"/>
                </a:cubicBezTo>
                <a:cubicBezTo>
                  <a:pt x="2052" y="999"/>
                  <a:pt x="2052" y="999"/>
                  <a:pt x="2052" y="999"/>
                </a:cubicBezTo>
                <a:cubicBezTo>
                  <a:pt x="2054" y="1004"/>
                  <a:pt x="2054" y="1004"/>
                  <a:pt x="2054" y="1004"/>
                </a:cubicBezTo>
                <a:cubicBezTo>
                  <a:pt x="2053" y="1005"/>
                  <a:pt x="2053" y="1005"/>
                  <a:pt x="2053" y="1005"/>
                </a:cubicBezTo>
                <a:cubicBezTo>
                  <a:pt x="2053" y="1012"/>
                  <a:pt x="2053" y="1012"/>
                  <a:pt x="2053" y="1012"/>
                </a:cubicBezTo>
                <a:cubicBezTo>
                  <a:pt x="2053" y="1013"/>
                  <a:pt x="2053" y="1013"/>
                  <a:pt x="2053" y="1013"/>
                </a:cubicBezTo>
                <a:cubicBezTo>
                  <a:pt x="2054" y="1015"/>
                  <a:pt x="2054" y="1015"/>
                  <a:pt x="2054" y="1015"/>
                </a:cubicBezTo>
                <a:cubicBezTo>
                  <a:pt x="2054" y="1017"/>
                  <a:pt x="2054" y="1017"/>
                  <a:pt x="2054" y="1017"/>
                </a:cubicBezTo>
                <a:cubicBezTo>
                  <a:pt x="2055" y="1020"/>
                  <a:pt x="2055" y="1020"/>
                  <a:pt x="2055" y="1020"/>
                </a:cubicBezTo>
                <a:cubicBezTo>
                  <a:pt x="2055" y="1022"/>
                  <a:pt x="2055" y="1022"/>
                  <a:pt x="2055" y="1022"/>
                </a:cubicBezTo>
                <a:cubicBezTo>
                  <a:pt x="2054" y="1023"/>
                  <a:pt x="2054" y="1023"/>
                  <a:pt x="2054" y="1023"/>
                </a:cubicBezTo>
                <a:cubicBezTo>
                  <a:pt x="2054" y="1024"/>
                  <a:pt x="2054" y="1024"/>
                  <a:pt x="2054" y="1024"/>
                </a:cubicBezTo>
                <a:cubicBezTo>
                  <a:pt x="2054" y="1025"/>
                  <a:pt x="2054" y="1025"/>
                  <a:pt x="2054" y="1025"/>
                </a:cubicBezTo>
                <a:cubicBezTo>
                  <a:pt x="2054" y="1028"/>
                  <a:pt x="2054" y="1028"/>
                  <a:pt x="2054" y="1028"/>
                </a:cubicBezTo>
                <a:cubicBezTo>
                  <a:pt x="2053" y="1029"/>
                  <a:pt x="2053" y="1029"/>
                  <a:pt x="2053" y="1029"/>
                </a:cubicBezTo>
                <a:cubicBezTo>
                  <a:pt x="2053" y="1030"/>
                  <a:pt x="2053" y="1030"/>
                  <a:pt x="2053" y="1030"/>
                </a:cubicBezTo>
                <a:cubicBezTo>
                  <a:pt x="2053" y="1031"/>
                  <a:pt x="2053" y="1031"/>
                  <a:pt x="2053" y="1031"/>
                </a:cubicBezTo>
                <a:cubicBezTo>
                  <a:pt x="2052" y="1032"/>
                  <a:pt x="2052" y="1032"/>
                  <a:pt x="2052" y="1032"/>
                </a:cubicBezTo>
                <a:cubicBezTo>
                  <a:pt x="2052" y="1034"/>
                  <a:pt x="2052" y="1034"/>
                  <a:pt x="2052" y="1034"/>
                </a:cubicBezTo>
                <a:cubicBezTo>
                  <a:pt x="2050" y="1035"/>
                  <a:pt x="2050" y="1035"/>
                  <a:pt x="2050" y="1035"/>
                </a:cubicBezTo>
                <a:cubicBezTo>
                  <a:pt x="2049" y="1035"/>
                  <a:pt x="2049" y="1035"/>
                  <a:pt x="2049" y="1035"/>
                </a:cubicBezTo>
                <a:cubicBezTo>
                  <a:pt x="2047" y="1037"/>
                  <a:pt x="2047" y="1037"/>
                  <a:pt x="2047" y="1037"/>
                </a:cubicBezTo>
                <a:cubicBezTo>
                  <a:pt x="2047" y="1041"/>
                  <a:pt x="2047" y="1041"/>
                  <a:pt x="2047" y="1041"/>
                </a:cubicBezTo>
                <a:cubicBezTo>
                  <a:pt x="2048" y="1042"/>
                  <a:pt x="2048" y="1042"/>
                  <a:pt x="2048" y="1042"/>
                </a:cubicBezTo>
                <a:cubicBezTo>
                  <a:pt x="2049" y="1042"/>
                  <a:pt x="2049" y="1042"/>
                  <a:pt x="2049" y="1042"/>
                </a:cubicBezTo>
                <a:cubicBezTo>
                  <a:pt x="2052" y="1044"/>
                  <a:pt x="2052" y="1044"/>
                  <a:pt x="2052" y="1044"/>
                </a:cubicBezTo>
                <a:cubicBezTo>
                  <a:pt x="2052" y="1045"/>
                  <a:pt x="2052" y="1045"/>
                  <a:pt x="2052" y="1045"/>
                </a:cubicBezTo>
                <a:cubicBezTo>
                  <a:pt x="2052" y="1046"/>
                  <a:pt x="2052" y="1046"/>
                  <a:pt x="2052" y="1046"/>
                </a:cubicBezTo>
                <a:cubicBezTo>
                  <a:pt x="2054" y="1046"/>
                  <a:pt x="2054" y="1046"/>
                  <a:pt x="2054" y="1046"/>
                </a:cubicBezTo>
                <a:cubicBezTo>
                  <a:pt x="2054" y="1047"/>
                  <a:pt x="2054" y="1047"/>
                  <a:pt x="2054" y="1047"/>
                </a:cubicBezTo>
                <a:cubicBezTo>
                  <a:pt x="2056" y="1047"/>
                  <a:pt x="2056" y="1047"/>
                  <a:pt x="2056" y="1047"/>
                </a:cubicBezTo>
                <a:cubicBezTo>
                  <a:pt x="2057" y="1047"/>
                  <a:pt x="2057" y="1047"/>
                  <a:pt x="2057" y="1047"/>
                </a:cubicBezTo>
                <a:cubicBezTo>
                  <a:pt x="2057" y="1048"/>
                  <a:pt x="2057" y="1048"/>
                  <a:pt x="2057" y="1048"/>
                </a:cubicBezTo>
                <a:cubicBezTo>
                  <a:pt x="2059" y="1048"/>
                  <a:pt x="2059" y="1048"/>
                  <a:pt x="2059" y="1048"/>
                </a:cubicBezTo>
                <a:cubicBezTo>
                  <a:pt x="2060" y="1047"/>
                  <a:pt x="2060" y="1047"/>
                  <a:pt x="2060" y="1047"/>
                </a:cubicBezTo>
                <a:cubicBezTo>
                  <a:pt x="2061" y="1048"/>
                  <a:pt x="2061" y="1048"/>
                  <a:pt x="2061" y="1048"/>
                </a:cubicBezTo>
                <a:cubicBezTo>
                  <a:pt x="2062" y="1048"/>
                  <a:pt x="2062" y="1048"/>
                  <a:pt x="2062" y="1048"/>
                </a:cubicBezTo>
                <a:cubicBezTo>
                  <a:pt x="2064" y="1048"/>
                  <a:pt x="2064" y="1048"/>
                  <a:pt x="2064" y="1048"/>
                </a:cubicBezTo>
                <a:cubicBezTo>
                  <a:pt x="2065" y="1048"/>
                  <a:pt x="2065" y="1048"/>
                  <a:pt x="2065" y="1048"/>
                </a:cubicBezTo>
                <a:cubicBezTo>
                  <a:pt x="2065" y="1047"/>
                  <a:pt x="2065" y="1047"/>
                  <a:pt x="2065" y="1047"/>
                </a:cubicBezTo>
                <a:cubicBezTo>
                  <a:pt x="2066" y="1047"/>
                  <a:pt x="2066" y="1047"/>
                  <a:pt x="2066" y="1047"/>
                </a:cubicBezTo>
                <a:cubicBezTo>
                  <a:pt x="2067" y="1045"/>
                  <a:pt x="2067" y="1045"/>
                  <a:pt x="2067" y="1045"/>
                </a:cubicBezTo>
                <a:cubicBezTo>
                  <a:pt x="2069" y="1045"/>
                  <a:pt x="2069" y="1045"/>
                  <a:pt x="2069" y="1045"/>
                </a:cubicBezTo>
                <a:cubicBezTo>
                  <a:pt x="2069" y="1044"/>
                  <a:pt x="2069" y="1044"/>
                  <a:pt x="2069" y="1044"/>
                </a:cubicBezTo>
                <a:cubicBezTo>
                  <a:pt x="2070" y="1044"/>
                  <a:pt x="2070" y="1044"/>
                  <a:pt x="2070" y="1044"/>
                </a:cubicBezTo>
                <a:cubicBezTo>
                  <a:pt x="2071" y="1044"/>
                  <a:pt x="2071" y="1044"/>
                  <a:pt x="2071" y="1044"/>
                </a:cubicBezTo>
                <a:cubicBezTo>
                  <a:pt x="2072" y="1045"/>
                  <a:pt x="2072" y="1045"/>
                  <a:pt x="2072" y="1045"/>
                </a:cubicBezTo>
                <a:cubicBezTo>
                  <a:pt x="2073" y="1043"/>
                  <a:pt x="2073" y="1043"/>
                  <a:pt x="2073" y="1043"/>
                </a:cubicBezTo>
                <a:cubicBezTo>
                  <a:pt x="2074" y="1043"/>
                  <a:pt x="2074" y="1043"/>
                  <a:pt x="2074" y="1043"/>
                </a:cubicBezTo>
                <a:cubicBezTo>
                  <a:pt x="2075" y="1042"/>
                  <a:pt x="2075" y="1042"/>
                  <a:pt x="2075" y="1042"/>
                </a:cubicBezTo>
                <a:cubicBezTo>
                  <a:pt x="2078" y="1039"/>
                  <a:pt x="2078" y="1039"/>
                  <a:pt x="2078" y="1039"/>
                </a:cubicBezTo>
                <a:cubicBezTo>
                  <a:pt x="2079" y="1040"/>
                  <a:pt x="2079" y="1040"/>
                  <a:pt x="2079" y="1040"/>
                </a:cubicBezTo>
                <a:cubicBezTo>
                  <a:pt x="2080" y="1040"/>
                  <a:pt x="2080" y="1040"/>
                  <a:pt x="2080" y="1040"/>
                </a:cubicBezTo>
                <a:cubicBezTo>
                  <a:pt x="2081" y="1039"/>
                  <a:pt x="2081" y="1039"/>
                  <a:pt x="2081" y="1039"/>
                </a:cubicBezTo>
                <a:cubicBezTo>
                  <a:pt x="2085" y="1039"/>
                  <a:pt x="2085" y="1039"/>
                  <a:pt x="2085" y="1039"/>
                </a:cubicBezTo>
                <a:cubicBezTo>
                  <a:pt x="2087" y="1039"/>
                  <a:pt x="2087" y="1039"/>
                  <a:pt x="2087" y="1039"/>
                </a:cubicBezTo>
                <a:cubicBezTo>
                  <a:pt x="2088" y="1039"/>
                  <a:pt x="2088" y="1039"/>
                  <a:pt x="2088" y="1039"/>
                </a:cubicBezTo>
                <a:cubicBezTo>
                  <a:pt x="2089" y="1039"/>
                  <a:pt x="2089" y="1039"/>
                  <a:pt x="2089" y="1039"/>
                </a:cubicBezTo>
                <a:cubicBezTo>
                  <a:pt x="2090" y="1039"/>
                  <a:pt x="2090" y="1039"/>
                  <a:pt x="2090" y="1039"/>
                </a:cubicBezTo>
                <a:cubicBezTo>
                  <a:pt x="2091" y="1040"/>
                  <a:pt x="2091" y="1040"/>
                  <a:pt x="2091" y="1040"/>
                </a:cubicBezTo>
                <a:cubicBezTo>
                  <a:pt x="2092" y="1040"/>
                  <a:pt x="2092" y="1040"/>
                  <a:pt x="2092" y="1040"/>
                </a:cubicBezTo>
                <a:cubicBezTo>
                  <a:pt x="2093" y="1040"/>
                  <a:pt x="2093" y="1040"/>
                  <a:pt x="2093" y="1040"/>
                </a:cubicBezTo>
                <a:cubicBezTo>
                  <a:pt x="2094" y="1040"/>
                  <a:pt x="2094" y="1040"/>
                  <a:pt x="2094" y="1040"/>
                </a:cubicBezTo>
                <a:cubicBezTo>
                  <a:pt x="2097" y="1040"/>
                  <a:pt x="2097" y="1040"/>
                  <a:pt x="2097" y="1040"/>
                </a:cubicBezTo>
                <a:cubicBezTo>
                  <a:pt x="2096" y="1041"/>
                  <a:pt x="2096" y="1041"/>
                  <a:pt x="2096" y="1041"/>
                </a:cubicBezTo>
                <a:cubicBezTo>
                  <a:pt x="2097" y="1041"/>
                  <a:pt x="2097" y="1041"/>
                  <a:pt x="2097" y="1041"/>
                </a:cubicBezTo>
                <a:cubicBezTo>
                  <a:pt x="2098" y="1040"/>
                  <a:pt x="2098" y="1040"/>
                  <a:pt x="2098" y="1040"/>
                </a:cubicBezTo>
                <a:cubicBezTo>
                  <a:pt x="2100" y="1040"/>
                  <a:pt x="2100" y="1040"/>
                  <a:pt x="2100" y="1040"/>
                </a:cubicBezTo>
                <a:cubicBezTo>
                  <a:pt x="2101" y="1039"/>
                  <a:pt x="2101" y="1039"/>
                  <a:pt x="2101" y="1039"/>
                </a:cubicBezTo>
                <a:cubicBezTo>
                  <a:pt x="2102" y="1037"/>
                  <a:pt x="2102" y="1037"/>
                  <a:pt x="2102" y="1037"/>
                </a:cubicBezTo>
                <a:cubicBezTo>
                  <a:pt x="2104" y="1036"/>
                  <a:pt x="2104" y="1036"/>
                  <a:pt x="2104" y="1036"/>
                </a:cubicBezTo>
                <a:cubicBezTo>
                  <a:pt x="2105" y="1034"/>
                  <a:pt x="2105" y="1034"/>
                  <a:pt x="2105" y="1034"/>
                </a:cubicBezTo>
                <a:cubicBezTo>
                  <a:pt x="2106" y="1032"/>
                  <a:pt x="2106" y="1032"/>
                  <a:pt x="2106" y="1032"/>
                </a:cubicBezTo>
                <a:cubicBezTo>
                  <a:pt x="2108" y="1032"/>
                  <a:pt x="2108" y="1032"/>
                  <a:pt x="2108" y="1032"/>
                </a:cubicBezTo>
                <a:cubicBezTo>
                  <a:pt x="2109" y="1032"/>
                  <a:pt x="2109" y="1032"/>
                  <a:pt x="2109" y="1032"/>
                </a:cubicBezTo>
                <a:cubicBezTo>
                  <a:pt x="2111" y="1031"/>
                  <a:pt x="2111" y="1031"/>
                  <a:pt x="2111" y="1031"/>
                </a:cubicBezTo>
                <a:cubicBezTo>
                  <a:pt x="2114" y="1029"/>
                  <a:pt x="2114" y="1029"/>
                  <a:pt x="2114" y="1029"/>
                </a:cubicBezTo>
                <a:cubicBezTo>
                  <a:pt x="2117" y="1027"/>
                  <a:pt x="2117" y="1027"/>
                  <a:pt x="2117" y="1027"/>
                </a:cubicBezTo>
                <a:cubicBezTo>
                  <a:pt x="2118" y="1027"/>
                  <a:pt x="2118" y="1027"/>
                  <a:pt x="2118" y="1027"/>
                </a:cubicBezTo>
                <a:cubicBezTo>
                  <a:pt x="2119" y="1027"/>
                  <a:pt x="2119" y="1027"/>
                  <a:pt x="2119" y="1027"/>
                </a:cubicBezTo>
                <a:cubicBezTo>
                  <a:pt x="2121" y="1028"/>
                  <a:pt x="2121" y="1028"/>
                  <a:pt x="2121" y="1028"/>
                </a:cubicBezTo>
                <a:cubicBezTo>
                  <a:pt x="2123" y="1028"/>
                  <a:pt x="2123" y="1028"/>
                  <a:pt x="2123" y="1028"/>
                </a:cubicBezTo>
                <a:cubicBezTo>
                  <a:pt x="2124" y="1028"/>
                  <a:pt x="2124" y="1028"/>
                  <a:pt x="2124" y="1028"/>
                </a:cubicBezTo>
                <a:cubicBezTo>
                  <a:pt x="2127" y="1028"/>
                  <a:pt x="2127" y="1028"/>
                  <a:pt x="2127" y="1028"/>
                </a:cubicBezTo>
                <a:cubicBezTo>
                  <a:pt x="2130" y="1026"/>
                  <a:pt x="2130" y="1026"/>
                  <a:pt x="2130" y="1026"/>
                </a:cubicBezTo>
                <a:cubicBezTo>
                  <a:pt x="2132" y="1026"/>
                  <a:pt x="2132" y="1026"/>
                  <a:pt x="2132" y="1026"/>
                </a:cubicBezTo>
                <a:cubicBezTo>
                  <a:pt x="2134" y="1025"/>
                  <a:pt x="2134" y="1025"/>
                  <a:pt x="2134" y="1025"/>
                </a:cubicBezTo>
                <a:cubicBezTo>
                  <a:pt x="2135" y="1025"/>
                  <a:pt x="2135" y="1025"/>
                  <a:pt x="2135" y="1025"/>
                </a:cubicBezTo>
                <a:cubicBezTo>
                  <a:pt x="2136" y="1024"/>
                  <a:pt x="2136" y="1024"/>
                  <a:pt x="2136" y="1024"/>
                </a:cubicBezTo>
                <a:cubicBezTo>
                  <a:pt x="2139" y="1023"/>
                  <a:pt x="2139" y="1023"/>
                  <a:pt x="2139" y="1023"/>
                </a:cubicBezTo>
                <a:cubicBezTo>
                  <a:pt x="2146" y="1023"/>
                  <a:pt x="2146" y="1023"/>
                  <a:pt x="2146" y="1023"/>
                </a:cubicBezTo>
                <a:cubicBezTo>
                  <a:pt x="2148" y="1024"/>
                  <a:pt x="2148" y="1024"/>
                  <a:pt x="2148" y="1024"/>
                </a:cubicBezTo>
                <a:cubicBezTo>
                  <a:pt x="2150" y="1024"/>
                  <a:pt x="2150" y="1024"/>
                  <a:pt x="2150" y="1024"/>
                </a:cubicBezTo>
                <a:cubicBezTo>
                  <a:pt x="2152" y="1023"/>
                  <a:pt x="2152" y="1023"/>
                  <a:pt x="2152" y="1023"/>
                </a:cubicBezTo>
                <a:cubicBezTo>
                  <a:pt x="2153" y="1023"/>
                  <a:pt x="2153" y="1023"/>
                  <a:pt x="2153" y="1023"/>
                </a:cubicBezTo>
                <a:cubicBezTo>
                  <a:pt x="2155" y="1025"/>
                  <a:pt x="2155" y="1025"/>
                  <a:pt x="2155" y="1025"/>
                </a:cubicBezTo>
                <a:cubicBezTo>
                  <a:pt x="2157" y="1027"/>
                  <a:pt x="2157" y="1027"/>
                  <a:pt x="2157" y="1027"/>
                </a:cubicBezTo>
                <a:cubicBezTo>
                  <a:pt x="2158" y="1028"/>
                  <a:pt x="2158" y="1028"/>
                  <a:pt x="2158" y="1028"/>
                </a:cubicBezTo>
                <a:cubicBezTo>
                  <a:pt x="2158" y="1027"/>
                  <a:pt x="2158" y="1027"/>
                  <a:pt x="2158" y="1027"/>
                </a:cubicBezTo>
                <a:cubicBezTo>
                  <a:pt x="2159" y="1027"/>
                  <a:pt x="2159" y="1027"/>
                  <a:pt x="2159" y="1027"/>
                </a:cubicBezTo>
                <a:cubicBezTo>
                  <a:pt x="2160" y="1027"/>
                  <a:pt x="2160" y="1027"/>
                  <a:pt x="2160" y="1027"/>
                </a:cubicBezTo>
                <a:cubicBezTo>
                  <a:pt x="2161" y="1027"/>
                  <a:pt x="2161" y="1027"/>
                  <a:pt x="2161" y="1027"/>
                </a:cubicBezTo>
                <a:cubicBezTo>
                  <a:pt x="2162" y="1027"/>
                  <a:pt x="2162" y="1027"/>
                  <a:pt x="2162" y="1027"/>
                </a:cubicBezTo>
                <a:cubicBezTo>
                  <a:pt x="2163" y="1029"/>
                  <a:pt x="2163" y="1029"/>
                  <a:pt x="2163" y="1029"/>
                </a:cubicBezTo>
                <a:cubicBezTo>
                  <a:pt x="2165" y="1029"/>
                  <a:pt x="2165" y="1029"/>
                  <a:pt x="2165" y="1029"/>
                </a:cubicBezTo>
                <a:cubicBezTo>
                  <a:pt x="2168" y="1031"/>
                  <a:pt x="2168" y="1031"/>
                  <a:pt x="2168" y="1031"/>
                </a:cubicBezTo>
                <a:cubicBezTo>
                  <a:pt x="2168" y="1032"/>
                  <a:pt x="2168" y="1032"/>
                  <a:pt x="2168" y="1032"/>
                </a:cubicBezTo>
                <a:cubicBezTo>
                  <a:pt x="2169" y="1032"/>
                  <a:pt x="2169" y="1032"/>
                  <a:pt x="2169" y="1032"/>
                </a:cubicBezTo>
                <a:cubicBezTo>
                  <a:pt x="2170" y="1033"/>
                  <a:pt x="2170" y="1033"/>
                  <a:pt x="2170" y="1033"/>
                </a:cubicBezTo>
                <a:cubicBezTo>
                  <a:pt x="2169" y="1034"/>
                  <a:pt x="2169" y="1034"/>
                  <a:pt x="2169" y="1034"/>
                </a:cubicBezTo>
                <a:cubicBezTo>
                  <a:pt x="2168" y="1034"/>
                  <a:pt x="2168" y="1034"/>
                  <a:pt x="2168" y="1034"/>
                </a:cubicBezTo>
                <a:cubicBezTo>
                  <a:pt x="2168" y="1035"/>
                  <a:pt x="2168" y="1035"/>
                  <a:pt x="2168" y="1035"/>
                </a:cubicBezTo>
                <a:cubicBezTo>
                  <a:pt x="2169" y="1037"/>
                  <a:pt x="2169" y="1037"/>
                  <a:pt x="2169" y="1037"/>
                </a:cubicBezTo>
                <a:cubicBezTo>
                  <a:pt x="2170" y="1037"/>
                  <a:pt x="2170" y="1037"/>
                  <a:pt x="2170" y="1037"/>
                </a:cubicBezTo>
                <a:cubicBezTo>
                  <a:pt x="2171" y="1039"/>
                  <a:pt x="2171" y="1039"/>
                  <a:pt x="2171" y="1039"/>
                </a:cubicBezTo>
                <a:cubicBezTo>
                  <a:pt x="2172" y="1040"/>
                  <a:pt x="2172" y="1040"/>
                  <a:pt x="2172" y="1040"/>
                </a:cubicBezTo>
                <a:cubicBezTo>
                  <a:pt x="2172" y="1042"/>
                  <a:pt x="2172" y="1042"/>
                  <a:pt x="2172" y="1042"/>
                </a:cubicBezTo>
                <a:cubicBezTo>
                  <a:pt x="2173" y="1045"/>
                  <a:pt x="2173" y="1045"/>
                  <a:pt x="2173" y="1045"/>
                </a:cubicBezTo>
                <a:cubicBezTo>
                  <a:pt x="2173" y="1046"/>
                  <a:pt x="2173" y="1046"/>
                  <a:pt x="2173" y="1046"/>
                </a:cubicBezTo>
                <a:cubicBezTo>
                  <a:pt x="2173" y="1047"/>
                  <a:pt x="2173" y="1047"/>
                  <a:pt x="2173" y="1047"/>
                </a:cubicBezTo>
                <a:cubicBezTo>
                  <a:pt x="2173" y="1049"/>
                  <a:pt x="2173" y="1049"/>
                  <a:pt x="2173" y="1049"/>
                </a:cubicBezTo>
                <a:cubicBezTo>
                  <a:pt x="2172" y="1050"/>
                  <a:pt x="2172" y="1050"/>
                  <a:pt x="2172" y="1050"/>
                </a:cubicBezTo>
                <a:cubicBezTo>
                  <a:pt x="2172" y="1049"/>
                  <a:pt x="2172" y="1049"/>
                  <a:pt x="2172" y="1049"/>
                </a:cubicBezTo>
                <a:cubicBezTo>
                  <a:pt x="2171" y="1049"/>
                  <a:pt x="2171" y="1049"/>
                  <a:pt x="2171" y="1049"/>
                </a:cubicBezTo>
                <a:cubicBezTo>
                  <a:pt x="2172" y="1051"/>
                  <a:pt x="2172" y="1051"/>
                  <a:pt x="2172" y="1051"/>
                </a:cubicBezTo>
                <a:cubicBezTo>
                  <a:pt x="2173" y="1051"/>
                  <a:pt x="2173" y="1051"/>
                  <a:pt x="2173" y="1051"/>
                </a:cubicBezTo>
                <a:cubicBezTo>
                  <a:pt x="2174" y="1053"/>
                  <a:pt x="2174" y="1053"/>
                  <a:pt x="2174" y="1053"/>
                </a:cubicBezTo>
                <a:cubicBezTo>
                  <a:pt x="2175" y="1052"/>
                  <a:pt x="2175" y="1052"/>
                  <a:pt x="2175" y="1052"/>
                </a:cubicBezTo>
                <a:cubicBezTo>
                  <a:pt x="2176" y="1053"/>
                  <a:pt x="2176" y="1053"/>
                  <a:pt x="2176" y="1053"/>
                </a:cubicBezTo>
                <a:cubicBezTo>
                  <a:pt x="2176" y="1052"/>
                  <a:pt x="2176" y="1052"/>
                  <a:pt x="2176" y="1052"/>
                </a:cubicBezTo>
                <a:cubicBezTo>
                  <a:pt x="2175" y="1051"/>
                  <a:pt x="2175" y="1051"/>
                  <a:pt x="2175" y="1051"/>
                </a:cubicBezTo>
                <a:cubicBezTo>
                  <a:pt x="2176" y="1050"/>
                  <a:pt x="2176" y="1050"/>
                  <a:pt x="2176" y="1050"/>
                </a:cubicBezTo>
                <a:cubicBezTo>
                  <a:pt x="2177" y="1049"/>
                  <a:pt x="2177" y="1049"/>
                  <a:pt x="2177" y="1049"/>
                </a:cubicBezTo>
                <a:cubicBezTo>
                  <a:pt x="2178" y="1049"/>
                  <a:pt x="2178" y="1049"/>
                  <a:pt x="2178" y="1049"/>
                </a:cubicBezTo>
                <a:cubicBezTo>
                  <a:pt x="2178" y="1048"/>
                  <a:pt x="2178" y="1048"/>
                  <a:pt x="2178" y="1048"/>
                </a:cubicBezTo>
                <a:cubicBezTo>
                  <a:pt x="2179" y="1047"/>
                  <a:pt x="2179" y="1047"/>
                  <a:pt x="2179" y="1047"/>
                </a:cubicBezTo>
                <a:cubicBezTo>
                  <a:pt x="2180" y="1046"/>
                  <a:pt x="2180" y="1046"/>
                  <a:pt x="2180" y="1046"/>
                </a:cubicBezTo>
                <a:cubicBezTo>
                  <a:pt x="2181" y="1045"/>
                  <a:pt x="2181" y="1045"/>
                  <a:pt x="2181" y="1045"/>
                </a:cubicBezTo>
                <a:cubicBezTo>
                  <a:pt x="2183" y="1043"/>
                  <a:pt x="2183" y="1043"/>
                  <a:pt x="2183" y="1043"/>
                </a:cubicBezTo>
                <a:cubicBezTo>
                  <a:pt x="2184" y="1043"/>
                  <a:pt x="2184" y="1043"/>
                  <a:pt x="2184" y="1043"/>
                </a:cubicBezTo>
                <a:cubicBezTo>
                  <a:pt x="2186" y="1042"/>
                  <a:pt x="2186" y="1042"/>
                  <a:pt x="2186" y="1042"/>
                </a:cubicBezTo>
                <a:cubicBezTo>
                  <a:pt x="2187" y="1040"/>
                  <a:pt x="2187" y="1040"/>
                  <a:pt x="2187" y="1040"/>
                </a:cubicBezTo>
                <a:cubicBezTo>
                  <a:pt x="2188" y="1037"/>
                  <a:pt x="2188" y="1037"/>
                  <a:pt x="2188" y="1037"/>
                </a:cubicBezTo>
                <a:cubicBezTo>
                  <a:pt x="2190" y="1037"/>
                  <a:pt x="2190" y="1037"/>
                  <a:pt x="2190" y="1037"/>
                </a:cubicBezTo>
                <a:cubicBezTo>
                  <a:pt x="2191" y="1036"/>
                  <a:pt x="2191" y="1036"/>
                  <a:pt x="2191" y="1036"/>
                </a:cubicBezTo>
                <a:cubicBezTo>
                  <a:pt x="2190" y="1034"/>
                  <a:pt x="2190" y="1034"/>
                  <a:pt x="2190" y="1034"/>
                </a:cubicBezTo>
                <a:cubicBezTo>
                  <a:pt x="2191" y="1033"/>
                  <a:pt x="2191" y="1033"/>
                  <a:pt x="2191" y="1033"/>
                </a:cubicBezTo>
                <a:cubicBezTo>
                  <a:pt x="2192" y="1035"/>
                  <a:pt x="2192" y="1035"/>
                  <a:pt x="2192" y="1035"/>
                </a:cubicBezTo>
                <a:cubicBezTo>
                  <a:pt x="2192" y="1036"/>
                  <a:pt x="2192" y="1036"/>
                  <a:pt x="2192" y="1036"/>
                </a:cubicBezTo>
                <a:cubicBezTo>
                  <a:pt x="2192" y="1038"/>
                  <a:pt x="2192" y="1038"/>
                  <a:pt x="2192" y="1038"/>
                </a:cubicBezTo>
                <a:cubicBezTo>
                  <a:pt x="2191" y="1039"/>
                  <a:pt x="2191" y="1039"/>
                  <a:pt x="2191" y="1039"/>
                </a:cubicBezTo>
                <a:cubicBezTo>
                  <a:pt x="2190" y="1042"/>
                  <a:pt x="2190" y="1042"/>
                  <a:pt x="2190" y="1042"/>
                </a:cubicBezTo>
                <a:cubicBezTo>
                  <a:pt x="2188" y="1044"/>
                  <a:pt x="2188" y="1044"/>
                  <a:pt x="2188" y="1044"/>
                </a:cubicBezTo>
                <a:cubicBezTo>
                  <a:pt x="2187" y="1045"/>
                  <a:pt x="2187" y="1045"/>
                  <a:pt x="2187" y="1045"/>
                </a:cubicBezTo>
                <a:cubicBezTo>
                  <a:pt x="2187" y="1046"/>
                  <a:pt x="2187" y="1046"/>
                  <a:pt x="2187" y="1046"/>
                </a:cubicBezTo>
                <a:cubicBezTo>
                  <a:pt x="2187" y="1048"/>
                  <a:pt x="2187" y="1048"/>
                  <a:pt x="2187" y="1048"/>
                </a:cubicBezTo>
                <a:cubicBezTo>
                  <a:pt x="2185" y="1050"/>
                  <a:pt x="2185" y="1050"/>
                  <a:pt x="2185" y="1050"/>
                </a:cubicBezTo>
                <a:cubicBezTo>
                  <a:pt x="2186" y="1050"/>
                  <a:pt x="2186" y="1050"/>
                  <a:pt x="2186" y="1050"/>
                </a:cubicBezTo>
                <a:cubicBezTo>
                  <a:pt x="2185" y="1053"/>
                  <a:pt x="2185" y="1053"/>
                  <a:pt x="2185" y="1053"/>
                </a:cubicBezTo>
                <a:cubicBezTo>
                  <a:pt x="2182" y="1053"/>
                  <a:pt x="2182" y="1053"/>
                  <a:pt x="2182" y="1053"/>
                </a:cubicBezTo>
                <a:cubicBezTo>
                  <a:pt x="2181" y="1055"/>
                  <a:pt x="2181" y="1055"/>
                  <a:pt x="2181" y="1055"/>
                </a:cubicBezTo>
                <a:cubicBezTo>
                  <a:pt x="2180" y="1056"/>
                  <a:pt x="2180" y="1056"/>
                  <a:pt x="2180" y="1056"/>
                </a:cubicBezTo>
                <a:cubicBezTo>
                  <a:pt x="2182" y="1056"/>
                  <a:pt x="2182" y="1056"/>
                  <a:pt x="2182" y="1056"/>
                </a:cubicBezTo>
                <a:cubicBezTo>
                  <a:pt x="2184" y="1055"/>
                  <a:pt x="2184" y="1055"/>
                  <a:pt x="2184" y="1055"/>
                </a:cubicBezTo>
                <a:cubicBezTo>
                  <a:pt x="2186" y="1056"/>
                  <a:pt x="2186" y="1056"/>
                  <a:pt x="2186" y="1056"/>
                </a:cubicBezTo>
                <a:cubicBezTo>
                  <a:pt x="2188" y="1052"/>
                  <a:pt x="2188" y="1052"/>
                  <a:pt x="2188" y="1052"/>
                </a:cubicBezTo>
                <a:cubicBezTo>
                  <a:pt x="2189" y="1049"/>
                  <a:pt x="2189" y="1049"/>
                  <a:pt x="2189" y="1049"/>
                </a:cubicBezTo>
                <a:cubicBezTo>
                  <a:pt x="2190" y="1047"/>
                  <a:pt x="2190" y="1047"/>
                  <a:pt x="2190" y="1047"/>
                </a:cubicBezTo>
                <a:cubicBezTo>
                  <a:pt x="2191" y="1048"/>
                  <a:pt x="2191" y="1048"/>
                  <a:pt x="2191" y="1048"/>
                </a:cubicBezTo>
                <a:cubicBezTo>
                  <a:pt x="2191" y="1051"/>
                  <a:pt x="2191" y="1051"/>
                  <a:pt x="2191" y="1051"/>
                </a:cubicBezTo>
                <a:cubicBezTo>
                  <a:pt x="2192" y="1053"/>
                  <a:pt x="2192" y="1053"/>
                  <a:pt x="2192" y="1053"/>
                </a:cubicBezTo>
                <a:cubicBezTo>
                  <a:pt x="2191" y="1053"/>
                  <a:pt x="2191" y="1053"/>
                  <a:pt x="2191" y="1053"/>
                </a:cubicBezTo>
                <a:cubicBezTo>
                  <a:pt x="2191" y="1056"/>
                  <a:pt x="2191" y="1056"/>
                  <a:pt x="2191" y="1056"/>
                </a:cubicBezTo>
                <a:cubicBezTo>
                  <a:pt x="2190" y="1058"/>
                  <a:pt x="2190" y="1058"/>
                  <a:pt x="2190" y="1058"/>
                </a:cubicBezTo>
                <a:cubicBezTo>
                  <a:pt x="2188" y="1059"/>
                  <a:pt x="2188" y="1059"/>
                  <a:pt x="2188" y="1059"/>
                </a:cubicBezTo>
                <a:cubicBezTo>
                  <a:pt x="2188" y="1060"/>
                  <a:pt x="2188" y="1060"/>
                  <a:pt x="2188" y="1060"/>
                </a:cubicBezTo>
                <a:cubicBezTo>
                  <a:pt x="2189" y="1060"/>
                  <a:pt x="2189" y="1060"/>
                  <a:pt x="2189" y="1060"/>
                </a:cubicBezTo>
                <a:cubicBezTo>
                  <a:pt x="2191" y="1060"/>
                  <a:pt x="2191" y="1060"/>
                  <a:pt x="2191" y="1060"/>
                </a:cubicBezTo>
                <a:cubicBezTo>
                  <a:pt x="2192" y="1059"/>
                  <a:pt x="2192" y="1059"/>
                  <a:pt x="2192" y="1059"/>
                </a:cubicBezTo>
                <a:cubicBezTo>
                  <a:pt x="2193" y="1059"/>
                  <a:pt x="2193" y="1059"/>
                  <a:pt x="2193" y="1059"/>
                </a:cubicBezTo>
                <a:cubicBezTo>
                  <a:pt x="2194" y="1058"/>
                  <a:pt x="2194" y="1058"/>
                  <a:pt x="2194" y="1058"/>
                </a:cubicBezTo>
                <a:cubicBezTo>
                  <a:pt x="2195" y="1058"/>
                  <a:pt x="2195" y="1058"/>
                  <a:pt x="2195" y="1058"/>
                </a:cubicBezTo>
                <a:cubicBezTo>
                  <a:pt x="2196" y="1058"/>
                  <a:pt x="2196" y="1058"/>
                  <a:pt x="2196" y="1058"/>
                </a:cubicBezTo>
                <a:cubicBezTo>
                  <a:pt x="2195" y="1059"/>
                  <a:pt x="2195" y="1059"/>
                  <a:pt x="2195" y="1059"/>
                </a:cubicBezTo>
                <a:cubicBezTo>
                  <a:pt x="2195" y="1060"/>
                  <a:pt x="2195" y="1060"/>
                  <a:pt x="2195" y="1060"/>
                </a:cubicBezTo>
                <a:cubicBezTo>
                  <a:pt x="2194" y="1060"/>
                  <a:pt x="2194" y="1060"/>
                  <a:pt x="2194" y="1060"/>
                </a:cubicBezTo>
                <a:cubicBezTo>
                  <a:pt x="2193" y="1061"/>
                  <a:pt x="2193" y="1061"/>
                  <a:pt x="2193" y="1061"/>
                </a:cubicBezTo>
                <a:cubicBezTo>
                  <a:pt x="2194" y="1063"/>
                  <a:pt x="2194" y="1063"/>
                  <a:pt x="2194" y="1063"/>
                </a:cubicBezTo>
                <a:cubicBezTo>
                  <a:pt x="2195" y="1064"/>
                  <a:pt x="2195" y="1064"/>
                  <a:pt x="2195" y="1064"/>
                </a:cubicBezTo>
                <a:cubicBezTo>
                  <a:pt x="2196" y="1066"/>
                  <a:pt x="2196" y="1066"/>
                  <a:pt x="2196" y="1066"/>
                </a:cubicBezTo>
                <a:cubicBezTo>
                  <a:pt x="2196" y="1068"/>
                  <a:pt x="2196" y="1068"/>
                  <a:pt x="2196" y="1068"/>
                </a:cubicBezTo>
                <a:cubicBezTo>
                  <a:pt x="2196" y="1071"/>
                  <a:pt x="2196" y="1071"/>
                  <a:pt x="2196" y="1071"/>
                </a:cubicBezTo>
                <a:cubicBezTo>
                  <a:pt x="2194" y="1073"/>
                  <a:pt x="2194" y="1073"/>
                  <a:pt x="2194" y="1073"/>
                </a:cubicBezTo>
                <a:cubicBezTo>
                  <a:pt x="2194" y="1074"/>
                  <a:pt x="2194" y="1074"/>
                  <a:pt x="2194" y="1074"/>
                </a:cubicBezTo>
                <a:cubicBezTo>
                  <a:pt x="2194" y="1076"/>
                  <a:pt x="2194" y="1076"/>
                  <a:pt x="2194" y="1076"/>
                </a:cubicBezTo>
                <a:cubicBezTo>
                  <a:pt x="2195" y="1077"/>
                  <a:pt x="2195" y="1077"/>
                  <a:pt x="2195" y="1077"/>
                </a:cubicBezTo>
                <a:cubicBezTo>
                  <a:pt x="2196" y="1078"/>
                  <a:pt x="2196" y="1078"/>
                  <a:pt x="2196" y="1078"/>
                </a:cubicBezTo>
                <a:cubicBezTo>
                  <a:pt x="2196" y="1080"/>
                  <a:pt x="2196" y="1080"/>
                  <a:pt x="2196" y="1080"/>
                </a:cubicBezTo>
                <a:cubicBezTo>
                  <a:pt x="2199" y="1083"/>
                  <a:pt x="2199" y="1083"/>
                  <a:pt x="2199" y="1083"/>
                </a:cubicBezTo>
                <a:cubicBezTo>
                  <a:pt x="2200" y="1084"/>
                  <a:pt x="2200" y="1084"/>
                  <a:pt x="2200" y="1084"/>
                </a:cubicBezTo>
                <a:cubicBezTo>
                  <a:pt x="2202" y="1085"/>
                  <a:pt x="2202" y="1085"/>
                  <a:pt x="2202" y="1085"/>
                </a:cubicBezTo>
                <a:cubicBezTo>
                  <a:pt x="2202" y="1086"/>
                  <a:pt x="2202" y="1086"/>
                  <a:pt x="2202" y="1086"/>
                </a:cubicBezTo>
                <a:cubicBezTo>
                  <a:pt x="2203" y="1086"/>
                  <a:pt x="2203" y="1086"/>
                  <a:pt x="2203" y="1086"/>
                </a:cubicBezTo>
                <a:cubicBezTo>
                  <a:pt x="2204" y="1086"/>
                  <a:pt x="2204" y="1086"/>
                  <a:pt x="2204" y="1086"/>
                </a:cubicBezTo>
                <a:cubicBezTo>
                  <a:pt x="2206" y="1086"/>
                  <a:pt x="2206" y="1086"/>
                  <a:pt x="2206" y="1086"/>
                </a:cubicBezTo>
                <a:cubicBezTo>
                  <a:pt x="2207" y="1088"/>
                  <a:pt x="2207" y="1088"/>
                  <a:pt x="2207" y="1088"/>
                </a:cubicBezTo>
                <a:cubicBezTo>
                  <a:pt x="2209" y="1088"/>
                  <a:pt x="2209" y="1088"/>
                  <a:pt x="2209" y="1088"/>
                </a:cubicBezTo>
                <a:cubicBezTo>
                  <a:pt x="2210" y="1089"/>
                  <a:pt x="2210" y="1089"/>
                  <a:pt x="2210" y="1089"/>
                </a:cubicBezTo>
                <a:cubicBezTo>
                  <a:pt x="2211" y="1091"/>
                  <a:pt x="2211" y="1091"/>
                  <a:pt x="2211" y="1091"/>
                </a:cubicBezTo>
                <a:cubicBezTo>
                  <a:pt x="2212" y="1091"/>
                  <a:pt x="2212" y="1091"/>
                  <a:pt x="2212" y="1091"/>
                </a:cubicBezTo>
                <a:cubicBezTo>
                  <a:pt x="2213" y="1092"/>
                  <a:pt x="2213" y="1092"/>
                  <a:pt x="2213" y="1092"/>
                </a:cubicBezTo>
                <a:cubicBezTo>
                  <a:pt x="2214" y="1092"/>
                  <a:pt x="2214" y="1092"/>
                  <a:pt x="2214" y="1092"/>
                </a:cubicBezTo>
                <a:cubicBezTo>
                  <a:pt x="2215" y="1092"/>
                  <a:pt x="2215" y="1092"/>
                  <a:pt x="2215" y="1092"/>
                </a:cubicBezTo>
                <a:cubicBezTo>
                  <a:pt x="2217" y="1090"/>
                  <a:pt x="2217" y="1090"/>
                  <a:pt x="2217" y="1090"/>
                </a:cubicBezTo>
                <a:cubicBezTo>
                  <a:pt x="2218" y="1089"/>
                  <a:pt x="2218" y="1089"/>
                  <a:pt x="2218" y="1089"/>
                </a:cubicBezTo>
                <a:cubicBezTo>
                  <a:pt x="2219" y="1089"/>
                  <a:pt x="2219" y="1089"/>
                  <a:pt x="2219" y="1089"/>
                </a:cubicBezTo>
                <a:cubicBezTo>
                  <a:pt x="2221" y="1088"/>
                  <a:pt x="2221" y="1088"/>
                  <a:pt x="2221" y="1088"/>
                </a:cubicBezTo>
                <a:cubicBezTo>
                  <a:pt x="2222" y="1088"/>
                  <a:pt x="2222" y="1088"/>
                  <a:pt x="2222" y="1088"/>
                </a:cubicBezTo>
                <a:cubicBezTo>
                  <a:pt x="2222" y="1087"/>
                  <a:pt x="2222" y="1087"/>
                  <a:pt x="2222" y="1087"/>
                </a:cubicBezTo>
                <a:cubicBezTo>
                  <a:pt x="2221" y="1086"/>
                  <a:pt x="2221" y="1086"/>
                  <a:pt x="2221" y="1086"/>
                </a:cubicBezTo>
                <a:cubicBezTo>
                  <a:pt x="2224" y="1084"/>
                  <a:pt x="2224" y="1084"/>
                  <a:pt x="2224" y="1084"/>
                </a:cubicBezTo>
                <a:cubicBezTo>
                  <a:pt x="2226" y="1085"/>
                  <a:pt x="2226" y="1085"/>
                  <a:pt x="2226" y="1085"/>
                </a:cubicBezTo>
                <a:cubicBezTo>
                  <a:pt x="2226" y="1087"/>
                  <a:pt x="2226" y="1087"/>
                  <a:pt x="2226" y="1087"/>
                </a:cubicBezTo>
                <a:cubicBezTo>
                  <a:pt x="2223" y="1088"/>
                  <a:pt x="2223" y="1088"/>
                  <a:pt x="2223" y="1088"/>
                </a:cubicBezTo>
                <a:cubicBezTo>
                  <a:pt x="2224" y="1089"/>
                  <a:pt x="2224" y="1089"/>
                  <a:pt x="2224" y="1089"/>
                </a:cubicBezTo>
                <a:cubicBezTo>
                  <a:pt x="2225" y="1089"/>
                  <a:pt x="2225" y="1089"/>
                  <a:pt x="2225" y="1089"/>
                </a:cubicBezTo>
                <a:cubicBezTo>
                  <a:pt x="2225" y="1088"/>
                  <a:pt x="2225" y="1088"/>
                  <a:pt x="2225" y="1088"/>
                </a:cubicBezTo>
                <a:cubicBezTo>
                  <a:pt x="2227" y="1088"/>
                  <a:pt x="2227" y="1088"/>
                  <a:pt x="2227" y="1088"/>
                </a:cubicBezTo>
                <a:cubicBezTo>
                  <a:pt x="2228" y="1088"/>
                  <a:pt x="2228" y="1088"/>
                  <a:pt x="2228" y="1088"/>
                </a:cubicBezTo>
                <a:cubicBezTo>
                  <a:pt x="2228" y="1090"/>
                  <a:pt x="2228" y="1090"/>
                  <a:pt x="2228" y="1090"/>
                </a:cubicBezTo>
                <a:cubicBezTo>
                  <a:pt x="2227" y="1090"/>
                  <a:pt x="2227" y="1090"/>
                  <a:pt x="2227" y="1090"/>
                </a:cubicBezTo>
                <a:cubicBezTo>
                  <a:pt x="2226" y="1091"/>
                  <a:pt x="2226" y="1091"/>
                  <a:pt x="2226" y="1091"/>
                </a:cubicBezTo>
                <a:cubicBezTo>
                  <a:pt x="2228" y="1093"/>
                  <a:pt x="2228" y="1093"/>
                  <a:pt x="2228" y="1093"/>
                </a:cubicBezTo>
                <a:cubicBezTo>
                  <a:pt x="2228" y="1095"/>
                  <a:pt x="2228" y="1095"/>
                  <a:pt x="2228" y="1095"/>
                </a:cubicBezTo>
                <a:cubicBezTo>
                  <a:pt x="2229" y="1094"/>
                  <a:pt x="2229" y="1094"/>
                  <a:pt x="2229" y="1094"/>
                </a:cubicBezTo>
                <a:cubicBezTo>
                  <a:pt x="2229" y="1096"/>
                  <a:pt x="2229" y="1096"/>
                  <a:pt x="2229" y="1096"/>
                </a:cubicBezTo>
                <a:cubicBezTo>
                  <a:pt x="2230" y="1097"/>
                  <a:pt x="2230" y="1097"/>
                  <a:pt x="2230" y="1097"/>
                </a:cubicBezTo>
                <a:cubicBezTo>
                  <a:pt x="2231" y="1095"/>
                  <a:pt x="2231" y="1095"/>
                  <a:pt x="2231" y="1095"/>
                </a:cubicBezTo>
                <a:cubicBezTo>
                  <a:pt x="2231" y="1094"/>
                  <a:pt x="2231" y="1094"/>
                  <a:pt x="2231" y="1094"/>
                </a:cubicBezTo>
                <a:cubicBezTo>
                  <a:pt x="2230" y="1094"/>
                  <a:pt x="2230" y="1094"/>
                  <a:pt x="2230" y="1094"/>
                </a:cubicBezTo>
                <a:cubicBezTo>
                  <a:pt x="2231" y="1093"/>
                  <a:pt x="2231" y="1093"/>
                  <a:pt x="2231" y="1093"/>
                </a:cubicBezTo>
                <a:cubicBezTo>
                  <a:pt x="2232" y="1093"/>
                  <a:pt x="2232" y="1093"/>
                  <a:pt x="2232" y="1093"/>
                </a:cubicBezTo>
                <a:cubicBezTo>
                  <a:pt x="2232" y="1094"/>
                  <a:pt x="2232" y="1094"/>
                  <a:pt x="2232" y="1094"/>
                </a:cubicBezTo>
                <a:cubicBezTo>
                  <a:pt x="2233" y="1093"/>
                  <a:pt x="2233" y="1093"/>
                  <a:pt x="2233" y="1093"/>
                </a:cubicBezTo>
                <a:cubicBezTo>
                  <a:pt x="2234" y="1093"/>
                  <a:pt x="2234" y="1093"/>
                  <a:pt x="2234" y="1093"/>
                </a:cubicBezTo>
                <a:cubicBezTo>
                  <a:pt x="2234" y="1094"/>
                  <a:pt x="2234" y="1094"/>
                  <a:pt x="2234" y="1094"/>
                </a:cubicBezTo>
                <a:cubicBezTo>
                  <a:pt x="2235" y="1093"/>
                  <a:pt x="2235" y="1093"/>
                  <a:pt x="2235" y="1093"/>
                </a:cubicBezTo>
                <a:cubicBezTo>
                  <a:pt x="2236" y="1091"/>
                  <a:pt x="2236" y="1091"/>
                  <a:pt x="2236" y="1091"/>
                </a:cubicBezTo>
                <a:cubicBezTo>
                  <a:pt x="2239" y="1089"/>
                  <a:pt x="2239" y="1089"/>
                  <a:pt x="2239" y="1089"/>
                </a:cubicBezTo>
                <a:cubicBezTo>
                  <a:pt x="2241" y="1087"/>
                  <a:pt x="2241" y="1087"/>
                  <a:pt x="2241" y="1087"/>
                </a:cubicBezTo>
                <a:cubicBezTo>
                  <a:pt x="2242" y="1087"/>
                  <a:pt x="2242" y="1087"/>
                  <a:pt x="2242" y="1087"/>
                </a:cubicBezTo>
                <a:cubicBezTo>
                  <a:pt x="2244" y="1086"/>
                  <a:pt x="2244" y="1086"/>
                  <a:pt x="2244" y="1086"/>
                </a:cubicBezTo>
                <a:cubicBezTo>
                  <a:pt x="2249" y="1085"/>
                  <a:pt x="2249" y="1085"/>
                  <a:pt x="2249" y="1085"/>
                </a:cubicBezTo>
                <a:cubicBezTo>
                  <a:pt x="2253" y="1086"/>
                  <a:pt x="2253" y="1086"/>
                  <a:pt x="2253" y="1086"/>
                </a:cubicBezTo>
                <a:cubicBezTo>
                  <a:pt x="2254" y="1085"/>
                  <a:pt x="2254" y="1085"/>
                  <a:pt x="2254" y="1085"/>
                </a:cubicBezTo>
                <a:cubicBezTo>
                  <a:pt x="2254" y="1084"/>
                  <a:pt x="2254" y="1084"/>
                  <a:pt x="2254" y="1084"/>
                </a:cubicBezTo>
                <a:cubicBezTo>
                  <a:pt x="2255" y="1084"/>
                  <a:pt x="2255" y="1084"/>
                  <a:pt x="2255" y="1084"/>
                </a:cubicBezTo>
                <a:cubicBezTo>
                  <a:pt x="2257" y="1083"/>
                  <a:pt x="2257" y="1083"/>
                  <a:pt x="2257" y="1083"/>
                </a:cubicBezTo>
                <a:cubicBezTo>
                  <a:pt x="2258" y="1081"/>
                  <a:pt x="2258" y="1081"/>
                  <a:pt x="2258" y="1081"/>
                </a:cubicBezTo>
                <a:cubicBezTo>
                  <a:pt x="2257" y="1078"/>
                  <a:pt x="2257" y="1078"/>
                  <a:pt x="2257" y="1078"/>
                </a:cubicBezTo>
                <a:cubicBezTo>
                  <a:pt x="2257" y="1077"/>
                  <a:pt x="2257" y="1077"/>
                  <a:pt x="2257" y="1077"/>
                </a:cubicBezTo>
                <a:cubicBezTo>
                  <a:pt x="2259" y="1075"/>
                  <a:pt x="2259" y="1075"/>
                  <a:pt x="2259" y="1075"/>
                </a:cubicBezTo>
                <a:cubicBezTo>
                  <a:pt x="2259" y="1071"/>
                  <a:pt x="2259" y="1071"/>
                  <a:pt x="2259" y="1071"/>
                </a:cubicBezTo>
                <a:cubicBezTo>
                  <a:pt x="2260" y="1070"/>
                  <a:pt x="2260" y="1070"/>
                  <a:pt x="2260" y="1070"/>
                </a:cubicBezTo>
                <a:cubicBezTo>
                  <a:pt x="2261" y="1067"/>
                  <a:pt x="2261" y="1067"/>
                  <a:pt x="2261" y="1067"/>
                </a:cubicBezTo>
                <a:cubicBezTo>
                  <a:pt x="2262" y="1067"/>
                  <a:pt x="2262" y="1067"/>
                  <a:pt x="2262" y="1067"/>
                </a:cubicBezTo>
                <a:cubicBezTo>
                  <a:pt x="2262" y="1065"/>
                  <a:pt x="2262" y="1065"/>
                  <a:pt x="2262" y="1065"/>
                </a:cubicBezTo>
                <a:cubicBezTo>
                  <a:pt x="2266" y="1061"/>
                  <a:pt x="2266" y="1061"/>
                  <a:pt x="2266" y="1061"/>
                </a:cubicBezTo>
                <a:cubicBezTo>
                  <a:pt x="2267" y="1061"/>
                  <a:pt x="2267" y="1061"/>
                  <a:pt x="2267" y="1061"/>
                </a:cubicBezTo>
                <a:cubicBezTo>
                  <a:pt x="2267" y="1058"/>
                  <a:pt x="2267" y="1058"/>
                  <a:pt x="2267" y="1058"/>
                </a:cubicBezTo>
                <a:cubicBezTo>
                  <a:pt x="2269" y="1056"/>
                  <a:pt x="2269" y="1056"/>
                  <a:pt x="2269" y="1056"/>
                </a:cubicBezTo>
                <a:cubicBezTo>
                  <a:pt x="2270" y="1053"/>
                  <a:pt x="2270" y="1053"/>
                  <a:pt x="2270" y="1053"/>
                </a:cubicBezTo>
                <a:cubicBezTo>
                  <a:pt x="2271" y="1052"/>
                  <a:pt x="2271" y="1052"/>
                  <a:pt x="2271" y="1052"/>
                </a:cubicBezTo>
                <a:cubicBezTo>
                  <a:pt x="2271" y="1050"/>
                  <a:pt x="2271" y="1050"/>
                  <a:pt x="2271" y="1050"/>
                </a:cubicBezTo>
                <a:cubicBezTo>
                  <a:pt x="2272" y="1050"/>
                  <a:pt x="2272" y="1050"/>
                  <a:pt x="2272" y="1050"/>
                </a:cubicBezTo>
                <a:cubicBezTo>
                  <a:pt x="2273" y="1047"/>
                  <a:pt x="2273" y="1047"/>
                  <a:pt x="2273" y="1047"/>
                </a:cubicBezTo>
                <a:cubicBezTo>
                  <a:pt x="2272" y="1047"/>
                  <a:pt x="2272" y="1047"/>
                  <a:pt x="2272" y="1047"/>
                </a:cubicBezTo>
                <a:cubicBezTo>
                  <a:pt x="2274" y="1046"/>
                  <a:pt x="2274" y="1046"/>
                  <a:pt x="2274" y="1046"/>
                </a:cubicBezTo>
                <a:cubicBezTo>
                  <a:pt x="2276" y="1044"/>
                  <a:pt x="2276" y="1044"/>
                  <a:pt x="2276" y="1044"/>
                </a:cubicBezTo>
                <a:cubicBezTo>
                  <a:pt x="2277" y="1043"/>
                  <a:pt x="2277" y="1043"/>
                  <a:pt x="2277" y="1043"/>
                </a:cubicBezTo>
                <a:cubicBezTo>
                  <a:pt x="2278" y="1041"/>
                  <a:pt x="2278" y="1041"/>
                  <a:pt x="2278" y="1041"/>
                </a:cubicBezTo>
                <a:cubicBezTo>
                  <a:pt x="2279" y="1040"/>
                  <a:pt x="2279" y="1040"/>
                  <a:pt x="2279" y="1040"/>
                </a:cubicBezTo>
                <a:cubicBezTo>
                  <a:pt x="2279" y="1039"/>
                  <a:pt x="2279" y="1039"/>
                  <a:pt x="2279" y="1039"/>
                </a:cubicBezTo>
                <a:cubicBezTo>
                  <a:pt x="2281" y="1039"/>
                  <a:pt x="2281" y="1039"/>
                  <a:pt x="2281" y="1039"/>
                </a:cubicBezTo>
                <a:cubicBezTo>
                  <a:pt x="2283" y="1038"/>
                  <a:pt x="2283" y="1038"/>
                  <a:pt x="2283" y="1038"/>
                </a:cubicBezTo>
                <a:cubicBezTo>
                  <a:pt x="2284" y="1036"/>
                  <a:pt x="2284" y="1036"/>
                  <a:pt x="2284" y="1036"/>
                </a:cubicBezTo>
                <a:cubicBezTo>
                  <a:pt x="2283" y="1035"/>
                  <a:pt x="2283" y="1035"/>
                  <a:pt x="2283" y="1035"/>
                </a:cubicBezTo>
                <a:cubicBezTo>
                  <a:pt x="2284" y="1034"/>
                  <a:pt x="2284" y="1034"/>
                  <a:pt x="2284" y="1034"/>
                </a:cubicBezTo>
                <a:cubicBezTo>
                  <a:pt x="2286" y="1033"/>
                  <a:pt x="2286" y="1033"/>
                  <a:pt x="2286" y="1033"/>
                </a:cubicBezTo>
                <a:cubicBezTo>
                  <a:pt x="2286" y="1031"/>
                  <a:pt x="2286" y="1031"/>
                  <a:pt x="2286" y="1031"/>
                </a:cubicBezTo>
                <a:cubicBezTo>
                  <a:pt x="2287" y="1031"/>
                  <a:pt x="2287" y="1031"/>
                  <a:pt x="2287" y="1031"/>
                </a:cubicBezTo>
                <a:cubicBezTo>
                  <a:pt x="2289" y="1028"/>
                  <a:pt x="2289" y="1028"/>
                  <a:pt x="2289" y="1028"/>
                </a:cubicBezTo>
                <a:cubicBezTo>
                  <a:pt x="2288" y="1027"/>
                  <a:pt x="2288" y="1027"/>
                  <a:pt x="2288" y="1027"/>
                </a:cubicBezTo>
                <a:cubicBezTo>
                  <a:pt x="2289" y="1025"/>
                  <a:pt x="2289" y="1025"/>
                  <a:pt x="2289" y="1025"/>
                </a:cubicBezTo>
                <a:cubicBezTo>
                  <a:pt x="2289" y="1024"/>
                  <a:pt x="2289" y="1024"/>
                  <a:pt x="2289" y="1024"/>
                </a:cubicBezTo>
                <a:cubicBezTo>
                  <a:pt x="2291" y="1019"/>
                  <a:pt x="2291" y="1019"/>
                  <a:pt x="2291" y="1019"/>
                </a:cubicBezTo>
                <a:cubicBezTo>
                  <a:pt x="2291" y="1017"/>
                  <a:pt x="2291" y="1017"/>
                  <a:pt x="2291" y="1017"/>
                </a:cubicBezTo>
                <a:cubicBezTo>
                  <a:pt x="2293" y="1013"/>
                  <a:pt x="2293" y="1013"/>
                  <a:pt x="2293" y="1013"/>
                </a:cubicBezTo>
                <a:cubicBezTo>
                  <a:pt x="2293" y="1012"/>
                  <a:pt x="2293" y="1012"/>
                  <a:pt x="2293" y="1012"/>
                </a:cubicBezTo>
                <a:cubicBezTo>
                  <a:pt x="2294" y="1009"/>
                  <a:pt x="2294" y="1009"/>
                  <a:pt x="2294" y="1009"/>
                </a:cubicBezTo>
                <a:cubicBezTo>
                  <a:pt x="2296" y="1007"/>
                  <a:pt x="2296" y="1007"/>
                  <a:pt x="2296" y="1007"/>
                </a:cubicBezTo>
                <a:cubicBezTo>
                  <a:pt x="2297" y="1006"/>
                  <a:pt x="2297" y="1006"/>
                  <a:pt x="2297" y="1006"/>
                </a:cubicBezTo>
                <a:cubicBezTo>
                  <a:pt x="2296" y="1004"/>
                  <a:pt x="2296" y="1004"/>
                  <a:pt x="2296" y="1004"/>
                </a:cubicBezTo>
                <a:cubicBezTo>
                  <a:pt x="2297" y="1002"/>
                  <a:pt x="2297" y="1002"/>
                  <a:pt x="2297" y="1002"/>
                </a:cubicBezTo>
                <a:cubicBezTo>
                  <a:pt x="2296" y="1000"/>
                  <a:pt x="2296" y="1000"/>
                  <a:pt x="2296" y="1000"/>
                </a:cubicBezTo>
                <a:cubicBezTo>
                  <a:pt x="2296" y="998"/>
                  <a:pt x="2296" y="998"/>
                  <a:pt x="2296" y="998"/>
                </a:cubicBezTo>
                <a:cubicBezTo>
                  <a:pt x="2296" y="996"/>
                  <a:pt x="2296" y="996"/>
                  <a:pt x="2296" y="996"/>
                </a:cubicBezTo>
                <a:cubicBezTo>
                  <a:pt x="2295" y="995"/>
                  <a:pt x="2295" y="995"/>
                  <a:pt x="2295" y="995"/>
                </a:cubicBezTo>
                <a:cubicBezTo>
                  <a:pt x="2295" y="994"/>
                  <a:pt x="2295" y="994"/>
                  <a:pt x="2295" y="994"/>
                </a:cubicBezTo>
                <a:cubicBezTo>
                  <a:pt x="2296" y="993"/>
                  <a:pt x="2296" y="993"/>
                  <a:pt x="2296" y="993"/>
                </a:cubicBezTo>
                <a:cubicBezTo>
                  <a:pt x="2296" y="992"/>
                  <a:pt x="2296" y="992"/>
                  <a:pt x="2296" y="992"/>
                </a:cubicBezTo>
                <a:cubicBezTo>
                  <a:pt x="2297" y="990"/>
                  <a:pt x="2297" y="990"/>
                  <a:pt x="2297" y="990"/>
                </a:cubicBezTo>
                <a:cubicBezTo>
                  <a:pt x="2297" y="989"/>
                  <a:pt x="2297" y="989"/>
                  <a:pt x="2297" y="989"/>
                </a:cubicBezTo>
                <a:cubicBezTo>
                  <a:pt x="2297" y="986"/>
                  <a:pt x="2297" y="986"/>
                  <a:pt x="2297" y="986"/>
                </a:cubicBezTo>
                <a:cubicBezTo>
                  <a:pt x="2297" y="984"/>
                  <a:pt x="2297" y="984"/>
                  <a:pt x="2297" y="984"/>
                </a:cubicBezTo>
                <a:cubicBezTo>
                  <a:pt x="2296" y="982"/>
                  <a:pt x="2296" y="982"/>
                  <a:pt x="2296" y="982"/>
                </a:cubicBezTo>
                <a:cubicBezTo>
                  <a:pt x="2296" y="980"/>
                  <a:pt x="2296" y="980"/>
                  <a:pt x="2296" y="980"/>
                </a:cubicBezTo>
                <a:cubicBezTo>
                  <a:pt x="2297" y="978"/>
                  <a:pt x="2297" y="978"/>
                  <a:pt x="2297" y="978"/>
                </a:cubicBezTo>
                <a:cubicBezTo>
                  <a:pt x="2295" y="978"/>
                  <a:pt x="2295" y="978"/>
                  <a:pt x="2295" y="978"/>
                </a:cubicBezTo>
                <a:cubicBezTo>
                  <a:pt x="2295" y="977"/>
                  <a:pt x="2295" y="977"/>
                  <a:pt x="2295" y="977"/>
                </a:cubicBezTo>
                <a:close/>
                <a:moveTo>
                  <a:pt x="2226" y="1089"/>
                </a:moveTo>
                <a:cubicBezTo>
                  <a:pt x="2226" y="1089"/>
                  <a:pt x="2226" y="1089"/>
                  <a:pt x="2225" y="1089"/>
                </a:cubicBezTo>
                <a:cubicBezTo>
                  <a:pt x="2225" y="1089"/>
                  <a:pt x="2225" y="1089"/>
                  <a:pt x="2226" y="1090"/>
                </a:cubicBezTo>
                <a:cubicBezTo>
                  <a:pt x="2226" y="1090"/>
                  <a:pt x="2226" y="1090"/>
                  <a:pt x="2226" y="1089"/>
                </a:cubicBezTo>
                <a:close/>
                <a:moveTo>
                  <a:pt x="2237" y="1105"/>
                </a:moveTo>
                <a:cubicBezTo>
                  <a:pt x="2236" y="1106"/>
                  <a:pt x="2236" y="1106"/>
                  <a:pt x="2236" y="1106"/>
                </a:cubicBezTo>
                <a:cubicBezTo>
                  <a:pt x="2237" y="1107"/>
                  <a:pt x="2237" y="1107"/>
                  <a:pt x="2237" y="1107"/>
                </a:cubicBezTo>
                <a:cubicBezTo>
                  <a:pt x="2237" y="1108"/>
                  <a:pt x="2237" y="1108"/>
                  <a:pt x="2237" y="1108"/>
                </a:cubicBezTo>
                <a:cubicBezTo>
                  <a:pt x="2240" y="1107"/>
                  <a:pt x="2240" y="1107"/>
                  <a:pt x="2240" y="1107"/>
                </a:cubicBezTo>
                <a:cubicBezTo>
                  <a:pt x="2240" y="1106"/>
                  <a:pt x="2240" y="1106"/>
                  <a:pt x="2240" y="1106"/>
                </a:cubicBezTo>
                <a:cubicBezTo>
                  <a:pt x="2237" y="1104"/>
                  <a:pt x="2237" y="1104"/>
                  <a:pt x="2237" y="1104"/>
                </a:cubicBezTo>
                <a:cubicBezTo>
                  <a:pt x="2237" y="1105"/>
                  <a:pt x="2237" y="1105"/>
                  <a:pt x="2237" y="1105"/>
                </a:cubicBezTo>
                <a:close/>
                <a:moveTo>
                  <a:pt x="2237" y="1109"/>
                </a:moveTo>
                <a:cubicBezTo>
                  <a:pt x="2236" y="1109"/>
                  <a:pt x="2236" y="1109"/>
                  <a:pt x="2236" y="1109"/>
                </a:cubicBezTo>
                <a:cubicBezTo>
                  <a:pt x="2236" y="1110"/>
                  <a:pt x="2236" y="1110"/>
                  <a:pt x="2236" y="1110"/>
                </a:cubicBezTo>
                <a:cubicBezTo>
                  <a:pt x="2238" y="1110"/>
                  <a:pt x="2238" y="1110"/>
                  <a:pt x="2238" y="1110"/>
                </a:cubicBezTo>
                <a:cubicBezTo>
                  <a:pt x="2239" y="1111"/>
                  <a:pt x="2239" y="1111"/>
                  <a:pt x="2239" y="1111"/>
                </a:cubicBezTo>
                <a:cubicBezTo>
                  <a:pt x="2240" y="1110"/>
                  <a:pt x="2240" y="1110"/>
                  <a:pt x="2240" y="1110"/>
                </a:cubicBezTo>
                <a:cubicBezTo>
                  <a:pt x="2238" y="1109"/>
                  <a:pt x="2238" y="1109"/>
                  <a:pt x="2238" y="1109"/>
                </a:cubicBezTo>
                <a:cubicBezTo>
                  <a:pt x="2237" y="1109"/>
                  <a:pt x="2237" y="1109"/>
                  <a:pt x="2237" y="1109"/>
                </a:cubicBezTo>
                <a:close/>
                <a:moveTo>
                  <a:pt x="2197" y="879"/>
                </a:moveTo>
                <a:cubicBezTo>
                  <a:pt x="2197" y="879"/>
                  <a:pt x="2197" y="879"/>
                  <a:pt x="2198" y="880"/>
                </a:cubicBezTo>
                <a:cubicBezTo>
                  <a:pt x="2198" y="880"/>
                  <a:pt x="2198" y="880"/>
                  <a:pt x="2199" y="879"/>
                </a:cubicBezTo>
                <a:cubicBezTo>
                  <a:pt x="2199" y="879"/>
                  <a:pt x="2199" y="879"/>
                  <a:pt x="2197" y="879"/>
                </a:cubicBezTo>
                <a:close/>
                <a:moveTo>
                  <a:pt x="2198" y="880"/>
                </a:moveTo>
                <a:cubicBezTo>
                  <a:pt x="2198" y="881"/>
                  <a:pt x="2198" y="881"/>
                  <a:pt x="2198" y="881"/>
                </a:cubicBezTo>
                <a:cubicBezTo>
                  <a:pt x="2199" y="880"/>
                  <a:pt x="2199" y="880"/>
                  <a:pt x="2199" y="880"/>
                </a:cubicBezTo>
                <a:cubicBezTo>
                  <a:pt x="2198" y="880"/>
                  <a:pt x="2198" y="880"/>
                  <a:pt x="2198" y="880"/>
                </a:cubicBezTo>
                <a:close/>
                <a:moveTo>
                  <a:pt x="2166" y="878"/>
                </a:moveTo>
                <a:cubicBezTo>
                  <a:pt x="2166" y="878"/>
                  <a:pt x="2166" y="878"/>
                  <a:pt x="2165" y="875"/>
                </a:cubicBezTo>
                <a:cubicBezTo>
                  <a:pt x="2165" y="875"/>
                  <a:pt x="2165" y="875"/>
                  <a:pt x="2164" y="876"/>
                </a:cubicBezTo>
                <a:cubicBezTo>
                  <a:pt x="2164" y="876"/>
                  <a:pt x="2164" y="876"/>
                  <a:pt x="2165" y="876"/>
                </a:cubicBezTo>
                <a:cubicBezTo>
                  <a:pt x="2165" y="876"/>
                  <a:pt x="2165" y="876"/>
                  <a:pt x="2164" y="877"/>
                </a:cubicBezTo>
                <a:cubicBezTo>
                  <a:pt x="2164" y="877"/>
                  <a:pt x="2164" y="877"/>
                  <a:pt x="2164" y="878"/>
                </a:cubicBezTo>
                <a:cubicBezTo>
                  <a:pt x="2164" y="878"/>
                  <a:pt x="2164" y="878"/>
                  <a:pt x="2165" y="878"/>
                </a:cubicBezTo>
                <a:cubicBezTo>
                  <a:pt x="2165" y="878"/>
                  <a:pt x="2165" y="878"/>
                  <a:pt x="2166" y="878"/>
                </a:cubicBezTo>
                <a:close/>
                <a:moveTo>
                  <a:pt x="2241" y="868"/>
                </a:moveTo>
                <a:cubicBezTo>
                  <a:pt x="2242" y="867"/>
                  <a:pt x="2242" y="867"/>
                  <a:pt x="2242" y="867"/>
                </a:cubicBezTo>
                <a:cubicBezTo>
                  <a:pt x="2241" y="867"/>
                  <a:pt x="2241" y="867"/>
                  <a:pt x="2241" y="867"/>
                </a:cubicBezTo>
                <a:cubicBezTo>
                  <a:pt x="2241" y="868"/>
                  <a:pt x="2241" y="868"/>
                  <a:pt x="2241" y="868"/>
                </a:cubicBezTo>
                <a:close/>
                <a:moveTo>
                  <a:pt x="2430" y="1101"/>
                </a:moveTo>
                <a:cubicBezTo>
                  <a:pt x="2429" y="1100"/>
                  <a:pt x="2429" y="1100"/>
                  <a:pt x="2429" y="1100"/>
                </a:cubicBezTo>
                <a:cubicBezTo>
                  <a:pt x="2430" y="1100"/>
                  <a:pt x="2430" y="1100"/>
                  <a:pt x="2430" y="1100"/>
                </a:cubicBezTo>
                <a:cubicBezTo>
                  <a:pt x="2429" y="1099"/>
                  <a:pt x="2429" y="1099"/>
                  <a:pt x="2429" y="1099"/>
                </a:cubicBezTo>
                <a:cubicBezTo>
                  <a:pt x="2427" y="1100"/>
                  <a:pt x="2427" y="1100"/>
                  <a:pt x="2427" y="1100"/>
                </a:cubicBezTo>
                <a:cubicBezTo>
                  <a:pt x="2425" y="1103"/>
                  <a:pt x="2425" y="1103"/>
                  <a:pt x="2425" y="1103"/>
                </a:cubicBezTo>
                <a:cubicBezTo>
                  <a:pt x="2423" y="1103"/>
                  <a:pt x="2423" y="1103"/>
                  <a:pt x="2423" y="1103"/>
                </a:cubicBezTo>
                <a:cubicBezTo>
                  <a:pt x="2421" y="1103"/>
                  <a:pt x="2421" y="1103"/>
                  <a:pt x="2421" y="1103"/>
                </a:cubicBezTo>
                <a:cubicBezTo>
                  <a:pt x="2419" y="1100"/>
                  <a:pt x="2419" y="1100"/>
                  <a:pt x="2419" y="1100"/>
                </a:cubicBezTo>
                <a:cubicBezTo>
                  <a:pt x="2418" y="1100"/>
                  <a:pt x="2418" y="1100"/>
                  <a:pt x="2418" y="1100"/>
                </a:cubicBezTo>
                <a:cubicBezTo>
                  <a:pt x="2417" y="1099"/>
                  <a:pt x="2417" y="1099"/>
                  <a:pt x="2417" y="1099"/>
                </a:cubicBezTo>
                <a:cubicBezTo>
                  <a:pt x="2417" y="1098"/>
                  <a:pt x="2417" y="1098"/>
                  <a:pt x="2417" y="1098"/>
                </a:cubicBezTo>
                <a:cubicBezTo>
                  <a:pt x="2418" y="1097"/>
                  <a:pt x="2418" y="1097"/>
                  <a:pt x="2418" y="1097"/>
                </a:cubicBezTo>
                <a:cubicBezTo>
                  <a:pt x="2418" y="1096"/>
                  <a:pt x="2418" y="1096"/>
                  <a:pt x="2418" y="1096"/>
                </a:cubicBezTo>
                <a:cubicBezTo>
                  <a:pt x="2417" y="1094"/>
                  <a:pt x="2417" y="1094"/>
                  <a:pt x="2417" y="1094"/>
                </a:cubicBezTo>
                <a:cubicBezTo>
                  <a:pt x="2417" y="1093"/>
                  <a:pt x="2417" y="1093"/>
                  <a:pt x="2417" y="1093"/>
                </a:cubicBezTo>
                <a:cubicBezTo>
                  <a:pt x="2416" y="1092"/>
                  <a:pt x="2416" y="1092"/>
                  <a:pt x="2416" y="1092"/>
                </a:cubicBezTo>
                <a:cubicBezTo>
                  <a:pt x="2417" y="1091"/>
                  <a:pt x="2417" y="1091"/>
                  <a:pt x="2417" y="1091"/>
                </a:cubicBezTo>
                <a:cubicBezTo>
                  <a:pt x="2417" y="1090"/>
                  <a:pt x="2417" y="1090"/>
                  <a:pt x="2417" y="1090"/>
                </a:cubicBezTo>
                <a:cubicBezTo>
                  <a:pt x="2416" y="1090"/>
                  <a:pt x="2416" y="1090"/>
                  <a:pt x="2416" y="1090"/>
                </a:cubicBezTo>
                <a:cubicBezTo>
                  <a:pt x="2416" y="1089"/>
                  <a:pt x="2416" y="1089"/>
                  <a:pt x="2416" y="1089"/>
                </a:cubicBezTo>
                <a:cubicBezTo>
                  <a:pt x="2416" y="1088"/>
                  <a:pt x="2416" y="1088"/>
                  <a:pt x="2416" y="1088"/>
                </a:cubicBezTo>
                <a:cubicBezTo>
                  <a:pt x="2415" y="1088"/>
                  <a:pt x="2415" y="1088"/>
                  <a:pt x="2415" y="1088"/>
                </a:cubicBezTo>
                <a:cubicBezTo>
                  <a:pt x="2414" y="1088"/>
                  <a:pt x="2414" y="1088"/>
                  <a:pt x="2414" y="1088"/>
                </a:cubicBezTo>
                <a:cubicBezTo>
                  <a:pt x="2415" y="1089"/>
                  <a:pt x="2415" y="1089"/>
                  <a:pt x="2415" y="1089"/>
                </a:cubicBezTo>
                <a:cubicBezTo>
                  <a:pt x="2415" y="1090"/>
                  <a:pt x="2415" y="1090"/>
                  <a:pt x="2415" y="1090"/>
                </a:cubicBezTo>
                <a:cubicBezTo>
                  <a:pt x="2415" y="1091"/>
                  <a:pt x="2415" y="1091"/>
                  <a:pt x="2415" y="1091"/>
                </a:cubicBezTo>
                <a:cubicBezTo>
                  <a:pt x="2414" y="1092"/>
                  <a:pt x="2414" y="1092"/>
                  <a:pt x="2414" y="1092"/>
                </a:cubicBezTo>
                <a:cubicBezTo>
                  <a:pt x="2415" y="1094"/>
                  <a:pt x="2415" y="1094"/>
                  <a:pt x="2415" y="1094"/>
                </a:cubicBezTo>
                <a:cubicBezTo>
                  <a:pt x="2414" y="1095"/>
                  <a:pt x="2414" y="1095"/>
                  <a:pt x="2414" y="1095"/>
                </a:cubicBezTo>
                <a:cubicBezTo>
                  <a:pt x="2413" y="1094"/>
                  <a:pt x="2413" y="1094"/>
                  <a:pt x="2413" y="1094"/>
                </a:cubicBezTo>
                <a:cubicBezTo>
                  <a:pt x="2413" y="1093"/>
                  <a:pt x="2413" y="1093"/>
                  <a:pt x="2413" y="1093"/>
                </a:cubicBezTo>
                <a:cubicBezTo>
                  <a:pt x="2412" y="1093"/>
                  <a:pt x="2412" y="1093"/>
                  <a:pt x="2412" y="1093"/>
                </a:cubicBezTo>
                <a:cubicBezTo>
                  <a:pt x="2412" y="1092"/>
                  <a:pt x="2412" y="1092"/>
                  <a:pt x="2412" y="1092"/>
                </a:cubicBezTo>
                <a:cubicBezTo>
                  <a:pt x="2411" y="1091"/>
                  <a:pt x="2411" y="1091"/>
                  <a:pt x="2411" y="1091"/>
                </a:cubicBezTo>
                <a:cubicBezTo>
                  <a:pt x="2410" y="1092"/>
                  <a:pt x="2410" y="1092"/>
                  <a:pt x="2410" y="1092"/>
                </a:cubicBezTo>
                <a:cubicBezTo>
                  <a:pt x="2410" y="1091"/>
                  <a:pt x="2410" y="1091"/>
                  <a:pt x="2410" y="1091"/>
                </a:cubicBezTo>
                <a:cubicBezTo>
                  <a:pt x="2411" y="1090"/>
                  <a:pt x="2411" y="1090"/>
                  <a:pt x="2411" y="1090"/>
                </a:cubicBezTo>
                <a:cubicBezTo>
                  <a:pt x="2410" y="1089"/>
                  <a:pt x="2410" y="1089"/>
                  <a:pt x="2410" y="1089"/>
                </a:cubicBezTo>
                <a:cubicBezTo>
                  <a:pt x="2411" y="1087"/>
                  <a:pt x="2411" y="1087"/>
                  <a:pt x="2411" y="1087"/>
                </a:cubicBezTo>
                <a:cubicBezTo>
                  <a:pt x="2412" y="1087"/>
                  <a:pt x="2412" y="1087"/>
                  <a:pt x="2412" y="1087"/>
                </a:cubicBezTo>
                <a:cubicBezTo>
                  <a:pt x="2412" y="1086"/>
                  <a:pt x="2412" y="1086"/>
                  <a:pt x="2412" y="1086"/>
                </a:cubicBezTo>
                <a:cubicBezTo>
                  <a:pt x="2412" y="1085"/>
                  <a:pt x="2412" y="1085"/>
                  <a:pt x="2412" y="1085"/>
                </a:cubicBezTo>
                <a:cubicBezTo>
                  <a:pt x="2412" y="1084"/>
                  <a:pt x="2412" y="1084"/>
                  <a:pt x="2412" y="1084"/>
                </a:cubicBezTo>
                <a:cubicBezTo>
                  <a:pt x="2412" y="1083"/>
                  <a:pt x="2412" y="1083"/>
                  <a:pt x="2412" y="1083"/>
                </a:cubicBezTo>
                <a:cubicBezTo>
                  <a:pt x="2412" y="1082"/>
                  <a:pt x="2412" y="1082"/>
                  <a:pt x="2412" y="1082"/>
                </a:cubicBezTo>
                <a:cubicBezTo>
                  <a:pt x="2410" y="1081"/>
                  <a:pt x="2410" y="1081"/>
                  <a:pt x="2410" y="1081"/>
                </a:cubicBezTo>
                <a:cubicBezTo>
                  <a:pt x="2411" y="1080"/>
                  <a:pt x="2411" y="1080"/>
                  <a:pt x="2411" y="1080"/>
                </a:cubicBezTo>
                <a:cubicBezTo>
                  <a:pt x="2411" y="1081"/>
                  <a:pt x="2411" y="1081"/>
                  <a:pt x="2411" y="1081"/>
                </a:cubicBezTo>
                <a:cubicBezTo>
                  <a:pt x="2412" y="1080"/>
                  <a:pt x="2412" y="1080"/>
                  <a:pt x="2412" y="1080"/>
                </a:cubicBezTo>
                <a:cubicBezTo>
                  <a:pt x="2413" y="1079"/>
                  <a:pt x="2413" y="1079"/>
                  <a:pt x="2413" y="1079"/>
                </a:cubicBezTo>
                <a:cubicBezTo>
                  <a:pt x="2413" y="1077"/>
                  <a:pt x="2413" y="1077"/>
                  <a:pt x="2413" y="1077"/>
                </a:cubicBezTo>
                <a:cubicBezTo>
                  <a:pt x="2413" y="1075"/>
                  <a:pt x="2413" y="1075"/>
                  <a:pt x="2413" y="1075"/>
                </a:cubicBezTo>
                <a:cubicBezTo>
                  <a:pt x="2413" y="1074"/>
                  <a:pt x="2413" y="1074"/>
                  <a:pt x="2413" y="1074"/>
                </a:cubicBezTo>
                <a:cubicBezTo>
                  <a:pt x="2412" y="1074"/>
                  <a:pt x="2412" y="1074"/>
                  <a:pt x="2412" y="1074"/>
                </a:cubicBezTo>
                <a:cubicBezTo>
                  <a:pt x="2411" y="1075"/>
                  <a:pt x="2411" y="1075"/>
                  <a:pt x="2411" y="1075"/>
                </a:cubicBezTo>
                <a:cubicBezTo>
                  <a:pt x="2410" y="1074"/>
                  <a:pt x="2410" y="1074"/>
                  <a:pt x="2410" y="1074"/>
                </a:cubicBezTo>
                <a:cubicBezTo>
                  <a:pt x="2410" y="1073"/>
                  <a:pt x="2410" y="1073"/>
                  <a:pt x="2410" y="1073"/>
                </a:cubicBezTo>
                <a:cubicBezTo>
                  <a:pt x="2409" y="1073"/>
                  <a:pt x="2409" y="1073"/>
                  <a:pt x="2409" y="1073"/>
                </a:cubicBezTo>
                <a:cubicBezTo>
                  <a:pt x="2410" y="1072"/>
                  <a:pt x="2410" y="1072"/>
                  <a:pt x="2410" y="1072"/>
                </a:cubicBezTo>
                <a:cubicBezTo>
                  <a:pt x="2411" y="1071"/>
                  <a:pt x="2411" y="1071"/>
                  <a:pt x="2411" y="1071"/>
                </a:cubicBezTo>
                <a:cubicBezTo>
                  <a:pt x="2410" y="1071"/>
                  <a:pt x="2410" y="1071"/>
                  <a:pt x="2410" y="1071"/>
                </a:cubicBezTo>
                <a:cubicBezTo>
                  <a:pt x="2409" y="1071"/>
                  <a:pt x="2409" y="1071"/>
                  <a:pt x="2409" y="1071"/>
                </a:cubicBezTo>
                <a:cubicBezTo>
                  <a:pt x="2408" y="1070"/>
                  <a:pt x="2408" y="1070"/>
                  <a:pt x="2408" y="1070"/>
                </a:cubicBezTo>
                <a:cubicBezTo>
                  <a:pt x="2407" y="1069"/>
                  <a:pt x="2407" y="1069"/>
                  <a:pt x="2407" y="1069"/>
                </a:cubicBezTo>
                <a:cubicBezTo>
                  <a:pt x="2407" y="1070"/>
                  <a:pt x="2407" y="1070"/>
                  <a:pt x="2407" y="1070"/>
                </a:cubicBezTo>
                <a:cubicBezTo>
                  <a:pt x="2406" y="1070"/>
                  <a:pt x="2406" y="1070"/>
                  <a:pt x="2406" y="1070"/>
                </a:cubicBezTo>
                <a:cubicBezTo>
                  <a:pt x="2406" y="1069"/>
                  <a:pt x="2406" y="1069"/>
                  <a:pt x="2406" y="1069"/>
                </a:cubicBezTo>
                <a:cubicBezTo>
                  <a:pt x="2406" y="1068"/>
                  <a:pt x="2406" y="1068"/>
                  <a:pt x="2406" y="1068"/>
                </a:cubicBezTo>
                <a:cubicBezTo>
                  <a:pt x="2405" y="1066"/>
                  <a:pt x="2405" y="1066"/>
                  <a:pt x="2405" y="1066"/>
                </a:cubicBezTo>
                <a:cubicBezTo>
                  <a:pt x="2405" y="1065"/>
                  <a:pt x="2405" y="1065"/>
                  <a:pt x="2405" y="1065"/>
                </a:cubicBezTo>
                <a:cubicBezTo>
                  <a:pt x="2403" y="1064"/>
                  <a:pt x="2403" y="1064"/>
                  <a:pt x="2403" y="1064"/>
                </a:cubicBezTo>
                <a:cubicBezTo>
                  <a:pt x="2403" y="1065"/>
                  <a:pt x="2403" y="1065"/>
                  <a:pt x="2403" y="1065"/>
                </a:cubicBezTo>
                <a:cubicBezTo>
                  <a:pt x="2404" y="1066"/>
                  <a:pt x="2404" y="1066"/>
                  <a:pt x="2404" y="1066"/>
                </a:cubicBezTo>
                <a:cubicBezTo>
                  <a:pt x="2405" y="1069"/>
                  <a:pt x="2405" y="1069"/>
                  <a:pt x="2405" y="1069"/>
                </a:cubicBezTo>
                <a:cubicBezTo>
                  <a:pt x="2405" y="1070"/>
                  <a:pt x="2405" y="1070"/>
                  <a:pt x="2405" y="1070"/>
                </a:cubicBezTo>
                <a:cubicBezTo>
                  <a:pt x="2405" y="1072"/>
                  <a:pt x="2405" y="1072"/>
                  <a:pt x="2405" y="1072"/>
                </a:cubicBezTo>
                <a:cubicBezTo>
                  <a:pt x="2404" y="1073"/>
                  <a:pt x="2404" y="1073"/>
                  <a:pt x="2404" y="1073"/>
                </a:cubicBezTo>
                <a:cubicBezTo>
                  <a:pt x="2404" y="1076"/>
                  <a:pt x="2404" y="1076"/>
                  <a:pt x="2404" y="1076"/>
                </a:cubicBezTo>
                <a:cubicBezTo>
                  <a:pt x="2405" y="1076"/>
                  <a:pt x="2405" y="1076"/>
                  <a:pt x="2405" y="1076"/>
                </a:cubicBezTo>
                <a:cubicBezTo>
                  <a:pt x="2406" y="1075"/>
                  <a:pt x="2406" y="1075"/>
                  <a:pt x="2406" y="1075"/>
                </a:cubicBezTo>
                <a:cubicBezTo>
                  <a:pt x="2407" y="1075"/>
                  <a:pt x="2407" y="1075"/>
                  <a:pt x="2407" y="1075"/>
                </a:cubicBezTo>
                <a:cubicBezTo>
                  <a:pt x="2406" y="1076"/>
                  <a:pt x="2406" y="1076"/>
                  <a:pt x="2406" y="1076"/>
                </a:cubicBezTo>
                <a:cubicBezTo>
                  <a:pt x="2405" y="1077"/>
                  <a:pt x="2405" y="1077"/>
                  <a:pt x="2405" y="1077"/>
                </a:cubicBezTo>
                <a:cubicBezTo>
                  <a:pt x="2406" y="1078"/>
                  <a:pt x="2406" y="1078"/>
                  <a:pt x="2406" y="1078"/>
                </a:cubicBezTo>
                <a:cubicBezTo>
                  <a:pt x="2406" y="1080"/>
                  <a:pt x="2406" y="1080"/>
                  <a:pt x="2406" y="1080"/>
                </a:cubicBezTo>
                <a:cubicBezTo>
                  <a:pt x="2407" y="1083"/>
                  <a:pt x="2407" y="1083"/>
                  <a:pt x="2407" y="1083"/>
                </a:cubicBezTo>
                <a:cubicBezTo>
                  <a:pt x="2407" y="1084"/>
                  <a:pt x="2407" y="1084"/>
                  <a:pt x="2407" y="1084"/>
                </a:cubicBezTo>
                <a:cubicBezTo>
                  <a:pt x="2408" y="1084"/>
                  <a:pt x="2408" y="1084"/>
                  <a:pt x="2408" y="1084"/>
                </a:cubicBezTo>
                <a:cubicBezTo>
                  <a:pt x="2408" y="1085"/>
                  <a:pt x="2408" y="1085"/>
                  <a:pt x="2408" y="1085"/>
                </a:cubicBezTo>
                <a:cubicBezTo>
                  <a:pt x="2408" y="1086"/>
                  <a:pt x="2408" y="1086"/>
                  <a:pt x="2408" y="1086"/>
                </a:cubicBezTo>
                <a:cubicBezTo>
                  <a:pt x="2409" y="1085"/>
                  <a:pt x="2409" y="1085"/>
                  <a:pt x="2409" y="1085"/>
                </a:cubicBezTo>
                <a:cubicBezTo>
                  <a:pt x="2409" y="1087"/>
                  <a:pt x="2409" y="1087"/>
                  <a:pt x="2409" y="1087"/>
                </a:cubicBezTo>
                <a:cubicBezTo>
                  <a:pt x="2408" y="1088"/>
                  <a:pt x="2408" y="1088"/>
                  <a:pt x="2408" y="1088"/>
                </a:cubicBezTo>
                <a:cubicBezTo>
                  <a:pt x="2407" y="1088"/>
                  <a:pt x="2407" y="1088"/>
                  <a:pt x="2407" y="1088"/>
                </a:cubicBezTo>
                <a:cubicBezTo>
                  <a:pt x="2407" y="1089"/>
                  <a:pt x="2407" y="1089"/>
                  <a:pt x="2407" y="1089"/>
                </a:cubicBezTo>
                <a:cubicBezTo>
                  <a:pt x="2408" y="1092"/>
                  <a:pt x="2408" y="1092"/>
                  <a:pt x="2408" y="1092"/>
                </a:cubicBezTo>
                <a:cubicBezTo>
                  <a:pt x="2409" y="1092"/>
                  <a:pt x="2409" y="1092"/>
                  <a:pt x="2409" y="1092"/>
                </a:cubicBezTo>
                <a:cubicBezTo>
                  <a:pt x="2409" y="1093"/>
                  <a:pt x="2409" y="1093"/>
                  <a:pt x="2409" y="1093"/>
                </a:cubicBezTo>
                <a:cubicBezTo>
                  <a:pt x="2410" y="1094"/>
                  <a:pt x="2410" y="1094"/>
                  <a:pt x="2410" y="1094"/>
                </a:cubicBezTo>
                <a:cubicBezTo>
                  <a:pt x="2409" y="1095"/>
                  <a:pt x="2409" y="1095"/>
                  <a:pt x="2409" y="1095"/>
                </a:cubicBezTo>
                <a:cubicBezTo>
                  <a:pt x="2409" y="1096"/>
                  <a:pt x="2409" y="1096"/>
                  <a:pt x="2409" y="1096"/>
                </a:cubicBezTo>
                <a:cubicBezTo>
                  <a:pt x="2408" y="1098"/>
                  <a:pt x="2408" y="1098"/>
                  <a:pt x="2408" y="1098"/>
                </a:cubicBezTo>
                <a:cubicBezTo>
                  <a:pt x="2408" y="1100"/>
                  <a:pt x="2408" y="1100"/>
                  <a:pt x="2408" y="1100"/>
                </a:cubicBezTo>
                <a:cubicBezTo>
                  <a:pt x="2408" y="1101"/>
                  <a:pt x="2408" y="1101"/>
                  <a:pt x="2408" y="1101"/>
                </a:cubicBezTo>
                <a:cubicBezTo>
                  <a:pt x="2407" y="1101"/>
                  <a:pt x="2407" y="1101"/>
                  <a:pt x="2407" y="1101"/>
                </a:cubicBezTo>
                <a:cubicBezTo>
                  <a:pt x="2407" y="1102"/>
                  <a:pt x="2407" y="1102"/>
                  <a:pt x="2407" y="1102"/>
                </a:cubicBezTo>
                <a:cubicBezTo>
                  <a:pt x="2407" y="1103"/>
                  <a:pt x="2407" y="1103"/>
                  <a:pt x="2407" y="1103"/>
                </a:cubicBezTo>
                <a:cubicBezTo>
                  <a:pt x="2407" y="1104"/>
                  <a:pt x="2407" y="1104"/>
                  <a:pt x="2407" y="1104"/>
                </a:cubicBezTo>
                <a:cubicBezTo>
                  <a:pt x="2406" y="1104"/>
                  <a:pt x="2406" y="1104"/>
                  <a:pt x="2406" y="1104"/>
                </a:cubicBezTo>
                <a:cubicBezTo>
                  <a:pt x="2405" y="1105"/>
                  <a:pt x="2405" y="1105"/>
                  <a:pt x="2405" y="1105"/>
                </a:cubicBezTo>
                <a:cubicBezTo>
                  <a:pt x="2404" y="1110"/>
                  <a:pt x="2404" y="1110"/>
                  <a:pt x="2404" y="1110"/>
                </a:cubicBezTo>
                <a:cubicBezTo>
                  <a:pt x="2404" y="1111"/>
                  <a:pt x="2404" y="1111"/>
                  <a:pt x="2404" y="1111"/>
                </a:cubicBezTo>
                <a:cubicBezTo>
                  <a:pt x="2403" y="1111"/>
                  <a:pt x="2403" y="1111"/>
                  <a:pt x="2403" y="1111"/>
                </a:cubicBezTo>
                <a:cubicBezTo>
                  <a:pt x="2401" y="1111"/>
                  <a:pt x="2401" y="1111"/>
                  <a:pt x="2401" y="1111"/>
                </a:cubicBezTo>
                <a:cubicBezTo>
                  <a:pt x="2400" y="1111"/>
                  <a:pt x="2400" y="1111"/>
                  <a:pt x="2400" y="1111"/>
                </a:cubicBezTo>
                <a:cubicBezTo>
                  <a:pt x="2398" y="1112"/>
                  <a:pt x="2398" y="1112"/>
                  <a:pt x="2398" y="1112"/>
                </a:cubicBezTo>
                <a:cubicBezTo>
                  <a:pt x="2397" y="1114"/>
                  <a:pt x="2397" y="1114"/>
                  <a:pt x="2397" y="1114"/>
                </a:cubicBezTo>
                <a:cubicBezTo>
                  <a:pt x="2396" y="1115"/>
                  <a:pt x="2396" y="1115"/>
                  <a:pt x="2396" y="1115"/>
                </a:cubicBezTo>
                <a:cubicBezTo>
                  <a:pt x="2397" y="1117"/>
                  <a:pt x="2397" y="1117"/>
                  <a:pt x="2397" y="1117"/>
                </a:cubicBezTo>
                <a:cubicBezTo>
                  <a:pt x="2398" y="1118"/>
                  <a:pt x="2398" y="1118"/>
                  <a:pt x="2398" y="1118"/>
                </a:cubicBezTo>
                <a:cubicBezTo>
                  <a:pt x="2400" y="1119"/>
                  <a:pt x="2400" y="1119"/>
                  <a:pt x="2400" y="1119"/>
                </a:cubicBezTo>
                <a:cubicBezTo>
                  <a:pt x="2400" y="1121"/>
                  <a:pt x="2400" y="1121"/>
                  <a:pt x="2400" y="1121"/>
                </a:cubicBezTo>
                <a:cubicBezTo>
                  <a:pt x="2402" y="1121"/>
                  <a:pt x="2402" y="1121"/>
                  <a:pt x="2402" y="1121"/>
                </a:cubicBezTo>
                <a:cubicBezTo>
                  <a:pt x="2403" y="1122"/>
                  <a:pt x="2403" y="1122"/>
                  <a:pt x="2403" y="1122"/>
                </a:cubicBezTo>
                <a:cubicBezTo>
                  <a:pt x="2403" y="1125"/>
                  <a:pt x="2403" y="1125"/>
                  <a:pt x="2403" y="1125"/>
                </a:cubicBezTo>
                <a:cubicBezTo>
                  <a:pt x="2403" y="1127"/>
                  <a:pt x="2403" y="1127"/>
                  <a:pt x="2403" y="1127"/>
                </a:cubicBezTo>
                <a:cubicBezTo>
                  <a:pt x="2402" y="1128"/>
                  <a:pt x="2402" y="1128"/>
                  <a:pt x="2402" y="1128"/>
                </a:cubicBezTo>
                <a:cubicBezTo>
                  <a:pt x="2400" y="1131"/>
                  <a:pt x="2400" y="1131"/>
                  <a:pt x="2400" y="1131"/>
                </a:cubicBezTo>
                <a:cubicBezTo>
                  <a:pt x="2398" y="1133"/>
                  <a:pt x="2398" y="1133"/>
                  <a:pt x="2398" y="1133"/>
                </a:cubicBezTo>
                <a:cubicBezTo>
                  <a:pt x="2396" y="1134"/>
                  <a:pt x="2396" y="1134"/>
                  <a:pt x="2396" y="1134"/>
                </a:cubicBezTo>
                <a:cubicBezTo>
                  <a:pt x="2396" y="1135"/>
                  <a:pt x="2396" y="1135"/>
                  <a:pt x="2396" y="1135"/>
                </a:cubicBezTo>
                <a:cubicBezTo>
                  <a:pt x="2396" y="1136"/>
                  <a:pt x="2396" y="1136"/>
                  <a:pt x="2396" y="1136"/>
                </a:cubicBezTo>
                <a:cubicBezTo>
                  <a:pt x="2397" y="1136"/>
                  <a:pt x="2397" y="1136"/>
                  <a:pt x="2397" y="1136"/>
                </a:cubicBezTo>
                <a:cubicBezTo>
                  <a:pt x="2397" y="1135"/>
                  <a:pt x="2397" y="1135"/>
                  <a:pt x="2397" y="1135"/>
                </a:cubicBezTo>
                <a:cubicBezTo>
                  <a:pt x="2398" y="1135"/>
                  <a:pt x="2398" y="1135"/>
                  <a:pt x="2398" y="1135"/>
                </a:cubicBezTo>
                <a:cubicBezTo>
                  <a:pt x="2398" y="1136"/>
                  <a:pt x="2398" y="1136"/>
                  <a:pt x="2398" y="1136"/>
                </a:cubicBezTo>
                <a:cubicBezTo>
                  <a:pt x="2398" y="1137"/>
                  <a:pt x="2398" y="1137"/>
                  <a:pt x="2398" y="1137"/>
                </a:cubicBezTo>
                <a:cubicBezTo>
                  <a:pt x="2399" y="1137"/>
                  <a:pt x="2399" y="1137"/>
                  <a:pt x="2399" y="1137"/>
                </a:cubicBezTo>
                <a:cubicBezTo>
                  <a:pt x="2399" y="1138"/>
                  <a:pt x="2399" y="1138"/>
                  <a:pt x="2399" y="1138"/>
                </a:cubicBezTo>
                <a:cubicBezTo>
                  <a:pt x="2399" y="1139"/>
                  <a:pt x="2399" y="1139"/>
                  <a:pt x="2399" y="1139"/>
                </a:cubicBezTo>
                <a:cubicBezTo>
                  <a:pt x="2400" y="1139"/>
                  <a:pt x="2400" y="1139"/>
                  <a:pt x="2400" y="1139"/>
                </a:cubicBezTo>
                <a:cubicBezTo>
                  <a:pt x="2402" y="1137"/>
                  <a:pt x="2402" y="1137"/>
                  <a:pt x="2402" y="1137"/>
                </a:cubicBezTo>
                <a:cubicBezTo>
                  <a:pt x="2404" y="1135"/>
                  <a:pt x="2404" y="1135"/>
                  <a:pt x="2404" y="1135"/>
                </a:cubicBezTo>
                <a:cubicBezTo>
                  <a:pt x="2406" y="1133"/>
                  <a:pt x="2406" y="1133"/>
                  <a:pt x="2406" y="1133"/>
                </a:cubicBezTo>
                <a:cubicBezTo>
                  <a:pt x="2408" y="1131"/>
                  <a:pt x="2408" y="1131"/>
                  <a:pt x="2408" y="1131"/>
                </a:cubicBezTo>
                <a:cubicBezTo>
                  <a:pt x="2410" y="1129"/>
                  <a:pt x="2410" y="1129"/>
                  <a:pt x="2410" y="1129"/>
                </a:cubicBezTo>
                <a:cubicBezTo>
                  <a:pt x="2411" y="1128"/>
                  <a:pt x="2411" y="1128"/>
                  <a:pt x="2411" y="1128"/>
                </a:cubicBezTo>
                <a:cubicBezTo>
                  <a:pt x="2412" y="1128"/>
                  <a:pt x="2412" y="1128"/>
                  <a:pt x="2412" y="1128"/>
                </a:cubicBezTo>
                <a:cubicBezTo>
                  <a:pt x="2413" y="1127"/>
                  <a:pt x="2413" y="1127"/>
                  <a:pt x="2413" y="1127"/>
                </a:cubicBezTo>
                <a:cubicBezTo>
                  <a:pt x="2413" y="1126"/>
                  <a:pt x="2413" y="1126"/>
                  <a:pt x="2413" y="1126"/>
                </a:cubicBezTo>
                <a:cubicBezTo>
                  <a:pt x="2414" y="1125"/>
                  <a:pt x="2414" y="1125"/>
                  <a:pt x="2414" y="1125"/>
                </a:cubicBezTo>
                <a:cubicBezTo>
                  <a:pt x="2415" y="1123"/>
                  <a:pt x="2415" y="1123"/>
                  <a:pt x="2415" y="1123"/>
                </a:cubicBezTo>
                <a:cubicBezTo>
                  <a:pt x="2417" y="1121"/>
                  <a:pt x="2417" y="1121"/>
                  <a:pt x="2417" y="1121"/>
                </a:cubicBezTo>
                <a:cubicBezTo>
                  <a:pt x="2417" y="1120"/>
                  <a:pt x="2417" y="1120"/>
                  <a:pt x="2417" y="1120"/>
                </a:cubicBezTo>
                <a:cubicBezTo>
                  <a:pt x="2416" y="1119"/>
                  <a:pt x="2416" y="1119"/>
                  <a:pt x="2416" y="1119"/>
                </a:cubicBezTo>
                <a:cubicBezTo>
                  <a:pt x="2415" y="1119"/>
                  <a:pt x="2415" y="1119"/>
                  <a:pt x="2415" y="1119"/>
                </a:cubicBezTo>
                <a:cubicBezTo>
                  <a:pt x="2414" y="1119"/>
                  <a:pt x="2414" y="1119"/>
                  <a:pt x="2414" y="1119"/>
                </a:cubicBezTo>
                <a:cubicBezTo>
                  <a:pt x="2415" y="1118"/>
                  <a:pt x="2415" y="1118"/>
                  <a:pt x="2415" y="1118"/>
                </a:cubicBezTo>
                <a:cubicBezTo>
                  <a:pt x="2416" y="1118"/>
                  <a:pt x="2416" y="1118"/>
                  <a:pt x="2416" y="1118"/>
                </a:cubicBezTo>
                <a:cubicBezTo>
                  <a:pt x="2419" y="1115"/>
                  <a:pt x="2419" y="1115"/>
                  <a:pt x="2419" y="1115"/>
                </a:cubicBezTo>
                <a:cubicBezTo>
                  <a:pt x="2420" y="1114"/>
                  <a:pt x="2420" y="1114"/>
                  <a:pt x="2420" y="1114"/>
                </a:cubicBezTo>
                <a:cubicBezTo>
                  <a:pt x="2422" y="1115"/>
                  <a:pt x="2422" y="1115"/>
                  <a:pt x="2422" y="1115"/>
                </a:cubicBezTo>
                <a:cubicBezTo>
                  <a:pt x="2423" y="1115"/>
                  <a:pt x="2423" y="1115"/>
                  <a:pt x="2423" y="1115"/>
                </a:cubicBezTo>
                <a:cubicBezTo>
                  <a:pt x="2423" y="1116"/>
                  <a:pt x="2423" y="1116"/>
                  <a:pt x="2423" y="1116"/>
                </a:cubicBezTo>
                <a:cubicBezTo>
                  <a:pt x="2424" y="1115"/>
                  <a:pt x="2424" y="1115"/>
                  <a:pt x="2424" y="1115"/>
                </a:cubicBezTo>
                <a:cubicBezTo>
                  <a:pt x="2425" y="1115"/>
                  <a:pt x="2425" y="1115"/>
                  <a:pt x="2425" y="1115"/>
                </a:cubicBezTo>
                <a:cubicBezTo>
                  <a:pt x="2423" y="1114"/>
                  <a:pt x="2423" y="1114"/>
                  <a:pt x="2423" y="1114"/>
                </a:cubicBezTo>
                <a:cubicBezTo>
                  <a:pt x="2423" y="1113"/>
                  <a:pt x="2423" y="1113"/>
                  <a:pt x="2423" y="1113"/>
                </a:cubicBezTo>
                <a:cubicBezTo>
                  <a:pt x="2424" y="1111"/>
                  <a:pt x="2424" y="1111"/>
                  <a:pt x="2424" y="1111"/>
                </a:cubicBezTo>
                <a:cubicBezTo>
                  <a:pt x="2425" y="1110"/>
                  <a:pt x="2425" y="1110"/>
                  <a:pt x="2425" y="1110"/>
                </a:cubicBezTo>
                <a:cubicBezTo>
                  <a:pt x="2426" y="1110"/>
                  <a:pt x="2426" y="1110"/>
                  <a:pt x="2426" y="1110"/>
                </a:cubicBezTo>
                <a:cubicBezTo>
                  <a:pt x="2426" y="1111"/>
                  <a:pt x="2426" y="1111"/>
                  <a:pt x="2426" y="1111"/>
                </a:cubicBezTo>
                <a:cubicBezTo>
                  <a:pt x="2427" y="1110"/>
                  <a:pt x="2427" y="1110"/>
                  <a:pt x="2427" y="1110"/>
                </a:cubicBezTo>
                <a:cubicBezTo>
                  <a:pt x="2428" y="1109"/>
                  <a:pt x="2428" y="1109"/>
                  <a:pt x="2428" y="1109"/>
                </a:cubicBezTo>
                <a:cubicBezTo>
                  <a:pt x="2429" y="1107"/>
                  <a:pt x="2429" y="1107"/>
                  <a:pt x="2429" y="1107"/>
                </a:cubicBezTo>
                <a:cubicBezTo>
                  <a:pt x="2429" y="1106"/>
                  <a:pt x="2429" y="1106"/>
                  <a:pt x="2429" y="1106"/>
                </a:cubicBezTo>
                <a:cubicBezTo>
                  <a:pt x="2429" y="1105"/>
                  <a:pt x="2429" y="1105"/>
                  <a:pt x="2429" y="1105"/>
                </a:cubicBezTo>
                <a:cubicBezTo>
                  <a:pt x="2430" y="1104"/>
                  <a:pt x="2430" y="1104"/>
                  <a:pt x="2430" y="1104"/>
                </a:cubicBezTo>
                <a:cubicBezTo>
                  <a:pt x="2431" y="1102"/>
                  <a:pt x="2431" y="1102"/>
                  <a:pt x="2431" y="1102"/>
                </a:cubicBezTo>
                <a:cubicBezTo>
                  <a:pt x="2432" y="1102"/>
                  <a:pt x="2432" y="1102"/>
                  <a:pt x="2432" y="1102"/>
                </a:cubicBezTo>
                <a:cubicBezTo>
                  <a:pt x="2431" y="1101"/>
                  <a:pt x="2431" y="1101"/>
                  <a:pt x="2431" y="1101"/>
                </a:cubicBezTo>
                <a:cubicBezTo>
                  <a:pt x="2430" y="1101"/>
                  <a:pt x="2430" y="1101"/>
                  <a:pt x="2430" y="1101"/>
                </a:cubicBezTo>
                <a:close/>
                <a:moveTo>
                  <a:pt x="2314" y="1257"/>
                </a:moveTo>
                <a:cubicBezTo>
                  <a:pt x="2313" y="1257"/>
                  <a:pt x="2313" y="1257"/>
                  <a:pt x="2313" y="1257"/>
                </a:cubicBezTo>
                <a:cubicBezTo>
                  <a:pt x="2314" y="1258"/>
                  <a:pt x="2314" y="1258"/>
                  <a:pt x="2314" y="1258"/>
                </a:cubicBezTo>
                <a:cubicBezTo>
                  <a:pt x="2315" y="1258"/>
                  <a:pt x="2315" y="1258"/>
                  <a:pt x="2315" y="1258"/>
                </a:cubicBezTo>
                <a:cubicBezTo>
                  <a:pt x="2316" y="1256"/>
                  <a:pt x="2316" y="1256"/>
                  <a:pt x="2316" y="1256"/>
                </a:cubicBezTo>
                <a:cubicBezTo>
                  <a:pt x="2316" y="1255"/>
                  <a:pt x="2316" y="1255"/>
                  <a:pt x="2316" y="1255"/>
                </a:cubicBezTo>
                <a:cubicBezTo>
                  <a:pt x="2315" y="1257"/>
                  <a:pt x="2315" y="1257"/>
                  <a:pt x="2315" y="1257"/>
                </a:cubicBezTo>
                <a:cubicBezTo>
                  <a:pt x="2314" y="1257"/>
                  <a:pt x="2314" y="1257"/>
                  <a:pt x="2314" y="1257"/>
                </a:cubicBezTo>
                <a:close/>
                <a:moveTo>
                  <a:pt x="2392" y="1130"/>
                </a:moveTo>
                <a:cubicBezTo>
                  <a:pt x="2393" y="1130"/>
                  <a:pt x="2393" y="1130"/>
                  <a:pt x="2393" y="1130"/>
                </a:cubicBezTo>
                <a:cubicBezTo>
                  <a:pt x="2393" y="1129"/>
                  <a:pt x="2393" y="1129"/>
                  <a:pt x="2393" y="1129"/>
                </a:cubicBezTo>
                <a:cubicBezTo>
                  <a:pt x="2392" y="1129"/>
                  <a:pt x="2392" y="1129"/>
                  <a:pt x="2392" y="1129"/>
                </a:cubicBezTo>
                <a:cubicBezTo>
                  <a:pt x="2392" y="1130"/>
                  <a:pt x="2392" y="1130"/>
                  <a:pt x="2392" y="1130"/>
                </a:cubicBezTo>
                <a:close/>
                <a:moveTo>
                  <a:pt x="2416" y="1086"/>
                </a:moveTo>
                <a:cubicBezTo>
                  <a:pt x="2417" y="1086"/>
                  <a:pt x="2417" y="1086"/>
                  <a:pt x="2417" y="1086"/>
                </a:cubicBezTo>
                <a:cubicBezTo>
                  <a:pt x="2416" y="1085"/>
                  <a:pt x="2416" y="1085"/>
                  <a:pt x="2416" y="1085"/>
                </a:cubicBezTo>
                <a:cubicBezTo>
                  <a:pt x="2416" y="1084"/>
                  <a:pt x="2416" y="1084"/>
                  <a:pt x="2416" y="1084"/>
                </a:cubicBezTo>
                <a:cubicBezTo>
                  <a:pt x="2415" y="1086"/>
                  <a:pt x="2415" y="1086"/>
                  <a:pt x="2415" y="1086"/>
                </a:cubicBezTo>
                <a:cubicBezTo>
                  <a:pt x="2416" y="1087"/>
                  <a:pt x="2416" y="1087"/>
                  <a:pt x="2416" y="1087"/>
                </a:cubicBezTo>
                <a:cubicBezTo>
                  <a:pt x="2416" y="1086"/>
                  <a:pt x="2416" y="1086"/>
                  <a:pt x="2416" y="1086"/>
                </a:cubicBezTo>
                <a:close/>
                <a:moveTo>
                  <a:pt x="2413" y="1092"/>
                </a:moveTo>
                <a:cubicBezTo>
                  <a:pt x="2413" y="1091"/>
                  <a:pt x="2413" y="1091"/>
                  <a:pt x="2413" y="1091"/>
                </a:cubicBezTo>
                <a:cubicBezTo>
                  <a:pt x="2412" y="1091"/>
                  <a:pt x="2412" y="1091"/>
                  <a:pt x="2412" y="1091"/>
                </a:cubicBezTo>
                <a:cubicBezTo>
                  <a:pt x="2413" y="1092"/>
                  <a:pt x="2413" y="1092"/>
                  <a:pt x="2413" y="1092"/>
                </a:cubicBezTo>
                <a:close/>
                <a:moveTo>
                  <a:pt x="2335" y="1188"/>
                </a:moveTo>
                <a:cubicBezTo>
                  <a:pt x="2334" y="1188"/>
                  <a:pt x="2334" y="1188"/>
                  <a:pt x="2334" y="1188"/>
                </a:cubicBezTo>
                <a:cubicBezTo>
                  <a:pt x="2334" y="1189"/>
                  <a:pt x="2334" y="1189"/>
                  <a:pt x="2334" y="1189"/>
                </a:cubicBezTo>
                <a:cubicBezTo>
                  <a:pt x="2334" y="1190"/>
                  <a:pt x="2334" y="1190"/>
                  <a:pt x="2334" y="1190"/>
                </a:cubicBezTo>
                <a:cubicBezTo>
                  <a:pt x="2334" y="1191"/>
                  <a:pt x="2334" y="1191"/>
                  <a:pt x="2334" y="1191"/>
                </a:cubicBezTo>
                <a:cubicBezTo>
                  <a:pt x="2333" y="1191"/>
                  <a:pt x="2333" y="1191"/>
                  <a:pt x="2333" y="1191"/>
                </a:cubicBezTo>
                <a:cubicBezTo>
                  <a:pt x="2333" y="1192"/>
                  <a:pt x="2333" y="1192"/>
                  <a:pt x="2333" y="1192"/>
                </a:cubicBezTo>
                <a:cubicBezTo>
                  <a:pt x="2332" y="1192"/>
                  <a:pt x="2332" y="1192"/>
                  <a:pt x="2332" y="1192"/>
                </a:cubicBezTo>
                <a:cubicBezTo>
                  <a:pt x="2331" y="1194"/>
                  <a:pt x="2331" y="1194"/>
                  <a:pt x="2331" y="1194"/>
                </a:cubicBezTo>
                <a:cubicBezTo>
                  <a:pt x="2332" y="1194"/>
                  <a:pt x="2332" y="1194"/>
                  <a:pt x="2332" y="1194"/>
                </a:cubicBezTo>
                <a:cubicBezTo>
                  <a:pt x="2333" y="1193"/>
                  <a:pt x="2333" y="1193"/>
                  <a:pt x="2333" y="1193"/>
                </a:cubicBezTo>
                <a:cubicBezTo>
                  <a:pt x="2334" y="1193"/>
                  <a:pt x="2334" y="1193"/>
                  <a:pt x="2334" y="1193"/>
                </a:cubicBezTo>
                <a:cubicBezTo>
                  <a:pt x="2335" y="1193"/>
                  <a:pt x="2335" y="1193"/>
                  <a:pt x="2335" y="1193"/>
                </a:cubicBezTo>
                <a:cubicBezTo>
                  <a:pt x="2336" y="1192"/>
                  <a:pt x="2336" y="1192"/>
                  <a:pt x="2336" y="1192"/>
                </a:cubicBezTo>
                <a:cubicBezTo>
                  <a:pt x="2337" y="1193"/>
                  <a:pt x="2337" y="1193"/>
                  <a:pt x="2337" y="1193"/>
                </a:cubicBezTo>
                <a:cubicBezTo>
                  <a:pt x="2337" y="1192"/>
                  <a:pt x="2337" y="1192"/>
                  <a:pt x="2337" y="1192"/>
                </a:cubicBezTo>
                <a:cubicBezTo>
                  <a:pt x="2336" y="1191"/>
                  <a:pt x="2336" y="1191"/>
                  <a:pt x="2336" y="1191"/>
                </a:cubicBezTo>
                <a:cubicBezTo>
                  <a:pt x="2337" y="1191"/>
                  <a:pt x="2337" y="1191"/>
                  <a:pt x="2337" y="1191"/>
                </a:cubicBezTo>
                <a:cubicBezTo>
                  <a:pt x="2337" y="1190"/>
                  <a:pt x="2337" y="1190"/>
                  <a:pt x="2337" y="1190"/>
                </a:cubicBezTo>
                <a:cubicBezTo>
                  <a:pt x="2336" y="1189"/>
                  <a:pt x="2336" y="1189"/>
                  <a:pt x="2336" y="1189"/>
                </a:cubicBezTo>
                <a:cubicBezTo>
                  <a:pt x="2335" y="1188"/>
                  <a:pt x="2335" y="1188"/>
                  <a:pt x="2335" y="1188"/>
                </a:cubicBezTo>
                <a:close/>
                <a:moveTo>
                  <a:pt x="2391" y="1134"/>
                </a:moveTo>
                <a:cubicBezTo>
                  <a:pt x="2391" y="1133"/>
                  <a:pt x="2391" y="1133"/>
                  <a:pt x="2391" y="1133"/>
                </a:cubicBezTo>
                <a:cubicBezTo>
                  <a:pt x="2390" y="1133"/>
                  <a:pt x="2390" y="1133"/>
                  <a:pt x="2390" y="1133"/>
                </a:cubicBezTo>
                <a:cubicBezTo>
                  <a:pt x="2389" y="1133"/>
                  <a:pt x="2389" y="1133"/>
                  <a:pt x="2389" y="1133"/>
                </a:cubicBezTo>
                <a:cubicBezTo>
                  <a:pt x="2388" y="1135"/>
                  <a:pt x="2388" y="1135"/>
                  <a:pt x="2388" y="1135"/>
                </a:cubicBezTo>
                <a:cubicBezTo>
                  <a:pt x="2388" y="1134"/>
                  <a:pt x="2388" y="1134"/>
                  <a:pt x="2388" y="1134"/>
                </a:cubicBezTo>
                <a:cubicBezTo>
                  <a:pt x="2387" y="1132"/>
                  <a:pt x="2387" y="1132"/>
                  <a:pt x="2387" y="1132"/>
                </a:cubicBezTo>
                <a:cubicBezTo>
                  <a:pt x="2388" y="1131"/>
                  <a:pt x="2388" y="1131"/>
                  <a:pt x="2388" y="1131"/>
                </a:cubicBezTo>
                <a:cubicBezTo>
                  <a:pt x="2388" y="1130"/>
                  <a:pt x="2388" y="1130"/>
                  <a:pt x="2388" y="1130"/>
                </a:cubicBezTo>
                <a:cubicBezTo>
                  <a:pt x="2387" y="1130"/>
                  <a:pt x="2387" y="1130"/>
                  <a:pt x="2387" y="1130"/>
                </a:cubicBezTo>
                <a:cubicBezTo>
                  <a:pt x="2386" y="1129"/>
                  <a:pt x="2386" y="1129"/>
                  <a:pt x="2386" y="1129"/>
                </a:cubicBezTo>
                <a:cubicBezTo>
                  <a:pt x="2386" y="1128"/>
                  <a:pt x="2386" y="1128"/>
                  <a:pt x="2386" y="1128"/>
                </a:cubicBezTo>
                <a:cubicBezTo>
                  <a:pt x="2387" y="1127"/>
                  <a:pt x="2387" y="1127"/>
                  <a:pt x="2387" y="1127"/>
                </a:cubicBezTo>
                <a:cubicBezTo>
                  <a:pt x="2386" y="1127"/>
                  <a:pt x="2386" y="1127"/>
                  <a:pt x="2386" y="1127"/>
                </a:cubicBezTo>
                <a:cubicBezTo>
                  <a:pt x="2384" y="1128"/>
                  <a:pt x="2384" y="1128"/>
                  <a:pt x="2384" y="1128"/>
                </a:cubicBezTo>
                <a:cubicBezTo>
                  <a:pt x="2383" y="1129"/>
                  <a:pt x="2383" y="1129"/>
                  <a:pt x="2383" y="1129"/>
                </a:cubicBezTo>
                <a:cubicBezTo>
                  <a:pt x="2382" y="1130"/>
                  <a:pt x="2382" y="1130"/>
                  <a:pt x="2382" y="1130"/>
                </a:cubicBezTo>
                <a:cubicBezTo>
                  <a:pt x="2382" y="1131"/>
                  <a:pt x="2382" y="1131"/>
                  <a:pt x="2382" y="1131"/>
                </a:cubicBezTo>
                <a:cubicBezTo>
                  <a:pt x="2381" y="1134"/>
                  <a:pt x="2381" y="1134"/>
                  <a:pt x="2381" y="1134"/>
                </a:cubicBezTo>
                <a:cubicBezTo>
                  <a:pt x="2380" y="1135"/>
                  <a:pt x="2380" y="1135"/>
                  <a:pt x="2380" y="1135"/>
                </a:cubicBezTo>
                <a:cubicBezTo>
                  <a:pt x="2379" y="1136"/>
                  <a:pt x="2379" y="1136"/>
                  <a:pt x="2379" y="1136"/>
                </a:cubicBezTo>
                <a:cubicBezTo>
                  <a:pt x="2378" y="1137"/>
                  <a:pt x="2378" y="1137"/>
                  <a:pt x="2378" y="1137"/>
                </a:cubicBezTo>
                <a:cubicBezTo>
                  <a:pt x="2377" y="1138"/>
                  <a:pt x="2377" y="1138"/>
                  <a:pt x="2377" y="1138"/>
                </a:cubicBezTo>
                <a:cubicBezTo>
                  <a:pt x="2376" y="1139"/>
                  <a:pt x="2376" y="1139"/>
                  <a:pt x="2376" y="1139"/>
                </a:cubicBezTo>
                <a:cubicBezTo>
                  <a:pt x="2375" y="1139"/>
                  <a:pt x="2375" y="1139"/>
                  <a:pt x="2375" y="1139"/>
                </a:cubicBezTo>
                <a:cubicBezTo>
                  <a:pt x="2374" y="1139"/>
                  <a:pt x="2374" y="1139"/>
                  <a:pt x="2374" y="1139"/>
                </a:cubicBezTo>
                <a:cubicBezTo>
                  <a:pt x="2374" y="1141"/>
                  <a:pt x="2374" y="1141"/>
                  <a:pt x="2374" y="1141"/>
                </a:cubicBezTo>
                <a:cubicBezTo>
                  <a:pt x="2374" y="1142"/>
                  <a:pt x="2374" y="1142"/>
                  <a:pt x="2374" y="1142"/>
                </a:cubicBezTo>
                <a:cubicBezTo>
                  <a:pt x="2373" y="1142"/>
                  <a:pt x="2373" y="1142"/>
                  <a:pt x="2373" y="1142"/>
                </a:cubicBezTo>
                <a:cubicBezTo>
                  <a:pt x="2372" y="1143"/>
                  <a:pt x="2372" y="1143"/>
                  <a:pt x="2372" y="1143"/>
                </a:cubicBezTo>
                <a:cubicBezTo>
                  <a:pt x="2372" y="1145"/>
                  <a:pt x="2372" y="1145"/>
                  <a:pt x="2372" y="1145"/>
                </a:cubicBezTo>
                <a:cubicBezTo>
                  <a:pt x="2371" y="1145"/>
                  <a:pt x="2371" y="1145"/>
                  <a:pt x="2371" y="1145"/>
                </a:cubicBezTo>
                <a:cubicBezTo>
                  <a:pt x="2371" y="1146"/>
                  <a:pt x="2371" y="1146"/>
                  <a:pt x="2371" y="1146"/>
                </a:cubicBezTo>
                <a:cubicBezTo>
                  <a:pt x="2369" y="1149"/>
                  <a:pt x="2369" y="1149"/>
                  <a:pt x="2369" y="1149"/>
                </a:cubicBezTo>
                <a:cubicBezTo>
                  <a:pt x="2366" y="1151"/>
                  <a:pt x="2366" y="1151"/>
                  <a:pt x="2366" y="1151"/>
                </a:cubicBezTo>
                <a:cubicBezTo>
                  <a:pt x="2365" y="1151"/>
                  <a:pt x="2365" y="1151"/>
                  <a:pt x="2365" y="1151"/>
                </a:cubicBezTo>
                <a:cubicBezTo>
                  <a:pt x="2363" y="1152"/>
                  <a:pt x="2363" y="1152"/>
                  <a:pt x="2363" y="1152"/>
                </a:cubicBezTo>
                <a:cubicBezTo>
                  <a:pt x="2363" y="1153"/>
                  <a:pt x="2363" y="1153"/>
                  <a:pt x="2363" y="1153"/>
                </a:cubicBezTo>
                <a:cubicBezTo>
                  <a:pt x="2362" y="1153"/>
                  <a:pt x="2362" y="1153"/>
                  <a:pt x="2362" y="1153"/>
                </a:cubicBezTo>
                <a:cubicBezTo>
                  <a:pt x="2360" y="1154"/>
                  <a:pt x="2360" y="1154"/>
                  <a:pt x="2360" y="1154"/>
                </a:cubicBezTo>
                <a:cubicBezTo>
                  <a:pt x="2358" y="1156"/>
                  <a:pt x="2358" y="1156"/>
                  <a:pt x="2358" y="1156"/>
                </a:cubicBezTo>
                <a:cubicBezTo>
                  <a:pt x="2357" y="1156"/>
                  <a:pt x="2357" y="1156"/>
                  <a:pt x="2357" y="1156"/>
                </a:cubicBezTo>
                <a:cubicBezTo>
                  <a:pt x="2355" y="1157"/>
                  <a:pt x="2355" y="1157"/>
                  <a:pt x="2355" y="1157"/>
                </a:cubicBezTo>
                <a:cubicBezTo>
                  <a:pt x="2354" y="1158"/>
                  <a:pt x="2354" y="1158"/>
                  <a:pt x="2354" y="1158"/>
                </a:cubicBezTo>
                <a:cubicBezTo>
                  <a:pt x="2355" y="1159"/>
                  <a:pt x="2355" y="1159"/>
                  <a:pt x="2355" y="1159"/>
                </a:cubicBezTo>
                <a:cubicBezTo>
                  <a:pt x="2355" y="1160"/>
                  <a:pt x="2355" y="1160"/>
                  <a:pt x="2355" y="1160"/>
                </a:cubicBezTo>
                <a:cubicBezTo>
                  <a:pt x="2354" y="1159"/>
                  <a:pt x="2354" y="1159"/>
                  <a:pt x="2354" y="1159"/>
                </a:cubicBezTo>
                <a:cubicBezTo>
                  <a:pt x="2353" y="1159"/>
                  <a:pt x="2353" y="1159"/>
                  <a:pt x="2353" y="1159"/>
                </a:cubicBezTo>
                <a:cubicBezTo>
                  <a:pt x="2352" y="1160"/>
                  <a:pt x="2352" y="1160"/>
                  <a:pt x="2352" y="1160"/>
                </a:cubicBezTo>
                <a:cubicBezTo>
                  <a:pt x="2351" y="1160"/>
                  <a:pt x="2351" y="1160"/>
                  <a:pt x="2351" y="1160"/>
                </a:cubicBezTo>
                <a:cubicBezTo>
                  <a:pt x="2351" y="1159"/>
                  <a:pt x="2351" y="1159"/>
                  <a:pt x="2351" y="1159"/>
                </a:cubicBezTo>
                <a:cubicBezTo>
                  <a:pt x="2350" y="1159"/>
                  <a:pt x="2350" y="1159"/>
                  <a:pt x="2350" y="1159"/>
                </a:cubicBezTo>
                <a:cubicBezTo>
                  <a:pt x="2348" y="1161"/>
                  <a:pt x="2348" y="1161"/>
                  <a:pt x="2348" y="1161"/>
                </a:cubicBezTo>
                <a:cubicBezTo>
                  <a:pt x="2347" y="1162"/>
                  <a:pt x="2347" y="1162"/>
                  <a:pt x="2347" y="1162"/>
                </a:cubicBezTo>
                <a:cubicBezTo>
                  <a:pt x="2345" y="1163"/>
                  <a:pt x="2345" y="1163"/>
                  <a:pt x="2345" y="1163"/>
                </a:cubicBezTo>
                <a:cubicBezTo>
                  <a:pt x="2345" y="1164"/>
                  <a:pt x="2345" y="1164"/>
                  <a:pt x="2345" y="1164"/>
                </a:cubicBezTo>
                <a:cubicBezTo>
                  <a:pt x="2343" y="1165"/>
                  <a:pt x="2343" y="1165"/>
                  <a:pt x="2343" y="1165"/>
                </a:cubicBezTo>
                <a:cubicBezTo>
                  <a:pt x="2343" y="1166"/>
                  <a:pt x="2343" y="1166"/>
                  <a:pt x="2343" y="1166"/>
                </a:cubicBezTo>
                <a:cubicBezTo>
                  <a:pt x="2342" y="1165"/>
                  <a:pt x="2342" y="1165"/>
                  <a:pt x="2342" y="1165"/>
                </a:cubicBezTo>
                <a:cubicBezTo>
                  <a:pt x="2342" y="1166"/>
                  <a:pt x="2342" y="1166"/>
                  <a:pt x="2342" y="1166"/>
                </a:cubicBezTo>
                <a:cubicBezTo>
                  <a:pt x="2341" y="1166"/>
                  <a:pt x="2341" y="1166"/>
                  <a:pt x="2341" y="1166"/>
                </a:cubicBezTo>
                <a:cubicBezTo>
                  <a:pt x="2341" y="1168"/>
                  <a:pt x="2341" y="1168"/>
                  <a:pt x="2341" y="1168"/>
                </a:cubicBezTo>
                <a:cubicBezTo>
                  <a:pt x="2340" y="1169"/>
                  <a:pt x="2340" y="1169"/>
                  <a:pt x="2340" y="1169"/>
                </a:cubicBezTo>
                <a:cubicBezTo>
                  <a:pt x="2340" y="1168"/>
                  <a:pt x="2340" y="1168"/>
                  <a:pt x="2340" y="1168"/>
                </a:cubicBezTo>
                <a:cubicBezTo>
                  <a:pt x="2338" y="1170"/>
                  <a:pt x="2338" y="1170"/>
                  <a:pt x="2338" y="1170"/>
                </a:cubicBezTo>
                <a:cubicBezTo>
                  <a:pt x="2337" y="1170"/>
                  <a:pt x="2337" y="1170"/>
                  <a:pt x="2337" y="1170"/>
                </a:cubicBezTo>
                <a:cubicBezTo>
                  <a:pt x="2337" y="1171"/>
                  <a:pt x="2337" y="1171"/>
                  <a:pt x="2337" y="1171"/>
                </a:cubicBezTo>
                <a:cubicBezTo>
                  <a:pt x="2337" y="1173"/>
                  <a:pt x="2337" y="1173"/>
                  <a:pt x="2337" y="1173"/>
                </a:cubicBezTo>
                <a:cubicBezTo>
                  <a:pt x="2336" y="1174"/>
                  <a:pt x="2336" y="1174"/>
                  <a:pt x="2336" y="1174"/>
                </a:cubicBezTo>
                <a:cubicBezTo>
                  <a:pt x="2336" y="1173"/>
                  <a:pt x="2336" y="1173"/>
                  <a:pt x="2336" y="1173"/>
                </a:cubicBezTo>
                <a:cubicBezTo>
                  <a:pt x="2335" y="1172"/>
                  <a:pt x="2335" y="1172"/>
                  <a:pt x="2335" y="1172"/>
                </a:cubicBezTo>
                <a:cubicBezTo>
                  <a:pt x="2335" y="1173"/>
                  <a:pt x="2335" y="1173"/>
                  <a:pt x="2335" y="1173"/>
                </a:cubicBezTo>
                <a:cubicBezTo>
                  <a:pt x="2334" y="1173"/>
                  <a:pt x="2334" y="1173"/>
                  <a:pt x="2334" y="1173"/>
                </a:cubicBezTo>
                <a:cubicBezTo>
                  <a:pt x="2333" y="1175"/>
                  <a:pt x="2333" y="1175"/>
                  <a:pt x="2333" y="1175"/>
                </a:cubicBezTo>
                <a:cubicBezTo>
                  <a:pt x="2333" y="1176"/>
                  <a:pt x="2333" y="1176"/>
                  <a:pt x="2333" y="1176"/>
                </a:cubicBezTo>
                <a:cubicBezTo>
                  <a:pt x="2334" y="1177"/>
                  <a:pt x="2334" y="1177"/>
                  <a:pt x="2334" y="1177"/>
                </a:cubicBezTo>
                <a:cubicBezTo>
                  <a:pt x="2335" y="1178"/>
                  <a:pt x="2335" y="1178"/>
                  <a:pt x="2335" y="1178"/>
                </a:cubicBezTo>
                <a:cubicBezTo>
                  <a:pt x="2334" y="1178"/>
                  <a:pt x="2334" y="1178"/>
                  <a:pt x="2334" y="1178"/>
                </a:cubicBezTo>
                <a:cubicBezTo>
                  <a:pt x="2333" y="1178"/>
                  <a:pt x="2333" y="1178"/>
                  <a:pt x="2333" y="1178"/>
                </a:cubicBezTo>
                <a:cubicBezTo>
                  <a:pt x="2332" y="1178"/>
                  <a:pt x="2332" y="1178"/>
                  <a:pt x="2332" y="1178"/>
                </a:cubicBezTo>
                <a:cubicBezTo>
                  <a:pt x="2331" y="1180"/>
                  <a:pt x="2331" y="1180"/>
                  <a:pt x="2331" y="1180"/>
                </a:cubicBezTo>
                <a:cubicBezTo>
                  <a:pt x="2331" y="1182"/>
                  <a:pt x="2331" y="1182"/>
                  <a:pt x="2331" y="1182"/>
                </a:cubicBezTo>
                <a:cubicBezTo>
                  <a:pt x="2332" y="1182"/>
                  <a:pt x="2332" y="1182"/>
                  <a:pt x="2332" y="1182"/>
                </a:cubicBezTo>
                <a:cubicBezTo>
                  <a:pt x="2332" y="1183"/>
                  <a:pt x="2332" y="1183"/>
                  <a:pt x="2332" y="1183"/>
                </a:cubicBezTo>
                <a:cubicBezTo>
                  <a:pt x="2334" y="1183"/>
                  <a:pt x="2334" y="1183"/>
                  <a:pt x="2334" y="1183"/>
                </a:cubicBezTo>
                <a:cubicBezTo>
                  <a:pt x="2335" y="1183"/>
                  <a:pt x="2335" y="1183"/>
                  <a:pt x="2335" y="1183"/>
                </a:cubicBezTo>
                <a:cubicBezTo>
                  <a:pt x="2336" y="1182"/>
                  <a:pt x="2336" y="1182"/>
                  <a:pt x="2336" y="1182"/>
                </a:cubicBezTo>
                <a:cubicBezTo>
                  <a:pt x="2336" y="1183"/>
                  <a:pt x="2336" y="1183"/>
                  <a:pt x="2336" y="1183"/>
                </a:cubicBezTo>
                <a:cubicBezTo>
                  <a:pt x="2337" y="1184"/>
                  <a:pt x="2337" y="1184"/>
                  <a:pt x="2337" y="1184"/>
                </a:cubicBezTo>
                <a:cubicBezTo>
                  <a:pt x="2337" y="1185"/>
                  <a:pt x="2337" y="1185"/>
                  <a:pt x="2337" y="1185"/>
                </a:cubicBezTo>
                <a:cubicBezTo>
                  <a:pt x="2338" y="1185"/>
                  <a:pt x="2338" y="1185"/>
                  <a:pt x="2338" y="1185"/>
                </a:cubicBezTo>
                <a:cubicBezTo>
                  <a:pt x="2339" y="1185"/>
                  <a:pt x="2339" y="1185"/>
                  <a:pt x="2339" y="1185"/>
                </a:cubicBezTo>
                <a:cubicBezTo>
                  <a:pt x="2339" y="1187"/>
                  <a:pt x="2339" y="1187"/>
                  <a:pt x="2339" y="1187"/>
                </a:cubicBezTo>
                <a:cubicBezTo>
                  <a:pt x="2340" y="1188"/>
                  <a:pt x="2340" y="1188"/>
                  <a:pt x="2340" y="1188"/>
                </a:cubicBezTo>
                <a:cubicBezTo>
                  <a:pt x="2341" y="1188"/>
                  <a:pt x="2341" y="1188"/>
                  <a:pt x="2341" y="1188"/>
                </a:cubicBezTo>
                <a:cubicBezTo>
                  <a:pt x="2340" y="1189"/>
                  <a:pt x="2340" y="1189"/>
                  <a:pt x="2340" y="1189"/>
                </a:cubicBezTo>
                <a:cubicBezTo>
                  <a:pt x="2342" y="1188"/>
                  <a:pt x="2342" y="1188"/>
                  <a:pt x="2342" y="1188"/>
                </a:cubicBezTo>
                <a:cubicBezTo>
                  <a:pt x="2342" y="1189"/>
                  <a:pt x="2342" y="1189"/>
                  <a:pt x="2342" y="1189"/>
                </a:cubicBezTo>
                <a:cubicBezTo>
                  <a:pt x="2343" y="1189"/>
                  <a:pt x="2343" y="1189"/>
                  <a:pt x="2343" y="1189"/>
                </a:cubicBezTo>
                <a:cubicBezTo>
                  <a:pt x="2344" y="1189"/>
                  <a:pt x="2344" y="1189"/>
                  <a:pt x="2344" y="1189"/>
                </a:cubicBezTo>
                <a:cubicBezTo>
                  <a:pt x="2347" y="1188"/>
                  <a:pt x="2347" y="1188"/>
                  <a:pt x="2347" y="1188"/>
                </a:cubicBezTo>
                <a:cubicBezTo>
                  <a:pt x="2348" y="1187"/>
                  <a:pt x="2348" y="1187"/>
                  <a:pt x="2348" y="1187"/>
                </a:cubicBezTo>
                <a:cubicBezTo>
                  <a:pt x="2350" y="1186"/>
                  <a:pt x="2350" y="1186"/>
                  <a:pt x="2350" y="1186"/>
                </a:cubicBezTo>
                <a:cubicBezTo>
                  <a:pt x="2351" y="1185"/>
                  <a:pt x="2351" y="1185"/>
                  <a:pt x="2351" y="1185"/>
                </a:cubicBezTo>
                <a:cubicBezTo>
                  <a:pt x="2352" y="1184"/>
                  <a:pt x="2352" y="1184"/>
                  <a:pt x="2352" y="1184"/>
                </a:cubicBezTo>
                <a:cubicBezTo>
                  <a:pt x="2353" y="1183"/>
                  <a:pt x="2353" y="1183"/>
                  <a:pt x="2353" y="1183"/>
                </a:cubicBezTo>
                <a:cubicBezTo>
                  <a:pt x="2354" y="1182"/>
                  <a:pt x="2354" y="1182"/>
                  <a:pt x="2354" y="1182"/>
                </a:cubicBezTo>
                <a:cubicBezTo>
                  <a:pt x="2356" y="1182"/>
                  <a:pt x="2356" y="1182"/>
                  <a:pt x="2356" y="1182"/>
                </a:cubicBezTo>
                <a:cubicBezTo>
                  <a:pt x="2357" y="1182"/>
                  <a:pt x="2357" y="1182"/>
                  <a:pt x="2357" y="1182"/>
                </a:cubicBezTo>
                <a:cubicBezTo>
                  <a:pt x="2357" y="1181"/>
                  <a:pt x="2357" y="1181"/>
                  <a:pt x="2357" y="1181"/>
                </a:cubicBezTo>
                <a:cubicBezTo>
                  <a:pt x="2356" y="1181"/>
                  <a:pt x="2356" y="1181"/>
                  <a:pt x="2356" y="1181"/>
                </a:cubicBezTo>
                <a:cubicBezTo>
                  <a:pt x="2356" y="1180"/>
                  <a:pt x="2356" y="1180"/>
                  <a:pt x="2356" y="1180"/>
                </a:cubicBezTo>
                <a:cubicBezTo>
                  <a:pt x="2357" y="1179"/>
                  <a:pt x="2357" y="1179"/>
                  <a:pt x="2357" y="1179"/>
                </a:cubicBezTo>
                <a:cubicBezTo>
                  <a:pt x="2358" y="1177"/>
                  <a:pt x="2358" y="1177"/>
                  <a:pt x="2358" y="1177"/>
                </a:cubicBezTo>
                <a:cubicBezTo>
                  <a:pt x="2359" y="1175"/>
                  <a:pt x="2359" y="1175"/>
                  <a:pt x="2359" y="1175"/>
                </a:cubicBezTo>
                <a:cubicBezTo>
                  <a:pt x="2360" y="1174"/>
                  <a:pt x="2360" y="1174"/>
                  <a:pt x="2360" y="1174"/>
                </a:cubicBezTo>
                <a:cubicBezTo>
                  <a:pt x="2362" y="1172"/>
                  <a:pt x="2362" y="1172"/>
                  <a:pt x="2362" y="1172"/>
                </a:cubicBezTo>
                <a:cubicBezTo>
                  <a:pt x="2363" y="1171"/>
                  <a:pt x="2363" y="1171"/>
                  <a:pt x="2363" y="1171"/>
                </a:cubicBezTo>
                <a:cubicBezTo>
                  <a:pt x="2363" y="1170"/>
                  <a:pt x="2363" y="1170"/>
                  <a:pt x="2363" y="1170"/>
                </a:cubicBezTo>
                <a:cubicBezTo>
                  <a:pt x="2365" y="1168"/>
                  <a:pt x="2365" y="1168"/>
                  <a:pt x="2365" y="1168"/>
                </a:cubicBezTo>
                <a:cubicBezTo>
                  <a:pt x="2365" y="1167"/>
                  <a:pt x="2365" y="1167"/>
                  <a:pt x="2365" y="1167"/>
                </a:cubicBezTo>
                <a:cubicBezTo>
                  <a:pt x="2365" y="1166"/>
                  <a:pt x="2365" y="1166"/>
                  <a:pt x="2365" y="1166"/>
                </a:cubicBezTo>
                <a:cubicBezTo>
                  <a:pt x="2366" y="1164"/>
                  <a:pt x="2366" y="1164"/>
                  <a:pt x="2366" y="1164"/>
                </a:cubicBezTo>
                <a:cubicBezTo>
                  <a:pt x="2367" y="1164"/>
                  <a:pt x="2367" y="1164"/>
                  <a:pt x="2367" y="1164"/>
                </a:cubicBezTo>
                <a:cubicBezTo>
                  <a:pt x="2368" y="1163"/>
                  <a:pt x="2368" y="1163"/>
                  <a:pt x="2368" y="1163"/>
                </a:cubicBezTo>
                <a:cubicBezTo>
                  <a:pt x="2368" y="1164"/>
                  <a:pt x="2368" y="1164"/>
                  <a:pt x="2368" y="1164"/>
                </a:cubicBezTo>
                <a:cubicBezTo>
                  <a:pt x="2369" y="1164"/>
                  <a:pt x="2369" y="1164"/>
                  <a:pt x="2369" y="1164"/>
                </a:cubicBezTo>
                <a:cubicBezTo>
                  <a:pt x="2370" y="1163"/>
                  <a:pt x="2370" y="1163"/>
                  <a:pt x="2370" y="1163"/>
                </a:cubicBezTo>
                <a:cubicBezTo>
                  <a:pt x="2371" y="1163"/>
                  <a:pt x="2371" y="1163"/>
                  <a:pt x="2371" y="1163"/>
                </a:cubicBezTo>
                <a:cubicBezTo>
                  <a:pt x="2371" y="1162"/>
                  <a:pt x="2371" y="1162"/>
                  <a:pt x="2371" y="1162"/>
                </a:cubicBezTo>
                <a:cubicBezTo>
                  <a:pt x="2372" y="1161"/>
                  <a:pt x="2372" y="1161"/>
                  <a:pt x="2372" y="1161"/>
                </a:cubicBezTo>
                <a:cubicBezTo>
                  <a:pt x="2372" y="1160"/>
                  <a:pt x="2372" y="1160"/>
                  <a:pt x="2372" y="1160"/>
                </a:cubicBezTo>
                <a:cubicBezTo>
                  <a:pt x="2373" y="1161"/>
                  <a:pt x="2373" y="1161"/>
                  <a:pt x="2373" y="1161"/>
                </a:cubicBezTo>
                <a:cubicBezTo>
                  <a:pt x="2374" y="1161"/>
                  <a:pt x="2374" y="1161"/>
                  <a:pt x="2374" y="1161"/>
                </a:cubicBezTo>
                <a:cubicBezTo>
                  <a:pt x="2375" y="1160"/>
                  <a:pt x="2375" y="1160"/>
                  <a:pt x="2375" y="1160"/>
                </a:cubicBezTo>
                <a:cubicBezTo>
                  <a:pt x="2376" y="1160"/>
                  <a:pt x="2376" y="1160"/>
                  <a:pt x="2376" y="1160"/>
                </a:cubicBezTo>
                <a:cubicBezTo>
                  <a:pt x="2376" y="1161"/>
                  <a:pt x="2376" y="1161"/>
                  <a:pt x="2376" y="1161"/>
                </a:cubicBezTo>
                <a:cubicBezTo>
                  <a:pt x="2377" y="1162"/>
                  <a:pt x="2377" y="1162"/>
                  <a:pt x="2377" y="1162"/>
                </a:cubicBezTo>
                <a:cubicBezTo>
                  <a:pt x="2377" y="1161"/>
                  <a:pt x="2377" y="1161"/>
                  <a:pt x="2377" y="1161"/>
                </a:cubicBezTo>
                <a:cubicBezTo>
                  <a:pt x="2377" y="1160"/>
                  <a:pt x="2377" y="1160"/>
                  <a:pt x="2377" y="1160"/>
                </a:cubicBezTo>
                <a:cubicBezTo>
                  <a:pt x="2378" y="1160"/>
                  <a:pt x="2378" y="1160"/>
                  <a:pt x="2378" y="1160"/>
                </a:cubicBezTo>
                <a:cubicBezTo>
                  <a:pt x="2378" y="1161"/>
                  <a:pt x="2378" y="1161"/>
                  <a:pt x="2378" y="1161"/>
                </a:cubicBezTo>
                <a:cubicBezTo>
                  <a:pt x="2378" y="1162"/>
                  <a:pt x="2378" y="1162"/>
                  <a:pt x="2378" y="1162"/>
                </a:cubicBezTo>
                <a:cubicBezTo>
                  <a:pt x="2379" y="1161"/>
                  <a:pt x="2379" y="1161"/>
                  <a:pt x="2379" y="1161"/>
                </a:cubicBezTo>
                <a:cubicBezTo>
                  <a:pt x="2379" y="1160"/>
                  <a:pt x="2379" y="1160"/>
                  <a:pt x="2379" y="1160"/>
                </a:cubicBezTo>
                <a:cubicBezTo>
                  <a:pt x="2378" y="1159"/>
                  <a:pt x="2378" y="1159"/>
                  <a:pt x="2378" y="1159"/>
                </a:cubicBezTo>
                <a:cubicBezTo>
                  <a:pt x="2377" y="1158"/>
                  <a:pt x="2377" y="1158"/>
                  <a:pt x="2377" y="1158"/>
                </a:cubicBezTo>
                <a:cubicBezTo>
                  <a:pt x="2378" y="1158"/>
                  <a:pt x="2378" y="1158"/>
                  <a:pt x="2378" y="1158"/>
                </a:cubicBezTo>
                <a:cubicBezTo>
                  <a:pt x="2378" y="1157"/>
                  <a:pt x="2378" y="1157"/>
                  <a:pt x="2378" y="1157"/>
                </a:cubicBezTo>
                <a:cubicBezTo>
                  <a:pt x="2378" y="1155"/>
                  <a:pt x="2378" y="1155"/>
                  <a:pt x="2378" y="1155"/>
                </a:cubicBezTo>
                <a:cubicBezTo>
                  <a:pt x="2379" y="1154"/>
                  <a:pt x="2379" y="1154"/>
                  <a:pt x="2379" y="1154"/>
                </a:cubicBezTo>
                <a:cubicBezTo>
                  <a:pt x="2381" y="1154"/>
                  <a:pt x="2381" y="1154"/>
                  <a:pt x="2381" y="1154"/>
                </a:cubicBezTo>
                <a:cubicBezTo>
                  <a:pt x="2382" y="1152"/>
                  <a:pt x="2382" y="1152"/>
                  <a:pt x="2382" y="1152"/>
                </a:cubicBezTo>
                <a:cubicBezTo>
                  <a:pt x="2383" y="1152"/>
                  <a:pt x="2383" y="1152"/>
                  <a:pt x="2383" y="1152"/>
                </a:cubicBezTo>
                <a:cubicBezTo>
                  <a:pt x="2384" y="1150"/>
                  <a:pt x="2384" y="1150"/>
                  <a:pt x="2384" y="1150"/>
                </a:cubicBezTo>
                <a:cubicBezTo>
                  <a:pt x="2384" y="1149"/>
                  <a:pt x="2384" y="1149"/>
                  <a:pt x="2384" y="1149"/>
                </a:cubicBezTo>
                <a:cubicBezTo>
                  <a:pt x="2386" y="1148"/>
                  <a:pt x="2386" y="1148"/>
                  <a:pt x="2386" y="1148"/>
                </a:cubicBezTo>
                <a:cubicBezTo>
                  <a:pt x="2387" y="1148"/>
                  <a:pt x="2387" y="1148"/>
                  <a:pt x="2387" y="1148"/>
                </a:cubicBezTo>
                <a:cubicBezTo>
                  <a:pt x="2386" y="1147"/>
                  <a:pt x="2386" y="1147"/>
                  <a:pt x="2386" y="1147"/>
                </a:cubicBezTo>
                <a:cubicBezTo>
                  <a:pt x="2389" y="1145"/>
                  <a:pt x="2389" y="1145"/>
                  <a:pt x="2389" y="1145"/>
                </a:cubicBezTo>
                <a:cubicBezTo>
                  <a:pt x="2389" y="1144"/>
                  <a:pt x="2389" y="1144"/>
                  <a:pt x="2389" y="1144"/>
                </a:cubicBezTo>
                <a:cubicBezTo>
                  <a:pt x="2392" y="1141"/>
                  <a:pt x="2392" y="1141"/>
                  <a:pt x="2392" y="1141"/>
                </a:cubicBezTo>
                <a:cubicBezTo>
                  <a:pt x="2393" y="1141"/>
                  <a:pt x="2393" y="1141"/>
                  <a:pt x="2393" y="1141"/>
                </a:cubicBezTo>
                <a:cubicBezTo>
                  <a:pt x="2393" y="1140"/>
                  <a:pt x="2393" y="1140"/>
                  <a:pt x="2393" y="1140"/>
                </a:cubicBezTo>
                <a:cubicBezTo>
                  <a:pt x="2393" y="1139"/>
                  <a:pt x="2393" y="1139"/>
                  <a:pt x="2393" y="1139"/>
                </a:cubicBezTo>
                <a:cubicBezTo>
                  <a:pt x="2392" y="1138"/>
                  <a:pt x="2392" y="1138"/>
                  <a:pt x="2392" y="1138"/>
                </a:cubicBezTo>
                <a:cubicBezTo>
                  <a:pt x="2392" y="1137"/>
                  <a:pt x="2392" y="1137"/>
                  <a:pt x="2392" y="1137"/>
                </a:cubicBezTo>
                <a:cubicBezTo>
                  <a:pt x="2392" y="1136"/>
                  <a:pt x="2392" y="1136"/>
                  <a:pt x="2392" y="1136"/>
                </a:cubicBezTo>
                <a:cubicBezTo>
                  <a:pt x="2393" y="1136"/>
                  <a:pt x="2393" y="1136"/>
                  <a:pt x="2393" y="1136"/>
                </a:cubicBezTo>
                <a:cubicBezTo>
                  <a:pt x="2394" y="1134"/>
                  <a:pt x="2394" y="1134"/>
                  <a:pt x="2394" y="1134"/>
                </a:cubicBezTo>
                <a:cubicBezTo>
                  <a:pt x="2393" y="1135"/>
                  <a:pt x="2393" y="1135"/>
                  <a:pt x="2393" y="1135"/>
                </a:cubicBezTo>
                <a:cubicBezTo>
                  <a:pt x="2392" y="1135"/>
                  <a:pt x="2392" y="1135"/>
                  <a:pt x="2392" y="1135"/>
                </a:cubicBezTo>
                <a:cubicBezTo>
                  <a:pt x="2393" y="1134"/>
                  <a:pt x="2393" y="1134"/>
                  <a:pt x="2393" y="1134"/>
                </a:cubicBezTo>
                <a:cubicBezTo>
                  <a:pt x="2392" y="1134"/>
                  <a:pt x="2392" y="1134"/>
                  <a:pt x="2392" y="1134"/>
                </a:cubicBezTo>
                <a:cubicBezTo>
                  <a:pt x="2391" y="1134"/>
                  <a:pt x="2391" y="1134"/>
                  <a:pt x="2391" y="1134"/>
                </a:cubicBezTo>
                <a:close/>
                <a:moveTo>
                  <a:pt x="2331" y="1176"/>
                </a:moveTo>
                <a:cubicBezTo>
                  <a:pt x="2331" y="1177"/>
                  <a:pt x="2331" y="1177"/>
                  <a:pt x="2331" y="1177"/>
                </a:cubicBezTo>
                <a:cubicBezTo>
                  <a:pt x="2332" y="1177"/>
                  <a:pt x="2332" y="1177"/>
                  <a:pt x="2332" y="1177"/>
                </a:cubicBezTo>
                <a:cubicBezTo>
                  <a:pt x="2333" y="1177"/>
                  <a:pt x="2333" y="1177"/>
                  <a:pt x="2333" y="1177"/>
                </a:cubicBezTo>
                <a:cubicBezTo>
                  <a:pt x="2333" y="1176"/>
                  <a:pt x="2333" y="1176"/>
                  <a:pt x="2333" y="1176"/>
                </a:cubicBezTo>
                <a:cubicBezTo>
                  <a:pt x="2332" y="1176"/>
                  <a:pt x="2332" y="1176"/>
                  <a:pt x="2332" y="1176"/>
                </a:cubicBezTo>
                <a:cubicBezTo>
                  <a:pt x="2331" y="1176"/>
                  <a:pt x="2331" y="1176"/>
                  <a:pt x="2331" y="1176"/>
                </a:cubicBezTo>
                <a:close/>
                <a:moveTo>
                  <a:pt x="2392" y="1132"/>
                </a:moveTo>
                <a:cubicBezTo>
                  <a:pt x="2391" y="1133"/>
                  <a:pt x="2391" y="1133"/>
                  <a:pt x="2391" y="1133"/>
                </a:cubicBezTo>
                <a:cubicBezTo>
                  <a:pt x="2392" y="1133"/>
                  <a:pt x="2392" y="1133"/>
                  <a:pt x="2392" y="1133"/>
                </a:cubicBezTo>
                <a:cubicBezTo>
                  <a:pt x="2392" y="1132"/>
                  <a:pt x="2392" y="1132"/>
                  <a:pt x="2392" y="1132"/>
                </a:cubicBezTo>
                <a:close/>
                <a:moveTo>
                  <a:pt x="2305" y="1234"/>
                </a:moveTo>
                <a:cubicBezTo>
                  <a:pt x="2306" y="1233"/>
                  <a:pt x="2306" y="1233"/>
                  <a:pt x="2306" y="1233"/>
                </a:cubicBezTo>
                <a:cubicBezTo>
                  <a:pt x="2308" y="1234"/>
                  <a:pt x="2308" y="1234"/>
                  <a:pt x="2308" y="1234"/>
                </a:cubicBezTo>
                <a:cubicBezTo>
                  <a:pt x="2308" y="1233"/>
                  <a:pt x="2308" y="1233"/>
                  <a:pt x="2308" y="1233"/>
                </a:cubicBezTo>
                <a:cubicBezTo>
                  <a:pt x="2307" y="1232"/>
                  <a:pt x="2307" y="1232"/>
                  <a:pt x="2307" y="1232"/>
                </a:cubicBezTo>
                <a:cubicBezTo>
                  <a:pt x="2308" y="1231"/>
                  <a:pt x="2308" y="1231"/>
                  <a:pt x="2308" y="1231"/>
                </a:cubicBezTo>
                <a:cubicBezTo>
                  <a:pt x="2308" y="1230"/>
                  <a:pt x="2308" y="1230"/>
                  <a:pt x="2308" y="1230"/>
                </a:cubicBezTo>
                <a:cubicBezTo>
                  <a:pt x="2305" y="1233"/>
                  <a:pt x="2305" y="1233"/>
                  <a:pt x="2305" y="1233"/>
                </a:cubicBezTo>
                <a:cubicBezTo>
                  <a:pt x="2305" y="1234"/>
                  <a:pt x="2305" y="1234"/>
                  <a:pt x="2305" y="1234"/>
                </a:cubicBezTo>
                <a:close/>
                <a:moveTo>
                  <a:pt x="2405" y="1064"/>
                </a:moveTo>
                <a:cubicBezTo>
                  <a:pt x="2405" y="1065"/>
                  <a:pt x="2405" y="1065"/>
                  <a:pt x="2405" y="1065"/>
                </a:cubicBezTo>
                <a:cubicBezTo>
                  <a:pt x="2406" y="1065"/>
                  <a:pt x="2406" y="1065"/>
                  <a:pt x="2406" y="1065"/>
                </a:cubicBezTo>
                <a:cubicBezTo>
                  <a:pt x="2405" y="1064"/>
                  <a:pt x="2405" y="1064"/>
                  <a:pt x="2405" y="1064"/>
                </a:cubicBezTo>
                <a:close/>
                <a:moveTo>
                  <a:pt x="2408" y="1068"/>
                </a:moveTo>
                <a:cubicBezTo>
                  <a:pt x="2407" y="1069"/>
                  <a:pt x="2407" y="1069"/>
                  <a:pt x="2407" y="1069"/>
                </a:cubicBezTo>
                <a:cubicBezTo>
                  <a:pt x="2408" y="1069"/>
                  <a:pt x="2408" y="1069"/>
                  <a:pt x="2408" y="1069"/>
                </a:cubicBezTo>
                <a:cubicBezTo>
                  <a:pt x="2408" y="1068"/>
                  <a:pt x="2408" y="1068"/>
                  <a:pt x="2408" y="1068"/>
                </a:cubicBezTo>
                <a:close/>
                <a:moveTo>
                  <a:pt x="2392" y="1133"/>
                </a:moveTo>
                <a:cubicBezTo>
                  <a:pt x="2393" y="1134"/>
                  <a:pt x="2393" y="1134"/>
                  <a:pt x="2393" y="1134"/>
                </a:cubicBezTo>
                <a:cubicBezTo>
                  <a:pt x="2394" y="1133"/>
                  <a:pt x="2394" y="1133"/>
                  <a:pt x="2394" y="1133"/>
                </a:cubicBezTo>
                <a:cubicBezTo>
                  <a:pt x="2394" y="1132"/>
                  <a:pt x="2394" y="1132"/>
                  <a:pt x="2394" y="1132"/>
                </a:cubicBezTo>
                <a:cubicBezTo>
                  <a:pt x="2393" y="1132"/>
                  <a:pt x="2393" y="1132"/>
                  <a:pt x="2393" y="1132"/>
                </a:cubicBezTo>
                <a:cubicBezTo>
                  <a:pt x="2392" y="1133"/>
                  <a:pt x="2392" y="1133"/>
                  <a:pt x="2392" y="1133"/>
                </a:cubicBezTo>
                <a:close/>
                <a:moveTo>
                  <a:pt x="2407" y="1085"/>
                </a:moveTo>
                <a:cubicBezTo>
                  <a:pt x="2407" y="1086"/>
                  <a:pt x="2407" y="1086"/>
                  <a:pt x="2407" y="1086"/>
                </a:cubicBezTo>
                <a:cubicBezTo>
                  <a:pt x="2408" y="1085"/>
                  <a:pt x="2408" y="1085"/>
                  <a:pt x="2408" y="1085"/>
                </a:cubicBezTo>
                <a:cubicBezTo>
                  <a:pt x="2407" y="1084"/>
                  <a:pt x="2407" y="1084"/>
                  <a:pt x="2407" y="1084"/>
                </a:cubicBezTo>
                <a:cubicBezTo>
                  <a:pt x="2407" y="1085"/>
                  <a:pt x="2407" y="1085"/>
                  <a:pt x="2407" y="1085"/>
                </a:cubicBezTo>
                <a:close/>
                <a:moveTo>
                  <a:pt x="1236" y="325"/>
                </a:moveTo>
                <a:cubicBezTo>
                  <a:pt x="1235" y="325"/>
                  <a:pt x="1235" y="325"/>
                  <a:pt x="1235" y="325"/>
                </a:cubicBezTo>
                <a:cubicBezTo>
                  <a:pt x="1234" y="325"/>
                  <a:pt x="1234" y="325"/>
                  <a:pt x="1234" y="325"/>
                </a:cubicBezTo>
                <a:cubicBezTo>
                  <a:pt x="1233" y="325"/>
                  <a:pt x="1233" y="325"/>
                  <a:pt x="1233" y="325"/>
                </a:cubicBezTo>
                <a:cubicBezTo>
                  <a:pt x="1232" y="324"/>
                  <a:pt x="1232" y="324"/>
                  <a:pt x="1232" y="324"/>
                </a:cubicBezTo>
                <a:cubicBezTo>
                  <a:pt x="1230" y="326"/>
                  <a:pt x="1230" y="326"/>
                  <a:pt x="1230" y="326"/>
                </a:cubicBezTo>
                <a:cubicBezTo>
                  <a:pt x="1228" y="325"/>
                  <a:pt x="1228" y="325"/>
                  <a:pt x="1228" y="325"/>
                </a:cubicBezTo>
                <a:cubicBezTo>
                  <a:pt x="1227" y="325"/>
                  <a:pt x="1227" y="325"/>
                  <a:pt x="1227" y="325"/>
                </a:cubicBezTo>
                <a:cubicBezTo>
                  <a:pt x="1225" y="325"/>
                  <a:pt x="1225" y="325"/>
                  <a:pt x="1225" y="325"/>
                </a:cubicBezTo>
                <a:cubicBezTo>
                  <a:pt x="1226" y="323"/>
                  <a:pt x="1226" y="323"/>
                  <a:pt x="1226" y="323"/>
                </a:cubicBezTo>
                <a:cubicBezTo>
                  <a:pt x="1225" y="323"/>
                  <a:pt x="1225" y="323"/>
                  <a:pt x="1225" y="323"/>
                </a:cubicBezTo>
                <a:cubicBezTo>
                  <a:pt x="1225" y="321"/>
                  <a:pt x="1225" y="321"/>
                  <a:pt x="1225" y="321"/>
                </a:cubicBezTo>
                <a:cubicBezTo>
                  <a:pt x="1226" y="321"/>
                  <a:pt x="1226" y="321"/>
                  <a:pt x="1226" y="321"/>
                </a:cubicBezTo>
                <a:cubicBezTo>
                  <a:pt x="1227" y="321"/>
                  <a:pt x="1227" y="321"/>
                  <a:pt x="1227" y="321"/>
                </a:cubicBezTo>
                <a:cubicBezTo>
                  <a:pt x="1227" y="322"/>
                  <a:pt x="1227" y="322"/>
                  <a:pt x="1227" y="322"/>
                </a:cubicBezTo>
                <a:cubicBezTo>
                  <a:pt x="1228" y="322"/>
                  <a:pt x="1228" y="322"/>
                  <a:pt x="1228" y="322"/>
                </a:cubicBezTo>
                <a:cubicBezTo>
                  <a:pt x="1229" y="322"/>
                  <a:pt x="1229" y="322"/>
                  <a:pt x="1229" y="322"/>
                </a:cubicBezTo>
                <a:cubicBezTo>
                  <a:pt x="1229" y="321"/>
                  <a:pt x="1229" y="321"/>
                  <a:pt x="1229" y="321"/>
                </a:cubicBezTo>
                <a:cubicBezTo>
                  <a:pt x="1229" y="320"/>
                  <a:pt x="1229" y="320"/>
                  <a:pt x="1229" y="320"/>
                </a:cubicBezTo>
                <a:cubicBezTo>
                  <a:pt x="1230" y="320"/>
                  <a:pt x="1230" y="320"/>
                  <a:pt x="1230" y="320"/>
                </a:cubicBezTo>
                <a:cubicBezTo>
                  <a:pt x="1229" y="319"/>
                  <a:pt x="1229" y="319"/>
                  <a:pt x="1229" y="319"/>
                </a:cubicBezTo>
                <a:cubicBezTo>
                  <a:pt x="1230" y="318"/>
                  <a:pt x="1230" y="318"/>
                  <a:pt x="1230" y="318"/>
                </a:cubicBezTo>
                <a:cubicBezTo>
                  <a:pt x="1231" y="317"/>
                  <a:pt x="1231" y="317"/>
                  <a:pt x="1231" y="317"/>
                </a:cubicBezTo>
                <a:cubicBezTo>
                  <a:pt x="1231" y="316"/>
                  <a:pt x="1231" y="316"/>
                  <a:pt x="1231" y="316"/>
                </a:cubicBezTo>
                <a:cubicBezTo>
                  <a:pt x="1229" y="318"/>
                  <a:pt x="1229" y="318"/>
                  <a:pt x="1229" y="318"/>
                </a:cubicBezTo>
                <a:cubicBezTo>
                  <a:pt x="1228" y="317"/>
                  <a:pt x="1228" y="317"/>
                  <a:pt x="1228" y="317"/>
                </a:cubicBezTo>
                <a:cubicBezTo>
                  <a:pt x="1227" y="316"/>
                  <a:pt x="1227" y="316"/>
                  <a:pt x="1227" y="316"/>
                </a:cubicBezTo>
                <a:cubicBezTo>
                  <a:pt x="1227" y="315"/>
                  <a:pt x="1227" y="315"/>
                  <a:pt x="1227" y="315"/>
                </a:cubicBezTo>
                <a:cubicBezTo>
                  <a:pt x="1228" y="315"/>
                  <a:pt x="1228" y="315"/>
                  <a:pt x="1228" y="315"/>
                </a:cubicBezTo>
                <a:cubicBezTo>
                  <a:pt x="1228" y="314"/>
                  <a:pt x="1228" y="314"/>
                  <a:pt x="1228" y="314"/>
                </a:cubicBezTo>
                <a:cubicBezTo>
                  <a:pt x="1227" y="314"/>
                  <a:pt x="1227" y="314"/>
                  <a:pt x="1227" y="314"/>
                </a:cubicBezTo>
                <a:cubicBezTo>
                  <a:pt x="1224" y="314"/>
                  <a:pt x="1224" y="314"/>
                  <a:pt x="1224" y="314"/>
                </a:cubicBezTo>
                <a:cubicBezTo>
                  <a:pt x="1222" y="314"/>
                  <a:pt x="1222" y="314"/>
                  <a:pt x="1222" y="314"/>
                </a:cubicBezTo>
                <a:cubicBezTo>
                  <a:pt x="1221" y="314"/>
                  <a:pt x="1221" y="314"/>
                  <a:pt x="1221" y="314"/>
                </a:cubicBezTo>
                <a:cubicBezTo>
                  <a:pt x="1220" y="313"/>
                  <a:pt x="1220" y="313"/>
                  <a:pt x="1220" y="313"/>
                </a:cubicBezTo>
                <a:cubicBezTo>
                  <a:pt x="1220" y="312"/>
                  <a:pt x="1220" y="312"/>
                  <a:pt x="1220" y="312"/>
                </a:cubicBezTo>
                <a:cubicBezTo>
                  <a:pt x="1221" y="311"/>
                  <a:pt x="1221" y="311"/>
                  <a:pt x="1221" y="311"/>
                </a:cubicBezTo>
                <a:cubicBezTo>
                  <a:pt x="1222" y="312"/>
                  <a:pt x="1222" y="312"/>
                  <a:pt x="1222" y="312"/>
                </a:cubicBezTo>
                <a:cubicBezTo>
                  <a:pt x="1223" y="311"/>
                  <a:pt x="1223" y="311"/>
                  <a:pt x="1223" y="311"/>
                </a:cubicBezTo>
                <a:cubicBezTo>
                  <a:pt x="1224" y="311"/>
                  <a:pt x="1224" y="311"/>
                  <a:pt x="1224" y="311"/>
                </a:cubicBezTo>
                <a:cubicBezTo>
                  <a:pt x="1225" y="312"/>
                  <a:pt x="1225" y="312"/>
                  <a:pt x="1225" y="312"/>
                </a:cubicBezTo>
                <a:cubicBezTo>
                  <a:pt x="1226" y="311"/>
                  <a:pt x="1226" y="311"/>
                  <a:pt x="1226" y="311"/>
                </a:cubicBezTo>
                <a:cubicBezTo>
                  <a:pt x="1226" y="310"/>
                  <a:pt x="1226" y="310"/>
                  <a:pt x="1226" y="310"/>
                </a:cubicBezTo>
                <a:cubicBezTo>
                  <a:pt x="1227" y="310"/>
                  <a:pt x="1227" y="310"/>
                  <a:pt x="1227" y="310"/>
                </a:cubicBezTo>
                <a:cubicBezTo>
                  <a:pt x="1227" y="311"/>
                  <a:pt x="1227" y="311"/>
                  <a:pt x="1227" y="311"/>
                </a:cubicBezTo>
                <a:cubicBezTo>
                  <a:pt x="1228" y="312"/>
                  <a:pt x="1228" y="312"/>
                  <a:pt x="1228" y="312"/>
                </a:cubicBezTo>
                <a:cubicBezTo>
                  <a:pt x="1229" y="311"/>
                  <a:pt x="1229" y="311"/>
                  <a:pt x="1229" y="311"/>
                </a:cubicBezTo>
                <a:cubicBezTo>
                  <a:pt x="1231" y="311"/>
                  <a:pt x="1231" y="311"/>
                  <a:pt x="1231" y="311"/>
                </a:cubicBezTo>
                <a:cubicBezTo>
                  <a:pt x="1232" y="310"/>
                  <a:pt x="1232" y="310"/>
                  <a:pt x="1232" y="310"/>
                </a:cubicBezTo>
                <a:cubicBezTo>
                  <a:pt x="1232" y="309"/>
                  <a:pt x="1232" y="309"/>
                  <a:pt x="1232" y="309"/>
                </a:cubicBezTo>
                <a:cubicBezTo>
                  <a:pt x="1231" y="310"/>
                  <a:pt x="1231" y="310"/>
                  <a:pt x="1231" y="310"/>
                </a:cubicBezTo>
                <a:cubicBezTo>
                  <a:pt x="1230" y="310"/>
                  <a:pt x="1230" y="310"/>
                  <a:pt x="1230" y="310"/>
                </a:cubicBezTo>
                <a:cubicBezTo>
                  <a:pt x="1228" y="310"/>
                  <a:pt x="1228" y="310"/>
                  <a:pt x="1228" y="310"/>
                </a:cubicBezTo>
                <a:cubicBezTo>
                  <a:pt x="1228" y="309"/>
                  <a:pt x="1228" y="309"/>
                  <a:pt x="1228" y="309"/>
                </a:cubicBezTo>
                <a:cubicBezTo>
                  <a:pt x="1230" y="308"/>
                  <a:pt x="1230" y="308"/>
                  <a:pt x="1230" y="308"/>
                </a:cubicBezTo>
                <a:cubicBezTo>
                  <a:pt x="1231" y="308"/>
                  <a:pt x="1231" y="308"/>
                  <a:pt x="1231" y="308"/>
                </a:cubicBezTo>
                <a:cubicBezTo>
                  <a:pt x="1232" y="308"/>
                  <a:pt x="1232" y="308"/>
                  <a:pt x="1232" y="308"/>
                </a:cubicBezTo>
                <a:cubicBezTo>
                  <a:pt x="1233" y="307"/>
                  <a:pt x="1233" y="307"/>
                  <a:pt x="1233" y="307"/>
                </a:cubicBezTo>
                <a:cubicBezTo>
                  <a:pt x="1232" y="307"/>
                  <a:pt x="1232" y="307"/>
                  <a:pt x="1232" y="307"/>
                </a:cubicBezTo>
                <a:cubicBezTo>
                  <a:pt x="1231" y="307"/>
                  <a:pt x="1231" y="307"/>
                  <a:pt x="1231" y="307"/>
                </a:cubicBezTo>
                <a:cubicBezTo>
                  <a:pt x="1230" y="307"/>
                  <a:pt x="1230" y="307"/>
                  <a:pt x="1230" y="307"/>
                </a:cubicBezTo>
                <a:cubicBezTo>
                  <a:pt x="1231" y="306"/>
                  <a:pt x="1231" y="306"/>
                  <a:pt x="1231" y="306"/>
                </a:cubicBezTo>
                <a:cubicBezTo>
                  <a:pt x="1231" y="305"/>
                  <a:pt x="1231" y="305"/>
                  <a:pt x="1231" y="305"/>
                </a:cubicBezTo>
                <a:cubicBezTo>
                  <a:pt x="1229" y="306"/>
                  <a:pt x="1229" y="306"/>
                  <a:pt x="1229" y="306"/>
                </a:cubicBezTo>
                <a:cubicBezTo>
                  <a:pt x="1228" y="306"/>
                  <a:pt x="1228" y="306"/>
                  <a:pt x="1228" y="306"/>
                </a:cubicBezTo>
                <a:cubicBezTo>
                  <a:pt x="1227" y="306"/>
                  <a:pt x="1227" y="306"/>
                  <a:pt x="1227" y="306"/>
                </a:cubicBezTo>
                <a:cubicBezTo>
                  <a:pt x="1227" y="305"/>
                  <a:pt x="1227" y="305"/>
                  <a:pt x="1227" y="305"/>
                </a:cubicBezTo>
                <a:cubicBezTo>
                  <a:pt x="1226" y="306"/>
                  <a:pt x="1226" y="306"/>
                  <a:pt x="1226" y="306"/>
                </a:cubicBezTo>
                <a:cubicBezTo>
                  <a:pt x="1225" y="306"/>
                  <a:pt x="1225" y="306"/>
                  <a:pt x="1225" y="306"/>
                </a:cubicBezTo>
                <a:cubicBezTo>
                  <a:pt x="1225" y="305"/>
                  <a:pt x="1225" y="305"/>
                  <a:pt x="1225" y="305"/>
                </a:cubicBezTo>
                <a:cubicBezTo>
                  <a:pt x="1224" y="306"/>
                  <a:pt x="1224" y="306"/>
                  <a:pt x="1224" y="306"/>
                </a:cubicBezTo>
                <a:cubicBezTo>
                  <a:pt x="1223" y="306"/>
                  <a:pt x="1223" y="306"/>
                  <a:pt x="1223" y="306"/>
                </a:cubicBezTo>
                <a:cubicBezTo>
                  <a:pt x="1222" y="307"/>
                  <a:pt x="1222" y="307"/>
                  <a:pt x="1222" y="307"/>
                </a:cubicBezTo>
                <a:cubicBezTo>
                  <a:pt x="1221" y="307"/>
                  <a:pt x="1221" y="307"/>
                  <a:pt x="1221" y="307"/>
                </a:cubicBezTo>
                <a:cubicBezTo>
                  <a:pt x="1220" y="306"/>
                  <a:pt x="1220" y="306"/>
                  <a:pt x="1220" y="306"/>
                </a:cubicBezTo>
                <a:cubicBezTo>
                  <a:pt x="1218" y="305"/>
                  <a:pt x="1218" y="305"/>
                  <a:pt x="1218" y="305"/>
                </a:cubicBezTo>
                <a:cubicBezTo>
                  <a:pt x="1219" y="304"/>
                  <a:pt x="1219" y="304"/>
                  <a:pt x="1219" y="304"/>
                </a:cubicBezTo>
                <a:cubicBezTo>
                  <a:pt x="1220" y="304"/>
                  <a:pt x="1220" y="304"/>
                  <a:pt x="1220" y="304"/>
                </a:cubicBezTo>
                <a:cubicBezTo>
                  <a:pt x="1221" y="306"/>
                  <a:pt x="1221" y="306"/>
                  <a:pt x="1221" y="306"/>
                </a:cubicBezTo>
                <a:cubicBezTo>
                  <a:pt x="1222" y="306"/>
                  <a:pt x="1222" y="306"/>
                  <a:pt x="1222" y="306"/>
                </a:cubicBezTo>
                <a:cubicBezTo>
                  <a:pt x="1221" y="305"/>
                  <a:pt x="1221" y="305"/>
                  <a:pt x="1221" y="305"/>
                </a:cubicBezTo>
                <a:cubicBezTo>
                  <a:pt x="1220" y="303"/>
                  <a:pt x="1220" y="303"/>
                  <a:pt x="1220" y="303"/>
                </a:cubicBezTo>
                <a:cubicBezTo>
                  <a:pt x="1221" y="303"/>
                  <a:pt x="1221" y="303"/>
                  <a:pt x="1221" y="303"/>
                </a:cubicBezTo>
                <a:cubicBezTo>
                  <a:pt x="1223" y="304"/>
                  <a:pt x="1223" y="304"/>
                  <a:pt x="1223" y="304"/>
                </a:cubicBezTo>
                <a:cubicBezTo>
                  <a:pt x="1224" y="303"/>
                  <a:pt x="1224" y="303"/>
                  <a:pt x="1224" y="303"/>
                </a:cubicBezTo>
                <a:cubicBezTo>
                  <a:pt x="1223" y="303"/>
                  <a:pt x="1223" y="303"/>
                  <a:pt x="1223" y="303"/>
                </a:cubicBezTo>
                <a:cubicBezTo>
                  <a:pt x="1222" y="302"/>
                  <a:pt x="1222" y="302"/>
                  <a:pt x="1222" y="302"/>
                </a:cubicBezTo>
                <a:cubicBezTo>
                  <a:pt x="1223" y="301"/>
                  <a:pt x="1223" y="301"/>
                  <a:pt x="1223" y="301"/>
                </a:cubicBezTo>
                <a:cubicBezTo>
                  <a:pt x="1224" y="302"/>
                  <a:pt x="1224" y="302"/>
                  <a:pt x="1224" y="302"/>
                </a:cubicBezTo>
                <a:cubicBezTo>
                  <a:pt x="1224" y="301"/>
                  <a:pt x="1224" y="301"/>
                  <a:pt x="1224" y="301"/>
                </a:cubicBezTo>
                <a:cubicBezTo>
                  <a:pt x="1223" y="301"/>
                  <a:pt x="1223" y="301"/>
                  <a:pt x="1223" y="301"/>
                </a:cubicBezTo>
                <a:cubicBezTo>
                  <a:pt x="1223" y="300"/>
                  <a:pt x="1223" y="300"/>
                  <a:pt x="1223" y="300"/>
                </a:cubicBezTo>
                <a:cubicBezTo>
                  <a:pt x="1223" y="299"/>
                  <a:pt x="1223" y="299"/>
                  <a:pt x="1223" y="299"/>
                </a:cubicBezTo>
                <a:cubicBezTo>
                  <a:pt x="1224" y="299"/>
                  <a:pt x="1224" y="299"/>
                  <a:pt x="1224" y="299"/>
                </a:cubicBezTo>
                <a:cubicBezTo>
                  <a:pt x="1225" y="298"/>
                  <a:pt x="1225" y="298"/>
                  <a:pt x="1225" y="298"/>
                </a:cubicBezTo>
                <a:cubicBezTo>
                  <a:pt x="1226" y="299"/>
                  <a:pt x="1226" y="299"/>
                  <a:pt x="1226" y="299"/>
                </a:cubicBezTo>
                <a:cubicBezTo>
                  <a:pt x="1227" y="300"/>
                  <a:pt x="1227" y="300"/>
                  <a:pt x="1227" y="300"/>
                </a:cubicBezTo>
                <a:cubicBezTo>
                  <a:pt x="1227" y="301"/>
                  <a:pt x="1227" y="301"/>
                  <a:pt x="1227" y="301"/>
                </a:cubicBezTo>
                <a:cubicBezTo>
                  <a:pt x="1228" y="300"/>
                  <a:pt x="1228" y="300"/>
                  <a:pt x="1228" y="300"/>
                </a:cubicBezTo>
                <a:cubicBezTo>
                  <a:pt x="1230" y="301"/>
                  <a:pt x="1230" y="301"/>
                  <a:pt x="1230" y="301"/>
                </a:cubicBezTo>
                <a:cubicBezTo>
                  <a:pt x="1229" y="299"/>
                  <a:pt x="1229" y="299"/>
                  <a:pt x="1229" y="299"/>
                </a:cubicBezTo>
                <a:cubicBezTo>
                  <a:pt x="1228" y="298"/>
                  <a:pt x="1228" y="298"/>
                  <a:pt x="1228" y="298"/>
                </a:cubicBezTo>
                <a:cubicBezTo>
                  <a:pt x="1229" y="298"/>
                  <a:pt x="1229" y="298"/>
                  <a:pt x="1229" y="298"/>
                </a:cubicBezTo>
                <a:cubicBezTo>
                  <a:pt x="1230" y="298"/>
                  <a:pt x="1230" y="298"/>
                  <a:pt x="1230" y="298"/>
                </a:cubicBezTo>
                <a:cubicBezTo>
                  <a:pt x="1230" y="297"/>
                  <a:pt x="1230" y="297"/>
                  <a:pt x="1230" y="297"/>
                </a:cubicBezTo>
                <a:cubicBezTo>
                  <a:pt x="1229" y="297"/>
                  <a:pt x="1229" y="297"/>
                  <a:pt x="1229" y="297"/>
                </a:cubicBezTo>
                <a:cubicBezTo>
                  <a:pt x="1228" y="297"/>
                  <a:pt x="1228" y="297"/>
                  <a:pt x="1228" y="297"/>
                </a:cubicBezTo>
                <a:cubicBezTo>
                  <a:pt x="1227" y="297"/>
                  <a:pt x="1227" y="297"/>
                  <a:pt x="1227" y="297"/>
                </a:cubicBezTo>
                <a:cubicBezTo>
                  <a:pt x="1226" y="296"/>
                  <a:pt x="1226" y="296"/>
                  <a:pt x="1226" y="296"/>
                </a:cubicBezTo>
                <a:cubicBezTo>
                  <a:pt x="1228" y="296"/>
                  <a:pt x="1228" y="296"/>
                  <a:pt x="1228" y="296"/>
                </a:cubicBezTo>
                <a:cubicBezTo>
                  <a:pt x="1229" y="296"/>
                  <a:pt x="1229" y="296"/>
                  <a:pt x="1229" y="296"/>
                </a:cubicBezTo>
                <a:cubicBezTo>
                  <a:pt x="1231" y="296"/>
                  <a:pt x="1231" y="296"/>
                  <a:pt x="1231" y="296"/>
                </a:cubicBezTo>
                <a:cubicBezTo>
                  <a:pt x="1231" y="297"/>
                  <a:pt x="1231" y="297"/>
                  <a:pt x="1231" y="297"/>
                </a:cubicBezTo>
                <a:cubicBezTo>
                  <a:pt x="1231" y="298"/>
                  <a:pt x="1231" y="298"/>
                  <a:pt x="1231" y="298"/>
                </a:cubicBezTo>
                <a:cubicBezTo>
                  <a:pt x="1233" y="299"/>
                  <a:pt x="1233" y="299"/>
                  <a:pt x="1233" y="299"/>
                </a:cubicBezTo>
                <a:cubicBezTo>
                  <a:pt x="1233" y="300"/>
                  <a:pt x="1233" y="300"/>
                  <a:pt x="1233" y="300"/>
                </a:cubicBezTo>
                <a:cubicBezTo>
                  <a:pt x="1234" y="299"/>
                  <a:pt x="1234" y="299"/>
                  <a:pt x="1234" y="299"/>
                </a:cubicBezTo>
                <a:cubicBezTo>
                  <a:pt x="1235" y="300"/>
                  <a:pt x="1235" y="300"/>
                  <a:pt x="1235" y="300"/>
                </a:cubicBezTo>
                <a:cubicBezTo>
                  <a:pt x="1234" y="301"/>
                  <a:pt x="1234" y="301"/>
                  <a:pt x="1234" y="301"/>
                </a:cubicBezTo>
                <a:cubicBezTo>
                  <a:pt x="1235" y="302"/>
                  <a:pt x="1235" y="302"/>
                  <a:pt x="1235" y="302"/>
                </a:cubicBezTo>
                <a:cubicBezTo>
                  <a:pt x="1235" y="303"/>
                  <a:pt x="1235" y="303"/>
                  <a:pt x="1235" y="303"/>
                </a:cubicBezTo>
                <a:cubicBezTo>
                  <a:pt x="1234" y="304"/>
                  <a:pt x="1234" y="304"/>
                  <a:pt x="1234" y="304"/>
                </a:cubicBezTo>
                <a:cubicBezTo>
                  <a:pt x="1234" y="305"/>
                  <a:pt x="1234" y="305"/>
                  <a:pt x="1234" y="305"/>
                </a:cubicBezTo>
                <a:cubicBezTo>
                  <a:pt x="1235" y="305"/>
                  <a:pt x="1235" y="305"/>
                  <a:pt x="1235" y="305"/>
                </a:cubicBezTo>
                <a:cubicBezTo>
                  <a:pt x="1235" y="306"/>
                  <a:pt x="1235" y="306"/>
                  <a:pt x="1235" y="306"/>
                </a:cubicBezTo>
                <a:cubicBezTo>
                  <a:pt x="1234" y="307"/>
                  <a:pt x="1234" y="307"/>
                  <a:pt x="1234" y="307"/>
                </a:cubicBezTo>
                <a:cubicBezTo>
                  <a:pt x="1234" y="308"/>
                  <a:pt x="1234" y="308"/>
                  <a:pt x="1234" y="308"/>
                </a:cubicBezTo>
                <a:cubicBezTo>
                  <a:pt x="1235" y="308"/>
                  <a:pt x="1235" y="308"/>
                  <a:pt x="1235" y="308"/>
                </a:cubicBezTo>
                <a:cubicBezTo>
                  <a:pt x="1236" y="310"/>
                  <a:pt x="1236" y="310"/>
                  <a:pt x="1236" y="310"/>
                </a:cubicBezTo>
                <a:cubicBezTo>
                  <a:pt x="1236" y="308"/>
                  <a:pt x="1236" y="308"/>
                  <a:pt x="1236" y="308"/>
                </a:cubicBezTo>
                <a:cubicBezTo>
                  <a:pt x="1237" y="308"/>
                  <a:pt x="1237" y="308"/>
                  <a:pt x="1237" y="308"/>
                </a:cubicBezTo>
                <a:cubicBezTo>
                  <a:pt x="1237" y="306"/>
                  <a:pt x="1237" y="306"/>
                  <a:pt x="1237" y="306"/>
                </a:cubicBezTo>
                <a:cubicBezTo>
                  <a:pt x="1238" y="306"/>
                  <a:pt x="1238" y="306"/>
                  <a:pt x="1238" y="306"/>
                </a:cubicBezTo>
                <a:cubicBezTo>
                  <a:pt x="1238" y="307"/>
                  <a:pt x="1238" y="307"/>
                  <a:pt x="1238" y="307"/>
                </a:cubicBezTo>
                <a:cubicBezTo>
                  <a:pt x="1239" y="307"/>
                  <a:pt x="1239" y="307"/>
                  <a:pt x="1239" y="307"/>
                </a:cubicBezTo>
                <a:cubicBezTo>
                  <a:pt x="1240" y="306"/>
                  <a:pt x="1240" y="306"/>
                  <a:pt x="1240" y="306"/>
                </a:cubicBezTo>
                <a:cubicBezTo>
                  <a:pt x="1240" y="304"/>
                  <a:pt x="1240" y="304"/>
                  <a:pt x="1240" y="304"/>
                </a:cubicBezTo>
                <a:cubicBezTo>
                  <a:pt x="1240" y="303"/>
                  <a:pt x="1240" y="303"/>
                  <a:pt x="1240" y="303"/>
                </a:cubicBezTo>
                <a:cubicBezTo>
                  <a:pt x="1239" y="300"/>
                  <a:pt x="1239" y="300"/>
                  <a:pt x="1239" y="300"/>
                </a:cubicBezTo>
                <a:cubicBezTo>
                  <a:pt x="1241" y="299"/>
                  <a:pt x="1241" y="299"/>
                  <a:pt x="1241" y="299"/>
                </a:cubicBezTo>
                <a:cubicBezTo>
                  <a:pt x="1242" y="300"/>
                  <a:pt x="1242" y="300"/>
                  <a:pt x="1242" y="300"/>
                </a:cubicBezTo>
                <a:cubicBezTo>
                  <a:pt x="1242" y="302"/>
                  <a:pt x="1242" y="302"/>
                  <a:pt x="1242" y="302"/>
                </a:cubicBezTo>
                <a:cubicBezTo>
                  <a:pt x="1243" y="303"/>
                  <a:pt x="1243" y="303"/>
                  <a:pt x="1243" y="303"/>
                </a:cubicBezTo>
                <a:cubicBezTo>
                  <a:pt x="1243" y="305"/>
                  <a:pt x="1243" y="305"/>
                  <a:pt x="1243" y="305"/>
                </a:cubicBezTo>
                <a:cubicBezTo>
                  <a:pt x="1244" y="305"/>
                  <a:pt x="1244" y="305"/>
                  <a:pt x="1244" y="305"/>
                </a:cubicBezTo>
                <a:cubicBezTo>
                  <a:pt x="1245" y="303"/>
                  <a:pt x="1245" y="303"/>
                  <a:pt x="1245" y="303"/>
                </a:cubicBezTo>
                <a:cubicBezTo>
                  <a:pt x="1245" y="302"/>
                  <a:pt x="1245" y="302"/>
                  <a:pt x="1245" y="302"/>
                </a:cubicBezTo>
                <a:cubicBezTo>
                  <a:pt x="1245" y="301"/>
                  <a:pt x="1245" y="301"/>
                  <a:pt x="1245" y="301"/>
                </a:cubicBezTo>
                <a:cubicBezTo>
                  <a:pt x="1247" y="299"/>
                  <a:pt x="1247" y="299"/>
                  <a:pt x="1247" y="299"/>
                </a:cubicBezTo>
                <a:cubicBezTo>
                  <a:pt x="1249" y="300"/>
                  <a:pt x="1249" y="300"/>
                  <a:pt x="1249" y="300"/>
                </a:cubicBezTo>
                <a:cubicBezTo>
                  <a:pt x="1249" y="301"/>
                  <a:pt x="1249" y="301"/>
                  <a:pt x="1249" y="301"/>
                </a:cubicBezTo>
                <a:cubicBezTo>
                  <a:pt x="1249" y="302"/>
                  <a:pt x="1249" y="302"/>
                  <a:pt x="1249" y="302"/>
                </a:cubicBezTo>
                <a:cubicBezTo>
                  <a:pt x="1249" y="303"/>
                  <a:pt x="1249" y="303"/>
                  <a:pt x="1249" y="303"/>
                </a:cubicBezTo>
                <a:cubicBezTo>
                  <a:pt x="1250" y="304"/>
                  <a:pt x="1250" y="304"/>
                  <a:pt x="1250" y="304"/>
                </a:cubicBezTo>
                <a:cubicBezTo>
                  <a:pt x="1250" y="307"/>
                  <a:pt x="1250" y="307"/>
                  <a:pt x="1250" y="307"/>
                </a:cubicBezTo>
                <a:cubicBezTo>
                  <a:pt x="1251" y="304"/>
                  <a:pt x="1251" y="304"/>
                  <a:pt x="1251" y="304"/>
                </a:cubicBezTo>
                <a:cubicBezTo>
                  <a:pt x="1250" y="302"/>
                  <a:pt x="1250" y="302"/>
                  <a:pt x="1250" y="302"/>
                </a:cubicBezTo>
                <a:cubicBezTo>
                  <a:pt x="1250" y="300"/>
                  <a:pt x="1250" y="300"/>
                  <a:pt x="1250" y="300"/>
                </a:cubicBezTo>
                <a:cubicBezTo>
                  <a:pt x="1251" y="300"/>
                  <a:pt x="1251" y="300"/>
                  <a:pt x="1251" y="300"/>
                </a:cubicBezTo>
                <a:cubicBezTo>
                  <a:pt x="1252" y="300"/>
                  <a:pt x="1252" y="300"/>
                  <a:pt x="1252" y="300"/>
                </a:cubicBezTo>
                <a:cubicBezTo>
                  <a:pt x="1253" y="300"/>
                  <a:pt x="1253" y="300"/>
                  <a:pt x="1253" y="300"/>
                </a:cubicBezTo>
                <a:cubicBezTo>
                  <a:pt x="1254" y="302"/>
                  <a:pt x="1254" y="302"/>
                  <a:pt x="1254" y="302"/>
                </a:cubicBezTo>
                <a:cubicBezTo>
                  <a:pt x="1255" y="302"/>
                  <a:pt x="1255" y="302"/>
                  <a:pt x="1255" y="302"/>
                </a:cubicBezTo>
                <a:cubicBezTo>
                  <a:pt x="1256" y="300"/>
                  <a:pt x="1256" y="300"/>
                  <a:pt x="1256" y="300"/>
                </a:cubicBezTo>
                <a:cubicBezTo>
                  <a:pt x="1256" y="299"/>
                  <a:pt x="1256" y="299"/>
                  <a:pt x="1256" y="299"/>
                </a:cubicBezTo>
                <a:cubicBezTo>
                  <a:pt x="1257" y="300"/>
                  <a:pt x="1257" y="300"/>
                  <a:pt x="1257" y="300"/>
                </a:cubicBezTo>
                <a:cubicBezTo>
                  <a:pt x="1257" y="301"/>
                  <a:pt x="1257" y="301"/>
                  <a:pt x="1257" y="301"/>
                </a:cubicBezTo>
                <a:cubicBezTo>
                  <a:pt x="1258" y="300"/>
                  <a:pt x="1258" y="300"/>
                  <a:pt x="1258" y="300"/>
                </a:cubicBezTo>
                <a:cubicBezTo>
                  <a:pt x="1260" y="300"/>
                  <a:pt x="1260" y="300"/>
                  <a:pt x="1260" y="300"/>
                </a:cubicBezTo>
                <a:cubicBezTo>
                  <a:pt x="1260" y="299"/>
                  <a:pt x="1260" y="299"/>
                  <a:pt x="1260" y="299"/>
                </a:cubicBezTo>
                <a:cubicBezTo>
                  <a:pt x="1260" y="298"/>
                  <a:pt x="1260" y="298"/>
                  <a:pt x="1260" y="298"/>
                </a:cubicBezTo>
                <a:cubicBezTo>
                  <a:pt x="1260" y="297"/>
                  <a:pt x="1260" y="297"/>
                  <a:pt x="1260" y="297"/>
                </a:cubicBezTo>
                <a:cubicBezTo>
                  <a:pt x="1261" y="297"/>
                  <a:pt x="1261" y="297"/>
                  <a:pt x="1261" y="297"/>
                </a:cubicBezTo>
                <a:cubicBezTo>
                  <a:pt x="1262" y="296"/>
                  <a:pt x="1262" y="296"/>
                  <a:pt x="1262" y="296"/>
                </a:cubicBezTo>
                <a:cubicBezTo>
                  <a:pt x="1263" y="297"/>
                  <a:pt x="1263" y="297"/>
                  <a:pt x="1263" y="297"/>
                </a:cubicBezTo>
                <a:cubicBezTo>
                  <a:pt x="1263" y="298"/>
                  <a:pt x="1263" y="298"/>
                  <a:pt x="1263" y="298"/>
                </a:cubicBezTo>
                <a:cubicBezTo>
                  <a:pt x="1264" y="299"/>
                  <a:pt x="1264" y="299"/>
                  <a:pt x="1264" y="299"/>
                </a:cubicBezTo>
                <a:cubicBezTo>
                  <a:pt x="1263" y="299"/>
                  <a:pt x="1263" y="299"/>
                  <a:pt x="1263" y="299"/>
                </a:cubicBezTo>
                <a:cubicBezTo>
                  <a:pt x="1264" y="301"/>
                  <a:pt x="1264" y="301"/>
                  <a:pt x="1264" y="301"/>
                </a:cubicBezTo>
                <a:cubicBezTo>
                  <a:pt x="1265" y="300"/>
                  <a:pt x="1265" y="300"/>
                  <a:pt x="1265" y="300"/>
                </a:cubicBezTo>
                <a:cubicBezTo>
                  <a:pt x="1265" y="299"/>
                  <a:pt x="1265" y="299"/>
                  <a:pt x="1265" y="299"/>
                </a:cubicBezTo>
                <a:cubicBezTo>
                  <a:pt x="1267" y="297"/>
                  <a:pt x="1267" y="297"/>
                  <a:pt x="1267" y="297"/>
                </a:cubicBezTo>
                <a:cubicBezTo>
                  <a:pt x="1268" y="297"/>
                  <a:pt x="1268" y="297"/>
                  <a:pt x="1268" y="297"/>
                </a:cubicBezTo>
                <a:cubicBezTo>
                  <a:pt x="1269" y="298"/>
                  <a:pt x="1269" y="298"/>
                  <a:pt x="1269" y="298"/>
                </a:cubicBezTo>
                <a:cubicBezTo>
                  <a:pt x="1268" y="298"/>
                  <a:pt x="1268" y="298"/>
                  <a:pt x="1268" y="298"/>
                </a:cubicBezTo>
                <a:cubicBezTo>
                  <a:pt x="1268" y="299"/>
                  <a:pt x="1268" y="299"/>
                  <a:pt x="1268" y="299"/>
                </a:cubicBezTo>
                <a:cubicBezTo>
                  <a:pt x="1268" y="300"/>
                  <a:pt x="1268" y="300"/>
                  <a:pt x="1268" y="300"/>
                </a:cubicBezTo>
                <a:cubicBezTo>
                  <a:pt x="1266" y="300"/>
                  <a:pt x="1266" y="300"/>
                  <a:pt x="1266" y="300"/>
                </a:cubicBezTo>
                <a:cubicBezTo>
                  <a:pt x="1267" y="301"/>
                  <a:pt x="1267" y="301"/>
                  <a:pt x="1267" y="301"/>
                </a:cubicBezTo>
                <a:cubicBezTo>
                  <a:pt x="1268" y="302"/>
                  <a:pt x="1268" y="302"/>
                  <a:pt x="1268" y="302"/>
                </a:cubicBezTo>
                <a:cubicBezTo>
                  <a:pt x="1269" y="301"/>
                  <a:pt x="1269" y="301"/>
                  <a:pt x="1269" y="301"/>
                </a:cubicBezTo>
                <a:cubicBezTo>
                  <a:pt x="1270" y="303"/>
                  <a:pt x="1270" y="303"/>
                  <a:pt x="1270" y="303"/>
                </a:cubicBezTo>
                <a:cubicBezTo>
                  <a:pt x="1269" y="303"/>
                  <a:pt x="1269" y="303"/>
                  <a:pt x="1269" y="303"/>
                </a:cubicBezTo>
                <a:cubicBezTo>
                  <a:pt x="1268" y="304"/>
                  <a:pt x="1268" y="304"/>
                  <a:pt x="1268" y="304"/>
                </a:cubicBezTo>
                <a:cubicBezTo>
                  <a:pt x="1268" y="305"/>
                  <a:pt x="1268" y="305"/>
                  <a:pt x="1268" y="305"/>
                </a:cubicBezTo>
                <a:cubicBezTo>
                  <a:pt x="1269" y="305"/>
                  <a:pt x="1269" y="305"/>
                  <a:pt x="1269" y="305"/>
                </a:cubicBezTo>
                <a:cubicBezTo>
                  <a:pt x="1270" y="305"/>
                  <a:pt x="1270" y="305"/>
                  <a:pt x="1270" y="305"/>
                </a:cubicBezTo>
                <a:cubicBezTo>
                  <a:pt x="1270" y="306"/>
                  <a:pt x="1270" y="306"/>
                  <a:pt x="1270" y="306"/>
                </a:cubicBezTo>
                <a:cubicBezTo>
                  <a:pt x="1270" y="307"/>
                  <a:pt x="1270" y="307"/>
                  <a:pt x="1270" y="307"/>
                </a:cubicBezTo>
                <a:cubicBezTo>
                  <a:pt x="1273" y="307"/>
                  <a:pt x="1273" y="307"/>
                  <a:pt x="1273" y="307"/>
                </a:cubicBezTo>
                <a:cubicBezTo>
                  <a:pt x="1274" y="308"/>
                  <a:pt x="1274" y="308"/>
                  <a:pt x="1274" y="308"/>
                </a:cubicBezTo>
                <a:cubicBezTo>
                  <a:pt x="1273" y="309"/>
                  <a:pt x="1273" y="309"/>
                  <a:pt x="1273" y="309"/>
                </a:cubicBezTo>
                <a:cubicBezTo>
                  <a:pt x="1272" y="309"/>
                  <a:pt x="1272" y="309"/>
                  <a:pt x="1272" y="309"/>
                </a:cubicBezTo>
                <a:cubicBezTo>
                  <a:pt x="1271" y="309"/>
                  <a:pt x="1271" y="309"/>
                  <a:pt x="1271" y="309"/>
                </a:cubicBezTo>
                <a:cubicBezTo>
                  <a:pt x="1271" y="311"/>
                  <a:pt x="1271" y="311"/>
                  <a:pt x="1271" y="311"/>
                </a:cubicBezTo>
                <a:cubicBezTo>
                  <a:pt x="1271" y="312"/>
                  <a:pt x="1271" y="312"/>
                  <a:pt x="1271" y="312"/>
                </a:cubicBezTo>
                <a:cubicBezTo>
                  <a:pt x="1272" y="314"/>
                  <a:pt x="1272" y="314"/>
                  <a:pt x="1272" y="314"/>
                </a:cubicBezTo>
                <a:cubicBezTo>
                  <a:pt x="1272" y="315"/>
                  <a:pt x="1272" y="315"/>
                  <a:pt x="1272" y="315"/>
                </a:cubicBezTo>
                <a:cubicBezTo>
                  <a:pt x="1271" y="316"/>
                  <a:pt x="1271" y="316"/>
                  <a:pt x="1271" y="316"/>
                </a:cubicBezTo>
                <a:cubicBezTo>
                  <a:pt x="1270" y="316"/>
                  <a:pt x="1270" y="316"/>
                  <a:pt x="1270" y="316"/>
                </a:cubicBezTo>
                <a:cubicBezTo>
                  <a:pt x="1270" y="315"/>
                  <a:pt x="1270" y="315"/>
                  <a:pt x="1270" y="315"/>
                </a:cubicBezTo>
                <a:cubicBezTo>
                  <a:pt x="1269" y="314"/>
                  <a:pt x="1269" y="314"/>
                  <a:pt x="1269" y="314"/>
                </a:cubicBezTo>
                <a:cubicBezTo>
                  <a:pt x="1269" y="315"/>
                  <a:pt x="1269" y="315"/>
                  <a:pt x="1269" y="315"/>
                </a:cubicBezTo>
                <a:cubicBezTo>
                  <a:pt x="1269" y="317"/>
                  <a:pt x="1269" y="317"/>
                  <a:pt x="1269" y="317"/>
                </a:cubicBezTo>
                <a:cubicBezTo>
                  <a:pt x="1268" y="318"/>
                  <a:pt x="1268" y="318"/>
                  <a:pt x="1268" y="318"/>
                </a:cubicBezTo>
                <a:cubicBezTo>
                  <a:pt x="1269" y="318"/>
                  <a:pt x="1269" y="318"/>
                  <a:pt x="1269" y="318"/>
                </a:cubicBezTo>
                <a:cubicBezTo>
                  <a:pt x="1269" y="319"/>
                  <a:pt x="1269" y="319"/>
                  <a:pt x="1269" y="319"/>
                </a:cubicBezTo>
                <a:cubicBezTo>
                  <a:pt x="1268" y="320"/>
                  <a:pt x="1268" y="320"/>
                  <a:pt x="1268" y="320"/>
                </a:cubicBezTo>
                <a:cubicBezTo>
                  <a:pt x="1266" y="319"/>
                  <a:pt x="1266" y="319"/>
                  <a:pt x="1266" y="319"/>
                </a:cubicBezTo>
                <a:cubicBezTo>
                  <a:pt x="1266" y="318"/>
                  <a:pt x="1266" y="318"/>
                  <a:pt x="1266" y="318"/>
                </a:cubicBezTo>
                <a:cubicBezTo>
                  <a:pt x="1265" y="318"/>
                  <a:pt x="1265" y="318"/>
                  <a:pt x="1265" y="318"/>
                </a:cubicBezTo>
                <a:cubicBezTo>
                  <a:pt x="1265" y="319"/>
                  <a:pt x="1265" y="319"/>
                  <a:pt x="1265" y="319"/>
                </a:cubicBezTo>
                <a:cubicBezTo>
                  <a:pt x="1265" y="320"/>
                  <a:pt x="1265" y="320"/>
                  <a:pt x="1265" y="320"/>
                </a:cubicBezTo>
                <a:cubicBezTo>
                  <a:pt x="1262" y="321"/>
                  <a:pt x="1262" y="321"/>
                  <a:pt x="1262" y="321"/>
                </a:cubicBezTo>
                <a:cubicBezTo>
                  <a:pt x="1261" y="322"/>
                  <a:pt x="1261" y="322"/>
                  <a:pt x="1261" y="322"/>
                </a:cubicBezTo>
                <a:cubicBezTo>
                  <a:pt x="1258" y="325"/>
                  <a:pt x="1258" y="325"/>
                  <a:pt x="1258" y="325"/>
                </a:cubicBezTo>
                <a:cubicBezTo>
                  <a:pt x="1256" y="325"/>
                  <a:pt x="1256" y="325"/>
                  <a:pt x="1256" y="325"/>
                </a:cubicBezTo>
                <a:cubicBezTo>
                  <a:pt x="1255" y="324"/>
                  <a:pt x="1255" y="324"/>
                  <a:pt x="1255" y="324"/>
                </a:cubicBezTo>
                <a:cubicBezTo>
                  <a:pt x="1254" y="326"/>
                  <a:pt x="1254" y="326"/>
                  <a:pt x="1254" y="326"/>
                </a:cubicBezTo>
                <a:cubicBezTo>
                  <a:pt x="1253" y="326"/>
                  <a:pt x="1253" y="326"/>
                  <a:pt x="1253" y="326"/>
                </a:cubicBezTo>
                <a:cubicBezTo>
                  <a:pt x="1253" y="327"/>
                  <a:pt x="1253" y="327"/>
                  <a:pt x="1253" y="327"/>
                </a:cubicBezTo>
                <a:cubicBezTo>
                  <a:pt x="1252" y="326"/>
                  <a:pt x="1252" y="326"/>
                  <a:pt x="1252" y="326"/>
                </a:cubicBezTo>
                <a:cubicBezTo>
                  <a:pt x="1253" y="325"/>
                  <a:pt x="1253" y="325"/>
                  <a:pt x="1253" y="325"/>
                </a:cubicBezTo>
                <a:cubicBezTo>
                  <a:pt x="1251" y="326"/>
                  <a:pt x="1251" y="326"/>
                  <a:pt x="1251" y="326"/>
                </a:cubicBezTo>
                <a:cubicBezTo>
                  <a:pt x="1251" y="327"/>
                  <a:pt x="1251" y="327"/>
                  <a:pt x="1251" y="327"/>
                </a:cubicBezTo>
                <a:cubicBezTo>
                  <a:pt x="1250" y="328"/>
                  <a:pt x="1250" y="328"/>
                  <a:pt x="1250" y="328"/>
                </a:cubicBezTo>
                <a:cubicBezTo>
                  <a:pt x="1249" y="328"/>
                  <a:pt x="1249" y="328"/>
                  <a:pt x="1249" y="328"/>
                </a:cubicBezTo>
                <a:cubicBezTo>
                  <a:pt x="1248" y="327"/>
                  <a:pt x="1248" y="327"/>
                  <a:pt x="1248" y="327"/>
                </a:cubicBezTo>
                <a:cubicBezTo>
                  <a:pt x="1248" y="328"/>
                  <a:pt x="1248" y="328"/>
                  <a:pt x="1248" y="328"/>
                </a:cubicBezTo>
                <a:cubicBezTo>
                  <a:pt x="1248" y="329"/>
                  <a:pt x="1248" y="329"/>
                  <a:pt x="1248" y="329"/>
                </a:cubicBezTo>
                <a:cubicBezTo>
                  <a:pt x="1246" y="330"/>
                  <a:pt x="1246" y="330"/>
                  <a:pt x="1246" y="330"/>
                </a:cubicBezTo>
                <a:cubicBezTo>
                  <a:pt x="1245" y="329"/>
                  <a:pt x="1245" y="329"/>
                  <a:pt x="1245" y="329"/>
                </a:cubicBezTo>
                <a:cubicBezTo>
                  <a:pt x="1243" y="329"/>
                  <a:pt x="1243" y="329"/>
                  <a:pt x="1243" y="329"/>
                </a:cubicBezTo>
                <a:cubicBezTo>
                  <a:pt x="1241" y="327"/>
                  <a:pt x="1241" y="327"/>
                  <a:pt x="1241" y="327"/>
                </a:cubicBezTo>
                <a:cubicBezTo>
                  <a:pt x="1240" y="327"/>
                  <a:pt x="1240" y="327"/>
                  <a:pt x="1240" y="327"/>
                </a:cubicBezTo>
                <a:cubicBezTo>
                  <a:pt x="1239" y="328"/>
                  <a:pt x="1239" y="328"/>
                  <a:pt x="1239" y="328"/>
                </a:cubicBezTo>
                <a:cubicBezTo>
                  <a:pt x="1238" y="328"/>
                  <a:pt x="1238" y="328"/>
                  <a:pt x="1238" y="328"/>
                </a:cubicBezTo>
                <a:cubicBezTo>
                  <a:pt x="1236" y="326"/>
                  <a:pt x="1236" y="326"/>
                  <a:pt x="1236" y="326"/>
                </a:cubicBezTo>
                <a:cubicBezTo>
                  <a:pt x="1236" y="325"/>
                  <a:pt x="1236" y="325"/>
                  <a:pt x="1236" y="325"/>
                </a:cubicBezTo>
                <a:close/>
                <a:moveTo>
                  <a:pt x="1232" y="319"/>
                </a:moveTo>
                <a:cubicBezTo>
                  <a:pt x="1233" y="319"/>
                  <a:pt x="1233" y="319"/>
                  <a:pt x="1233" y="319"/>
                </a:cubicBezTo>
                <a:cubicBezTo>
                  <a:pt x="1232" y="318"/>
                  <a:pt x="1232" y="318"/>
                  <a:pt x="1232" y="318"/>
                </a:cubicBezTo>
                <a:cubicBezTo>
                  <a:pt x="1231" y="319"/>
                  <a:pt x="1231" y="319"/>
                  <a:pt x="1231" y="319"/>
                </a:cubicBezTo>
                <a:cubicBezTo>
                  <a:pt x="1232" y="319"/>
                  <a:pt x="1232" y="319"/>
                  <a:pt x="1232" y="319"/>
                </a:cubicBezTo>
                <a:close/>
                <a:moveTo>
                  <a:pt x="1237" y="330"/>
                </a:moveTo>
                <a:cubicBezTo>
                  <a:pt x="1238" y="331"/>
                  <a:pt x="1238" y="331"/>
                  <a:pt x="1238" y="331"/>
                </a:cubicBezTo>
                <a:cubicBezTo>
                  <a:pt x="1239" y="330"/>
                  <a:pt x="1239" y="330"/>
                  <a:pt x="1239" y="330"/>
                </a:cubicBezTo>
                <a:cubicBezTo>
                  <a:pt x="1238" y="329"/>
                  <a:pt x="1238" y="329"/>
                  <a:pt x="1238" y="329"/>
                </a:cubicBezTo>
                <a:cubicBezTo>
                  <a:pt x="1237" y="330"/>
                  <a:pt x="1237" y="330"/>
                  <a:pt x="1237" y="330"/>
                </a:cubicBezTo>
                <a:close/>
                <a:moveTo>
                  <a:pt x="376" y="659"/>
                </a:moveTo>
                <a:cubicBezTo>
                  <a:pt x="374" y="658"/>
                  <a:pt x="374" y="658"/>
                  <a:pt x="374" y="658"/>
                </a:cubicBezTo>
                <a:cubicBezTo>
                  <a:pt x="373" y="658"/>
                  <a:pt x="373" y="658"/>
                  <a:pt x="373" y="658"/>
                </a:cubicBezTo>
                <a:cubicBezTo>
                  <a:pt x="373" y="659"/>
                  <a:pt x="373" y="659"/>
                  <a:pt x="373" y="659"/>
                </a:cubicBezTo>
                <a:cubicBezTo>
                  <a:pt x="374" y="659"/>
                  <a:pt x="374" y="659"/>
                  <a:pt x="374" y="659"/>
                </a:cubicBezTo>
                <a:cubicBezTo>
                  <a:pt x="375" y="660"/>
                  <a:pt x="375" y="660"/>
                  <a:pt x="375" y="660"/>
                </a:cubicBezTo>
                <a:cubicBezTo>
                  <a:pt x="376" y="660"/>
                  <a:pt x="376" y="660"/>
                  <a:pt x="376" y="660"/>
                </a:cubicBezTo>
                <a:cubicBezTo>
                  <a:pt x="377" y="660"/>
                  <a:pt x="377" y="660"/>
                  <a:pt x="377" y="660"/>
                </a:cubicBezTo>
                <a:cubicBezTo>
                  <a:pt x="376" y="659"/>
                  <a:pt x="376" y="659"/>
                  <a:pt x="376" y="659"/>
                </a:cubicBezTo>
                <a:close/>
                <a:moveTo>
                  <a:pt x="382" y="668"/>
                </a:moveTo>
                <a:cubicBezTo>
                  <a:pt x="383" y="667"/>
                  <a:pt x="383" y="667"/>
                  <a:pt x="383" y="667"/>
                </a:cubicBezTo>
                <a:cubicBezTo>
                  <a:pt x="381" y="665"/>
                  <a:pt x="381" y="665"/>
                  <a:pt x="381" y="665"/>
                </a:cubicBezTo>
                <a:cubicBezTo>
                  <a:pt x="380" y="665"/>
                  <a:pt x="380" y="665"/>
                  <a:pt x="380" y="665"/>
                </a:cubicBezTo>
                <a:cubicBezTo>
                  <a:pt x="379" y="664"/>
                  <a:pt x="379" y="664"/>
                  <a:pt x="379" y="664"/>
                </a:cubicBezTo>
                <a:cubicBezTo>
                  <a:pt x="378" y="663"/>
                  <a:pt x="378" y="663"/>
                  <a:pt x="378" y="663"/>
                </a:cubicBezTo>
                <a:cubicBezTo>
                  <a:pt x="377" y="664"/>
                  <a:pt x="377" y="664"/>
                  <a:pt x="377" y="664"/>
                </a:cubicBezTo>
                <a:cubicBezTo>
                  <a:pt x="378" y="665"/>
                  <a:pt x="378" y="665"/>
                  <a:pt x="378" y="665"/>
                </a:cubicBezTo>
                <a:cubicBezTo>
                  <a:pt x="377" y="666"/>
                  <a:pt x="377" y="666"/>
                  <a:pt x="377" y="666"/>
                </a:cubicBezTo>
                <a:cubicBezTo>
                  <a:pt x="377" y="667"/>
                  <a:pt x="377" y="667"/>
                  <a:pt x="377" y="667"/>
                </a:cubicBezTo>
                <a:cubicBezTo>
                  <a:pt x="377" y="668"/>
                  <a:pt x="377" y="668"/>
                  <a:pt x="377" y="668"/>
                </a:cubicBezTo>
                <a:cubicBezTo>
                  <a:pt x="377" y="670"/>
                  <a:pt x="377" y="670"/>
                  <a:pt x="377" y="670"/>
                </a:cubicBezTo>
                <a:cubicBezTo>
                  <a:pt x="377" y="673"/>
                  <a:pt x="377" y="673"/>
                  <a:pt x="377" y="673"/>
                </a:cubicBezTo>
                <a:cubicBezTo>
                  <a:pt x="379" y="674"/>
                  <a:pt x="379" y="674"/>
                  <a:pt x="379" y="674"/>
                </a:cubicBezTo>
                <a:cubicBezTo>
                  <a:pt x="381" y="671"/>
                  <a:pt x="381" y="671"/>
                  <a:pt x="381" y="671"/>
                </a:cubicBezTo>
                <a:cubicBezTo>
                  <a:pt x="383" y="670"/>
                  <a:pt x="383" y="670"/>
                  <a:pt x="383" y="670"/>
                </a:cubicBezTo>
                <a:cubicBezTo>
                  <a:pt x="384" y="669"/>
                  <a:pt x="384" y="669"/>
                  <a:pt x="384" y="669"/>
                </a:cubicBezTo>
                <a:cubicBezTo>
                  <a:pt x="383" y="668"/>
                  <a:pt x="383" y="668"/>
                  <a:pt x="383" y="668"/>
                </a:cubicBezTo>
                <a:cubicBezTo>
                  <a:pt x="382" y="668"/>
                  <a:pt x="382" y="668"/>
                  <a:pt x="382" y="668"/>
                </a:cubicBezTo>
                <a:close/>
                <a:moveTo>
                  <a:pt x="365" y="653"/>
                </a:moveTo>
                <a:cubicBezTo>
                  <a:pt x="364" y="653"/>
                  <a:pt x="364" y="653"/>
                  <a:pt x="364" y="653"/>
                </a:cubicBezTo>
                <a:cubicBezTo>
                  <a:pt x="364" y="654"/>
                  <a:pt x="364" y="654"/>
                  <a:pt x="364" y="654"/>
                </a:cubicBezTo>
                <a:cubicBezTo>
                  <a:pt x="365" y="656"/>
                  <a:pt x="365" y="656"/>
                  <a:pt x="365" y="656"/>
                </a:cubicBezTo>
                <a:cubicBezTo>
                  <a:pt x="367" y="656"/>
                  <a:pt x="367" y="656"/>
                  <a:pt x="367" y="656"/>
                </a:cubicBezTo>
                <a:cubicBezTo>
                  <a:pt x="367" y="655"/>
                  <a:pt x="367" y="655"/>
                  <a:pt x="367" y="655"/>
                </a:cubicBezTo>
                <a:cubicBezTo>
                  <a:pt x="366" y="654"/>
                  <a:pt x="366" y="654"/>
                  <a:pt x="366" y="654"/>
                </a:cubicBezTo>
                <a:cubicBezTo>
                  <a:pt x="365" y="653"/>
                  <a:pt x="365" y="653"/>
                  <a:pt x="365" y="653"/>
                </a:cubicBezTo>
                <a:close/>
                <a:moveTo>
                  <a:pt x="350" y="651"/>
                </a:moveTo>
                <a:cubicBezTo>
                  <a:pt x="351" y="652"/>
                  <a:pt x="351" y="652"/>
                  <a:pt x="351" y="652"/>
                </a:cubicBezTo>
                <a:cubicBezTo>
                  <a:pt x="352" y="651"/>
                  <a:pt x="352" y="651"/>
                  <a:pt x="352" y="651"/>
                </a:cubicBezTo>
                <a:cubicBezTo>
                  <a:pt x="351" y="650"/>
                  <a:pt x="351" y="650"/>
                  <a:pt x="351" y="650"/>
                </a:cubicBezTo>
                <a:cubicBezTo>
                  <a:pt x="350" y="651"/>
                  <a:pt x="350" y="651"/>
                  <a:pt x="350" y="651"/>
                </a:cubicBezTo>
                <a:close/>
                <a:moveTo>
                  <a:pt x="371" y="657"/>
                </a:moveTo>
                <a:cubicBezTo>
                  <a:pt x="372" y="657"/>
                  <a:pt x="372" y="657"/>
                  <a:pt x="372" y="657"/>
                </a:cubicBezTo>
                <a:cubicBezTo>
                  <a:pt x="373" y="656"/>
                  <a:pt x="373" y="656"/>
                  <a:pt x="373" y="656"/>
                </a:cubicBezTo>
                <a:cubicBezTo>
                  <a:pt x="371" y="657"/>
                  <a:pt x="371" y="657"/>
                  <a:pt x="371" y="657"/>
                </a:cubicBezTo>
                <a:close/>
                <a:moveTo>
                  <a:pt x="355" y="650"/>
                </a:moveTo>
                <a:cubicBezTo>
                  <a:pt x="356" y="651"/>
                  <a:pt x="356" y="651"/>
                  <a:pt x="356" y="651"/>
                </a:cubicBezTo>
                <a:cubicBezTo>
                  <a:pt x="357" y="651"/>
                  <a:pt x="357" y="651"/>
                  <a:pt x="357" y="651"/>
                </a:cubicBezTo>
                <a:cubicBezTo>
                  <a:pt x="357" y="649"/>
                  <a:pt x="357" y="649"/>
                  <a:pt x="357" y="649"/>
                </a:cubicBezTo>
                <a:cubicBezTo>
                  <a:pt x="356" y="649"/>
                  <a:pt x="356" y="649"/>
                  <a:pt x="356" y="649"/>
                </a:cubicBezTo>
                <a:cubicBezTo>
                  <a:pt x="355" y="650"/>
                  <a:pt x="355" y="650"/>
                  <a:pt x="355" y="650"/>
                </a:cubicBezTo>
                <a:close/>
                <a:moveTo>
                  <a:pt x="777" y="804"/>
                </a:moveTo>
                <a:cubicBezTo>
                  <a:pt x="777" y="803"/>
                  <a:pt x="777" y="803"/>
                  <a:pt x="777" y="803"/>
                </a:cubicBezTo>
                <a:cubicBezTo>
                  <a:pt x="777" y="801"/>
                  <a:pt x="777" y="801"/>
                  <a:pt x="777" y="801"/>
                </a:cubicBezTo>
                <a:cubicBezTo>
                  <a:pt x="776" y="800"/>
                  <a:pt x="776" y="800"/>
                  <a:pt x="776" y="800"/>
                </a:cubicBezTo>
                <a:cubicBezTo>
                  <a:pt x="775" y="801"/>
                  <a:pt x="775" y="801"/>
                  <a:pt x="775" y="801"/>
                </a:cubicBezTo>
                <a:cubicBezTo>
                  <a:pt x="775" y="802"/>
                  <a:pt x="775" y="802"/>
                  <a:pt x="775" y="802"/>
                </a:cubicBezTo>
                <a:cubicBezTo>
                  <a:pt x="776" y="802"/>
                  <a:pt x="776" y="802"/>
                  <a:pt x="776" y="802"/>
                </a:cubicBezTo>
                <a:cubicBezTo>
                  <a:pt x="776" y="804"/>
                  <a:pt x="776" y="804"/>
                  <a:pt x="776" y="804"/>
                </a:cubicBezTo>
                <a:cubicBezTo>
                  <a:pt x="777" y="806"/>
                  <a:pt x="777" y="806"/>
                  <a:pt x="777" y="806"/>
                </a:cubicBezTo>
                <a:cubicBezTo>
                  <a:pt x="776" y="806"/>
                  <a:pt x="776" y="806"/>
                  <a:pt x="776" y="806"/>
                </a:cubicBezTo>
                <a:cubicBezTo>
                  <a:pt x="775" y="808"/>
                  <a:pt x="775" y="808"/>
                  <a:pt x="775" y="808"/>
                </a:cubicBezTo>
                <a:cubicBezTo>
                  <a:pt x="776" y="808"/>
                  <a:pt x="776" y="808"/>
                  <a:pt x="776" y="808"/>
                </a:cubicBezTo>
                <a:cubicBezTo>
                  <a:pt x="778" y="808"/>
                  <a:pt x="778" y="808"/>
                  <a:pt x="778" y="808"/>
                </a:cubicBezTo>
                <a:cubicBezTo>
                  <a:pt x="778" y="806"/>
                  <a:pt x="778" y="806"/>
                  <a:pt x="778" y="806"/>
                </a:cubicBezTo>
                <a:cubicBezTo>
                  <a:pt x="777" y="805"/>
                  <a:pt x="777" y="805"/>
                  <a:pt x="777" y="805"/>
                </a:cubicBezTo>
                <a:cubicBezTo>
                  <a:pt x="777" y="804"/>
                  <a:pt x="777" y="804"/>
                  <a:pt x="777" y="804"/>
                </a:cubicBezTo>
                <a:close/>
                <a:moveTo>
                  <a:pt x="779" y="803"/>
                </a:moveTo>
                <a:cubicBezTo>
                  <a:pt x="780" y="803"/>
                  <a:pt x="780" y="803"/>
                  <a:pt x="780" y="803"/>
                </a:cubicBezTo>
                <a:cubicBezTo>
                  <a:pt x="779" y="802"/>
                  <a:pt x="779" y="802"/>
                  <a:pt x="779" y="802"/>
                </a:cubicBezTo>
                <a:cubicBezTo>
                  <a:pt x="779" y="803"/>
                  <a:pt x="779" y="803"/>
                  <a:pt x="779" y="803"/>
                </a:cubicBezTo>
                <a:close/>
                <a:moveTo>
                  <a:pt x="781" y="805"/>
                </a:moveTo>
                <a:cubicBezTo>
                  <a:pt x="782" y="806"/>
                  <a:pt x="782" y="806"/>
                  <a:pt x="782" y="806"/>
                </a:cubicBezTo>
                <a:cubicBezTo>
                  <a:pt x="783" y="805"/>
                  <a:pt x="783" y="805"/>
                  <a:pt x="783" y="805"/>
                </a:cubicBezTo>
                <a:cubicBezTo>
                  <a:pt x="782" y="805"/>
                  <a:pt x="782" y="805"/>
                  <a:pt x="782" y="805"/>
                </a:cubicBezTo>
                <a:cubicBezTo>
                  <a:pt x="781" y="805"/>
                  <a:pt x="781" y="805"/>
                  <a:pt x="781" y="805"/>
                </a:cubicBezTo>
                <a:close/>
                <a:moveTo>
                  <a:pt x="785" y="808"/>
                </a:moveTo>
                <a:cubicBezTo>
                  <a:pt x="785" y="809"/>
                  <a:pt x="785" y="809"/>
                  <a:pt x="785" y="809"/>
                </a:cubicBezTo>
                <a:cubicBezTo>
                  <a:pt x="787" y="807"/>
                  <a:pt x="787" y="807"/>
                  <a:pt x="787" y="807"/>
                </a:cubicBezTo>
                <a:cubicBezTo>
                  <a:pt x="786" y="807"/>
                  <a:pt x="786" y="807"/>
                  <a:pt x="786" y="807"/>
                </a:cubicBezTo>
                <a:cubicBezTo>
                  <a:pt x="785" y="808"/>
                  <a:pt x="785" y="808"/>
                  <a:pt x="785" y="808"/>
                </a:cubicBezTo>
                <a:close/>
                <a:moveTo>
                  <a:pt x="775" y="804"/>
                </a:moveTo>
                <a:cubicBezTo>
                  <a:pt x="774" y="804"/>
                  <a:pt x="774" y="804"/>
                  <a:pt x="774" y="804"/>
                </a:cubicBezTo>
                <a:cubicBezTo>
                  <a:pt x="774" y="805"/>
                  <a:pt x="774" y="805"/>
                  <a:pt x="774" y="805"/>
                </a:cubicBezTo>
                <a:cubicBezTo>
                  <a:pt x="775" y="805"/>
                  <a:pt x="775" y="805"/>
                  <a:pt x="775" y="805"/>
                </a:cubicBezTo>
                <a:cubicBezTo>
                  <a:pt x="775" y="804"/>
                  <a:pt x="775" y="804"/>
                  <a:pt x="775" y="804"/>
                </a:cubicBezTo>
                <a:close/>
                <a:moveTo>
                  <a:pt x="946" y="684"/>
                </a:moveTo>
                <a:cubicBezTo>
                  <a:pt x="944" y="685"/>
                  <a:pt x="944" y="685"/>
                  <a:pt x="944" y="685"/>
                </a:cubicBezTo>
                <a:cubicBezTo>
                  <a:pt x="946" y="685"/>
                  <a:pt x="946" y="685"/>
                  <a:pt x="946" y="685"/>
                </a:cubicBezTo>
                <a:cubicBezTo>
                  <a:pt x="946" y="684"/>
                  <a:pt x="946" y="684"/>
                  <a:pt x="946" y="684"/>
                </a:cubicBezTo>
                <a:close/>
                <a:moveTo>
                  <a:pt x="957" y="681"/>
                </a:moveTo>
                <a:cubicBezTo>
                  <a:pt x="955" y="681"/>
                  <a:pt x="955" y="681"/>
                  <a:pt x="955" y="681"/>
                </a:cubicBezTo>
                <a:cubicBezTo>
                  <a:pt x="954" y="682"/>
                  <a:pt x="954" y="682"/>
                  <a:pt x="954" y="682"/>
                </a:cubicBezTo>
                <a:cubicBezTo>
                  <a:pt x="954" y="683"/>
                  <a:pt x="954" y="683"/>
                  <a:pt x="954" y="683"/>
                </a:cubicBezTo>
                <a:cubicBezTo>
                  <a:pt x="956" y="684"/>
                  <a:pt x="956" y="684"/>
                  <a:pt x="956" y="684"/>
                </a:cubicBezTo>
                <a:cubicBezTo>
                  <a:pt x="956" y="683"/>
                  <a:pt x="956" y="683"/>
                  <a:pt x="956" y="683"/>
                </a:cubicBezTo>
                <a:cubicBezTo>
                  <a:pt x="957" y="681"/>
                  <a:pt x="957" y="681"/>
                  <a:pt x="957" y="681"/>
                </a:cubicBezTo>
                <a:close/>
                <a:moveTo>
                  <a:pt x="963" y="684"/>
                </a:moveTo>
                <a:cubicBezTo>
                  <a:pt x="962" y="685"/>
                  <a:pt x="962" y="685"/>
                  <a:pt x="962" y="685"/>
                </a:cubicBezTo>
                <a:cubicBezTo>
                  <a:pt x="963" y="686"/>
                  <a:pt x="963" y="686"/>
                  <a:pt x="963" y="686"/>
                </a:cubicBezTo>
                <a:cubicBezTo>
                  <a:pt x="964" y="685"/>
                  <a:pt x="964" y="685"/>
                  <a:pt x="964" y="685"/>
                </a:cubicBezTo>
                <a:cubicBezTo>
                  <a:pt x="963" y="684"/>
                  <a:pt x="963" y="684"/>
                  <a:pt x="963" y="684"/>
                </a:cubicBezTo>
                <a:close/>
                <a:moveTo>
                  <a:pt x="958" y="688"/>
                </a:moveTo>
                <a:cubicBezTo>
                  <a:pt x="957" y="686"/>
                  <a:pt x="957" y="686"/>
                  <a:pt x="957" y="686"/>
                </a:cubicBezTo>
                <a:cubicBezTo>
                  <a:pt x="956" y="687"/>
                  <a:pt x="956" y="687"/>
                  <a:pt x="956" y="687"/>
                </a:cubicBezTo>
                <a:cubicBezTo>
                  <a:pt x="957" y="688"/>
                  <a:pt x="957" y="688"/>
                  <a:pt x="957" y="688"/>
                </a:cubicBezTo>
                <a:cubicBezTo>
                  <a:pt x="958" y="688"/>
                  <a:pt x="958" y="688"/>
                  <a:pt x="958" y="688"/>
                </a:cubicBezTo>
                <a:close/>
                <a:moveTo>
                  <a:pt x="962" y="689"/>
                </a:moveTo>
                <a:cubicBezTo>
                  <a:pt x="963" y="690"/>
                  <a:pt x="963" y="690"/>
                  <a:pt x="963" y="690"/>
                </a:cubicBezTo>
                <a:cubicBezTo>
                  <a:pt x="964" y="689"/>
                  <a:pt x="964" y="689"/>
                  <a:pt x="964" y="689"/>
                </a:cubicBezTo>
                <a:cubicBezTo>
                  <a:pt x="962" y="688"/>
                  <a:pt x="962" y="688"/>
                  <a:pt x="962" y="688"/>
                </a:cubicBezTo>
                <a:cubicBezTo>
                  <a:pt x="962" y="689"/>
                  <a:pt x="962" y="689"/>
                  <a:pt x="962" y="689"/>
                </a:cubicBezTo>
                <a:close/>
                <a:moveTo>
                  <a:pt x="930" y="684"/>
                </a:moveTo>
                <a:cubicBezTo>
                  <a:pt x="933" y="684"/>
                  <a:pt x="933" y="684"/>
                  <a:pt x="933" y="684"/>
                </a:cubicBezTo>
                <a:cubicBezTo>
                  <a:pt x="934" y="684"/>
                  <a:pt x="934" y="684"/>
                  <a:pt x="934" y="684"/>
                </a:cubicBezTo>
                <a:cubicBezTo>
                  <a:pt x="936" y="684"/>
                  <a:pt x="936" y="684"/>
                  <a:pt x="936" y="684"/>
                </a:cubicBezTo>
                <a:cubicBezTo>
                  <a:pt x="937" y="684"/>
                  <a:pt x="937" y="684"/>
                  <a:pt x="937" y="684"/>
                </a:cubicBezTo>
                <a:cubicBezTo>
                  <a:pt x="939" y="683"/>
                  <a:pt x="939" y="683"/>
                  <a:pt x="939" y="683"/>
                </a:cubicBezTo>
                <a:cubicBezTo>
                  <a:pt x="940" y="682"/>
                  <a:pt x="940" y="682"/>
                  <a:pt x="940" y="682"/>
                </a:cubicBezTo>
                <a:cubicBezTo>
                  <a:pt x="939" y="681"/>
                  <a:pt x="939" y="681"/>
                  <a:pt x="939" y="681"/>
                </a:cubicBezTo>
                <a:cubicBezTo>
                  <a:pt x="939" y="680"/>
                  <a:pt x="939" y="680"/>
                  <a:pt x="939" y="680"/>
                </a:cubicBezTo>
                <a:cubicBezTo>
                  <a:pt x="938" y="680"/>
                  <a:pt x="938" y="680"/>
                  <a:pt x="938" y="680"/>
                </a:cubicBezTo>
                <a:cubicBezTo>
                  <a:pt x="936" y="680"/>
                  <a:pt x="936" y="680"/>
                  <a:pt x="936" y="680"/>
                </a:cubicBezTo>
                <a:cubicBezTo>
                  <a:pt x="931" y="680"/>
                  <a:pt x="931" y="680"/>
                  <a:pt x="931" y="680"/>
                </a:cubicBezTo>
                <a:cubicBezTo>
                  <a:pt x="931" y="681"/>
                  <a:pt x="931" y="681"/>
                  <a:pt x="931" y="681"/>
                </a:cubicBezTo>
                <a:cubicBezTo>
                  <a:pt x="929" y="681"/>
                  <a:pt x="929" y="681"/>
                  <a:pt x="929" y="681"/>
                </a:cubicBezTo>
                <a:cubicBezTo>
                  <a:pt x="930" y="682"/>
                  <a:pt x="930" y="682"/>
                  <a:pt x="930" y="682"/>
                </a:cubicBezTo>
                <a:cubicBezTo>
                  <a:pt x="929" y="683"/>
                  <a:pt x="929" y="683"/>
                  <a:pt x="929" y="683"/>
                </a:cubicBezTo>
                <a:cubicBezTo>
                  <a:pt x="930" y="684"/>
                  <a:pt x="930" y="684"/>
                  <a:pt x="930" y="684"/>
                </a:cubicBezTo>
                <a:close/>
                <a:moveTo>
                  <a:pt x="941" y="683"/>
                </a:moveTo>
                <a:cubicBezTo>
                  <a:pt x="940" y="684"/>
                  <a:pt x="940" y="684"/>
                  <a:pt x="940" y="684"/>
                </a:cubicBezTo>
                <a:cubicBezTo>
                  <a:pt x="942" y="683"/>
                  <a:pt x="942" y="683"/>
                  <a:pt x="942" y="683"/>
                </a:cubicBezTo>
                <a:cubicBezTo>
                  <a:pt x="941" y="683"/>
                  <a:pt x="941" y="683"/>
                  <a:pt x="941" y="683"/>
                </a:cubicBezTo>
                <a:close/>
                <a:moveTo>
                  <a:pt x="924" y="679"/>
                </a:moveTo>
                <a:cubicBezTo>
                  <a:pt x="923" y="678"/>
                  <a:pt x="923" y="678"/>
                  <a:pt x="923" y="678"/>
                </a:cubicBezTo>
                <a:cubicBezTo>
                  <a:pt x="921" y="677"/>
                  <a:pt x="921" y="677"/>
                  <a:pt x="921" y="677"/>
                </a:cubicBezTo>
                <a:cubicBezTo>
                  <a:pt x="920" y="677"/>
                  <a:pt x="920" y="677"/>
                  <a:pt x="920" y="677"/>
                </a:cubicBezTo>
                <a:cubicBezTo>
                  <a:pt x="918" y="676"/>
                  <a:pt x="918" y="676"/>
                  <a:pt x="918" y="676"/>
                </a:cubicBezTo>
                <a:cubicBezTo>
                  <a:pt x="917" y="677"/>
                  <a:pt x="917" y="677"/>
                  <a:pt x="917" y="677"/>
                </a:cubicBezTo>
                <a:cubicBezTo>
                  <a:pt x="916" y="676"/>
                  <a:pt x="916" y="676"/>
                  <a:pt x="916" y="676"/>
                </a:cubicBezTo>
                <a:cubicBezTo>
                  <a:pt x="914" y="675"/>
                  <a:pt x="914" y="675"/>
                  <a:pt x="914" y="675"/>
                </a:cubicBezTo>
                <a:cubicBezTo>
                  <a:pt x="913" y="675"/>
                  <a:pt x="913" y="675"/>
                  <a:pt x="913" y="675"/>
                </a:cubicBezTo>
                <a:cubicBezTo>
                  <a:pt x="913" y="674"/>
                  <a:pt x="913" y="674"/>
                  <a:pt x="913" y="674"/>
                </a:cubicBezTo>
                <a:cubicBezTo>
                  <a:pt x="915" y="675"/>
                  <a:pt x="915" y="675"/>
                  <a:pt x="915" y="675"/>
                </a:cubicBezTo>
                <a:cubicBezTo>
                  <a:pt x="918" y="675"/>
                  <a:pt x="918" y="675"/>
                  <a:pt x="918" y="675"/>
                </a:cubicBezTo>
                <a:cubicBezTo>
                  <a:pt x="919" y="675"/>
                  <a:pt x="919" y="675"/>
                  <a:pt x="919" y="675"/>
                </a:cubicBezTo>
                <a:cubicBezTo>
                  <a:pt x="918" y="674"/>
                  <a:pt x="918" y="674"/>
                  <a:pt x="918" y="674"/>
                </a:cubicBezTo>
                <a:cubicBezTo>
                  <a:pt x="917" y="674"/>
                  <a:pt x="917" y="674"/>
                  <a:pt x="917" y="674"/>
                </a:cubicBezTo>
                <a:cubicBezTo>
                  <a:pt x="915" y="674"/>
                  <a:pt x="915" y="674"/>
                  <a:pt x="915" y="674"/>
                </a:cubicBezTo>
                <a:cubicBezTo>
                  <a:pt x="914" y="672"/>
                  <a:pt x="914" y="672"/>
                  <a:pt x="914" y="672"/>
                </a:cubicBezTo>
                <a:cubicBezTo>
                  <a:pt x="913" y="672"/>
                  <a:pt x="913" y="672"/>
                  <a:pt x="913" y="672"/>
                </a:cubicBezTo>
                <a:cubicBezTo>
                  <a:pt x="912" y="672"/>
                  <a:pt x="912" y="672"/>
                  <a:pt x="912" y="672"/>
                </a:cubicBezTo>
                <a:cubicBezTo>
                  <a:pt x="907" y="670"/>
                  <a:pt x="907" y="670"/>
                  <a:pt x="907" y="670"/>
                </a:cubicBezTo>
                <a:cubicBezTo>
                  <a:pt x="906" y="671"/>
                  <a:pt x="906" y="671"/>
                  <a:pt x="906" y="671"/>
                </a:cubicBezTo>
                <a:cubicBezTo>
                  <a:pt x="905" y="670"/>
                  <a:pt x="905" y="670"/>
                  <a:pt x="905" y="670"/>
                </a:cubicBezTo>
                <a:cubicBezTo>
                  <a:pt x="903" y="671"/>
                  <a:pt x="903" y="671"/>
                  <a:pt x="903" y="671"/>
                </a:cubicBezTo>
                <a:cubicBezTo>
                  <a:pt x="902" y="672"/>
                  <a:pt x="902" y="672"/>
                  <a:pt x="902" y="672"/>
                </a:cubicBezTo>
                <a:cubicBezTo>
                  <a:pt x="901" y="672"/>
                  <a:pt x="901" y="672"/>
                  <a:pt x="901" y="672"/>
                </a:cubicBezTo>
                <a:cubicBezTo>
                  <a:pt x="900" y="672"/>
                  <a:pt x="900" y="672"/>
                  <a:pt x="900" y="672"/>
                </a:cubicBezTo>
                <a:cubicBezTo>
                  <a:pt x="899" y="671"/>
                  <a:pt x="899" y="671"/>
                  <a:pt x="899" y="671"/>
                </a:cubicBezTo>
                <a:cubicBezTo>
                  <a:pt x="896" y="671"/>
                  <a:pt x="896" y="671"/>
                  <a:pt x="896" y="671"/>
                </a:cubicBezTo>
                <a:cubicBezTo>
                  <a:pt x="895" y="671"/>
                  <a:pt x="895" y="671"/>
                  <a:pt x="895" y="671"/>
                </a:cubicBezTo>
                <a:cubicBezTo>
                  <a:pt x="894" y="671"/>
                  <a:pt x="894" y="671"/>
                  <a:pt x="894" y="671"/>
                </a:cubicBezTo>
                <a:cubicBezTo>
                  <a:pt x="892" y="671"/>
                  <a:pt x="892" y="671"/>
                  <a:pt x="892" y="671"/>
                </a:cubicBezTo>
                <a:cubicBezTo>
                  <a:pt x="893" y="672"/>
                  <a:pt x="893" y="672"/>
                  <a:pt x="893" y="672"/>
                </a:cubicBezTo>
                <a:cubicBezTo>
                  <a:pt x="896" y="673"/>
                  <a:pt x="896" y="673"/>
                  <a:pt x="896" y="673"/>
                </a:cubicBezTo>
                <a:cubicBezTo>
                  <a:pt x="896" y="674"/>
                  <a:pt x="896" y="674"/>
                  <a:pt x="896" y="674"/>
                </a:cubicBezTo>
                <a:cubicBezTo>
                  <a:pt x="896" y="675"/>
                  <a:pt x="896" y="675"/>
                  <a:pt x="896" y="675"/>
                </a:cubicBezTo>
                <a:cubicBezTo>
                  <a:pt x="896" y="676"/>
                  <a:pt x="896" y="676"/>
                  <a:pt x="896" y="676"/>
                </a:cubicBezTo>
                <a:cubicBezTo>
                  <a:pt x="896" y="677"/>
                  <a:pt x="896" y="677"/>
                  <a:pt x="896" y="677"/>
                </a:cubicBezTo>
                <a:cubicBezTo>
                  <a:pt x="898" y="678"/>
                  <a:pt x="898" y="678"/>
                  <a:pt x="898" y="678"/>
                </a:cubicBezTo>
                <a:cubicBezTo>
                  <a:pt x="899" y="679"/>
                  <a:pt x="899" y="679"/>
                  <a:pt x="899" y="679"/>
                </a:cubicBezTo>
                <a:cubicBezTo>
                  <a:pt x="899" y="680"/>
                  <a:pt x="899" y="680"/>
                  <a:pt x="899" y="680"/>
                </a:cubicBezTo>
                <a:cubicBezTo>
                  <a:pt x="896" y="680"/>
                  <a:pt x="896" y="680"/>
                  <a:pt x="896" y="680"/>
                </a:cubicBezTo>
                <a:cubicBezTo>
                  <a:pt x="894" y="680"/>
                  <a:pt x="894" y="680"/>
                  <a:pt x="894" y="680"/>
                </a:cubicBezTo>
                <a:cubicBezTo>
                  <a:pt x="893" y="680"/>
                  <a:pt x="893" y="680"/>
                  <a:pt x="893" y="680"/>
                </a:cubicBezTo>
                <a:cubicBezTo>
                  <a:pt x="892" y="679"/>
                  <a:pt x="892" y="679"/>
                  <a:pt x="892" y="679"/>
                </a:cubicBezTo>
                <a:cubicBezTo>
                  <a:pt x="890" y="680"/>
                  <a:pt x="890" y="680"/>
                  <a:pt x="890" y="680"/>
                </a:cubicBezTo>
                <a:cubicBezTo>
                  <a:pt x="890" y="679"/>
                  <a:pt x="890" y="679"/>
                  <a:pt x="890" y="679"/>
                </a:cubicBezTo>
                <a:cubicBezTo>
                  <a:pt x="888" y="680"/>
                  <a:pt x="888" y="680"/>
                  <a:pt x="888" y="680"/>
                </a:cubicBezTo>
                <a:cubicBezTo>
                  <a:pt x="887" y="679"/>
                  <a:pt x="887" y="679"/>
                  <a:pt x="887" y="679"/>
                </a:cubicBezTo>
                <a:cubicBezTo>
                  <a:pt x="885" y="679"/>
                  <a:pt x="885" y="679"/>
                  <a:pt x="885" y="679"/>
                </a:cubicBezTo>
                <a:cubicBezTo>
                  <a:pt x="885" y="680"/>
                  <a:pt x="885" y="680"/>
                  <a:pt x="885" y="680"/>
                </a:cubicBezTo>
                <a:cubicBezTo>
                  <a:pt x="885" y="681"/>
                  <a:pt x="885" y="681"/>
                  <a:pt x="885" y="681"/>
                </a:cubicBezTo>
                <a:cubicBezTo>
                  <a:pt x="887" y="681"/>
                  <a:pt x="887" y="681"/>
                  <a:pt x="887" y="681"/>
                </a:cubicBezTo>
                <a:cubicBezTo>
                  <a:pt x="888" y="683"/>
                  <a:pt x="888" y="683"/>
                  <a:pt x="888" y="683"/>
                </a:cubicBezTo>
                <a:cubicBezTo>
                  <a:pt x="889" y="683"/>
                  <a:pt x="889" y="683"/>
                  <a:pt x="889" y="683"/>
                </a:cubicBezTo>
                <a:cubicBezTo>
                  <a:pt x="889" y="682"/>
                  <a:pt x="889" y="682"/>
                  <a:pt x="889" y="682"/>
                </a:cubicBezTo>
                <a:cubicBezTo>
                  <a:pt x="890" y="682"/>
                  <a:pt x="890" y="682"/>
                  <a:pt x="890" y="682"/>
                </a:cubicBezTo>
                <a:cubicBezTo>
                  <a:pt x="892" y="682"/>
                  <a:pt x="892" y="682"/>
                  <a:pt x="892" y="682"/>
                </a:cubicBezTo>
                <a:cubicBezTo>
                  <a:pt x="894" y="682"/>
                  <a:pt x="894" y="682"/>
                  <a:pt x="894" y="682"/>
                </a:cubicBezTo>
                <a:cubicBezTo>
                  <a:pt x="897" y="682"/>
                  <a:pt x="897" y="682"/>
                  <a:pt x="897" y="682"/>
                </a:cubicBezTo>
                <a:cubicBezTo>
                  <a:pt x="898" y="682"/>
                  <a:pt x="898" y="682"/>
                  <a:pt x="898" y="682"/>
                </a:cubicBezTo>
                <a:cubicBezTo>
                  <a:pt x="899" y="682"/>
                  <a:pt x="899" y="682"/>
                  <a:pt x="899" y="682"/>
                </a:cubicBezTo>
                <a:cubicBezTo>
                  <a:pt x="900" y="683"/>
                  <a:pt x="900" y="683"/>
                  <a:pt x="900" y="683"/>
                </a:cubicBezTo>
                <a:cubicBezTo>
                  <a:pt x="901" y="684"/>
                  <a:pt x="901" y="684"/>
                  <a:pt x="901" y="684"/>
                </a:cubicBezTo>
                <a:cubicBezTo>
                  <a:pt x="901" y="685"/>
                  <a:pt x="901" y="685"/>
                  <a:pt x="901" y="685"/>
                </a:cubicBezTo>
                <a:cubicBezTo>
                  <a:pt x="902" y="685"/>
                  <a:pt x="902" y="685"/>
                  <a:pt x="902" y="685"/>
                </a:cubicBezTo>
                <a:cubicBezTo>
                  <a:pt x="902" y="686"/>
                  <a:pt x="902" y="686"/>
                  <a:pt x="902" y="686"/>
                </a:cubicBezTo>
                <a:cubicBezTo>
                  <a:pt x="903" y="687"/>
                  <a:pt x="903" y="687"/>
                  <a:pt x="903" y="687"/>
                </a:cubicBezTo>
                <a:cubicBezTo>
                  <a:pt x="904" y="685"/>
                  <a:pt x="904" y="685"/>
                  <a:pt x="904" y="685"/>
                </a:cubicBezTo>
                <a:cubicBezTo>
                  <a:pt x="905" y="683"/>
                  <a:pt x="905" y="683"/>
                  <a:pt x="905" y="683"/>
                </a:cubicBezTo>
                <a:cubicBezTo>
                  <a:pt x="905" y="682"/>
                  <a:pt x="905" y="682"/>
                  <a:pt x="905" y="682"/>
                </a:cubicBezTo>
                <a:cubicBezTo>
                  <a:pt x="906" y="681"/>
                  <a:pt x="906" y="681"/>
                  <a:pt x="906" y="681"/>
                </a:cubicBezTo>
                <a:cubicBezTo>
                  <a:pt x="906" y="682"/>
                  <a:pt x="906" y="682"/>
                  <a:pt x="906" y="682"/>
                </a:cubicBezTo>
                <a:cubicBezTo>
                  <a:pt x="907" y="682"/>
                  <a:pt x="907" y="682"/>
                  <a:pt x="907" y="682"/>
                </a:cubicBezTo>
                <a:cubicBezTo>
                  <a:pt x="908" y="680"/>
                  <a:pt x="908" y="680"/>
                  <a:pt x="908" y="680"/>
                </a:cubicBezTo>
                <a:cubicBezTo>
                  <a:pt x="909" y="681"/>
                  <a:pt x="909" y="681"/>
                  <a:pt x="909" y="681"/>
                </a:cubicBezTo>
                <a:cubicBezTo>
                  <a:pt x="909" y="682"/>
                  <a:pt x="909" y="682"/>
                  <a:pt x="909" y="682"/>
                </a:cubicBezTo>
                <a:cubicBezTo>
                  <a:pt x="910" y="683"/>
                  <a:pt x="910" y="683"/>
                  <a:pt x="910" y="683"/>
                </a:cubicBezTo>
                <a:cubicBezTo>
                  <a:pt x="911" y="682"/>
                  <a:pt x="911" y="682"/>
                  <a:pt x="911" y="682"/>
                </a:cubicBezTo>
                <a:cubicBezTo>
                  <a:pt x="913" y="681"/>
                  <a:pt x="913" y="681"/>
                  <a:pt x="913" y="681"/>
                </a:cubicBezTo>
                <a:cubicBezTo>
                  <a:pt x="915" y="680"/>
                  <a:pt x="915" y="680"/>
                  <a:pt x="915" y="680"/>
                </a:cubicBezTo>
                <a:cubicBezTo>
                  <a:pt x="917" y="681"/>
                  <a:pt x="917" y="681"/>
                  <a:pt x="917" y="681"/>
                </a:cubicBezTo>
                <a:cubicBezTo>
                  <a:pt x="918" y="680"/>
                  <a:pt x="918" y="680"/>
                  <a:pt x="918" y="680"/>
                </a:cubicBezTo>
                <a:cubicBezTo>
                  <a:pt x="919" y="681"/>
                  <a:pt x="919" y="681"/>
                  <a:pt x="919" y="681"/>
                </a:cubicBezTo>
                <a:cubicBezTo>
                  <a:pt x="920" y="681"/>
                  <a:pt x="920" y="681"/>
                  <a:pt x="920" y="681"/>
                </a:cubicBezTo>
                <a:cubicBezTo>
                  <a:pt x="922" y="681"/>
                  <a:pt x="922" y="681"/>
                  <a:pt x="922" y="681"/>
                </a:cubicBezTo>
                <a:cubicBezTo>
                  <a:pt x="922" y="680"/>
                  <a:pt x="922" y="680"/>
                  <a:pt x="922" y="680"/>
                </a:cubicBezTo>
                <a:cubicBezTo>
                  <a:pt x="923" y="680"/>
                  <a:pt x="923" y="680"/>
                  <a:pt x="923" y="680"/>
                </a:cubicBezTo>
                <a:lnTo>
                  <a:pt x="924" y="679"/>
                </a:lnTo>
                <a:close/>
                <a:moveTo>
                  <a:pt x="922" y="682"/>
                </a:moveTo>
                <a:cubicBezTo>
                  <a:pt x="921" y="682"/>
                  <a:pt x="921" y="682"/>
                  <a:pt x="921" y="682"/>
                </a:cubicBezTo>
                <a:cubicBezTo>
                  <a:pt x="921" y="683"/>
                  <a:pt x="921" y="683"/>
                  <a:pt x="921" y="683"/>
                </a:cubicBezTo>
                <a:cubicBezTo>
                  <a:pt x="922" y="683"/>
                  <a:pt x="922" y="683"/>
                  <a:pt x="922" y="683"/>
                </a:cubicBezTo>
                <a:cubicBezTo>
                  <a:pt x="923" y="683"/>
                  <a:pt x="923" y="683"/>
                  <a:pt x="923" y="683"/>
                </a:cubicBezTo>
                <a:cubicBezTo>
                  <a:pt x="922" y="682"/>
                  <a:pt x="922" y="682"/>
                  <a:pt x="922" y="682"/>
                </a:cubicBezTo>
                <a:close/>
                <a:moveTo>
                  <a:pt x="1273" y="71"/>
                </a:moveTo>
                <a:cubicBezTo>
                  <a:pt x="1274" y="72"/>
                  <a:pt x="1274" y="72"/>
                  <a:pt x="1274" y="72"/>
                </a:cubicBezTo>
                <a:cubicBezTo>
                  <a:pt x="1275" y="70"/>
                  <a:pt x="1275" y="70"/>
                  <a:pt x="1275" y="70"/>
                </a:cubicBezTo>
                <a:cubicBezTo>
                  <a:pt x="1274" y="69"/>
                  <a:pt x="1274" y="69"/>
                  <a:pt x="1274" y="69"/>
                </a:cubicBezTo>
                <a:cubicBezTo>
                  <a:pt x="1273" y="70"/>
                  <a:pt x="1273" y="70"/>
                  <a:pt x="1273" y="70"/>
                </a:cubicBezTo>
                <a:cubicBezTo>
                  <a:pt x="1273" y="71"/>
                  <a:pt x="1273" y="71"/>
                  <a:pt x="1273" y="71"/>
                </a:cubicBezTo>
                <a:close/>
                <a:moveTo>
                  <a:pt x="1038" y="119"/>
                </a:moveTo>
                <a:cubicBezTo>
                  <a:pt x="1036" y="118"/>
                  <a:pt x="1036" y="118"/>
                  <a:pt x="1036" y="118"/>
                </a:cubicBezTo>
                <a:cubicBezTo>
                  <a:pt x="1034" y="117"/>
                  <a:pt x="1034" y="117"/>
                  <a:pt x="1034" y="117"/>
                </a:cubicBezTo>
                <a:cubicBezTo>
                  <a:pt x="1033" y="117"/>
                  <a:pt x="1033" y="117"/>
                  <a:pt x="1033" y="117"/>
                </a:cubicBezTo>
                <a:cubicBezTo>
                  <a:pt x="1032" y="118"/>
                  <a:pt x="1032" y="118"/>
                  <a:pt x="1032" y="118"/>
                </a:cubicBezTo>
                <a:cubicBezTo>
                  <a:pt x="1034" y="119"/>
                  <a:pt x="1034" y="119"/>
                  <a:pt x="1034" y="119"/>
                </a:cubicBezTo>
                <a:cubicBezTo>
                  <a:pt x="1035" y="120"/>
                  <a:pt x="1035" y="120"/>
                  <a:pt x="1035" y="120"/>
                </a:cubicBezTo>
                <a:cubicBezTo>
                  <a:pt x="1036" y="120"/>
                  <a:pt x="1036" y="120"/>
                  <a:pt x="1036" y="120"/>
                </a:cubicBezTo>
                <a:cubicBezTo>
                  <a:pt x="1038" y="119"/>
                  <a:pt x="1038" y="119"/>
                  <a:pt x="1038" y="119"/>
                </a:cubicBezTo>
                <a:close/>
                <a:moveTo>
                  <a:pt x="1278" y="67"/>
                </a:moveTo>
                <a:cubicBezTo>
                  <a:pt x="1278" y="65"/>
                  <a:pt x="1278" y="65"/>
                  <a:pt x="1278" y="65"/>
                </a:cubicBezTo>
                <a:cubicBezTo>
                  <a:pt x="1278" y="64"/>
                  <a:pt x="1278" y="64"/>
                  <a:pt x="1278" y="64"/>
                </a:cubicBezTo>
                <a:cubicBezTo>
                  <a:pt x="1278" y="63"/>
                  <a:pt x="1278" y="63"/>
                  <a:pt x="1278" y="63"/>
                </a:cubicBezTo>
                <a:cubicBezTo>
                  <a:pt x="1277" y="63"/>
                  <a:pt x="1277" y="63"/>
                  <a:pt x="1277" y="63"/>
                </a:cubicBezTo>
                <a:cubicBezTo>
                  <a:pt x="1277" y="64"/>
                  <a:pt x="1277" y="64"/>
                  <a:pt x="1277" y="64"/>
                </a:cubicBezTo>
                <a:cubicBezTo>
                  <a:pt x="1277" y="65"/>
                  <a:pt x="1277" y="65"/>
                  <a:pt x="1277" y="65"/>
                </a:cubicBezTo>
                <a:cubicBezTo>
                  <a:pt x="1277" y="67"/>
                  <a:pt x="1277" y="67"/>
                  <a:pt x="1277" y="67"/>
                </a:cubicBezTo>
                <a:cubicBezTo>
                  <a:pt x="1277" y="68"/>
                  <a:pt x="1277" y="68"/>
                  <a:pt x="1277" y="68"/>
                </a:cubicBezTo>
                <a:cubicBezTo>
                  <a:pt x="1278" y="68"/>
                  <a:pt x="1278" y="68"/>
                  <a:pt x="1278" y="68"/>
                </a:cubicBezTo>
                <a:cubicBezTo>
                  <a:pt x="1278" y="67"/>
                  <a:pt x="1278" y="67"/>
                  <a:pt x="1278" y="67"/>
                </a:cubicBezTo>
                <a:close/>
                <a:moveTo>
                  <a:pt x="1272" y="69"/>
                </a:moveTo>
                <a:cubicBezTo>
                  <a:pt x="1273" y="68"/>
                  <a:pt x="1273" y="68"/>
                  <a:pt x="1273" y="68"/>
                </a:cubicBezTo>
                <a:cubicBezTo>
                  <a:pt x="1273" y="67"/>
                  <a:pt x="1273" y="67"/>
                  <a:pt x="1273" y="67"/>
                </a:cubicBezTo>
                <a:cubicBezTo>
                  <a:pt x="1273" y="65"/>
                  <a:pt x="1273" y="65"/>
                  <a:pt x="1273" y="65"/>
                </a:cubicBezTo>
                <a:cubicBezTo>
                  <a:pt x="1272" y="65"/>
                  <a:pt x="1272" y="65"/>
                  <a:pt x="1272" y="65"/>
                </a:cubicBezTo>
                <a:cubicBezTo>
                  <a:pt x="1271" y="66"/>
                  <a:pt x="1271" y="66"/>
                  <a:pt x="1271" y="66"/>
                </a:cubicBezTo>
                <a:cubicBezTo>
                  <a:pt x="1272" y="67"/>
                  <a:pt x="1272" y="67"/>
                  <a:pt x="1272" y="67"/>
                </a:cubicBezTo>
                <a:cubicBezTo>
                  <a:pt x="1271" y="69"/>
                  <a:pt x="1271" y="69"/>
                  <a:pt x="1271" y="69"/>
                </a:cubicBezTo>
                <a:cubicBezTo>
                  <a:pt x="1272" y="69"/>
                  <a:pt x="1272" y="69"/>
                  <a:pt x="1272" y="69"/>
                </a:cubicBezTo>
                <a:close/>
                <a:moveTo>
                  <a:pt x="1179" y="34"/>
                </a:moveTo>
                <a:cubicBezTo>
                  <a:pt x="1179" y="33"/>
                  <a:pt x="1179" y="33"/>
                  <a:pt x="1179" y="33"/>
                </a:cubicBezTo>
                <a:cubicBezTo>
                  <a:pt x="1178" y="32"/>
                  <a:pt x="1178" y="32"/>
                  <a:pt x="1178" y="32"/>
                </a:cubicBezTo>
                <a:cubicBezTo>
                  <a:pt x="1177" y="32"/>
                  <a:pt x="1177" y="32"/>
                  <a:pt x="1177" y="32"/>
                </a:cubicBezTo>
                <a:cubicBezTo>
                  <a:pt x="1178" y="34"/>
                  <a:pt x="1178" y="34"/>
                  <a:pt x="1178" y="34"/>
                </a:cubicBezTo>
                <a:cubicBezTo>
                  <a:pt x="1179" y="34"/>
                  <a:pt x="1179" y="34"/>
                  <a:pt x="1179" y="34"/>
                </a:cubicBezTo>
                <a:close/>
                <a:moveTo>
                  <a:pt x="1167" y="43"/>
                </a:moveTo>
                <a:cubicBezTo>
                  <a:pt x="1167" y="44"/>
                  <a:pt x="1167" y="44"/>
                  <a:pt x="1167" y="44"/>
                </a:cubicBezTo>
                <a:cubicBezTo>
                  <a:pt x="1168" y="44"/>
                  <a:pt x="1168" y="44"/>
                  <a:pt x="1168" y="44"/>
                </a:cubicBezTo>
                <a:cubicBezTo>
                  <a:pt x="1169" y="44"/>
                  <a:pt x="1169" y="44"/>
                  <a:pt x="1169" y="44"/>
                </a:cubicBezTo>
                <a:cubicBezTo>
                  <a:pt x="1169" y="43"/>
                  <a:pt x="1169" y="43"/>
                  <a:pt x="1169" y="43"/>
                </a:cubicBezTo>
                <a:cubicBezTo>
                  <a:pt x="1168" y="42"/>
                  <a:pt x="1168" y="42"/>
                  <a:pt x="1168" y="42"/>
                </a:cubicBezTo>
                <a:cubicBezTo>
                  <a:pt x="1168" y="40"/>
                  <a:pt x="1168" y="40"/>
                  <a:pt x="1168" y="40"/>
                </a:cubicBezTo>
                <a:cubicBezTo>
                  <a:pt x="1167" y="39"/>
                  <a:pt x="1167" y="39"/>
                  <a:pt x="1167" y="39"/>
                </a:cubicBezTo>
                <a:cubicBezTo>
                  <a:pt x="1166" y="39"/>
                  <a:pt x="1166" y="39"/>
                  <a:pt x="1166" y="39"/>
                </a:cubicBezTo>
                <a:cubicBezTo>
                  <a:pt x="1166" y="40"/>
                  <a:pt x="1166" y="40"/>
                  <a:pt x="1166" y="40"/>
                </a:cubicBezTo>
                <a:cubicBezTo>
                  <a:pt x="1167" y="41"/>
                  <a:pt x="1167" y="41"/>
                  <a:pt x="1167" y="41"/>
                </a:cubicBezTo>
                <a:cubicBezTo>
                  <a:pt x="1167" y="43"/>
                  <a:pt x="1167" y="43"/>
                  <a:pt x="1167" y="43"/>
                </a:cubicBezTo>
                <a:close/>
                <a:moveTo>
                  <a:pt x="1168" y="52"/>
                </a:moveTo>
                <a:cubicBezTo>
                  <a:pt x="1168" y="53"/>
                  <a:pt x="1168" y="53"/>
                  <a:pt x="1168" y="53"/>
                </a:cubicBezTo>
                <a:cubicBezTo>
                  <a:pt x="1168" y="54"/>
                  <a:pt x="1168" y="54"/>
                  <a:pt x="1168" y="54"/>
                </a:cubicBezTo>
                <a:cubicBezTo>
                  <a:pt x="1169" y="55"/>
                  <a:pt x="1169" y="55"/>
                  <a:pt x="1169" y="55"/>
                </a:cubicBezTo>
                <a:cubicBezTo>
                  <a:pt x="1169" y="56"/>
                  <a:pt x="1169" y="56"/>
                  <a:pt x="1169" y="56"/>
                </a:cubicBezTo>
                <a:cubicBezTo>
                  <a:pt x="1171" y="56"/>
                  <a:pt x="1171" y="56"/>
                  <a:pt x="1171" y="56"/>
                </a:cubicBezTo>
                <a:cubicBezTo>
                  <a:pt x="1171" y="55"/>
                  <a:pt x="1171" y="55"/>
                  <a:pt x="1171" y="55"/>
                </a:cubicBezTo>
                <a:cubicBezTo>
                  <a:pt x="1171" y="54"/>
                  <a:pt x="1171" y="54"/>
                  <a:pt x="1171" y="54"/>
                </a:cubicBezTo>
                <a:cubicBezTo>
                  <a:pt x="1170" y="53"/>
                  <a:pt x="1170" y="53"/>
                  <a:pt x="1170" y="53"/>
                </a:cubicBezTo>
                <a:cubicBezTo>
                  <a:pt x="1170" y="52"/>
                  <a:pt x="1170" y="52"/>
                  <a:pt x="1170" y="52"/>
                </a:cubicBezTo>
                <a:cubicBezTo>
                  <a:pt x="1168" y="52"/>
                  <a:pt x="1168" y="52"/>
                  <a:pt x="1168" y="52"/>
                </a:cubicBezTo>
                <a:close/>
                <a:moveTo>
                  <a:pt x="1170" y="57"/>
                </a:moveTo>
                <a:cubicBezTo>
                  <a:pt x="1169" y="57"/>
                  <a:pt x="1169" y="57"/>
                  <a:pt x="1169" y="57"/>
                </a:cubicBezTo>
                <a:cubicBezTo>
                  <a:pt x="1169" y="58"/>
                  <a:pt x="1169" y="58"/>
                  <a:pt x="1169" y="58"/>
                </a:cubicBezTo>
                <a:cubicBezTo>
                  <a:pt x="1169" y="59"/>
                  <a:pt x="1169" y="59"/>
                  <a:pt x="1169" y="59"/>
                </a:cubicBezTo>
                <a:cubicBezTo>
                  <a:pt x="1169" y="60"/>
                  <a:pt x="1169" y="60"/>
                  <a:pt x="1169" y="60"/>
                </a:cubicBezTo>
                <a:cubicBezTo>
                  <a:pt x="1171" y="62"/>
                  <a:pt x="1171" y="62"/>
                  <a:pt x="1171" y="62"/>
                </a:cubicBezTo>
                <a:cubicBezTo>
                  <a:pt x="1172" y="61"/>
                  <a:pt x="1172" y="61"/>
                  <a:pt x="1172" y="61"/>
                </a:cubicBezTo>
                <a:cubicBezTo>
                  <a:pt x="1171" y="58"/>
                  <a:pt x="1171" y="58"/>
                  <a:pt x="1171" y="58"/>
                </a:cubicBezTo>
                <a:cubicBezTo>
                  <a:pt x="1171" y="57"/>
                  <a:pt x="1171" y="57"/>
                  <a:pt x="1171" y="57"/>
                </a:cubicBezTo>
                <a:cubicBezTo>
                  <a:pt x="1170" y="57"/>
                  <a:pt x="1170" y="57"/>
                  <a:pt x="1170" y="57"/>
                </a:cubicBezTo>
                <a:close/>
                <a:moveTo>
                  <a:pt x="1206" y="22"/>
                </a:moveTo>
                <a:cubicBezTo>
                  <a:pt x="1207" y="21"/>
                  <a:pt x="1207" y="21"/>
                  <a:pt x="1207" y="21"/>
                </a:cubicBezTo>
                <a:cubicBezTo>
                  <a:pt x="1206" y="20"/>
                  <a:pt x="1206" y="20"/>
                  <a:pt x="1206" y="20"/>
                </a:cubicBezTo>
                <a:cubicBezTo>
                  <a:pt x="1205" y="20"/>
                  <a:pt x="1205" y="20"/>
                  <a:pt x="1205" y="20"/>
                </a:cubicBezTo>
                <a:cubicBezTo>
                  <a:pt x="1205" y="22"/>
                  <a:pt x="1205" y="22"/>
                  <a:pt x="1205" y="22"/>
                </a:cubicBezTo>
                <a:cubicBezTo>
                  <a:pt x="1206" y="23"/>
                  <a:pt x="1206" y="23"/>
                  <a:pt x="1206" y="23"/>
                </a:cubicBezTo>
                <a:cubicBezTo>
                  <a:pt x="1206" y="22"/>
                  <a:pt x="1206" y="22"/>
                  <a:pt x="1206" y="22"/>
                </a:cubicBezTo>
                <a:close/>
                <a:moveTo>
                  <a:pt x="1148" y="47"/>
                </a:moveTo>
                <a:cubicBezTo>
                  <a:pt x="1149" y="45"/>
                  <a:pt x="1149" y="45"/>
                  <a:pt x="1149" y="45"/>
                </a:cubicBezTo>
                <a:cubicBezTo>
                  <a:pt x="1149" y="43"/>
                  <a:pt x="1149" y="43"/>
                  <a:pt x="1149" y="43"/>
                </a:cubicBezTo>
                <a:cubicBezTo>
                  <a:pt x="1149" y="42"/>
                  <a:pt x="1149" y="42"/>
                  <a:pt x="1149" y="42"/>
                </a:cubicBezTo>
                <a:cubicBezTo>
                  <a:pt x="1149" y="40"/>
                  <a:pt x="1149" y="40"/>
                  <a:pt x="1149" y="40"/>
                </a:cubicBezTo>
                <a:cubicBezTo>
                  <a:pt x="1148" y="39"/>
                  <a:pt x="1148" y="39"/>
                  <a:pt x="1148" y="39"/>
                </a:cubicBezTo>
                <a:cubicBezTo>
                  <a:pt x="1147" y="40"/>
                  <a:pt x="1147" y="40"/>
                  <a:pt x="1147" y="40"/>
                </a:cubicBezTo>
                <a:cubicBezTo>
                  <a:pt x="1147" y="44"/>
                  <a:pt x="1147" y="44"/>
                  <a:pt x="1147" y="44"/>
                </a:cubicBezTo>
                <a:cubicBezTo>
                  <a:pt x="1146" y="45"/>
                  <a:pt x="1146" y="45"/>
                  <a:pt x="1146" y="45"/>
                </a:cubicBezTo>
                <a:cubicBezTo>
                  <a:pt x="1146" y="46"/>
                  <a:pt x="1146" y="46"/>
                  <a:pt x="1146" y="46"/>
                </a:cubicBezTo>
                <a:cubicBezTo>
                  <a:pt x="1148" y="49"/>
                  <a:pt x="1148" y="49"/>
                  <a:pt x="1148" y="49"/>
                </a:cubicBezTo>
                <a:cubicBezTo>
                  <a:pt x="1148" y="47"/>
                  <a:pt x="1148" y="47"/>
                  <a:pt x="1148" y="47"/>
                </a:cubicBezTo>
                <a:close/>
                <a:moveTo>
                  <a:pt x="1149" y="53"/>
                </a:moveTo>
                <a:cubicBezTo>
                  <a:pt x="1150" y="53"/>
                  <a:pt x="1150" y="53"/>
                  <a:pt x="1150" y="53"/>
                </a:cubicBezTo>
                <a:cubicBezTo>
                  <a:pt x="1150" y="52"/>
                  <a:pt x="1150" y="52"/>
                  <a:pt x="1150" y="52"/>
                </a:cubicBezTo>
                <a:cubicBezTo>
                  <a:pt x="1150" y="51"/>
                  <a:pt x="1150" y="51"/>
                  <a:pt x="1150" y="51"/>
                </a:cubicBezTo>
                <a:cubicBezTo>
                  <a:pt x="1148" y="49"/>
                  <a:pt x="1148" y="49"/>
                  <a:pt x="1148" y="49"/>
                </a:cubicBezTo>
                <a:cubicBezTo>
                  <a:pt x="1148" y="51"/>
                  <a:pt x="1148" y="51"/>
                  <a:pt x="1148" y="51"/>
                </a:cubicBezTo>
                <a:cubicBezTo>
                  <a:pt x="1149" y="53"/>
                  <a:pt x="1149" y="53"/>
                  <a:pt x="1149" y="53"/>
                </a:cubicBezTo>
                <a:close/>
                <a:moveTo>
                  <a:pt x="1152" y="44"/>
                </a:moveTo>
                <a:cubicBezTo>
                  <a:pt x="1152" y="43"/>
                  <a:pt x="1152" y="43"/>
                  <a:pt x="1152" y="43"/>
                </a:cubicBezTo>
                <a:cubicBezTo>
                  <a:pt x="1151" y="43"/>
                  <a:pt x="1151" y="43"/>
                  <a:pt x="1151" y="43"/>
                </a:cubicBezTo>
                <a:cubicBezTo>
                  <a:pt x="1151" y="44"/>
                  <a:pt x="1151" y="44"/>
                  <a:pt x="1151" y="44"/>
                </a:cubicBezTo>
                <a:cubicBezTo>
                  <a:pt x="1152" y="45"/>
                  <a:pt x="1152" y="45"/>
                  <a:pt x="1152" y="45"/>
                </a:cubicBezTo>
                <a:cubicBezTo>
                  <a:pt x="1152" y="44"/>
                  <a:pt x="1152" y="44"/>
                  <a:pt x="1152" y="44"/>
                </a:cubicBezTo>
                <a:close/>
                <a:moveTo>
                  <a:pt x="1202" y="27"/>
                </a:moveTo>
                <a:cubicBezTo>
                  <a:pt x="1203" y="26"/>
                  <a:pt x="1203" y="26"/>
                  <a:pt x="1203" y="26"/>
                </a:cubicBezTo>
                <a:cubicBezTo>
                  <a:pt x="1204" y="26"/>
                  <a:pt x="1204" y="26"/>
                  <a:pt x="1204" y="26"/>
                </a:cubicBezTo>
                <a:cubicBezTo>
                  <a:pt x="1202" y="24"/>
                  <a:pt x="1202" y="24"/>
                  <a:pt x="1202" y="24"/>
                </a:cubicBezTo>
                <a:cubicBezTo>
                  <a:pt x="1202" y="23"/>
                  <a:pt x="1202" y="23"/>
                  <a:pt x="1202" y="23"/>
                </a:cubicBezTo>
                <a:cubicBezTo>
                  <a:pt x="1201" y="23"/>
                  <a:pt x="1201" y="23"/>
                  <a:pt x="1201" y="23"/>
                </a:cubicBezTo>
                <a:cubicBezTo>
                  <a:pt x="1201" y="24"/>
                  <a:pt x="1201" y="24"/>
                  <a:pt x="1201" y="24"/>
                </a:cubicBezTo>
                <a:cubicBezTo>
                  <a:pt x="1200" y="24"/>
                  <a:pt x="1200" y="24"/>
                  <a:pt x="1200" y="24"/>
                </a:cubicBezTo>
                <a:cubicBezTo>
                  <a:pt x="1200" y="25"/>
                  <a:pt x="1200" y="25"/>
                  <a:pt x="1200" y="25"/>
                </a:cubicBezTo>
                <a:cubicBezTo>
                  <a:pt x="1201" y="26"/>
                  <a:pt x="1201" y="26"/>
                  <a:pt x="1201" y="26"/>
                </a:cubicBezTo>
                <a:cubicBezTo>
                  <a:pt x="1202" y="27"/>
                  <a:pt x="1202" y="27"/>
                  <a:pt x="1202" y="27"/>
                </a:cubicBezTo>
                <a:close/>
                <a:moveTo>
                  <a:pt x="1173" y="34"/>
                </a:moveTo>
                <a:cubicBezTo>
                  <a:pt x="1174" y="34"/>
                  <a:pt x="1174" y="34"/>
                  <a:pt x="1174" y="34"/>
                </a:cubicBezTo>
                <a:cubicBezTo>
                  <a:pt x="1174" y="33"/>
                  <a:pt x="1174" y="33"/>
                  <a:pt x="1174" y="33"/>
                </a:cubicBezTo>
                <a:cubicBezTo>
                  <a:pt x="1174" y="32"/>
                  <a:pt x="1174" y="32"/>
                  <a:pt x="1174" y="32"/>
                </a:cubicBezTo>
                <a:cubicBezTo>
                  <a:pt x="1173" y="32"/>
                  <a:pt x="1173" y="32"/>
                  <a:pt x="1173" y="32"/>
                </a:cubicBezTo>
                <a:cubicBezTo>
                  <a:pt x="1173" y="31"/>
                  <a:pt x="1173" y="31"/>
                  <a:pt x="1173" y="31"/>
                </a:cubicBezTo>
                <a:cubicBezTo>
                  <a:pt x="1172" y="31"/>
                  <a:pt x="1172" y="31"/>
                  <a:pt x="1172" y="31"/>
                </a:cubicBezTo>
                <a:cubicBezTo>
                  <a:pt x="1171" y="31"/>
                  <a:pt x="1171" y="31"/>
                  <a:pt x="1171" y="31"/>
                </a:cubicBezTo>
                <a:cubicBezTo>
                  <a:pt x="1171" y="32"/>
                  <a:pt x="1171" y="32"/>
                  <a:pt x="1171" y="32"/>
                </a:cubicBezTo>
                <a:cubicBezTo>
                  <a:pt x="1171" y="33"/>
                  <a:pt x="1171" y="33"/>
                  <a:pt x="1171" y="33"/>
                </a:cubicBezTo>
                <a:cubicBezTo>
                  <a:pt x="1173" y="33"/>
                  <a:pt x="1173" y="33"/>
                  <a:pt x="1173" y="33"/>
                </a:cubicBezTo>
                <a:cubicBezTo>
                  <a:pt x="1173" y="34"/>
                  <a:pt x="1173" y="34"/>
                  <a:pt x="1173" y="34"/>
                </a:cubicBezTo>
                <a:close/>
                <a:moveTo>
                  <a:pt x="1206" y="25"/>
                </a:moveTo>
                <a:cubicBezTo>
                  <a:pt x="1207" y="25"/>
                  <a:pt x="1207" y="25"/>
                  <a:pt x="1207" y="25"/>
                </a:cubicBezTo>
                <a:cubicBezTo>
                  <a:pt x="1207" y="24"/>
                  <a:pt x="1207" y="24"/>
                  <a:pt x="1207" y="24"/>
                </a:cubicBezTo>
                <a:cubicBezTo>
                  <a:pt x="1207" y="23"/>
                  <a:pt x="1207" y="23"/>
                  <a:pt x="1207" y="23"/>
                </a:cubicBezTo>
                <a:cubicBezTo>
                  <a:pt x="1206" y="24"/>
                  <a:pt x="1206" y="24"/>
                  <a:pt x="1206" y="24"/>
                </a:cubicBezTo>
                <a:cubicBezTo>
                  <a:pt x="1206" y="25"/>
                  <a:pt x="1206" y="25"/>
                  <a:pt x="1206" y="25"/>
                </a:cubicBezTo>
                <a:close/>
                <a:moveTo>
                  <a:pt x="1197" y="26"/>
                </a:moveTo>
                <a:cubicBezTo>
                  <a:pt x="1197" y="27"/>
                  <a:pt x="1197" y="27"/>
                  <a:pt x="1197" y="27"/>
                </a:cubicBezTo>
                <a:cubicBezTo>
                  <a:pt x="1198" y="27"/>
                  <a:pt x="1198" y="27"/>
                  <a:pt x="1198" y="27"/>
                </a:cubicBezTo>
                <a:cubicBezTo>
                  <a:pt x="1197" y="26"/>
                  <a:pt x="1197" y="26"/>
                  <a:pt x="1197" y="26"/>
                </a:cubicBezTo>
                <a:close/>
                <a:moveTo>
                  <a:pt x="1180" y="33"/>
                </a:moveTo>
                <a:cubicBezTo>
                  <a:pt x="1181" y="34"/>
                  <a:pt x="1181" y="34"/>
                  <a:pt x="1181" y="34"/>
                </a:cubicBezTo>
                <a:cubicBezTo>
                  <a:pt x="1182" y="35"/>
                  <a:pt x="1182" y="35"/>
                  <a:pt x="1182" y="35"/>
                </a:cubicBezTo>
                <a:cubicBezTo>
                  <a:pt x="1183" y="33"/>
                  <a:pt x="1183" y="33"/>
                  <a:pt x="1183" y="33"/>
                </a:cubicBezTo>
                <a:cubicBezTo>
                  <a:pt x="1183" y="32"/>
                  <a:pt x="1183" y="32"/>
                  <a:pt x="1183" y="32"/>
                </a:cubicBezTo>
                <a:cubicBezTo>
                  <a:pt x="1183" y="31"/>
                  <a:pt x="1183" y="31"/>
                  <a:pt x="1183" y="31"/>
                </a:cubicBezTo>
                <a:cubicBezTo>
                  <a:pt x="1182" y="31"/>
                  <a:pt x="1182" y="31"/>
                  <a:pt x="1182" y="31"/>
                </a:cubicBezTo>
                <a:cubicBezTo>
                  <a:pt x="1181" y="29"/>
                  <a:pt x="1181" y="29"/>
                  <a:pt x="1181" y="29"/>
                </a:cubicBezTo>
                <a:cubicBezTo>
                  <a:pt x="1180" y="29"/>
                  <a:pt x="1180" y="29"/>
                  <a:pt x="1180" y="29"/>
                </a:cubicBezTo>
                <a:cubicBezTo>
                  <a:pt x="1180" y="30"/>
                  <a:pt x="1180" y="30"/>
                  <a:pt x="1180" y="30"/>
                </a:cubicBezTo>
                <a:cubicBezTo>
                  <a:pt x="1180" y="31"/>
                  <a:pt x="1180" y="31"/>
                  <a:pt x="1180" y="31"/>
                </a:cubicBezTo>
                <a:cubicBezTo>
                  <a:pt x="1180" y="32"/>
                  <a:pt x="1180" y="32"/>
                  <a:pt x="1180" y="32"/>
                </a:cubicBezTo>
                <a:cubicBezTo>
                  <a:pt x="1179" y="31"/>
                  <a:pt x="1179" y="31"/>
                  <a:pt x="1179" y="31"/>
                </a:cubicBezTo>
                <a:cubicBezTo>
                  <a:pt x="1178" y="31"/>
                  <a:pt x="1178" y="31"/>
                  <a:pt x="1178" y="31"/>
                </a:cubicBezTo>
                <a:cubicBezTo>
                  <a:pt x="1179" y="32"/>
                  <a:pt x="1179" y="32"/>
                  <a:pt x="1179" y="32"/>
                </a:cubicBezTo>
                <a:cubicBezTo>
                  <a:pt x="1180" y="33"/>
                  <a:pt x="1180" y="33"/>
                  <a:pt x="1180" y="33"/>
                </a:cubicBezTo>
                <a:close/>
                <a:moveTo>
                  <a:pt x="1083" y="65"/>
                </a:moveTo>
                <a:cubicBezTo>
                  <a:pt x="1083" y="64"/>
                  <a:pt x="1083" y="64"/>
                  <a:pt x="1083" y="64"/>
                </a:cubicBezTo>
                <a:cubicBezTo>
                  <a:pt x="1082" y="63"/>
                  <a:pt x="1082" y="63"/>
                  <a:pt x="1082" y="63"/>
                </a:cubicBezTo>
                <a:cubicBezTo>
                  <a:pt x="1081" y="63"/>
                  <a:pt x="1081" y="63"/>
                  <a:pt x="1081" y="63"/>
                </a:cubicBezTo>
                <a:cubicBezTo>
                  <a:pt x="1082" y="64"/>
                  <a:pt x="1082" y="64"/>
                  <a:pt x="1082" y="64"/>
                </a:cubicBezTo>
                <a:cubicBezTo>
                  <a:pt x="1082" y="65"/>
                  <a:pt x="1082" y="65"/>
                  <a:pt x="1082" y="65"/>
                </a:cubicBezTo>
                <a:cubicBezTo>
                  <a:pt x="1083" y="65"/>
                  <a:pt x="1083" y="65"/>
                  <a:pt x="1083" y="65"/>
                </a:cubicBezTo>
                <a:close/>
                <a:moveTo>
                  <a:pt x="1121" y="336"/>
                </a:moveTo>
                <a:cubicBezTo>
                  <a:pt x="1120" y="336"/>
                  <a:pt x="1120" y="336"/>
                  <a:pt x="1120" y="336"/>
                </a:cubicBezTo>
                <a:cubicBezTo>
                  <a:pt x="1121" y="337"/>
                  <a:pt x="1121" y="337"/>
                  <a:pt x="1121" y="337"/>
                </a:cubicBezTo>
                <a:cubicBezTo>
                  <a:pt x="1121" y="336"/>
                  <a:pt x="1121" y="336"/>
                  <a:pt x="1121" y="336"/>
                </a:cubicBezTo>
                <a:close/>
                <a:moveTo>
                  <a:pt x="1053" y="146"/>
                </a:moveTo>
                <a:cubicBezTo>
                  <a:pt x="1053" y="146"/>
                  <a:pt x="1053" y="146"/>
                  <a:pt x="1053" y="147"/>
                </a:cubicBezTo>
                <a:cubicBezTo>
                  <a:pt x="1053" y="147"/>
                  <a:pt x="1053" y="147"/>
                  <a:pt x="1054" y="147"/>
                </a:cubicBezTo>
                <a:cubicBezTo>
                  <a:pt x="1054" y="147"/>
                  <a:pt x="1054" y="147"/>
                  <a:pt x="1055" y="147"/>
                </a:cubicBezTo>
                <a:cubicBezTo>
                  <a:pt x="1055" y="147"/>
                  <a:pt x="1055" y="147"/>
                  <a:pt x="1055" y="145"/>
                </a:cubicBezTo>
                <a:cubicBezTo>
                  <a:pt x="1055" y="145"/>
                  <a:pt x="1055" y="145"/>
                  <a:pt x="1055" y="144"/>
                </a:cubicBezTo>
                <a:cubicBezTo>
                  <a:pt x="1055" y="144"/>
                  <a:pt x="1055" y="144"/>
                  <a:pt x="1054" y="144"/>
                </a:cubicBezTo>
                <a:cubicBezTo>
                  <a:pt x="1054" y="144"/>
                  <a:pt x="1054" y="144"/>
                  <a:pt x="1053" y="146"/>
                </a:cubicBezTo>
                <a:close/>
                <a:moveTo>
                  <a:pt x="1082" y="196"/>
                </a:moveTo>
                <a:cubicBezTo>
                  <a:pt x="1082" y="197"/>
                  <a:pt x="1082" y="197"/>
                  <a:pt x="1082" y="197"/>
                </a:cubicBezTo>
                <a:cubicBezTo>
                  <a:pt x="1083" y="197"/>
                  <a:pt x="1083" y="197"/>
                  <a:pt x="1083" y="197"/>
                </a:cubicBezTo>
                <a:cubicBezTo>
                  <a:pt x="1083" y="196"/>
                  <a:pt x="1083" y="196"/>
                  <a:pt x="1083" y="196"/>
                </a:cubicBezTo>
                <a:cubicBezTo>
                  <a:pt x="1082" y="196"/>
                  <a:pt x="1082" y="196"/>
                  <a:pt x="1082" y="196"/>
                </a:cubicBezTo>
                <a:close/>
                <a:moveTo>
                  <a:pt x="1264" y="102"/>
                </a:moveTo>
                <a:cubicBezTo>
                  <a:pt x="1265" y="103"/>
                  <a:pt x="1265" y="103"/>
                  <a:pt x="1265" y="103"/>
                </a:cubicBezTo>
                <a:cubicBezTo>
                  <a:pt x="1267" y="103"/>
                  <a:pt x="1267" y="103"/>
                  <a:pt x="1267" y="103"/>
                </a:cubicBezTo>
                <a:cubicBezTo>
                  <a:pt x="1268" y="102"/>
                  <a:pt x="1268" y="102"/>
                  <a:pt x="1268" y="102"/>
                </a:cubicBezTo>
                <a:cubicBezTo>
                  <a:pt x="1268" y="100"/>
                  <a:pt x="1268" y="100"/>
                  <a:pt x="1268" y="100"/>
                </a:cubicBezTo>
                <a:cubicBezTo>
                  <a:pt x="1267" y="99"/>
                  <a:pt x="1267" y="99"/>
                  <a:pt x="1267" y="99"/>
                </a:cubicBezTo>
                <a:cubicBezTo>
                  <a:pt x="1265" y="100"/>
                  <a:pt x="1265" y="100"/>
                  <a:pt x="1265" y="100"/>
                </a:cubicBezTo>
                <a:cubicBezTo>
                  <a:pt x="1264" y="102"/>
                  <a:pt x="1264" y="102"/>
                  <a:pt x="1264" y="102"/>
                </a:cubicBezTo>
                <a:close/>
                <a:moveTo>
                  <a:pt x="1081" y="206"/>
                </a:moveTo>
                <a:cubicBezTo>
                  <a:pt x="1081" y="207"/>
                  <a:pt x="1081" y="207"/>
                  <a:pt x="1081" y="207"/>
                </a:cubicBezTo>
                <a:cubicBezTo>
                  <a:pt x="1082" y="206"/>
                  <a:pt x="1082" y="206"/>
                  <a:pt x="1082" y="206"/>
                </a:cubicBezTo>
                <a:cubicBezTo>
                  <a:pt x="1081" y="206"/>
                  <a:pt x="1081" y="206"/>
                  <a:pt x="1081" y="206"/>
                </a:cubicBezTo>
                <a:close/>
                <a:moveTo>
                  <a:pt x="1072" y="282"/>
                </a:moveTo>
                <a:cubicBezTo>
                  <a:pt x="1073" y="282"/>
                  <a:pt x="1073" y="282"/>
                  <a:pt x="1073" y="282"/>
                </a:cubicBezTo>
                <a:cubicBezTo>
                  <a:pt x="1073" y="281"/>
                  <a:pt x="1073" y="281"/>
                  <a:pt x="1073" y="281"/>
                </a:cubicBezTo>
                <a:cubicBezTo>
                  <a:pt x="1072" y="282"/>
                  <a:pt x="1072" y="282"/>
                  <a:pt x="1072" y="282"/>
                </a:cubicBezTo>
                <a:close/>
                <a:moveTo>
                  <a:pt x="1263" y="135"/>
                </a:moveTo>
                <a:cubicBezTo>
                  <a:pt x="1262" y="135"/>
                  <a:pt x="1262" y="135"/>
                  <a:pt x="1262" y="135"/>
                </a:cubicBezTo>
                <a:cubicBezTo>
                  <a:pt x="1263" y="136"/>
                  <a:pt x="1263" y="136"/>
                  <a:pt x="1263" y="136"/>
                </a:cubicBezTo>
                <a:cubicBezTo>
                  <a:pt x="1263" y="135"/>
                  <a:pt x="1263" y="135"/>
                  <a:pt x="1263" y="135"/>
                </a:cubicBezTo>
                <a:close/>
                <a:moveTo>
                  <a:pt x="1081" y="210"/>
                </a:moveTo>
                <a:cubicBezTo>
                  <a:pt x="1080" y="210"/>
                  <a:pt x="1080" y="210"/>
                  <a:pt x="1080" y="210"/>
                </a:cubicBezTo>
                <a:cubicBezTo>
                  <a:pt x="1080" y="211"/>
                  <a:pt x="1080" y="211"/>
                  <a:pt x="1080" y="211"/>
                </a:cubicBezTo>
                <a:cubicBezTo>
                  <a:pt x="1079" y="211"/>
                  <a:pt x="1079" y="211"/>
                  <a:pt x="1079" y="211"/>
                </a:cubicBezTo>
                <a:cubicBezTo>
                  <a:pt x="1079" y="212"/>
                  <a:pt x="1079" y="212"/>
                  <a:pt x="1079" y="212"/>
                </a:cubicBezTo>
                <a:cubicBezTo>
                  <a:pt x="1080" y="212"/>
                  <a:pt x="1080" y="212"/>
                  <a:pt x="1080" y="212"/>
                </a:cubicBezTo>
                <a:cubicBezTo>
                  <a:pt x="1081" y="211"/>
                  <a:pt x="1081" y="211"/>
                  <a:pt x="1081" y="211"/>
                </a:cubicBezTo>
                <a:cubicBezTo>
                  <a:pt x="1082" y="210"/>
                  <a:pt x="1082" y="210"/>
                  <a:pt x="1082" y="210"/>
                </a:cubicBezTo>
                <a:cubicBezTo>
                  <a:pt x="1083" y="210"/>
                  <a:pt x="1083" y="210"/>
                  <a:pt x="1083" y="210"/>
                </a:cubicBezTo>
                <a:cubicBezTo>
                  <a:pt x="1082" y="209"/>
                  <a:pt x="1082" y="209"/>
                  <a:pt x="1082" y="209"/>
                </a:cubicBezTo>
                <a:cubicBezTo>
                  <a:pt x="1081" y="210"/>
                  <a:pt x="1081" y="210"/>
                  <a:pt x="1081" y="210"/>
                </a:cubicBezTo>
                <a:close/>
                <a:moveTo>
                  <a:pt x="1074" y="280"/>
                </a:moveTo>
                <a:cubicBezTo>
                  <a:pt x="1073" y="280"/>
                  <a:pt x="1073" y="280"/>
                  <a:pt x="1073" y="280"/>
                </a:cubicBezTo>
                <a:cubicBezTo>
                  <a:pt x="1072" y="280"/>
                  <a:pt x="1072" y="280"/>
                  <a:pt x="1072" y="280"/>
                </a:cubicBezTo>
                <a:cubicBezTo>
                  <a:pt x="1073" y="281"/>
                  <a:pt x="1073" y="281"/>
                  <a:pt x="1073" y="281"/>
                </a:cubicBezTo>
                <a:cubicBezTo>
                  <a:pt x="1074" y="281"/>
                  <a:pt x="1074" y="281"/>
                  <a:pt x="1074" y="281"/>
                </a:cubicBezTo>
                <a:cubicBezTo>
                  <a:pt x="1074" y="280"/>
                  <a:pt x="1074" y="280"/>
                  <a:pt x="1074" y="280"/>
                </a:cubicBezTo>
                <a:close/>
                <a:moveTo>
                  <a:pt x="1088" y="227"/>
                </a:moveTo>
                <a:cubicBezTo>
                  <a:pt x="1089" y="227"/>
                  <a:pt x="1089" y="227"/>
                  <a:pt x="1089" y="227"/>
                </a:cubicBezTo>
                <a:cubicBezTo>
                  <a:pt x="1090" y="227"/>
                  <a:pt x="1090" y="227"/>
                  <a:pt x="1090" y="227"/>
                </a:cubicBezTo>
                <a:cubicBezTo>
                  <a:pt x="1091" y="226"/>
                  <a:pt x="1091" y="226"/>
                  <a:pt x="1091" y="226"/>
                </a:cubicBezTo>
                <a:cubicBezTo>
                  <a:pt x="1091" y="225"/>
                  <a:pt x="1091" y="225"/>
                  <a:pt x="1091" y="225"/>
                </a:cubicBezTo>
                <a:cubicBezTo>
                  <a:pt x="1090" y="224"/>
                  <a:pt x="1090" y="224"/>
                  <a:pt x="1090" y="224"/>
                </a:cubicBezTo>
                <a:cubicBezTo>
                  <a:pt x="1089" y="225"/>
                  <a:pt x="1089" y="225"/>
                  <a:pt x="1089" y="225"/>
                </a:cubicBezTo>
                <a:cubicBezTo>
                  <a:pt x="1088" y="227"/>
                  <a:pt x="1088" y="227"/>
                  <a:pt x="1088" y="227"/>
                </a:cubicBezTo>
                <a:close/>
                <a:moveTo>
                  <a:pt x="1074" y="268"/>
                </a:moveTo>
                <a:cubicBezTo>
                  <a:pt x="1073" y="269"/>
                  <a:pt x="1073" y="269"/>
                  <a:pt x="1073" y="269"/>
                </a:cubicBezTo>
                <a:cubicBezTo>
                  <a:pt x="1073" y="270"/>
                  <a:pt x="1073" y="270"/>
                  <a:pt x="1073" y="270"/>
                </a:cubicBezTo>
                <a:cubicBezTo>
                  <a:pt x="1074" y="270"/>
                  <a:pt x="1074" y="270"/>
                  <a:pt x="1074" y="270"/>
                </a:cubicBezTo>
                <a:cubicBezTo>
                  <a:pt x="1075" y="269"/>
                  <a:pt x="1075" y="269"/>
                  <a:pt x="1075" y="269"/>
                </a:cubicBezTo>
                <a:cubicBezTo>
                  <a:pt x="1075" y="268"/>
                  <a:pt x="1075" y="268"/>
                  <a:pt x="1075" y="268"/>
                </a:cubicBezTo>
                <a:cubicBezTo>
                  <a:pt x="1074" y="268"/>
                  <a:pt x="1074" y="268"/>
                  <a:pt x="1074" y="268"/>
                </a:cubicBezTo>
                <a:close/>
                <a:moveTo>
                  <a:pt x="1213" y="242"/>
                </a:moveTo>
                <a:cubicBezTo>
                  <a:pt x="1212" y="243"/>
                  <a:pt x="1212" y="243"/>
                  <a:pt x="1212" y="243"/>
                </a:cubicBezTo>
                <a:cubicBezTo>
                  <a:pt x="1211" y="244"/>
                  <a:pt x="1211" y="244"/>
                  <a:pt x="1211" y="244"/>
                </a:cubicBezTo>
                <a:cubicBezTo>
                  <a:pt x="1210" y="245"/>
                  <a:pt x="1210" y="245"/>
                  <a:pt x="1210" y="245"/>
                </a:cubicBezTo>
                <a:cubicBezTo>
                  <a:pt x="1209" y="245"/>
                  <a:pt x="1209" y="245"/>
                  <a:pt x="1209" y="245"/>
                </a:cubicBezTo>
                <a:cubicBezTo>
                  <a:pt x="1208" y="246"/>
                  <a:pt x="1208" y="246"/>
                  <a:pt x="1208" y="246"/>
                </a:cubicBezTo>
                <a:cubicBezTo>
                  <a:pt x="1208" y="247"/>
                  <a:pt x="1208" y="247"/>
                  <a:pt x="1208" y="247"/>
                </a:cubicBezTo>
                <a:cubicBezTo>
                  <a:pt x="1208" y="248"/>
                  <a:pt x="1208" y="248"/>
                  <a:pt x="1208" y="248"/>
                </a:cubicBezTo>
                <a:cubicBezTo>
                  <a:pt x="1210" y="248"/>
                  <a:pt x="1210" y="248"/>
                  <a:pt x="1210" y="248"/>
                </a:cubicBezTo>
                <a:cubicBezTo>
                  <a:pt x="1212" y="247"/>
                  <a:pt x="1212" y="247"/>
                  <a:pt x="1212" y="247"/>
                </a:cubicBezTo>
                <a:cubicBezTo>
                  <a:pt x="1215" y="248"/>
                  <a:pt x="1215" y="248"/>
                  <a:pt x="1215" y="248"/>
                </a:cubicBezTo>
                <a:cubicBezTo>
                  <a:pt x="1216" y="247"/>
                  <a:pt x="1216" y="247"/>
                  <a:pt x="1216" y="247"/>
                </a:cubicBezTo>
                <a:cubicBezTo>
                  <a:pt x="1217" y="246"/>
                  <a:pt x="1217" y="246"/>
                  <a:pt x="1217" y="246"/>
                </a:cubicBezTo>
                <a:cubicBezTo>
                  <a:pt x="1219" y="247"/>
                  <a:pt x="1219" y="247"/>
                  <a:pt x="1219" y="247"/>
                </a:cubicBezTo>
                <a:cubicBezTo>
                  <a:pt x="1220" y="247"/>
                  <a:pt x="1220" y="247"/>
                  <a:pt x="1220" y="247"/>
                </a:cubicBezTo>
                <a:cubicBezTo>
                  <a:pt x="1221" y="247"/>
                  <a:pt x="1221" y="247"/>
                  <a:pt x="1221" y="247"/>
                </a:cubicBezTo>
                <a:cubicBezTo>
                  <a:pt x="1222" y="246"/>
                  <a:pt x="1222" y="246"/>
                  <a:pt x="1222" y="246"/>
                </a:cubicBezTo>
                <a:cubicBezTo>
                  <a:pt x="1222" y="242"/>
                  <a:pt x="1222" y="242"/>
                  <a:pt x="1222" y="242"/>
                </a:cubicBezTo>
                <a:cubicBezTo>
                  <a:pt x="1221" y="242"/>
                  <a:pt x="1221" y="242"/>
                  <a:pt x="1221" y="242"/>
                </a:cubicBezTo>
                <a:cubicBezTo>
                  <a:pt x="1221" y="240"/>
                  <a:pt x="1221" y="240"/>
                  <a:pt x="1221" y="240"/>
                </a:cubicBezTo>
                <a:cubicBezTo>
                  <a:pt x="1220" y="240"/>
                  <a:pt x="1220" y="240"/>
                  <a:pt x="1220" y="240"/>
                </a:cubicBezTo>
                <a:cubicBezTo>
                  <a:pt x="1216" y="242"/>
                  <a:pt x="1216" y="242"/>
                  <a:pt x="1216" y="242"/>
                </a:cubicBezTo>
                <a:cubicBezTo>
                  <a:pt x="1213" y="242"/>
                  <a:pt x="1213" y="242"/>
                  <a:pt x="1213" y="242"/>
                </a:cubicBezTo>
                <a:close/>
                <a:moveTo>
                  <a:pt x="1260" y="143"/>
                </a:moveTo>
                <a:cubicBezTo>
                  <a:pt x="1259" y="143"/>
                  <a:pt x="1259" y="143"/>
                  <a:pt x="1259" y="143"/>
                </a:cubicBezTo>
                <a:cubicBezTo>
                  <a:pt x="1259" y="144"/>
                  <a:pt x="1259" y="144"/>
                  <a:pt x="1259" y="144"/>
                </a:cubicBezTo>
                <a:cubicBezTo>
                  <a:pt x="1260" y="144"/>
                  <a:pt x="1260" y="144"/>
                  <a:pt x="1260" y="144"/>
                </a:cubicBezTo>
                <a:cubicBezTo>
                  <a:pt x="1260" y="143"/>
                  <a:pt x="1260" y="143"/>
                  <a:pt x="1260" y="143"/>
                </a:cubicBezTo>
                <a:close/>
                <a:moveTo>
                  <a:pt x="1226" y="217"/>
                </a:moveTo>
                <a:cubicBezTo>
                  <a:pt x="1227" y="216"/>
                  <a:pt x="1227" y="216"/>
                  <a:pt x="1227" y="216"/>
                </a:cubicBezTo>
                <a:cubicBezTo>
                  <a:pt x="1227" y="215"/>
                  <a:pt x="1227" y="215"/>
                  <a:pt x="1227" y="215"/>
                </a:cubicBezTo>
                <a:cubicBezTo>
                  <a:pt x="1226" y="215"/>
                  <a:pt x="1226" y="215"/>
                  <a:pt x="1226" y="215"/>
                </a:cubicBezTo>
                <a:cubicBezTo>
                  <a:pt x="1226" y="216"/>
                  <a:pt x="1226" y="216"/>
                  <a:pt x="1226" y="216"/>
                </a:cubicBezTo>
                <a:cubicBezTo>
                  <a:pt x="1226" y="217"/>
                  <a:pt x="1226" y="217"/>
                  <a:pt x="1226" y="217"/>
                </a:cubicBezTo>
                <a:close/>
                <a:moveTo>
                  <a:pt x="1229" y="259"/>
                </a:moveTo>
                <a:cubicBezTo>
                  <a:pt x="1230" y="259"/>
                  <a:pt x="1230" y="259"/>
                  <a:pt x="1230" y="259"/>
                </a:cubicBezTo>
                <a:cubicBezTo>
                  <a:pt x="1230" y="258"/>
                  <a:pt x="1230" y="258"/>
                  <a:pt x="1230" y="258"/>
                </a:cubicBezTo>
                <a:cubicBezTo>
                  <a:pt x="1229" y="258"/>
                  <a:pt x="1229" y="258"/>
                  <a:pt x="1229" y="258"/>
                </a:cubicBezTo>
                <a:cubicBezTo>
                  <a:pt x="1229" y="259"/>
                  <a:pt x="1229" y="259"/>
                  <a:pt x="1229" y="259"/>
                </a:cubicBezTo>
                <a:close/>
                <a:moveTo>
                  <a:pt x="1212" y="243"/>
                </a:moveTo>
                <a:cubicBezTo>
                  <a:pt x="1212" y="242"/>
                  <a:pt x="1212" y="242"/>
                  <a:pt x="1212" y="242"/>
                </a:cubicBezTo>
                <a:cubicBezTo>
                  <a:pt x="1211" y="242"/>
                  <a:pt x="1211" y="242"/>
                  <a:pt x="1211" y="242"/>
                </a:cubicBezTo>
                <a:cubicBezTo>
                  <a:pt x="1210" y="243"/>
                  <a:pt x="1210" y="243"/>
                  <a:pt x="1210" y="243"/>
                </a:cubicBezTo>
                <a:cubicBezTo>
                  <a:pt x="1211" y="243"/>
                  <a:pt x="1211" y="243"/>
                  <a:pt x="1211" y="243"/>
                </a:cubicBezTo>
                <a:cubicBezTo>
                  <a:pt x="1212" y="243"/>
                  <a:pt x="1212" y="243"/>
                  <a:pt x="1212" y="243"/>
                </a:cubicBezTo>
                <a:close/>
                <a:moveTo>
                  <a:pt x="1253" y="190"/>
                </a:moveTo>
                <a:cubicBezTo>
                  <a:pt x="1253" y="189"/>
                  <a:pt x="1253" y="189"/>
                  <a:pt x="1253" y="189"/>
                </a:cubicBezTo>
                <a:cubicBezTo>
                  <a:pt x="1253" y="188"/>
                  <a:pt x="1253" y="188"/>
                  <a:pt x="1253" y="188"/>
                </a:cubicBezTo>
                <a:cubicBezTo>
                  <a:pt x="1253" y="187"/>
                  <a:pt x="1253" y="187"/>
                  <a:pt x="1253" y="187"/>
                </a:cubicBezTo>
                <a:cubicBezTo>
                  <a:pt x="1252" y="186"/>
                  <a:pt x="1252" y="186"/>
                  <a:pt x="1252" y="186"/>
                </a:cubicBezTo>
                <a:cubicBezTo>
                  <a:pt x="1251" y="186"/>
                  <a:pt x="1251" y="186"/>
                  <a:pt x="1251" y="186"/>
                </a:cubicBezTo>
                <a:cubicBezTo>
                  <a:pt x="1251" y="187"/>
                  <a:pt x="1251" y="187"/>
                  <a:pt x="1251" y="187"/>
                </a:cubicBezTo>
                <a:cubicBezTo>
                  <a:pt x="1251" y="189"/>
                  <a:pt x="1251" y="189"/>
                  <a:pt x="1251" y="189"/>
                </a:cubicBezTo>
                <a:cubicBezTo>
                  <a:pt x="1251" y="190"/>
                  <a:pt x="1251" y="190"/>
                  <a:pt x="1251" y="190"/>
                </a:cubicBezTo>
                <a:cubicBezTo>
                  <a:pt x="1252" y="190"/>
                  <a:pt x="1252" y="190"/>
                  <a:pt x="1252" y="190"/>
                </a:cubicBezTo>
                <a:cubicBezTo>
                  <a:pt x="1253" y="190"/>
                  <a:pt x="1253" y="190"/>
                  <a:pt x="1253" y="190"/>
                </a:cubicBezTo>
                <a:close/>
                <a:moveTo>
                  <a:pt x="1260" y="163"/>
                </a:moveTo>
                <a:cubicBezTo>
                  <a:pt x="1260" y="164"/>
                  <a:pt x="1260" y="164"/>
                  <a:pt x="1260" y="164"/>
                </a:cubicBezTo>
                <a:cubicBezTo>
                  <a:pt x="1260" y="165"/>
                  <a:pt x="1260" y="165"/>
                  <a:pt x="1260" y="165"/>
                </a:cubicBezTo>
                <a:cubicBezTo>
                  <a:pt x="1260" y="166"/>
                  <a:pt x="1260" y="166"/>
                  <a:pt x="1260" y="166"/>
                </a:cubicBezTo>
                <a:cubicBezTo>
                  <a:pt x="1261" y="168"/>
                  <a:pt x="1261" y="168"/>
                  <a:pt x="1261" y="168"/>
                </a:cubicBezTo>
                <a:cubicBezTo>
                  <a:pt x="1261" y="170"/>
                  <a:pt x="1261" y="170"/>
                  <a:pt x="1261" y="170"/>
                </a:cubicBezTo>
                <a:cubicBezTo>
                  <a:pt x="1260" y="171"/>
                  <a:pt x="1260" y="171"/>
                  <a:pt x="1260" y="171"/>
                </a:cubicBezTo>
                <a:cubicBezTo>
                  <a:pt x="1260" y="172"/>
                  <a:pt x="1260" y="172"/>
                  <a:pt x="1260" y="172"/>
                </a:cubicBezTo>
                <a:cubicBezTo>
                  <a:pt x="1261" y="173"/>
                  <a:pt x="1261" y="173"/>
                  <a:pt x="1261" y="173"/>
                </a:cubicBezTo>
                <a:cubicBezTo>
                  <a:pt x="1261" y="172"/>
                  <a:pt x="1261" y="172"/>
                  <a:pt x="1261" y="172"/>
                </a:cubicBezTo>
                <a:cubicBezTo>
                  <a:pt x="1261" y="171"/>
                  <a:pt x="1261" y="171"/>
                  <a:pt x="1261" y="171"/>
                </a:cubicBezTo>
                <a:cubicBezTo>
                  <a:pt x="1262" y="170"/>
                  <a:pt x="1262" y="170"/>
                  <a:pt x="1262" y="170"/>
                </a:cubicBezTo>
                <a:cubicBezTo>
                  <a:pt x="1262" y="168"/>
                  <a:pt x="1262" y="168"/>
                  <a:pt x="1262" y="168"/>
                </a:cubicBezTo>
                <a:cubicBezTo>
                  <a:pt x="1261" y="167"/>
                  <a:pt x="1261" y="167"/>
                  <a:pt x="1261" y="167"/>
                </a:cubicBezTo>
                <a:cubicBezTo>
                  <a:pt x="1261" y="164"/>
                  <a:pt x="1261" y="164"/>
                  <a:pt x="1261" y="164"/>
                </a:cubicBezTo>
                <a:cubicBezTo>
                  <a:pt x="1261" y="163"/>
                  <a:pt x="1261" y="163"/>
                  <a:pt x="1261" y="163"/>
                </a:cubicBezTo>
                <a:cubicBezTo>
                  <a:pt x="1261" y="162"/>
                  <a:pt x="1261" y="162"/>
                  <a:pt x="1261" y="162"/>
                </a:cubicBezTo>
                <a:cubicBezTo>
                  <a:pt x="1260" y="161"/>
                  <a:pt x="1260" y="161"/>
                  <a:pt x="1260" y="161"/>
                </a:cubicBezTo>
                <a:cubicBezTo>
                  <a:pt x="1259" y="162"/>
                  <a:pt x="1259" y="162"/>
                  <a:pt x="1259" y="162"/>
                </a:cubicBezTo>
                <a:cubicBezTo>
                  <a:pt x="1260" y="163"/>
                  <a:pt x="1260" y="163"/>
                  <a:pt x="1260" y="163"/>
                </a:cubicBezTo>
                <a:close/>
                <a:moveTo>
                  <a:pt x="1217" y="248"/>
                </a:moveTo>
                <a:cubicBezTo>
                  <a:pt x="1216" y="247"/>
                  <a:pt x="1216" y="247"/>
                  <a:pt x="1216" y="247"/>
                </a:cubicBezTo>
                <a:cubicBezTo>
                  <a:pt x="1216" y="248"/>
                  <a:pt x="1216" y="248"/>
                  <a:pt x="1216" y="248"/>
                </a:cubicBezTo>
                <a:cubicBezTo>
                  <a:pt x="1217" y="248"/>
                  <a:pt x="1217" y="248"/>
                  <a:pt x="1217" y="248"/>
                </a:cubicBezTo>
                <a:close/>
                <a:moveTo>
                  <a:pt x="1257" y="193"/>
                </a:moveTo>
                <a:cubicBezTo>
                  <a:pt x="1258" y="192"/>
                  <a:pt x="1258" y="192"/>
                  <a:pt x="1258" y="192"/>
                </a:cubicBezTo>
                <a:cubicBezTo>
                  <a:pt x="1257" y="192"/>
                  <a:pt x="1257" y="192"/>
                  <a:pt x="1257" y="192"/>
                </a:cubicBezTo>
                <a:cubicBezTo>
                  <a:pt x="1256" y="192"/>
                  <a:pt x="1256" y="192"/>
                  <a:pt x="1256" y="192"/>
                </a:cubicBezTo>
                <a:cubicBezTo>
                  <a:pt x="1256" y="193"/>
                  <a:pt x="1256" y="193"/>
                  <a:pt x="1256" y="193"/>
                </a:cubicBezTo>
                <a:cubicBezTo>
                  <a:pt x="1257" y="193"/>
                  <a:pt x="1257" y="193"/>
                  <a:pt x="1257" y="193"/>
                </a:cubicBezTo>
                <a:close/>
                <a:moveTo>
                  <a:pt x="1092" y="348"/>
                </a:moveTo>
                <a:cubicBezTo>
                  <a:pt x="1093" y="348"/>
                  <a:pt x="1093" y="348"/>
                  <a:pt x="1093" y="348"/>
                </a:cubicBezTo>
                <a:cubicBezTo>
                  <a:pt x="1093" y="347"/>
                  <a:pt x="1093" y="347"/>
                  <a:pt x="1093" y="347"/>
                </a:cubicBezTo>
                <a:cubicBezTo>
                  <a:pt x="1092" y="347"/>
                  <a:pt x="1092" y="347"/>
                  <a:pt x="1092" y="347"/>
                </a:cubicBezTo>
                <a:cubicBezTo>
                  <a:pt x="1092" y="348"/>
                  <a:pt x="1092" y="348"/>
                  <a:pt x="1092" y="348"/>
                </a:cubicBezTo>
                <a:close/>
                <a:moveTo>
                  <a:pt x="1109" y="358"/>
                </a:moveTo>
                <a:cubicBezTo>
                  <a:pt x="1110" y="357"/>
                  <a:pt x="1110" y="357"/>
                  <a:pt x="1110" y="357"/>
                </a:cubicBezTo>
                <a:cubicBezTo>
                  <a:pt x="1108" y="356"/>
                  <a:pt x="1108" y="356"/>
                  <a:pt x="1108" y="356"/>
                </a:cubicBezTo>
                <a:cubicBezTo>
                  <a:pt x="1107" y="356"/>
                  <a:pt x="1107" y="356"/>
                  <a:pt x="1107" y="356"/>
                </a:cubicBezTo>
                <a:cubicBezTo>
                  <a:pt x="1108" y="358"/>
                  <a:pt x="1108" y="358"/>
                  <a:pt x="1108" y="358"/>
                </a:cubicBezTo>
                <a:cubicBezTo>
                  <a:pt x="1109" y="358"/>
                  <a:pt x="1109" y="358"/>
                  <a:pt x="1109" y="358"/>
                </a:cubicBezTo>
                <a:close/>
                <a:moveTo>
                  <a:pt x="1134" y="309"/>
                </a:moveTo>
                <a:cubicBezTo>
                  <a:pt x="1134" y="310"/>
                  <a:pt x="1134" y="310"/>
                  <a:pt x="1134" y="310"/>
                </a:cubicBezTo>
                <a:cubicBezTo>
                  <a:pt x="1134" y="311"/>
                  <a:pt x="1134" y="311"/>
                  <a:pt x="1134" y="311"/>
                </a:cubicBezTo>
                <a:cubicBezTo>
                  <a:pt x="1135" y="311"/>
                  <a:pt x="1135" y="311"/>
                  <a:pt x="1135" y="311"/>
                </a:cubicBezTo>
                <a:cubicBezTo>
                  <a:pt x="1135" y="310"/>
                  <a:pt x="1135" y="310"/>
                  <a:pt x="1135" y="310"/>
                </a:cubicBezTo>
                <a:cubicBezTo>
                  <a:pt x="1135" y="309"/>
                  <a:pt x="1135" y="309"/>
                  <a:pt x="1135" y="309"/>
                </a:cubicBezTo>
                <a:cubicBezTo>
                  <a:pt x="1134" y="308"/>
                  <a:pt x="1134" y="308"/>
                  <a:pt x="1134" y="308"/>
                </a:cubicBezTo>
                <a:cubicBezTo>
                  <a:pt x="1134" y="309"/>
                  <a:pt x="1134" y="309"/>
                  <a:pt x="1134" y="309"/>
                </a:cubicBezTo>
                <a:close/>
                <a:moveTo>
                  <a:pt x="1133" y="307"/>
                </a:moveTo>
                <a:cubicBezTo>
                  <a:pt x="1134" y="308"/>
                  <a:pt x="1134" y="308"/>
                  <a:pt x="1134" y="308"/>
                </a:cubicBezTo>
                <a:cubicBezTo>
                  <a:pt x="1134" y="307"/>
                  <a:pt x="1134" y="307"/>
                  <a:pt x="1134" y="307"/>
                </a:cubicBezTo>
                <a:cubicBezTo>
                  <a:pt x="1133" y="307"/>
                  <a:pt x="1133" y="307"/>
                  <a:pt x="1133" y="307"/>
                </a:cubicBezTo>
                <a:close/>
                <a:moveTo>
                  <a:pt x="1106" y="360"/>
                </a:moveTo>
                <a:cubicBezTo>
                  <a:pt x="1106" y="360"/>
                  <a:pt x="1106" y="360"/>
                  <a:pt x="1107" y="360"/>
                </a:cubicBezTo>
                <a:cubicBezTo>
                  <a:pt x="1107" y="360"/>
                  <a:pt x="1107" y="360"/>
                  <a:pt x="1108" y="360"/>
                </a:cubicBezTo>
                <a:cubicBezTo>
                  <a:pt x="1108" y="360"/>
                  <a:pt x="1108" y="360"/>
                  <a:pt x="1108" y="359"/>
                </a:cubicBezTo>
                <a:cubicBezTo>
                  <a:pt x="1108" y="359"/>
                  <a:pt x="1108" y="359"/>
                  <a:pt x="1107" y="359"/>
                </a:cubicBezTo>
                <a:cubicBezTo>
                  <a:pt x="1107" y="359"/>
                  <a:pt x="1107" y="359"/>
                  <a:pt x="1106" y="360"/>
                </a:cubicBezTo>
                <a:close/>
                <a:moveTo>
                  <a:pt x="1072" y="296"/>
                </a:moveTo>
                <a:cubicBezTo>
                  <a:pt x="1072" y="295"/>
                  <a:pt x="1072" y="295"/>
                  <a:pt x="1072" y="295"/>
                </a:cubicBezTo>
                <a:cubicBezTo>
                  <a:pt x="1071" y="296"/>
                  <a:pt x="1071" y="296"/>
                  <a:pt x="1071" y="296"/>
                </a:cubicBezTo>
                <a:cubicBezTo>
                  <a:pt x="1072" y="296"/>
                  <a:pt x="1072" y="296"/>
                  <a:pt x="1072" y="296"/>
                </a:cubicBezTo>
                <a:close/>
                <a:moveTo>
                  <a:pt x="1082" y="310"/>
                </a:moveTo>
                <a:cubicBezTo>
                  <a:pt x="1082" y="310"/>
                  <a:pt x="1082" y="310"/>
                  <a:pt x="1081" y="309"/>
                </a:cubicBezTo>
                <a:cubicBezTo>
                  <a:pt x="1081" y="309"/>
                  <a:pt x="1081" y="309"/>
                  <a:pt x="1080" y="309"/>
                </a:cubicBezTo>
                <a:cubicBezTo>
                  <a:pt x="1080" y="309"/>
                  <a:pt x="1080" y="309"/>
                  <a:pt x="1079" y="310"/>
                </a:cubicBezTo>
                <a:cubicBezTo>
                  <a:pt x="1079" y="310"/>
                  <a:pt x="1079" y="310"/>
                  <a:pt x="1078" y="311"/>
                </a:cubicBezTo>
                <a:cubicBezTo>
                  <a:pt x="1078" y="311"/>
                  <a:pt x="1078" y="311"/>
                  <a:pt x="1080" y="311"/>
                </a:cubicBezTo>
                <a:cubicBezTo>
                  <a:pt x="1080" y="311"/>
                  <a:pt x="1080" y="311"/>
                  <a:pt x="1081" y="310"/>
                </a:cubicBezTo>
                <a:cubicBezTo>
                  <a:pt x="1081" y="310"/>
                  <a:pt x="1081" y="310"/>
                  <a:pt x="1082" y="310"/>
                </a:cubicBezTo>
                <a:close/>
                <a:moveTo>
                  <a:pt x="1071" y="294"/>
                </a:moveTo>
                <a:cubicBezTo>
                  <a:pt x="1071" y="295"/>
                  <a:pt x="1071" y="295"/>
                  <a:pt x="1071" y="295"/>
                </a:cubicBezTo>
                <a:cubicBezTo>
                  <a:pt x="1072" y="295"/>
                  <a:pt x="1072" y="295"/>
                  <a:pt x="1072" y="295"/>
                </a:cubicBezTo>
                <a:cubicBezTo>
                  <a:pt x="1072" y="294"/>
                  <a:pt x="1072" y="294"/>
                  <a:pt x="1072" y="294"/>
                </a:cubicBezTo>
                <a:cubicBezTo>
                  <a:pt x="1071" y="294"/>
                  <a:pt x="1071" y="294"/>
                  <a:pt x="1071" y="294"/>
                </a:cubicBezTo>
                <a:close/>
                <a:moveTo>
                  <a:pt x="1140" y="303"/>
                </a:moveTo>
                <a:cubicBezTo>
                  <a:pt x="1139" y="303"/>
                  <a:pt x="1139" y="303"/>
                  <a:pt x="1139" y="303"/>
                </a:cubicBezTo>
                <a:cubicBezTo>
                  <a:pt x="1139" y="304"/>
                  <a:pt x="1139" y="304"/>
                  <a:pt x="1139" y="304"/>
                </a:cubicBezTo>
                <a:cubicBezTo>
                  <a:pt x="1140" y="304"/>
                  <a:pt x="1140" y="304"/>
                  <a:pt x="1140" y="304"/>
                </a:cubicBezTo>
                <a:cubicBezTo>
                  <a:pt x="1140" y="303"/>
                  <a:pt x="1140" y="303"/>
                  <a:pt x="1140" y="303"/>
                </a:cubicBezTo>
                <a:close/>
                <a:moveTo>
                  <a:pt x="1087" y="348"/>
                </a:moveTo>
                <a:cubicBezTo>
                  <a:pt x="1086" y="348"/>
                  <a:pt x="1086" y="348"/>
                  <a:pt x="1086" y="348"/>
                </a:cubicBezTo>
                <a:cubicBezTo>
                  <a:pt x="1086" y="349"/>
                  <a:pt x="1086" y="349"/>
                  <a:pt x="1086" y="349"/>
                </a:cubicBezTo>
                <a:cubicBezTo>
                  <a:pt x="1087" y="349"/>
                  <a:pt x="1087" y="349"/>
                  <a:pt x="1087" y="349"/>
                </a:cubicBezTo>
                <a:cubicBezTo>
                  <a:pt x="1087" y="348"/>
                  <a:pt x="1087" y="348"/>
                  <a:pt x="1087" y="348"/>
                </a:cubicBezTo>
                <a:close/>
                <a:moveTo>
                  <a:pt x="1096" y="347"/>
                </a:moveTo>
                <a:cubicBezTo>
                  <a:pt x="1095" y="347"/>
                  <a:pt x="1095" y="347"/>
                  <a:pt x="1095" y="347"/>
                </a:cubicBezTo>
                <a:cubicBezTo>
                  <a:pt x="1095" y="348"/>
                  <a:pt x="1095" y="348"/>
                  <a:pt x="1095" y="348"/>
                </a:cubicBezTo>
                <a:cubicBezTo>
                  <a:pt x="1096" y="348"/>
                  <a:pt x="1096" y="348"/>
                  <a:pt x="1096" y="348"/>
                </a:cubicBezTo>
                <a:cubicBezTo>
                  <a:pt x="1096" y="347"/>
                  <a:pt x="1096" y="347"/>
                  <a:pt x="1096" y="347"/>
                </a:cubicBezTo>
                <a:close/>
                <a:moveTo>
                  <a:pt x="1099" y="355"/>
                </a:moveTo>
                <a:cubicBezTo>
                  <a:pt x="1099" y="356"/>
                  <a:pt x="1099" y="356"/>
                  <a:pt x="1099" y="356"/>
                </a:cubicBezTo>
                <a:cubicBezTo>
                  <a:pt x="1100" y="356"/>
                  <a:pt x="1100" y="356"/>
                  <a:pt x="1100" y="356"/>
                </a:cubicBezTo>
                <a:cubicBezTo>
                  <a:pt x="1100" y="355"/>
                  <a:pt x="1100" y="355"/>
                  <a:pt x="1100" y="355"/>
                </a:cubicBezTo>
                <a:cubicBezTo>
                  <a:pt x="1101" y="355"/>
                  <a:pt x="1101" y="355"/>
                  <a:pt x="1101" y="355"/>
                </a:cubicBezTo>
                <a:cubicBezTo>
                  <a:pt x="1100" y="354"/>
                  <a:pt x="1100" y="354"/>
                  <a:pt x="1100" y="354"/>
                </a:cubicBezTo>
                <a:cubicBezTo>
                  <a:pt x="1099" y="355"/>
                  <a:pt x="1099" y="355"/>
                  <a:pt x="1099" y="355"/>
                </a:cubicBezTo>
                <a:close/>
                <a:moveTo>
                  <a:pt x="1234" y="217"/>
                </a:moveTo>
                <a:cubicBezTo>
                  <a:pt x="1233" y="216"/>
                  <a:pt x="1233" y="216"/>
                  <a:pt x="1233" y="216"/>
                </a:cubicBezTo>
                <a:cubicBezTo>
                  <a:pt x="1232" y="216"/>
                  <a:pt x="1232" y="216"/>
                  <a:pt x="1232" y="216"/>
                </a:cubicBezTo>
                <a:cubicBezTo>
                  <a:pt x="1231" y="216"/>
                  <a:pt x="1231" y="216"/>
                  <a:pt x="1231" y="216"/>
                </a:cubicBezTo>
                <a:cubicBezTo>
                  <a:pt x="1230" y="215"/>
                  <a:pt x="1230" y="215"/>
                  <a:pt x="1230" y="215"/>
                </a:cubicBezTo>
                <a:cubicBezTo>
                  <a:pt x="1229" y="216"/>
                  <a:pt x="1229" y="216"/>
                  <a:pt x="1229" y="216"/>
                </a:cubicBezTo>
                <a:cubicBezTo>
                  <a:pt x="1229" y="217"/>
                  <a:pt x="1229" y="217"/>
                  <a:pt x="1229" y="217"/>
                </a:cubicBezTo>
                <a:cubicBezTo>
                  <a:pt x="1230" y="217"/>
                  <a:pt x="1230" y="217"/>
                  <a:pt x="1230" y="217"/>
                </a:cubicBezTo>
                <a:cubicBezTo>
                  <a:pt x="1230" y="218"/>
                  <a:pt x="1230" y="218"/>
                  <a:pt x="1230" y="218"/>
                </a:cubicBezTo>
                <a:cubicBezTo>
                  <a:pt x="1230" y="220"/>
                  <a:pt x="1230" y="220"/>
                  <a:pt x="1230" y="220"/>
                </a:cubicBezTo>
                <a:cubicBezTo>
                  <a:pt x="1231" y="221"/>
                  <a:pt x="1231" y="221"/>
                  <a:pt x="1231" y="221"/>
                </a:cubicBezTo>
                <a:cubicBezTo>
                  <a:pt x="1233" y="221"/>
                  <a:pt x="1233" y="221"/>
                  <a:pt x="1233" y="221"/>
                </a:cubicBezTo>
                <a:cubicBezTo>
                  <a:pt x="1234" y="223"/>
                  <a:pt x="1234" y="223"/>
                  <a:pt x="1234" y="223"/>
                </a:cubicBezTo>
                <a:cubicBezTo>
                  <a:pt x="1235" y="224"/>
                  <a:pt x="1235" y="224"/>
                  <a:pt x="1235" y="224"/>
                </a:cubicBezTo>
                <a:cubicBezTo>
                  <a:pt x="1236" y="224"/>
                  <a:pt x="1236" y="224"/>
                  <a:pt x="1236" y="224"/>
                </a:cubicBezTo>
                <a:cubicBezTo>
                  <a:pt x="1237" y="225"/>
                  <a:pt x="1237" y="225"/>
                  <a:pt x="1237" y="225"/>
                </a:cubicBezTo>
                <a:cubicBezTo>
                  <a:pt x="1238" y="226"/>
                  <a:pt x="1238" y="226"/>
                  <a:pt x="1238" y="226"/>
                </a:cubicBezTo>
                <a:cubicBezTo>
                  <a:pt x="1239" y="225"/>
                  <a:pt x="1239" y="225"/>
                  <a:pt x="1239" y="225"/>
                </a:cubicBezTo>
                <a:cubicBezTo>
                  <a:pt x="1239" y="224"/>
                  <a:pt x="1239" y="224"/>
                  <a:pt x="1239" y="224"/>
                </a:cubicBezTo>
                <a:cubicBezTo>
                  <a:pt x="1238" y="223"/>
                  <a:pt x="1238" y="223"/>
                  <a:pt x="1238" y="223"/>
                </a:cubicBezTo>
                <a:cubicBezTo>
                  <a:pt x="1237" y="222"/>
                  <a:pt x="1237" y="222"/>
                  <a:pt x="1237" y="222"/>
                </a:cubicBezTo>
                <a:cubicBezTo>
                  <a:pt x="1236" y="221"/>
                  <a:pt x="1236" y="221"/>
                  <a:pt x="1236" y="221"/>
                </a:cubicBezTo>
                <a:cubicBezTo>
                  <a:pt x="1237" y="220"/>
                  <a:pt x="1237" y="220"/>
                  <a:pt x="1237" y="220"/>
                </a:cubicBezTo>
                <a:cubicBezTo>
                  <a:pt x="1237" y="221"/>
                  <a:pt x="1237" y="221"/>
                  <a:pt x="1237" y="221"/>
                </a:cubicBezTo>
                <a:cubicBezTo>
                  <a:pt x="1238" y="221"/>
                  <a:pt x="1238" y="221"/>
                  <a:pt x="1238" y="221"/>
                </a:cubicBezTo>
                <a:cubicBezTo>
                  <a:pt x="1240" y="222"/>
                  <a:pt x="1240" y="222"/>
                  <a:pt x="1240" y="222"/>
                </a:cubicBezTo>
                <a:cubicBezTo>
                  <a:pt x="1240" y="220"/>
                  <a:pt x="1240" y="220"/>
                  <a:pt x="1240" y="220"/>
                </a:cubicBezTo>
                <a:cubicBezTo>
                  <a:pt x="1237" y="219"/>
                  <a:pt x="1237" y="219"/>
                  <a:pt x="1237" y="219"/>
                </a:cubicBezTo>
                <a:cubicBezTo>
                  <a:pt x="1236" y="217"/>
                  <a:pt x="1236" y="217"/>
                  <a:pt x="1236" y="217"/>
                </a:cubicBezTo>
                <a:cubicBezTo>
                  <a:pt x="1235" y="217"/>
                  <a:pt x="1235" y="217"/>
                  <a:pt x="1235" y="217"/>
                </a:cubicBezTo>
                <a:cubicBezTo>
                  <a:pt x="1234" y="217"/>
                  <a:pt x="1234" y="217"/>
                  <a:pt x="1234" y="217"/>
                </a:cubicBezTo>
                <a:close/>
                <a:moveTo>
                  <a:pt x="1101" y="352"/>
                </a:moveTo>
                <a:cubicBezTo>
                  <a:pt x="1101" y="352"/>
                  <a:pt x="1101" y="352"/>
                  <a:pt x="1101" y="353"/>
                </a:cubicBezTo>
                <a:cubicBezTo>
                  <a:pt x="1101" y="353"/>
                  <a:pt x="1101" y="353"/>
                  <a:pt x="1102" y="352"/>
                </a:cubicBezTo>
                <a:cubicBezTo>
                  <a:pt x="1102" y="352"/>
                  <a:pt x="1102" y="352"/>
                  <a:pt x="1102" y="351"/>
                </a:cubicBezTo>
                <a:cubicBezTo>
                  <a:pt x="1102" y="351"/>
                  <a:pt x="1102" y="351"/>
                  <a:pt x="1101" y="351"/>
                </a:cubicBezTo>
                <a:cubicBezTo>
                  <a:pt x="1101" y="351"/>
                  <a:pt x="1101" y="351"/>
                  <a:pt x="1101" y="352"/>
                </a:cubicBezTo>
                <a:close/>
                <a:moveTo>
                  <a:pt x="1078" y="317"/>
                </a:moveTo>
                <a:cubicBezTo>
                  <a:pt x="1078" y="317"/>
                  <a:pt x="1078" y="317"/>
                  <a:pt x="1077" y="316"/>
                </a:cubicBezTo>
                <a:cubicBezTo>
                  <a:pt x="1077" y="316"/>
                  <a:pt x="1077" y="316"/>
                  <a:pt x="1077" y="317"/>
                </a:cubicBezTo>
                <a:cubicBezTo>
                  <a:pt x="1077" y="317"/>
                  <a:pt x="1077" y="317"/>
                  <a:pt x="1078" y="317"/>
                </a:cubicBezTo>
                <a:close/>
                <a:moveTo>
                  <a:pt x="1121" y="330"/>
                </a:moveTo>
                <a:cubicBezTo>
                  <a:pt x="1121" y="331"/>
                  <a:pt x="1121" y="331"/>
                  <a:pt x="1121" y="331"/>
                </a:cubicBezTo>
                <a:cubicBezTo>
                  <a:pt x="1122" y="331"/>
                  <a:pt x="1122" y="331"/>
                  <a:pt x="1122" y="331"/>
                </a:cubicBezTo>
                <a:cubicBezTo>
                  <a:pt x="1123" y="331"/>
                  <a:pt x="1123" y="331"/>
                  <a:pt x="1123" y="331"/>
                </a:cubicBezTo>
                <a:cubicBezTo>
                  <a:pt x="1123" y="330"/>
                  <a:pt x="1123" y="330"/>
                  <a:pt x="1123" y="330"/>
                </a:cubicBezTo>
                <a:cubicBezTo>
                  <a:pt x="1122" y="330"/>
                  <a:pt x="1122" y="330"/>
                  <a:pt x="1122" y="330"/>
                </a:cubicBezTo>
                <a:cubicBezTo>
                  <a:pt x="1121" y="330"/>
                  <a:pt x="1121" y="330"/>
                  <a:pt x="1121" y="330"/>
                </a:cubicBezTo>
                <a:close/>
                <a:moveTo>
                  <a:pt x="1124" y="326"/>
                </a:moveTo>
                <a:cubicBezTo>
                  <a:pt x="1124" y="326"/>
                  <a:pt x="1124" y="326"/>
                  <a:pt x="1125" y="326"/>
                </a:cubicBezTo>
                <a:cubicBezTo>
                  <a:pt x="1125" y="326"/>
                  <a:pt x="1125" y="326"/>
                  <a:pt x="1126" y="326"/>
                </a:cubicBezTo>
                <a:cubicBezTo>
                  <a:pt x="1126" y="326"/>
                  <a:pt x="1126" y="326"/>
                  <a:pt x="1126" y="325"/>
                </a:cubicBezTo>
                <a:cubicBezTo>
                  <a:pt x="1126" y="325"/>
                  <a:pt x="1126" y="325"/>
                  <a:pt x="1125" y="325"/>
                </a:cubicBezTo>
                <a:cubicBezTo>
                  <a:pt x="1125" y="325"/>
                  <a:pt x="1125" y="325"/>
                  <a:pt x="1124" y="324"/>
                </a:cubicBezTo>
                <a:cubicBezTo>
                  <a:pt x="1124" y="324"/>
                  <a:pt x="1124" y="324"/>
                  <a:pt x="1123" y="324"/>
                </a:cubicBezTo>
                <a:cubicBezTo>
                  <a:pt x="1123" y="324"/>
                  <a:pt x="1123" y="324"/>
                  <a:pt x="1123" y="325"/>
                </a:cubicBezTo>
                <a:cubicBezTo>
                  <a:pt x="1123" y="325"/>
                  <a:pt x="1123" y="325"/>
                  <a:pt x="1124" y="326"/>
                </a:cubicBezTo>
                <a:close/>
                <a:moveTo>
                  <a:pt x="1103" y="357"/>
                </a:moveTo>
                <a:cubicBezTo>
                  <a:pt x="1103" y="357"/>
                  <a:pt x="1103" y="357"/>
                  <a:pt x="1104" y="357"/>
                </a:cubicBezTo>
                <a:cubicBezTo>
                  <a:pt x="1104" y="357"/>
                  <a:pt x="1104" y="357"/>
                  <a:pt x="1104" y="356"/>
                </a:cubicBezTo>
                <a:cubicBezTo>
                  <a:pt x="1104" y="356"/>
                  <a:pt x="1104" y="356"/>
                  <a:pt x="1104" y="355"/>
                </a:cubicBezTo>
                <a:cubicBezTo>
                  <a:pt x="1104" y="355"/>
                  <a:pt x="1104" y="355"/>
                  <a:pt x="1103" y="356"/>
                </a:cubicBezTo>
                <a:cubicBezTo>
                  <a:pt x="1103" y="356"/>
                  <a:pt x="1103" y="356"/>
                  <a:pt x="1103" y="357"/>
                </a:cubicBezTo>
                <a:close/>
                <a:moveTo>
                  <a:pt x="1154" y="300"/>
                </a:moveTo>
                <a:cubicBezTo>
                  <a:pt x="1155" y="301"/>
                  <a:pt x="1155" y="301"/>
                  <a:pt x="1155" y="301"/>
                </a:cubicBezTo>
                <a:cubicBezTo>
                  <a:pt x="1155" y="300"/>
                  <a:pt x="1155" y="300"/>
                  <a:pt x="1155" y="300"/>
                </a:cubicBezTo>
                <a:cubicBezTo>
                  <a:pt x="1155" y="299"/>
                  <a:pt x="1155" y="299"/>
                  <a:pt x="1155" y="299"/>
                </a:cubicBezTo>
                <a:cubicBezTo>
                  <a:pt x="1154" y="299"/>
                  <a:pt x="1154" y="299"/>
                  <a:pt x="1154" y="299"/>
                </a:cubicBezTo>
                <a:cubicBezTo>
                  <a:pt x="1154" y="300"/>
                  <a:pt x="1154" y="300"/>
                  <a:pt x="1154" y="300"/>
                </a:cubicBezTo>
                <a:close/>
                <a:moveTo>
                  <a:pt x="1151" y="297"/>
                </a:moveTo>
                <a:cubicBezTo>
                  <a:pt x="1150" y="298"/>
                  <a:pt x="1150" y="298"/>
                  <a:pt x="1150" y="298"/>
                </a:cubicBezTo>
                <a:cubicBezTo>
                  <a:pt x="1150" y="299"/>
                  <a:pt x="1150" y="299"/>
                  <a:pt x="1150" y="299"/>
                </a:cubicBezTo>
                <a:cubicBezTo>
                  <a:pt x="1149" y="300"/>
                  <a:pt x="1149" y="300"/>
                  <a:pt x="1149" y="300"/>
                </a:cubicBezTo>
                <a:cubicBezTo>
                  <a:pt x="1150" y="300"/>
                  <a:pt x="1150" y="300"/>
                  <a:pt x="1150" y="300"/>
                </a:cubicBezTo>
                <a:cubicBezTo>
                  <a:pt x="1150" y="301"/>
                  <a:pt x="1150" y="301"/>
                  <a:pt x="1150" y="301"/>
                </a:cubicBezTo>
                <a:cubicBezTo>
                  <a:pt x="1151" y="301"/>
                  <a:pt x="1151" y="301"/>
                  <a:pt x="1151" y="301"/>
                </a:cubicBezTo>
                <a:cubicBezTo>
                  <a:pt x="1152" y="300"/>
                  <a:pt x="1152" y="300"/>
                  <a:pt x="1152" y="300"/>
                </a:cubicBezTo>
                <a:cubicBezTo>
                  <a:pt x="1153" y="300"/>
                  <a:pt x="1153" y="300"/>
                  <a:pt x="1153" y="300"/>
                </a:cubicBezTo>
                <a:cubicBezTo>
                  <a:pt x="1152" y="298"/>
                  <a:pt x="1152" y="298"/>
                  <a:pt x="1152" y="298"/>
                </a:cubicBezTo>
                <a:cubicBezTo>
                  <a:pt x="1151" y="297"/>
                  <a:pt x="1151" y="297"/>
                  <a:pt x="1151" y="297"/>
                </a:cubicBezTo>
                <a:close/>
                <a:moveTo>
                  <a:pt x="1116" y="349"/>
                </a:moveTo>
                <a:cubicBezTo>
                  <a:pt x="1115" y="348"/>
                  <a:pt x="1115" y="348"/>
                  <a:pt x="1115" y="348"/>
                </a:cubicBezTo>
                <a:cubicBezTo>
                  <a:pt x="1115" y="349"/>
                  <a:pt x="1115" y="349"/>
                  <a:pt x="1115" y="349"/>
                </a:cubicBezTo>
                <a:cubicBezTo>
                  <a:pt x="1116" y="349"/>
                  <a:pt x="1116" y="349"/>
                  <a:pt x="1116" y="349"/>
                </a:cubicBezTo>
                <a:close/>
                <a:moveTo>
                  <a:pt x="1043" y="120"/>
                </a:moveTo>
                <a:cubicBezTo>
                  <a:pt x="1042" y="119"/>
                  <a:pt x="1042" y="119"/>
                  <a:pt x="1042" y="119"/>
                </a:cubicBezTo>
                <a:cubicBezTo>
                  <a:pt x="1041" y="119"/>
                  <a:pt x="1041" y="119"/>
                  <a:pt x="1041" y="119"/>
                </a:cubicBezTo>
                <a:cubicBezTo>
                  <a:pt x="1042" y="120"/>
                  <a:pt x="1042" y="120"/>
                  <a:pt x="1042" y="120"/>
                </a:cubicBezTo>
                <a:cubicBezTo>
                  <a:pt x="1043" y="120"/>
                  <a:pt x="1043" y="120"/>
                  <a:pt x="1043" y="120"/>
                </a:cubicBezTo>
                <a:close/>
                <a:moveTo>
                  <a:pt x="1081" y="170"/>
                </a:moveTo>
                <a:cubicBezTo>
                  <a:pt x="1080" y="170"/>
                  <a:pt x="1080" y="170"/>
                  <a:pt x="1080" y="170"/>
                </a:cubicBezTo>
                <a:cubicBezTo>
                  <a:pt x="1080" y="171"/>
                  <a:pt x="1080" y="171"/>
                  <a:pt x="1080" y="171"/>
                </a:cubicBezTo>
                <a:cubicBezTo>
                  <a:pt x="1081" y="171"/>
                  <a:pt x="1081" y="171"/>
                  <a:pt x="1081" y="171"/>
                </a:cubicBezTo>
                <a:cubicBezTo>
                  <a:pt x="1081" y="170"/>
                  <a:pt x="1081" y="170"/>
                  <a:pt x="1081" y="170"/>
                </a:cubicBezTo>
                <a:close/>
                <a:moveTo>
                  <a:pt x="1269" y="119"/>
                </a:moveTo>
                <a:cubicBezTo>
                  <a:pt x="1269" y="120"/>
                  <a:pt x="1269" y="120"/>
                  <a:pt x="1269" y="120"/>
                </a:cubicBezTo>
                <a:cubicBezTo>
                  <a:pt x="1268" y="121"/>
                  <a:pt x="1268" y="121"/>
                  <a:pt x="1268" y="121"/>
                </a:cubicBezTo>
                <a:cubicBezTo>
                  <a:pt x="1269" y="123"/>
                  <a:pt x="1269" y="123"/>
                  <a:pt x="1269" y="123"/>
                </a:cubicBezTo>
                <a:cubicBezTo>
                  <a:pt x="1270" y="122"/>
                  <a:pt x="1270" y="122"/>
                  <a:pt x="1270" y="122"/>
                </a:cubicBezTo>
                <a:cubicBezTo>
                  <a:pt x="1270" y="121"/>
                  <a:pt x="1270" y="121"/>
                  <a:pt x="1270" y="121"/>
                </a:cubicBezTo>
                <a:cubicBezTo>
                  <a:pt x="1270" y="119"/>
                  <a:pt x="1270" y="119"/>
                  <a:pt x="1270" y="119"/>
                </a:cubicBezTo>
                <a:cubicBezTo>
                  <a:pt x="1271" y="118"/>
                  <a:pt x="1271" y="118"/>
                  <a:pt x="1271" y="118"/>
                </a:cubicBezTo>
                <a:cubicBezTo>
                  <a:pt x="1270" y="118"/>
                  <a:pt x="1270" y="118"/>
                  <a:pt x="1270" y="118"/>
                </a:cubicBezTo>
                <a:cubicBezTo>
                  <a:pt x="1269" y="119"/>
                  <a:pt x="1269" y="119"/>
                  <a:pt x="1269" y="119"/>
                </a:cubicBezTo>
                <a:close/>
                <a:moveTo>
                  <a:pt x="1083" y="177"/>
                </a:moveTo>
                <a:cubicBezTo>
                  <a:pt x="1082" y="177"/>
                  <a:pt x="1082" y="177"/>
                  <a:pt x="1082" y="177"/>
                </a:cubicBezTo>
                <a:cubicBezTo>
                  <a:pt x="1082" y="178"/>
                  <a:pt x="1082" y="178"/>
                  <a:pt x="1082" y="178"/>
                </a:cubicBezTo>
                <a:cubicBezTo>
                  <a:pt x="1083" y="178"/>
                  <a:pt x="1083" y="178"/>
                  <a:pt x="1083" y="178"/>
                </a:cubicBezTo>
                <a:cubicBezTo>
                  <a:pt x="1083" y="177"/>
                  <a:pt x="1083" y="177"/>
                  <a:pt x="1083" y="177"/>
                </a:cubicBezTo>
                <a:close/>
                <a:moveTo>
                  <a:pt x="1038" y="118"/>
                </a:moveTo>
                <a:cubicBezTo>
                  <a:pt x="1039" y="119"/>
                  <a:pt x="1039" y="119"/>
                  <a:pt x="1039" y="119"/>
                </a:cubicBezTo>
                <a:cubicBezTo>
                  <a:pt x="1041" y="119"/>
                  <a:pt x="1041" y="119"/>
                  <a:pt x="1041" y="119"/>
                </a:cubicBezTo>
                <a:cubicBezTo>
                  <a:pt x="1040" y="117"/>
                  <a:pt x="1040" y="117"/>
                  <a:pt x="1040" y="117"/>
                </a:cubicBezTo>
                <a:cubicBezTo>
                  <a:pt x="1039" y="118"/>
                  <a:pt x="1039" y="118"/>
                  <a:pt x="1039" y="118"/>
                </a:cubicBezTo>
                <a:cubicBezTo>
                  <a:pt x="1039" y="117"/>
                  <a:pt x="1039" y="117"/>
                  <a:pt x="1039" y="117"/>
                </a:cubicBezTo>
                <a:cubicBezTo>
                  <a:pt x="1038" y="118"/>
                  <a:pt x="1038" y="118"/>
                  <a:pt x="1038" y="118"/>
                </a:cubicBezTo>
                <a:close/>
                <a:moveTo>
                  <a:pt x="1080" y="203"/>
                </a:moveTo>
                <a:cubicBezTo>
                  <a:pt x="1081" y="203"/>
                  <a:pt x="1081" y="203"/>
                  <a:pt x="1081" y="203"/>
                </a:cubicBezTo>
                <a:cubicBezTo>
                  <a:pt x="1081" y="202"/>
                  <a:pt x="1081" y="202"/>
                  <a:pt x="1081" y="202"/>
                </a:cubicBezTo>
                <a:cubicBezTo>
                  <a:pt x="1080" y="202"/>
                  <a:pt x="1080" y="202"/>
                  <a:pt x="1080" y="202"/>
                </a:cubicBezTo>
                <a:cubicBezTo>
                  <a:pt x="1080" y="203"/>
                  <a:pt x="1080" y="203"/>
                  <a:pt x="1080" y="203"/>
                </a:cubicBezTo>
                <a:close/>
                <a:moveTo>
                  <a:pt x="1081" y="205"/>
                </a:moveTo>
                <a:cubicBezTo>
                  <a:pt x="1082" y="205"/>
                  <a:pt x="1082" y="205"/>
                  <a:pt x="1082" y="205"/>
                </a:cubicBezTo>
                <a:cubicBezTo>
                  <a:pt x="1084" y="204"/>
                  <a:pt x="1084" y="204"/>
                  <a:pt x="1084" y="204"/>
                </a:cubicBezTo>
                <a:cubicBezTo>
                  <a:pt x="1085" y="203"/>
                  <a:pt x="1085" y="203"/>
                  <a:pt x="1085" y="203"/>
                </a:cubicBezTo>
                <a:cubicBezTo>
                  <a:pt x="1085" y="202"/>
                  <a:pt x="1085" y="202"/>
                  <a:pt x="1085" y="202"/>
                </a:cubicBezTo>
                <a:cubicBezTo>
                  <a:pt x="1084" y="202"/>
                  <a:pt x="1084" y="202"/>
                  <a:pt x="1084" y="202"/>
                </a:cubicBezTo>
                <a:cubicBezTo>
                  <a:pt x="1083" y="203"/>
                  <a:pt x="1083" y="203"/>
                  <a:pt x="1083" y="203"/>
                </a:cubicBezTo>
                <a:cubicBezTo>
                  <a:pt x="1082" y="203"/>
                  <a:pt x="1082" y="203"/>
                  <a:pt x="1082" y="203"/>
                </a:cubicBezTo>
                <a:cubicBezTo>
                  <a:pt x="1082" y="204"/>
                  <a:pt x="1082" y="204"/>
                  <a:pt x="1082" y="204"/>
                </a:cubicBezTo>
                <a:cubicBezTo>
                  <a:pt x="1081" y="204"/>
                  <a:pt x="1081" y="204"/>
                  <a:pt x="1081" y="204"/>
                </a:cubicBezTo>
                <a:cubicBezTo>
                  <a:pt x="1081" y="205"/>
                  <a:pt x="1081" y="205"/>
                  <a:pt x="1081" y="205"/>
                </a:cubicBezTo>
                <a:close/>
                <a:moveTo>
                  <a:pt x="1085" y="205"/>
                </a:moveTo>
                <a:cubicBezTo>
                  <a:pt x="1085" y="204"/>
                  <a:pt x="1085" y="204"/>
                  <a:pt x="1085" y="204"/>
                </a:cubicBezTo>
                <a:cubicBezTo>
                  <a:pt x="1084" y="205"/>
                  <a:pt x="1084" y="205"/>
                  <a:pt x="1084" y="205"/>
                </a:cubicBezTo>
                <a:cubicBezTo>
                  <a:pt x="1085" y="205"/>
                  <a:pt x="1085" y="205"/>
                  <a:pt x="1085" y="205"/>
                </a:cubicBezTo>
                <a:close/>
                <a:moveTo>
                  <a:pt x="1084" y="206"/>
                </a:moveTo>
                <a:cubicBezTo>
                  <a:pt x="1084" y="205"/>
                  <a:pt x="1084" y="205"/>
                  <a:pt x="1084" y="205"/>
                </a:cubicBezTo>
                <a:cubicBezTo>
                  <a:pt x="1083" y="206"/>
                  <a:pt x="1083" y="206"/>
                  <a:pt x="1083" y="206"/>
                </a:cubicBezTo>
                <a:cubicBezTo>
                  <a:pt x="1084" y="206"/>
                  <a:pt x="1084" y="206"/>
                  <a:pt x="1084" y="206"/>
                </a:cubicBezTo>
                <a:close/>
                <a:moveTo>
                  <a:pt x="1085" y="199"/>
                </a:moveTo>
                <a:cubicBezTo>
                  <a:pt x="1084" y="199"/>
                  <a:pt x="1084" y="199"/>
                  <a:pt x="1084" y="199"/>
                </a:cubicBezTo>
                <a:cubicBezTo>
                  <a:pt x="1083" y="200"/>
                  <a:pt x="1083" y="200"/>
                  <a:pt x="1083" y="200"/>
                </a:cubicBezTo>
                <a:cubicBezTo>
                  <a:pt x="1084" y="200"/>
                  <a:pt x="1084" y="200"/>
                  <a:pt x="1084" y="200"/>
                </a:cubicBezTo>
                <a:cubicBezTo>
                  <a:pt x="1085" y="199"/>
                  <a:pt x="1085" y="199"/>
                  <a:pt x="1085" y="199"/>
                </a:cubicBezTo>
                <a:close/>
                <a:moveTo>
                  <a:pt x="1245" y="213"/>
                </a:moveTo>
                <a:cubicBezTo>
                  <a:pt x="1245" y="212"/>
                  <a:pt x="1245" y="212"/>
                  <a:pt x="1245" y="212"/>
                </a:cubicBezTo>
                <a:cubicBezTo>
                  <a:pt x="1244" y="213"/>
                  <a:pt x="1244" y="213"/>
                  <a:pt x="1244" y="213"/>
                </a:cubicBezTo>
                <a:cubicBezTo>
                  <a:pt x="1245" y="213"/>
                  <a:pt x="1245" y="213"/>
                  <a:pt x="1245" y="213"/>
                </a:cubicBezTo>
                <a:close/>
                <a:moveTo>
                  <a:pt x="1222" y="241"/>
                </a:moveTo>
                <a:cubicBezTo>
                  <a:pt x="1223" y="241"/>
                  <a:pt x="1223" y="241"/>
                  <a:pt x="1223" y="241"/>
                </a:cubicBezTo>
                <a:cubicBezTo>
                  <a:pt x="1222" y="240"/>
                  <a:pt x="1222" y="240"/>
                  <a:pt x="1222" y="240"/>
                </a:cubicBezTo>
                <a:cubicBezTo>
                  <a:pt x="1222" y="241"/>
                  <a:pt x="1222" y="241"/>
                  <a:pt x="1222" y="241"/>
                </a:cubicBezTo>
                <a:close/>
                <a:moveTo>
                  <a:pt x="1248" y="194"/>
                </a:moveTo>
                <a:cubicBezTo>
                  <a:pt x="1246" y="194"/>
                  <a:pt x="1246" y="194"/>
                  <a:pt x="1246" y="194"/>
                </a:cubicBezTo>
                <a:cubicBezTo>
                  <a:pt x="1245" y="194"/>
                  <a:pt x="1245" y="194"/>
                  <a:pt x="1245" y="194"/>
                </a:cubicBezTo>
                <a:cubicBezTo>
                  <a:pt x="1244" y="196"/>
                  <a:pt x="1244" y="196"/>
                  <a:pt x="1244" y="196"/>
                </a:cubicBezTo>
                <a:cubicBezTo>
                  <a:pt x="1244" y="197"/>
                  <a:pt x="1244" y="197"/>
                  <a:pt x="1244" y="197"/>
                </a:cubicBezTo>
                <a:cubicBezTo>
                  <a:pt x="1244" y="198"/>
                  <a:pt x="1244" y="198"/>
                  <a:pt x="1244" y="198"/>
                </a:cubicBezTo>
                <a:cubicBezTo>
                  <a:pt x="1245" y="198"/>
                  <a:pt x="1245" y="198"/>
                  <a:pt x="1245" y="198"/>
                </a:cubicBezTo>
                <a:cubicBezTo>
                  <a:pt x="1247" y="199"/>
                  <a:pt x="1247" y="199"/>
                  <a:pt x="1247" y="199"/>
                </a:cubicBezTo>
                <a:cubicBezTo>
                  <a:pt x="1249" y="199"/>
                  <a:pt x="1249" y="199"/>
                  <a:pt x="1249" y="199"/>
                </a:cubicBezTo>
                <a:cubicBezTo>
                  <a:pt x="1250" y="199"/>
                  <a:pt x="1250" y="199"/>
                  <a:pt x="1250" y="199"/>
                </a:cubicBezTo>
                <a:cubicBezTo>
                  <a:pt x="1250" y="197"/>
                  <a:pt x="1250" y="197"/>
                  <a:pt x="1250" y="197"/>
                </a:cubicBezTo>
                <a:cubicBezTo>
                  <a:pt x="1251" y="197"/>
                  <a:pt x="1251" y="197"/>
                  <a:pt x="1251" y="197"/>
                </a:cubicBezTo>
                <a:cubicBezTo>
                  <a:pt x="1250" y="195"/>
                  <a:pt x="1250" y="195"/>
                  <a:pt x="1250" y="195"/>
                </a:cubicBezTo>
                <a:cubicBezTo>
                  <a:pt x="1248" y="194"/>
                  <a:pt x="1248" y="194"/>
                  <a:pt x="1248" y="194"/>
                </a:cubicBezTo>
                <a:close/>
                <a:moveTo>
                  <a:pt x="1266" y="146"/>
                </a:moveTo>
                <a:cubicBezTo>
                  <a:pt x="1266" y="147"/>
                  <a:pt x="1266" y="147"/>
                  <a:pt x="1266" y="147"/>
                </a:cubicBezTo>
                <a:cubicBezTo>
                  <a:pt x="1267" y="147"/>
                  <a:pt x="1267" y="147"/>
                  <a:pt x="1267" y="147"/>
                </a:cubicBezTo>
                <a:cubicBezTo>
                  <a:pt x="1267" y="146"/>
                  <a:pt x="1267" y="146"/>
                  <a:pt x="1267" y="146"/>
                </a:cubicBezTo>
                <a:cubicBezTo>
                  <a:pt x="1267" y="145"/>
                  <a:pt x="1267" y="145"/>
                  <a:pt x="1267" y="145"/>
                </a:cubicBezTo>
                <a:cubicBezTo>
                  <a:pt x="1268" y="144"/>
                  <a:pt x="1268" y="144"/>
                  <a:pt x="1268" y="144"/>
                </a:cubicBezTo>
                <a:cubicBezTo>
                  <a:pt x="1268" y="143"/>
                  <a:pt x="1268" y="143"/>
                  <a:pt x="1268" y="143"/>
                </a:cubicBezTo>
                <a:cubicBezTo>
                  <a:pt x="1266" y="144"/>
                  <a:pt x="1266" y="144"/>
                  <a:pt x="1266" y="144"/>
                </a:cubicBezTo>
                <a:cubicBezTo>
                  <a:pt x="1266" y="146"/>
                  <a:pt x="1266" y="146"/>
                  <a:pt x="1266" y="146"/>
                </a:cubicBezTo>
                <a:close/>
                <a:moveTo>
                  <a:pt x="1225" y="211"/>
                </a:moveTo>
                <a:cubicBezTo>
                  <a:pt x="1227" y="211"/>
                  <a:pt x="1227" y="211"/>
                  <a:pt x="1227" y="211"/>
                </a:cubicBezTo>
                <a:cubicBezTo>
                  <a:pt x="1228" y="212"/>
                  <a:pt x="1228" y="212"/>
                  <a:pt x="1228" y="212"/>
                </a:cubicBezTo>
                <a:cubicBezTo>
                  <a:pt x="1230" y="213"/>
                  <a:pt x="1230" y="213"/>
                  <a:pt x="1230" y="213"/>
                </a:cubicBezTo>
                <a:cubicBezTo>
                  <a:pt x="1232" y="213"/>
                  <a:pt x="1232" y="213"/>
                  <a:pt x="1232" y="213"/>
                </a:cubicBezTo>
                <a:cubicBezTo>
                  <a:pt x="1236" y="213"/>
                  <a:pt x="1236" y="213"/>
                  <a:pt x="1236" y="213"/>
                </a:cubicBezTo>
                <a:cubicBezTo>
                  <a:pt x="1234" y="214"/>
                  <a:pt x="1234" y="214"/>
                  <a:pt x="1234" y="214"/>
                </a:cubicBezTo>
                <a:cubicBezTo>
                  <a:pt x="1233" y="214"/>
                  <a:pt x="1233" y="214"/>
                  <a:pt x="1233" y="214"/>
                </a:cubicBezTo>
                <a:cubicBezTo>
                  <a:pt x="1231" y="214"/>
                  <a:pt x="1231" y="214"/>
                  <a:pt x="1231" y="214"/>
                </a:cubicBezTo>
                <a:cubicBezTo>
                  <a:pt x="1230" y="214"/>
                  <a:pt x="1230" y="214"/>
                  <a:pt x="1230" y="214"/>
                </a:cubicBezTo>
                <a:cubicBezTo>
                  <a:pt x="1229" y="214"/>
                  <a:pt x="1229" y="214"/>
                  <a:pt x="1229" y="214"/>
                </a:cubicBezTo>
                <a:cubicBezTo>
                  <a:pt x="1230" y="215"/>
                  <a:pt x="1230" y="215"/>
                  <a:pt x="1230" y="215"/>
                </a:cubicBezTo>
                <a:cubicBezTo>
                  <a:pt x="1232" y="215"/>
                  <a:pt x="1232" y="215"/>
                  <a:pt x="1232" y="215"/>
                </a:cubicBezTo>
                <a:cubicBezTo>
                  <a:pt x="1233" y="216"/>
                  <a:pt x="1233" y="216"/>
                  <a:pt x="1233" y="216"/>
                </a:cubicBezTo>
                <a:cubicBezTo>
                  <a:pt x="1235" y="216"/>
                  <a:pt x="1235" y="216"/>
                  <a:pt x="1235" y="216"/>
                </a:cubicBezTo>
                <a:cubicBezTo>
                  <a:pt x="1236" y="217"/>
                  <a:pt x="1236" y="217"/>
                  <a:pt x="1236" y="217"/>
                </a:cubicBezTo>
                <a:cubicBezTo>
                  <a:pt x="1237" y="217"/>
                  <a:pt x="1237" y="217"/>
                  <a:pt x="1237" y="217"/>
                </a:cubicBezTo>
                <a:cubicBezTo>
                  <a:pt x="1238" y="217"/>
                  <a:pt x="1238" y="217"/>
                  <a:pt x="1238" y="217"/>
                </a:cubicBezTo>
                <a:cubicBezTo>
                  <a:pt x="1238" y="218"/>
                  <a:pt x="1238" y="218"/>
                  <a:pt x="1238" y="218"/>
                </a:cubicBezTo>
                <a:cubicBezTo>
                  <a:pt x="1239" y="218"/>
                  <a:pt x="1239" y="218"/>
                  <a:pt x="1239" y="218"/>
                </a:cubicBezTo>
                <a:cubicBezTo>
                  <a:pt x="1240" y="218"/>
                  <a:pt x="1240" y="218"/>
                  <a:pt x="1240" y="218"/>
                </a:cubicBezTo>
                <a:cubicBezTo>
                  <a:pt x="1241" y="218"/>
                  <a:pt x="1241" y="218"/>
                  <a:pt x="1241" y="218"/>
                </a:cubicBezTo>
                <a:cubicBezTo>
                  <a:pt x="1241" y="217"/>
                  <a:pt x="1241" y="217"/>
                  <a:pt x="1241" y="217"/>
                </a:cubicBezTo>
                <a:cubicBezTo>
                  <a:pt x="1241" y="216"/>
                  <a:pt x="1241" y="216"/>
                  <a:pt x="1241" y="216"/>
                </a:cubicBezTo>
                <a:cubicBezTo>
                  <a:pt x="1242" y="216"/>
                  <a:pt x="1242" y="216"/>
                  <a:pt x="1242" y="216"/>
                </a:cubicBezTo>
                <a:cubicBezTo>
                  <a:pt x="1240" y="215"/>
                  <a:pt x="1240" y="215"/>
                  <a:pt x="1240" y="215"/>
                </a:cubicBezTo>
                <a:cubicBezTo>
                  <a:pt x="1239" y="214"/>
                  <a:pt x="1239" y="214"/>
                  <a:pt x="1239" y="214"/>
                </a:cubicBezTo>
                <a:cubicBezTo>
                  <a:pt x="1237" y="213"/>
                  <a:pt x="1237" y="213"/>
                  <a:pt x="1237" y="213"/>
                </a:cubicBezTo>
                <a:cubicBezTo>
                  <a:pt x="1237" y="212"/>
                  <a:pt x="1237" y="212"/>
                  <a:pt x="1237" y="212"/>
                </a:cubicBezTo>
                <a:cubicBezTo>
                  <a:pt x="1236" y="212"/>
                  <a:pt x="1236" y="212"/>
                  <a:pt x="1236" y="212"/>
                </a:cubicBezTo>
                <a:cubicBezTo>
                  <a:pt x="1233" y="212"/>
                  <a:pt x="1233" y="212"/>
                  <a:pt x="1233" y="212"/>
                </a:cubicBezTo>
                <a:cubicBezTo>
                  <a:pt x="1232" y="212"/>
                  <a:pt x="1232" y="212"/>
                  <a:pt x="1232" y="212"/>
                </a:cubicBezTo>
                <a:cubicBezTo>
                  <a:pt x="1230" y="211"/>
                  <a:pt x="1230" y="211"/>
                  <a:pt x="1230" y="211"/>
                </a:cubicBezTo>
                <a:cubicBezTo>
                  <a:pt x="1229" y="210"/>
                  <a:pt x="1229" y="210"/>
                  <a:pt x="1229" y="210"/>
                </a:cubicBezTo>
                <a:cubicBezTo>
                  <a:pt x="1228" y="210"/>
                  <a:pt x="1228" y="210"/>
                  <a:pt x="1228" y="210"/>
                </a:cubicBezTo>
                <a:cubicBezTo>
                  <a:pt x="1229" y="209"/>
                  <a:pt x="1229" y="209"/>
                  <a:pt x="1229" y="209"/>
                </a:cubicBezTo>
                <a:cubicBezTo>
                  <a:pt x="1230" y="209"/>
                  <a:pt x="1230" y="209"/>
                  <a:pt x="1230" y="209"/>
                </a:cubicBezTo>
                <a:cubicBezTo>
                  <a:pt x="1232" y="211"/>
                  <a:pt x="1232" y="211"/>
                  <a:pt x="1232" y="211"/>
                </a:cubicBezTo>
                <a:cubicBezTo>
                  <a:pt x="1234" y="211"/>
                  <a:pt x="1234" y="211"/>
                  <a:pt x="1234" y="211"/>
                </a:cubicBezTo>
                <a:cubicBezTo>
                  <a:pt x="1235" y="211"/>
                  <a:pt x="1235" y="211"/>
                  <a:pt x="1235" y="211"/>
                </a:cubicBezTo>
                <a:cubicBezTo>
                  <a:pt x="1234" y="210"/>
                  <a:pt x="1234" y="210"/>
                  <a:pt x="1234" y="210"/>
                </a:cubicBezTo>
                <a:cubicBezTo>
                  <a:pt x="1231" y="208"/>
                  <a:pt x="1231" y="208"/>
                  <a:pt x="1231" y="208"/>
                </a:cubicBezTo>
                <a:cubicBezTo>
                  <a:pt x="1228" y="208"/>
                  <a:pt x="1228" y="208"/>
                  <a:pt x="1228" y="208"/>
                </a:cubicBezTo>
                <a:cubicBezTo>
                  <a:pt x="1227" y="208"/>
                  <a:pt x="1227" y="208"/>
                  <a:pt x="1227" y="208"/>
                </a:cubicBezTo>
                <a:cubicBezTo>
                  <a:pt x="1227" y="209"/>
                  <a:pt x="1227" y="209"/>
                  <a:pt x="1227" y="209"/>
                </a:cubicBezTo>
                <a:cubicBezTo>
                  <a:pt x="1225" y="209"/>
                  <a:pt x="1225" y="209"/>
                  <a:pt x="1225" y="209"/>
                </a:cubicBezTo>
                <a:cubicBezTo>
                  <a:pt x="1224" y="210"/>
                  <a:pt x="1224" y="210"/>
                  <a:pt x="1224" y="210"/>
                </a:cubicBezTo>
                <a:cubicBezTo>
                  <a:pt x="1225" y="211"/>
                  <a:pt x="1225" y="211"/>
                  <a:pt x="1225" y="211"/>
                </a:cubicBezTo>
                <a:close/>
                <a:moveTo>
                  <a:pt x="1262" y="140"/>
                </a:moveTo>
                <a:cubicBezTo>
                  <a:pt x="1263" y="139"/>
                  <a:pt x="1263" y="139"/>
                  <a:pt x="1263" y="139"/>
                </a:cubicBezTo>
                <a:cubicBezTo>
                  <a:pt x="1263" y="138"/>
                  <a:pt x="1263" y="138"/>
                  <a:pt x="1263" y="138"/>
                </a:cubicBezTo>
                <a:cubicBezTo>
                  <a:pt x="1262" y="139"/>
                  <a:pt x="1262" y="139"/>
                  <a:pt x="1262" y="139"/>
                </a:cubicBezTo>
                <a:cubicBezTo>
                  <a:pt x="1262" y="140"/>
                  <a:pt x="1262" y="140"/>
                  <a:pt x="1262" y="140"/>
                </a:cubicBezTo>
                <a:close/>
                <a:moveTo>
                  <a:pt x="1264" y="188"/>
                </a:moveTo>
                <a:cubicBezTo>
                  <a:pt x="1265" y="187"/>
                  <a:pt x="1265" y="187"/>
                  <a:pt x="1265" y="187"/>
                </a:cubicBezTo>
                <a:cubicBezTo>
                  <a:pt x="1265" y="186"/>
                  <a:pt x="1265" y="186"/>
                  <a:pt x="1265" y="186"/>
                </a:cubicBezTo>
                <a:cubicBezTo>
                  <a:pt x="1265" y="185"/>
                  <a:pt x="1265" y="185"/>
                  <a:pt x="1265" y="185"/>
                </a:cubicBezTo>
                <a:cubicBezTo>
                  <a:pt x="1264" y="184"/>
                  <a:pt x="1264" y="184"/>
                  <a:pt x="1264" y="184"/>
                </a:cubicBezTo>
                <a:cubicBezTo>
                  <a:pt x="1264" y="185"/>
                  <a:pt x="1264" y="185"/>
                  <a:pt x="1264" y="185"/>
                </a:cubicBezTo>
                <a:cubicBezTo>
                  <a:pt x="1264" y="186"/>
                  <a:pt x="1264" y="186"/>
                  <a:pt x="1264" y="186"/>
                </a:cubicBezTo>
                <a:cubicBezTo>
                  <a:pt x="1263" y="185"/>
                  <a:pt x="1263" y="185"/>
                  <a:pt x="1263" y="185"/>
                </a:cubicBezTo>
                <a:cubicBezTo>
                  <a:pt x="1263" y="184"/>
                  <a:pt x="1263" y="184"/>
                  <a:pt x="1263" y="184"/>
                </a:cubicBezTo>
                <a:cubicBezTo>
                  <a:pt x="1263" y="183"/>
                  <a:pt x="1263" y="183"/>
                  <a:pt x="1263" y="183"/>
                </a:cubicBezTo>
                <a:cubicBezTo>
                  <a:pt x="1262" y="182"/>
                  <a:pt x="1262" y="182"/>
                  <a:pt x="1262" y="182"/>
                </a:cubicBezTo>
                <a:cubicBezTo>
                  <a:pt x="1263" y="182"/>
                  <a:pt x="1263" y="182"/>
                  <a:pt x="1263" y="182"/>
                </a:cubicBezTo>
                <a:cubicBezTo>
                  <a:pt x="1263" y="181"/>
                  <a:pt x="1263" y="181"/>
                  <a:pt x="1263" y="181"/>
                </a:cubicBezTo>
                <a:cubicBezTo>
                  <a:pt x="1262" y="180"/>
                  <a:pt x="1262" y="180"/>
                  <a:pt x="1262" y="180"/>
                </a:cubicBezTo>
                <a:cubicBezTo>
                  <a:pt x="1261" y="181"/>
                  <a:pt x="1261" y="181"/>
                  <a:pt x="1261" y="181"/>
                </a:cubicBezTo>
                <a:cubicBezTo>
                  <a:pt x="1260" y="181"/>
                  <a:pt x="1260" y="181"/>
                  <a:pt x="1260" y="181"/>
                </a:cubicBezTo>
                <a:cubicBezTo>
                  <a:pt x="1259" y="181"/>
                  <a:pt x="1259" y="181"/>
                  <a:pt x="1259" y="181"/>
                </a:cubicBezTo>
                <a:cubicBezTo>
                  <a:pt x="1259" y="184"/>
                  <a:pt x="1259" y="184"/>
                  <a:pt x="1259" y="184"/>
                </a:cubicBezTo>
                <a:cubicBezTo>
                  <a:pt x="1258" y="185"/>
                  <a:pt x="1258" y="185"/>
                  <a:pt x="1258" y="185"/>
                </a:cubicBezTo>
                <a:cubicBezTo>
                  <a:pt x="1259" y="186"/>
                  <a:pt x="1259" y="186"/>
                  <a:pt x="1259" y="186"/>
                </a:cubicBezTo>
                <a:cubicBezTo>
                  <a:pt x="1260" y="187"/>
                  <a:pt x="1260" y="187"/>
                  <a:pt x="1260" y="187"/>
                </a:cubicBezTo>
                <a:cubicBezTo>
                  <a:pt x="1261" y="187"/>
                  <a:pt x="1261" y="187"/>
                  <a:pt x="1261" y="187"/>
                </a:cubicBezTo>
                <a:cubicBezTo>
                  <a:pt x="1262" y="187"/>
                  <a:pt x="1262" y="187"/>
                  <a:pt x="1262" y="187"/>
                </a:cubicBezTo>
                <a:cubicBezTo>
                  <a:pt x="1263" y="187"/>
                  <a:pt x="1263" y="187"/>
                  <a:pt x="1263" y="187"/>
                </a:cubicBezTo>
                <a:cubicBezTo>
                  <a:pt x="1263" y="188"/>
                  <a:pt x="1263" y="188"/>
                  <a:pt x="1263" y="188"/>
                </a:cubicBezTo>
                <a:cubicBezTo>
                  <a:pt x="1264" y="188"/>
                  <a:pt x="1264" y="188"/>
                  <a:pt x="1264" y="188"/>
                </a:cubicBezTo>
                <a:close/>
                <a:moveTo>
                  <a:pt x="1250" y="162"/>
                </a:moveTo>
                <a:cubicBezTo>
                  <a:pt x="1249" y="162"/>
                  <a:pt x="1249" y="162"/>
                  <a:pt x="1249" y="162"/>
                </a:cubicBezTo>
                <a:cubicBezTo>
                  <a:pt x="1250" y="163"/>
                  <a:pt x="1250" y="163"/>
                  <a:pt x="1250" y="163"/>
                </a:cubicBezTo>
                <a:cubicBezTo>
                  <a:pt x="1251" y="163"/>
                  <a:pt x="1251" y="163"/>
                  <a:pt x="1251" y="163"/>
                </a:cubicBezTo>
                <a:cubicBezTo>
                  <a:pt x="1250" y="162"/>
                  <a:pt x="1250" y="162"/>
                  <a:pt x="1250" y="162"/>
                </a:cubicBezTo>
                <a:close/>
                <a:moveTo>
                  <a:pt x="1253" y="165"/>
                </a:moveTo>
                <a:cubicBezTo>
                  <a:pt x="1253" y="164"/>
                  <a:pt x="1253" y="164"/>
                  <a:pt x="1253" y="164"/>
                </a:cubicBezTo>
                <a:cubicBezTo>
                  <a:pt x="1251" y="164"/>
                  <a:pt x="1251" y="164"/>
                  <a:pt x="1251" y="164"/>
                </a:cubicBezTo>
                <a:cubicBezTo>
                  <a:pt x="1251" y="165"/>
                  <a:pt x="1251" y="165"/>
                  <a:pt x="1251" y="165"/>
                </a:cubicBezTo>
                <a:cubicBezTo>
                  <a:pt x="1251" y="166"/>
                  <a:pt x="1251" y="166"/>
                  <a:pt x="1251" y="166"/>
                </a:cubicBezTo>
                <a:cubicBezTo>
                  <a:pt x="1252" y="166"/>
                  <a:pt x="1252" y="166"/>
                  <a:pt x="1252" y="166"/>
                </a:cubicBezTo>
                <a:cubicBezTo>
                  <a:pt x="1253" y="165"/>
                  <a:pt x="1253" y="165"/>
                  <a:pt x="1253" y="165"/>
                </a:cubicBezTo>
                <a:close/>
                <a:moveTo>
                  <a:pt x="1086" y="227"/>
                </a:moveTo>
                <a:cubicBezTo>
                  <a:pt x="1086" y="226"/>
                  <a:pt x="1086" y="226"/>
                  <a:pt x="1086" y="226"/>
                </a:cubicBezTo>
                <a:cubicBezTo>
                  <a:pt x="1086" y="224"/>
                  <a:pt x="1086" y="224"/>
                  <a:pt x="1086" y="224"/>
                </a:cubicBezTo>
                <a:cubicBezTo>
                  <a:pt x="1085" y="225"/>
                  <a:pt x="1085" y="225"/>
                  <a:pt x="1085" y="225"/>
                </a:cubicBezTo>
                <a:cubicBezTo>
                  <a:pt x="1084" y="226"/>
                  <a:pt x="1084" y="226"/>
                  <a:pt x="1084" y="226"/>
                </a:cubicBezTo>
                <a:cubicBezTo>
                  <a:pt x="1084" y="227"/>
                  <a:pt x="1084" y="227"/>
                  <a:pt x="1084" y="227"/>
                </a:cubicBezTo>
                <a:cubicBezTo>
                  <a:pt x="1085" y="228"/>
                  <a:pt x="1085" y="228"/>
                  <a:pt x="1085" y="228"/>
                </a:cubicBezTo>
                <a:cubicBezTo>
                  <a:pt x="1086" y="227"/>
                  <a:pt x="1086" y="227"/>
                  <a:pt x="1086" y="227"/>
                </a:cubicBezTo>
                <a:close/>
                <a:moveTo>
                  <a:pt x="1076" y="246"/>
                </a:moveTo>
                <a:cubicBezTo>
                  <a:pt x="1078" y="247"/>
                  <a:pt x="1078" y="247"/>
                  <a:pt x="1078" y="247"/>
                </a:cubicBezTo>
                <a:cubicBezTo>
                  <a:pt x="1079" y="248"/>
                  <a:pt x="1079" y="248"/>
                  <a:pt x="1079" y="248"/>
                </a:cubicBezTo>
                <a:cubicBezTo>
                  <a:pt x="1078" y="248"/>
                  <a:pt x="1078" y="248"/>
                  <a:pt x="1078" y="248"/>
                </a:cubicBezTo>
                <a:cubicBezTo>
                  <a:pt x="1077" y="248"/>
                  <a:pt x="1077" y="248"/>
                  <a:pt x="1077" y="248"/>
                </a:cubicBezTo>
                <a:cubicBezTo>
                  <a:pt x="1077" y="249"/>
                  <a:pt x="1077" y="249"/>
                  <a:pt x="1077" y="249"/>
                </a:cubicBezTo>
                <a:cubicBezTo>
                  <a:pt x="1077" y="250"/>
                  <a:pt x="1077" y="250"/>
                  <a:pt x="1077" y="250"/>
                </a:cubicBezTo>
                <a:cubicBezTo>
                  <a:pt x="1079" y="250"/>
                  <a:pt x="1079" y="250"/>
                  <a:pt x="1079" y="250"/>
                </a:cubicBezTo>
                <a:cubicBezTo>
                  <a:pt x="1080" y="251"/>
                  <a:pt x="1080" y="251"/>
                  <a:pt x="1080" y="251"/>
                </a:cubicBezTo>
                <a:cubicBezTo>
                  <a:pt x="1081" y="251"/>
                  <a:pt x="1081" y="251"/>
                  <a:pt x="1081" y="251"/>
                </a:cubicBezTo>
                <a:cubicBezTo>
                  <a:pt x="1081" y="250"/>
                  <a:pt x="1081" y="250"/>
                  <a:pt x="1081" y="250"/>
                </a:cubicBezTo>
                <a:cubicBezTo>
                  <a:pt x="1085" y="250"/>
                  <a:pt x="1085" y="250"/>
                  <a:pt x="1085" y="250"/>
                </a:cubicBezTo>
                <a:cubicBezTo>
                  <a:pt x="1087" y="250"/>
                  <a:pt x="1087" y="250"/>
                  <a:pt x="1087" y="250"/>
                </a:cubicBezTo>
                <a:cubicBezTo>
                  <a:pt x="1089" y="248"/>
                  <a:pt x="1089" y="248"/>
                  <a:pt x="1089" y="248"/>
                </a:cubicBezTo>
                <a:cubicBezTo>
                  <a:pt x="1088" y="246"/>
                  <a:pt x="1088" y="246"/>
                  <a:pt x="1088" y="246"/>
                </a:cubicBezTo>
                <a:cubicBezTo>
                  <a:pt x="1088" y="244"/>
                  <a:pt x="1088" y="244"/>
                  <a:pt x="1088" y="244"/>
                </a:cubicBezTo>
                <a:cubicBezTo>
                  <a:pt x="1087" y="244"/>
                  <a:pt x="1087" y="244"/>
                  <a:pt x="1087" y="244"/>
                </a:cubicBezTo>
                <a:cubicBezTo>
                  <a:pt x="1085" y="244"/>
                  <a:pt x="1085" y="244"/>
                  <a:pt x="1085" y="244"/>
                </a:cubicBezTo>
                <a:cubicBezTo>
                  <a:pt x="1085" y="241"/>
                  <a:pt x="1085" y="241"/>
                  <a:pt x="1085" y="241"/>
                </a:cubicBezTo>
                <a:cubicBezTo>
                  <a:pt x="1083" y="239"/>
                  <a:pt x="1083" y="239"/>
                  <a:pt x="1083" y="239"/>
                </a:cubicBezTo>
                <a:cubicBezTo>
                  <a:pt x="1081" y="238"/>
                  <a:pt x="1081" y="238"/>
                  <a:pt x="1081" y="238"/>
                </a:cubicBezTo>
                <a:cubicBezTo>
                  <a:pt x="1080" y="237"/>
                  <a:pt x="1080" y="237"/>
                  <a:pt x="1080" y="237"/>
                </a:cubicBezTo>
                <a:cubicBezTo>
                  <a:pt x="1078" y="237"/>
                  <a:pt x="1078" y="237"/>
                  <a:pt x="1078" y="237"/>
                </a:cubicBezTo>
                <a:cubicBezTo>
                  <a:pt x="1077" y="236"/>
                  <a:pt x="1077" y="236"/>
                  <a:pt x="1077" y="236"/>
                </a:cubicBezTo>
                <a:cubicBezTo>
                  <a:pt x="1077" y="237"/>
                  <a:pt x="1077" y="237"/>
                  <a:pt x="1077" y="237"/>
                </a:cubicBezTo>
                <a:cubicBezTo>
                  <a:pt x="1076" y="238"/>
                  <a:pt x="1076" y="238"/>
                  <a:pt x="1076" y="238"/>
                </a:cubicBezTo>
                <a:cubicBezTo>
                  <a:pt x="1076" y="240"/>
                  <a:pt x="1076" y="240"/>
                  <a:pt x="1076" y="240"/>
                </a:cubicBezTo>
                <a:cubicBezTo>
                  <a:pt x="1077" y="241"/>
                  <a:pt x="1077" y="241"/>
                  <a:pt x="1077" y="241"/>
                </a:cubicBezTo>
                <a:cubicBezTo>
                  <a:pt x="1077" y="242"/>
                  <a:pt x="1077" y="242"/>
                  <a:pt x="1077" y="242"/>
                </a:cubicBezTo>
                <a:cubicBezTo>
                  <a:pt x="1076" y="241"/>
                  <a:pt x="1076" y="241"/>
                  <a:pt x="1076" y="241"/>
                </a:cubicBezTo>
                <a:cubicBezTo>
                  <a:pt x="1075" y="242"/>
                  <a:pt x="1075" y="242"/>
                  <a:pt x="1075" y="242"/>
                </a:cubicBezTo>
                <a:cubicBezTo>
                  <a:pt x="1075" y="243"/>
                  <a:pt x="1075" y="243"/>
                  <a:pt x="1075" y="243"/>
                </a:cubicBezTo>
                <a:cubicBezTo>
                  <a:pt x="1075" y="244"/>
                  <a:pt x="1075" y="244"/>
                  <a:pt x="1075" y="244"/>
                </a:cubicBezTo>
                <a:cubicBezTo>
                  <a:pt x="1076" y="244"/>
                  <a:pt x="1076" y="244"/>
                  <a:pt x="1076" y="244"/>
                </a:cubicBezTo>
                <a:cubicBezTo>
                  <a:pt x="1075" y="245"/>
                  <a:pt x="1075" y="245"/>
                  <a:pt x="1075" y="245"/>
                </a:cubicBezTo>
                <a:cubicBezTo>
                  <a:pt x="1076" y="246"/>
                  <a:pt x="1076" y="246"/>
                  <a:pt x="1076" y="246"/>
                </a:cubicBezTo>
                <a:close/>
                <a:moveTo>
                  <a:pt x="1070" y="280"/>
                </a:moveTo>
                <a:cubicBezTo>
                  <a:pt x="1070" y="281"/>
                  <a:pt x="1070" y="281"/>
                  <a:pt x="1070" y="281"/>
                </a:cubicBezTo>
                <a:cubicBezTo>
                  <a:pt x="1071" y="280"/>
                  <a:pt x="1071" y="280"/>
                  <a:pt x="1071" y="280"/>
                </a:cubicBezTo>
                <a:cubicBezTo>
                  <a:pt x="1070" y="280"/>
                  <a:pt x="1070" y="280"/>
                  <a:pt x="1070" y="280"/>
                </a:cubicBezTo>
                <a:close/>
                <a:moveTo>
                  <a:pt x="1078" y="235"/>
                </a:moveTo>
                <a:cubicBezTo>
                  <a:pt x="1078" y="234"/>
                  <a:pt x="1078" y="234"/>
                  <a:pt x="1078" y="234"/>
                </a:cubicBezTo>
                <a:cubicBezTo>
                  <a:pt x="1077" y="233"/>
                  <a:pt x="1077" y="233"/>
                  <a:pt x="1077" y="233"/>
                </a:cubicBezTo>
                <a:cubicBezTo>
                  <a:pt x="1076" y="234"/>
                  <a:pt x="1076" y="234"/>
                  <a:pt x="1076" y="234"/>
                </a:cubicBezTo>
                <a:cubicBezTo>
                  <a:pt x="1077" y="235"/>
                  <a:pt x="1077" y="235"/>
                  <a:pt x="1077" y="235"/>
                </a:cubicBezTo>
                <a:cubicBezTo>
                  <a:pt x="1078" y="235"/>
                  <a:pt x="1078" y="235"/>
                  <a:pt x="1078" y="235"/>
                </a:cubicBezTo>
                <a:close/>
                <a:moveTo>
                  <a:pt x="1083" y="257"/>
                </a:moveTo>
                <a:cubicBezTo>
                  <a:pt x="1082" y="257"/>
                  <a:pt x="1082" y="257"/>
                  <a:pt x="1082" y="257"/>
                </a:cubicBezTo>
                <a:cubicBezTo>
                  <a:pt x="1081" y="258"/>
                  <a:pt x="1081" y="258"/>
                  <a:pt x="1081" y="258"/>
                </a:cubicBezTo>
                <a:cubicBezTo>
                  <a:pt x="1083" y="259"/>
                  <a:pt x="1083" y="259"/>
                  <a:pt x="1083" y="259"/>
                </a:cubicBezTo>
                <a:cubicBezTo>
                  <a:pt x="1084" y="258"/>
                  <a:pt x="1084" y="258"/>
                  <a:pt x="1084" y="258"/>
                </a:cubicBezTo>
                <a:cubicBezTo>
                  <a:pt x="1085" y="258"/>
                  <a:pt x="1085" y="258"/>
                  <a:pt x="1085" y="258"/>
                </a:cubicBezTo>
                <a:cubicBezTo>
                  <a:pt x="1084" y="257"/>
                  <a:pt x="1084" y="257"/>
                  <a:pt x="1084" y="257"/>
                </a:cubicBezTo>
                <a:cubicBezTo>
                  <a:pt x="1083" y="257"/>
                  <a:pt x="1083" y="257"/>
                  <a:pt x="1083" y="257"/>
                </a:cubicBezTo>
                <a:close/>
                <a:moveTo>
                  <a:pt x="1085" y="259"/>
                </a:moveTo>
                <a:cubicBezTo>
                  <a:pt x="1086" y="259"/>
                  <a:pt x="1086" y="259"/>
                  <a:pt x="1086" y="259"/>
                </a:cubicBezTo>
                <a:cubicBezTo>
                  <a:pt x="1085" y="258"/>
                  <a:pt x="1085" y="258"/>
                  <a:pt x="1085" y="258"/>
                </a:cubicBezTo>
                <a:cubicBezTo>
                  <a:pt x="1084" y="259"/>
                  <a:pt x="1084" y="259"/>
                  <a:pt x="1084" y="259"/>
                </a:cubicBezTo>
                <a:cubicBezTo>
                  <a:pt x="1085" y="259"/>
                  <a:pt x="1085" y="259"/>
                  <a:pt x="1085" y="259"/>
                </a:cubicBezTo>
                <a:close/>
                <a:moveTo>
                  <a:pt x="1079" y="259"/>
                </a:moveTo>
                <a:cubicBezTo>
                  <a:pt x="1079" y="260"/>
                  <a:pt x="1079" y="260"/>
                  <a:pt x="1079" y="260"/>
                </a:cubicBezTo>
                <a:cubicBezTo>
                  <a:pt x="1080" y="260"/>
                  <a:pt x="1080" y="260"/>
                  <a:pt x="1080" y="260"/>
                </a:cubicBezTo>
                <a:cubicBezTo>
                  <a:pt x="1081" y="260"/>
                  <a:pt x="1081" y="260"/>
                  <a:pt x="1081" y="260"/>
                </a:cubicBezTo>
                <a:cubicBezTo>
                  <a:pt x="1081" y="259"/>
                  <a:pt x="1081" y="259"/>
                  <a:pt x="1081" y="259"/>
                </a:cubicBezTo>
                <a:cubicBezTo>
                  <a:pt x="1080" y="259"/>
                  <a:pt x="1080" y="259"/>
                  <a:pt x="1080" y="259"/>
                </a:cubicBezTo>
                <a:cubicBezTo>
                  <a:pt x="1079" y="259"/>
                  <a:pt x="1079" y="259"/>
                  <a:pt x="1079" y="259"/>
                </a:cubicBezTo>
                <a:close/>
                <a:moveTo>
                  <a:pt x="1217" y="265"/>
                </a:moveTo>
                <a:cubicBezTo>
                  <a:pt x="1218" y="266"/>
                  <a:pt x="1218" y="266"/>
                  <a:pt x="1218" y="266"/>
                </a:cubicBezTo>
                <a:cubicBezTo>
                  <a:pt x="1217" y="267"/>
                  <a:pt x="1217" y="267"/>
                  <a:pt x="1217" y="267"/>
                </a:cubicBezTo>
                <a:cubicBezTo>
                  <a:pt x="1216" y="267"/>
                  <a:pt x="1216" y="267"/>
                  <a:pt x="1216" y="267"/>
                </a:cubicBezTo>
                <a:cubicBezTo>
                  <a:pt x="1214" y="268"/>
                  <a:pt x="1214" y="268"/>
                  <a:pt x="1214" y="268"/>
                </a:cubicBezTo>
                <a:cubicBezTo>
                  <a:pt x="1213" y="269"/>
                  <a:pt x="1213" y="269"/>
                  <a:pt x="1213" y="269"/>
                </a:cubicBezTo>
                <a:cubicBezTo>
                  <a:pt x="1212" y="268"/>
                  <a:pt x="1212" y="268"/>
                  <a:pt x="1212" y="268"/>
                </a:cubicBezTo>
                <a:cubicBezTo>
                  <a:pt x="1211" y="269"/>
                  <a:pt x="1211" y="269"/>
                  <a:pt x="1211" y="269"/>
                </a:cubicBezTo>
                <a:cubicBezTo>
                  <a:pt x="1210" y="269"/>
                  <a:pt x="1210" y="269"/>
                  <a:pt x="1210" y="269"/>
                </a:cubicBezTo>
                <a:cubicBezTo>
                  <a:pt x="1209" y="269"/>
                  <a:pt x="1209" y="269"/>
                  <a:pt x="1209" y="269"/>
                </a:cubicBezTo>
                <a:cubicBezTo>
                  <a:pt x="1209" y="270"/>
                  <a:pt x="1209" y="270"/>
                  <a:pt x="1209" y="270"/>
                </a:cubicBezTo>
                <a:cubicBezTo>
                  <a:pt x="1208" y="270"/>
                  <a:pt x="1208" y="270"/>
                  <a:pt x="1208" y="270"/>
                </a:cubicBezTo>
                <a:cubicBezTo>
                  <a:pt x="1207" y="269"/>
                  <a:pt x="1207" y="269"/>
                  <a:pt x="1207" y="269"/>
                </a:cubicBezTo>
                <a:cubicBezTo>
                  <a:pt x="1206" y="271"/>
                  <a:pt x="1206" y="271"/>
                  <a:pt x="1206" y="271"/>
                </a:cubicBezTo>
                <a:cubicBezTo>
                  <a:pt x="1206" y="270"/>
                  <a:pt x="1206" y="270"/>
                  <a:pt x="1206" y="270"/>
                </a:cubicBezTo>
                <a:cubicBezTo>
                  <a:pt x="1205" y="270"/>
                  <a:pt x="1205" y="270"/>
                  <a:pt x="1205" y="270"/>
                </a:cubicBezTo>
                <a:cubicBezTo>
                  <a:pt x="1204" y="271"/>
                  <a:pt x="1204" y="271"/>
                  <a:pt x="1204" y="271"/>
                </a:cubicBezTo>
                <a:cubicBezTo>
                  <a:pt x="1203" y="271"/>
                  <a:pt x="1203" y="271"/>
                  <a:pt x="1203" y="271"/>
                </a:cubicBezTo>
                <a:cubicBezTo>
                  <a:pt x="1202" y="271"/>
                  <a:pt x="1202" y="271"/>
                  <a:pt x="1202" y="271"/>
                </a:cubicBezTo>
                <a:cubicBezTo>
                  <a:pt x="1201" y="271"/>
                  <a:pt x="1201" y="271"/>
                  <a:pt x="1201" y="271"/>
                </a:cubicBezTo>
                <a:cubicBezTo>
                  <a:pt x="1201" y="272"/>
                  <a:pt x="1201" y="272"/>
                  <a:pt x="1201" y="272"/>
                </a:cubicBezTo>
                <a:cubicBezTo>
                  <a:pt x="1200" y="272"/>
                  <a:pt x="1200" y="272"/>
                  <a:pt x="1200" y="272"/>
                </a:cubicBezTo>
                <a:cubicBezTo>
                  <a:pt x="1199" y="272"/>
                  <a:pt x="1199" y="272"/>
                  <a:pt x="1199" y="272"/>
                </a:cubicBezTo>
                <a:cubicBezTo>
                  <a:pt x="1199" y="273"/>
                  <a:pt x="1199" y="273"/>
                  <a:pt x="1199" y="273"/>
                </a:cubicBezTo>
                <a:cubicBezTo>
                  <a:pt x="1198" y="272"/>
                  <a:pt x="1198" y="272"/>
                  <a:pt x="1198" y="272"/>
                </a:cubicBezTo>
                <a:cubicBezTo>
                  <a:pt x="1198" y="273"/>
                  <a:pt x="1198" y="273"/>
                  <a:pt x="1198" y="273"/>
                </a:cubicBezTo>
                <a:cubicBezTo>
                  <a:pt x="1197" y="274"/>
                  <a:pt x="1197" y="274"/>
                  <a:pt x="1197" y="274"/>
                </a:cubicBezTo>
                <a:cubicBezTo>
                  <a:pt x="1196" y="274"/>
                  <a:pt x="1196" y="274"/>
                  <a:pt x="1196" y="274"/>
                </a:cubicBezTo>
                <a:cubicBezTo>
                  <a:pt x="1195" y="272"/>
                  <a:pt x="1195" y="272"/>
                  <a:pt x="1195" y="272"/>
                </a:cubicBezTo>
                <a:cubicBezTo>
                  <a:pt x="1194" y="272"/>
                  <a:pt x="1194" y="272"/>
                  <a:pt x="1194" y="272"/>
                </a:cubicBezTo>
                <a:cubicBezTo>
                  <a:pt x="1193" y="272"/>
                  <a:pt x="1193" y="272"/>
                  <a:pt x="1193" y="272"/>
                </a:cubicBezTo>
                <a:cubicBezTo>
                  <a:pt x="1193" y="273"/>
                  <a:pt x="1193" y="273"/>
                  <a:pt x="1193" y="273"/>
                </a:cubicBezTo>
                <a:cubicBezTo>
                  <a:pt x="1193" y="274"/>
                  <a:pt x="1193" y="274"/>
                  <a:pt x="1193" y="274"/>
                </a:cubicBezTo>
                <a:cubicBezTo>
                  <a:pt x="1192" y="274"/>
                  <a:pt x="1192" y="274"/>
                  <a:pt x="1192" y="274"/>
                </a:cubicBezTo>
                <a:cubicBezTo>
                  <a:pt x="1191" y="274"/>
                  <a:pt x="1191" y="274"/>
                  <a:pt x="1191" y="274"/>
                </a:cubicBezTo>
                <a:cubicBezTo>
                  <a:pt x="1190" y="274"/>
                  <a:pt x="1190" y="274"/>
                  <a:pt x="1190" y="274"/>
                </a:cubicBezTo>
                <a:cubicBezTo>
                  <a:pt x="1189" y="275"/>
                  <a:pt x="1189" y="275"/>
                  <a:pt x="1189" y="275"/>
                </a:cubicBezTo>
                <a:cubicBezTo>
                  <a:pt x="1189" y="274"/>
                  <a:pt x="1189" y="274"/>
                  <a:pt x="1189" y="274"/>
                </a:cubicBezTo>
                <a:cubicBezTo>
                  <a:pt x="1188" y="274"/>
                  <a:pt x="1188" y="274"/>
                  <a:pt x="1188" y="274"/>
                </a:cubicBezTo>
                <a:cubicBezTo>
                  <a:pt x="1187" y="274"/>
                  <a:pt x="1187" y="274"/>
                  <a:pt x="1187" y="274"/>
                </a:cubicBezTo>
                <a:cubicBezTo>
                  <a:pt x="1187" y="275"/>
                  <a:pt x="1187" y="275"/>
                  <a:pt x="1187" y="275"/>
                </a:cubicBezTo>
                <a:cubicBezTo>
                  <a:pt x="1186" y="275"/>
                  <a:pt x="1186" y="275"/>
                  <a:pt x="1186" y="275"/>
                </a:cubicBezTo>
                <a:cubicBezTo>
                  <a:pt x="1185" y="274"/>
                  <a:pt x="1185" y="274"/>
                  <a:pt x="1185" y="274"/>
                </a:cubicBezTo>
                <a:cubicBezTo>
                  <a:pt x="1185" y="273"/>
                  <a:pt x="1185" y="273"/>
                  <a:pt x="1185" y="273"/>
                </a:cubicBezTo>
                <a:cubicBezTo>
                  <a:pt x="1185" y="272"/>
                  <a:pt x="1185" y="272"/>
                  <a:pt x="1185" y="272"/>
                </a:cubicBezTo>
                <a:cubicBezTo>
                  <a:pt x="1184" y="272"/>
                  <a:pt x="1184" y="272"/>
                  <a:pt x="1184" y="272"/>
                </a:cubicBezTo>
                <a:cubicBezTo>
                  <a:pt x="1183" y="270"/>
                  <a:pt x="1183" y="270"/>
                  <a:pt x="1183" y="270"/>
                </a:cubicBezTo>
                <a:cubicBezTo>
                  <a:pt x="1183" y="269"/>
                  <a:pt x="1183" y="269"/>
                  <a:pt x="1183" y="269"/>
                </a:cubicBezTo>
                <a:cubicBezTo>
                  <a:pt x="1183" y="267"/>
                  <a:pt x="1183" y="267"/>
                  <a:pt x="1183" y="267"/>
                </a:cubicBezTo>
                <a:cubicBezTo>
                  <a:pt x="1182" y="267"/>
                  <a:pt x="1182" y="267"/>
                  <a:pt x="1182" y="267"/>
                </a:cubicBezTo>
                <a:cubicBezTo>
                  <a:pt x="1182" y="268"/>
                  <a:pt x="1182" y="268"/>
                  <a:pt x="1182" y="268"/>
                </a:cubicBezTo>
                <a:cubicBezTo>
                  <a:pt x="1182" y="269"/>
                  <a:pt x="1182" y="269"/>
                  <a:pt x="1182" y="269"/>
                </a:cubicBezTo>
                <a:cubicBezTo>
                  <a:pt x="1182" y="270"/>
                  <a:pt x="1182" y="270"/>
                  <a:pt x="1182" y="270"/>
                </a:cubicBezTo>
                <a:cubicBezTo>
                  <a:pt x="1183" y="270"/>
                  <a:pt x="1183" y="270"/>
                  <a:pt x="1183" y="270"/>
                </a:cubicBezTo>
                <a:cubicBezTo>
                  <a:pt x="1183" y="271"/>
                  <a:pt x="1183" y="271"/>
                  <a:pt x="1183" y="271"/>
                </a:cubicBezTo>
                <a:cubicBezTo>
                  <a:pt x="1183" y="272"/>
                  <a:pt x="1183" y="272"/>
                  <a:pt x="1183" y="272"/>
                </a:cubicBezTo>
                <a:cubicBezTo>
                  <a:pt x="1183" y="273"/>
                  <a:pt x="1183" y="273"/>
                  <a:pt x="1183" y="273"/>
                </a:cubicBezTo>
                <a:cubicBezTo>
                  <a:pt x="1184" y="273"/>
                  <a:pt x="1184" y="273"/>
                  <a:pt x="1184" y="273"/>
                </a:cubicBezTo>
                <a:cubicBezTo>
                  <a:pt x="1184" y="275"/>
                  <a:pt x="1184" y="275"/>
                  <a:pt x="1184" y="275"/>
                </a:cubicBezTo>
                <a:cubicBezTo>
                  <a:pt x="1184" y="276"/>
                  <a:pt x="1184" y="276"/>
                  <a:pt x="1184" y="276"/>
                </a:cubicBezTo>
                <a:cubicBezTo>
                  <a:pt x="1183" y="277"/>
                  <a:pt x="1183" y="277"/>
                  <a:pt x="1183" y="277"/>
                </a:cubicBezTo>
                <a:cubicBezTo>
                  <a:pt x="1182" y="277"/>
                  <a:pt x="1182" y="277"/>
                  <a:pt x="1182" y="277"/>
                </a:cubicBezTo>
                <a:cubicBezTo>
                  <a:pt x="1181" y="277"/>
                  <a:pt x="1181" y="277"/>
                  <a:pt x="1181" y="277"/>
                </a:cubicBezTo>
                <a:cubicBezTo>
                  <a:pt x="1180" y="279"/>
                  <a:pt x="1180" y="279"/>
                  <a:pt x="1180" y="279"/>
                </a:cubicBezTo>
                <a:cubicBezTo>
                  <a:pt x="1179" y="279"/>
                  <a:pt x="1179" y="279"/>
                  <a:pt x="1179" y="279"/>
                </a:cubicBezTo>
                <a:cubicBezTo>
                  <a:pt x="1178" y="279"/>
                  <a:pt x="1178" y="279"/>
                  <a:pt x="1178" y="279"/>
                </a:cubicBezTo>
                <a:cubicBezTo>
                  <a:pt x="1178" y="280"/>
                  <a:pt x="1178" y="280"/>
                  <a:pt x="1178" y="280"/>
                </a:cubicBezTo>
                <a:cubicBezTo>
                  <a:pt x="1177" y="281"/>
                  <a:pt x="1177" y="281"/>
                  <a:pt x="1177" y="281"/>
                </a:cubicBezTo>
                <a:cubicBezTo>
                  <a:pt x="1176" y="281"/>
                  <a:pt x="1176" y="281"/>
                  <a:pt x="1176" y="281"/>
                </a:cubicBezTo>
                <a:cubicBezTo>
                  <a:pt x="1176" y="282"/>
                  <a:pt x="1176" y="282"/>
                  <a:pt x="1176" y="282"/>
                </a:cubicBezTo>
                <a:cubicBezTo>
                  <a:pt x="1176" y="283"/>
                  <a:pt x="1176" y="283"/>
                  <a:pt x="1176" y="283"/>
                </a:cubicBezTo>
                <a:cubicBezTo>
                  <a:pt x="1176" y="284"/>
                  <a:pt x="1176" y="284"/>
                  <a:pt x="1176" y="284"/>
                </a:cubicBezTo>
                <a:cubicBezTo>
                  <a:pt x="1175" y="284"/>
                  <a:pt x="1175" y="284"/>
                  <a:pt x="1175" y="284"/>
                </a:cubicBezTo>
                <a:cubicBezTo>
                  <a:pt x="1175" y="283"/>
                  <a:pt x="1175" y="283"/>
                  <a:pt x="1175" y="283"/>
                </a:cubicBezTo>
                <a:cubicBezTo>
                  <a:pt x="1174" y="283"/>
                  <a:pt x="1174" y="283"/>
                  <a:pt x="1174" y="283"/>
                </a:cubicBezTo>
                <a:cubicBezTo>
                  <a:pt x="1174" y="284"/>
                  <a:pt x="1174" y="284"/>
                  <a:pt x="1174" y="284"/>
                </a:cubicBezTo>
                <a:cubicBezTo>
                  <a:pt x="1174" y="285"/>
                  <a:pt x="1174" y="285"/>
                  <a:pt x="1174" y="285"/>
                </a:cubicBezTo>
                <a:cubicBezTo>
                  <a:pt x="1173" y="286"/>
                  <a:pt x="1173" y="286"/>
                  <a:pt x="1173" y="286"/>
                </a:cubicBezTo>
                <a:cubicBezTo>
                  <a:pt x="1171" y="287"/>
                  <a:pt x="1171" y="287"/>
                  <a:pt x="1171" y="287"/>
                </a:cubicBezTo>
                <a:cubicBezTo>
                  <a:pt x="1171" y="288"/>
                  <a:pt x="1171" y="288"/>
                  <a:pt x="1171" y="288"/>
                </a:cubicBezTo>
                <a:cubicBezTo>
                  <a:pt x="1171" y="289"/>
                  <a:pt x="1171" y="289"/>
                  <a:pt x="1171" y="289"/>
                </a:cubicBezTo>
                <a:cubicBezTo>
                  <a:pt x="1171" y="290"/>
                  <a:pt x="1171" y="290"/>
                  <a:pt x="1171" y="290"/>
                </a:cubicBezTo>
                <a:cubicBezTo>
                  <a:pt x="1170" y="291"/>
                  <a:pt x="1170" y="291"/>
                  <a:pt x="1170" y="291"/>
                </a:cubicBezTo>
                <a:cubicBezTo>
                  <a:pt x="1169" y="291"/>
                  <a:pt x="1169" y="291"/>
                  <a:pt x="1169" y="291"/>
                </a:cubicBezTo>
                <a:cubicBezTo>
                  <a:pt x="1169" y="290"/>
                  <a:pt x="1169" y="290"/>
                  <a:pt x="1169" y="290"/>
                </a:cubicBezTo>
                <a:cubicBezTo>
                  <a:pt x="1168" y="291"/>
                  <a:pt x="1168" y="291"/>
                  <a:pt x="1168" y="291"/>
                </a:cubicBezTo>
                <a:cubicBezTo>
                  <a:pt x="1168" y="292"/>
                  <a:pt x="1168" y="292"/>
                  <a:pt x="1168" y="292"/>
                </a:cubicBezTo>
                <a:cubicBezTo>
                  <a:pt x="1166" y="294"/>
                  <a:pt x="1166" y="294"/>
                  <a:pt x="1166" y="294"/>
                </a:cubicBezTo>
                <a:cubicBezTo>
                  <a:pt x="1165" y="294"/>
                  <a:pt x="1165" y="294"/>
                  <a:pt x="1165" y="294"/>
                </a:cubicBezTo>
                <a:cubicBezTo>
                  <a:pt x="1165" y="293"/>
                  <a:pt x="1165" y="293"/>
                  <a:pt x="1165" y="293"/>
                </a:cubicBezTo>
                <a:cubicBezTo>
                  <a:pt x="1164" y="293"/>
                  <a:pt x="1164" y="293"/>
                  <a:pt x="1164" y="293"/>
                </a:cubicBezTo>
                <a:cubicBezTo>
                  <a:pt x="1163" y="293"/>
                  <a:pt x="1163" y="293"/>
                  <a:pt x="1163" y="293"/>
                </a:cubicBezTo>
                <a:cubicBezTo>
                  <a:pt x="1162" y="292"/>
                  <a:pt x="1162" y="292"/>
                  <a:pt x="1162" y="292"/>
                </a:cubicBezTo>
                <a:cubicBezTo>
                  <a:pt x="1162" y="293"/>
                  <a:pt x="1162" y="293"/>
                  <a:pt x="1162" y="293"/>
                </a:cubicBezTo>
                <a:cubicBezTo>
                  <a:pt x="1163" y="293"/>
                  <a:pt x="1163" y="293"/>
                  <a:pt x="1163" y="293"/>
                </a:cubicBezTo>
                <a:cubicBezTo>
                  <a:pt x="1163" y="294"/>
                  <a:pt x="1163" y="294"/>
                  <a:pt x="1163" y="294"/>
                </a:cubicBezTo>
                <a:cubicBezTo>
                  <a:pt x="1163" y="295"/>
                  <a:pt x="1163" y="295"/>
                  <a:pt x="1163" y="295"/>
                </a:cubicBezTo>
                <a:cubicBezTo>
                  <a:pt x="1162" y="295"/>
                  <a:pt x="1162" y="295"/>
                  <a:pt x="1162" y="295"/>
                </a:cubicBezTo>
                <a:cubicBezTo>
                  <a:pt x="1160" y="296"/>
                  <a:pt x="1160" y="296"/>
                  <a:pt x="1160" y="296"/>
                </a:cubicBezTo>
                <a:cubicBezTo>
                  <a:pt x="1159" y="297"/>
                  <a:pt x="1159" y="297"/>
                  <a:pt x="1159" y="297"/>
                </a:cubicBezTo>
                <a:cubicBezTo>
                  <a:pt x="1159" y="298"/>
                  <a:pt x="1159" y="298"/>
                  <a:pt x="1159" y="298"/>
                </a:cubicBezTo>
                <a:cubicBezTo>
                  <a:pt x="1158" y="297"/>
                  <a:pt x="1158" y="297"/>
                  <a:pt x="1158" y="297"/>
                </a:cubicBezTo>
                <a:cubicBezTo>
                  <a:pt x="1158" y="296"/>
                  <a:pt x="1158" y="296"/>
                  <a:pt x="1158" y="296"/>
                </a:cubicBezTo>
                <a:cubicBezTo>
                  <a:pt x="1157" y="296"/>
                  <a:pt x="1157" y="296"/>
                  <a:pt x="1157" y="296"/>
                </a:cubicBezTo>
                <a:cubicBezTo>
                  <a:pt x="1157" y="297"/>
                  <a:pt x="1157" y="297"/>
                  <a:pt x="1157" y="297"/>
                </a:cubicBezTo>
                <a:cubicBezTo>
                  <a:pt x="1157" y="298"/>
                  <a:pt x="1157" y="298"/>
                  <a:pt x="1157" y="298"/>
                </a:cubicBezTo>
                <a:cubicBezTo>
                  <a:pt x="1156" y="298"/>
                  <a:pt x="1156" y="298"/>
                  <a:pt x="1156" y="298"/>
                </a:cubicBezTo>
                <a:cubicBezTo>
                  <a:pt x="1155" y="298"/>
                  <a:pt x="1155" y="298"/>
                  <a:pt x="1155" y="298"/>
                </a:cubicBezTo>
                <a:cubicBezTo>
                  <a:pt x="1154" y="297"/>
                  <a:pt x="1154" y="297"/>
                  <a:pt x="1154" y="297"/>
                </a:cubicBezTo>
                <a:cubicBezTo>
                  <a:pt x="1154" y="296"/>
                  <a:pt x="1154" y="296"/>
                  <a:pt x="1154" y="296"/>
                </a:cubicBezTo>
                <a:cubicBezTo>
                  <a:pt x="1153" y="297"/>
                  <a:pt x="1153" y="297"/>
                  <a:pt x="1153" y="297"/>
                </a:cubicBezTo>
                <a:cubicBezTo>
                  <a:pt x="1153" y="298"/>
                  <a:pt x="1153" y="298"/>
                  <a:pt x="1153" y="298"/>
                </a:cubicBezTo>
                <a:cubicBezTo>
                  <a:pt x="1151" y="296"/>
                  <a:pt x="1151" y="296"/>
                  <a:pt x="1151" y="296"/>
                </a:cubicBezTo>
                <a:cubicBezTo>
                  <a:pt x="1151" y="295"/>
                  <a:pt x="1151" y="295"/>
                  <a:pt x="1151" y="295"/>
                </a:cubicBezTo>
                <a:cubicBezTo>
                  <a:pt x="1152" y="294"/>
                  <a:pt x="1152" y="294"/>
                  <a:pt x="1152" y="294"/>
                </a:cubicBezTo>
                <a:cubicBezTo>
                  <a:pt x="1152" y="293"/>
                  <a:pt x="1152" y="293"/>
                  <a:pt x="1152" y="293"/>
                </a:cubicBezTo>
                <a:cubicBezTo>
                  <a:pt x="1153" y="293"/>
                  <a:pt x="1153" y="293"/>
                  <a:pt x="1153" y="293"/>
                </a:cubicBezTo>
                <a:cubicBezTo>
                  <a:pt x="1153" y="292"/>
                  <a:pt x="1153" y="292"/>
                  <a:pt x="1153" y="292"/>
                </a:cubicBezTo>
                <a:cubicBezTo>
                  <a:pt x="1152" y="292"/>
                  <a:pt x="1152" y="292"/>
                  <a:pt x="1152" y="292"/>
                </a:cubicBezTo>
                <a:cubicBezTo>
                  <a:pt x="1151" y="291"/>
                  <a:pt x="1151" y="291"/>
                  <a:pt x="1151" y="291"/>
                </a:cubicBezTo>
                <a:cubicBezTo>
                  <a:pt x="1150" y="291"/>
                  <a:pt x="1150" y="291"/>
                  <a:pt x="1150" y="291"/>
                </a:cubicBezTo>
                <a:cubicBezTo>
                  <a:pt x="1150" y="292"/>
                  <a:pt x="1150" y="292"/>
                  <a:pt x="1150" y="292"/>
                </a:cubicBezTo>
                <a:cubicBezTo>
                  <a:pt x="1151" y="293"/>
                  <a:pt x="1151" y="293"/>
                  <a:pt x="1151" y="293"/>
                </a:cubicBezTo>
                <a:cubicBezTo>
                  <a:pt x="1150" y="294"/>
                  <a:pt x="1150" y="294"/>
                  <a:pt x="1150" y="294"/>
                </a:cubicBezTo>
                <a:cubicBezTo>
                  <a:pt x="1150" y="295"/>
                  <a:pt x="1150" y="295"/>
                  <a:pt x="1150" y="295"/>
                </a:cubicBezTo>
                <a:cubicBezTo>
                  <a:pt x="1149" y="296"/>
                  <a:pt x="1149" y="296"/>
                  <a:pt x="1149" y="296"/>
                </a:cubicBezTo>
                <a:cubicBezTo>
                  <a:pt x="1148" y="296"/>
                  <a:pt x="1148" y="296"/>
                  <a:pt x="1148" y="296"/>
                </a:cubicBezTo>
                <a:cubicBezTo>
                  <a:pt x="1148" y="295"/>
                  <a:pt x="1148" y="295"/>
                  <a:pt x="1148" y="295"/>
                </a:cubicBezTo>
                <a:cubicBezTo>
                  <a:pt x="1147" y="296"/>
                  <a:pt x="1147" y="296"/>
                  <a:pt x="1147" y="296"/>
                </a:cubicBezTo>
                <a:cubicBezTo>
                  <a:pt x="1148" y="298"/>
                  <a:pt x="1148" y="298"/>
                  <a:pt x="1148" y="298"/>
                </a:cubicBezTo>
                <a:cubicBezTo>
                  <a:pt x="1148" y="299"/>
                  <a:pt x="1148" y="299"/>
                  <a:pt x="1148" y="299"/>
                </a:cubicBezTo>
                <a:cubicBezTo>
                  <a:pt x="1148" y="300"/>
                  <a:pt x="1148" y="300"/>
                  <a:pt x="1148" y="300"/>
                </a:cubicBezTo>
                <a:cubicBezTo>
                  <a:pt x="1147" y="300"/>
                  <a:pt x="1147" y="300"/>
                  <a:pt x="1147" y="300"/>
                </a:cubicBezTo>
                <a:cubicBezTo>
                  <a:pt x="1146" y="300"/>
                  <a:pt x="1146" y="300"/>
                  <a:pt x="1146" y="300"/>
                </a:cubicBezTo>
                <a:cubicBezTo>
                  <a:pt x="1145" y="300"/>
                  <a:pt x="1145" y="300"/>
                  <a:pt x="1145" y="300"/>
                </a:cubicBezTo>
                <a:cubicBezTo>
                  <a:pt x="1145" y="301"/>
                  <a:pt x="1145" y="301"/>
                  <a:pt x="1145" y="301"/>
                </a:cubicBezTo>
                <a:cubicBezTo>
                  <a:pt x="1144" y="301"/>
                  <a:pt x="1144" y="301"/>
                  <a:pt x="1144" y="301"/>
                </a:cubicBezTo>
                <a:cubicBezTo>
                  <a:pt x="1143" y="301"/>
                  <a:pt x="1143" y="301"/>
                  <a:pt x="1143" y="301"/>
                </a:cubicBezTo>
                <a:cubicBezTo>
                  <a:pt x="1143" y="300"/>
                  <a:pt x="1143" y="300"/>
                  <a:pt x="1143" y="300"/>
                </a:cubicBezTo>
                <a:cubicBezTo>
                  <a:pt x="1142" y="299"/>
                  <a:pt x="1142" y="299"/>
                  <a:pt x="1142" y="299"/>
                </a:cubicBezTo>
                <a:cubicBezTo>
                  <a:pt x="1142" y="300"/>
                  <a:pt x="1142" y="300"/>
                  <a:pt x="1142" y="300"/>
                </a:cubicBezTo>
                <a:cubicBezTo>
                  <a:pt x="1141" y="301"/>
                  <a:pt x="1141" y="301"/>
                  <a:pt x="1141" y="301"/>
                </a:cubicBezTo>
                <a:cubicBezTo>
                  <a:pt x="1140" y="300"/>
                  <a:pt x="1140" y="300"/>
                  <a:pt x="1140" y="300"/>
                </a:cubicBezTo>
                <a:cubicBezTo>
                  <a:pt x="1140" y="299"/>
                  <a:pt x="1140" y="299"/>
                  <a:pt x="1140" y="299"/>
                </a:cubicBezTo>
                <a:cubicBezTo>
                  <a:pt x="1139" y="299"/>
                  <a:pt x="1139" y="299"/>
                  <a:pt x="1139" y="299"/>
                </a:cubicBezTo>
                <a:cubicBezTo>
                  <a:pt x="1139" y="300"/>
                  <a:pt x="1139" y="300"/>
                  <a:pt x="1139" y="300"/>
                </a:cubicBezTo>
                <a:cubicBezTo>
                  <a:pt x="1138" y="300"/>
                  <a:pt x="1138" y="300"/>
                  <a:pt x="1138" y="300"/>
                </a:cubicBezTo>
                <a:cubicBezTo>
                  <a:pt x="1138" y="301"/>
                  <a:pt x="1138" y="301"/>
                  <a:pt x="1138" y="301"/>
                </a:cubicBezTo>
                <a:cubicBezTo>
                  <a:pt x="1138" y="302"/>
                  <a:pt x="1138" y="302"/>
                  <a:pt x="1138" y="302"/>
                </a:cubicBezTo>
                <a:cubicBezTo>
                  <a:pt x="1138" y="303"/>
                  <a:pt x="1138" y="303"/>
                  <a:pt x="1138" y="303"/>
                </a:cubicBezTo>
                <a:cubicBezTo>
                  <a:pt x="1138" y="304"/>
                  <a:pt x="1138" y="304"/>
                  <a:pt x="1138" y="304"/>
                </a:cubicBezTo>
                <a:cubicBezTo>
                  <a:pt x="1137" y="306"/>
                  <a:pt x="1137" y="306"/>
                  <a:pt x="1137" y="306"/>
                </a:cubicBezTo>
                <a:cubicBezTo>
                  <a:pt x="1136" y="306"/>
                  <a:pt x="1136" y="306"/>
                  <a:pt x="1136" y="306"/>
                </a:cubicBezTo>
                <a:cubicBezTo>
                  <a:pt x="1135" y="305"/>
                  <a:pt x="1135" y="305"/>
                  <a:pt x="1135" y="305"/>
                </a:cubicBezTo>
                <a:cubicBezTo>
                  <a:pt x="1135" y="304"/>
                  <a:pt x="1135" y="304"/>
                  <a:pt x="1135" y="304"/>
                </a:cubicBezTo>
                <a:cubicBezTo>
                  <a:pt x="1134" y="304"/>
                  <a:pt x="1134" y="304"/>
                  <a:pt x="1134" y="304"/>
                </a:cubicBezTo>
                <a:cubicBezTo>
                  <a:pt x="1134" y="305"/>
                  <a:pt x="1134" y="305"/>
                  <a:pt x="1134" y="305"/>
                </a:cubicBezTo>
                <a:cubicBezTo>
                  <a:pt x="1133" y="304"/>
                  <a:pt x="1133" y="304"/>
                  <a:pt x="1133" y="304"/>
                </a:cubicBezTo>
                <a:cubicBezTo>
                  <a:pt x="1133" y="303"/>
                  <a:pt x="1133" y="303"/>
                  <a:pt x="1133" y="303"/>
                </a:cubicBezTo>
                <a:cubicBezTo>
                  <a:pt x="1132" y="303"/>
                  <a:pt x="1132" y="303"/>
                  <a:pt x="1132" y="303"/>
                </a:cubicBezTo>
                <a:cubicBezTo>
                  <a:pt x="1132" y="304"/>
                  <a:pt x="1132" y="304"/>
                  <a:pt x="1132" y="304"/>
                </a:cubicBezTo>
                <a:cubicBezTo>
                  <a:pt x="1132" y="305"/>
                  <a:pt x="1132" y="305"/>
                  <a:pt x="1132" y="305"/>
                </a:cubicBezTo>
                <a:cubicBezTo>
                  <a:pt x="1132" y="306"/>
                  <a:pt x="1132" y="306"/>
                  <a:pt x="1132" y="306"/>
                </a:cubicBezTo>
                <a:cubicBezTo>
                  <a:pt x="1132" y="307"/>
                  <a:pt x="1132" y="307"/>
                  <a:pt x="1132" y="307"/>
                </a:cubicBezTo>
                <a:cubicBezTo>
                  <a:pt x="1133" y="308"/>
                  <a:pt x="1133" y="308"/>
                  <a:pt x="1133" y="308"/>
                </a:cubicBezTo>
                <a:cubicBezTo>
                  <a:pt x="1133" y="309"/>
                  <a:pt x="1133" y="309"/>
                  <a:pt x="1133" y="309"/>
                </a:cubicBezTo>
                <a:cubicBezTo>
                  <a:pt x="1133" y="311"/>
                  <a:pt x="1133" y="311"/>
                  <a:pt x="1133" y="311"/>
                </a:cubicBezTo>
                <a:cubicBezTo>
                  <a:pt x="1133" y="312"/>
                  <a:pt x="1133" y="312"/>
                  <a:pt x="1133" y="312"/>
                </a:cubicBezTo>
                <a:cubicBezTo>
                  <a:pt x="1132" y="311"/>
                  <a:pt x="1132" y="311"/>
                  <a:pt x="1132" y="311"/>
                </a:cubicBezTo>
                <a:cubicBezTo>
                  <a:pt x="1132" y="312"/>
                  <a:pt x="1132" y="312"/>
                  <a:pt x="1132" y="312"/>
                </a:cubicBezTo>
                <a:cubicBezTo>
                  <a:pt x="1131" y="312"/>
                  <a:pt x="1131" y="312"/>
                  <a:pt x="1131" y="312"/>
                </a:cubicBezTo>
                <a:cubicBezTo>
                  <a:pt x="1129" y="312"/>
                  <a:pt x="1129" y="312"/>
                  <a:pt x="1129" y="312"/>
                </a:cubicBezTo>
                <a:cubicBezTo>
                  <a:pt x="1128" y="312"/>
                  <a:pt x="1128" y="312"/>
                  <a:pt x="1128" y="312"/>
                </a:cubicBezTo>
                <a:cubicBezTo>
                  <a:pt x="1128" y="313"/>
                  <a:pt x="1128" y="313"/>
                  <a:pt x="1128" y="313"/>
                </a:cubicBezTo>
                <a:cubicBezTo>
                  <a:pt x="1129" y="314"/>
                  <a:pt x="1129" y="314"/>
                  <a:pt x="1129" y="314"/>
                </a:cubicBezTo>
                <a:cubicBezTo>
                  <a:pt x="1130" y="314"/>
                  <a:pt x="1130" y="314"/>
                  <a:pt x="1130" y="314"/>
                </a:cubicBezTo>
                <a:cubicBezTo>
                  <a:pt x="1131" y="314"/>
                  <a:pt x="1131" y="314"/>
                  <a:pt x="1131" y="314"/>
                </a:cubicBezTo>
                <a:cubicBezTo>
                  <a:pt x="1131" y="315"/>
                  <a:pt x="1131" y="315"/>
                  <a:pt x="1131" y="315"/>
                </a:cubicBezTo>
                <a:cubicBezTo>
                  <a:pt x="1132" y="315"/>
                  <a:pt x="1132" y="315"/>
                  <a:pt x="1132" y="315"/>
                </a:cubicBezTo>
                <a:cubicBezTo>
                  <a:pt x="1133" y="315"/>
                  <a:pt x="1133" y="315"/>
                  <a:pt x="1133" y="315"/>
                </a:cubicBezTo>
                <a:cubicBezTo>
                  <a:pt x="1132" y="316"/>
                  <a:pt x="1132" y="316"/>
                  <a:pt x="1132" y="316"/>
                </a:cubicBezTo>
                <a:cubicBezTo>
                  <a:pt x="1131" y="316"/>
                  <a:pt x="1131" y="316"/>
                  <a:pt x="1131" y="316"/>
                </a:cubicBezTo>
                <a:cubicBezTo>
                  <a:pt x="1131" y="317"/>
                  <a:pt x="1131" y="317"/>
                  <a:pt x="1131" y="317"/>
                </a:cubicBezTo>
                <a:cubicBezTo>
                  <a:pt x="1132" y="317"/>
                  <a:pt x="1132" y="317"/>
                  <a:pt x="1132" y="317"/>
                </a:cubicBezTo>
                <a:cubicBezTo>
                  <a:pt x="1132" y="318"/>
                  <a:pt x="1132" y="318"/>
                  <a:pt x="1132" y="318"/>
                </a:cubicBezTo>
                <a:cubicBezTo>
                  <a:pt x="1132" y="319"/>
                  <a:pt x="1132" y="319"/>
                  <a:pt x="1132" y="319"/>
                </a:cubicBezTo>
                <a:cubicBezTo>
                  <a:pt x="1131" y="320"/>
                  <a:pt x="1131" y="320"/>
                  <a:pt x="1131" y="320"/>
                </a:cubicBezTo>
                <a:cubicBezTo>
                  <a:pt x="1130" y="319"/>
                  <a:pt x="1130" y="319"/>
                  <a:pt x="1130" y="319"/>
                </a:cubicBezTo>
                <a:cubicBezTo>
                  <a:pt x="1129" y="318"/>
                  <a:pt x="1129" y="318"/>
                  <a:pt x="1129" y="318"/>
                </a:cubicBezTo>
                <a:cubicBezTo>
                  <a:pt x="1128" y="318"/>
                  <a:pt x="1128" y="318"/>
                  <a:pt x="1128" y="318"/>
                </a:cubicBezTo>
                <a:cubicBezTo>
                  <a:pt x="1128" y="317"/>
                  <a:pt x="1128" y="317"/>
                  <a:pt x="1128" y="317"/>
                </a:cubicBezTo>
                <a:cubicBezTo>
                  <a:pt x="1127" y="317"/>
                  <a:pt x="1127" y="317"/>
                  <a:pt x="1127" y="317"/>
                </a:cubicBezTo>
                <a:cubicBezTo>
                  <a:pt x="1127" y="318"/>
                  <a:pt x="1127" y="318"/>
                  <a:pt x="1127" y="318"/>
                </a:cubicBezTo>
                <a:cubicBezTo>
                  <a:pt x="1128" y="319"/>
                  <a:pt x="1128" y="319"/>
                  <a:pt x="1128" y="319"/>
                </a:cubicBezTo>
                <a:cubicBezTo>
                  <a:pt x="1129" y="319"/>
                  <a:pt x="1129" y="319"/>
                  <a:pt x="1129" y="319"/>
                </a:cubicBezTo>
                <a:cubicBezTo>
                  <a:pt x="1130" y="320"/>
                  <a:pt x="1130" y="320"/>
                  <a:pt x="1130" y="320"/>
                </a:cubicBezTo>
                <a:cubicBezTo>
                  <a:pt x="1131" y="320"/>
                  <a:pt x="1131" y="320"/>
                  <a:pt x="1131" y="320"/>
                </a:cubicBezTo>
                <a:cubicBezTo>
                  <a:pt x="1131" y="321"/>
                  <a:pt x="1131" y="321"/>
                  <a:pt x="1131" y="321"/>
                </a:cubicBezTo>
                <a:cubicBezTo>
                  <a:pt x="1130" y="322"/>
                  <a:pt x="1130" y="322"/>
                  <a:pt x="1130" y="322"/>
                </a:cubicBezTo>
                <a:cubicBezTo>
                  <a:pt x="1129" y="322"/>
                  <a:pt x="1129" y="322"/>
                  <a:pt x="1129" y="322"/>
                </a:cubicBezTo>
                <a:cubicBezTo>
                  <a:pt x="1128" y="322"/>
                  <a:pt x="1128" y="322"/>
                  <a:pt x="1128" y="322"/>
                </a:cubicBezTo>
                <a:cubicBezTo>
                  <a:pt x="1126" y="321"/>
                  <a:pt x="1126" y="321"/>
                  <a:pt x="1126" y="321"/>
                </a:cubicBezTo>
                <a:cubicBezTo>
                  <a:pt x="1126" y="320"/>
                  <a:pt x="1126" y="320"/>
                  <a:pt x="1126" y="320"/>
                </a:cubicBezTo>
                <a:cubicBezTo>
                  <a:pt x="1125" y="320"/>
                  <a:pt x="1125" y="320"/>
                  <a:pt x="1125" y="320"/>
                </a:cubicBezTo>
                <a:cubicBezTo>
                  <a:pt x="1125" y="321"/>
                  <a:pt x="1125" y="321"/>
                  <a:pt x="1125" y="321"/>
                </a:cubicBezTo>
                <a:cubicBezTo>
                  <a:pt x="1125" y="321"/>
                  <a:pt x="1125" y="321"/>
                  <a:pt x="1126" y="321"/>
                </a:cubicBezTo>
                <a:cubicBezTo>
                  <a:pt x="1126" y="321"/>
                  <a:pt x="1126" y="321"/>
                  <a:pt x="1126" y="322"/>
                </a:cubicBezTo>
                <a:cubicBezTo>
                  <a:pt x="1126" y="322"/>
                  <a:pt x="1126" y="322"/>
                  <a:pt x="1128" y="323"/>
                </a:cubicBezTo>
                <a:cubicBezTo>
                  <a:pt x="1128" y="323"/>
                  <a:pt x="1128" y="323"/>
                  <a:pt x="1127" y="323"/>
                </a:cubicBezTo>
                <a:cubicBezTo>
                  <a:pt x="1127" y="324"/>
                  <a:pt x="1127" y="324"/>
                  <a:pt x="1127" y="324"/>
                </a:cubicBezTo>
                <a:cubicBezTo>
                  <a:pt x="1127" y="325"/>
                  <a:pt x="1127" y="325"/>
                  <a:pt x="1127" y="325"/>
                </a:cubicBezTo>
                <a:cubicBezTo>
                  <a:pt x="1126" y="324"/>
                  <a:pt x="1126" y="324"/>
                  <a:pt x="1126" y="324"/>
                </a:cubicBezTo>
                <a:cubicBezTo>
                  <a:pt x="1125" y="324"/>
                  <a:pt x="1125" y="324"/>
                  <a:pt x="1125" y="324"/>
                </a:cubicBezTo>
                <a:cubicBezTo>
                  <a:pt x="1124" y="323"/>
                  <a:pt x="1124" y="323"/>
                  <a:pt x="1124" y="323"/>
                </a:cubicBezTo>
                <a:cubicBezTo>
                  <a:pt x="1123" y="323"/>
                  <a:pt x="1123" y="323"/>
                  <a:pt x="1123" y="323"/>
                </a:cubicBezTo>
                <a:cubicBezTo>
                  <a:pt x="1123" y="324"/>
                  <a:pt x="1123" y="324"/>
                  <a:pt x="1123" y="324"/>
                </a:cubicBezTo>
                <a:cubicBezTo>
                  <a:pt x="1122" y="324"/>
                  <a:pt x="1122" y="324"/>
                  <a:pt x="1122" y="324"/>
                </a:cubicBezTo>
                <a:cubicBezTo>
                  <a:pt x="1122" y="325"/>
                  <a:pt x="1122" y="325"/>
                  <a:pt x="1122" y="325"/>
                </a:cubicBezTo>
                <a:cubicBezTo>
                  <a:pt x="1122" y="326"/>
                  <a:pt x="1122" y="326"/>
                  <a:pt x="1122" y="326"/>
                </a:cubicBezTo>
                <a:cubicBezTo>
                  <a:pt x="1122" y="327"/>
                  <a:pt x="1122" y="327"/>
                  <a:pt x="1122" y="327"/>
                </a:cubicBezTo>
                <a:cubicBezTo>
                  <a:pt x="1123" y="327"/>
                  <a:pt x="1123" y="327"/>
                  <a:pt x="1123" y="327"/>
                </a:cubicBezTo>
                <a:cubicBezTo>
                  <a:pt x="1124" y="327"/>
                  <a:pt x="1124" y="327"/>
                  <a:pt x="1124" y="327"/>
                </a:cubicBezTo>
                <a:cubicBezTo>
                  <a:pt x="1125" y="327"/>
                  <a:pt x="1125" y="327"/>
                  <a:pt x="1125" y="327"/>
                </a:cubicBezTo>
                <a:cubicBezTo>
                  <a:pt x="1125" y="328"/>
                  <a:pt x="1125" y="328"/>
                  <a:pt x="1125" y="328"/>
                </a:cubicBezTo>
                <a:cubicBezTo>
                  <a:pt x="1125" y="329"/>
                  <a:pt x="1125" y="329"/>
                  <a:pt x="1125" y="329"/>
                </a:cubicBezTo>
                <a:cubicBezTo>
                  <a:pt x="1124" y="329"/>
                  <a:pt x="1124" y="329"/>
                  <a:pt x="1124" y="329"/>
                </a:cubicBezTo>
                <a:cubicBezTo>
                  <a:pt x="1123" y="330"/>
                  <a:pt x="1123" y="330"/>
                  <a:pt x="1123" y="330"/>
                </a:cubicBezTo>
                <a:cubicBezTo>
                  <a:pt x="1123" y="329"/>
                  <a:pt x="1123" y="329"/>
                  <a:pt x="1123" y="329"/>
                </a:cubicBezTo>
                <a:cubicBezTo>
                  <a:pt x="1122" y="329"/>
                  <a:pt x="1122" y="329"/>
                  <a:pt x="1122" y="329"/>
                </a:cubicBezTo>
                <a:cubicBezTo>
                  <a:pt x="1121" y="329"/>
                  <a:pt x="1121" y="329"/>
                  <a:pt x="1121" y="329"/>
                </a:cubicBezTo>
                <a:cubicBezTo>
                  <a:pt x="1121" y="328"/>
                  <a:pt x="1121" y="328"/>
                  <a:pt x="1121" y="328"/>
                </a:cubicBezTo>
                <a:cubicBezTo>
                  <a:pt x="1120" y="327"/>
                  <a:pt x="1120" y="327"/>
                  <a:pt x="1120" y="327"/>
                </a:cubicBezTo>
                <a:cubicBezTo>
                  <a:pt x="1120" y="328"/>
                  <a:pt x="1120" y="328"/>
                  <a:pt x="1120" y="328"/>
                </a:cubicBezTo>
                <a:cubicBezTo>
                  <a:pt x="1120" y="329"/>
                  <a:pt x="1120" y="329"/>
                  <a:pt x="1120" y="329"/>
                </a:cubicBezTo>
                <a:cubicBezTo>
                  <a:pt x="1119" y="330"/>
                  <a:pt x="1119" y="330"/>
                  <a:pt x="1119" y="330"/>
                </a:cubicBezTo>
                <a:cubicBezTo>
                  <a:pt x="1118" y="330"/>
                  <a:pt x="1118" y="330"/>
                  <a:pt x="1118" y="330"/>
                </a:cubicBezTo>
                <a:cubicBezTo>
                  <a:pt x="1118" y="329"/>
                  <a:pt x="1118" y="329"/>
                  <a:pt x="1118" y="329"/>
                </a:cubicBezTo>
                <a:cubicBezTo>
                  <a:pt x="1117" y="329"/>
                  <a:pt x="1117" y="329"/>
                  <a:pt x="1117" y="329"/>
                </a:cubicBezTo>
                <a:cubicBezTo>
                  <a:pt x="1117" y="330"/>
                  <a:pt x="1117" y="330"/>
                  <a:pt x="1117" y="330"/>
                </a:cubicBezTo>
                <a:cubicBezTo>
                  <a:pt x="1119" y="331"/>
                  <a:pt x="1119" y="331"/>
                  <a:pt x="1119" y="331"/>
                </a:cubicBezTo>
                <a:cubicBezTo>
                  <a:pt x="1120" y="331"/>
                  <a:pt x="1120" y="331"/>
                  <a:pt x="1120" y="331"/>
                </a:cubicBezTo>
                <a:cubicBezTo>
                  <a:pt x="1121" y="332"/>
                  <a:pt x="1121" y="332"/>
                  <a:pt x="1121" y="332"/>
                </a:cubicBezTo>
                <a:cubicBezTo>
                  <a:pt x="1121" y="334"/>
                  <a:pt x="1121" y="334"/>
                  <a:pt x="1121" y="334"/>
                </a:cubicBezTo>
                <a:cubicBezTo>
                  <a:pt x="1120" y="334"/>
                  <a:pt x="1120" y="334"/>
                  <a:pt x="1120" y="334"/>
                </a:cubicBezTo>
                <a:cubicBezTo>
                  <a:pt x="1119" y="333"/>
                  <a:pt x="1119" y="333"/>
                  <a:pt x="1119" y="333"/>
                </a:cubicBezTo>
                <a:cubicBezTo>
                  <a:pt x="1118" y="332"/>
                  <a:pt x="1118" y="332"/>
                  <a:pt x="1118" y="332"/>
                </a:cubicBezTo>
                <a:cubicBezTo>
                  <a:pt x="1117" y="332"/>
                  <a:pt x="1117" y="332"/>
                  <a:pt x="1117" y="332"/>
                </a:cubicBezTo>
                <a:cubicBezTo>
                  <a:pt x="1116" y="332"/>
                  <a:pt x="1116" y="332"/>
                  <a:pt x="1116" y="332"/>
                </a:cubicBezTo>
                <a:cubicBezTo>
                  <a:pt x="1117" y="333"/>
                  <a:pt x="1117" y="333"/>
                  <a:pt x="1117" y="333"/>
                </a:cubicBezTo>
                <a:cubicBezTo>
                  <a:pt x="1118" y="333"/>
                  <a:pt x="1118" y="333"/>
                  <a:pt x="1118" y="333"/>
                </a:cubicBezTo>
                <a:cubicBezTo>
                  <a:pt x="1119" y="334"/>
                  <a:pt x="1119" y="334"/>
                  <a:pt x="1119" y="334"/>
                </a:cubicBezTo>
                <a:cubicBezTo>
                  <a:pt x="1120" y="335"/>
                  <a:pt x="1120" y="335"/>
                  <a:pt x="1120" y="335"/>
                </a:cubicBezTo>
                <a:cubicBezTo>
                  <a:pt x="1120" y="336"/>
                  <a:pt x="1120" y="336"/>
                  <a:pt x="1120" y="336"/>
                </a:cubicBezTo>
                <a:cubicBezTo>
                  <a:pt x="1120" y="337"/>
                  <a:pt x="1120" y="337"/>
                  <a:pt x="1120" y="337"/>
                </a:cubicBezTo>
                <a:cubicBezTo>
                  <a:pt x="1120" y="338"/>
                  <a:pt x="1120" y="338"/>
                  <a:pt x="1120" y="338"/>
                </a:cubicBezTo>
                <a:cubicBezTo>
                  <a:pt x="1119" y="338"/>
                  <a:pt x="1119" y="338"/>
                  <a:pt x="1119" y="338"/>
                </a:cubicBezTo>
                <a:cubicBezTo>
                  <a:pt x="1119" y="339"/>
                  <a:pt x="1119" y="339"/>
                  <a:pt x="1119" y="339"/>
                </a:cubicBezTo>
                <a:cubicBezTo>
                  <a:pt x="1119" y="340"/>
                  <a:pt x="1119" y="340"/>
                  <a:pt x="1119" y="340"/>
                </a:cubicBezTo>
                <a:cubicBezTo>
                  <a:pt x="1118" y="340"/>
                  <a:pt x="1118" y="340"/>
                  <a:pt x="1118" y="340"/>
                </a:cubicBezTo>
                <a:cubicBezTo>
                  <a:pt x="1118" y="339"/>
                  <a:pt x="1118" y="339"/>
                  <a:pt x="1118" y="339"/>
                </a:cubicBezTo>
                <a:cubicBezTo>
                  <a:pt x="1117" y="339"/>
                  <a:pt x="1117" y="339"/>
                  <a:pt x="1117" y="339"/>
                </a:cubicBezTo>
                <a:cubicBezTo>
                  <a:pt x="1116" y="339"/>
                  <a:pt x="1116" y="339"/>
                  <a:pt x="1116" y="339"/>
                </a:cubicBezTo>
                <a:cubicBezTo>
                  <a:pt x="1117" y="340"/>
                  <a:pt x="1117" y="340"/>
                  <a:pt x="1117" y="340"/>
                </a:cubicBezTo>
                <a:cubicBezTo>
                  <a:pt x="1118" y="340"/>
                  <a:pt x="1118" y="340"/>
                  <a:pt x="1118" y="340"/>
                </a:cubicBezTo>
                <a:cubicBezTo>
                  <a:pt x="1117" y="341"/>
                  <a:pt x="1117" y="341"/>
                  <a:pt x="1117" y="341"/>
                </a:cubicBezTo>
                <a:cubicBezTo>
                  <a:pt x="1116" y="341"/>
                  <a:pt x="1116" y="341"/>
                  <a:pt x="1116" y="341"/>
                </a:cubicBezTo>
                <a:cubicBezTo>
                  <a:pt x="1116" y="342"/>
                  <a:pt x="1116" y="342"/>
                  <a:pt x="1116" y="342"/>
                </a:cubicBezTo>
                <a:cubicBezTo>
                  <a:pt x="1117" y="342"/>
                  <a:pt x="1117" y="342"/>
                  <a:pt x="1117" y="342"/>
                </a:cubicBezTo>
                <a:cubicBezTo>
                  <a:pt x="1116" y="343"/>
                  <a:pt x="1116" y="343"/>
                  <a:pt x="1116" y="343"/>
                </a:cubicBezTo>
                <a:cubicBezTo>
                  <a:pt x="1115" y="343"/>
                  <a:pt x="1115" y="343"/>
                  <a:pt x="1115" y="343"/>
                </a:cubicBezTo>
                <a:cubicBezTo>
                  <a:pt x="1114" y="343"/>
                  <a:pt x="1114" y="343"/>
                  <a:pt x="1114" y="343"/>
                </a:cubicBezTo>
                <a:cubicBezTo>
                  <a:pt x="1115" y="344"/>
                  <a:pt x="1115" y="344"/>
                  <a:pt x="1115" y="344"/>
                </a:cubicBezTo>
                <a:cubicBezTo>
                  <a:pt x="1116" y="344"/>
                  <a:pt x="1116" y="344"/>
                  <a:pt x="1116" y="344"/>
                </a:cubicBezTo>
                <a:cubicBezTo>
                  <a:pt x="1115" y="345"/>
                  <a:pt x="1115" y="345"/>
                  <a:pt x="1115" y="345"/>
                </a:cubicBezTo>
                <a:cubicBezTo>
                  <a:pt x="1113" y="345"/>
                  <a:pt x="1113" y="345"/>
                  <a:pt x="1113" y="345"/>
                </a:cubicBezTo>
                <a:cubicBezTo>
                  <a:pt x="1112" y="345"/>
                  <a:pt x="1112" y="345"/>
                  <a:pt x="1112" y="345"/>
                </a:cubicBezTo>
                <a:cubicBezTo>
                  <a:pt x="1113" y="346"/>
                  <a:pt x="1113" y="346"/>
                  <a:pt x="1113" y="346"/>
                </a:cubicBezTo>
                <a:cubicBezTo>
                  <a:pt x="1115" y="346"/>
                  <a:pt x="1115" y="346"/>
                  <a:pt x="1115" y="346"/>
                </a:cubicBezTo>
                <a:cubicBezTo>
                  <a:pt x="1116" y="346"/>
                  <a:pt x="1116" y="346"/>
                  <a:pt x="1116" y="346"/>
                </a:cubicBezTo>
                <a:cubicBezTo>
                  <a:pt x="1116" y="347"/>
                  <a:pt x="1116" y="347"/>
                  <a:pt x="1116" y="347"/>
                </a:cubicBezTo>
                <a:cubicBezTo>
                  <a:pt x="1115" y="348"/>
                  <a:pt x="1115" y="348"/>
                  <a:pt x="1115" y="348"/>
                </a:cubicBezTo>
                <a:cubicBezTo>
                  <a:pt x="1114" y="348"/>
                  <a:pt x="1114" y="348"/>
                  <a:pt x="1114" y="348"/>
                </a:cubicBezTo>
                <a:cubicBezTo>
                  <a:pt x="1113" y="348"/>
                  <a:pt x="1113" y="348"/>
                  <a:pt x="1113" y="348"/>
                </a:cubicBezTo>
                <a:cubicBezTo>
                  <a:pt x="1113" y="349"/>
                  <a:pt x="1113" y="349"/>
                  <a:pt x="1113" y="349"/>
                </a:cubicBezTo>
                <a:cubicBezTo>
                  <a:pt x="1112" y="349"/>
                  <a:pt x="1112" y="349"/>
                  <a:pt x="1112" y="349"/>
                </a:cubicBezTo>
                <a:cubicBezTo>
                  <a:pt x="1113" y="350"/>
                  <a:pt x="1113" y="350"/>
                  <a:pt x="1113" y="350"/>
                </a:cubicBezTo>
                <a:cubicBezTo>
                  <a:pt x="1114" y="350"/>
                  <a:pt x="1114" y="350"/>
                  <a:pt x="1114" y="350"/>
                </a:cubicBezTo>
                <a:cubicBezTo>
                  <a:pt x="1114" y="351"/>
                  <a:pt x="1114" y="351"/>
                  <a:pt x="1114" y="351"/>
                </a:cubicBezTo>
                <a:cubicBezTo>
                  <a:pt x="1113" y="351"/>
                  <a:pt x="1113" y="351"/>
                  <a:pt x="1113" y="351"/>
                </a:cubicBezTo>
                <a:cubicBezTo>
                  <a:pt x="1112" y="351"/>
                  <a:pt x="1112" y="351"/>
                  <a:pt x="1112" y="351"/>
                </a:cubicBezTo>
                <a:cubicBezTo>
                  <a:pt x="1113" y="352"/>
                  <a:pt x="1113" y="352"/>
                  <a:pt x="1113" y="352"/>
                </a:cubicBezTo>
                <a:cubicBezTo>
                  <a:pt x="1114" y="351"/>
                  <a:pt x="1114" y="351"/>
                  <a:pt x="1114" y="351"/>
                </a:cubicBezTo>
                <a:cubicBezTo>
                  <a:pt x="1115" y="352"/>
                  <a:pt x="1115" y="352"/>
                  <a:pt x="1115" y="352"/>
                </a:cubicBezTo>
                <a:cubicBezTo>
                  <a:pt x="1114" y="352"/>
                  <a:pt x="1114" y="352"/>
                  <a:pt x="1114" y="352"/>
                </a:cubicBezTo>
                <a:cubicBezTo>
                  <a:pt x="1114" y="353"/>
                  <a:pt x="1114" y="353"/>
                  <a:pt x="1114" y="353"/>
                </a:cubicBezTo>
                <a:cubicBezTo>
                  <a:pt x="1113" y="353"/>
                  <a:pt x="1113" y="353"/>
                  <a:pt x="1113" y="353"/>
                </a:cubicBezTo>
                <a:cubicBezTo>
                  <a:pt x="1112" y="353"/>
                  <a:pt x="1112" y="353"/>
                  <a:pt x="1112" y="353"/>
                </a:cubicBezTo>
                <a:cubicBezTo>
                  <a:pt x="1111" y="352"/>
                  <a:pt x="1111" y="352"/>
                  <a:pt x="1111" y="352"/>
                </a:cubicBezTo>
                <a:cubicBezTo>
                  <a:pt x="1110" y="352"/>
                  <a:pt x="1110" y="352"/>
                  <a:pt x="1110" y="352"/>
                </a:cubicBezTo>
                <a:cubicBezTo>
                  <a:pt x="1110" y="351"/>
                  <a:pt x="1110" y="351"/>
                  <a:pt x="1110" y="351"/>
                </a:cubicBezTo>
                <a:cubicBezTo>
                  <a:pt x="1109" y="351"/>
                  <a:pt x="1109" y="351"/>
                  <a:pt x="1109" y="351"/>
                </a:cubicBezTo>
                <a:cubicBezTo>
                  <a:pt x="1108" y="351"/>
                  <a:pt x="1108" y="351"/>
                  <a:pt x="1108" y="351"/>
                </a:cubicBezTo>
                <a:cubicBezTo>
                  <a:pt x="1108" y="352"/>
                  <a:pt x="1108" y="352"/>
                  <a:pt x="1108" y="352"/>
                </a:cubicBezTo>
                <a:cubicBezTo>
                  <a:pt x="1110" y="353"/>
                  <a:pt x="1110" y="353"/>
                  <a:pt x="1110" y="353"/>
                </a:cubicBezTo>
                <a:cubicBezTo>
                  <a:pt x="1111" y="353"/>
                  <a:pt x="1111" y="353"/>
                  <a:pt x="1111" y="353"/>
                </a:cubicBezTo>
                <a:cubicBezTo>
                  <a:pt x="1111" y="354"/>
                  <a:pt x="1111" y="354"/>
                  <a:pt x="1111" y="354"/>
                </a:cubicBezTo>
                <a:cubicBezTo>
                  <a:pt x="1111" y="355"/>
                  <a:pt x="1111" y="355"/>
                  <a:pt x="1111" y="355"/>
                </a:cubicBezTo>
                <a:cubicBezTo>
                  <a:pt x="1112" y="355"/>
                  <a:pt x="1112" y="355"/>
                  <a:pt x="1112" y="355"/>
                </a:cubicBezTo>
                <a:cubicBezTo>
                  <a:pt x="1113" y="355"/>
                  <a:pt x="1113" y="355"/>
                  <a:pt x="1113" y="355"/>
                </a:cubicBezTo>
                <a:cubicBezTo>
                  <a:pt x="1113" y="356"/>
                  <a:pt x="1113" y="356"/>
                  <a:pt x="1113" y="356"/>
                </a:cubicBezTo>
                <a:cubicBezTo>
                  <a:pt x="1112" y="356"/>
                  <a:pt x="1112" y="356"/>
                  <a:pt x="1112" y="356"/>
                </a:cubicBezTo>
                <a:cubicBezTo>
                  <a:pt x="1112" y="357"/>
                  <a:pt x="1112" y="357"/>
                  <a:pt x="1112" y="357"/>
                </a:cubicBezTo>
                <a:cubicBezTo>
                  <a:pt x="1111" y="357"/>
                  <a:pt x="1111" y="357"/>
                  <a:pt x="1111" y="357"/>
                </a:cubicBezTo>
                <a:cubicBezTo>
                  <a:pt x="1108" y="355"/>
                  <a:pt x="1108" y="355"/>
                  <a:pt x="1108" y="355"/>
                </a:cubicBezTo>
                <a:cubicBezTo>
                  <a:pt x="1107" y="355"/>
                  <a:pt x="1107" y="355"/>
                  <a:pt x="1107" y="355"/>
                </a:cubicBezTo>
                <a:cubicBezTo>
                  <a:pt x="1107" y="354"/>
                  <a:pt x="1107" y="354"/>
                  <a:pt x="1107" y="354"/>
                </a:cubicBezTo>
                <a:cubicBezTo>
                  <a:pt x="1107" y="353"/>
                  <a:pt x="1107" y="353"/>
                  <a:pt x="1107" y="353"/>
                </a:cubicBezTo>
                <a:cubicBezTo>
                  <a:pt x="1106" y="354"/>
                  <a:pt x="1106" y="354"/>
                  <a:pt x="1106" y="354"/>
                </a:cubicBezTo>
                <a:cubicBezTo>
                  <a:pt x="1106" y="355"/>
                  <a:pt x="1106" y="355"/>
                  <a:pt x="1106" y="355"/>
                </a:cubicBezTo>
                <a:cubicBezTo>
                  <a:pt x="1105" y="355"/>
                  <a:pt x="1105" y="355"/>
                  <a:pt x="1105" y="355"/>
                </a:cubicBezTo>
                <a:cubicBezTo>
                  <a:pt x="1104" y="355"/>
                  <a:pt x="1104" y="355"/>
                  <a:pt x="1104" y="355"/>
                </a:cubicBezTo>
                <a:cubicBezTo>
                  <a:pt x="1104" y="354"/>
                  <a:pt x="1104" y="354"/>
                  <a:pt x="1104" y="354"/>
                </a:cubicBezTo>
                <a:cubicBezTo>
                  <a:pt x="1105" y="352"/>
                  <a:pt x="1105" y="352"/>
                  <a:pt x="1105" y="352"/>
                </a:cubicBezTo>
                <a:cubicBezTo>
                  <a:pt x="1104" y="353"/>
                  <a:pt x="1104" y="353"/>
                  <a:pt x="1104" y="353"/>
                </a:cubicBezTo>
                <a:cubicBezTo>
                  <a:pt x="1103" y="355"/>
                  <a:pt x="1103" y="355"/>
                  <a:pt x="1103" y="355"/>
                </a:cubicBezTo>
                <a:cubicBezTo>
                  <a:pt x="1102" y="356"/>
                  <a:pt x="1102" y="356"/>
                  <a:pt x="1102" y="356"/>
                </a:cubicBezTo>
                <a:cubicBezTo>
                  <a:pt x="1101" y="355"/>
                  <a:pt x="1101" y="355"/>
                  <a:pt x="1101" y="355"/>
                </a:cubicBezTo>
                <a:cubicBezTo>
                  <a:pt x="1102" y="355"/>
                  <a:pt x="1102" y="355"/>
                  <a:pt x="1102" y="355"/>
                </a:cubicBezTo>
                <a:cubicBezTo>
                  <a:pt x="1103" y="354"/>
                  <a:pt x="1103" y="354"/>
                  <a:pt x="1103" y="354"/>
                </a:cubicBezTo>
                <a:cubicBezTo>
                  <a:pt x="1103" y="352"/>
                  <a:pt x="1103" y="352"/>
                  <a:pt x="1103" y="352"/>
                </a:cubicBezTo>
                <a:cubicBezTo>
                  <a:pt x="1104" y="351"/>
                  <a:pt x="1104" y="351"/>
                  <a:pt x="1104" y="351"/>
                </a:cubicBezTo>
                <a:cubicBezTo>
                  <a:pt x="1103" y="351"/>
                  <a:pt x="1103" y="351"/>
                  <a:pt x="1103" y="351"/>
                </a:cubicBezTo>
                <a:cubicBezTo>
                  <a:pt x="1102" y="351"/>
                  <a:pt x="1102" y="351"/>
                  <a:pt x="1102" y="351"/>
                </a:cubicBezTo>
                <a:cubicBezTo>
                  <a:pt x="1102" y="350"/>
                  <a:pt x="1102" y="350"/>
                  <a:pt x="1102" y="350"/>
                </a:cubicBezTo>
                <a:cubicBezTo>
                  <a:pt x="1101" y="350"/>
                  <a:pt x="1101" y="350"/>
                  <a:pt x="1101" y="350"/>
                </a:cubicBezTo>
                <a:cubicBezTo>
                  <a:pt x="1101" y="351"/>
                  <a:pt x="1101" y="351"/>
                  <a:pt x="1101" y="351"/>
                </a:cubicBezTo>
                <a:cubicBezTo>
                  <a:pt x="1100" y="352"/>
                  <a:pt x="1100" y="352"/>
                  <a:pt x="1100" y="352"/>
                </a:cubicBezTo>
                <a:cubicBezTo>
                  <a:pt x="1099" y="351"/>
                  <a:pt x="1099" y="351"/>
                  <a:pt x="1099" y="351"/>
                </a:cubicBezTo>
                <a:cubicBezTo>
                  <a:pt x="1098" y="351"/>
                  <a:pt x="1098" y="351"/>
                  <a:pt x="1098" y="351"/>
                </a:cubicBezTo>
                <a:cubicBezTo>
                  <a:pt x="1100" y="350"/>
                  <a:pt x="1100" y="350"/>
                  <a:pt x="1100" y="350"/>
                </a:cubicBezTo>
                <a:cubicBezTo>
                  <a:pt x="1100" y="349"/>
                  <a:pt x="1100" y="349"/>
                  <a:pt x="1100" y="349"/>
                </a:cubicBezTo>
                <a:cubicBezTo>
                  <a:pt x="1101" y="348"/>
                  <a:pt x="1101" y="348"/>
                  <a:pt x="1101" y="348"/>
                </a:cubicBezTo>
                <a:cubicBezTo>
                  <a:pt x="1102" y="347"/>
                  <a:pt x="1102" y="347"/>
                  <a:pt x="1102" y="347"/>
                </a:cubicBezTo>
                <a:cubicBezTo>
                  <a:pt x="1100" y="348"/>
                  <a:pt x="1100" y="348"/>
                  <a:pt x="1100" y="348"/>
                </a:cubicBezTo>
                <a:cubicBezTo>
                  <a:pt x="1101" y="347"/>
                  <a:pt x="1101" y="347"/>
                  <a:pt x="1101" y="347"/>
                </a:cubicBezTo>
                <a:cubicBezTo>
                  <a:pt x="1102" y="346"/>
                  <a:pt x="1102" y="346"/>
                  <a:pt x="1102" y="346"/>
                </a:cubicBezTo>
                <a:cubicBezTo>
                  <a:pt x="1103" y="346"/>
                  <a:pt x="1103" y="346"/>
                  <a:pt x="1103" y="346"/>
                </a:cubicBezTo>
                <a:cubicBezTo>
                  <a:pt x="1103" y="345"/>
                  <a:pt x="1103" y="345"/>
                  <a:pt x="1103" y="345"/>
                </a:cubicBezTo>
                <a:cubicBezTo>
                  <a:pt x="1103" y="344"/>
                  <a:pt x="1103" y="344"/>
                  <a:pt x="1103" y="344"/>
                </a:cubicBezTo>
                <a:cubicBezTo>
                  <a:pt x="1102" y="344"/>
                  <a:pt x="1102" y="344"/>
                  <a:pt x="1102" y="344"/>
                </a:cubicBezTo>
                <a:cubicBezTo>
                  <a:pt x="1101" y="346"/>
                  <a:pt x="1101" y="346"/>
                  <a:pt x="1101" y="346"/>
                </a:cubicBezTo>
                <a:cubicBezTo>
                  <a:pt x="1099" y="347"/>
                  <a:pt x="1099" y="347"/>
                  <a:pt x="1099" y="347"/>
                </a:cubicBezTo>
                <a:cubicBezTo>
                  <a:pt x="1098" y="347"/>
                  <a:pt x="1098" y="347"/>
                  <a:pt x="1098" y="347"/>
                </a:cubicBezTo>
                <a:cubicBezTo>
                  <a:pt x="1098" y="346"/>
                  <a:pt x="1098" y="346"/>
                  <a:pt x="1098" y="346"/>
                </a:cubicBezTo>
                <a:cubicBezTo>
                  <a:pt x="1099" y="346"/>
                  <a:pt x="1099" y="346"/>
                  <a:pt x="1099" y="346"/>
                </a:cubicBezTo>
                <a:cubicBezTo>
                  <a:pt x="1100" y="345"/>
                  <a:pt x="1100" y="345"/>
                  <a:pt x="1100" y="345"/>
                </a:cubicBezTo>
                <a:cubicBezTo>
                  <a:pt x="1100" y="344"/>
                  <a:pt x="1100" y="344"/>
                  <a:pt x="1100" y="344"/>
                </a:cubicBezTo>
                <a:cubicBezTo>
                  <a:pt x="1099" y="343"/>
                  <a:pt x="1099" y="343"/>
                  <a:pt x="1099" y="343"/>
                </a:cubicBezTo>
                <a:cubicBezTo>
                  <a:pt x="1098" y="343"/>
                  <a:pt x="1098" y="343"/>
                  <a:pt x="1098" y="343"/>
                </a:cubicBezTo>
                <a:cubicBezTo>
                  <a:pt x="1098" y="344"/>
                  <a:pt x="1098" y="344"/>
                  <a:pt x="1098" y="344"/>
                </a:cubicBezTo>
                <a:cubicBezTo>
                  <a:pt x="1099" y="344"/>
                  <a:pt x="1099" y="344"/>
                  <a:pt x="1099" y="344"/>
                </a:cubicBezTo>
                <a:cubicBezTo>
                  <a:pt x="1099" y="345"/>
                  <a:pt x="1099" y="345"/>
                  <a:pt x="1099" y="345"/>
                </a:cubicBezTo>
                <a:cubicBezTo>
                  <a:pt x="1098" y="345"/>
                  <a:pt x="1098" y="345"/>
                  <a:pt x="1098" y="345"/>
                </a:cubicBezTo>
                <a:cubicBezTo>
                  <a:pt x="1097" y="345"/>
                  <a:pt x="1097" y="345"/>
                  <a:pt x="1097" y="345"/>
                </a:cubicBezTo>
                <a:cubicBezTo>
                  <a:pt x="1096" y="345"/>
                  <a:pt x="1096" y="345"/>
                  <a:pt x="1096" y="345"/>
                </a:cubicBezTo>
                <a:cubicBezTo>
                  <a:pt x="1095" y="346"/>
                  <a:pt x="1095" y="346"/>
                  <a:pt x="1095" y="346"/>
                </a:cubicBezTo>
                <a:cubicBezTo>
                  <a:pt x="1094" y="347"/>
                  <a:pt x="1094" y="347"/>
                  <a:pt x="1094" y="347"/>
                </a:cubicBezTo>
                <a:cubicBezTo>
                  <a:pt x="1093" y="347"/>
                  <a:pt x="1093" y="347"/>
                  <a:pt x="1093" y="347"/>
                </a:cubicBezTo>
                <a:cubicBezTo>
                  <a:pt x="1093" y="346"/>
                  <a:pt x="1093" y="346"/>
                  <a:pt x="1093" y="346"/>
                </a:cubicBezTo>
                <a:cubicBezTo>
                  <a:pt x="1092" y="346"/>
                  <a:pt x="1092" y="346"/>
                  <a:pt x="1092" y="346"/>
                </a:cubicBezTo>
                <a:cubicBezTo>
                  <a:pt x="1091" y="347"/>
                  <a:pt x="1091" y="347"/>
                  <a:pt x="1091" y="347"/>
                </a:cubicBezTo>
                <a:cubicBezTo>
                  <a:pt x="1090" y="347"/>
                  <a:pt x="1090" y="347"/>
                  <a:pt x="1090" y="347"/>
                </a:cubicBezTo>
                <a:cubicBezTo>
                  <a:pt x="1090" y="348"/>
                  <a:pt x="1090" y="348"/>
                  <a:pt x="1090" y="348"/>
                </a:cubicBezTo>
                <a:cubicBezTo>
                  <a:pt x="1089" y="348"/>
                  <a:pt x="1089" y="348"/>
                  <a:pt x="1089" y="348"/>
                </a:cubicBezTo>
                <a:cubicBezTo>
                  <a:pt x="1088" y="348"/>
                  <a:pt x="1088" y="348"/>
                  <a:pt x="1088" y="348"/>
                </a:cubicBezTo>
                <a:cubicBezTo>
                  <a:pt x="1087" y="347"/>
                  <a:pt x="1087" y="347"/>
                  <a:pt x="1087" y="347"/>
                </a:cubicBezTo>
                <a:cubicBezTo>
                  <a:pt x="1088" y="346"/>
                  <a:pt x="1088" y="346"/>
                  <a:pt x="1088" y="346"/>
                </a:cubicBezTo>
                <a:cubicBezTo>
                  <a:pt x="1089" y="346"/>
                  <a:pt x="1089" y="346"/>
                  <a:pt x="1089" y="346"/>
                </a:cubicBezTo>
                <a:cubicBezTo>
                  <a:pt x="1090" y="346"/>
                  <a:pt x="1090" y="346"/>
                  <a:pt x="1090" y="346"/>
                </a:cubicBezTo>
                <a:cubicBezTo>
                  <a:pt x="1089" y="345"/>
                  <a:pt x="1089" y="345"/>
                  <a:pt x="1089" y="345"/>
                </a:cubicBezTo>
                <a:cubicBezTo>
                  <a:pt x="1088" y="345"/>
                  <a:pt x="1088" y="345"/>
                  <a:pt x="1088" y="345"/>
                </a:cubicBezTo>
                <a:cubicBezTo>
                  <a:pt x="1088" y="344"/>
                  <a:pt x="1088" y="344"/>
                  <a:pt x="1088" y="344"/>
                </a:cubicBezTo>
                <a:cubicBezTo>
                  <a:pt x="1088" y="343"/>
                  <a:pt x="1088" y="343"/>
                  <a:pt x="1088" y="343"/>
                </a:cubicBezTo>
                <a:cubicBezTo>
                  <a:pt x="1087" y="342"/>
                  <a:pt x="1087" y="342"/>
                  <a:pt x="1087" y="342"/>
                </a:cubicBezTo>
                <a:cubicBezTo>
                  <a:pt x="1087" y="343"/>
                  <a:pt x="1087" y="343"/>
                  <a:pt x="1087" y="343"/>
                </a:cubicBezTo>
                <a:cubicBezTo>
                  <a:pt x="1085" y="344"/>
                  <a:pt x="1085" y="344"/>
                  <a:pt x="1085" y="344"/>
                </a:cubicBezTo>
                <a:cubicBezTo>
                  <a:pt x="1084" y="344"/>
                  <a:pt x="1084" y="344"/>
                  <a:pt x="1084" y="344"/>
                </a:cubicBezTo>
                <a:cubicBezTo>
                  <a:pt x="1084" y="343"/>
                  <a:pt x="1084" y="343"/>
                  <a:pt x="1084" y="343"/>
                </a:cubicBezTo>
                <a:cubicBezTo>
                  <a:pt x="1085" y="342"/>
                  <a:pt x="1085" y="342"/>
                  <a:pt x="1085" y="342"/>
                </a:cubicBezTo>
                <a:cubicBezTo>
                  <a:pt x="1084" y="341"/>
                  <a:pt x="1084" y="341"/>
                  <a:pt x="1084" y="341"/>
                </a:cubicBezTo>
                <a:cubicBezTo>
                  <a:pt x="1085" y="340"/>
                  <a:pt x="1085" y="340"/>
                  <a:pt x="1085" y="340"/>
                </a:cubicBezTo>
                <a:cubicBezTo>
                  <a:pt x="1086" y="340"/>
                  <a:pt x="1086" y="340"/>
                  <a:pt x="1086" y="340"/>
                </a:cubicBezTo>
                <a:cubicBezTo>
                  <a:pt x="1086" y="339"/>
                  <a:pt x="1086" y="339"/>
                  <a:pt x="1086" y="339"/>
                </a:cubicBezTo>
                <a:cubicBezTo>
                  <a:pt x="1085" y="339"/>
                  <a:pt x="1085" y="339"/>
                  <a:pt x="1085" y="339"/>
                </a:cubicBezTo>
                <a:cubicBezTo>
                  <a:pt x="1084" y="339"/>
                  <a:pt x="1084" y="339"/>
                  <a:pt x="1084" y="339"/>
                </a:cubicBezTo>
                <a:cubicBezTo>
                  <a:pt x="1083" y="340"/>
                  <a:pt x="1083" y="340"/>
                  <a:pt x="1083" y="340"/>
                </a:cubicBezTo>
                <a:cubicBezTo>
                  <a:pt x="1082" y="340"/>
                  <a:pt x="1082" y="340"/>
                  <a:pt x="1082" y="340"/>
                </a:cubicBezTo>
                <a:cubicBezTo>
                  <a:pt x="1081" y="340"/>
                  <a:pt x="1081" y="340"/>
                  <a:pt x="1081" y="340"/>
                </a:cubicBezTo>
                <a:cubicBezTo>
                  <a:pt x="1081" y="339"/>
                  <a:pt x="1081" y="339"/>
                  <a:pt x="1081" y="339"/>
                </a:cubicBezTo>
                <a:cubicBezTo>
                  <a:pt x="1082" y="339"/>
                  <a:pt x="1082" y="339"/>
                  <a:pt x="1082" y="339"/>
                </a:cubicBezTo>
                <a:cubicBezTo>
                  <a:pt x="1083" y="338"/>
                  <a:pt x="1083" y="338"/>
                  <a:pt x="1083" y="338"/>
                </a:cubicBezTo>
                <a:cubicBezTo>
                  <a:pt x="1083" y="337"/>
                  <a:pt x="1083" y="337"/>
                  <a:pt x="1083" y="337"/>
                </a:cubicBezTo>
                <a:cubicBezTo>
                  <a:pt x="1084" y="337"/>
                  <a:pt x="1084" y="337"/>
                  <a:pt x="1084" y="337"/>
                </a:cubicBezTo>
                <a:cubicBezTo>
                  <a:pt x="1084" y="336"/>
                  <a:pt x="1084" y="336"/>
                  <a:pt x="1084" y="336"/>
                </a:cubicBezTo>
                <a:cubicBezTo>
                  <a:pt x="1083" y="336"/>
                  <a:pt x="1083" y="336"/>
                  <a:pt x="1083" y="336"/>
                </a:cubicBezTo>
                <a:cubicBezTo>
                  <a:pt x="1082" y="336"/>
                  <a:pt x="1082" y="336"/>
                  <a:pt x="1082" y="336"/>
                </a:cubicBezTo>
                <a:cubicBezTo>
                  <a:pt x="1081" y="337"/>
                  <a:pt x="1081" y="337"/>
                  <a:pt x="1081" y="337"/>
                </a:cubicBezTo>
                <a:cubicBezTo>
                  <a:pt x="1081" y="336"/>
                  <a:pt x="1081" y="336"/>
                  <a:pt x="1081" y="336"/>
                </a:cubicBezTo>
                <a:cubicBezTo>
                  <a:pt x="1081" y="335"/>
                  <a:pt x="1081" y="335"/>
                  <a:pt x="1081" y="335"/>
                </a:cubicBezTo>
                <a:cubicBezTo>
                  <a:pt x="1082" y="335"/>
                  <a:pt x="1082" y="335"/>
                  <a:pt x="1082" y="335"/>
                </a:cubicBezTo>
                <a:cubicBezTo>
                  <a:pt x="1083" y="335"/>
                  <a:pt x="1083" y="335"/>
                  <a:pt x="1083" y="335"/>
                </a:cubicBezTo>
                <a:cubicBezTo>
                  <a:pt x="1084" y="334"/>
                  <a:pt x="1084" y="334"/>
                  <a:pt x="1084" y="334"/>
                </a:cubicBezTo>
                <a:cubicBezTo>
                  <a:pt x="1084" y="333"/>
                  <a:pt x="1084" y="333"/>
                  <a:pt x="1084" y="333"/>
                </a:cubicBezTo>
                <a:cubicBezTo>
                  <a:pt x="1083" y="333"/>
                  <a:pt x="1083" y="333"/>
                  <a:pt x="1083" y="333"/>
                </a:cubicBezTo>
                <a:cubicBezTo>
                  <a:pt x="1082" y="334"/>
                  <a:pt x="1082" y="334"/>
                  <a:pt x="1082" y="334"/>
                </a:cubicBezTo>
                <a:cubicBezTo>
                  <a:pt x="1081" y="334"/>
                  <a:pt x="1081" y="334"/>
                  <a:pt x="1081" y="334"/>
                </a:cubicBezTo>
                <a:cubicBezTo>
                  <a:pt x="1082" y="333"/>
                  <a:pt x="1082" y="333"/>
                  <a:pt x="1082" y="333"/>
                </a:cubicBezTo>
                <a:cubicBezTo>
                  <a:pt x="1081" y="332"/>
                  <a:pt x="1081" y="332"/>
                  <a:pt x="1081" y="332"/>
                </a:cubicBezTo>
                <a:cubicBezTo>
                  <a:pt x="1082" y="332"/>
                  <a:pt x="1082" y="332"/>
                  <a:pt x="1082" y="332"/>
                </a:cubicBezTo>
                <a:cubicBezTo>
                  <a:pt x="1082" y="331"/>
                  <a:pt x="1082" y="331"/>
                  <a:pt x="1082" y="331"/>
                </a:cubicBezTo>
                <a:cubicBezTo>
                  <a:pt x="1081" y="331"/>
                  <a:pt x="1081" y="331"/>
                  <a:pt x="1081" y="331"/>
                </a:cubicBezTo>
                <a:cubicBezTo>
                  <a:pt x="1081" y="330"/>
                  <a:pt x="1081" y="330"/>
                  <a:pt x="1081" y="330"/>
                </a:cubicBezTo>
                <a:cubicBezTo>
                  <a:pt x="1081" y="329"/>
                  <a:pt x="1081" y="329"/>
                  <a:pt x="1081" y="329"/>
                </a:cubicBezTo>
                <a:cubicBezTo>
                  <a:pt x="1080" y="329"/>
                  <a:pt x="1080" y="329"/>
                  <a:pt x="1080" y="329"/>
                </a:cubicBezTo>
                <a:cubicBezTo>
                  <a:pt x="1079" y="330"/>
                  <a:pt x="1079" y="330"/>
                  <a:pt x="1079" y="330"/>
                </a:cubicBezTo>
                <a:cubicBezTo>
                  <a:pt x="1079" y="329"/>
                  <a:pt x="1079" y="329"/>
                  <a:pt x="1079" y="329"/>
                </a:cubicBezTo>
                <a:cubicBezTo>
                  <a:pt x="1079" y="328"/>
                  <a:pt x="1079" y="328"/>
                  <a:pt x="1079" y="328"/>
                </a:cubicBezTo>
                <a:cubicBezTo>
                  <a:pt x="1080" y="327"/>
                  <a:pt x="1080" y="327"/>
                  <a:pt x="1080" y="327"/>
                </a:cubicBezTo>
                <a:cubicBezTo>
                  <a:pt x="1081" y="326"/>
                  <a:pt x="1081" y="326"/>
                  <a:pt x="1081" y="326"/>
                </a:cubicBezTo>
                <a:cubicBezTo>
                  <a:pt x="1081" y="325"/>
                  <a:pt x="1081" y="325"/>
                  <a:pt x="1081" y="325"/>
                </a:cubicBezTo>
                <a:cubicBezTo>
                  <a:pt x="1081" y="324"/>
                  <a:pt x="1081" y="324"/>
                  <a:pt x="1081" y="324"/>
                </a:cubicBezTo>
                <a:cubicBezTo>
                  <a:pt x="1080" y="325"/>
                  <a:pt x="1080" y="325"/>
                  <a:pt x="1080" y="325"/>
                </a:cubicBezTo>
                <a:cubicBezTo>
                  <a:pt x="1080" y="324"/>
                  <a:pt x="1080" y="324"/>
                  <a:pt x="1080" y="324"/>
                </a:cubicBezTo>
                <a:cubicBezTo>
                  <a:pt x="1079" y="324"/>
                  <a:pt x="1079" y="324"/>
                  <a:pt x="1079" y="324"/>
                </a:cubicBezTo>
                <a:cubicBezTo>
                  <a:pt x="1078" y="324"/>
                  <a:pt x="1078" y="324"/>
                  <a:pt x="1078" y="324"/>
                </a:cubicBezTo>
                <a:cubicBezTo>
                  <a:pt x="1078" y="323"/>
                  <a:pt x="1078" y="323"/>
                  <a:pt x="1078" y="323"/>
                </a:cubicBezTo>
                <a:cubicBezTo>
                  <a:pt x="1078" y="322"/>
                  <a:pt x="1078" y="322"/>
                  <a:pt x="1078" y="322"/>
                </a:cubicBezTo>
                <a:cubicBezTo>
                  <a:pt x="1080" y="322"/>
                  <a:pt x="1080" y="322"/>
                  <a:pt x="1080" y="322"/>
                </a:cubicBezTo>
                <a:cubicBezTo>
                  <a:pt x="1080" y="321"/>
                  <a:pt x="1080" y="321"/>
                  <a:pt x="1080" y="321"/>
                </a:cubicBezTo>
                <a:cubicBezTo>
                  <a:pt x="1079" y="321"/>
                  <a:pt x="1079" y="321"/>
                  <a:pt x="1079" y="321"/>
                </a:cubicBezTo>
                <a:cubicBezTo>
                  <a:pt x="1078" y="321"/>
                  <a:pt x="1078" y="321"/>
                  <a:pt x="1078" y="321"/>
                </a:cubicBezTo>
                <a:cubicBezTo>
                  <a:pt x="1077" y="321"/>
                  <a:pt x="1077" y="321"/>
                  <a:pt x="1077" y="321"/>
                </a:cubicBezTo>
                <a:cubicBezTo>
                  <a:pt x="1076" y="321"/>
                  <a:pt x="1076" y="321"/>
                  <a:pt x="1076" y="321"/>
                </a:cubicBezTo>
                <a:cubicBezTo>
                  <a:pt x="1076" y="320"/>
                  <a:pt x="1076" y="320"/>
                  <a:pt x="1076" y="320"/>
                </a:cubicBezTo>
                <a:cubicBezTo>
                  <a:pt x="1077" y="320"/>
                  <a:pt x="1077" y="320"/>
                  <a:pt x="1077" y="320"/>
                </a:cubicBezTo>
                <a:cubicBezTo>
                  <a:pt x="1078" y="320"/>
                  <a:pt x="1078" y="320"/>
                  <a:pt x="1078" y="320"/>
                </a:cubicBezTo>
                <a:cubicBezTo>
                  <a:pt x="1080" y="320"/>
                  <a:pt x="1080" y="320"/>
                  <a:pt x="1080" y="320"/>
                </a:cubicBezTo>
                <a:cubicBezTo>
                  <a:pt x="1080" y="319"/>
                  <a:pt x="1080" y="319"/>
                  <a:pt x="1080" y="319"/>
                </a:cubicBezTo>
                <a:cubicBezTo>
                  <a:pt x="1079" y="319"/>
                  <a:pt x="1079" y="319"/>
                  <a:pt x="1079" y="319"/>
                </a:cubicBezTo>
                <a:cubicBezTo>
                  <a:pt x="1078" y="319"/>
                  <a:pt x="1078" y="319"/>
                  <a:pt x="1078" y="319"/>
                </a:cubicBezTo>
                <a:cubicBezTo>
                  <a:pt x="1077" y="319"/>
                  <a:pt x="1077" y="319"/>
                  <a:pt x="1077" y="319"/>
                </a:cubicBezTo>
                <a:cubicBezTo>
                  <a:pt x="1076" y="319"/>
                  <a:pt x="1076" y="319"/>
                  <a:pt x="1076" y="319"/>
                </a:cubicBezTo>
                <a:cubicBezTo>
                  <a:pt x="1077" y="318"/>
                  <a:pt x="1077" y="318"/>
                  <a:pt x="1077" y="318"/>
                </a:cubicBezTo>
                <a:cubicBezTo>
                  <a:pt x="1078" y="318"/>
                  <a:pt x="1078" y="318"/>
                  <a:pt x="1078" y="318"/>
                </a:cubicBezTo>
                <a:cubicBezTo>
                  <a:pt x="1079" y="317"/>
                  <a:pt x="1079" y="317"/>
                  <a:pt x="1079" y="317"/>
                </a:cubicBezTo>
                <a:cubicBezTo>
                  <a:pt x="1080" y="316"/>
                  <a:pt x="1080" y="316"/>
                  <a:pt x="1080" y="316"/>
                </a:cubicBezTo>
                <a:cubicBezTo>
                  <a:pt x="1079" y="316"/>
                  <a:pt x="1079" y="316"/>
                  <a:pt x="1079" y="316"/>
                </a:cubicBezTo>
                <a:cubicBezTo>
                  <a:pt x="1078" y="316"/>
                  <a:pt x="1078" y="316"/>
                  <a:pt x="1078" y="316"/>
                </a:cubicBezTo>
                <a:cubicBezTo>
                  <a:pt x="1077" y="316"/>
                  <a:pt x="1077" y="316"/>
                  <a:pt x="1077" y="316"/>
                </a:cubicBezTo>
                <a:cubicBezTo>
                  <a:pt x="1076" y="317"/>
                  <a:pt x="1076" y="317"/>
                  <a:pt x="1076" y="317"/>
                </a:cubicBezTo>
                <a:cubicBezTo>
                  <a:pt x="1075" y="316"/>
                  <a:pt x="1075" y="316"/>
                  <a:pt x="1075" y="316"/>
                </a:cubicBezTo>
                <a:cubicBezTo>
                  <a:pt x="1075" y="315"/>
                  <a:pt x="1075" y="315"/>
                  <a:pt x="1075" y="315"/>
                </a:cubicBezTo>
                <a:cubicBezTo>
                  <a:pt x="1077" y="315"/>
                  <a:pt x="1077" y="315"/>
                  <a:pt x="1077" y="315"/>
                </a:cubicBezTo>
                <a:cubicBezTo>
                  <a:pt x="1078" y="314"/>
                  <a:pt x="1078" y="314"/>
                  <a:pt x="1078" y="314"/>
                </a:cubicBezTo>
                <a:cubicBezTo>
                  <a:pt x="1077" y="314"/>
                  <a:pt x="1077" y="314"/>
                  <a:pt x="1077" y="314"/>
                </a:cubicBezTo>
                <a:cubicBezTo>
                  <a:pt x="1076" y="314"/>
                  <a:pt x="1076" y="314"/>
                  <a:pt x="1076" y="314"/>
                </a:cubicBezTo>
                <a:cubicBezTo>
                  <a:pt x="1075" y="314"/>
                  <a:pt x="1075" y="314"/>
                  <a:pt x="1075" y="314"/>
                </a:cubicBezTo>
                <a:cubicBezTo>
                  <a:pt x="1075" y="313"/>
                  <a:pt x="1075" y="313"/>
                  <a:pt x="1075" y="313"/>
                </a:cubicBezTo>
                <a:cubicBezTo>
                  <a:pt x="1075" y="312"/>
                  <a:pt x="1075" y="312"/>
                  <a:pt x="1075" y="312"/>
                </a:cubicBezTo>
                <a:cubicBezTo>
                  <a:pt x="1076" y="312"/>
                  <a:pt x="1076" y="312"/>
                  <a:pt x="1076" y="312"/>
                </a:cubicBezTo>
                <a:cubicBezTo>
                  <a:pt x="1079" y="312"/>
                  <a:pt x="1079" y="312"/>
                  <a:pt x="1079" y="312"/>
                </a:cubicBezTo>
                <a:cubicBezTo>
                  <a:pt x="1080" y="311"/>
                  <a:pt x="1080" y="311"/>
                  <a:pt x="1080" y="311"/>
                </a:cubicBezTo>
                <a:cubicBezTo>
                  <a:pt x="1082" y="311"/>
                  <a:pt x="1082" y="311"/>
                  <a:pt x="1082" y="311"/>
                </a:cubicBezTo>
                <a:cubicBezTo>
                  <a:pt x="1083" y="311"/>
                  <a:pt x="1083" y="311"/>
                  <a:pt x="1083" y="311"/>
                </a:cubicBezTo>
                <a:cubicBezTo>
                  <a:pt x="1083" y="310"/>
                  <a:pt x="1083" y="310"/>
                  <a:pt x="1083" y="310"/>
                </a:cubicBezTo>
                <a:cubicBezTo>
                  <a:pt x="1083" y="309"/>
                  <a:pt x="1083" y="309"/>
                  <a:pt x="1083" y="309"/>
                </a:cubicBezTo>
                <a:cubicBezTo>
                  <a:pt x="1082" y="309"/>
                  <a:pt x="1082" y="309"/>
                  <a:pt x="1082" y="309"/>
                </a:cubicBezTo>
                <a:cubicBezTo>
                  <a:pt x="1081" y="308"/>
                  <a:pt x="1081" y="308"/>
                  <a:pt x="1081" y="308"/>
                </a:cubicBezTo>
                <a:cubicBezTo>
                  <a:pt x="1080" y="307"/>
                  <a:pt x="1080" y="307"/>
                  <a:pt x="1080" y="307"/>
                </a:cubicBezTo>
                <a:cubicBezTo>
                  <a:pt x="1081" y="307"/>
                  <a:pt x="1081" y="307"/>
                  <a:pt x="1081" y="307"/>
                </a:cubicBezTo>
                <a:cubicBezTo>
                  <a:pt x="1082" y="306"/>
                  <a:pt x="1082" y="306"/>
                  <a:pt x="1082" y="306"/>
                </a:cubicBezTo>
                <a:cubicBezTo>
                  <a:pt x="1082" y="307"/>
                  <a:pt x="1082" y="307"/>
                  <a:pt x="1082" y="307"/>
                </a:cubicBezTo>
                <a:cubicBezTo>
                  <a:pt x="1083" y="307"/>
                  <a:pt x="1083" y="307"/>
                  <a:pt x="1083" y="307"/>
                </a:cubicBezTo>
                <a:cubicBezTo>
                  <a:pt x="1084" y="309"/>
                  <a:pt x="1084" y="309"/>
                  <a:pt x="1084" y="309"/>
                </a:cubicBezTo>
                <a:cubicBezTo>
                  <a:pt x="1085" y="309"/>
                  <a:pt x="1085" y="309"/>
                  <a:pt x="1085" y="309"/>
                </a:cubicBezTo>
                <a:cubicBezTo>
                  <a:pt x="1084" y="308"/>
                  <a:pt x="1084" y="308"/>
                  <a:pt x="1084" y="308"/>
                </a:cubicBezTo>
                <a:cubicBezTo>
                  <a:pt x="1084" y="307"/>
                  <a:pt x="1084" y="307"/>
                  <a:pt x="1084" y="307"/>
                </a:cubicBezTo>
                <a:cubicBezTo>
                  <a:pt x="1084" y="305"/>
                  <a:pt x="1084" y="305"/>
                  <a:pt x="1084" y="305"/>
                </a:cubicBezTo>
                <a:cubicBezTo>
                  <a:pt x="1084" y="304"/>
                  <a:pt x="1084" y="304"/>
                  <a:pt x="1084" y="304"/>
                </a:cubicBezTo>
                <a:cubicBezTo>
                  <a:pt x="1083" y="305"/>
                  <a:pt x="1083" y="305"/>
                  <a:pt x="1083" y="305"/>
                </a:cubicBezTo>
                <a:cubicBezTo>
                  <a:pt x="1082" y="305"/>
                  <a:pt x="1082" y="305"/>
                  <a:pt x="1082" y="305"/>
                </a:cubicBezTo>
                <a:cubicBezTo>
                  <a:pt x="1082" y="304"/>
                  <a:pt x="1082" y="304"/>
                  <a:pt x="1082" y="304"/>
                </a:cubicBezTo>
                <a:cubicBezTo>
                  <a:pt x="1081" y="305"/>
                  <a:pt x="1081" y="305"/>
                  <a:pt x="1081" y="305"/>
                </a:cubicBezTo>
                <a:cubicBezTo>
                  <a:pt x="1080" y="306"/>
                  <a:pt x="1080" y="306"/>
                  <a:pt x="1080" y="306"/>
                </a:cubicBezTo>
                <a:cubicBezTo>
                  <a:pt x="1079" y="306"/>
                  <a:pt x="1079" y="306"/>
                  <a:pt x="1079" y="306"/>
                </a:cubicBezTo>
                <a:cubicBezTo>
                  <a:pt x="1079" y="305"/>
                  <a:pt x="1079" y="305"/>
                  <a:pt x="1079" y="305"/>
                </a:cubicBezTo>
                <a:cubicBezTo>
                  <a:pt x="1078" y="306"/>
                  <a:pt x="1078" y="306"/>
                  <a:pt x="1078" y="306"/>
                </a:cubicBezTo>
                <a:cubicBezTo>
                  <a:pt x="1076" y="308"/>
                  <a:pt x="1076" y="308"/>
                  <a:pt x="1076" y="308"/>
                </a:cubicBezTo>
                <a:cubicBezTo>
                  <a:pt x="1075" y="309"/>
                  <a:pt x="1075" y="309"/>
                  <a:pt x="1075" y="309"/>
                </a:cubicBezTo>
                <a:cubicBezTo>
                  <a:pt x="1074" y="309"/>
                  <a:pt x="1074" y="309"/>
                  <a:pt x="1074" y="309"/>
                </a:cubicBezTo>
                <a:cubicBezTo>
                  <a:pt x="1074" y="308"/>
                  <a:pt x="1074" y="308"/>
                  <a:pt x="1074" y="308"/>
                </a:cubicBezTo>
                <a:cubicBezTo>
                  <a:pt x="1074" y="307"/>
                  <a:pt x="1074" y="307"/>
                  <a:pt x="1074" y="307"/>
                </a:cubicBezTo>
                <a:cubicBezTo>
                  <a:pt x="1074" y="306"/>
                  <a:pt x="1074" y="306"/>
                  <a:pt x="1074" y="306"/>
                </a:cubicBezTo>
                <a:cubicBezTo>
                  <a:pt x="1074" y="305"/>
                  <a:pt x="1074" y="305"/>
                  <a:pt x="1074" y="305"/>
                </a:cubicBezTo>
                <a:cubicBezTo>
                  <a:pt x="1074" y="304"/>
                  <a:pt x="1074" y="304"/>
                  <a:pt x="1074" y="304"/>
                </a:cubicBezTo>
                <a:cubicBezTo>
                  <a:pt x="1075" y="304"/>
                  <a:pt x="1075" y="304"/>
                  <a:pt x="1075" y="304"/>
                </a:cubicBezTo>
                <a:cubicBezTo>
                  <a:pt x="1077" y="303"/>
                  <a:pt x="1077" y="303"/>
                  <a:pt x="1077" y="303"/>
                </a:cubicBezTo>
                <a:cubicBezTo>
                  <a:pt x="1078" y="302"/>
                  <a:pt x="1078" y="302"/>
                  <a:pt x="1078" y="302"/>
                </a:cubicBezTo>
                <a:cubicBezTo>
                  <a:pt x="1079" y="302"/>
                  <a:pt x="1079" y="302"/>
                  <a:pt x="1079" y="302"/>
                </a:cubicBezTo>
                <a:cubicBezTo>
                  <a:pt x="1078" y="301"/>
                  <a:pt x="1078" y="301"/>
                  <a:pt x="1078" y="301"/>
                </a:cubicBezTo>
                <a:cubicBezTo>
                  <a:pt x="1077" y="302"/>
                  <a:pt x="1077" y="302"/>
                  <a:pt x="1077" y="302"/>
                </a:cubicBezTo>
                <a:cubicBezTo>
                  <a:pt x="1076" y="302"/>
                  <a:pt x="1076" y="302"/>
                  <a:pt x="1076" y="302"/>
                </a:cubicBezTo>
                <a:cubicBezTo>
                  <a:pt x="1076" y="303"/>
                  <a:pt x="1076" y="303"/>
                  <a:pt x="1076" y="303"/>
                </a:cubicBezTo>
                <a:cubicBezTo>
                  <a:pt x="1075" y="303"/>
                  <a:pt x="1075" y="303"/>
                  <a:pt x="1075" y="303"/>
                </a:cubicBezTo>
                <a:cubicBezTo>
                  <a:pt x="1074" y="303"/>
                  <a:pt x="1074" y="303"/>
                  <a:pt x="1074" y="303"/>
                </a:cubicBezTo>
                <a:cubicBezTo>
                  <a:pt x="1074" y="302"/>
                  <a:pt x="1074" y="302"/>
                  <a:pt x="1074" y="302"/>
                </a:cubicBezTo>
                <a:cubicBezTo>
                  <a:pt x="1074" y="301"/>
                  <a:pt x="1074" y="301"/>
                  <a:pt x="1074" y="301"/>
                </a:cubicBezTo>
                <a:cubicBezTo>
                  <a:pt x="1075" y="300"/>
                  <a:pt x="1075" y="300"/>
                  <a:pt x="1075" y="300"/>
                </a:cubicBezTo>
                <a:cubicBezTo>
                  <a:pt x="1075" y="299"/>
                  <a:pt x="1075" y="299"/>
                  <a:pt x="1075" y="299"/>
                </a:cubicBezTo>
                <a:cubicBezTo>
                  <a:pt x="1074" y="298"/>
                  <a:pt x="1074" y="298"/>
                  <a:pt x="1074" y="298"/>
                </a:cubicBezTo>
                <a:cubicBezTo>
                  <a:pt x="1073" y="299"/>
                  <a:pt x="1073" y="299"/>
                  <a:pt x="1073" y="299"/>
                </a:cubicBezTo>
                <a:cubicBezTo>
                  <a:pt x="1073" y="298"/>
                  <a:pt x="1073" y="298"/>
                  <a:pt x="1073" y="298"/>
                </a:cubicBezTo>
                <a:cubicBezTo>
                  <a:pt x="1073" y="297"/>
                  <a:pt x="1073" y="297"/>
                  <a:pt x="1073" y="297"/>
                </a:cubicBezTo>
                <a:cubicBezTo>
                  <a:pt x="1075" y="297"/>
                  <a:pt x="1075" y="297"/>
                  <a:pt x="1075" y="297"/>
                </a:cubicBezTo>
                <a:cubicBezTo>
                  <a:pt x="1075" y="296"/>
                  <a:pt x="1075" y="296"/>
                  <a:pt x="1075" y="296"/>
                </a:cubicBezTo>
                <a:cubicBezTo>
                  <a:pt x="1077" y="296"/>
                  <a:pt x="1077" y="296"/>
                  <a:pt x="1077" y="296"/>
                </a:cubicBezTo>
                <a:cubicBezTo>
                  <a:pt x="1077" y="295"/>
                  <a:pt x="1077" y="295"/>
                  <a:pt x="1077" y="295"/>
                </a:cubicBezTo>
                <a:cubicBezTo>
                  <a:pt x="1078" y="295"/>
                  <a:pt x="1078" y="295"/>
                  <a:pt x="1078" y="295"/>
                </a:cubicBezTo>
                <a:cubicBezTo>
                  <a:pt x="1078" y="294"/>
                  <a:pt x="1078" y="294"/>
                  <a:pt x="1078" y="294"/>
                </a:cubicBezTo>
                <a:cubicBezTo>
                  <a:pt x="1079" y="294"/>
                  <a:pt x="1079" y="294"/>
                  <a:pt x="1079" y="294"/>
                </a:cubicBezTo>
                <a:cubicBezTo>
                  <a:pt x="1080" y="294"/>
                  <a:pt x="1080" y="294"/>
                  <a:pt x="1080" y="294"/>
                </a:cubicBezTo>
                <a:cubicBezTo>
                  <a:pt x="1082" y="294"/>
                  <a:pt x="1082" y="294"/>
                  <a:pt x="1082" y="294"/>
                </a:cubicBezTo>
                <a:cubicBezTo>
                  <a:pt x="1083" y="294"/>
                  <a:pt x="1083" y="294"/>
                  <a:pt x="1083" y="294"/>
                </a:cubicBezTo>
                <a:cubicBezTo>
                  <a:pt x="1083" y="293"/>
                  <a:pt x="1083" y="293"/>
                  <a:pt x="1083" y="293"/>
                </a:cubicBezTo>
                <a:cubicBezTo>
                  <a:pt x="1082" y="293"/>
                  <a:pt x="1082" y="293"/>
                  <a:pt x="1082" y="293"/>
                </a:cubicBezTo>
                <a:cubicBezTo>
                  <a:pt x="1082" y="292"/>
                  <a:pt x="1082" y="292"/>
                  <a:pt x="1082" y="292"/>
                </a:cubicBezTo>
                <a:cubicBezTo>
                  <a:pt x="1081" y="292"/>
                  <a:pt x="1081" y="292"/>
                  <a:pt x="1081" y="292"/>
                </a:cubicBezTo>
                <a:cubicBezTo>
                  <a:pt x="1078" y="294"/>
                  <a:pt x="1078" y="294"/>
                  <a:pt x="1078" y="294"/>
                </a:cubicBezTo>
                <a:cubicBezTo>
                  <a:pt x="1077" y="294"/>
                  <a:pt x="1077" y="294"/>
                  <a:pt x="1077" y="294"/>
                </a:cubicBezTo>
                <a:cubicBezTo>
                  <a:pt x="1077" y="295"/>
                  <a:pt x="1077" y="295"/>
                  <a:pt x="1077" y="295"/>
                </a:cubicBezTo>
                <a:cubicBezTo>
                  <a:pt x="1076" y="295"/>
                  <a:pt x="1076" y="295"/>
                  <a:pt x="1076" y="295"/>
                </a:cubicBezTo>
                <a:cubicBezTo>
                  <a:pt x="1075" y="296"/>
                  <a:pt x="1075" y="296"/>
                  <a:pt x="1075" y="296"/>
                </a:cubicBezTo>
                <a:cubicBezTo>
                  <a:pt x="1074" y="296"/>
                  <a:pt x="1074" y="296"/>
                  <a:pt x="1074" y="296"/>
                </a:cubicBezTo>
                <a:cubicBezTo>
                  <a:pt x="1074" y="295"/>
                  <a:pt x="1074" y="295"/>
                  <a:pt x="1074" y="295"/>
                </a:cubicBezTo>
                <a:cubicBezTo>
                  <a:pt x="1073" y="295"/>
                  <a:pt x="1073" y="295"/>
                  <a:pt x="1073" y="295"/>
                </a:cubicBezTo>
                <a:cubicBezTo>
                  <a:pt x="1074" y="294"/>
                  <a:pt x="1074" y="294"/>
                  <a:pt x="1074" y="294"/>
                </a:cubicBezTo>
                <a:cubicBezTo>
                  <a:pt x="1073" y="293"/>
                  <a:pt x="1073" y="293"/>
                  <a:pt x="1073" y="293"/>
                </a:cubicBezTo>
                <a:cubicBezTo>
                  <a:pt x="1072" y="293"/>
                  <a:pt x="1072" y="293"/>
                  <a:pt x="1072" y="293"/>
                </a:cubicBezTo>
                <a:cubicBezTo>
                  <a:pt x="1072" y="292"/>
                  <a:pt x="1072" y="292"/>
                  <a:pt x="1072" y="292"/>
                </a:cubicBezTo>
                <a:cubicBezTo>
                  <a:pt x="1073" y="291"/>
                  <a:pt x="1073" y="291"/>
                  <a:pt x="1073" y="291"/>
                </a:cubicBezTo>
                <a:cubicBezTo>
                  <a:pt x="1074" y="291"/>
                  <a:pt x="1074" y="291"/>
                  <a:pt x="1074" y="291"/>
                </a:cubicBezTo>
                <a:cubicBezTo>
                  <a:pt x="1075" y="291"/>
                  <a:pt x="1075" y="291"/>
                  <a:pt x="1075" y="291"/>
                </a:cubicBezTo>
                <a:cubicBezTo>
                  <a:pt x="1076" y="291"/>
                  <a:pt x="1076" y="291"/>
                  <a:pt x="1076" y="291"/>
                </a:cubicBezTo>
                <a:cubicBezTo>
                  <a:pt x="1077" y="291"/>
                  <a:pt x="1077" y="291"/>
                  <a:pt x="1077" y="291"/>
                </a:cubicBezTo>
                <a:cubicBezTo>
                  <a:pt x="1078" y="290"/>
                  <a:pt x="1078" y="290"/>
                  <a:pt x="1078" y="290"/>
                </a:cubicBezTo>
                <a:cubicBezTo>
                  <a:pt x="1079" y="290"/>
                  <a:pt x="1079" y="290"/>
                  <a:pt x="1079" y="290"/>
                </a:cubicBezTo>
                <a:cubicBezTo>
                  <a:pt x="1079" y="289"/>
                  <a:pt x="1079" y="289"/>
                  <a:pt x="1079" y="289"/>
                </a:cubicBezTo>
                <a:cubicBezTo>
                  <a:pt x="1078" y="289"/>
                  <a:pt x="1078" y="289"/>
                  <a:pt x="1078" y="289"/>
                </a:cubicBezTo>
                <a:cubicBezTo>
                  <a:pt x="1077" y="290"/>
                  <a:pt x="1077" y="290"/>
                  <a:pt x="1077" y="290"/>
                </a:cubicBezTo>
                <a:cubicBezTo>
                  <a:pt x="1076" y="290"/>
                  <a:pt x="1076" y="290"/>
                  <a:pt x="1076" y="290"/>
                </a:cubicBezTo>
                <a:cubicBezTo>
                  <a:pt x="1075" y="290"/>
                  <a:pt x="1075" y="290"/>
                  <a:pt x="1075" y="290"/>
                </a:cubicBezTo>
                <a:cubicBezTo>
                  <a:pt x="1074" y="289"/>
                  <a:pt x="1074" y="289"/>
                  <a:pt x="1074" y="289"/>
                </a:cubicBezTo>
                <a:cubicBezTo>
                  <a:pt x="1073" y="290"/>
                  <a:pt x="1073" y="290"/>
                  <a:pt x="1073" y="290"/>
                </a:cubicBezTo>
                <a:cubicBezTo>
                  <a:pt x="1072" y="291"/>
                  <a:pt x="1072" y="291"/>
                  <a:pt x="1072" y="291"/>
                </a:cubicBezTo>
                <a:cubicBezTo>
                  <a:pt x="1072" y="290"/>
                  <a:pt x="1072" y="290"/>
                  <a:pt x="1072" y="290"/>
                </a:cubicBezTo>
                <a:cubicBezTo>
                  <a:pt x="1071" y="290"/>
                  <a:pt x="1071" y="290"/>
                  <a:pt x="1071" y="290"/>
                </a:cubicBezTo>
                <a:cubicBezTo>
                  <a:pt x="1071" y="289"/>
                  <a:pt x="1071" y="289"/>
                  <a:pt x="1071" y="289"/>
                </a:cubicBezTo>
                <a:cubicBezTo>
                  <a:pt x="1073" y="289"/>
                  <a:pt x="1073" y="289"/>
                  <a:pt x="1073" y="289"/>
                </a:cubicBezTo>
                <a:cubicBezTo>
                  <a:pt x="1075" y="288"/>
                  <a:pt x="1075" y="288"/>
                  <a:pt x="1075" y="288"/>
                </a:cubicBezTo>
                <a:cubicBezTo>
                  <a:pt x="1076" y="287"/>
                  <a:pt x="1076" y="287"/>
                  <a:pt x="1076" y="287"/>
                </a:cubicBezTo>
                <a:cubicBezTo>
                  <a:pt x="1077" y="287"/>
                  <a:pt x="1077" y="287"/>
                  <a:pt x="1077" y="287"/>
                </a:cubicBezTo>
                <a:cubicBezTo>
                  <a:pt x="1078" y="286"/>
                  <a:pt x="1078" y="286"/>
                  <a:pt x="1078" y="286"/>
                </a:cubicBezTo>
                <a:cubicBezTo>
                  <a:pt x="1080" y="284"/>
                  <a:pt x="1080" y="284"/>
                  <a:pt x="1080" y="284"/>
                </a:cubicBezTo>
                <a:cubicBezTo>
                  <a:pt x="1082" y="283"/>
                  <a:pt x="1082" y="283"/>
                  <a:pt x="1082" y="283"/>
                </a:cubicBezTo>
                <a:cubicBezTo>
                  <a:pt x="1084" y="282"/>
                  <a:pt x="1084" y="282"/>
                  <a:pt x="1084" y="282"/>
                </a:cubicBezTo>
                <a:cubicBezTo>
                  <a:pt x="1085" y="282"/>
                  <a:pt x="1085" y="282"/>
                  <a:pt x="1085" y="282"/>
                </a:cubicBezTo>
                <a:cubicBezTo>
                  <a:pt x="1085" y="281"/>
                  <a:pt x="1085" y="281"/>
                  <a:pt x="1085" y="281"/>
                </a:cubicBezTo>
                <a:cubicBezTo>
                  <a:pt x="1084" y="281"/>
                  <a:pt x="1084" y="281"/>
                  <a:pt x="1084" y="281"/>
                </a:cubicBezTo>
                <a:cubicBezTo>
                  <a:pt x="1083" y="282"/>
                  <a:pt x="1083" y="282"/>
                  <a:pt x="1083" y="282"/>
                </a:cubicBezTo>
                <a:cubicBezTo>
                  <a:pt x="1080" y="283"/>
                  <a:pt x="1080" y="283"/>
                  <a:pt x="1080" y="283"/>
                </a:cubicBezTo>
                <a:cubicBezTo>
                  <a:pt x="1078" y="284"/>
                  <a:pt x="1078" y="284"/>
                  <a:pt x="1078" y="284"/>
                </a:cubicBezTo>
                <a:cubicBezTo>
                  <a:pt x="1077" y="286"/>
                  <a:pt x="1077" y="286"/>
                  <a:pt x="1077" y="286"/>
                </a:cubicBezTo>
                <a:cubicBezTo>
                  <a:pt x="1076" y="286"/>
                  <a:pt x="1076" y="286"/>
                  <a:pt x="1076" y="286"/>
                </a:cubicBezTo>
                <a:cubicBezTo>
                  <a:pt x="1074" y="287"/>
                  <a:pt x="1074" y="287"/>
                  <a:pt x="1074" y="287"/>
                </a:cubicBezTo>
                <a:cubicBezTo>
                  <a:pt x="1073" y="287"/>
                  <a:pt x="1073" y="287"/>
                  <a:pt x="1073" y="287"/>
                </a:cubicBezTo>
                <a:cubicBezTo>
                  <a:pt x="1071" y="288"/>
                  <a:pt x="1071" y="288"/>
                  <a:pt x="1071" y="288"/>
                </a:cubicBezTo>
                <a:cubicBezTo>
                  <a:pt x="1070" y="288"/>
                  <a:pt x="1070" y="288"/>
                  <a:pt x="1070" y="288"/>
                </a:cubicBezTo>
                <a:cubicBezTo>
                  <a:pt x="1070" y="287"/>
                  <a:pt x="1070" y="287"/>
                  <a:pt x="1070" y="287"/>
                </a:cubicBezTo>
                <a:cubicBezTo>
                  <a:pt x="1070" y="285"/>
                  <a:pt x="1070" y="285"/>
                  <a:pt x="1070" y="285"/>
                </a:cubicBezTo>
                <a:cubicBezTo>
                  <a:pt x="1071" y="284"/>
                  <a:pt x="1071" y="284"/>
                  <a:pt x="1071" y="284"/>
                </a:cubicBezTo>
                <a:cubicBezTo>
                  <a:pt x="1072" y="284"/>
                  <a:pt x="1072" y="284"/>
                  <a:pt x="1072" y="284"/>
                </a:cubicBezTo>
                <a:cubicBezTo>
                  <a:pt x="1073" y="285"/>
                  <a:pt x="1073" y="285"/>
                  <a:pt x="1073" y="285"/>
                </a:cubicBezTo>
                <a:cubicBezTo>
                  <a:pt x="1075" y="285"/>
                  <a:pt x="1075" y="285"/>
                  <a:pt x="1075" y="285"/>
                </a:cubicBezTo>
                <a:cubicBezTo>
                  <a:pt x="1076" y="285"/>
                  <a:pt x="1076" y="285"/>
                  <a:pt x="1076" y="285"/>
                </a:cubicBezTo>
                <a:cubicBezTo>
                  <a:pt x="1075" y="284"/>
                  <a:pt x="1075" y="284"/>
                  <a:pt x="1075" y="284"/>
                </a:cubicBezTo>
                <a:cubicBezTo>
                  <a:pt x="1074" y="284"/>
                  <a:pt x="1074" y="284"/>
                  <a:pt x="1074" y="284"/>
                </a:cubicBezTo>
                <a:cubicBezTo>
                  <a:pt x="1073" y="284"/>
                  <a:pt x="1073" y="284"/>
                  <a:pt x="1073" y="284"/>
                </a:cubicBezTo>
                <a:cubicBezTo>
                  <a:pt x="1072" y="284"/>
                  <a:pt x="1072" y="284"/>
                  <a:pt x="1072" y="284"/>
                </a:cubicBezTo>
                <a:cubicBezTo>
                  <a:pt x="1072" y="283"/>
                  <a:pt x="1072" y="283"/>
                  <a:pt x="1072" y="283"/>
                </a:cubicBezTo>
                <a:cubicBezTo>
                  <a:pt x="1073" y="282"/>
                  <a:pt x="1073" y="282"/>
                  <a:pt x="1073" y="282"/>
                </a:cubicBezTo>
                <a:cubicBezTo>
                  <a:pt x="1074" y="283"/>
                  <a:pt x="1074" y="283"/>
                  <a:pt x="1074" y="283"/>
                </a:cubicBezTo>
                <a:cubicBezTo>
                  <a:pt x="1075" y="283"/>
                  <a:pt x="1075" y="283"/>
                  <a:pt x="1075" y="283"/>
                </a:cubicBezTo>
                <a:cubicBezTo>
                  <a:pt x="1076" y="283"/>
                  <a:pt x="1076" y="283"/>
                  <a:pt x="1076" y="283"/>
                </a:cubicBezTo>
                <a:cubicBezTo>
                  <a:pt x="1076" y="282"/>
                  <a:pt x="1076" y="282"/>
                  <a:pt x="1076" y="282"/>
                </a:cubicBezTo>
                <a:cubicBezTo>
                  <a:pt x="1075" y="282"/>
                  <a:pt x="1075" y="282"/>
                  <a:pt x="1075" y="282"/>
                </a:cubicBezTo>
                <a:cubicBezTo>
                  <a:pt x="1074" y="282"/>
                  <a:pt x="1074" y="282"/>
                  <a:pt x="1074" y="282"/>
                </a:cubicBezTo>
                <a:cubicBezTo>
                  <a:pt x="1075" y="281"/>
                  <a:pt x="1075" y="281"/>
                  <a:pt x="1075" y="281"/>
                </a:cubicBezTo>
                <a:cubicBezTo>
                  <a:pt x="1076" y="281"/>
                  <a:pt x="1076" y="281"/>
                  <a:pt x="1076" y="281"/>
                </a:cubicBezTo>
                <a:cubicBezTo>
                  <a:pt x="1077" y="281"/>
                  <a:pt x="1077" y="281"/>
                  <a:pt x="1077" y="281"/>
                </a:cubicBezTo>
                <a:cubicBezTo>
                  <a:pt x="1078" y="281"/>
                  <a:pt x="1078" y="281"/>
                  <a:pt x="1078" y="281"/>
                </a:cubicBezTo>
                <a:cubicBezTo>
                  <a:pt x="1078" y="280"/>
                  <a:pt x="1078" y="280"/>
                  <a:pt x="1078" y="280"/>
                </a:cubicBezTo>
                <a:cubicBezTo>
                  <a:pt x="1078" y="279"/>
                  <a:pt x="1078" y="279"/>
                  <a:pt x="1078" y="279"/>
                </a:cubicBezTo>
                <a:cubicBezTo>
                  <a:pt x="1077" y="279"/>
                  <a:pt x="1077" y="279"/>
                  <a:pt x="1077" y="279"/>
                </a:cubicBezTo>
                <a:cubicBezTo>
                  <a:pt x="1076" y="280"/>
                  <a:pt x="1076" y="280"/>
                  <a:pt x="1076" y="280"/>
                </a:cubicBezTo>
                <a:cubicBezTo>
                  <a:pt x="1075" y="280"/>
                  <a:pt x="1075" y="280"/>
                  <a:pt x="1075" y="280"/>
                </a:cubicBezTo>
                <a:cubicBezTo>
                  <a:pt x="1073" y="279"/>
                  <a:pt x="1073" y="279"/>
                  <a:pt x="1073" y="279"/>
                </a:cubicBezTo>
                <a:cubicBezTo>
                  <a:pt x="1071" y="279"/>
                  <a:pt x="1071" y="279"/>
                  <a:pt x="1071" y="279"/>
                </a:cubicBezTo>
                <a:cubicBezTo>
                  <a:pt x="1071" y="278"/>
                  <a:pt x="1071" y="278"/>
                  <a:pt x="1071" y="278"/>
                </a:cubicBezTo>
                <a:cubicBezTo>
                  <a:pt x="1072" y="278"/>
                  <a:pt x="1072" y="278"/>
                  <a:pt x="1072" y="278"/>
                </a:cubicBezTo>
                <a:cubicBezTo>
                  <a:pt x="1073" y="278"/>
                  <a:pt x="1073" y="278"/>
                  <a:pt x="1073" y="278"/>
                </a:cubicBezTo>
                <a:cubicBezTo>
                  <a:pt x="1073" y="277"/>
                  <a:pt x="1073" y="277"/>
                  <a:pt x="1073" y="277"/>
                </a:cubicBezTo>
                <a:cubicBezTo>
                  <a:pt x="1072" y="277"/>
                  <a:pt x="1072" y="277"/>
                  <a:pt x="1072" y="277"/>
                </a:cubicBezTo>
                <a:cubicBezTo>
                  <a:pt x="1072" y="276"/>
                  <a:pt x="1072" y="276"/>
                  <a:pt x="1072" y="276"/>
                </a:cubicBezTo>
                <a:cubicBezTo>
                  <a:pt x="1073" y="276"/>
                  <a:pt x="1073" y="276"/>
                  <a:pt x="1073" y="276"/>
                </a:cubicBezTo>
                <a:cubicBezTo>
                  <a:pt x="1074" y="276"/>
                  <a:pt x="1074" y="276"/>
                  <a:pt x="1074" y="276"/>
                </a:cubicBezTo>
                <a:cubicBezTo>
                  <a:pt x="1075" y="276"/>
                  <a:pt x="1075" y="276"/>
                  <a:pt x="1075" y="276"/>
                </a:cubicBezTo>
                <a:cubicBezTo>
                  <a:pt x="1079" y="276"/>
                  <a:pt x="1079" y="276"/>
                  <a:pt x="1079" y="276"/>
                </a:cubicBezTo>
                <a:cubicBezTo>
                  <a:pt x="1080" y="276"/>
                  <a:pt x="1080" y="276"/>
                  <a:pt x="1080" y="276"/>
                </a:cubicBezTo>
                <a:cubicBezTo>
                  <a:pt x="1081" y="276"/>
                  <a:pt x="1081" y="276"/>
                  <a:pt x="1081" y="276"/>
                </a:cubicBezTo>
                <a:cubicBezTo>
                  <a:pt x="1082" y="276"/>
                  <a:pt x="1082" y="276"/>
                  <a:pt x="1082" y="276"/>
                </a:cubicBezTo>
                <a:cubicBezTo>
                  <a:pt x="1082" y="275"/>
                  <a:pt x="1082" y="275"/>
                  <a:pt x="1082" y="275"/>
                </a:cubicBezTo>
                <a:cubicBezTo>
                  <a:pt x="1080" y="275"/>
                  <a:pt x="1080" y="275"/>
                  <a:pt x="1080" y="275"/>
                </a:cubicBezTo>
                <a:cubicBezTo>
                  <a:pt x="1078" y="275"/>
                  <a:pt x="1078" y="275"/>
                  <a:pt x="1078" y="275"/>
                </a:cubicBezTo>
                <a:cubicBezTo>
                  <a:pt x="1076" y="275"/>
                  <a:pt x="1076" y="275"/>
                  <a:pt x="1076" y="275"/>
                </a:cubicBezTo>
                <a:cubicBezTo>
                  <a:pt x="1075" y="275"/>
                  <a:pt x="1075" y="275"/>
                  <a:pt x="1075" y="275"/>
                </a:cubicBezTo>
                <a:cubicBezTo>
                  <a:pt x="1074" y="275"/>
                  <a:pt x="1074" y="275"/>
                  <a:pt x="1074" y="275"/>
                </a:cubicBezTo>
                <a:cubicBezTo>
                  <a:pt x="1073" y="275"/>
                  <a:pt x="1073" y="275"/>
                  <a:pt x="1073" y="275"/>
                </a:cubicBezTo>
                <a:cubicBezTo>
                  <a:pt x="1072" y="276"/>
                  <a:pt x="1072" y="276"/>
                  <a:pt x="1072" y="276"/>
                </a:cubicBezTo>
                <a:cubicBezTo>
                  <a:pt x="1072" y="275"/>
                  <a:pt x="1072" y="275"/>
                  <a:pt x="1072" y="275"/>
                </a:cubicBezTo>
                <a:cubicBezTo>
                  <a:pt x="1073" y="274"/>
                  <a:pt x="1073" y="274"/>
                  <a:pt x="1073" y="274"/>
                </a:cubicBezTo>
                <a:cubicBezTo>
                  <a:pt x="1074" y="273"/>
                  <a:pt x="1074" y="273"/>
                  <a:pt x="1074" y="273"/>
                </a:cubicBezTo>
                <a:cubicBezTo>
                  <a:pt x="1075" y="273"/>
                  <a:pt x="1075" y="273"/>
                  <a:pt x="1075" y="273"/>
                </a:cubicBezTo>
                <a:cubicBezTo>
                  <a:pt x="1076" y="272"/>
                  <a:pt x="1076" y="272"/>
                  <a:pt x="1076" y="272"/>
                </a:cubicBezTo>
                <a:cubicBezTo>
                  <a:pt x="1076" y="271"/>
                  <a:pt x="1076" y="271"/>
                  <a:pt x="1076" y="271"/>
                </a:cubicBezTo>
                <a:cubicBezTo>
                  <a:pt x="1077" y="270"/>
                  <a:pt x="1077" y="270"/>
                  <a:pt x="1077" y="270"/>
                </a:cubicBezTo>
                <a:cubicBezTo>
                  <a:pt x="1078" y="270"/>
                  <a:pt x="1078" y="270"/>
                  <a:pt x="1078" y="270"/>
                </a:cubicBezTo>
                <a:cubicBezTo>
                  <a:pt x="1078" y="271"/>
                  <a:pt x="1078" y="271"/>
                  <a:pt x="1078" y="271"/>
                </a:cubicBezTo>
                <a:cubicBezTo>
                  <a:pt x="1079" y="271"/>
                  <a:pt x="1079" y="271"/>
                  <a:pt x="1079" y="271"/>
                </a:cubicBezTo>
                <a:cubicBezTo>
                  <a:pt x="1080" y="270"/>
                  <a:pt x="1080" y="270"/>
                  <a:pt x="1080" y="270"/>
                </a:cubicBezTo>
                <a:cubicBezTo>
                  <a:pt x="1081" y="270"/>
                  <a:pt x="1081" y="270"/>
                  <a:pt x="1081" y="270"/>
                </a:cubicBezTo>
                <a:cubicBezTo>
                  <a:pt x="1081" y="271"/>
                  <a:pt x="1081" y="271"/>
                  <a:pt x="1081" y="271"/>
                </a:cubicBezTo>
                <a:cubicBezTo>
                  <a:pt x="1082" y="271"/>
                  <a:pt x="1082" y="271"/>
                  <a:pt x="1082" y="271"/>
                </a:cubicBezTo>
                <a:cubicBezTo>
                  <a:pt x="1083" y="272"/>
                  <a:pt x="1083" y="272"/>
                  <a:pt x="1083" y="272"/>
                </a:cubicBezTo>
                <a:cubicBezTo>
                  <a:pt x="1085" y="272"/>
                  <a:pt x="1085" y="272"/>
                  <a:pt x="1085" y="272"/>
                </a:cubicBezTo>
                <a:cubicBezTo>
                  <a:pt x="1086" y="272"/>
                  <a:pt x="1086" y="272"/>
                  <a:pt x="1086" y="272"/>
                </a:cubicBezTo>
                <a:cubicBezTo>
                  <a:pt x="1087" y="274"/>
                  <a:pt x="1087" y="274"/>
                  <a:pt x="1087" y="274"/>
                </a:cubicBezTo>
                <a:cubicBezTo>
                  <a:pt x="1088" y="275"/>
                  <a:pt x="1088" y="275"/>
                  <a:pt x="1088" y="275"/>
                </a:cubicBezTo>
                <a:cubicBezTo>
                  <a:pt x="1090" y="275"/>
                  <a:pt x="1090" y="275"/>
                  <a:pt x="1090" y="275"/>
                </a:cubicBezTo>
                <a:cubicBezTo>
                  <a:pt x="1091" y="275"/>
                  <a:pt x="1091" y="275"/>
                  <a:pt x="1091" y="275"/>
                </a:cubicBezTo>
                <a:cubicBezTo>
                  <a:pt x="1092" y="274"/>
                  <a:pt x="1092" y="274"/>
                  <a:pt x="1092" y="274"/>
                </a:cubicBezTo>
                <a:cubicBezTo>
                  <a:pt x="1091" y="274"/>
                  <a:pt x="1091" y="274"/>
                  <a:pt x="1091" y="274"/>
                </a:cubicBezTo>
                <a:cubicBezTo>
                  <a:pt x="1090" y="274"/>
                  <a:pt x="1090" y="274"/>
                  <a:pt x="1090" y="274"/>
                </a:cubicBezTo>
                <a:cubicBezTo>
                  <a:pt x="1089" y="274"/>
                  <a:pt x="1089" y="274"/>
                  <a:pt x="1089" y="274"/>
                </a:cubicBezTo>
                <a:cubicBezTo>
                  <a:pt x="1088" y="273"/>
                  <a:pt x="1088" y="273"/>
                  <a:pt x="1088" y="273"/>
                </a:cubicBezTo>
                <a:cubicBezTo>
                  <a:pt x="1087" y="272"/>
                  <a:pt x="1087" y="272"/>
                  <a:pt x="1087" y="272"/>
                </a:cubicBezTo>
                <a:cubicBezTo>
                  <a:pt x="1087" y="271"/>
                  <a:pt x="1087" y="271"/>
                  <a:pt x="1087" y="271"/>
                </a:cubicBezTo>
                <a:cubicBezTo>
                  <a:pt x="1089" y="271"/>
                  <a:pt x="1089" y="271"/>
                  <a:pt x="1089" y="271"/>
                </a:cubicBezTo>
                <a:cubicBezTo>
                  <a:pt x="1091" y="271"/>
                  <a:pt x="1091" y="271"/>
                  <a:pt x="1091" y="271"/>
                </a:cubicBezTo>
                <a:cubicBezTo>
                  <a:pt x="1091" y="270"/>
                  <a:pt x="1091" y="270"/>
                  <a:pt x="1091" y="270"/>
                </a:cubicBezTo>
                <a:cubicBezTo>
                  <a:pt x="1091" y="269"/>
                  <a:pt x="1091" y="269"/>
                  <a:pt x="1091" y="269"/>
                </a:cubicBezTo>
                <a:cubicBezTo>
                  <a:pt x="1090" y="269"/>
                  <a:pt x="1090" y="269"/>
                  <a:pt x="1090" y="269"/>
                </a:cubicBezTo>
                <a:cubicBezTo>
                  <a:pt x="1089" y="269"/>
                  <a:pt x="1089" y="269"/>
                  <a:pt x="1089" y="269"/>
                </a:cubicBezTo>
                <a:cubicBezTo>
                  <a:pt x="1089" y="270"/>
                  <a:pt x="1089" y="270"/>
                  <a:pt x="1089" y="270"/>
                </a:cubicBezTo>
                <a:cubicBezTo>
                  <a:pt x="1087" y="270"/>
                  <a:pt x="1087" y="270"/>
                  <a:pt x="1087" y="270"/>
                </a:cubicBezTo>
                <a:cubicBezTo>
                  <a:pt x="1086" y="269"/>
                  <a:pt x="1086" y="269"/>
                  <a:pt x="1086" y="269"/>
                </a:cubicBezTo>
                <a:cubicBezTo>
                  <a:pt x="1087" y="269"/>
                  <a:pt x="1087" y="269"/>
                  <a:pt x="1087" y="269"/>
                </a:cubicBezTo>
                <a:cubicBezTo>
                  <a:pt x="1088" y="269"/>
                  <a:pt x="1088" y="269"/>
                  <a:pt x="1088" y="269"/>
                </a:cubicBezTo>
                <a:cubicBezTo>
                  <a:pt x="1087" y="268"/>
                  <a:pt x="1087" y="268"/>
                  <a:pt x="1087" y="268"/>
                </a:cubicBezTo>
                <a:cubicBezTo>
                  <a:pt x="1086" y="268"/>
                  <a:pt x="1086" y="268"/>
                  <a:pt x="1086" y="268"/>
                </a:cubicBezTo>
                <a:cubicBezTo>
                  <a:pt x="1085" y="268"/>
                  <a:pt x="1085" y="268"/>
                  <a:pt x="1085" y="268"/>
                </a:cubicBezTo>
                <a:cubicBezTo>
                  <a:pt x="1085" y="269"/>
                  <a:pt x="1085" y="269"/>
                  <a:pt x="1085" y="269"/>
                </a:cubicBezTo>
                <a:cubicBezTo>
                  <a:pt x="1086" y="269"/>
                  <a:pt x="1086" y="269"/>
                  <a:pt x="1086" y="269"/>
                </a:cubicBezTo>
                <a:cubicBezTo>
                  <a:pt x="1086" y="270"/>
                  <a:pt x="1086" y="270"/>
                  <a:pt x="1086" y="270"/>
                </a:cubicBezTo>
                <a:cubicBezTo>
                  <a:pt x="1085" y="271"/>
                  <a:pt x="1085" y="271"/>
                  <a:pt x="1085" y="271"/>
                </a:cubicBezTo>
                <a:cubicBezTo>
                  <a:pt x="1084" y="271"/>
                  <a:pt x="1084" y="271"/>
                  <a:pt x="1084" y="271"/>
                </a:cubicBezTo>
                <a:cubicBezTo>
                  <a:pt x="1083" y="271"/>
                  <a:pt x="1083" y="271"/>
                  <a:pt x="1083" y="271"/>
                </a:cubicBezTo>
                <a:cubicBezTo>
                  <a:pt x="1082" y="270"/>
                  <a:pt x="1082" y="270"/>
                  <a:pt x="1082" y="270"/>
                </a:cubicBezTo>
                <a:cubicBezTo>
                  <a:pt x="1081" y="270"/>
                  <a:pt x="1081" y="270"/>
                  <a:pt x="1081" y="270"/>
                </a:cubicBezTo>
                <a:cubicBezTo>
                  <a:pt x="1081" y="269"/>
                  <a:pt x="1081" y="269"/>
                  <a:pt x="1081" y="269"/>
                </a:cubicBezTo>
                <a:cubicBezTo>
                  <a:pt x="1080" y="269"/>
                  <a:pt x="1080" y="269"/>
                  <a:pt x="1080" y="269"/>
                </a:cubicBezTo>
                <a:cubicBezTo>
                  <a:pt x="1079" y="269"/>
                  <a:pt x="1079" y="269"/>
                  <a:pt x="1079" y="269"/>
                </a:cubicBezTo>
                <a:cubicBezTo>
                  <a:pt x="1078" y="269"/>
                  <a:pt x="1078" y="269"/>
                  <a:pt x="1078" y="269"/>
                </a:cubicBezTo>
                <a:cubicBezTo>
                  <a:pt x="1077" y="269"/>
                  <a:pt x="1077" y="269"/>
                  <a:pt x="1077" y="269"/>
                </a:cubicBezTo>
                <a:cubicBezTo>
                  <a:pt x="1076" y="270"/>
                  <a:pt x="1076" y="270"/>
                  <a:pt x="1076" y="270"/>
                </a:cubicBezTo>
                <a:cubicBezTo>
                  <a:pt x="1075" y="271"/>
                  <a:pt x="1075" y="271"/>
                  <a:pt x="1075" y="271"/>
                </a:cubicBezTo>
                <a:cubicBezTo>
                  <a:pt x="1074" y="272"/>
                  <a:pt x="1074" y="272"/>
                  <a:pt x="1074" y="272"/>
                </a:cubicBezTo>
                <a:cubicBezTo>
                  <a:pt x="1074" y="271"/>
                  <a:pt x="1074" y="271"/>
                  <a:pt x="1074" y="271"/>
                </a:cubicBezTo>
                <a:cubicBezTo>
                  <a:pt x="1075" y="269"/>
                  <a:pt x="1075" y="269"/>
                  <a:pt x="1075" y="269"/>
                </a:cubicBezTo>
                <a:cubicBezTo>
                  <a:pt x="1076" y="269"/>
                  <a:pt x="1076" y="269"/>
                  <a:pt x="1076" y="269"/>
                </a:cubicBezTo>
                <a:cubicBezTo>
                  <a:pt x="1076" y="268"/>
                  <a:pt x="1076" y="268"/>
                  <a:pt x="1076" y="268"/>
                </a:cubicBezTo>
                <a:cubicBezTo>
                  <a:pt x="1077" y="267"/>
                  <a:pt x="1077" y="267"/>
                  <a:pt x="1077" y="267"/>
                </a:cubicBezTo>
                <a:cubicBezTo>
                  <a:pt x="1078" y="266"/>
                  <a:pt x="1078" y="266"/>
                  <a:pt x="1078" y="266"/>
                </a:cubicBezTo>
                <a:cubicBezTo>
                  <a:pt x="1079" y="267"/>
                  <a:pt x="1079" y="267"/>
                  <a:pt x="1079" y="267"/>
                </a:cubicBezTo>
                <a:cubicBezTo>
                  <a:pt x="1080" y="267"/>
                  <a:pt x="1080" y="267"/>
                  <a:pt x="1080" y="267"/>
                </a:cubicBezTo>
                <a:cubicBezTo>
                  <a:pt x="1080" y="266"/>
                  <a:pt x="1080" y="266"/>
                  <a:pt x="1080" y="266"/>
                </a:cubicBezTo>
                <a:cubicBezTo>
                  <a:pt x="1078" y="265"/>
                  <a:pt x="1078" y="265"/>
                  <a:pt x="1078" y="265"/>
                </a:cubicBezTo>
                <a:cubicBezTo>
                  <a:pt x="1078" y="264"/>
                  <a:pt x="1078" y="264"/>
                  <a:pt x="1078" y="264"/>
                </a:cubicBezTo>
                <a:cubicBezTo>
                  <a:pt x="1077" y="264"/>
                  <a:pt x="1077" y="264"/>
                  <a:pt x="1077" y="264"/>
                </a:cubicBezTo>
                <a:cubicBezTo>
                  <a:pt x="1077" y="263"/>
                  <a:pt x="1077" y="263"/>
                  <a:pt x="1077" y="263"/>
                </a:cubicBezTo>
                <a:cubicBezTo>
                  <a:pt x="1078" y="263"/>
                  <a:pt x="1078" y="263"/>
                  <a:pt x="1078" y="263"/>
                </a:cubicBezTo>
                <a:cubicBezTo>
                  <a:pt x="1079" y="263"/>
                  <a:pt x="1079" y="263"/>
                  <a:pt x="1079" y="263"/>
                </a:cubicBezTo>
                <a:cubicBezTo>
                  <a:pt x="1080" y="265"/>
                  <a:pt x="1080" y="265"/>
                  <a:pt x="1080" y="265"/>
                </a:cubicBezTo>
                <a:cubicBezTo>
                  <a:pt x="1081" y="266"/>
                  <a:pt x="1081" y="266"/>
                  <a:pt x="1081" y="266"/>
                </a:cubicBezTo>
                <a:cubicBezTo>
                  <a:pt x="1081" y="265"/>
                  <a:pt x="1081" y="265"/>
                  <a:pt x="1081" y="265"/>
                </a:cubicBezTo>
                <a:cubicBezTo>
                  <a:pt x="1081" y="264"/>
                  <a:pt x="1081" y="264"/>
                  <a:pt x="1081" y="264"/>
                </a:cubicBezTo>
                <a:cubicBezTo>
                  <a:pt x="1082" y="265"/>
                  <a:pt x="1082" y="265"/>
                  <a:pt x="1082" y="265"/>
                </a:cubicBezTo>
                <a:cubicBezTo>
                  <a:pt x="1084" y="267"/>
                  <a:pt x="1084" y="267"/>
                  <a:pt x="1084" y="267"/>
                </a:cubicBezTo>
                <a:cubicBezTo>
                  <a:pt x="1085" y="267"/>
                  <a:pt x="1085" y="267"/>
                  <a:pt x="1085" y="267"/>
                </a:cubicBezTo>
                <a:cubicBezTo>
                  <a:pt x="1086" y="266"/>
                  <a:pt x="1086" y="266"/>
                  <a:pt x="1086" y="266"/>
                </a:cubicBezTo>
                <a:cubicBezTo>
                  <a:pt x="1087" y="266"/>
                  <a:pt x="1087" y="266"/>
                  <a:pt x="1087" y="266"/>
                </a:cubicBezTo>
                <a:cubicBezTo>
                  <a:pt x="1087" y="267"/>
                  <a:pt x="1087" y="267"/>
                  <a:pt x="1087" y="267"/>
                </a:cubicBezTo>
                <a:cubicBezTo>
                  <a:pt x="1089" y="268"/>
                  <a:pt x="1089" y="268"/>
                  <a:pt x="1089" y="268"/>
                </a:cubicBezTo>
                <a:cubicBezTo>
                  <a:pt x="1090" y="268"/>
                  <a:pt x="1090" y="268"/>
                  <a:pt x="1090" y="268"/>
                </a:cubicBezTo>
                <a:cubicBezTo>
                  <a:pt x="1091" y="268"/>
                  <a:pt x="1091" y="268"/>
                  <a:pt x="1091" y="268"/>
                </a:cubicBezTo>
                <a:cubicBezTo>
                  <a:pt x="1090" y="267"/>
                  <a:pt x="1090" y="267"/>
                  <a:pt x="1090" y="267"/>
                </a:cubicBezTo>
                <a:cubicBezTo>
                  <a:pt x="1087" y="265"/>
                  <a:pt x="1087" y="265"/>
                  <a:pt x="1087" y="265"/>
                </a:cubicBezTo>
                <a:cubicBezTo>
                  <a:pt x="1087" y="264"/>
                  <a:pt x="1087" y="264"/>
                  <a:pt x="1087" y="264"/>
                </a:cubicBezTo>
                <a:cubicBezTo>
                  <a:pt x="1088" y="263"/>
                  <a:pt x="1088" y="263"/>
                  <a:pt x="1088" y="263"/>
                </a:cubicBezTo>
                <a:cubicBezTo>
                  <a:pt x="1089" y="263"/>
                  <a:pt x="1089" y="263"/>
                  <a:pt x="1089" y="263"/>
                </a:cubicBezTo>
                <a:cubicBezTo>
                  <a:pt x="1089" y="262"/>
                  <a:pt x="1089" y="262"/>
                  <a:pt x="1089" y="262"/>
                </a:cubicBezTo>
                <a:cubicBezTo>
                  <a:pt x="1089" y="261"/>
                  <a:pt x="1089" y="261"/>
                  <a:pt x="1089" y="261"/>
                </a:cubicBezTo>
                <a:cubicBezTo>
                  <a:pt x="1088" y="262"/>
                  <a:pt x="1088" y="262"/>
                  <a:pt x="1088" y="262"/>
                </a:cubicBezTo>
                <a:cubicBezTo>
                  <a:pt x="1086" y="262"/>
                  <a:pt x="1086" y="262"/>
                  <a:pt x="1086" y="262"/>
                </a:cubicBezTo>
                <a:cubicBezTo>
                  <a:pt x="1087" y="263"/>
                  <a:pt x="1087" y="263"/>
                  <a:pt x="1087" y="263"/>
                </a:cubicBezTo>
                <a:cubicBezTo>
                  <a:pt x="1085" y="263"/>
                  <a:pt x="1085" y="263"/>
                  <a:pt x="1085" y="263"/>
                </a:cubicBezTo>
                <a:cubicBezTo>
                  <a:pt x="1085" y="264"/>
                  <a:pt x="1085" y="264"/>
                  <a:pt x="1085" y="264"/>
                </a:cubicBezTo>
                <a:cubicBezTo>
                  <a:pt x="1084" y="263"/>
                  <a:pt x="1084" y="263"/>
                  <a:pt x="1084" y="263"/>
                </a:cubicBezTo>
                <a:cubicBezTo>
                  <a:pt x="1083" y="264"/>
                  <a:pt x="1083" y="264"/>
                  <a:pt x="1083" y="264"/>
                </a:cubicBezTo>
                <a:cubicBezTo>
                  <a:pt x="1082" y="263"/>
                  <a:pt x="1082" y="263"/>
                  <a:pt x="1082" y="263"/>
                </a:cubicBezTo>
                <a:cubicBezTo>
                  <a:pt x="1081" y="263"/>
                  <a:pt x="1081" y="263"/>
                  <a:pt x="1081" y="263"/>
                </a:cubicBezTo>
                <a:cubicBezTo>
                  <a:pt x="1081" y="262"/>
                  <a:pt x="1081" y="262"/>
                  <a:pt x="1081" y="262"/>
                </a:cubicBezTo>
                <a:cubicBezTo>
                  <a:pt x="1082" y="261"/>
                  <a:pt x="1082" y="261"/>
                  <a:pt x="1082" y="261"/>
                </a:cubicBezTo>
                <a:cubicBezTo>
                  <a:pt x="1081" y="261"/>
                  <a:pt x="1081" y="261"/>
                  <a:pt x="1081" y="261"/>
                </a:cubicBezTo>
                <a:cubicBezTo>
                  <a:pt x="1083" y="260"/>
                  <a:pt x="1083" y="260"/>
                  <a:pt x="1083" y="260"/>
                </a:cubicBezTo>
                <a:cubicBezTo>
                  <a:pt x="1084" y="260"/>
                  <a:pt x="1084" y="260"/>
                  <a:pt x="1084" y="260"/>
                </a:cubicBezTo>
                <a:cubicBezTo>
                  <a:pt x="1085" y="260"/>
                  <a:pt x="1085" y="260"/>
                  <a:pt x="1085" y="260"/>
                </a:cubicBezTo>
                <a:cubicBezTo>
                  <a:pt x="1086" y="260"/>
                  <a:pt x="1086" y="260"/>
                  <a:pt x="1086" y="260"/>
                </a:cubicBezTo>
                <a:cubicBezTo>
                  <a:pt x="1087" y="260"/>
                  <a:pt x="1087" y="260"/>
                  <a:pt x="1087" y="260"/>
                </a:cubicBezTo>
                <a:cubicBezTo>
                  <a:pt x="1088" y="260"/>
                  <a:pt x="1088" y="260"/>
                  <a:pt x="1088" y="260"/>
                </a:cubicBezTo>
                <a:cubicBezTo>
                  <a:pt x="1089" y="260"/>
                  <a:pt x="1089" y="260"/>
                  <a:pt x="1089" y="260"/>
                </a:cubicBezTo>
                <a:cubicBezTo>
                  <a:pt x="1089" y="259"/>
                  <a:pt x="1089" y="259"/>
                  <a:pt x="1089" y="259"/>
                </a:cubicBezTo>
                <a:cubicBezTo>
                  <a:pt x="1090" y="259"/>
                  <a:pt x="1090" y="259"/>
                  <a:pt x="1090" y="259"/>
                </a:cubicBezTo>
                <a:cubicBezTo>
                  <a:pt x="1091" y="258"/>
                  <a:pt x="1091" y="258"/>
                  <a:pt x="1091" y="258"/>
                </a:cubicBezTo>
                <a:cubicBezTo>
                  <a:pt x="1091" y="257"/>
                  <a:pt x="1091" y="257"/>
                  <a:pt x="1091" y="257"/>
                </a:cubicBezTo>
                <a:cubicBezTo>
                  <a:pt x="1090" y="258"/>
                  <a:pt x="1090" y="258"/>
                  <a:pt x="1090" y="258"/>
                </a:cubicBezTo>
                <a:cubicBezTo>
                  <a:pt x="1089" y="258"/>
                  <a:pt x="1089" y="258"/>
                  <a:pt x="1089" y="258"/>
                </a:cubicBezTo>
                <a:cubicBezTo>
                  <a:pt x="1089" y="257"/>
                  <a:pt x="1089" y="257"/>
                  <a:pt x="1089" y="257"/>
                </a:cubicBezTo>
                <a:cubicBezTo>
                  <a:pt x="1090" y="256"/>
                  <a:pt x="1090" y="256"/>
                  <a:pt x="1090" y="256"/>
                </a:cubicBezTo>
                <a:cubicBezTo>
                  <a:pt x="1091" y="254"/>
                  <a:pt x="1091" y="254"/>
                  <a:pt x="1091" y="254"/>
                </a:cubicBezTo>
                <a:cubicBezTo>
                  <a:pt x="1090" y="253"/>
                  <a:pt x="1090" y="253"/>
                  <a:pt x="1090" y="253"/>
                </a:cubicBezTo>
                <a:cubicBezTo>
                  <a:pt x="1091" y="253"/>
                  <a:pt x="1091" y="253"/>
                  <a:pt x="1091" y="253"/>
                </a:cubicBezTo>
                <a:cubicBezTo>
                  <a:pt x="1092" y="254"/>
                  <a:pt x="1092" y="254"/>
                  <a:pt x="1092" y="254"/>
                </a:cubicBezTo>
                <a:cubicBezTo>
                  <a:pt x="1092" y="255"/>
                  <a:pt x="1092" y="255"/>
                  <a:pt x="1092" y="255"/>
                </a:cubicBezTo>
                <a:cubicBezTo>
                  <a:pt x="1093" y="255"/>
                  <a:pt x="1093" y="255"/>
                  <a:pt x="1093" y="255"/>
                </a:cubicBezTo>
                <a:cubicBezTo>
                  <a:pt x="1094" y="255"/>
                  <a:pt x="1094" y="255"/>
                  <a:pt x="1094" y="255"/>
                </a:cubicBezTo>
                <a:cubicBezTo>
                  <a:pt x="1094" y="256"/>
                  <a:pt x="1094" y="256"/>
                  <a:pt x="1094" y="256"/>
                </a:cubicBezTo>
                <a:cubicBezTo>
                  <a:pt x="1095" y="256"/>
                  <a:pt x="1095" y="256"/>
                  <a:pt x="1095" y="256"/>
                </a:cubicBezTo>
                <a:cubicBezTo>
                  <a:pt x="1096" y="256"/>
                  <a:pt x="1096" y="256"/>
                  <a:pt x="1096" y="256"/>
                </a:cubicBezTo>
                <a:cubicBezTo>
                  <a:pt x="1096" y="255"/>
                  <a:pt x="1096" y="255"/>
                  <a:pt x="1096" y="255"/>
                </a:cubicBezTo>
                <a:cubicBezTo>
                  <a:pt x="1095" y="255"/>
                  <a:pt x="1095" y="255"/>
                  <a:pt x="1095" y="255"/>
                </a:cubicBezTo>
                <a:cubicBezTo>
                  <a:pt x="1094" y="254"/>
                  <a:pt x="1094" y="254"/>
                  <a:pt x="1094" y="254"/>
                </a:cubicBezTo>
                <a:cubicBezTo>
                  <a:pt x="1095" y="254"/>
                  <a:pt x="1095" y="254"/>
                  <a:pt x="1095" y="254"/>
                </a:cubicBezTo>
                <a:cubicBezTo>
                  <a:pt x="1096" y="254"/>
                  <a:pt x="1096" y="254"/>
                  <a:pt x="1096" y="254"/>
                </a:cubicBezTo>
                <a:cubicBezTo>
                  <a:pt x="1096" y="253"/>
                  <a:pt x="1096" y="253"/>
                  <a:pt x="1096" y="253"/>
                </a:cubicBezTo>
                <a:cubicBezTo>
                  <a:pt x="1095" y="253"/>
                  <a:pt x="1095" y="253"/>
                  <a:pt x="1095" y="253"/>
                </a:cubicBezTo>
                <a:cubicBezTo>
                  <a:pt x="1094" y="252"/>
                  <a:pt x="1094" y="252"/>
                  <a:pt x="1094" y="252"/>
                </a:cubicBezTo>
                <a:cubicBezTo>
                  <a:pt x="1093" y="252"/>
                  <a:pt x="1093" y="252"/>
                  <a:pt x="1093" y="252"/>
                </a:cubicBezTo>
                <a:cubicBezTo>
                  <a:pt x="1092" y="252"/>
                  <a:pt x="1092" y="252"/>
                  <a:pt x="1092" y="252"/>
                </a:cubicBezTo>
                <a:cubicBezTo>
                  <a:pt x="1092" y="251"/>
                  <a:pt x="1092" y="251"/>
                  <a:pt x="1092" y="251"/>
                </a:cubicBezTo>
                <a:cubicBezTo>
                  <a:pt x="1093" y="251"/>
                  <a:pt x="1093" y="251"/>
                  <a:pt x="1093" y="251"/>
                </a:cubicBezTo>
                <a:cubicBezTo>
                  <a:pt x="1094" y="250"/>
                  <a:pt x="1094" y="250"/>
                  <a:pt x="1094" y="250"/>
                </a:cubicBezTo>
                <a:cubicBezTo>
                  <a:pt x="1094" y="249"/>
                  <a:pt x="1094" y="249"/>
                  <a:pt x="1094" y="249"/>
                </a:cubicBezTo>
                <a:cubicBezTo>
                  <a:pt x="1095" y="249"/>
                  <a:pt x="1095" y="249"/>
                  <a:pt x="1095" y="249"/>
                </a:cubicBezTo>
                <a:cubicBezTo>
                  <a:pt x="1096" y="249"/>
                  <a:pt x="1096" y="249"/>
                  <a:pt x="1096" y="249"/>
                </a:cubicBezTo>
                <a:cubicBezTo>
                  <a:pt x="1095" y="248"/>
                  <a:pt x="1095" y="248"/>
                  <a:pt x="1095" y="248"/>
                </a:cubicBezTo>
                <a:cubicBezTo>
                  <a:pt x="1094" y="248"/>
                  <a:pt x="1094" y="248"/>
                  <a:pt x="1094" y="248"/>
                </a:cubicBezTo>
                <a:cubicBezTo>
                  <a:pt x="1094" y="247"/>
                  <a:pt x="1094" y="247"/>
                  <a:pt x="1094" y="247"/>
                </a:cubicBezTo>
                <a:cubicBezTo>
                  <a:pt x="1096" y="247"/>
                  <a:pt x="1096" y="247"/>
                  <a:pt x="1096" y="247"/>
                </a:cubicBezTo>
                <a:cubicBezTo>
                  <a:pt x="1096" y="246"/>
                  <a:pt x="1096" y="246"/>
                  <a:pt x="1096" y="246"/>
                </a:cubicBezTo>
                <a:cubicBezTo>
                  <a:pt x="1097" y="246"/>
                  <a:pt x="1097" y="246"/>
                  <a:pt x="1097" y="246"/>
                </a:cubicBezTo>
                <a:cubicBezTo>
                  <a:pt x="1098" y="245"/>
                  <a:pt x="1098" y="245"/>
                  <a:pt x="1098" y="245"/>
                </a:cubicBezTo>
                <a:cubicBezTo>
                  <a:pt x="1097" y="244"/>
                  <a:pt x="1097" y="244"/>
                  <a:pt x="1097" y="244"/>
                </a:cubicBezTo>
                <a:cubicBezTo>
                  <a:pt x="1098" y="244"/>
                  <a:pt x="1098" y="244"/>
                  <a:pt x="1098" y="244"/>
                </a:cubicBezTo>
                <a:cubicBezTo>
                  <a:pt x="1098" y="243"/>
                  <a:pt x="1098" y="243"/>
                  <a:pt x="1098" y="243"/>
                </a:cubicBezTo>
                <a:cubicBezTo>
                  <a:pt x="1097" y="242"/>
                  <a:pt x="1097" y="242"/>
                  <a:pt x="1097" y="242"/>
                </a:cubicBezTo>
                <a:cubicBezTo>
                  <a:pt x="1096" y="243"/>
                  <a:pt x="1096" y="243"/>
                  <a:pt x="1096" y="243"/>
                </a:cubicBezTo>
                <a:cubicBezTo>
                  <a:pt x="1095" y="243"/>
                  <a:pt x="1095" y="243"/>
                  <a:pt x="1095" y="243"/>
                </a:cubicBezTo>
                <a:cubicBezTo>
                  <a:pt x="1094" y="243"/>
                  <a:pt x="1094" y="243"/>
                  <a:pt x="1094" y="243"/>
                </a:cubicBezTo>
                <a:cubicBezTo>
                  <a:pt x="1093" y="243"/>
                  <a:pt x="1093" y="243"/>
                  <a:pt x="1093" y="243"/>
                </a:cubicBezTo>
                <a:cubicBezTo>
                  <a:pt x="1092" y="243"/>
                  <a:pt x="1092" y="243"/>
                  <a:pt x="1092" y="243"/>
                </a:cubicBezTo>
                <a:cubicBezTo>
                  <a:pt x="1091" y="242"/>
                  <a:pt x="1091" y="242"/>
                  <a:pt x="1091" y="242"/>
                </a:cubicBezTo>
                <a:cubicBezTo>
                  <a:pt x="1091" y="243"/>
                  <a:pt x="1091" y="243"/>
                  <a:pt x="1091" y="243"/>
                </a:cubicBezTo>
                <a:cubicBezTo>
                  <a:pt x="1090" y="242"/>
                  <a:pt x="1090" y="242"/>
                  <a:pt x="1090" y="242"/>
                </a:cubicBezTo>
                <a:cubicBezTo>
                  <a:pt x="1089" y="241"/>
                  <a:pt x="1089" y="241"/>
                  <a:pt x="1089" y="241"/>
                </a:cubicBezTo>
                <a:cubicBezTo>
                  <a:pt x="1088" y="241"/>
                  <a:pt x="1088" y="241"/>
                  <a:pt x="1088" y="241"/>
                </a:cubicBezTo>
                <a:cubicBezTo>
                  <a:pt x="1087" y="241"/>
                  <a:pt x="1087" y="241"/>
                  <a:pt x="1087" y="241"/>
                </a:cubicBezTo>
                <a:cubicBezTo>
                  <a:pt x="1087" y="240"/>
                  <a:pt x="1087" y="240"/>
                  <a:pt x="1087" y="240"/>
                </a:cubicBezTo>
                <a:cubicBezTo>
                  <a:pt x="1087" y="239"/>
                  <a:pt x="1087" y="239"/>
                  <a:pt x="1087" y="239"/>
                </a:cubicBezTo>
                <a:cubicBezTo>
                  <a:pt x="1085" y="238"/>
                  <a:pt x="1085" y="238"/>
                  <a:pt x="1085" y="238"/>
                </a:cubicBezTo>
                <a:cubicBezTo>
                  <a:pt x="1083" y="237"/>
                  <a:pt x="1083" y="237"/>
                  <a:pt x="1083" y="237"/>
                </a:cubicBezTo>
                <a:cubicBezTo>
                  <a:pt x="1081" y="237"/>
                  <a:pt x="1081" y="237"/>
                  <a:pt x="1081" y="237"/>
                </a:cubicBezTo>
                <a:cubicBezTo>
                  <a:pt x="1080" y="236"/>
                  <a:pt x="1080" y="236"/>
                  <a:pt x="1080" y="236"/>
                </a:cubicBezTo>
                <a:cubicBezTo>
                  <a:pt x="1080" y="235"/>
                  <a:pt x="1080" y="235"/>
                  <a:pt x="1080" y="235"/>
                </a:cubicBezTo>
                <a:cubicBezTo>
                  <a:pt x="1080" y="233"/>
                  <a:pt x="1080" y="233"/>
                  <a:pt x="1080" y="233"/>
                </a:cubicBezTo>
                <a:cubicBezTo>
                  <a:pt x="1079" y="233"/>
                  <a:pt x="1079" y="233"/>
                  <a:pt x="1079" y="233"/>
                </a:cubicBezTo>
                <a:cubicBezTo>
                  <a:pt x="1079" y="232"/>
                  <a:pt x="1079" y="232"/>
                  <a:pt x="1079" y="232"/>
                </a:cubicBezTo>
                <a:cubicBezTo>
                  <a:pt x="1079" y="231"/>
                  <a:pt x="1079" y="231"/>
                  <a:pt x="1079" y="231"/>
                </a:cubicBezTo>
                <a:cubicBezTo>
                  <a:pt x="1080" y="230"/>
                  <a:pt x="1080" y="230"/>
                  <a:pt x="1080" y="230"/>
                </a:cubicBezTo>
                <a:cubicBezTo>
                  <a:pt x="1081" y="230"/>
                  <a:pt x="1081" y="230"/>
                  <a:pt x="1081" y="230"/>
                </a:cubicBezTo>
                <a:cubicBezTo>
                  <a:pt x="1082" y="230"/>
                  <a:pt x="1082" y="230"/>
                  <a:pt x="1082" y="230"/>
                </a:cubicBezTo>
                <a:cubicBezTo>
                  <a:pt x="1084" y="230"/>
                  <a:pt x="1084" y="230"/>
                  <a:pt x="1084" y="230"/>
                </a:cubicBezTo>
                <a:cubicBezTo>
                  <a:pt x="1085" y="231"/>
                  <a:pt x="1085" y="231"/>
                  <a:pt x="1085" y="231"/>
                </a:cubicBezTo>
                <a:cubicBezTo>
                  <a:pt x="1086" y="231"/>
                  <a:pt x="1086" y="231"/>
                  <a:pt x="1086" y="231"/>
                </a:cubicBezTo>
                <a:cubicBezTo>
                  <a:pt x="1087" y="232"/>
                  <a:pt x="1087" y="232"/>
                  <a:pt x="1087" y="232"/>
                </a:cubicBezTo>
                <a:cubicBezTo>
                  <a:pt x="1088" y="232"/>
                  <a:pt x="1088" y="232"/>
                  <a:pt x="1088" y="232"/>
                </a:cubicBezTo>
                <a:cubicBezTo>
                  <a:pt x="1089" y="232"/>
                  <a:pt x="1089" y="232"/>
                  <a:pt x="1089" y="232"/>
                </a:cubicBezTo>
                <a:cubicBezTo>
                  <a:pt x="1090" y="233"/>
                  <a:pt x="1090" y="233"/>
                  <a:pt x="1090" y="233"/>
                </a:cubicBezTo>
                <a:cubicBezTo>
                  <a:pt x="1091" y="233"/>
                  <a:pt x="1091" y="233"/>
                  <a:pt x="1091" y="233"/>
                </a:cubicBezTo>
                <a:cubicBezTo>
                  <a:pt x="1091" y="234"/>
                  <a:pt x="1091" y="234"/>
                  <a:pt x="1091" y="234"/>
                </a:cubicBezTo>
                <a:cubicBezTo>
                  <a:pt x="1092" y="236"/>
                  <a:pt x="1092" y="236"/>
                  <a:pt x="1092" y="236"/>
                </a:cubicBezTo>
                <a:cubicBezTo>
                  <a:pt x="1093" y="237"/>
                  <a:pt x="1093" y="237"/>
                  <a:pt x="1093" y="237"/>
                </a:cubicBezTo>
                <a:cubicBezTo>
                  <a:pt x="1094" y="238"/>
                  <a:pt x="1094" y="238"/>
                  <a:pt x="1094" y="238"/>
                </a:cubicBezTo>
                <a:cubicBezTo>
                  <a:pt x="1095" y="239"/>
                  <a:pt x="1095" y="239"/>
                  <a:pt x="1095" y="239"/>
                </a:cubicBezTo>
                <a:cubicBezTo>
                  <a:pt x="1096" y="239"/>
                  <a:pt x="1096" y="239"/>
                  <a:pt x="1096" y="239"/>
                </a:cubicBezTo>
                <a:cubicBezTo>
                  <a:pt x="1097" y="239"/>
                  <a:pt x="1097" y="239"/>
                  <a:pt x="1097" y="239"/>
                </a:cubicBezTo>
                <a:cubicBezTo>
                  <a:pt x="1097" y="238"/>
                  <a:pt x="1097" y="238"/>
                  <a:pt x="1097" y="238"/>
                </a:cubicBezTo>
                <a:cubicBezTo>
                  <a:pt x="1096" y="238"/>
                  <a:pt x="1096" y="238"/>
                  <a:pt x="1096" y="238"/>
                </a:cubicBezTo>
                <a:cubicBezTo>
                  <a:pt x="1095" y="238"/>
                  <a:pt x="1095" y="238"/>
                  <a:pt x="1095" y="238"/>
                </a:cubicBezTo>
                <a:cubicBezTo>
                  <a:pt x="1094" y="236"/>
                  <a:pt x="1094" y="236"/>
                  <a:pt x="1094" y="236"/>
                </a:cubicBezTo>
                <a:cubicBezTo>
                  <a:pt x="1095" y="237"/>
                  <a:pt x="1095" y="237"/>
                  <a:pt x="1095" y="237"/>
                </a:cubicBezTo>
                <a:cubicBezTo>
                  <a:pt x="1096" y="237"/>
                  <a:pt x="1096" y="237"/>
                  <a:pt x="1096" y="237"/>
                </a:cubicBezTo>
                <a:cubicBezTo>
                  <a:pt x="1096" y="236"/>
                  <a:pt x="1096" y="236"/>
                  <a:pt x="1096" y="236"/>
                </a:cubicBezTo>
                <a:cubicBezTo>
                  <a:pt x="1097" y="236"/>
                  <a:pt x="1097" y="236"/>
                  <a:pt x="1097" y="236"/>
                </a:cubicBezTo>
                <a:cubicBezTo>
                  <a:pt x="1095" y="235"/>
                  <a:pt x="1095" y="235"/>
                  <a:pt x="1095" y="235"/>
                </a:cubicBezTo>
                <a:cubicBezTo>
                  <a:pt x="1094" y="233"/>
                  <a:pt x="1094" y="233"/>
                  <a:pt x="1094" y="233"/>
                </a:cubicBezTo>
                <a:cubicBezTo>
                  <a:pt x="1094" y="232"/>
                  <a:pt x="1094" y="232"/>
                  <a:pt x="1094" y="232"/>
                </a:cubicBezTo>
                <a:cubicBezTo>
                  <a:pt x="1095" y="233"/>
                  <a:pt x="1095" y="233"/>
                  <a:pt x="1095" y="233"/>
                </a:cubicBezTo>
                <a:cubicBezTo>
                  <a:pt x="1096" y="233"/>
                  <a:pt x="1096" y="233"/>
                  <a:pt x="1096" y="233"/>
                </a:cubicBezTo>
                <a:cubicBezTo>
                  <a:pt x="1095" y="232"/>
                  <a:pt x="1095" y="232"/>
                  <a:pt x="1095" y="232"/>
                </a:cubicBezTo>
                <a:cubicBezTo>
                  <a:pt x="1094" y="231"/>
                  <a:pt x="1094" y="231"/>
                  <a:pt x="1094" y="231"/>
                </a:cubicBezTo>
                <a:cubicBezTo>
                  <a:pt x="1093" y="230"/>
                  <a:pt x="1093" y="230"/>
                  <a:pt x="1093" y="230"/>
                </a:cubicBezTo>
                <a:cubicBezTo>
                  <a:pt x="1093" y="229"/>
                  <a:pt x="1093" y="229"/>
                  <a:pt x="1093" y="229"/>
                </a:cubicBezTo>
                <a:cubicBezTo>
                  <a:pt x="1094" y="230"/>
                  <a:pt x="1094" y="230"/>
                  <a:pt x="1094" y="230"/>
                </a:cubicBezTo>
                <a:cubicBezTo>
                  <a:pt x="1096" y="230"/>
                  <a:pt x="1096" y="230"/>
                  <a:pt x="1096" y="230"/>
                </a:cubicBezTo>
                <a:cubicBezTo>
                  <a:pt x="1097" y="230"/>
                  <a:pt x="1097" y="230"/>
                  <a:pt x="1097" y="230"/>
                </a:cubicBezTo>
                <a:cubicBezTo>
                  <a:pt x="1097" y="229"/>
                  <a:pt x="1097" y="229"/>
                  <a:pt x="1097" y="229"/>
                </a:cubicBezTo>
                <a:cubicBezTo>
                  <a:pt x="1096" y="228"/>
                  <a:pt x="1096" y="228"/>
                  <a:pt x="1096" y="228"/>
                </a:cubicBezTo>
                <a:cubicBezTo>
                  <a:pt x="1095" y="229"/>
                  <a:pt x="1095" y="229"/>
                  <a:pt x="1095" y="229"/>
                </a:cubicBezTo>
                <a:cubicBezTo>
                  <a:pt x="1094" y="229"/>
                  <a:pt x="1094" y="229"/>
                  <a:pt x="1094" y="229"/>
                </a:cubicBezTo>
                <a:cubicBezTo>
                  <a:pt x="1093" y="229"/>
                  <a:pt x="1093" y="229"/>
                  <a:pt x="1093" y="229"/>
                </a:cubicBezTo>
                <a:cubicBezTo>
                  <a:pt x="1093" y="228"/>
                  <a:pt x="1093" y="228"/>
                  <a:pt x="1093" y="228"/>
                </a:cubicBezTo>
                <a:cubicBezTo>
                  <a:pt x="1093" y="227"/>
                  <a:pt x="1093" y="227"/>
                  <a:pt x="1093" y="227"/>
                </a:cubicBezTo>
                <a:cubicBezTo>
                  <a:pt x="1095" y="227"/>
                  <a:pt x="1095" y="227"/>
                  <a:pt x="1095" y="227"/>
                </a:cubicBezTo>
                <a:cubicBezTo>
                  <a:pt x="1096" y="227"/>
                  <a:pt x="1096" y="227"/>
                  <a:pt x="1096" y="227"/>
                </a:cubicBezTo>
                <a:cubicBezTo>
                  <a:pt x="1096" y="226"/>
                  <a:pt x="1096" y="226"/>
                  <a:pt x="1096" y="226"/>
                </a:cubicBezTo>
                <a:cubicBezTo>
                  <a:pt x="1095" y="225"/>
                  <a:pt x="1095" y="225"/>
                  <a:pt x="1095" y="225"/>
                </a:cubicBezTo>
                <a:cubicBezTo>
                  <a:pt x="1094" y="226"/>
                  <a:pt x="1094" y="226"/>
                  <a:pt x="1094" y="226"/>
                </a:cubicBezTo>
                <a:cubicBezTo>
                  <a:pt x="1093" y="226"/>
                  <a:pt x="1093" y="226"/>
                  <a:pt x="1093" y="226"/>
                </a:cubicBezTo>
                <a:cubicBezTo>
                  <a:pt x="1092" y="228"/>
                  <a:pt x="1092" y="228"/>
                  <a:pt x="1092" y="228"/>
                </a:cubicBezTo>
                <a:cubicBezTo>
                  <a:pt x="1091" y="228"/>
                  <a:pt x="1091" y="228"/>
                  <a:pt x="1091" y="228"/>
                </a:cubicBezTo>
                <a:cubicBezTo>
                  <a:pt x="1091" y="227"/>
                  <a:pt x="1091" y="227"/>
                  <a:pt x="1091" y="227"/>
                </a:cubicBezTo>
                <a:cubicBezTo>
                  <a:pt x="1092" y="227"/>
                  <a:pt x="1092" y="227"/>
                  <a:pt x="1092" y="227"/>
                </a:cubicBezTo>
                <a:cubicBezTo>
                  <a:pt x="1092" y="226"/>
                  <a:pt x="1092" y="226"/>
                  <a:pt x="1092" y="226"/>
                </a:cubicBezTo>
                <a:cubicBezTo>
                  <a:pt x="1093" y="225"/>
                  <a:pt x="1093" y="225"/>
                  <a:pt x="1093" y="225"/>
                </a:cubicBezTo>
                <a:cubicBezTo>
                  <a:pt x="1094" y="225"/>
                  <a:pt x="1094" y="225"/>
                  <a:pt x="1094" y="225"/>
                </a:cubicBezTo>
                <a:cubicBezTo>
                  <a:pt x="1095" y="224"/>
                  <a:pt x="1095" y="224"/>
                  <a:pt x="1095" y="224"/>
                </a:cubicBezTo>
                <a:cubicBezTo>
                  <a:pt x="1096" y="224"/>
                  <a:pt x="1096" y="224"/>
                  <a:pt x="1096" y="224"/>
                </a:cubicBezTo>
                <a:cubicBezTo>
                  <a:pt x="1096" y="223"/>
                  <a:pt x="1096" y="223"/>
                  <a:pt x="1096" y="223"/>
                </a:cubicBezTo>
                <a:cubicBezTo>
                  <a:pt x="1094" y="223"/>
                  <a:pt x="1094" y="223"/>
                  <a:pt x="1094" y="223"/>
                </a:cubicBezTo>
                <a:cubicBezTo>
                  <a:pt x="1093" y="224"/>
                  <a:pt x="1093" y="224"/>
                  <a:pt x="1093" y="224"/>
                </a:cubicBezTo>
                <a:cubicBezTo>
                  <a:pt x="1092" y="224"/>
                  <a:pt x="1092" y="224"/>
                  <a:pt x="1092" y="224"/>
                </a:cubicBezTo>
                <a:cubicBezTo>
                  <a:pt x="1091" y="224"/>
                  <a:pt x="1091" y="224"/>
                  <a:pt x="1091" y="224"/>
                </a:cubicBezTo>
                <a:cubicBezTo>
                  <a:pt x="1090" y="224"/>
                  <a:pt x="1090" y="224"/>
                  <a:pt x="1090" y="224"/>
                </a:cubicBezTo>
                <a:cubicBezTo>
                  <a:pt x="1090" y="223"/>
                  <a:pt x="1090" y="223"/>
                  <a:pt x="1090" y="223"/>
                </a:cubicBezTo>
                <a:cubicBezTo>
                  <a:pt x="1091" y="222"/>
                  <a:pt x="1091" y="222"/>
                  <a:pt x="1091" y="222"/>
                </a:cubicBezTo>
                <a:cubicBezTo>
                  <a:pt x="1092" y="222"/>
                  <a:pt x="1092" y="222"/>
                  <a:pt x="1092" y="222"/>
                </a:cubicBezTo>
                <a:cubicBezTo>
                  <a:pt x="1093" y="222"/>
                  <a:pt x="1093" y="222"/>
                  <a:pt x="1093" y="222"/>
                </a:cubicBezTo>
                <a:cubicBezTo>
                  <a:pt x="1095" y="221"/>
                  <a:pt x="1095" y="221"/>
                  <a:pt x="1095" y="221"/>
                </a:cubicBezTo>
                <a:cubicBezTo>
                  <a:pt x="1097" y="220"/>
                  <a:pt x="1097" y="220"/>
                  <a:pt x="1097" y="220"/>
                </a:cubicBezTo>
                <a:cubicBezTo>
                  <a:pt x="1096" y="220"/>
                  <a:pt x="1096" y="220"/>
                  <a:pt x="1096" y="220"/>
                </a:cubicBezTo>
                <a:cubicBezTo>
                  <a:pt x="1095" y="220"/>
                  <a:pt x="1095" y="220"/>
                  <a:pt x="1095" y="220"/>
                </a:cubicBezTo>
                <a:cubicBezTo>
                  <a:pt x="1094" y="221"/>
                  <a:pt x="1094" y="221"/>
                  <a:pt x="1094" y="221"/>
                </a:cubicBezTo>
                <a:cubicBezTo>
                  <a:pt x="1093" y="220"/>
                  <a:pt x="1093" y="220"/>
                  <a:pt x="1093" y="220"/>
                </a:cubicBezTo>
                <a:cubicBezTo>
                  <a:pt x="1092" y="219"/>
                  <a:pt x="1092" y="219"/>
                  <a:pt x="1092" y="219"/>
                </a:cubicBezTo>
                <a:cubicBezTo>
                  <a:pt x="1091" y="219"/>
                  <a:pt x="1091" y="219"/>
                  <a:pt x="1091" y="219"/>
                </a:cubicBezTo>
                <a:cubicBezTo>
                  <a:pt x="1092" y="218"/>
                  <a:pt x="1092" y="218"/>
                  <a:pt x="1092" y="218"/>
                </a:cubicBezTo>
                <a:cubicBezTo>
                  <a:pt x="1092" y="217"/>
                  <a:pt x="1092" y="217"/>
                  <a:pt x="1092" y="217"/>
                </a:cubicBezTo>
                <a:cubicBezTo>
                  <a:pt x="1093" y="216"/>
                  <a:pt x="1093" y="216"/>
                  <a:pt x="1093" y="216"/>
                </a:cubicBezTo>
                <a:cubicBezTo>
                  <a:pt x="1093" y="215"/>
                  <a:pt x="1093" y="215"/>
                  <a:pt x="1093" y="215"/>
                </a:cubicBezTo>
                <a:cubicBezTo>
                  <a:pt x="1092" y="216"/>
                  <a:pt x="1092" y="216"/>
                  <a:pt x="1092" y="216"/>
                </a:cubicBezTo>
                <a:cubicBezTo>
                  <a:pt x="1091" y="217"/>
                  <a:pt x="1091" y="217"/>
                  <a:pt x="1091" y="217"/>
                </a:cubicBezTo>
                <a:cubicBezTo>
                  <a:pt x="1091" y="218"/>
                  <a:pt x="1091" y="218"/>
                  <a:pt x="1091" y="218"/>
                </a:cubicBezTo>
                <a:cubicBezTo>
                  <a:pt x="1090" y="218"/>
                  <a:pt x="1090" y="218"/>
                  <a:pt x="1090" y="218"/>
                </a:cubicBezTo>
                <a:cubicBezTo>
                  <a:pt x="1090" y="219"/>
                  <a:pt x="1090" y="219"/>
                  <a:pt x="1090" y="219"/>
                </a:cubicBezTo>
                <a:cubicBezTo>
                  <a:pt x="1089" y="219"/>
                  <a:pt x="1089" y="219"/>
                  <a:pt x="1089" y="219"/>
                </a:cubicBezTo>
                <a:cubicBezTo>
                  <a:pt x="1089" y="218"/>
                  <a:pt x="1089" y="218"/>
                  <a:pt x="1089" y="218"/>
                </a:cubicBezTo>
                <a:cubicBezTo>
                  <a:pt x="1088" y="219"/>
                  <a:pt x="1088" y="219"/>
                  <a:pt x="1088" y="219"/>
                </a:cubicBezTo>
                <a:cubicBezTo>
                  <a:pt x="1087" y="218"/>
                  <a:pt x="1087" y="218"/>
                  <a:pt x="1087" y="218"/>
                </a:cubicBezTo>
                <a:cubicBezTo>
                  <a:pt x="1087" y="217"/>
                  <a:pt x="1087" y="217"/>
                  <a:pt x="1087" y="217"/>
                </a:cubicBezTo>
                <a:cubicBezTo>
                  <a:pt x="1086" y="219"/>
                  <a:pt x="1086" y="219"/>
                  <a:pt x="1086" y="219"/>
                </a:cubicBezTo>
                <a:cubicBezTo>
                  <a:pt x="1085" y="219"/>
                  <a:pt x="1085" y="219"/>
                  <a:pt x="1085" y="219"/>
                </a:cubicBezTo>
                <a:cubicBezTo>
                  <a:pt x="1086" y="220"/>
                  <a:pt x="1086" y="220"/>
                  <a:pt x="1086" y="220"/>
                </a:cubicBezTo>
                <a:cubicBezTo>
                  <a:pt x="1086" y="221"/>
                  <a:pt x="1086" y="221"/>
                  <a:pt x="1086" y="221"/>
                </a:cubicBezTo>
                <a:cubicBezTo>
                  <a:pt x="1086" y="222"/>
                  <a:pt x="1086" y="222"/>
                  <a:pt x="1086" y="222"/>
                </a:cubicBezTo>
                <a:cubicBezTo>
                  <a:pt x="1085" y="222"/>
                  <a:pt x="1085" y="222"/>
                  <a:pt x="1085" y="222"/>
                </a:cubicBezTo>
                <a:cubicBezTo>
                  <a:pt x="1084" y="223"/>
                  <a:pt x="1084" y="223"/>
                  <a:pt x="1084" y="223"/>
                </a:cubicBezTo>
                <a:cubicBezTo>
                  <a:pt x="1084" y="222"/>
                  <a:pt x="1084" y="222"/>
                  <a:pt x="1084" y="222"/>
                </a:cubicBezTo>
                <a:cubicBezTo>
                  <a:pt x="1083" y="223"/>
                  <a:pt x="1083" y="223"/>
                  <a:pt x="1083" y="223"/>
                </a:cubicBezTo>
                <a:cubicBezTo>
                  <a:pt x="1082" y="223"/>
                  <a:pt x="1082" y="223"/>
                  <a:pt x="1082" y="223"/>
                </a:cubicBezTo>
                <a:cubicBezTo>
                  <a:pt x="1081" y="223"/>
                  <a:pt x="1081" y="223"/>
                  <a:pt x="1081" y="223"/>
                </a:cubicBezTo>
                <a:cubicBezTo>
                  <a:pt x="1080" y="223"/>
                  <a:pt x="1080" y="223"/>
                  <a:pt x="1080" y="223"/>
                </a:cubicBezTo>
                <a:cubicBezTo>
                  <a:pt x="1080" y="222"/>
                  <a:pt x="1080" y="222"/>
                  <a:pt x="1080" y="222"/>
                </a:cubicBezTo>
                <a:cubicBezTo>
                  <a:pt x="1080" y="221"/>
                  <a:pt x="1080" y="221"/>
                  <a:pt x="1080" y="221"/>
                </a:cubicBezTo>
                <a:cubicBezTo>
                  <a:pt x="1079" y="221"/>
                  <a:pt x="1079" y="221"/>
                  <a:pt x="1079" y="221"/>
                </a:cubicBezTo>
                <a:cubicBezTo>
                  <a:pt x="1079" y="222"/>
                  <a:pt x="1079" y="222"/>
                  <a:pt x="1079" y="222"/>
                </a:cubicBezTo>
                <a:cubicBezTo>
                  <a:pt x="1078" y="222"/>
                  <a:pt x="1078" y="222"/>
                  <a:pt x="1078" y="222"/>
                </a:cubicBezTo>
                <a:cubicBezTo>
                  <a:pt x="1078" y="220"/>
                  <a:pt x="1078" y="220"/>
                  <a:pt x="1078" y="220"/>
                </a:cubicBezTo>
                <a:cubicBezTo>
                  <a:pt x="1078" y="219"/>
                  <a:pt x="1078" y="219"/>
                  <a:pt x="1078" y="219"/>
                </a:cubicBezTo>
                <a:cubicBezTo>
                  <a:pt x="1078" y="218"/>
                  <a:pt x="1078" y="218"/>
                  <a:pt x="1078" y="218"/>
                </a:cubicBezTo>
                <a:cubicBezTo>
                  <a:pt x="1079" y="217"/>
                  <a:pt x="1079" y="217"/>
                  <a:pt x="1079" y="217"/>
                </a:cubicBezTo>
                <a:cubicBezTo>
                  <a:pt x="1080" y="217"/>
                  <a:pt x="1080" y="217"/>
                  <a:pt x="1080" y="217"/>
                </a:cubicBezTo>
                <a:cubicBezTo>
                  <a:pt x="1081" y="216"/>
                  <a:pt x="1081" y="216"/>
                  <a:pt x="1081" y="216"/>
                </a:cubicBezTo>
                <a:cubicBezTo>
                  <a:pt x="1083" y="216"/>
                  <a:pt x="1083" y="216"/>
                  <a:pt x="1083" y="216"/>
                </a:cubicBezTo>
                <a:cubicBezTo>
                  <a:pt x="1084" y="216"/>
                  <a:pt x="1084" y="216"/>
                  <a:pt x="1084" y="216"/>
                </a:cubicBezTo>
                <a:cubicBezTo>
                  <a:pt x="1085" y="214"/>
                  <a:pt x="1085" y="214"/>
                  <a:pt x="1085" y="214"/>
                </a:cubicBezTo>
                <a:cubicBezTo>
                  <a:pt x="1086" y="213"/>
                  <a:pt x="1086" y="213"/>
                  <a:pt x="1086" y="213"/>
                </a:cubicBezTo>
                <a:cubicBezTo>
                  <a:pt x="1086" y="212"/>
                  <a:pt x="1086" y="212"/>
                  <a:pt x="1086" y="212"/>
                </a:cubicBezTo>
                <a:cubicBezTo>
                  <a:pt x="1085" y="212"/>
                  <a:pt x="1085" y="212"/>
                  <a:pt x="1085" y="212"/>
                </a:cubicBezTo>
                <a:cubicBezTo>
                  <a:pt x="1085" y="213"/>
                  <a:pt x="1085" y="213"/>
                  <a:pt x="1085" y="213"/>
                </a:cubicBezTo>
                <a:cubicBezTo>
                  <a:pt x="1084" y="215"/>
                  <a:pt x="1084" y="215"/>
                  <a:pt x="1084" y="215"/>
                </a:cubicBezTo>
                <a:cubicBezTo>
                  <a:pt x="1082" y="215"/>
                  <a:pt x="1082" y="215"/>
                  <a:pt x="1082" y="215"/>
                </a:cubicBezTo>
                <a:cubicBezTo>
                  <a:pt x="1081" y="215"/>
                  <a:pt x="1081" y="215"/>
                  <a:pt x="1081" y="215"/>
                </a:cubicBezTo>
                <a:cubicBezTo>
                  <a:pt x="1080" y="214"/>
                  <a:pt x="1080" y="214"/>
                  <a:pt x="1080" y="214"/>
                </a:cubicBezTo>
                <a:cubicBezTo>
                  <a:pt x="1080" y="213"/>
                  <a:pt x="1080" y="213"/>
                  <a:pt x="1080" y="213"/>
                </a:cubicBezTo>
                <a:cubicBezTo>
                  <a:pt x="1081" y="213"/>
                  <a:pt x="1081" y="213"/>
                  <a:pt x="1081" y="213"/>
                </a:cubicBezTo>
                <a:cubicBezTo>
                  <a:pt x="1082" y="211"/>
                  <a:pt x="1082" y="211"/>
                  <a:pt x="1082" y="211"/>
                </a:cubicBezTo>
                <a:cubicBezTo>
                  <a:pt x="1083" y="211"/>
                  <a:pt x="1083" y="211"/>
                  <a:pt x="1083" y="211"/>
                </a:cubicBezTo>
                <a:cubicBezTo>
                  <a:pt x="1083" y="210"/>
                  <a:pt x="1083" y="210"/>
                  <a:pt x="1083" y="210"/>
                </a:cubicBezTo>
                <a:cubicBezTo>
                  <a:pt x="1084" y="210"/>
                  <a:pt x="1084" y="210"/>
                  <a:pt x="1084" y="210"/>
                </a:cubicBezTo>
                <a:cubicBezTo>
                  <a:pt x="1085" y="209"/>
                  <a:pt x="1085" y="209"/>
                  <a:pt x="1085" y="209"/>
                </a:cubicBezTo>
                <a:cubicBezTo>
                  <a:pt x="1084" y="209"/>
                  <a:pt x="1084" y="209"/>
                  <a:pt x="1084" y="209"/>
                </a:cubicBezTo>
                <a:cubicBezTo>
                  <a:pt x="1084" y="208"/>
                  <a:pt x="1084" y="208"/>
                  <a:pt x="1084" y="208"/>
                </a:cubicBezTo>
                <a:cubicBezTo>
                  <a:pt x="1083" y="209"/>
                  <a:pt x="1083" y="209"/>
                  <a:pt x="1083" y="209"/>
                </a:cubicBezTo>
                <a:cubicBezTo>
                  <a:pt x="1082" y="209"/>
                  <a:pt x="1082" y="209"/>
                  <a:pt x="1082" y="209"/>
                </a:cubicBezTo>
                <a:cubicBezTo>
                  <a:pt x="1081" y="209"/>
                  <a:pt x="1081" y="209"/>
                  <a:pt x="1081" y="209"/>
                </a:cubicBezTo>
                <a:cubicBezTo>
                  <a:pt x="1081" y="208"/>
                  <a:pt x="1081" y="208"/>
                  <a:pt x="1081" y="208"/>
                </a:cubicBezTo>
                <a:cubicBezTo>
                  <a:pt x="1081" y="207"/>
                  <a:pt x="1081" y="207"/>
                  <a:pt x="1081" y="207"/>
                </a:cubicBezTo>
                <a:cubicBezTo>
                  <a:pt x="1082" y="207"/>
                  <a:pt x="1082" y="207"/>
                  <a:pt x="1082" y="207"/>
                </a:cubicBezTo>
                <a:cubicBezTo>
                  <a:pt x="1083" y="207"/>
                  <a:pt x="1083" y="207"/>
                  <a:pt x="1083" y="207"/>
                </a:cubicBezTo>
                <a:cubicBezTo>
                  <a:pt x="1084" y="207"/>
                  <a:pt x="1084" y="207"/>
                  <a:pt x="1084" y="207"/>
                </a:cubicBezTo>
                <a:cubicBezTo>
                  <a:pt x="1086" y="207"/>
                  <a:pt x="1086" y="207"/>
                  <a:pt x="1086" y="207"/>
                </a:cubicBezTo>
                <a:cubicBezTo>
                  <a:pt x="1086" y="205"/>
                  <a:pt x="1086" y="205"/>
                  <a:pt x="1086" y="205"/>
                </a:cubicBezTo>
                <a:cubicBezTo>
                  <a:pt x="1086" y="204"/>
                  <a:pt x="1086" y="204"/>
                  <a:pt x="1086" y="204"/>
                </a:cubicBezTo>
                <a:cubicBezTo>
                  <a:pt x="1087" y="202"/>
                  <a:pt x="1087" y="202"/>
                  <a:pt x="1087" y="202"/>
                </a:cubicBezTo>
                <a:cubicBezTo>
                  <a:pt x="1087" y="201"/>
                  <a:pt x="1087" y="201"/>
                  <a:pt x="1087" y="201"/>
                </a:cubicBezTo>
                <a:cubicBezTo>
                  <a:pt x="1087" y="200"/>
                  <a:pt x="1087" y="200"/>
                  <a:pt x="1087" y="200"/>
                </a:cubicBezTo>
                <a:cubicBezTo>
                  <a:pt x="1087" y="199"/>
                  <a:pt x="1087" y="199"/>
                  <a:pt x="1087" y="199"/>
                </a:cubicBezTo>
                <a:cubicBezTo>
                  <a:pt x="1086" y="199"/>
                  <a:pt x="1086" y="199"/>
                  <a:pt x="1086" y="199"/>
                </a:cubicBezTo>
                <a:cubicBezTo>
                  <a:pt x="1085" y="198"/>
                  <a:pt x="1085" y="198"/>
                  <a:pt x="1085" y="198"/>
                </a:cubicBezTo>
                <a:cubicBezTo>
                  <a:pt x="1084" y="198"/>
                  <a:pt x="1084" y="198"/>
                  <a:pt x="1084" y="198"/>
                </a:cubicBezTo>
                <a:cubicBezTo>
                  <a:pt x="1083" y="198"/>
                  <a:pt x="1083" y="198"/>
                  <a:pt x="1083" y="198"/>
                </a:cubicBezTo>
                <a:cubicBezTo>
                  <a:pt x="1083" y="197"/>
                  <a:pt x="1083" y="197"/>
                  <a:pt x="1083" y="197"/>
                </a:cubicBezTo>
                <a:cubicBezTo>
                  <a:pt x="1084" y="197"/>
                  <a:pt x="1084" y="197"/>
                  <a:pt x="1084" y="197"/>
                </a:cubicBezTo>
                <a:cubicBezTo>
                  <a:pt x="1085" y="197"/>
                  <a:pt x="1085" y="197"/>
                  <a:pt x="1085" y="197"/>
                </a:cubicBezTo>
                <a:cubicBezTo>
                  <a:pt x="1086" y="196"/>
                  <a:pt x="1086" y="196"/>
                  <a:pt x="1086" y="196"/>
                </a:cubicBezTo>
                <a:cubicBezTo>
                  <a:pt x="1086" y="195"/>
                  <a:pt x="1086" y="195"/>
                  <a:pt x="1086" y="195"/>
                </a:cubicBezTo>
                <a:cubicBezTo>
                  <a:pt x="1087" y="195"/>
                  <a:pt x="1087" y="195"/>
                  <a:pt x="1087" y="195"/>
                </a:cubicBezTo>
                <a:cubicBezTo>
                  <a:pt x="1087" y="194"/>
                  <a:pt x="1087" y="194"/>
                  <a:pt x="1087" y="194"/>
                </a:cubicBezTo>
                <a:cubicBezTo>
                  <a:pt x="1086" y="193"/>
                  <a:pt x="1086" y="193"/>
                  <a:pt x="1086" y="193"/>
                </a:cubicBezTo>
                <a:cubicBezTo>
                  <a:pt x="1085" y="193"/>
                  <a:pt x="1085" y="193"/>
                  <a:pt x="1085" y="193"/>
                </a:cubicBezTo>
                <a:cubicBezTo>
                  <a:pt x="1085" y="192"/>
                  <a:pt x="1085" y="192"/>
                  <a:pt x="1085" y="192"/>
                </a:cubicBezTo>
                <a:cubicBezTo>
                  <a:pt x="1086" y="191"/>
                  <a:pt x="1086" y="191"/>
                  <a:pt x="1086" y="191"/>
                </a:cubicBezTo>
                <a:cubicBezTo>
                  <a:pt x="1085" y="190"/>
                  <a:pt x="1085" y="190"/>
                  <a:pt x="1085" y="190"/>
                </a:cubicBezTo>
                <a:cubicBezTo>
                  <a:pt x="1085" y="189"/>
                  <a:pt x="1085" y="189"/>
                  <a:pt x="1085" y="189"/>
                </a:cubicBezTo>
                <a:cubicBezTo>
                  <a:pt x="1085" y="188"/>
                  <a:pt x="1085" y="188"/>
                  <a:pt x="1085" y="188"/>
                </a:cubicBezTo>
                <a:cubicBezTo>
                  <a:pt x="1086" y="189"/>
                  <a:pt x="1086" y="189"/>
                  <a:pt x="1086" y="189"/>
                </a:cubicBezTo>
                <a:cubicBezTo>
                  <a:pt x="1086" y="188"/>
                  <a:pt x="1086" y="188"/>
                  <a:pt x="1086" y="188"/>
                </a:cubicBezTo>
                <a:cubicBezTo>
                  <a:pt x="1086" y="187"/>
                  <a:pt x="1086" y="187"/>
                  <a:pt x="1086" y="187"/>
                </a:cubicBezTo>
                <a:cubicBezTo>
                  <a:pt x="1086" y="186"/>
                  <a:pt x="1086" y="186"/>
                  <a:pt x="1086" y="186"/>
                </a:cubicBezTo>
                <a:cubicBezTo>
                  <a:pt x="1086" y="185"/>
                  <a:pt x="1086" y="185"/>
                  <a:pt x="1086" y="185"/>
                </a:cubicBezTo>
                <a:cubicBezTo>
                  <a:pt x="1085" y="184"/>
                  <a:pt x="1085" y="184"/>
                  <a:pt x="1085" y="184"/>
                </a:cubicBezTo>
                <a:cubicBezTo>
                  <a:pt x="1085" y="183"/>
                  <a:pt x="1085" y="183"/>
                  <a:pt x="1085" y="183"/>
                </a:cubicBezTo>
                <a:cubicBezTo>
                  <a:pt x="1086" y="182"/>
                  <a:pt x="1086" y="182"/>
                  <a:pt x="1086" y="182"/>
                </a:cubicBezTo>
                <a:cubicBezTo>
                  <a:pt x="1086" y="181"/>
                  <a:pt x="1086" y="181"/>
                  <a:pt x="1086" y="181"/>
                </a:cubicBezTo>
                <a:cubicBezTo>
                  <a:pt x="1085" y="181"/>
                  <a:pt x="1085" y="181"/>
                  <a:pt x="1085" y="181"/>
                </a:cubicBezTo>
                <a:cubicBezTo>
                  <a:pt x="1084" y="182"/>
                  <a:pt x="1084" y="182"/>
                  <a:pt x="1084" y="182"/>
                </a:cubicBezTo>
                <a:cubicBezTo>
                  <a:pt x="1083" y="182"/>
                  <a:pt x="1083" y="182"/>
                  <a:pt x="1083" y="182"/>
                </a:cubicBezTo>
                <a:cubicBezTo>
                  <a:pt x="1082" y="183"/>
                  <a:pt x="1082" y="183"/>
                  <a:pt x="1082" y="183"/>
                </a:cubicBezTo>
                <a:cubicBezTo>
                  <a:pt x="1081" y="182"/>
                  <a:pt x="1081" y="182"/>
                  <a:pt x="1081" y="182"/>
                </a:cubicBezTo>
                <a:cubicBezTo>
                  <a:pt x="1082" y="182"/>
                  <a:pt x="1082" y="182"/>
                  <a:pt x="1082" y="182"/>
                </a:cubicBezTo>
                <a:cubicBezTo>
                  <a:pt x="1083" y="181"/>
                  <a:pt x="1083" y="181"/>
                  <a:pt x="1083" y="181"/>
                </a:cubicBezTo>
                <a:cubicBezTo>
                  <a:pt x="1084" y="181"/>
                  <a:pt x="1084" y="181"/>
                  <a:pt x="1084" y="181"/>
                </a:cubicBezTo>
                <a:cubicBezTo>
                  <a:pt x="1084" y="180"/>
                  <a:pt x="1084" y="180"/>
                  <a:pt x="1084" y="180"/>
                </a:cubicBezTo>
                <a:cubicBezTo>
                  <a:pt x="1085" y="179"/>
                  <a:pt x="1085" y="179"/>
                  <a:pt x="1085" y="179"/>
                </a:cubicBezTo>
                <a:cubicBezTo>
                  <a:pt x="1085" y="178"/>
                  <a:pt x="1085" y="178"/>
                  <a:pt x="1085" y="178"/>
                </a:cubicBezTo>
                <a:cubicBezTo>
                  <a:pt x="1086" y="178"/>
                  <a:pt x="1086" y="178"/>
                  <a:pt x="1086" y="178"/>
                </a:cubicBezTo>
                <a:cubicBezTo>
                  <a:pt x="1087" y="177"/>
                  <a:pt x="1087" y="177"/>
                  <a:pt x="1087" y="177"/>
                </a:cubicBezTo>
                <a:cubicBezTo>
                  <a:pt x="1087" y="176"/>
                  <a:pt x="1087" y="176"/>
                  <a:pt x="1087" y="176"/>
                </a:cubicBezTo>
                <a:cubicBezTo>
                  <a:pt x="1086" y="176"/>
                  <a:pt x="1086" y="176"/>
                  <a:pt x="1086" y="176"/>
                </a:cubicBezTo>
                <a:cubicBezTo>
                  <a:pt x="1086" y="176"/>
                  <a:pt x="1086" y="176"/>
                  <a:pt x="1085" y="177"/>
                </a:cubicBezTo>
                <a:cubicBezTo>
                  <a:pt x="1085" y="177"/>
                  <a:pt x="1085" y="177"/>
                  <a:pt x="1085" y="176"/>
                </a:cubicBezTo>
                <a:cubicBezTo>
                  <a:pt x="1085" y="176"/>
                  <a:pt x="1085" y="176"/>
                  <a:pt x="1084" y="176"/>
                </a:cubicBezTo>
                <a:cubicBezTo>
                  <a:pt x="1084" y="176"/>
                  <a:pt x="1084" y="176"/>
                  <a:pt x="1082" y="176"/>
                </a:cubicBezTo>
                <a:cubicBezTo>
                  <a:pt x="1082" y="176"/>
                  <a:pt x="1082" y="176"/>
                  <a:pt x="1081" y="176"/>
                </a:cubicBezTo>
                <a:cubicBezTo>
                  <a:pt x="1081" y="176"/>
                  <a:pt x="1081" y="176"/>
                  <a:pt x="1080" y="175"/>
                </a:cubicBezTo>
                <a:cubicBezTo>
                  <a:pt x="1080" y="175"/>
                  <a:pt x="1080" y="175"/>
                  <a:pt x="1081" y="175"/>
                </a:cubicBezTo>
                <a:cubicBezTo>
                  <a:pt x="1081" y="175"/>
                  <a:pt x="1081" y="175"/>
                  <a:pt x="1082" y="174"/>
                </a:cubicBezTo>
                <a:cubicBezTo>
                  <a:pt x="1082" y="174"/>
                  <a:pt x="1082" y="174"/>
                  <a:pt x="1083" y="175"/>
                </a:cubicBezTo>
                <a:cubicBezTo>
                  <a:pt x="1083" y="175"/>
                  <a:pt x="1083" y="175"/>
                  <a:pt x="1085" y="175"/>
                </a:cubicBezTo>
                <a:cubicBezTo>
                  <a:pt x="1085" y="174"/>
                  <a:pt x="1085" y="174"/>
                  <a:pt x="1085" y="174"/>
                </a:cubicBezTo>
                <a:cubicBezTo>
                  <a:pt x="1085" y="173"/>
                  <a:pt x="1085" y="173"/>
                  <a:pt x="1085" y="173"/>
                </a:cubicBezTo>
                <a:cubicBezTo>
                  <a:pt x="1084" y="173"/>
                  <a:pt x="1084" y="173"/>
                  <a:pt x="1084" y="173"/>
                </a:cubicBezTo>
                <a:cubicBezTo>
                  <a:pt x="1084" y="172"/>
                  <a:pt x="1084" y="172"/>
                  <a:pt x="1084" y="172"/>
                </a:cubicBezTo>
                <a:cubicBezTo>
                  <a:pt x="1084" y="171"/>
                  <a:pt x="1084" y="171"/>
                  <a:pt x="1084" y="171"/>
                </a:cubicBezTo>
                <a:cubicBezTo>
                  <a:pt x="1084" y="169"/>
                  <a:pt x="1084" y="169"/>
                  <a:pt x="1084" y="169"/>
                </a:cubicBezTo>
                <a:cubicBezTo>
                  <a:pt x="1083" y="168"/>
                  <a:pt x="1083" y="168"/>
                  <a:pt x="1083" y="168"/>
                </a:cubicBezTo>
                <a:cubicBezTo>
                  <a:pt x="1081" y="167"/>
                  <a:pt x="1081" y="167"/>
                  <a:pt x="1081" y="167"/>
                </a:cubicBezTo>
                <a:cubicBezTo>
                  <a:pt x="1081" y="166"/>
                  <a:pt x="1081" y="166"/>
                  <a:pt x="1081" y="166"/>
                </a:cubicBezTo>
                <a:cubicBezTo>
                  <a:pt x="1081" y="165"/>
                  <a:pt x="1081" y="165"/>
                  <a:pt x="1081" y="165"/>
                </a:cubicBezTo>
                <a:cubicBezTo>
                  <a:pt x="1080" y="165"/>
                  <a:pt x="1080" y="165"/>
                  <a:pt x="1080" y="165"/>
                </a:cubicBezTo>
                <a:cubicBezTo>
                  <a:pt x="1080" y="164"/>
                  <a:pt x="1080" y="164"/>
                  <a:pt x="1080" y="164"/>
                </a:cubicBezTo>
                <a:cubicBezTo>
                  <a:pt x="1081" y="164"/>
                  <a:pt x="1081" y="164"/>
                  <a:pt x="1081" y="164"/>
                </a:cubicBezTo>
                <a:cubicBezTo>
                  <a:pt x="1082" y="163"/>
                  <a:pt x="1082" y="163"/>
                  <a:pt x="1082" y="163"/>
                </a:cubicBezTo>
                <a:cubicBezTo>
                  <a:pt x="1083" y="163"/>
                  <a:pt x="1083" y="163"/>
                  <a:pt x="1083" y="163"/>
                </a:cubicBezTo>
                <a:cubicBezTo>
                  <a:pt x="1083" y="162"/>
                  <a:pt x="1083" y="162"/>
                  <a:pt x="1083" y="162"/>
                </a:cubicBezTo>
                <a:cubicBezTo>
                  <a:pt x="1082" y="162"/>
                  <a:pt x="1082" y="162"/>
                  <a:pt x="1082" y="162"/>
                </a:cubicBezTo>
                <a:cubicBezTo>
                  <a:pt x="1082" y="161"/>
                  <a:pt x="1082" y="161"/>
                  <a:pt x="1082" y="161"/>
                </a:cubicBezTo>
                <a:cubicBezTo>
                  <a:pt x="1083" y="160"/>
                  <a:pt x="1083" y="160"/>
                  <a:pt x="1083" y="160"/>
                </a:cubicBezTo>
                <a:cubicBezTo>
                  <a:pt x="1084" y="159"/>
                  <a:pt x="1084" y="159"/>
                  <a:pt x="1084" y="159"/>
                </a:cubicBezTo>
                <a:cubicBezTo>
                  <a:pt x="1084" y="158"/>
                  <a:pt x="1084" y="158"/>
                  <a:pt x="1084" y="158"/>
                </a:cubicBezTo>
                <a:cubicBezTo>
                  <a:pt x="1083" y="158"/>
                  <a:pt x="1083" y="158"/>
                  <a:pt x="1083" y="158"/>
                </a:cubicBezTo>
                <a:cubicBezTo>
                  <a:pt x="1084" y="157"/>
                  <a:pt x="1084" y="157"/>
                  <a:pt x="1084" y="157"/>
                </a:cubicBezTo>
                <a:cubicBezTo>
                  <a:pt x="1083" y="157"/>
                  <a:pt x="1083" y="157"/>
                  <a:pt x="1083" y="157"/>
                </a:cubicBezTo>
                <a:cubicBezTo>
                  <a:pt x="1082" y="155"/>
                  <a:pt x="1082" y="155"/>
                  <a:pt x="1082" y="155"/>
                </a:cubicBezTo>
                <a:cubicBezTo>
                  <a:pt x="1080" y="154"/>
                  <a:pt x="1080" y="154"/>
                  <a:pt x="1080" y="154"/>
                </a:cubicBezTo>
                <a:cubicBezTo>
                  <a:pt x="1080" y="153"/>
                  <a:pt x="1080" y="153"/>
                  <a:pt x="1080" y="153"/>
                </a:cubicBezTo>
                <a:cubicBezTo>
                  <a:pt x="1079" y="153"/>
                  <a:pt x="1079" y="153"/>
                  <a:pt x="1079" y="153"/>
                </a:cubicBezTo>
                <a:cubicBezTo>
                  <a:pt x="1079" y="154"/>
                  <a:pt x="1079" y="154"/>
                  <a:pt x="1079" y="154"/>
                </a:cubicBezTo>
                <a:cubicBezTo>
                  <a:pt x="1078" y="154"/>
                  <a:pt x="1078" y="154"/>
                  <a:pt x="1078" y="154"/>
                </a:cubicBezTo>
                <a:cubicBezTo>
                  <a:pt x="1078" y="153"/>
                  <a:pt x="1078" y="153"/>
                  <a:pt x="1078" y="153"/>
                </a:cubicBezTo>
                <a:cubicBezTo>
                  <a:pt x="1078" y="152"/>
                  <a:pt x="1078" y="152"/>
                  <a:pt x="1078" y="152"/>
                </a:cubicBezTo>
                <a:cubicBezTo>
                  <a:pt x="1077" y="152"/>
                  <a:pt x="1077" y="152"/>
                  <a:pt x="1077" y="152"/>
                </a:cubicBezTo>
                <a:cubicBezTo>
                  <a:pt x="1076" y="151"/>
                  <a:pt x="1076" y="151"/>
                  <a:pt x="1076" y="151"/>
                </a:cubicBezTo>
                <a:cubicBezTo>
                  <a:pt x="1075" y="151"/>
                  <a:pt x="1075" y="151"/>
                  <a:pt x="1075" y="151"/>
                </a:cubicBezTo>
                <a:cubicBezTo>
                  <a:pt x="1074" y="151"/>
                  <a:pt x="1074" y="151"/>
                  <a:pt x="1074" y="151"/>
                </a:cubicBezTo>
                <a:cubicBezTo>
                  <a:pt x="1074" y="150"/>
                  <a:pt x="1074" y="150"/>
                  <a:pt x="1074" y="150"/>
                </a:cubicBezTo>
                <a:cubicBezTo>
                  <a:pt x="1074" y="149"/>
                  <a:pt x="1074" y="149"/>
                  <a:pt x="1074" y="149"/>
                </a:cubicBezTo>
                <a:cubicBezTo>
                  <a:pt x="1073" y="148"/>
                  <a:pt x="1073" y="148"/>
                  <a:pt x="1073" y="148"/>
                </a:cubicBezTo>
                <a:cubicBezTo>
                  <a:pt x="1072" y="147"/>
                  <a:pt x="1072" y="147"/>
                  <a:pt x="1072" y="147"/>
                </a:cubicBezTo>
                <a:cubicBezTo>
                  <a:pt x="1071" y="147"/>
                  <a:pt x="1071" y="147"/>
                  <a:pt x="1071" y="147"/>
                </a:cubicBezTo>
                <a:cubicBezTo>
                  <a:pt x="1071" y="148"/>
                  <a:pt x="1071" y="148"/>
                  <a:pt x="1071" y="148"/>
                </a:cubicBezTo>
                <a:cubicBezTo>
                  <a:pt x="1070" y="147"/>
                  <a:pt x="1070" y="147"/>
                  <a:pt x="1070" y="147"/>
                </a:cubicBezTo>
                <a:cubicBezTo>
                  <a:pt x="1068" y="146"/>
                  <a:pt x="1068" y="146"/>
                  <a:pt x="1068" y="146"/>
                </a:cubicBezTo>
                <a:cubicBezTo>
                  <a:pt x="1067" y="145"/>
                  <a:pt x="1067" y="145"/>
                  <a:pt x="1067" y="145"/>
                </a:cubicBezTo>
                <a:cubicBezTo>
                  <a:pt x="1066" y="144"/>
                  <a:pt x="1066" y="144"/>
                  <a:pt x="1066" y="144"/>
                </a:cubicBezTo>
                <a:cubicBezTo>
                  <a:pt x="1065" y="144"/>
                  <a:pt x="1065" y="144"/>
                  <a:pt x="1065" y="144"/>
                </a:cubicBezTo>
                <a:cubicBezTo>
                  <a:pt x="1063" y="144"/>
                  <a:pt x="1063" y="144"/>
                  <a:pt x="1063" y="144"/>
                </a:cubicBezTo>
                <a:cubicBezTo>
                  <a:pt x="1062" y="145"/>
                  <a:pt x="1062" y="145"/>
                  <a:pt x="1062" y="145"/>
                </a:cubicBezTo>
                <a:cubicBezTo>
                  <a:pt x="1062" y="146"/>
                  <a:pt x="1062" y="146"/>
                  <a:pt x="1062" y="146"/>
                </a:cubicBezTo>
                <a:cubicBezTo>
                  <a:pt x="1061" y="147"/>
                  <a:pt x="1061" y="147"/>
                  <a:pt x="1061" y="147"/>
                </a:cubicBezTo>
                <a:cubicBezTo>
                  <a:pt x="1060" y="148"/>
                  <a:pt x="1060" y="148"/>
                  <a:pt x="1060" y="148"/>
                </a:cubicBezTo>
                <a:cubicBezTo>
                  <a:pt x="1060" y="147"/>
                  <a:pt x="1060" y="147"/>
                  <a:pt x="1060" y="147"/>
                </a:cubicBezTo>
                <a:cubicBezTo>
                  <a:pt x="1061" y="146"/>
                  <a:pt x="1061" y="146"/>
                  <a:pt x="1061" y="146"/>
                </a:cubicBezTo>
                <a:cubicBezTo>
                  <a:pt x="1061" y="144"/>
                  <a:pt x="1061" y="144"/>
                  <a:pt x="1061" y="144"/>
                </a:cubicBezTo>
                <a:cubicBezTo>
                  <a:pt x="1060" y="144"/>
                  <a:pt x="1060" y="144"/>
                  <a:pt x="1060" y="144"/>
                </a:cubicBezTo>
                <a:cubicBezTo>
                  <a:pt x="1059" y="144"/>
                  <a:pt x="1059" y="144"/>
                  <a:pt x="1059" y="144"/>
                </a:cubicBezTo>
                <a:cubicBezTo>
                  <a:pt x="1058" y="145"/>
                  <a:pt x="1058" y="145"/>
                  <a:pt x="1058" y="145"/>
                </a:cubicBezTo>
                <a:cubicBezTo>
                  <a:pt x="1058" y="146"/>
                  <a:pt x="1058" y="146"/>
                  <a:pt x="1058" y="146"/>
                </a:cubicBezTo>
                <a:cubicBezTo>
                  <a:pt x="1057" y="146"/>
                  <a:pt x="1057" y="146"/>
                  <a:pt x="1057" y="146"/>
                </a:cubicBezTo>
                <a:cubicBezTo>
                  <a:pt x="1056" y="144"/>
                  <a:pt x="1056" y="144"/>
                  <a:pt x="1056" y="144"/>
                </a:cubicBezTo>
                <a:cubicBezTo>
                  <a:pt x="1055" y="144"/>
                  <a:pt x="1055" y="144"/>
                  <a:pt x="1055" y="144"/>
                </a:cubicBezTo>
                <a:cubicBezTo>
                  <a:pt x="1054" y="143"/>
                  <a:pt x="1054" y="143"/>
                  <a:pt x="1054" y="143"/>
                </a:cubicBezTo>
                <a:cubicBezTo>
                  <a:pt x="1053" y="143"/>
                  <a:pt x="1053" y="143"/>
                  <a:pt x="1053" y="143"/>
                </a:cubicBezTo>
                <a:cubicBezTo>
                  <a:pt x="1052" y="144"/>
                  <a:pt x="1052" y="144"/>
                  <a:pt x="1052" y="144"/>
                </a:cubicBezTo>
                <a:cubicBezTo>
                  <a:pt x="1051" y="144"/>
                  <a:pt x="1051" y="144"/>
                  <a:pt x="1051" y="144"/>
                </a:cubicBezTo>
                <a:cubicBezTo>
                  <a:pt x="1051" y="145"/>
                  <a:pt x="1051" y="145"/>
                  <a:pt x="1051" y="145"/>
                </a:cubicBezTo>
                <a:cubicBezTo>
                  <a:pt x="1050" y="144"/>
                  <a:pt x="1050" y="144"/>
                  <a:pt x="1050" y="144"/>
                </a:cubicBezTo>
                <a:cubicBezTo>
                  <a:pt x="1050" y="143"/>
                  <a:pt x="1050" y="143"/>
                  <a:pt x="1050" y="143"/>
                </a:cubicBezTo>
                <a:cubicBezTo>
                  <a:pt x="1050" y="142"/>
                  <a:pt x="1050" y="142"/>
                  <a:pt x="1050" y="142"/>
                </a:cubicBezTo>
                <a:cubicBezTo>
                  <a:pt x="1050" y="141"/>
                  <a:pt x="1050" y="141"/>
                  <a:pt x="1050" y="141"/>
                </a:cubicBezTo>
                <a:cubicBezTo>
                  <a:pt x="1049" y="141"/>
                  <a:pt x="1049" y="141"/>
                  <a:pt x="1049" y="141"/>
                </a:cubicBezTo>
                <a:cubicBezTo>
                  <a:pt x="1048" y="142"/>
                  <a:pt x="1048" y="142"/>
                  <a:pt x="1048" y="142"/>
                </a:cubicBezTo>
                <a:cubicBezTo>
                  <a:pt x="1048" y="143"/>
                  <a:pt x="1048" y="143"/>
                  <a:pt x="1048" y="143"/>
                </a:cubicBezTo>
                <a:cubicBezTo>
                  <a:pt x="1048" y="144"/>
                  <a:pt x="1048" y="144"/>
                  <a:pt x="1048" y="144"/>
                </a:cubicBezTo>
                <a:cubicBezTo>
                  <a:pt x="1048" y="145"/>
                  <a:pt x="1048" y="145"/>
                  <a:pt x="1048" y="145"/>
                </a:cubicBezTo>
                <a:cubicBezTo>
                  <a:pt x="1048" y="146"/>
                  <a:pt x="1048" y="146"/>
                  <a:pt x="1048" y="146"/>
                </a:cubicBezTo>
                <a:cubicBezTo>
                  <a:pt x="1048" y="147"/>
                  <a:pt x="1048" y="147"/>
                  <a:pt x="1048" y="147"/>
                </a:cubicBezTo>
                <a:cubicBezTo>
                  <a:pt x="1047" y="148"/>
                  <a:pt x="1047" y="148"/>
                  <a:pt x="1047" y="148"/>
                </a:cubicBezTo>
                <a:cubicBezTo>
                  <a:pt x="1047" y="147"/>
                  <a:pt x="1047" y="147"/>
                  <a:pt x="1047" y="147"/>
                </a:cubicBezTo>
                <a:cubicBezTo>
                  <a:pt x="1046" y="146"/>
                  <a:pt x="1046" y="146"/>
                  <a:pt x="1046" y="146"/>
                </a:cubicBezTo>
                <a:cubicBezTo>
                  <a:pt x="1044" y="145"/>
                  <a:pt x="1044" y="145"/>
                  <a:pt x="1044" y="145"/>
                </a:cubicBezTo>
                <a:cubicBezTo>
                  <a:pt x="1043" y="145"/>
                  <a:pt x="1043" y="145"/>
                  <a:pt x="1043" y="145"/>
                </a:cubicBezTo>
                <a:cubicBezTo>
                  <a:pt x="1042" y="144"/>
                  <a:pt x="1042" y="144"/>
                  <a:pt x="1042" y="144"/>
                </a:cubicBezTo>
                <a:cubicBezTo>
                  <a:pt x="1041" y="143"/>
                  <a:pt x="1041" y="143"/>
                  <a:pt x="1041" y="143"/>
                </a:cubicBezTo>
                <a:cubicBezTo>
                  <a:pt x="1042" y="142"/>
                  <a:pt x="1042" y="142"/>
                  <a:pt x="1042" y="142"/>
                </a:cubicBezTo>
                <a:cubicBezTo>
                  <a:pt x="1040" y="142"/>
                  <a:pt x="1040" y="142"/>
                  <a:pt x="1040" y="142"/>
                </a:cubicBezTo>
                <a:cubicBezTo>
                  <a:pt x="1040" y="140"/>
                  <a:pt x="1040" y="140"/>
                  <a:pt x="1040" y="140"/>
                </a:cubicBezTo>
                <a:cubicBezTo>
                  <a:pt x="1039" y="139"/>
                  <a:pt x="1039" y="139"/>
                  <a:pt x="1039" y="139"/>
                </a:cubicBezTo>
                <a:cubicBezTo>
                  <a:pt x="1038" y="138"/>
                  <a:pt x="1038" y="138"/>
                  <a:pt x="1038" y="138"/>
                </a:cubicBezTo>
                <a:cubicBezTo>
                  <a:pt x="1038" y="137"/>
                  <a:pt x="1038" y="137"/>
                  <a:pt x="1038" y="137"/>
                </a:cubicBezTo>
                <a:cubicBezTo>
                  <a:pt x="1039" y="136"/>
                  <a:pt x="1039" y="136"/>
                  <a:pt x="1039" y="136"/>
                </a:cubicBezTo>
                <a:cubicBezTo>
                  <a:pt x="1040" y="136"/>
                  <a:pt x="1040" y="136"/>
                  <a:pt x="1040" y="136"/>
                </a:cubicBezTo>
                <a:cubicBezTo>
                  <a:pt x="1041" y="135"/>
                  <a:pt x="1041" y="135"/>
                  <a:pt x="1041" y="135"/>
                </a:cubicBezTo>
                <a:cubicBezTo>
                  <a:pt x="1042" y="135"/>
                  <a:pt x="1042" y="135"/>
                  <a:pt x="1042" y="135"/>
                </a:cubicBezTo>
                <a:cubicBezTo>
                  <a:pt x="1044" y="135"/>
                  <a:pt x="1044" y="135"/>
                  <a:pt x="1044" y="135"/>
                </a:cubicBezTo>
                <a:cubicBezTo>
                  <a:pt x="1045" y="135"/>
                  <a:pt x="1045" y="135"/>
                  <a:pt x="1045" y="135"/>
                </a:cubicBezTo>
                <a:cubicBezTo>
                  <a:pt x="1045" y="134"/>
                  <a:pt x="1045" y="134"/>
                  <a:pt x="1045" y="134"/>
                </a:cubicBezTo>
                <a:cubicBezTo>
                  <a:pt x="1045" y="133"/>
                  <a:pt x="1045" y="133"/>
                  <a:pt x="1045" y="133"/>
                </a:cubicBezTo>
                <a:cubicBezTo>
                  <a:pt x="1044" y="134"/>
                  <a:pt x="1044" y="134"/>
                  <a:pt x="1044" y="134"/>
                </a:cubicBezTo>
                <a:cubicBezTo>
                  <a:pt x="1042" y="133"/>
                  <a:pt x="1042" y="133"/>
                  <a:pt x="1042" y="133"/>
                </a:cubicBezTo>
                <a:cubicBezTo>
                  <a:pt x="1041" y="133"/>
                  <a:pt x="1041" y="133"/>
                  <a:pt x="1041" y="133"/>
                </a:cubicBezTo>
                <a:cubicBezTo>
                  <a:pt x="1039" y="131"/>
                  <a:pt x="1039" y="131"/>
                  <a:pt x="1039" y="131"/>
                </a:cubicBezTo>
                <a:cubicBezTo>
                  <a:pt x="1039" y="130"/>
                  <a:pt x="1039" y="130"/>
                  <a:pt x="1039" y="130"/>
                </a:cubicBezTo>
                <a:cubicBezTo>
                  <a:pt x="1040" y="129"/>
                  <a:pt x="1040" y="129"/>
                  <a:pt x="1040" y="129"/>
                </a:cubicBezTo>
                <a:cubicBezTo>
                  <a:pt x="1041" y="129"/>
                  <a:pt x="1041" y="129"/>
                  <a:pt x="1041" y="129"/>
                </a:cubicBezTo>
                <a:cubicBezTo>
                  <a:pt x="1041" y="127"/>
                  <a:pt x="1041" y="127"/>
                  <a:pt x="1041" y="127"/>
                </a:cubicBezTo>
                <a:cubicBezTo>
                  <a:pt x="1040" y="127"/>
                  <a:pt x="1040" y="127"/>
                  <a:pt x="1040" y="127"/>
                </a:cubicBezTo>
                <a:cubicBezTo>
                  <a:pt x="1040" y="129"/>
                  <a:pt x="1040" y="129"/>
                  <a:pt x="1040" y="129"/>
                </a:cubicBezTo>
                <a:cubicBezTo>
                  <a:pt x="1039" y="129"/>
                  <a:pt x="1039" y="129"/>
                  <a:pt x="1039" y="129"/>
                </a:cubicBezTo>
                <a:cubicBezTo>
                  <a:pt x="1038" y="130"/>
                  <a:pt x="1038" y="130"/>
                  <a:pt x="1038" y="130"/>
                </a:cubicBezTo>
                <a:cubicBezTo>
                  <a:pt x="1037" y="129"/>
                  <a:pt x="1037" y="129"/>
                  <a:pt x="1037" y="129"/>
                </a:cubicBezTo>
                <a:cubicBezTo>
                  <a:pt x="1036" y="128"/>
                  <a:pt x="1036" y="128"/>
                  <a:pt x="1036" y="128"/>
                </a:cubicBezTo>
                <a:cubicBezTo>
                  <a:pt x="1036" y="127"/>
                  <a:pt x="1036" y="127"/>
                  <a:pt x="1036" y="127"/>
                </a:cubicBezTo>
                <a:cubicBezTo>
                  <a:pt x="1037" y="127"/>
                  <a:pt x="1037" y="127"/>
                  <a:pt x="1037" y="127"/>
                </a:cubicBezTo>
                <a:cubicBezTo>
                  <a:pt x="1037" y="126"/>
                  <a:pt x="1037" y="126"/>
                  <a:pt x="1037" y="126"/>
                </a:cubicBezTo>
                <a:cubicBezTo>
                  <a:pt x="1036" y="126"/>
                  <a:pt x="1036" y="126"/>
                  <a:pt x="1036" y="126"/>
                </a:cubicBezTo>
                <a:cubicBezTo>
                  <a:pt x="1036" y="125"/>
                  <a:pt x="1036" y="125"/>
                  <a:pt x="1036" y="125"/>
                </a:cubicBezTo>
                <a:cubicBezTo>
                  <a:pt x="1036" y="124"/>
                  <a:pt x="1036" y="124"/>
                  <a:pt x="1036" y="124"/>
                </a:cubicBezTo>
                <a:cubicBezTo>
                  <a:pt x="1037" y="124"/>
                  <a:pt x="1037" y="124"/>
                  <a:pt x="1037" y="124"/>
                </a:cubicBezTo>
                <a:cubicBezTo>
                  <a:pt x="1037" y="123"/>
                  <a:pt x="1037" y="123"/>
                  <a:pt x="1037" y="123"/>
                </a:cubicBezTo>
                <a:cubicBezTo>
                  <a:pt x="1038" y="123"/>
                  <a:pt x="1038" y="123"/>
                  <a:pt x="1038" y="123"/>
                </a:cubicBezTo>
                <a:cubicBezTo>
                  <a:pt x="1039" y="124"/>
                  <a:pt x="1039" y="124"/>
                  <a:pt x="1039" y="124"/>
                </a:cubicBezTo>
                <a:cubicBezTo>
                  <a:pt x="1039" y="123"/>
                  <a:pt x="1039" y="123"/>
                  <a:pt x="1039" y="123"/>
                </a:cubicBezTo>
                <a:cubicBezTo>
                  <a:pt x="1041" y="122"/>
                  <a:pt x="1041" y="122"/>
                  <a:pt x="1041" y="122"/>
                </a:cubicBezTo>
                <a:cubicBezTo>
                  <a:pt x="1043" y="122"/>
                  <a:pt x="1043" y="122"/>
                  <a:pt x="1043" y="122"/>
                </a:cubicBezTo>
                <a:cubicBezTo>
                  <a:pt x="1044" y="123"/>
                  <a:pt x="1044" y="123"/>
                  <a:pt x="1044" y="123"/>
                </a:cubicBezTo>
                <a:cubicBezTo>
                  <a:pt x="1046" y="123"/>
                  <a:pt x="1046" y="123"/>
                  <a:pt x="1046" y="123"/>
                </a:cubicBezTo>
                <a:cubicBezTo>
                  <a:pt x="1049" y="124"/>
                  <a:pt x="1049" y="124"/>
                  <a:pt x="1049" y="124"/>
                </a:cubicBezTo>
                <a:cubicBezTo>
                  <a:pt x="1050" y="125"/>
                  <a:pt x="1050" y="125"/>
                  <a:pt x="1050" y="125"/>
                </a:cubicBezTo>
                <a:cubicBezTo>
                  <a:pt x="1051" y="125"/>
                  <a:pt x="1051" y="125"/>
                  <a:pt x="1051" y="125"/>
                </a:cubicBezTo>
                <a:cubicBezTo>
                  <a:pt x="1053" y="126"/>
                  <a:pt x="1053" y="126"/>
                  <a:pt x="1053" y="126"/>
                </a:cubicBezTo>
                <a:cubicBezTo>
                  <a:pt x="1054" y="126"/>
                  <a:pt x="1054" y="126"/>
                  <a:pt x="1054" y="126"/>
                </a:cubicBezTo>
                <a:cubicBezTo>
                  <a:pt x="1052" y="125"/>
                  <a:pt x="1052" y="125"/>
                  <a:pt x="1052" y="125"/>
                </a:cubicBezTo>
                <a:cubicBezTo>
                  <a:pt x="1051" y="124"/>
                  <a:pt x="1051" y="124"/>
                  <a:pt x="1051" y="124"/>
                </a:cubicBezTo>
                <a:cubicBezTo>
                  <a:pt x="1049" y="123"/>
                  <a:pt x="1049" y="123"/>
                  <a:pt x="1049" y="123"/>
                </a:cubicBezTo>
                <a:cubicBezTo>
                  <a:pt x="1048" y="123"/>
                  <a:pt x="1048" y="123"/>
                  <a:pt x="1048" y="123"/>
                </a:cubicBezTo>
                <a:cubicBezTo>
                  <a:pt x="1047" y="122"/>
                  <a:pt x="1047" y="122"/>
                  <a:pt x="1047" y="122"/>
                </a:cubicBezTo>
                <a:cubicBezTo>
                  <a:pt x="1049" y="121"/>
                  <a:pt x="1049" y="121"/>
                  <a:pt x="1049" y="121"/>
                </a:cubicBezTo>
                <a:cubicBezTo>
                  <a:pt x="1051" y="121"/>
                  <a:pt x="1051" y="121"/>
                  <a:pt x="1051" y="121"/>
                </a:cubicBezTo>
                <a:cubicBezTo>
                  <a:pt x="1053" y="121"/>
                  <a:pt x="1053" y="121"/>
                  <a:pt x="1053" y="121"/>
                </a:cubicBezTo>
                <a:cubicBezTo>
                  <a:pt x="1055" y="122"/>
                  <a:pt x="1055" y="122"/>
                  <a:pt x="1055" y="122"/>
                </a:cubicBezTo>
                <a:cubicBezTo>
                  <a:pt x="1056" y="123"/>
                  <a:pt x="1056" y="123"/>
                  <a:pt x="1056" y="123"/>
                </a:cubicBezTo>
                <a:cubicBezTo>
                  <a:pt x="1057" y="123"/>
                  <a:pt x="1057" y="123"/>
                  <a:pt x="1057" y="123"/>
                </a:cubicBezTo>
                <a:cubicBezTo>
                  <a:pt x="1057" y="124"/>
                  <a:pt x="1057" y="124"/>
                  <a:pt x="1057" y="124"/>
                </a:cubicBezTo>
                <a:cubicBezTo>
                  <a:pt x="1058" y="124"/>
                  <a:pt x="1058" y="124"/>
                  <a:pt x="1058" y="124"/>
                </a:cubicBezTo>
                <a:cubicBezTo>
                  <a:pt x="1058" y="123"/>
                  <a:pt x="1058" y="123"/>
                  <a:pt x="1058" y="123"/>
                </a:cubicBezTo>
                <a:cubicBezTo>
                  <a:pt x="1058" y="122"/>
                  <a:pt x="1058" y="122"/>
                  <a:pt x="1058" y="122"/>
                </a:cubicBezTo>
                <a:cubicBezTo>
                  <a:pt x="1059" y="121"/>
                  <a:pt x="1059" y="121"/>
                  <a:pt x="1059" y="121"/>
                </a:cubicBezTo>
                <a:cubicBezTo>
                  <a:pt x="1059" y="119"/>
                  <a:pt x="1059" y="119"/>
                  <a:pt x="1059" y="119"/>
                </a:cubicBezTo>
                <a:cubicBezTo>
                  <a:pt x="1058" y="119"/>
                  <a:pt x="1058" y="119"/>
                  <a:pt x="1058" y="119"/>
                </a:cubicBezTo>
                <a:cubicBezTo>
                  <a:pt x="1058" y="118"/>
                  <a:pt x="1058" y="118"/>
                  <a:pt x="1058" y="118"/>
                </a:cubicBezTo>
                <a:cubicBezTo>
                  <a:pt x="1057" y="118"/>
                  <a:pt x="1057" y="118"/>
                  <a:pt x="1057" y="118"/>
                </a:cubicBezTo>
                <a:cubicBezTo>
                  <a:pt x="1056" y="118"/>
                  <a:pt x="1056" y="118"/>
                  <a:pt x="1056" y="118"/>
                </a:cubicBezTo>
                <a:cubicBezTo>
                  <a:pt x="1055" y="119"/>
                  <a:pt x="1055" y="119"/>
                  <a:pt x="1055" y="119"/>
                </a:cubicBezTo>
                <a:cubicBezTo>
                  <a:pt x="1054" y="119"/>
                  <a:pt x="1054" y="119"/>
                  <a:pt x="1054" y="119"/>
                </a:cubicBezTo>
                <a:cubicBezTo>
                  <a:pt x="1052" y="118"/>
                  <a:pt x="1052" y="118"/>
                  <a:pt x="1052" y="118"/>
                </a:cubicBezTo>
                <a:cubicBezTo>
                  <a:pt x="1051" y="118"/>
                  <a:pt x="1051" y="118"/>
                  <a:pt x="1051" y="118"/>
                </a:cubicBezTo>
                <a:cubicBezTo>
                  <a:pt x="1051" y="117"/>
                  <a:pt x="1051" y="117"/>
                  <a:pt x="1051" y="117"/>
                </a:cubicBezTo>
                <a:cubicBezTo>
                  <a:pt x="1050" y="116"/>
                  <a:pt x="1050" y="116"/>
                  <a:pt x="1050" y="116"/>
                </a:cubicBezTo>
                <a:cubicBezTo>
                  <a:pt x="1049" y="116"/>
                  <a:pt x="1049" y="116"/>
                  <a:pt x="1049" y="116"/>
                </a:cubicBezTo>
                <a:cubicBezTo>
                  <a:pt x="1049" y="117"/>
                  <a:pt x="1049" y="117"/>
                  <a:pt x="1049" y="117"/>
                </a:cubicBezTo>
                <a:cubicBezTo>
                  <a:pt x="1049" y="119"/>
                  <a:pt x="1049" y="119"/>
                  <a:pt x="1049" y="119"/>
                </a:cubicBezTo>
                <a:cubicBezTo>
                  <a:pt x="1047" y="119"/>
                  <a:pt x="1047" y="119"/>
                  <a:pt x="1047" y="119"/>
                </a:cubicBezTo>
                <a:cubicBezTo>
                  <a:pt x="1046" y="119"/>
                  <a:pt x="1046" y="119"/>
                  <a:pt x="1046" y="119"/>
                </a:cubicBezTo>
                <a:cubicBezTo>
                  <a:pt x="1044" y="117"/>
                  <a:pt x="1044" y="117"/>
                  <a:pt x="1044" y="117"/>
                </a:cubicBezTo>
                <a:cubicBezTo>
                  <a:pt x="1044" y="116"/>
                  <a:pt x="1044" y="116"/>
                  <a:pt x="1044" y="116"/>
                </a:cubicBezTo>
                <a:cubicBezTo>
                  <a:pt x="1045" y="116"/>
                  <a:pt x="1045" y="116"/>
                  <a:pt x="1045" y="116"/>
                </a:cubicBezTo>
                <a:cubicBezTo>
                  <a:pt x="1047" y="115"/>
                  <a:pt x="1047" y="115"/>
                  <a:pt x="1047" y="115"/>
                </a:cubicBezTo>
                <a:cubicBezTo>
                  <a:pt x="1047" y="114"/>
                  <a:pt x="1047" y="114"/>
                  <a:pt x="1047" y="114"/>
                </a:cubicBezTo>
                <a:cubicBezTo>
                  <a:pt x="1045" y="115"/>
                  <a:pt x="1045" y="115"/>
                  <a:pt x="1045" y="115"/>
                </a:cubicBezTo>
                <a:cubicBezTo>
                  <a:pt x="1044" y="115"/>
                  <a:pt x="1044" y="115"/>
                  <a:pt x="1044" y="115"/>
                </a:cubicBezTo>
                <a:cubicBezTo>
                  <a:pt x="1043" y="115"/>
                  <a:pt x="1043" y="115"/>
                  <a:pt x="1043" y="115"/>
                </a:cubicBezTo>
                <a:cubicBezTo>
                  <a:pt x="1043" y="114"/>
                  <a:pt x="1043" y="114"/>
                  <a:pt x="1043" y="114"/>
                </a:cubicBezTo>
                <a:cubicBezTo>
                  <a:pt x="1044" y="113"/>
                  <a:pt x="1044" y="113"/>
                  <a:pt x="1044" y="113"/>
                </a:cubicBezTo>
                <a:cubicBezTo>
                  <a:pt x="1045" y="113"/>
                  <a:pt x="1045" y="113"/>
                  <a:pt x="1045" y="113"/>
                </a:cubicBezTo>
                <a:cubicBezTo>
                  <a:pt x="1046" y="111"/>
                  <a:pt x="1046" y="111"/>
                  <a:pt x="1046" y="111"/>
                </a:cubicBezTo>
                <a:cubicBezTo>
                  <a:pt x="1045" y="110"/>
                  <a:pt x="1045" y="110"/>
                  <a:pt x="1045" y="110"/>
                </a:cubicBezTo>
                <a:cubicBezTo>
                  <a:pt x="1045" y="111"/>
                  <a:pt x="1045" y="111"/>
                  <a:pt x="1045" y="111"/>
                </a:cubicBezTo>
                <a:cubicBezTo>
                  <a:pt x="1043" y="112"/>
                  <a:pt x="1043" y="112"/>
                  <a:pt x="1043" y="112"/>
                </a:cubicBezTo>
                <a:cubicBezTo>
                  <a:pt x="1042" y="112"/>
                  <a:pt x="1042" y="112"/>
                  <a:pt x="1042" y="112"/>
                </a:cubicBezTo>
                <a:cubicBezTo>
                  <a:pt x="1041" y="112"/>
                  <a:pt x="1041" y="112"/>
                  <a:pt x="1041" y="112"/>
                </a:cubicBezTo>
                <a:cubicBezTo>
                  <a:pt x="1040" y="111"/>
                  <a:pt x="1040" y="111"/>
                  <a:pt x="1040" y="111"/>
                </a:cubicBezTo>
                <a:cubicBezTo>
                  <a:pt x="1041" y="111"/>
                  <a:pt x="1041" y="111"/>
                  <a:pt x="1041" y="111"/>
                </a:cubicBezTo>
                <a:cubicBezTo>
                  <a:pt x="1041" y="110"/>
                  <a:pt x="1041" y="110"/>
                  <a:pt x="1041" y="110"/>
                </a:cubicBezTo>
                <a:cubicBezTo>
                  <a:pt x="1042" y="110"/>
                  <a:pt x="1042" y="110"/>
                  <a:pt x="1042" y="110"/>
                </a:cubicBezTo>
                <a:cubicBezTo>
                  <a:pt x="1042" y="109"/>
                  <a:pt x="1042" y="109"/>
                  <a:pt x="1042" y="109"/>
                </a:cubicBezTo>
                <a:cubicBezTo>
                  <a:pt x="1041" y="109"/>
                  <a:pt x="1041" y="109"/>
                  <a:pt x="1041" y="109"/>
                </a:cubicBezTo>
                <a:cubicBezTo>
                  <a:pt x="1040" y="109"/>
                  <a:pt x="1040" y="109"/>
                  <a:pt x="1040" y="109"/>
                </a:cubicBezTo>
                <a:cubicBezTo>
                  <a:pt x="1039" y="108"/>
                  <a:pt x="1039" y="108"/>
                  <a:pt x="1039" y="108"/>
                </a:cubicBezTo>
                <a:cubicBezTo>
                  <a:pt x="1038" y="106"/>
                  <a:pt x="1038" y="106"/>
                  <a:pt x="1038" y="106"/>
                </a:cubicBezTo>
                <a:cubicBezTo>
                  <a:pt x="1038" y="105"/>
                  <a:pt x="1038" y="105"/>
                  <a:pt x="1038" y="105"/>
                </a:cubicBezTo>
                <a:cubicBezTo>
                  <a:pt x="1036" y="104"/>
                  <a:pt x="1036" y="104"/>
                  <a:pt x="1036" y="104"/>
                </a:cubicBezTo>
                <a:cubicBezTo>
                  <a:pt x="1037" y="104"/>
                  <a:pt x="1037" y="104"/>
                  <a:pt x="1037" y="104"/>
                </a:cubicBezTo>
                <a:cubicBezTo>
                  <a:pt x="1038" y="103"/>
                  <a:pt x="1038" y="103"/>
                  <a:pt x="1038" y="103"/>
                </a:cubicBezTo>
                <a:cubicBezTo>
                  <a:pt x="1038" y="102"/>
                  <a:pt x="1038" y="102"/>
                  <a:pt x="1038" y="102"/>
                </a:cubicBezTo>
                <a:cubicBezTo>
                  <a:pt x="1039" y="102"/>
                  <a:pt x="1039" y="102"/>
                  <a:pt x="1039" y="102"/>
                </a:cubicBezTo>
                <a:cubicBezTo>
                  <a:pt x="1040" y="102"/>
                  <a:pt x="1040" y="102"/>
                  <a:pt x="1040" y="102"/>
                </a:cubicBezTo>
                <a:cubicBezTo>
                  <a:pt x="1040" y="101"/>
                  <a:pt x="1040" y="101"/>
                  <a:pt x="1040" y="101"/>
                </a:cubicBezTo>
                <a:cubicBezTo>
                  <a:pt x="1039" y="101"/>
                  <a:pt x="1039" y="101"/>
                  <a:pt x="1039" y="101"/>
                </a:cubicBezTo>
                <a:cubicBezTo>
                  <a:pt x="1038" y="101"/>
                  <a:pt x="1038" y="101"/>
                  <a:pt x="1038" y="101"/>
                </a:cubicBezTo>
                <a:cubicBezTo>
                  <a:pt x="1038" y="100"/>
                  <a:pt x="1038" y="100"/>
                  <a:pt x="1038" y="100"/>
                </a:cubicBezTo>
                <a:cubicBezTo>
                  <a:pt x="1039" y="100"/>
                  <a:pt x="1039" y="100"/>
                  <a:pt x="1039" y="100"/>
                </a:cubicBezTo>
                <a:cubicBezTo>
                  <a:pt x="1041" y="99"/>
                  <a:pt x="1041" y="99"/>
                  <a:pt x="1041" y="99"/>
                </a:cubicBezTo>
                <a:cubicBezTo>
                  <a:pt x="1041" y="98"/>
                  <a:pt x="1041" y="98"/>
                  <a:pt x="1041" y="98"/>
                </a:cubicBezTo>
                <a:cubicBezTo>
                  <a:pt x="1042" y="97"/>
                  <a:pt x="1042" y="97"/>
                  <a:pt x="1042" y="97"/>
                </a:cubicBezTo>
                <a:cubicBezTo>
                  <a:pt x="1043" y="97"/>
                  <a:pt x="1043" y="97"/>
                  <a:pt x="1043" y="97"/>
                </a:cubicBezTo>
                <a:cubicBezTo>
                  <a:pt x="1044" y="97"/>
                  <a:pt x="1044" y="97"/>
                  <a:pt x="1044" y="97"/>
                </a:cubicBezTo>
                <a:cubicBezTo>
                  <a:pt x="1045" y="97"/>
                  <a:pt x="1045" y="97"/>
                  <a:pt x="1045" y="97"/>
                </a:cubicBezTo>
                <a:cubicBezTo>
                  <a:pt x="1046" y="97"/>
                  <a:pt x="1046" y="97"/>
                  <a:pt x="1046" y="97"/>
                </a:cubicBezTo>
                <a:cubicBezTo>
                  <a:pt x="1047" y="97"/>
                  <a:pt x="1047" y="97"/>
                  <a:pt x="1047" y="97"/>
                </a:cubicBezTo>
                <a:cubicBezTo>
                  <a:pt x="1048" y="97"/>
                  <a:pt x="1048" y="97"/>
                  <a:pt x="1048" y="97"/>
                </a:cubicBezTo>
                <a:cubicBezTo>
                  <a:pt x="1049" y="97"/>
                  <a:pt x="1049" y="97"/>
                  <a:pt x="1049" y="97"/>
                </a:cubicBezTo>
                <a:cubicBezTo>
                  <a:pt x="1049" y="96"/>
                  <a:pt x="1049" y="96"/>
                  <a:pt x="1049" y="96"/>
                </a:cubicBezTo>
                <a:cubicBezTo>
                  <a:pt x="1050" y="96"/>
                  <a:pt x="1050" y="96"/>
                  <a:pt x="1050" y="96"/>
                </a:cubicBezTo>
                <a:cubicBezTo>
                  <a:pt x="1051" y="96"/>
                  <a:pt x="1051" y="96"/>
                  <a:pt x="1051" y="96"/>
                </a:cubicBezTo>
                <a:cubicBezTo>
                  <a:pt x="1052" y="96"/>
                  <a:pt x="1052" y="96"/>
                  <a:pt x="1052" y="96"/>
                </a:cubicBezTo>
                <a:cubicBezTo>
                  <a:pt x="1053" y="96"/>
                  <a:pt x="1053" y="96"/>
                  <a:pt x="1053" y="96"/>
                </a:cubicBezTo>
                <a:cubicBezTo>
                  <a:pt x="1058" y="94"/>
                  <a:pt x="1058" y="94"/>
                  <a:pt x="1058" y="94"/>
                </a:cubicBezTo>
                <a:cubicBezTo>
                  <a:pt x="1059" y="94"/>
                  <a:pt x="1059" y="94"/>
                  <a:pt x="1059" y="94"/>
                </a:cubicBezTo>
                <a:cubicBezTo>
                  <a:pt x="1059" y="93"/>
                  <a:pt x="1059" y="93"/>
                  <a:pt x="1059" y="93"/>
                </a:cubicBezTo>
                <a:cubicBezTo>
                  <a:pt x="1061" y="92"/>
                  <a:pt x="1061" y="92"/>
                  <a:pt x="1061" y="92"/>
                </a:cubicBezTo>
                <a:cubicBezTo>
                  <a:pt x="1063" y="92"/>
                  <a:pt x="1063" y="92"/>
                  <a:pt x="1063" y="92"/>
                </a:cubicBezTo>
                <a:cubicBezTo>
                  <a:pt x="1064" y="92"/>
                  <a:pt x="1064" y="92"/>
                  <a:pt x="1064" y="92"/>
                </a:cubicBezTo>
                <a:cubicBezTo>
                  <a:pt x="1065" y="92"/>
                  <a:pt x="1065" y="92"/>
                  <a:pt x="1065" y="92"/>
                </a:cubicBezTo>
                <a:cubicBezTo>
                  <a:pt x="1066" y="93"/>
                  <a:pt x="1066" y="93"/>
                  <a:pt x="1066" y="93"/>
                </a:cubicBezTo>
                <a:cubicBezTo>
                  <a:pt x="1067" y="92"/>
                  <a:pt x="1067" y="92"/>
                  <a:pt x="1067" y="92"/>
                </a:cubicBezTo>
                <a:cubicBezTo>
                  <a:pt x="1068" y="92"/>
                  <a:pt x="1068" y="92"/>
                  <a:pt x="1068" y="92"/>
                </a:cubicBezTo>
                <a:cubicBezTo>
                  <a:pt x="1070" y="92"/>
                  <a:pt x="1070" y="92"/>
                  <a:pt x="1070" y="92"/>
                </a:cubicBezTo>
                <a:cubicBezTo>
                  <a:pt x="1070" y="93"/>
                  <a:pt x="1070" y="93"/>
                  <a:pt x="1070" y="93"/>
                </a:cubicBezTo>
                <a:cubicBezTo>
                  <a:pt x="1071" y="93"/>
                  <a:pt x="1071" y="93"/>
                  <a:pt x="1071" y="93"/>
                </a:cubicBezTo>
                <a:cubicBezTo>
                  <a:pt x="1072" y="93"/>
                  <a:pt x="1072" y="93"/>
                  <a:pt x="1072" y="93"/>
                </a:cubicBezTo>
                <a:cubicBezTo>
                  <a:pt x="1073" y="94"/>
                  <a:pt x="1073" y="94"/>
                  <a:pt x="1073" y="94"/>
                </a:cubicBezTo>
                <a:cubicBezTo>
                  <a:pt x="1074" y="94"/>
                  <a:pt x="1074" y="94"/>
                  <a:pt x="1074" y="94"/>
                </a:cubicBezTo>
                <a:cubicBezTo>
                  <a:pt x="1075" y="94"/>
                  <a:pt x="1075" y="94"/>
                  <a:pt x="1075" y="94"/>
                </a:cubicBezTo>
                <a:cubicBezTo>
                  <a:pt x="1075" y="93"/>
                  <a:pt x="1075" y="93"/>
                  <a:pt x="1075" y="93"/>
                </a:cubicBezTo>
                <a:cubicBezTo>
                  <a:pt x="1076" y="92"/>
                  <a:pt x="1076" y="92"/>
                  <a:pt x="1076" y="92"/>
                </a:cubicBezTo>
                <a:cubicBezTo>
                  <a:pt x="1077" y="91"/>
                  <a:pt x="1077" y="91"/>
                  <a:pt x="1077" y="91"/>
                </a:cubicBezTo>
                <a:cubicBezTo>
                  <a:pt x="1078" y="90"/>
                  <a:pt x="1078" y="90"/>
                  <a:pt x="1078" y="90"/>
                </a:cubicBezTo>
                <a:cubicBezTo>
                  <a:pt x="1079" y="89"/>
                  <a:pt x="1079" y="89"/>
                  <a:pt x="1079" y="89"/>
                </a:cubicBezTo>
                <a:cubicBezTo>
                  <a:pt x="1080" y="88"/>
                  <a:pt x="1080" y="88"/>
                  <a:pt x="1080" y="88"/>
                </a:cubicBezTo>
                <a:cubicBezTo>
                  <a:pt x="1081" y="87"/>
                  <a:pt x="1081" y="87"/>
                  <a:pt x="1081" y="87"/>
                </a:cubicBezTo>
                <a:cubicBezTo>
                  <a:pt x="1082" y="86"/>
                  <a:pt x="1082" y="86"/>
                  <a:pt x="1082" y="86"/>
                </a:cubicBezTo>
                <a:cubicBezTo>
                  <a:pt x="1082" y="85"/>
                  <a:pt x="1082" y="85"/>
                  <a:pt x="1082" y="85"/>
                </a:cubicBezTo>
                <a:cubicBezTo>
                  <a:pt x="1081" y="85"/>
                  <a:pt x="1081" y="85"/>
                  <a:pt x="1081" y="85"/>
                </a:cubicBezTo>
                <a:cubicBezTo>
                  <a:pt x="1081" y="84"/>
                  <a:pt x="1081" y="84"/>
                  <a:pt x="1081" y="84"/>
                </a:cubicBezTo>
                <a:cubicBezTo>
                  <a:pt x="1082" y="82"/>
                  <a:pt x="1082" y="82"/>
                  <a:pt x="1082" y="82"/>
                </a:cubicBezTo>
                <a:cubicBezTo>
                  <a:pt x="1083" y="82"/>
                  <a:pt x="1083" y="82"/>
                  <a:pt x="1083" y="82"/>
                </a:cubicBezTo>
                <a:cubicBezTo>
                  <a:pt x="1085" y="82"/>
                  <a:pt x="1085" y="82"/>
                  <a:pt x="1085" y="82"/>
                </a:cubicBezTo>
                <a:cubicBezTo>
                  <a:pt x="1086" y="82"/>
                  <a:pt x="1086" y="82"/>
                  <a:pt x="1086" y="82"/>
                </a:cubicBezTo>
                <a:cubicBezTo>
                  <a:pt x="1087" y="81"/>
                  <a:pt x="1087" y="81"/>
                  <a:pt x="1087" y="81"/>
                </a:cubicBezTo>
                <a:cubicBezTo>
                  <a:pt x="1086" y="80"/>
                  <a:pt x="1086" y="80"/>
                  <a:pt x="1086" y="80"/>
                </a:cubicBezTo>
                <a:cubicBezTo>
                  <a:pt x="1085" y="80"/>
                  <a:pt x="1085" y="80"/>
                  <a:pt x="1085" y="80"/>
                </a:cubicBezTo>
                <a:cubicBezTo>
                  <a:pt x="1084" y="80"/>
                  <a:pt x="1084" y="80"/>
                  <a:pt x="1084" y="80"/>
                </a:cubicBezTo>
                <a:cubicBezTo>
                  <a:pt x="1084" y="79"/>
                  <a:pt x="1084" y="79"/>
                  <a:pt x="1084" y="79"/>
                </a:cubicBezTo>
                <a:cubicBezTo>
                  <a:pt x="1084" y="78"/>
                  <a:pt x="1084" y="78"/>
                  <a:pt x="1084" y="78"/>
                </a:cubicBezTo>
                <a:cubicBezTo>
                  <a:pt x="1085" y="78"/>
                  <a:pt x="1085" y="78"/>
                  <a:pt x="1085" y="78"/>
                </a:cubicBezTo>
                <a:cubicBezTo>
                  <a:pt x="1087" y="78"/>
                  <a:pt x="1087" y="78"/>
                  <a:pt x="1087" y="78"/>
                </a:cubicBezTo>
                <a:cubicBezTo>
                  <a:pt x="1088" y="77"/>
                  <a:pt x="1088" y="77"/>
                  <a:pt x="1088" y="77"/>
                </a:cubicBezTo>
                <a:cubicBezTo>
                  <a:pt x="1089" y="77"/>
                  <a:pt x="1089" y="77"/>
                  <a:pt x="1089" y="77"/>
                </a:cubicBezTo>
                <a:cubicBezTo>
                  <a:pt x="1090" y="76"/>
                  <a:pt x="1090" y="76"/>
                  <a:pt x="1090" y="76"/>
                </a:cubicBezTo>
                <a:cubicBezTo>
                  <a:pt x="1089" y="76"/>
                  <a:pt x="1089" y="76"/>
                  <a:pt x="1089" y="76"/>
                </a:cubicBezTo>
                <a:cubicBezTo>
                  <a:pt x="1089" y="75"/>
                  <a:pt x="1089" y="75"/>
                  <a:pt x="1089" y="75"/>
                </a:cubicBezTo>
                <a:cubicBezTo>
                  <a:pt x="1088" y="76"/>
                  <a:pt x="1088" y="76"/>
                  <a:pt x="1088" y="76"/>
                </a:cubicBezTo>
                <a:cubicBezTo>
                  <a:pt x="1088" y="77"/>
                  <a:pt x="1088" y="77"/>
                  <a:pt x="1088" y="77"/>
                </a:cubicBezTo>
                <a:cubicBezTo>
                  <a:pt x="1087" y="77"/>
                  <a:pt x="1087" y="77"/>
                  <a:pt x="1087" y="77"/>
                </a:cubicBezTo>
                <a:cubicBezTo>
                  <a:pt x="1085" y="77"/>
                  <a:pt x="1085" y="77"/>
                  <a:pt x="1085" y="77"/>
                </a:cubicBezTo>
                <a:cubicBezTo>
                  <a:pt x="1084" y="77"/>
                  <a:pt x="1084" y="77"/>
                  <a:pt x="1084" y="77"/>
                </a:cubicBezTo>
                <a:cubicBezTo>
                  <a:pt x="1083" y="78"/>
                  <a:pt x="1083" y="78"/>
                  <a:pt x="1083" y="78"/>
                </a:cubicBezTo>
                <a:cubicBezTo>
                  <a:pt x="1082" y="78"/>
                  <a:pt x="1082" y="78"/>
                  <a:pt x="1082" y="78"/>
                </a:cubicBezTo>
                <a:cubicBezTo>
                  <a:pt x="1081" y="77"/>
                  <a:pt x="1081" y="77"/>
                  <a:pt x="1081" y="77"/>
                </a:cubicBezTo>
                <a:cubicBezTo>
                  <a:pt x="1080" y="76"/>
                  <a:pt x="1080" y="76"/>
                  <a:pt x="1080" y="76"/>
                </a:cubicBezTo>
                <a:cubicBezTo>
                  <a:pt x="1079" y="76"/>
                  <a:pt x="1079" y="76"/>
                  <a:pt x="1079" y="76"/>
                </a:cubicBezTo>
                <a:cubicBezTo>
                  <a:pt x="1079" y="77"/>
                  <a:pt x="1079" y="77"/>
                  <a:pt x="1079" y="77"/>
                </a:cubicBezTo>
                <a:cubicBezTo>
                  <a:pt x="1078" y="77"/>
                  <a:pt x="1078" y="77"/>
                  <a:pt x="1078" y="77"/>
                </a:cubicBezTo>
                <a:cubicBezTo>
                  <a:pt x="1078" y="76"/>
                  <a:pt x="1078" y="76"/>
                  <a:pt x="1078" y="76"/>
                </a:cubicBezTo>
                <a:cubicBezTo>
                  <a:pt x="1077" y="76"/>
                  <a:pt x="1077" y="76"/>
                  <a:pt x="1077" y="76"/>
                </a:cubicBezTo>
                <a:cubicBezTo>
                  <a:pt x="1076" y="76"/>
                  <a:pt x="1076" y="76"/>
                  <a:pt x="1076" y="76"/>
                </a:cubicBezTo>
                <a:cubicBezTo>
                  <a:pt x="1076" y="75"/>
                  <a:pt x="1076" y="75"/>
                  <a:pt x="1076" y="75"/>
                </a:cubicBezTo>
                <a:cubicBezTo>
                  <a:pt x="1076" y="74"/>
                  <a:pt x="1076" y="74"/>
                  <a:pt x="1076" y="74"/>
                </a:cubicBezTo>
                <a:cubicBezTo>
                  <a:pt x="1076" y="73"/>
                  <a:pt x="1076" y="73"/>
                  <a:pt x="1076" y="73"/>
                </a:cubicBezTo>
                <a:cubicBezTo>
                  <a:pt x="1077" y="73"/>
                  <a:pt x="1077" y="73"/>
                  <a:pt x="1077" y="73"/>
                </a:cubicBezTo>
                <a:cubicBezTo>
                  <a:pt x="1078" y="72"/>
                  <a:pt x="1078" y="72"/>
                  <a:pt x="1078" y="72"/>
                </a:cubicBezTo>
                <a:cubicBezTo>
                  <a:pt x="1078" y="71"/>
                  <a:pt x="1078" y="71"/>
                  <a:pt x="1078" y="71"/>
                </a:cubicBezTo>
                <a:cubicBezTo>
                  <a:pt x="1079" y="71"/>
                  <a:pt x="1079" y="71"/>
                  <a:pt x="1079" y="71"/>
                </a:cubicBezTo>
                <a:cubicBezTo>
                  <a:pt x="1079" y="70"/>
                  <a:pt x="1079" y="70"/>
                  <a:pt x="1079" y="70"/>
                </a:cubicBezTo>
                <a:cubicBezTo>
                  <a:pt x="1078" y="69"/>
                  <a:pt x="1078" y="69"/>
                  <a:pt x="1078" y="69"/>
                </a:cubicBezTo>
                <a:cubicBezTo>
                  <a:pt x="1079" y="69"/>
                  <a:pt x="1079" y="69"/>
                  <a:pt x="1079" y="69"/>
                </a:cubicBezTo>
                <a:cubicBezTo>
                  <a:pt x="1080" y="68"/>
                  <a:pt x="1080" y="68"/>
                  <a:pt x="1080" y="68"/>
                </a:cubicBezTo>
                <a:cubicBezTo>
                  <a:pt x="1081" y="68"/>
                  <a:pt x="1081" y="68"/>
                  <a:pt x="1081" y="68"/>
                </a:cubicBezTo>
                <a:cubicBezTo>
                  <a:pt x="1081" y="67"/>
                  <a:pt x="1081" y="67"/>
                  <a:pt x="1081" y="67"/>
                </a:cubicBezTo>
                <a:cubicBezTo>
                  <a:pt x="1082" y="67"/>
                  <a:pt x="1082" y="67"/>
                  <a:pt x="1082" y="67"/>
                </a:cubicBezTo>
                <a:cubicBezTo>
                  <a:pt x="1084" y="66"/>
                  <a:pt x="1084" y="66"/>
                  <a:pt x="1084" y="66"/>
                </a:cubicBezTo>
                <a:cubicBezTo>
                  <a:pt x="1084" y="65"/>
                  <a:pt x="1084" y="65"/>
                  <a:pt x="1084" y="65"/>
                </a:cubicBezTo>
                <a:cubicBezTo>
                  <a:pt x="1085" y="65"/>
                  <a:pt x="1085" y="65"/>
                  <a:pt x="1085" y="65"/>
                </a:cubicBezTo>
                <a:cubicBezTo>
                  <a:pt x="1087" y="65"/>
                  <a:pt x="1087" y="65"/>
                  <a:pt x="1087" y="65"/>
                </a:cubicBezTo>
                <a:cubicBezTo>
                  <a:pt x="1088" y="65"/>
                  <a:pt x="1088" y="65"/>
                  <a:pt x="1088" y="65"/>
                </a:cubicBezTo>
                <a:cubicBezTo>
                  <a:pt x="1087" y="64"/>
                  <a:pt x="1087" y="64"/>
                  <a:pt x="1087" y="64"/>
                </a:cubicBezTo>
                <a:cubicBezTo>
                  <a:pt x="1087" y="63"/>
                  <a:pt x="1087" y="63"/>
                  <a:pt x="1087" y="63"/>
                </a:cubicBezTo>
                <a:cubicBezTo>
                  <a:pt x="1089" y="63"/>
                  <a:pt x="1089" y="63"/>
                  <a:pt x="1089" y="63"/>
                </a:cubicBezTo>
                <a:cubicBezTo>
                  <a:pt x="1091" y="62"/>
                  <a:pt x="1091" y="62"/>
                  <a:pt x="1091" y="62"/>
                </a:cubicBezTo>
                <a:cubicBezTo>
                  <a:pt x="1091" y="61"/>
                  <a:pt x="1091" y="61"/>
                  <a:pt x="1091" y="61"/>
                </a:cubicBezTo>
                <a:cubicBezTo>
                  <a:pt x="1091" y="60"/>
                  <a:pt x="1091" y="60"/>
                  <a:pt x="1091" y="60"/>
                </a:cubicBezTo>
                <a:cubicBezTo>
                  <a:pt x="1092" y="59"/>
                  <a:pt x="1092" y="59"/>
                  <a:pt x="1092" y="59"/>
                </a:cubicBezTo>
                <a:cubicBezTo>
                  <a:pt x="1093" y="59"/>
                  <a:pt x="1093" y="59"/>
                  <a:pt x="1093" y="59"/>
                </a:cubicBezTo>
                <a:cubicBezTo>
                  <a:pt x="1094" y="58"/>
                  <a:pt x="1094" y="58"/>
                  <a:pt x="1094" y="58"/>
                </a:cubicBezTo>
                <a:cubicBezTo>
                  <a:pt x="1095" y="58"/>
                  <a:pt x="1095" y="58"/>
                  <a:pt x="1095" y="58"/>
                </a:cubicBezTo>
                <a:cubicBezTo>
                  <a:pt x="1096" y="58"/>
                  <a:pt x="1096" y="58"/>
                  <a:pt x="1096" y="58"/>
                </a:cubicBezTo>
                <a:cubicBezTo>
                  <a:pt x="1096" y="59"/>
                  <a:pt x="1096" y="59"/>
                  <a:pt x="1096" y="59"/>
                </a:cubicBezTo>
                <a:cubicBezTo>
                  <a:pt x="1096" y="61"/>
                  <a:pt x="1096" y="61"/>
                  <a:pt x="1096" y="61"/>
                </a:cubicBezTo>
                <a:cubicBezTo>
                  <a:pt x="1096" y="62"/>
                  <a:pt x="1096" y="62"/>
                  <a:pt x="1096" y="62"/>
                </a:cubicBezTo>
                <a:cubicBezTo>
                  <a:pt x="1096" y="64"/>
                  <a:pt x="1096" y="64"/>
                  <a:pt x="1096" y="64"/>
                </a:cubicBezTo>
                <a:cubicBezTo>
                  <a:pt x="1096" y="66"/>
                  <a:pt x="1096" y="66"/>
                  <a:pt x="1096" y="66"/>
                </a:cubicBezTo>
                <a:cubicBezTo>
                  <a:pt x="1097" y="66"/>
                  <a:pt x="1097" y="66"/>
                  <a:pt x="1097" y="66"/>
                </a:cubicBezTo>
                <a:cubicBezTo>
                  <a:pt x="1097" y="64"/>
                  <a:pt x="1097" y="64"/>
                  <a:pt x="1097" y="64"/>
                </a:cubicBezTo>
                <a:cubicBezTo>
                  <a:pt x="1097" y="62"/>
                  <a:pt x="1097" y="62"/>
                  <a:pt x="1097" y="62"/>
                </a:cubicBezTo>
                <a:cubicBezTo>
                  <a:pt x="1097" y="61"/>
                  <a:pt x="1097" y="61"/>
                  <a:pt x="1097" y="61"/>
                </a:cubicBezTo>
                <a:cubicBezTo>
                  <a:pt x="1097" y="60"/>
                  <a:pt x="1097" y="60"/>
                  <a:pt x="1097" y="60"/>
                </a:cubicBezTo>
                <a:cubicBezTo>
                  <a:pt x="1097" y="58"/>
                  <a:pt x="1097" y="58"/>
                  <a:pt x="1097" y="58"/>
                </a:cubicBezTo>
                <a:cubicBezTo>
                  <a:pt x="1098" y="58"/>
                  <a:pt x="1098" y="58"/>
                  <a:pt x="1098" y="58"/>
                </a:cubicBezTo>
                <a:cubicBezTo>
                  <a:pt x="1099" y="57"/>
                  <a:pt x="1099" y="57"/>
                  <a:pt x="1099" y="57"/>
                </a:cubicBezTo>
                <a:cubicBezTo>
                  <a:pt x="1100" y="57"/>
                  <a:pt x="1100" y="57"/>
                  <a:pt x="1100" y="57"/>
                </a:cubicBezTo>
                <a:cubicBezTo>
                  <a:pt x="1100" y="58"/>
                  <a:pt x="1100" y="58"/>
                  <a:pt x="1100" y="58"/>
                </a:cubicBezTo>
                <a:cubicBezTo>
                  <a:pt x="1101" y="58"/>
                  <a:pt x="1101" y="58"/>
                  <a:pt x="1101" y="58"/>
                </a:cubicBezTo>
                <a:cubicBezTo>
                  <a:pt x="1101" y="59"/>
                  <a:pt x="1101" y="59"/>
                  <a:pt x="1101" y="59"/>
                </a:cubicBezTo>
                <a:cubicBezTo>
                  <a:pt x="1101" y="60"/>
                  <a:pt x="1101" y="60"/>
                  <a:pt x="1101" y="60"/>
                </a:cubicBezTo>
                <a:cubicBezTo>
                  <a:pt x="1102" y="60"/>
                  <a:pt x="1102" y="60"/>
                  <a:pt x="1102" y="60"/>
                </a:cubicBezTo>
                <a:cubicBezTo>
                  <a:pt x="1104" y="60"/>
                  <a:pt x="1104" y="60"/>
                  <a:pt x="1104" y="60"/>
                </a:cubicBezTo>
                <a:cubicBezTo>
                  <a:pt x="1105" y="60"/>
                  <a:pt x="1105" y="60"/>
                  <a:pt x="1105" y="60"/>
                </a:cubicBezTo>
                <a:cubicBezTo>
                  <a:pt x="1106" y="60"/>
                  <a:pt x="1106" y="60"/>
                  <a:pt x="1106" y="60"/>
                </a:cubicBezTo>
                <a:cubicBezTo>
                  <a:pt x="1106" y="59"/>
                  <a:pt x="1106" y="59"/>
                  <a:pt x="1106" y="59"/>
                </a:cubicBezTo>
                <a:cubicBezTo>
                  <a:pt x="1105" y="59"/>
                  <a:pt x="1105" y="59"/>
                  <a:pt x="1105" y="59"/>
                </a:cubicBezTo>
                <a:cubicBezTo>
                  <a:pt x="1106" y="58"/>
                  <a:pt x="1106" y="58"/>
                  <a:pt x="1106" y="58"/>
                </a:cubicBezTo>
                <a:cubicBezTo>
                  <a:pt x="1106" y="57"/>
                  <a:pt x="1106" y="57"/>
                  <a:pt x="1106" y="57"/>
                </a:cubicBezTo>
                <a:cubicBezTo>
                  <a:pt x="1107" y="56"/>
                  <a:pt x="1107" y="56"/>
                  <a:pt x="1107" y="56"/>
                </a:cubicBezTo>
                <a:cubicBezTo>
                  <a:pt x="1108" y="56"/>
                  <a:pt x="1108" y="56"/>
                  <a:pt x="1108" y="56"/>
                </a:cubicBezTo>
                <a:cubicBezTo>
                  <a:pt x="1110" y="55"/>
                  <a:pt x="1110" y="55"/>
                  <a:pt x="1110" y="55"/>
                </a:cubicBezTo>
                <a:cubicBezTo>
                  <a:pt x="1110" y="54"/>
                  <a:pt x="1110" y="54"/>
                  <a:pt x="1110" y="54"/>
                </a:cubicBezTo>
                <a:cubicBezTo>
                  <a:pt x="1110" y="52"/>
                  <a:pt x="1110" y="52"/>
                  <a:pt x="1110" y="52"/>
                </a:cubicBezTo>
                <a:cubicBezTo>
                  <a:pt x="1109" y="52"/>
                  <a:pt x="1109" y="52"/>
                  <a:pt x="1109" y="52"/>
                </a:cubicBezTo>
                <a:cubicBezTo>
                  <a:pt x="1109" y="51"/>
                  <a:pt x="1109" y="51"/>
                  <a:pt x="1109" y="51"/>
                </a:cubicBezTo>
                <a:cubicBezTo>
                  <a:pt x="1110" y="50"/>
                  <a:pt x="1110" y="50"/>
                  <a:pt x="1110" y="50"/>
                </a:cubicBezTo>
                <a:cubicBezTo>
                  <a:pt x="1110" y="48"/>
                  <a:pt x="1110" y="48"/>
                  <a:pt x="1110" y="48"/>
                </a:cubicBezTo>
                <a:cubicBezTo>
                  <a:pt x="1110" y="47"/>
                  <a:pt x="1110" y="47"/>
                  <a:pt x="1110" y="47"/>
                </a:cubicBezTo>
                <a:cubicBezTo>
                  <a:pt x="1110" y="46"/>
                  <a:pt x="1110" y="46"/>
                  <a:pt x="1110" y="46"/>
                </a:cubicBezTo>
                <a:cubicBezTo>
                  <a:pt x="1111" y="45"/>
                  <a:pt x="1111" y="45"/>
                  <a:pt x="1111" y="45"/>
                </a:cubicBezTo>
                <a:cubicBezTo>
                  <a:pt x="1113" y="45"/>
                  <a:pt x="1113" y="45"/>
                  <a:pt x="1113" y="45"/>
                </a:cubicBezTo>
                <a:cubicBezTo>
                  <a:pt x="1114" y="44"/>
                  <a:pt x="1114" y="44"/>
                  <a:pt x="1114" y="44"/>
                </a:cubicBezTo>
                <a:cubicBezTo>
                  <a:pt x="1116" y="44"/>
                  <a:pt x="1116" y="44"/>
                  <a:pt x="1116" y="44"/>
                </a:cubicBezTo>
                <a:cubicBezTo>
                  <a:pt x="1116" y="45"/>
                  <a:pt x="1116" y="45"/>
                  <a:pt x="1116" y="45"/>
                </a:cubicBezTo>
                <a:cubicBezTo>
                  <a:pt x="1116" y="46"/>
                  <a:pt x="1116" y="46"/>
                  <a:pt x="1116" y="46"/>
                </a:cubicBezTo>
                <a:cubicBezTo>
                  <a:pt x="1118" y="47"/>
                  <a:pt x="1118" y="47"/>
                  <a:pt x="1118" y="47"/>
                </a:cubicBezTo>
                <a:cubicBezTo>
                  <a:pt x="1118" y="48"/>
                  <a:pt x="1118" y="48"/>
                  <a:pt x="1118" y="48"/>
                </a:cubicBezTo>
                <a:cubicBezTo>
                  <a:pt x="1118" y="51"/>
                  <a:pt x="1118" y="51"/>
                  <a:pt x="1118" y="51"/>
                </a:cubicBezTo>
                <a:cubicBezTo>
                  <a:pt x="1117" y="53"/>
                  <a:pt x="1117" y="53"/>
                  <a:pt x="1117" y="53"/>
                </a:cubicBezTo>
                <a:cubicBezTo>
                  <a:pt x="1118" y="53"/>
                  <a:pt x="1118" y="53"/>
                  <a:pt x="1118" y="53"/>
                </a:cubicBezTo>
                <a:cubicBezTo>
                  <a:pt x="1120" y="55"/>
                  <a:pt x="1120" y="55"/>
                  <a:pt x="1120" y="55"/>
                </a:cubicBezTo>
                <a:cubicBezTo>
                  <a:pt x="1120" y="56"/>
                  <a:pt x="1120" y="56"/>
                  <a:pt x="1120" y="56"/>
                </a:cubicBezTo>
                <a:cubicBezTo>
                  <a:pt x="1121" y="57"/>
                  <a:pt x="1121" y="57"/>
                  <a:pt x="1121" y="57"/>
                </a:cubicBezTo>
                <a:cubicBezTo>
                  <a:pt x="1121" y="56"/>
                  <a:pt x="1121" y="56"/>
                  <a:pt x="1121" y="56"/>
                </a:cubicBezTo>
                <a:cubicBezTo>
                  <a:pt x="1121" y="54"/>
                  <a:pt x="1121" y="54"/>
                  <a:pt x="1121" y="54"/>
                </a:cubicBezTo>
                <a:cubicBezTo>
                  <a:pt x="1121" y="53"/>
                  <a:pt x="1121" y="53"/>
                  <a:pt x="1121" y="53"/>
                </a:cubicBezTo>
                <a:cubicBezTo>
                  <a:pt x="1119" y="51"/>
                  <a:pt x="1119" y="51"/>
                  <a:pt x="1119" y="51"/>
                </a:cubicBezTo>
                <a:cubicBezTo>
                  <a:pt x="1119" y="49"/>
                  <a:pt x="1119" y="49"/>
                  <a:pt x="1119" y="49"/>
                </a:cubicBezTo>
                <a:cubicBezTo>
                  <a:pt x="1120" y="47"/>
                  <a:pt x="1120" y="47"/>
                  <a:pt x="1120" y="47"/>
                </a:cubicBezTo>
                <a:cubicBezTo>
                  <a:pt x="1120" y="46"/>
                  <a:pt x="1120" y="46"/>
                  <a:pt x="1120" y="46"/>
                </a:cubicBezTo>
                <a:cubicBezTo>
                  <a:pt x="1119" y="45"/>
                  <a:pt x="1119" y="45"/>
                  <a:pt x="1119" y="45"/>
                </a:cubicBezTo>
                <a:cubicBezTo>
                  <a:pt x="1119" y="44"/>
                  <a:pt x="1119" y="44"/>
                  <a:pt x="1119" y="44"/>
                </a:cubicBezTo>
                <a:cubicBezTo>
                  <a:pt x="1119" y="43"/>
                  <a:pt x="1119" y="43"/>
                  <a:pt x="1119" y="43"/>
                </a:cubicBezTo>
                <a:cubicBezTo>
                  <a:pt x="1119" y="42"/>
                  <a:pt x="1119" y="42"/>
                  <a:pt x="1119" y="42"/>
                </a:cubicBezTo>
                <a:cubicBezTo>
                  <a:pt x="1120" y="41"/>
                  <a:pt x="1120" y="41"/>
                  <a:pt x="1120" y="41"/>
                </a:cubicBezTo>
                <a:cubicBezTo>
                  <a:pt x="1121" y="41"/>
                  <a:pt x="1121" y="41"/>
                  <a:pt x="1121" y="41"/>
                </a:cubicBezTo>
                <a:cubicBezTo>
                  <a:pt x="1122" y="42"/>
                  <a:pt x="1122" y="42"/>
                  <a:pt x="1122" y="42"/>
                </a:cubicBezTo>
                <a:cubicBezTo>
                  <a:pt x="1123" y="41"/>
                  <a:pt x="1123" y="41"/>
                  <a:pt x="1123" y="41"/>
                </a:cubicBezTo>
                <a:cubicBezTo>
                  <a:pt x="1124" y="41"/>
                  <a:pt x="1124" y="41"/>
                  <a:pt x="1124" y="41"/>
                </a:cubicBezTo>
                <a:cubicBezTo>
                  <a:pt x="1125" y="42"/>
                  <a:pt x="1125" y="42"/>
                  <a:pt x="1125" y="42"/>
                </a:cubicBezTo>
                <a:cubicBezTo>
                  <a:pt x="1128" y="41"/>
                  <a:pt x="1128" y="41"/>
                  <a:pt x="1128" y="41"/>
                </a:cubicBezTo>
                <a:cubicBezTo>
                  <a:pt x="1130" y="41"/>
                  <a:pt x="1130" y="41"/>
                  <a:pt x="1130" y="41"/>
                </a:cubicBezTo>
                <a:cubicBezTo>
                  <a:pt x="1133" y="40"/>
                  <a:pt x="1133" y="40"/>
                  <a:pt x="1133" y="40"/>
                </a:cubicBezTo>
                <a:cubicBezTo>
                  <a:pt x="1133" y="41"/>
                  <a:pt x="1133" y="41"/>
                  <a:pt x="1133" y="41"/>
                </a:cubicBezTo>
                <a:cubicBezTo>
                  <a:pt x="1134" y="42"/>
                  <a:pt x="1134" y="42"/>
                  <a:pt x="1134" y="42"/>
                </a:cubicBezTo>
                <a:cubicBezTo>
                  <a:pt x="1134" y="43"/>
                  <a:pt x="1134" y="43"/>
                  <a:pt x="1134" y="43"/>
                </a:cubicBezTo>
                <a:cubicBezTo>
                  <a:pt x="1134" y="44"/>
                  <a:pt x="1134" y="44"/>
                  <a:pt x="1134" y="44"/>
                </a:cubicBezTo>
                <a:cubicBezTo>
                  <a:pt x="1135" y="44"/>
                  <a:pt x="1135" y="44"/>
                  <a:pt x="1135" y="44"/>
                </a:cubicBezTo>
                <a:cubicBezTo>
                  <a:pt x="1135" y="43"/>
                  <a:pt x="1135" y="43"/>
                  <a:pt x="1135" y="43"/>
                </a:cubicBezTo>
                <a:cubicBezTo>
                  <a:pt x="1135" y="42"/>
                  <a:pt x="1135" y="42"/>
                  <a:pt x="1135" y="42"/>
                </a:cubicBezTo>
                <a:cubicBezTo>
                  <a:pt x="1135" y="41"/>
                  <a:pt x="1135" y="41"/>
                  <a:pt x="1135" y="41"/>
                </a:cubicBezTo>
                <a:cubicBezTo>
                  <a:pt x="1136" y="39"/>
                  <a:pt x="1136" y="39"/>
                  <a:pt x="1136" y="39"/>
                </a:cubicBezTo>
                <a:cubicBezTo>
                  <a:pt x="1137" y="40"/>
                  <a:pt x="1137" y="40"/>
                  <a:pt x="1137" y="40"/>
                </a:cubicBezTo>
                <a:cubicBezTo>
                  <a:pt x="1138" y="41"/>
                  <a:pt x="1138" y="41"/>
                  <a:pt x="1138" y="41"/>
                </a:cubicBezTo>
                <a:cubicBezTo>
                  <a:pt x="1138" y="42"/>
                  <a:pt x="1138" y="42"/>
                  <a:pt x="1138" y="42"/>
                </a:cubicBezTo>
                <a:cubicBezTo>
                  <a:pt x="1139" y="43"/>
                  <a:pt x="1139" y="43"/>
                  <a:pt x="1139" y="43"/>
                </a:cubicBezTo>
                <a:cubicBezTo>
                  <a:pt x="1139" y="42"/>
                  <a:pt x="1139" y="42"/>
                  <a:pt x="1139" y="42"/>
                </a:cubicBezTo>
                <a:cubicBezTo>
                  <a:pt x="1139" y="40"/>
                  <a:pt x="1139" y="40"/>
                  <a:pt x="1139" y="40"/>
                </a:cubicBezTo>
                <a:cubicBezTo>
                  <a:pt x="1138" y="39"/>
                  <a:pt x="1138" y="39"/>
                  <a:pt x="1138" y="39"/>
                </a:cubicBezTo>
                <a:cubicBezTo>
                  <a:pt x="1138" y="38"/>
                  <a:pt x="1138" y="38"/>
                  <a:pt x="1138" y="38"/>
                </a:cubicBezTo>
                <a:cubicBezTo>
                  <a:pt x="1139" y="38"/>
                  <a:pt x="1139" y="38"/>
                  <a:pt x="1139" y="38"/>
                </a:cubicBezTo>
                <a:cubicBezTo>
                  <a:pt x="1140" y="38"/>
                  <a:pt x="1140" y="38"/>
                  <a:pt x="1140" y="38"/>
                </a:cubicBezTo>
                <a:cubicBezTo>
                  <a:pt x="1141" y="39"/>
                  <a:pt x="1141" y="39"/>
                  <a:pt x="1141" y="39"/>
                </a:cubicBezTo>
                <a:cubicBezTo>
                  <a:pt x="1142" y="38"/>
                  <a:pt x="1142" y="38"/>
                  <a:pt x="1142" y="38"/>
                </a:cubicBezTo>
                <a:cubicBezTo>
                  <a:pt x="1143" y="38"/>
                  <a:pt x="1143" y="38"/>
                  <a:pt x="1143" y="38"/>
                </a:cubicBezTo>
                <a:cubicBezTo>
                  <a:pt x="1145" y="38"/>
                  <a:pt x="1145" y="38"/>
                  <a:pt x="1145" y="38"/>
                </a:cubicBezTo>
                <a:cubicBezTo>
                  <a:pt x="1145" y="39"/>
                  <a:pt x="1145" y="39"/>
                  <a:pt x="1145" y="39"/>
                </a:cubicBezTo>
                <a:cubicBezTo>
                  <a:pt x="1145" y="42"/>
                  <a:pt x="1145" y="42"/>
                  <a:pt x="1145" y="42"/>
                </a:cubicBezTo>
                <a:cubicBezTo>
                  <a:pt x="1144" y="43"/>
                  <a:pt x="1144" y="43"/>
                  <a:pt x="1144" y="43"/>
                </a:cubicBezTo>
                <a:cubicBezTo>
                  <a:pt x="1144" y="44"/>
                  <a:pt x="1144" y="44"/>
                  <a:pt x="1144" y="44"/>
                </a:cubicBezTo>
                <a:cubicBezTo>
                  <a:pt x="1143" y="46"/>
                  <a:pt x="1143" y="46"/>
                  <a:pt x="1143" y="46"/>
                </a:cubicBezTo>
                <a:cubicBezTo>
                  <a:pt x="1143" y="48"/>
                  <a:pt x="1143" y="48"/>
                  <a:pt x="1143" y="48"/>
                </a:cubicBezTo>
                <a:cubicBezTo>
                  <a:pt x="1142" y="49"/>
                  <a:pt x="1142" y="49"/>
                  <a:pt x="1142" y="49"/>
                </a:cubicBezTo>
                <a:cubicBezTo>
                  <a:pt x="1142" y="50"/>
                  <a:pt x="1142" y="50"/>
                  <a:pt x="1142" y="50"/>
                </a:cubicBezTo>
                <a:cubicBezTo>
                  <a:pt x="1141" y="50"/>
                  <a:pt x="1141" y="50"/>
                  <a:pt x="1141" y="50"/>
                </a:cubicBezTo>
                <a:cubicBezTo>
                  <a:pt x="1142" y="51"/>
                  <a:pt x="1142" y="51"/>
                  <a:pt x="1142" y="51"/>
                </a:cubicBezTo>
                <a:cubicBezTo>
                  <a:pt x="1142" y="52"/>
                  <a:pt x="1142" y="52"/>
                  <a:pt x="1142" y="52"/>
                </a:cubicBezTo>
                <a:cubicBezTo>
                  <a:pt x="1141" y="53"/>
                  <a:pt x="1141" y="53"/>
                  <a:pt x="1141" y="53"/>
                </a:cubicBezTo>
                <a:cubicBezTo>
                  <a:pt x="1140" y="55"/>
                  <a:pt x="1140" y="55"/>
                  <a:pt x="1140" y="55"/>
                </a:cubicBezTo>
                <a:cubicBezTo>
                  <a:pt x="1139" y="55"/>
                  <a:pt x="1139" y="55"/>
                  <a:pt x="1139" y="55"/>
                </a:cubicBezTo>
                <a:cubicBezTo>
                  <a:pt x="1139" y="56"/>
                  <a:pt x="1139" y="56"/>
                  <a:pt x="1139" y="56"/>
                </a:cubicBezTo>
                <a:cubicBezTo>
                  <a:pt x="1138" y="57"/>
                  <a:pt x="1138" y="57"/>
                  <a:pt x="1138" y="57"/>
                </a:cubicBezTo>
                <a:cubicBezTo>
                  <a:pt x="1138" y="58"/>
                  <a:pt x="1138" y="58"/>
                  <a:pt x="1138" y="58"/>
                </a:cubicBezTo>
                <a:cubicBezTo>
                  <a:pt x="1137" y="60"/>
                  <a:pt x="1137" y="60"/>
                  <a:pt x="1137" y="60"/>
                </a:cubicBezTo>
                <a:cubicBezTo>
                  <a:pt x="1138" y="60"/>
                  <a:pt x="1138" y="60"/>
                  <a:pt x="1138" y="60"/>
                </a:cubicBezTo>
                <a:cubicBezTo>
                  <a:pt x="1139" y="59"/>
                  <a:pt x="1139" y="59"/>
                  <a:pt x="1139" y="59"/>
                </a:cubicBezTo>
                <a:cubicBezTo>
                  <a:pt x="1140" y="58"/>
                  <a:pt x="1140" y="58"/>
                  <a:pt x="1140" y="58"/>
                </a:cubicBezTo>
                <a:cubicBezTo>
                  <a:pt x="1140" y="57"/>
                  <a:pt x="1140" y="57"/>
                  <a:pt x="1140" y="57"/>
                </a:cubicBezTo>
                <a:cubicBezTo>
                  <a:pt x="1141" y="56"/>
                  <a:pt x="1141" y="56"/>
                  <a:pt x="1141" y="56"/>
                </a:cubicBezTo>
                <a:cubicBezTo>
                  <a:pt x="1142" y="55"/>
                  <a:pt x="1142" y="55"/>
                  <a:pt x="1142" y="55"/>
                </a:cubicBezTo>
                <a:cubicBezTo>
                  <a:pt x="1142" y="54"/>
                  <a:pt x="1142" y="54"/>
                  <a:pt x="1142" y="54"/>
                </a:cubicBezTo>
                <a:cubicBezTo>
                  <a:pt x="1143" y="53"/>
                  <a:pt x="1143" y="53"/>
                  <a:pt x="1143" y="53"/>
                </a:cubicBezTo>
                <a:cubicBezTo>
                  <a:pt x="1144" y="53"/>
                  <a:pt x="1144" y="53"/>
                  <a:pt x="1144" y="53"/>
                </a:cubicBezTo>
                <a:cubicBezTo>
                  <a:pt x="1144" y="52"/>
                  <a:pt x="1144" y="52"/>
                  <a:pt x="1144" y="52"/>
                </a:cubicBezTo>
                <a:cubicBezTo>
                  <a:pt x="1144" y="51"/>
                  <a:pt x="1144" y="51"/>
                  <a:pt x="1144" y="51"/>
                </a:cubicBezTo>
                <a:cubicBezTo>
                  <a:pt x="1145" y="51"/>
                  <a:pt x="1145" y="51"/>
                  <a:pt x="1145" y="51"/>
                </a:cubicBezTo>
                <a:cubicBezTo>
                  <a:pt x="1145" y="49"/>
                  <a:pt x="1145" y="49"/>
                  <a:pt x="1145" y="49"/>
                </a:cubicBezTo>
                <a:cubicBezTo>
                  <a:pt x="1146" y="49"/>
                  <a:pt x="1146" y="49"/>
                  <a:pt x="1146" y="49"/>
                </a:cubicBezTo>
                <a:cubicBezTo>
                  <a:pt x="1146" y="50"/>
                  <a:pt x="1146" y="50"/>
                  <a:pt x="1146" y="50"/>
                </a:cubicBezTo>
                <a:cubicBezTo>
                  <a:pt x="1146" y="51"/>
                  <a:pt x="1146" y="51"/>
                  <a:pt x="1146" y="51"/>
                </a:cubicBezTo>
                <a:cubicBezTo>
                  <a:pt x="1147" y="51"/>
                  <a:pt x="1147" y="51"/>
                  <a:pt x="1147" y="51"/>
                </a:cubicBezTo>
                <a:cubicBezTo>
                  <a:pt x="1147" y="52"/>
                  <a:pt x="1147" y="52"/>
                  <a:pt x="1147" y="52"/>
                </a:cubicBezTo>
                <a:cubicBezTo>
                  <a:pt x="1148" y="54"/>
                  <a:pt x="1148" y="54"/>
                  <a:pt x="1148" y="54"/>
                </a:cubicBezTo>
                <a:cubicBezTo>
                  <a:pt x="1149" y="55"/>
                  <a:pt x="1149" y="55"/>
                  <a:pt x="1149" y="55"/>
                </a:cubicBezTo>
                <a:cubicBezTo>
                  <a:pt x="1149" y="57"/>
                  <a:pt x="1149" y="57"/>
                  <a:pt x="1149" y="57"/>
                </a:cubicBezTo>
                <a:cubicBezTo>
                  <a:pt x="1150" y="57"/>
                  <a:pt x="1150" y="57"/>
                  <a:pt x="1150" y="57"/>
                </a:cubicBezTo>
                <a:cubicBezTo>
                  <a:pt x="1151" y="58"/>
                  <a:pt x="1151" y="58"/>
                  <a:pt x="1151" y="58"/>
                </a:cubicBezTo>
                <a:cubicBezTo>
                  <a:pt x="1151" y="57"/>
                  <a:pt x="1151" y="57"/>
                  <a:pt x="1151" y="57"/>
                </a:cubicBezTo>
                <a:cubicBezTo>
                  <a:pt x="1152" y="57"/>
                  <a:pt x="1152" y="57"/>
                  <a:pt x="1152" y="57"/>
                </a:cubicBezTo>
                <a:cubicBezTo>
                  <a:pt x="1152" y="56"/>
                  <a:pt x="1152" y="56"/>
                  <a:pt x="1152" y="56"/>
                </a:cubicBezTo>
                <a:cubicBezTo>
                  <a:pt x="1151" y="55"/>
                  <a:pt x="1151" y="55"/>
                  <a:pt x="1151" y="55"/>
                </a:cubicBezTo>
                <a:cubicBezTo>
                  <a:pt x="1151" y="54"/>
                  <a:pt x="1151" y="54"/>
                  <a:pt x="1151" y="54"/>
                </a:cubicBezTo>
                <a:cubicBezTo>
                  <a:pt x="1152" y="55"/>
                  <a:pt x="1152" y="55"/>
                  <a:pt x="1152" y="55"/>
                </a:cubicBezTo>
                <a:cubicBezTo>
                  <a:pt x="1153" y="55"/>
                  <a:pt x="1153" y="55"/>
                  <a:pt x="1153" y="55"/>
                </a:cubicBezTo>
                <a:cubicBezTo>
                  <a:pt x="1154" y="55"/>
                  <a:pt x="1154" y="55"/>
                  <a:pt x="1154" y="55"/>
                </a:cubicBezTo>
                <a:cubicBezTo>
                  <a:pt x="1154" y="56"/>
                  <a:pt x="1154" y="56"/>
                  <a:pt x="1154" y="56"/>
                </a:cubicBezTo>
                <a:cubicBezTo>
                  <a:pt x="1155" y="56"/>
                  <a:pt x="1155" y="56"/>
                  <a:pt x="1155" y="56"/>
                </a:cubicBezTo>
                <a:cubicBezTo>
                  <a:pt x="1156" y="56"/>
                  <a:pt x="1156" y="56"/>
                  <a:pt x="1156" y="56"/>
                </a:cubicBezTo>
                <a:cubicBezTo>
                  <a:pt x="1157" y="56"/>
                  <a:pt x="1157" y="56"/>
                  <a:pt x="1157" y="56"/>
                </a:cubicBezTo>
                <a:cubicBezTo>
                  <a:pt x="1157" y="54"/>
                  <a:pt x="1157" y="54"/>
                  <a:pt x="1157" y="54"/>
                </a:cubicBezTo>
                <a:cubicBezTo>
                  <a:pt x="1157" y="53"/>
                  <a:pt x="1157" y="53"/>
                  <a:pt x="1157" y="53"/>
                </a:cubicBezTo>
                <a:cubicBezTo>
                  <a:pt x="1157" y="51"/>
                  <a:pt x="1157" y="51"/>
                  <a:pt x="1157" y="51"/>
                </a:cubicBezTo>
                <a:cubicBezTo>
                  <a:pt x="1158" y="49"/>
                  <a:pt x="1158" y="49"/>
                  <a:pt x="1158" y="49"/>
                </a:cubicBezTo>
                <a:cubicBezTo>
                  <a:pt x="1157" y="49"/>
                  <a:pt x="1157" y="49"/>
                  <a:pt x="1157" y="49"/>
                </a:cubicBezTo>
                <a:cubicBezTo>
                  <a:pt x="1157" y="47"/>
                  <a:pt x="1157" y="47"/>
                  <a:pt x="1157" y="47"/>
                </a:cubicBezTo>
                <a:cubicBezTo>
                  <a:pt x="1157" y="45"/>
                  <a:pt x="1157" y="45"/>
                  <a:pt x="1157" y="45"/>
                </a:cubicBezTo>
                <a:cubicBezTo>
                  <a:pt x="1158" y="43"/>
                  <a:pt x="1158" y="43"/>
                  <a:pt x="1158" y="43"/>
                </a:cubicBezTo>
                <a:cubicBezTo>
                  <a:pt x="1158" y="42"/>
                  <a:pt x="1158" y="42"/>
                  <a:pt x="1158" y="42"/>
                </a:cubicBezTo>
                <a:cubicBezTo>
                  <a:pt x="1158" y="41"/>
                  <a:pt x="1158" y="41"/>
                  <a:pt x="1158" y="41"/>
                </a:cubicBezTo>
                <a:cubicBezTo>
                  <a:pt x="1158" y="40"/>
                  <a:pt x="1158" y="40"/>
                  <a:pt x="1158" y="40"/>
                </a:cubicBezTo>
                <a:cubicBezTo>
                  <a:pt x="1158" y="39"/>
                  <a:pt x="1158" y="39"/>
                  <a:pt x="1158" y="39"/>
                </a:cubicBezTo>
                <a:cubicBezTo>
                  <a:pt x="1160" y="39"/>
                  <a:pt x="1160" y="39"/>
                  <a:pt x="1160" y="39"/>
                </a:cubicBezTo>
                <a:cubicBezTo>
                  <a:pt x="1161" y="39"/>
                  <a:pt x="1161" y="39"/>
                  <a:pt x="1161" y="39"/>
                </a:cubicBezTo>
                <a:cubicBezTo>
                  <a:pt x="1162" y="40"/>
                  <a:pt x="1162" y="40"/>
                  <a:pt x="1162" y="40"/>
                </a:cubicBezTo>
                <a:cubicBezTo>
                  <a:pt x="1162" y="41"/>
                  <a:pt x="1162" y="41"/>
                  <a:pt x="1162" y="41"/>
                </a:cubicBezTo>
                <a:cubicBezTo>
                  <a:pt x="1163" y="41"/>
                  <a:pt x="1163" y="41"/>
                  <a:pt x="1163" y="41"/>
                </a:cubicBezTo>
                <a:cubicBezTo>
                  <a:pt x="1164" y="42"/>
                  <a:pt x="1164" y="42"/>
                  <a:pt x="1164" y="42"/>
                </a:cubicBezTo>
                <a:cubicBezTo>
                  <a:pt x="1165" y="45"/>
                  <a:pt x="1165" y="45"/>
                  <a:pt x="1165" y="45"/>
                </a:cubicBezTo>
                <a:cubicBezTo>
                  <a:pt x="1165" y="46"/>
                  <a:pt x="1165" y="46"/>
                  <a:pt x="1165" y="46"/>
                </a:cubicBezTo>
                <a:cubicBezTo>
                  <a:pt x="1166" y="48"/>
                  <a:pt x="1166" y="48"/>
                  <a:pt x="1166" y="48"/>
                </a:cubicBezTo>
                <a:cubicBezTo>
                  <a:pt x="1167" y="49"/>
                  <a:pt x="1167" y="49"/>
                  <a:pt x="1167" y="49"/>
                </a:cubicBezTo>
                <a:cubicBezTo>
                  <a:pt x="1167" y="52"/>
                  <a:pt x="1167" y="52"/>
                  <a:pt x="1167" y="52"/>
                </a:cubicBezTo>
                <a:cubicBezTo>
                  <a:pt x="1167" y="53"/>
                  <a:pt x="1167" y="53"/>
                  <a:pt x="1167" y="53"/>
                </a:cubicBezTo>
                <a:cubicBezTo>
                  <a:pt x="1166" y="53"/>
                  <a:pt x="1166" y="53"/>
                  <a:pt x="1166" y="53"/>
                </a:cubicBezTo>
                <a:cubicBezTo>
                  <a:pt x="1166" y="54"/>
                  <a:pt x="1166" y="54"/>
                  <a:pt x="1166" y="54"/>
                </a:cubicBezTo>
                <a:cubicBezTo>
                  <a:pt x="1166" y="56"/>
                  <a:pt x="1166" y="56"/>
                  <a:pt x="1166" y="56"/>
                </a:cubicBezTo>
                <a:cubicBezTo>
                  <a:pt x="1167" y="56"/>
                  <a:pt x="1167" y="56"/>
                  <a:pt x="1167" y="56"/>
                </a:cubicBezTo>
                <a:cubicBezTo>
                  <a:pt x="1168" y="58"/>
                  <a:pt x="1168" y="58"/>
                  <a:pt x="1168" y="58"/>
                </a:cubicBezTo>
                <a:cubicBezTo>
                  <a:pt x="1168" y="60"/>
                  <a:pt x="1168" y="60"/>
                  <a:pt x="1168" y="60"/>
                </a:cubicBezTo>
                <a:cubicBezTo>
                  <a:pt x="1168" y="61"/>
                  <a:pt x="1168" y="61"/>
                  <a:pt x="1168" y="61"/>
                </a:cubicBezTo>
                <a:cubicBezTo>
                  <a:pt x="1168" y="62"/>
                  <a:pt x="1168" y="62"/>
                  <a:pt x="1168" y="62"/>
                </a:cubicBezTo>
                <a:cubicBezTo>
                  <a:pt x="1169" y="62"/>
                  <a:pt x="1169" y="62"/>
                  <a:pt x="1169" y="62"/>
                </a:cubicBezTo>
                <a:cubicBezTo>
                  <a:pt x="1171" y="63"/>
                  <a:pt x="1171" y="63"/>
                  <a:pt x="1171" y="63"/>
                </a:cubicBezTo>
                <a:cubicBezTo>
                  <a:pt x="1172" y="63"/>
                  <a:pt x="1172" y="63"/>
                  <a:pt x="1172" y="63"/>
                </a:cubicBezTo>
                <a:cubicBezTo>
                  <a:pt x="1173" y="62"/>
                  <a:pt x="1173" y="62"/>
                  <a:pt x="1173" y="62"/>
                </a:cubicBezTo>
                <a:cubicBezTo>
                  <a:pt x="1174" y="61"/>
                  <a:pt x="1174" y="61"/>
                  <a:pt x="1174" y="61"/>
                </a:cubicBezTo>
                <a:cubicBezTo>
                  <a:pt x="1174" y="60"/>
                  <a:pt x="1174" y="60"/>
                  <a:pt x="1174" y="60"/>
                </a:cubicBezTo>
                <a:cubicBezTo>
                  <a:pt x="1175" y="60"/>
                  <a:pt x="1175" y="60"/>
                  <a:pt x="1175" y="60"/>
                </a:cubicBezTo>
                <a:cubicBezTo>
                  <a:pt x="1175" y="61"/>
                  <a:pt x="1175" y="61"/>
                  <a:pt x="1175" y="61"/>
                </a:cubicBezTo>
                <a:cubicBezTo>
                  <a:pt x="1175" y="62"/>
                  <a:pt x="1175" y="62"/>
                  <a:pt x="1175" y="62"/>
                </a:cubicBezTo>
                <a:cubicBezTo>
                  <a:pt x="1176" y="61"/>
                  <a:pt x="1176" y="61"/>
                  <a:pt x="1176" y="61"/>
                </a:cubicBezTo>
                <a:cubicBezTo>
                  <a:pt x="1177" y="62"/>
                  <a:pt x="1177" y="62"/>
                  <a:pt x="1177" y="62"/>
                </a:cubicBezTo>
                <a:cubicBezTo>
                  <a:pt x="1177" y="63"/>
                  <a:pt x="1177" y="63"/>
                  <a:pt x="1177" y="63"/>
                </a:cubicBezTo>
                <a:cubicBezTo>
                  <a:pt x="1178" y="64"/>
                  <a:pt x="1178" y="64"/>
                  <a:pt x="1178" y="64"/>
                </a:cubicBezTo>
                <a:cubicBezTo>
                  <a:pt x="1179" y="64"/>
                  <a:pt x="1179" y="64"/>
                  <a:pt x="1179" y="64"/>
                </a:cubicBezTo>
                <a:cubicBezTo>
                  <a:pt x="1180" y="64"/>
                  <a:pt x="1180" y="64"/>
                  <a:pt x="1180" y="64"/>
                </a:cubicBezTo>
                <a:cubicBezTo>
                  <a:pt x="1179" y="63"/>
                  <a:pt x="1179" y="63"/>
                  <a:pt x="1179" y="63"/>
                </a:cubicBezTo>
                <a:cubicBezTo>
                  <a:pt x="1179" y="62"/>
                  <a:pt x="1179" y="62"/>
                  <a:pt x="1179" y="62"/>
                </a:cubicBezTo>
                <a:cubicBezTo>
                  <a:pt x="1179" y="61"/>
                  <a:pt x="1179" y="61"/>
                  <a:pt x="1179" y="61"/>
                </a:cubicBezTo>
                <a:cubicBezTo>
                  <a:pt x="1178" y="61"/>
                  <a:pt x="1178" y="61"/>
                  <a:pt x="1178" y="61"/>
                </a:cubicBezTo>
                <a:cubicBezTo>
                  <a:pt x="1178" y="60"/>
                  <a:pt x="1178" y="60"/>
                  <a:pt x="1178" y="60"/>
                </a:cubicBezTo>
                <a:cubicBezTo>
                  <a:pt x="1177" y="59"/>
                  <a:pt x="1177" y="59"/>
                  <a:pt x="1177" y="59"/>
                </a:cubicBezTo>
                <a:cubicBezTo>
                  <a:pt x="1176" y="58"/>
                  <a:pt x="1176" y="58"/>
                  <a:pt x="1176" y="58"/>
                </a:cubicBezTo>
                <a:cubicBezTo>
                  <a:pt x="1176" y="57"/>
                  <a:pt x="1176" y="57"/>
                  <a:pt x="1176" y="57"/>
                </a:cubicBezTo>
                <a:cubicBezTo>
                  <a:pt x="1175" y="55"/>
                  <a:pt x="1175" y="55"/>
                  <a:pt x="1175" y="55"/>
                </a:cubicBezTo>
                <a:cubicBezTo>
                  <a:pt x="1175" y="54"/>
                  <a:pt x="1175" y="54"/>
                  <a:pt x="1175" y="54"/>
                </a:cubicBezTo>
                <a:cubicBezTo>
                  <a:pt x="1175" y="52"/>
                  <a:pt x="1175" y="52"/>
                  <a:pt x="1175" y="52"/>
                </a:cubicBezTo>
                <a:cubicBezTo>
                  <a:pt x="1175" y="51"/>
                  <a:pt x="1175" y="51"/>
                  <a:pt x="1175" y="51"/>
                </a:cubicBezTo>
                <a:cubicBezTo>
                  <a:pt x="1174" y="49"/>
                  <a:pt x="1174" y="49"/>
                  <a:pt x="1174" y="49"/>
                </a:cubicBezTo>
                <a:cubicBezTo>
                  <a:pt x="1174" y="48"/>
                  <a:pt x="1174" y="48"/>
                  <a:pt x="1174" y="48"/>
                </a:cubicBezTo>
                <a:cubicBezTo>
                  <a:pt x="1174" y="46"/>
                  <a:pt x="1174" y="46"/>
                  <a:pt x="1174" y="46"/>
                </a:cubicBezTo>
                <a:cubicBezTo>
                  <a:pt x="1173" y="45"/>
                  <a:pt x="1173" y="45"/>
                  <a:pt x="1173" y="45"/>
                </a:cubicBezTo>
                <a:cubicBezTo>
                  <a:pt x="1173" y="44"/>
                  <a:pt x="1173" y="44"/>
                  <a:pt x="1173" y="44"/>
                </a:cubicBezTo>
                <a:cubicBezTo>
                  <a:pt x="1173" y="42"/>
                  <a:pt x="1173" y="42"/>
                  <a:pt x="1173" y="42"/>
                </a:cubicBezTo>
                <a:cubicBezTo>
                  <a:pt x="1172" y="41"/>
                  <a:pt x="1172" y="41"/>
                  <a:pt x="1172" y="41"/>
                </a:cubicBezTo>
                <a:cubicBezTo>
                  <a:pt x="1173" y="40"/>
                  <a:pt x="1173" y="40"/>
                  <a:pt x="1173" y="40"/>
                </a:cubicBezTo>
                <a:cubicBezTo>
                  <a:pt x="1172" y="39"/>
                  <a:pt x="1172" y="39"/>
                  <a:pt x="1172" y="39"/>
                </a:cubicBezTo>
                <a:cubicBezTo>
                  <a:pt x="1172" y="38"/>
                  <a:pt x="1172" y="38"/>
                  <a:pt x="1172" y="38"/>
                </a:cubicBezTo>
                <a:cubicBezTo>
                  <a:pt x="1172" y="37"/>
                  <a:pt x="1172" y="37"/>
                  <a:pt x="1172" y="37"/>
                </a:cubicBezTo>
                <a:cubicBezTo>
                  <a:pt x="1174" y="38"/>
                  <a:pt x="1174" y="38"/>
                  <a:pt x="1174" y="38"/>
                </a:cubicBezTo>
                <a:cubicBezTo>
                  <a:pt x="1175" y="38"/>
                  <a:pt x="1175" y="38"/>
                  <a:pt x="1175" y="38"/>
                </a:cubicBezTo>
                <a:cubicBezTo>
                  <a:pt x="1176" y="38"/>
                  <a:pt x="1176" y="38"/>
                  <a:pt x="1176" y="38"/>
                </a:cubicBezTo>
                <a:cubicBezTo>
                  <a:pt x="1177" y="38"/>
                  <a:pt x="1177" y="38"/>
                  <a:pt x="1177" y="38"/>
                </a:cubicBezTo>
                <a:cubicBezTo>
                  <a:pt x="1179" y="40"/>
                  <a:pt x="1179" y="40"/>
                  <a:pt x="1179" y="40"/>
                </a:cubicBezTo>
                <a:cubicBezTo>
                  <a:pt x="1180" y="41"/>
                  <a:pt x="1180" y="41"/>
                  <a:pt x="1180" y="41"/>
                </a:cubicBezTo>
                <a:cubicBezTo>
                  <a:pt x="1181" y="40"/>
                  <a:pt x="1181" y="40"/>
                  <a:pt x="1181" y="40"/>
                </a:cubicBezTo>
                <a:cubicBezTo>
                  <a:pt x="1181" y="39"/>
                  <a:pt x="1181" y="39"/>
                  <a:pt x="1181" y="39"/>
                </a:cubicBezTo>
                <a:cubicBezTo>
                  <a:pt x="1180" y="39"/>
                  <a:pt x="1180" y="39"/>
                  <a:pt x="1180" y="39"/>
                </a:cubicBezTo>
                <a:cubicBezTo>
                  <a:pt x="1181" y="37"/>
                  <a:pt x="1181" y="37"/>
                  <a:pt x="1181" y="37"/>
                </a:cubicBezTo>
                <a:cubicBezTo>
                  <a:pt x="1182" y="37"/>
                  <a:pt x="1182" y="37"/>
                  <a:pt x="1182" y="37"/>
                </a:cubicBezTo>
                <a:cubicBezTo>
                  <a:pt x="1183" y="37"/>
                  <a:pt x="1183" y="37"/>
                  <a:pt x="1183" y="37"/>
                </a:cubicBezTo>
                <a:cubicBezTo>
                  <a:pt x="1184" y="37"/>
                  <a:pt x="1184" y="37"/>
                  <a:pt x="1184" y="37"/>
                </a:cubicBezTo>
                <a:cubicBezTo>
                  <a:pt x="1185" y="36"/>
                  <a:pt x="1185" y="36"/>
                  <a:pt x="1185" y="36"/>
                </a:cubicBezTo>
                <a:cubicBezTo>
                  <a:pt x="1184" y="35"/>
                  <a:pt x="1184" y="35"/>
                  <a:pt x="1184" y="35"/>
                </a:cubicBezTo>
                <a:cubicBezTo>
                  <a:pt x="1184" y="33"/>
                  <a:pt x="1184" y="33"/>
                  <a:pt x="1184" y="33"/>
                </a:cubicBezTo>
                <a:cubicBezTo>
                  <a:pt x="1185" y="32"/>
                  <a:pt x="1185" y="32"/>
                  <a:pt x="1185" y="32"/>
                </a:cubicBezTo>
                <a:cubicBezTo>
                  <a:pt x="1186" y="32"/>
                  <a:pt x="1186" y="32"/>
                  <a:pt x="1186" y="32"/>
                </a:cubicBezTo>
                <a:cubicBezTo>
                  <a:pt x="1186" y="31"/>
                  <a:pt x="1186" y="31"/>
                  <a:pt x="1186" y="31"/>
                </a:cubicBezTo>
                <a:cubicBezTo>
                  <a:pt x="1184" y="30"/>
                  <a:pt x="1184" y="30"/>
                  <a:pt x="1184" y="30"/>
                </a:cubicBezTo>
                <a:cubicBezTo>
                  <a:pt x="1184" y="29"/>
                  <a:pt x="1184" y="29"/>
                  <a:pt x="1184" y="29"/>
                </a:cubicBezTo>
                <a:cubicBezTo>
                  <a:pt x="1184" y="28"/>
                  <a:pt x="1184" y="28"/>
                  <a:pt x="1184" y="28"/>
                </a:cubicBezTo>
                <a:cubicBezTo>
                  <a:pt x="1184" y="27"/>
                  <a:pt x="1184" y="27"/>
                  <a:pt x="1184" y="27"/>
                </a:cubicBezTo>
                <a:cubicBezTo>
                  <a:pt x="1185" y="27"/>
                  <a:pt x="1185" y="27"/>
                  <a:pt x="1185" y="27"/>
                </a:cubicBezTo>
                <a:cubicBezTo>
                  <a:pt x="1186" y="28"/>
                  <a:pt x="1186" y="28"/>
                  <a:pt x="1186" y="28"/>
                </a:cubicBezTo>
                <a:cubicBezTo>
                  <a:pt x="1186" y="29"/>
                  <a:pt x="1186" y="29"/>
                  <a:pt x="1186" y="29"/>
                </a:cubicBezTo>
                <a:cubicBezTo>
                  <a:pt x="1187" y="29"/>
                  <a:pt x="1187" y="29"/>
                  <a:pt x="1187" y="29"/>
                </a:cubicBezTo>
                <a:cubicBezTo>
                  <a:pt x="1188" y="27"/>
                  <a:pt x="1188" y="27"/>
                  <a:pt x="1188" y="27"/>
                </a:cubicBezTo>
                <a:cubicBezTo>
                  <a:pt x="1189" y="27"/>
                  <a:pt x="1189" y="27"/>
                  <a:pt x="1189" y="27"/>
                </a:cubicBezTo>
                <a:cubicBezTo>
                  <a:pt x="1190" y="26"/>
                  <a:pt x="1190" y="26"/>
                  <a:pt x="1190" y="26"/>
                </a:cubicBezTo>
                <a:cubicBezTo>
                  <a:pt x="1190" y="25"/>
                  <a:pt x="1190" y="25"/>
                  <a:pt x="1190" y="25"/>
                </a:cubicBezTo>
                <a:cubicBezTo>
                  <a:pt x="1191" y="24"/>
                  <a:pt x="1191" y="24"/>
                  <a:pt x="1191" y="24"/>
                </a:cubicBezTo>
                <a:cubicBezTo>
                  <a:pt x="1193" y="24"/>
                  <a:pt x="1193" y="24"/>
                  <a:pt x="1193" y="24"/>
                </a:cubicBezTo>
                <a:cubicBezTo>
                  <a:pt x="1192" y="25"/>
                  <a:pt x="1192" y="25"/>
                  <a:pt x="1192" y="25"/>
                </a:cubicBezTo>
                <a:cubicBezTo>
                  <a:pt x="1191" y="26"/>
                  <a:pt x="1191" y="26"/>
                  <a:pt x="1191" y="26"/>
                </a:cubicBezTo>
                <a:cubicBezTo>
                  <a:pt x="1192" y="26"/>
                  <a:pt x="1192" y="26"/>
                  <a:pt x="1192" y="26"/>
                </a:cubicBezTo>
                <a:cubicBezTo>
                  <a:pt x="1193" y="26"/>
                  <a:pt x="1193" y="26"/>
                  <a:pt x="1193" y="26"/>
                </a:cubicBezTo>
                <a:cubicBezTo>
                  <a:pt x="1194" y="26"/>
                  <a:pt x="1194" y="26"/>
                  <a:pt x="1194" y="26"/>
                </a:cubicBezTo>
                <a:cubicBezTo>
                  <a:pt x="1194" y="27"/>
                  <a:pt x="1194" y="27"/>
                  <a:pt x="1194" y="27"/>
                </a:cubicBezTo>
                <a:cubicBezTo>
                  <a:pt x="1195" y="28"/>
                  <a:pt x="1195" y="28"/>
                  <a:pt x="1195" y="28"/>
                </a:cubicBezTo>
                <a:cubicBezTo>
                  <a:pt x="1194" y="29"/>
                  <a:pt x="1194" y="29"/>
                  <a:pt x="1194" y="29"/>
                </a:cubicBezTo>
                <a:cubicBezTo>
                  <a:pt x="1195" y="30"/>
                  <a:pt x="1195" y="30"/>
                  <a:pt x="1195" y="30"/>
                </a:cubicBezTo>
                <a:cubicBezTo>
                  <a:pt x="1195" y="29"/>
                  <a:pt x="1195" y="29"/>
                  <a:pt x="1195" y="29"/>
                </a:cubicBezTo>
                <a:cubicBezTo>
                  <a:pt x="1196" y="28"/>
                  <a:pt x="1196" y="28"/>
                  <a:pt x="1196" y="28"/>
                </a:cubicBezTo>
                <a:cubicBezTo>
                  <a:pt x="1198" y="28"/>
                  <a:pt x="1198" y="28"/>
                  <a:pt x="1198" y="28"/>
                </a:cubicBezTo>
                <a:cubicBezTo>
                  <a:pt x="1198" y="29"/>
                  <a:pt x="1198" y="29"/>
                  <a:pt x="1198" y="29"/>
                </a:cubicBezTo>
                <a:cubicBezTo>
                  <a:pt x="1198" y="30"/>
                  <a:pt x="1198" y="30"/>
                  <a:pt x="1198" y="30"/>
                </a:cubicBezTo>
                <a:cubicBezTo>
                  <a:pt x="1199" y="32"/>
                  <a:pt x="1199" y="32"/>
                  <a:pt x="1199" y="32"/>
                </a:cubicBezTo>
                <a:cubicBezTo>
                  <a:pt x="1200" y="33"/>
                  <a:pt x="1200" y="33"/>
                  <a:pt x="1200" y="33"/>
                </a:cubicBezTo>
                <a:cubicBezTo>
                  <a:pt x="1200" y="34"/>
                  <a:pt x="1200" y="34"/>
                  <a:pt x="1200" y="34"/>
                </a:cubicBezTo>
                <a:cubicBezTo>
                  <a:pt x="1201" y="33"/>
                  <a:pt x="1201" y="33"/>
                  <a:pt x="1201" y="33"/>
                </a:cubicBezTo>
                <a:cubicBezTo>
                  <a:pt x="1200" y="32"/>
                  <a:pt x="1200" y="32"/>
                  <a:pt x="1200" y="32"/>
                </a:cubicBezTo>
                <a:cubicBezTo>
                  <a:pt x="1200" y="31"/>
                  <a:pt x="1200" y="31"/>
                  <a:pt x="1200" y="31"/>
                </a:cubicBezTo>
                <a:cubicBezTo>
                  <a:pt x="1200" y="30"/>
                  <a:pt x="1200" y="30"/>
                  <a:pt x="1200" y="30"/>
                </a:cubicBezTo>
                <a:cubicBezTo>
                  <a:pt x="1199" y="29"/>
                  <a:pt x="1199" y="29"/>
                  <a:pt x="1199" y="29"/>
                </a:cubicBezTo>
                <a:cubicBezTo>
                  <a:pt x="1200" y="29"/>
                  <a:pt x="1200" y="29"/>
                  <a:pt x="1200" y="29"/>
                </a:cubicBezTo>
                <a:cubicBezTo>
                  <a:pt x="1202" y="31"/>
                  <a:pt x="1202" y="31"/>
                  <a:pt x="1202" y="31"/>
                </a:cubicBezTo>
                <a:cubicBezTo>
                  <a:pt x="1203" y="33"/>
                  <a:pt x="1203" y="33"/>
                  <a:pt x="1203" y="33"/>
                </a:cubicBezTo>
                <a:cubicBezTo>
                  <a:pt x="1205" y="34"/>
                  <a:pt x="1205" y="34"/>
                  <a:pt x="1205" y="34"/>
                </a:cubicBezTo>
                <a:cubicBezTo>
                  <a:pt x="1206" y="34"/>
                  <a:pt x="1206" y="34"/>
                  <a:pt x="1206" y="34"/>
                </a:cubicBezTo>
                <a:cubicBezTo>
                  <a:pt x="1206" y="33"/>
                  <a:pt x="1206" y="33"/>
                  <a:pt x="1206" y="33"/>
                </a:cubicBezTo>
                <a:cubicBezTo>
                  <a:pt x="1204" y="32"/>
                  <a:pt x="1204" y="32"/>
                  <a:pt x="1204" y="32"/>
                </a:cubicBezTo>
                <a:cubicBezTo>
                  <a:pt x="1203" y="30"/>
                  <a:pt x="1203" y="30"/>
                  <a:pt x="1203" y="30"/>
                </a:cubicBezTo>
                <a:cubicBezTo>
                  <a:pt x="1203" y="29"/>
                  <a:pt x="1203" y="29"/>
                  <a:pt x="1203" y="29"/>
                </a:cubicBezTo>
                <a:cubicBezTo>
                  <a:pt x="1203" y="27"/>
                  <a:pt x="1203" y="27"/>
                  <a:pt x="1203" y="27"/>
                </a:cubicBezTo>
                <a:cubicBezTo>
                  <a:pt x="1205" y="27"/>
                  <a:pt x="1205" y="27"/>
                  <a:pt x="1205" y="27"/>
                </a:cubicBezTo>
                <a:cubicBezTo>
                  <a:pt x="1206" y="27"/>
                  <a:pt x="1206" y="27"/>
                  <a:pt x="1206" y="27"/>
                </a:cubicBezTo>
                <a:cubicBezTo>
                  <a:pt x="1207" y="28"/>
                  <a:pt x="1207" y="28"/>
                  <a:pt x="1207" y="28"/>
                </a:cubicBezTo>
                <a:cubicBezTo>
                  <a:pt x="1209" y="28"/>
                  <a:pt x="1209" y="28"/>
                  <a:pt x="1209" y="28"/>
                </a:cubicBezTo>
                <a:cubicBezTo>
                  <a:pt x="1209" y="27"/>
                  <a:pt x="1209" y="27"/>
                  <a:pt x="1209" y="27"/>
                </a:cubicBezTo>
                <a:cubicBezTo>
                  <a:pt x="1208" y="27"/>
                  <a:pt x="1208" y="27"/>
                  <a:pt x="1208" y="27"/>
                </a:cubicBezTo>
                <a:cubicBezTo>
                  <a:pt x="1208" y="26"/>
                  <a:pt x="1208" y="26"/>
                  <a:pt x="1208" y="26"/>
                </a:cubicBezTo>
                <a:cubicBezTo>
                  <a:pt x="1209" y="25"/>
                  <a:pt x="1209" y="25"/>
                  <a:pt x="1209" y="25"/>
                </a:cubicBezTo>
                <a:cubicBezTo>
                  <a:pt x="1210" y="24"/>
                  <a:pt x="1210" y="24"/>
                  <a:pt x="1210" y="24"/>
                </a:cubicBezTo>
                <a:cubicBezTo>
                  <a:pt x="1209" y="23"/>
                  <a:pt x="1209" y="23"/>
                  <a:pt x="1209" y="23"/>
                </a:cubicBezTo>
                <a:cubicBezTo>
                  <a:pt x="1209" y="22"/>
                  <a:pt x="1209" y="22"/>
                  <a:pt x="1209" y="22"/>
                </a:cubicBezTo>
                <a:cubicBezTo>
                  <a:pt x="1209" y="21"/>
                  <a:pt x="1209" y="21"/>
                  <a:pt x="1209" y="21"/>
                </a:cubicBezTo>
                <a:cubicBezTo>
                  <a:pt x="1210" y="21"/>
                  <a:pt x="1210" y="21"/>
                  <a:pt x="1210" y="21"/>
                </a:cubicBezTo>
                <a:cubicBezTo>
                  <a:pt x="1211" y="21"/>
                  <a:pt x="1211" y="21"/>
                  <a:pt x="1211" y="21"/>
                </a:cubicBezTo>
                <a:cubicBezTo>
                  <a:pt x="1212" y="20"/>
                  <a:pt x="1212" y="20"/>
                  <a:pt x="1212" y="20"/>
                </a:cubicBezTo>
                <a:cubicBezTo>
                  <a:pt x="1212" y="19"/>
                  <a:pt x="1212" y="19"/>
                  <a:pt x="1212" y="19"/>
                </a:cubicBezTo>
                <a:cubicBezTo>
                  <a:pt x="1213" y="19"/>
                  <a:pt x="1213" y="19"/>
                  <a:pt x="1213" y="19"/>
                </a:cubicBezTo>
                <a:cubicBezTo>
                  <a:pt x="1213" y="20"/>
                  <a:pt x="1213" y="20"/>
                  <a:pt x="1213" y="20"/>
                </a:cubicBezTo>
                <a:cubicBezTo>
                  <a:pt x="1214" y="20"/>
                  <a:pt x="1214" y="20"/>
                  <a:pt x="1214" y="20"/>
                </a:cubicBezTo>
                <a:cubicBezTo>
                  <a:pt x="1214" y="21"/>
                  <a:pt x="1214" y="21"/>
                  <a:pt x="1214" y="21"/>
                </a:cubicBezTo>
                <a:cubicBezTo>
                  <a:pt x="1215" y="22"/>
                  <a:pt x="1215" y="22"/>
                  <a:pt x="1215" y="22"/>
                </a:cubicBezTo>
                <a:cubicBezTo>
                  <a:pt x="1215" y="23"/>
                  <a:pt x="1215" y="23"/>
                  <a:pt x="1215" y="23"/>
                </a:cubicBezTo>
                <a:cubicBezTo>
                  <a:pt x="1216" y="22"/>
                  <a:pt x="1216" y="22"/>
                  <a:pt x="1216" y="22"/>
                </a:cubicBezTo>
                <a:cubicBezTo>
                  <a:pt x="1216" y="21"/>
                  <a:pt x="1216" y="21"/>
                  <a:pt x="1216" y="21"/>
                </a:cubicBezTo>
                <a:cubicBezTo>
                  <a:pt x="1216" y="20"/>
                  <a:pt x="1216" y="20"/>
                  <a:pt x="1216" y="20"/>
                </a:cubicBezTo>
                <a:cubicBezTo>
                  <a:pt x="1216" y="19"/>
                  <a:pt x="1216" y="19"/>
                  <a:pt x="1216" y="19"/>
                </a:cubicBezTo>
                <a:cubicBezTo>
                  <a:pt x="1217" y="19"/>
                  <a:pt x="1217" y="19"/>
                  <a:pt x="1217" y="19"/>
                </a:cubicBezTo>
                <a:cubicBezTo>
                  <a:pt x="1218" y="19"/>
                  <a:pt x="1218" y="19"/>
                  <a:pt x="1218" y="19"/>
                </a:cubicBezTo>
                <a:cubicBezTo>
                  <a:pt x="1220" y="19"/>
                  <a:pt x="1220" y="19"/>
                  <a:pt x="1220" y="19"/>
                </a:cubicBezTo>
                <a:cubicBezTo>
                  <a:pt x="1221" y="19"/>
                  <a:pt x="1221" y="19"/>
                  <a:pt x="1221" y="19"/>
                </a:cubicBezTo>
                <a:cubicBezTo>
                  <a:pt x="1221" y="20"/>
                  <a:pt x="1221" y="20"/>
                  <a:pt x="1221" y="20"/>
                </a:cubicBezTo>
                <a:cubicBezTo>
                  <a:pt x="1222" y="20"/>
                  <a:pt x="1222" y="20"/>
                  <a:pt x="1222" y="20"/>
                </a:cubicBezTo>
                <a:cubicBezTo>
                  <a:pt x="1223" y="19"/>
                  <a:pt x="1223" y="19"/>
                  <a:pt x="1223" y="19"/>
                </a:cubicBezTo>
                <a:cubicBezTo>
                  <a:pt x="1224" y="20"/>
                  <a:pt x="1224" y="20"/>
                  <a:pt x="1224" y="20"/>
                </a:cubicBezTo>
                <a:cubicBezTo>
                  <a:pt x="1226" y="20"/>
                  <a:pt x="1226" y="20"/>
                  <a:pt x="1226" y="20"/>
                </a:cubicBezTo>
                <a:cubicBezTo>
                  <a:pt x="1227" y="20"/>
                  <a:pt x="1227" y="20"/>
                  <a:pt x="1227" y="20"/>
                </a:cubicBezTo>
                <a:cubicBezTo>
                  <a:pt x="1228" y="20"/>
                  <a:pt x="1228" y="20"/>
                  <a:pt x="1228" y="20"/>
                </a:cubicBezTo>
                <a:cubicBezTo>
                  <a:pt x="1229" y="20"/>
                  <a:pt x="1229" y="20"/>
                  <a:pt x="1229" y="20"/>
                </a:cubicBezTo>
                <a:cubicBezTo>
                  <a:pt x="1229" y="21"/>
                  <a:pt x="1229" y="21"/>
                  <a:pt x="1229" y="21"/>
                </a:cubicBezTo>
                <a:cubicBezTo>
                  <a:pt x="1231" y="22"/>
                  <a:pt x="1231" y="22"/>
                  <a:pt x="1231" y="22"/>
                </a:cubicBezTo>
                <a:cubicBezTo>
                  <a:pt x="1232" y="22"/>
                  <a:pt x="1232" y="22"/>
                  <a:pt x="1232" y="22"/>
                </a:cubicBezTo>
                <a:cubicBezTo>
                  <a:pt x="1234" y="23"/>
                  <a:pt x="1234" y="23"/>
                  <a:pt x="1234" y="23"/>
                </a:cubicBezTo>
                <a:cubicBezTo>
                  <a:pt x="1235" y="23"/>
                  <a:pt x="1235" y="23"/>
                  <a:pt x="1235" y="23"/>
                </a:cubicBezTo>
                <a:cubicBezTo>
                  <a:pt x="1236" y="24"/>
                  <a:pt x="1236" y="24"/>
                  <a:pt x="1236" y="24"/>
                </a:cubicBezTo>
                <a:cubicBezTo>
                  <a:pt x="1239" y="24"/>
                  <a:pt x="1239" y="24"/>
                  <a:pt x="1239" y="24"/>
                </a:cubicBezTo>
                <a:cubicBezTo>
                  <a:pt x="1240" y="25"/>
                  <a:pt x="1240" y="25"/>
                  <a:pt x="1240" y="25"/>
                </a:cubicBezTo>
                <a:cubicBezTo>
                  <a:pt x="1241" y="24"/>
                  <a:pt x="1241" y="24"/>
                  <a:pt x="1241" y="24"/>
                </a:cubicBezTo>
                <a:cubicBezTo>
                  <a:pt x="1241" y="25"/>
                  <a:pt x="1241" y="25"/>
                  <a:pt x="1241" y="25"/>
                </a:cubicBezTo>
                <a:cubicBezTo>
                  <a:pt x="1242" y="25"/>
                  <a:pt x="1242" y="25"/>
                  <a:pt x="1242" y="25"/>
                </a:cubicBezTo>
                <a:cubicBezTo>
                  <a:pt x="1243" y="25"/>
                  <a:pt x="1243" y="25"/>
                  <a:pt x="1243" y="25"/>
                </a:cubicBezTo>
                <a:cubicBezTo>
                  <a:pt x="1244" y="25"/>
                  <a:pt x="1244" y="25"/>
                  <a:pt x="1244" y="25"/>
                </a:cubicBezTo>
                <a:cubicBezTo>
                  <a:pt x="1245" y="26"/>
                  <a:pt x="1245" y="26"/>
                  <a:pt x="1245" y="26"/>
                </a:cubicBezTo>
                <a:cubicBezTo>
                  <a:pt x="1247" y="27"/>
                  <a:pt x="1247" y="27"/>
                  <a:pt x="1247" y="27"/>
                </a:cubicBezTo>
                <a:cubicBezTo>
                  <a:pt x="1248" y="28"/>
                  <a:pt x="1248" y="28"/>
                  <a:pt x="1248" y="28"/>
                </a:cubicBezTo>
                <a:cubicBezTo>
                  <a:pt x="1249" y="29"/>
                  <a:pt x="1249" y="29"/>
                  <a:pt x="1249" y="29"/>
                </a:cubicBezTo>
                <a:cubicBezTo>
                  <a:pt x="1250" y="29"/>
                  <a:pt x="1250" y="29"/>
                  <a:pt x="1250" y="29"/>
                </a:cubicBezTo>
                <a:cubicBezTo>
                  <a:pt x="1252" y="30"/>
                  <a:pt x="1252" y="30"/>
                  <a:pt x="1252" y="30"/>
                </a:cubicBezTo>
                <a:cubicBezTo>
                  <a:pt x="1251" y="31"/>
                  <a:pt x="1251" y="31"/>
                  <a:pt x="1251" y="31"/>
                </a:cubicBezTo>
                <a:cubicBezTo>
                  <a:pt x="1251" y="32"/>
                  <a:pt x="1251" y="32"/>
                  <a:pt x="1251" y="32"/>
                </a:cubicBezTo>
                <a:cubicBezTo>
                  <a:pt x="1250" y="32"/>
                  <a:pt x="1250" y="32"/>
                  <a:pt x="1250" y="32"/>
                </a:cubicBezTo>
                <a:cubicBezTo>
                  <a:pt x="1249" y="32"/>
                  <a:pt x="1249" y="32"/>
                  <a:pt x="1249" y="32"/>
                </a:cubicBezTo>
                <a:cubicBezTo>
                  <a:pt x="1248" y="32"/>
                  <a:pt x="1248" y="32"/>
                  <a:pt x="1248" y="32"/>
                </a:cubicBezTo>
                <a:cubicBezTo>
                  <a:pt x="1247" y="33"/>
                  <a:pt x="1247" y="33"/>
                  <a:pt x="1247" y="33"/>
                </a:cubicBezTo>
                <a:cubicBezTo>
                  <a:pt x="1246" y="33"/>
                  <a:pt x="1246" y="33"/>
                  <a:pt x="1246" y="33"/>
                </a:cubicBezTo>
                <a:cubicBezTo>
                  <a:pt x="1245" y="33"/>
                  <a:pt x="1245" y="33"/>
                  <a:pt x="1245" y="33"/>
                </a:cubicBezTo>
                <a:cubicBezTo>
                  <a:pt x="1243" y="33"/>
                  <a:pt x="1243" y="33"/>
                  <a:pt x="1243" y="33"/>
                </a:cubicBezTo>
                <a:cubicBezTo>
                  <a:pt x="1241" y="32"/>
                  <a:pt x="1241" y="32"/>
                  <a:pt x="1241" y="32"/>
                </a:cubicBezTo>
                <a:cubicBezTo>
                  <a:pt x="1240" y="32"/>
                  <a:pt x="1240" y="32"/>
                  <a:pt x="1240" y="32"/>
                </a:cubicBezTo>
                <a:cubicBezTo>
                  <a:pt x="1239" y="32"/>
                  <a:pt x="1239" y="32"/>
                  <a:pt x="1239" y="32"/>
                </a:cubicBezTo>
                <a:cubicBezTo>
                  <a:pt x="1238" y="31"/>
                  <a:pt x="1238" y="31"/>
                  <a:pt x="1238" y="31"/>
                </a:cubicBezTo>
                <a:cubicBezTo>
                  <a:pt x="1236" y="31"/>
                  <a:pt x="1236" y="31"/>
                  <a:pt x="1236" y="31"/>
                </a:cubicBezTo>
                <a:cubicBezTo>
                  <a:pt x="1236" y="32"/>
                  <a:pt x="1236" y="32"/>
                  <a:pt x="1236" y="32"/>
                </a:cubicBezTo>
                <a:cubicBezTo>
                  <a:pt x="1235" y="32"/>
                  <a:pt x="1235" y="32"/>
                  <a:pt x="1235" y="32"/>
                </a:cubicBezTo>
                <a:cubicBezTo>
                  <a:pt x="1235" y="31"/>
                  <a:pt x="1235" y="31"/>
                  <a:pt x="1235" y="31"/>
                </a:cubicBezTo>
                <a:cubicBezTo>
                  <a:pt x="1233" y="31"/>
                  <a:pt x="1233" y="31"/>
                  <a:pt x="1233" y="31"/>
                </a:cubicBezTo>
                <a:cubicBezTo>
                  <a:pt x="1231" y="32"/>
                  <a:pt x="1231" y="32"/>
                  <a:pt x="1231" y="32"/>
                </a:cubicBezTo>
                <a:cubicBezTo>
                  <a:pt x="1231" y="33"/>
                  <a:pt x="1231" y="33"/>
                  <a:pt x="1231" y="33"/>
                </a:cubicBezTo>
                <a:cubicBezTo>
                  <a:pt x="1230" y="32"/>
                  <a:pt x="1230" y="32"/>
                  <a:pt x="1230" y="32"/>
                </a:cubicBezTo>
                <a:cubicBezTo>
                  <a:pt x="1229" y="32"/>
                  <a:pt x="1229" y="32"/>
                  <a:pt x="1229" y="32"/>
                </a:cubicBezTo>
                <a:cubicBezTo>
                  <a:pt x="1227" y="33"/>
                  <a:pt x="1227" y="33"/>
                  <a:pt x="1227" y="33"/>
                </a:cubicBezTo>
                <a:cubicBezTo>
                  <a:pt x="1225" y="33"/>
                  <a:pt x="1225" y="33"/>
                  <a:pt x="1225" y="33"/>
                </a:cubicBezTo>
                <a:cubicBezTo>
                  <a:pt x="1225" y="32"/>
                  <a:pt x="1225" y="32"/>
                  <a:pt x="1225" y="32"/>
                </a:cubicBezTo>
                <a:cubicBezTo>
                  <a:pt x="1225" y="31"/>
                  <a:pt x="1225" y="31"/>
                  <a:pt x="1225" y="31"/>
                </a:cubicBezTo>
                <a:cubicBezTo>
                  <a:pt x="1225" y="30"/>
                  <a:pt x="1225" y="30"/>
                  <a:pt x="1225" y="30"/>
                </a:cubicBezTo>
                <a:cubicBezTo>
                  <a:pt x="1226" y="30"/>
                  <a:pt x="1226" y="30"/>
                  <a:pt x="1226" y="30"/>
                </a:cubicBezTo>
                <a:cubicBezTo>
                  <a:pt x="1226" y="29"/>
                  <a:pt x="1226" y="29"/>
                  <a:pt x="1226" y="29"/>
                </a:cubicBezTo>
                <a:cubicBezTo>
                  <a:pt x="1225" y="29"/>
                  <a:pt x="1225" y="29"/>
                  <a:pt x="1225" y="29"/>
                </a:cubicBezTo>
                <a:cubicBezTo>
                  <a:pt x="1224" y="29"/>
                  <a:pt x="1224" y="29"/>
                  <a:pt x="1224" y="29"/>
                </a:cubicBezTo>
                <a:cubicBezTo>
                  <a:pt x="1223" y="30"/>
                  <a:pt x="1223" y="30"/>
                  <a:pt x="1223" y="30"/>
                </a:cubicBezTo>
                <a:cubicBezTo>
                  <a:pt x="1223" y="31"/>
                  <a:pt x="1223" y="31"/>
                  <a:pt x="1223" y="31"/>
                </a:cubicBezTo>
                <a:cubicBezTo>
                  <a:pt x="1224" y="32"/>
                  <a:pt x="1224" y="32"/>
                  <a:pt x="1224" y="32"/>
                </a:cubicBezTo>
                <a:cubicBezTo>
                  <a:pt x="1224" y="33"/>
                  <a:pt x="1224" y="33"/>
                  <a:pt x="1224" y="33"/>
                </a:cubicBezTo>
                <a:cubicBezTo>
                  <a:pt x="1223" y="34"/>
                  <a:pt x="1223" y="34"/>
                  <a:pt x="1223" y="34"/>
                </a:cubicBezTo>
                <a:cubicBezTo>
                  <a:pt x="1222" y="34"/>
                  <a:pt x="1222" y="34"/>
                  <a:pt x="1222" y="34"/>
                </a:cubicBezTo>
                <a:cubicBezTo>
                  <a:pt x="1220" y="34"/>
                  <a:pt x="1220" y="34"/>
                  <a:pt x="1220" y="34"/>
                </a:cubicBezTo>
                <a:cubicBezTo>
                  <a:pt x="1219" y="34"/>
                  <a:pt x="1219" y="34"/>
                  <a:pt x="1219" y="34"/>
                </a:cubicBezTo>
                <a:cubicBezTo>
                  <a:pt x="1217" y="34"/>
                  <a:pt x="1217" y="34"/>
                  <a:pt x="1217" y="34"/>
                </a:cubicBezTo>
                <a:cubicBezTo>
                  <a:pt x="1216" y="34"/>
                  <a:pt x="1216" y="34"/>
                  <a:pt x="1216" y="34"/>
                </a:cubicBezTo>
                <a:cubicBezTo>
                  <a:pt x="1214" y="34"/>
                  <a:pt x="1214" y="34"/>
                  <a:pt x="1214" y="34"/>
                </a:cubicBezTo>
                <a:cubicBezTo>
                  <a:pt x="1212" y="36"/>
                  <a:pt x="1212" y="36"/>
                  <a:pt x="1212" y="36"/>
                </a:cubicBezTo>
                <a:cubicBezTo>
                  <a:pt x="1212" y="37"/>
                  <a:pt x="1212" y="37"/>
                  <a:pt x="1212" y="37"/>
                </a:cubicBezTo>
                <a:cubicBezTo>
                  <a:pt x="1212" y="38"/>
                  <a:pt x="1212" y="38"/>
                  <a:pt x="1212" y="38"/>
                </a:cubicBezTo>
                <a:cubicBezTo>
                  <a:pt x="1211" y="39"/>
                  <a:pt x="1211" y="39"/>
                  <a:pt x="1211" y="39"/>
                </a:cubicBezTo>
                <a:cubicBezTo>
                  <a:pt x="1211" y="40"/>
                  <a:pt x="1211" y="40"/>
                  <a:pt x="1211" y="40"/>
                </a:cubicBezTo>
                <a:cubicBezTo>
                  <a:pt x="1211" y="41"/>
                  <a:pt x="1211" y="41"/>
                  <a:pt x="1211" y="41"/>
                </a:cubicBezTo>
                <a:cubicBezTo>
                  <a:pt x="1212" y="40"/>
                  <a:pt x="1212" y="40"/>
                  <a:pt x="1212" y="40"/>
                </a:cubicBezTo>
                <a:cubicBezTo>
                  <a:pt x="1212" y="39"/>
                  <a:pt x="1212" y="39"/>
                  <a:pt x="1212" y="39"/>
                </a:cubicBezTo>
                <a:cubicBezTo>
                  <a:pt x="1213" y="38"/>
                  <a:pt x="1213" y="38"/>
                  <a:pt x="1213" y="38"/>
                </a:cubicBezTo>
                <a:cubicBezTo>
                  <a:pt x="1213" y="37"/>
                  <a:pt x="1213" y="37"/>
                  <a:pt x="1213" y="37"/>
                </a:cubicBezTo>
                <a:cubicBezTo>
                  <a:pt x="1215" y="37"/>
                  <a:pt x="1215" y="37"/>
                  <a:pt x="1215" y="37"/>
                </a:cubicBezTo>
                <a:cubicBezTo>
                  <a:pt x="1216" y="38"/>
                  <a:pt x="1216" y="38"/>
                  <a:pt x="1216" y="38"/>
                </a:cubicBezTo>
                <a:cubicBezTo>
                  <a:pt x="1215" y="38"/>
                  <a:pt x="1215" y="38"/>
                  <a:pt x="1215" y="38"/>
                </a:cubicBezTo>
                <a:cubicBezTo>
                  <a:pt x="1215" y="39"/>
                  <a:pt x="1215" y="39"/>
                  <a:pt x="1215" y="39"/>
                </a:cubicBezTo>
                <a:cubicBezTo>
                  <a:pt x="1215" y="40"/>
                  <a:pt x="1215" y="40"/>
                  <a:pt x="1215" y="40"/>
                </a:cubicBezTo>
                <a:cubicBezTo>
                  <a:pt x="1216" y="39"/>
                  <a:pt x="1216" y="39"/>
                  <a:pt x="1216" y="39"/>
                </a:cubicBezTo>
                <a:cubicBezTo>
                  <a:pt x="1216" y="38"/>
                  <a:pt x="1216" y="38"/>
                  <a:pt x="1216" y="38"/>
                </a:cubicBezTo>
                <a:cubicBezTo>
                  <a:pt x="1216" y="37"/>
                  <a:pt x="1216" y="37"/>
                  <a:pt x="1216" y="37"/>
                </a:cubicBezTo>
                <a:cubicBezTo>
                  <a:pt x="1216" y="37"/>
                  <a:pt x="1216" y="37"/>
                  <a:pt x="1217" y="36"/>
                </a:cubicBezTo>
                <a:cubicBezTo>
                  <a:pt x="1217" y="36"/>
                  <a:pt x="1217" y="36"/>
                  <a:pt x="1219" y="35"/>
                </a:cubicBezTo>
                <a:cubicBezTo>
                  <a:pt x="1221" y="35"/>
                  <a:pt x="1221" y="35"/>
                  <a:pt x="1221" y="35"/>
                </a:cubicBezTo>
                <a:cubicBezTo>
                  <a:pt x="1222" y="35"/>
                  <a:pt x="1222" y="35"/>
                  <a:pt x="1222" y="35"/>
                </a:cubicBezTo>
                <a:cubicBezTo>
                  <a:pt x="1223" y="35"/>
                  <a:pt x="1223" y="35"/>
                  <a:pt x="1223" y="35"/>
                </a:cubicBezTo>
                <a:cubicBezTo>
                  <a:pt x="1224" y="36"/>
                  <a:pt x="1224" y="36"/>
                  <a:pt x="1224" y="36"/>
                </a:cubicBezTo>
                <a:cubicBezTo>
                  <a:pt x="1224" y="37"/>
                  <a:pt x="1224" y="37"/>
                  <a:pt x="1224" y="37"/>
                </a:cubicBezTo>
                <a:cubicBezTo>
                  <a:pt x="1225" y="38"/>
                  <a:pt x="1225" y="38"/>
                  <a:pt x="1225" y="38"/>
                </a:cubicBezTo>
                <a:cubicBezTo>
                  <a:pt x="1226" y="37"/>
                  <a:pt x="1226" y="37"/>
                  <a:pt x="1226" y="37"/>
                </a:cubicBezTo>
                <a:cubicBezTo>
                  <a:pt x="1225" y="36"/>
                  <a:pt x="1225" y="36"/>
                  <a:pt x="1225" y="36"/>
                </a:cubicBezTo>
                <a:cubicBezTo>
                  <a:pt x="1225" y="35"/>
                  <a:pt x="1225" y="35"/>
                  <a:pt x="1225" y="35"/>
                </a:cubicBezTo>
                <a:cubicBezTo>
                  <a:pt x="1227" y="35"/>
                  <a:pt x="1227" y="35"/>
                  <a:pt x="1227" y="35"/>
                </a:cubicBezTo>
                <a:cubicBezTo>
                  <a:pt x="1228" y="35"/>
                  <a:pt x="1228" y="35"/>
                  <a:pt x="1228" y="35"/>
                </a:cubicBezTo>
                <a:cubicBezTo>
                  <a:pt x="1229" y="35"/>
                  <a:pt x="1229" y="35"/>
                  <a:pt x="1229" y="35"/>
                </a:cubicBezTo>
                <a:cubicBezTo>
                  <a:pt x="1231" y="35"/>
                  <a:pt x="1231" y="35"/>
                  <a:pt x="1231" y="35"/>
                </a:cubicBezTo>
                <a:cubicBezTo>
                  <a:pt x="1233" y="34"/>
                  <a:pt x="1233" y="34"/>
                  <a:pt x="1233" y="34"/>
                </a:cubicBezTo>
                <a:cubicBezTo>
                  <a:pt x="1234" y="34"/>
                  <a:pt x="1234" y="34"/>
                  <a:pt x="1234" y="34"/>
                </a:cubicBezTo>
                <a:cubicBezTo>
                  <a:pt x="1236" y="34"/>
                  <a:pt x="1236" y="34"/>
                  <a:pt x="1236" y="34"/>
                </a:cubicBezTo>
                <a:cubicBezTo>
                  <a:pt x="1238" y="34"/>
                  <a:pt x="1238" y="34"/>
                  <a:pt x="1238" y="34"/>
                </a:cubicBezTo>
                <a:cubicBezTo>
                  <a:pt x="1239" y="35"/>
                  <a:pt x="1239" y="35"/>
                  <a:pt x="1239" y="35"/>
                </a:cubicBezTo>
                <a:cubicBezTo>
                  <a:pt x="1240" y="35"/>
                  <a:pt x="1240" y="35"/>
                  <a:pt x="1240" y="35"/>
                </a:cubicBezTo>
                <a:cubicBezTo>
                  <a:pt x="1241" y="35"/>
                  <a:pt x="1241" y="35"/>
                  <a:pt x="1241" y="35"/>
                </a:cubicBezTo>
                <a:cubicBezTo>
                  <a:pt x="1242" y="36"/>
                  <a:pt x="1242" y="36"/>
                  <a:pt x="1242" y="36"/>
                </a:cubicBezTo>
                <a:cubicBezTo>
                  <a:pt x="1243" y="36"/>
                  <a:pt x="1243" y="36"/>
                  <a:pt x="1243" y="36"/>
                </a:cubicBezTo>
                <a:cubicBezTo>
                  <a:pt x="1244" y="37"/>
                  <a:pt x="1244" y="37"/>
                  <a:pt x="1244" y="37"/>
                </a:cubicBezTo>
                <a:cubicBezTo>
                  <a:pt x="1245" y="36"/>
                  <a:pt x="1245" y="36"/>
                  <a:pt x="1245" y="36"/>
                </a:cubicBezTo>
                <a:cubicBezTo>
                  <a:pt x="1246" y="36"/>
                  <a:pt x="1246" y="36"/>
                  <a:pt x="1246" y="36"/>
                </a:cubicBezTo>
                <a:cubicBezTo>
                  <a:pt x="1246" y="37"/>
                  <a:pt x="1246" y="37"/>
                  <a:pt x="1246" y="37"/>
                </a:cubicBezTo>
                <a:cubicBezTo>
                  <a:pt x="1247" y="37"/>
                  <a:pt x="1247" y="37"/>
                  <a:pt x="1247" y="37"/>
                </a:cubicBezTo>
                <a:cubicBezTo>
                  <a:pt x="1248" y="36"/>
                  <a:pt x="1248" y="36"/>
                  <a:pt x="1248" y="36"/>
                </a:cubicBezTo>
                <a:cubicBezTo>
                  <a:pt x="1249" y="36"/>
                  <a:pt x="1249" y="36"/>
                  <a:pt x="1249" y="36"/>
                </a:cubicBezTo>
                <a:cubicBezTo>
                  <a:pt x="1250" y="36"/>
                  <a:pt x="1250" y="36"/>
                  <a:pt x="1250" y="36"/>
                </a:cubicBezTo>
                <a:cubicBezTo>
                  <a:pt x="1252" y="35"/>
                  <a:pt x="1252" y="35"/>
                  <a:pt x="1252" y="35"/>
                </a:cubicBezTo>
                <a:cubicBezTo>
                  <a:pt x="1253" y="34"/>
                  <a:pt x="1253" y="34"/>
                  <a:pt x="1253" y="34"/>
                </a:cubicBezTo>
                <a:cubicBezTo>
                  <a:pt x="1254" y="34"/>
                  <a:pt x="1254" y="34"/>
                  <a:pt x="1254" y="34"/>
                </a:cubicBezTo>
                <a:cubicBezTo>
                  <a:pt x="1255" y="35"/>
                  <a:pt x="1255" y="35"/>
                  <a:pt x="1255" y="35"/>
                </a:cubicBezTo>
                <a:cubicBezTo>
                  <a:pt x="1256" y="36"/>
                  <a:pt x="1256" y="36"/>
                  <a:pt x="1256" y="36"/>
                </a:cubicBezTo>
                <a:cubicBezTo>
                  <a:pt x="1256" y="37"/>
                  <a:pt x="1256" y="37"/>
                  <a:pt x="1256" y="37"/>
                </a:cubicBezTo>
                <a:cubicBezTo>
                  <a:pt x="1255" y="37"/>
                  <a:pt x="1255" y="37"/>
                  <a:pt x="1255" y="37"/>
                </a:cubicBezTo>
                <a:cubicBezTo>
                  <a:pt x="1255" y="38"/>
                  <a:pt x="1255" y="38"/>
                  <a:pt x="1255" y="38"/>
                </a:cubicBezTo>
                <a:cubicBezTo>
                  <a:pt x="1256" y="38"/>
                  <a:pt x="1256" y="38"/>
                  <a:pt x="1256" y="38"/>
                </a:cubicBezTo>
                <a:cubicBezTo>
                  <a:pt x="1256" y="39"/>
                  <a:pt x="1256" y="39"/>
                  <a:pt x="1256" y="39"/>
                </a:cubicBezTo>
                <a:cubicBezTo>
                  <a:pt x="1254" y="41"/>
                  <a:pt x="1254" y="41"/>
                  <a:pt x="1254" y="41"/>
                </a:cubicBezTo>
                <a:cubicBezTo>
                  <a:pt x="1252" y="41"/>
                  <a:pt x="1252" y="41"/>
                  <a:pt x="1252" y="41"/>
                </a:cubicBezTo>
                <a:cubicBezTo>
                  <a:pt x="1251" y="41"/>
                  <a:pt x="1251" y="41"/>
                  <a:pt x="1251" y="41"/>
                </a:cubicBezTo>
                <a:cubicBezTo>
                  <a:pt x="1250" y="41"/>
                  <a:pt x="1250" y="41"/>
                  <a:pt x="1250" y="41"/>
                </a:cubicBezTo>
                <a:cubicBezTo>
                  <a:pt x="1250" y="40"/>
                  <a:pt x="1250" y="40"/>
                  <a:pt x="1250" y="40"/>
                </a:cubicBezTo>
                <a:cubicBezTo>
                  <a:pt x="1249" y="40"/>
                  <a:pt x="1249" y="40"/>
                  <a:pt x="1249" y="40"/>
                </a:cubicBezTo>
                <a:cubicBezTo>
                  <a:pt x="1249" y="41"/>
                  <a:pt x="1249" y="41"/>
                  <a:pt x="1249" y="41"/>
                </a:cubicBezTo>
                <a:cubicBezTo>
                  <a:pt x="1250" y="42"/>
                  <a:pt x="1250" y="42"/>
                  <a:pt x="1250" y="42"/>
                </a:cubicBezTo>
                <a:cubicBezTo>
                  <a:pt x="1251" y="42"/>
                  <a:pt x="1251" y="42"/>
                  <a:pt x="1251" y="42"/>
                </a:cubicBezTo>
                <a:cubicBezTo>
                  <a:pt x="1250" y="43"/>
                  <a:pt x="1250" y="43"/>
                  <a:pt x="1250" y="43"/>
                </a:cubicBezTo>
                <a:cubicBezTo>
                  <a:pt x="1249" y="42"/>
                  <a:pt x="1249" y="42"/>
                  <a:pt x="1249" y="42"/>
                </a:cubicBezTo>
                <a:cubicBezTo>
                  <a:pt x="1248" y="42"/>
                  <a:pt x="1248" y="42"/>
                  <a:pt x="1248" y="42"/>
                </a:cubicBezTo>
                <a:cubicBezTo>
                  <a:pt x="1248" y="43"/>
                  <a:pt x="1248" y="43"/>
                  <a:pt x="1248" y="43"/>
                </a:cubicBezTo>
                <a:cubicBezTo>
                  <a:pt x="1249" y="43"/>
                  <a:pt x="1249" y="43"/>
                  <a:pt x="1249" y="43"/>
                </a:cubicBezTo>
                <a:cubicBezTo>
                  <a:pt x="1250" y="44"/>
                  <a:pt x="1250" y="44"/>
                  <a:pt x="1250" y="44"/>
                </a:cubicBezTo>
                <a:cubicBezTo>
                  <a:pt x="1252" y="44"/>
                  <a:pt x="1252" y="44"/>
                  <a:pt x="1252" y="44"/>
                </a:cubicBezTo>
                <a:cubicBezTo>
                  <a:pt x="1253" y="44"/>
                  <a:pt x="1253" y="44"/>
                  <a:pt x="1253" y="44"/>
                </a:cubicBezTo>
                <a:cubicBezTo>
                  <a:pt x="1255" y="43"/>
                  <a:pt x="1255" y="43"/>
                  <a:pt x="1255" y="43"/>
                </a:cubicBezTo>
                <a:cubicBezTo>
                  <a:pt x="1256" y="44"/>
                  <a:pt x="1256" y="44"/>
                  <a:pt x="1256" y="44"/>
                </a:cubicBezTo>
                <a:cubicBezTo>
                  <a:pt x="1256" y="43"/>
                  <a:pt x="1256" y="43"/>
                  <a:pt x="1256" y="43"/>
                </a:cubicBezTo>
                <a:cubicBezTo>
                  <a:pt x="1256" y="42"/>
                  <a:pt x="1256" y="42"/>
                  <a:pt x="1256" y="42"/>
                </a:cubicBezTo>
                <a:cubicBezTo>
                  <a:pt x="1257" y="42"/>
                  <a:pt x="1257" y="42"/>
                  <a:pt x="1257" y="42"/>
                </a:cubicBezTo>
                <a:cubicBezTo>
                  <a:pt x="1259" y="42"/>
                  <a:pt x="1259" y="42"/>
                  <a:pt x="1259" y="42"/>
                </a:cubicBezTo>
                <a:cubicBezTo>
                  <a:pt x="1260" y="43"/>
                  <a:pt x="1260" y="43"/>
                  <a:pt x="1260" y="43"/>
                </a:cubicBezTo>
                <a:cubicBezTo>
                  <a:pt x="1261" y="44"/>
                  <a:pt x="1261" y="44"/>
                  <a:pt x="1261" y="44"/>
                </a:cubicBezTo>
                <a:cubicBezTo>
                  <a:pt x="1262" y="43"/>
                  <a:pt x="1262" y="43"/>
                  <a:pt x="1262" y="43"/>
                </a:cubicBezTo>
                <a:cubicBezTo>
                  <a:pt x="1263" y="44"/>
                  <a:pt x="1263" y="44"/>
                  <a:pt x="1263" y="44"/>
                </a:cubicBezTo>
                <a:cubicBezTo>
                  <a:pt x="1263" y="45"/>
                  <a:pt x="1263" y="45"/>
                  <a:pt x="1263" y="45"/>
                </a:cubicBezTo>
                <a:cubicBezTo>
                  <a:pt x="1265" y="45"/>
                  <a:pt x="1265" y="45"/>
                  <a:pt x="1265" y="45"/>
                </a:cubicBezTo>
                <a:cubicBezTo>
                  <a:pt x="1266" y="46"/>
                  <a:pt x="1266" y="46"/>
                  <a:pt x="1266" y="46"/>
                </a:cubicBezTo>
                <a:cubicBezTo>
                  <a:pt x="1266" y="47"/>
                  <a:pt x="1266" y="47"/>
                  <a:pt x="1266" y="47"/>
                </a:cubicBezTo>
                <a:cubicBezTo>
                  <a:pt x="1267" y="48"/>
                  <a:pt x="1267" y="48"/>
                  <a:pt x="1267" y="48"/>
                </a:cubicBezTo>
                <a:cubicBezTo>
                  <a:pt x="1269" y="48"/>
                  <a:pt x="1269" y="48"/>
                  <a:pt x="1269" y="48"/>
                </a:cubicBezTo>
                <a:cubicBezTo>
                  <a:pt x="1270" y="49"/>
                  <a:pt x="1270" y="49"/>
                  <a:pt x="1270" y="49"/>
                </a:cubicBezTo>
                <a:cubicBezTo>
                  <a:pt x="1270" y="50"/>
                  <a:pt x="1270" y="50"/>
                  <a:pt x="1270" y="50"/>
                </a:cubicBezTo>
                <a:cubicBezTo>
                  <a:pt x="1270" y="51"/>
                  <a:pt x="1270" y="51"/>
                  <a:pt x="1270" y="51"/>
                </a:cubicBezTo>
                <a:cubicBezTo>
                  <a:pt x="1269" y="51"/>
                  <a:pt x="1269" y="51"/>
                  <a:pt x="1269" y="51"/>
                </a:cubicBezTo>
                <a:cubicBezTo>
                  <a:pt x="1269" y="52"/>
                  <a:pt x="1269" y="52"/>
                  <a:pt x="1269" y="52"/>
                </a:cubicBezTo>
                <a:cubicBezTo>
                  <a:pt x="1269" y="53"/>
                  <a:pt x="1269" y="53"/>
                  <a:pt x="1269" y="53"/>
                </a:cubicBezTo>
                <a:cubicBezTo>
                  <a:pt x="1267" y="54"/>
                  <a:pt x="1267" y="54"/>
                  <a:pt x="1267" y="54"/>
                </a:cubicBezTo>
                <a:cubicBezTo>
                  <a:pt x="1266" y="54"/>
                  <a:pt x="1266" y="54"/>
                  <a:pt x="1266" y="54"/>
                </a:cubicBezTo>
                <a:cubicBezTo>
                  <a:pt x="1266" y="55"/>
                  <a:pt x="1266" y="55"/>
                  <a:pt x="1266" y="55"/>
                </a:cubicBezTo>
                <a:cubicBezTo>
                  <a:pt x="1265" y="55"/>
                  <a:pt x="1265" y="55"/>
                  <a:pt x="1265" y="55"/>
                </a:cubicBezTo>
                <a:cubicBezTo>
                  <a:pt x="1264" y="56"/>
                  <a:pt x="1264" y="56"/>
                  <a:pt x="1264" y="56"/>
                </a:cubicBezTo>
                <a:cubicBezTo>
                  <a:pt x="1262" y="57"/>
                  <a:pt x="1262" y="57"/>
                  <a:pt x="1262" y="57"/>
                </a:cubicBezTo>
                <a:cubicBezTo>
                  <a:pt x="1260" y="57"/>
                  <a:pt x="1260" y="57"/>
                  <a:pt x="1260" y="57"/>
                </a:cubicBezTo>
                <a:cubicBezTo>
                  <a:pt x="1259" y="57"/>
                  <a:pt x="1259" y="57"/>
                  <a:pt x="1259" y="57"/>
                </a:cubicBezTo>
                <a:cubicBezTo>
                  <a:pt x="1258" y="57"/>
                  <a:pt x="1258" y="57"/>
                  <a:pt x="1258" y="57"/>
                </a:cubicBezTo>
                <a:cubicBezTo>
                  <a:pt x="1258" y="56"/>
                  <a:pt x="1258" y="56"/>
                  <a:pt x="1258" y="56"/>
                </a:cubicBezTo>
                <a:cubicBezTo>
                  <a:pt x="1257" y="56"/>
                  <a:pt x="1257" y="56"/>
                  <a:pt x="1257" y="56"/>
                </a:cubicBezTo>
                <a:cubicBezTo>
                  <a:pt x="1257" y="57"/>
                  <a:pt x="1257" y="57"/>
                  <a:pt x="1257" y="57"/>
                </a:cubicBezTo>
                <a:cubicBezTo>
                  <a:pt x="1258" y="57"/>
                  <a:pt x="1258" y="57"/>
                  <a:pt x="1258" y="57"/>
                </a:cubicBezTo>
                <a:cubicBezTo>
                  <a:pt x="1258" y="58"/>
                  <a:pt x="1258" y="58"/>
                  <a:pt x="1258" y="58"/>
                </a:cubicBezTo>
                <a:cubicBezTo>
                  <a:pt x="1257" y="58"/>
                  <a:pt x="1257" y="58"/>
                  <a:pt x="1257" y="58"/>
                </a:cubicBezTo>
                <a:cubicBezTo>
                  <a:pt x="1256" y="57"/>
                  <a:pt x="1256" y="57"/>
                  <a:pt x="1256" y="57"/>
                </a:cubicBezTo>
                <a:cubicBezTo>
                  <a:pt x="1255" y="58"/>
                  <a:pt x="1255" y="58"/>
                  <a:pt x="1255" y="58"/>
                </a:cubicBezTo>
                <a:cubicBezTo>
                  <a:pt x="1254" y="58"/>
                  <a:pt x="1254" y="58"/>
                  <a:pt x="1254" y="58"/>
                </a:cubicBezTo>
                <a:cubicBezTo>
                  <a:pt x="1253" y="57"/>
                  <a:pt x="1253" y="57"/>
                  <a:pt x="1253" y="57"/>
                </a:cubicBezTo>
                <a:cubicBezTo>
                  <a:pt x="1252" y="57"/>
                  <a:pt x="1252" y="57"/>
                  <a:pt x="1252" y="57"/>
                </a:cubicBezTo>
                <a:cubicBezTo>
                  <a:pt x="1251" y="58"/>
                  <a:pt x="1251" y="58"/>
                  <a:pt x="1251" y="58"/>
                </a:cubicBezTo>
                <a:cubicBezTo>
                  <a:pt x="1250" y="59"/>
                  <a:pt x="1250" y="59"/>
                  <a:pt x="1250" y="59"/>
                </a:cubicBezTo>
                <a:cubicBezTo>
                  <a:pt x="1249" y="59"/>
                  <a:pt x="1249" y="59"/>
                  <a:pt x="1249" y="59"/>
                </a:cubicBezTo>
                <a:cubicBezTo>
                  <a:pt x="1248" y="58"/>
                  <a:pt x="1248" y="58"/>
                  <a:pt x="1248" y="58"/>
                </a:cubicBezTo>
                <a:cubicBezTo>
                  <a:pt x="1247" y="58"/>
                  <a:pt x="1247" y="58"/>
                  <a:pt x="1247" y="58"/>
                </a:cubicBezTo>
                <a:cubicBezTo>
                  <a:pt x="1246" y="58"/>
                  <a:pt x="1246" y="58"/>
                  <a:pt x="1246" y="58"/>
                </a:cubicBezTo>
                <a:cubicBezTo>
                  <a:pt x="1245" y="58"/>
                  <a:pt x="1245" y="58"/>
                  <a:pt x="1245" y="58"/>
                </a:cubicBezTo>
                <a:cubicBezTo>
                  <a:pt x="1244" y="59"/>
                  <a:pt x="1244" y="59"/>
                  <a:pt x="1244" y="59"/>
                </a:cubicBezTo>
                <a:cubicBezTo>
                  <a:pt x="1243" y="58"/>
                  <a:pt x="1243" y="58"/>
                  <a:pt x="1243" y="58"/>
                </a:cubicBezTo>
                <a:cubicBezTo>
                  <a:pt x="1241" y="57"/>
                  <a:pt x="1241" y="57"/>
                  <a:pt x="1241" y="57"/>
                </a:cubicBezTo>
                <a:cubicBezTo>
                  <a:pt x="1239" y="57"/>
                  <a:pt x="1239" y="57"/>
                  <a:pt x="1239" y="57"/>
                </a:cubicBezTo>
                <a:cubicBezTo>
                  <a:pt x="1238" y="56"/>
                  <a:pt x="1238" y="56"/>
                  <a:pt x="1238" y="56"/>
                </a:cubicBezTo>
                <a:cubicBezTo>
                  <a:pt x="1237" y="56"/>
                  <a:pt x="1237" y="56"/>
                  <a:pt x="1237" y="56"/>
                </a:cubicBezTo>
                <a:cubicBezTo>
                  <a:pt x="1236" y="57"/>
                  <a:pt x="1236" y="57"/>
                  <a:pt x="1236" y="57"/>
                </a:cubicBezTo>
                <a:cubicBezTo>
                  <a:pt x="1235" y="56"/>
                  <a:pt x="1235" y="56"/>
                  <a:pt x="1235" y="56"/>
                </a:cubicBezTo>
                <a:cubicBezTo>
                  <a:pt x="1234" y="56"/>
                  <a:pt x="1234" y="56"/>
                  <a:pt x="1234" y="56"/>
                </a:cubicBezTo>
                <a:cubicBezTo>
                  <a:pt x="1233" y="56"/>
                  <a:pt x="1233" y="56"/>
                  <a:pt x="1233" y="56"/>
                </a:cubicBezTo>
                <a:cubicBezTo>
                  <a:pt x="1232" y="57"/>
                  <a:pt x="1232" y="57"/>
                  <a:pt x="1232" y="57"/>
                </a:cubicBezTo>
                <a:cubicBezTo>
                  <a:pt x="1231" y="57"/>
                  <a:pt x="1231" y="57"/>
                  <a:pt x="1231" y="57"/>
                </a:cubicBezTo>
                <a:cubicBezTo>
                  <a:pt x="1230" y="57"/>
                  <a:pt x="1230" y="57"/>
                  <a:pt x="1230" y="57"/>
                </a:cubicBezTo>
                <a:cubicBezTo>
                  <a:pt x="1229" y="58"/>
                  <a:pt x="1229" y="58"/>
                  <a:pt x="1229" y="58"/>
                </a:cubicBezTo>
                <a:cubicBezTo>
                  <a:pt x="1228" y="58"/>
                  <a:pt x="1228" y="58"/>
                  <a:pt x="1228" y="58"/>
                </a:cubicBezTo>
                <a:cubicBezTo>
                  <a:pt x="1228" y="57"/>
                  <a:pt x="1228" y="57"/>
                  <a:pt x="1228" y="57"/>
                </a:cubicBezTo>
                <a:cubicBezTo>
                  <a:pt x="1227" y="57"/>
                  <a:pt x="1227" y="57"/>
                  <a:pt x="1227" y="57"/>
                </a:cubicBezTo>
                <a:cubicBezTo>
                  <a:pt x="1228" y="58"/>
                  <a:pt x="1228" y="58"/>
                  <a:pt x="1228" y="58"/>
                </a:cubicBezTo>
                <a:cubicBezTo>
                  <a:pt x="1227" y="59"/>
                  <a:pt x="1227" y="59"/>
                  <a:pt x="1227" y="59"/>
                </a:cubicBezTo>
                <a:cubicBezTo>
                  <a:pt x="1226" y="59"/>
                  <a:pt x="1226" y="59"/>
                  <a:pt x="1226" y="59"/>
                </a:cubicBezTo>
                <a:cubicBezTo>
                  <a:pt x="1225" y="59"/>
                  <a:pt x="1225" y="59"/>
                  <a:pt x="1225" y="59"/>
                </a:cubicBezTo>
                <a:cubicBezTo>
                  <a:pt x="1224" y="60"/>
                  <a:pt x="1224" y="60"/>
                  <a:pt x="1224" y="60"/>
                </a:cubicBezTo>
                <a:cubicBezTo>
                  <a:pt x="1223" y="60"/>
                  <a:pt x="1223" y="60"/>
                  <a:pt x="1223" y="60"/>
                </a:cubicBezTo>
                <a:cubicBezTo>
                  <a:pt x="1221" y="61"/>
                  <a:pt x="1221" y="61"/>
                  <a:pt x="1221" y="61"/>
                </a:cubicBezTo>
                <a:cubicBezTo>
                  <a:pt x="1220" y="61"/>
                  <a:pt x="1220" y="61"/>
                  <a:pt x="1220" y="61"/>
                </a:cubicBezTo>
                <a:cubicBezTo>
                  <a:pt x="1220" y="62"/>
                  <a:pt x="1220" y="62"/>
                  <a:pt x="1220" y="62"/>
                </a:cubicBezTo>
                <a:cubicBezTo>
                  <a:pt x="1219" y="62"/>
                  <a:pt x="1219" y="62"/>
                  <a:pt x="1219" y="62"/>
                </a:cubicBezTo>
                <a:cubicBezTo>
                  <a:pt x="1218" y="62"/>
                  <a:pt x="1218" y="62"/>
                  <a:pt x="1218" y="62"/>
                </a:cubicBezTo>
                <a:cubicBezTo>
                  <a:pt x="1216" y="63"/>
                  <a:pt x="1216" y="63"/>
                  <a:pt x="1216" y="63"/>
                </a:cubicBezTo>
                <a:cubicBezTo>
                  <a:pt x="1215" y="63"/>
                  <a:pt x="1215" y="63"/>
                  <a:pt x="1215" y="63"/>
                </a:cubicBezTo>
                <a:cubicBezTo>
                  <a:pt x="1215" y="64"/>
                  <a:pt x="1215" y="64"/>
                  <a:pt x="1215" y="64"/>
                </a:cubicBezTo>
                <a:cubicBezTo>
                  <a:pt x="1216" y="65"/>
                  <a:pt x="1216" y="65"/>
                  <a:pt x="1216" y="65"/>
                </a:cubicBezTo>
                <a:cubicBezTo>
                  <a:pt x="1216" y="66"/>
                  <a:pt x="1216" y="66"/>
                  <a:pt x="1216" y="66"/>
                </a:cubicBezTo>
                <a:cubicBezTo>
                  <a:pt x="1216" y="67"/>
                  <a:pt x="1216" y="67"/>
                  <a:pt x="1216" y="67"/>
                </a:cubicBezTo>
                <a:cubicBezTo>
                  <a:pt x="1216" y="68"/>
                  <a:pt x="1216" y="68"/>
                  <a:pt x="1216" y="68"/>
                </a:cubicBezTo>
                <a:cubicBezTo>
                  <a:pt x="1217" y="67"/>
                  <a:pt x="1217" y="67"/>
                  <a:pt x="1217" y="67"/>
                </a:cubicBezTo>
                <a:cubicBezTo>
                  <a:pt x="1218" y="66"/>
                  <a:pt x="1218" y="66"/>
                  <a:pt x="1218" y="66"/>
                </a:cubicBezTo>
                <a:cubicBezTo>
                  <a:pt x="1218" y="65"/>
                  <a:pt x="1218" y="65"/>
                  <a:pt x="1218" y="65"/>
                </a:cubicBezTo>
                <a:cubicBezTo>
                  <a:pt x="1219" y="65"/>
                  <a:pt x="1219" y="65"/>
                  <a:pt x="1219" y="65"/>
                </a:cubicBezTo>
                <a:cubicBezTo>
                  <a:pt x="1220" y="64"/>
                  <a:pt x="1220" y="64"/>
                  <a:pt x="1220" y="64"/>
                </a:cubicBezTo>
                <a:cubicBezTo>
                  <a:pt x="1221" y="64"/>
                  <a:pt x="1221" y="64"/>
                  <a:pt x="1221" y="64"/>
                </a:cubicBezTo>
                <a:cubicBezTo>
                  <a:pt x="1222" y="64"/>
                  <a:pt x="1222" y="64"/>
                  <a:pt x="1222" y="64"/>
                </a:cubicBezTo>
                <a:cubicBezTo>
                  <a:pt x="1223" y="64"/>
                  <a:pt x="1223" y="64"/>
                  <a:pt x="1223" y="64"/>
                </a:cubicBezTo>
                <a:cubicBezTo>
                  <a:pt x="1224" y="63"/>
                  <a:pt x="1224" y="63"/>
                  <a:pt x="1224" y="63"/>
                </a:cubicBezTo>
                <a:cubicBezTo>
                  <a:pt x="1225" y="63"/>
                  <a:pt x="1225" y="63"/>
                  <a:pt x="1225" y="63"/>
                </a:cubicBezTo>
                <a:cubicBezTo>
                  <a:pt x="1228" y="62"/>
                  <a:pt x="1228" y="62"/>
                  <a:pt x="1228" y="62"/>
                </a:cubicBezTo>
                <a:cubicBezTo>
                  <a:pt x="1229" y="62"/>
                  <a:pt x="1229" y="62"/>
                  <a:pt x="1229" y="62"/>
                </a:cubicBezTo>
                <a:cubicBezTo>
                  <a:pt x="1228" y="63"/>
                  <a:pt x="1228" y="63"/>
                  <a:pt x="1228" y="63"/>
                </a:cubicBezTo>
                <a:cubicBezTo>
                  <a:pt x="1229" y="63"/>
                  <a:pt x="1229" y="63"/>
                  <a:pt x="1229" y="63"/>
                </a:cubicBezTo>
                <a:cubicBezTo>
                  <a:pt x="1230" y="62"/>
                  <a:pt x="1230" y="62"/>
                  <a:pt x="1230" y="62"/>
                </a:cubicBezTo>
                <a:cubicBezTo>
                  <a:pt x="1230" y="61"/>
                  <a:pt x="1230" y="61"/>
                  <a:pt x="1230" y="61"/>
                </a:cubicBezTo>
                <a:cubicBezTo>
                  <a:pt x="1230" y="60"/>
                  <a:pt x="1230" y="60"/>
                  <a:pt x="1230" y="60"/>
                </a:cubicBezTo>
                <a:cubicBezTo>
                  <a:pt x="1231" y="60"/>
                  <a:pt x="1231" y="60"/>
                  <a:pt x="1231" y="60"/>
                </a:cubicBezTo>
                <a:cubicBezTo>
                  <a:pt x="1232" y="60"/>
                  <a:pt x="1232" y="60"/>
                  <a:pt x="1232" y="60"/>
                </a:cubicBezTo>
                <a:cubicBezTo>
                  <a:pt x="1233" y="60"/>
                  <a:pt x="1233" y="60"/>
                  <a:pt x="1233" y="60"/>
                </a:cubicBezTo>
                <a:cubicBezTo>
                  <a:pt x="1234" y="60"/>
                  <a:pt x="1234" y="60"/>
                  <a:pt x="1234" y="60"/>
                </a:cubicBezTo>
                <a:cubicBezTo>
                  <a:pt x="1236" y="60"/>
                  <a:pt x="1236" y="60"/>
                  <a:pt x="1236" y="60"/>
                </a:cubicBezTo>
                <a:cubicBezTo>
                  <a:pt x="1237" y="61"/>
                  <a:pt x="1237" y="61"/>
                  <a:pt x="1237" y="61"/>
                </a:cubicBezTo>
                <a:cubicBezTo>
                  <a:pt x="1238" y="61"/>
                  <a:pt x="1238" y="61"/>
                  <a:pt x="1238" y="61"/>
                </a:cubicBezTo>
                <a:cubicBezTo>
                  <a:pt x="1241" y="61"/>
                  <a:pt x="1241" y="61"/>
                  <a:pt x="1241" y="61"/>
                </a:cubicBezTo>
                <a:cubicBezTo>
                  <a:pt x="1242" y="61"/>
                  <a:pt x="1242" y="61"/>
                  <a:pt x="1242" y="61"/>
                </a:cubicBezTo>
                <a:cubicBezTo>
                  <a:pt x="1243" y="61"/>
                  <a:pt x="1243" y="61"/>
                  <a:pt x="1243" y="61"/>
                </a:cubicBezTo>
                <a:cubicBezTo>
                  <a:pt x="1245" y="62"/>
                  <a:pt x="1245" y="62"/>
                  <a:pt x="1245" y="62"/>
                </a:cubicBezTo>
                <a:cubicBezTo>
                  <a:pt x="1248" y="62"/>
                  <a:pt x="1248" y="62"/>
                  <a:pt x="1248" y="62"/>
                </a:cubicBezTo>
                <a:cubicBezTo>
                  <a:pt x="1249" y="62"/>
                  <a:pt x="1249" y="62"/>
                  <a:pt x="1249" y="62"/>
                </a:cubicBezTo>
                <a:cubicBezTo>
                  <a:pt x="1249" y="63"/>
                  <a:pt x="1249" y="63"/>
                  <a:pt x="1249" y="63"/>
                </a:cubicBezTo>
                <a:cubicBezTo>
                  <a:pt x="1249" y="64"/>
                  <a:pt x="1249" y="64"/>
                  <a:pt x="1249" y="64"/>
                </a:cubicBezTo>
                <a:cubicBezTo>
                  <a:pt x="1248" y="64"/>
                  <a:pt x="1248" y="64"/>
                  <a:pt x="1248" y="64"/>
                </a:cubicBezTo>
                <a:cubicBezTo>
                  <a:pt x="1248" y="65"/>
                  <a:pt x="1248" y="65"/>
                  <a:pt x="1248" y="65"/>
                </a:cubicBezTo>
                <a:cubicBezTo>
                  <a:pt x="1247" y="66"/>
                  <a:pt x="1247" y="66"/>
                  <a:pt x="1247" y="66"/>
                </a:cubicBezTo>
                <a:cubicBezTo>
                  <a:pt x="1247" y="67"/>
                  <a:pt x="1247" y="67"/>
                  <a:pt x="1247" y="67"/>
                </a:cubicBezTo>
                <a:cubicBezTo>
                  <a:pt x="1244" y="67"/>
                  <a:pt x="1244" y="67"/>
                  <a:pt x="1244" y="67"/>
                </a:cubicBezTo>
                <a:cubicBezTo>
                  <a:pt x="1242" y="68"/>
                  <a:pt x="1242" y="68"/>
                  <a:pt x="1242" y="68"/>
                </a:cubicBezTo>
                <a:cubicBezTo>
                  <a:pt x="1241" y="68"/>
                  <a:pt x="1241" y="68"/>
                  <a:pt x="1241" y="68"/>
                </a:cubicBezTo>
                <a:cubicBezTo>
                  <a:pt x="1241" y="69"/>
                  <a:pt x="1241" y="69"/>
                  <a:pt x="1241" y="69"/>
                </a:cubicBezTo>
                <a:cubicBezTo>
                  <a:pt x="1240" y="70"/>
                  <a:pt x="1240" y="70"/>
                  <a:pt x="1240" y="70"/>
                </a:cubicBezTo>
                <a:cubicBezTo>
                  <a:pt x="1241" y="71"/>
                  <a:pt x="1241" y="71"/>
                  <a:pt x="1241" y="71"/>
                </a:cubicBezTo>
                <a:cubicBezTo>
                  <a:pt x="1242" y="71"/>
                  <a:pt x="1242" y="71"/>
                  <a:pt x="1242" y="71"/>
                </a:cubicBezTo>
                <a:cubicBezTo>
                  <a:pt x="1244" y="70"/>
                  <a:pt x="1244" y="70"/>
                  <a:pt x="1244" y="70"/>
                </a:cubicBezTo>
                <a:cubicBezTo>
                  <a:pt x="1245" y="70"/>
                  <a:pt x="1245" y="70"/>
                  <a:pt x="1245" y="70"/>
                </a:cubicBezTo>
                <a:cubicBezTo>
                  <a:pt x="1245" y="70"/>
                  <a:pt x="1245" y="70"/>
                  <a:pt x="1247" y="70"/>
                </a:cubicBezTo>
                <a:cubicBezTo>
                  <a:pt x="1248" y="70"/>
                  <a:pt x="1250" y="70"/>
                  <a:pt x="1250" y="70"/>
                </a:cubicBezTo>
                <a:cubicBezTo>
                  <a:pt x="1251" y="71"/>
                  <a:pt x="1251" y="71"/>
                  <a:pt x="1251" y="71"/>
                </a:cubicBezTo>
                <a:cubicBezTo>
                  <a:pt x="1252" y="71"/>
                  <a:pt x="1252" y="71"/>
                  <a:pt x="1252" y="71"/>
                </a:cubicBezTo>
                <a:cubicBezTo>
                  <a:pt x="1252" y="70"/>
                  <a:pt x="1252" y="70"/>
                  <a:pt x="1252" y="70"/>
                </a:cubicBezTo>
                <a:cubicBezTo>
                  <a:pt x="1253" y="70"/>
                  <a:pt x="1253" y="70"/>
                  <a:pt x="1253" y="70"/>
                </a:cubicBezTo>
                <a:cubicBezTo>
                  <a:pt x="1254" y="71"/>
                  <a:pt x="1254" y="71"/>
                  <a:pt x="1254" y="71"/>
                </a:cubicBezTo>
                <a:cubicBezTo>
                  <a:pt x="1255" y="69"/>
                  <a:pt x="1255" y="69"/>
                  <a:pt x="1255" y="69"/>
                </a:cubicBezTo>
                <a:cubicBezTo>
                  <a:pt x="1255" y="67"/>
                  <a:pt x="1255" y="67"/>
                  <a:pt x="1255" y="67"/>
                </a:cubicBezTo>
                <a:cubicBezTo>
                  <a:pt x="1255" y="66"/>
                  <a:pt x="1255" y="66"/>
                  <a:pt x="1255" y="66"/>
                </a:cubicBezTo>
                <a:cubicBezTo>
                  <a:pt x="1256" y="65"/>
                  <a:pt x="1256" y="65"/>
                  <a:pt x="1256" y="65"/>
                </a:cubicBezTo>
                <a:cubicBezTo>
                  <a:pt x="1256" y="64"/>
                  <a:pt x="1256" y="64"/>
                  <a:pt x="1256" y="64"/>
                </a:cubicBezTo>
                <a:cubicBezTo>
                  <a:pt x="1257" y="63"/>
                  <a:pt x="1257" y="63"/>
                  <a:pt x="1257" y="63"/>
                </a:cubicBezTo>
                <a:cubicBezTo>
                  <a:pt x="1258" y="63"/>
                  <a:pt x="1258" y="63"/>
                  <a:pt x="1258" y="63"/>
                </a:cubicBezTo>
                <a:cubicBezTo>
                  <a:pt x="1259" y="64"/>
                  <a:pt x="1259" y="64"/>
                  <a:pt x="1259" y="64"/>
                </a:cubicBezTo>
                <a:cubicBezTo>
                  <a:pt x="1261" y="63"/>
                  <a:pt x="1261" y="63"/>
                  <a:pt x="1261" y="63"/>
                </a:cubicBezTo>
                <a:cubicBezTo>
                  <a:pt x="1262" y="63"/>
                  <a:pt x="1262" y="63"/>
                  <a:pt x="1262" y="63"/>
                </a:cubicBezTo>
                <a:cubicBezTo>
                  <a:pt x="1263" y="63"/>
                  <a:pt x="1263" y="63"/>
                  <a:pt x="1263" y="63"/>
                </a:cubicBezTo>
                <a:cubicBezTo>
                  <a:pt x="1263" y="65"/>
                  <a:pt x="1263" y="65"/>
                  <a:pt x="1263" y="65"/>
                </a:cubicBezTo>
                <a:cubicBezTo>
                  <a:pt x="1263" y="67"/>
                  <a:pt x="1263" y="67"/>
                  <a:pt x="1263" y="67"/>
                </a:cubicBezTo>
                <a:cubicBezTo>
                  <a:pt x="1263" y="68"/>
                  <a:pt x="1263" y="68"/>
                  <a:pt x="1263" y="68"/>
                </a:cubicBezTo>
                <a:cubicBezTo>
                  <a:pt x="1262" y="70"/>
                  <a:pt x="1262" y="70"/>
                  <a:pt x="1262" y="70"/>
                </a:cubicBezTo>
                <a:cubicBezTo>
                  <a:pt x="1261" y="71"/>
                  <a:pt x="1261" y="71"/>
                  <a:pt x="1261" y="71"/>
                </a:cubicBezTo>
                <a:cubicBezTo>
                  <a:pt x="1261" y="73"/>
                  <a:pt x="1261" y="73"/>
                  <a:pt x="1261" y="73"/>
                </a:cubicBezTo>
                <a:cubicBezTo>
                  <a:pt x="1261" y="74"/>
                  <a:pt x="1261" y="74"/>
                  <a:pt x="1261" y="74"/>
                </a:cubicBezTo>
                <a:cubicBezTo>
                  <a:pt x="1257" y="77"/>
                  <a:pt x="1257" y="77"/>
                  <a:pt x="1257" y="77"/>
                </a:cubicBezTo>
                <a:cubicBezTo>
                  <a:pt x="1256" y="77"/>
                  <a:pt x="1256" y="77"/>
                  <a:pt x="1256" y="77"/>
                </a:cubicBezTo>
                <a:cubicBezTo>
                  <a:pt x="1255" y="77"/>
                  <a:pt x="1255" y="77"/>
                  <a:pt x="1255" y="77"/>
                </a:cubicBezTo>
                <a:cubicBezTo>
                  <a:pt x="1254" y="78"/>
                  <a:pt x="1254" y="78"/>
                  <a:pt x="1254" y="78"/>
                </a:cubicBezTo>
                <a:cubicBezTo>
                  <a:pt x="1253" y="78"/>
                  <a:pt x="1253" y="78"/>
                  <a:pt x="1253" y="78"/>
                </a:cubicBezTo>
                <a:cubicBezTo>
                  <a:pt x="1252" y="79"/>
                  <a:pt x="1252" y="79"/>
                  <a:pt x="1252" y="79"/>
                </a:cubicBezTo>
                <a:cubicBezTo>
                  <a:pt x="1252" y="80"/>
                  <a:pt x="1252" y="80"/>
                  <a:pt x="1252" y="80"/>
                </a:cubicBezTo>
                <a:cubicBezTo>
                  <a:pt x="1251" y="81"/>
                  <a:pt x="1251" y="81"/>
                  <a:pt x="1251" y="81"/>
                </a:cubicBezTo>
                <a:cubicBezTo>
                  <a:pt x="1250" y="82"/>
                  <a:pt x="1250" y="82"/>
                  <a:pt x="1250" y="82"/>
                </a:cubicBezTo>
                <a:cubicBezTo>
                  <a:pt x="1249" y="81"/>
                  <a:pt x="1249" y="81"/>
                  <a:pt x="1249" y="81"/>
                </a:cubicBezTo>
                <a:cubicBezTo>
                  <a:pt x="1249" y="82"/>
                  <a:pt x="1249" y="82"/>
                  <a:pt x="1249" y="82"/>
                </a:cubicBezTo>
                <a:cubicBezTo>
                  <a:pt x="1249" y="83"/>
                  <a:pt x="1249" y="83"/>
                  <a:pt x="1249" y="83"/>
                </a:cubicBezTo>
                <a:cubicBezTo>
                  <a:pt x="1248" y="85"/>
                  <a:pt x="1248" y="85"/>
                  <a:pt x="1248" y="85"/>
                </a:cubicBezTo>
                <a:cubicBezTo>
                  <a:pt x="1247" y="86"/>
                  <a:pt x="1247" y="86"/>
                  <a:pt x="1247" y="86"/>
                </a:cubicBezTo>
                <a:cubicBezTo>
                  <a:pt x="1246" y="86"/>
                  <a:pt x="1246" y="86"/>
                  <a:pt x="1246" y="86"/>
                </a:cubicBezTo>
                <a:cubicBezTo>
                  <a:pt x="1245" y="88"/>
                  <a:pt x="1245" y="88"/>
                  <a:pt x="1245" y="88"/>
                </a:cubicBezTo>
                <a:cubicBezTo>
                  <a:pt x="1243" y="89"/>
                  <a:pt x="1243" y="89"/>
                  <a:pt x="1243" y="89"/>
                </a:cubicBezTo>
                <a:cubicBezTo>
                  <a:pt x="1242" y="89"/>
                  <a:pt x="1242" y="89"/>
                  <a:pt x="1242" y="89"/>
                </a:cubicBezTo>
                <a:cubicBezTo>
                  <a:pt x="1241" y="90"/>
                  <a:pt x="1241" y="90"/>
                  <a:pt x="1241" y="90"/>
                </a:cubicBezTo>
                <a:cubicBezTo>
                  <a:pt x="1241" y="91"/>
                  <a:pt x="1241" y="91"/>
                  <a:pt x="1241" y="91"/>
                </a:cubicBezTo>
                <a:cubicBezTo>
                  <a:pt x="1240" y="91"/>
                  <a:pt x="1240" y="91"/>
                  <a:pt x="1240" y="91"/>
                </a:cubicBezTo>
                <a:cubicBezTo>
                  <a:pt x="1240" y="92"/>
                  <a:pt x="1240" y="92"/>
                  <a:pt x="1240" y="92"/>
                </a:cubicBezTo>
                <a:cubicBezTo>
                  <a:pt x="1240" y="93"/>
                  <a:pt x="1240" y="93"/>
                  <a:pt x="1240" y="93"/>
                </a:cubicBezTo>
                <a:cubicBezTo>
                  <a:pt x="1239" y="94"/>
                  <a:pt x="1239" y="94"/>
                  <a:pt x="1239" y="94"/>
                </a:cubicBezTo>
                <a:cubicBezTo>
                  <a:pt x="1239" y="95"/>
                  <a:pt x="1239" y="95"/>
                  <a:pt x="1239" y="95"/>
                </a:cubicBezTo>
                <a:cubicBezTo>
                  <a:pt x="1240" y="94"/>
                  <a:pt x="1240" y="94"/>
                  <a:pt x="1240" y="94"/>
                </a:cubicBezTo>
                <a:cubicBezTo>
                  <a:pt x="1241" y="92"/>
                  <a:pt x="1241" y="92"/>
                  <a:pt x="1241" y="92"/>
                </a:cubicBezTo>
                <a:cubicBezTo>
                  <a:pt x="1242" y="91"/>
                  <a:pt x="1242" y="91"/>
                  <a:pt x="1242" y="91"/>
                </a:cubicBezTo>
                <a:cubicBezTo>
                  <a:pt x="1243" y="90"/>
                  <a:pt x="1243" y="90"/>
                  <a:pt x="1243" y="90"/>
                </a:cubicBezTo>
                <a:cubicBezTo>
                  <a:pt x="1244" y="90"/>
                  <a:pt x="1244" y="90"/>
                  <a:pt x="1244" y="90"/>
                </a:cubicBezTo>
                <a:cubicBezTo>
                  <a:pt x="1244" y="91"/>
                  <a:pt x="1244" y="91"/>
                  <a:pt x="1244" y="91"/>
                </a:cubicBezTo>
                <a:cubicBezTo>
                  <a:pt x="1245" y="89"/>
                  <a:pt x="1245" y="89"/>
                  <a:pt x="1245" y="89"/>
                </a:cubicBezTo>
                <a:cubicBezTo>
                  <a:pt x="1247" y="88"/>
                  <a:pt x="1247" y="88"/>
                  <a:pt x="1247" y="88"/>
                </a:cubicBezTo>
                <a:cubicBezTo>
                  <a:pt x="1248" y="88"/>
                  <a:pt x="1248" y="88"/>
                  <a:pt x="1248" y="88"/>
                </a:cubicBezTo>
                <a:cubicBezTo>
                  <a:pt x="1248" y="86"/>
                  <a:pt x="1248" y="86"/>
                  <a:pt x="1248" y="86"/>
                </a:cubicBezTo>
                <a:cubicBezTo>
                  <a:pt x="1250" y="85"/>
                  <a:pt x="1250" y="85"/>
                  <a:pt x="1250" y="85"/>
                </a:cubicBezTo>
                <a:cubicBezTo>
                  <a:pt x="1252" y="83"/>
                  <a:pt x="1252" y="83"/>
                  <a:pt x="1252" y="83"/>
                </a:cubicBezTo>
                <a:cubicBezTo>
                  <a:pt x="1253" y="83"/>
                  <a:pt x="1253" y="83"/>
                  <a:pt x="1253" y="83"/>
                </a:cubicBezTo>
                <a:cubicBezTo>
                  <a:pt x="1254" y="83"/>
                  <a:pt x="1254" y="83"/>
                  <a:pt x="1254" y="83"/>
                </a:cubicBezTo>
                <a:cubicBezTo>
                  <a:pt x="1255" y="82"/>
                  <a:pt x="1255" y="82"/>
                  <a:pt x="1255" y="82"/>
                </a:cubicBezTo>
                <a:cubicBezTo>
                  <a:pt x="1256" y="82"/>
                  <a:pt x="1256" y="82"/>
                  <a:pt x="1256" y="82"/>
                </a:cubicBezTo>
                <a:cubicBezTo>
                  <a:pt x="1258" y="82"/>
                  <a:pt x="1258" y="82"/>
                  <a:pt x="1258" y="82"/>
                </a:cubicBezTo>
                <a:cubicBezTo>
                  <a:pt x="1260" y="81"/>
                  <a:pt x="1260" y="81"/>
                  <a:pt x="1260" y="81"/>
                </a:cubicBezTo>
                <a:cubicBezTo>
                  <a:pt x="1261" y="80"/>
                  <a:pt x="1261" y="80"/>
                  <a:pt x="1261" y="80"/>
                </a:cubicBezTo>
                <a:cubicBezTo>
                  <a:pt x="1262" y="80"/>
                  <a:pt x="1262" y="80"/>
                  <a:pt x="1262" y="80"/>
                </a:cubicBezTo>
                <a:cubicBezTo>
                  <a:pt x="1263" y="79"/>
                  <a:pt x="1263" y="79"/>
                  <a:pt x="1263" y="79"/>
                </a:cubicBezTo>
                <a:cubicBezTo>
                  <a:pt x="1264" y="78"/>
                  <a:pt x="1264" y="78"/>
                  <a:pt x="1264" y="78"/>
                </a:cubicBezTo>
                <a:cubicBezTo>
                  <a:pt x="1265" y="78"/>
                  <a:pt x="1265" y="78"/>
                  <a:pt x="1265" y="78"/>
                </a:cubicBezTo>
                <a:cubicBezTo>
                  <a:pt x="1265" y="77"/>
                  <a:pt x="1265" y="77"/>
                  <a:pt x="1265" y="77"/>
                </a:cubicBezTo>
                <a:cubicBezTo>
                  <a:pt x="1267" y="76"/>
                  <a:pt x="1267" y="76"/>
                  <a:pt x="1267" y="76"/>
                </a:cubicBezTo>
                <a:cubicBezTo>
                  <a:pt x="1268" y="74"/>
                  <a:pt x="1268" y="74"/>
                  <a:pt x="1268" y="74"/>
                </a:cubicBezTo>
                <a:cubicBezTo>
                  <a:pt x="1268" y="73"/>
                  <a:pt x="1268" y="73"/>
                  <a:pt x="1268" y="73"/>
                </a:cubicBezTo>
                <a:cubicBezTo>
                  <a:pt x="1269" y="72"/>
                  <a:pt x="1269" y="72"/>
                  <a:pt x="1269" y="72"/>
                </a:cubicBezTo>
                <a:cubicBezTo>
                  <a:pt x="1270" y="73"/>
                  <a:pt x="1270" y="73"/>
                  <a:pt x="1270" y="73"/>
                </a:cubicBezTo>
                <a:cubicBezTo>
                  <a:pt x="1270" y="74"/>
                  <a:pt x="1270" y="74"/>
                  <a:pt x="1270" y="74"/>
                </a:cubicBezTo>
                <a:cubicBezTo>
                  <a:pt x="1269" y="75"/>
                  <a:pt x="1269" y="75"/>
                  <a:pt x="1269" y="75"/>
                </a:cubicBezTo>
                <a:cubicBezTo>
                  <a:pt x="1270" y="76"/>
                  <a:pt x="1270" y="76"/>
                  <a:pt x="1270" y="76"/>
                </a:cubicBezTo>
                <a:cubicBezTo>
                  <a:pt x="1270" y="77"/>
                  <a:pt x="1270" y="77"/>
                  <a:pt x="1270" y="77"/>
                </a:cubicBezTo>
                <a:cubicBezTo>
                  <a:pt x="1270" y="78"/>
                  <a:pt x="1270" y="78"/>
                  <a:pt x="1270" y="78"/>
                </a:cubicBezTo>
                <a:cubicBezTo>
                  <a:pt x="1271" y="77"/>
                  <a:pt x="1271" y="77"/>
                  <a:pt x="1271" y="77"/>
                </a:cubicBezTo>
                <a:cubicBezTo>
                  <a:pt x="1271" y="76"/>
                  <a:pt x="1271" y="76"/>
                  <a:pt x="1271" y="76"/>
                </a:cubicBezTo>
                <a:cubicBezTo>
                  <a:pt x="1271" y="74"/>
                  <a:pt x="1271" y="74"/>
                  <a:pt x="1271" y="74"/>
                </a:cubicBezTo>
                <a:cubicBezTo>
                  <a:pt x="1272" y="74"/>
                  <a:pt x="1272" y="74"/>
                  <a:pt x="1272" y="74"/>
                </a:cubicBezTo>
                <a:cubicBezTo>
                  <a:pt x="1272" y="75"/>
                  <a:pt x="1272" y="75"/>
                  <a:pt x="1272" y="75"/>
                </a:cubicBezTo>
                <a:cubicBezTo>
                  <a:pt x="1273" y="76"/>
                  <a:pt x="1273" y="76"/>
                  <a:pt x="1273" y="76"/>
                </a:cubicBezTo>
                <a:cubicBezTo>
                  <a:pt x="1274" y="76"/>
                  <a:pt x="1274" y="76"/>
                  <a:pt x="1274" y="76"/>
                </a:cubicBezTo>
                <a:cubicBezTo>
                  <a:pt x="1275" y="75"/>
                  <a:pt x="1275" y="75"/>
                  <a:pt x="1275" y="75"/>
                </a:cubicBezTo>
                <a:cubicBezTo>
                  <a:pt x="1275" y="74"/>
                  <a:pt x="1275" y="74"/>
                  <a:pt x="1275" y="74"/>
                </a:cubicBezTo>
                <a:cubicBezTo>
                  <a:pt x="1275" y="73"/>
                  <a:pt x="1275" y="73"/>
                  <a:pt x="1275" y="73"/>
                </a:cubicBezTo>
                <a:cubicBezTo>
                  <a:pt x="1276" y="73"/>
                  <a:pt x="1276" y="73"/>
                  <a:pt x="1276" y="73"/>
                </a:cubicBezTo>
                <a:cubicBezTo>
                  <a:pt x="1276" y="71"/>
                  <a:pt x="1276" y="71"/>
                  <a:pt x="1276" y="71"/>
                </a:cubicBezTo>
                <a:cubicBezTo>
                  <a:pt x="1276" y="70"/>
                  <a:pt x="1276" y="70"/>
                  <a:pt x="1276" y="70"/>
                </a:cubicBezTo>
                <a:cubicBezTo>
                  <a:pt x="1277" y="69"/>
                  <a:pt x="1277" y="69"/>
                  <a:pt x="1277" y="69"/>
                </a:cubicBezTo>
                <a:cubicBezTo>
                  <a:pt x="1277" y="70"/>
                  <a:pt x="1277" y="70"/>
                  <a:pt x="1277" y="70"/>
                </a:cubicBezTo>
                <a:cubicBezTo>
                  <a:pt x="1278" y="71"/>
                  <a:pt x="1278" y="71"/>
                  <a:pt x="1278" y="71"/>
                </a:cubicBezTo>
                <a:cubicBezTo>
                  <a:pt x="1280" y="70"/>
                  <a:pt x="1280" y="70"/>
                  <a:pt x="1280" y="70"/>
                </a:cubicBezTo>
                <a:cubicBezTo>
                  <a:pt x="1280" y="69"/>
                  <a:pt x="1280" y="69"/>
                  <a:pt x="1280" y="69"/>
                </a:cubicBezTo>
                <a:cubicBezTo>
                  <a:pt x="1282" y="69"/>
                  <a:pt x="1282" y="69"/>
                  <a:pt x="1282" y="69"/>
                </a:cubicBezTo>
                <a:cubicBezTo>
                  <a:pt x="1283" y="69"/>
                  <a:pt x="1283" y="69"/>
                  <a:pt x="1283" y="69"/>
                </a:cubicBezTo>
                <a:cubicBezTo>
                  <a:pt x="1284" y="68"/>
                  <a:pt x="1284" y="68"/>
                  <a:pt x="1284" y="68"/>
                </a:cubicBezTo>
                <a:cubicBezTo>
                  <a:pt x="1286" y="69"/>
                  <a:pt x="1286" y="69"/>
                  <a:pt x="1286" y="69"/>
                </a:cubicBezTo>
                <a:cubicBezTo>
                  <a:pt x="1287" y="70"/>
                  <a:pt x="1287" y="70"/>
                  <a:pt x="1287" y="70"/>
                </a:cubicBezTo>
                <a:cubicBezTo>
                  <a:pt x="1289" y="70"/>
                  <a:pt x="1289" y="70"/>
                  <a:pt x="1289" y="70"/>
                </a:cubicBezTo>
                <a:cubicBezTo>
                  <a:pt x="1290" y="70"/>
                  <a:pt x="1290" y="70"/>
                  <a:pt x="1290" y="70"/>
                </a:cubicBezTo>
                <a:cubicBezTo>
                  <a:pt x="1291" y="71"/>
                  <a:pt x="1291" y="71"/>
                  <a:pt x="1291" y="71"/>
                </a:cubicBezTo>
                <a:cubicBezTo>
                  <a:pt x="1292" y="72"/>
                  <a:pt x="1292" y="72"/>
                  <a:pt x="1292" y="72"/>
                </a:cubicBezTo>
                <a:cubicBezTo>
                  <a:pt x="1293" y="72"/>
                  <a:pt x="1293" y="72"/>
                  <a:pt x="1293" y="72"/>
                </a:cubicBezTo>
                <a:cubicBezTo>
                  <a:pt x="1294" y="72"/>
                  <a:pt x="1294" y="72"/>
                  <a:pt x="1294" y="72"/>
                </a:cubicBezTo>
                <a:cubicBezTo>
                  <a:pt x="1294" y="73"/>
                  <a:pt x="1294" y="73"/>
                  <a:pt x="1294" y="73"/>
                </a:cubicBezTo>
                <a:cubicBezTo>
                  <a:pt x="1295" y="74"/>
                  <a:pt x="1295" y="74"/>
                  <a:pt x="1295" y="74"/>
                </a:cubicBezTo>
                <a:cubicBezTo>
                  <a:pt x="1296" y="75"/>
                  <a:pt x="1296" y="75"/>
                  <a:pt x="1296" y="75"/>
                </a:cubicBezTo>
                <a:cubicBezTo>
                  <a:pt x="1297" y="76"/>
                  <a:pt x="1297" y="76"/>
                  <a:pt x="1297" y="76"/>
                </a:cubicBezTo>
                <a:cubicBezTo>
                  <a:pt x="1298" y="77"/>
                  <a:pt x="1298" y="77"/>
                  <a:pt x="1298" y="77"/>
                </a:cubicBezTo>
                <a:cubicBezTo>
                  <a:pt x="1298" y="79"/>
                  <a:pt x="1298" y="79"/>
                  <a:pt x="1298" y="79"/>
                </a:cubicBezTo>
                <a:cubicBezTo>
                  <a:pt x="1298" y="80"/>
                  <a:pt x="1298" y="80"/>
                  <a:pt x="1298" y="80"/>
                </a:cubicBezTo>
                <a:cubicBezTo>
                  <a:pt x="1298" y="81"/>
                  <a:pt x="1298" y="81"/>
                  <a:pt x="1298" y="81"/>
                </a:cubicBezTo>
                <a:cubicBezTo>
                  <a:pt x="1296" y="81"/>
                  <a:pt x="1296" y="81"/>
                  <a:pt x="1296" y="81"/>
                </a:cubicBezTo>
                <a:cubicBezTo>
                  <a:pt x="1295" y="82"/>
                  <a:pt x="1295" y="82"/>
                  <a:pt x="1295" y="82"/>
                </a:cubicBezTo>
                <a:cubicBezTo>
                  <a:pt x="1295" y="83"/>
                  <a:pt x="1295" y="83"/>
                  <a:pt x="1295" y="83"/>
                </a:cubicBezTo>
                <a:cubicBezTo>
                  <a:pt x="1294" y="83"/>
                  <a:pt x="1294" y="83"/>
                  <a:pt x="1294" y="83"/>
                </a:cubicBezTo>
                <a:cubicBezTo>
                  <a:pt x="1293" y="84"/>
                  <a:pt x="1293" y="84"/>
                  <a:pt x="1293" y="84"/>
                </a:cubicBezTo>
                <a:cubicBezTo>
                  <a:pt x="1292" y="86"/>
                  <a:pt x="1292" y="86"/>
                  <a:pt x="1292" y="86"/>
                </a:cubicBezTo>
                <a:cubicBezTo>
                  <a:pt x="1291" y="87"/>
                  <a:pt x="1291" y="87"/>
                  <a:pt x="1291" y="87"/>
                </a:cubicBezTo>
                <a:cubicBezTo>
                  <a:pt x="1290" y="86"/>
                  <a:pt x="1290" y="86"/>
                  <a:pt x="1290" y="86"/>
                </a:cubicBezTo>
                <a:cubicBezTo>
                  <a:pt x="1288" y="85"/>
                  <a:pt x="1288" y="85"/>
                  <a:pt x="1288" y="85"/>
                </a:cubicBezTo>
                <a:cubicBezTo>
                  <a:pt x="1287" y="86"/>
                  <a:pt x="1287" y="86"/>
                  <a:pt x="1287" y="86"/>
                </a:cubicBezTo>
                <a:cubicBezTo>
                  <a:pt x="1286" y="87"/>
                  <a:pt x="1286" y="87"/>
                  <a:pt x="1286" y="87"/>
                </a:cubicBezTo>
                <a:cubicBezTo>
                  <a:pt x="1286" y="88"/>
                  <a:pt x="1286" y="88"/>
                  <a:pt x="1286" y="88"/>
                </a:cubicBezTo>
                <a:cubicBezTo>
                  <a:pt x="1286" y="89"/>
                  <a:pt x="1286" y="89"/>
                  <a:pt x="1286" y="89"/>
                </a:cubicBezTo>
                <a:cubicBezTo>
                  <a:pt x="1287" y="90"/>
                  <a:pt x="1287" y="90"/>
                  <a:pt x="1287" y="90"/>
                </a:cubicBezTo>
                <a:cubicBezTo>
                  <a:pt x="1288" y="90"/>
                  <a:pt x="1288" y="90"/>
                  <a:pt x="1288" y="90"/>
                </a:cubicBezTo>
                <a:cubicBezTo>
                  <a:pt x="1288" y="91"/>
                  <a:pt x="1288" y="91"/>
                  <a:pt x="1288" y="91"/>
                </a:cubicBezTo>
                <a:cubicBezTo>
                  <a:pt x="1287" y="91"/>
                  <a:pt x="1287" y="91"/>
                  <a:pt x="1287" y="91"/>
                </a:cubicBezTo>
                <a:cubicBezTo>
                  <a:pt x="1286" y="91"/>
                  <a:pt x="1286" y="91"/>
                  <a:pt x="1286" y="91"/>
                </a:cubicBezTo>
                <a:cubicBezTo>
                  <a:pt x="1284" y="92"/>
                  <a:pt x="1284" y="92"/>
                  <a:pt x="1284" y="92"/>
                </a:cubicBezTo>
                <a:cubicBezTo>
                  <a:pt x="1282" y="93"/>
                  <a:pt x="1282" y="93"/>
                  <a:pt x="1282" y="93"/>
                </a:cubicBezTo>
                <a:cubicBezTo>
                  <a:pt x="1281" y="93"/>
                  <a:pt x="1281" y="93"/>
                  <a:pt x="1281" y="93"/>
                </a:cubicBezTo>
                <a:cubicBezTo>
                  <a:pt x="1280" y="93"/>
                  <a:pt x="1280" y="93"/>
                  <a:pt x="1280" y="93"/>
                </a:cubicBezTo>
                <a:cubicBezTo>
                  <a:pt x="1279" y="92"/>
                  <a:pt x="1279" y="92"/>
                  <a:pt x="1279" y="92"/>
                </a:cubicBezTo>
                <a:cubicBezTo>
                  <a:pt x="1278" y="92"/>
                  <a:pt x="1278" y="92"/>
                  <a:pt x="1278" y="92"/>
                </a:cubicBezTo>
                <a:cubicBezTo>
                  <a:pt x="1277" y="92"/>
                  <a:pt x="1277" y="92"/>
                  <a:pt x="1277" y="92"/>
                </a:cubicBezTo>
                <a:cubicBezTo>
                  <a:pt x="1276" y="92"/>
                  <a:pt x="1276" y="92"/>
                  <a:pt x="1276" y="92"/>
                </a:cubicBezTo>
                <a:cubicBezTo>
                  <a:pt x="1275" y="92"/>
                  <a:pt x="1275" y="92"/>
                  <a:pt x="1275" y="92"/>
                </a:cubicBezTo>
                <a:cubicBezTo>
                  <a:pt x="1274" y="92"/>
                  <a:pt x="1274" y="92"/>
                  <a:pt x="1274" y="92"/>
                </a:cubicBezTo>
                <a:cubicBezTo>
                  <a:pt x="1273" y="93"/>
                  <a:pt x="1273" y="93"/>
                  <a:pt x="1273" y="93"/>
                </a:cubicBezTo>
                <a:cubicBezTo>
                  <a:pt x="1272" y="93"/>
                  <a:pt x="1272" y="93"/>
                  <a:pt x="1272" y="93"/>
                </a:cubicBezTo>
                <a:cubicBezTo>
                  <a:pt x="1271" y="93"/>
                  <a:pt x="1271" y="93"/>
                  <a:pt x="1271" y="93"/>
                </a:cubicBezTo>
                <a:cubicBezTo>
                  <a:pt x="1271" y="94"/>
                  <a:pt x="1271" y="94"/>
                  <a:pt x="1271" y="94"/>
                </a:cubicBezTo>
                <a:cubicBezTo>
                  <a:pt x="1269" y="93"/>
                  <a:pt x="1269" y="93"/>
                  <a:pt x="1269" y="93"/>
                </a:cubicBezTo>
                <a:cubicBezTo>
                  <a:pt x="1268" y="93"/>
                  <a:pt x="1268" y="93"/>
                  <a:pt x="1268" y="93"/>
                </a:cubicBezTo>
                <a:cubicBezTo>
                  <a:pt x="1267" y="93"/>
                  <a:pt x="1267" y="93"/>
                  <a:pt x="1267" y="93"/>
                </a:cubicBezTo>
                <a:cubicBezTo>
                  <a:pt x="1266" y="94"/>
                  <a:pt x="1266" y="94"/>
                  <a:pt x="1266" y="94"/>
                </a:cubicBezTo>
                <a:cubicBezTo>
                  <a:pt x="1268" y="94"/>
                  <a:pt x="1268" y="94"/>
                  <a:pt x="1268" y="94"/>
                </a:cubicBezTo>
                <a:cubicBezTo>
                  <a:pt x="1269" y="94"/>
                  <a:pt x="1269" y="94"/>
                  <a:pt x="1269" y="94"/>
                </a:cubicBezTo>
                <a:cubicBezTo>
                  <a:pt x="1270" y="94"/>
                  <a:pt x="1270" y="94"/>
                  <a:pt x="1270" y="94"/>
                </a:cubicBezTo>
                <a:cubicBezTo>
                  <a:pt x="1271" y="94"/>
                  <a:pt x="1271" y="94"/>
                  <a:pt x="1271" y="94"/>
                </a:cubicBezTo>
                <a:cubicBezTo>
                  <a:pt x="1273" y="95"/>
                  <a:pt x="1273" y="95"/>
                  <a:pt x="1273" y="95"/>
                </a:cubicBezTo>
                <a:cubicBezTo>
                  <a:pt x="1275" y="95"/>
                  <a:pt x="1275" y="95"/>
                  <a:pt x="1275" y="95"/>
                </a:cubicBezTo>
                <a:cubicBezTo>
                  <a:pt x="1276" y="95"/>
                  <a:pt x="1276" y="95"/>
                  <a:pt x="1276" y="95"/>
                </a:cubicBezTo>
                <a:cubicBezTo>
                  <a:pt x="1277" y="95"/>
                  <a:pt x="1277" y="95"/>
                  <a:pt x="1277" y="95"/>
                </a:cubicBezTo>
                <a:cubicBezTo>
                  <a:pt x="1278" y="95"/>
                  <a:pt x="1278" y="95"/>
                  <a:pt x="1278" y="95"/>
                </a:cubicBezTo>
                <a:cubicBezTo>
                  <a:pt x="1279" y="95"/>
                  <a:pt x="1279" y="95"/>
                  <a:pt x="1279" y="95"/>
                </a:cubicBezTo>
                <a:cubicBezTo>
                  <a:pt x="1280" y="96"/>
                  <a:pt x="1280" y="96"/>
                  <a:pt x="1280" y="96"/>
                </a:cubicBezTo>
                <a:cubicBezTo>
                  <a:pt x="1281" y="97"/>
                  <a:pt x="1281" y="97"/>
                  <a:pt x="1281" y="97"/>
                </a:cubicBezTo>
                <a:cubicBezTo>
                  <a:pt x="1280" y="98"/>
                  <a:pt x="1280" y="98"/>
                  <a:pt x="1280" y="98"/>
                </a:cubicBezTo>
                <a:cubicBezTo>
                  <a:pt x="1279" y="99"/>
                  <a:pt x="1279" y="99"/>
                  <a:pt x="1279" y="99"/>
                </a:cubicBezTo>
                <a:cubicBezTo>
                  <a:pt x="1279" y="100"/>
                  <a:pt x="1279" y="100"/>
                  <a:pt x="1279" y="100"/>
                </a:cubicBezTo>
                <a:cubicBezTo>
                  <a:pt x="1278" y="101"/>
                  <a:pt x="1278" y="101"/>
                  <a:pt x="1278" y="101"/>
                </a:cubicBezTo>
                <a:cubicBezTo>
                  <a:pt x="1275" y="101"/>
                  <a:pt x="1275" y="101"/>
                  <a:pt x="1275" y="101"/>
                </a:cubicBezTo>
                <a:cubicBezTo>
                  <a:pt x="1274" y="101"/>
                  <a:pt x="1274" y="101"/>
                  <a:pt x="1274" y="101"/>
                </a:cubicBezTo>
                <a:cubicBezTo>
                  <a:pt x="1273" y="101"/>
                  <a:pt x="1273" y="101"/>
                  <a:pt x="1273" y="101"/>
                </a:cubicBezTo>
                <a:cubicBezTo>
                  <a:pt x="1271" y="101"/>
                  <a:pt x="1271" y="101"/>
                  <a:pt x="1271" y="101"/>
                </a:cubicBezTo>
                <a:cubicBezTo>
                  <a:pt x="1270" y="101"/>
                  <a:pt x="1270" y="101"/>
                  <a:pt x="1270" y="101"/>
                </a:cubicBezTo>
                <a:cubicBezTo>
                  <a:pt x="1268" y="99"/>
                  <a:pt x="1268" y="99"/>
                  <a:pt x="1268" y="99"/>
                </a:cubicBezTo>
                <a:cubicBezTo>
                  <a:pt x="1267" y="99"/>
                  <a:pt x="1267" y="99"/>
                  <a:pt x="1267" y="99"/>
                </a:cubicBezTo>
                <a:cubicBezTo>
                  <a:pt x="1266" y="99"/>
                  <a:pt x="1266" y="99"/>
                  <a:pt x="1266" y="99"/>
                </a:cubicBezTo>
                <a:cubicBezTo>
                  <a:pt x="1265" y="99"/>
                  <a:pt x="1265" y="99"/>
                  <a:pt x="1265" y="99"/>
                </a:cubicBezTo>
                <a:cubicBezTo>
                  <a:pt x="1264" y="99"/>
                  <a:pt x="1264" y="99"/>
                  <a:pt x="1264" y="99"/>
                </a:cubicBezTo>
                <a:cubicBezTo>
                  <a:pt x="1264" y="101"/>
                  <a:pt x="1264" y="101"/>
                  <a:pt x="1264" y="101"/>
                </a:cubicBezTo>
                <a:cubicBezTo>
                  <a:pt x="1262" y="102"/>
                  <a:pt x="1262" y="102"/>
                  <a:pt x="1262" y="102"/>
                </a:cubicBezTo>
                <a:cubicBezTo>
                  <a:pt x="1261" y="103"/>
                  <a:pt x="1261" y="103"/>
                  <a:pt x="1261" y="103"/>
                </a:cubicBezTo>
                <a:cubicBezTo>
                  <a:pt x="1262" y="103"/>
                  <a:pt x="1262" y="103"/>
                  <a:pt x="1262" y="103"/>
                </a:cubicBezTo>
                <a:cubicBezTo>
                  <a:pt x="1263" y="104"/>
                  <a:pt x="1263" y="104"/>
                  <a:pt x="1263" y="104"/>
                </a:cubicBezTo>
                <a:cubicBezTo>
                  <a:pt x="1263" y="105"/>
                  <a:pt x="1263" y="105"/>
                  <a:pt x="1263" y="105"/>
                </a:cubicBezTo>
                <a:cubicBezTo>
                  <a:pt x="1262" y="105"/>
                  <a:pt x="1262" y="105"/>
                  <a:pt x="1262" y="105"/>
                </a:cubicBezTo>
                <a:cubicBezTo>
                  <a:pt x="1261" y="105"/>
                  <a:pt x="1261" y="105"/>
                  <a:pt x="1261" y="105"/>
                </a:cubicBezTo>
                <a:cubicBezTo>
                  <a:pt x="1261" y="106"/>
                  <a:pt x="1261" y="106"/>
                  <a:pt x="1261" y="106"/>
                </a:cubicBezTo>
                <a:cubicBezTo>
                  <a:pt x="1262" y="106"/>
                  <a:pt x="1262" y="106"/>
                  <a:pt x="1262" y="106"/>
                </a:cubicBezTo>
                <a:cubicBezTo>
                  <a:pt x="1263" y="107"/>
                  <a:pt x="1263" y="107"/>
                  <a:pt x="1263" y="107"/>
                </a:cubicBezTo>
                <a:cubicBezTo>
                  <a:pt x="1264" y="106"/>
                  <a:pt x="1264" y="106"/>
                  <a:pt x="1264" y="106"/>
                </a:cubicBezTo>
                <a:cubicBezTo>
                  <a:pt x="1265" y="105"/>
                  <a:pt x="1265" y="105"/>
                  <a:pt x="1265" y="105"/>
                </a:cubicBezTo>
                <a:cubicBezTo>
                  <a:pt x="1266" y="104"/>
                  <a:pt x="1266" y="104"/>
                  <a:pt x="1266" y="104"/>
                </a:cubicBezTo>
                <a:cubicBezTo>
                  <a:pt x="1268" y="103"/>
                  <a:pt x="1268" y="103"/>
                  <a:pt x="1268" y="103"/>
                </a:cubicBezTo>
                <a:cubicBezTo>
                  <a:pt x="1269" y="103"/>
                  <a:pt x="1269" y="103"/>
                  <a:pt x="1269" y="103"/>
                </a:cubicBezTo>
                <a:cubicBezTo>
                  <a:pt x="1271" y="102"/>
                  <a:pt x="1271" y="102"/>
                  <a:pt x="1271" y="102"/>
                </a:cubicBezTo>
                <a:cubicBezTo>
                  <a:pt x="1272" y="102"/>
                  <a:pt x="1272" y="102"/>
                  <a:pt x="1272" y="102"/>
                </a:cubicBezTo>
                <a:cubicBezTo>
                  <a:pt x="1272" y="103"/>
                  <a:pt x="1272" y="103"/>
                  <a:pt x="1272" y="103"/>
                </a:cubicBezTo>
                <a:cubicBezTo>
                  <a:pt x="1273" y="103"/>
                  <a:pt x="1273" y="103"/>
                  <a:pt x="1273" y="103"/>
                </a:cubicBezTo>
                <a:cubicBezTo>
                  <a:pt x="1274" y="104"/>
                  <a:pt x="1274" y="104"/>
                  <a:pt x="1274" y="104"/>
                </a:cubicBezTo>
                <a:cubicBezTo>
                  <a:pt x="1275" y="104"/>
                  <a:pt x="1275" y="104"/>
                  <a:pt x="1275" y="104"/>
                </a:cubicBezTo>
                <a:cubicBezTo>
                  <a:pt x="1275" y="105"/>
                  <a:pt x="1275" y="105"/>
                  <a:pt x="1275" y="105"/>
                </a:cubicBezTo>
                <a:cubicBezTo>
                  <a:pt x="1273" y="106"/>
                  <a:pt x="1273" y="106"/>
                  <a:pt x="1273" y="106"/>
                </a:cubicBezTo>
                <a:cubicBezTo>
                  <a:pt x="1273" y="108"/>
                  <a:pt x="1273" y="108"/>
                  <a:pt x="1273" y="108"/>
                </a:cubicBezTo>
                <a:cubicBezTo>
                  <a:pt x="1272" y="109"/>
                  <a:pt x="1272" y="109"/>
                  <a:pt x="1272" y="109"/>
                </a:cubicBezTo>
                <a:cubicBezTo>
                  <a:pt x="1271" y="110"/>
                  <a:pt x="1271" y="110"/>
                  <a:pt x="1271" y="110"/>
                </a:cubicBezTo>
                <a:cubicBezTo>
                  <a:pt x="1270" y="111"/>
                  <a:pt x="1270" y="111"/>
                  <a:pt x="1270" y="111"/>
                </a:cubicBezTo>
                <a:cubicBezTo>
                  <a:pt x="1269" y="113"/>
                  <a:pt x="1269" y="113"/>
                  <a:pt x="1269" y="113"/>
                </a:cubicBezTo>
                <a:cubicBezTo>
                  <a:pt x="1267" y="116"/>
                  <a:pt x="1267" y="116"/>
                  <a:pt x="1267" y="116"/>
                </a:cubicBezTo>
                <a:cubicBezTo>
                  <a:pt x="1266" y="117"/>
                  <a:pt x="1266" y="117"/>
                  <a:pt x="1266" y="117"/>
                </a:cubicBezTo>
                <a:cubicBezTo>
                  <a:pt x="1265" y="118"/>
                  <a:pt x="1265" y="118"/>
                  <a:pt x="1265" y="118"/>
                </a:cubicBezTo>
                <a:cubicBezTo>
                  <a:pt x="1265" y="119"/>
                  <a:pt x="1265" y="119"/>
                  <a:pt x="1265" y="119"/>
                </a:cubicBezTo>
                <a:cubicBezTo>
                  <a:pt x="1265" y="121"/>
                  <a:pt x="1265" y="121"/>
                  <a:pt x="1265" y="121"/>
                </a:cubicBezTo>
                <a:cubicBezTo>
                  <a:pt x="1264" y="121"/>
                  <a:pt x="1264" y="121"/>
                  <a:pt x="1264" y="121"/>
                </a:cubicBezTo>
                <a:cubicBezTo>
                  <a:pt x="1264" y="122"/>
                  <a:pt x="1264" y="122"/>
                  <a:pt x="1264" y="122"/>
                </a:cubicBezTo>
                <a:cubicBezTo>
                  <a:pt x="1264" y="124"/>
                  <a:pt x="1264" y="124"/>
                  <a:pt x="1264" y="124"/>
                </a:cubicBezTo>
                <a:cubicBezTo>
                  <a:pt x="1263" y="126"/>
                  <a:pt x="1263" y="126"/>
                  <a:pt x="1263" y="126"/>
                </a:cubicBezTo>
                <a:cubicBezTo>
                  <a:pt x="1262" y="128"/>
                  <a:pt x="1262" y="128"/>
                  <a:pt x="1262" y="128"/>
                </a:cubicBezTo>
                <a:cubicBezTo>
                  <a:pt x="1263" y="129"/>
                  <a:pt x="1263" y="129"/>
                  <a:pt x="1263" y="129"/>
                </a:cubicBezTo>
                <a:cubicBezTo>
                  <a:pt x="1263" y="130"/>
                  <a:pt x="1263" y="130"/>
                  <a:pt x="1263" y="130"/>
                </a:cubicBezTo>
                <a:cubicBezTo>
                  <a:pt x="1263" y="132"/>
                  <a:pt x="1263" y="132"/>
                  <a:pt x="1263" y="132"/>
                </a:cubicBezTo>
                <a:cubicBezTo>
                  <a:pt x="1262" y="132"/>
                  <a:pt x="1262" y="132"/>
                  <a:pt x="1262" y="132"/>
                </a:cubicBezTo>
                <a:cubicBezTo>
                  <a:pt x="1261" y="133"/>
                  <a:pt x="1261" y="133"/>
                  <a:pt x="1261" y="133"/>
                </a:cubicBezTo>
                <a:cubicBezTo>
                  <a:pt x="1262" y="135"/>
                  <a:pt x="1262" y="135"/>
                  <a:pt x="1262" y="135"/>
                </a:cubicBezTo>
                <a:cubicBezTo>
                  <a:pt x="1261" y="135"/>
                  <a:pt x="1261" y="135"/>
                  <a:pt x="1261" y="135"/>
                </a:cubicBezTo>
                <a:cubicBezTo>
                  <a:pt x="1261" y="136"/>
                  <a:pt x="1261" y="136"/>
                  <a:pt x="1261" y="136"/>
                </a:cubicBezTo>
                <a:cubicBezTo>
                  <a:pt x="1260" y="138"/>
                  <a:pt x="1260" y="138"/>
                  <a:pt x="1260" y="138"/>
                </a:cubicBezTo>
                <a:cubicBezTo>
                  <a:pt x="1260" y="139"/>
                  <a:pt x="1260" y="139"/>
                  <a:pt x="1260" y="139"/>
                </a:cubicBezTo>
                <a:cubicBezTo>
                  <a:pt x="1259" y="140"/>
                  <a:pt x="1259" y="140"/>
                  <a:pt x="1259" y="140"/>
                </a:cubicBezTo>
                <a:cubicBezTo>
                  <a:pt x="1258" y="140"/>
                  <a:pt x="1258" y="140"/>
                  <a:pt x="1258" y="140"/>
                </a:cubicBezTo>
                <a:cubicBezTo>
                  <a:pt x="1258" y="139"/>
                  <a:pt x="1258" y="139"/>
                  <a:pt x="1258" y="139"/>
                </a:cubicBezTo>
                <a:cubicBezTo>
                  <a:pt x="1258" y="138"/>
                  <a:pt x="1258" y="138"/>
                  <a:pt x="1258" y="138"/>
                </a:cubicBezTo>
                <a:cubicBezTo>
                  <a:pt x="1257" y="138"/>
                  <a:pt x="1257" y="138"/>
                  <a:pt x="1257" y="138"/>
                </a:cubicBezTo>
                <a:cubicBezTo>
                  <a:pt x="1258" y="137"/>
                  <a:pt x="1258" y="137"/>
                  <a:pt x="1258" y="137"/>
                </a:cubicBezTo>
                <a:cubicBezTo>
                  <a:pt x="1257" y="136"/>
                  <a:pt x="1257" y="136"/>
                  <a:pt x="1257" y="136"/>
                </a:cubicBezTo>
                <a:cubicBezTo>
                  <a:pt x="1256" y="136"/>
                  <a:pt x="1256" y="136"/>
                  <a:pt x="1256" y="136"/>
                </a:cubicBezTo>
                <a:cubicBezTo>
                  <a:pt x="1256" y="137"/>
                  <a:pt x="1256" y="137"/>
                  <a:pt x="1256" y="137"/>
                </a:cubicBezTo>
                <a:cubicBezTo>
                  <a:pt x="1255" y="137"/>
                  <a:pt x="1255" y="137"/>
                  <a:pt x="1255" y="137"/>
                </a:cubicBezTo>
                <a:cubicBezTo>
                  <a:pt x="1255" y="138"/>
                  <a:pt x="1255" y="138"/>
                  <a:pt x="1255" y="138"/>
                </a:cubicBezTo>
                <a:cubicBezTo>
                  <a:pt x="1255" y="139"/>
                  <a:pt x="1255" y="139"/>
                  <a:pt x="1255" y="139"/>
                </a:cubicBezTo>
                <a:cubicBezTo>
                  <a:pt x="1254" y="139"/>
                  <a:pt x="1254" y="139"/>
                  <a:pt x="1254" y="139"/>
                </a:cubicBezTo>
                <a:cubicBezTo>
                  <a:pt x="1254" y="140"/>
                  <a:pt x="1254" y="140"/>
                  <a:pt x="1254" y="140"/>
                </a:cubicBezTo>
                <a:cubicBezTo>
                  <a:pt x="1255" y="140"/>
                  <a:pt x="1255" y="140"/>
                  <a:pt x="1255" y="140"/>
                </a:cubicBezTo>
                <a:cubicBezTo>
                  <a:pt x="1256" y="141"/>
                  <a:pt x="1256" y="141"/>
                  <a:pt x="1256" y="141"/>
                </a:cubicBezTo>
                <a:cubicBezTo>
                  <a:pt x="1257" y="142"/>
                  <a:pt x="1257" y="142"/>
                  <a:pt x="1257" y="142"/>
                </a:cubicBezTo>
                <a:cubicBezTo>
                  <a:pt x="1258" y="144"/>
                  <a:pt x="1258" y="144"/>
                  <a:pt x="1258" y="144"/>
                </a:cubicBezTo>
                <a:cubicBezTo>
                  <a:pt x="1259" y="144"/>
                  <a:pt x="1259" y="144"/>
                  <a:pt x="1259" y="144"/>
                </a:cubicBezTo>
                <a:cubicBezTo>
                  <a:pt x="1260" y="145"/>
                  <a:pt x="1260" y="145"/>
                  <a:pt x="1260" y="145"/>
                </a:cubicBezTo>
                <a:cubicBezTo>
                  <a:pt x="1261" y="146"/>
                  <a:pt x="1261" y="146"/>
                  <a:pt x="1261" y="146"/>
                </a:cubicBezTo>
                <a:cubicBezTo>
                  <a:pt x="1262" y="147"/>
                  <a:pt x="1262" y="147"/>
                  <a:pt x="1262" y="147"/>
                </a:cubicBezTo>
                <a:cubicBezTo>
                  <a:pt x="1261" y="148"/>
                  <a:pt x="1261" y="148"/>
                  <a:pt x="1261" y="148"/>
                </a:cubicBezTo>
                <a:cubicBezTo>
                  <a:pt x="1260" y="148"/>
                  <a:pt x="1260" y="148"/>
                  <a:pt x="1260" y="148"/>
                </a:cubicBezTo>
                <a:cubicBezTo>
                  <a:pt x="1259" y="148"/>
                  <a:pt x="1259" y="148"/>
                  <a:pt x="1259" y="148"/>
                </a:cubicBezTo>
                <a:cubicBezTo>
                  <a:pt x="1258" y="146"/>
                  <a:pt x="1258" y="146"/>
                  <a:pt x="1258" y="146"/>
                </a:cubicBezTo>
                <a:cubicBezTo>
                  <a:pt x="1257" y="145"/>
                  <a:pt x="1257" y="145"/>
                  <a:pt x="1257" y="145"/>
                </a:cubicBezTo>
                <a:cubicBezTo>
                  <a:pt x="1256" y="145"/>
                  <a:pt x="1256" y="145"/>
                  <a:pt x="1256" y="145"/>
                </a:cubicBezTo>
                <a:cubicBezTo>
                  <a:pt x="1256" y="146"/>
                  <a:pt x="1256" y="146"/>
                  <a:pt x="1256" y="146"/>
                </a:cubicBezTo>
                <a:cubicBezTo>
                  <a:pt x="1257" y="147"/>
                  <a:pt x="1257" y="147"/>
                  <a:pt x="1257" y="147"/>
                </a:cubicBezTo>
                <a:cubicBezTo>
                  <a:pt x="1257" y="148"/>
                  <a:pt x="1257" y="148"/>
                  <a:pt x="1257" y="148"/>
                </a:cubicBezTo>
                <a:cubicBezTo>
                  <a:pt x="1256" y="148"/>
                  <a:pt x="1256" y="148"/>
                  <a:pt x="1256" y="148"/>
                </a:cubicBezTo>
                <a:cubicBezTo>
                  <a:pt x="1256" y="149"/>
                  <a:pt x="1256" y="149"/>
                  <a:pt x="1256" y="149"/>
                </a:cubicBezTo>
                <a:cubicBezTo>
                  <a:pt x="1257" y="149"/>
                  <a:pt x="1257" y="149"/>
                  <a:pt x="1257" y="149"/>
                </a:cubicBezTo>
                <a:cubicBezTo>
                  <a:pt x="1256" y="150"/>
                  <a:pt x="1256" y="150"/>
                  <a:pt x="1256" y="150"/>
                </a:cubicBezTo>
                <a:cubicBezTo>
                  <a:pt x="1257" y="150"/>
                  <a:pt x="1257" y="150"/>
                  <a:pt x="1257" y="150"/>
                </a:cubicBezTo>
                <a:cubicBezTo>
                  <a:pt x="1259" y="150"/>
                  <a:pt x="1259" y="150"/>
                  <a:pt x="1259" y="150"/>
                </a:cubicBezTo>
                <a:cubicBezTo>
                  <a:pt x="1259" y="151"/>
                  <a:pt x="1259" y="151"/>
                  <a:pt x="1259" y="151"/>
                </a:cubicBezTo>
                <a:cubicBezTo>
                  <a:pt x="1259" y="152"/>
                  <a:pt x="1259" y="152"/>
                  <a:pt x="1259" y="152"/>
                </a:cubicBezTo>
                <a:cubicBezTo>
                  <a:pt x="1259" y="153"/>
                  <a:pt x="1259" y="153"/>
                  <a:pt x="1259" y="153"/>
                </a:cubicBezTo>
                <a:cubicBezTo>
                  <a:pt x="1260" y="152"/>
                  <a:pt x="1260" y="152"/>
                  <a:pt x="1260" y="152"/>
                </a:cubicBezTo>
                <a:cubicBezTo>
                  <a:pt x="1261" y="151"/>
                  <a:pt x="1261" y="151"/>
                  <a:pt x="1261" y="151"/>
                </a:cubicBezTo>
                <a:cubicBezTo>
                  <a:pt x="1262" y="150"/>
                  <a:pt x="1262" y="150"/>
                  <a:pt x="1262" y="150"/>
                </a:cubicBezTo>
                <a:cubicBezTo>
                  <a:pt x="1262" y="151"/>
                  <a:pt x="1262" y="151"/>
                  <a:pt x="1262" y="151"/>
                </a:cubicBezTo>
                <a:cubicBezTo>
                  <a:pt x="1263" y="151"/>
                  <a:pt x="1263" y="151"/>
                  <a:pt x="1263" y="151"/>
                </a:cubicBezTo>
                <a:cubicBezTo>
                  <a:pt x="1264" y="152"/>
                  <a:pt x="1264" y="152"/>
                  <a:pt x="1264" y="152"/>
                </a:cubicBezTo>
                <a:cubicBezTo>
                  <a:pt x="1265" y="152"/>
                  <a:pt x="1265" y="152"/>
                  <a:pt x="1265" y="152"/>
                </a:cubicBezTo>
                <a:cubicBezTo>
                  <a:pt x="1265" y="153"/>
                  <a:pt x="1265" y="153"/>
                  <a:pt x="1265" y="153"/>
                </a:cubicBezTo>
                <a:cubicBezTo>
                  <a:pt x="1265" y="154"/>
                  <a:pt x="1265" y="154"/>
                  <a:pt x="1265" y="154"/>
                </a:cubicBezTo>
                <a:cubicBezTo>
                  <a:pt x="1264" y="155"/>
                  <a:pt x="1264" y="155"/>
                  <a:pt x="1264" y="155"/>
                </a:cubicBezTo>
                <a:cubicBezTo>
                  <a:pt x="1264" y="156"/>
                  <a:pt x="1264" y="156"/>
                  <a:pt x="1264" y="156"/>
                </a:cubicBezTo>
                <a:cubicBezTo>
                  <a:pt x="1264" y="158"/>
                  <a:pt x="1264" y="158"/>
                  <a:pt x="1264" y="158"/>
                </a:cubicBezTo>
                <a:cubicBezTo>
                  <a:pt x="1264" y="160"/>
                  <a:pt x="1264" y="160"/>
                  <a:pt x="1264" y="160"/>
                </a:cubicBezTo>
                <a:cubicBezTo>
                  <a:pt x="1263" y="161"/>
                  <a:pt x="1263" y="161"/>
                  <a:pt x="1263" y="161"/>
                </a:cubicBezTo>
                <a:cubicBezTo>
                  <a:pt x="1263" y="162"/>
                  <a:pt x="1263" y="162"/>
                  <a:pt x="1263" y="162"/>
                </a:cubicBezTo>
                <a:cubicBezTo>
                  <a:pt x="1262" y="162"/>
                  <a:pt x="1262" y="162"/>
                  <a:pt x="1262" y="162"/>
                </a:cubicBezTo>
                <a:cubicBezTo>
                  <a:pt x="1262" y="161"/>
                  <a:pt x="1262" y="161"/>
                  <a:pt x="1262" y="161"/>
                </a:cubicBezTo>
                <a:cubicBezTo>
                  <a:pt x="1260" y="161"/>
                  <a:pt x="1260" y="161"/>
                  <a:pt x="1260" y="161"/>
                </a:cubicBezTo>
                <a:cubicBezTo>
                  <a:pt x="1260" y="160"/>
                  <a:pt x="1260" y="160"/>
                  <a:pt x="1260" y="160"/>
                </a:cubicBezTo>
                <a:cubicBezTo>
                  <a:pt x="1259" y="160"/>
                  <a:pt x="1259" y="160"/>
                  <a:pt x="1259" y="160"/>
                </a:cubicBezTo>
                <a:cubicBezTo>
                  <a:pt x="1258" y="160"/>
                  <a:pt x="1258" y="160"/>
                  <a:pt x="1258" y="160"/>
                </a:cubicBezTo>
                <a:cubicBezTo>
                  <a:pt x="1258" y="159"/>
                  <a:pt x="1258" y="159"/>
                  <a:pt x="1258" y="159"/>
                </a:cubicBezTo>
                <a:cubicBezTo>
                  <a:pt x="1258" y="158"/>
                  <a:pt x="1258" y="158"/>
                  <a:pt x="1258" y="158"/>
                </a:cubicBezTo>
                <a:cubicBezTo>
                  <a:pt x="1257" y="158"/>
                  <a:pt x="1257" y="158"/>
                  <a:pt x="1257" y="158"/>
                </a:cubicBezTo>
                <a:cubicBezTo>
                  <a:pt x="1257" y="157"/>
                  <a:pt x="1257" y="157"/>
                  <a:pt x="1257" y="157"/>
                </a:cubicBezTo>
                <a:cubicBezTo>
                  <a:pt x="1256" y="158"/>
                  <a:pt x="1256" y="158"/>
                  <a:pt x="1256" y="158"/>
                </a:cubicBezTo>
                <a:cubicBezTo>
                  <a:pt x="1256" y="157"/>
                  <a:pt x="1256" y="157"/>
                  <a:pt x="1256" y="157"/>
                </a:cubicBezTo>
                <a:cubicBezTo>
                  <a:pt x="1255" y="157"/>
                  <a:pt x="1255" y="157"/>
                  <a:pt x="1255" y="157"/>
                </a:cubicBezTo>
                <a:cubicBezTo>
                  <a:pt x="1254" y="156"/>
                  <a:pt x="1254" y="156"/>
                  <a:pt x="1254" y="156"/>
                </a:cubicBezTo>
                <a:cubicBezTo>
                  <a:pt x="1253" y="157"/>
                  <a:pt x="1253" y="157"/>
                  <a:pt x="1253" y="157"/>
                </a:cubicBezTo>
                <a:cubicBezTo>
                  <a:pt x="1253" y="158"/>
                  <a:pt x="1253" y="158"/>
                  <a:pt x="1253" y="158"/>
                </a:cubicBezTo>
                <a:cubicBezTo>
                  <a:pt x="1252" y="158"/>
                  <a:pt x="1252" y="158"/>
                  <a:pt x="1252" y="158"/>
                </a:cubicBezTo>
                <a:cubicBezTo>
                  <a:pt x="1251" y="157"/>
                  <a:pt x="1251" y="157"/>
                  <a:pt x="1251" y="157"/>
                </a:cubicBezTo>
                <a:cubicBezTo>
                  <a:pt x="1250" y="158"/>
                  <a:pt x="1250" y="158"/>
                  <a:pt x="1250" y="158"/>
                </a:cubicBezTo>
                <a:cubicBezTo>
                  <a:pt x="1251" y="158"/>
                  <a:pt x="1251" y="158"/>
                  <a:pt x="1251" y="158"/>
                </a:cubicBezTo>
                <a:cubicBezTo>
                  <a:pt x="1252" y="158"/>
                  <a:pt x="1252" y="158"/>
                  <a:pt x="1252" y="158"/>
                </a:cubicBezTo>
                <a:cubicBezTo>
                  <a:pt x="1253" y="159"/>
                  <a:pt x="1253" y="159"/>
                  <a:pt x="1253" y="159"/>
                </a:cubicBezTo>
                <a:cubicBezTo>
                  <a:pt x="1252" y="159"/>
                  <a:pt x="1252" y="159"/>
                  <a:pt x="1252" y="159"/>
                </a:cubicBezTo>
                <a:cubicBezTo>
                  <a:pt x="1250" y="161"/>
                  <a:pt x="1250" y="161"/>
                  <a:pt x="1250" y="161"/>
                </a:cubicBezTo>
                <a:cubicBezTo>
                  <a:pt x="1249" y="161"/>
                  <a:pt x="1249" y="161"/>
                  <a:pt x="1249" y="161"/>
                </a:cubicBezTo>
                <a:cubicBezTo>
                  <a:pt x="1248" y="161"/>
                  <a:pt x="1248" y="161"/>
                  <a:pt x="1248" y="161"/>
                </a:cubicBezTo>
                <a:cubicBezTo>
                  <a:pt x="1248" y="160"/>
                  <a:pt x="1248" y="160"/>
                  <a:pt x="1248" y="160"/>
                </a:cubicBezTo>
                <a:cubicBezTo>
                  <a:pt x="1247" y="160"/>
                  <a:pt x="1247" y="160"/>
                  <a:pt x="1247" y="160"/>
                </a:cubicBezTo>
                <a:cubicBezTo>
                  <a:pt x="1247" y="161"/>
                  <a:pt x="1247" y="161"/>
                  <a:pt x="1247" y="161"/>
                </a:cubicBezTo>
                <a:cubicBezTo>
                  <a:pt x="1248" y="161"/>
                  <a:pt x="1248" y="161"/>
                  <a:pt x="1248" y="161"/>
                </a:cubicBezTo>
                <a:cubicBezTo>
                  <a:pt x="1247" y="162"/>
                  <a:pt x="1247" y="162"/>
                  <a:pt x="1247" y="162"/>
                </a:cubicBezTo>
                <a:cubicBezTo>
                  <a:pt x="1247" y="163"/>
                  <a:pt x="1247" y="163"/>
                  <a:pt x="1247" y="163"/>
                </a:cubicBezTo>
                <a:cubicBezTo>
                  <a:pt x="1248" y="163"/>
                  <a:pt x="1248" y="163"/>
                  <a:pt x="1248" y="163"/>
                </a:cubicBezTo>
                <a:cubicBezTo>
                  <a:pt x="1247" y="164"/>
                  <a:pt x="1247" y="164"/>
                  <a:pt x="1247" y="164"/>
                </a:cubicBezTo>
                <a:cubicBezTo>
                  <a:pt x="1248" y="164"/>
                  <a:pt x="1248" y="164"/>
                  <a:pt x="1248" y="164"/>
                </a:cubicBezTo>
                <a:cubicBezTo>
                  <a:pt x="1248" y="165"/>
                  <a:pt x="1248" y="165"/>
                  <a:pt x="1248" y="165"/>
                </a:cubicBezTo>
                <a:cubicBezTo>
                  <a:pt x="1247" y="165"/>
                  <a:pt x="1247" y="165"/>
                  <a:pt x="1247" y="165"/>
                </a:cubicBezTo>
                <a:cubicBezTo>
                  <a:pt x="1246" y="165"/>
                  <a:pt x="1246" y="165"/>
                  <a:pt x="1246" y="165"/>
                </a:cubicBezTo>
                <a:cubicBezTo>
                  <a:pt x="1245" y="165"/>
                  <a:pt x="1245" y="165"/>
                  <a:pt x="1245" y="165"/>
                </a:cubicBezTo>
                <a:cubicBezTo>
                  <a:pt x="1246" y="166"/>
                  <a:pt x="1246" y="166"/>
                  <a:pt x="1246" y="166"/>
                </a:cubicBezTo>
                <a:cubicBezTo>
                  <a:pt x="1248" y="166"/>
                  <a:pt x="1248" y="166"/>
                  <a:pt x="1248" y="166"/>
                </a:cubicBezTo>
                <a:cubicBezTo>
                  <a:pt x="1248" y="167"/>
                  <a:pt x="1248" y="167"/>
                  <a:pt x="1248" y="167"/>
                </a:cubicBezTo>
                <a:cubicBezTo>
                  <a:pt x="1248" y="168"/>
                  <a:pt x="1248" y="168"/>
                  <a:pt x="1248" y="168"/>
                </a:cubicBezTo>
                <a:cubicBezTo>
                  <a:pt x="1249" y="168"/>
                  <a:pt x="1249" y="168"/>
                  <a:pt x="1249" y="168"/>
                </a:cubicBezTo>
                <a:cubicBezTo>
                  <a:pt x="1250" y="167"/>
                  <a:pt x="1250" y="167"/>
                  <a:pt x="1250" y="167"/>
                </a:cubicBezTo>
                <a:cubicBezTo>
                  <a:pt x="1251" y="168"/>
                  <a:pt x="1251" y="168"/>
                  <a:pt x="1251" y="168"/>
                </a:cubicBezTo>
                <a:cubicBezTo>
                  <a:pt x="1252" y="168"/>
                  <a:pt x="1252" y="168"/>
                  <a:pt x="1252" y="168"/>
                </a:cubicBezTo>
                <a:cubicBezTo>
                  <a:pt x="1253" y="168"/>
                  <a:pt x="1253" y="168"/>
                  <a:pt x="1253" y="168"/>
                </a:cubicBezTo>
                <a:cubicBezTo>
                  <a:pt x="1254" y="169"/>
                  <a:pt x="1254" y="169"/>
                  <a:pt x="1254" y="169"/>
                </a:cubicBezTo>
                <a:cubicBezTo>
                  <a:pt x="1255" y="168"/>
                  <a:pt x="1255" y="168"/>
                  <a:pt x="1255" y="168"/>
                </a:cubicBezTo>
                <a:cubicBezTo>
                  <a:pt x="1256" y="168"/>
                  <a:pt x="1256" y="168"/>
                  <a:pt x="1256" y="168"/>
                </a:cubicBezTo>
                <a:cubicBezTo>
                  <a:pt x="1256" y="169"/>
                  <a:pt x="1256" y="169"/>
                  <a:pt x="1256" y="169"/>
                </a:cubicBezTo>
                <a:cubicBezTo>
                  <a:pt x="1256" y="170"/>
                  <a:pt x="1256" y="170"/>
                  <a:pt x="1256" y="170"/>
                </a:cubicBezTo>
                <a:cubicBezTo>
                  <a:pt x="1256" y="171"/>
                  <a:pt x="1256" y="171"/>
                  <a:pt x="1256" y="171"/>
                </a:cubicBezTo>
                <a:cubicBezTo>
                  <a:pt x="1255" y="171"/>
                  <a:pt x="1255" y="171"/>
                  <a:pt x="1255" y="171"/>
                </a:cubicBezTo>
                <a:cubicBezTo>
                  <a:pt x="1254" y="171"/>
                  <a:pt x="1254" y="171"/>
                  <a:pt x="1254" y="171"/>
                </a:cubicBezTo>
                <a:cubicBezTo>
                  <a:pt x="1253" y="171"/>
                  <a:pt x="1253" y="171"/>
                  <a:pt x="1253" y="171"/>
                </a:cubicBezTo>
                <a:cubicBezTo>
                  <a:pt x="1252" y="171"/>
                  <a:pt x="1252" y="171"/>
                  <a:pt x="1252" y="171"/>
                </a:cubicBezTo>
                <a:cubicBezTo>
                  <a:pt x="1250" y="171"/>
                  <a:pt x="1250" y="171"/>
                  <a:pt x="1250" y="171"/>
                </a:cubicBezTo>
                <a:cubicBezTo>
                  <a:pt x="1249" y="171"/>
                  <a:pt x="1249" y="171"/>
                  <a:pt x="1249" y="171"/>
                </a:cubicBezTo>
                <a:cubicBezTo>
                  <a:pt x="1248" y="171"/>
                  <a:pt x="1248" y="171"/>
                  <a:pt x="1248" y="171"/>
                </a:cubicBezTo>
                <a:cubicBezTo>
                  <a:pt x="1247" y="171"/>
                  <a:pt x="1247" y="171"/>
                  <a:pt x="1247" y="171"/>
                </a:cubicBezTo>
                <a:cubicBezTo>
                  <a:pt x="1248" y="172"/>
                  <a:pt x="1248" y="172"/>
                  <a:pt x="1248" y="172"/>
                </a:cubicBezTo>
                <a:cubicBezTo>
                  <a:pt x="1249" y="172"/>
                  <a:pt x="1249" y="172"/>
                  <a:pt x="1249" y="172"/>
                </a:cubicBezTo>
                <a:cubicBezTo>
                  <a:pt x="1250" y="172"/>
                  <a:pt x="1250" y="172"/>
                  <a:pt x="1250" y="172"/>
                </a:cubicBezTo>
                <a:cubicBezTo>
                  <a:pt x="1252" y="172"/>
                  <a:pt x="1252" y="172"/>
                  <a:pt x="1252" y="172"/>
                </a:cubicBezTo>
                <a:cubicBezTo>
                  <a:pt x="1253" y="173"/>
                  <a:pt x="1253" y="173"/>
                  <a:pt x="1253" y="173"/>
                </a:cubicBezTo>
                <a:cubicBezTo>
                  <a:pt x="1254" y="173"/>
                  <a:pt x="1254" y="173"/>
                  <a:pt x="1254" y="173"/>
                </a:cubicBezTo>
                <a:cubicBezTo>
                  <a:pt x="1255" y="173"/>
                  <a:pt x="1255" y="173"/>
                  <a:pt x="1255" y="173"/>
                </a:cubicBezTo>
                <a:cubicBezTo>
                  <a:pt x="1255" y="174"/>
                  <a:pt x="1255" y="174"/>
                  <a:pt x="1255" y="174"/>
                </a:cubicBezTo>
                <a:cubicBezTo>
                  <a:pt x="1256" y="175"/>
                  <a:pt x="1256" y="175"/>
                  <a:pt x="1256" y="175"/>
                </a:cubicBezTo>
                <a:cubicBezTo>
                  <a:pt x="1257" y="176"/>
                  <a:pt x="1257" y="176"/>
                  <a:pt x="1257" y="176"/>
                </a:cubicBezTo>
                <a:cubicBezTo>
                  <a:pt x="1257" y="177"/>
                  <a:pt x="1257" y="177"/>
                  <a:pt x="1257" y="177"/>
                </a:cubicBezTo>
                <a:cubicBezTo>
                  <a:pt x="1256" y="176"/>
                  <a:pt x="1256" y="176"/>
                  <a:pt x="1256" y="176"/>
                </a:cubicBezTo>
                <a:cubicBezTo>
                  <a:pt x="1256" y="177"/>
                  <a:pt x="1256" y="177"/>
                  <a:pt x="1256" y="177"/>
                </a:cubicBezTo>
                <a:cubicBezTo>
                  <a:pt x="1255" y="177"/>
                  <a:pt x="1255" y="177"/>
                  <a:pt x="1255" y="177"/>
                </a:cubicBezTo>
                <a:cubicBezTo>
                  <a:pt x="1256" y="178"/>
                  <a:pt x="1256" y="178"/>
                  <a:pt x="1256" y="178"/>
                </a:cubicBezTo>
                <a:cubicBezTo>
                  <a:pt x="1256" y="180"/>
                  <a:pt x="1256" y="180"/>
                  <a:pt x="1256" y="180"/>
                </a:cubicBezTo>
                <a:cubicBezTo>
                  <a:pt x="1256" y="181"/>
                  <a:pt x="1256" y="181"/>
                  <a:pt x="1256" y="181"/>
                </a:cubicBezTo>
                <a:cubicBezTo>
                  <a:pt x="1256" y="182"/>
                  <a:pt x="1256" y="182"/>
                  <a:pt x="1256" y="182"/>
                </a:cubicBezTo>
                <a:cubicBezTo>
                  <a:pt x="1256" y="183"/>
                  <a:pt x="1256" y="183"/>
                  <a:pt x="1256" y="183"/>
                </a:cubicBezTo>
                <a:cubicBezTo>
                  <a:pt x="1255" y="185"/>
                  <a:pt x="1255" y="185"/>
                  <a:pt x="1255" y="185"/>
                </a:cubicBezTo>
                <a:cubicBezTo>
                  <a:pt x="1254" y="185"/>
                  <a:pt x="1254" y="185"/>
                  <a:pt x="1254" y="185"/>
                </a:cubicBezTo>
                <a:cubicBezTo>
                  <a:pt x="1253" y="185"/>
                  <a:pt x="1253" y="185"/>
                  <a:pt x="1253" y="185"/>
                </a:cubicBezTo>
                <a:cubicBezTo>
                  <a:pt x="1252" y="184"/>
                  <a:pt x="1252" y="184"/>
                  <a:pt x="1252" y="184"/>
                </a:cubicBezTo>
                <a:cubicBezTo>
                  <a:pt x="1253" y="183"/>
                  <a:pt x="1253" y="183"/>
                  <a:pt x="1253" y="183"/>
                </a:cubicBezTo>
                <a:cubicBezTo>
                  <a:pt x="1252" y="183"/>
                  <a:pt x="1252" y="183"/>
                  <a:pt x="1252" y="183"/>
                </a:cubicBezTo>
                <a:cubicBezTo>
                  <a:pt x="1251" y="183"/>
                  <a:pt x="1251" y="183"/>
                  <a:pt x="1251" y="183"/>
                </a:cubicBezTo>
                <a:cubicBezTo>
                  <a:pt x="1250" y="181"/>
                  <a:pt x="1250" y="181"/>
                  <a:pt x="1250" y="181"/>
                </a:cubicBezTo>
                <a:cubicBezTo>
                  <a:pt x="1249" y="180"/>
                  <a:pt x="1249" y="180"/>
                  <a:pt x="1249" y="180"/>
                </a:cubicBezTo>
                <a:cubicBezTo>
                  <a:pt x="1247" y="179"/>
                  <a:pt x="1247" y="179"/>
                  <a:pt x="1247" y="179"/>
                </a:cubicBezTo>
                <a:cubicBezTo>
                  <a:pt x="1247" y="178"/>
                  <a:pt x="1247" y="178"/>
                  <a:pt x="1247" y="178"/>
                </a:cubicBezTo>
                <a:cubicBezTo>
                  <a:pt x="1247" y="177"/>
                  <a:pt x="1247" y="177"/>
                  <a:pt x="1247" y="177"/>
                </a:cubicBezTo>
                <a:cubicBezTo>
                  <a:pt x="1246" y="176"/>
                  <a:pt x="1246" y="176"/>
                  <a:pt x="1246" y="176"/>
                </a:cubicBezTo>
                <a:cubicBezTo>
                  <a:pt x="1245" y="176"/>
                  <a:pt x="1245" y="176"/>
                  <a:pt x="1245" y="176"/>
                </a:cubicBezTo>
                <a:cubicBezTo>
                  <a:pt x="1246" y="178"/>
                  <a:pt x="1246" y="178"/>
                  <a:pt x="1246" y="178"/>
                </a:cubicBezTo>
                <a:cubicBezTo>
                  <a:pt x="1246" y="179"/>
                  <a:pt x="1246" y="179"/>
                  <a:pt x="1246" y="179"/>
                </a:cubicBezTo>
                <a:cubicBezTo>
                  <a:pt x="1244" y="179"/>
                  <a:pt x="1244" y="179"/>
                  <a:pt x="1244" y="179"/>
                </a:cubicBezTo>
                <a:cubicBezTo>
                  <a:pt x="1244" y="178"/>
                  <a:pt x="1244" y="178"/>
                  <a:pt x="1244" y="178"/>
                </a:cubicBezTo>
                <a:cubicBezTo>
                  <a:pt x="1243" y="177"/>
                  <a:pt x="1243" y="177"/>
                  <a:pt x="1243" y="177"/>
                </a:cubicBezTo>
                <a:cubicBezTo>
                  <a:pt x="1242" y="176"/>
                  <a:pt x="1242" y="176"/>
                  <a:pt x="1242" y="176"/>
                </a:cubicBezTo>
                <a:cubicBezTo>
                  <a:pt x="1242" y="177"/>
                  <a:pt x="1242" y="177"/>
                  <a:pt x="1242" y="177"/>
                </a:cubicBezTo>
                <a:cubicBezTo>
                  <a:pt x="1242" y="178"/>
                  <a:pt x="1242" y="178"/>
                  <a:pt x="1242" y="178"/>
                </a:cubicBezTo>
                <a:cubicBezTo>
                  <a:pt x="1243" y="179"/>
                  <a:pt x="1243" y="179"/>
                  <a:pt x="1243" y="179"/>
                </a:cubicBezTo>
                <a:cubicBezTo>
                  <a:pt x="1245" y="180"/>
                  <a:pt x="1245" y="180"/>
                  <a:pt x="1245" y="180"/>
                </a:cubicBezTo>
                <a:cubicBezTo>
                  <a:pt x="1247" y="180"/>
                  <a:pt x="1247" y="180"/>
                  <a:pt x="1247" y="180"/>
                </a:cubicBezTo>
                <a:cubicBezTo>
                  <a:pt x="1249" y="181"/>
                  <a:pt x="1249" y="181"/>
                  <a:pt x="1249" y="181"/>
                </a:cubicBezTo>
                <a:cubicBezTo>
                  <a:pt x="1251" y="183"/>
                  <a:pt x="1251" y="183"/>
                  <a:pt x="1251" y="183"/>
                </a:cubicBezTo>
                <a:cubicBezTo>
                  <a:pt x="1251" y="184"/>
                  <a:pt x="1251" y="184"/>
                  <a:pt x="1251" y="184"/>
                </a:cubicBezTo>
                <a:cubicBezTo>
                  <a:pt x="1251" y="185"/>
                  <a:pt x="1251" y="185"/>
                  <a:pt x="1251" y="185"/>
                </a:cubicBezTo>
                <a:cubicBezTo>
                  <a:pt x="1250" y="184"/>
                  <a:pt x="1250" y="184"/>
                  <a:pt x="1250" y="184"/>
                </a:cubicBezTo>
                <a:cubicBezTo>
                  <a:pt x="1249" y="184"/>
                  <a:pt x="1249" y="184"/>
                  <a:pt x="1249" y="184"/>
                </a:cubicBezTo>
                <a:cubicBezTo>
                  <a:pt x="1248" y="184"/>
                  <a:pt x="1248" y="184"/>
                  <a:pt x="1248" y="184"/>
                </a:cubicBezTo>
                <a:cubicBezTo>
                  <a:pt x="1246" y="186"/>
                  <a:pt x="1246" y="186"/>
                  <a:pt x="1246" y="186"/>
                </a:cubicBezTo>
                <a:cubicBezTo>
                  <a:pt x="1245" y="185"/>
                  <a:pt x="1245" y="185"/>
                  <a:pt x="1245" y="185"/>
                </a:cubicBezTo>
                <a:cubicBezTo>
                  <a:pt x="1244" y="184"/>
                  <a:pt x="1244" y="184"/>
                  <a:pt x="1244" y="184"/>
                </a:cubicBezTo>
                <a:cubicBezTo>
                  <a:pt x="1245" y="184"/>
                  <a:pt x="1245" y="184"/>
                  <a:pt x="1245" y="184"/>
                </a:cubicBezTo>
                <a:cubicBezTo>
                  <a:pt x="1244" y="183"/>
                  <a:pt x="1244" y="183"/>
                  <a:pt x="1244" y="183"/>
                </a:cubicBezTo>
                <a:cubicBezTo>
                  <a:pt x="1244" y="184"/>
                  <a:pt x="1244" y="184"/>
                  <a:pt x="1244" y="184"/>
                </a:cubicBezTo>
                <a:cubicBezTo>
                  <a:pt x="1244" y="185"/>
                  <a:pt x="1244" y="185"/>
                  <a:pt x="1244" y="185"/>
                </a:cubicBezTo>
                <a:cubicBezTo>
                  <a:pt x="1245" y="186"/>
                  <a:pt x="1245" y="186"/>
                  <a:pt x="1245" y="186"/>
                </a:cubicBezTo>
                <a:cubicBezTo>
                  <a:pt x="1246" y="186"/>
                  <a:pt x="1246" y="186"/>
                  <a:pt x="1246" y="186"/>
                </a:cubicBezTo>
                <a:cubicBezTo>
                  <a:pt x="1247" y="186"/>
                  <a:pt x="1247" y="186"/>
                  <a:pt x="1247" y="186"/>
                </a:cubicBezTo>
                <a:cubicBezTo>
                  <a:pt x="1248" y="185"/>
                  <a:pt x="1248" y="185"/>
                  <a:pt x="1248" y="185"/>
                </a:cubicBezTo>
                <a:cubicBezTo>
                  <a:pt x="1249" y="185"/>
                  <a:pt x="1249" y="185"/>
                  <a:pt x="1249" y="185"/>
                </a:cubicBezTo>
                <a:cubicBezTo>
                  <a:pt x="1250" y="186"/>
                  <a:pt x="1250" y="186"/>
                  <a:pt x="1250" y="186"/>
                </a:cubicBezTo>
                <a:cubicBezTo>
                  <a:pt x="1250" y="187"/>
                  <a:pt x="1250" y="187"/>
                  <a:pt x="1250" y="187"/>
                </a:cubicBezTo>
                <a:cubicBezTo>
                  <a:pt x="1249" y="189"/>
                  <a:pt x="1249" y="189"/>
                  <a:pt x="1249" y="189"/>
                </a:cubicBezTo>
                <a:cubicBezTo>
                  <a:pt x="1249" y="190"/>
                  <a:pt x="1249" y="190"/>
                  <a:pt x="1249" y="190"/>
                </a:cubicBezTo>
                <a:cubicBezTo>
                  <a:pt x="1248" y="190"/>
                  <a:pt x="1248" y="190"/>
                  <a:pt x="1248" y="190"/>
                </a:cubicBezTo>
                <a:cubicBezTo>
                  <a:pt x="1249" y="191"/>
                  <a:pt x="1249" y="191"/>
                  <a:pt x="1249" y="191"/>
                </a:cubicBezTo>
                <a:cubicBezTo>
                  <a:pt x="1250" y="190"/>
                  <a:pt x="1250" y="190"/>
                  <a:pt x="1250" y="190"/>
                </a:cubicBezTo>
                <a:cubicBezTo>
                  <a:pt x="1251" y="190"/>
                  <a:pt x="1251" y="190"/>
                  <a:pt x="1251" y="190"/>
                </a:cubicBezTo>
                <a:cubicBezTo>
                  <a:pt x="1252" y="192"/>
                  <a:pt x="1252" y="192"/>
                  <a:pt x="1252" y="192"/>
                </a:cubicBezTo>
                <a:cubicBezTo>
                  <a:pt x="1253" y="192"/>
                  <a:pt x="1253" y="192"/>
                  <a:pt x="1253" y="192"/>
                </a:cubicBezTo>
                <a:cubicBezTo>
                  <a:pt x="1254" y="192"/>
                  <a:pt x="1254" y="192"/>
                  <a:pt x="1254" y="192"/>
                </a:cubicBezTo>
                <a:cubicBezTo>
                  <a:pt x="1255" y="191"/>
                  <a:pt x="1255" y="191"/>
                  <a:pt x="1255" y="191"/>
                </a:cubicBezTo>
                <a:cubicBezTo>
                  <a:pt x="1256" y="192"/>
                  <a:pt x="1256" y="192"/>
                  <a:pt x="1256" y="192"/>
                </a:cubicBezTo>
                <a:cubicBezTo>
                  <a:pt x="1255" y="193"/>
                  <a:pt x="1255" y="193"/>
                  <a:pt x="1255" y="193"/>
                </a:cubicBezTo>
                <a:cubicBezTo>
                  <a:pt x="1255" y="194"/>
                  <a:pt x="1255" y="194"/>
                  <a:pt x="1255" y="194"/>
                </a:cubicBezTo>
                <a:cubicBezTo>
                  <a:pt x="1256" y="194"/>
                  <a:pt x="1256" y="194"/>
                  <a:pt x="1256" y="194"/>
                </a:cubicBezTo>
                <a:cubicBezTo>
                  <a:pt x="1256" y="195"/>
                  <a:pt x="1256" y="195"/>
                  <a:pt x="1256" y="195"/>
                </a:cubicBezTo>
                <a:cubicBezTo>
                  <a:pt x="1254" y="197"/>
                  <a:pt x="1254" y="197"/>
                  <a:pt x="1254" y="197"/>
                </a:cubicBezTo>
                <a:cubicBezTo>
                  <a:pt x="1253" y="198"/>
                  <a:pt x="1253" y="198"/>
                  <a:pt x="1253" y="198"/>
                </a:cubicBezTo>
                <a:cubicBezTo>
                  <a:pt x="1252" y="198"/>
                  <a:pt x="1252" y="198"/>
                  <a:pt x="1252" y="198"/>
                </a:cubicBezTo>
                <a:cubicBezTo>
                  <a:pt x="1252" y="197"/>
                  <a:pt x="1252" y="197"/>
                  <a:pt x="1252" y="197"/>
                </a:cubicBezTo>
                <a:cubicBezTo>
                  <a:pt x="1252" y="196"/>
                  <a:pt x="1252" y="196"/>
                  <a:pt x="1252" y="196"/>
                </a:cubicBezTo>
                <a:cubicBezTo>
                  <a:pt x="1251" y="196"/>
                  <a:pt x="1251" y="196"/>
                  <a:pt x="1251" y="196"/>
                </a:cubicBezTo>
                <a:cubicBezTo>
                  <a:pt x="1251" y="195"/>
                  <a:pt x="1251" y="195"/>
                  <a:pt x="1251" y="195"/>
                </a:cubicBezTo>
                <a:cubicBezTo>
                  <a:pt x="1250" y="194"/>
                  <a:pt x="1250" y="194"/>
                  <a:pt x="1250" y="194"/>
                </a:cubicBezTo>
                <a:cubicBezTo>
                  <a:pt x="1249" y="193"/>
                  <a:pt x="1249" y="193"/>
                  <a:pt x="1249" y="193"/>
                </a:cubicBezTo>
                <a:cubicBezTo>
                  <a:pt x="1248" y="193"/>
                  <a:pt x="1248" y="193"/>
                  <a:pt x="1248" y="193"/>
                </a:cubicBezTo>
                <a:cubicBezTo>
                  <a:pt x="1247" y="193"/>
                  <a:pt x="1247" y="193"/>
                  <a:pt x="1247" y="193"/>
                </a:cubicBezTo>
                <a:cubicBezTo>
                  <a:pt x="1246" y="193"/>
                  <a:pt x="1246" y="193"/>
                  <a:pt x="1246" y="193"/>
                </a:cubicBezTo>
                <a:cubicBezTo>
                  <a:pt x="1245" y="193"/>
                  <a:pt x="1245" y="193"/>
                  <a:pt x="1245" y="193"/>
                </a:cubicBezTo>
                <a:cubicBezTo>
                  <a:pt x="1244" y="192"/>
                  <a:pt x="1244" y="192"/>
                  <a:pt x="1244" y="192"/>
                </a:cubicBezTo>
                <a:cubicBezTo>
                  <a:pt x="1244" y="191"/>
                  <a:pt x="1244" y="191"/>
                  <a:pt x="1244" y="191"/>
                </a:cubicBezTo>
                <a:cubicBezTo>
                  <a:pt x="1243" y="191"/>
                  <a:pt x="1243" y="191"/>
                  <a:pt x="1243" y="191"/>
                </a:cubicBezTo>
                <a:cubicBezTo>
                  <a:pt x="1243" y="192"/>
                  <a:pt x="1243" y="192"/>
                  <a:pt x="1243" y="192"/>
                </a:cubicBezTo>
                <a:cubicBezTo>
                  <a:pt x="1244" y="192"/>
                  <a:pt x="1244" y="192"/>
                  <a:pt x="1244" y="192"/>
                </a:cubicBezTo>
                <a:cubicBezTo>
                  <a:pt x="1244" y="194"/>
                  <a:pt x="1244" y="194"/>
                  <a:pt x="1244" y="194"/>
                </a:cubicBezTo>
                <a:cubicBezTo>
                  <a:pt x="1243" y="195"/>
                  <a:pt x="1243" y="195"/>
                  <a:pt x="1243" y="195"/>
                </a:cubicBezTo>
                <a:cubicBezTo>
                  <a:pt x="1242" y="195"/>
                  <a:pt x="1242" y="195"/>
                  <a:pt x="1242" y="195"/>
                </a:cubicBezTo>
                <a:cubicBezTo>
                  <a:pt x="1241" y="195"/>
                  <a:pt x="1241" y="195"/>
                  <a:pt x="1241" y="195"/>
                </a:cubicBezTo>
                <a:cubicBezTo>
                  <a:pt x="1242" y="196"/>
                  <a:pt x="1242" y="196"/>
                  <a:pt x="1242" y="196"/>
                </a:cubicBezTo>
                <a:cubicBezTo>
                  <a:pt x="1242" y="197"/>
                  <a:pt x="1242" y="197"/>
                  <a:pt x="1242" y="197"/>
                </a:cubicBezTo>
                <a:cubicBezTo>
                  <a:pt x="1241" y="198"/>
                  <a:pt x="1241" y="198"/>
                  <a:pt x="1241" y="198"/>
                </a:cubicBezTo>
                <a:cubicBezTo>
                  <a:pt x="1241" y="199"/>
                  <a:pt x="1241" y="199"/>
                  <a:pt x="1241" y="199"/>
                </a:cubicBezTo>
                <a:cubicBezTo>
                  <a:pt x="1242" y="200"/>
                  <a:pt x="1242" y="200"/>
                  <a:pt x="1242" y="200"/>
                </a:cubicBezTo>
                <a:cubicBezTo>
                  <a:pt x="1242" y="201"/>
                  <a:pt x="1242" y="201"/>
                  <a:pt x="1242" y="201"/>
                </a:cubicBezTo>
                <a:cubicBezTo>
                  <a:pt x="1243" y="201"/>
                  <a:pt x="1243" y="201"/>
                  <a:pt x="1243" y="201"/>
                </a:cubicBezTo>
                <a:cubicBezTo>
                  <a:pt x="1243" y="203"/>
                  <a:pt x="1243" y="203"/>
                  <a:pt x="1243" y="203"/>
                </a:cubicBezTo>
                <a:cubicBezTo>
                  <a:pt x="1244" y="203"/>
                  <a:pt x="1244" y="203"/>
                  <a:pt x="1244" y="203"/>
                </a:cubicBezTo>
                <a:cubicBezTo>
                  <a:pt x="1244" y="202"/>
                  <a:pt x="1244" y="202"/>
                  <a:pt x="1244" y="202"/>
                </a:cubicBezTo>
                <a:cubicBezTo>
                  <a:pt x="1243" y="201"/>
                  <a:pt x="1243" y="201"/>
                  <a:pt x="1243" y="201"/>
                </a:cubicBezTo>
                <a:cubicBezTo>
                  <a:pt x="1243" y="200"/>
                  <a:pt x="1243" y="200"/>
                  <a:pt x="1243" y="200"/>
                </a:cubicBezTo>
                <a:cubicBezTo>
                  <a:pt x="1244" y="199"/>
                  <a:pt x="1244" y="199"/>
                  <a:pt x="1244" y="199"/>
                </a:cubicBezTo>
                <a:cubicBezTo>
                  <a:pt x="1244" y="200"/>
                  <a:pt x="1244" y="200"/>
                  <a:pt x="1244" y="200"/>
                </a:cubicBezTo>
                <a:cubicBezTo>
                  <a:pt x="1245" y="201"/>
                  <a:pt x="1245" y="201"/>
                  <a:pt x="1245" y="201"/>
                </a:cubicBezTo>
                <a:cubicBezTo>
                  <a:pt x="1245" y="202"/>
                  <a:pt x="1245" y="202"/>
                  <a:pt x="1245" y="202"/>
                </a:cubicBezTo>
                <a:cubicBezTo>
                  <a:pt x="1246" y="202"/>
                  <a:pt x="1246" y="202"/>
                  <a:pt x="1246" y="202"/>
                </a:cubicBezTo>
                <a:cubicBezTo>
                  <a:pt x="1247" y="202"/>
                  <a:pt x="1247" y="202"/>
                  <a:pt x="1247" y="202"/>
                </a:cubicBezTo>
                <a:cubicBezTo>
                  <a:pt x="1248" y="202"/>
                  <a:pt x="1248" y="202"/>
                  <a:pt x="1248" y="202"/>
                </a:cubicBezTo>
                <a:cubicBezTo>
                  <a:pt x="1249" y="201"/>
                  <a:pt x="1249" y="201"/>
                  <a:pt x="1249" y="201"/>
                </a:cubicBezTo>
                <a:cubicBezTo>
                  <a:pt x="1250" y="202"/>
                  <a:pt x="1250" y="202"/>
                  <a:pt x="1250" y="202"/>
                </a:cubicBezTo>
                <a:cubicBezTo>
                  <a:pt x="1250" y="203"/>
                  <a:pt x="1250" y="203"/>
                  <a:pt x="1250" y="203"/>
                </a:cubicBezTo>
                <a:cubicBezTo>
                  <a:pt x="1249" y="204"/>
                  <a:pt x="1249" y="204"/>
                  <a:pt x="1249" y="204"/>
                </a:cubicBezTo>
                <a:cubicBezTo>
                  <a:pt x="1249" y="205"/>
                  <a:pt x="1249" y="205"/>
                  <a:pt x="1249" y="205"/>
                </a:cubicBezTo>
                <a:cubicBezTo>
                  <a:pt x="1249" y="206"/>
                  <a:pt x="1249" y="206"/>
                  <a:pt x="1249" y="206"/>
                </a:cubicBezTo>
                <a:cubicBezTo>
                  <a:pt x="1249" y="208"/>
                  <a:pt x="1249" y="208"/>
                  <a:pt x="1249" y="208"/>
                </a:cubicBezTo>
                <a:cubicBezTo>
                  <a:pt x="1248" y="208"/>
                  <a:pt x="1248" y="208"/>
                  <a:pt x="1248" y="208"/>
                </a:cubicBezTo>
                <a:cubicBezTo>
                  <a:pt x="1247" y="208"/>
                  <a:pt x="1247" y="208"/>
                  <a:pt x="1247" y="208"/>
                </a:cubicBezTo>
                <a:cubicBezTo>
                  <a:pt x="1246" y="209"/>
                  <a:pt x="1246" y="209"/>
                  <a:pt x="1246" y="209"/>
                </a:cubicBezTo>
                <a:cubicBezTo>
                  <a:pt x="1245" y="208"/>
                  <a:pt x="1245" y="208"/>
                  <a:pt x="1245" y="208"/>
                </a:cubicBezTo>
                <a:cubicBezTo>
                  <a:pt x="1244" y="208"/>
                  <a:pt x="1244" y="208"/>
                  <a:pt x="1244" y="208"/>
                </a:cubicBezTo>
                <a:cubicBezTo>
                  <a:pt x="1243" y="209"/>
                  <a:pt x="1243" y="209"/>
                  <a:pt x="1243" y="209"/>
                </a:cubicBezTo>
                <a:cubicBezTo>
                  <a:pt x="1242" y="210"/>
                  <a:pt x="1242" y="210"/>
                  <a:pt x="1242" y="210"/>
                </a:cubicBezTo>
                <a:cubicBezTo>
                  <a:pt x="1241" y="210"/>
                  <a:pt x="1241" y="210"/>
                  <a:pt x="1241" y="210"/>
                </a:cubicBezTo>
                <a:cubicBezTo>
                  <a:pt x="1240" y="211"/>
                  <a:pt x="1240" y="211"/>
                  <a:pt x="1240" y="211"/>
                </a:cubicBezTo>
                <a:cubicBezTo>
                  <a:pt x="1239" y="211"/>
                  <a:pt x="1239" y="211"/>
                  <a:pt x="1239" y="211"/>
                </a:cubicBezTo>
                <a:cubicBezTo>
                  <a:pt x="1238" y="210"/>
                  <a:pt x="1238" y="210"/>
                  <a:pt x="1238" y="210"/>
                </a:cubicBezTo>
                <a:cubicBezTo>
                  <a:pt x="1236" y="210"/>
                  <a:pt x="1236" y="210"/>
                  <a:pt x="1236" y="210"/>
                </a:cubicBezTo>
                <a:cubicBezTo>
                  <a:pt x="1235" y="208"/>
                  <a:pt x="1235" y="208"/>
                  <a:pt x="1235" y="208"/>
                </a:cubicBezTo>
                <a:cubicBezTo>
                  <a:pt x="1233" y="206"/>
                  <a:pt x="1233" y="206"/>
                  <a:pt x="1233" y="206"/>
                </a:cubicBezTo>
                <a:cubicBezTo>
                  <a:pt x="1232" y="205"/>
                  <a:pt x="1232" y="205"/>
                  <a:pt x="1232" y="205"/>
                </a:cubicBezTo>
                <a:cubicBezTo>
                  <a:pt x="1232" y="204"/>
                  <a:pt x="1232" y="204"/>
                  <a:pt x="1232" y="204"/>
                </a:cubicBezTo>
                <a:cubicBezTo>
                  <a:pt x="1233" y="204"/>
                  <a:pt x="1233" y="204"/>
                  <a:pt x="1233" y="204"/>
                </a:cubicBezTo>
                <a:cubicBezTo>
                  <a:pt x="1234" y="205"/>
                  <a:pt x="1234" y="205"/>
                  <a:pt x="1234" y="205"/>
                </a:cubicBezTo>
                <a:cubicBezTo>
                  <a:pt x="1236" y="206"/>
                  <a:pt x="1236" y="206"/>
                  <a:pt x="1236" y="206"/>
                </a:cubicBezTo>
                <a:cubicBezTo>
                  <a:pt x="1237" y="207"/>
                  <a:pt x="1237" y="207"/>
                  <a:pt x="1237" y="207"/>
                </a:cubicBezTo>
                <a:cubicBezTo>
                  <a:pt x="1238" y="207"/>
                  <a:pt x="1238" y="207"/>
                  <a:pt x="1238" y="207"/>
                </a:cubicBezTo>
                <a:cubicBezTo>
                  <a:pt x="1239" y="206"/>
                  <a:pt x="1239" y="206"/>
                  <a:pt x="1239" y="206"/>
                </a:cubicBezTo>
                <a:cubicBezTo>
                  <a:pt x="1240" y="206"/>
                  <a:pt x="1240" y="206"/>
                  <a:pt x="1240" y="206"/>
                </a:cubicBezTo>
                <a:cubicBezTo>
                  <a:pt x="1239" y="205"/>
                  <a:pt x="1239" y="205"/>
                  <a:pt x="1239" y="205"/>
                </a:cubicBezTo>
                <a:cubicBezTo>
                  <a:pt x="1238" y="206"/>
                  <a:pt x="1238" y="206"/>
                  <a:pt x="1238" y="206"/>
                </a:cubicBezTo>
                <a:cubicBezTo>
                  <a:pt x="1237" y="205"/>
                  <a:pt x="1237" y="205"/>
                  <a:pt x="1237" y="205"/>
                </a:cubicBezTo>
                <a:cubicBezTo>
                  <a:pt x="1235" y="204"/>
                  <a:pt x="1235" y="204"/>
                  <a:pt x="1235" y="204"/>
                </a:cubicBezTo>
                <a:cubicBezTo>
                  <a:pt x="1233" y="203"/>
                  <a:pt x="1233" y="203"/>
                  <a:pt x="1233" y="203"/>
                </a:cubicBezTo>
                <a:cubicBezTo>
                  <a:pt x="1232" y="203"/>
                  <a:pt x="1232" y="203"/>
                  <a:pt x="1232" y="203"/>
                </a:cubicBezTo>
                <a:cubicBezTo>
                  <a:pt x="1232" y="202"/>
                  <a:pt x="1232" y="202"/>
                  <a:pt x="1232" y="202"/>
                </a:cubicBezTo>
                <a:cubicBezTo>
                  <a:pt x="1231" y="202"/>
                  <a:pt x="1231" y="202"/>
                  <a:pt x="1231" y="202"/>
                </a:cubicBezTo>
                <a:cubicBezTo>
                  <a:pt x="1231" y="203"/>
                  <a:pt x="1231" y="203"/>
                  <a:pt x="1231" y="203"/>
                </a:cubicBezTo>
                <a:cubicBezTo>
                  <a:pt x="1230" y="205"/>
                  <a:pt x="1230" y="205"/>
                  <a:pt x="1230" y="205"/>
                </a:cubicBezTo>
                <a:cubicBezTo>
                  <a:pt x="1230" y="206"/>
                  <a:pt x="1230" y="206"/>
                  <a:pt x="1230" y="206"/>
                </a:cubicBezTo>
                <a:cubicBezTo>
                  <a:pt x="1228" y="204"/>
                  <a:pt x="1228" y="204"/>
                  <a:pt x="1228" y="204"/>
                </a:cubicBezTo>
                <a:cubicBezTo>
                  <a:pt x="1227" y="202"/>
                  <a:pt x="1227" y="202"/>
                  <a:pt x="1227" y="202"/>
                </a:cubicBezTo>
                <a:cubicBezTo>
                  <a:pt x="1226" y="201"/>
                  <a:pt x="1226" y="201"/>
                  <a:pt x="1226" y="201"/>
                </a:cubicBezTo>
                <a:cubicBezTo>
                  <a:pt x="1226" y="200"/>
                  <a:pt x="1226" y="200"/>
                  <a:pt x="1226" y="200"/>
                </a:cubicBezTo>
                <a:cubicBezTo>
                  <a:pt x="1225" y="200"/>
                  <a:pt x="1225" y="200"/>
                  <a:pt x="1225" y="200"/>
                </a:cubicBezTo>
                <a:cubicBezTo>
                  <a:pt x="1225" y="201"/>
                  <a:pt x="1225" y="201"/>
                  <a:pt x="1225" y="201"/>
                </a:cubicBezTo>
                <a:cubicBezTo>
                  <a:pt x="1226" y="202"/>
                  <a:pt x="1226" y="202"/>
                  <a:pt x="1226" y="202"/>
                </a:cubicBezTo>
                <a:cubicBezTo>
                  <a:pt x="1227" y="204"/>
                  <a:pt x="1227" y="204"/>
                  <a:pt x="1227" y="204"/>
                </a:cubicBezTo>
                <a:cubicBezTo>
                  <a:pt x="1227" y="205"/>
                  <a:pt x="1227" y="205"/>
                  <a:pt x="1227" y="205"/>
                </a:cubicBezTo>
                <a:cubicBezTo>
                  <a:pt x="1228" y="205"/>
                  <a:pt x="1228" y="205"/>
                  <a:pt x="1228" y="205"/>
                </a:cubicBezTo>
                <a:cubicBezTo>
                  <a:pt x="1229" y="206"/>
                  <a:pt x="1229" y="206"/>
                  <a:pt x="1229" y="206"/>
                </a:cubicBezTo>
                <a:cubicBezTo>
                  <a:pt x="1228" y="207"/>
                  <a:pt x="1228" y="207"/>
                  <a:pt x="1228" y="207"/>
                </a:cubicBezTo>
                <a:cubicBezTo>
                  <a:pt x="1227" y="207"/>
                  <a:pt x="1227" y="207"/>
                  <a:pt x="1227" y="207"/>
                </a:cubicBezTo>
                <a:cubicBezTo>
                  <a:pt x="1226" y="208"/>
                  <a:pt x="1226" y="208"/>
                  <a:pt x="1226" y="208"/>
                </a:cubicBezTo>
                <a:cubicBezTo>
                  <a:pt x="1225" y="209"/>
                  <a:pt x="1225" y="209"/>
                  <a:pt x="1225" y="209"/>
                </a:cubicBezTo>
                <a:cubicBezTo>
                  <a:pt x="1224" y="209"/>
                  <a:pt x="1224" y="209"/>
                  <a:pt x="1224" y="209"/>
                </a:cubicBezTo>
                <a:cubicBezTo>
                  <a:pt x="1223" y="209"/>
                  <a:pt x="1223" y="209"/>
                  <a:pt x="1223" y="209"/>
                </a:cubicBezTo>
                <a:cubicBezTo>
                  <a:pt x="1222" y="209"/>
                  <a:pt x="1222" y="209"/>
                  <a:pt x="1222" y="209"/>
                </a:cubicBezTo>
                <a:cubicBezTo>
                  <a:pt x="1221" y="209"/>
                  <a:pt x="1221" y="209"/>
                  <a:pt x="1221" y="209"/>
                </a:cubicBezTo>
                <a:cubicBezTo>
                  <a:pt x="1221" y="208"/>
                  <a:pt x="1221" y="208"/>
                  <a:pt x="1221" y="208"/>
                </a:cubicBezTo>
                <a:cubicBezTo>
                  <a:pt x="1220" y="208"/>
                  <a:pt x="1220" y="208"/>
                  <a:pt x="1220" y="208"/>
                </a:cubicBezTo>
                <a:cubicBezTo>
                  <a:pt x="1218" y="207"/>
                  <a:pt x="1218" y="207"/>
                  <a:pt x="1218" y="207"/>
                </a:cubicBezTo>
                <a:cubicBezTo>
                  <a:pt x="1218" y="206"/>
                  <a:pt x="1218" y="206"/>
                  <a:pt x="1218" y="206"/>
                </a:cubicBezTo>
                <a:cubicBezTo>
                  <a:pt x="1218" y="205"/>
                  <a:pt x="1218" y="205"/>
                  <a:pt x="1218" y="205"/>
                </a:cubicBezTo>
                <a:cubicBezTo>
                  <a:pt x="1217" y="205"/>
                  <a:pt x="1217" y="205"/>
                  <a:pt x="1217" y="205"/>
                </a:cubicBezTo>
                <a:cubicBezTo>
                  <a:pt x="1217" y="206"/>
                  <a:pt x="1217" y="206"/>
                  <a:pt x="1217" y="206"/>
                </a:cubicBezTo>
                <a:cubicBezTo>
                  <a:pt x="1217" y="207"/>
                  <a:pt x="1217" y="207"/>
                  <a:pt x="1217" y="207"/>
                </a:cubicBezTo>
                <a:cubicBezTo>
                  <a:pt x="1218" y="207"/>
                  <a:pt x="1218" y="207"/>
                  <a:pt x="1218" y="207"/>
                </a:cubicBezTo>
                <a:cubicBezTo>
                  <a:pt x="1219" y="208"/>
                  <a:pt x="1219" y="208"/>
                  <a:pt x="1219" y="208"/>
                </a:cubicBezTo>
                <a:cubicBezTo>
                  <a:pt x="1220" y="209"/>
                  <a:pt x="1220" y="209"/>
                  <a:pt x="1220" y="209"/>
                </a:cubicBezTo>
                <a:cubicBezTo>
                  <a:pt x="1220" y="210"/>
                  <a:pt x="1220" y="210"/>
                  <a:pt x="1220" y="210"/>
                </a:cubicBezTo>
                <a:cubicBezTo>
                  <a:pt x="1219" y="210"/>
                  <a:pt x="1219" y="210"/>
                  <a:pt x="1219" y="210"/>
                </a:cubicBezTo>
                <a:cubicBezTo>
                  <a:pt x="1217" y="210"/>
                  <a:pt x="1217" y="210"/>
                  <a:pt x="1217" y="210"/>
                </a:cubicBezTo>
                <a:cubicBezTo>
                  <a:pt x="1216" y="210"/>
                  <a:pt x="1216" y="210"/>
                  <a:pt x="1216" y="210"/>
                </a:cubicBezTo>
                <a:cubicBezTo>
                  <a:pt x="1215" y="210"/>
                  <a:pt x="1215" y="210"/>
                  <a:pt x="1215" y="210"/>
                </a:cubicBezTo>
                <a:cubicBezTo>
                  <a:pt x="1214" y="211"/>
                  <a:pt x="1214" y="211"/>
                  <a:pt x="1214" y="211"/>
                </a:cubicBezTo>
                <a:cubicBezTo>
                  <a:pt x="1215" y="211"/>
                  <a:pt x="1215" y="211"/>
                  <a:pt x="1215" y="211"/>
                </a:cubicBezTo>
                <a:cubicBezTo>
                  <a:pt x="1215" y="212"/>
                  <a:pt x="1215" y="212"/>
                  <a:pt x="1215" y="212"/>
                </a:cubicBezTo>
                <a:cubicBezTo>
                  <a:pt x="1216" y="212"/>
                  <a:pt x="1216" y="212"/>
                  <a:pt x="1216" y="212"/>
                </a:cubicBezTo>
                <a:cubicBezTo>
                  <a:pt x="1216" y="211"/>
                  <a:pt x="1216" y="211"/>
                  <a:pt x="1216" y="211"/>
                </a:cubicBezTo>
                <a:cubicBezTo>
                  <a:pt x="1218" y="211"/>
                  <a:pt x="1218" y="211"/>
                  <a:pt x="1218" y="211"/>
                </a:cubicBezTo>
                <a:cubicBezTo>
                  <a:pt x="1219" y="211"/>
                  <a:pt x="1219" y="212"/>
                  <a:pt x="1219" y="212"/>
                </a:cubicBezTo>
                <a:cubicBezTo>
                  <a:pt x="1220" y="211"/>
                  <a:pt x="1220" y="211"/>
                  <a:pt x="1220" y="211"/>
                </a:cubicBezTo>
                <a:cubicBezTo>
                  <a:pt x="1220" y="210"/>
                  <a:pt x="1220" y="210"/>
                  <a:pt x="1220" y="210"/>
                </a:cubicBezTo>
                <a:cubicBezTo>
                  <a:pt x="1221" y="210"/>
                  <a:pt x="1221" y="210"/>
                  <a:pt x="1221" y="210"/>
                </a:cubicBezTo>
                <a:cubicBezTo>
                  <a:pt x="1222" y="210"/>
                  <a:pt x="1222" y="210"/>
                  <a:pt x="1222" y="210"/>
                </a:cubicBezTo>
                <a:cubicBezTo>
                  <a:pt x="1223" y="210"/>
                  <a:pt x="1223" y="210"/>
                  <a:pt x="1223" y="210"/>
                </a:cubicBezTo>
                <a:cubicBezTo>
                  <a:pt x="1224" y="211"/>
                  <a:pt x="1224" y="211"/>
                  <a:pt x="1224" y="211"/>
                </a:cubicBezTo>
                <a:cubicBezTo>
                  <a:pt x="1225" y="211"/>
                  <a:pt x="1225" y="211"/>
                  <a:pt x="1225" y="211"/>
                </a:cubicBezTo>
                <a:cubicBezTo>
                  <a:pt x="1226" y="212"/>
                  <a:pt x="1226" y="212"/>
                  <a:pt x="1226" y="212"/>
                </a:cubicBezTo>
                <a:cubicBezTo>
                  <a:pt x="1227" y="212"/>
                  <a:pt x="1227" y="212"/>
                  <a:pt x="1227" y="212"/>
                </a:cubicBezTo>
                <a:cubicBezTo>
                  <a:pt x="1227" y="213"/>
                  <a:pt x="1227" y="213"/>
                  <a:pt x="1227" y="213"/>
                </a:cubicBezTo>
                <a:cubicBezTo>
                  <a:pt x="1227" y="214"/>
                  <a:pt x="1227" y="214"/>
                  <a:pt x="1227" y="214"/>
                </a:cubicBezTo>
                <a:cubicBezTo>
                  <a:pt x="1226" y="214"/>
                  <a:pt x="1226" y="214"/>
                  <a:pt x="1226" y="214"/>
                </a:cubicBezTo>
                <a:cubicBezTo>
                  <a:pt x="1226" y="215"/>
                  <a:pt x="1226" y="215"/>
                  <a:pt x="1226" y="215"/>
                </a:cubicBezTo>
                <a:cubicBezTo>
                  <a:pt x="1225" y="214"/>
                  <a:pt x="1225" y="214"/>
                  <a:pt x="1225" y="214"/>
                </a:cubicBezTo>
                <a:cubicBezTo>
                  <a:pt x="1224" y="215"/>
                  <a:pt x="1224" y="215"/>
                  <a:pt x="1224" y="215"/>
                </a:cubicBezTo>
                <a:cubicBezTo>
                  <a:pt x="1223" y="215"/>
                  <a:pt x="1223" y="215"/>
                  <a:pt x="1223" y="215"/>
                </a:cubicBezTo>
                <a:cubicBezTo>
                  <a:pt x="1222" y="216"/>
                  <a:pt x="1222" y="216"/>
                  <a:pt x="1222" y="216"/>
                </a:cubicBezTo>
                <a:cubicBezTo>
                  <a:pt x="1221" y="216"/>
                  <a:pt x="1221" y="216"/>
                  <a:pt x="1221" y="216"/>
                </a:cubicBezTo>
                <a:cubicBezTo>
                  <a:pt x="1220" y="214"/>
                  <a:pt x="1220" y="214"/>
                  <a:pt x="1220" y="214"/>
                </a:cubicBezTo>
                <a:cubicBezTo>
                  <a:pt x="1219" y="214"/>
                  <a:pt x="1219" y="214"/>
                  <a:pt x="1219" y="214"/>
                </a:cubicBezTo>
                <a:cubicBezTo>
                  <a:pt x="1218" y="215"/>
                  <a:pt x="1218" y="215"/>
                  <a:pt x="1218" y="215"/>
                </a:cubicBezTo>
                <a:cubicBezTo>
                  <a:pt x="1219" y="215"/>
                  <a:pt x="1219" y="215"/>
                  <a:pt x="1219" y="215"/>
                </a:cubicBezTo>
                <a:cubicBezTo>
                  <a:pt x="1220" y="216"/>
                  <a:pt x="1220" y="216"/>
                  <a:pt x="1220" y="216"/>
                </a:cubicBezTo>
                <a:cubicBezTo>
                  <a:pt x="1219" y="216"/>
                  <a:pt x="1219" y="216"/>
                  <a:pt x="1219" y="216"/>
                </a:cubicBezTo>
                <a:cubicBezTo>
                  <a:pt x="1218" y="216"/>
                  <a:pt x="1218" y="216"/>
                  <a:pt x="1218" y="216"/>
                </a:cubicBezTo>
                <a:cubicBezTo>
                  <a:pt x="1217" y="217"/>
                  <a:pt x="1217" y="217"/>
                  <a:pt x="1217" y="217"/>
                </a:cubicBezTo>
                <a:cubicBezTo>
                  <a:pt x="1218" y="217"/>
                  <a:pt x="1218" y="217"/>
                  <a:pt x="1218" y="217"/>
                </a:cubicBezTo>
                <a:cubicBezTo>
                  <a:pt x="1219" y="217"/>
                  <a:pt x="1219" y="217"/>
                  <a:pt x="1219" y="217"/>
                </a:cubicBezTo>
                <a:cubicBezTo>
                  <a:pt x="1220" y="217"/>
                  <a:pt x="1220" y="217"/>
                  <a:pt x="1220" y="217"/>
                </a:cubicBezTo>
                <a:cubicBezTo>
                  <a:pt x="1220" y="218"/>
                  <a:pt x="1220" y="218"/>
                  <a:pt x="1220" y="218"/>
                </a:cubicBezTo>
                <a:cubicBezTo>
                  <a:pt x="1221" y="218"/>
                  <a:pt x="1221" y="218"/>
                  <a:pt x="1221" y="218"/>
                </a:cubicBezTo>
                <a:cubicBezTo>
                  <a:pt x="1221" y="217"/>
                  <a:pt x="1221" y="217"/>
                  <a:pt x="1221" y="217"/>
                </a:cubicBezTo>
                <a:cubicBezTo>
                  <a:pt x="1222" y="217"/>
                  <a:pt x="1222" y="217"/>
                  <a:pt x="1222" y="217"/>
                </a:cubicBezTo>
                <a:cubicBezTo>
                  <a:pt x="1223" y="217"/>
                  <a:pt x="1223" y="217"/>
                  <a:pt x="1223" y="217"/>
                </a:cubicBezTo>
                <a:cubicBezTo>
                  <a:pt x="1224" y="216"/>
                  <a:pt x="1224" y="216"/>
                  <a:pt x="1224" y="216"/>
                </a:cubicBezTo>
                <a:cubicBezTo>
                  <a:pt x="1225" y="216"/>
                  <a:pt x="1225" y="216"/>
                  <a:pt x="1225" y="216"/>
                </a:cubicBezTo>
                <a:cubicBezTo>
                  <a:pt x="1226" y="217"/>
                  <a:pt x="1226" y="217"/>
                  <a:pt x="1226" y="217"/>
                </a:cubicBezTo>
                <a:cubicBezTo>
                  <a:pt x="1227" y="217"/>
                  <a:pt x="1227" y="217"/>
                  <a:pt x="1227" y="217"/>
                </a:cubicBezTo>
                <a:cubicBezTo>
                  <a:pt x="1227" y="218"/>
                  <a:pt x="1227" y="218"/>
                  <a:pt x="1227" y="218"/>
                </a:cubicBezTo>
                <a:cubicBezTo>
                  <a:pt x="1227" y="220"/>
                  <a:pt x="1227" y="220"/>
                  <a:pt x="1227" y="220"/>
                </a:cubicBezTo>
                <a:cubicBezTo>
                  <a:pt x="1226" y="221"/>
                  <a:pt x="1226" y="221"/>
                  <a:pt x="1226" y="221"/>
                </a:cubicBezTo>
                <a:cubicBezTo>
                  <a:pt x="1225" y="221"/>
                  <a:pt x="1225" y="221"/>
                  <a:pt x="1225" y="221"/>
                </a:cubicBezTo>
                <a:cubicBezTo>
                  <a:pt x="1224" y="221"/>
                  <a:pt x="1224" y="221"/>
                  <a:pt x="1224" y="221"/>
                </a:cubicBezTo>
                <a:cubicBezTo>
                  <a:pt x="1223" y="221"/>
                  <a:pt x="1223" y="221"/>
                  <a:pt x="1223" y="221"/>
                </a:cubicBezTo>
                <a:cubicBezTo>
                  <a:pt x="1224" y="222"/>
                  <a:pt x="1224" y="222"/>
                  <a:pt x="1224" y="222"/>
                </a:cubicBezTo>
                <a:cubicBezTo>
                  <a:pt x="1224" y="222"/>
                  <a:pt x="1224" y="222"/>
                  <a:pt x="1225" y="222"/>
                </a:cubicBezTo>
                <a:cubicBezTo>
                  <a:pt x="1224" y="223"/>
                  <a:pt x="1224" y="223"/>
                  <a:pt x="1224" y="223"/>
                </a:cubicBezTo>
                <a:cubicBezTo>
                  <a:pt x="1224" y="223"/>
                  <a:pt x="1224" y="223"/>
                  <a:pt x="1225" y="223"/>
                </a:cubicBezTo>
                <a:cubicBezTo>
                  <a:pt x="1225" y="223"/>
                  <a:pt x="1225" y="223"/>
                  <a:pt x="1225" y="222"/>
                </a:cubicBezTo>
                <a:cubicBezTo>
                  <a:pt x="1225" y="222"/>
                  <a:pt x="1225" y="222"/>
                  <a:pt x="1225" y="222"/>
                </a:cubicBezTo>
                <a:cubicBezTo>
                  <a:pt x="1226" y="222"/>
                  <a:pt x="1226" y="222"/>
                  <a:pt x="1226" y="222"/>
                </a:cubicBezTo>
                <a:cubicBezTo>
                  <a:pt x="1228" y="222"/>
                  <a:pt x="1228" y="222"/>
                  <a:pt x="1228" y="222"/>
                </a:cubicBezTo>
                <a:cubicBezTo>
                  <a:pt x="1229" y="222"/>
                  <a:pt x="1229" y="222"/>
                  <a:pt x="1229" y="222"/>
                </a:cubicBezTo>
                <a:cubicBezTo>
                  <a:pt x="1229" y="223"/>
                  <a:pt x="1229" y="223"/>
                  <a:pt x="1229" y="223"/>
                </a:cubicBezTo>
                <a:cubicBezTo>
                  <a:pt x="1231" y="224"/>
                  <a:pt x="1231" y="224"/>
                  <a:pt x="1231" y="224"/>
                </a:cubicBezTo>
                <a:cubicBezTo>
                  <a:pt x="1231" y="225"/>
                  <a:pt x="1231" y="225"/>
                  <a:pt x="1231" y="225"/>
                </a:cubicBezTo>
                <a:cubicBezTo>
                  <a:pt x="1232" y="225"/>
                  <a:pt x="1232" y="225"/>
                  <a:pt x="1232" y="225"/>
                </a:cubicBezTo>
                <a:cubicBezTo>
                  <a:pt x="1232" y="226"/>
                  <a:pt x="1232" y="226"/>
                  <a:pt x="1232" y="226"/>
                </a:cubicBezTo>
                <a:cubicBezTo>
                  <a:pt x="1233" y="226"/>
                  <a:pt x="1233" y="226"/>
                  <a:pt x="1233" y="226"/>
                </a:cubicBezTo>
                <a:cubicBezTo>
                  <a:pt x="1234" y="227"/>
                  <a:pt x="1234" y="227"/>
                  <a:pt x="1234" y="227"/>
                </a:cubicBezTo>
                <a:cubicBezTo>
                  <a:pt x="1235" y="228"/>
                  <a:pt x="1235" y="228"/>
                  <a:pt x="1235" y="228"/>
                </a:cubicBezTo>
                <a:cubicBezTo>
                  <a:pt x="1236" y="228"/>
                  <a:pt x="1236" y="228"/>
                  <a:pt x="1236" y="228"/>
                </a:cubicBezTo>
                <a:cubicBezTo>
                  <a:pt x="1236" y="229"/>
                  <a:pt x="1236" y="229"/>
                  <a:pt x="1236" y="229"/>
                </a:cubicBezTo>
                <a:cubicBezTo>
                  <a:pt x="1237" y="229"/>
                  <a:pt x="1237" y="229"/>
                  <a:pt x="1237" y="229"/>
                </a:cubicBezTo>
                <a:cubicBezTo>
                  <a:pt x="1237" y="230"/>
                  <a:pt x="1237" y="230"/>
                  <a:pt x="1237" y="230"/>
                </a:cubicBezTo>
                <a:cubicBezTo>
                  <a:pt x="1236" y="231"/>
                  <a:pt x="1236" y="231"/>
                  <a:pt x="1236" y="231"/>
                </a:cubicBezTo>
                <a:cubicBezTo>
                  <a:pt x="1235" y="231"/>
                  <a:pt x="1235" y="231"/>
                  <a:pt x="1235" y="231"/>
                </a:cubicBezTo>
                <a:cubicBezTo>
                  <a:pt x="1235" y="232"/>
                  <a:pt x="1235" y="232"/>
                  <a:pt x="1235" y="232"/>
                </a:cubicBezTo>
                <a:cubicBezTo>
                  <a:pt x="1236" y="231"/>
                  <a:pt x="1236" y="231"/>
                  <a:pt x="1236" y="231"/>
                </a:cubicBezTo>
                <a:cubicBezTo>
                  <a:pt x="1237" y="231"/>
                  <a:pt x="1237" y="231"/>
                  <a:pt x="1237" y="231"/>
                </a:cubicBezTo>
                <a:cubicBezTo>
                  <a:pt x="1237" y="232"/>
                  <a:pt x="1237" y="232"/>
                  <a:pt x="1237" y="232"/>
                </a:cubicBezTo>
                <a:cubicBezTo>
                  <a:pt x="1238" y="232"/>
                  <a:pt x="1238" y="232"/>
                  <a:pt x="1238" y="232"/>
                </a:cubicBezTo>
                <a:cubicBezTo>
                  <a:pt x="1239" y="232"/>
                  <a:pt x="1239" y="232"/>
                  <a:pt x="1239" y="232"/>
                </a:cubicBezTo>
                <a:cubicBezTo>
                  <a:pt x="1239" y="233"/>
                  <a:pt x="1239" y="233"/>
                  <a:pt x="1239" y="233"/>
                </a:cubicBezTo>
                <a:cubicBezTo>
                  <a:pt x="1238" y="234"/>
                  <a:pt x="1238" y="234"/>
                  <a:pt x="1238" y="234"/>
                </a:cubicBezTo>
                <a:cubicBezTo>
                  <a:pt x="1237" y="234"/>
                  <a:pt x="1237" y="234"/>
                  <a:pt x="1237" y="234"/>
                </a:cubicBezTo>
                <a:cubicBezTo>
                  <a:pt x="1237" y="235"/>
                  <a:pt x="1237" y="235"/>
                  <a:pt x="1237" y="235"/>
                </a:cubicBezTo>
                <a:cubicBezTo>
                  <a:pt x="1237" y="236"/>
                  <a:pt x="1237" y="236"/>
                  <a:pt x="1237" y="236"/>
                </a:cubicBezTo>
                <a:cubicBezTo>
                  <a:pt x="1237" y="237"/>
                  <a:pt x="1237" y="237"/>
                  <a:pt x="1237" y="237"/>
                </a:cubicBezTo>
                <a:cubicBezTo>
                  <a:pt x="1238" y="236"/>
                  <a:pt x="1238" y="236"/>
                  <a:pt x="1238" y="236"/>
                </a:cubicBezTo>
                <a:cubicBezTo>
                  <a:pt x="1239" y="235"/>
                  <a:pt x="1239" y="235"/>
                  <a:pt x="1239" y="235"/>
                </a:cubicBezTo>
                <a:cubicBezTo>
                  <a:pt x="1240" y="235"/>
                  <a:pt x="1240" y="235"/>
                  <a:pt x="1240" y="235"/>
                </a:cubicBezTo>
                <a:cubicBezTo>
                  <a:pt x="1240" y="236"/>
                  <a:pt x="1240" y="236"/>
                  <a:pt x="1240" y="236"/>
                </a:cubicBezTo>
                <a:cubicBezTo>
                  <a:pt x="1239" y="237"/>
                  <a:pt x="1239" y="237"/>
                  <a:pt x="1239" y="237"/>
                </a:cubicBezTo>
                <a:cubicBezTo>
                  <a:pt x="1239" y="238"/>
                  <a:pt x="1239" y="238"/>
                  <a:pt x="1239" y="238"/>
                </a:cubicBezTo>
                <a:cubicBezTo>
                  <a:pt x="1240" y="238"/>
                  <a:pt x="1240" y="238"/>
                  <a:pt x="1240" y="238"/>
                </a:cubicBezTo>
                <a:cubicBezTo>
                  <a:pt x="1240" y="240"/>
                  <a:pt x="1240" y="240"/>
                  <a:pt x="1240" y="240"/>
                </a:cubicBezTo>
                <a:cubicBezTo>
                  <a:pt x="1239" y="240"/>
                  <a:pt x="1239" y="240"/>
                  <a:pt x="1239" y="240"/>
                </a:cubicBezTo>
                <a:cubicBezTo>
                  <a:pt x="1238" y="240"/>
                  <a:pt x="1238" y="240"/>
                  <a:pt x="1238" y="240"/>
                </a:cubicBezTo>
                <a:cubicBezTo>
                  <a:pt x="1238" y="241"/>
                  <a:pt x="1238" y="241"/>
                  <a:pt x="1238" y="241"/>
                </a:cubicBezTo>
                <a:cubicBezTo>
                  <a:pt x="1239" y="241"/>
                  <a:pt x="1239" y="241"/>
                  <a:pt x="1239" y="241"/>
                </a:cubicBezTo>
                <a:cubicBezTo>
                  <a:pt x="1239" y="242"/>
                  <a:pt x="1239" y="242"/>
                  <a:pt x="1239" y="242"/>
                </a:cubicBezTo>
                <a:cubicBezTo>
                  <a:pt x="1239" y="243"/>
                  <a:pt x="1239" y="243"/>
                  <a:pt x="1239" y="243"/>
                </a:cubicBezTo>
                <a:cubicBezTo>
                  <a:pt x="1240" y="243"/>
                  <a:pt x="1240" y="243"/>
                  <a:pt x="1240" y="243"/>
                </a:cubicBezTo>
                <a:cubicBezTo>
                  <a:pt x="1240" y="244"/>
                  <a:pt x="1240" y="244"/>
                  <a:pt x="1240" y="244"/>
                </a:cubicBezTo>
                <a:cubicBezTo>
                  <a:pt x="1239" y="245"/>
                  <a:pt x="1239" y="245"/>
                  <a:pt x="1239" y="245"/>
                </a:cubicBezTo>
                <a:cubicBezTo>
                  <a:pt x="1239" y="246"/>
                  <a:pt x="1239" y="246"/>
                  <a:pt x="1239" y="246"/>
                </a:cubicBezTo>
                <a:cubicBezTo>
                  <a:pt x="1239" y="248"/>
                  <a:pt x="1239" y="248"/>
                  <a:pt x="1239" y="248"/>
                </a:cubicBezTo>
                <a:cubicBezTo>
                  <a:pt x="1239" y="249"/>
                  <a:pt x="1239" y="249"/>
                  <a:pt x="1239" y="249"/>
                </a:cubicBezTo>
                <a:cubicBezTo>
                  <a:pt x="1239" y="250"/>
                  <a:pt x="1239" y="250"/>
                  <a:pt x="1239" y="250"/>
                </a:cubicBezTo>
                <a:cubicBezTo>
                  <a:pt x="1238" y="250"/>
                  <a:pt x="1238" y="250"/>
                  <a:pt x="1238" y="250"/>
                </a:cubicBezTo>
                <a:cubicBezTo>
                  <a:pt x="1237" y="249"/>
                  <a:pt x="1237" y="249"/>
                  <a:pt x="1237" y="249"/>
                </a:cubicBezTo>
                <a:cubicBezTo>
                  <a:pt x="1238" y="249"/>
                  <a:pt x="1238" y="249"/>
                  <a:pt x="1238" y="249"/>
                </a:cubicBezTo>
                <a:cubicBezTo>
                  <a:pt x="1237" y="248"/>
                  <a:pt x="1237" y="248"/>
                  <a:pt x="1237" y="248"/>
                </a:cubicBezTo>
                <a:cubicBezTo>
                  <a:pt x="1236" y="248"/>
                  <a:pt x="1236" y="248"/>
                  <a:pt x="1236" y="248"/>
                </a:cubicBezTo>
                <a:cubicBezTo>
                  <a:pt x="1236" y="249"/>
                  <a:pt x="1236" y="249"/>
                  <a:pt x="1236" y="249"/>
                </a:cubicBezTo>
                <a:cubicBezTo>
                  <a:pt x="1235" y="248"/>
                  <a:pt x="1235" y="248"/>
                  <a:pt x="1235" y="248"/>
                </a:cubicBezTo>
                <a:cubicBezTo>
                  <a:pt x="1235" y="247"/>
                  <a:pt x="1235" y="247"/>
                  <a:pt x="1235" y="247"/>
                </a:cubicBezTo>
                <a:cubicBezTo>
                  <a:pt x="1236" y="246"/>
                  <a:pt x="1236" y="246"/>
                  <a:pt x="1236" y="246"/>
                </a:cubicBezTo>
                <a:cubicBezTo>
                  <a:pt x="1235" y="245"/>
                  <a:pt x="1235" y="245"/>
                  <a:pt x="1235" y="245"/>
                </a:cubicBezTo>
                <a:cubicBezTo>
                  <a:pt x="1235" y="244"/>
                  <a:pt x="1235" y="244"/>
                  <a:pt x="1235" y="244"/>
                </a:cubicBezTo>
                <a:cubicBezTo>
                  <a:pt x="1235" y="243"/>
                  <a:pt x="1235" y="243"/>
                  <a:pt x="1235" y="243"/>
                </a:cubicBezTo>
                <a:cubicBezTo>
                  <a:pt x="1234" y="244"/>
                  <a:pt x="1234" y="244"/>
                  <a:pt x="1234" y="244"/>
                </a:cubicBezTo>
                <a:cubicBezTo>
                  <a:pt x="1234" y="245"/>
                  <a:pt x="1234" y="245"/>
                  <a:pt x="1234" y="245"/>
                </a:cubicBezTo>
                <a:cubicBezTo>
                  <a:pt x="1234" y="246"/>
                  <a:pt x="1234" y="246"/>
                  <a:pt x="1234" y="246"/>
                </a:cubicBezTo>
                <a:cubicBezTo>
                  <a:pt x="1234" y="248"/>
                  <a:pt x="1234" y="248"/>
                  <a:pt x="1234" y="248"/>
                </a:cubicBezTo>
                <a:cubicBezTo>
                  <a:pt x="1234" y="249"/>
                  <a:pt x="1234" y="249"/>
                  <a:pt x="1234" y="249"/>
                </a:cubicBezTo>
                <a:cubicBezTo>
                  <a:pt x="1233" y="249"/>
                  <a:pt x="1233" y="249"/>
                  <a:pt x="1233" y="249"/>
                </a:cubicBezTo>
                <a:cubicBezTo>
                  <a:pt x="1232" y="249"/>
                  <a:pt x="1232" y="249"/>
                  <a:pt x="1232" y="249"/>
                </a:cubicBezTo>
                <a:cubicBezTo>
                  <a:pt x="1231" y="249"/>
                  <a:pt x="1231" y="249"/>
                  <a:pt x="1231" y="249"/>
                </a:cubicBezTo>
                <a:cubicBezTo>
                  <a:pt x="1229" y="248"/>
                  <a:pt x="1229" y="248"/>
                  <a:pt x="1229" y="248"/>
                </a:cubicBezTo>
                <a:cubicBezTo>
                  <a:pt x="1228" y="246"/>
                  <a:pt x="1228" y="246"/>
                  <a:pt x="1228" y="246"/>
                </a:cubicBezTo>
                <a:cubicBezTo>
                  <a:pt x="1227" y="245"/>
                  <a:pt x="1227" y="245"/>
                  <a:pt x="1227" y="245"/>
                </a:cubicBezTo>
                <a:cubicBezTo>
                  <a:pt x="1227" y="244"/>
                  <a:pt x="1227" y="244"/>
                  <a:pt x="1227" y="244"/>
                </a:cubicBezTo>
                <a:cubicBezTo>
                  <a:pt x="1227" y="242"/>
                  <a:pt x="1227" y="242"/>
                  <a:pt x="1227" y="242"/>
                </a:cubicBezTo>
                <a:cubicBezTo>
                  <a:pt x="1226" y="241"/>
                  <a:pt x="1226" y="241"/>
                  <a:pt x="1226" y="241"/>
                </a:cubicBezTo>
                <a:cubicBezTo>
                  <a:pt x="1225" y="240"/>
                  <a:pt x="1225" y="240"/>
                  <a:pt x="1225" y="240"/>
                </a:cubicBezTo>
                <a:cubicBezTo>
                  <a:pt x="1225" y="239"/>
                  <a:pt x="1225" y="239"/>
                  <a:pt x="1225" y="239"/>
                </a:cubicBezTo>
                <a:cubicBezTo>
                  <a:pt x="1225" y="238"/>
                  <a:pt x="1225" y="238"/>
                  <a:pt x="1225" y="238"/>
                </a:cubicBezTo>
                <a:cubicBezTo>
                  <a:pt x="1226" y="237"/>
                  <a:pt x="1226" y="237"/>
                  <a:pt x="1226" y="237"/>
                </a:cubicBezTo>
                <a:cubicBezTo>
                  <a:pt x="1225" y="236"/>
                  <a:pt x="1225" y="236"/>
                  <a:pt x="1225" y="236"/>
                </a:cubicBezTo>
                <a:cubicBezTo>
                  <a:pt x="1224" y="236"/>
                  <a:pt x="1224" y="236"/>
                  <a:pt x="1224" y="236"/>
                </a:cubicBezTo>
                <a:cubicBezTo>
                  <a:pt x="1223" y="237"/>
                  <a:pt x="1223" y="237"/>
                  <a:pt x="1223" y="237"/>
                </a:cubicBezTo>
                <a:cubicBezTo>
                  <a:pt x="1223" y="236"/>
                  <a:pt x="1223" y="236"/>
                  <a:pt x="1223" y="236"/>
                </a:cubicBezTo>
                <a:cubicBezTo>
                  <a:pt x="1221" y="234"/>
                  <a:pt x="1221" y="234"/>
                  <a:pt x="1221" y="234"/>
                </a:cubicBezTo>
                <a:cubicBezTo>
                  <a:pt x="1220" y="233"/>
                  <a:pt x="1220" y="233"/>
                  <a:pt x="1220" y="233"/>
                </a:cubicBezTo>
                <a:cubicBezTo>
                  <a:pt x="1220" y="232"/>
                  <a:pt x="1220" y="232"/>
                  <a:pt x="1220" y="232"/>
                </a:cubicBezTo>
                <a:cubicBezTo>
                  <a:pt x="1219" y="233"/>
                  <a:pt x="1219" y="233"/>
                  <a:pt x="1219" y="233"/>
                </a:cubicBezTo>
                <a:cubicBezTo>
                  <a:pt x="1218" y="233"/>
                  <a:pt x="1218" y="233"/>
                  <a:pt x="1218" y="233"/>
                </a:cubicBezTo>
                <a:cubicBezTo>
                  <a:pt x="1217" y="232"/>
                  <a:pt x="1217" y="232"/>
                  <a:pt x="1217" y="232"/>
                </a:cubicBezTo>
                <a:cubicBezTo>
                  <a:pt x="1217" y="233"/>
                  <a:pt x="1217" y="233"/>
                  <a:pt x="1217" y="233"/>
                </a:cubicBezTo>
                <a:cubicBezTo>
                  <a:pt x="1216" y="233"/>
                  <a:pt x="1216" y="233"/>
                  <a:pt x="1216" y="233"/>
                </a:cubicBezTo>
                <a:cubicBezTo>
                  <a:pt x="1215" y="233"/>
                  <a:pt x="1215" y="233"/>
                  <a:pt x="1215" y="233"/>
                </a:cubicBezTo>
                <a:cubicBezTo>
                  <a:pt x="1214" y="232"/>
                  <a:pt x="1214" y="232"/>
                  <a:pt x="1214" y="232"/>
                </a:cubicBezTo>
                <a:cubicBezTo>
                  <a:pt x="1214" y="231"/>
                  <a:pt x="1214" y="231"/>
                  <a:pt x="1214" y="231"/>
                </a:cubicBezTo>
                <a:cubicBezTo>
                  <a:pt x="1213" y="230"/>
                  <a:pt x="1213" y="230"/>
                  <a:pt x="1213" y="230"/>
                </a:cubicBezTo>
                <a:cubicBezTo>
                  <a:pt x="1213" y="229"/>
                  <a:pt x="1213" y="229"/>
                  <a:pt x="1213" y="229"/>
                </a:cubicBezTo>
                <a:cubicBezTo>
                  <a:pt x="1212" y="229"/>
                  <a:pt x="1212" y="229"/>
                  <a:pt x="1212" y="229"/>
                </a:cubicBezTo>
                <a:cubicBezTo>
                  <a:pt x="1212" y="227"/>
                  <a:pt x="1212" y="227"/>
                  <a:pt x="1212" y="227"/>
                </a:cubicBezTo>
                <a:cubicBezTo>
                  <a:pt x="1211" y="226"/>
                  <a:pt x="1211" y="226"/>
                  <a:pt x="1211" y="226"/>
                </a:cubicBezTo>
                <a:cubicBezTo>
                  <a:pt x="1211" y="227"/>
                  <a:pt x="1211" y="227"/>
                  <a:pt x="1211" y="227"/>
                </a:cubicBezTo>
                <a:cubicBezTo>
                  <a:pt x="1211" y="228"/>
                  <a:pt x="1211" y="228"/>
                  <a:pt x="1211" y="228"/>
                </a:cubicBezTo>
                <a:cubicBezTo>
                  <a:pt x="1211" y="229"/>
                  <a:pt x="1211" y="229"/>
                  <a:pt x="1211" y="229"/>
                </a:cubicBezTo>
                <a:cubicBezTo>
                  <a:pt x="1210" y="229"/>
                  <a:pt x="1210" y="229"/>
                  <a:pt x="1210" y="229"/>
                </a:cubicBezTo>
                <a:cubicBezTo>
                  <a:pt x="1210" y="230"/>
                  <a:pt x="1210" y="230"/>
                  <a:pt x="1210" y="230"/>
                </a:cubicBezTo>
                <a:cubicBezTo>
                  <a:pt x="1211" y="230"/>
                  <a:pt x="1211" y="230"/>
                  <a:pt x="1211" y="230"/>
                </a:cubicBezTo>
                <a:cubicBezTo>
                  <a:pt x="1212" y="231"/>
                  <a:pt x="1212" y="231"/>
                  <a:pt x="1212" y="231"/>
                </a:cubicBezTo>
                <a:cubicBezTo>
                  <a:pt x="1213" y="232"/>
                  <a:pt x="1213" y="232"/>
                  <a:pt x="1213" y="232"/>
                </a:cubicBezTo>
                <a:cubicBezTo>
                  <a:pt x="1212" y="233"/>
                  <a:pt x="1212" y="233"/>
                  <a:pt x="1212" y="233"/>
                </a:cubicBezTo>
                <a:cubicBezTo>
                  <a:pt x="1211" y="233"/>
                  <a:pt x="1211" y="233"/>
                  <a:pt x="1211" y="233"/>
                </a:cubicBezTo>
                <a:cubicBezTo>
                  <a:pt x="1210" y="234"/>
                  <a:pt x="1210" y="234"/>
                  <a:pt x="1210" y="234"/>
                </a:cubicBezTo>
                <a:cubicBezTo>
                  <a:pt x="1209" y="233"/>
                  <a:pt x="1209" y="233"/>
                  <a:pt x="1209" y="233"/>
                </a:cubicBezTo>
                <a:cubicBezTo>
                  <a:pt x="1209" y="234"/>
                  <a:pt x="1209" y="234"/>
                  <a:pt x="1209" y="234"/>
                </a:cubicBezTo>
                <a:cubicBezTo>
                  <a:pt x="1210" y="234"/>
                  <a:pt x="1210" y="234"/>
                  <a:pt x="1210" y="234"/>
                </a:cubicBezTo>
                <a:cubicBezTo>
                  <a:pt x="1211" y="234"/>
                  <a:pt x="1211" y="234"/>
                  <a:pt x="1211" y="234"/>
                </a:cubicBezTo>
                <a:cubicBezTo>
                  <a:pt x="1212" y="233"/>
                  <a:pt x="1212" y="233"/>
                  <a:pt x="1212" y="233"/>
                </a:cubicBezTo>
                <a:cubicBezTo>
                  <a:pt x="1213" y="233"/>
                  <a:pt x="1213" y="233"/>
                  <a:pt x="1213" y="233"/>
                </a:cubicBezTo>
                <a:cubicBezTo>
                  <a:pt x="1214" y="233"/>
                  <a:pt x="1214" y="233"/>
                  <a:pt x="1214" y="233"/>
                </a:cubicBezTo>
                <a:cubicBezTo>
                  <a:pt x="1214" y="234"/>
                  <a:pt x="1214" y="234"/>
                  <a:pt x="1214" y="234"/>
                </a:cubicBezTo>
                <a:cubicBezTo>
                  <a:pt x="1215" y="234"/>
                  <a:pt x="1215" y="234"/>
                  <a:pt x="1215" y="234"/>
                </a:cubicBezTo>
                <a:cubicBezTo>
                  <a:pt x="1216" y="234"/>
                  <a:pt x="1216" y="234"/>
                  <a:pt x="1216" y="234"/>
                </a:cubicBezTo>
                <a:cubicBezTo>
                  <a:pt x="1219" y="235"/>
                  <a:pt x="1219" y="235"/>
                  <a:pt x="1219" y="235"/>
                </a:cubicBezTo>
                <a:cubicBezTo>
                  <a:pt x="1220" y="235"/>
                  <a:pt x="1220" y="235"/>
                  <a:pt x="1220" y="235"/>
                </a:cubicBezTo>
                <a:cubicBezTo>
                  <a:pt x="1221" y="235"/>
                  <a:pt x="1221" y="235"/>
                  <a:pt x="1221" y="235"/>
                </a:cubicBezTo>
                <a:cubicBezTo>
                  <a:pt x="1221" y="236"/>
                  <a:pt x="1221" y="236"/>
                  <a:pt x="1221" y="236"/>
                </a:cubicBezTo>
                <a:cubicBezTo>
                  <a:pt x="1222" y="237"/>
                  <a:pt x="1222" y="237"/>
                  <a:pt x="1222" y="237"/>
                </a:cubicBezTo>
                <a:cubicBezTo>
                  <a:pt x="1221" y="238"/>
                  <a:pt x="1221" y="238"/>
                  <a:pt x="1221" y="238"/>
                </a:cubicBezTo>
                <a:cubicBezTo>
                  <a:pt x="1220" y="239"/>
                  <a:pt x="1220" y="239"/>
                  <a:pt x="1220" y="239"/>
                </a:cubicBezTo>
                <a:cubicBezTo>
                  <a:pt x="1220" y="240"/>
                  <a:pt x="1220" y="240"/>
                  <a:pt x="1220" y="240"/>
                </a:cubicBezTo>
                <a:cubicBezTo>
                  <a:pt x="1219" y="240"/>
                  <a:pt x="1219" y="240"/>
                  <a:pt x="1219" y="240"/>
                </a:cubicBezTo>
                <a:cubicBezTo>
                  <a:pt x="1218" y="240"/>
                  <a:pt x="1218" y="240"/>
                  <a:pt x="1218" y="240"/>
                </a:cubicBezTo>
                <a:cubicBezTo>
                  <a:pt x="1215" y="241"/>
                  <a:pt x="1215" y="241"/>
                  <a:pt x="1215" y="241"/>
                </a:cubicBezTo>
                <a:cubicBezTo>
                  <a:pt x="1214" y="241"/>
                  <a:pt x="1214" y="241"/>
                  <a:pt x="1214" y="241"/>
                </a:cubicBezTo>
                <a:cubicBezTo>
                  <a:pt x="1212" y="242"/>
                  <a:pt x="1212" y="242"/>
                  <a:pt x="1212" y="242"/>
                </a:cubicBezTo>
                <a:cubicBezTo>
                  <a:pt x="1212" y="241"/>
                  <a:pt x="1212" y="241"/>
                  <a:pt x="1212" y="241"/>
                </a:cubicBezTo>
                <a:cubicBezTo>
                  <a:pt x="1211" y="240"/>
                  <a:pt x="1211" y="240"/>
                  <a:pt x="1211" y="240"/>
                </a:cubicBezTo>
                <a:cubicBezTo>
                  <a:pt x="1211" y="239"/>
                  <a:pt x="1211" y="239"/>
                  <a:pt x="1211" y="239"/>
                </a:cubicBezTo>
                <a:cubicBezTo>
                  <a:pt x="1210" y="239"/>
                  <a:pt x="1210" y="239"/>
                  <a:pt x="1210" y="239"/>
                </a:cubicBezTo>
                <a:cubicBezTo>
                  <a:pt x="1210" y="240"/>
                  <a:pt x="1210" y="240"/>
                  <a:pt x="1210" y="240"/>
                </a:cubicBezTo>
                <a:cubicBezTo>
                  <a:pt x="1210" y="241"/>
                  <a:pt x="1210" y="241"/>
                  <a:pt x="1210" y="241"/>
                </a:cubicBezTo>
                <a:cubicBezTo>
                  <a:pt x="1209" y="241"/>
                  <a:pt x="1209" y="241"/>
                  <a:pt x="1209" y="241"/>
                </a:cubicBezTo>
                <a:cubicBezTo>
                  <a:pt x="1208" y="241"/>
                  <a:pt x="1208" y="241"/>
                  <a:pt x="1208" y="241"/>
                </a:cubicBezTo>
                <a:cubicBezTo>
                  <a:pt x="1208" y="242"/>
                  <a:pt x="1208" y="242"/>
                  <a:pt x="1208" y="242"/>
                </a:cubicBezTo>
                <a:cubicBezTo>
                  <a:pt x="1209" y="242"/>
                  <a:pt x="1209" y="242"/>
                  <a:pt x="1209" y="242"/>
                </a:cubicBezTo>
                <a:cubicBezTo>
                  <a:pt x="1210" y="243"/>
                  <a:pt x="1210" y="243"/>
                  <a:pt x="1210" y="243"/>
                </a:cubicBezTo>
                <a:cubicBezTo>
                  <a:pt x="1209" y="244"/>
                  <a:pt x="1209" y="244"/>
                  <a:pt x="1209" y="244"/>
                </a:cubicBezTo>
                <a:cubicBezTo>
                  <a:pt x="1208" y="244"/>
                  <a:pt x="1208" y="244"/>
                  <a:pt x="1208" y="244"/>
                </a:cubicBezTo>
                <a:cubicBezTo>
                  <a:pt x="1208" y="245"/>
                  <a:pt x="1208" y="245"/>
                  <a:pt x="1208" y="245"/>
                </a:cubicBezTo>
                <a:cubicBezTo>
                  <a:pt x="1207" y="245"/>
                  <a:pt x="1207" y="245"/>
                  <a:pt x="1207" y="245"/>
                </a:cubicBezTo>
                <a:cubicBezTo>
                  <a:pt x="1207" y="246"/>
                  <a:pt x="1207" y="246"/>
                  <a:pt x="1207" y="246"/>
                </a:cubicBezTo>
                <a:cubicBezTo>
                  <a:pt x="1205" y="247"/>
                  <a:pt x="1205" y="247"/>
                  <a:pt x="1205" y="247"/>
                </a:cubicBezTo>
                <a:cubicBezTo>
                  <a:pt x="1203" y="247"/>
                  <a:pt x="1203" y="247"/>
                  <a:pt x="1203" y="247"/>
                </a:cubicBezTo>
                <a:cubicBezTo>
                  <a:pt x="1202" y="248"/>
                  <a:pt x="1202" y="248"/>
                  <a:pt x="1202" y="248"/>
                </a:cubicBezTo>
                <a:cubicBezTo>
                  <a:pt x="1201" y="248"/>
                  <a:pt x="1201" y="248"/>
                  <a:pt x="1201" y="248"/>
                </a:cubicBezTo>
                <a:cubicBezTo>
                  <a:pt x="1202" y="249"/>
                  <a:pt x="1202" y="249"/>
                  <a:pt x="1202" y="249"/>
                </a:cubicBezTo>
                <a:cubicBezTo>
                  <a:pt x="1204" y="248"/>
                  <a:pt x="1204" y="248"/>
                  <a:pt x="1204" y="248"/>
                </a:cubicBezTo>
                <a:cubicBezTo>
                  <a:pt x="1205" y="248"/>
                  <a:pt x="1205" y="248"/>
                  <a:pt x="1205" y="248"/>
                </a:cubicBezTo>
                <a:cubicBezTo>
                  <a:pt x="1206" y="247"/>
                  <a:pt x="1206" y="247"/>
                  <a:pt x="1206" y="247"/>
                </a:cubicBezTo>
                <a:cubicBezTo>
                  <a:pt x="1207" y="248"/>
                  <a:pt x="1207" y="248"/>
                  <a:pt x="1207" y="248"/>
                </a:cubicBezTo>
                <a:cubicBezTo>
                  <a:pt x="1208" y="249"/>
                  <a:pt x="1208" y="249"/>
                  <a:pt x="1208" y="249"/>
                </a:cubicBezTo>
                <a:cubicBezTo>
                  <a:pt x="1210" y="249"/>
                  <a:pt x="1210" y="249"/>
                  <a:pt x="1210" y="249"/>
                </a:cubicBezTo>
                <a:cubicBezTo>
                  <a:pt x="1211" y="248"/>
                  <a:pt x="1211" y="248"/>
                  <a:pt x="1211" y="248"/>
                </a:cubicBezTo>
                <a:cubicBezTo>
                  <a:pt x="1213" y="248"/>
                  <a:pt x="1213" y="248"/>
                  <a:pt x="1213" y="248"/>
                </a:cubicBezTo>
                <a:cubicBezTo>
                  <a:pt x="1213" y="249"/>
                  <a:pt x="1213" y="249"/>
                  <a:pt x="1213" y="249"/>
                </a:cubicBezTo>
                <a:cubicBezTo>
                  <a:pt x="1215" y="248"/>
                  <a:pt x="1215" y="248"/>
                  <a:pt x="1215" y="248"/>
                </a:cubicBezTo>
                <a:cubicBezTo>
                  <a:pt x="1215" y="249"/>
                  <a:pt x="1215" y="249"/>
                  <a:pt x="1215" y="249"/>
                </a:cubicBezTo>
                <a:cubicBezTo>
                  <a:pt x="1216" y="249"/>
                  <a:pt x="1216" y="249"/>
                  <a:pt x="1216" y="249"/>
                </a:cubicBezTo>
                <a:cubicBezTo>
                  <a:pt x="1216" y="250"/>
                  <a:pt x="1216" y="250"/>
                  <a:pt x="1216" y="250"/>
                </a:cubicBezTo>
                <a:cubicBezTo>
                  <a:pt x="1215" y="250"/>
                  <a:pt x="1215" y="250"/>
                  <a:pt x="1215" y="250"/>
                </a:cubicBezTo>
                <a:cubicBezTo>
                  <a:pt x="1214" y="250"/>
                  <a:pt x="1214" y="250"/>
                  <a:pt x="1214" y="250"/>
                </a:cubicBezTo>
                <a:cubicBezTo>
                  <a:pt x="1213" y="250"/>
                  <a:pt x="1213" y="250"/>
                  <a:pt x="1213" y="250"/>
                </a:cubicBezTo>
                <a:cubicBezTo>
                  <a:pt x="1212" y="251"/>
                  <a:pt x="1212" y="251"/>
                  <a:pt x="1212" y="251"/>
                </a:cubicBezTo>
                <a:cubicBezTo>
                  <a:pt x="1210" y="251"/>
                  <a:pt x="1210" y="251"/>
                  <a:pt x="1210" y="251"/>
                </a:cubicBezTo>
                <a:cubicBezTo>
                  <a:pt x="1209" y="252"/>
                  <a:pt x="1209" y="252"/>
                  <a:pt x="1209" y="252"/>
                </a:cubicBezTo>
                <a:cubicBezTo>
                  <a:pt x="1209" y="251"/>
                  <a:pt x="1209" y="251"/>
                  <a:pt x="1209" y="251"/>
                </a:cubicBezTo>
                <a:cubicBezTo>
                  <a:pt x="1208" y="251"/>
                  <a:pt x="1208" y="251"/>
                  <a:pt x="1208" y="251"/>
                </a:cubicBezTo>
                <a:cubicBezTo>
                  <a:pt x="1207" y="251"/>
                  <a:pt x="1207" y="251"/>
                  <a:pt x="1207" y="251"/>
                </a:cubicBezTo>
                <a:cubicBezTo>
                  <a:pt x="1206" y="252"/>
                  <a:pt x="1206" y="252"/>
                  <a:pt x="1206" y="252"/>
                </a:cubicBezTo>
                <a:cubicBezTo>
                  <a:pt x="1207" y="252"/>
                  <a:pt x="1207" y="252"/>
                  <a:pt x="1207" y="252"/>
                </a:cubicBezTo>
                <a:cubicBezTo>
                  <a:pt x="1208" y="252"/>
                  <a:pt x="1208" y="252"/>
                  <a:pt x="1208" y="252"/>
                </a:cubicBezTo>
                <a:cubicBezTo>
                  <a:pt x="1209" y="252"/>
                  <a:pt x="1209" y="252"/>
                  <a:pt x="1209" y="252"/>
                </a:cubicBezTo>
                <a:cubicBezTo>
                  <a:pt x="1210" y="252"/>
                  <a:pt x="1210" y="252"/>
                  <a:pt x="1210" y="252"/>
                </a:cubicBezTo>
                <a:cubicBezTo>
                  <a:pt x="1211" y="253"/>
                  <a:pt x="1211" y="253"/>
                  <a:pt x="1211" y="253"/>
                </a:cubicBezTo>
                <a:cubicBezTo>
                  <a:pt x="1212" y="253"/>
                  <a:pt x="1212" y="253"/>
                  <a:pt x="1212" y="253"/>
                </a:cubicBezTo>
                <a:cubicBezTo>
                  <a:pt x="1213" y="251"/>
                  <a:pt x="1213" y="251"/>
                  <a:pt x="1213" y="251"/>
                </a:cubicBezTo>
                <a:cubicBezTo>
                  <a:pt x="1213" y="251"/>
                  <a:pt x="1213" y="251"/>
                  <a:pt x="1214" y="251"/>
                </a:cubicBezTo>
                <a:cubicBezTo>
                  <a:pt x="1214" y="251"/>
                  <a:pt x="1214" y="251"/>
                  <a:pt x="1215" y="251"/>
                </a:cubicBezTo>
                <a:cubicBezTo>
                  <a:pt x="1216" y="252"/>
                  <a:pt x="1216" y="252"/>
                  <a:pt x="1216" y="252"/>
                </a:cubicBezTo>
                <a:cubicBezTo>
                  <a:pt x="1217" y="251"/>
                  <a:pt x="1217" y="251"/>
                  <a:pt x="1217" y="251"/>
                </a:cubicBezTo>
                <a:cubicBezTo>
                  <a:pt x="1218" y="251"/>
                  <a:pt x="1218" y="251"/>
                  <a:pt x="1218" y="251"/>
                </a:cubicBezTo>
                <a:cubicBezTo>
                  <a:pt x="1219" y="251"/>
                  <a:pt x="1219" y="251"/>
                  <a:pt x="1219" y="251"/>
                </a:cubicBezTo>
                <a:cubicBezTo>
                  <a:pt x="1221" y="250"/>
                  <a:pt x="1221" y="250"/>
                  <a:pt x="1221" y="250"/>
                </a:cubicBezTo>
                <a:cubicBezTo>
                  <a:pt x="1222" y="250"/>
                  <a:pt x="1222" y="250"/>
                  <a:pt x="1222" y="250"/>
                </a:cubicBezTo>
                <a:cubicBezTo>
                  <a:pt x="1223" y="249"/>
                  <a:pt x="1223" y="249"/>
                  <a:pt x="1223" y="249"/>
                </a:cubicBezTo>
                <a:cubicBezTo>
                  <a:pt x="1223" y="250"/>
                  <a:pt x="1223" y="250"/>
                  <a:pt x="1223" y="250"/>
                </a:cubicBezTo>
                <a:cubicBezTo>
                  <a:pt x="1225" y="251"/>
                  <a:pt x="1225" y="251"/>
                  <a:pt x="1225" y="251"/>
                </a:cubicBezTo>
                <a:cubicBezTo>
                  <a:pt x="1227" y="252"/>
                  <a:pt x="1227" y="252"/>
                  <a:pt x="1227" y="252"/>
                </a:cubicBezTo>
                <a:cubicBezTo>
                  <a:pt x="1228" y="252"/>
                  <a:pt x="1228" y="252"/>
                  <a:pt x="1228" y="252"/>
                </a:cubicBezTo>
                <a:cubicBezTo>
                  <a:pt x="1230" y="253"/>
                  <a:pt x="1230" y="253"/>
                  <a:pt x="1230" y="253"/>
                </a:cubicBezTo>
                <a:cubicBezTo>
                  <a:pt x="1231" y="253"/>
                  <a:pt x="1231" y="253"/>
                  <a:pt x="1231" y="253"/>
                </a:cubicBezTo>
                <a:cubicBezTo>
                  <a:pt x="1232" y="253"/>
                  <a:pt x="1232" y="253"/>
                  <a:pt x="1232" y="253"/>
                </a:cubicBezTo>
                <a:cubicBezTo>
                  <a:pt x="1233" y="253"/>
                  <a:pt x="1233" y="253"/>
                  <a:pt x="1233" y="253"/>
                </a:cubicBezTo>
                <a:cubicBezTo>
                  <a:pt x="1234" y="253"/>
                  <a:pt x="1234" y="253"/>
                  <a:pt x="1234" y="253"/>
                </a:cubicBezTo>
                <a:cubicBezTo>
                  <a:pt x="1236" y="252"/>
                  <a:pt x="1236" y="252"/>
                  <a:pt x="1236" y="252"/>
                </a:cubicBezTo>
                <a:cubicBezTo>
                  <a:pt x="1236" y="253"/>
                  <a:pt x="1236" y="253"/>
                  <a:pt x="1236" y="253"/>
                </a:cubicBezTo>
                <a:cubicBezTo>
                  <a:pt x="1235" y="254"/>
                  <a:pt x="1235" y="254"/>
                  <a:pt x="1235" y="254"/>
                </a:cubicBezTo>
                <a:cubicBezTo>
                  <a:pt x="1234" y="255"/>
                  <a:pt x="1234" y="255"/>
                  <a:pt x="1234" y="255"/>
                </a:cubicBezTo>
                <a:cubicBezTo>
                  <a:pt x="1233" y="255"/>
                  <a:pt x="1233" y="255"/>
                  <a:pt x="1233" y="255"/>
                </a:cubicBezTo>
                <a:cubicBezTo>
                  <a:pt x="1232" y="255"/>
                  <a:pt x="1232" y="255"/>
                  <a:pt x="1232" y="255"/>
                </a:cubicBezTo>
                <a:cubicBezTo>
                  <a:pt x="1231" y="255"/>
                  <a:pt x="1231" y="255"/>
                  <a:pt x="1231" y="255"/>
                </a:cubicBezTo>
                <a:cubicBezTo>
                  <a:pt x="1231" y="256"/>
                  <a:pt x="1231" y="256"/>
                  <a:pt x="1231" y="256"/>
                </a:cubicBezTo>
                <a:cubicBezTo>
                  <a:pt x="1232" y="256"/>
                  <a:pt x="1232" y="256"/>
                  <a:pt x="1232" y="256"/>
                </a:cubicBezTo>
                <a:cubicBezTo>
                  <a:pt x="1232" y="257"/>
                  <a:pt x="1232" y="257"/>
                  <a:pt x="1232" y="257"/>
                </a:cubicBezTo>
                <a:cubicBezTo>
                  <a:pt x="1231" y="257"/>
                  <a:pt x="1231" y="257"/>
                  <a:pt x="1231" y="257"/>
                </a:cubicBezTo>
                <a:cubicBezTo>
                  <a:pt x="1230" y="256"/>
                  <a:pt x="1230" y="256"/>
                  <a:pt x="1230" y="256"/>
                </a:cubicBezTo>
                <a:cubicBezTo>
                  <a:pt x="1230" y="257"/>
                  <a:pt x="1230" y="257"/>
                  <a:pt x="1230" y="257"/>
                </a:cubicBezTo>
                <a:cubicBezTo>
                  <a:pt x="1230" y="258"/>
                  <a:pt x="1230" y="258"/>
                  <a:pt x="1230" y="258"/>
                </a:cubicBezTo>
                <a:cubicBezTo>
                  <a:pt x="1229" y="257"/>
                  <a:pt x="1229" y="257"/>
                  <a:pt x="1229" y="257"/>
                </a:cubicBezTo>
                <a:cubicBezTo>
                  <a:pt x="1228" y="257"/>
                  <a:pt x="1228" y="257"/>
                  <a:pt x="1228" y="257"/>
                </a:cubicBezTo>
                <a:cubicBezTo>
                  <a:pt x="1228" y="258"/>
                  <a:pt x="1228" y="258"/>
                  <a:pt x="1228" y="258"/>
                </a:cubicBezTo>
                <a:cubicBezTo>
                  <a:pt x="1228" y="259"/>
                  <a:pt x="1228" y="259"/>
                  <a:pt x="1228" y="259"/>
                </a:cubicBezTo>
                <a:cubicBezTo>
                  <a:pt x="1227" y="260"/>
                  <a:pt x="1227" y="260"/>
                  <a:pt x="1227" y="260"/>
                </a:cubicBezTo>
                <a:cubicBezTo>
                  <a:pt x="1226" y="259"/>
                  <a:pt x="1226" y="259"/>
                  <a:pt x="1226" y="259"/>
                </a:cubicBezTo>
                <a:cubicBezTo>
                  <a:pt x="1225" y="259"/>
                  <a:pt x="1225" y="259"/>
                  <a:pt x="1225" y="259"/>
                </a:cubicBezTo>
                <a:cubicBezTo>
                  <a:pt x="1226" y="260"/>
                  <a:pt x="1226" y="260"/>
                  <a:pt x="1226" y="260"/>
                </a:cubicBezTo>
                <a:cubicBezTo>
                  <a:pt x="1226" y="261"/>
                  <a:pt x="1226" y="261"/>
                  <a:pt x="1226" y="261"/>
                </a:cubicBezTo>
                <a:cubicBezTo>
                  <a:pt x="1225" y="261"/>
                  <a:pt x="1225" y="261"/>
                  <a:pt x="1225" y="261"/>
                </a:cubicBezTo>
                <a:cubicBezTo>
                  <a:pt x="1224" y="261"/>
                  <a:pt x="1224" y="261"/>
                  <a:pt x="1224" y="261"/>
                </a:cubicBezTo>
                <a:cubicBezTo>
                  <a:pt x="1224" y="262"/>
                  <a:pt x="1224" y="262"/>
                  <a:pt x="1224" y="262"/>
                </a:cubicBezTo>
                <a:cubicBezTo>
                  <a:pt x="1223" y="261"/>
                  <a:pt x="1223" y="261"/>
                  <a:pt x="1223" y="261"/>
                </a:cubicBezTo>
                <a:cubicBezTo>
                  <a:pt x="1222" y="261"/>
                  <a:pt x="1222" y="261"/>
                  <a:pt x="1222" y="261"/>
                </a:cubicBezTo>
                <a:cubicBezTo>
                  <a:pt x="1222" y="262"/>
                  <a:pt x="1222" y="262"/>
                  <a:pt x="1222" y="262"/>
                </a:cubicBezTo>
                <a:cubicBezTo>
                  <a:pt x="1223" y="262"/>
                  <a:pt x="1223" y="262"/>
                  <a:pt x="1223" y="262"/>
                </a:cubicBezTo>
                <a:cubicBezTo>
                  <a:pt x="1222" y="263"/>
                  <a:pt x="1222" y="263"/>
                  <a:pt x="1222" y="263"/>
                </a:cubicBezTo>
                <a:cubicBezTo>
                  <a:pt x="1221" y="263"/>
                  <a:pt x="1221" y="263"/>
                  <a:pt x="1221" y="263"/>
                </a:cubicBezTo>
                <a:cubicBezTo>
                  <a:pt x="1221" y="262"/>
                  <a:pt x="1221" y="262"/>
                  <a:pt x="1221" y="262"/>
                </a:cubicBezTo>
                <a:cubicBezTo>
                  <a:pt x="1220" y="263"/>
                  <a:pt x="1220" y="263"/>
                  <a:pt x="1220" y="263"/>
                </a:cubicBezTo>
                <a:cubicBezTo>
                  <a:pt x="1221" y="264"/>
                  <a:pt x="1221" y="264"/>
                  <a:pt x="1221" y="264"/>
                </a:cubicBezTo>
                <a:cubicBezTo>
                  <a:pt x="1221" y="265"/>
                  <a:pt x="1221" y="265"/>
                  <a:pt x="1221" y="265"/>
                </a:cubicBezTo>
                <a:cubicBezTo>
                  <a:pt x="1219" y="265"/>
                  <a:pt x="1219" y="265"/>
                  <a:pt x="1219" y="265"/>
                </a:cubicBezTo>
                <a:cubicBezTo>
                  <a:pt x="1218" y="264"/>
                  <a:pt x="1218" y="264"/>
                  <a:pt x="1218" y="264"/>
                </a:cubicBezTo>
                <a:cubicBezTo>
                  <a:pt x="1217" y="264"/>
                  <a:pt x="1217" y="264"/>
                  <a:pt x="1217" y="264"/>
                </a:cubicBezTo>
                <a:cubicBezTo>
                  <a:pt x="1217" y="265"/>
                  <a:pt x="1217" y="265"/>
                  <a:pt x="1217" y="265"/>
                </a:cubicBezTo>
                <a:close/>
                <a:moveTo>
                  <a:pt x="1221" y="220"/>
                </a:moveTo>
                <a:cubicBezTo>
                  <a:pt x="1220" y="221"/>
                  <a:pt x="1220" y="221"/>
                  <a:pt x="1220" y="221"/>
                </a:cubicBezTo>
                <a:cubicBezTo>
                  <a:pt x="1221" y="221"/>
                  <a:pt x="1221" y="221"/>
                  <a:pt x="1221" y="221"/>
                </a:cubicBezTo>
                <a:cubicBezTo>
                  <a:pt x="1221" y="220"/>
                  <a:pt x="1221" y="220"/>
                  <a:pt x="1221" y="220"/>
                </a:cubicBezTo>
                <a:close/>
                <a:moveTo>
                  <a:pt x="1225" y="56"/>
                </a:moveTo>
                <a:cubicBezTo>
                  <a:pt x="1225" y="57"/>
                  <a:pt x="1225" y="57"/>
                  <a:pt x="1225" y="57"/>
                </a:cubicBezTo>
                <a:cubicBezTo>
                  <a:pt x="1226" y="57"/>
                  <a:pt x="1226" y="57"/>
                  <a:pt x="1226" y="57"/>
                </a:cubicBezTo>
                <a:cubicBezTo>
                  <a:pt x="1226" y="56"/>
                  <a:pt x="1226" y="56"/>
                  <a:pt x="1226" y="56"/>
                </a:cubicBezTo>
                <a:cubicBezTo>
                  <a:pt x="1225" y="56"/>
                  <a:pt x="1225" y="56"/>
                  <a:pt x="1225" y="56"/>
                </a:cubicBezTo>
                <a:close/>
                <a:moveTo>
                  <a:pt x="1089" y="216"/>
                </a:moveTo>
                <a:cubicBezTo>
                  <a:pt x="1090" y="215"/>
                  <a:pt x="1090" y="215"/>
                  <a:pt x="1090" y="215"/>
                </a:cubicBezTo>
                <a:cubicBezTo>
                  <a:pt x="1089" y="213"/>
                  <a:pt x="1089" y="213"/>
                  <a:pt x="1089" y="213"/>
                </a:cubicBezTo>
                <a:cubicBezTo>
                  <a:pt x="1089" y="212"/>
                  <a:pt x="1089" y="212"/>
                  <a:pt x="1089" y="212"/>
                </a:cubicBezTo>
                <a:cubicBezTo>
                  <a:pt x="1089" y="211"/>
                  <a:pt x="1089" y="211"/>
                  <a:pt x="1089" y="211"/>
                </a:cubicBezTo>
                <a:cubicBezTo>
                  <a:pt x="1088" y="213"/>
                  <a:pt x="1088" y="213"/>
                  <a:pt x="1088" y="213"/>
                </a:cubicBezTo>
                <a:cubicBezTo>
                  <a:pt x="1089" y="214"/>
                  <a:pt x="1089" y="214"/>
                  <a:pt x="1089" y="214"/>
                </a:cubicBezTo>
                <a:cubicBezTo>
                  <a:pt x="1089" y="215"/>
                  <a:pt x="1089" y="215"/>
                  <a:pt x="1089" y="215"/>
                </a:cubicBezTo>
                <a:cubicBezTo>
                  <a:pt x="1089" y="216"/>
                  <a:pt x="1089" y="216"/>
                  <a:pt x="1089" y="216"/>
                </a:cubicBezTo>
                <a:close/>
                <a:moveTo>
                  <a:pt x="1111" y="348"/>
                </a:moveTo>
                <a:cubicBezTo>
                  <a:pt x="1112" y="348"/>
                  <a:pt x="1112" y="348"/>
                  <a:pt x="1112" y="348"/>
                </a:cubicBezTo>
                <a:cubicBezTo>
                  <a:pt x="1111" y="347"/>
                  <a:pt x="1111" y="347"/>
                  <a:pt x="1111" y="347"/>
                </a:cubicBezTo>
                <a:cubicBezTo>
                  <a:pt x="1111" y="348"/>
                  <a:pt x="1111" y="348"/>
                  <a:pt x="1111" y="348"/>
                </a:cubicBezTo>
                <a:close/>
                <a:moveTo>
                  <a:pt x="1126" y="323"/>
                </a:moveTo>
                <a:cubicBezTo>
                  <a:pt x="1126" y="323"/>
                  <a:pt x="1126" y="323"/>
                  <a:pt x="1125" y="322"/>
                </a:cubicBezTo>
                <a:cubicBezTo>
                  <a:pt x="1125" y="323"/>
                  <a:pt x="1125" y="323"/>
                  <a:pt x="1125" y="323"/>
                </a:cubicBezTo>
                <a:cubicBezTo>
                  <a:pt x="1126" y="323"/>
                  <a:pt x="1126" y="323"/>
                  <a:pt x="1126" y="323"/>
                </a:cubicBezTo>
                <a:close/>
                <a:moveTo>
                  <a:pt x="1195" y="50"/>
                </a:moveTo>
                <a:cubicBezTo>
                  <a:pt x="1197" y="51"/>
                  <a:pt x="1197" y="51"/>
                  <a:pt x="1197" y="51"/>
                </a:cubicBezTo>
                <a:cubicBezTo>
                  <a:pt x="1196" y="50"/>
                  <a:pt x="1196" y="50"/>
                  <a:pt x="1196" y="50"/>
                </a:cubicBezTo>
                <a:cubicBezTo>
                  <a:pt x="1195" y="49"/>
                  <a:pt x="1195" y="49"/>
                  <a:pt x="1195" y="49"/>
                </a:cubicBezTo>
                <a:cubicBezTo>
                  <a:pt x="1194" y="48"/>
                  <a:pt x="1194" y="48"/>
                  <a:pt x="1194" y="48"/>
                </a:cubicBezTo>
                <a:cubicBezTo>
                  <a:pt x="1193" y="48"/>
                  <a:pt x="1193" y="48"/>
                  <a:pt x="1193" y="48"/>
                </a:cubicBezTo>
                <a:cubicBezTo>
                  <a:pt x="1192" y="47"/>
                  <a:pt x="1192" y="47"/>
                  <a:pt x="1192" y="47"/>
                </a:cubicBezTo>
                <a:cubicBezTo>
                  <a:pt x="1192" y="46"/>
                  <a:pt x="1192" y="46"/>
                  <a:pt x="1192" y="46"/>
                </a:cubicBezTo>
                <a:cubicBezTo>
                  <a:pt x="1192" y="45"/>
                  <a:pt x="1192" y="45"/>
                  <a:pt x="1192" y="45"/>
                </a:cubicBezTo>
                <a:cubicBezTo>
                  <a:pt x="1191" y="44"/>
                  <a:pt x="1191" y="44"/>
                  <a:pt x="1191" y="44"/>
                </a:cubicBezTo>
                <a:cubicBezTo>
                  <a:pt x="1191" y="43"/>
                  <a:pt x="1191" y="43"/>
                  <a:pt x="1191" y="43"/>
                </a:cubicBezTo>
                <a:cubicBezTo>
                  <a:pt x="1192" y="41"/>
                  <a:pt x="1192" y="41"/>
                  <a:pt x="1192" y="41"/>
                </a:cubicBezTo>
                <a:cubicBezTo>
                  <a:pt x="1192" y="40"/>
                  <a:pt x="1192" y="40"/>
                  <a:pt x="1192" y="40"/>
                </a:cubicBezTo>
                <a:cubicBezTo>
                  <a:pt x="1192" y="39"/>
                  <a:pt x="1192" y="39"/>
                  <a:pt x="1192" y="39"/>
                </a:cubicBezTo>
                <a:cubicBezTo>
                  <a:pt x="1192" y="38"/>
                  <a:pt x="1192" y="38"/>
                  <a:pt x="1192" y="38"/>
                </a:cubicBezTo>
                <a:cubicBezTo>
                  <a:pt x="1191" y="38"/>
                  <a:pt x="1191" y="38"/>
                  <a:pt x="1191" y="38"/>
                </a:cubicBezTo>
                <a:cubicBezTo>
                  <a:pt x="1190" y="37"/>
                  <a:pt x="1190" y="37"/>
                  <a:pt x="1190" y="37"/>
                </a:cubicBezTo>
                <a:cubicBezTo>
                  <a:pt x="1189" y="35"/>
                  <a:pt x="1189" y="35"/>
                  <a:pt x="1189" y="35"/>
                </a:cubicBezTo>
                <a:cubicBezTo>
                  <a:pt x="1188" y="35"/>
                  <a:pt x="1188" y="35"/>
                  <a:pt x="1188" y="35"/>
                </a:cubicBezTo>
                <a:cubicBezTo>
                  <a:pt x="1187" y="35"/>
                  <a:pt x="1187" y="35"/>
                  <a:pt x="1187" y="35"/>
                </a:cubicBezTo>
                <a:cubicBezTo>
                  <a:pt x="1186" y="36"/>
                  <a:pt x="1186" y="36"/>
                  <a:pt x="1186" y="36"/>
                </a:cubicBezTo>
                <a:cubicBezTo>
                  <a:pt x="1187" y="37"/>
                  <a:pt x="1187" y="37"/>
                  <a:pt x="1187" y="37"/>
                </a:cubicBezTo>
                <a:cubicBezTo>
                  <a:pt x="1188" y="37"/>
                  <a:pt x="1188" y="37"/>
                  <a:pt x="1188" y="37"/>
                </a:cubicBezTo>
                <a:cubicBezTo>
                  <a:pt x="1189" y="38"/>
                  <a:pt x="1189" y="38"/>
                  <a:pt x="1189" y="38"/>
                </a:cubicBezTo>
                <a:cubicBezTo>
                  <a:pt x="1189" y="40"/>
                  <a:pt x="1189" y="40"/>
                  <a:pt x="1189" y="40"/>
                </a:cubicBezTo>
                <a:cubicBezTo>
                  <a:pt x="1191" y="42"/>
                  <a:pt x="1191" y="42"/>
                  <a:pt x="1191" y="42"/>
                </a:cubicBezTo>
                <a:cubicBezTo>
                  <a:pt x="1191" y="43"/>
                  <a:pt x="1191" y="43"/>
                  <a:pt x="1191" y="43"/>
                </a:cubicBezTo>
                <a:cubicBezTo>
                  <a:pt x="1190" y="44"/>
                  <a:pt x="1190" y="44"/>
                  <a:pt x="1190" y="44"/>
                </a:cubicBezTo>
                <a:cubicBezTo>
                  <a:pt x="1191" y="46"/>
                  <a:pt x="1191" y="46"/>
                  <a:pt x="1191" y="46"/>
                </a:cubicBezTo>
                <a:cubicBezTo>
                  <a:pt x="1191" y="47"/>
                  <a:pt x="1191" y="47"/>
                  <a:pt x="1191" y="47"/>
                </a:cubicBezTo>
                <a:cubicBezTo>
                  <a:pt x="1191" y="48"/>
                  <a:pt x="1191" y="48"/>
                  <a:pt x="1191" y="48"/>
                </a:cubicBezTo>
                <a:cubicBezTo>
                  <a:pt x="1192" y="49"/>
                  <a:pt x="1192" y="49"/>
                  <a:pt x="1192" y="49"/>
                </a:cubicBezTo>
                <a:cubicBezTo>
                  <a:pt x="1194" y="49"/>
                  <a:pt x="1194" y="49"/>
                  <a:pt x="1194" y="49"/>
                </a:cubicBezTo>
                <a:cubicBezTo>
                  <a:pt x="1195" y="50"/>
                  <a:pt x="1195" y="50"/>
                  <a:pt x="1195" y="50"/>
                </a:cubicBezTo>
                <a:close/>
                <a:moveTo>
                  <a:pt x="1078" y="309"/>
                </a:moveTo>
                <a:cubicBezTo>
                  <a:pt x="1079" y="308"/>
                  <a:pt x="1079" y="308"/>
                  <a:pt x="1079" y="308"/>
                </a:cubicBezTo>
                <a:cubicBezTo>
                  <a:pt x="1078" y="308"/>
                  <a:pt x="1078" y="308"/>
                  <a:pt x="1078" y="308"/>
                </a:cubicBezTo>
                <a:cubicBezTo>
                  <a:pt x="1077" y="310"/>
                  <a:pt x="1077" y="310"/>
                  <a:pt x="1077" y="310"/>
                </a:cubicBezTo>
                <a:cubicBezTo>
                  <a:pt x="1078" y="309"/>
                  <a:pt x="1078" y="309"/>
                  <a:pt x="1078" y="309"/>
                </a:cubicBezTo>
                <a:close/>
                <a:moveTo>
                  <a:pt x="1083" y="264"/>
                </a:moveTo>
                <a:cubicBezTo>
                  <a:pt x="1083" y="265"/>
                  <a:pt x="1083" y="265"/>
                  <a:pt x="1083" y="265"/>
                </a:cubicBezTo>
                <a:cubicBezTo>
                  <a:pt x="1084" y="265"/>
                  <a:pt x="1084" y="265"/>
                  <a:pt x="1084" y="265"/>
                </a:cubicBezTo>
                <a:cubicBezTo>
                  <a:pt x="1086" y="265"/>
                  <a:pt x="1086" y="265"/>
                  <a:pt x="1086" y="265"/>
                </a:cubicBezTo>
                <a:cubicBezTo>
                  <a:pt x="1086" y="264"/>
                  <a:pt x="1086" y="264"/>
                  <a:pt x="1086" y="264"/>
                </a:cubicBezTo>
                <a:cubicBezTo>
                  <a:pt x="1085" y="264"/>
                  <a:pt x="1085" y="264"/>
                  <a:pt x="1085" y="264"/>
                </a:cubicBezTo>
                <a:cubicBezTo>
                  <a:pt x="1084" y="264"/>
                  <a:pt x="1084" y="264"/>
                  <a:pt x="1084" y="264"/>
                </a:cubicBezTo>
                <a:cubicBezTo>
                  <a:pt x="1083" y="264"/>
                  <a:pt x="1083" y="264"/>
                  <a:pt x="1083" y="264"/>
                </a:cubicBezTo>
                <a:close/>
                <a:moveTo>
                  <a:pt x="1077" y="308"/>
                </a:moveTo>
                <a:cubicBezTo>
                  <a:pt x="1077" y="309"/>
                  <a:pt x="1077" y="309"/>
                  <a:pt x="1077" y="309"/>
                </a:cubicBezTo>
                <a:cubicBezTo>
                  <a:pt x="1078" y="308"/>
                  <a:pt x="1078" y="308"/>
                  <a:pt x="1078" y="308"/>
                </a:cubicBezTo>
                <a:cubicBezTo>
                  <a:pt x="1078" y="307"/>
                  <a:pt x="1078" y="307"/>
                  <a:pt x="1078" y="307"/>
                </a:cubicBezTo>
                <a:cubicBezTo>
                  <a:pt x="1077" y="308"/>
                  <a:pt x="1077" y="308"/>
                  <a:pt x="1077" y="308"/>
                </a:cubicBezTo>
                <a:close/>
                <a:moveTo>
                  <a:pt x="1083" y="193"/>
                </a:moveTo>
                <a:cubicBezTo>
                  <a:pt x="1083" y="194"/>
                  <a:pt x="1083" y="194"/>
                  <a:pt x="1083" y="194"/>
                </a:cubicBezTo>
                <a:cubicBezTo>
                  <a:pt x="1084" y="193"/>
                  <a:pt x="1084" y="193"/>
                  <a:pt x="1084" y="193"/>
                </a:cubicBezTo>
                <a:cubicBezTo>
                  <a:pt x="1083" y="192"/>
                  <a:pt x="1083" y="192"/>
                  <a:pt x="1083" y="192"/>
                </a:cubicBezTo>
                <a:cubicBezTo>
                  <a:pt x="1083" y="193"/>
                  <a:pt x="1083" y="193"/>
                  <a:pt x="1083" y="193"/>
                </a:cubicBezTo>
                <a:close/>
                <a:moveTo>
                  <a:pt x="1094" y="245"/>
                </a:moveTo>
                <a:cubicBezTo>
                  <a:pt x="1095" y="245"/>
                  <a:pt x="1095" y="245"/>
                  <a:pt x="1095" y="245"/>
                </a:cubicBezTo>
                <a:cubicBezTo>
                  <a:pt x="1094" y="244"/>
                  <a:pt x="1094" y="244"/>
                  <a:pt x="1094" y="244"/>
                </a:cubicBezTo>
                <a:cubicBezTo>
                  <a:pt x="1092" y="244"/>
                  <a:pt x="1092" y="244"/>
                  <a:pt x="1092" y="244"/>
                </a:cubicBezTo>
                <a:cubicBezTo>
                  <a:pt x="1092" y="245"/>
                  <a:pt x="1092" y="245"/>
                  <a:pt x="1092" y="245"/>
                </a:cubicBezTo>
                <a:cubicBezTo>
                  <a:pt x="1092" y="246"/>
                  <a:pt x="1092" y="246"/>
                  <a:pt x="1092" y="246"/>
                </a:cubicBezTo>
                <a:cubicBezTo>
                  <a:pt x="1092" y="247"/>
                  <a:pt x="1092" y="247"/>
                  <a:pt x="1092" y="247"/>
                </a:cubicBezTo>
                <a:cubicBezTo>
                  <a:pt x="1092" y="248"/>
                  <a:pt x="1092" y="248"/>
                  <a:pt x="1092" y="248"/>
                </a:cubicBezTo>
                <a:cubicBezTo>
                  <a:pt x="1093" y="247"/>
                  <a:pt x="1093" y="247"/>
                  <a:pt x="1093" y="247"/>
                </a:cubicBezTo>
                <a:cubicBezTo>
                  <a:pt x="1094" y="245"/>
                  <a:pt x="1094" y="245"/>
                  <a:pt x="1094" y="245"/>
                </a:cubicBezTo>
                <a:close/>
                <a:moveTo>
                  <a:pt x="1085" y="186"/>
                </a:moveTo>
                <a:cubicBezTo>
                  <a:pt x="1083" y="185"/>
                  <a:pt x="1083" y="185"/>
                  <a:pt x="1083" y="185"/>
                </a:cubicBezTo>
                <a:cubicBezTo>
                  <a:pt x="1082" y="185"/>
                  <a:pt x="1082" y="185"/>
                  <a:pt x="1082" y="185"/>
                </a:cubicBezTo>
                <a:cubicBezTo>
                  <a:pt x="1083" y="186"/>
                  <a:pt x="1083" y="186"/>
                  <a:pt x="1083" y="186"/>
                </a:cubicBezTo>
                <a:cubicBezTo>
                  <a:pt x="1084" y="186"/>
                  <a:pt x="1084" y="186"/>
                  <a:pt x="1084" y="186"/>
                </a:cubicBezTo>
                <a:cubicBezTo>
                  <a:pt x="1084" y="187"/>
                  <a:pt x="1084" y="187"/>
                  <a:pt x="1084" y="187"/>
                </a:cubicBezTo>
                <a:cubicBezTo>
                  <a:pt x="1085" y="186"/>
                  <a:pt x="1085" y="186"/>
                  <a:pt x="1085" y="186"/>
                </a:cubicBezTo>
                <a:close/>
                <a:moveTo>
                  <a:pt x="1081" y="188"/>
                </a:moveTo>
                <a:cubicBezTo>
                  <a:pt x="1082" y="189"/>
                  <a:pt x="1082" y="189"/>
                  <a:pt x="1082" y="189"/>
                </a:cubicBezTo>
                <a:cubicBezTo>
                  <a:pt x="1083" y="189"/>
                  <a:pt x="1083" y="189"/>
                  <a:pt x="1083" y="189"/>
                </a:cubicBezTo>
                <a:cubicBezTo>
                  <a:pt x="1082" y="188"/>
                  <a:pt x="1082" y="188"/>
                  <a:pt x="1082" y="188"/>
                </a:cubicBezTo>
                <a:cubicBezTo>
                  <a:pt x="1081" y="188"/>
                  <a:pt x="1081" y="188"/>
                  <a:pt x="1081" y="188"/>
                </a:cubicBezTo>
                <a:close/>
                <a:moveTo>
                  <a:pt x="1090" y="221"/>
                </a:moveTo>
                <a:cubicBezTo>
                  <a:pt x="1091" y="221"/>
                  <a:pt x="1091" y="221"/>
                  <a:pt x="1091" y="221"/>
                </a:cubicBezTo>
                <a:cubicBezTo>
                  <a:pt x="1091" y="220"/>
                  <a:pt x="1091" y="220"/>
                  <a:pt x="1091" y="220"/>
                </a:cubicBezTo>
                <a:cubicBezTo>
                  <a:pt x="1090" y="220"/>
                  <a:pt x="1090" y="220"/>
                  <a:pt x="1090" y="220"/>
                </a:cubicBezTo>
                <a:cubicBezTo>
                  <a:pt x="1089" y="220"/>
                  <a:pt x="1089" y="220"/>
                  <a:pt x="1089" y="220"/>
                </a:cubicBezTo>
                <a:cubicBezTo>
                  <a:pt x="1088" y="220"/>
                  <a:pt x="1088" y="220"/>
                  <a:pt x="1088" y="220"/>
                </a:cubicBezTo>
                <a:cubicBezTo>
                  <a:pt x="1088" y="221"/>
                  <a:pt x="1088" y="221"/>
                  <a:pt x="1088" y="221"/>
                </a:cubicBezTo>
                <a:cubicBezTo>
                  <a:pt x="1088" y="222"/>
                  <a:pt x="1088" y="222"/>
                  <a:pt x="1088" y="222"/>
                </a:cubicBezTo>
                <a:cubicBezTo>
                  <a:pt x="1089" y="222"/>
                  <a:pt x="1089" y="222"/>
                  <a:pt x="1089" y="222"/>
                </a:cubicBezTo>
                <a:cubicBezTo>
                  <a:pt x="1090" y="221"/>
                  <a:pt x="1090" y="221"/>
                  <a:pt x="1090" y="221"/>
                </a:cubicBezTo>
                <a:close/>
                <a:moveTo>
                  <a:pt x="1080" y="215"/>
                </a:moveTo>
                <a:cubicBezTo>
                  <a:pt x="1079" y="215"/>
                  <a:pt x="1079" y="215"/>
                  <a:pt x="1079" y="215"/>
                </a:cubicBezTo>
                <a:cubicBezTo>
                  <a:pt x="1078" y="215"/>
                  <a:pt x="1078" y="215"/>
                  <a:pt x="1078" y="215"/>
                </a:cubicBezTo>
                <a:cubicBezTo>
                  <a:pt x="1079" y="216"/>
                  <a:pt x="1079" y="216"/>
                  <a:pt x="1079" y="216"/>
                </a:cubicBezTo>
                <a:cubicBezTo>
                  <a:pt x="1080" y="215"/>
                  <a:pt x="1080" y="215"/>
                  <a:pt x="1080" y="215"/>
                </a:cubicBezTo>
                <a:close/>
                <a:moveTo>
                  <a:pt x="1091" y="231"/>
                </a:moveTo>
                <a:cubicBezTo>
                  <a:pt x="1093" y="232"/>
                  <a:pt x="1093" y="232"/>
                  <a:pt x="1093" y="232"/>
                </a:cubicBezTo>
                <a:cubicBezTo>
                  <a:pt x="1093" y="231"/>
                  <a:pt x="1093" y="231"/>
                  <a:pt x="1093" y="231"/>
                </a:cubicBezTo>
                <a:cubicBezTo>
                  <a:pt x="1092" y="230"/>
                  <a:pt x="1092" y="230"/>
                  <a:pt x="1092" y="230"/>
                </a:cubicBezTo>
                <a:cubicBezTo>
                  <a:pt x="1091" y="231"/>
                  <a:pt x="1091" y="231"/>
                  <a:pt x="1091" y="231"/>
                </a:cubicBezTo>
                <a:close/>
                <a:moveTo>
                  <a:pt x="1093" y="235"/>
                </a:moveTo>
                <a:cubicBezTo>
                  <a:pt x="1094" y="234"/>
                  <a:pt x="1094" y="234"/>
                  <a:pt x="1094" y="234"/>
                </a:cubicBezTo>
                <a:cubicBezTo>
                  <a:pt x="1093" y="234"/>
                  <a:pt x="1093" y="234"/>
                  <a:pt x="1093" y="234"/>
                </a:cubicBezTo>
                <a:cubicBezTo>
                  <a:pt x="1093" y="235"/>
                  <a:pt x="1093" y="235"/>
                  <a:pt x="1093" y="235"/>
                </a:cubicBezTo>
                <a:close/>
                <a:moveTo>
                  <a:pt x="588" y="329"/>
                </a:moveTo>
                <a:cubicBezTo>
                  <a:pt x="588" y="329"/>
                  <a:pt x="588" y="329"/>
                  <a:pt x="589" y="329"/>
                </a:cubicBezTo>
                <a:cubicBezTo>
                  <a:pt x="589" y="329"/>
                  <a:pt x="589" y="329"/>
                  <a:pt x="589" y="327"/>
                </a:cubicBezTo>
                <a:cubicBezTo>
                  <a:pt x="589" y="327"/>
                  <a:pt x="589" y="327"/>
                  <a:pt x="588" y="328"/>
                </a:cubicBezTo>
                <a:cubicBezTo>
                  <a:pt x="588" y="328"/>
                  <a:pt x="588" y="328"/>
                  <a:pt x="588" y="329"/>
                </a:cubicBezTo>
                <a:close/>
                <a:moveTo>
                  <a:pt x="554" y="283"/>
                </a:moveTo>
                <a:cubicBezTo>
                  <a:pt x="554" y="283"/>
                  <a:pt x="554" y="283"/>
                  <a:pt x="554" y="284"/>
                </a:cubicBezTo>
                <a:cubicBezTo>
                  <a:pt x="554" y="284"/>
                  <a:pt x="554" y="284"/>
                  <a:pt x="555" y="284"/>
                </a:cubicBezTo>
                <a:cubicBezTo>
                  <a:pt x="555" y="284"/>
                  <a:pt x="555" y="284"/>
                  <a:pt x="556" y="283"/>
                </a:cubicBezTo>
                <a:cubicBezTo>
                  <a:pt x="556" y="283"/>
                  <a:pt x="556" y="283"/>
                  <a:pt x="555" y="283"/>
                </a:cubicBezTo>
                <a:cubicBezTo>
                  <a:pt x="555" y="283"/>
                  <a:pt x="555" y="283"/>
                  <a:pt x="554" y="283"/>
                </a:cubicBezTo>
                <a:close/>
                <a:moveTo>
                  <a:pt x="589" y="325"/>
                </a:moveTo>
                <a:cubicBezTo>
                  <a:pt x="589" y="325"/>
                  <a:pt x="589" y="325"/>
                  <a:pt x="589" y="326"/>
                </a:cubicBezTo>
                <a:cubicBezTo>
                  <a:pt x="589" y="326"/>
                  <a:pt x="589" y="326"/>
                  <a:pt x="588" y="327"/>
                </a:cubicBezTo>
                <a:cubicBezTo>
                  <a:pt x="588" y="327"/>
                  <a:pt x="588" y="327"/>
                  <a:pt x="589" y="327"/>
                </a:cubicBezTo>
                <a:cubicBezTo>
                  <a:pt x="589" y="327"/>
                  <a:pt x="589" y="327"/>
                  <a:pt x="590" y="326"/>
                </a:cubicBezTo>
                <a:cubicBezTo>
                  <a:pt x="590" y="326"/>
                  <a:pt x="590" y="326"/>
                  <a:pt x="589" y="325"/>
                </a:cubicBezTo>
                <a:close/>
                <a:moveTo>
                  <a:pt x="545" y="270"/>
                </a:moveTo>
                <a:cubicBezTo>
                  <a:pt x="545" y="270"/>
                  <a:pt x="545" y="270"/>
                  <a:pt x="544" y="270"/>
                </a:cubicBezTo>
                <a:cubicBezTo>
                  <a:pt x="544" y="270"/>
                  <a:pt x="544" y="270"/>
                  <a:pt x="544" y="271"/>
                </a:cubicBezTo>
                <a:cubicBezTo>
                  <a:pt x="544" y="271"/>
                  <a:pt x="544" y="271"/>
                  <a:pt x="545" y="271"/>
                </a:cubicBezTo>
                <a:cubicBezTo>
                  <a:pt x="545" y="271"/>
                  <a:pt x="545" y="271"/>
                  <a:pt x="545" y="270"/>
                </a:cubicBezTo>
                <a:close/>
                <a:moveTo>
                  <a:pt x="603" y="350"/>
                </a:moveTo>
                <a:cubicBezTo>
                  <a:pt x="603" y="350"/>
                  <a:pt x="603" y="350"/>
                  <a:pt x="602" y="351"/>
                </a:cubicBezTo>
                <a:cubicBezTo>
                  <a:pt x="602" y="351"/>
                  <a:pt x="602" y="351"/>
                  <a:pt x="603" y="352"/>
                </a:cubicBezTo>
                <a:cubicBezTo>
                  <a:pt x="603" y="352"/>
                  <a:pt x="603" y="352"/>
                  <a:pt x="603" y="353"/>
                </a:cubicBezTo>
                <a:cubicBezTo>
                  <a:pt x="603" y="353"/>
                  <a:pt x="603" y="353"/>
                  <a:pt x="604" y="352"/>
                </a:cubicBezTo>
                <a:cubicBezTo>
                  <a:pt x="604" y="352"/>
                  <a:pt x="604" y="352"/>
                  <a:pt x="603" y="350"/>
                </a:cubicBezTo>
                <a:close/>
                <a:moveTo>
                  <a:pt x="540" y="274"/>
                </a:moveTo>
                <a:cubicBezTo>
                  <a:pt x="540" y="274"/>
                  <a:pt x="540" y="274"/>
                  <a:pt x="541" y="273"/>
                </a:cubicBezTo>
                <a:cubicBezTo>
                  <a:pt x="541" y="273"/>
                  <a:pt x="541" y="273"/>
                  <a:pt x="542" y="272"/>
                </a:cubicBezTo>
                <a:cubicBezTo>
                  <a:pt x="542" y="272"/>
                  <a:pt x="542" y="272"/>
                  <a:pt x="541" y="272"/>
                </a:cubicBezTo>
                <a:cubicBezTo>
                  <a:pt x="541" y="272"/>
                  <a:pt x="541" y="272"/>
                  <a:pt x="540" y="273"/>
                </a:cubicBezTo>
                <a:cubicBezTo>
                  <a:pt x="540" y="273"/>
                  <a:pt x="540" y="273"/>
                  <a:pt x="540" y="274"/>
                </a:cubicBezTo>
                <a:close/>
                <a:moveTo>
                  <a:pt x="548" y="268"/>
                </a:moveTo>
                <a:cubicBezTo>
                  <a:pt x="548" y="268"/>
                  <a:pt x="548" y="268"/>
                  <a:pt x="547" y="267"/>
                </a:cubicBezTo>
                <a:cubicBezTo>
                  <a:pt x="547" y="267"/>
                  <a:pt x="547" y="267"/>
                  <a:pt x="546" y="268"/>
                </a:cubicBezTo>
                <a:cubicBezTo>
                  <a:pt x="546" y="268"/>
                  <a:pt x="546" y="268"/>
                  <a:pt x="547" y="268"/>
                </a:cubicBezTo>
                <a:cubicBezTo>
                  <a:pt x="547" y="268"/>
                  <a:pt x="547" y="268"/>
                  <a:pt x="548" y="268"/>
                </a:cubicBezTo>
                <a:close/>
                <a:moveTo>
                  <a:pt x="603" y="355"/>
                </a:moveTo>
                <a:cubicBezTo>
                  <a:pt x="603" y="355"/>
                  <a:pt x="603" y="355"/>
                  <a:pt x="604" y="355"/>
                </a:cubicBezTo>
                <a:cubicBezTo>
                  <a:pt x="604" y="355"/>
                  <a:pt x="604" y="355"/>
                  <a:pt x="605" y="354"/>
                </a:cubicBezTo>
                <a:cubicBezTo>
                  <a:pt x="605" y="354"/>
                  <a:pt x="605" y="354"/>
                  <a:pt x="604" y="353"/>
                </a:cubicBezTo>
                <a:cubicBezTo>
                  <a:pt x="604" y="353"/>
                  <a:pt x="604" y="353"/>
                  <a:pt x="603" y="353"/>
                </a:cubicBezTo>
                <a:cubicBezTo>
                  <a:pt x="603" y="353"/>
                  <a:pt x="603" y="353"/>
                  <a:pt x="603" y="354"/>
                </a:cubicBezTo>
                <a:cubicBezTo>
                  <a:pt x="603" y="354"/>
                  <a:pt x="603" y="354"/>
                  <a:pt x="603" y="355"/>
                </a:cubicBezTo>
                <a:close/>
                <a:moveTo>
                  <a:pt x="593" y="312"/>
                </a:moveTo>
                <a:cubicBezTo>
                  <a:pt x="593" y="312"/>
                  <a:pt x="593" y="312"/>
                  <a:pt x="592" y="313"/>
                </a:cubicBezTo>
                <a:cubicBezTo>
                  <a:pt x="592" y="313"/>
                  <a:pt x="592" y="313"/>
                  <a:pt x="592" y="314"/>
                </a:cubicBezTo>
                <a:cubicBezTo>
                  <a:pt x="592" y="314"/>
                  <a:pt x="592" y="314"/>
                  <a:pt x="593" y="313"/>
                </a:cubicBezTo>
                <a:cubicBezTo>
                  <a:pt x="593" y="313"/>
                  <a:pt x="593" y="313"/>
                  <a:pt x="593" y="312"/>
                </a:cubicBezTo>
                <a:close/>
                <a:moveTo>
                  <a:pt x="538" y="276"/>
                </a:moveTo>
                <a:cubicBezTo>
                  <a:pt x="538" y="276"/>
                  <a:pt x="538" y="276"/>
                  <a:pt x="539" y="276"/>
                </a:cubicBezTo>
                <a:cubicBezTo>
                  <a:pt x="539" y="276"/>
                  <a:pt x="539" y="276"/>
                  <a:pt x="539" y="275"/>
                </a:cubicBezTo>
                <a:cubicBezTo>
                  <a:pt x="539" y="275"/>
                  <a:pt x="539" y="275"/>
                  <a:pt x="540" y="274"/>
                </a:cubicBezTo>
                <a:cubicBezTo>
                  <a:pt x="540" y="274"/>
                  <a:pt x="540" y="274"/>
                  <a:pt x="538" y="275"/>
                </a:cubicBezTo>
                <a:cubicBezTo>
                  <a:pt x="538" y="275"/>
                  <a:pt x="538" y="275"/>
                  <a:pt x="538" y="276"/>
                </a:cubicBezTo>
                <a:close/>
                <a:moveTo>
                  <a:pt x="589" y="318"/>
                </a:moveTo>
                <a:cubicBezTo>
                  <a:pt x="589" y="318"/>
                  <a:pt x="589" y="318"/>
                  <a:pt x="588" y="319"/>
                </a:cubicBezTo>
                <a:cubicBezTo>
                  <a:pt x="588" y="319"/>
                  <a:pt x="588" y="319"/>
                  <a:pt x="589" y="321"/>
                </a:cubicBezTo>
                <a:cubicBezTo>
                  <a:pt x="589" y="321"/>
                  <a:pt x="589" y="321"/>
                  <a:pt x="589" y="322"/>
                </a:cubicBezTo>
                <a:cubicBezTo>
                  <a:pt x="589" y="322"/>
                  <a:pt x="589" y="322"/>
                  <a:pt x="590" y="322"/>
                </a:cubicBezTo>
                <a:cubicBezTo>
                  <a:pt x="590" y="322"/>
                  <a:pt x="590" y="322"/>
                  <a:pt x="589" y="323"/>
                </a:cubicBezTo>
                <a:cubicBezTo>
                  <a:pt x="589" y="323"/>
                  <a:pt x="589" y="323"/>
                  <a:pt x="590" y="325"/>
                </a:cubicBezTo>
                <a:cubicBezTo>
                  <a:pt x="590" y="325"/>
                  <a:pt x="590" y="325"/>
                  <a:pt x="591" y="325"/>
                </a:cubicBezTo>
                <a:cubicBezTo>
                  <a:pt x="591" y="325"/>
                  <a:pt x="591" y="325"/>
                  <a:pt x="592" y="324"/>
                </a:cubicBezTo>
                <a:cubicBezTo>
                  <a:pt x="592" y="324"/>
                  <a:pt x="592" y="324"/>
                  <a:pt x="592" y="322"/>
                </a:cubicBezTo>
                <a:cubicBezTo>
                  <a:pt x="592" y="322"/>
                  <a:pt x="592" y="322"/>
                  <a:pt x="591" y="321"/>
                </a:cubicBezTo>
                <a:cubicBezTo>
                  <a:pt x="591" y="321"/>
                  <a:pt x="591" y="321"/>
                  <a:pt x="591" y="319"/>
                </a:cubicBezTo>
                <a:cubicBezTo>
                  <a:pt x="591" y="319"/>
                  <a:pt x="591" y="319"/>
                  <a:pt x="593" y="322"/>
                </a:cubicBezTo>
                <a:cubicBezTo>
                  <a:pt x="593" y="322"/>
                  <a:pt x="593" y="322"/>
                  <a:pt x="593" y="323"/>
                </a:cubicBezTo>
                <a:cubicBezTo>
                  <a:pt x="593" y="323"/>
                  <a:pt x="593" y="323"/>
                  <a:pt x="594" y="325"/>
                </a:cubicBezTo>
                <a:cubicBezTo>
                  <a:pt x="594" y="325"/>
                  <a:pt x="594" y="325"/>
                  <a:pt x="595" y="325"/>
                </a:cubicBezTo>
                <a:cubicBezTo>
                  <a:pt x="595" y="325"/>
                  <a:pt x="595" y="325"/>
                  <a:pt x="595" y="323"/>
                </a:cubicBezTo>
                <a:cubicBezTo>
                  <a:pt x="595" y="323"/>
                  <a:pt x="595" y="323"/>
                  <a:pt x="596" y="322"/>
                </a:cubicBezTo>
                <a:cubicBezTo>
                  <a:pt x="596" y="322"/>
                  <a:pt x="596" y="322"/>
                  <a:pt x="595" y="321"/>
                </a:cubicBezTo>
                <a:cubicBezTo>
                  <a:pt x="595" y="321"/>
                  <a:pt x="595" y="321"/>
                  <a:pt x="594" y="321"/>
                </a:cubicBezTo>
                <a:cubicBezTo>
                  <a:pt x="594" y="321"/>
                  <a:pt x="594" y="321"/>
                  <a:pt x="594" y="320"/>
                </a:cubicBezTo>
                <a:cubicBezTo>
                  <a:pt x="594" y="320"/>
                  <a:pt x="594" y="320"/>
                  <a:pt x="592" y="318"/>
                </a:cubicBezTo>
                <a:cubicBezTo>
                  <a:pt x="592" y="318"/>
                  <a:pt x="592" y="318"/>
                  <a:pt x="592" y="317"/>
                </a:cubicBezTo>
                <a:cubicBezTo>
                  <a:pt x="592" y="317"/>
                  <a:pt x="592" y="317"/>
                  <a:pt x="594" y="319"/>
                </a:cubicBezTo>
                <a:cubicBezTo>
                  <a:pt x="594" y="319"/>
                  <a:pt x="594" y="319"/>
                  <a:pt x="595" y="320"/>
                </a:cubicBezTo>
                <a:cubicBezTo>
                  <a:pt x="595" y="320"/>
                  <a:pt x="595" y="320"/>
                  <a:pt x="596" y="320"/>
                </a:cubicBezTo>
                <a:cubicBezTo>
                  <a:pt x="596" y="320"/>
                  <a:pt x="596" y="320"/>
                  <a:pt x="596" y="319"/>
                </a:cubicBezTo>
                <a:cubicBezTo>
                  <a:pt x="596" y="319"/>
                  <a:pt x="596" y="319"/>
                  <a:pt x="597" y="318"/>
                </a:cubicBezTo>
                <a:cubicBezTo>
                  <a:pt x="597" y="318"/>
                  <a:pt x="597" y="318"/>
                  <a:pt x="596" y="316"/>
                </a:cubicBezTo>
                <a:cubicBezTo>
                  <a:pt x="596" y="316"/>
                  <a:pt x="596" y="316"/>
                  <a:pt x="595" y="317"/>
                </a:cubicBezTo>
                <a:cubicBezTo>
                  <a:pt x="595" y="317"/>
                  <a:pt x="595" y="317"/>
                  <a:pt x="594" y="318"/>
                </a:cubicBezTo>
                <a:cubicBezTo>
                  <a:pt x="594" y="318"/>
                  <a:pt x="594" y="318"/>
                  <a:pt x="594" y="317"/>
                </a:cubicBezTo>
                <a:cubicBezTo>
                  <a:pt x="594" y="317"/>
                  <a:pt x="594" y="317"/>
                  <a:pt x="594" y="316"/>
                </a:cubicBezTo>
                <a:cubicBezTo>
                  <a:pt x="594" y="316"/>
                  <a:pt x="594" y="316"/>
                  <a:pt x="594" y="315"/>
                </a:cubicBezTo>
                <a:cubicBezTo>
                  <a:pt x="594" y="315"/>
                  <a:pt x="594" y="315"/>
                  <a:pt x="593" y="314"/>
                </a:cubicBezTo>
                <a:cubicBezTo>
                  <a:pt x="593" y="314"/>
                  <a:pt x="593" y="314"/>
                  <a:pt x="591" y="315"/>
                </a:cubicBezTo>
                <a:cubicBezTo>
                  <a:pt x="591" y="315"/>
                  <a:pt x="591" y="315"/>
                  <a:pt x="591" y="316"/>
                </a:cubicBezTo>
                <a:cubicBezTo>
                  <a:pt x="591" y="316"/>
                  <a:pt x="591" y="316"/>
                  <a:pt x="590" y="314"/>
                </a:cubicBezTo>
                <a:cubicBezTo>
                  <a:pt x="590" y="314"/>
                  <a:pt x="590" y="314"/>
                  <a:pt x="589" y="316"/>
                </a:cubicBezTo>
                <a:cubicBezTo>
                  <a:pt x="589" y="316"/>
                  <a:pt x="589" y="316"/>
                  <a:pt x="590" y="317"/>
                </a:cubicBezTo>
                <a:cubicBezTo>
                  <a:pt x="590" y="317"/>
                  <a:pt x="590" y="317"/>
                  <a:pt x="590" y="318"/>
                </a:cubicBezTo>
                <a:cubicBezTo>
                  <a:pt x="590" y="318"/>
                  <a:pt x="590" y="318"/>
                  <a:pt x="589" y="318"/>
                </a:cubicBezTo>
                <a:close/>
                <a:moveTo>
                  <a:pt x="595" y="329"/>
                </a:moveTo>
                <a:cubicBezTo>
                  <a:pt x="595" y="329"/>
                  <a:pt x="595" y="329"/>
                  <a:pt x="595" y="330"/>
                </a:cubicBezTo>
                <a:cubicBezTo>
                  <a:pt x="595" y="330"/>
                  <a:pt x="595" y="330"/>
                  <a:pt x="596" y="329"/>
                </a:cubicBezTo>
                <a:cubicBezTo>
                  <a:pt x="596" y="329"/>
                  <a:pt x="596" y="329"/>
                  <a:pt x="598" y="328"/>
                </a:cubicBezTo>
                <a:cubicBezTo>
                  <a:pt x="598" y="328"/>
                  <a:pt x="598" y="328"/>
                  <a:pt x="598" y="326"/>
                </a:cubicBezTo>
                <a:cubicBezTo>
                  <a:pt x="598" y="326"/>
                  <a:pt x="598" y="326"/>
                  <a:pt x="596" y="326"/>
                </a:cubicBezTo>
                <a:cubicBezTo>
                  <a:pt x="596" y="326"/>
                  <a:pt x="596" y="326"/>
                  <a:pt x="595" y="326"/>
                </a:cubicBezTo>
                <a:cubicBezTo>
                  <a:pt x="595" y="326"/>
                  <a:pt x="595" y="326"/>
                  <a:pt x="595" y="328"/>
                </a:cubicBezTo>
                <a:cubicBezTo>
                  <a:pt x="595" y="328"/>
                  <a:pt x="595" y="328"/>
                  <a:pt x="595" y="329"/>
                </a:cubicBezTo>
                <a:close/>
                <a:moveTo>
                  <a:pt x="600" y="326"/>
                </a:moveTo>
                <a:cubicBezTo>
                  <a:pt x="600" y="326"/>
                  <a:pt x="600" y="326"/>
                  <a:pt x="600" y="325"/>
                </a:cubicBezTo>
                <a:cubicBezTo>
                  <a:pt x="600" y="325"/>
                  <a:pt x="600" y="325"/>
                  <a:pt x="600" y="324"/>
                </a:cubicBezTo>
                <a:cubicBezTo>
                  <a:pt x="600" y="324"/>
                  <a:pt x="600" y="324"/>
                  <a:pt x="600" y="320"/>
                </a:cubicBezTo>
                <a:cubicBezTo>
                  <a:pt x="600" y="320"/>
                  <a:pt x="600" y="320"/>
                  <a:pt x="601" y="319"/>
                </a:cubicBezTo>
                <a:cubicBezTo>
                  <a:pt x="601" y="319"/>
                  <a:pt x="601" y="319"/>
                  <a:pt x="601" y="321"/>
                </a:cubicBezTo>
                <a:cubicBezTo>
                  <a:pt x="601" y="321"/>
                  <a:pt x="601" y="321"/>
                  <a:pt x="601" y="324"/>
                </a:cubicBezTo>
                <a:cubicBezTo>
                  <a:pt x="601" y="324"/>
                  <a:pt x="601" y="324"/>
                  <a:pt x="602" y="324"/>
                </a:cubicBezTo>
                <a:cubicBezTo>
                  <a:pt x="602" y="324"/>
                  <a:pt x="602" y="324"/>
                  <a:pt x="602" y="323"/>
                </a:cubicBezTo>
                <a:cubicBezTo>
                  <a:pt x="602" y="323"/>
                  <a:pt x="602" y="323"/>
                  <a:pt x="602" y="318"/>
                </a:cubicBezTo>
                <a:cubicBezTo>
                  <a:pt x="602" y="318"/>
                  <a:pt x="602" y="318"/>
                  <a:pt x="601" y="317"/>
                </a:cubicBezTo>
                <a:cubicBezTo>
                  <a:pt x="601" y="317"/>
                  <a:pt x="601" y="317"/>
                  <a:pt x="600" y="316"/>
                </a:cubicBezTo>
                <a:cubicBezTo>
                  <a:pt x="600" y="316"/>
                  <a:pt x="600" y="316"/>
                  <a:pt x="600" y="315"/>
                </a:cubicBezTo>
                <a:cubicBezTo>
                  <a:pt x="600" y="315"/>
                  <a:pt x="600" y="315"/>
                  <a:pt x="599" y="314"/>
                </a:cubicBezTo>
                <a:cubicBezTo>
                  <a:pt x="599" y="314"/>
                  <a:pt x="599" y="314"/>
                  <a:pt x="598" y="316"/>
                </a:cubicBezTo>
                <a:cubicBezTo>
                  <a:pt x="598" y="316"/>
                  <a:pt x="598" y="316"/>
                  <a:pt x="598" y="320"/>
                </a:cubicBezTo>
                <a:cubicBezTo>
                  <a:pt x="598" y="320"/>
                  <a:pt x="598" y="320"/>
                  <a:pt x="597" y="321"/>
                </a:cubicBezTo>
                <a:cubicBezTo>
                  <a:pt x="597" y="321"/>
                  <a:pt x="597" y="321"/>
                  <a:pt x="597" y="323"/>
                </a:cubicBezTo>
                <a:cubicBezTo>
                  <a:pt x="597" y="323"/>
                  <a:pt x="597" y="323"/>
                  <a:pt x="598" y="324"/>
                </a:cubicBezTo>
                <a:cubicBezTo>
                  <a:pt x="598" y="324"/>
                  <a:pt x="598" y="324"/>
                  <a:pt x="597" y="325"/>
                </a:cubicBezTo>
                <a:cubicBezTo>
                  <a:pt x="597" y="325"/>
                  <a:pt x="597" y="325"/>
                  <a:pt x="598" y="326"/>
                </a:cubicBezTo>
                <a:cubicBezTo>
                  <a:pt x="598" y="326"/>
                  <a:pt x="598" y="326"/>
                  <a:pt x="599" y="326"/>
                </a:cubicBezTo>
                <a:cubicBezTo>
                  <a:pt x="599" y="326"/>
                  <a:pt x="599" y="326"/>
                  <a:pt x="600" y="326"/>
                </a:cubicBezTo>
                <a:close/>
                <a:moveTo>
                  <a:pt x="595" y="326"/>
                </a:moveTo>
                <a:cubicBezTo>
                  <a:pt x="595" y="326"/>
                  <a:pt x="595" y="326"/>
                  <a:pt x="594" y="325"/>
                </a:cubicBezTo>
                <a:cubicBezTo>
                  <a:pt x="594" y="325"/>
                  <a:pt x="594" y="325"/>
                  <a:pt x="594" y="326"/>
                </a:cubicBezTo>
                <a:cubicBezTo>
                  <a:pt x="594" y="326"/>
                  <a:pt x="594" y="326"/>
                  <a:pt x="595" y="326"/>
                </a:cubicBezTo>
                <a:close/>
                <a:moveTo>
                  <a:pt x="547" y="273"/>
                </a:moveTo>
                <a:cubicBezTo>
                  <a:pt x="547" y="273"/>
                  <a:pt x="547" y="273"/>
                  <a:pt x="546" y="273"/>
                </a:cubicBezTo>
                <a:cubicBezTo>
                  <a:pt x="546" y="273"/>
                  <a:pt x="546" y="273"/>
                  <a:pt x="545" y="274"/>
                </a:cubicBezTo>
                <a:cubicBezTo>
                  <a:pt x="545" y="274"/>
                  <a:pt x="545" y="274"/>
                  <a:pt x="545" y="276"/>
                </a:cubicBezTo>
                <a:cubicBezTo>
                  <a:pt x="545" y="276"/>
                  <a:pt x="545" y="276"/>
                  <a:pt x="547" y="276"/>
                </a:cubicBezTo>
                <a:cubicBezTo>
                  <a:pt x="547" y="276"/>
                  <a:pt x="547" y="276"/>
                  <a:pt x="548" y="275"/>
                </a:cubicBezTo>
                <a:cubicBezTo>
                  <a:pt x="548" y="275"/>
                  <a:pt x="548" y="275"/>
                  <a:pt x="547" y="275"/>
                </a:cubicBezTo>
                <a:cubicBezTo>
                  <a:pt x="547" y="275"/>
                  <a:pt x="547" y="275"/>
                  <a:pt x="547" y="273"/>
                </a:cubicBezTo>
                <a:close/>
                <a:moveTo>
                  <a:pt x="483" y="310"/>
                </a:moveTo>
                <a:cubicBezTo>
                  <a:pt x="483" y="310"/>
                  <a:pt x="483" y="310"/>
                  <a:pt x="484" y="310"/>
                </a:cubicBezTo>
                <a:cubicBezTo>
                  <a:pt x="484" y="310"/>
                  <a:pt x="484" y="310"/>
                  <a:pt x="485" y="310"/>
                </a:cubicBezTo>
                <a:cubicBezTo>
                  <a:pt x="485" y="310"/>
                  <a:pt x="485" y="310"/>
                  <a:pt x="486" y="309"/>
                </a:cubicBezTo>
                <a:cubicBezTo>
                  <a:pt x="486" y="309"/>
                  <a:pt x="486" y="309"/>
                  <a:pt x="486" y="308"/>
                </a:cubicBezTo>
                <a:cubicBezTo>
                  <a:pt x="486" y="308"/>
                  <a:pt x="486" y="308"/>
                  <a:pt x="483" y="309"/>
                </a:cubicBezTo>
                <a:cubicBezTo>
                  <a:pt x="483" y="309"/>
                  <a:pt x="483" y="309"/>
                  <a:pt x="483" y="310"/>
                </a:cubicBezTo>
                <a:close/>
                <a:moveTo>
                  <a:pt x="498" y="297"/>
                </a:moveTo>
                <a:cubicBezTo>
                  <a:pt x="498" y="297"/>
                  <a:pt x="498" y="297"/>
                  <a:pt x="497" y="298"/>
                </a:cubicBezTo>
                <a:cubicBezTo>
                  <a:pt x="497" y="298"/>
                  <a:pt x="497" y="298"/>
                  <a:pt x="496" y="298"/>
                </a:cubicBezTo>
                <a:cubicBezTo>
                  <a:pt x="496" y="298"/>
                  <a:pt x="496" y="298"/>
                  <a:pt x="496" y="297"/>
                </a:cubicBezTo>
                <a:cubicBezTo>
                  <a:pt x="496" y="297"/>
                  <a:pt x="496" y="297"/>
                  <a:pt x="496" y="296"/>
                </a:cubicBezTo>
                <a:cubicBezTo>
                  <a:pt x="496" y="296"/>
                  <a:pt x="496" y="296"/>
                  <a:pt x="495" y="295"/>
                </a:cubicBezTo>
                <a:cubicBezTo>
                  <a:pt x="495" y="295"/>
                  <a:pt x="495" y="295"/>
                  <a:pt x="495" y="296"/>
                </a:cubicBezTo>
                <a:cubicBezTo>
                  <a:pt x="495" y="296"/>
                  <a:pt x="495" y="296"/>
                  <a:pt x="495" y="298"/>
                </a:cubicBezTo>
                <a:cubicBezTo>
                  <a:pt x="495" y="298"/>
                  <a:pt x="495" y="298"/>
                  <a:pt x="494" y="297"/>
                </a:cubicBezTo>
                <a:cubicBezTo>
                  <a:pt x="494" y="297"/>
                  <a:pt x="494" y="297"/>
                  <a:pt x="493" y="298"/>
                </a:cubicBezTo>
                <a:cubicBezTo>
                  <a:pt x="493" y="298"/>
                  <a:pt x="493" y="298"/>
                  <a:pt x="492" y="299"/>
                </a:cubicBezTo>
                <a:cubicBezTo>
                  <a:pt x="492" y="299"/>
                  <a:pt x="492" y="299"/>
                  <a:pt x="492" y="298"/>
                </a:cubicBezTo>
                <a:cubicBezTo>
                  <a:pt x="492" y="298"/>
                  <a:pt x="492" y="298"/>
                  <a:pt x="491" y="299"/>
                </a:cubicBezTo>
                <a:cubicBezTo>
                  <a:pt x="491" y="299"/>
                  <a:pt x="491" y="299"/>
                  <a:pt x="490" y="298"/>
                </a:cubicBezTo>
                <a:cubicBezTo>
                  <a:pt x="490" y="298"/>
                  <a:pt x="490" y="298"/>
                  <a:pt x="490" y="299"/>
                </a:cubicBezTo>
                <a:cubicBezTo>
                  <a:pt x="490" y="299"/>
                  <a:pt x="490" y="299"/>
                  <a:pt x="490" y="300"/>
                </a:cubicBezTo>
                <a:cubicBezTo>
                  <a:pt x="490" y="300"/>
                  <a:pt x="490" y="300"/>
                  <a:pt x="489" y="301"/>
                </a:cubicBezTo>
                <a:cubicBezTo>
                  <a:pt x="489" y="301"/>
                  <a:pt x="489" y="301"/>
                  <a:pt x="489" y="298"/>
                </a:cubicBezTo>
                <a:cubicBezTo>
                  <a:pt x="489" y="298"/>
                  <a:pt x="489" y="298"/>
                  <a:pt x="488" y="298"/>
                </a:cubicBezTo>
                <a:cubicBezTo>
                  <a:pt x="488" y="298"/>
                  <a:pt x="488" y="298"/>
                  <a:pt x="487" y="298"/>
                </a:cubicBezTo>
                <a:cubicBezTo>
                  <a:pt x="487" y="298"/>
                  <a:pt x="487" y="298"/>
                  <a:pt x="484" y="300"/>
                </a:cubicBezTo>
                <a:cubicBezTo>
                  <a:pt x="484" y="300"/>
                  <a:pt x="484" y="300"/>
                  <a:pt x="482" y="301"/>
                </a:cubicBezTo>
                <a:cubicBezTo>
                  <a:pt x="482" y="301"/>
                  <a:pt x="482" y="301"/>
                  <a:pt x="482" y="302"/>
                </a:cubicBezTo>
                <a:cubicBezTo>
                  <a:pt x="482" y="302"/>
                  <a:pt x="482" y="302"/>
                  <a:pt x="483" y="302"/>
                </a:cubicBezTo>
                <a:cubicBezTo>
                  <a:pt x="483" y="302"/>
                  <a:pt x="483" y="302"/>
                  <a:pt x="483" y="304"/>
                </a:cubicBezTo>
                <a:cubicBezTo>
                  <a:pt x="483" y="304"/>
                  <a:pt x="483" y="304"/>
                  <a:pt x="482" y="305"/>
                </a:cubicBezTo>
                <a:cubicBezTo>
                  <a:pt x="482" y="305"/>
                  <a:pt x="482" y="305"/>
                  <a:pt x="482" y="306"/>
                </a:cubicBezTo>
                <a:cubicBezTo>
                  <a:pt x="482" y="306"/>
                  <a:pt x="482" y="306"/>
                  <a:pt x="482" y="307"/>
                </a:cubicBezTo>
                <a:cubicBezTo>
                  <a:pt x="482" y="307"/>
                  <a:pt x="482" y="307"/>
                  <a:pt x="483" y="308"/>
                </a:cubicBezTo>
                <a:cubicBezTo>
                  <a:pt x="483" y="308"/>
                  <a:pt x="483" y="308"/>
                  <a:pt x="483" y="307"/>
                </a:cubicBezTo>
                <a:cubicBezTo>
                  <a:pt x="483" y="307"/>
                  <a:pt x="483" y="307"/>
                  <a:pt x="484" y="307"/>
                </a:cubicBezTo>
                <a:cubicBezTo>
                  <a:pt x="484" y="307"/>
                  <a:pt x="484" y="307"/>
                  <a:pt x="483" y="306"/>
                </a:cubicBezTo>
                <a:cubicBezTo>
                  <a:pt x="483" y="306"/>
                  <a:pt x="483" y="306"/>
                  <a:pt x="484" y="306"/>
                </a:cubicBezTo>
                <a:cubicBezTo>
                  <a:pt x="484" y="306"/>
                  <a:pt x="484" y="306"/>
                  <a:pt x="485" y="307"/>
                </a:cubicBezTo>
                <a:cubicBezTo>
                  <a:pt x="485" y="307"/>
                  <a:pt x="485" y="307"/>
                  <a:pt x="486" y="306"/>
                </a:cubicBezTo>
                <a:cubicBezTo>
                  <a:pt x="486" y="306"/>
                  <a:pt x="486" y="306"/>
                  <a:pt x="486" y="307"/>
                </a:cubicBezTo>
                <a:cubicBezTo>
                  <a:pt x="486" y="307"/>
                  <a:pt x="486" y="307"/>
                  <a:pt x="486" y="308"/>
                </a:cubicBezTo>
                <a:cubicBezTo>
                  <a:pt x="486" y="308"/>
                  <a:pt x="486" y="308"/>
                  <a:pt x="487" y="307"/>
                </a:cubicBezTo>
                <a:cubicBezTo>
                  <a:pt x="487" y="307"/>
                  <a:pt x="487" y="307"/>
                  <a:pt x="487" y="306"/>
                </a:cubicBezTo>
                <a:cubicBezTo>
                  <a:pt x="487" y="306"/>
                  <a:pt x="487" y="306"/>
                  <a:pt x="488" y="306"/>
                </a:cubicBezTo>
                <a:cubicBezTo>
                  <a:pt x="488" y="306"/>
                  <a:pt x="488" y="306"/>
                  <a:pt x="489" y="305"/>
                </a:cubicBezTo>
                <a:cubicBezTo>
                  <a:pt x="489" y="305"/>
                  <a:pt x="489" y="305"/>
                  <a:pt x="490" y="305"/>
                </a:cubicBezTo>
                <a:cubicBezTo>
                  <a:pt x="490" y="305"/>
                  <a:pt x="490" y="305"/>
                  <a:pt x="491" y="305"/>
                </a:cubicBezTo>
                <a:cubicBezTo>
                  <a:pt x="491" y="305"/>
                  <a:pt x="491" y="305"/>
                  <a:pt x="492" y="304"/>
                </a:cubicBezTo>
                <a:cubicBezTo>
                  <a:pt x="492" y="304"/>
                  <a:pt x="492" y="304"/>
                  <a:pt x="491" y="303"/>
                </a:cubicBezTo>
                <a:cubicBezTo>
                  <a:pt x="491" y="303"/>
                  <a:pt x="491" y="303"/>
                  <a:pt x="493" y="303"/>
                </a:cubicBezTo>
                <a:cubicBezTo>
                  <a:pt x="493" y="303"/>
                  <a:pt x="493" y="303"/>
                  <a:pt x="494" y="304"/>
                </a:cubicBezTo>
                <a:cubicBezTo>
                  <a:pt x="494" y="304"/>
                  <a:pt x="494" y="304"/>
                  <a:pt x="495" y="304"/>
                </a:cubicBezTo>
                <a:cubicBezTo>
                  <a:pt x="495" y="304"/>
                  <a:pt x="495" y="304"/>
                  <a:pt x="495" y="303"/>
                </a:cubicBezTo>
                <a:cubicBezTo>
                  <a:pt x="495" y="303"/>
                  <a:pt x="495" y="303"/>
                  <a:pt x="495" y="302"/>
                </a:cubicBezTo>
                <a:cubicBezTo>
                  <a:pt x="495" y="302"/>
                  <a:pt x="495" y="302"/>
                  <a:pt x="494" y="301"/>
                </a:cubicBezTo>
                <a:cubicBezTo>
                  <a:pt x="494" y="301"/>
                  <a:pt x="494" y="301"/>
                  <a:pt x="495" y="301"/>
                </a:cubicBezTo>
                <a:cubicBezTo>
                  <a:pt x="495" y="301"/>
                  <a:pt x="495" y="301"/>
                  <a:pt x="496" y="301"/>
                </a:cubicBezTo>
                <a:cubicBezTo>
                  <a:pt x="496" y="301"/>
                  <a:pt x="496" y="301"/>
                  <a:pt x="497" y="301"/>
                </a:cubicBezTo>
                <a:cubicBezTo>
                  <a:pt x="497" y="301"/>
                  <a:pt x="497" y="301"/>
                  <a:pt x="498" y="302"/>
                </a:cubicBezTo>
                <a:cubicBezTo>
                  <a:pt x="498" y="302"/>
                  <a:pt x="498" y="302"/>
                  <a:pt x="499" y="300"/>
                </a:cubicBezTo>
                <a:cubicBezTo>
                  <a:pt x="499" y="300"/>
                  <a:pt x="499" y="300"/>
                  <a:pt x="499" y="299"/>
                </a:cubicBezTo>
                <a:cubicBezTo>
                  <a:pt x="499" y="299"/>
                  <a:pt x="499" y="299"/>
                  <a:pt x="498" y="299"/>
                </a:cubicBezTo>
                <a:cubicBezTo>
                  <a:pt x="498" y="299"/>
                  <a:pt x="498" y="299"/>
                  <a:pt x="498" y="298"/>
                </a:cubicBezTo>
                <a:cubicBezTo>
                  <a:pt x="498" y="298"/>
                  <a:pt x="498" y="298"/>
                  <a:pt x="499" y="298"/>
                </a:cubicBezTo>
                <a:cubicBezTo>
                  <a:pt x="499" y="298"/>
                  <a:pt x="499" y="298"/>
                  <a:pt x="500" y="298"/>
                </a:cubicBezTo>
                <a:cubicBezTo>
                  <a:pt x="500" y="298"/>
                  <a:pt x="500" y="298"/>
                  <a:pt x="500" y="297"/>
                </a:cubicBezTo>
                <a:cubicBezTo>
                  <a:pt x="500" y="297"/>
                  <a:pt x="500" y="297"/>
                  <a:pt x="499" y="296"/>
                </a:cubicBezTo>
                <a:cubicBezTo>
                  <a:pt x="499" y="296"/>
                  <a:pt x="499" y="296"/>
                  <a:pt x="498" y="297"/>
                </a:cubicBezTo>
                <a:close/>
                <a:moveTo>
                  <a:pt x="482" y="312"/>
                </a:moveTo>
                <a:cubicBezTo>
                  <a:pt x="482" y="312"/>
                  <a:pt x="482" y="312"/>
                  <a:pt x="482" y="311"/>
                </a:cubicBezTo>
                <a:cubicBezTo>
                  <a:pt x="482" y="311"/>
                  <a:pt x="482" y="311"/>
                  <a:pt x="481" y="312"/>
                </a:cubicBezTo>
                <a:cubicBezTo>
                  <a:pt x="481" y="312"/>
                  <a:pt x="481" y="312"/>
                  <a:pt x="482" y="312"/>
                </a:cubicBezTo>
                <a:close/>
                <a:moveTo>
                  <a:pt x="541" y="266"/>
                </a:moveTo>
                <a:cubicBezTo>
                  <a:pt x="541" y="266"/>
                  <a:pt x="541" y="266"/>
                  <a:pt x="540" y="267"/>
                </a:cubicBezTo>
                <a:cubicBezTo>
                  <a:pt x="540" y="267"/>
                  <a:pt x="540" y="267"/>
                  <a:pt x="541" y="269"/>
                </a:cubicBezTo>
                <a:cubicBezTo>
                  <a:pt x="541" y="269"/>
                  <a:pt x="541" y="269"/>
                  <a:pt x="542" y="268"/>
                </a:cubicBezTo>
                <a:cubicBezTo>
                  <a:pt x="542" y="268"/>
                  <a:pt x="542" y="268"/>
                  <a:pt x="541" y="267"/>
                </a:cubicBezTo>
                <a:cubicBezTo>
                  <a:pt x="541" y="267"/>
                  <a:pt x="541" y="267"/>
                  <a:pt x="542" y="267"/>
                </a:cubicBezTo>
                <a:cubicBezTo>
                  <a:pt x="542" y="267"/>
                  <a:pt x="542" y="267"/>
                  <a:pt x="541" y="266"/>
                </a:cubicBezTo>
                <a:close/>
                <a:moveTo>
                  <a:pt x="479" y="311"/>
                </a:moveTo>
                <a:cubicBezTo>
                  <a:pt x="479" y="311"/>
                  <a:pt x="479" y="311"/>
                  <a:pt x="478" y="313"/>
                </a:cubicBezTo>
                <a:cubicBezTo>
                  <a:pt x="478" y="313"/>
                  <a:pt x="478" y="313"/>
                  <a:pt x="479" y="313"/>
                </a:cubicBezTo>
                <a:cubicBezTo>
                  <a:pt x="479" y="313"/>
                  <a:pt x="479" y="313"/>
                  <a:pt x="481" y="310"/>
                </a:cubicBezTo>
                <a:cubicBezTo>
                  <a:pt x="481" y="310"/>
                  <a:pt x="481" y="310"/>
                  <a:pt x="479" y="311"/>
                </a:cubicBezTo>
                <a:close/>
                <a:moveTo>
                  <a:pt x="469" y="320"/>
                </a:moveTo>
                <a:cubicBezTo>
                  <a:pt x="469" y="320"/>
                  <a:pt x="469" y="320"/>
                  <a:pt x="470" y="320"/>
                </a:cubicBezTo>
                <a:cubicBezTo>
                  <a:pt x="470" y="320"/>
                  <a:pt x="470" y="320"/>
                  <a:pt x="470" y="319"/>
                </a:cubicBezTo>
                <a:cubicBezTo>
                  <a:pt x="470" y="319"/>
                  <a:pt x="470" y="319"/>
                  <a:pt x="469" y="319"/>
                </a:cubicBezTo>
                <a:cubicBezTo>
                  <a:pt x="469" y="319"/>
                  <a:pt x="469" y="319"/>
                  <a:pt x="469" y="320"/>
                </a:cubicBezTo>
                <a:close/>
                <a:moveTo>
                  <a:pt x="493" y="296"/>
                </a:moveTo>
                <a:cubicBezTo>
                  <a:pt x="493" y="296"/>
                  <a:pt x="493" y="296"/>
                  <a:pt x="492" y="295"/>
                </a:cubicBezTo>
                <a:cubicBezTo>
                  <a:pt x="492" y="295"/>
                  <a:pt x="492" y="295"/>
                  <a:pt x="491" y="295"/>
                </a:cubicBezTo>
                <a:cubicBezTo>
                  <a:pt x="491" y="295"/>
                  <a:pt x="491" y="295"/>
                  <a:pt x="490" y="297"/>
                </a:cubicBezTo>
                <a:cubicBezTo>
                  <a:pt x="490" y="297"/>
                  <a:pt x="490" y="297"/>
                  <a:pt x="492" y="298"/>
                </a:cubicBezTo>
                <a:cubicBezTo>
                  <a:pt x="492" y="298"/>
                  <a:pt x="492" y="298"/>
                  <a:pt x="493" y="297"/>
                </a:cubicBezTo>
                <a:cubicBezTo>
                  <a:pt x="493" y="297"/>
                  <a:pt x="493" y="297"/>
                  <a:pt x="493" y="296"/>
                </a:cubicBezTo>
                <a:close/>
                <a:moveTo>
                  <a:pt x="540" y="287"/>
                </a:moveTo>
                <a:cubicBezTo>
                  <a:pt x="540" y="287"/>
                  <a:pt x="540" y="287"/>
                  <a:pt x="542" y="287"/>
                </a:cubicBezTo>
                <a:cubicBezTo>
                  <a:pt x="542" y="287"/>
                  <a:pt x="542" y="287"/>
                  <a:pt x="541" y="286"/>
                </a:cubicBezTo>
                <a:cubicBezTo>
                  <a:pt x="541" y="286"/>
                  <a:pt x="541" y="286"/>
                  <a:pt x="540" y="287"/>
                </a:cubicBezTo>
                <a:close/>
                <a:moveTo>
                  <a:pt x="504" y="292"/>
                </a:moveTo>
                <a:cubicBezTo>
                  <a:pt x="504" y="292"/>
                  <a:pt x="504" y="292"/>
                  <a:pt x="503" y="291"/>
                </a:cubicBezTo>
                <a:cubicBezTo>
                  <a:pt x="503" y="291"/>
                  <a:pt x="503" y="291"/>
                  <a:pt x="502" y="291"/>
                </a:cubicBezTo>
                <a:cubicBezTo>
                  <a:pt x="502" y="291"/>
                  <a:pt x="502" y="291"/>
                  <a:pt x="501" y="291"/>
                </a:cubicBezTo>
                <a:cubicBezTo>
                  <a:pt x="501" y="291"/>
                  <a:pt x="501" y="291"/>
                  <a:pt x="502" y="290"/>
                </a:cubicBezTo>
                <a:cubicBezTo>
                  <a:pt x="502" y="290"/>
                  <a:pt x="502" y="290"/>
                  <a:pt x="501" y="290"/>
                </a:cubicBezTo>
                <a:cubicBezTo>
                  <a:pt x="501" y="290"/>
                  <a:pt x="501" y="290"/>
                  <a:pt x="500" y="290"/>
                </a:cubicBezTo>
                <a:cubicBezTo>
                  <a:pt x="500" y="290"/>
                  <a:pt x="500" y="290"/>
                  <a:pt x="499" y="291"/>
                </a:cubicBezTo>
                <a:cubicBezTo>
                  <a:pt x="499" y="291"/>
                  <a:pt x="499" y="291"/>
                  <a:pt x="500" y="292"/>
                </a:cubicBezTo>
                <a:cubicBezTo>
                  <a:pt x="500" y="292"/>
                  <a:pt x="500" y="292"/>
                  <a:pt x="499" y="293"/>
                </a:cubicBezTo>
                <a:cubicBezTo>
                  <a:pt x="499" y="293"/>
                  <a:pt x="499" y="293"/>
                  <a:pt x="498" y="292"/>
                </a:cubicBezTo>
                <a:cubicBezTo>
                  <a:pt x="498" y="292"/>
                  <a:pt x="498" y="292"/>
                  <a:pt x="498" y="293"/>
                </a:cubicBezTo>
                <a:cubicBezTo>
                  <a:pt x="498" y="293"/>
                  <a:pt x="498" y="293"/>
                  <a:pt x="497" y="293"/>
                </a:cubicBezTo>
                <a:cubicBezTo>
                  <a:pt x="497" y="293"/>
                  <a:pt x="497" y="293"/>
                  <a:pt x="496" y="293"/>
                </a:cubicBezTo>
                <a:cubicBezTo>
                  <a:pt x="496" y="293"/>
                  <a:pt x="496" y="293"/>
                  <a:pt x="497" y="294"/>
                </a:cubicBezTo>
                <a:cubicBezTo>
                  <a:pt x="497" y="294"/>
                  <a:pt x="497" y="294"/>
                  <a:pt x="498" y="295"/>
                </a:cubicBezTo>
                <a:cubicBezTo>
                  <a:pt x="498" y="295"/>
                  <a:pt x="498" y="295"/>
                  <a:pt x="499" y="295"/>
                </a:cubicBezTo>
                <a:cubicBezTo>
                  <a:pt x="499" y="295"/>
                  <a:pt x="499" y="295"/>
                  <a:pt x="500" y="294"/>
                </a:cubicBezTo>
                <a:cubicBezTo>
                  <a:pt x="500" y="294"/>
                  <a:pt x="500" y="294"/>
                  <a:pt x="500" y="295"/>
                </a:cubicBezTo>
                <a:cubicBezTo>
                  <a:pt x="500" y="295"/>
                  <a:pt x="500" y="295"/>
                  <a:pt x="501" y="295"/>
                </a:cubicBezTo>
                <a:cubicBezTo>
                  <a:pt x="501" y="295"/>
                  <a:pt x="501" y="295"/>
                  <a:pt x="502" y="294"/>
                </a:cubicBezTo>
                <a:cubicBezTo>
                  <a:pt x="502" y="294"/>
                  <a:pt x="502" y="294"/>
                  <a:pt x="503" y="294"/>
                </a:cubicBezTo>
                <a:cubicBezTo>
                  <a:pt x="503" y="294"/>
                  <a:pt x="503" y="294"/>
                  <a:pt x="504" y="294"/>
                </a:cubicBezTo>
                <a:cubicBezTo>
                  <a:pt x="504" y="294"/>
                  <a:pt x="504" y="294"/>
                  <a:pt x="503" y="293"/>
                </a:cubicBezTo>
                <a:cubicBezTo>
                  <a:pt x="503" y="293"/>
                  <a:pt x="503" y="293"/>
                  <a:pt x="503" y="292"/>
                </a:cubicBezTo>
                <a:cubicBezTo>
                  <a:pt x="503" y="292"/>
                  <a:pt x="503" y="292"/>
                  <a:pt x="504" y="292"/>
                </a:cubicBezTo>
                <a:close/>
                <a:moveTo>
                  <a:pt x="537" y="278"/>
                </a:moveTo>
                <a:cubicBezTo>
                  <a:pt x="537" y="278"/>
                  <a:pt x="537" y="278"/>
                  <a:pt x="537" y="277"/>
                </a:cubicBezTo>
                <a:cubicBezTo>
                  <a:pt x="537" y="277"/>
                  <a:pt x="537" y="277"/>
                  <a:pt x="535" y="278"/>
                </a:cubicBezTo>
                <a:cubicBezTo>
                  <a:pt x="536" y="279"/>
                  <a:pt x="536" y="279"/>
                  <a:pt x="536" y="279"/>
                </a:cubicBezTo>
                <a:cubicBezTo>
                  <a:pt x="536" y="279"/>
                  <a:pt x="536" y="279"/>
                  <a:pt x="537" y="278"/>
                </a:cubicBezTo>
                <a:close/>
                <a:moveTo>
                  <a:pt x="543" y="274"/>
                </a:moveTo>
                <a:cubicBezTo>
                  <a:pt x="543" y="274"/>
                  <a:pt x="543" y="274"/>
                  <a:pt x="542" y="276"/>
                </a:cubicBezTo>
                <a:cubicBezTo>
                  <a:pt x="542" y="276"/>
                  <a:pt x="542" y="276"/>
                  <a:pt x="540" y="277"/>
                </a:cubicBezTo>
                <a:cubicBezTo>
                  <a:pt x="540" y="277"/>
                  <a:pt x="540" y="277"/>
                  <a:pt x="539" y="278"/>
                </a:cubicBezTo>
                <a:cubicBezTo>
                  <a:pt x="539" y="278"/>
                  <a:pt x="539" y="278"/>
                  <a:pt x="537" y="279"/>
                </a:cubicBezTo>
                <a:cubicBezTo>
                  <a:pt x="537" y="279"/>
                  <a:pt x="537" y="279"/>
                  <a:pt x="537" y="280"/>
                </a:cubicBezTo>
                <a:cubicBezTo>
                  <a:pt x="537" y="280"/>
                  <a:pt x="537" y="280"/>
                  <a:pt x="536" y="280"/>
                </a:cubicBezTo>
                <a:cubicBezTo>
                  <a:pt x="536" y="280"/>
                  <a:pt x="536" y="280"/>
                  <a:pt x="535" y="281"/>
                </a:cubicBezTo>
                <a:cubicBezTo>
                  <a:pt x="535" y="281"/>
                  <a:pt x="535" y="281"/>
                  <a:pt x="537" y="281"/>
                </a:cubicBezTo>
                <a:cubicBezTo>
                  <a:pt x="537" y="281"/>
                  <a:pt x="537" y="281"/>
                  <a:pt x="539" y="281"/>
                </a:cubicBezTo>
                <a:cubicBezTo>
                  <a:pt x="539" y="281"/>
                  <a:pt x="539" y="281"/>
                  <a:pt x="539" y="280"/>
                </a:cubicBezTo>
                <a:cubicBezTo>
                  <a:pt x="539" y="280"/>
                  <a:pt x="539" y="280"/>
                  <a:pt x="540" y="279"/>
                </a:cubicBezTo>
                <a:cubicBezTo>
                  <a:pt x="540" y="279"/>
                  <a:pt x="540" y="279"/>
                  <a:pt x="542" y="277"/>
                </a:cubicBezTo>
                <a:cubicBezTo>
                  <a:pt x="542" y="277"/>
                  <a:pt x="542" y="277"/>
                  <a:pt x="543" y="277"/>
                </a:cubicBezTo>
                <a:cubicBezTo>
                  <a:pt x="543" y="277"/>
                  <a:pt x="543" y="277"/>
                  <a:pt x="544" y="276"/>
                </a:cubicBezTo>
                <a:cubicBezTo>
                  <a:pt x="544" y="276"/>
                  <a:pt x="544" y="276"/>
                  <a:pt x="543" y="275"/>
                </a:cubicBezTo>
                <a:cubicBezTo>
                  <a:pt x="543" y="275"/>
                  <a:pt x="543" y="275"/>
                  <a:pt x="544" y="275"/>
                </a:cubicBezTo>
                <a:cubicBezTo>
                  <a:pt x="544" y="275"/>
                  <a:pt x="544" y="275"/>
                  <a:pt x="543" y="274"/>
                </a:cubicBezTo>
                <a:close/>
                <a:moveTo>
                  <a:pt x="503" y="289"/>
                </a:moveTo>
                <a:cubicBezTo>
                  <a:pt x="503" y="289"/>
                  <a:pt x="503" y="289"/>
                  <a:pt x="503" y="288"/>
                </a:cubicBezTo>
                <a:cubicBezTo>
                  <a:pt x="503" y="288"/>
                  <a:pt x="503" y="288"/>
                  <a:pt x="502" y="287"/>
                </a:cubicBezTo>
                <a:cubicBezTo>
                  <a:pt x="502" y="287"/>
                  <a:pt x="502" y="287"/>
                  <a:pt x="502" y="288"/>
                </a:cubicBezTo>
                <a:cubicBezTo>
                  <a:pt x="502" y="288"/>
                  <a:pt x="502" y="288"/>
                  <a:pt x="501" y="289"/>
                </a:cubicBezTo>
                <a:cubicBezTo>
                  <a:pt x="501" y="289"/>
                  <a:pt x="501" y="289"/>
                  <a:pt x="502" y="289"/>
                </a:cubicBezTo>
                <a:cubicBezTo>
                  <a:pt x="502" y="289"/>
                  <a:pt x="502" y="289"/>
                  <a:pt x="503" y="289"/>
                </a:cubicBezTo>
                <a:close/>
                <a:moveTo>
                  <a:pt x="502" y="277"/>
                </a:moveTo>
                <a:cubicBezTo>
                  <a:pt x="502" y="277"/>
                  <a:pt x="502" y="277"/>
                  <a:pt x="503" y="278"/>
                </a:cubicBezTo>
                <a:cubicBezTo>
                  <a:pt x="503" y="278"/>
                  <a:pt x="503" y="278"/>
                  <a:pt x="504" y="277"/>
                </a:cubicBezTo>
                <a:cubicBezTo>
                  <a:pt x="504" y="277"/>
                  <a:pt x="504" y="277"/>
                  <a:pt x="503" y="277"/>
                </a:cubicBezTo>
                <a:cubicBezTo>
                  <a:pt x="503" y="277"/>
                  <a:pt x="503" y="277"/>
                  <a:pt x="502" y="277"/>
                </a:cubicBezTo>
                <a:close/>
                <a:moveTo>
                  <a:pt x="596" y="342"/>
                </a:moveTo>
                <a:cubicBezTo>
                  <a:pt x="596" y="342"/>
                  <a:pt x="596" y="342"/>
                  <a:pt x="597" y="342"/>
                </a:cubicBezTo>
                <a:cubicBezTo>
                  <a:pt x="597" y="342"/>
                  <a:pt x="597" y="342"/>
                  <a:pt x="597" y="341"/>
                </a:cubicBezTo>
                <a:cubicBezTo>
                  <a:pt x="597" y="341"/>
                  <a:pt x="597" y="341"/>
                  <a:pt x="595" y="341"/>
                </a:cubicBezTo>
                <a:cubicBezTo>
                  <a:pt x="595" y="341"/>
                  <a:pt x="595" y="341"/>
                  <a:pt x="595" y="343"/>
                </a:cubicBezTo>
                <a:cubicBezTo>
                  <a:pt x="595" y="343"/>
                  <a:pt x="595" y="343"/>
                  <a:pt x="596" y="342"/>
                </a:cubicBezTo>
                <a:close/>
                <a:moveTo>
                  <a:pt x="431" y="323"/>
                </a:moveTo>
                <a:cubicBezTo>
                  <a:pt x="431" y="323"/>
                  <a:pt x="431" y="323"/>
                  <a:pt x="431" y="322"/>
                </a:cubicBezTo>
                <a:cubicBezTo>
                  <a:pt x="431" y="322"/>
                  <a:pt x="431" y="322"/>
                  <a:pt x="431" y="321"/>
                </a:cubicBezTo>
                <a:cubicBezTo>
                  <a:pt x="431" y="321"/>
                  <a:pt x="431" y="321"/>
                  <a:pt x="430" y="322"/>
                </a:cubicBezTo>
                <a:cubicBezTo>
                  <a:pt x="430" y="322"/>
                  <a:pt x="430" y="322"/>
                  <a:pt x="431" y="323"/>
                </a:cubicBezTo>
                <a:close/>
                <a:moveTo>
                  <a:pt x="469" y="215"/>
                </a:moveTo>
                <a:cubicBezTo>
                  <a:pt x="469" y="215"/>
                  <a:pt x="469" y="215"/>
                  <a:pt x="469" y="213"/>
                </a:cubicBezTo>
                <a:cubicBezTo>
                  <a:pt x="469" y="213"/>
                  <a:pt x="469" y="213"/>
                  <a:pt x="468" y="212"/>
                </a:cubicBezTo>
                <a:cubicBezTo>
                  <a:pt x="468" y="212"/>
                  <a:pt x="468" y="212"/>
                  <a:pt x="467" y="213"/>
                </a:cubicBezTo>
                <a:cubicBezTo>
                  <a:pt x="467" y="213"/>
                  <a:pt x="467" y="213"/>
                  <a:pt x="464" y="217"/>
                </a:cubicBezTo>
                <a:cubicBezTo>
                  <a:pt x="464" y="217"/>
                  <a:pt x="464" y="217"/>
                  <a:pt x="465" y="218"/>
                </a:cubicBezTo>
                <a:cubicBezTo>
                  <a:pt x="465" y="218"/>
                  <a:pt x="465" y="218"/>
                  <a:pt x="466" y="218"/>
                </a:cubicBezTo>
                <a:cubicBezTo>
                  <a:pt x="466" y="218"/>
                  <a:pt x="466" y="218"/>
                  <a:pt x="467" y="218"/>
                </a:cubicBezTo>
                <a:cubicBezTo>
                  <a:pt x="467" y="218"/>
                  <a:pt x="467" y="218"/>
                  <a:pt x="467" y="219"/>
                </a:cubicBezTo>
                <a:cubicBezTo>
                  <a:pt x="467" y="219"/>
                  <a:pt x="467" y="219"/>
                  <a:pt x="468" y="220"/>
                </a:cubicBezTo>
                <a:cubicBezTo>
                  <a:pt x="468" y="220"/>
                  <a:pt x="468" y="220"/>
                  <a:pt x="468" y="217"/>
                </a:cubicBezTo>
                <a:cubicBezTo>
                  <a:pt x="468" y="217"/>
                  <a:pt x="468" y="217"/>
                  <a:pt x="469" y="215"/>
                </a:cubicBezTo>
                <a:close/>
                <a:moveTo>
                  <a:pt x="452" y="276"/>
                </a:moveTo>
                <a:cubicBezTo>
                  <a:pt x="453" y="276"/>
                  <a:pt x="453" y="276"/>
                  <a:pt x="453" y="276"/>
                </a:cubicBezTo>
                <a:cubicBezTo>
                  <a:pt x="452" y="275"/>
                  <a:pt x="452" y="275"/>
                  <a:pt x="452" y="275"/>
                </a:cubicBezTo>
                <a:cubicBezTo>
                  <a:pt x="452" y="276"/>
                  <a:pt x="452" y="276"/>
                  <a:pt x="452" y="276"/>
                </a:cubicBezTo>
                <a:close/>
                <a:moveTo>
                  <a:pt x="604" y="340"/>
                </a:moveTo>
                <a:cubicBezTo>
                  <a:pt x="604" y="340"/>
                  <a:pt x="604" y="340"/>
                  <a:pt x="602" y="342"/>
                </a:cubicBezTo>
                <a:cubicBezTo>
                  <a:pt x="602" y="342"/>
                  <a:pt x="602" y="342"/>
                  <a:pt x="602" y="343"/>
                </a:cubicBezTo>
                <a:cubicBezTo>
                  <a:pt x="602" y="343"/>
                  <a:pt x="602" y="343"/>
                  <a:pt x="603" y="342"/>
                </a:cubicBezTo>
                <a:cubicBezTo>
                  <a:pt x="603" y="342"/>
                  <a:pt x="603" y="342"/>
                  <a:pt x="604" y="341"/>
                </a:cubicBezTo>
                <a:cubicBezTo>
                  <a:pt x="604" y="341"/>
                  <a:pt x="604" y="341"/>
                  <a:pt x="604" y="340"/>
                </a:cubicBezTo>
                <a:close/>
                <a:moveTo>
                  <a:pt x="607" y="346"/>
                </a:moveTo>
                <a:cubicBezTo>
                  <a:pt x="607" y="346"/>
                  <a:pt x="607" y="346"/>
                  <a:pt x="606" y="347"/>
                </a:cubicBezTo>
                <a:cubicBezTo>
                  <a:pt x="606" y="347"/>
                  <a:pt x="606" y="347"/>
                  <a:pt x="605" y="348"/>
                </a:cubicBezTo>
                <a:cubicBezTo>
                  <a:pt x="605" y="348"/>
                  <a:pt x="605" y="348"/>
                  <a:pt x="605" y="349"/>
                </a:cubicBezTo>
                <a:cubicBezTo>
                  <a:pt x="605" y="349"/>
                  <a:pt x="605" y="349"/>
                  <a:pt x="604" y="350"/>
                </a:cubicBezTo>
                <a:cubicBezTo>
                  <a:pt x="604" y="350"/>
                  <a:pt x="604" y="350"/>
                  <a:pt x="604" y="351"/>
                </a:cubicBezTo>
                <a:cubicBezTo>
                  <a:pt x="604" y="351"/>
                  <a:pt x="604" y="351"/>
                  <a:pt x="607" y="350"/>
                </a:cubicBezTo>
                <a:cubicBezTo>
                  <a:pt x="607" y="350"/>
                  <a:pt x="607" y="350"/>
                  <a:pt x="605" y="351"/>
                </a:cubicBezTo>
                <a:cubicBezTo>
                  <a:pt x="605" y="351"/>
                  <a:pt x="605" y="351"/>
                  <a:pt x="605" y="353"/>
                </a:cubicBezTo>
                <a:cubicBezTo>
                  <a:pt x="605" y="353"/>
                  <a:pt x="605" y="353"/>
                  <a:pt x="607" y="352"/>
                </a:cubicBezTo>
                <a:cubicBezTo>
                  <a:pt x="607" y="352"/>
                  <a:pt x="607" y="352"/>
                  <a:pt x="609" y="349"/>
                </a:cubicBezTo>
                <a:cubicBezTo>
                  <a:pt x="609" y="349"/>
                  <a:pt x="609" y="349"/>
                  <a:pt x="608" y="348"/>
                </a:cubicBezTo>
                <a:cubicBezTo>
                  <a:pt x="608" y="348"/>
                  <a:pt x="608" y="348"/>
                  <a:pt x="609" y="347"/>
                </a:cubicBezTo>
                <a:cubicBezTo>
                  <a:pt x="609" y="347"/>
                  <a:pt x="609" y="347"/>
                  <a:pt x="608" y="346"/>
                </a:cubicBezTo>
                <a:cubicBezTo>
                  <a:pt x="608" y="346"/>
                  <a:pt x="608" y="346"/>
                  <a:pt x="607" y="346"/>
                </a:cubicBezTo>
                <a:close/>
                <a:moveTo>
                  <a:pt x="344" y="343"/>
                </a:moveTo>
                <a:cubicBezTo>
                  <a:pt x="343" y="342"/>
                  <a:pt x="343" y="342"/>
                  <a:pt x="343" y="342"/>
                </a:cubicBezTo>
                <a:cubicBezTo>
                  <a:pt x="342" y="343"/>
                  <a:pt x="342" y="343"/>
                  <a:pt x="342" y="343"/>
                </a:cubicBezTo>
                <a:cubicBezTo>
                  <a:pt x="342" y="344"/>
                  <a:pt x="342" y="344"/>
                  <a:pt x="342" y="344"/>
                </a:cubicBezTo>
                <a:cubicBezTo>
                  <a:pt x="341" y="344"/>
                  <a:pt x="341" y="344"/>
                  <a:pt x="341" y="344"/>
                </a:cubicBezTo>
                <a:cubicBezTo>
                  <a:pt x="340" y="345"/>
                  <a:pt x="340" y="345"/>
                  <a:pt x="340" y="345"/>
                </a:cubicBezTo>
                <a:cubicBezTo>
                  <a:pt x="339" y="345"/>
                  <a:pt x="339" y="345"/>
                  <a:pt x="339" y="345"/>
                </a:cubicBezTo>
                <a:cubicBezTo>
                  <a:pt x="338" y="345"/>
                  <a:pt x="338" y="345"/>
                  <a:pt x="338" y="345"/>
                </a:cubicBezTo>
                <a:cubicBezTo>
                  <a:pt x="338" y="346"/>
                  <a:pt x="338" y="346"/>
                  <a:pt x="338" y="346"/>
                </a:cubicBezTo>
                <a:cubicBezTo>
                  <a:pt x="339" y="346"/>
                  <a:pt x="339" y="346"/>
                  <a:pt x="339" y="346"/>
                </a:cubicBezTo>
                <a:cubicBezTo>
                  <a:pt x="340" y="346"/>
                  <a:pt x="340" y="346"/>
                  <a:pt x="340" y="346"/>
                </a:cubicBezTo>
                <a:cubicBezTo>
                  <a:pt x="342" y="345"/>
                  <a:pt x="342" y="345"/>
                  <a:pt x="342" y="345"/>
                </a:cubicBezTo>
                <a:cubicBezTo>
                  <a:pt x="343" y="346"/>
                  <a:pt x="343" y="346"/>
                  <a:pt x="343" y="346"/>
                </a:cubicBezTo>
                <a:cubicBezTo>
                  <a:pt x="343" y="345"/>
                  <a:pt x="343" y="345"/>
                  <a:pt x="343" y="345"/>
                </a:cubicBezTo>
                <a:cubicBezTo>
                  <a:pt x="344" y="344"/>
                  <a:pt x="344" y="344"/>
                  <a:pt x="344" y="344"/>
                </a:cubicBezTo>
                <a:cubicBezTo>
                  <a:pt x="344" y="343"/>
                  <a:pt x="344" y="343"/>
                  <a:pt x="344" y="343"/>
                </a:cubicBezTo>
                <a:close/>
                <a:moveTo>
                  <a:pt x="599" y="356"/>
                </a:moveTo>
                <a:cubicBezTo>
                  <a:pt x="599" y="356"/>
                  <a:pt x="599" y="356"/>
                  <a:pt x="600" y="356"/>
                </a:cubicBezTo>
                <a:cubicBezTo>
                  <a:pt x="600" y="356"/>
                  <a:pt x="600" y="356"/>
                  <a:pt x="599" y="355"/>
                </a:cubicBezTo>
                <a:cubicBezTo>
                  <a:pt x="599" y="355"/>
                  <a:pt x="599" y="355"/>
                  <a:pt x="599" y="354"/>
                </a:cubicBezTo>
                <a:cubicBezTo>
                  <a:pt x="599" y="354"/>
                  <a:pt x="599" y="354"/>
                  <a:pt x="600" y="354"/>
                </a:cubicBezTo>
                <a:cubicBezTo>
                  <a:pt x="600" y="354"/>
                  <a:pt x="600" y="354"/>
                  <a:pt x="601" y="353"/>
                </a:cubicBezTo>
                <a:cubicBezTo>
                  <a:pt x="601" y="353"/>
                  <a:pt x="601" y="353"/>
                  <a:pt x="601" y="352"/>
                </a:cubicBezTo>
                <a:cubicBezTo>
                  <a:pt x="601" y="352"/>
                  <a:pt x="601" y="352"/>
                  <a:pt x="600" y="352"/>
                </a:cubicBezTo>
                <a:cubicBezTo>
                  <a:pt x="600" y="352"/>
                  <a:pt x="600" y="352"/>
                  <a:pt x="601" y="351"/>
                </a:cubicBezTo>
                <a:cubicBezTo>
                  <a:pt x="601" y="351"/>
                  <a:pt x="601" y="351"/>
                  <a:pt x="601" y="350"/>
                </a:cubicBezTo>
                <a:cubicBezTo>
                  <a:pt x="601" y="350"/>
                  <a:pt x="601" y="350"/>
                  <a:pt x="599" y="349"/>
                </a:cubicBezTo>
                <a:cubicBezTo>
                  <a:pt x="599" y="349"/>
                  <a:pt x="599" y="349"/>
                  <a:pt x="600" y="348"/>
                </a:cubicBezTo>
                <a:cubicBezTo>
                  <a:pt x="600" y="348"/>
                  <a:pt x="600" y="348"/>
                  <a:pt x="601" y="348"/>
                </a:cubicBezTo>
                <a:cubicBezTo>
                  <a:pt x="601" y="348"/>
                  <a:pt x="601" y="348"/>
                  <a:pt x="601" y="347"/>
                </a:cubicBezTo>
                <a:cubicBezTo>
                  <a:pt x="601" y="347"/>
                  <a:pt x="601" y="347"/>
                  <a:pt x="600" y="346"/>
                </a:cubicBezTo>
                <a:cubicBezTo>
                  <a:pt x="600" y="346"/>
                  <a:pt x="600" y="346"/>
                  <a:pt x="601" y="346"/>
                </a:cubicBezTo>
                <a:cubicBezTo>
                  <a:pt x="601" y="346"/>
                  <a:pt x="601" y="346"/>
                  <a:pt x="601" y="344"/>
                </a:cubicBezTo>
                <a:cubicBezTo>
                  <a:pt x="601" y="344"/>
                  <a:pt x="601" y="344"/>
                  <a:pt x="599" y="343"/>
                </a:cubicBezTo>
                <a:cubicBezTo>
                  <a:pt x="599" y="343"/>
                  <a:pt x="599" y="343"/>
                  <a:pt x="598" y="343"/>
                </a:cubicBezTo>
                <a:cubicBezTo>
                  <a:pt x="598" y="343"/>
                  <a:pt x="598" y="343"/>
                  <a:pt x="599" y="342"/>
                </a:cubicBezTo>
                <a:cubicBezTo>
                  <a:pt x="599" y="342"/>
                  <a:pt x="599" y="342"/>
                  <a:pt x="599" y="341"/>
                </a:cubicBezTo>
                <a:cubicBezTo>
                  <a:pt x="599" y="341"/>
                  <a:pt x="599" y="341"/>
                  <a:pt x="599" y="339"/>
                </a:cubicBezTo>
                <a:cubicBezTo>
                  <a:pt x="599" y="339"/>
                  <a:pt x="599" y="339"/>
                  <a:pt x="597" y="339"/>
                </a:cubicBezTo>
                <a:cubicBezTo>
                  <a:pt x="597" y="339"/>
                  <a:pt x="597" y="339"/>
                  <a:pt x="597" y="340"/>
                </a:cubicBezTo>
                <a:cubicBezTo>
                  <a:pt x="597" y="340"/>
                  <a:pt x="597" y="340"/>
                  <a:pt x="598" y="341"/>
                </a:cubicBezTo>
                <a:cubicBezTo>
                  <a:pt x="598" y="341"/>
                  <a:pt x="598" y="341"/>
                  <a:pt x="598" y="342"/>
                </a:cubicBezTo>
                <a:cubicBezTo>
                  <a:pt x="598" y="342"/>
                  <a:pt x="598" y="342"/>
                  <a:pt x="597" y="344"/>
                </a:cubicBezTo>
                <a:cubicBezTo>
                  <a:pt x="597" y="344"/>
                  <a:pt x="597" y="344"/>
                  <a:pt x="597" y="345"/>
                </a:cubicBezTo>
                <a:cubicBezTo>
                  <a:pt x="597" y="345"/>
                  <a:pt x="597" y="345"/>
                  <a:pt x="597" y="346"/>
                </a:cubicBezTo>
                <a:cubicBezTo>
                  <a:pt x="597" y="346"/>
                  <a:pt x="597" y="346"/>
                  <a:pt x="596" y="346"/>
                </a:cubicBezTo>
                <a:cubicBezTo>
                  <a:pt x="596" y="346"/>
                  <a:pt x="596" y="346"/>
                  <a:pt x="596" y="347"/>
                </a:cubicBezTo>
                <a:cubicBezTo>
                  <a:pt x="596" y="347"/>
                  <a:pt x="596" y="347"/>
                  <a:pt x="597" y="347"/>
                </a:cubicBezTo>
                <a:cubicBezTo>
                  <a:pt x="597" y="347"/>
                  <a:pt x="597" y="347"/>
                  <a:pt x="597" y="348"/>
                </a:cubicBezTo>
                <a:cubicBezTo>
                  <a:pt x="597" y="348"/>
                  <a:pt x="597" y="348"/>
                  <a:pt x="596" y="349"/>
                </a:cubicBezTo>
                <a:cubicBezTo>
                  <a:pt x="596" y="349"/>
                  <a:pt x="596" y="349"/>
                  <a:pt x="596" y="350"/>
                </a:cubicBezTo>
                <a:cubicBezTo>
                  <a:pt x="596" y="350"/>
                  <a:pt x="596" y="350"/>
                  <a:pt x="595" y="350"/>
                </a:cubicBezTo>
                <a:cubicBezTo>
                  <a:pt x="595" y="350"/>
                  <a:pt x="595" y="350"/>
                  <a:pt x="595" y="351"/>
                </a:cubicBezTo>
                <a:cubicBezTo>
                  <a:pt x="595" y="351"/>
                  <a:pt x="595" y="351"/>
                  <a:pt x="596" y="351"/>
                </a:cubicBezTo>
                <a:cubicBezTo>
                  <a:pt x="596" y="351"/>
                  <a:pt x="596" y="351"/>
                  <a:pt x="596" y="352"/>
                </a:cubicBezTo>
                <a:cubicBezTo>
                  <a:pt x="596" y="352"/>
                  <a:pt x="596" y="352"/>
                  <a:pt x="597" y="351"/>
                </a:cubicBezTo>
                <a:cubicBezTo>
                  <a:pt x="597" y="351"/>
                  <a:pt x="597" y="351"/>
                  <a:pt x="598" y="351"/>
                </a:cubicBezTo>
                <a:cubicBezTo>
                  <a:pt x="598" y="351"/>
                  <a:pt x="598" y="351"/>
                  <a:pt x="598" y="352"/>
                </a:cubicBezTo>
                <a:cubicBezTo>
                  <a:pt x="598" y="352"/>
                  <a:pt x="598" y="352"/>
                  <a:pt x="597" y="352"/>
                </a:cubicBezTo>
                <a:cubicBezTo>
                  <a:pt x="597" y="352"/>
                  <a:pt x="597" y="352"/>
                  <a:pt x="597" y="353"/>
                </a:cubicBezTo>
                <a:cubicBezTo>
                  <a:pt x="597" y="353"/>
                  <a:pt x="597" y="353"/>
                  <a:pt x="598" y="354"/>
                </a:cubicBezTo>
                <a:cubicBezTo>
                  <a:pt x="598" y="354"/>
                  <a:pt x="598" y="354"/>
                  <a:pt x="597" y="355"/>
                </a:cubicBezTo>
                <a:cubicBezTo>
                  <a:pt x="597" y="355"/>
                  <a:pt x="597" y="355"/>
                  <a:pt x="598" y="356"/>
                </a:cubicBezTo>
                <a:cubicBezTo>
                  <a:pt x="598" y="356"/>
                  <a:pt x="598" y="356"/>
                  <a:pt x="597" y="357"/>
                </a:cubicBezTo>
                <a:cubicBezTo>
                  <a:pt x="597" y="357"/>
                  <a:pt x="597" y="357"/>
                  <a:pt x="598" y="358"/>
                </a:cubicBezTo>
                <a:cubicBezTo>
                  <a:pt x="598" y="358"/>
                  <a:pt x="598" y="358"/>
                  <a:pt x="599" y="358"/>
                </a:cubicBezTo>
                <a:cubicBezTo>
                  <a:pt x="599" y="358"/>
                  <a:pt x="599" y="358"/>
                  <a:pt x="600" y="357"/>
                </a:cubicBezTo>
                <a:cubicBezTo>
                  <a:pt x="600" y="357"/>
                  <a:pt x="600" y="357"/>
                  <a:pt x="599" y="356"/>
                </a:cubicBezTo>
                <a:close/>
                <a:moveTo>
                  <a:pt x="457" y="277"/>
                </a:moveTo>
                <a:cubicBezTo>
                  <a:pt x="457" y="277"/>
                  <a:pt x="457" y="277"/>
                  <a:pt x="457" y="278"/>
                </a:cubicBezTo>
                <a:cubicBezTo>
                  <a:pt x="457" y="278"/>
                  <a:pt x="457" y="278"/>
                  <a:pt x="458" y="277"/>
                </a:cubicBezTo>
                <a:cubicBezTo>
                  <a:pt x="458" y="277"/>
                  <a:pt x="458" y="277"/>
                  <a:pt x="459" y="276"/>
                </a:cubicBezTo>
                <a:cubicBezTo>
                  <a:pt x="459" y="276"/>
                  <a:pt x="459" y="276"/>
                  <a:pt x="459" y="275"/>
                </a:cubicBezTo>
                <a:cubicBezTo>
                  <a:pt x="459" y="275"/>
                  <a:pt x="459" y="275"/>
                  <a:pt x="458" y="276"/>
                </a:cubicBezTo>
                <a:cubicBezTo>
                  <a:pt x="458" y="276"/>
                  <a:pt x="458" y="276"/>
                  <a:pt x="457" y="277"/>
                </a:cubicBezTo>
                <a:close/>
                <a:moveTo>
                  <a:pt x="460" y="277"/>
                </a:moveTo>
                <a:cubicBezTo>
                  <a:pt x="460" y="277"/>
                  <a:pt x="460" y="277"/>
                  <a:pt x="461" y="276"/>
                </a:cubicBezTo>
                <a:cubicBezTo>
                  <a:pt x="461" y="276"/>
                  <a:pt x="461" y="276"/>
                  <a:pt x="459" y="277"/>
                </a:cubicBezTo>
                <a:cubicBezTo>
                  <a:pt x="459" y="277"/>
                  <a:pt x="459" y="277"/>
                  <a:pt x="460" y="277"/>
                </a:cubicBezTo>
                <a:close/>
                <a:moveTo>
                  <a:pt x="485" y="208"/>
                </a:moveTo>
                <a:cubicBezTo>
                  <a:pt x="485" y="208"/>
                  <a:pt x="485" y="208"/>
                  <a:pt x="484" y="207"/>
                </a:cubicBezTo>
                <a:cubicBezTo>
                  <a:pt x="484" y="207"/>
                  <a:pt x="484" y="207"/>
                  <a:pt x="483" y="207"/>
                </a:cubicBezTo>
                <a:cubicBezTo>
                  <a:pt x="483" y="207"/>
                  <a:pt x="483" y="207"/>
                  <a:pt x="482" y="207"/>
                </a:cubicBezTo>
                <a:cubicBezTo>
                  <a:pt x="482" y="207"/>
                  <a:pt x="482" y="207"/>
                  <a:pt x="484" y="209"/>
                </a:cubicBezTo>
                <a:cubicBezTo>
                  <a:pt x="484" y="209"/>
                  <a:pt x="484" y="209"/>
                  <a:pt x="485" y="208"/>
                </a:cubicBezTo>
                <a:close/>
                <a:moveTo>
                  <a:pt x="515" y="161"/>
                </a:moveTo>
                <a:cubicBezTo>
                  <a:pt x="514" y="162"/>
                  <a:pt x="514" y="162"/>
                  <a:pt x="514" y="162"/>
                </a:cubicBezTo>
                <a:cubicBezTo>
                  <a:pt x="514" y="166"/>
                  <a:pt x="514" y="166"/>
                  <a:pt x="514" y="166"/>
                </a:cubicBezTo>
                <a:cubicBezTo>
                  <a:pt x="516" y="162"/>
                  <a:pt x="516" y="162"/>
                  <a:pt x="516" y="162"/>
                </a:cubicBezTo>
                <a:cubicBezTo>
                  <a:pt x="515" y="161"/>
                  <a:pt x="515" y="161"/>
                  <a:pt x="515" y="161"/>
                </a:cubicBezTo>
                <a:close/>
                <a:moveTo>
                  <a:pt x="518" y="266"/>
                </a:moveTo>
                <a:cubicBezTo>
                  <a:pt x="518" y="266"/>
                  <a:pt x="518" y="266"/>
                  <a:pt x="517" y="266"/>
                </a:cubicBezTo>
                <a:cubicBezTo>
                  <a:pt x="517" y="266"/>
                  <a:pt x="517" y="266"/>
                  <a:pt x="515" y="268"/>
                </a:cubicBezTo>
                <a:cubicBezTo>
                  <a:pt x="515" y="268"/>
                  <a:pt x="515" y="268"/>
                  <a:pt x="516" y="268"/>
                </a:cubicBezTo>
                <a:cubicBezTo>
                  <a:pt x="516" y="268"/>
                  <a:pt x="516" y="268"/>
                  <a:pt x="518" y="267"/>
                </a:cubicBezTo>
                <a:cubicBezTo>
                  <a:pt x="518" y="267"/>
                  <a:pt x="518" y="267"/>
                  <a:pt x="518" y="266"/>
                </a:cubicBezTo>
                <a:close/>
                <a:moveTo>
                  <a:pt x="475" y="213"/>
                </a:moveTo>
                <a:cubicBezTo>
                  <a:pt x="475" y="213"/>
                  <a:pt x="475" y="213"/>
                  <a:pt x="475" y="212"/>
                </a:cubicBezTo>
                <a:cubicBezTo>
                  <a:pt x="475" y="212"/>
                  <a:pt x="475" y="212"/>
                  <a:pt x="472" y="211"/>
                </a:cubicBezTo>
                <a:cubicBezTo>
                  <a:pt x="472" y="211"/>
                  <a:pt x="472" y="211"/>
                  <a:pt x="470" y="211"/>
                </a:cubicBezTo>
                <a:cubicBezTo>
                  <a:pt x="470" y="211"/>
                  <a:pt x="470" y="211"/>
                  <a:pt x="469" y="211"/>
                </a:cubicBezTo>
                <a:cubicBezTo>
                  <a:pt x="469" y="211"/>
                  <a:pt x="469" y="211"/>
                  <a:pt x="470" y="212"/>
                </a:cubicBezTo>
                <a:cubicBezTo>
                  <a:pt x="470" y="212"/>
                  <a:pt x="470" y="212"/>
                  <a:pt x="470" y="213"/>
                </a:cubicBezTo>
                <a:cubicBezTo>
                  <a:pt x="470" y="213"/>
                  <a:pt x="470" y="213"/>
                  <a:pt x="471" y="214"/>
                </a:cubicBezTo>
                <a:cubicBezTo>
                  <a:pt x="471" y="214"/>
                  <a:pt x="471" y="214"/>
                  <a:pt x="471" y="215"/>
                </a:cubicBezTo>
                <a:cubicBezTo>
                  <a:pt x="470" y="215"/>
                  <a:pt x="470" y="215"/>
                  <a:pt x="470" y="215"/>
                </a:cubicBezTo>
                <a:cubicBezTo>
                  <a:pt x="470" y="215"/>
                  <a:pt x="470" y="215"/>
                  <a:pt x="471" y="216"/>
                </a:cubicBezTo>
                <a:cubicBezTo>
                  <a:pt x="471" y="216"/>
                  <a:pt x="471" y="216"/>
                  <a:pt x="473" y="213"/>
                </a:cubicBezTo>
                <a:cubicBezTo>
                  <a:pt x="473" y="213"/>
                  <a:pt x="473" y="213"/>
                  <a:pt x="475" y="213"/>
                </a:cubicBezTo>
                <a:close/>
                <a:moveTo>
                  <a:pt x="595" y="357"/>
                </a:moveTo>
                <a:cubicBezTo>
                  <a:pt x="595" y="357"/>
                  <a:pt x="595" y="357"/>
                  <a:pt x="594" y="355"/>
                </a:cubicBezTo>
                <a:cubicBezTo>
                  <a:pt x="594" y="355"/>
                  <a:pt x="594" y="355"/>
                  <a:pt x="594" y="354"/>
                </a:cubicBezTo>
                <a:cubicBezTo>
                  <a:pt x="594" y="354"/>
                  <a:pt x="594" y="354"/>
                  <a:pt x="593" y="354"/>
                </a:cubicBezTo>
                <a:cubicBezTo>
                  <a:pt x="593" y="354"/>
                  <a:pt x="593" y="354"/>
                  <a:pt x="593" y="355"/>
                </a:cubicBezTo>
                <a:cubicBezTo>
                  <a:pt x="593" y="355"/>
                  <a:pt x="593" y="355"/>
                  <a:pt x="593" y="356"/>
                </a:cubicBezTo>
                <a:cubicBezTo>
                  <a:pt x="593" y="356"/>
                  <a:pt x="593" y="356"/>
                  <a:pt x="594" y="358"/>
                </a:cubicBezTo>
                <a:cubicBezTo>
                  <a:pt x="594" y="358"/>
                  <a:pt x="594" y="358"/>
                  <a:pt x="595" y="357"/>
                </a:cubicBezTo>
                <a:close/>
                <a:moveTo>
                  <a:pt x="595" y="339"/>
                </a:moveTo>
                <a:cubicBezTo>
                  <a:pt x="595" y="339"/>
                  <a:pt x="595" y="339"/>
                  <a:pt x="597" y="337"/>
                </a:cubicBezTo>
                <a:cubicBezTo>
                  <a:pt x="597" y="337"/>
                  <a:pt x="597" y="337"/>
                  <a:pt x="598" y="334"/>
                </a:cubicBezTo>
                <a:cubicBezTo>
                  <a:pt x="598" y="334"/>
                  <a:pt x="598" y="334"/>
                  <a:pt x="597" y="334"/>
                </a:cubicBezTo>
                <a:cubicBezTo>
                  <a:pt x="597" y="334"/>
                  <a:pt x="597" y="334"/>
                  <a:pt x="597" y="333"/>
                </a:cubicBezTo>
                <a:cubicBezTo>
                  <a:pt x="597" y="333"/>
                  <a:pt x="597" y="333"/>
                  <a:pt x="597" y="332"/>
                </a:cubicBezTo>
                <a:cubicBezTo>
                  <a:pt x="597" y="332"/>
                  <a:pt x="597" y="332"/>
                  <a:pt x="596" y="331"/>
                </a:cubicBezTo>
                <a:cubicBezTo>
                  <a:pt x="596" y="331"/>
                  <a:pt x="596" y="331"/>
                  <a:pt x="596" y="332"/>
                </a:cubicBezTo>
                <a:cubicBezTo>
                  <a:pt x="596" y="332"/>
                  <a:pt x="596" y="332"/>
                  <a:pt x="595" y="332"/>
                </a:cubicBezTo>
                <a:cubicBezTo>
                  <a:pt x="595" y="332"/>
                  <a:pt x="595" y="332"/>
                  <a:pt x="594" y="333"/>
                </a:cubicBezTo>
                <a:cubicBezTo>
                  <a:pt x="594" y="333"/>
                  <a:pt x="594" y="333"/>
                  <a:pt x="594" y="334"/>
                </a:cubicBezTo>
                <a:cubicBezTo>
                  <a:pt x="594" y="334"/>
                  <a:pt x="594" y="334"/>
                  <a:pt x="595" y="334"/>
                </a:cubicBezTo>
                <a:cubicBezTo>
                  <a:pt x="595" y="334"/>
                  <a:pt x="595" y="334"/>
                  <a:pt x="594" y="336"/>
                </a:cubicBezTo>
                <a:cubicBezTo>
                  <a:pt x="594" y="336"/>
                  <a:pt x="594" y="336"/>
                  <a:pt x="595" y="336"/>
                </a:cubicBezTo>
                <a:cubicBezTo>
                  <a:pt x="595" y="336"/>
                  <a:pt x="595" y="336"/>
                  <a:pt x="595" y="337"/>
                </a:cubicBezTo>
                <a:cubicBezTo>
                  <a:pt x="595" y="337"/>
                  <a:pt x="595" y="337"/>
                  <a:pt x="594" y="338"/>
                </a:cubicBezTo>
                <a:cubicBezTo>
                  <a:pt x="594" y="338"/>
                  <a:pt x="594" y="338"/>
                  <a:pt x="593" y="337"/>
                </a:cubicBezTo>
                <a:cubicBezTo>
                  <a:pt x="593" y="337"/>
                  <a:pt x="593" y="337"/>
                  <a:pt x="593" y="338"/>
                </a:cubicBezTo>
                <a:cubicBezTo>
                  <a:pt x="593" y="338"/>
                  <a:pt x="593" y="338"/>
                  <a:pt x="593" y="339"/>
                </a:cubicBezTo>
                <a:cubicBezTo>
                  <a:pt x="593" y="339"/>
                  <a:pt x="593" y="339"/>
                  <a:pt x="594" y="340"/>
                </a:cubicBezTo>
                <a:cubicBezTo>
                  <a:pt x="594" y="340"/>
                  <a:pt x="594" y="340"/>
                  <a:pt x="593" y="341"/>
                </a:cubicBezTo>
                <a:cubicBezTo>
                  <a:pt x="593" y="341"/>
                  <a:pt x="593" y="341"/>
                  <a:pt x="595" y="341"/>
                </a:cubicBezTo>
                <a:cubicBezTo>
                  <a:pt x="595" y="341"/>
                  <a:pt x="595" y="341"/>
                  <a:pt x="595" y="340"/>
                </a:cubicBezTo>
                <a:cubicBezTo>
                  <a:pt x="595" y="340"/>
                  <a:pt x="595" y="340"/>
                  <a:pt x="595" y="339"/>
                </a:cubicBezTo>
                <a:close/>
                <a:moveTo>
                  <a:pt x="465" y="310"/>
                </a:moveTo>
                <a:cubicBezTo>
                  <a:pt x="465" y="310"/>
                  <a:pt x="465" y="310"/>
                  <a:pt x="466" y="310"/>
                </a:cubicBezTo>
                <a:cubicBezTo>
                  <a:pt x="466" y="310"/>
                  <a:pt x="466" y="310"/>
                  <a:pt x="466" y="309"/>
                </a:cubicBezTo>
                <a:cubicBezTo>
                  <a:pt x="466" y="309"/>
                  <a:pt x="466" y="309"/>
                  <a:pt x="464" y="309"/>
                </a:cubicBezTo>
                <a:cubicBezTo>
                  <a:pt x="464" y="309"/>
                  <a:pt x="464" y="309"/>
                  <a:pt x="465" y="310"/>
                </a:cubicBezTo>
                <a:close/>
                <a:moveTo>
                  <a:pt x="592" y="340"/>
                </a:moveTo>
                <a:cubicBezTo>
                  <a:pt x="592" y="340"/>
                  <a:pt x="592" y="340"/>
                  <a:pt x="592" y="341"/>
                </a:cubicBezTo>
                <a:cubicBezTo>
                  <a:pt x="592" y="341"/>
                  <a:pt x="592" y="341"/>
                  <a:pt x="593" y="341"/>
                </a:cubicBezTo>
                <a:cubicBezTo>
                  <a:pt x="593" y="341"/>
                  <a:pt x="593" y="341"/>
                  <a:pt x="593" y="339"/>
                </a:cubicBezTo>
                <a:cubicBezTo>
                  <a:pt x="593" y="339"/>
                  <a:pt x="593" y="339"/>
                  <a:pt x="592" y="340"/>
                </a:cubicBezTo>
                <a:close/>
                <a:moveTo>
                  <a:pt x="601" y="331"/>
                </a:moveTo>
                <a:cubicBezTo>
                  <a:pt x="601" y="331"/>
                  <a:pt x="601" y="331"/>
                  <a:pt x="600" y="330"/>
                </a:cubicBezTo>
                <a:cubicBezTo>
                  <a:pt x="600" y="330"/>
                  <a:pt x="600" y="330"/>
                  <a:pt x="598" y="330"/>
                </a:cubicBezTo>
                <a:cubicBezTo>
                  <a:pt x="598" y="330"/>
                  <a:pt x="598" y="330"/>
                  <a:pt x="598" y="331"/>
                </a:cubicBezTo>
                <a:cubicBezTo>
                  <a:pt x="598" y="331"/>
                  <a:pt x="598" y="331"/>
                  <a:pt x="598" y="332"/>
                </a:cubicBezTo>
                <a:cubicBezTo>
                  <a:pt x="598" y="332"/>
                  <a:pt x="598" y="332"/>
                  <a:pt x="599" y="333"/>
                </a:cubicBezTo>
                <a:cubicBezTo>
                  <a:pt x="599" y="333"/>
                  <a:pt x="599" y="333"/>
                  <a:pt x="599" y="334"/>
                </a:cubicBezTo>
                <a:cubicBezTo>
                  <a:pt x="599" y="334"/>
                  <a:pt x="599" y="334"/>
                  <a:pt x="598" y="337"/>
                </a:cubicBezTo>
                <a:cubicBezTo>
                  <a:pt x="598" y="337"/>
                  <a:pt x="598" y="337"/>
                  <a:pt x="598" y="338"/>
                </a:cubicBezTo>
                <a:cubicBezTo>
                  <a:pt x="598" y="338"/>
                  <a:pt x="598" y="338"/>
                  <a:pt x="599" y="338"/>
                </a:cubicBezTo>
                <a:cubicBezTo>
                  <a:pt x="599" y="338"/>
                  <a:pt x="599" y="338"/>
                  <a:pt x="599" y="337"/>
                </a:cubicBezTo>
                <a:cubicBezTo>
                  <a:pt x="599" y="337"/>
                  <a:pt x="599" y="337"/>
                  <a:pt x="600" y="338"/>
                </a:cubicBezTo>
                <a:cubicBezTo>
                  <a:pt x="600" y="338"/>
                  <a:pt x="600" y="338"/>
                  <a:pt x="601" y="337"/>
                </a:cubicBezTo>
                <a:cubicBezTo>
                  <a:pt x="601" y="337"/>
                  <a:pt x="601" y="337"/>
                  <a:pt x="600" y="336"/>
                </a:cubicBezTo>
                <a:cubicBezTo>
                  <a:pt x="600" y="336"/>
                  <a:pt x="600" y="336"/>
                  <a:pt x="601" y="336"/>
                </a:cubicBezTo>
                <a:cubicBezTo>
                  <a:pt x="601" y="336"/>
                  <a:pt x="601" y="336"/>
                  <a:pt x="602" y="336"/>
                </a:cubicBezTo>
                <a:cubicBezTo>
                  <a:pt x="602" y="336"/>
                  <a:pt x="602" y="336"/>
                  <a:pt x="603" y="334"/>
                </a:cubicBezTo>
                <a:cubicBezTo>
                  <a:pt x="603" y="334"/>
                  <a:pt x="603" y="334"/>
                  <a:pt x="603" y="332"/>
                </a:cubicBezTo>
                <a:cubicBezTo>
                  <a:pt x="603" y="332"/>
                  <a:pt x="603" y="332"/>
                  <a:pt x="602" y="331"/>
                </a:cubicBezTo>
                <a:cubicBezTo>
                  <a:pt x="602" y="331"/>
                  <a:pt x="602" y="331"/>
                  <a:pt x="601" y="331"/>
                </a:cubicBezTo>
                <a:close/>
                <a:moveTo>
                  <a:pt x="605" y="336"/>
                </a:moveTo>
                <a:cubicBezTo>
                  <a:pt x="605" y="336"/>
                  <a:pt x="605" y="336"/>
                  <a:pt x="604" y="334"/>
                </a:cubicBezTo>
                <a:cubicBezTo>
                  <a:pt x="604" y="334"/>
                  <a:pt x="604" y="334"/>
                  <a:pt x="603" y="335"/>
                </a:cubicBezTo>
                <a:cubicBezTo>
                  <a:pt x="603" y="335"/>
                  <a:pt x="603" y="335"/>
                  <a:pt x="602" y="337"/>
                </a:cubicBezTo>
                <a:cubicBezTo>
                  <a:pt x="602" y="337"/>
                  <a:pt x="602" y="337"/>
                  <a:pt x="602" y="338"/>
                </a:cubicBezTo>
                <a:cubicBezTo>
                  <a:pt x="602" y="338"/>
                  <a:pt x="602" y="338"/>
                  <a:pt x="604" y="337"/>
                </a:cubicBezTo>
                <a:cubicBezTo>
                  <a:pt x="604" y="337"/>
                  <a:pt x="604" y="337"/>
                  <a:pt x="605" y="336"/>
                </a:cubicBezTo>
                <a:close/>
                <a:moveTo>
                  <a:pt x="603" y="340"/>
                </a:moveTo>
                <a:cubicBezTo>
                  <a:pt x="603" y="340"/>
                  <a:pt x="603" y="340"/>
                  <a:pt x="603" y="339"/>
                </a:cubicBezTo>
                <a:cubicBezTo>
                  <a:pt x="603" y="339"/>
                  <a:pt x="603" y="339"/>
                  <a:pt x="601" y="339"/>
                </a:cubicBezTo>
                <a:cubicBezTo>
                  <a:pt x="601" y="339"/>
                  <a:pt x="601" y="339"/>
                  <a:pt x="600" y="340"/>
                </a:cubicBezTo>
                <a:cubicBezTo>
                  <a:pt x="600" y="340"/>
                  <a:pt x="600" y="340"/>
                  <a:pt x="601" y="341"/>
                </a:cubicBezTo>
                <a:cubicBezTo>
                  <a:pt x="601" y="341"/>
                  <a:pt x="601" y="341"/>
                  <a:pt x="602" y="341"/>
                </a:cubicBezTo>
                <a:cubicBezTo>
                  <a:pt x="602" y="341"/>
                  <a:pt x="602" y="341"/>
                  <a:pt x="603" y="340"/>
                </a:cubicBezTo>
                <a:close/>
                <a:moveTo>
                  <a:pt x="604" y="356"/>
                </a:moveTo>
                <a:cubicBezTo>
                  <a:pt x="604" y="356"/>
                  <a:pt x="604" y="356"/>
                  <a:pt x="603" y="356"/>
                </a:cubicBezTo>
                <a:cubicBezTo>
                  <a:pt x="603" y="356"/>
                  <a:pt x="603" y="356"/>
                  <a:pt x="604" y="357"/>
                </a:cubicBezTo>
                <a:cubicBezTo>
                  <a:pt x="604" y="357"/>
                  <a:pt x="604" y="357"/>
                  <a:pt x="605" y="356"/>
                </a:cubicBezTo>
                <a:cubicBezTo>
                  <a:pt x="605" y="356"/>
                  <a:pt x="605" y="356"/>
                  <a:pt x="604" y="356"/>
                </a:cubicBezTo>
                <a:close/>
                <a:moveTo>
                  <a:pt x="592" y="349"/>
                </a:moveTo>
                <a:cubicBezTo>
                  <a:pt x="592" y="349"/>
                  <a:pt x="592" y="349"/>
                  <a:pt x="591" y="351"/>
                </a:cubicBezTo>
                <a:cubicBezTo>
                  <a:pt x="591" y="351"/>
                  <a:pt x="591" y="351"/>
                  <a:pt x="593" y="349"/>
                </a:cubicBezTo>
                <a:cubicBezTo>
                  <a:pt x="593" y="349"/>
                  <a:pt x="593" y="349"/>
                  <a:pt x="592" y="349"/>
                </a:cubicBezTo>
                <a:close/>
                <a:moveTo>
                  <a:pt x="595" y="345"/>
                </a:moveTo>
                <a:cubicBezTo>
                  <a:pt x="595" y="345"/>
                  <a:pt x="595" y="345"/>
                  <a:pt x="595" y="344"/>
                </a:cubicBezTo>
                <a:cubicBezTo>
                  <a:pt x="595" y="344"/>
                  <a:pt x="595" y="344"/>
                  <a:pt x="594" y="345"/>
                </a:cubicBezTo>
                <a:cubicBezTo>
                  <a:pt x="594" y="345"/>
                  <a:pt x="594" y="345"/>
                  <a:pt x="595" y="346"/>
                </a:cubicBezTo>
                <a:cubicBezTo>
                  <a:pt x="595" y="346"/>
                  <a:pt x="595" y="346"/>
                  <a:pt x="595" y="345"/>
                </a:cubicBezTo>
                <a:close/>
                <a:moveTo>
                  <a:pt x="593" y="352"/>
                </a:moveTo>
                <a:cubicBezTo>
                  <a:pt x="593" y="352"/>
                  <a:pt x="593" y="352"/>
                  <a:pt x="594" y="353"/>
                </a:cubicBezTo>
                <a:cubicBezTo>
                  <a:pt x="594" y="353"/>
                  <a:pt x="594" y="353"/>
                  <a:pt x="595" y="353"/>
                </a:cubicBezTo>
                <a:cubicBezTo>
                  <a:pt x="595" y="353"/>
                  <a:pt x="595" y="353"/>
                  <a:pt x="594" y="352"/>
                </a:cubicBezTo>
                <a:cubicBezTo>
                  <a:pt x="594" y="352"/>
                  <a:pt x="594" y="352"/>
                  <a:pt x="593" y="352"/>
                </a:cubicBezTo>
                <a:close/>
                <a:moveTo>
                  <a:pt x="591" y="343"/>
                </a:moveTo>
                <a:cubicBezTo>
                  <a:pt x="591" y="343"/>
                  <a:pt x="591" y="343"/>
                  <a:pt x="592" y="343"/>
                </a:cubicBezTo>
                <a:cubicBezTo>
                  <a:pt x="592" y="343"/>
                  <a:pt x="592" y="343"/>
                  <a:pt x="591" y="342"/>
                </a:cubicBezTo>
                <a:cubicBezTo>
                  <a:pt x="591" y="342"/>
                  <a:pt x="591" y="342"/>
                  <a:pt x="591" y="343"/>
                </a:cubicBezTo>
                <a:close/>
                <a:moveTo>
                  <a:pt x="590" y="339"/>
                </a:moveTo>
                <a:cubicBezTo>
                  <a:pt x="590" y="339"/>
                  <a:pt x="590" y="339"/>
                  <a:pt x="591" y="339"/>
                </a:cubicBezTo>
                <a:cubicBezTo>
                  <a:pt x="591" y="339"/>
                  <a:pt x="591" y="339"/>
                  <a:pt x="591" y="338"/>
                </a:cubicBezTo>
                <a:cubicBezTo>
                  <a:pt x="591" y="338"/>
                  <a:pt x="591" y="338"/>
                  <a:pt x="591" y="336"/>
                </a:cubicBezTo>
                <a:cubicBezTo>
                  <a:pt x="591" y="336"/>
                  <a:pt x="591" y="336"/>
                  <a:pt x="592" y="334"/>
                </a:cubicBezTo>
                <a:cubicBezTo>
                  <a:pt x="592" y="334"/>
                  <a:pt x="592" y="334"/>
                  <a:pt x="593" y="334"/>
                </a:cubicBezTo>
                <a:cubicBezTo>
                  <a:pt x="593" y="334"/>
                  <a:pt x="593" y="334"/>
                  <a:pt x="593" y="331"/>
                </a:cubicBezTo>
                <a:cubicBezTo>
                  <a:pt x="593" y="331"/>
                  <a:pt x="593" y="331"/>
                  <a:pt x="594" y="329"/>
                </a:cubicBezTo>
                <a:cubicBezTo>
                  <a:pt x="594" y="329"/>
                  <a:pt x="594" y="329"/>
                  <a:pt x="594" y="327"/>
                </a:cubicBezTo>
                <a:cubicBezTo>
                  <a:pt x="594" y="327"/>
                  <a:pt x="594" y="327"/>
                  <a:pt x="593" y="325"/>
                </a:cubicBezTo>
                <a:cubicBezTo>
                  <a:pt x="593" y="325"/>
                  <a:pt x="593" y="325"/>
                  <a:pt x="592" y="325"/>
                </a:cubicBezTo>
                <a:cubicBezTo>
                  <a:pt x="592" y="325"/>
                  <a:pt x="592" y="325"/>
                  <a:pt x="591" y="326"/>
                </a:cubicBezTo>
                <a:cubicBezTo>
                  <a:pt x="591" y="326"/>
                  <a:pt x="591" y="326"/>
                  <a:pt x="591" y="327"/>
                </a:cubicBezTo>
                <a:cubicBezTo>
                  <a:pt x="591" y="327"/>
                  <a:pt x="591" y="327"/>
                  <a:pt x="592" y="327"/>
                </a:cubicBezTo>
                <a:cubicBezTo>
                  <a:pt x="592" y="327"/>
                  <a:pt x="592" y="327"/>
                  <a:pt x="591" y="328"/>
                </a:cubicBezTo>
                <a:cubicBezTo>
                  <a:pt x="591" y="328"/>
                  <a:pt x="591" y="328"/>
                  <a:pt x="591" y="329"/>
                </a:cubicBezTo>
                <a:cubicBezTo>
                  <a:pt x="591" y="329"/>
                  <a:pt x="591" y="329"/>
                  <a:pt x="590" y="330"/>
                </a:cubicBezTo>
                <a:cubicBezTo>
                  <a:pt x="590" y="330"/>
                  <a:pt x="590" y="330"/>
                  <a:pt x="589" y="330"/>
                </a:cubicBezTo>
                <a:cubicBezTo>
                  <a:pt x="589" y="330"/>
                  <a:pt x="589" y="330"/>
                  <a:pt x="589" y="331"/>
                </a:cubicBezTo>
                <a:cubicBezTo>
                  <a:pt x="589" y="331"/>
                  <a:pt x="589" y="331"/>
                  <a:pt x="591" y="331"/>
                </a:cubicBezTo>
                <a:cubicBezTo>
                  <a:pt x="591" y="331"/>
                  <a:pt x="591" y="331"/>
                  <a:pt x="590" y="332"/>
                </a:cubicBezTo>
                <a:cubicBezTo>
                  <a:pt x="590" y="332"/>
                  <a:pt x="590" y="332"/>
                  <a:pt x="590" y="333"/>
                </a:cubicBezTo>
                <a:cubicBezTo>
                  <a:pt x="590" y="333"/>
                  <a:pt x="590" y="333"/>
                  <a:pt x="591" y="333"/>
                </a:cubicBezTo>
                <a:cubicBezTo>
                  <a:pt x="591" y="333"/>
                  <a:pt x="591" y="333"/>
                  <a:pt x="591" y="334"/>
                </a:cubicBezTo>
                <a:cubicBezTo>
                  <a:pt x="591" y="334"/>
                  <a:pt x="591" y="334"/>
                  <a:pt x="590" y="334"/>
                </a:cubicBezTo>
                <a:cubicBezTo>
                  <a:pt x="590" y="334"/>
                  <a:pt x="590" y="334"/>
                  <a:pt x="589" y="335"/>
                </a:cubicBezTo>
                <a:cubicBezTo>
                  <a:pt x="589" y="335"/>
                  <a:pt x="589" y="335"/>
                  <a:pt x="590" y="337"/>
                </a:cubicBezTo>
                <a:cubicBezTo>
                  <a:pt x="590" y="337"/>
                  <a:pt x="590" y="337"/>
                  <a:pt x="590" y="338"/>
                </a:cubicBezTo>
                <a:cubicBezTo>
                  <a:pt x="590" y="338"/>
                  <a:pt x="590" y="338"/>
                  <a:pt x="590" y="339"/>
                </a:cubicBezTo>
                <a:close/>
                <a:moveTo>
                  <a:pt x="596" y="353"/>
                </a:moveTo>
                <a:cubicBezTo>
                  <a:pt x="596" y="353"/>
                  <a:pt x="596" y="353"/>
                  <a:pt x="595" y="354"/>
                </a:cubicBezTo>
                <a:cubicBezTo>
                  <a:pt x="595" y="354"/>
                  <a:pt x="595" y="354"/>
                  <a:pt x="596" y="354"/>
                </a:cubicBezTo>
                <a:cubicBezTo>
                  <a:pt x="596" y="354"/>
                  <a:pt x="596" y="354"/>
                  <a:pt x="596" y="353"/>
                </a:cubicBezTo>
                <a:close/>
                <a:moveTo>
                  <a:pt x="602" y="344"/>
                </a:moveTo>
                <a:cubicBezTo>
                  <a:pt x="602" y="344"/>
                  <a:pt x="602" y="344"/>
                  <a:pt x="603" y="344"/>
                </a:cubicBezTo>
                <a:cubicBezTo>
                  <a:pt x="603" y="344"/>
                  <a:pt x="603" y="344"/>
                  <a:pt x="604" y="344"/>
                </a:cubicBezTo>
                <a:cubicBezTo>
                  <a:pt x="604" y="344"/>
                  <a:pt x="604" y="344"/>
                  <a:pt x="604" y="342"/>
                </a:cubicBezTo>
                <a:cubicBezTo>
                  <a:pt x="604" y="342"/>
                  <a:pt x="604" y="342"/>
                  <a:pt x="603" y="342"/>
                </a:cubicBezTo>
                <a:cubicBezTo>
                  <a:pt x="603" y="342"/>
                  <a:pt x="603" y="342"/>
                  <a:pt x="602" y="344"/>
                </a:cubicBezTo>
                <a:close/>
                <a:moveTo>
                  <a:pt x="371" y="339"/>
                </a:moveTo>
                <a:cubicBezTo>
                  <a:pt x="370" y="340"/>
                  <a:pt x="370" y="340"/>
                  <a:pt x="370" y="340"/>
                </a:cubicBezTo>
                <a:cubicBezTo>
                  <a:pt x="371" y="340"/>
                  <a:pt x="371" y="340"/>
                  <a:pt x="371" y="340"/>
                </a:cubicBezTo>
                <a:cubicBezTo>
                  <a:pt x="371" y="339"/>
                  <a:pt x="371" y="339"/>
                  <a:pt x="371" y="339"/>
                </a:cubicBezTo>
                <a:close/>
                <a:moveTo>
                  <a:pt x="437" y="320"/>
                </a:moveTo>
                <a:cubicBezTo>
                  <a:pt x="437" y="320"/>
                  <a:pt x="437" y="320"/>
                  <a:pt x="436" y="320"/>
                </a:cubicBezTo>
                <a:cubicBezTo>
                  <a:pt x="436" y="320"/>
                  <a:pt x="436" y="320"/>
                  <a:pt x="436" y="322"/>
                </a:cubicBezTo>
                <a:cubicBezTo>
                  <a:pt x="436" y="322"/>
                  <a:pt x="436" y="322"/>
                  <a:pt x="437" y="322"/>
                </a:cubicBezTo>
                <a:cubicBezTo>
                  <a:pt x="437" y="322"/>
                  <a:pt x="437" y="322"/>
                  <a:pt x="438" y="321"/>
                </a:cubicBezTo>
                <a:cubicBezTo>
                  <a:pt x="438" y="321"/>
                  <a:pt x="438" y="321"/>
                  <a:pt x="437" y="320"/>
                </a:cubicBezTo>
                <a:close/>
                <a:moveTo>
                  <a:pt x="404" y="235"/>
                </a:moveTo>
                <a:cubicBezTo>
                  <a:pt x="404" y="235"/>
                  <a:pt x="404" y="235"/>
                  <a:pt x="404" y="236"/>
                </a:cubicBezTo>
                <a:cubicBezTo>
                  <a:pt x="404" y="236"/>
                  <a:pt x="404" y="236"/>
                  <a:pt x="405" y="236"/>
                </a:cubicBezTo>
                <a:cubicBezTo>
                  <a:pt x="405" y="236"/>
                  <a:pt x="405" y="236"/>
                  <a:pt x="404" y="235"/>
                </a:cubicBezTo>
                <a:close/>
                <a:moveTo>
                  <a:pt x="405" y="328"/>
                </a:moveTo>
                <a:cubicBezTo>
                  <a:pt x="405" y="328"/>
                  <a:pt x="405" y="328"/>
                  <a:pt x="404" y="328"/>
                </a:cubicBezTo>
                <a:cubicBezTo>
                  <a:pt x="404" y="328"/>
                  <a:pt x="404" y="328"/>
                  <a:pt x="404" y="329"/>
                </a:cubicBezTo>
                <a:cubicBezTo>
                  <a:pt x="404" y="329"/>
                  <a:pt x="404" y="329"/>
                  <a:pt x="404" y="330"/>
                </a:cubicBezTo>
                <a:cubicBezTo>
                  <a:pt x="404" y="330"/>
                  <a:pt x="404" y="330"/>
                  <a:pt x="405" y="329"/>
                </a:cubicBezTo>
                <a:cubicBezTo>
                  <a:pt x="405" y="329"/>
                  <a:pt x="405" y="329"/>
                  <a:pt x="405" y="328"/>
                </a:cubicBezTo>
                <a:close/>
                <a:moveTo>
                  <a:pt x="372" y="341"/>
                </a:moveTo>
                <a:cubicBezTo>
                  <a:pt x="373" y="341"/>
                  <a:pt x="373" y="341"/>
                  <a:pt x="373" y="341"/>
                </a:cubicBezTo>
                <a:cubicBezTo>
                  <a:pt x="373" y="340"/>
                  <a:pt x="373" y="340"/>
                  <a:pt x="373" y="340"/>
                </a:cubicBezTo>
                <a:cubicBezTo>
                  <a:pt x="371" y="341"/>
                  <a:pt x="371" y="341"/>
                  <a:pt x="371" y="341"/>
                </a:cubicBezTo>
                <a:cubicBezTo>
                  <a:pt x="372" y="341"/>
                  <a:pt x="372" y="341"/>
                  <a:pt x="372" y="341"/>
                </a:cubicBezTo>
                <a:close/>
                <a:moveTo>
                  <a:pt x="444" y="324"/>
                </a:moveTo>
                <a:cubicBezTo>
                  <a:pt x="444" y="324"/>
                  <a:pt x="444" y="324"/>
                  <a:pt x="444" y="323"/>
                </a:cubicBezTo>
                <a:cubicBezTo>
                  <a:pt x="444" y="323"/>
                  <a:pt x="444" y="323"/>
                  <a:pt x="443" y="325"/>
                </a:cubicBezTo>
                <a:lnTo>
                  <a:pt x="444" y="324"/>
                </a:lnTo>
                <a:close/>
                <a:moveTo>
                  <a:pt x="435" y="254"/>
                </a:moveTo>
                <a:cubicBezTo>
                  <a:pt x="435" y="254"/>
                  <a:pt x="435" y="254"/>
                  <a:pt x="436" y="254"/>
                </a:cubicBezTo>
                <a:cubicBezTo>
                  <a:pt x="436" y="254"/>
                  <a:pt x="436" y="254"/>
                  <a:pt x="437" y="254"/>
                </a:cubicBezTo>
                <a:cubicBezTo>
                  <a:pt x="437" y="254"/>
                  <a:pt x="437" y="254"/>
                  <a:pt x="438" y="254"/>
                </a:cubicBezTo>
                <a:cubicBezTo>
                  <a:pt x="438" y="254"/>
                  <a:pt x="438" y="254"/>
                  <a:pt x="440" y="254"/>
                </a:cubicBezTo>
                <a:cubicBezTo>
                  <a:pt x="440" y="254"/>
                  <a:pt x="440" y="254"/>
                  <a:pt x="440" y="253"/>
                </a:cubicBezTo>
                <a:cubicBezTo>
                  <a:pt x="440" y="253"/>
                  <a:pt x="440" y="253"/>
                  <a:pt x="441" y="251"/>
                </a:cubicBezTo>
                <a:cubicBezTo>
                  <a:pt x="441" y="251"/>
                  <a:pt x="441" y="251"/>
                  <a:pt x="441" y="250"/>
                </a:cubicBezTo>
                <a:cubicBezTo>
                  <a:pt x="441" y="250"/>
                  <a:pt x="441" y="250"/>
                  <a:pt x="440" y="249"/>
                </a:cubicBezTo>
                <a:cubicBezTo>
                  <a:pt x="440" y="249"/>
                  <a:pt x="440" y="249"/>
                  <a:pt x="440" y="248"/>
                </a:cubicBezTo>
                <a:cubicBezTo>
                  <a:pt x="440" y="248"/>
                  <a:pt x="440" y="248"/>
                  <a:pt x="438" y="248"/>
                </a:cubicBezTo>
                <a:cubicBezTo>
                  <a:pt x="438" y="248"/>
                  <a:pt x="438" y="248"/>
                  <a:pt x="437" y="249"/>
                </a:cubicBezTo>
                <a:cubicBezTo>
                  <a:pt x="437" y="249"/>
                  <a:pt x="437" y="249"/>
                  <a:pt x="436" y="249"/>
                </a:cubicBezTo>
                <a:cubicBezTo>
                  <a:pt x="436" y="249"/>
                  <a:pt x="436" y="249"/>
                  <a:pt x="435" y="249"/>
                </a:cubicBezTo>
                <a:cubicBezTo>
                  <a:pt x="435" y="249"/>
                  <a:pt x="435" y="249"/>
                  <a:pt x="433" y="249"/>
                </a:cubicBezTo>
                <a:cubicBezTo>
                  <a:pt x="433" y="249"/>
                  <a:pt x="433" y="249"/>
                  <a:pt x="432" y="249"/>
                </a:cubicBezTo>
                <a:cubicBezTo>
                  <a:pt x="432" y="249"/>
                  <a:pt x="432" y="249"/>
                  <a:pt x="432" y="251"/>
                </a:cubicBezTo>
                <a:cubicBezTo>
                  <a:pt x="432" y="251"/>
                  <a:pt x="432" y="251"/>
                  <a:pt x="434" y="253"/>
                </a:cubicBezTo>
                <a:cubicBezTo>
                  <a:pt x="434" y="253"/>
                  <a:pt x="434" y="253"/>
                  <a:pt x="435" y="254"/>
                </a:cubicBezTo>
                <a:close/>
                <a:moveTo>
                  <a:pt x="439" y="324"/>
                </a:moveTo>
                <a:cubicBezTo>
                  <a:pt x="439" y="324"/>
                  <a:pt x="439" y="324"/>
                  <a:pt x="438" y="326"/>
                </a:cubicBezTo>
                <a:cubicBezTo>
                  <a:pt x="438" y="326"/>
                  <a:pt x="438" y="326"/>
                  <a:pt x="439" y="325"/>
                </a:cubicBezTo>
                <a:cubicBezTo>
                  <a:pt x="439" y="325"/>
                  <a:pt x="439" y="325"/>
                  <a:pt x="441" y="324"/>
                </a:cubicBezTo>
                <a:cubicBezTo>
                  <a:pt x="441" y="324"/>
                  <a:pt x="441" y="324"/>
                  <a:pt x="442" y="323"/>
                </a:cubicBezTo>
                <a:cubicBezTo>
                  <a:pt x="442" y="323"/>
                  <a:pt x="442" y="323"/>
                  <a:pt x="440" y="323"/>
                </a:cubicBezTo>
                <a:cubicBezTo>
                  <a:pt x="440" y="323"/>
                  <a:pt x="440" y="323"/>
                  <a:pt x="439" y="324"/>
                </a:cubicBezTo>
                <a:close/>
                <a:moveTo>
                  <a:pt x="399" y="331"/>
                </a:moveTo>
                <a:cubicBezTo>
                  <a:pt x="400" y="331"/>
                  <a:pt x="400" y="331"/>
                  <a:pt x="400" y="331"/>
                </a:cubicBezTo>
                <a:cubicBezTo>
                  <a:pt x="399" y="330"/>
                  <a:pt x="399" y="330"/>
                  <a:pt x="399" y="330"/>
                </a:cubicBezTo>
                <a:cubicBezTo>
                  <a:pt x="399" y="331"/>
                  <a:pt x="399" y="331"/>
                  <a:pt x="399" y="331"/>
                </a:cubicBezTo>
                <a:close/>
                <a:moveTo>
                  <a:pt x="402" y="328"/>
                </a:moveTo>
                <a:cubicBezTo>
                  <a:pt x="401" y="329"/>
                  <a:pt x="401" y="329"/>
                  <a:pt x="401" y="329"/>
                </a:cubicBezTo>
                <a:cubicBezTo>
                  <a:pt x="401" y="330"/>
                  <a:pt x="401" y="330"/>
                  <a:pt x="401" y="330"/>
                </a:cubicBezTo>
                <a:cubicBezTo>
                  <a:pt x="402" y="331"/>
                  <a:pt x="402" y="331"/>
                  <a:pt x="402" y="331"/>
                </a:cubicBezTo>
                <a:cubicBezTo>
                  <a:pt x="403" y="330"/>
                  <a:pt x="403" y="330"/>
                  <a:pt x="403" y="330"/>
                </a:cubicBezTo>
                <a:cubicBezTo>
                  <a:pt x="403" y="329"/>
                  <a:pt x="403" y="329"/>
                  <a:pt x="403" y="329"/>
                </a:cubicBezTo>
                <a:cubicBezTo>
                  <a:pt x="402" y="329"/>
                  <a:pt x="402" y="329"/>
                  <a:pt x="402" y="329"/>
                </a:cubicBezTo>
                <a:cubicBezTo>
                  <a:pt x="402" y="328"/>
                  <a:pt x="402" y="328"/>
                  <a:pt x="402" y="328"/>
                </a:cubicBezTo>
                <a:close/>
                <a:moveTo>
                  <a:pt x="405" y="331"/>
                </a:moveTo>
                <a:cubicBezTo>
                  <a:pt x="405" y="331"/>
                  <a:pt x="405" y="331"/>
                  <a:pt x="406" y="331"/>
                </a:cubicBezTo>
                <a:cubicBezTo>
                  <a:pt x="406" y="331"/>
                  <a:pt x="406" y="331"/>
                  <a:pt x="405" y="330"/>
                </a:cubicBezTo>
                <a:cubicBezTo>
                  <a:pt x="405" y="330"/>
                  <a:pt x="405" y="330"/>
                  <a:pt x="405" y="331"/>
                </a:cubicBezTo>
                <a:close/>
                <a:moveTo>
                  <a:pt x="314" y="344"/>
                </a:moveTo>
                <a:cubicBezTo>
                  <a:pt x="314" y="343"/>
                  <a:pt x="314" y="343"/>
                  <a:pt x="314" y="343"/>
                </a:cubicBezTo>
                <a:cubicBezTo>
                  <a:pt x="313" y="344"/>
                  <a:pt x="313" y="344"/>
                  <a:pt x="313" y="344"/>
                </a:cubicBezTo>
                <a:cubicBezTo>
                  <a:pt x="314" y="344"/>
                  <a:pt x="314" y="344"/>
                  <a:pt x="314" y="344"/>
                </a:cubicBezTo>
                <a:close/>
                <a:moveTo>
                  <a:pt x="311" y="347"/>
                </a:moveTo>
                <a:cubicBezTo>
                  <a:pt x="312" y="348"/>
                  <a:pt x="312" y="348"/>
                  <a:pt x="312" y="348"/>
                </a:cubicBezTo>
                <a:cubicBezTo>
                  <a:pt x="313" y="347"/>
                  <a:pt x="313" y="347"/>
                  <a:pt x="313" y="347"/>
                </a:cubicBezTo>
                <a:cubicBezTo>
                  <a:pt x="312" y="346"/>
                  <a:pt x="312" y="346"/>
                  <a:pt x="312" y="346"/>
                </a:cubicBezTo>
                <a:cubicBezTo>
                  <a:pt x="311" y="347"/>
                  <a:pt x="311" y="347"/>
                  <a:pt x="311" y="347"/>
                </a:cubicBezTo>
                <a:close/>
                <a:moveTo>
                  <a:pt x="426" y="325"/>
                </a:moveTo>
                <a:cubicBezTo>
                  <a:pt x="426" y="325"/>
                  <a:pt x="426" y="325"/>
                  <a:pt x="427" y="324"/>
                </a:cubicBezTo>
                <a:cubicBezTo>
                  <a:pt x="427" y="324"/>
                  <a:pt x="427" y="324"/>
                  <a:pt x="427" y="323"/>
                </a:cubicBezTo>
                <a:cubicBezTo>
                  <a:pt x="427" y="323"/>
                  <a:pt x="427" y="323"/>
                  <a:pt x="426" y="324"/>
                </a:cubicBezTo>
                <a:cubicBezTo>
                  <a:pt x="426" y="324"/>
                  <a:pt x="426" y="324"/>
                  <a:pt x="426" y="325"/>
                </a:cubicBezTo>
                <a:close/>
                <a:moveTo>
                  <a:pt x="404" y="237"/>
                </a:moveTo>
                <a:cubicBezTo>
                  <a:pt x="403" y="237"/>
                  <a:pt x="403" y="237"/>
                  <a:pt x="403" y="237"/>
                </a:cubicBezTo>
                <a:cubicBezTo>
                  <a:pt x="403" y="237"/>
                  <a:pt x="403" y="237"/>
                  <a:pt x="403" y="238"/>
                </a:cubicBezTo>
                <a:cubicBezTo>
                  <a:pt x="403" y="238"/>
                  <a:pt x="403" y="238"/>
                  <a:pt x="404" y="239"/>
                </a:cubicBezTo>
                <a:cubicBezTo>
                  <a:pt x="404" y="239"/>
                  <a:pt x="404" y="239"/>
                  <a:pt x="406" y="241"/>
                </a:cubicBezTo>
                <a:cubicBezTo>
                  <a:pt x="406" y="241"/>
                  <a:pt x="406" y="241"/>
                  <a:pt x="406" y="240"/>
                </a:cubicBezTo>
                <a:cubicBezTo>
                  <a:pt x="406" y="240"/>
                  <a:pt x="406" y="240"/>
                  <a:pt x="404" y="238"/>
                </a:cubicBezTo>
                <a:cubicBezTo>
                  <a:pt x="404" y="238"/>
                  <a:pt x="404" y="238"/>
                  <a:pt x="404" y="237"/>
                </a:cubicBezTo>
                <a:close/>
                <a:moveTo>
                  <a:pt x="319" y="343"/>
                </a:moveTo>
                <a:cubicBezTo>
                  <a:pt x="318" y="344"/>
                  <a:pt x="318" y="344"/>
                  <a:pt x="318" y="344"/>
                </a:cubicBezTo>
                <a:cubicBezTo>
                  <a:pt x="319" y="345"/>
                  <a:pt x="319" y="345"/>
                  <a:pt x="319" y="345"/>
                </a:cubicBezTo>
                <a:cubicBezTo>
                  <a:pt x="318" y="345"/>
                  <a:pt x="318" y="345"/>
                  <a:pt x="318" y="345"/>
                </a:cubicBezTo>
                <a:cubicBezTo>
                  <a:pt x="319" y="346"/>
                  <a:pt x="319" y="346"/>
                  <a:pt x="319" y="346"/>
                </a:cubicBezTo>
                <a:cubicBezTo>
                  <a:pt x="320" y="346"/>
                  <a:pt x="320" y="346"/>
                  <a:pt x="320" y="346"/>
                </a:cubicBezTo>
                <a:cubicBezTo>
                  <a:pt x="320" y="345"/>
                  <a:pt x="320" y="345"/>
                  <a:pt x="320" y="345"/>
                </a:cubicBezTo>
                <a:cubicBezTo>
                  <a:pt x="321" y="345"/>
                  <a:pt x="321" y="345"/>
                  <a:pt x="321" y="345"/>
                </a:cubicBezTo>
                <a:cubicBezTo>
                  <a:pt x="320" y="343"/>
                  <a:pt x="320" y="343"/>
                  <a:pt x="320" y="343"/>
                </a:cubicBezTo>
                <a:cubicBezTo>
                  <a:pt x="319" y="343"/>
                  <a:pt x="319" y="343"/>
                  <a:pt x="319" y="343"/>
                </a:cubicBezTo>
                <a:close/>
                <a:moveTo>
                  <a:pt x="327" y="346"/>
                </a:moveTo>
                <a:cubicBezTo>
                  <a:pt x="326" y="346"/>
                  <a:pt x="326" y="346"/>
                  <a:pt x="326" y="346"/>
                </a:cubicBezTo>
                <a:cubicBezTo>
                  <a:pt x="326" y="347"/>
                  <a:pt x="326" y="347"/>
                  <a:pt x="326" y="347"/>
                </a:cubicBezTo>
                <a:cubicBezTo>
                  <a:pt x="327" y="347"/>
                  <a:pt x="327" y="347"/>
                  <a:pt x="327" y="347"/>
                </a:cubicBezTo>
                <a:cubicBezTo>
                  <a:pt x="328" y="346"/>
                  <a:pt x="328" y="346"/>
                  <a:pt x="328" y="346"/>
                </a:cubicBezTo>
                <a:cubicBezTo>
                  <a:pt x="328" y="344"/>
                  <a:pt x="328" y="344"/>
                  <a:pt x="328" y="344"/>
                </a:cubicBezTo>
                <a:cubicBezTo>
                  <a:pt x="327" y="344"/>
                  <a:pt x="327" y="344"/>
                  <a:pt x="327" y="344"/>
                </a:cubicBezTo>
                <a:cubicBezTo>
                  <a:pt x="327" y="346"/>
                  <a:pt x="327" y="346"/>
                  <a:pt x="327" y="346"/>
                </a:cubicBezTo>
                <a:close/>
                <a:moveTo>
                  <a:pt x="422" y="324"/>
                </a:moveTo>
                <a:cubicBezTo>
                  <a:pt x="422" y="324"/>
                  <a:pt x="422" y="324"/>
                  <a:pt x="420" y="323"/>
                </a:cubicBezTo>
                <a:cubicBezTo>
                  <a:pt x="420" y="323"/>
                  <a:pt x="420" y="323"/>
                  <a:pt x="420" y="322"/>
                </a:cubicBezTo>
                <a:cubicBezTo>
                  <a:pt x="420" y="322"/>
                  <a:pt x="420" y="322"/>
                  <a:pt x="420" y="321"/>
                </a:cubicBezTo>
                <a:cubicBezTo>
                  <a:pt x="420" y="321"/>
                  <a:pt x="420" y="321"/>
                  <a:pt x="418" y="321"/>
                </a:cubicBezTo>
                <a:cubicBezTo>
                  <a:pt x="418" y="321"/>
                  <a:pt x="418" y="321"/>
                  <a:pt x="417" y="322"/>
                </a:cubicBezTo>
                <a:cubicBezTo>
                  <a:pt x="417" y="322"/>
                  <a:pt x="417" y="322"/>
                  <a:pt x="415" y="321"/>
                </a:cubicBezTo>
                <a:cubicBezTo>
                  <a:pt x="415" y="321"/>
                  <a:pt x="415" y="321"/>
                  <a:pt x="415" y="322"/>
                </a:cubicBezTo>
                <a:cubicBezTo>
                  <a:pt x="415" y="322"/>
                  <a:pt x="415" y="322"/>
                  <a:pt x="414" y="321"/>
                </a:cubicBezTo>
                <a:cubicBezTo>
                  <a:pt x="414" y="321"/>
                  <a:pt x="414" y="321"/>
                  <a:pt x="413" y="321"/>
                </a:cubicBezTo>
                <a:cubicBezTo>
                  <a:pt x="413" y="321"/>
                  <a:pt x="413" y="321"/>
                  <a:pt x="412" y="323"/>
                </a:cubicBezTo>
                <a:cubicBezTo>
                  <a:pt x="412" y="323"/>
                  <a:pt x="412" y="323"/>
                  <a:pt x="411" y="324"/>
                </a:cubicBezTo>
                <a:cubicBezTo>
                  <a:pt x="411" y="324"/>
                  <a:pt x="411" y="324"/>
                  <a:pt x="410" y="324"/>
                </a:cubicBezTo>
                <a:cubicBezTo>
                  <a:pt x="410" y="324"/>
                  <a:pt x="410" y="324"/>
                  <a:pt x="409" y="326"/>
                </a:cubicBezTo>
                <a:cubicBezTo>
                  <a:pt x="410" y="327"/>
                  <a:pt x="410" y="327"/>
                  <a:pt x="410" y="327"/>
                </a:cubicBezTo>
                <a:cubicBezTo>
                  <a:pt x="410" y="327"/>
                  <a:pt x="410" y="327"/>
                  <a:pt x="411" y="327"/>
                </a:cubicBezTo>
                <a:cubicBezTo>
                  <a:pt x="411" y="327"/>
                  <a:pt x="411" y="327"/>
                  <a:pt x="412" y="327"/>
                </a:cubicBezTo>
                <a:cubicBezTo>
                  <a:pt x="412" y="327"/>
                  <a:pt x="412" y="327"/>
                  <a:pt x="413" y="325"/>
                </a:cubicBezTo>
                <a:cubicBezTo>
                  <a:pt x="413" y="325"/>
                  <a:pt x="413" y="325"/>
                  <a:pt x="416" y="325"/>
                </a:cubicBezTo>
                <a:cubicBezTo>
                  <a:pt x="416" y="325"/>
                  <a:pt x="416" y="325"/>
                  <a:pt x="417" y="326"/>
                </a:cubicBezTo>
                <a:cubicBezTo>
                  <a:pt x="417" y="326"/>
                  <a:pt x="417" y="326"/>
                  <a:pt x="419" y="326"/>
                </a:cubicBezTo>
                <a:cubicBezTo>
                  <a:pt x="419" y="326"/>
                  <a:pt x="419" y="326"/>
                  <a:pt x="420" y="325"/>
                </a:cubicBezTo>
                <a:cubicBezTo>
                  <a:pt x="420" y="325"/>
                  <a:pt x="420" y="325"/>
                  <a:pt x="422" y="325"/>
                </a:cubicBezTo>
                <a:cubicBezTo>
                  <a:pt x="422" y="325"/>
                  <a:pt x="422" y="325"/>
                  <a:pt x="422" y="324"/>
                </a:cubicBezTo>
                <a:close/>
                <a:moveTo>
                  <a:pt x="407" y="331"/>
                </a:moveTo>
                <a:cubicBezTo>
                  <a:pt x="407" y="331"/>
                  <a:pt x="407" y="331"/>
                  <a:pt x="408" y="331"/>
                </a:cubicBezTo>
                <a:cubicBezTo>
                  <a:pt x="408" y="331"/>
                  <a:pt x="408" y="331"/>
                  <a:pt x="408" y="330"/>
                </a:cubicBezTo>
                <a:cubicBezTo>
                  <a:pt x="408" y="330"/>
                  <a:pt x="408" y="330"/>
                  <a:pt x="407" y="330"/>
                </a:cubicBezTo>
                <a:cubicBezTo>
                  <a:pt x="407" y="330"/>
                  <a:pt x="407" y="330"/>
                  <a:pt x="407" y="331"/>
                </a:cubicBezTo>
                <a:close/>
                <a:moveTo>
                  <a:pt x="311" y="350"/>
                </a:moveTo>
                <a:cubicBezTo>
                  <a:pt x="311" y="349"/>
                  <a:pt x="311" y="349"/>
                  <a:pt x="311" y="349"/>
                </a:cubicBezTo>
                <a:cubicBezTo>
                  <a:pt x="310" y="350"/>
                  <a:pt x="310" y="350"/>
                  <a:pt x="310" y="350"/>
                </a:cubicBezTo>
                <a:cubicBezTo>
                  <a:pt x="311" y="350"/>
                  <a:pt x="311" y="350"/>
                  <a:pt x="311" y="350"/>
                </a:cubicBezTo>
                <a:close/>
                <a:moveTo>
                  <a:pt x="421" y="328"/>
                </a:moveTo>
                <a:cubicBezTo>
                  <a:pt x="421" y="328"/>
                  <a:pt x="421" y="328"/>
                  <a:pt x="422" y="329"/>
                </a:cubicBezTo>
                <a:cubicBezTo>
                  <a:pt x="422" y="329"/>
                  <a:pt x="422" y="329"/>
                  <a:pt x="423" y="329"/>
                </a:cubicBezTo>
                <a:cubicBezTo>
                  <a:pt x="423" y="329"/>
                  <a:pt x="423" y="329"/>
                  <a:pt x="422" y="328"/>
                </a:cubicBezTo>
                <a:cubicBezTo>
                  <a:pt x="422" y="328"/>
                  <a:pt x="422" y="328"/>
                  <a:pt x="421" y="328"/>
                </a:cubicBezTo>
                <a:close/>
                <a:moveTo>
                  <a:pt x="323" y="345"/>
                </a:moveTo>
                <a:cubicBezTo>
                  <a:pt x="323" y="346"/>
                  <a:pt x="323" y="346"/>
                  <a:pt x="323" y="346"/>
                </a:cubicBezTo>
                <a:cubicBezTo>
                  <a:pt x="322" y="347"/>
                  <a:pt x="322" y="347"/>
                  <a:pt x="322" y="347"/>
                </a:cubicBezTo>
                <a:cubicBezTo>
                  <a:pt x="323" y="347"/>
                  <a:pt x="323" y="347"/>
                  <a:pt x="323" y="347"/>
                </a:cubicBezTo>
                <a:cubicBezTo>
                  <a:pt x="324" y="346"/>
                  <a:pt x="324" y="346"/>
                  <a:pt x="324" y="346"/>
                </a:cubicBezTo>
                <a:cubicBezTo>
                  <a:pt x="324" y="345"/>
                  <a:pt x="324" y="345"/>
                  <a:pt x="324" y="345"/>
                </a:cubicBezTo>
                <a:cubicBezTo>
                  <a:pt x="325" y="344"/>
                  <a:pt x="325" y="344"/>
                  <a:pt x="325" y="344"/>
                </a:cubicBezTo>
                <a:cubicBezTo>
                  <a:pt x="324" y="344"/>
                  <a:pt x="324" y="344"/>
                  <a:pt x="324" y="344"/>
                </a:cubicBezTo>
                <a:cubicBezTo>
                  <a:pt x="323" y="345"/>
                  <a:pt x="323" y="345"/>
                  <a:pt x="323" y="345"/>
                </a:cubicBezTo>
                <a:close/>
                <a:moveTo>
                  <a:pt x="349" y="346"/>
                </a:moveTo>
                <a:cubicBezTo>
                  <a:pt x="349" y="346"/>
                  <a:pt x="349" y="346"/>
                  <a:pt x="349" y="347"/>
                </a:cubicBezTo>
                <a:cubicBezTo>
                  <a:pt x="349" y="347"/>
                  <a:pt x="349" y="347"/>
                  <a:pt x="346" y="346"/>
                </a:cubicBezTo>
                <a:cubicBezTo>
                  <a:pt x="344" y="346"/>
                  <a:pt x="344" y="346"/>
                  <a:pt x="344" y="346"/>
                </a:cubicBezTo>
                <a:cubicBezTo>
                  <a:pt x="344" y="346"/>
                  <a:pt x="344" y="346"/>
                  <a:pt x="345" y="347"/>
                </a:cubicBezTo>
                <a:cubicBezTo>
                  <a:pt x="345" y="347"/>
                  <a:pt x="345" y="347"/>
                  <a:pt x="346" y="347"/>
                </a:cubicBezTo>
                <a:cubicBezTo>
                  <a:pt x="346" y="347"/>
                  <a:pt x="346" y="347"/>
                  <a:pt x="349" y="348"/>
                </a:cubicBezTo>
                <a:cubicBezTo>
                  <a:pt x="349" y="348"/>
                  <a:pt x="349" y="348"/>
                  <a:pt x="350" y="347"/>
                </a:cubicBezTo>
                <a:cubicBezTo>
                  <a:pt x="350" y="347"/>
                  <a:pt x="350" y="347"/>
                  <a:pt x="349" y="346"/>
                </a:cubicBezTo>
                <a:close/>
                <a:moveTo>
                  <a:pt x="398" y="331"/>
                </a:moveTo>
                <a:cubicBezTo>
                  <a:pt x="397" y="330"/>
                  <a:pt x="397" y="330"/>
                  <a:pt x="397" y="330"/>
                </a:cubicBezTo>
                <a:cubicBezTo>
                  <a:pt x="396" y="330"/>
                  <a:pt x="396" y="330"/>
                  <a:pt x="396" y="330"/>
                </a:cubicBezTo>
                <a:cubicBezTo>
                  <a:pt x="395" y="330"/>
                  <a:pt x="395" y="330"/>
                  <a:pt x="395" y="330"/>
                </a:cubicBezTo>
                <a:cubicBezTo>
                  <a:pt x="394" y="331"/>
                  <a:pt x="394" y="331"/>
                  <a:pt x="394" y="331"/>
                </a:cubicBezTo>
                <a:cubicBezTo>
                  <a:pt x="394" y="332"/>
                  <a:pt x="394" y="332"/>
                  <a:pt x="394" y="332"/>
                </a:cubicBezTo>
                <a:cubicBezTo>
                  <a:pt x="395" y="333"/>
                  <a:pt x="395" y="333"/>
                  <a:pt x="395" y="333"/>
                </a:cubicBezTo>
                <a:cubicBezTo>
                  <a:pt x="393" y="333"/>
                  <a:pt x="393" y="333"/>
                  <a:pt x="393" y="333"/>
                </a:cubicBezTo>
                <a:cubicBezTo>
                  <a:pt x="392" y="333"/>
                  <a:pt x="392" y="333"/>
                  <a:pt x="392" y="333"/>
                </a:cubicBezTo>
                <a:cubicBezTo>
                  <a:pt x="392" y="334"/>
                  <a:pt x="392" y="334"/>
                  <a:pt x="392" y="334"/>
                </a:cubicBezTo>
                <a:cubicBezTo>
                  <a:pt x="391" y="336"/>
                  <a:pt x="391" y="336"/>
                  <a:pt x="391" y="336"/>
                </a:cubicBezTo>
                <a:cubicBezTo>
                  <a:pt x="390" y="336"/>
                  <a:pt x="390" y="336"/>
                  <a:pt x="390" y="336"/>
                </a:cubicBezTo>
                <a:cubicBezTo>
                  <a:pt x="388" y="337"/>
                  <a:pt x="388" y="337"/>
                  <a:pt x="388" y="337"/>
                </a:cubicBezTo>
                <a:cubicBezTo>
                  <a:pt x="387" y="337"/>
                  <a:pt x="387" y="337"/>
                  <a:pt x="387" y="337"/>
                </a:cubicBezTo>
                <a:cubicBezTo>
                  <a:pt x="387" y="338"/>
                  <a:pt x="387" y="338"/>
                  <a:pt x="387" y="338"/>
                </a:cubicBezTo>
                <a:cubicBezTo>
                  <a:pt x="389" y="338"/>
                  <a:pt x="389" y="338"/>
                  <a:pt x="389" y="338"/>
                </a:cubicBezTo>
                <a:cubicBezTo>
                  <a:pt x="391" y="337"/>
                  <a:pt x="391" y="337"/>
                  <a:pt x="391" y="337"/>
                </a:cubicBezTo>
                <a:cubicBezTo>
                  <a:pt x="392" y="336"/>
                  <a:pt x="392" y="336"/>
                  <a:pt x="392" y="336"/>
                </a:cubicBezTo>
                <a:cubicBezTo>
                  <a:pt x="393" y="337"/>
                  <a:pt x="393" y="337"/>
                  <a:pt x="393" y="337"/>
                </a:cubicBezTo>
                <a:cubicBezTo>
                  <a:pt x="394" y="336"/>
                  <a:pt x="394" y="336"/>
                  <a:pt x="394" y="336"/>
                </a:cubicBezTo>
                <a:cubicBezTo>
                  <a:pt x="394" y="335"/>
                  <a:pt x="394" y="335"/>
                  <a:pt x="394" y="335"/>
                </a:cubicBezTo>
                <a:cubicBezTo>
                  <a:pt x="395" y="335"/>
                  <a:pt x="395" y="335"/>
                  <a:pt x="395" y="335"/>
                </a:cubicBezTo>
                <a:cubicBezTo>
                  <a:pt x="395" y="336"/>
                  <a:pt x="395" y="336"/>
                  <a:pt x="395" y="336"/>
                </a:cubicBezTo>
                <a:cubicBezTo>
                  <a:pt x="396" y="336"/>
                  <a:pt x="396" y="336"/>
                  <a:pt x="396" y="336"/>
                </a:cubicBezTo>
                <a:cubicBezTo>
                  <a:pt x="397" y="334"/>
                  <a:pt x="397" y="334"/>
                  <a:pt x="397" y="334"/>
                </a:cubicBezTo>
                <a:cubicBezTo>
                  <a:pt x="398" y="334"/>
                  <a:pt x="398" y="334"/>
                  <a:pt x="398" y="334"/>
                </a:cubicBezTo>
                <a:cubicBezTo>
                  <a:pt x="398" y="333"/>
                  <a:pt x="398" y="333"/>
                  <a:pt x="398" y="333"/>
                </a:cubicBezTo>
                <a:cubicBezTo>
                  <a:pt x="397" y="333"/>
                  <a:pt x="397" y="333"/>
                  <a:pt x="397" y="333"/>
                </a:cubicBezTo>
                <a:cubicBezTo>
                  <a:pt x="399" y="332"/>
                  <a:pt x="399" y="332"/>
                  <a:pt x="399" y="332"/>
                </a:cubicBezTo>
                <a:cubicBezTo>
                  <a:pt x="398" y="331"/>
                  <a:pt x="398" y="331"/>
                  <a:pt x="398" y="331"/>
                </a:cubicBezTo>
                <a:close/>
                <a:moveTo>
                  <a:pt x="356" y="345"/>
                </a:moveTo>
                <a:cubicBezTo>
                  <a:pt x="355" y="344"/>
                  <a:pt x="355" y="344"/>
                  <a:pt x="355" y="344"/>
                </a:cubicBezTo>
                <a:cubicBezTo>
                  <a:pt x="353" y="344"/>
                  <a:pt x="353" y="344"/>
                  <a:pt x="353" y="344"/>
                </a:cubicBezTo>
                <a:cubicBezTo>
                  <a:pt x="353" y="345"/>
                  <a:pt x="353" y="345"/>
                  <a:pt x="353" y="345"/>
                </a:cubicBezTo>
                <a:cubicBezTo>
                  <a:pt x="355" y="345"/>
                  <a:pt x="355" y="345"/>
                  <a:pt x="355" y="345"/>
                </a:cubicBezTo>
                <a:cubicBezTo>
                  <a:pt x="356" y="345"/>
                  <a:pt x="356" y="345"/>
                  <a:pt x="356" y="345"/>
                </a:cubicBezTo>
                <a:close/>
                <a:moveTo>
                  <a:pt x="435" y="199"/>
                </a:moveTo>
                <a:cubicBezTo>
                  <a:pt x="435" y="199"/>
                  <a:pt x="435" y="199"/>
                  <a:pt x="436" y="197"/>
                </a:cubicBezTo>
                <a:cubicBezTo>
                  <a:pt x="436" y="197"/>
                  <a:pt x="436" y="197"/>
                  <a:pt x="438" y="198"/>
                </a:cubicBezTo>
                <a:cubicBezTo>
                  <a:pt x="438" y="198"/>
                  <a:pt x="438" y="198"/>
                  <a:pt x="439" y="199"/>
                </a:cubicBezTo>
                <a:cubicBezTo>
                  <a:pt x="439" y="199"/>
                  <a:pt x="439" y="199"/>
                  <a:pt x="440" y="201"/>
                </a:cubicBezTo>
                <a:cubicBezTo>
                  <a:pt x="440" y="201"/>
                  <a:pt x="440" y="201"/>
                  <a:pt x="439" y="202"/>
                </a:cubicBezTo>
                <a:cubicBezTo>
                  <a:pt x="439" y="202"/>
                  <a:pt x="439" y="202"/>
                  <a:pt x="441" y="203"/>
                </a:cubicBezTo>
                <a:cubicBezTo>
                  <a:pt x="441" y="203"/>
                  <a:pt x="441" y="203"/>
                  <a:pt x="441" y="204"/>
                </a:cubicBezTo>
                <a:cubicBezTo>
                  <a:pt x="441" y="204"/>
                  <a:pt x="441" y="204"/>
                  <a:pt x="440" y="206"/>
                </a:cubicBezTo>
                <a:cubicBezTo>
                  <a:pt x="440" y="206"/>
                  <a:pt x="440" y="206"/>
                  <a:pt x="441" y="207"/>
                </a:cubicBezTo>
                <a:cubicBezTo>
                  <a:pt x="441" y="207"/>
                  <a:pt x="441" y="207"/>
                  <a:pt x="443" y="205"/>
                </a:cubicBezTo>
                <a:cubicBezTo>
                  <a:pt x="443" y="205"/>
                  <a:pt x="443" y="205"/>
                  <a:pt x="444" y="205"/>
                </a:cubicBezTo>
                <a:cubicBezTo>
                  <a:pt x="444" y="205"/>
                  <a:pt x="444" y="205"/>
                  <a:pt x="445" y="204"/>
                </a:cubicBezTo>
                <a:cubicBezTo>
                  <a:pt x="445" y="204"/>
                  <a:pt x="445" y="204"/>
                  <a:pt x="447" y="205"/>
                </a:cubicBezTo>
                <a:cubicBezTo>
                  <a:pt x="447" y="205"/>
                  <a:pt x="447" y="205"/>
                  <a:pt x="448" y="205"/>
                </a:cubicBezTo>
                <a:cubicBezTo>
                  <a:pt x="448" y="205"/>
                  <a:pt x="448" y="205"/>
                  <a:pt x="448" y="203"/>
                </a:cubicBezTo>
                <a:cubicBezTo>
                  <a:pt x="448" y="203"/>
                  <a:pt x="448" y="203"/>
                  <a:pt x="445" y="201"/>
                </a:cubicBezTo>
                <a:cubicBezTo>
                  <a:pt x="445" y="201"/>
                  <a:pt x="445" y="201"/>
                  <a:pt x="445" y="200"/>
                </a:cubicBezTo>
                <a:cubicBezTo>
                  <a:pt x="445" y="200"/>
                  <a:pt x="445" y="200"/>
                  <a:pt x="444" y="199"/>
                </a:cubicBezTo>
                <a:cubicBezTo>
                  <a:pt x="444" y="199"/>
                  <a:pt x="444" y="199"/>
                  <a:pt x="443" y="197"/>
                </a:cubicBezTo>
                <a:cubicBezTo>
                  <a:pt x="443" y="197"/>
                  <a:pt x="443" y="197"/>
                  <a:pt x="444" y="197"/>
                </a:cubicBezTo>
                <a:cubicBezTo>
                  <a:pt x="444" y="197"/>
                  <a:pt x="444" y="197"/>
                  <a:pt x="444" y="196"/>
                </a:cubicBezTo>
                <a:cubicBezTo>
                  <a:pt x="444" y="196"/>
                  <a:pt x="444" y="196"/>
                  <a:pt x="443" y="195"/>
                </a:cubicBezTo>
                <a:cubicBezTo>
                  <a:pt x="443" y="195"/>
                  <a:pt x="443" y="195"/>
                  <a:pt x="441" y="195"/>
                </a:cubicBezTo>
                <a:cubicBezTo>
                  <a:pt x="441" y="195"/>
                  <a:pt x="441" y="195"/>
                  <a:pt x="440" y="195"/>
                </a:cubicBezTo>
                <a:cubicBezTo>
                  <a:pt x="440" y="195"/>
                  <a:pt x="440" y="195"/>
                  <a:pt x="439" y="195"/>
                </a:cubicBezTo>
                <a:cubicBezTo>
                  <a:pt x="439" y="195"/>
                  <a:pt x="439" y="195"/>
                  <a:pt x="439" y="194"/>
                </a:cubicBezTo>
                <a:cubicBezTo>
                  <a:pt x="439" y="194"/>
                  <a:pt x="439" y="194"/>
                  <a:pt x="437" y="194"/>
                </a:cubicBezTo>
                <a:cubicBezTo>
                  <a:pt x="437" y="194"/>
                  <a:pt x="437" y="194"/>
                  <a:pt x="437" y="193"/>
                </a:cubicBezTo>
                <a:cubicBezTo>
                  <a:pt x="437" y="193"/>
                  <a:pt x="437" y="193"/>
                  <a:pt x="437" y="190"/>
                </a:cubicBezTo>
                <a:cubicBezTo>
                  <a:pt x="437" y="190"/>
                  <a:pt x="437" y="190"/>
                  <a:pt x="436" y="193"/>
                </a:cubicBezTo>
                <a:cubicBezTo>
                  <a:pt x="436" y="193"/>
                  <a:pt x="436" y="193"/>
                  <a:pt x="433" y="195"/>
                </a:cubicBezTo>
                <a:cubicBezTo>
                  <a:pt x="433" y="195"/>
                  <a:pt x="433" y="195"/>
                  <a:pt x="433" y="197"/>
                </a:cubicBezTo>
                <a:cubicBezTo>
                  <a:pt x="433" y="197"/>
                  <a:pt x="433" y="197"/>
                  <a:pt x="434" y="199"/>
                </a:cubicBezTo>
                <a:cubicBezTo>
                  <a:pt x="434" y="199"/>
                  <a:pt x="434" y="199"/>
                  <a:pt x="435" y="199"/>
                </a:cubicBezTo>
                <a:close/>
                <a:moveTo>
                  <a:pt x="466" y="180"/>
                </a:moveTo>
                <a:cubicBezTo>
                  <a:pt x="466" y="180"/>
                  <a:pt x="466" y="180"/>
                  <a:pt x="465" y="180"/>
                </a:cubicBezTo>
                <a:cubicBezTo>
                  <a:pt x="464" y="180"/>
                  <a:pt x="464" y="180"/>
                  <a:pt x="464" y="180"/>
                </a:cubicBezTo>
                <a:cubicBezTo>
                  <a:pt x="464" y="180"/>
                  <a:pt x="464" y="180"/>
                  <a:pt x="465" y="181"/>
                </a:cubicBezTo>
                <a:cubicBezTo>
                  <a:pt x="465" y="181"/>
                  <a:pt x="465" y="181"/>
                  <a:pt x="466" y="180"/>
                </a:cubicBezTo>
                <a:close/>
                <a:moveTo>
                  <a:pt x="362" y="344"/>
                </a:moveTo>
                <a:cubicBezTo>
                  <a:pt x="363" y="344"/>
                  <a:pt x="363" y="344"/>
                  <a:pt x="363" y="344"/>
                </a:cubicBezTo>
                <a:cubicBezTo>
                  <a:pt x="362" y="342"/>
                  <a:pt x="362" y="342"/>
                  <a:pt x="362" y="342"/>
                </a:cubicBezTo>
                <a:cubicBezTo>
                  <a:pt x="362" y="344"/>
                  <a:pt x="362" y="344"/>
                  <a:pt x="362" y="344"/>
                </a:cubicBezTo>
                <a:close/>
                <a:moveTo>
                  <a:pt x="386" y="335"/>
                </a:moveTo>
                <a:cubicBezTo>
                  <a:pt x="386" y="335"/>
                  <a:pt x="386" y="335"/>
                  <a:pt x="386" y="334"/>
                </a:cubicBezTo>
                <a:cubicBezTo>
                  <a:pt x="385" y="335"/>
                  <a:pt x="385" y="335"/>
                  <a:pt x="385" y="335"/>
                </a:cubicBezTo>
                <a:cubicBezTo>
                  <a:pt x="385" y="335"/>
                  <a:pt x="385" y="335"/>
                  <a:pt x="383" y="335"/>
                </a:cubicBezTo>
                <a:cubicBezTo>
                  <a:pt x="383" y="335"/>
                  <a:pt x="383" y="335"/>
                  <a:pt x="383" y="337"/>
                </a:cubicBezTo>
                <a:cubicBezTo>
                  <a:pt x="383" y="337"/>
                  <a:pt x="383" y="337"/>
                  <a:pt x="381" y="337"/>
                </a:cubicBezTo>
                <a:cubicBezTo>
                  <a:pt x="381" y="337"/>
                  <a:pt x="381" y="337"/>
                  <a:pt x="380" y="338"/>
                </a:cubicBezTo>
                <a:cubicBezTo>
                  <a:pt x="380" y="338"/>
                  <a:pt x="380" y="338"/>
                  <a:pt x="380" y="339"/>
                </a:cubicBezTo>
                <a:cubicBezTo>
                  <a:pt x="380" y="339"/>
                  <a:pt x="380" y="339"/>
                  <a:pt x="379" y="339"/>
                </a:cubicBezTo>
                <a:cubicBezTo>
                  <a:pt x="379" y="339"/>
                  <a:pt x="379" y="339"/>
                  <a:pt x="378" y="341"/>
                </a:cubicBezTo>
                <a:cubicBezTo>
                  <a:pt x="378" y="341"/>
                  <a:pt x="378" y="341"/>
                  <a:pt x="377" y="341"/>
                </a:cubicBezTo>
                <a:cubicBezTo>
                  <a:pt x="377" y="341"/>
                  <a:pt x="377" y="341"/>
                  <a:pt x="376" y="342"/>
                </a:cubicBezTo>
                <a:cubicBezTo>
                  <a:pt x="376" y="342"/>
                  <a:pt x="376" y="342"/>
                  <a:pt x="379" y="342"/>
                </a:cubicBezTo>
                <a:cubicBezTo>
                  <a:pt x="379" y="342"/>
                  <a:pt x="379" y="342"/>
                  <a:pt x="380" y="340"/>
                </a:cubicBezTo>
                <a:cubicBezTo>
                  <a:pt x="380" y="340"/>
                  <a:pt x="380" y="340"/>
                  <a:pt x="382" y="340"/>
                </a:cubicBezTo>
                <a:cubicBezTo>
                  <a:pt x="382" y="340"/>
                  <a:pt x="382" y="340"/>
                  <a:pt x="384" y="338"/>
                </a:cubicBezTo>
                <a:cubicBezTo>
                  <a:pt x="384" y="338"/>
                  <a:pt x="384" y="338"/>
                  <a:pt x="385" y="337"/>
                </a:cubicBezTo>
                <a:cubicBezTo>
                  <a:pt x="385" y="337"/>
                  <a:pt x="385" y="337"/>
                  <a:pt x="386" y="336"/>
                </a:cubicBezTo>
                <a:cubicBezTo>
                  <a:pt x="386" y="336"/>
                  <a:pt x="386" y="336"/>
                  <a:pt x="387" y="335"/>
                </a:cubicBezTo>
                <a:cubicBezTo>
                  <a:pt x="387" y="335"/>
                  <a:pt x="387" y="335"/>
                  <a:pt x="386" y="335"/>
                </a:cubicBezTo>
                <a:close/>
                <a:moveTo>
                  <a:pt x="370" y="341"/>
                </a:moveTo>
                <a:cubicBezTo>
                  <a:pt x="369" y="342"/>
                  <a:pt x="369" y="342"/>
                  <a:pt x="369" y="342"/>
                </a:cubicBezTo>
                <a:cubicBezTo>
                  <a:pt x="370" y="342"/>
                  <a:pt x="370" y="342"/>
                  <a:pt x="370" y="342"/>
                </a:cubicBezTo>
                <a:cubicBezTo>
                  <a:pt x="371" y="342"/>
                  <a:pt x="371" y="342"/>
                  <a:pt x="371" y="342"/>
                </a:cubicBezTo>
                <a:cubicBezTo>
                  <a:pt x="370" y="341"/>
                  <a:pt x="370" y="341"/>
                  <a:pt x="370" y="341"/>
                </a:cubicBezTo>
                <a:close/>
                <a:moveTo>
                  <a:pt x="365" y="342"/>
                </a:moveTo>
                <a:cubicBezTo>
                  <a:pt x="365" y="343"/>
                  <a:pt x="365" y="343"/>
                  <a:pt x="365" y="343"/>
                </a:cubicBezTo>
                <a:cubicBezTo>
                  <a:pt x="367" y="342"/>
                  <a:pt x="367" y="342"/>
                  <a:pt x="367" y="342"/>
                </a:cubicBezTo>
                <a:cubicBezTo>
                  <a:pt x="368" y="342"/>
                  <a:pt x="368" y="342"/>
                  <a:pt x="368" y="342"/>
                </a:cubicBezTo>
                <a:cubicBezTo>
                  <a:pt x="366" y="341"/>
                  <a:pt x="366" y="341"/>
                  <a:pt x="366" y="341"/>
                </a:cubicBezTo>
                <a:cubicBezTo>
                  <a:pt x="365" y="342"/>
                  <a:pt x="365" y="342"/>
                  <a:pt x="365" y="342"/>
                </a:cubicBezTo>
                <a:close/>
                <a:moveTo>
                  <a:pt x="842" y="675"/>
                </a:moveTo>
                <a:cubicBezTo>
                  <a:pt x="843" y="674"/>
                  <a:pt x="843" y="674"/>
                  <a:pt x="843" y="674"/>
                </a:cubicBezTo>
                <a:cubicBezTo>
                  <a:pt x="842" y="674"/>
                  <a:pt x="842" y="674"/>
                  <a:pt x="842" y="674"/>
                </a:cubicBezTo>
                <a:cubicBezTo>
                  <a:pt x="841" y="675"/>
                  <a:pt x="841" y="675"/>
                  <a:pt x="841" y="675"/>
                </a:cubicBezTo>
                <a:cubicBezTo>
                  <a:pt x="842" y="675"/>
                  <a:pt x="842" y="675"/>
                  <a:pt x="842" y="675"/>
                </a:cubicBezTo>
                <a:close/>
                <a:moveTo>
                  <a:pt x="864" y="685"/>
                </a:moveTo>
                <a:cubicBezTo>
                  <a:pt x="866" y="685"/>
                  <a:pt x="866" y="685"/>
                  <a:pt x="866" y="685"/>
                </a:cubicBezTo>
                <a:cubicBezTo>
                  <a:pt x="867" y="685"/>
                  <a:pt x="867" y="685"/>
                  <a:pt x="867" y="685"/>
                </a:cubicBezTo>
                <a:cubicBezTo>
                  <a:pt x="868" y="686"/>
                  <a:pt x="868" y="686"/>
                  <a:pt x="868" y="686"/>
                </a:cubicBezTo>
                <a:cubicBezTo>
                  <a:pt x="868" y="684"/>
                  <a:pt x="868" y="684"/>
                  <a:pt x="868" y="684"/>
                </a:cubicBezTo>
                <a:cubicBezTo>
                  <a:pt x="869" y="684"/>
                  <a:pt x="869" y="684"/>
                  <a:pt x="869" y="684"/>
                </a:cubicBezTo>
                <a:cubicBezTo>
                  <a:pt x="870" y="685"/>
                  <a:pt x="870" y="685"/>
                  <a:pt x="870" y="685"/>
                </a:cubicBezTo>
                <a:cubicBezTo>
                  <a:pt x="871" y="684"/>
                  <a:pt x="871" y="684"/>
                  <a:pt x="871" y="684"/>
                </a:cubicBezTo>
                <a:cubicBezTo>
                  <a:pt x="872" y="684"/>
                  <a:pt x="872" y="684"/>
                  <a:pt x="872" y="684"/>
                </a:cubicBezTo>
                <a:cubicBezTo>
                  <a:pt x="874" y="684"/>
                  <a:pt x="874" y="684"/>
                  <a:pt x="874" y="684"/>
                </a:cubicBezTo>
                <a:cubicBezTo>
                  <a:pt x="874" y="683"/>
                  <a:pt x="874" y="683"/>
                  <a:pt x="874" y="683"/>
                </a:cubicBezTo>
                <a:cubicBezTo>
                  <a:pt x="873" y="682"/>
                  <a:pt x="873" y="682"/>
                  <a:pt x="873" y="682"/>
                </a:cubicBezTo>
                <a:cubicBezTo>
                  <a:pt x="871" y="682"/>
                  <a:pt x="871" y="682"/>
                  <a:pt x="871" y="682"/>
                </a:cubicBezTo>
                <a:cubicBezTo>
                  <a:pt x="870" y="680"/>
                  <a:pt x="870" y="680"/>
                  <a:pt x="870" y="680"/>
                </a:cubicBezTo>
                <a:cubicBezTo>
                  <a:pt x="865" y="680"/>
                  <a:pt x="865" y="680"/>
                  <a:pt x="865" y="680"/>
                </a:cubicBezTo>
                <a:cubicBezTo>
                  <a:pt x="863" y="680"/>
                  <a:pt x="863" y="680"/>
                  <a:pt x="863" y="680"/>
                </a:cubicBezTo>
                <a:cubicBezTo>
                  <a:pt x="862" y="680"/>
                  <a:pt x="862" y="680"/>
                  <a:pt x="862" y="680"/>
                </a:cubicBezTo>
                <a:cubicBezTo>
                  <a:pt x="861" y="680"/>
                  <a:pt x="861" y="680"/>
                  <a:pt x="861" y="680"/>
                </a:cubicBezTo>
                <a:cubicBezTo>
                  <a:pt x="860" y="681"/>
                  <a:pt x="860" y="681"/>
                  <a:pt x="860" y="681"/>
                </a:cubicBezTo>
                <a:cubicBezTo>
                  <a:pt x="861" y="682"/>
                  <a:pt x="861" y="682"/>
                  <a:pt x="861" y="682"/>
                </a:cubicBezTo>
                <a:cubicBezTo>
                  <a:pt x="862" y="682"/>
                  <a:pt x="862" y="682"/>
                  <a:pt x="862" y="682"/>
                </a:cubicBezTo>
                <a:cubicBezTo>
                  <a:pt x="863" y="682"/>
                  <a:pt x="863" y="682"/>
                  <a:pt x="863" y="682"/>
                </a:cubicBezTo>
                <a:cubicBezTo>
                  <a:pt x="863" y="684"/>
                  <a:pt x="863" y="684"/>
                  <a:pt x="863" y="684"/>
                </a:cubicBezTo>
                <a:cubicBezTo>
                  <a:pt x="864" y="685"/>
                  <a:pt x="864" y="685"/>
                  <a:pt x="864" y="685"/>
                </a:cubicBezTo>
                <a:close/>
                <a:moveTo>
                  <a:pt x="895" y="669"/>
                </a:moveTo>
                <a:cubicBezTo>
                  <a:pt x="895" y="669"/>
                  <a:pt x="895" y="669"/>
                  <a:pt x="896" y="670"/>
                </a:cubicBezTo>
                <a:cubicBezTo>
                  <a:pt x="896" y="670"/>
                  <a:pt x="896" y="670"/>
                  <a:pt x="898" y="670"/>
                </a:cubicBezTo>
                <a:cubicBezTo>
                  <a:pt x="898" y="670"/>
                  <a:pt x="898" y="670"/>
                  <a:pt x="896" y="669"/>
                </a:cubicBezTo>
                <a:cubicBezTo>
                  <a:pt x="896" y="669"/>
                  <a:pt x="896" y="669"/>
                  <a:pt x="895" y="669"/>
                </a:cubicBezTo>
                <a:close/>
                <a:moveTo>
                  <a:pt x="895" y="678"/>
                </a:moveTo>
                <a:cubicBezTo>
                  <a:pt x="895" y="678"/>
                  <a:pt x="895" y="678"/>
                  <a:pt x="895" y="677"/>
                </a:cubicBezTo>
                <a:cubicBezTo>
                  <a:pt x="895" y="677"/>
                  <a:pt x="895" y="677"/>
                  <a:pt x="894" y="676"/>
                </a:cubicBezTo>
                <a:cubicBezTo>
                  <a:pt x="894" y="676"/>
                  <a:pt x="894" y="676"/>
                  <a:pt x="892" y="677"/>
                </a:cubicBezTo>
                <a:cubicBezTo>
                  <a:pt x="893" y="678"/>
                  <a:pt x="893" y="678"/>
                  <a:pt x="893" y="678"/>
                </a:cubicBezTo>
                <a:cubicBezTo>
                  <a:pt x="893" y="678"/>
                  <a:pt x="893" y="678"/>
                  <a:pt x="895" y="678"/>
                </a:cubicBezTo>
                <a:close/>
                <a:moveTo>
                  <a:pt x="877" y="672"/>
                </a:moveTo>
                <a:cubicBezTo>
                  <a:pt x="881" y="671"/>
                  <a:pt x="881" y="671"/>
                  <a:pt x="881" y="671"/>
                </a:cubicBezTo>
                <a:cubicBezTo>
                  <a:pt x="881" y="670"/>
                  <a:pt x="881" y="670"/>
                  <a:pt x="881" y="670"/>
                </a:cubicBezTo>
                <a:cubicBezTo>
                  <a:pt x="882" y="670"/>
                  <a:pt x="882" y="670"/>
                  <a:pt x="882" y="670"/>
                </a:cubicBezTo>
                <a:cubicBezTo>
                  <a:pt x="883" y="669"/>
                  <a:pt x="883" y="669"/>
                  <a:pt x="883" y="669"/>
                </a:cubicBezTo>
                <a:cubicBezTo>
                  <a:pt x="885" y="670"/>
                  <a:pt x="885" y="670"/>
                  <a:pt x="885" y="670"/>
                </a:cubicBezTo>
                <a:cubicBezTo>
                  <a:pt x="886" y="669"/>
                  <a:pt x="886" y="669"/>
                  <a:pt x="886" y="669"/>
                </a:cubicBezTo>
                <a:cubicBezTo>
                  <a:pt x="887" y="668"/>
                  <a:pt x="887" y="668"/>
                  <a:pt x="887" y="668"/>
                </a:cubicBezTo>
                <a:cubicBezTo>
                  <a:pt x="887" y="667"/>
                  <a:pt x="887" y="667"/>
                  <a:pt x="887" y="667"/>
                </a:cubicBezTo>
                <a:cubicBezTo>
                  <a:pt x="885" y="667"/>
                  <a:pt x="885" y="667"/>
                  <a:pt x="885" y="667"/>
                </a:cubicBezTo>
                <a:cubicBezTo>
                  <a:pt x="885" y="666"/>
                  <a:pt x="885" y="666"/>
                  <a:pt x="885" y="666"/>
                </a:cubicBezTo>
                <a:cubicBezTo>
                  <a:pt x="882" y="665"/>
                  <a:pt x="882" y="665"/>
                  <a:pt x="882" y="665"/>
                </a:cubicBezTo>
                <a:cubicBezTo>
                  <a:pt x="879" y="665"/>
                  <a:pt x="879" y="665"/>
                  <a:pt x="879" y="665"/>
                </a:cubicBezTo>
                <a:cubicBezTo>
                  <a:pt x="878" y="664"/>
                  <a:pt x="878" y="664"/>
                  <a:pt x="878" y="664"/>
                </a:cubicBezTo>
                <a:cubicBezTo>
                  <a:pt x="879" y="662"/>
                  <a:pt x="879" y="662"/>
                  <a:pt x="879" y="662"/>
                </a:cubicBezTo>
                <a:cubicBezTo>
                  <a:pt x="878" y="662"/>
                  <a:pt x="878" y="662"/>
                  <a:pt x="878" y="662"/>
                </a:cubicBezTo>
                <a:cubicBezTo>
                  <a:pt x="877" y="662"/>
                  <a:pt x="877" y="662"/>
                  <a:pt x="877" y="662"/>
                </a:cubicBezTo>
                <a:cubicBezTo>
                  <a:pt x="876" y="662"/>
                  <a:pt x="876" y="662"/>
                  <a:pt x="876" y="662"/>
                </a:cubicBezTo>
                <a:cubicBezTo>
                  <a:pt x="874" y="660"/>
                  <a:pt x="874" y="660"/>
                  <a:pt x="874" y="660"/>
                </a:cubicBezTo>
                <a:cubicBezTo>
                  <a:pt x="873" y="661"/>
                  <a:pt x="873" y="661"/>
                  <a:pt x="873" y="661"/>
                </a:cubicBezTo>
                <a:cubicBezTo>
                  <a:pt x="872" y="660"/>
                  <a:pt x="872" y="660"/>
                  <a:pt x="872" y="660"/>
                </a:cubicBezTo>
                <a:cubicBezTo>
                  <a:pt x="870" y="659"/>
                  <a:pt x="870" y="659"/>
                  <a:pt x="870" y="659"/>
                </a:cubicBezTo>
                <a:cubicBezTo>
                  <a:pt x="869" y="660"/>
                  <a:pt x="869" y="660"/>
                  <a:pt x="869" y="660"/>
                </a:cubicBezTo>
                <a:cubicBezTo>
                  <a:pt x="869" y="659"/>
                  <a:pt x="869" y="659"/>
                  <a:pt x="869" y="659"/>
                </a:cubicBezTo>
                <a:cubicBezTo>
                  <a:pt x="869" y="658"/>
                  <a:pt x="869" y="658"/>
                  <a:pt x="869" y="658"/>
                </a:cubicBezTo>
                <a:cubicBezTo>
                  <a:pt x="868" y="658"/>
                  <a:pt x="868" y="658"/>
                  <a:pt x="868" y="658"/>
                </a:cubicBezTo>
                <a:cubicBezTo>
                  <a:pt x="868" y="659"/>
                  <a:pt x="868" y="659"/>
                  <a:pt x="868" y="659"/>
                </a:cubicBezTo>
                <a:cubicBezTo>
                  <a:pt x="867" y="658"/>
                  <a:pt x="867" y="658"/>
                  <a:pt x="867" y="658"/>
                </a:cubicBezTo>
                <a:cubicBezTo>
                  <a:pt x="865" y="658"/>
                  <a:pt x="865" y="658"/>
                  <a:pt x="865" y="658"/>
                </a:cubicBezTo>
                <a:cubicBezTo>
                  <a:pt x="863" y="656"/>
                  <a:pt x="863" y="656"/>
                  <a:pt x="863" y="656"/>
                </a:cubicBezTo>
                <a:cubicBezTo>
                  <a:pt x="862" y="655"/>
                  <a:pt x="862" y="655"/>
                  <a:pt x="862" y="655"/>
                </a:cubicBezTo>
                <a:cubicBezTo>
                  <a:pt x="860" y="654"/>
                  <a:pt x="860" y="654"/>
                  <a:pt x="860" y="654"/>
                </a:cubicBezTo>
                <a:cubicBezTo>
                  <a:pt x="857" y="654"/>
                  <a:pt x="857" y="654"/>
                  <a:pt x="857" y="654"/>
                </a:cubicBezTo>
                <a:cubicBezTo>
                  <a:pt x="856" y="653"/>
                  <a:pt x="856" y="653"/>
                  <a:pt x="856" y="653"/>
                </a:cubicBezTo>
                <a:cubicBezTo>
                  <a:pt x="855" y="652"/>
                  <a:pt x="855" y="652"/>
                  <a:pt x="855" y="652"/>
                </a:cubicBezTo>
                <a:cubicBezTo>
                  <a:pt x="854" y="650"/>
                  <a:pt x="854" y="650"/>
                  <a:pt x="854" y="650"/>
                </a:cubicBezTo>
                <a:cubicBezTo>
                  <a:pt x="852" y="651"/>
                  <a:pt x="852" y="651"/>
                  <a:pt x="852" y="651"/>
                </a:cubicBezTo>
                <a:cubicBezTo>
                  <a:pt x="852" y="650"/>
                  <a:pt x="852" y="650"/>
                  <a:pt x="852" y="650"/>
                </a:cubicBezTo>
                <a:cubicBezTo>
                  <a:pt x="847" y="649"/>
                  <a:pt x="847" y="649"/>
                  <a:pt x="847" y="649"/>
                </a:cubicBezTo>
                <a:cubicBezTo>
                  <a:pt x="846" y="650"/>
                  <a:pt x="846" y="650"/>
                  <a:pt x="846" y="650"/>
                </a:cubicBezTo>
                <a:cubicBezTo>
                  <a:pt x="844" y="649"/>
                  <a:pt x="844" y="649"/>
                  <a:pt x="844" y="649"/>
                </a:cubicBezTo>
                <a:cubicBezTo>
                  <a:pt x="843" y="648"/>
                  <a:pt x="843" y="648"/>
                  <a:pt x="843" y="648"/>
                </a:cubicBezTo>
                <a:cubicBezTo>
                  <a:pt x="840" y="648"/>
                  <a:pt x="840" y="648"/>
                  <a:pt x="840" y="648"/>
                </a:cubicBezTo>
                <a:cubicBezTo>
                  <a:pt x="837" y="648"/>
                  <a:pt x="837" y="648"/>
                  <a:pt x="837" y="648"/>
                </a:cubicBezTo>
                <a:cubicBezTo>
                  <a:pt x="836" y="649"/>
                  <a:pt x="836" y="649"/>
                  <a:pt x="836" y="649"/>
                </a:cubicBezTo>
                <a:cubicBezTo>
                  <a:pt x="832" y="649"/>
                  <a:pt x="832" y="649"/>
                  <a:pt x="832" y="649"/>
                </a:cubicBezTo>
                <a:cubicBezTo>
                  <a:pt x="830" y="649"/>
                  <a:pt x="830" y="649"/>
                  <a:pt x="830" y="649"/>
                </a:cubicBezTo>
                <a:cubicBezTo>
                  <a:pt x="829" y="650"/>
                  <a:pt x="829" y="650"/>
                  <a:pt x="829" y="650"/>
                </a:cubicBezTo>
                <a:cubicBezTo>
                  <a:pt x="826" y="651"/>
                  <a:pt x="826" y="651"/>
                  <a:pt x="826" y="651"/>
                </a:cubicBezTo>
                <a:cubicBezTo>
                  <a:pt x="825" y="652"/>
                  <a:pt x="825" y="652"/>
                  <a:pt x="825" y="652"/>
                </a:cubicBezTo>
                <a:cubicBezTo>
                  <a:pt x="824" y="653"/>
                  <a:pt x="824" y="653"/>
                  <a:pt x="824" y="653"/>
                </a:cubicBezTo>
                <a:cubicBezTo>
                  <a:pt x="824" y="654"/>
                  <a:pt x="824" y="654"/>
                  <a:pt x="824" y="654"/>
                </a:cubicBezTo>
                <a:cubicBezTo>
                  <a:pt x="825" y="655"/>
                  <a:pt x="825" y="655"/>
                  <a:pt x="825" y="655"/>
                </a:cubicBezTo>
                <a:cubicBezTo>
                  <a:pt x="824" y="656"/>
                  <a:pt x="824" y="656"/>
                  <a:pt x="824" y="656"/>
                </a:cubicBezTo>
                <a:cubicBezTo>
                  <a:pt x="823" y="655"/>
                  <a:pt x="823" y="655"/>
                  <a:pt x="823" y="655"/>
                </a:cubicBezTo>
                <a:cubicBezTo>
                  <a:pt x="821" y="657"/>
                  <a:pt x="821" y="657"/>
                  <a:pt x="821" y="657"/>
                </a:cubicBezTo>
                <a:cubicBezTo>
                  <a:pt x="820" y="656"/>
                  <a:pt x="820" y="656"/>
                  <a:pt x="820" y="656"/>
                </a:cubicBezTo>
                <a:cubicBezTo>
                  <a:pt x="820" y="657"/>
                  <a:pt x="820" y="657"/>
                  <a:pt x="820" y="657"/>
                </a:cubicBezTo>
                <a:cubicBezTo>
                  <a:pt x="821" y="658"/>
                  <a:pt x="821" y="658"/>
                  <a:pt x="821" y="658"/>
                </a:cubicBezTo>
                <a:cubicBezTo>
                  <a:pt x="823" y="656"/>
                  <a:pt x="823" y="656"/>
                  <a:pt x="823" y="656"/>
                </a:cubicBezTo>
                <a:cubicBezTo>
                  <a:pt x="823" y="657"/>
                  <a:pt x="823" y="657"/>
                  <a:pt x="823" y="657"/>
                </a:cubicBezTo>
                <a:cubicBezTo>
                  <a:pt x="825" y="657"/>
                  <a:pt x="825" y="657"/>
                  <a:pt x="825" y="657"/>
                </a:cubicBezTo>
                <a:cubicBezTo>
                  <a:pt x="826" y="656"/>
                  <a:pt x="826" y="656"/>
                  <a:pt x="826" y="656"/>
                </a:cubicBezTo>
                <a:cubicBezTo>
                  <a:pt x="827" y="655"/>
                  <a:pt x="827" y="655"/>
                  <a:pt x="827" y="655"/>
                </a:cubicBezTo>
                <a:cubicBezTo>
                  <a:pt x="829" y="655"/>
                  <a:pt x="829" y="655"/>
                  <a:pt x="829" y="655"/>
                </a:cubicBezTo>
                <a:cubicBezTo>
                  <a:pt x="829" y="654"/>
                  <a:pt x="829" y="654"/>
                  <a:pt x="829" y="654"/>
                </a:cubicBezTo>
                <a:cubicBezTo>
                  <a:pt x="830" y="655"/>
                  <a:pt x="830" y="655"/>
                  <a:pt x="830" y="655"/>
                </a:cubicBezTo>
                <a:cubicBezTo>
                  <a:pt x="831" y="655"/>
                  <a:pt x="831" y="655"/>
                  <a:pt x="831" y="655"/>
                </a:cubicBezTo>
                <a:cubicBezTo>
                  <a:pt x="833" y="652"/>
                  <a:pt x="833" y="652"/>
                  <a:pt x="833" y="652"/>
                </a:cubicBezTo>
                <a:cubicBezTo>
                  <a:pt x="834" y="652"/>
                  <a:pt x="834" y="652"/>
                  <a:pt x="834" y="652"/>
                </a:cubicBezTo>
                <a:cubicBezTo>
                  <a:pt x="835" y="651"/>
                  <a:pt x="835" y="651"/>
                  <a:pt x="835" y="651"/>
                </a:cubicBezTo>
                <a:cubicBezTo>
                  <a:pt x="837" y="652"/>
                  <a:pt x="837" y="652"/>
                  <a:pt x="837" y="652"/>
                </a:cubicBezTo>
                <a:cubicBezTo>
                  <a:pt x="838" y="652"/>
                  <a:pt x="838" y="652"/>
                  <a:pt x="838" y="652"/>
                </a:cubicBezTo>
                <a:cubicBezTo>
                  <a:pt x="841" y="652"/>
                  <a:pt x="841" y="652"/>
                  <a:pt x="841" y="652"/>
                </a:cubicBezTo>
                <a:cubicBezTo>
                  <a:pt x="842" y="653"/>
                  <a:pt x="842" y="653"/>
                  <a:pt x="842" y="653"/>
                </a:cubicBezTo>
                <a:cubicBezTo>
                  <a:pt x="841" y="653"/>
                  <a:pt x="841" y="653"/>
                  <a:pt x="841" y="653"/>
                </a:cubicBezTo>
                <a:cubicBezTo>
                  <a:pt x="839" y="653"/>
                  <a:pt x="839" y="653"/>
                  <a:pt x="839" y="653"/>
                </a:cubicBezTo>
                <a:cubicBezTo>
                  <a:pt x="838" y="654"/>
                  <a:pt x="838" y="654"/>
                  <a:pt x="838" y="654"/>
                </a:cubicBezTo>
                <a:cubicBezTo>
                  <a:pt x="839" y="655"/>
                  <a:pt x="839" y="655"/>
                  <a:pt x="839" y="655"/>
                </a:cubicBezTo>
                <a:cubicBezTo>
                  <a:pt x="843" y="655"/>
                  <a:pt x="843" y="655"/>
                  <a:pt x="843" y="655"/>
                </a:cubicBezTo>
                <a:cubicBezTo>
                  <a:pt x="844" y="655"/>
                  <a:pt x="844" y="655"/>
                  <a:pt x="844" y="655"/>
                </a:cubicBezTo>
                <a:cubicBezTo>
                  <a:pt x="845" y="655"/>
                  <a:pt x="845" y="655"/>
                  <a:pt x="845" y="655"/>
                </a:cubicBezTo>
                <a:cubicBezTo>
                  <a:pt x="846" y="656"/>
                  <a:pt x="846" y="656"/>
                  <a:pt x="846" y="656"/>
                </a:cubicBezTo>
                <a:cubicBezTo>
                  <a:pt x="848" y="656"/>
                  <a:pt x="848" y="656"/>
                  <a:pt x="848" y="656"/>
                </a:cubicBezTo>
                <a:cubicBezTo>
                  <a:pt x="849" y="656"/>
                  <a:pt x="849" y="656"/>
                  <a:pt x="849" y="656"/>
                </a:cubicBezTo>
                <a:cubicBezTo>
                  <a:pt x="849" y="655"/>
                  <a:pt x="849" y="655"/>
                  <a:pt x="849" y="655"/>
                </a:cubicBezTo>
                <a:cubicBezTo>
                  <a:pt x="850" y="656"/>
                  <a:pt x="850" y="656"/>
                  <a:pt x="850" y="656"/>
                </a:cubicBezTo>
                <a:cubicBezTo>
                  <a:pt x="852" y="658"/>
                  <a:pt x="852" y="658"/>
                  <a:pt x="852" y="658"/>
                </a:cubicBezTo>
                <a:cubicBezTo>
                  <a:pt x="854" y="658"/>
                  <a:pt x="854" y="658"/>
                  <a:pt x="854" y="658"/>
                </a:cubicBezTo>
                <a:cubicBezTo>
                  <a:pt x="855" y="659"/>
                  <a:pt x="855" y="659"/>
                  <a:pt x="855" y="659"/>
                </a:cubicBezTo>
                <a:cubicBezTo>
                  <a:pt x="857" y="659"/>
                  <a:pt x="857" y="659"/>
                  <a:pt x="857" y="659"/>
                </a:cubicBezTo>
                <a:cubicBezTo>
                  <a:pt x="858" y="659"/>
                  <a:pt x="858" y="659"/>
                  <a:pt x="858" y="659"/>
                </a:cubicBezTo>
                <a:cubicBezTo>
                  <a:pt x="859" y="658"/>
                  <a:pt x="859" y="658"/>
                  <a:pt x="859" y="658"/>
                </a:cubicBezTo>
                <a:cubicBezTo>
                  <a:pt x="860" y="659"/>
                  <a:pt x="860" y="659"/>
                  <a:pt x="860" y="659"/>
                </a:cubicBezTo>
                <a:cubicBezTo>
                  <a:pt x="861" y="662"/>
                  <a:pt x="861" y="662"/>
                  <a:pt x="861" y="662"/>
                </a:cubicBezTo>
                <a:cubicBezTo>
                  <a:pt x="863" y="665"/>
                  <a:pt x="863" y="665"/>
                  <a:pt x="863" y="665"/>
                </a:cubicBezTo>
                <a:cubicBezTo>
                  <a:pt x="864" y="665"/>
                  <a:pt x="864" y="665"/>
                  <a:pt x="864" y="665"/>
                </a:cubicBezTo>
                <a:cubicBezTo>
                  <a:pt x="865" y="664"/>
                  <a:pt x="865" y="664"/>
                  <a:pt x="865" y="664"/>
                </a:cubicBezTo>
                <a:cubicBezTo>
                  <a:pt x="866" y="665"/>
                  <a:pt x="866" y="665"/>
                  <a:pt x="866" y="665"/>
                </a:cubicBezTo>
                <a:cubicBezTo>
                  <a:pt x="868" y="665"/>
                  <a:pt x="868" y="665"/>
                  <a:pt x="868" y="665"/>
                </a:cubicBezTo>
                <a:cubicBezTo>
                  <a:pt x="869" y="666"/>
                  <a:pt x="869" y="666"/>
                  <a:pt x="869" y="666"/>
                </a:cubicBezTo>
                <a:cubicBezTo>
                  <a:pt x="870" y="666"/>
                  <a:pt x="870" y="666"/>
                  <a:pt x="870" y="666"/>
                </a:cubicBezTo>
                <a:cubicBezTo>
                  <a:pt x="869" y="668"/>
                  <a:pt x="869" y="668"/>
                  <a:pt x="869" y="668"/>
                </a:cubicBezTo>
                <a:cubicBezTo>
                  <a:pt x="868" y="668"/>
                  <a:pt x="868" y="668"/>
                  <a:pt x="868" y="668"/>
                </a:cubicBezTo>
                <a:cubicBezTo>
                  <a:pt x="866" y="670"/>
                  <a:pt x="866" y="670"/>
                  <a:pt x="866" y="670"/>
                </a:cubicBezTo>
                <a:cubicBezTo>
                  <a:pt x="866" y="671"/>
                  <a:pt x="866" y="671"/>
                  <a:pt x="866" y="671"/>
                </a:cubicBezTo>
                <a:cubicBezTo>
                  <a:pt x="868" y="671"/>
                  <a:pt x="868" y="671"/>
                  <a:pt x="868" y="671"/>
                </a:cubicBezTo>
                <a:cubicBezTo>
                  <a:pt x="869" y="671"/>
                  <a:pt x="869" y="671"/>
                  <a:pt x="869" y="671"/>
                </a:cubicBezTo>
                <a:cubicBezTo>
                  <a:pt x="870" y="671"/>
                  <a:pt x="870" y="671"/>
                  <a:pt x="870" y="671"/>
                </a:cubicBezTo>
                <a:cubicBezTo>
                  <a:pt x="873" y="670"/>
                  <a:pt x="873" y="670"/>
                  <a:pt x="873" y="670"/>
                </a:cubicBezTo>
                <a:cubicBezTo>
                  <a:pt x="875" y="671"/>
                  <a:pt x="875" y="671"/>
                  <a:pt x="875" y="671"/>
                </a:cubicBezTo>
                <a:cubicBezTo>
                  <a:pt x="877" y="672"/>
                  <a:pt x="877" y="672"/>
                  <a:pt x="877" y="672"/>
                </a:cubicBezTo>
                <a:close/>
                <a:moveTo>
                  <a:pt x="832" y="658"/>
                </a:moveTo>
                <a:cubicBezTo>
                  <a:pt x="832" y="659"/>
                  <a:pt x="832" y="659"/>
                  <a:pt x="832" y="659"/>
                </a:cubicBezTo>
                <a:cubicBezTo>
                  <a:pt x="834" y="660"/>
                  <a:pt x="834" y="660"/>
                  <a:pt x="834" y="660"/>
                </a:cubicBezTo>
                <a:cubicBezTo>
                  <a:pt x="835" y="659"/>
                  <a:pt x="835" y="659"/>
                  <a:pt x="835" y="659"/>
                </a:cubicBezTo>
                <a:cubicBezTo>
                  <a:pt x="836" y="658"/>
                  <a:pt x="836" y="658"/>
                  <a:pt x="836" y="658"/>
                </a:cubicBezTo>
                <a:cubicBezTo>
                  <a:pt x="834" y="657"/>
                  <a:pt x="834" y="657"/>
                  <a:pt x="834" y="657"/>
                </a:cubicBezTo>
                <a:cubicBezTo>
                  <a:pt x="833" y="656"/>
                  <a:pt x="833" y="656"/>
                  <a:pt x="833" y="656"/>
                </a:cubicBezTo>
                <a:cubicBezTo>
                  <a:pt x="833" y="657"/>
                  <a:pt x="833" y="657"/>
                  <a:pt x="833" y="657"/>
                </a:cubicBezTo>
                <a:cubicBezTo>
                  <a:pt x="833" y="658"/>
                  <a:pt x="833" y="658"/>
                  <a:pt x="833" y="658"/>
                </a:cubicBezTo>
                <a:cubicBezTo>
                  <a:pt x="834" y="658"/>
                  <a:pt x="834" y="658"/>
                  <a:pt x="834" y="658"/>
                </a:cubicBezTo>
                <a:cubicBezTo>
                  <a:pt x="833" y="659"/>
                  <a:pt x="833" y="659"/>
                  <a:pt x="833" y="659"/>
                </a:cubicBezTo>
                <a:cubicBezTo>
                  <a:pt x="832" y="658"/>
                  <a:pt x="832" y="658"/>
                  <a:pt x="832" y="658"/>
                </a:cubicBezTo>
                <a:close/>
                <a:moveTo>
                  <a:pt x="894" y="662"/>
                </a:moveTo>
                <a:cubicBezTo>
                  <a:pt x="892" y="661"/>
                  <a:pt x="892" y="661"/>
                  <a:pt x="892" y="661"/>
                </a:cubicBezTo>
                <a:cubicBezTo>
                  <a:pt x="891" y="662"/>
                  <a:pt x="891" y="662"/>
                  <a:pt x="891" y="662"/>
                </a:cubicBezTo>
                <a:cubicBezTo>
                  <a:pt x="890" y="664"/>
                  <a:pt x="890" y="664"/>
                  <a:pt x="890" y="664"/>
                </a:cubicBezTo>
                <a:cubicBezTo>
                  <a:pt x="894" y="664"/>
                  <a:pt x="894" y="664"/>
                  <a:pt x="894" y="664"/>
                </a:cubicBezTo>
                <a:cubicBezTo>
                  <a:pt x="895" y="662"/>
                  <a:pt x="895" y="662"/>
                  <a:pt x="895" y="662"/>
                </a:cubicBezTo>
                <a:cubicBezTo>
                  <a:pt x="895" y="661"/>
                  <a:pt x="895" y="661"/>
                  <a:pt x="895" y="661"/>
                </a:cubicBezTo>
                <a:cubicBezTo>
                  <a:pt x="894" y="661"/>
                  <a:pt x="894" y="661"/>
                  <a:pt x="894" y="661"/>
                </a:cubicBezTo>
                <a:cubicBezTo>
                  <a:pt x="894" y="662"/>
                  <a:pt x="894" y="662"/>
                  <a:pt x="894" y="662"/>
                </a:cubicBezTo>
                <a:close/>
                <a:moveTo>
                  <a:pt x="894" y="654"/>
                </a:moveTo>
                <a:cubicBezTo>
                  <a:pt x="895" y="654"/>
                  <a:pt x="895" y="654"/>
                  <a:pt x="895" y="654"/>
                </a:cubicBezTo>
                <a:cubicBezTo>
                  <a:pt x="896" y="654"/>
                  <a:pt x="896" y="654"/>
                  <a:pt x="896" y="654"/>
                </a:cubicBezTo>
                <a:cubicBezTo>
                  <a:pt x="897" y="655"/>
                  <a:pt x="897" y="655"/>
                  <a:pt x="897" y="655"/>
                </a:cubicBezTo>
                <a:cubicBezTo>
                  <a:pt x="897" y="654"/>
                  <a:pt x="897" y="654"/>
                  <a:pt x="897" y="654"/>
                </a:cubicBezTo>
                <a:cubicBezTo>
                  <a:pt x="895" y="653"/>
                  <a:pt x="895" y="653"/>
                  <a:pt x="895" y="653"/>
                </a:cubicBezTo>
                <a:cubicBezTo>
                  <a:pt x="894" y="654"/>
                  <a:pt x="894" y="654"/>
                  <a:pt x="894" y="654"/>
                </a:cubicBezTo>
                <a:close/>
                <a:moveTo>
                  <a:pt x="867" y="645"/>
                </a:moveTo>
                <a:cubicBezTo>
                  <a:pt x="868" y="645"/>
                  <a:pt x="868" y="645"/>
                  <a:pt x="868" y="645"/>
                </a:cubicBezTo>
                <a:cubicBezTo>
                  <a:pt x="869" y="643"/>
                  <a:pt x="869" y="643"/>
                  <a:pt x="869" y="643"/>
                </a:cubicBezTo>
                <a:cubicBezTo>
                  <a:pt x="869" y="642"/>
                  <a:pt x="869" y="642"/>
                  <a:pt x="869" y="642"/>
                </a:cubicBezTo>
                <a:cubicBezTo>
                  <a:pt x="868" y="641"/>
                  <a:pt x="868" y="641"/>
                  <a:pt x="868" y="641"/>
                </a:cubicBezTo>
                <a:cubicBezTo>
                  <a:pt x="867" y="642"/>
                  <a:pt x="867" y="642"/>
                  <a:pt x="867" y="642"/>
                </a:cubicBezTo>
                <a:cubicBezTo>
                  <a:pt x="867" y="643"/>
                  <a:pt x="867" y="643"/>
                  <a:pt x="867" y="643"/>
                </a:cubicBezTo>
                <a:cubicBezTo>
                  <a:pt x="867" y="645"/>
                  <a:pt x="867" y="645"/>
                  <a:pt x="867" y="645"/>
                </a:cubicBezTo>
                <a:close/>
                <a:moveTo>
                  <a:pt x="869" y="635"/>
                </a:moveTo>
                <a:cubicBezTo>
                  <a:pt x="870" y="635"/>
                  <a:pt x="870" y="635"/>
                  <a:pt x="870" y="635"/>
                </a:cubicBezTo>
                <a:cubicBezTo>
                  <a:pt x="872" y="635"/>
                  <a:pt x="872" y="635"/>
                  <a:pt x="872" y="635"/>
                </a:cubicBezTo>
                <a:cubicBezTo>
                  <a:pt x="872" y="634"/>
                  <a:pt x="872" y="634"/>
                  <a:pt x="872" y="634"/>
                </a:cubicBezTo>
                <a:cubicBezTo>
                  <a:pt x="871" y="634"/>
                  <a:pt x="871" y="634"/>
                  <a:pt x="871" y="634"/>
                </a:cubicBezTo>
                <a:cubicBezTo>
                  <a:pt x="869" y="635"/>
                  <a:pt x="869" y="635"/>
                  <a:pt x="869" y="635"/>
                </a:cubicBezTo>
                <a:close/>
                <a:moveTo>
                  <a:pt x="871" y="622"/>
                </a:moveTo>
                <a:cubicBezTo>
                  <a:pt x="871" y="624"/>
                  <a:pt x="871" y="624"/>
                  <a:pt x="871" y="624"/>
                </a:cubicBezTo>
                <a:cubicBezTo>
                  <a:pt x="872" y="625"/>
                  <a:pt x="872" y="625"/>
                  <a:pt x="872" y="625"/>
                </a:cubicBezTo>
                <a:cubicBezTo>
                  <a:pt x="872" y="626"/>
                  <a:pt x="872" y="626"/>
                  <a:pt x="872" y="626"/>
                </a:cubicBezTo>
                <a:cubicBezTo>
                  <a:pt x="872" y="627"/>
                  <a:pt x="872" y="627"/>
                  <a:pt x="872" y="627"/>
                </a:cubicBezTo>
                <a:cubicBezTo>
                  <a:pt x="872" y="629"/>
                  <a:pt x="872" y="629"/>
                  <a:pt x="872" y="629"/>
                </a:cubicBezTo>
                <a:cubicBezTo>
                  <a:pt x="873" y="628"/>
                  <a:pt x="873" y="628"/>
                  <a:pt x="873" y="628"/>
                </a:cubicBezTo>
                <a:cubicBezTo>
                  <a:pt x="873" y="627"/>
                  <a:pt x="873" y="627"/>
                  <a:pt x="873" y="627"/>
                </a:cubicBezTo>
                <a:cubicBezTo>
                  <a:pt x="874" y="627"/>
                  <a:pt x="874" y="627"/>
                  <a:pt x="874" y="627"/>
                </a:cubicBezTo>
                <a:cubicBezTo>
                  <a:pt x="874" y="625"/>
                  <a:pt x="874" y="625"/>
                  <a:pt x="874" y="625"/>
                </a:cubicBezTo>
                <a:cubicBezTo>
                  <a:pt x="873" y="624"/>
                  <a:pt x="873" y="624"/>
                  <a:pt x="873" y="624"/>
                </a:cubicBezTo>
                <a:cubicBezTo>
                  <a:pt x="873" y="623"/>
                  <a:pt x="873" y="623"/>
                  <a:pt x="873" y="623"/>
                </a:cubicBezTo>
                <a:cubicBezTo>
                  <a:pt x="871" y="622"/>
                  <a:pt x="871" y="622"/>
                  <a:pt x="871" y="622"/>
                </a:cubicBezTo>
                <a:close/>
                <a:moveTo>
                  <a:pt x="887" y="641"/>
                </a:moveTo>
                <a:cubicBezTo>
                  <a:pt x="887" y="643"/>
                  <a:pt x="887" y="643"/>
                  <a:pt x="887" y="643"/>
                </a:cubicBezTo>
                <a:cubicBezTo>
                  <a:pt x="888" y="642"/>
                  <a:pt x="888" y="642"/>
                  <a:pt x="888" y="642"/>
                </a:cubicBezTo>
                <a:cubicBezTo>
                  <a:pt x="887" y="641"/>
                  <a:pt x="887" y="641"/>
                  <a:pt x="887" y="641"/>
                </a:cubicBezTo>
                <a:close/>
                <a:moveTo>
                  <a:pt x="867" y="640"/>
                </a:moveTo>
                <a:cubicBezTo>
                  <a:pt x="867" y="641"/>
                  <a:pt x="867" y="641"/>
                  <a:pt x="867" y="641"/>
                </a:cubicBezTo>
                <a:cubicBezTo>
                  <a:pt x="868" y="640"/>
                  <a:pt x="868" y="640"/>
                  <a:pt x="868" y="640"/>
                </a:cubicBezTo>
                <a:cubicBezTo>
                  <a:pt x="867" y="640"/>
                  <a:pt x="867" y="640"/>
                  <a:pt x="867" y="640"/>
                </a:cubicBezTo>
                <a:close/>
                <a:moveTo>
                  <a:pt x="866" y="641"/>
                </a:moveTo>
                <a:cubicBezTo>
                  <a:pt x="867" y="642"/>
                  <a:pt x="867" y="642"/>
                  <a:pt x="867" y="642"/>
                </a:cubicBezTo>
                <a:cubicBezTo>
                  <a:pt x="867" y="641"/>
                  <a:pt x="867" y="641"/>
                  <a:pt x="867" y="641"/>
                </a:cubicBezTo>
                <a:cubicBezTo>
                  <a:pt x="866" y="641"/>
                  <a:pt x="866" y="641"/>
                  <a:pt x="866" y="641"/>
                </a:cubicBezTo>
                <a:close/>
                <a:moveTo>
                  <a:pt x="866" y="635"/>
                </a:moveTo>
                <a:cubicBezTo>
                  <a:pt x="865" y="636"/>
                  <a:pt x="865" y="636"/>
                  <a:pt x="865" y="636"/>
                </a:cubicBezTo>
                <a:cubicBezTo>
                  <a:pt x="864" y="638"/>
                  <a:pt x="864" y="638"/>
                  <a:pt x="864" y="638"/>
                </a:cubicBezTo>
                <a:cubicBezTo>
                  <a:pt x="865" y="639"/>
                  <a:pt x="865" y="639"/>
                  <a:pt x="865" y="639"/>
                </a:cubicBezTo>
                <a:cubicBezTo>
                  <a:pt x="866" y="638"/>
                  <a:pt x="866" y="638"/>
                  <a:pt x="866" y="638"/>
                </a:cubicBezTo>
                <a:cubicBezTo>
                  <a:pt x="866" y="640"/>
                  <a:pt x="866" y="640"/>
                  <a:pt x="866" y="640"/>
                </a:cubicBezTo>
                <a:cubicBezTo>
                  <a:pt x="868" y="639"/>
                  <a:pt x="868" y="639"/>
                  <a:pt x="868" y="639"/>
                </a:cubicBezTo>
                <a:cubicBezTo>
                  <a:pt x="867" y="637"/>
                  <a:pt x="867" y="637"/>
                  <a:pt x="867" y="637"/>
                </a:cubicBezTo>
                <a:cubicBezTo>
                  <a:pt x="867" y="635"/>
                  <a:pt x="867" y="635"/>
                  <a:pt x="867" y="635"/>
                </a:cubicBezTo>
                <a:cubicBezTo>
                  <a:pt x="866" y="635"/>
                  <a:pt x="866" y="635"/>
                  <a:pt x="866" y="635"/>
                </a:cubicBezTo>
                <a:close/>
                <a:moveTo>
                  <a:pt x="866" y="622"/>
                </a:moveTo>
                <a:cubicBezTo>
                  <a:pt x="864" y="624"/>
                  <a:pt x="864" y="624"/>
                  <a:pt x="864" y="624"/>
                </a:cubicBezTo>
                <a:cubicBezTo>
                  <a:pt x="863" y="623"/>
                  <a:pt x="863" y="623"/>
                  <a:pt x="863" y="623"/>
                </a:cubicBezTo>
                <a:cubicBezTo>
                  <a:pt x="861" y="623"/>
                  <a:pt x="861" y="623"/>
                  <a:pt x="861" y="623"/>
                </a:cubicBezTo>
                <a:cubicBezTo>
                  <a:pt x="863" y="625"/>
                  <a:pt x="863" y="625"/>
                  <a:pt x="863" y="625"/>
                </a:cubicBezTo>
                <a:cubicBezTo>
                  <a:pt x="864" y="625"/>
                  <a:pt x="864" y="625"/>
                  <a:pt x="864" y="625"/>
                </a:cubicBezTo>
                <a:cubicBezTo>
                  <a:pt x="867" y="623"/>
                  <a:pt x="867" y="623"/>
                  <a:pt x="867" y="623"/>
                </a:cubicBezTo>
                <a:cubicBezTo>
                  <a:pt x="868" y="624"/>
                  <a:pt x="868" y="624"/>
                  <a:pt x="868" y="624"/>
                </a:cubicBezTo>
                <a:cubicBezTo>
                  <a:pt x="869" y="624"/>
                  <a:pt x="869" y="624"/>
                  <a:pt x="869" y="624"/>
                </a:cubicBezTo>
                <a:cubicBezTo>
                  <a:pt x="867" y="622"/>
                  <a:pt x="867" y="622"/>
                  <a:pt x="867" y="622"/>
                </a:cubicBezTo>
                <a:cubicBezTo>
                  <a:pt x="866" y="622"/>
                  <a:pt x="866" y="622"/>
                  <a:pt x="866" y="622"/>
                </a:cubicBezTo>
                <a:close/>
                <a:moveTo>
                  <a:pt x="878" y="645"/>
                </a:moveTo>
                <a:cubicBezTo>
                  <a:pt x="878" y="644"/>
                  <a:pt x="878" y="644"/>
                  <a:pt x="878" y="644"/>
                </a:cubicBezTo>
                <a:cubicBezTo>
                  <a:pt x="877" y="645"/>
                  <a:pt x="877" y="645"/>
                  <a:pt x="877" y="645"/>
                </a:cubicBezTo>
                <a:cubicBezTo>
                  <a:pt x="878" y="645"/>
                  <a:pt x="878" y="645"/>
                  <a:pt x="878" y="645"/>
                </a:cubicBezTo>
                <a:close/>
                <a:moveTo>
                  <a:pt x="882" y="647"/>
                </a:moveTo>
                <a:cubicBezTo>
                  <a:pt x="883" y="649"/>
                  <a:pt x="883" y="649"/>
                  <a:pt x="883" y="649"/>
                </a:cubicBezTo>
                <a:cubicBezTo>
                  <a:pt x="884" y="650"/>
                  <a:pt x="884" y="650"/>
                  <a:pt x="884" y="650"/>
                </a:cubicBezTo>
                <a:cubicBezTo>
                  <a:pt x="885" y="650"/>
                  <a:pt x="885" y="650"/>
                  <a:pt x="885" y="650"/>
                </a:cubicBezTo>
                <a:cubicBezTo>
                  <a:pt x="884" y="648"/>
                  <a:pt x="884" y="648"/>
                  <a:pt x="884" y="648"/>
                </a:cubicBezTo>
                <a:cubicBezTo>
                  <a:pt x="883" y="647"/>
                  <a:pt x="883" y="647"/>
                  <a:pt x="883" y="647"/>
                </a:cubicBezTo>
                <a:cubicBezTo>
                  <a:pt x="882" y="647"/>
                  <a:pt x="882" y="647"/>
                  <a:pt x="882" y="647"/>
                </a:cubicBezTo>
                <a:close/>
                <a:moveTo>
                  <a:pt x="888" y="651"/>
                </a:moveTo>
                <a:cubicBezTo>
                  <a:pt x="889" y="651"/>
                  <a:pt x="889" y="651"/>
                  <a:pt x="889" y="651"/>
                </a:cubicBezTo>
                <a:cubicBezTo>
                  <a:pt x="888" y="650"/>
                  <a:pt x="888" y="650"/>
                  <a:pt x="888" y="650"/>
                </a:cubicBezTo>
                <a:cubicBezTo>
                  <a:pt x="887" y="650"/>
                  <a:pt x="887" y="650"/>
                  <a:pt x="887" y="650"/>
                </a:cubicBezTo>
                <a:cubicBezTo>
                  <a:pt x="888" y="651"/>
                  <a:pt x="888" y="651"/>
                  <a:pt x="888" y="651"/>
                </a:cubicBezTo>
                <a:close/>
                <a:moveTo>
                  <a:pt x="888" y="653"/>
                </a:moveTo>
                <a:cubicBezTo>
                  <a:pt x="888" y="654"/>
                  <a:pt x="888" y="654"/>
                  <a:pt x="888" y="654"/>
                </a:cubicBezTo>
                <a:cubicBezTo>
                  <a:pt x="891" y="653"/>
                  <a:pt x="891" y="653"/>
                  <a:pt x="891" y="653"/>
                </a:cubicBezTo>
                <a:cubicBezTo>
                  <a:pt x="891" y="651"/>
                  <a:pt x="891" y="651"/>
                  <a:pt x="891" y="651"/>
                </a:cubicBezTo>
                <a:cubicBezTo>
                  <a:pt x="889" y="651"/>
                  <a:pt x="889" y="651"/>
                  <a:pt x="889" y="651"/>
                </a:cubicBezTo>
                <a:cubicBezTo>
                  <a:pt x="889" y="652"/>
                  <a:pt x="889" y="652"/>
                  <a:pt x="889" y="652"/>
                </a:cubicBezTo>
                <a:cubicBezTo>
                  <a:pt x="888" y="653"/>
                  <a:pt x="888" y="653"/>
                  <a:pt x="888" y="653"/>
                </a:cubicBezTo>
                <a:close/>
                <a:moveTo>
                  <a:pt x="881" y="638"/>
                </a:moveTo>
                <a:cubicBezTo>
                  <a:pt x="880" y="639"/>
                  <a:pt x="880" y="639"/>
                  <a:pt x="880" y="639"/>
                </a:cubicBezTo>
                <a:cubicBezTo>
                  <a:pt x="881" y="640"/>
                  <a:pt x="881" y="640"/>
                  <a:pt x="881" y="640"/>
                </a:cubicBezTo>
                <a:cubicBezTo>
                  <a:pt x="882" y="642"/>
                  <a:pt x="882" y="642"/>
                  <a:pt x="882" y="642"/>
                </a:cubicBezTo>
                <a:cubicBezTo>
                  <a:pt x="881" y="642"/>
                  <a:pt x="881" y="642"/>
                  <a:pt x="881" y="642"/>
                </a:cubicBezTo>
                <a:cubicBezTo>
                  <a:pt x="882" y="643"/>
                  <a:pt x="882" y="643"/>
                  <a:pt x="882" y="643"/>
                </a:cubicBezTo>
                <a:cubicBezTo>
                  <a:pt x="883" y="643"/>
                  <a:pt x="883" y="643"/>
                  <a:pt x="883" y="643"/>
                </a:cubicBezTo>
                <a:cubicBezTo>
                  <a:pt x="883" y="642"/>
                  <a:pt x="883" y="642"/>
                  <a:pt x="883" y="642"/>
                </a:cubicBezTo>
                <a:cubicBezTo>
                  <a:pt x="882" y="640"/>
                  <a:pt x="882" y="640"/>
                  <a:pt x="882" y="640"/>
                </a:cubicBezTo>
                <a:cubicBezTo>
                  <a:pt x="882" y="639"/>
                  <a:pt x="882" y="639"/>
                  <a:pt x="882" y="639"/>
                </a:cubicBezTo>
                <a:cubicBezTo>
                  <a:pt x="881" y="638"/>
                  <a:pt x="881" y="638"/>
                  <a:pt x="881" y="638"/>
                </a:cubicBezTo>
                <a:close/>
                <a:moveTo>
                  <a:pt x="875" y="634"/>
                </a:moveTo>
                <a:cubicBezTo>
                  <a:pt x="877" y="634"/>
                  <a:pt x="877" y="634"/>
                  <a:pt x="877" y="634"/>
                </a:cubicBezTo>
                <a:cubicBezTo>
                  <a:pt x="875" y="633"/>
                  <a:pt x="875" y="633"/>
                  <a:pt x="875" y="633"/>
                </a:cubicBezTo>
                <a:cubicBezTo>
                  <a:pt x="875" y="634"/>
                  <a:pt x="875" y="634"/>
                  <a:pt x="875" y="634"/>
                </a:cubicBezTo>
                <a:close/>
                <a:moveTo>
                  <a:pt x="878" y="635"/>
                </a:moveTo>
                <a:cubicBezTo>
                  <a:pt x="877" y="636"/>
                  <a:pt x="877" y="636"/>
                  <a:pt x="877" y="636"/>
                </a:cubicBezTo>
                <a:cubicBezTo>
                  <a:pt x="877" y="637"/>
                  <a:pt x="877" y="637"/>
                  <a:pt x="877" y="637"/>
                </a:cubicBezTo>
                <a:cubicBezTo>
                  <a:pt x="878" y="637"/>
                  <a:pt x="878" y="637"/>
                  <a:pt x="878" y="637"/>
                </a:cubicBezTo>
                <a:cubicBezTo>
                  <a:pt x="878" y="635"/>
                  <a:pt x="878" y="635"/>
                  <a:pt x="878" y="635"/>
                </a:cubicBezTo>
                <a:close/>
                <a:moveTo>
                  <a:pt x="890" y="166"/>
                </a:moveTo>
                <a:cubicBezTo>
                  <a:pt x="890" y="166"/>
                  <a:pt x="890" y="166"/>
                  <a:pt x="890" y="167"/>
                </a:cubicBezTo>
                <a:cubicBezTo>
                  <a:pt x="890" y="167"/>
                  <a:pt x="890" y="167"/>
                  <a:pt x="891" y="166"/>
                </a:cubicBezTo>
                <a:cubicBezTo>
                  <a:pt x="891" y="166"/>
                  <a:pt x="891" y="166"/>
                  <a:pt x="890" y="166"/>
                </a:cubicBezTo>
                <a:close/>
                <a:moveTo>
                  <a:pt x="975" y="35"/>
                </a:moveTo>
                <a:cubicBezTo>
                  <a:pt x="975" y="35"/>
                  <a:pt x="975" y="35"/>
                  <a:pt x="975" y="34"/>
                </a:cubicBezTo>
                <a:cubicBezTo>
                  <a:pt x="975" y="34"/>
                  <a:pt x="975" y="34"/>
                  <a:pt x="974" y="34"/>
                </a:cubicBezTo>
                <a:cubicBezTo>
                  <a:pt x="974" y="34"/>
                  <a:pt x="974" y="34"/>
                  <a:pt x="973" y="34"/>
                </a:cubicBezTo>
                <a:cubicBezTo>
                  <a:pt x="973" y="34"/>
                  <a:pt x="973" y="34"/>
                  <a:pt x="974" y="35"/>
                </a:cubicBezTo>
                <a:cubicBezTo>
                  <a:pt x="974" y="35"/>
                  <a:pt x="974" y="35"/>
                  <a:pt x="975" y="35"/>
                </a:cubicBezTo>
                <a:close/>
                <a:moveTo>
                  <a:pt x="890" y="164"/>
                </a:moveTo>
                <a:cubicBezTo>
                  <a:pt x="889" y="165"/>
                  <a:pt x="889" y="165"/>
                  <a:pt x="889" y="165"/>
                </a:cubicBezTo>
                <a:cubicBezTo>
                  <a:pt x="889" y="166"/>
                  <a:pt x="889" y="166"/>
                  <a:pt x="889" y="166"/>
                </a:cubicBezTo>
                <a:cubicBezTo>
                  <a:pt x="890" y="166"/>
                  <a:pt x="890" y="166"/>
                  <a:pt x="890" y="166"/>
                </a:cubicBezTo>
                <a:cubicBezTo>
                  <a:pt x="891" y="164"/>
                  <a:pt x="891" y="164"/>
                  <a:pt x="891" y="164"/>
                </a:cubicBezTo>
                <a:cubicBezTo>
                  <a:pt x="890" y="164"/>
                  <a:pt x="890" y="164"/>
                  <a:pt x="890" y="164"/>
                </a:cubicBezTo>
                <a:close/>
                <a:moveTo>
                  <a:pt x="906" y="241"/>
                </a:moveTo>
                <a:cubicBezTo>
                  <a:pt x="906" y="241"/>
                  <a:pt x="906" y="241"/>
                  <a:pt x="906" y="243"/>
                </a:cubicBezTo>
                <a:cubicBezTo>
                  <a:pt x="906" y="243"/>
                  <a:pt x="906" y="243"/>
                  <a:pt x="906" y="244"/>
                </a:cubicBezTo>
                <a:cubicBezTo>
                  <a:pt x="906" y="245"/>
                  <a:pt x="906" y="245"/>
                  <a:pt x="906" y="245"/>
                </a:cubicBezTo>
                <a:cubicBezTo>
                  <a:pt x="906" y="246"/>
                  <a:pt x="906" y="246"/>
                  <a:pt x="906" y="246"/>
                </a:cubicBezTo>
                <a:cubicBezTo>
                  <a:pt x="907" y="246"/>
                  <a:pt x="907" y="246"/>
                  <a:pt x="907" y="246"/>
                </a:cubicBezTo>
                <a:cubicBezTo>
                  <a:pt x="908" y="245"/>
                  <a:pt x="908" y="245"/>
                  <a:pt x="908" y="245"/>
                </a:cubicBezTo>
                <a:cubicBezTo>
                  <a:pt x="908" y="244"/>
                  <a:pt x="908" y="244"/>
                  <a:pt x="908" y="244"/>
                </a:cubicBezTo>
                <a:cubicBezTo>
                  <a:pt x="908" y="244"/>
                  <a:pt x="908" y="244"/>
                  <a:pt x="909" y="244"/>
                </a:cubicBezTo>
                <a:cubicBezTo>
                  <a:pt x="909" y="244"/>
                  <a:pt x="909" y="244"/>
                  <a:pt x="909" y="242"/>
                </a:cubicBezTo>
                <a:cubicBezTo>
                  <a:pt x="909" y="242"/>
                  <a:pt x="909" y="242"/>
                  <a:pt x="909" y="241"/>
                </a:cubicBezTo>
                <a:cubicBezTo>
                  <a:pt x="909" y="241"/>
                  <a:pt x="909" y="241"/>
                  <a:pt x="909" y="240"/>
                </a:cubicBezTo>
                <a:cubicBezTo>
                  <a:pt x="909" y="240"/>
                  <a:pt x="909" y="240"/>
                  <a:pt x="909" y="239"/>
                </a:cubicBezTo>
                <a:cubicBezTo>
                  <a:pt x="909" y="239"/>
                  <a:pt x="909" y="239"/>
                  <a:pt x="908" y="240"/>
                </a:cubicBezTo>
                <a:cubicBezTo>
                  <a:pt x="908" y="240"/>
                  <a:pt x="908" y="240"/>
                  <a:pt x="906" y="241"/>
                </a:cubicBezTo>
                <a:close/>
                <a:moveTo>
                  <a:pt x="911" y="172"/>
                </a:moveTo>
                <a:cubicBezTo>
                  <a:pt x="911" y="172"/>
                  <a:pt x="911" y="172"/>
                  <a:pt x="913" y="170"/>
                </a:cubicBezTo>
                <a:cubicBezTo>
                  <a:pt x="913" y="170"/>
                  <a:pt x="913" y="170"/>
                  <a:pt x="914" y="169"/>
                </a:cubicBezTo>
                <a:cubicBezTo>
                  <a:pt x="914" y="169"/>
                  <a:pt x="914" y="169"/>
                  <a:pt x="916" y="167"/>
                </a:cubicBezTo>
                <a:cubicBezTo>
                  <a:pt x="916" y="167"/>
                  <a:pt x="916" y="167"/>
                  <a:pt x="917" y="166"/>
                </a:cubicBezTo>
                <a:cubicBezTo>
                  <a:pt x="917" y="166"/>
                  <a:pt x="917" y="166"/>
                  <a:pt x="916" y="166"/>
                </a:cubicBezTo>
                <a:cubicBezTo>
                  <a:pt x="916" y="166"/>
                  <a:pt x="916" y="166"/>
                  <a:pt x="917" y="165"/>
                </a:cubicBezTo>
                <a:cubicBezTo>
                  <a:pt x="917" y="165"/>
                  <a:pt x="917" y="165"/>
                  <a:pt x="918" y="165"/>
                </a:cubicBezTo>
                <a:cubicBezTo>
                  <a:pt x="918" y="165"/>
                  <a:pt x="918" y="165"/>
                  <a:pt x="919" y="164"/>
                </a:cubicBezTo>
                <a:cubicBezTo>
                  <a:pt x="919" y="164"/>
                  <a:pt x="919" y="164"/>
                  <a:pt x="922" y="162"/>
                </a:cubicBezTo>
                <a:cubicBezTo>
                  <a:pt x="922" y="162"/>
                  <a:pt x="922" y="162"/>
                  <a:pt x="922" y="161"/>
                </a:cubicBezTo>
                <a:cubicBezTo>
                  <a:pt x="922" y="161"/>
                  <a:pt x="922" y="161"/>
                  <a:pt x="923" y="161"/>
                </a:cubicBezTo>
                <a:cubicBezTo>
                  <a:pt x="923" y="161"/>
                  <a:pt x="923" y="161"/>
                  <a:pt x="924" y="159"/>
                </a:cubicBezTo>
                <a:cubicBezTo>
                  <a:pt x="924" y="159"/>
                  <a:pt x="924" y="159"/>
                  <a:pt x="926" y="158"/>
                </a:cubicBezTo>
                <a:cubicBezTo>
                  <a:pt x="926" y="158"/>
                  <a:pt x="926" y="158"/>
                  <a:pt x="926" y="156"/>
                </a:cubicBezTo>
                <a:cubicBezTo>
                  <a:pt x="926" y="156"/>
                  <a:pt x="926" y="156"/>
                  <a:pt x="927" y="156"/>
                </a:cubicBezTo>
                <a:cubicBezTo>
                  <a:pt x="927" y="156"/>
                  <a:pt x="927" y="156"/>
                  <a:pt x="926" y="155"/>
                </a:cubicBezTo>
                <a:cubicBezTo>
                  <a:pt x="926" y="155"/>
                  <a:pt x="926" y="155"/>
                  <a:pt x="926" y="154"/>
                </a:cubicBezTo>
                <a:cubicBezTo>
                  <a:pt x="926" y="154"/>
                  <a:pt x="926" y="154"/>
                  <a:pt x="925" y="153"/>
                </a:cubicBezTo>
                <a:cubicBezTo>
                  <a:pt x="925" y="153"/>
                  <a:pt x="925" y="153"/>
                  <a:pt x="922" y="153"/>
                </a:cubicBezTo>
                <a:cubicBezTo>
                  <a:pt x="922" y="153"/>
                  <a:pt x="922" y="153"/>
                  <a:pt x="920" y="153"/>
                </a:cubicBezTo>
                <a:cubicBezTo>
                  <a:pt x="920" y="153"/>
                  <a:pt x="920" y="153"/>
                  <a:pt x="919" y="153"/>
                </a:cubicBezTo>
                <a:cubicBezTo>
                  <a:pt x="919" y="153"/>
                  <a:pt x="919" y="153"/>
                  <a:pt x="919" y="152"/>
                </a:cubicBezTo>
                <a:cubicBezTo>
                  <a:pt x="919" y="152"/>
                  <a:pt x="919" y="152"/>
                  <a:pt x="918" y="150"/>
                </a:cubicBezTo>
                <a:cubicBezTo>
                  <a:pt x="918" y="150"/>
                  <a:pt x="918" y="150"/>
                  <a:pt x="917" y="150"/>
                </a:cubicBezTo>
                <a:cubicBezTo>
                  <a:pt x="917" y="150"/>
                  <a:pt x="917" y="150"/>
                  <a:pt x="916" y="150"/>
                </a:cubicBezTo>
                <a:cubicBezTo>
                  <a:pt x="916" y="150"/>
                  <a:pt x="916" y="150"/>
                  <a:pt x="915" y="148"/>
                </a:cubicBezTo>
                <a:cubicBezTo>
                  <a:pt x="915" y="148"/>
                  <a:pt x="915" y="148"/>
                  <a:pt x="914" y="148"/>
                </a:cubicBezTo>
                <a:cubicBezTo>
                  <a:pt x="914" y="148"/>
                  <a:pt x="914" y="148"/>
                  <a:pt x="913" y="149"/>
                </a:cubicBezTo>
                <a:cubicBezTo>
                  <a:pt x="913" y="149"/>
                  <a:pt x="913" y="149"/>
                  <a:pt x="912" y="148"/>
                </a:cubicBezTo>
                <a:cubicBezTo>
                  <a:pt x="912" y="148"/>
                  <a:pt x="912" y="148"/>
                  <a:pt x="911" y="148"/>
                </a:cubicBezTo>
                <a:cubicBezTo>
                  <a:pt x="911" y="148"/>
                  <a:pt x="911" y="148"/>
                  <a:pt x="910" y="148"/>
                </a:cubicBezTo>
                <a:cubicBezTo>
                  <a:pt x="910" y="148"/>
                  <a:pt x="910" y="148"/>
                  <a:pt x="908" y="148"/>
                </a:cubicBezTo>
                <a:cubicBezTo>
                  <a:pt x="908" y="148"/>
                  <a:pt x="908" y="148"/>
                  <a:pt x="905" y="149"/>
                </a:cubicBezTo>
                <a:cubicBezTo>
                  <a:pt x="905" y="149"/>
                  <a:pt x="905" y="149"/>
                  <a:pt x="904" y="150"/>
                </a:cubicBezTo>
                <a:cubicBezTo>
                  <a:pt x="904" y="150"/>
                  <a:pt x="904" y="150"/>
                  <a:pt x="905" y="152"/>
                </a:cubicBezTo>
                <a:cubicBezTo>
                  <a:pt x="905" y="152"/>
                  <a:pt x="905" y="152"/>
                  <a:pt x="904" y="152"/>
                </a:cubicBezTo>
                <a:cubicBezTo>
                  <a:pt x="904" y="152"/>
                  <a:pt x="904" y="152"/>
                  <a:pt x="905" y="154"/>
                </a:cubicBezTo>
                <a:cubicBezTo>
                  <a:pt x="905" y="154"/>
                  <a:pt x="905" y="154"/>
                  <a:pt x="905" y="155"/>
                </a:cubicBezTo>
                <a:cubicBezTo>
                  <a:pt x="905" y="155"/>
                  <a:pt x="905" y="155"/>
                  <a:pt x="904" y="155"/>
                </a:cubicBezTo>
                <a:cubicBezTo>
                  <a:pt x="904" y="155"/>
                  <a:pt x="904" y="155"/>
                  <a:pt x="903" y="154"/>
                </a:cubicBezTo>
                <a:cubicBezTo>
                  <a:pt x="903" y="154"/>
                  <a:pt x="903" y="154"/>
                  <a:pt x="902" y="152"/>
                </a:cubicBezTo>
                <a:cubicBezTo>
                  <a:pt x="902" y="152"/>
                  <a:pt x="902" y="152"/>
                  <a:pt x="901" y="153"/>
                </a:cubicBezTo>
                <a:cubicBezTo>
                  <a:pt x="901" y="153"/>
                  <a:pt x="901" y="153"/>
                  <a:pt x="901" y="154"/>
                </a:cubicBezTo>
                <a:cubicBezTo>
                  <a:pt x="901" y="154"/>
                  <a:pt x="901" y="154"/>
                  <a:pt x="901" y="155"/>
                </a:cubicBezTo>
                <a:cubicBezTo>
                  <a:pt x="901" y="155"/>
                  <a:pt x="901" y="155"/>
                  <a:pt x="900" y="155"/>
                </a:cubicBezTo>
                <a:cubicBezTo>
                  <a:pt x="900" y="155"/>
                  <a:pt x="900" y="155"/>
                  <a:pt x="900" y="157"/>
                </a:cubicBezTo>
                <a:cubicBezTo>
                  <a:pt x="900" y="157"/>
                  <a:pt x="900" y="157"/>
                  <a:pt x="898" y="158"/>
                </a:cubicBezTo>
                <a:cubicBezTo>
                  <a:pt x="898" y="158"/>
                  <a:pt x="898" y="158"/>
                  <a:pt x="898" y="160"/>
                </a:cubicBezTo>
                <a:cubicBezTo>
                  <a:pt x="898" y="160"/>
                  <a:pt x="898" y="160"/>
                  <a:pt x="897" y="160"/>
                </a:cubicBezTo>
                <a:cubicBezTo>
                  <a:pt x="897" y="160"/>
                  <a:pt x="897" y="160"/>
                  <a:pt x="897" y="162"/>
                </a:cubicBezTo>
                <a:cubicBezTo>
                  <a:pt x="897" y="162"/>
                  <a:pt x="897" y="162"/>
                  <a:pt x="896" y="163"/>
                </a:cubicBezTo>
                <a:cubicBezTo>
                  <a:pt x="896" y="163"/>
                  <a:pt x="896" y="163"/>
                  <a:pt x="896" y="164"/>
                </a:cubicBezTo>
                <a:cubicBezTo>
                  <a:pt x="896" y="164"/>
                  <a:pt x="896" y="164"/>
                  <a:pt x="895" y="164"/>
                </a:cubicBezTo>
                <a:cubicBezTo>
                  <a:pt x="895" y="164"/>
                  <a:pt x="895" y="164"/>
                  <a:pt x="894" y="167"/>
                </a:cubicBezTo>
                <a:cubicBezTo>
                  <a:pt x="894" y="167"/>
                  <a:pt x="894" y="167"/>
                  <a:pt x="894" y="168"/>
                </a:cubicBezTo>
                <a:cubicBezTo>
                  <a:pt x="894" y="168"/>
                  <a:pt x="894" y="168"/>
                  <a:pt x="893" y="169"/>
                </a:cubicBezTo>
                <a:cubicBezTo>
                  <a:pt x="893" y="169"/>
                  <a:pt x="893" y="169"/>
                  <a:pt x="894" y="170"/>
                </a:cubicBezTo>
                <a:cubicBezTo>
                  <a:pt x="894" y="170"/>
                  <a:pt x="894" y="170"/>
                  <a:pt x="894" y="171"/>
                </a:cubicBezTo>
                <a:cubicBezTo>
                  <a:pt x="894" y="171"/>
                  <a:pt x="894" y="171"/>
                  <a:pt x="893" y="171"/>
                </a:cubicBezTo>
                <a:cubicBezTo>
                  <a:pt x="893" y="171"/>
                  <a:pt x="893" y="171"/>
                  <a:pt x="893" y="172"/>
                </a:cubicBezTo>
                <a:cubicBezTo>
                  <a:pt x="893" y="172"/>
                  <a:pt x="893" y="172"/>
                  <a:pt x="893" y="174"/>
                </a:cubicBezTo>
                <a:cubicBezTo>
                  <a:pt x="893" y="174"/>
                  <a:pt x="893" y="174"/>
                  <a:pt x="891" y="176"/>
                </a:cubicBezTo>
                <a:cubicBezTo>
                  <a:pt x="891" y="176"/>
                  <a:pt x="891" y="176"/>
                  <a:pt x="892" y="177"/>
                </a:cubicBezTo>
                <a:cubicBezTo>
                  <a:pt x="892" y="177"/>
                  <a:pt x="892" y="177"/>
                  <a:pt x="893" y="177"/>
                </a:cubicBezTo>
                <a:cubicBezTo>
                  <a:pt x="893" y="177"/>
                  <a:pt x="893" y="177"/>
                  <a:pt x="892" y="178"/>
                </a:cubicBezTo>
                <a:cubicBezTo>
                  <a:pt x="892" y="178"/>
                  <a:pt x="892" y="178"/>
                  <a:pt x="892" y="177"/>
                </a:cubicBezTo>
                <a:cubicBezTo>
                  <a:pt x="892" y="177"/>
                  <a:pt x="892" y="177"/>
                  <a:pt x="891" y="178"/>
                </a:cubicBezTo>
                <a:cubicBezTo>
                  <a:pt x="891" y="178"/>
                  <a:pt x="891" y="178"/>
                  <a:pt x="890" y="179"/>
                </a:cubicBezTo>
                <a:cubicBezTo>
                  <a:pt x="890" y="179"/>
                  <a:pt x="890" y="179"/>
                  <a:pt x="892" y="179"/>
                </a:cubicBezTo>
                <a:cubicBezTo>
                  <a:pt x="892" y="179"/>
                  <a:pt x="892" y="179"/>
                  <a:pt x="893" y="179"/>
                </a:cubicBezTo>
                <a:cubicBezTo>
                  <a:pt x="893" y="179"/>
                  <a:pt x="893" y="179"/>
                  <a:pt x="895" y="181"/>
                </a:cubicBezTo>
                <a:cubicBezTo>
                  <a:pt x="895" y="180"/>
                  <a:pt x="895" y="180"/>
                  <a:pt x="895" y="180"/>
                </a:cubicBezTo>
                <a:cubicBezTo>
                  <a:pt x="895" y="180"/>
                  <a:pt x="895" y="180"/>
                  <a:pt x="895" y="179"/>
                </a:cubicBezTo>
                <a:cubicBezTo>
                  <a:pt x="895" y="179"/>
                  <a:pt x="895" y="179"/>
                  <a:pt x="896" y="179"/>
                </a:cubicBezTo>
                <a:cubicBezTo>
                  <a:pt x="896" y="179"/>
                  <a:pt x="896" y="179"/>
                  <a:pt x="897" y="178"/>
                </a:cubicBezTo>
                <a:cubicBezTo>
                  <a:pt x="897" y="178"/>
                  <a:pt x="897" y="178"/>
                  <a:pt x="898" y="177"/>
                </a:cubicBezTo>
                <a:cubicBezTo>
                  <a:pt x="898" y="177"/>
                  <a:pt x="898" y="177"/>
                  <a:pt x="898" y="176"/>
                </a:cubicBezTo>
                <a:cubicBezTo>
                  <a:pt x="898" y="176"/>
                  <a:pt x="898" y="176"/>
                  <a:pt x="900" y="176"/>
                </a:cubicBezTo>
                <a:cubicBezTo>
                  <a:pt x="900" y="176"/>
                  <a:pt x="900" y="176"/>
                  <a:pt x="901" y="175"/>
                </a:cubicBezTo>
                <a:cubicBezTo>
                  <a:pt x="901" y="175"/>
                  <a:pt x="901" y="175"/>
                  <a:pt x="902" y="174"/>
                </a:cubicBezTo>
                <a:cubicBezTo>
                  <a:pt x="902" y="174"/>
                  <a:pt x="902" y="174"/>
                  <a:pt x="902" y="173"/>
                </a:cubicBezTo>
                <a:cubicBezTo>
                  <a:pt x="902" y="173"/>
                  <a:pt x="902" y="173"/>
                  <a:pt x="901" y="172"/>
                </a:cubicBezTo>
                <a:cubicBezTo>
                  <a:pt x="901" y="172"/>
                  <a:pt x="901" y="172"/>
                  <a:pt x="902" y="171"/>
                </a:cubicBezTo>
                <a:cubicBezTo>
                  <a:pt x="902" y="171"/>
                  <a:pt x="902" y="171"/>
                  <a:pt x="902" y="170"/>
                </a:cubicBezTo>
                <a:cubicBezTo>
                  <a:pt x="902" y="170"/>
                  <a:pt x="902" y="170"/>
                  <a:pt x="900" y="170"/>
                </a:cubicBezTo>
                <a:cubicBezTo>
                  <a:pt x="900" y="170"/>
                  <a:pt x="900" y="170"/>
                  <a:pt x="899" y="169"/>
                </a:cubicBezTo>
                <a:cubicBezTo>
                  <a:pt x="899" y="169"/>
                  <a:pt x="899" y="169"/>
                  <a:pt x="900" y="169"/>
                </a:cubicBezTo>
                <a:cubicBezTo>
                  <a:pt x="900" y="169"/>
                  <a:pt x="900" y="169"/>
                  <a:pt x="901" y="169"/>
                </a:cubicBezTo>
                <a:cubicBezTo>
                  <a:pt x="901" y="169"/>
                  <a:pt x="901" y="169"/>
                  <a:pt x="903" y="169"/>
                </a:cubicBezTo>
                <a:cubicBezTo>
                  <a:pt x="903" y="169"/>
                  <a:pt x="903" y="169"/>
                  <a:pt x="904" y="169"/>
                </a:cubicBezTo>
                <a:cubicBezTo>
                  <a:pt x="904" y="169"/>
                  <a:pt x="904" y="169"/>
                  <a:pt x="905" y="169"/>
                </a:cubicBezTo>
                <a:cubicBezTo>
                  <a:pt x="905" y="169"/>
                  <a:pt x="905" y="169"/>
                  <a:pt x="906" y="170"/>
                </a:cubicBezTo>
                <a:cubicBezTo>
                  <a:pt x="906" y="170"/>
                  <a:pt x="906" y="170"/>
                  <a:pt x="907" y="172"/>
                </a:cubicBezTo>
                <a:cubicBezTo>
                  <a:pt x="907" y="172"/>
                  <a:pt x="907" y="172"/>
                  <a:pt x="908" y="172"/>
                </a:cubicBezTo>
                <a:cubicBezTo>
                  <a:pt x="908" y="172"/>
                  <a:pt x="908" y="172"/>
                  <a:pt x="909" y="173"/>
                </a:cubicBezTo>
                <a:cubicBezTo>
                  <a:pt x="909" y="173"/>
                  <a:pt x="909" y="173"/>
                  <a:pt x="911" y="172"/>
                </a:cubicBezTo>
                <a:close/>
                <a:moveTo>
                  <a:pt x="951" y="226"/>
                </a:moveTo>
                <a:cubicBezTo>
                  <a:pt x="950" y="225"/>
                  <a:pt x="950" y="225"/>
                  <a:pt x="950" y="225"/>
                </a:cubicBezTo>
                <a:cubicBezTo>
                  <a:pt x="948" y="225"/>
                  <a:pt x="948" y="225"/>
                  <a:pt x="948" y="225"/>
                </a:cubicBezTo>
                <a:cubicBezTo>
                  <a:pt x="947" y="226"/>
                  <a:pt x="947" y="226"/>
                  <a:pt x="947" y="226"/>
                </a:cubicBezTo>
                <a:cubicBezTo>
                  <a:pt x="948" y="226"/>
                  <a:pt x="948" y="226"/>
                  <a:pt x="948" y="226"/>
                </a:cubicBezTo>
                <a:cubicBezTo>
                  <a:pt x="949" y="227"/>
                  <a:pt x="949" y="227"/>
                  <a:pt x="949" y="227"/>
                </a:cubicBezTo>
                <a:cubicBezTo>
                  <a:pt x="949" y="228"/>
                  <a:pt x="949" y="228"/>
                  <a:pt x="949" y="228"/>
                </a:cubicBezTo>
                <a:cubicBezTo>
                  <a:pt x="949" y="229"/>
                  <a:pt x="949" y="229"/>
                  <a:pt x="949" y="229"/>
                </a:cubicBezTo>
                <a:cubicBezTo>
                  <a:pt x="950" y="228"/>
                  <a:pt x="950" y="228"/>
                  <a:pt x="950" y="228"/>
                </a:cubicBezTo>
                <a:cubicBezTo>
                  <a:pt x="950" y="227"/>
                  <a:pt x="950" y="227"/>
                  <a:pt x="950" y="227"/>
                </a:cubicBezTo>
                <a:cubicBezTo>
                  <a:pt x="951" y="228"/>
                  <a:pt x="951" y="228"/>
                  <a:pt x="951" y="228"/>
                </a:cubicBezTo>
                <a:cubicBezTo>
                  <a:pt x="952" y="227"/>
                  <a:pt x="952" y="227"/>
                  <a:pt x="952" y="227"/>
                </a:cubicBezTo>
                <a:cubicBezTo>
                  <a:pt x="952" y="228"/>
                  <a:pt x="952" y="228"/>
                  <a:pt x="952" y="228"/>
                </a:cubicBezTo>
                <a:cubicBezTo>
                  <a:pt x="953" y="227"/>
                  <a:pt x="953" y="227"/>
                  <a:pt x="953" y="227"/>
                </a:cubicBezTo>
                <a:cubicBezTo>
                  <a:pt x="952" y="226"/>
                  <a:pt x="952" y="226"/>
                  <a:pt x="952" y="226"/>
                </a:cubicBezTo>
                <a:cubicBezTo>
                  <a:pt x="951" y="226"/>
                  <a:pt x="951" y="226"/>
                  <a:pt x="951" y="226"/>
                </a:cubicBezTo>
                <a:close/>
                <a:moveTo>
                  <a:pt x="920" y="217"/>
                </a:moveTo>
                <a:cubicBezTo>
                  <a:pt x="920" y="217"/>
                  <a:pt x="920" y="217"/>
                  <a:pt x="920" y="216"/>
                </a:cubicBezTo>
                <a:cubicBezTo>
                  <a:pt x="920" y="216"/>
                  <a:pt x="920" y="216"/>
                  <a:pt x="919" y="215"/>
                </a:cubicBezTo>
                <a:cubicBezTo>
                  <a:pt x="919" y="215"/>
                  <a:pt x="919" y="215"/>
                  <a:pt x="918" y="215"/>
                </a:cubicBezTo>
                <a:cubicBezTo>
                  <a:pt x="918" y="215"/>
                  <a:pt x="918" y="215"/>
                  <a:pt x="917" y="214"/>
                </a:cubicBezTo>
                <a:cubicBezTo>
                  <a:pt x="917" y="214"/>
                  <a:pt x="917" y="214"/>
                  <a:pt x="917" y="215"/>
                </a:cubicBezTo>
                <a:cubicBezTo>
                  <a:pt x="917" y="215"/>
                  <a:pt x="917" y="215"/>
                  <a:pt x="915" y="215"/>
                </a:cubicBezTo>
                <a:cubicBezTo>
                  <a:pt x="915" y="215"/>
                  <a:pt x="915" y="215"/>
                  <a:pt x="916" y="216"/>
                </a:cubicBezTo>
                <a:cubicBezTo>
                  <a:pt x="916" y="216"/>
                  <a:pt x="916" y="216"/>
                  <a:pt x="916" y="217"/>
                </a:cubicBezTo>
                <a:cubicBezTo>
                  <a:pt x="916" y="217"/>
                  <a:pt x="916" y="217"/>
                  <a:pt x="917" y="217"/>
                </a:cubicBezTo>
                <a:cubicBezTo>
                  <a:pt x="917" y="217"/>
                  <a:pt x="917" y="217"/>
                  <a:pt x="917" y="216"/>
                </a:cubicBezTo>
                <a:cubicBezTo>
                  <a:pt x="917" y="216"/>
                  <a:pt x="917" y="216"/>
                  <a:pt x="918" y="217"/>
                </a:cubicBezTo>
                <a:cubicBezTo>
                  <a:pt x="918" y="217"/>
                  <a:pt x="918" y="217"/>
                  <a:pt x="919" y="217"/>
                </a:cubicBezTo>
                <a:cubicBezTo>
                  <a:pt x="919" y="217"/>
                  <a:pt x="919" y="217"/>
                  <a:pt x="919" y="218"/>
                </a:cubicBezTo>
                <a:lnTo>
                  <a:pt x="920" y="217"/>
                </a:lnTo>
                <a:close/>
                <a:moveTo>
                  <a:pt x="951" y="242"/>
                </a:moveTo>
                <a:cubicBezTo>
                  <a:pt x="951" y="242"/>
                  <a:pt x="951" y="242"/>
                  <a:pt x="951" y="243"/>
                </a:cubicBezTo>
                <a:cubicBezTo>
                  <a:pt x="951" y="243"/>
                  <a:pt x="951" y="243"/>
                  <a:pt x="951" y="244"/>
                </a:cubicBezTo>
                <a:cubicBezTo>
                  <a:pt x="951" y="244"/>
                  <a:pt x="951" y="244"/>
                  <a:pt x="952" y="243"/>
                </a:cubicBezTo>
                <a:cubicBezTo>
                  <a:pt x="952" y="243"/>
                  <a:pt x="952" y="243"/>
                  <a:pt x="952" y="242"/>
                </a:cubicBezTo>
                <a:cubicBezTo>
                  <a:pt x="952" y="242"/>
                  <a:pt x="952" y="242"/>
                  <a:pt x="951" y="241"/>
                </a:cubicBezTo>
                <a:cubicBezTo>
                  <a:pt x="951" y="241"/>
                  <a:pt x="951" y="241"/>
                  <a:pt x="951" y="242"/>
                </a:cubicBezTo>
                <a:close/>
                <a:moveTo>
                  <a:pt x="964" y="237"/>
                </a:moveTo>
                <a:cubicBezTo>
                  <a:pt x="964" y="237"/>
                  <a:pt x="964" y="237"/>
                  <a:pt x="965" y="236"/>
                </a:cubicBezTo>
                <a:cubicBezTo>
                  <a:pt x="965" y="236"/>
                  <a:pt x="965" y="236"/>
                  <a:pt x="965" y="235"/>
                </a:cubicBezTo>
                <a:cubicBezTo>
                  <a:pt x="965" y="235"/>
                  <a:pt x="965" y="235"/>
                  <a:pt x="965" y="234"/>
                </a:cubicBezTo>
                <a:cubicBezTo>
                  <a:pt x="965" y="234"/>
                  <a:pt x="965" y="234"/>
                  <a:pt x="964" y="234"/>
                </a:cubicBezTo>
                <a:cubicBezTo>
                  <a:pt x="964" y="234"/>
                  <a:pt x="964" y="234"/>
                  <a:pt x="963" y="234"/>
                </a:cubicBezTo>
                <a:cubicBezTo>
                  <a:pt x="963" y="234"/>
                  <a:pt x="963" y="234"/>
                  <a:pt x="962" y="235"/>
                </a:cubicBezTo>
                <a:cubicBezTo>
                  <a:pt x="962" y="235"/>
                  <a:pt x="962" y="235"/>
                  <a:pt x="962" y="236"/>
                </a:cubicBezTo>
                <a:cubicBezTo>
                  <a:pt x="962" y="236"/>
                  <a:pt x="962" y="236"/>
                  <a:pt x="962" y="237"/>
                </a:cubicBezTo>
                <a:cubicBezTo>
                  <a:pt x="962" y="237"/>
                  <a:pt x="962" y="237"/>
                  <a:pt x="963" y="238"/>
                </a:cubicBezTo>
                <a:cubicBezTo>
                  <a:pt x="963" y="238"/>
                  <a:pt x="963" y="238"/>
                  <a:pt x="964" y="237"/>
                </a:cubicBezTo>
                <a:close/>
                <a:moveTo>
                  <a:pt x="951" y="42"/>
                </a:moveTo>
                <a:cubicBezTo>
                  <a:pt x="951" y="44"/>
                  <a:pt x="951" y="44"/>
                  <a:pt x="951" y="44"/>
                </a:cubicBezTo>
                <a:cubicBezTo>
                  <a:pt x="950" y="45"/>
                  <a:pt x="950" y="45"/>
                  <a:pt x="950" y="45"/>
                </a:cubicBezTo>
                <a:cubicBezTo>
                  <a:pt x="950" y="46"/>
                  <a:pt x="950" y="46"/>
                  <a:pt x="950" y="46"/>
                </a:cubicBezTo>
                <a:cubicBezTo>
                  <a:pt x="950" y="47"/>
                  <a:pt x="950" y="47"/>
                  <a:pt x="950" y="47"/>
                </a:cubicBezTo>
                <a:cubicBezTo>
                  <a:pt x="952" y="46"/>
                  <a:pt x="952" y="46"/>
                  <a:pt x="952" y="46"/>
                </a:cubicBezTo>
                <a:cubicBezTo>
                  <a:pt x="953" y="44"/>
                  <a:pt x="953" y="44"/>
                  <a:pt x="953" y="44"/>
                </a:cubicBezTo>
                <a:cubicBezTo>
                  <a:pt x="953" y="43"/>
                  <a:pt x="953" y="43"/>
                  <a:pt x="953" y="43"/>
                </a:cubicBezTo>
                <a:cubicBezTo>
                  <a:pt x="954" y="42"/>
                  <a:pt x="954" y="42"/>
                  <a:pt x="954" y="42"/>
                </a:cubicBezTo>
                <a:cubicBezTo>
                  <a:pt x="955" y="40"/>
                  <a:pt x="955" y="40"/>
                  <a:pt x="955" y="40"/>
                </a:cubicBezTo>
                <a:cubicBezTo>
                  <a:pt x="955" y="39"/>
                  <a:pt x="955" y="39"/>
                  <a:pt x="955" y="39"/>
                </a:cubicBezTo>
                <a:cubicBezTo>
                  <a:pt x="953" y="39"/>
                  <a:pt x="953" y="39"/>
                  <a:pt x="953" y="39"/>
                </a:cubicBezTo>
                <a:cubicBezTo>
                  <a:pt x="952" y="39"/>
                  <a:pt x="952" y="39"/>
                  <a:pt x="952" y="39"/>
                </a:cubicBezTo>
                <a:cubicBezTo>
                  <a:pt x="953" y="38"/>
                  <a:pt x="953" y="38"/>
                  <a:pt x="953" y="38"/>
                </a:cubicBezTo>
                <a:cubicBezTo>
                  <a:pt x="952" y="38"/>
                  <a:pt x="952" y="38"/>
                  <a:pt x="952" y="38"/>
                </a:cubicBezTo>
                <a:cubicBezTo>
                  <a:pt x="951" y="39"/>
                  <a:pt x="951" y="39"/>
                  <a:pt x="951" y="39"/>
                </a:cubicBezTo>
                <a:cubicBezTo>
                  <a:pt x="949" y="40"/>
                  <a:pt x="949" y="40"/>
                  <a:pt x="949" y="40"/>
                </a:cubicBezTo>
                <a:cubicBezTo>
                  <a:pt x="949" y="41"/>
                  <a:pt x="949" y="41"/>
                  <a:pt x="949" y="41"/>
                </a:cubicBezTo>
                <a:cubicBezTo>
                  <a:pt x="948" y="41"/>
                  <a:pt x="948" y="41"/>
                  <a:pt x="948" y="41"/>
                </a:cubicBezTo>
                <a:cubicBezTo>
                  <a:pt x="948" y="42"/>
                  <a:pt x="948" y="42"/>
                  <a:pt x="948" y="42"/>
                </a:cubicBezTo>
                <a:cubicBezTo>
                  <a:pt x="950" y="43"/>
                  <a:pt x="950" y="43"/>
                  <a:pt x="950" y="43"/>
                </a:cubicBezTo>
                <a:cubicBezTo>
                  <a:pt x="951" y="42"/>
                  <a:pt x="951" y="42"/>
                  <a:pt x="951" y="42"/>
                </a:cubicBezTo>
                <a:close/>
                <a:moveTo>
                  <a:pt x="961" y="248"/>
                </a:moveTo>
                <a:cubicBezTo>
                  <a:pt x="961" y="248"/>
                  <a:pt x="961" y="248"/>
                  <a:pt x="960" y="248"/>
                </a:cubicBezTo>
                <a:cubicBezTo>
                  <a:pt x="960" y="248"/>
                  <a:pt x="960" y="248"/>
                  <a:pt x="958" y="251"/>
                </a:cubicBezTo>
                <a:cubicBezTo>
                  <a:pt x="958" y="251"/>
                  <a:pt x="958" y="251"/>
                  <a:pt x="957" y="252"/>
                </a:cubicBezTo>
                <a:cubicBezTo>
                  <a:pt x="957" y="252"/>
                  <a:pt x="957" y="252"/>
                  <a:pt x="956" y="253"/>
                </a:cubicBezTo>
                <a:cubicBezTo>
                  <a:pt x="956" y="253"/>
                  <a:pt x="956" y="253"/>
                  <a:pt x="954" y="255"/>
                </a:cubicBezTo>
                <a:cubicBezTo>
                  <a:pt x="954" y="255"/>
                  <a:pt x="954" y="255"/>
                  <a:pt x="954" y="256"/>
                </a:cubicBezTo>
                <a:cubicBezTo>
                  <a:pt x="954" y="256"/>
                  <a:pt x="954" y="256"/>
                  <a:pt x="954" y="257"/>
                </a:cubicBezTo>
                <a:cubicBezTo>
                  <a:pt x="954" y="257"/>
                  <a:pt x="954" y="257"/>
                  <a:pt x="955" y="258"/>
                </a:cubicBezTo>
                <a:cubicBezTo>
                  <a:pt x="955" y="258"/>
                  <a:pt x="955" y="258"/>
                  <a:pt x="954" y="259"/>
                </a:cubicBezTo>
                <a:cubicBezTo>
                  <a:pt x="954" y="259"/>
                  <a:pt x="954" y="259"/>
                  <a:pt x="954" y="260"/>
                </a:cubicBezTo>
                <a:cubicBezTo>
                  <a:pt x="954" y="260"/>
                  <a:pt x="954" y="260"/>
                  <a:pt x="955" y="260"/>
                </a:cubicBezTo>
                <a:cubicBezTo>
                  <a:pt x="955" y="260"/>
                  <a:pt x="955" y="260"/>
                  <a:pt x="956" y="260"/>
                </a:cubicBezTo>
                <a:cubicBezTo>
                  <a:pt x="956" y="260"/>
                  <a:pt x="956" y="260"/>
                  <a:pt x="958" y="260"/>
                </a:cubicBezTo>
                <a:cubicBezTo>
                  <a:pt x="958" y="260"/>
                  <a:pt x="958" y="260"/>
                  <a:pt x="959" y="260"/>
                </a:cubicBezTo>
                <a:cubicBezTo>
                  <a:pt x="959" y="260"/>
                  <a:pt x="959" y="260"/>
                  <a:pt x="960" y="260"/>
                </a:cubicBezTo>
                <a:cubicBezTo>
                  <a:pt x="960" y="260"/>
                  <a:pt x="960" y="260"/>
                  <a:pt x="961" y="259"/>
                </a:cubicBezTo>
                <a:cubicBezTo>
                  <a:pt x="961" y="259"/>
                  <a:pt x="961" y="259"/>
                  <a:pt x="963" y="258"/>
                </a:cubicBezTo>
                <a:cubicBezTo>
                  <a:pt x="963" y="258"/>
                  <a:pt x="963" y="258"/>
                  <a:pt x="964" y="258"/>
                </a:cubicBezTo>
                <a:cubicBezTo>
                  <a:pt x="964" y="258"/>
                  <a:pt x="964" y="258"/>
                  <a:pt x="964" y="257"/>
                </a:cubicBezTo>
                <a:cubicBezTo>
                  <a:pt x="964" y="257"/>
                  <a:pt x="964" y="257"/>
                  <a:pt x="966" y="254"/>
                </a:cubicBezTo>
                <a:cubicBezTo>
                  <a:pt x="966" y="254"/>
                  <a:pt x="966" y="254"/>
                  <a:pt x="966" y="253"/>
                </a:cubicBezTo>
                <a:cubicBezTo>
                  <a:pt x="966" y="253"/>
                  <a:pt x="966" y="253"/>
                  <a:pt x="967" y="252"/>
                </a:cubicBezTo>
                <a:cubicBezTo>
                  <a:pt x="967" y="252"/>
                  <a:pt x="967" y="252"/>
                  <a:pt x="968" y="251"/>
                </a:cubicBezTo>
                <a:cubicBezTo>
                  <a:pt x="968" y="251"/>
                  <a:pt x="968" y="251"/>
                  <a:pt x="968" y="250"/>
                </a:cubicBezTo>
                <a:cubicBezTo>
                  <a:pt x="968" y="250"/>
                  <a:pt x="968" y="250"/>
                  <a:pt x="967" y="249"/>
                </a:cubicBezTo>
                <a:cubicBezTo>
                  <a:pt x="967" y="249"/>
                  <a:pt x="967" y="249"/>
                  <a:pt x="966" y="248"/>
                </a:cubicBezTo>
                <a:cubicBezTo>
                  <a:pt x="966" y="248"/>
                  <a:pt x="966" y="248"/>
                  <a:pt x="965" y="247"/>
                </a:cubicBezTo>
                <a:cubicBezTo>
                  <a:pt x="965" y="247"/>
                  <a:pt x="965" y="247"/>
                  <a:pt x="964" y="247"/>
                </a:cubicBezTo>
                <a:cubicBezTo>
                  <a:pt x="964" y="247"/>
                  <a:pt x="964" y="247"/>
                  <a:pt x="963" y="247"/>
                </a:cubicBezTo>
                <a:cubicBezTo>
                  <a:pt x="963" y="247"/>
                  <a:pt x="963" y="247"/>
                  <a:pt x="962" y="247"/>
                </a:cubicBezTo>
                <a:cubicBezTo>
                  <a:pt x="962" y="247"/>
                  <a:pt x="962" y="247"/>
                  <a:pt x="961" y="248"/>
                </a:cubicBezTo>
                <a:close/>
                <a:moveTo>
                  <a:pt x="949" y="245"/>
                </a:moveTo>
                <a:cubicBezTo>
                  <a:pt x="949" y="245"/>
                  <a:pt x="949" y="245"/>
                  <a:pt x="949" y="246"/>
                </a:cubicBezTo>
                <a:cubicBezTo>
                  <a:pt x="949" y="246"/>
                  <a:pt x="949" y="246"/>
                  <a:pt x="949" y="247"/>
                </a:cubicBezTo>
                <a:cubicBezTo>
                  <a:pt x="949" y="247"/>
                  <a:pt x="949" y="247"/>
                  <a:pt x="950" y="247"/>
                </a:cubicBezTo>
                <a:cubicBezTo>
                  <a:pt x="950" y="247"/>
                  <a:pt x="950" y="247"/>
                  <a:pt x="950" y="246"/>
                </a:cubicBezTo>
                <a:cubicBezTo>
                  <a:pt x="950" y="246"/>
                  <a:pt x="950" y="246"/>
                  <a:pt x="951" y="246"/>
                </a:cubicBezTo>
                <a:cubicBezTo>
                  <a:pt x="951" y="246"/>
                  <a:pt x="951" y="246"/>
                  <a:pt x="951" y="245"/>
                </a:cubicBezTo>
                <a:cubicBezTo>
                  <a:pt x="951" y="245"/>
                  <a:pt x="951" y="245"/>
                  <a:pt x="950" y="245"/>
                </a:cubicBezTo>
                <a:cubicBezTo>
                  <a:pt x="950" y="245"/>
                  <a:pt x="950" y="245"/>
                  <a:pt x="949" y="245"/>
                </a:cubicBezTo>
                <a:close/>
                <a:moveTo>
                  <a:pt x="931" y="222"/>
                </a:moveTo>
                <a:cubicBezTo>
                  <a:pt x="931" y="222"/>
                  <a:pt x="931" y="222"/>
                  <a:pt x="932" y="223"/>
                </a:cubicBezTo>
                <a:cubicBezTo>
                  <a:pt x="932" y="223"/>
                  <a:pt x="932" y="223"/>
                  <a:pt x="933" y="223"/>
                </a:cubicBezTo>
                <a:cubicBezTo>
                  <a:pt x="933" y="223"/>
                  <a:pt x="933" y="223"/>
                  <a:pt x="933" y="222"/>
                </a:cubicBezTo>
                <a:cubicBezTo>
                  <a:pt x="933" y="222"/>
                  <a:pt x="933" y="222"/>
                  <a:pt x="932" y="222"/>
                </a:cubicBezTo>
                <a:cubicBezTo>
                  <a:pt x="932" y="222"/>
                  <a:pt x="932" y="222"/>
                  <a:pt x="931" y="222"/>
                </a:cubicBezTo>
                <a:close/>
                <a:moveTo>
                  <a:pt x="935" y="224"/>
                </a:moveTo>
                <a:cubicBezTo>
                  <a:pt x="935" y="223"/>
                  <a:pt x="935" y="223"/>
                  <a:pt x="935" y="223"/>
                </a:cubicBezTo>
                <a:cubicBezTo>
                  <a:pt x="934" y="223"/>
                  <a:pt x="934" y="223"/>
                  <a:pt x="934" y="223"/>
                </a:cubicBezTo>
                <a:cubicBezTo>
                  <a:pt x="935" y="224"/>
                  <a:pt x="935" y="224"/>
                  <a:pt x="935" y="224"/>
                </a:cubicBezTo>
                <a:close/>
                <a:moveTo>
                  <a:pt x="969" y="244"/>
                </a:moveTo>
                <a:cubicBezTo>
                  <a:pt x="968" y="246"/>
                  <a:pt x="968" y="246"/>
                  <a:pt x="968" y="246"/>
                </a:cubicBezTo>
                <a:cubicBezTo>
                  <a:pt x="969" y="247"/>
                  <a:pt x="969" y="247"/>
                  <a:pt x="969" y="247"/>
                </a:cubicBezTo>
                <a:cubicBezTo>
                  <a:pt x="969" y="248"/>
                  <a:pt x="969" y="248"/>
                  <a:pt x="969" y="248"/>
                </a:cubicBezTo>
                <a:cubicBezTo>
                  <a:pt x="970" y="248"/>
                  <a:pt x="970" y="248"/>
                  <a:pt x="970" y="248"/>
                </a:cubicBezTo>
                <a:cubicBezTo>
                  <a:pt x="970" y="246"/>
                  <a:pt x="970" y="246"/>
                  <a:pt x="970" y="246"/>
                </a:cubicBezTo>
                <a:cubicBezTo>
                  <a:pt x="970" y="244"/>
                  <a:pt x="970" y="244"/>
                  <a:pt x="970" y="244"/>
                </a:cubicBezTo>
                <a:cubicBezTo>
                  <a:pt x="970" y="243"/>
                  <a:pt x="970" y="243"/>
                  <a:pt x="970" y="243"/>
                </a:cubicBezTo>
                <a:cubicBezTo>
                  <a:pt x="969" y="243"/>
                  <a:pt x="969" y="243"/>
                  <a:pt x="969" y="243"/>
                </a:cubicBezTo>
                <a:cubicBezTo>
                  <a:pt x="969" y="244"/>
                  <a:pt x="969" y="244"/>
                  <a:pt x="969" y="244"/>
                </a:cubicBezTo>
                <a:close/>
                <a:moveTo>
                  <a:pt x="972" y="246"/>
                </a:moveTo>
                <a:cubicBezTo>
                  <a:pt x="972" y="246"/>
                  <a:pt x="972" y="246"/>
                  <a:pt x="971" y="244"/>
                </a:cubicBezTo>
                <a:cubicBezTo>
                  <a:pt x="971" y="244"/>
                  <a:pt x="971" y="244"/>
                  <a:pt x="971" y="246"/>
                </a:cubicBezTo>
                <a:cubicBezTo>
                  <a:pt x="971" y="246"/>
                  <a:pt x="971" y="246"/>
                  <a:pt x="971" y="247"/>
                </a:cubicBezTo>
                <a:cubicBezTo>
                  <a:pt x="971" y="247"/>
                  <a:pt x="971" y="247"/>
                  <a:pt x="972" y="247"/>
                </a:cubicBezTo>
                <a:cubicBezTo>
                  <a:pt x="972" y="247"/>
                  <a:pt x="972" y="247"/>
                  <a:pt x="972" y="246"/>
                </a:cubicBezTo>
                <a:close/>
                <a:moveTo>
                  <a:pt x="970" y="252"/>
                </a:moveTo>
                <a:cubicBezTo>
                  <a:pt x="969" y="252"/>
                  <a:pt x="969" y="252"/>
                  <a:pt x="969" y="252"/>
                </a:cubicBezTo>
                <a:cubicBezTo>
                  <a:pt x="969" y="254"/>
                  <a:pt x="969" y="254"/>
                  <a:pt x="969" y="254"/>
                </a:cubicBezTo>
                <a:cubicBezTo>
                  <a:pt x="969" y="255"/>
                  <a:pt x="969" y="255"/>
                  <a:pt x="969" y="255"/>
                </a:cubicBezTo>
                <a:cubicBezTo>
                  <a:pt x="970" y="255"/>
                  <a:pt x="970" y="255"/>
                  <a:pt x="970" y="255"/>
                </a:cubicBezTo>
                <a:cubicBezTo>
                  <a:pt x="972" y="255"/>
                  <a:pt x="972" y="255"/>
                  <a:pt x="972" y="255"/>
                </a:cubicBezTo>
                <a:cubicBezTo>
                  <a:pt x="972" y="256"/>
                  <a:pt x="972" y="256"/>
                  <a:pt x="972" y="256"/>
                </a:cubicBezTo>
                <a:cubicBezTo>
                  <a:pt x="973" y="256"/>
                  <a:pt x="973" y="256"/>
                  <a:pt x="973" y="256"/>
                </a:cubicBezTo>
                <a:cubicBezTo>
                  <a:pt x="974" y="256"/>
                  <a:pt x="974" y="256"/>
                  <a:pt x="974" y="256"/>
                </a:cubicBezTo>
                <a:cubicBezTo>
                  <a:pt x="975" y="255"/>
                  <a:pt x="975" y="255"/>
                  <a:pt x="975" y="255"/>
                </a:cubicBezTo>
                <a:cubicBezTo>
                  <a:pt x="974" y="254"/>
                  <a:pt x="974" y="254"/>
                  <a:pt x="974" y="254"/>
                </a:cubicBezTo>
                <a:cubicBezTo>
                  <a:pt x="974" y="253"/>
                  <a:pt x="974" y="253"/>
                  <a:pt x="974" y="253"/>
                </a:cubicBezTo>
                <a:cubicBezTo>
                  <a:pt x="973" y="253"/>
                  <a:pt x="973" y="253"/>
                  <a:pt x="973" y="253"/>
                </a:cubicBezTo>
                <a:cubicBezTo>
                  <a:pt x="973" y="252"/>
                  <a:pt x="973" y="252"/>
                  <a:pt x="973" y="252"/>
                </a:cubicBezTo>
                <a:cubicBezTo>
                  <a:pt x="972" y="252"/>
                  <a:pt x="972" y="252"/>
                  <a:pt x="972" y="252"/>
                </a:cubicBezTo>
                <a:cubicBezTo>
                  <a:pt x="971" y="252"/>
                  <a:pt x="971" y="252"/>
                  <a:pt x="971" y="252"/>
                </a:cubicBezTo>
                <a:cubicBezTo>
                  <a:pt x="971" y="251"/>
                  <a:pt x="971" y="251"/>
                  <a:pt x="971" y="251"/>
                </a:cubicBezTo>
                <a:cubicBezTo>
                  <a:pt x="970" y="252"/>
                  <a:pt x="970" y="252"/>
                  <a:pt x="970" y="252"/>
                </a:cubicBezTo>
                <a:close/>
                <a:moveTo>
                  <a:pt x="885" y="176"/>
                </a:moveTo>
                <a:cubicBezTo>
                  <a:pt x="885" y="176"/>
                  <a:pt x="885" y="176"/>
                  <a:pt x="886" y="176"/>
                </a:cubicBezTo>
                <a:cubicBezTo>
                  <a:pt x="886" y="176"/>
                  <a:pt x="886" y="176"/>
                  <a:pt x="886" y="174"/>
                </a:cubicBezTo>
                <a:cubicBezTo>
                  <a:pt x="886" y="174"/>
                  <a:pt x="886" y="174"/>
                  <a:pt x="886" y="173"/>
                </a:cubicBezTo>
                <a:cubicBezTo>
                  <a:pt x="886" y="173"/>
                  <a:pt x="886" y="173"/>
                  <a:pt x="887" y="173"/>
                </a:cubicBezTo>
                <a:cubicBezTo>
                  <a:pt x="887" y="173"/>
                  <a:pt x="887" y="173"/>
                  <a:pt x="889" y="172"/>
                </a:cubicBezTo>
                <a:cubicBezTo>
                  <a:pt x="889" y="172"/>
                  <a:pt x="889" y="172"/>
                  <a:pt x="889" y="171"/>
                </a:cubicBezTo>
                <a:cubicBezTo>
                  <a:pt x="889" y="171"/>
                  <a:pt x="889" y="171"/>
                  <a:pt x="890" y="169"/>
                </a:cubicBezTo>
                <a:cubicBezTo>
                  <a:pt x="890" y="169"/>
                  <a:pt x="890" y="169"/>
                  <a:pt x="890" y="167"/>
                </a:cubicBezTo>
                <a:cubicBezTo>
                  <a:pt x="890" y="167"/>
                  <a:pt x="890" y="167"/>
                  <a:pt x="888" y="167"/>
                </a:cubicBezTo>
                <a:cubicBezTo>
                  <a:pt x="888" y="167"/>
                  <a:pt x="888" y="167"/>
                  <a:pt x="887" y="169"/>
                </a:cubicBezTo>
                <a:cubicBezTo>
                  <a:pt x="887" y="169"/>
                  <a:pt x="887" y="169"/>
                  <a:pt x="887" y="168"/>
                </a:cubicBezTo>
                <a:cubicBezTo>
                  <a:pt x="887" y="168"/>
                  <a:pt x="887" y="168"/>
                  <a:pt x="887" y="167"/>
                </a:cubicBezTo>
                <a:cubicBezTo>
                  <a:pt x="887" y="167"/>
                  <a:pt x="887" y="167"/>
                  <a:pt x="888" y="166"/>
                </a:cubicBezTo>
                <a:cubicBezTo>
                  <a:pt x="888" y="166"/>
                  <a:pt x="888" y="166"/>
                  <a:pt x="888" y="165"/>
                </a:cubicBezTo>
                <a:cubicBezTo>
                  <a:pt x="888" y="165"/>
                  <a:pt x="888" y="165"/>
                  <a:pt x="888" y="164"/>
                </a:cubicBezTo>
                <a:cubicBezTo>
                  <a:pt x="888" y="164"/>
                  <a:pt x="888" y="164"/>
                  <a:pt x="888" y="163"/>
                </a:cubicBezTo>
                <a:cubicBezTo>
                  <a:pt x="888" y="163"/>
                  <a:pt x="888" y="163"/>
                  <a:pt x="888" y="162"/>
                </a:cubicBezTo>
                <a:cubicBezTo>
                  <a:pt x="888" y="162"/>
                  <a:pt x="888" y="162"/>
                  <a:pt x="886" y="161"/>
                </a:cubicBezTo>
                <a:cubicBezTo>
                  <a:pt x="886" y="161"/>
                  <a:pt x="886" y="161"/>
                  <a:pt x="885" y="161"/>
                </a:cubicBezTo>
                <a:cubicBezTo>
                  <a:pt x="885" y="161"/>
                  <a:pt x="885" y="161"/>
                  <a:pt x="884" y="161"/>
                </a:cubicBezTo>
                <a:cubicBezTo>
                  <a:pt x="884" y="161"/>
                  <a:pt x="884" y="161"/>
                  <a:pt x="883" y="162"/>
                </a:cubicBezTo>
                <a:cubicBezTo>
                  <a:pt x="883" y="162"/>
                  <a:pt x="883" y="162"/>
                  <a:pt x="882" y="162"/>
                </a:cubicBezTo>
                <a:cubicBezTo>
                  <a:pt x="882" y="162"/>
                  <a:pt x="882" y="162"/>
                  <a:pt x="882" y="161"/>
                </a:cubicBezTo>
                <a:cubicBezTo>
                  <a:pt x="882" y="161"/>
                  <a:pt x="882" y="161"/>
                  <a:pt x="883" y="160"/>
                </a:cubicBezTo>
                <a:cubicBezTo>
                  <a:pt x="883" y="160"/>
                  <a:pt x="883" y="160"/>
                  <a:pt x="884" y="160"/>
                </a:cubicBezTo>
                <a:cubicBezTo>
                  <a:pt x="884" y="160"/>
                  <a:pt x="884" y="160"/>
                  <a:pt x="886" y="159"/>
                </a:cubicBezTo>
                <a:cubicBezTo>
                  <a:pt x="886" y="159"/>
                  <a:pt x="886" y="159"/>
                  <a:pt x="888" y="158"/>
                </a:cubicBezTo>
                <a:cubicBezTo>
                  <a:pt x="888" y="158"/>
                  <a:pt x="888" y="158"/>
                  <a:pt x="888" y="157"/>
                </a:cubicBezTo>
                <a:cubicBezTo>
                  <a:pt x="888" y="157"/>
                  <a:pt x="888" y="157"/>
                  <a:pt x="890" y="157"/>
                </a:cubicBezTo>
                <a:cubicBezTo>
                  <a:pt x="890" y="157"/>
                  <a:pt x="890" y="157"/>
                  <a:pt x="891" y="157"/>
                </a:cubicBezTo>
                <a:cubicBezTo>
                  <a:pt x="891" y="157"/>
                  <a:pt x="891" y="157"/>
                  <a:pt x="892" y="157"/>
                </a:cubicBezTo>
                <a:cubicBezTo>
                  <a:pt x="892" y="157"/>
                  <a:pt x="892" y="157"/>
                  <a:pt x="892" y="155"/>
                </a:cubicBezTo>
                <a:cubicBezTo>
                  <a:pt x="892" y="155"/>
                  <a:pt x="892" y="155"/>
                  <a:pt x="891" y="154"/>
                </a:cubicBezTo>
                <a:cubicBezTo>
                  <a:pt x="891" y="154"/>
                  <a:pt x="891" y="154"/>
                  <a:pt x="891" y="153"/>
                </a:cubicBezTo>
                <a:cubicBezTo>
                  <a:pt x="891" y="153"/>
                  <a:pt x="891" y="153"/>
                  <a:pt x="892" y="153"/>
                </a:cubicBezTo>
                <a:cubicBezTo>
                  <a:pt x="892" y="153"/>
                  <a:pt x="892" y="153"/>
                  <a:pt x="893" y="153"/>
                </a:cubicBezTo>
                <a:cubicBezTo>
                  <a:pt x="893" y="153"/>
                  <a:pt x="893" y="153"/>
                  <a:pt x="895" y="152"/>
                </a:cubicBezTo>
                <a:cubicBezTo>
                  <a:pt x="895" y="152"/>
                  <a:pt x="895" y="152"/>
                  <a:pt x="896" y="151"/>
                </a:cubicBezTo>
                <a:cubicBezTo>
                  <a:pt x="896" y="151"/>
                  <a:pt x="896" y="151"/>
                  <a:pt x="895" y="150"/>
                </a:cubicBezTo>
                <a:cubicBezTo>
                  <a:pt x="895" y="150"/>
                  <a:pt x="895" y="150"/>
                  <a:pt x="895" y="149"/>
                </a:cubicBezTo>
                <a:cubicBezTo>
                  <a:pt x="895" y="149"/>
                  <a:pt x="895" y="149"/>
                  <a:pt x="894" y="149"/>
                </a:cubicBezTo>
                <a:cubicBezTo>
                  <a:pt x="894" y="149"/>
                  <a:pt x="894" y="149"/>
                  <a:pt x="893" y="148"/>
                </a:cubicBezTo>
                <a:cubicBezTo>
                  <a:pt x="893" y="148"/>
                  <a:pt x="893" y="148"/>
                  <a:pt x="890" y="148"/>
                </a:cubicBezTo>
                <a:cubicBezTo>
                  <a:pt x="890" y="148"/>
                  <a:pt x="890" y="148"/>
                  <a:pt x="889" y="148"/>
                </a:cubicBezTo>
                <a:cubicBezTo>
                  <a:pt x="889" y="148"/>
                  <a:pt x="889" y="148"/>
                  <a:pt x="887" y="148"/>
                </a:cubicBezTo>
                <a:cubicBezTo>
                  <a:pt x="887" y="148"/>
                  <a:pt x="887" y="148"/>
                  <a:pt x="886" y="148"/>
                </a:cubicBezTo>
                <a:cubicBezTo>
                  <a:pt x="886" y="148"/>
                  <a:pt x="886" y="148"/>
                  <a:pt x="885" y="148"/>
                </a:cubicBezTo>
                <a:cubicBezTo>
                  <a:pt x="885" y="148"/>
                  <a:pt x="885" y="148"/>
                  <a:pt x="884" y="147"/>
                </a:cubicBezTo>
                <a:cubicBezTo>
                  <a:pt x="884" y="147"/>
                  <a:pt x="884" y="147"/>
                  <a:pt x="883" y="146"/>
                </a:cubicBezTo>
                <a:cubicBezTo>
                  <a:pt x="883" y="146"/>
                  <a:pt x="883" y="146"/>
                  <a:pt x="884" y="145"/>
                </a:cubicBezTo>
                <a:cubicBezTo>
                  <a:pt x="884" y="145"/>
                  <a:pt x="884" y="145"/>
                  <a:pt x="882" y="144"/>
                </a:cubicBezTo>
                <a:cubicBezTo>
                  <a:pt x="882" y="144"/>
                  <a:pt x="882" y="144"/>
                  <a:pt x="881" y="145"/>
                </a:cubicBezTo>
                <a:cubicBezTo>
                  <a:pt x="881" y="145"/>
                  <a:pt x="881" y="145"/>
                  <a:pt x="880" y="145"/>
                </a:cubicBezTo>
                <a:cubicBezTo>
                  <a:pt x="880" y="145"/>
                  <a:pt x="880" y="145"/>
                  <a:pt x="881" y="146"/>
                </a:cubicBezTo>
                <a:cubicBezTo>
                  <a:pt x="881" y="146"/>
                  <a:pt x="881" y="146"/>
                  <a:pt x="882" y="146"/>
                </a:cubicBezTo>
                <a:cubicBezTo>
                  <a:pt x="882" y="146"/>
                  <a:pt x="882" y="146"/>
                  <a:pt x="882" y="147"/>
                </a:cubicBezTo>
                <a:cubicBezTo>
                  <a:pt x="882" y="147"/>
                  <a:pt x="882" y="147"/>
                  <a:pt x="880" y="147"/>
                </a:cubicBezTo>
                <a:cubicBezTo>
                  <a:pt x="880" y="147"/>
                  <a:pt x="880" y="147"/>
                  <a:pt x="879" y="145"/>
                </a:cubicBezTo>
                <a:cubicBezTo>
                  <a:pt x="879" y="145"/>
                  <a:pt x="879" y="145"/>
                  <a:pt x="878" y="145"/>
                </a:cubicBezTo>
                <a:cubicBezTo>
                  <a:pt x="878" y="145"/>
                  <a:pt x="878" y="145"/>
                  <a:pt x="877" y="146"/>
                </a:cubicBezTo>
                <a:cubicBezTo>
                  <a:pt x="877" y="146"/>
                  <a:pt x="877" y="146"/>
                  <a:pt x="876" y="147"/>
                </a:cubicBezTo>
                <a:cubicBezTo>
                  <a:pt x="876" y="147"/>
                  <a:pt x="876" y="147"/>
                  <a:pt x="876" y="148"/>
                </a:cubicBezTo>
                <a:cubicBezTo>
                  <a:pt x="876" y="148"/>
                  <a:pt x="876" y="148"/>
                  <a:pt x="876" y="150"/>
                </a:cubicBezTo>
                <a:cubicBezTo>
                  <a:pt x="876" y="150"/>
                  <a:pt x="876" y="150"/>
                  <a:pt x="877" y="150"/>
                </a:cubicBezTo>
                <a:cubicBezTo>
                  <a:pt x="877" y="150"/>
                  <a:pt x="877" y="150"/>
                  <a:pt x="877" y="151"/>
                </a:cubicBezTo>
                <a:cubicBezTo>
                  <a:pt x="877" y="151"/>
                  <a:pt x="877" y="151"/>
                  <a:pt x="877" y="152"/>
                </a:cubicBezTo>
                <a:cubicBezTo>
                  <a:pt x="877" y="152"/>
                  <a:pt x="877" y="152"/>
                  <a:pt x="877" y="153"/>
                </a:cubicBezTo>
                <a:cubicBezTo>
                  <a:pt x="877" y="153"/>
                  <a:pt x="877" y="153"/>
                  <a:pt x="876" y="153"/>
                </a:cubicBezTo>
                <a:cubicBezTo>
                  <a:pt x="876" y="153"/>
                  <a:pt x="876" y="153"/>
                  <a:pt x="876" y="151"/>
                </a:cubicBezTo>
                <a:cubicBezTo>
                  <a:pt x="876" y="151"/>
                  <a:pt x="876" y="151"/>
                  <a:pt x="875" y="150"/>
                </a:cubicBezTo>
                <a:cubicBezTo>
                  <a:pt x="875" y="150"/>
                  <a:pt x="875" y="150"/>
                  <a:pt x="874" y="149"/>
                </a:cubicBezTo>
                <a:cubicBezTo>
                  <a:pt x="874" y="149"/>
                  <a:pt x="874" y="149"/>
                  <a:pt x="874" y="150"/>
                </a:cubicBezTo>
                <a:cubicBezTo>
                  <a:pt x="874" y="150"/>
                  <a:pt x="874" y="150"/>
                  <a:pt x="873" y="150"/>
                </a:cubicBezTo>
                <a:cubicBezTo>
                  <a:pt x="873" y="150"/>
                  <a:pt x="873" y="150"/>
                  <a:pt x="872" y="151"/>
                </a:cubicBezTo>
                <a:cubicBezTo>
                  <a:pt x="872" y="151"/>
                  <a:pt x="872" y="151"/>
                  <a:pt x="872" y="152"/>
                </a:cubicBezTo>
                <a:cubicBezTo>
                  <a:pt x="872" y="152"/>
                  <a:pt x="872" y="152"/>
                  <a:pt x="873" y="154"/>
                </a:cubicBezTo>
                <a:cubicBezTo>
                  <a:pt x="873" y="154"/>
                  <a:pt x="873" y="154"/>
                  <a:pt x="874" y="156"/>
                </a:cubicBezTo>
                <a:cubicBezTo>
                  <a:pt x="874" y="156"/>
                  <a:pt x="874" y="156"/>
                  <a:pt x="876" y="156"/>
                </a:cubicBezTo>
                <a:cubicBezTo>
                  <a:pt x="876" y="156"/>
                  <a:pt x="876" y="156"/>
                  <a:pt x="876" y="155"/>
                </a:cubicBezTo>
                <a:cubicBezTo>
                  <a:pt x="876" y="155"/>
                  <a:pt x="876" y="155"/>
                  <a:pt x="877" y="155"/>
                </a:cubicBezTo>
                <a:cubicBezTo>
                  <a:pt x="877" y="155"/>
                  <a:pt x="877" y="155"/>
                  <a:pt x="877" y="156"/>
                </a:cubicBezTo>
                <a:cubicBezTo>
                  <a:pt x="877" y="156"/>
                  <a:pt x="877" y="156"/>
                  <a:pt x="878" y="157"/>
                </a:cubicBezTo>
                <a:cubicBezTo>
                  <a:pt x="878" y="157"/>
                  <a:pt x="878" y="157"/>
                  <a:pt x="878" y="158"/>
                </a:cubicBezTo>
                <a:cubicBezTo>
                  <a:pt x="878" y="158"/>
                  <a:pt x="878" y="158"/>
                  <a:pt x="877" y="158"/>
                </a:cubicBezTo>
                <a:cubicBezTo>
                  <a:pt x="877" y="158"/>
                  <a:pt x="877" y="158"/>
                  <a:pt x="877" y="157"/>
                </a:cubicBezTo>
                <a:cubicBezTo>
                  <a:pt x="877" y="157"/>
                  <a:pt x="877" y="157"/>
                  <a:pt x="876" y="156"/>
                </a:cubicBezTo>
                <a:cubicBezTo>
                  <a:pt x="876" y="156"/>
                  <a:pt x="876" y="156"/>
                  <a:pt x="875" y="157"/>
                </a:cubicBezTo>
                <a:cubicBezTo>
                  <a:pt x="875" y="157"/>
                  <a:pt x="875" y="157"/>
                  <a:pt x="874" y="157"/>
                </a:cubicBezTo>
                <a:cubicBezTo>
                  <a:pt x="874" y="157"/>
                  <a:pt x="874" y="157"/>
                  <a:pt x="875" y="158"/>
                </a:cubicBezTo>
                <a:cubicBezTo>
                  <a:pt x="875" y="158"/>
                  <a:pt x="875" y="158"/>
                  <a:pt x="875" y="159"/>
                </a:cubicBezTo>
                <a:cubicBezTo>
                  <a:pt x="875" y="159"/>
                  <a:pt x="875" y="159"/>
                  <a:pt x="874" y="160"/>
                </a:cubicBezTo>
                <a:cubicBezTo>
                  <a:pt x="874" y="160"/>
                  <a:pt x="874" y="160"/>
                  <a:pt x="874" y="161"/>
                </a:cubicBezTo>
                <a:cubicBezTo>
                  <a:pt x="874" y="161"/>
                  <a:pt x="874" y="161"/>
                  <a:pt x="873" y="162"/>
                </a:cubicBezTo>
                <a:cubicBezTo>
                  <a:pt x="873" y="162"/>
                  <a:pt x="873" y="162"/>
                  <a:pt x="872" y="163"/>
                </a:cubicBezTo>
                <a:cubicBezTo>
                  <a:pt x="872" y="163"/>
                  <a:pt x="872" y="163"/>
                  <a:pt x="873" y="164"/>
                </a:cubicBezTo>
                <a:cubicBezTo>
                  <a:pt x="873" y="164"/>
                  <a:pt x="873" y="164"/>
                  <a:pt x="872" y="164"/>
                </a:cubicBezTo>
                <a:cubicBezTo>
                  <a:pt x="872" y="164"/>
                  <a:pt x="872" y="164"/>
                  <a:pt x="871" y="164"/>
                </a:cubicBezTo>
                <a:cubicBezTo>
                  <a:pt x="871" y="164"/>
                  <a:pt x="871" y="164"/>
                  <a:pt x="870" y="163"/>
                </a:cubicBezTo>
                <a:cubicBezTo>
                  <a:pt x="870" y="163"/>
                  <a:pt x="870" y="163"/>
                  <a:pt x="870" y="162"/>
                </a:cubicBezTo>
                <a:cubicBezTo>
                  <a:pt x="870" y="162"/>
                  <a:pt x="870" y="162"/>
                  <a:pt x="869" y="160"/>
                </a:cubicBezTo>
                <a:cubicBezTo>
                  <a:pt x="869" y="160"/>
                  <a:pt x="869" y="160"/>
                  <a:pt x="869" y="159"/>
                </a:cubicBezTo>
                <a:cubicBezTo>
                  <a:pt x="869" y="159"/>
                  <a:pt x="869" y="159"/>
                  <a:pt x="868" y="158"/>
                </a:cubicBezTo>
                <a:cubicBezTo>
                  <a:pt x="868" y="158"/>
                  <a:pt x="868" y="158"/>
                  <a:pt x="868" y="157"/>
                </a:cubicBezTo>
                <a:cubicBezTo>
                  <a:pt x="868" y="157"/>
                  <a:pt x="868" y="157"/>
                  <a:pt x="869" y="157"/>
                </a:cubicBezTo>
                <a:cubicBezTo>
                  <a:pt x="869" y="157"/>
                  <a:pt x="869" y="157"/>
                  <a:pt x="868" y="156"/>
                </a:cubicBezTo>
                <a:cubicBezTo>
                  <a:pt x="868" y="156"/>
                  <a:pt x="868" y="156"/>
                  <a:pt x="867" y="156"/>
                </a:cubicBezTo>
                <a:cubicBezTo>
                  <a:pt x="867" y="156"/>
                  <a:pt x="867" y="156"/>
                  <a:pt x="865" y="156"/>
                </a:cubicBezTo>
                <a:cubicBezTo>
                  <a:pt x="865" y="156"/>
                  <a:pt x="865" y="156"/>
                  <a:pt x="864" y="156"/>
                </a:cubicBezTo>
                <a:cubicBezTo>
                  <a:pt x="864" y="156"/>
                  <a:pt x="864" y="156"/>
                  <a:pt x="864" y="157"/>
                </a:cubicBezTo>
                <a:cubicBezTo>
                  <a:pt x="864" y="157"/>
                  <a:pt x="864" y="157"/>
                  <a:pt x="862" y="157"/>
                </a:cubicBezTo>
                <a:cubicBezTo>
                  <a:pt x="862" y="157"/>
                  <a:pt x="862" y="157"/>
                  <a:pt x="861" y="159"/>
                </a:cubicBezTo>
                <a:cubicBezTo>
                  <a:pt x="861" y="159"/>
                  <a:pt x="861" y="159"/>
                  <a:pt x="861" y="160"/>
                </a:cubicBezTo>
                <a:cubicBezTo>
                  <a:pt x="861" y="160"/>
                  <a:pt x="861" y="160"/>
                  <a:pt x="861" y="162"/>
                </a:cubicBezTo>
                <a:cubicBezTo>
                  <a:pt x="861" y="162"/>
                  <a:pt x="861" y="162"/>
                  <a:pt x="861" y="163"/>
                </a:cubicBezTo>
                <a:cubicBezTo>
                  <a:pt x="861" y="163"/>
                  <a:pt x="861" y="163"/>
                  <a:pt x="862" y="164"/>
                </a:cubicBezTo>
                <a:cubicBezTo>
                  <a:pt x="862" y="164"/>
                  <a:pt x="862" y="164"/>
                  <a:pt x="861" y="165"/>
                </a:cubicBezTo>
                <a:cubicBezTo>
                  <a:pt x="861" y="165"/>
                  <a:pt x="861" y="165"/>
                  <a:pt x="860" y="166"/>
                </a:cubicBezTo>
                <a:cubicBezTo>
                  <a:pt x="860" y="166"/>
                  <a:pt x="860" y="166"/>
                  <a:pt x="860" y="168"/>
                </a:cubicBezTo>
                <a:cubicBezTo>
                  <a:pt x="860" y="168"/>
                  <a:pt x="860" y="168"/>
                  <a:pt x="861" y="168"/>
                </a:cubicBezTo>
                <a:cubicBezTo>
                  <a:pt x="861" y="168"/>
                  <a:pt x="861" y="168"/>
                  <a:pt x="862" y="168"/>
                </a:cubicBezTo>
                <a:cubicBezTo>
                  <a:pt x="862" y="168"/>
                  <a:pt x="862" y="168"/>
                  <a:pt x="863" y="168"/>
                </a:cubicBezTo>
                <a:cubicBezTo>
                  <a:pt x="863" y="168"/>
                  <a:pt x="863" y="168"/>
                  <a:pt x="864" y="168"/>
                </a:cubicBezTo>
                <a:cubicBezTo>
                  <a:pt x="864" y="168"/>
                  <a:pt x="864" y="168"/>
                  <a:pt x="864" y="170"/>
                </a:cubicBezTo>
                <a:cubicBezTo>
                  <a:pt x="864" y="170"/>
                  <a:pt x="864" y="170"/>
                  <a:pt x="865" y="170"/>
                </a:cubicBezTo>
                <a:cubicBezTo>
                  <a:pt x="865" y="170"/>
                  <a:pt x="865" y="170"/>
                  <a:pt x="866" y="172"/>
                </a:cubicBezTo>
                <a:cubicBezTo>
                  <a:pt x="866" y="172"/>
                  <a:pt x="866" y="172"/>
                  <a:pt x="865" y="174"/>
                </a:cubicBezTo>
                <a:cubicBezTo>
                  <a:pt x="865" y="174"/>
                  <a:pt x="865" y="174"/>
                  <a:pt x="867" y="175"/>
                </a:cubicBezTo>
                <a:cubicBezTo>
                  <a:pt x="867" y="175"/>
                  <a:pt x="867" y="175"/>
                  <a:pt x="867" y="176"/>
                </a:cubicBezTo>
                <a:cubicBezTo>
                  <a:pt x="867" y="176"/>
                  <a:pt x="867" y="176"/>
                  <a:pt x="867" y="177"/>
                </a:cubicBezTo>
                <a:cubicBezTo>
                  <a:pt x="867" y="177"/>
                  <a:pt x="867" y="177"/>
                  <a:pt x="868" y="177"/>
                </a:cubicBezTo>
                <a:cubicBezTo>
                  <a:pt x="868" y="177"/>
                  <a:pt x="868" y="177"/>
                  <a:pt x="868" y="178"/>
                </a:cubicBezTo>
                <a:cubicBezTo>
                  <a:pt x="868" y="178"/>
                  <a:pt x="868" y="178"/>
                  <a:pt x="868" y="180"/>
                </a:cubicBezTo>
                <a:cubicBezTo>
                  <a:pt x="868" y="180"/>
                  <a:pt x="868" y="180"/>
                  <a:pt x="867" y="181"/>
                </a:cubicBezTo>
                <a:cubicBezTo>
                  <a:pt x="867" y="181"/>
                  <a:pt x="867" y="181"/>
                  <a:pt x="868" y="182"/>
                </a:cubicBezTo>
                <a:cubicBezTo>
                  <a:pt x="868" y="182"/>
                  <a:pt x="868" y="182"/>
                  <a:pt x="868" y="184"/>
                </a:cubicBezTo>
                <a:cubicBezTo>
                  <a:pt x="868" y="184"/>
                  <a:pt x="868" y="184"/>
                  <a:pt x="868" y="185"/>
                </a:cubicBezTo>
                <a:cubicBezTo>
                  <a:pt x="868" y="185"/>
                  <a:pt x="868" y="185"/>
                  <a:pt x="868" y="186"/>
                </a:cubicBezTo>
                <a:cubicBezTo>
                  <a:pt x="868" y="186"/>
                  <a:pt x="868" y="186"/>
                  <a:pt x="869" y="185"/>
                </a:cubicBezTo>
                <a:cubicBezTo>
                  <a:pt x="869" y="185"/>
                  <a:pt x="869" y="185"/>
                  <a:pt x="869" y="187"/>
                </a:cubicBezTo>
                <a:cubicBezTo>
                  <a:pt x="869" y="187"/>
                  <a:pt x="869" y="187"/>
                  <a:pt x="870" y="187"/>
                </a:cubicBezTo>
                <a:cubicBezTo>
                  <a:pt x="872" y="187"/>
                  <a:pt x="872" y="187"/>
                  <a:pt x="872" y="187"/>
                </a:cubicBezTo>
                <a:cubicBezTo>
                  <a:pt x="872" y="187"/>
                  <a:pt x="872" y="187"/>
                  <a:pt x="873" y="186"/>
                </a:cubicBezTo>
                <a:cubicBezTo>
                  <a:pt x="873" y="186"/>
                  <a:pt x="873" y="186"/>
                  <a:pt x="874" y="185"/>
                </a:cubicBezTo>
                <a:cubicBezTo>
                  <a:pt x="874" y="185"/>
                  <a:pt x="874" y="185"/>
                  <a:pt x="874" y="184"/>
                </a:cubicBezTo>
                <a:cubicBezTo>
                  <a:pt x="874" y="184"/>
                  <a:pt x="874" y="184"/>
                  <a:pt x="874" y="183"/>
                </a:cubicBezTo>
                <a:cubicBezTo>
                  <a:pt x="874" y="183"/>
                  <a:pt x="874" y="183"/>
                  <a:pt x="873" y="181"/>
                </a:cubicBezTo>
                <a:cubicBezTo>
                  <a:pt x="873" y="181"/>
                  <a:pt x="873" y="181"/>
                  <a:pt x="873" y="179"/>
                </a:cubicBezTo>
                <a:cubicBezTo>
                  <a:pt x="873" y="179"/>
                  <a:pt x="873" y="179"/>
                  <a:pt x="875" y="177"/>
                </a:cubicBezTo>
                <a:cubicBezTo>
                  <a:pt x="875" y="177"/>
                  <a:pt x="875" y="177"/>
                  <a:pt x="875" y="178"/>
                </a:cubicBezTo>
                <a:cubicBezTo>
                  <a:pt x="875" y="178"/>
                  <a:pt x="875" y="178"/>
                  <a:pt x="874" y="180"/>
                </a:cubicBezTo>
                <a:cubicBezTo>
                  <a:pt x="874" y="180"/>
                  <a:pt x="874" y="180"/>
                  <a:pt x="874" y="182"/>
                </a:cubicBezTo>
                <a:cubicBezTo>
                  <a:pt x="874" y="182"/>
                  <a:pt x="874" y="182"/>
                  <a:pt x="875" y="183"/>
                </a:cubicBezTo>
                <a:cubicBezTo>
                  <a:pt x="875" y="183"/>
                  <a:pt x="875" y="183"/>
                  <a:pt x="876" y="182"/>
                </a:cubicBezTo>
                <a:cubicBezTo>
                  <a:pt x="876" y="182"/>
                  <a:pt x="876" y="182"/>
                  <a:pt x="878" y="183"/>
                </a:cubicBezTo>
                <a:cubicBezTo>
                  <a:pt x="878" y="183"/>
                  <a:pt x="878" y="183"/>
                  <a:pt x="880" y="182"/>
                </a:cubicBezTo>
                <a:cubicBezTo>
                  <a:pt x="880" y="182"/>
                  <a:pt x="880" y="182"/>
                  <a:pt x="880" y="181"/>
                </a:cubicBezTo>
                <a:cubicBezTo>
                  <a:pt x="880" y="181"/>
                  <a:pt x="880" y="181"/>
                  <a:pt x="881" y="181"/>
                </a:cubicBezTo>
                <a:cubicBezTo>
                  <a:pt x="881" y="181"/>
                  <a:pt x="881" y="181"/>
                  <a:pt x="882" y="181"/>
                </a:cubicBezTo>
                <a:cubicBezTo>
                  <a:pt x="882" y="181"/>
                  <a:pt x="882" y="181"/>
                  <a:pt x="883" y="180"/>
                </a:cubicBezTo>
                <a:cubicBezTo>
                  <a:pt x="883" y="180"/>
                  <a:pt x="883" y="180"/>
                  <a:pt x="884" y="181"/>
                </a:cubicBezTo>
                <a:cubicBezTo>
                  <a:pt x="884" y="181"/>
                  <a:pt x="884" y="181"/>
                  <a:pt x="885" y="179"/>
                </a:cubicBezTo>
                <a:cubicBezTo>
                  <a:pt x="885" y="179"/>
                  <a:pt x="885" y="179"/>
                  <a:pt x="884" y="178"/>
                </a:cubicBezTo>
                <a:cubicBezTo>
                  <a:pt x="884" y="178"/>
                  <a:pt x="884" y="178"/>
                  <a:pt x="885" y="178"/>
                </a:cubicBezTo>
                <a:cubicBezTo>
                  <a:pt x="885" y="178"/>
                  <a:pt x="885" y="178"/>
                  <a:pt x="886" y="178"/>
                </a:cubicBezTo>
                <a:cubicBezTo>
                  <a:pt x="886" y="178"/>
                  <a:pt x="886" y="178"/>
                  <a:pt x="884" y="177"/>
                </a:cubicBezTo>
                <a:cubicBezTo>
                  <a:pt x="884" y="177"/>
                  <a:pt x="884" y="177"/>
                  <a:pt x="884" y="176"/>
                </a:cubicBezTo>
                <a:cubicBezTo>
                  <a:pt x="884" y="176"/>
                  <a:pt x="884" y="176"/>
                  <a:pt x="885" y="176"/>
                </a:cubicBezTo>
                <a:close/>
                <a:moveTo>
                  <a:pt x="793" y="229"/>
                </a:moveTo>
                <a:cubicBezTo>
                  <a:pt x="793" y="229"/>
                  <a:pt x="793" y="229"/>
                  <a:pt x="792" y="231"/>
                </a:cubicBezTo>
                <a:cubicBezTo>
                  <a:pt x="792" y="231"/>
                  <a:pt x="792" y="231"/>
                  <a:pt x="792" y="232"/>
                </a:cubicBezTo>
                <a:cubicBezTo>
                  <a:pt x="792" y="232"/>
                  <a:pt x="792" y="232"/>
                  <a:pt x="792" y="234"/>
                </a:cubicBezTo>
                <a:cubicBezTo>
                  <a:pt x="792" y="234"/>
                  <a:pt x="792" y="234"/>
                  <a:pt x="793" y="234"/>
                </a:cubicBezTo>
                <a:cubicBezTo>
                  <a:pt x="793" y="234"/>
                  <a:pt x="793" y="234"/>
                  <a:pt x="793" y="233"/>
                </a:cubicBezTo>
                <a:cubicBezTo>
                  <a:pt x="793" y="233"/>
                  <a:pt x="793" y="233"/>
                  <a:pt x="794" y="233"/>
                </a:cubicBezTo>
                <a:cubicBezTo>
                  <a:pt x="794" y="233"/>
                  <a:pt x="794" y="233"/>
                  <a:pt x="794" y="232"/>
                </a:cubicBezTo>
                <a:cubicBezTo>
                  <a:pt x="794" y="232"/>
                  <a:pt x="794" y="232"/>
                  <a:pt x="794" y="231"/>
                </a:cubicBezTo>
                <a:cubicBezTo>
                  <a:pt x="794" y="231"/>
                  <a:pt x="794" y="231"/>
                  <a:pt x="793" y="231"/>
                </a:cubicBezTo>
                <a:cubicBezTo>
                  <a:pt x="793" y="231"/>
                  <a:pt x="793" y="231"/>
                  <a:pt x="794" y="230"/>
                </a:cubicBezTo>
                <a:cubicBezTo>
                  <a:pt x="794" y="230"/>
                  <a:pt x="794" y="230"/>
                  <a:pt x="793" y="229"/>
                </a:cubicBezTo>
                <a:close/>
                <a:moveTo>
                  <a:pt x="791" y="222"/>
                </a:moveTo>
                <a:cubicBezTo>
                  <a:pt x="791" y="223"/>
                  <a:pt x="791" y="223"/>
                  <a:pt x="791" y="223"/>
                </a:cubicBezTo>
                <a:cubicBezTo>
                  <a:pt x="792" y="224"/>
                  <a:pt x="792" y="224"/>
                  <a:pt x="792" y="224"/>
                </a:cubicBezTo>
                <a:cubicBezTo>
                  <a:pt x="791" y="222"/>
                  <a:pt x="791" y="222"/>
                  <a:pt x="791" y="222"/>
                </a:cubicBezTo>
                <a:close/>
                <a:moveTo>
                  <a:pt x="832" y="219"/>
                </a:moveTo>
                <a:cubicBezTo>
                  <a:pt x="831" y="219"/>
                  <a:pt x="831" y="219"/>
                  <a:pt x="831" y="219"/>
                </a:cubicBezTo>
                <a:cubicBezTo>
                  <a:pt x="832" y="221"/>
                  <a:pt x="832" y="221"/>
                  <a:pt x="832" y="221"/>
                </a:cubicBezTo>
                <a:cubicBezTo>
                  <a:pt x="833" y="220"/>
                  <a:pt x="833" y="220"/>
                  <a:pt x="833" y="220"/>
                </a:cubicBezTo>
                <a:cubicBezTo>
                  <a:pt x="833" y="219"/>
                  <a:pt x="833" y="219"/>
                  <a:pt x="833" y="219"/>
                </a:cubicBezTo>
                <a:cubicBezTo>
                  <a:pt x="834" y="218"/>
                  <a:pt x="834" y="218"/>
                  <a:pt x="834" y="218"/>
                </a:cubicBezTo>
                <a:cubicBezTo>
                  <a:pt x="833" y="218"/>
                  <a:pt x="833" y="218"/>
                  <a:pt x="833" y="218"/>
                </a:cubicBezTo>
                <a:cubicBezTo>
                  <a:pt x="832" y="219"/>
                  <a:pt x="832" y="219"/>
                  <a:pt x="832" y="219"/>
                </a:cubicBezTo>
                <a:close/>
                <a:moveTo>
                  <a:pt x="795" y="216"/>
                </a:moveTo>
                <a:cubicBezTo>
                  <a:pt x="795" y="216"/>
                  <a:pt x="795" y="216"/>
                  <a:pt x="794" y="217"/>
                </a:cubicBezTo>
                <a:cubicBezTo>
                  <a:pt x="795" y="217"/>
                  <a:pt x="795" y="217"/>
                  <a:pt x="795" y="217"/>
                </a:cubicBezTo>
                <a:cubicBezTo>
                  <a:pt x="795" y="217"/>
                  <a:pt x="795" y="217"/>
                  <a:pt x="796" y="216"/>
                </a:cubicBezTo>
                <a:cubicBezTo>
                  <a:pt x="796" y="216"/>
                  <a:pt x="796" y="216"/>
                  <a:pt x="795" y="216"/>
                </a:cubicBezTo>
                <a:close/>
                <a:moveTo>
                  <a:pt x="795" y="226"/>
                </a:moveTo>
                <a:cubicBezTo>
                  <a:pt x="794" y="227"/>
                  <a:pt x="794" y="227"/>
                  <a:pt x="794" y="227"/>
                </a:cubicBezTo>
                <a:cubicBezTo>
                  <a:pt x="794" y="228"/>
                  <a:pt x="794" y="228"/>
                  <a:pt x="794" y="228"/>
                </a:cubicBezTo>
                <a:cubicBezTo>
                  <a:pt x="795" y="228"/>
                  <a:pt x="795" y="228"/>
                  <a:pt x="795" y="228"/>
                </a:cubicBezTo>
                <a:cubicBezTo>
                  <a:pt x="796" y="227"/>
                  <a:pt x="796" y="227"/>
                  <a:pt x="796" y="227"/>
                </a:cubicBezTo>
                <a:cubicBezTo>
                  <a:pt x="795" y="227"/>
                  <a:pt x="795" y="227"/>
                  <a:pt x="795" y="227"/>
                </a:cubicBezTo>
                <a:cubicBezTo>
                  <a:pt x="796" y="226"/>
                  <a:pt x="796" y="226"/>
                  <a:pt x="796" y="226"/>
                </a:cubicBezTo>
                <a:cubicBezTo>
                  <a:pt x="795" y="226"/>
                  <a:pt x="795" y="226"/>
                  <a:pt x="795" y="226"/>
                </a:cubicBezTo>
                <a:close/>
                <a:moveTo>
                  <a:pt x="791" y="218"/>
                </a:moveTo>
                <a:cubicBezTo>
                  <a:pt x="790" y="218"/>
                  <a:pt x="790" y="218"/>
                  <a:pt x="790" y="218"/>
                </a:cubicBezTo>
                <a:cubicBezTo>
                  <a:pt x="790" y="219"/>
                  <a:pt x="790" y="219"/>
                  <a:pt x="790" y="219"/>
                </a:cubicBezTo>
                <a:cubicBezTo>
                  <a:pt x="791" y="219"/>
                  <a:pt x="791" y="219"/>
                  <a:pt x="791" y="219"/>
                </a:cubicBezTo>
                <a:cubicBezTo>
                  <a:pt x="791" y="218"/>
                  <a:pt x="791" y="218"/>
                  <a:pt x="791" y="218"/>
                </a:cubicBezTo>
                <a:close/>
                <a:moveTo>
                  <a:pt x="859" y="142"/>
                </a:moveTo>
                <a:cubicBezTo>
                  <a:pt x="859" y="142"/>
                  <a:pt x="859" y="142"/>
                  <a:pt x="858" y="141"/>
                </a:cubicBezTo>
                <a:cubicBezTo>
                  <a:pt x="858" y="141"/>
                  <a:pt x="858" y="141"/>
                  <a:pt x="857" y="141"/>
                </a:cubicBezTo>
                <a:cubicBezTo>
                  <a:pt x="857" y="141"/>
                  <a:pt x="857" y="141"/>
                  <a:pt x="856" y="141"/>
                </a:cubicBezTo>
                <a:cubicBezTo>
                  <a:pt x="856" y="141"/>
                  <a:pt x="856" y="141"/>
                  <a:pt x="855" y="140"/>
                </a:cubicBezTo>
                <a:cubicBezTo>
                  <a:pt x="855" y="140"/>
                  <a:pt x="855" y="140"/>
                  <a:pt x="854" y="141"/>
                </a:cubicBezTo>
                <a:cubicBezTo>
                  <a:pt x="854" y="141"/>
                  <a:pt x="854" y="141"/>
                  <a:pt x="853" y="140"/>
                </a:cubicBezTo>
                <a:cubicBezTo>
                  <a:pt x="853" y="140"/>
                  <a:pt x="853" y="140"/>
                  <a:pt x="852" y="139"/>
                </a:cubicBezTo>
                <a:cubicBezTo>
                  <a:pt x="852" y="139"/>
                  <a:pt x="852" y="139"/>
                  <a:pt x="850" y="139"/>
                </a:cubicBezTo>
                <a:cubicBezTo>
                  <a:pt x="850" y="139"/>
                  <a:pt x="850" y="139"/>
                  <a:pt x="849" y="140"/>
                </a:cubicBezTo>
                <a:cubicBezTo>
                  <a:pt x="849" y="140"/>
                  <a:pt x="849" y="140"/>
                  <a:pt x="848" y="141"/>
                </a:cubicBezTo>
                <a:cubicBezTo>
                  <a:pt x="848" y="141"/>
                  <a:pt x="848" y="141"/>
                  <a:pt x="846" y="142"/>
                </a:cubicBezTo>
                <a:cubicBezTo>
                  <a:pt x="846" y="142"/>
                  <a:pt x="846" y="142"/>
                  <a:pt x="846" y="143"/>
                </a:cubicBezTo>
                <a:cubicBezTo>
                  <a:pt x="846" y="143"/>
                  <a:pt x="846" y="143"/>
                  <a:pt x="847" y="144"/>
                </a:cubicBezTo>
                <a:cubicBezTo>
                  <a:pt x="847" y="144"/>
                  <a:pt x="847" y="144"/>
                  <a:pt x="848" y="145"/>
                </a:cubicBezTo>
                <a:cubicBezTo>
                  <a:pt x="848" y="145"/>
                  <a:pt x="848" y="145"/>
                  <a:pt x="848" y="147"/>
                </a:cubicBezTo>
                <a:cubicBezTo>
                  <a:pt x="848" y="147"/>
                  <a:pt x="848" y="147"/>
                  <a:pt x="848" y="148"/>
                </a:cubicBezTo>
                <a:cubicBezTo>
                  <a:pt x="848" y="148"/>
                  <a:pt x="848" y="148"/>
                  <a:pt x="848" y="149"/>
                </a:cubicBezTo>
                <a:cubicBezTo>
                  <a:pt x="848" y="149"/>
                  <a:pt x="848" y="149"/>
                  <a:pt x="848" y="150"/>
                </a:cubicBezTo>
                <a:cubicBezTo>
                  <a:pt x="848" y="150"/>
                  <a:pt x="848" y="150"/>
                  <a:pt x="849" y="151"/>
                </a:cubicBezTo>
                <a:cubicBezTo>
                  <a:pt x="849" y="151"/>
                  <a:pt x="849" y="151"/>
                  <a:pt x="849" y="154"/>
                </a:cubicBezTo>
                <a:cubicBezTo>
                  <a:pt x="849" y="154"/>
                  <a:pt x="849" y="154"/>
                  <a:pt x="850" y="155"/>
                </a:cubicBezTo>
                <a:cubicBezTo>
                  <a:pt x="850" y="155"/>
                  <a:pt x="850" y="155"/>
                  <a:pt x="850" y="154"/>
                </a:cubicBezTo>
                <a:cubicBezTo>
                  <a:pt x="850" y="154"/>
                  <a:pt x="850" y="154"/>
                  <a:pt x="851" y="153"/>
                </a:cubicBezTo>
                <a:cubicBezTo>
                  <a:pt x="851" y="153"/>
                  <a:pt x="851" y="153"/>
                  <a:pt x="852" y="153"/>
                </a:cubicBezTo>
                <a:cubicBezTo>
                  <a:pt x="852" y="153"/>
                  <a:pt x="852" y="153"/>
                  <a:pt x="854" y="151"/>
                </a:cubicBezTo>
                <a:cubicBezTo>
                  <a:pt x="854" y="151"/>
                  <a:pt x="854" y="151"/>
                  <a:pt x="855" y="150"/>
                </a:cubicBezTo>
                <a:cubicBezTo>
                  <a:pt x="855" y="150"/>
                  <a:pt x="855" y="150"/>
                  <a:pt x="857" y="149"/>
                </a:cubicBezTo>
                <a:cubicBezTo>
                  <a:pt x="857" y="149"/>
                  <a:pt x="857" y="149"/>
                  <a:pt x="858" y="149"/>
                </a:cubicBezTo>
                <a:cubicBezTo>
                  <a:pt x="858" y="149"/>
                  <a:pt x="858" y="149"/>
                  <a:pt x="859" y="147"/>
                </a:cubicBezTo>
                <a:cubicBezTo>
                  <a:pt x="859" y="147"/>
                  <a:pt x="859" y="147"/>
                  <a:pt x="859" y="146"/>
                </a:cubicBezTo>
                <a:cubicBezTo>
                  <a:pt x="859" y="146"/>
                  <a:pt x="859" y="146"/>
                  <a:pt x="860" y="146"/>
                </a:cubicBezTo>
                <a:cubicBezTo>
                  <a:pt x="860" y="146"/>
                  <a:pt x="860" y="146"/>
                  <a:pt x="860" y="145"/>
                </a:cubicBezTo>
                <a:cubicBezTo>
                  <a:pt x="860" y="145"/>
                  <a:pt x="860" y="145"/>
                  <a:pt x="859" y="144"/>
                </a:cubicBezTo>
                <a:cubicBezTo>
                  <a:pt x="859" y="144"/>
                  <a:pt x="859" y="144"/>
                  <a:pt x="859" y="143"/>
                </a:cubicBezTo>
                <a:cubicBezTo>
                  <a:pt x="859" y="143"/>
                  <a:pt x="859" y="143"/>
                  <a:pt x="859" y="142"/>
                </a:cubicBezTo>
                <a:close/>
                <a:moveTo>
                  <a:pt x="807" y="86"/>
                </a:moveTo>
                <a:cubicBezTo>
                  <a:pt x="807" y="86"/>
                  <a:pt x="807" y="86"/>
                  <a:pt x="808" y="85"/>
                </a:cubicBezTo>
                <a:cubicBezTo>
                  <a:pt x="808" y="85"/>
                  <a:pt x="808" y="85"/>
                  <a:pt x="808" y="84"/>
                </a:cubicBezTo>
                <a:cubicBezTo>
                  <a:pt x="808" y="84"/>
                  <a:pt x="808" y="84"/>
                  <a:pt x="807" y="85"/>
                </a:cubicBezTo>
                <a:lnTo>
                  <a:pt x="807" y="86"/>
                </a:lnTo>
                <a:close/>
                <a:moveTo>
                  <a:pt x="844" y="140"/>
                </a:moveTo>
                <a:cubicBezTo>
                  <a:pt x="844" y="139"/>
                  <a:pt x="844" y="139"/>
                  <a:pt x="844" y="139"/>
                </a:cubicBezTo>
                <a:cubicBezTo>
                  <a:pt x="842" y="139"/>
                  <a:pt x="842" y="139"/>
                  <a:pt x="842" y="139"/>
                </a:cubicBezTo>
                <a:cubicBezTo>
                  <a:pt x="842" y="140"/>
                  <a:pt x="842" y="140"/>
                  <a:pt x="842" y="140"/>
                </a:cubicBezTo>
                <a:cubicBezTo>
                  <a:pt x="843" y="140"/>
                  <a:pt x="843" y="140"/>
                  <a:pt x="843" y="140"/>
                </a:cubicBezTo>
                <a:cubicBezTo>
                  <a:pt x="844" y="140"/>
                  <a:pt x="844" y="140"/>
                  <a:pt x="844" y="140"/>
                </a:cubicBezTo>
                <a:close/>
                <a:moveTo>
                  <a:pt x="814" y="95"/>
                </a:moveTo>
                <a:cubicBezTo>
                  <a:pt x="814" y="95"/>
                  <a:pt x="814" y="95"/>
                  <a:pt x="815" y="94"/>
                </a:cubicBezTo>
                <a:cubicBezTo>
                  <a:pt x="815" y="94"/>
                  <a:pt x="815" y="94"/>
                  <a:pt x="816" y="94"/>
                </a:cubicBezTo>
                <a:cubicBezTo>
                  <a:pt x="816" y="94"/>
                  <a:pt x="816" y="94"/>
                  <a:pt x="817" y="94"/>
                </a:cubicBezTo>
                <a:cubicBezTo>
                  <a:pt x="817" y="94"/>
                  <a:pt x="817" y="94"/>
                  <a:pt x="818" y="92"/>
                </a:cubicBezTo>
                <a:cubicBezTo>
                  <a:pt x="818" y="92"/>
                  <a:pt x="818" y="92"/>
                  <a:pt x="822" y="89"/>
                </a:cubicBezTo>
                <a:cubicBezTo>
                  <a:pt x="822" y="89"/>
                  <a:pt x="822" y="89"/>
                  <a:pt x="824" y="88"/>
                </a:cubicBezTo>
                <a:cubicBezTo>
                  <a:pt x="824" y="88"/>
                  <a:pt x="824" y="88"/>
                  <a:pt x="825" y="87"/>
                </a:cubicBezTo>
                <a:cubicBezTo>
                  <a:pt x="825" y="87"/>
                  <a:pt x="825" y="87"/>
                  <a:pt x="826" y="86"/>
                </a:cubicBezTo>
                <a:cubicBezTo>
                  <a:pt x="826" y="86"/>
                  <a:pt x="826" y="86"/>
                  <a:pt x="825" y="86"/>
                </a:cubicBezTo>
                <a:cubicBezTo>
                  <a:pt x="825" y="86"/>
                  <a:pt x="825" y="86"/>
                  <a:pt x="823" y="86"/>
                </a:cubicBezTo>
                <a:cubicBezTo>
                  <a:pt x="823" y="86"/>
                  <a:pt x="823" y="86"/>
                  <a:pt x="822" y="87"/>
                </a:cubicBezTo>
                <a:cubicBezTo>
                  <a:pt x="822" y="87"/>
                  <a:pt x="822" y="87"/>
                  <a:pt x="820" y="87"/>
                </a:cubicBezTo>
                <a:cubicBezTo>
                  <a:pt x="820" y="87"/>
                  <a:pt x="820" y="87"/>
                  <a:pt x="818" y="88"/>
                </a:cubicBezTo>
                <a:cubicBezTo>
                  <a:pt x="818" y="88"/>
                  <a:pt x="818" y="88"/>
                  <a:pt x="817" y="88"/>
                </a:cubicBezTo>
                <a:cubicBezTo>
                  <a:pt x="817" y="88"/>
                  <a:pt x="817" y="88"/>
                  <a:pt x="816" y="89"/>
                </a:cubicBezTo>
                <a:cubicBezTo>
                  <a:pt x="816" y="89"/>
                  <a:pt x="816" y="89"/>
                  <a:pt x="815" y="90"/>
                </a:cubicBezTo>
                <a:cubicBezTo>
                  <a:pt x="815" y="90"/>
                  <a:pt x="815" y="90"/>
                  <a:pt x="812" y="92"/>
                </a:cubicBezTo>
                <a:cubicBezTo>
                  <a:pt x="812" y="92"/>
                  <a:pt x="812" y="92"/>
                  <a:pt x="811" y="93"/>
                </a:cubicBezTo>
                <a:cubicBezTo>
                  <a:pt x="811" y="93"/>
                  <a:pt x="811" y="93"/>
                  <a:pt x="812" y="93"/>
                </a:cubicBezTo>
                <a:cubicBezTo>
                  <a:pt x="812" y="93"/>
                  <a:pt x="812" y="93"/>
                  <a:pt x="813" y="93"/>
                </a:cubicBezTo>
                <a:cubicBezTo>
                  <a:pt x="813" y="93"/>
                  <a:pt x="813" y="93"/>
                  <a:pt x="813" y="94"/>
                </a:cubicBezTo>
                <a:cubicBezTo>
                  <a:pt x="813" y="94"/>
                  <a:pt x="813" y="94"/>
                  <a:pt x="814" y="95"/>
                </a:cubicBezTo>
                <a:close/>
                <a:moveTo>
                  <a:pt x="848" y="203"/>
                </a:moveTo>
                <a:cubicBezTo>
                  <a:pt x="849" y="202"/>
                  <a:pt x="849" y="202"/>
                  <a:pt x="849" y="202"/>
                </a:cubicBezTo>
                <a:cubicBezTo>
                  <a:pt x="848" y="201"/>
                  <a:pt x="848" y="201"/>
                  <a:pt x="848" y="201"/>
                </a:cubicBezTo>
                <a:cubicBezTo>
                  <a:pt x="849" y="200"/>
                  <a:pt x="849" y="200"/>
                  <a:pt x="849" y="200"/>
                </a:cubicBezTo>
                <a:cubicBezTo>
                  <a:pt x="849" y="199"/>
                  <a:pt x="849" y="199"/>
                  <a:pt x="849" y="199"/>
                </a:cubicBezTo>
                <a:cubicBezTo>
                  <a:pt x="848" y="200"/>
                  <a:pt x="848" y="200"/>
                  <a:pt x="848" y="200"/>
                </a:cubicBezTo>
                <a:cubicBezTo>
                  <a:pt x="847" y="199"/>
                  <a:pt x="847" y="199"/>
                  <a:pt x="847" y="199"/>
                </a:cubicBezTo>
                <a:cubicBezTo>
                  <a:pt x="846" y="200"/>
                  <a:pt x="846" y="200"/>
                  <a:pt x="846" y="200"/>
                </a:cubicBezTo>
                <a:cubicBezTo>
                  <a:pt x="846" y="198"/>
                  <a:pt x="846" y="198"/>
                  <a:pt x="846" y="198"/>
                </a:cubicBezTo>
                <a:cubicBezTo>
                  <a:pt x="847" y="198"/>
                  <a:pt x="847" y="198"/>
                  <a:pt x="847" y="198"/>
                </a:cubicBezTo>
                <a:cubicBezTo>
                  <a:pt x="847" y="197"/>
                  <a:pt x="847" y="197"/>
                  <a:pt x="847" y="197"/>
                </a:cubicBezTo>
                <a:cubicBezTo>
                  <a:pt x="845" y="198"/>
                  <a:pt x="845" y="198"/>
                  <a:pt x="845" y="198"/>
                </a:cubicBezTo>
                <a:cubicBezTo>
                  <a:pt x="845" y="197"/>
                  <a:pt x="845" y="197"/>
                  <a:pt x="845" y="197"/>
                </a:cubicBezTo>
                <a:cubicBezTo>
                  <a:pt x="844" y="196"/>
                  <a:pt x="844" y="196"/>
                  <a:pt x="844" y="196"/>
                </a:cubicBezTo>
                <a:cubicBezTo>
                  <a:pt x="844" y="195"/>
                  <a:pt x="844" y="195"/>
                  <a:pt x="844" y="195"/>
                </a:cubicBezTo>
                <a:cubicBezTo>
                  <a:pt x="843" y="193"/>
                  <a:pt x="843" y="193"/>
                  <a:pt x="843" y="193"/>
                </a:cubicBezTo>
                <a:cubicBezTo>
                  <a:pt x="843" y="192"/>
                  <a:pt x="843" y="192"/>
                  <a:pt x="843" y="192"/>
                </a:cubicBezTo>
                <a:cubicBezTo>
                  <a:pt x="844" y="190"/>
                  <a:pt x="844" y="190"/>
                  <a:pt x="844" y="190"/>
                </a:cubicBezTo>
                <a:cubicBezTo>
                  <a:pt x="843" y="189"/>
                  <a:pt x="843" y="189"/>
                  <a:pt x="843" y="189"/>
                </a:cubicBezTo>
                <a:cubicBezTo>
                  <a:pt x="842" y="190"/>
                  <a:pt x="842" y="190"/>
                  <a:pt x="842" y="190"/>
                </a:cubicBezTo>
                <a:cubicBezTo>
                  <a:pt x="840" y="189"/>
                  <a:pt x="840" y="189"/>
                  <a:pt x="840" y="189"/>
                </a:cubicBezTo>
                <a:cubicBezTo>
                  <a:pt x="840" y="187"/>
                  <a:pt x="840" y="187"/>
                  <a:pt x="840" y="187"/>
                </a:cubicBezTo>
                <a:cubicBezTo>
                  <a:pt x="839" y="186"/>
                  <a:pt x="839" y="186"/>
                  <a:pt x="839" y="186"/>
                </a:cubicBezTo>
                <a:cubicBezTo>
                  <a:pt x="839" y="184"/>
                  <a:pt x="839" y="184"/>
                  <a:pt x="839" y="184"/>
                </a:cubicBezTo>
                <a:cubicBezTo>
                  <a:pt x="838" y="183"/>
                  <a:pt x="838" y="183"/>
                  <a:pt x="838" y="183"/>
                </a:cubicBezTo>
                <a:cubicBezTo>
                  <a:pt x="838" y="182"/>
                  <a:pt x="838" y="182"/>
                  <a:pt x="838" y="182"/>
                </a:cubicBezTo>
                <a:cubicBezTo>
                  <a:pt x="838" y="181"/>
                  <a:pt x="838" y="181"/>
                  <a:pt x="838" y="181"/>
                </a:cubicBezTo>
                <a:cubicBezTo>
                  <a:pt x="838" y="180"/>
                  <a:pt x="838" y="180"/>
                  <a:pt x="838" y="180"/>
                </a:cubicBezTo>
                <a:cubicBezTo>
                  <a:pt x="839" y="180"/>
                  <a:pt x="839" y="180"/>
                  <a:pt x="839" y="180"/>
                </a:cubicBezTo>
                <a:cubicBezTo>
                  <a:pt x="839" y="179"/>
                  <a:pt x="839" y="179"/>
                  <a:pt x="839" y="179"/>
                </a:cubicBezTo>
                <a:cubicBezTo>
                  <a:pt x="840" y="179"/>
                  <a:pt x="840" y="179"/>
                  <a:pt x="840" y="179"/>
                </a:cubicBezTo>
                <a:cubicBezTo>
                  <a:pt x="841" y="178"/>
                  <a:pt x="841" y="178"/>
                  <a:pt x="841" y="178"/>
                </a:cubicBezTo>
                <a:cubicBezTo>
                  <a:pt x="841" y="177"/>
                  <a:pt x="841" y="177"/>
                  <a:pt x="841" y="177"/>
                </a:cubicBezTo>
                <a:cubicBezTo>
                  <a:pt x="842" y="175"/>
                  <a:pt x="842" y="175"/>
                  <a:pt x="842" y="175"/>
                </a:cubicBezTo>
                <a:cubicBezTo>
                  <a:pt x="842" y="173"/>
                  <a:pt x="842" y="173"/>
                  <a:pt x="842" y="173"/>
                </a:cubicBezTo>
                <a:cubicBezTo>
                  <a:pt x="842" y="171"/>
                  <a:pt x="842" y="171"/>
                  <a:pt x="842" y="171"/>
                </a:cubicBezTo>
                <a:cubicBezTo>
                  <a:pt x="842" y="169"/>
                  <a:pt x="842" y="169"/>
                  <a:pt x="842" y="169"/>
                </a:cubicBezTo>
                <a:cubicBezTo>
                  <a:pt x="843" y="169"/>
                  <a:pt x="843" y="169"/>
                  <a:pt x="843" y="169"/>
                </a:cubicBezTo>
                <a:cubicBezTo>
                  <a:pt x="843" y="167"/>
                  <a:pt x="843" y="167"/>
                  <a:pt x="843" y="167"/>
                </a:cubicBezTo>
                <a:cubicBezTo>
                  <a:pt x="844" y="166"/>
                  <a:pt x="844" y="166"/>
                  <a:pt x="844" y="166"/>
                </a:cubicBezTo>
                <a:cubicBezTo>
                  <a:pt x="844" y="164"/>
                  <a:pt x="844" y="164"/>
                  <a:pt x="844" y="164"/>
                </a:cubicBezTo>
                <a:cubicBezTo>
                  <a:pt x="845" y="164"/>
                  <a:pt x="845" y="164"/>
                  <a:pt x="845" y="164"/>
                </a:cubicBezTo>
                <a:cubicBezTo>
                  <a:pt x="845" y="161"/>
                  <a:pt x="845" y="161"/>
                  <a:pt x="845" y="161"/>
                </a:cubicBezTo>
                <a:cubicBezTo>
                  <a:pt x="846" y="161"/>
                  <a:pt x="846" y="161"/>
                  <a:pt x="846" y="161"/>
                </a:cubicBezTo>
                <a:cubicBezTo>
                  <a:pt x="846" y="160"/>
                  <a:pt x="846" y="160"/>
                  <a:pt x="846" y="160"/>
                </a:cubicBezTo>
                <a:cubicBezTo>
                  <a:pt x="847" y="158"/>
                  <a:pt x="847" y="158"/>
                  <a:pt x="847" y="158"/>
                </a:cubicBezTo>
                <a:cubicBezTo>
                  <a:pt x="847" y="157"/>
                  <a:pt x="847" y="157"/>
                  <a:pt x="847" y="157"/>
                </a:cubicBezTo>
                <a:cubicBezTo>
                  <a:pt x="847" y="156"/>
                  <a:pt x="847" y="156"/>
                  <a:pt x="847" y="156"/>
                </a:cubicBezTo>
                <a:cubicBezTo>
                  <a:pt x="848" y="156"/>
                  <a:pt x="848" y="156"/>
                  <a:pt x="848" y="156"/>
                </a:cubicBezTo>
                <a:cubicBezTo>
                  <a:pt x="848" y="155"/>
                  <a:pt x="848" y="155"/>
                  <a:pt x="848" y="155"/>
                </a:cubicBezTo>
                <a:cubicBezTo>
                  <a:pt x="847" y="153"/>
                  <a:pt x="847" y="153"/>
                  <a:pt x="847" y="153"/>
                </a:cubicBezTo>
                <a:cubicBezTo>
                  <a:pt x="848" y="152"/>
                  <a:pt x="848" y="152"/>
                  <a:pt x="848" y="152"/>
                </a:cubicBezTo>
                <a:cubicBezTo>
                  <a:pt x="846" y="151"/>
                  <a:pt x="846" y="151"/>
                  <a:pt x="846" y="151"/>
                </a:cubicBezTo>
                <a:cubicBezTo>
                  <a:pt x="846" y="149"/>
                  <a:pt x="846" y="149"/>
                  <a:pt x="846" y="149"/>
                </a:cubicBezTo>
                <a:cubicBezTo>
                  <a:pt x="845" y="146"/>
                  <a:pt x="845" y="146"/>
                  <a:pt x="845" y="146"/>
                </a:cubicBezTo>
                <a:cubicBezTo>
                  <a:pt x="844" y="146"/>
                  <a:pt x="844" y="146"/>
                  <a:pt x="844" y="146"/>
                </a:cubicBezTo>
                <a:cubicBezTo>
                  <a:pt x="843" y="146"/>
                  <a:pt x="843" y="146"/>
                  <a:pt x="843" y="146"/>
                </a:cubicBezTo>
                <a:cubicBezTo>
                  <a:pt x="843" y="147"/>
                  <a:pt x="843" y="147"/>
                  <a:pt x="843" y="147"/>
                </a:cubicBezTo>
                <a:cubicBezTo>
                  <a:pt x="841" y="145"/>
                  <a:pt x="841" y="145"/>
                  <a:pt x="841" y="145"/>
                </a:cubicBezTo>
                <a:cubicBezTo>
                  <a:pt x="840" y="145"/>
                  <a:pt x="840" y="145"/>
                  <a:pt x="840" y="145"/>
                </a:cubicBezTo>
                <a:cubicBezTo>
                  <a:pt x="840" y="144"/>
                  <a:pt x="840" y="144"/>
                  <a:pt x="840" y="144"/>
                </a:cubicBezTo>
                <a:cubicBezTo>
                  <a:pt x="839" y="144"/>
                  <a:pt x="839" y="144"/>
                  <a:pt x="839" y="144"/>
                </a:cubicBezTo>
                <a:cubicBezTo>
                  <a:pt x="839" y="146"/>
                  <a:pt x="839" y="146"/>
                  <a:pt x="839" y="146"/>
                </a:cubicBezTo>
                <a:cubicBezTo>
                  <a:pt x="838" y="146"/>
                  <a:pt x="838" y="146"/>
                  <a:pt x="838" y="146"/>
                </a:cubicBezTo>
                <a:cubicBezTo>
                  <a:pt x="837" y="147"/>
                  <a:pt x="837" y="147"/>
                  <a:pt x="837" y="147"/>
                </a:cubicBezTo>
                <a:cubicBezTo>
                  <a:pt x="837" y="148"/>
                  <a:pt x="837" y="148"/>
                  <a:pt x="837" y="148"/>
                </a:cubicBezTo>
                <a:cubicBezTo>
                  <a:pt x="836" y="149"/>
                  <a:pt x="836" y="149"/>
                  <a:pt x="836" y="149"/>
                </a:cubicBezTo>
                <a:cubicBezTo>
                  <a:pt x="835" y="152"/>
                  <a:pt x="835" y="152"/>
                  <a:pt x="835" y="152"/>
                </a:cubicBezTo>
                <a:cubicBezTo>
                  <a:pt x="835" y="153"/>
                  <a:pt x="835" y="153"/>
                  <a:pt x="835" y="153"/>
                </a:cubicBezTo>
                <a:cubicBezTo>
                  <a:pt x="835" y="154"/>
                  <a:pt x="835" y="154"/>
                  <a:pt x="835" y="154"/>
                </a:cubicBezTo>
                <a:cubicBezTo>
                  <a:pt x="834" y="155"/>
                  <a:pt x="834" y="155"/>
                  <a:pt x="834" y="155"/>
                </a:cubicBezTo>
                <a:cubicBezTo>
                  <a:pt x="834" y="156"/>
                  <a:pt x="834" y="156"/>
                  <a:pt x="834" y="156"/>
                </a:cubicBezTo>
                <a:cubicBezTo>
                  <a:pt x="834" y="157"/>
                  <a:pt x="834" y="157"/>
                  <a:pt x="834" y="157"/>
                </a:cubicBezTo>
                <a:cubicBezTo>
                  <a:pt x="833" y="157"/>
                  <a:pt x="833" y="157"/>
                  <a:pt x="833" y="157"/>
                </a:cubicBezTo>
                <a:cubicBezTo>
                  <a:pt x="833" y="160"/>
                  <a:pt x="833" y="160"/>
                  <a:pt x="833" y="160"/>
                </a:cubicBezTo>
                <a:cubicBezTo>
                  <a:pt x="832" y="161"/>
                  <a:pt x="832" y="161"/>
                  <a:pt x="832" y="161"/>
                </a:cubicBezTo>
                <a:cubicBezTo>
                  <a:pt x="831" y="160"/>
                  <a:pt x="831" y="160"/>
                  <a:pt x="831" y="160"/>
                </a:cubicBezTo>
                <a:cubicBezTo>
                  <a:pt x="831" y="162"/>
                  <a:pt x="831" y="162"/>
                  <a:pt x="831" y="162"/>
                </a:cubicBezTo>
                <a:cubicBezTo>
                  <a:pt x="831" y="163"/>
                  <a:pt x="831" y="163"/>
                  <a:pt x="831" y="163"/>
                </a:cubicBezTo>
                <a:cubicBezTo>
                  <a:pt x="831" y="164"/>
                  <a:pt x="831" y="164"/>
                  <a:pt x="831" y="164"/>
                </a:cubicBezTo>
                <a:cubicBezTo>
                  <a:pt x="830" y="166"/>
                  <a:pt x="830" y="166"/>
                  <a:pt x="830" y="166"/>
                </a:cubicBezTo>
                <a:cubicBezTo>
                  <a:pt x="830" y="167"/>
                  <a:pt x="830" y="167"/>
                  <a:pt x="830" y="167"/>
                </a:cubicBezTo>
                <a:cubicBezTo>
                  <a:pt x="830" y="168"/>
                  <a:pt x="830" y="168"/>
                  <a:pt x="830" y="168"/>
                </a:cubicBezTo>
                <a:cubicBezTo>
                  <a:pt x="830" y="169"/>
                  <a:pt x="830" y="169"/>
                  <a:pt x="830" y="169"/>
                </a:cubicBezTo>
                <a:cubicBezTo>
                  <a:pt x="829" y="169"/>
                  <a:pt x="829" y="169"/>
                  <a:pt x="829" y="169"/>
                </a:cubicBezTo>
                <a:cubicBezTo>
                  <a:pt x="830" y="170"/>
                  <a:pt x="830" y="170"/>
                  <a:pt x="830" y="170"/>
                </a:cubicBezTo>
                <a:cubicBezTo>
                  <a:pt x="829" y="171"/>
                  <a:pt x="829" y="171"/>
                  <a:pt x="829" y="171"/>
                </a:cubicBezTo>
                <a:cubicBezTo>
                  <a:pt x="828" y="171"/>
                  <a:pt x="828" y="171"/>
                  <a:pt x="828" y="171"/>
                </a:cubicBezTo>
                <a:cubicBezTo>
                  <a:pt x="827" y="171"/>
                  <a:pt x="827" y="171"/>
                  <a:pt x="827" y="171"/>
                </a:cubicBezTo>
                <a:cubicBezTo>
                  <a:pt x="826" y="172"/>
                  <a:pt x="826" y="172"/>
                  <a:pt x="826" y="172"/>
                </a:cubicBezTo>
                <a:cubicBezTo>
                  <a:pt x="827" y="173"/>
                  <a:pt x="827" y="173"/>
                  <a:pt x="827" y="173"/>
                </a:cubicBezTo>
                <a:cubicBezTo>
                  <a:pt x="826" y="173"/>
                  <a:pt x="826" y="173"/>
                  <a:pt x="826" y="173"/>
                </a:cubicBezTo>
                <a:cubicBezTo>
                  <a:pt x="825" y="173"/>
                  <a:pt x="825" y="173"/>
                  <a:pt x="825" y="173"/>
                </a:cubicBezTo>
                <a:cubicBezTo>
                  <a:pt x="825" y="172"/>
                  <a:pt x="825" y="172"/>
                  <a:pt x="825" y="172"/>
                </a:cubicBezTo>
                <a:cubicBezTo>
                  <a:pt x="825" y="171"/>
                  <a:pt x="825" y="171"/>
                  <a:pt x="825" y="171"/>
                </a:cubicBezTo>
                <a:cubicBezTo>
                  <a:pt x="825" y="170"/>
                  <a:pt x="825" y="170"/>
                  <a:pt x="825" y="170"/>
                </a:cubicBezTo>
                <a:cubicBezTo>
                  <a:pt x="825" y="168"/>
                  <a:pt x="825" y="168"/>
                  <a:pt x="825" y="168"/>
                </a:cubicBezTo>
                <a:cubicBezTo>
                  <a:pt x="826" y="166"/>
                  <a:pt x="826" y="166"/>
                  <a:pt x="826" y="166"/>
                </a:cubicBezTo>
                <a:cubicBezTo>
                  <a:pt x="826" y="165"/>
                  <a:pt x="826" y="165"/>
                  <a:pt x="826" y="165"/>
                </a:cubicBezTo>
                <a:cubicBezTo>
                  <a:pt x="827" y="164"/>
                  <a:pt x="827" y="164"/>
                  <a:pt x="827" y="164"/>
                </a:cubicBezTo>
                <a:cubicBezTo>
                  <a:pt x="827" y="163"/>
                  <a:pt x="827" y="163"/>
                  <a:pt x="827" y="163"/>
                </a:cubicBezTo>
                <a:cubicBezTo>
                  <a:pt x="827" y="162"/>
                  <a:pt x="827" y="162"/>
                  <a:pt x="827" y="162"/>
                </a:cubicBezTo>
                <a:cubicBezTo>
                  <a:pt x="828" y="159"/>
                  <a:pt x="828" y="159"/>
                  <a:pt x="828" y="159"/>
                </a:cubicBezTo>
                <a:cubicBezTo>
                  <a:pt x="829" y="158"/>
                  <a:pt x="829" y="158"/>
                  <a:pt x="829" y="158"/>
                </a:cubicBezTo>
                <a:cubicBezTo>
                  <a:pt x="829" y="157"/>
                  <a:pt x="829" y="157"/>
                  <a:pt x="829" y="157"/>
                </a:cubicBezTo>
                <a:cubicBezTo>
                  <a:pt x="828" y="157"/>
                  <a:pt x="828" y="157"/>
                  <a:pt x="828" y="157"/>
                </a:cubicBezTo>
                <a:cubicBezTo>
                  <a:pt x="828" y="156"/>
                  <a:pt x="828" y="156"/>
                  <a:pt x="828" y="156"/>
                </a:cubicBezTo>
                <a:cubicBezTo>
                  <a:pt x="829" y="155"/>
                  <a:pt x="829" y="155"/>
                  <a:pt x="829" y="155"/>
                </a:cubicBezTo>
                <a:cubicBezTo>
                  <a:pt x="829" y="153"/>
                  <a:pt x="829" y="153"/>
                  <a:pt x="829" y="153"/>
                </a:cubicBezTo>
                <a:cubicBezTo>
                  <a:pt x="828" y="152"/>
                  <a:pt x="828" y="152"/>
                  <a:pt x="828" y="152"/>
                </a:cubicBezTo>
                <a:cubicBezTo>
                  <a:pt x="828" y="151"/>
                  <a:pt x="828" y="151"/>
                  <a:pt x="828" y="151"/>
                </a:cubicBezTo>
                <a:cubicBezTo>
                  <a:pt x="828" y="150"/>
                  <a:pt x="828" y="150"/>
                  <a:pt x="828" y="150"/>
                </a:cubicBezTo>
                <a:cubicBezTo>
                  <a:pt x="828" y="149"/>
                  <a:pt x="828" y="149"/>
                  <a:pt x="828" y="149"/>
                </a:cubicBezTo>
                <a:cubicBezTo>
                  <a:pt x="827" y="149"/>
                  <a:pt x="827" y="149"/>
                  <a:pt x="827" y="149"/>
                </a:cubicBezTo>
                <a:cubicBezTo>
                  <a:pt x="826" y="147"/>
                  <a:pt x="826" y="147"/>
                  <a:pt x="826" y="147"/>
                </a:cubicBezTo>
                <a:cubicBezTo>
                  <a:pt x="825" y="148"/>
                  <a:pt x="825" y="148"/>
                  <a:pt x="825" y="148"/>
                </a:cubicBezTo>
                <a:cubicBezTo>
                  <a:pt x="824" y="149"/>
                  <a:pt x="824" y="149"/>
                  <a:pt x="824" y="149"/>
                </a:cubicBezTo>
                <a:cubicBezTo>
                  <a:pt x="825" y="150"/>
                  <a:pt x="825" y="150"/>
                  <a:pt x="825" y="150"/>
                </a:cubicBezTo>
                <a:cubicBezTo>
                  <a:pt x="825" y="151"/>
                  <a:pt x="825" y="151"/>
                  <a:pt x="825" y="151"/>
                </a:cubicBezTo>
                <a:cubicBezTo>
                  <a:pt x="826" y="152"/>
                  <a:pt x="826" y="152"/>
                  <a:pt x="826" y="152"/>
                </a:cubicBezTo>
                <a:cubicBezTo>
                  <a:pt x="826" y="153"/>
                  <a:pt x="826" y="153"/>
                  <a:pt x="826" y="153"/>
                </a:cubicBezTo>
                <a:cubicBezTo>
                  <a:pt x="825" y="153"/>
                  <a:pt x="825" y="153"/>
                  <a:pt x="825" y="153"/>
                </a:cubicBezTo>
                <a:cubicBezTo>
                  <a:pt x="825" y="151"/>
                  <a:pt x="825" y="151"/>
                  <a:pt x="825" y="151"/>
                </a:cubicBezTo>
                <a:cubicBezTo>
                  <a:pt x="824" y="151"/>
                  <a:pt x="824" y="151"/>
                  <a:pt x="824" y="151"/>
                </a:cubicBezTo>
                <a:cubicBezTo>
                  <a:pt x="823" y="153"/>
                  <a:pt x="823" y="153"/>
                  <a:pt x="823" y="153"/>
                </a:cubicBezTo>
                <a:cubicBezTo>
                  <a:pt x="824" y="153"/>
                  <a:pt x="824" y="153"/>
                  <a:pt x="824" y="153"/>
                </a:cubicBezTo>
                <a:cubicBezTo>
                  <a:pt x="824" y="154"/>
                  <a:pt x="824" y="154"/>
                  <a:pt x="824" y="154"/>
                </a:cubicBezTo>
                <a:cubicBezTo>
                  <a:pt x="825" y="156"/>
                  <a:pt x="825" y="156"/>
                  <a:pt x="825" y="156"/>
                </a:cubicBezTo>
                <a:cubicBezTo>
                  <a:pt x="824" y="156"/>
                  <a:pt x="824" y="156"/>
                  <a:pt x="824" y="156"/>
                </a:cubicBezTo>
                <a:cubicBezTo>
                  <a:pt x="823" y="155"/>
                  <a:pt x="823" y="155"/>
                  <a:pt x="823" y="155"/>
                </a:cubicBezTo>
                <a:cubicBezTo>
                  <a:pt x="823" y="157"/>
                  <a:pt x="823" y="157"/>
                  <a:pt x="823" y="157"/>
                </a:cubicBezTo>
                <a:cubicBezTo>
                  <a:pt x="822" y="156"/>
                  <a:pt x="822" y="156"/>
                  <a:pt x="822" y="156"/>
                </a:cubicBezTo>
                <a:cubicBezTo>
                  <a:pt x="822" y="155"/>
                  <a:pt x="822" y="155"/>
                  <a:pt x="822" y="155"/>
                </a:cubicBezTo>
                <a:cubicBezTo>
                  <a:pt x="821" y="155"/>
                  <a:pt x="821" y="155"/>
                  <a:pt x="821" y="155"/>
                </a:cubicBezTo>
                <a:cubicBezTo>
                  <a:pt x="821" y="156"/>
                  <a:pt x="821" y="156"/>
                  <a:pt x="821" y="156"/>
                </a:cubicBezTo>
                <a:cubicBezTo>
                  <a:pt x="820" y="156"/>
                  <a:pt x="820" y="156"/>
                  <a:pt x="820" y="156"/>
                </a:cubicBezTo>
                <a:cubicBezTo>
                  <a:pt x="820" y="155"/>
                  <a:pt x="820" y="155"/>
                  <a:pt x="820" y="155"/>
                </a:cubicBezTo>
                <a:cubicBezTo>
                  <a:pt x="821" y="154"/>
                  <a:pt x="821" y="154"/>
                  <a:pt x="821" y="154"/>
                </a:cubicBezTo>
                <a:cubicBezTo>
                  <a:pt x="820" y="154"/>
                  <a:pt x="820" y="154"/>
                  <a:pt x="820" y="154"/>
                </a:cubicBezTo>
                <a:cubicBezTo>
                  <a:pt x="819" y="154"/>
                  <a:pt x="819" y="154"/>
                  <a:pt x="819" y="154"/>
                </a:cubicBezTo>
                <a:cubicBezTo>
                  <a:pt x="817" y="156"/>
                  <a:pt x="817" y="156"/>
                  <a:pt x="817" y="156"/>
                </a:cubicBezTo>
                <a:cubicBezTo>
                  <a:pt x="817" y="154"/>
                  <a:pt x="817" y="154"/>
                  <a:pt x="817" y="154"/>
                </a:cubicBezTo>
                <a:cubicBezTo>
                  <a:pt x="816" y="154"/>
                  <a:pt x="816" y="154"/>
                  <a:pt x="816" y="154"/>
                </a:cubicBezTo>
                <a:cubicBezTo>
                  <a:pt x="815" y="155"/>
                  <a:pt x="815" y="155"/>
                  <a:pt x="815" y="155"/>
                </a:cubicBezTo>
                <a:cubicBezTo>
                  <a:pt x="814" y="155"/>
                  <a:pt x="814" y="155"/>
                  <a:pt x="814" y="155"/>
                </a:cubicBezTo>
                <a:cubicBezTo>
                  <a:pt x="813" y="154"/>
                  <a:pt x="813" y="154"/>
                  <a:pt x="813" y="154"/>
                </a:cubicBezTo>
                <a:cubicBezTo>
                  <a:pt x="812" y="154"/>
                  <a:pt x="812" y="154"/>
                  <a:pt x="812" y="154"/>
                </a:cubicBezTo>
                <a:cubicBezTo>
                  <a:pt x="811" y="154"/>
                  <a:pt x="811" y="154"/>
                  <a:pt x="811" y="154"/>
                </a:cubicBezTo>
                <a:cubicBezTo>
                  <a:pt x="812" y="153"/>
                  <a:pt x="812" y="153"/>
                  <a:pt x="812" y="153"/>
                </a:cubicBezTo>
                <a:cubicBezTo>
                  <a:pt x="814" y="153"/>
                  <a:pt x="814" y="153"/>
                  <a:pt x="814" y="153"/>
                </a:cubicBezTo>
                <a:cubicBezTo>
                  <a:pt x="815" y="153"/>
                  <a:pt x="815" y="153"/>
                  <a:pt x="815" y="153"/>
                </a:cubicBezTo>
                <a:cubicBezTo>
                  <a:pt x="816" y="153"/>
                  <a:pt x="816" y="153"/>
                  <a:pt x="816" y="153"/>
                </a:cubicBezTo>
                <a:cubicBezTo>
                  <a:pt x="816" y="152"/>
                  <a:pt x="816" y="152"/>
                  <a:pt x="816" y="152"/>
                </a:cubicBezTo>
                <a:cubicBezTo>
                  <a:pt x="817" y="152"/>
                  <a:pt x="817" y="152"/>
                  <a:pt x="817" y="152"/>
                </a:cubicBezTo>
                <a:cubicBezTo>
                  <a:pt x="818" y="152"/>
                  <a:pt x="818" y="152"/>
                  <a:pt x="818" y="152"/>
                </a:cubicBezTo>
                <a:cubicBezTo>
                  <a:pt x="819" y="151"/>
                  <a:pt x="819" y="151"/>
                  <a:pt x="819" y="151"/>
                </a:cubicBezTo>
                <a:cubicBezTo>
                  <a:pt x="819" y="150"/>
                  <a:pt x="819" y="150"/>
                  <a:pt x="819" y="150"/>
                </a:cubicBezTo>
                <a:cubicBezTo>
                  <a:pt x="819" y="149"/>
                  <a:pt x="819" y="149"/>
                  <a:pt x="819" y="149"/>
                </a:cubicBezTo>
                <a:cubicBezTo>
                  <a:pt x="819" y="148"/>
                  <a:pt x="819" y="148"/>
                  <a:pt x="819" y="148"/>
                </a:cubicBezTo>
                <a:cubicBezTo>
                  <a:pt x="817" y="146"/>
                  <a:pt x="817" y="146"/>
                  <a:pt x="817" y="146"/>
                </a:cubicBezTo>
                <a:cubicBezTo>
                  <a:pt x="816" y="146"/>
                  <a:pt x="816" y="146"/>
                  <a:pt x="816" y="146"/>
                </a:cubicBezTo>
                <a:cubicBezTo>
                  <a:pt x="816" y="145"/>
                  <a:pt x="816" y="145"/>
                  <a:pt x="816" y="145"/>
                </a:cubicBezTo>
                <a:cubicBezTo>
                  <a:pt x="814" y="143"/>
                  <a:pt x="814" y="143"/>
                  <a:pt x="814" y="143"/>
                </a:cubicBezTo>
                <a:cubicBezTo>
                  <a:pt x="813" y="143"/>
                  <a:pt x="813" y="143"/>
                  <a:pt x="813" y="143"/>
                </a:cubicBezTo>
                <a:cubicBezTo>
                  <a:pt x="811" y="144"/>
                  <a:pt x="811" y="144"/>
                  <a:pt x="811" y="144"/>
                </a:cubicBezTo>
                <a:cubicBezTo>
                  <a:pt x="809" y="146"/>
                  <a:pt x="809" y="146"/>
                  <a:pt x="809" y="146"/>
                </a:cubicBezTo>
                <a:cubicBezTo>
                  <a:pt x="809" y="147"/>
                  <a:pt x="809" y="147"/>
                  <a:pt x="809" y="147"/>
                </a:cubicBezTo>
                <a:cubicBezTo>
                  <a:pt x="808" y="147"/>
                  <a:pt x="808" y="147"/>
                  <a:pt x="808" y="147"/>
                </a:cubicBezTo>
                <a:cubicBezTo>
                  <a:pt x="807" y="148"/>
                  <a:pt x="807" y="148"/>
                  <a:pt x="807" y="148"/>
                </a:cubicBezTo>
                <a:cubicBezTo>
                  <a:pt x="807" y="147"/>
                  <a:pt x="807" y="147"/>
                  <a:pt x="807" y="147"/>
                </a:cubicBezTo>
                <a:cubicBezTo>
                  <a:pt x="806" y="147"/>
                  <a:pt x="806" y="147"/>
                  <a:pt x="806" y="147"/>
                </a:cubicBezTo>
                <a:cubicBezTo>
                  <a:pt x="805" y="147"/>
                  <a:pt x="805" y="147"/>
                  <a:pt x="805" y="147"/>
                </a:cubicBezTo>
                <a:cubicBezTo>
                  <a:pt x="804" y="147"/>
                  <a:pt x="804" y="147"/>
                  <a:pt x="804" y="147"/>
                </a:cubicBezTo>
                <a:cubicBezTo>
                  <a:pt x="802" y="147"/>
                  <a:pt x="802" y="147"/>
                  <a:pt x="802" y="147"/>
                </a:cubicBezTo>
                <a:cubicBezTo>
                  <a:pt x="802" y="146"/>
                  <a:pt x="802" y="146"/>
                  <a:pt x="802" y="146"/>
                </a:cubicBezTo>
                <a:cubicBezTo>
                  <a:pt x="804" y="146"/>
                  <a:pt x="804" y="146"/>
                  <a:pt x="804" y="146"/>
                </a:cubicBezTo>
                <a:cubicBezTo>
                  <a:pt x="805" y="145"/>
                  <a:pt x="805" y="145"/>
                  <a:pt x="805" y="145"/>
                </a:cubicBezTo>
                <a:cubicBezTo>
                  <a:pt x="806" y="144"/>
                  <a:pt x="806" y="144"/>
                  <a:pt x="806" y="144"/>
                </a:cubicBezTo>
                <a:cubicBezTo>
                  <a:pt x="806" y="145"/>
                  <a:pt x="806" y="145"/>
                  <a:pt x="806" y="145"/>
                </a:cubicBezTo>
                <a:cubicBezTo>
                  <a:pt x="807" y="143"/>
                  <a:pt x="807" y="143"/>
                  <a:pt x="807" y="143"/>
                </a:cubicBezTo>
                <a:cubicBezTo>
                  <a:pt x="807" y="142"/>
                  <a:pt x="807" y="142"/>
                  <a:pt x="807" y="142"/>
                </a:cubicBezTo>
                <a:cubicBezTo>
                  <a:pt x="808" y="141"/>
                  <a:pt x="808" y="141"/>
                  <a:pt x="808" y="141"/>
                </a:cubicBezTo>
                <a:cubicBezTo>
                  <a:pt x="809" y="141"/>
                  <a:pt x="809" y="141"/>
                  <a:pt x="809" y="141"/>
                </a:cubicBezTo>
                <a:cubicBezTo>
                  <a:pt x="810" y="139"/>
                  <a:pt x="810" y="139"/>
                  <a:pt x="810" y="139"/>
                </a:cubicBezTo>
                <a:cubicBezTo>
                  <a:pt x="810" y="138"/>
                  <a:pt x="810" y="138"/>
                  <a:pt x="810" y="138"/>
                </a:cubicBezTo>
                <a:cubicBezTo>
                  <a:pt x="810" y="137"/>
                  <a:pt x="810" y="137"/>
                  <a:pt x="810" y="137"/>
                </a:cubicBezTo>
                <a:cubicBezTo>
                  <a:pt x="810" y="135"/>
                  <a:pt x="810" y="135"/>
                  <a:pt x="810" y="135"/>
                </a:cubicBezTo>
                <a:cubicBezTo>
                  <a:pt x="809" y="135"/>
                  <a:pt x="809" y="135"/>
                  <a:pt x="809" y="135"/>
                </a:cubicBezTo>
                <a:cubicBezTo>
                  <a:pt x="807" y="136"/>
                  <a:pt x="807" y="136"/>
                  <a:pt x="807" y="136"/>
                </a:cubicBezTo>
                <a:cubicBezTo>
                  <a:pt x="804" y="137"/>
                  <a:pt x="804" y="137"/>
                  <a:pt x="804" y="137"/>
                </a:cubicBezTo>
                <a:cubicBezTo>
                  <a:pt x="802" y="137"/>
                  <a:pt x="802" y="137"/>
                  <a:pt x="802" y="137"/>
                </a:cubicBezTo>
                <a:cubicBezTo>
                  <a:pt x="797" y="138"/>
                  <a:pt x="797" y="138"/>
                  <a:pt x="797" y="138"/>
                </a:cubicBezTo>
                <a:cubicBezTo>
                  <a:pt x="792" y="140"/>
                  <a:pt x="792" y="140"/>
                  <a:pt x="792" y="140"/>
                </a:cubicBezTo>
                <a:cubicBezTo>
                  <a:pt x="790" y="142"/>
                  <a:pt x="790" y="142"/>
                  <a:pt x="790" y="142"/>
                </a:cubicBezTo>
                <a:cubicBezTo>
                  <a:pt x="787" y="142"/>
                  <a:pt x="787" y="142"/>
                  <a:pt x="787" y="142"/>
                </a:cubicBezTo>
                <a:cubicBezTo>
                  <a:pt x="782" y="145"/>
                  <a:pt x="782" y="145"/>
                  <a:pt x="782" y="145"/>
                </a:cubicBezTo>
                <a:cubicBezTo>
                  <a:pt x="781" y="146"/>
                  <a:pt x="781" y="146"/>
                  <a:pt x="781" y="146"/>
                </a:cubicBezTo>
                <a:cubicBezTo>
                  <a:pt x="781" y="147"/>
                  <a:pt x="781" y="147"/>
                  <a:pt x="781" y="147"/>
                </a:cubicBezTo>
                <a:cubicBezTo>
                  <a:pt x="782" y="147"/>
                  <a:pt x="782" y="147"/>
                  <a:pt x="782" y="147"/>
                </a:cubicBezTo>
                <a:cubicBezTo>
                  <a:pt x="782" y="148"/>
                  <a:pt x="782" y="148"/>
                  <a:pt x="782" y="148"/>
                </a:cubicBezTo>
                <a:cubicBezTo>
                  <a:pt x="781" y="148"/>
                  <a:pt x="781" y="148"/>
                  <a:pt x="781" y="148"/>
                </a:cubicBezTo>
                <a:cubicBezTo>
                  <a:pt x="780" y="148"/>
                  <a:pt x="780" y="148"/>
                  <a:pt x="780" y="148"/>
                </a:cubicBezTo>
                <a:cubicBezTo>
                  <a:pt x="778" y="150"/>
                  <a:pt x="778" y="150"/>
                  <a:pt x="778" y="150"/>
                </a:cubicBezTo>
                <a:cubicBezTo>
                  <a:pt x="776" y="150"/>
                  <a:pt x="776" y="150"/>
                  <a:pt x="776" y="150"/>
                </a:cubicBezTo>
                <a:cubicBezTo>
                  <a:pt x="775" y="151"/>
                  <a:pt x="775" y="151"/>
                  <a:pt x="775" y="151"/>
                </a:cubicBezTo>
                <a:cubicBezTo>
                  <a:pt x="775" y="152"/>
                  <a:pt x="775" y="152"/>
                  <a:pt x="775" y="152"/>
                </a:cubicBezTo>
                <a:cubicBezTo>
                  <a:pt x="773" y="153"/>
                  <a:pt x="773" y="153"/>
                  <a:pt x="773" y="153"/>
                </a:cubicBezTo>
                <a:cubicBezTo>
                  <a:pt x="773" y="154"/>
                  <a:pt x="773" y="154"/>
                  <a:pt x="773" y="154"/>
                </a:cubicBezTo>
                <a:cubicBezTo>
                  <a:pt x="773" y="156"/>
                  <a:pt x="773" y="156"/>
                  <a:pt x="773" y="156"/>
                </a:cubicBezTo>
                <a:cubicBezTo>
                  <a:pt x="774" y="156"/>
                  <a:pt x="774" y="156"/>
                  <a:pt x="774" y="156"/>
                </a:cubicBezTo>
                <a:cubicBezTo>
                  <a:pt x="774" y="157"/>
                  <a:pt x="774" y="157"/>
                  <a:pt x="774" y="157"/>
                </a:cubicBezTo>
                <a:cubicBezTo>
                  <a:pt x="775" y="157"/>
                  <a:pt x="775" y="157"/>
                  <a:pt x="775" y="157"/>
                </a:cubicBezTo>
                <a:cubicBezTo>
                  <a:pt x="776" y="157"/>
                  <a:pt x="776" y="157"/>
                  <a:pt x="776" y="157"/>
                </a:cubicBezTo>
                <a:cubicBezTo>
                  <a:pt x="777" y="157"/>
                  <a:pt x="777" y="157"/>
                  <a:pt x="777" y="157"/>
                </a:cubicBezTo>
                <a:cubicBezTo>
                  <a:pt x="778" y="157"/>
                  <a:pt x="778" y="157"/>
                  <a:pt x="778" y="157"/>
                </a:cubicBezTo>
                <a:cubicBezTo>
                  <a:pt x="778" y="158"/>
                  <a:pt x="778" y="158"/>
                  <a:pt x="778" y="158"/>
                </a:cubicBezTo>
                <a:cubicBezTo>
                  <a:pt x="776" y="159"/>
                  <a:pt x="776" y="159"/>
                  <a:pt x="776" y="159"/>
                </a:cubicBezTo>
                <a:cubicBezTo>
                  <a:pt x="775" y="158"/>
                  <a:pt x="775" y="158"/>
                  <a:pt x="775" y="158"/>
                </a:cubicBezTo>
                <a:cubicBezTo>
                  <a:pt x="774" y="159"/>
                  <a:pt x="774" y="159"/>
                  <a:pt x="774" y="159"/>
                </a:cubicBezTo>
                <a:cubicBezTo>
                  <a:pt x="774" y="160"/>
                  <a:pt x="774" y="160"/>
                  <a:pt x="774" y="160"/>
                </a:cubicBezTo>
                <a:cubicBezTo>
                  <a:pt x="776" y="161"/>
                  <a:pt x="776" y="161"/>
                  <a:pt x="776" y="161"/>
                </a:cubicBezTo>
                <a:cubicBezTo>
                  <a:pt x="777" y="160"/>
                  <a:pt x="777" y="160"/>
                  <a:pt x="777" y="160"/>
                </a:cubicBezTo>
                <a:cubicBezTo>
                  <a:pt x="777" y="159"/>
                  <a:pt x="777" y="159"/>
                  <a:pt x="777" y="159"/>
                </a:cubicBezTo>
                <a:cubicBezTo>
                  <a:pt x="778" y="159"/>
                  <a:pt x="778" y="159"/>
                  <a:pt x="778" y="159"/>
                </a:cubicBezTo>
                <a:cubicBezTo>
                  <a:pt x="779" y="160"/>
                  <a:pt x="779" y="160"/>
                  <a:pt x="779" y="160"/>
                </a:cubicBezTo>
                <a:cubicBezTo>
                  <a:pt x="778" y="161"/>
                  <a:pt x="778" y="161"/>
                  <a:pt x="778" y="161"/>
                </a:cubicBezTo>
                <a:cubicBezTo>
                  <a:pt x="779" y="161"/>
                  <a:pt x="779" y="161"/>
                  <a:pt x="779" y="161"/>
                </a:cubicBezTo>
                <a:cubicBezTo>
                  <a:pt x="781" y="161"/>
                  <a:pt x="781" y="161"/>
                  <a:pt x="781" y="161"/>
                </a:cubicBezTo>
                <a:cubicBezTo>
                  <a:pt x="783" y="161"/>
                  <a:pt x="783" y="161"/>
                  <a:pt x="783" y="161"/>
                </a:cubicBezTo>
                <a:cubicBezTo>
                  <a:pt x="784" y="161"/>
                  <a:pt x="784" y="161"/>
                  <a:pt x="784" y="161"/>
                </a:cubicBezTo>
                <a:cubicBezTo>
                  <a:pt x="786" y="161"/>
                  <a:pt x="786" y="161"/>
                  <a:pt x="786" y="161"/>
                </a:cubicBezTo>
                <a:cubicBezTo>
                  <a:pt x="787" y="161"/>
                  <a:pt x="787" y="161"/>
                  <a:pt x="787" y="161"/>
                </a:cubicBezTo>
                <a:cubicBezTo>
                  <a:pt x="789" y="162"/>
                  <a:pt x="789" y="162"/>
                  <a:pt x="789" y="162"/>
                </a:cubicBezTo>
                <a:cubicBezTo>
                  <a:pt x="789" y="163"/>
                  <a:pt x="789" y="163"/>
                  <a:pt x="789" y="163"/>
                </a:cubicBezTo>
                <a:cubicBezTo>
                  <a:pt x="787" y="162"/>
                  <a:pt x="787" y="162"/>
                  <a:pt x="787" y="162"/>
                </a:cubicBezTo>
                <a:cubicBezTo>
                  <a:pt x="785" y="162"/>
                  <a:pt x="785" y="162"/>
                  <a:pt x="785" y="162"/>
                </a:cubicBezTo>
                <a:cubicBezTo>
                  <a:pt x="784" y="163"/>
                  <a:pt x="784" y="163"/>
                  <a:pt x="784" y="163"/>
                </a:cubicBezTo>
                <a:cubicBezTo>
                  <a:pt x="786" y="163"/>
                  <a:pt x="786" y="163"/>
                  <a:pt x="786" y="163"/>
                </a:cubicBezTo>
                <a:cubicBezTo>
                  <a:pt x="786" y="164"/>
                  <a:pt x="786" y="164"/>
                  <a:pt x="786" y="164"/>
                </a:cubicBezTo>
                <a:cubicBezTo>
                  <a:pt x="784" y="164"/>
                  <a:pt x="784" y="164"/>
                  <a:pt x="784" y="164"/>
                </a:cubicBezTo>
                <a:cubicBezTo>
                  <a:pt x="783" y="163"/>
                  <a:pt x="783" y="163"/>
                  <a:pt x="783" y="163"/>
                </a:cubicBezTo>
                <a:cubicBezTo>
                  <a:pt x="781" y="164"/>
                  <a:pt x="781" y="164"/>
                  <a:pt x="781" y="164"/>
                </a:cubicBezTo>
                <a:cubicBezTo>
                  <a:pt x="780" y="164"/>
                  <a:pt x="780" y="164"/>
                  <a:pt x="780" y="164"/>
                </a:cubicBezTo>
                <a:cubicBezTo>
                  <a:pt x="779" y="164"/>
                  <a:pt x="779" y="164"/>
                  <a:pt x="779" y="164"/>
                </a:cubicBezTo>
                <a:cubicBezTo>
                  <a:pt x="778" y="164"/>
                  <a:pt x="778" y="164"/>
                  <a:pt x="778" y="164"/>
                </a:cubicBezTo>
                <a:cubicBezTo>
                  <a:pt x="777" y="164"/>
                  <a:pt x="777" y="164"/>
                  <a:pt x="777" y="164"/>
                </a:cubicBezTo>
                <a:cubicBezTo>
                  <a:pt x="776" y="164"/>
                  <a:pt x="776" y="164"/>
                  <a:pt x="776" y="164"/>
                </a:cubicBezTo>
                <a:cubicBezTo>
                  <a:pt x="773" y="164"/>
                  <a:pt x="773" y="164"/>
                  <a:pt x="773" y="164"/>
                </a:cubicBezTo>
                <a:cubicBezTo>
                  <a:pt x="771" y="165"/>
                  <a:pt x="771" y="165"/>
                  <a:pt x="771" y="165"/>
                </a:cubicBezTo>
                <a:cubicBezTo>
                  <a:pt x="770" y="166"/>
                  <a:pt x="770" y="166"/>
                  <a:pt x="770" y="166"/>
                </a:cubicBezTo>
                <a:cubicBezTo>
                  <a:pt x="771" y="170"/>
                  <a:pt x="771" y="170"/>
                  <a:pt x="771" y="170"/>
                </a:cubicBezTo>
                <a:cubicBezTo>
                  <a:pt x="771" y="172"/>
                  <a:pt x="771" y="172"/>
                  <a:pt x="771" y="172"/>
                </a:cubicBezTo>
                <a:cubicBezTo>
                  <a:pt x="770" y="172"/>
                  <a:pt x="770" y="172"/>
                  <a:pt x="770" y="172"/>
                </a:cubicBezTo>
                <a:cubicBezTo>
                  <a:pt x="770" y="173"/>
                  <a:pt x="770" y="173"/>
                  <a:pt x="770" y="173"/>
                </a:cubicBezTo>
                <a:cubicBezTo>
                  <a:pt x="771" y="173"/>
                  <a:pt x="771" y="173"/>
                  <a:pt x="771" y="173"/>
                </a:cubicBezTo>
                <a:cubicBezTo>
                  <a:pt x="772" y="173"/>
                  <a:pt x="772" y="173"/>
                  <a:pt x="772" y="173"/>
                </a:cubicBezTo>
                <a:cubicBezTo>
                  <a:pt x="773" y="173"/>
                  <a:pt x="773" y="173"/>
                  <a:pt x="773" y="173"/>
                </a:cubicBezTo>
                <a:cubicBezTo>
                  <a:pt x="773" y="174"/>
                  <a:pt x="773" y="174"/>
                  <a:pt x="773" y="174"/>
                </a:cubicBezTo>
                <a:cubicBezTo>
                  <a:pt x="775" y="174"/>
                  <a:pt x="775" y="174"/>
                  <a:pt x="775" y="174"/>
                </a:cubicBezTo>
                <a:cubicBezTo>
                  <a:pt x="775" y="173"/>
                  <a:pt x="775" y="173"/>
                  <a:pt x="775" y="173"/>
                </a:cubicBezTo>
                <a:cubicBezTo>
                  <a:pt x="776" y="174"/>
                  <a:pt x="776" y="174"/>
                  <a:pt x="776" y="174"/>
                </a:cubicBezTo>
                <a:cubicBezTo>
                  <a:pt x="777" y="174"/>
                  <a:pt x="777" y="174"/>
                  <a:pt x="777" y="174"/>
                </a:cubicBezTo>
                <a:cubicBezTo>
                  <a:pt x="778" y="174"/>
                  <a:pt x="778" y="174"/>
                  <a:pt x="778" y="174"/>
                </a:cubicBezTo>
                <a:cubicBezTo>
                  <a:pt x="778" y="175"/>
                  <a:pt x="778" y="175"/>
                  <a:pt x="778" y="175"/>
                </a:cubicBezTo>
                <a:cubicBezTo>
                  <a:pt x="779" y="175"/>
                  <a:pt x="779" y="175"/>
                  <a:pt x="779" y="175"/>
                </a:cubicBezTo>
                <a:cubicBezTo>
                  <a:pt x="780" y="175"/>
                  <a:pt x="780" y="175"/>
                  <a:pt x="780" y="175"/>
                </a:cubicBezTo>
                <a:cubicBezTo>
                  <a:pt x="781" y="176"/>
                  <a:pt x="781" y="176"/>
                  <a:pt x="781" y="176"/>
                </a:cubicBezTo>
                <a:cubicBezTo>
                  <a:pt x="782" y="176"/>
                  <a:pt x="782" y="176"/>
                  <a:pt x="782" y="176"/>
                </a:cubicBezTo>
                <a:cubicBezTo>
                  <a:pt x="783" y="176"/>
                  <a:pt x="783" y="176"/>
                  <a:pt x="783" y="176"/>
                </a:cubicBezTo>
                <a:cubicBezTo>
                  <a:pt x="784" y="176"/>
                  <a:pt x="784" y="176"/>
                  <a:pt x="784" y="176"/>
                </a:cubicBezTo>
                <a:cubicBezTo>
                  <a:pt x="785" y="175"/>
                  <a:pt x="785" y="175"/>
                  <a:pt x="785" y="175"/>
                </a:cubicBezTo>
                <a:cubicBezTo>
                  <a:pt x="786" y="176"/>
                  <a:pt x="786" y="176"/>
                  <a:pt x="786" y="176"/>
                </a:cubicBezTo>
                <a:cubicBezTo>
                  <a:pt x="788" y="176"/>
                  <a:pt x="788" y="176"/>
                  <a:pt x="788" y="176"/>
                </a:cubicBezTo>
                <a:cubicBezTo>
                  <a:pt x="789" y="176"/>
                  <a:pt x="789" y="176"/>
                  <a:pt x="789" y="176"/>
                </a:cubicBezTo>
                <a:cubicBezTo>
                  <a:pt x="790" y="176"/>
                  <a:pt x="790" y="176"/>
                  <a:pt x="790" y="176"/>
                </a:cubicBezTo>
                <a:cubicBezTo>
                  <a:pt x="790" y="177"/>
                  <a:pt x="790" y="177"/>
                  <a:pt x="790" y="177"/>
                </a:cubicBezTo>
                <a:cubicBezTo>
                  <a:pt x="791" y="176"/>
                  <a:pt x="791" y="176"/>
                  <a:pt x="791" y="176"/>
                </a:cubicBezTo>
                <a:cubicBezTo>
                  <a:pt x="791" y="177"/>
                  <a:pt x="791" y="177"/>
                  <a:pt x="791" y="177"/>
                </a:cubicBezTo>
                <a:cubicBezTo>
                  <a:pt x="792" y="178"/>
                  <a:pt x="792" y="178"/>
                  <a:pt x="792" y="178"/>
                </a:cubicBezTo>
                <a:cubicBezTo>
                  <a:pt x="792" y="179"/>
                  <a:pt x="792" y="179"/>
                  <a:pt x="792" y="179"/>
                </a:cubicBezTo>
                <a:cubicBezTo>
                  <a:pt x="793" y="179"/>
                  <a:pt x="793" y="179"/>
                  <a:pt x="793" y="179"/>
                </a:cubicBezTo>
                <a:cubicBezTo>
                  <a:pt x="794" y="179"/>
                  <a:pt x="794" y="179"/>
                  <a:pt x="794" y="179"/>
                </a:cubicBezTo>
                <a:cubicBezTo>
                  <a:pt x="795" y="180"/>
                  <a:pt x="795" y="180"/>
                  <a:pt x="795" y="180"/>
                </a:cubicBezTo>
                <a:cubicBezTo>
                  <a:pt x="795" y="181"/>
                  <a:pt x="795" y="181"/>
                  <a:pt x="795" y="181"/>
                </a:cubicBezTo>
                <a:cubicBezTo>
                  <a:pt x="796" y="181"/>
                  <a:pt x="796" y="181"/>
                  <a:pt x="796" y="181"/>
                </a:cubicBezTo>
                <a:cubicBezTo>
                  <a:pt x="796" y="182"/>
                  <a:pt x="796" y="182"/>
                  <a:pt x="796" y="182"/>
                </a:cubicBezTo>
                <a:cubicBezTo>
                  <a:pt x="796" y="183"/>
                  <a:pt x="796" y="183"/>
                  <a:pt x="796" y="183"/>
                </a:cubicBezTo>
                <a:cubicBezTo>
                  <a:pt x="797" y="184"/>
                  <a:pt x="797" y="184"/>
                  <a:pt x="797" y="184"/>
                </a:cubicBezTo>
                <a:cubicBezTo>
                  <a:pt x="799" y="185"/>
                  <a:pt x="799" y="185"/>
                  <a:pt x="799" y="185"/>
                </a:cubicBezTo>
                <a:cubicBezTo>
                  <a:pt x="799" y="186"/>
                  <a:pt x="799" y="186"/>
                  <a:pt x="799" y="186"/>
                </a:cubicBezTo>
                <a:cubicBezTo>
                  <a:pt x="798" y="186"/>
                  <a:pt x="798" y="186"/>
                  <a:pt x="798" y="186"/>
                </a:cubicBezTo>
                <a:cubicBezTo>
                  <a:pt x="799" y="187"/>
                  <a:pt x="799" y="187"/>
                  <a:pt x="799" y="187"/>
                </a:cubicBezTo>
                <a:cubicBezTo>
                  <a:pt x="798" y="187"/>
                  <a:pt x="798" y="187"/>
                  <a:pt x="798" y="187"/>
                </a:cubicBezTo>
                <a:cubicBezTo>
                  <a:pt x="796" y="186"/>
                  <a:pt x="796" y="186"/>
                  <a:pt x="796" y="186"/>
                </a:cubicBezTo>
                <a:cubicBezTo>
                  <a:pt x="794" y="185"/>
                  <a:pt x="794" y="185"/>
                  <a:pt x="794" y="185"/>
                </a:cubicBezTo>
                <a:cubicBezTo>
                  <a:pt x="793" y="186"/>
                  <a:pt x="793" y="186"/>
                  <a:pt x="793" y="186"/>
                </a:cubicBezTo>
                <a:cubicBezTo>
                  <a:pt x="792" y="185"/>
                  <a:pt x="792" y="185"/>
                  <a:pt x="792" y="185"/>
                </a:cubicBezTo>
                <a:cubicBezTo>
                  <a:pt x="792" y="186"/>
                  <a:pt x="792" y="186"/>
                  <a:pt x="792" y="186"/>
                </a:cubicBezTo>
                <a:cubicBezTo>
                  <a:pt x="791" y="186"/>
                  <a:pt x="791" y="186"/>
                  <a:pt x="791" y="186"/>
                </a:cubicBezTo>
                <a:cubicBezTo>
                  <a:pt x="790" y="185"/>
                  <a:pt x="790" y="185"/>
                  <a:pt x="790" y="185"/>
                </a:cubicBezTo>
                <a:cubicBezTo>
                  <a:pt x="789" y="185"/>
                  <a:pt x="789" y="185"/>
                  <a:pt x="789" y="185"/>
                </a:cubicBezTo>
                <a:cubicBezTo>
                  <a:pt x="789" y="184"/>
                  <a:pt x="789" y="184"/>
                  <a:pt x="789" y="184"/>
                </a:cubicBezTo>
                <a:cubicBezTo>
                  <a:pt x="788" y="183"/>
                  <a:pt x="788" y="183"/>
                  <a:pt x="788" y="183"/>
                </a:cubicBezTo>
                <a:cubicBezTo>
                  <a:pt x="787" y="184"/>
                  <a:pt x="787" y="184"/>
                  <a:pt x="787" y="184"/>
                </a:cubicBezTo>
                <a:cubicBezTo>
                  <a:pt x="786" y="183"/>
                  <a:pt x="786" y="183"/>
                  <a:pt x="786" y="183"/>
                </a:cubicBezTo>
                <a:cubicBezTo>
                  <a:pt x="785" y="183"/>
                  <a:pt x="785" y="183"/>
                  <a:pt x="785" y="183"/>
                </a:cubicBezTo>
                <a:cubicBezTo>
                  <a:pt x="784" y="182"/>
                  <a:pt x="784" y="182"/>
                  <a:pt x="784" y="182"/>
                </a:cubicBezTo>
                <a:cubicBezTo>
                  <a:pt x="784" y="181"/>
                  <a:pt x="784" y="181"/>
                  <a:pt x="784" y="181"/>
                </a:cubicBezTo>
                <a:cubicBezTo>
                  <a:pt x="783" y="181"/>
                  <a:pt x="783" y="181"/>
                  <a:pt x="783" y="181"/>
                </a:cubicBezTo>
                <a:cubicBezTo>
                  <a:pt x="781" y="181"/>
                  <a:pt x="781" y="181"/>
                  <a:pt x="781" y="181"/>
                </a:cubicBezTo>
                <a:cubicBezTo>
                  <a:pt x="778" y="181"/>
                  <a:pt x="778" y="181"/>
                  <a:pt x="778" y="181"/>
                </a:cubicBezTo>
                <a:cubicBezTo>
                  <a:pt x="776" y="181"/>
                  <a:pt x="776" y="181"/>
                  <a:pt x="776" y="181"/>
                </a:cubicBezTo>
                <a:cubicBezTo>
                  <a:pt x="775" y="180"/>
                  <a:pt x="775" y="180"/>
                  <a:pt x="775" y="180"/>
                </a:cubicBezTo>
                <a:cubicBezTo>
                  <a:pt x="770" y="180"/>
                  <a:pt x="770" y="180"/>
                  <a:pt x="770" y="180"/>
                </a:cubicBezTo>
                <a:cubicBezTo>
                  <a:pt x="769" y="181"/>
                  <a:pt x="769" y="181"/>
                  <a:pt x="769" y="181"/>
                </a:cubicBezTo>
                <a:cubicBezTo>
                  <a:pt x="768" y="181"/>
                  <a:pt x="768" y="181"/>
                  <a:pt x="768" y="181"/>
                </a:cubicBezTo>
                <a:cubicBezTo>
                  <a:pt x="767" y="182"/>
                  <a:pt x="767" y="182"/>
                  <a:pt x="767" y="182"/>
                </a:cubicBezTo>
                <a:cubicBezTo>
                  <a:pt x="767" y="184"/>
                  <a:pt x="767" y="184"/>
                  <a:pt x="767" y="184"/>
                </a:cubicBezTo>
                <a:cubicBezTo>
                  <a:pt x="766" y="186"/>
                  <a:pt x="766" y="186"/>
                  <a:pt x="766" y="186"/>
                </a:cubicBezTo>
                <a:cubicBezTo>
                  <a:pt x="766" y="188"/>
                  <a:pt x="766" y="188"/>
                  <a:pt x="766" y="188"/>
                </a:cubicBezTo>
                <a:cubicBezTo>
                  <a:pt x="766" y="189"/>
                  <a:pt x="766" y="189"/>
                  <a:pt x="766" y="189"/>
                </a:cubicBezTo>
                <a:cubicBezTo>
                  <a:pt x="767" y="189"/>
                  <a:pt x="767" y="189"/>
                  <a:pt x="767" y="189"/>
                </a:cubicBezTo>
                <a:cubicBezTo>
                  <a:pt x="767" y="190"/>
                  <a:pt x="767" y="190"/>
                  <a:pt x="767" y="190"/>
                </a:cubicBezTo>
                <a:cubicBezTo>
                  <a:pt x="766" y="190"/>
                  <a:pt x="766" y="190"/>
                  <a:pt x="766" y="190"/>
                </a:cubicBezTo>
                <a:cubicBezTo>
                  <a:pt x="767" y="193"/>
                  <a:pt x="767" y="193"/>
                  <a:pt x="767" y="193"/>
                </a:cubicBezTo>
                <a:cubicBezTo>
                  <a:pt x="768" y="194"/>
                  <a:pt x="768" y="194"/>
                  <a:pt x="768" y="194"/>
                </a:cubicBezTo>
                <a:cubicBezTo>
                  <a:pt x="769" y="194"/>
                  <a:pt x="769" y="194"/>
                  <a:pt x="769" y="194"/>
                </a:cubicBezTo>
                <a:cubicBezTo>
                  <a:pt x="770" y="195"/>
                  <a:pt x="770" y="195"/>
                  <a:pt x="770" y="195"/>
                </a:cubicBezTo>
                <a:cubicBezTo>
                  <a:pt x="771" y="196"/>
                  <a:pt x="771" y="196"/>
                  <a:pt x="771" y="196"/>
                </a:cubicBezTo>
                <a:cubicBezTo>
                  <a:pt x="772" y="196"/>
                  <a:pt x="772" y="196"/>
                  <a:pt x="772" y="196"/>
                </a:cubicBezTo>
                <a:cubicBezTo>
                  <a:pt x="773" y="196"/>
                  <a:pt x="773" y="196"/>
                  <a:pt x="773" y="196"/>
                </a:cubicBezTo>
                <a:cubicBezTo>
                  <a:pt x="773" y="197"/>
                  <a:pt x="773" y="197"/>
                  <a:pt x="773" y="197"/>
                </a:cubicBezTo>
                <a:cubicBezTo>
                  <a:pt x="775" y="196"/>
                  <a:pt x="775" y="196"/>
                  <a:pt x="775" y="196"/>
                </a:cubicBezTo>
                <a:cubicBezTo>
                  <a:pt x="776" y="197"/>
                  <a:pt x="776" y="197"/>
                  <a:pt x="776" y="197"/>
                </a:cubicBezTo>
                <a:cubicBezTo>
                  <a:pt x="778" y="197"/>
                  <a:pt x="778" y="197"/>
                  <a:pt x="778" y="197"/>
                </a:cubicBezTo>
                <a:cubicBezTo>
                  <a:pt x="778" y="198"/>
                  <a:pt x="778" y="198"/>
                  <a:pt x="778" y="198"/>
                </a:cubicBezTo>
                <a:cubicBezTo>
                  <a:pt x="779" y="199"/>
                  <a:pt x="779" y="199"/>
                  <a:pt x="779" y="199"/>
                </a:cubicBezTo>
                <a:cubicBezTo>
                  <a:pt x="778" y="200"/>
                  <a:pt x="778" y="200"/>
                  <a:pt x="778" y="200"/>
                </a:cubicBezTo>
                <a:cubicBezTo>
                  <a:pt x="778" y="201"/>
                  <a:pt x="778" y="201"/>
                  <a:pt x="778" y="201"/>
                </a:cubicBezTo>
                <a:cubicBezTo>
                  <a:pt x="778" y="202"/>
                  <a:pt x="778" y="202"/>
                  <a:pt x="778" y="202"/>
                </a:cubicBezTo>
                <a:cubicBezTo>
                  <a:pt x="777" y="203"/>
                  <a:pt x="777" y="203"/>
                  <a:pt x="777" y="203"/>
                </a:cubicBezTo>
                <a:cubicBezTo>
                  <a:pt x="776" y="203"/>
                  <a:pt x="776" y="203"/>
                  <a:pt x="776" y="203"/>
                </a:cubicBezTo>
                <a:cubicBezTo>
                  <a:pt x="776" y="204"/>
                  <a:pt x="776" y="204"/>
                  <a:pt x="776" y="204"/>
                </a:cubicBezTo>
                <a:cubicBezTo>
                  <a:pt x="775" y="205"/>
                  <a:pt x="775" y="205"/>
                  <a:pt x="775" y="205"/>
                </a:cubicBezTo>
                <a:cubicBezTo>
                  <a:pt x="776" y="205"/>
                  <a:pt x="776" y="205"/>
                  <a:pt x="776" y="205"/>
                </a:cubicBezTo>
                <a:cubicBezTo>
                  <a:pt x="776" y="207"/>
                  <a:pt x="776" y="207"/>
                  <a:pt x="776" y="207"/>
                </a:cubicBezTo>
                <a:cubicBezTo>
                  <a:pt x="777" y="208"/>
                  <a:pt x="777" y="208"/>
                  <a:pt x="777" y="208"/>
                </a:cubicBezTo>
                <a:cubicBezTo>
                  <a:pt x="777" y="209"/>
                  <a:pt x="777" y="209"/>
                  <a:pt x="777" y="209"/>
                </a:cubicBezTo>
                <a:cubicBezTo>
                  <a:pt x="775" y="209"/>
                  <a:pt x="775" y="209"/>
                  <a:pt x="775" y="209"/>
                </a:cubicBezTo>
                <a:cubicBezTo>
                  <a:pt x="776" y="210"/>
                  <a:pt x="776" y="210"/>
                  <a:pt x="776" y="210"/>
                </a:cubicBezTo>
                <a:cubicBezTo>
                  <a:pt x="778" y="210"/>
                  <a:pt x="778" y="210"/>
                  <a:pt x="778" y="210"/>
                </a:cubicBezTo>
                <a:cubicBezTo>
                  <a:pt x="779" y="210"/>
                  <a:pt x="779" y="210"/>
                  <a:pt x="779" y="210"/>
                </a:cubicBezTo>
                <a:cubicBezTo>
                  <a:pt x="780" y="211"/>
                  <a:pt x="780" y="211"/>
                  <a:pt x="780" y="211"/>
                </a:cubicBezTo>
                <a:cubicBezTo>
                  <a:pt x="780" y="210"/>
                  <a:pt x="780" y="210"/>
                  <a:pt x="780" y="210"/>
                </a:cubicBezTo>
                <a:cubicBezTo>
                  <a:pt x="781" y="210"/>
                  <a:pt x="781" y="210"/>
                  <a:pt x="781" y="210"/>
                </a:cubicBezTo>
                <a:cubicBezTo>
                  <a:pt x="783" y="210"/>
                  <a:pt x="783" y="210"/>
                  <a:pt x="783" y="210"/>
                </a:cubicBezTo>
                <a:cubicBezTo>
                  <a:pt x="785" y="211"/>
                  <a:pt x="785" y="211"/>
                  <a:pt x="785" y="211"/>
                </a:cubicBezTo>
                <a:cubicBezTo>
                  <a:pt x="786" y="210"/>
                  <a:pt x="786" y="210"/>
                  <a:pt x="786" y="210"/>
                </a:cubicBezTo>
                <a:cubicBezTo>
                  <a:pt x="787" y="210"/>
                  <a:pt x="787" y="210"/>
                  <a:pt x="787" y="210"/>
                </a:cubicBezTo>
                <a:cubicBezTo>
                  <a:pt x="788" y="211"/>
                  <a:pt x="788" y="211"/>
                  <a:pt x="788" y="211"/>
                </a:cubicBezTo>
                <a:cubicBezTo>
                  <a:pt x="789" y="210"/>
                  <a:pt x="789" y="210"/>
                  <a:pt x="789" y="210"/>
                </a:cubicBezTo>
                <a:cubicBezTo>
                  <a:pt x="790" y="211"/>
                  <a:pt x="790" y="211"/>
                  <a:pt x="790" y="211"/>
                </a:cubicBezTo>
                <a:cubicBezTo>
                  <a:pt x="791" y="211"/>
                  <a:pt x="791" y="211"/>
                  <a:pt x="791" y="211"/>
                </a:cubicBezTo>
                <a:cubicBezTo>
                  <a:pt x="792" y="211"/>
                  <a:pt x="792" y="211"/>
                  <a:pt x="792" y="211"/>
                </a:cubicBezTo>
                <a:cubicBezTo>
                  <a:pt x="792" y="212"/>
                  <a:pt x="792" y="212"/>
                  <a:pt x="792" y="212"/>
                </a:cubicBezTo>
                <a:cubicBezTo>
                  <a:pt x="793" y="212"/>
                  <a:pt x="793" y="212"/>
                  <a:pt x="793" y="212"/>
                </a:cubicBezTo>
                <a:cubicBezTo>
                  <a:pt x="795" y="212"/>
                  <a:pt x="795" y="212"/>
                  <a:pt x="795" y="212"/>
                </a:cubicBezTo>
                <a:cubicBezTo>
                  <a:pt x="795" y="211"/>
                  <a:pt x="795" y="211"/>
                  <a:pt x="795" y="211"/>
                </a:cubicBezTo>
                <a:cubicBezTo>
                  <a:pt x="797" y="210"/>
                  <a:pt x="797" y="210"/>
                  <a:pt x="797" y="210"/>
                </a:cubicBezTo>
                <a:cubicBezTo>
                  <a:pt x="799" y="209"/>
                  <a:pt x="799" y="209"/>
                  <a:pt x="799" y="209"/>
                </a:cubicBezTo>
                <a:cubicBezTo>
                  <a:pt x="800" y="209"/>
                  <a:pt x="800" y="209"/>
                  <a:pt x="800" y="209"/>
                </a:cubicBezTo>
                <a:cubicBezTo>
                  <a:pt x="801" y="208"/>
                  <a:pt x="801" y="208"/>
                  <a:pt x="801" y="208"/>
                </a:cubicBezTo>
                <a:cubicBezTo>
                  <a:pt x="802" y="208"/>
                  <a:pt x="802" y="208"/>
                  <a:pt x="802" y="208"/>
                </a:cubicBezTo>
                <a:cubicBezTo>
                  <a:pt x="804" y="208"/>
                  <a:pt x="804" y="208"/>
                  <a:pt x="804" y="208"/>
                </a:cubicBezTo>
                <a:cubicBezTo>
                  <a:pt x="805" y="208"/>
                  <a:pt x="805" y="208"/>
                  <a:pt x="805" y="208"/>
                </a:cubicBezTo>
                <a:cubicBezTo>
                  <a:pt x="808" y="208"/>
                  <a:pt x="808" y="208"/>
                  <a:pt x="808" y="208"/>
                </a:cubicBezTo>
                <a:cubicBezTo>
                  <a:pt x="810" y="207"/>
                  <a:pt x="810" y="207"/>
                  <a:pt x="810" y="207"/>
                </a:cubicBezTo>
                <a:cubicBezTo>
                  <a:pt x="811" y="206"/>
                  <a:pt x="811" y="206"/>
                  <a:pt x="811" y="206"/>
                </a:cubicBezTo>
                <a:cubicBezTo>
                  <a:pt x="812" y="206"/>
                  <a:pt x="812" y="206"/>
                  <a:pt x="812" y="206"/>
                </a:cubicBezTo>
                <a:cubicBezTo>
                  <a:pt x="813" y="205"/>
                  <a:pt x="813" y="205"/>
                  <a:pt x="813" y="205"/>
                </a:cubicBezTo>
                <a:cubicBezTo>
                  <a:pt x="813" y="204"/>
                  <a:pt x="813" y="204"/>
                  <a:pt x="813" y="204"/>
                </a:cubicBezTo>
                <a:cubicBezTo>
                  <a:pt x="814" y="204"/>
                  <a:pt x="814" y="204"/>
                  <a:pt x="814" y="204"/>
                </a:cubicBezTo>
                <a:cubicBezTo>
                  <a:pt x="815" y="203"/>
                  <a:pt x="815" y="203"/>
                  <a:pt x="815" y="203"/>
                </a:cubicBezTo>
                <a:cubicBezTo>
                  <a:pt x="816" y="203"/>
                  <a:pt x="816" y="203"/>
                  <a:pt x="816" y="203"/>
                </a:cubicBezTo>
                <a:cubicBezTo>
                  <a:pt x="816" y="204"/>
                  <a:pt x="816" y="204"/>
                  <a:pt x="816" y="204"/>
                </a:cubicBezTo>
                <a:cubicBezTo>
                  <a:pt x="817" y="205"/>
                  <a:pt x="817" y="205"/>
                  <a:pt x="817" y="205"/>
                </a:cubicBezTo>
                <a:cubicBezTo>
                  <a:pt x="816" y="205"/>
                  <a:pt x="816" y="205"/>
                  <a:pt x="816" y="205"/>
                </a:cubicBezTo>
                <a:cubicBezTo>
                  <a:pt x="816" y="206"/>
                  <a:pt x="816" y="206"/>
                  <a:pt x="816" y="206"/>
                </a:cubicBezTo>
                <a:cubicBezTo>
                  <a:pt x="815" y="207"/>
                  <a:pt x="815" y="207"/>
                  <a:pt x="815" y="207"/>
                </a:cubicBezTo>
                <a:cubicBezTo>
                  <a:pt x="815" y="208"/>
                  <a:pt x="815" y="208"/>
                  <a:pt x="815" y="208"/>
                </a:cubicBezTo>
                <a:cubicBezTo>
                  <a:pt x="816" y="209"/>
                  <a:pt x="816" y="209"/>
                  <a:pt x="816" y="209"/>
                </a:cubicBezTo>
                <a:cubicBezTo>
                  <a:pt x="817" y="208"/>
                  <a:pt x="817" y="208"/>
                  <a:pt x="817" y="208"/>
                </a:cubicBezTo>
                <a:cubicBezTo>
                  <a:pt x="818" y="208"/>
                  <a:pt x="818" y="208"/>
                  <a:pt x="818" y="208"/>
                </a:cubicBezTo>
                <a:cubicBezTo>
                  <a:pt x="819" y="209"/>
                  <a:pt x="819" y="209"/>
                  <a:pt x="819" y="209"/>
                </a:cubicBezTo>
                <a:cubicBezTo>
                  <a:pt x="819" y="210"/>
                  <a:pt x="819" y="210"/>
                  <a:pt x="819" y="210"/>
                </a:cubicBezTo>
                <a:cubicBezTo>
                  <a:pt x="820" y="210"/>
                  <a:pt x="820" y="210"/>
                  <a:pt x="820" y="210"/>
                </a:cubicBezTo>
                <a:cubicBezTo>
                  <a:pt x="820" y="209"/>
                  <a:pt x="820" y="209"/>
                  <a:pt x="820" y="209"/>
                </a:cubicBezTo>
                <a:cubicBezTo>
                  <a:pt x="821" y="210"/>
                  <a:pt x="821" y="210"/>
                  <a:pt x="821" y="210"/>
                </a:cubicBezTo>
                <a:cubicBezTo>
                  <a:pt x="821" y="211"/>
                  <a:pt x="821" y="211"/>
                  <a:pt x="821" y="211"/>
                </a:cubicBezTo>
                <a:cubicBezTo>
                  <a:pt x="820" y="211"/>
                  <a:pt x="820" y="211"/>
                  <a:pt x="820" y="211"/>
                </a:cubicBezTo>
                <a:cubicBezTo>
                  <a:pt x="819" y="211"/>
                  <a:pt x="819" y="211"/>
                  <a:pt x="819" y="211"/>
                </a:cubicBezTo>
                <a:cubicBezTo>
                  <a:pt x="818" y="212"/>
                  <a:pt x="818" y="212"/>
                  <a:pt x="818" y="212"/>
                </a:cubicBezTo>
                <a:cubicBezTo>
                  <a:pt x="818" y="213"/>
                  <a:pt x="818" y="213"/>
                  <a:pt x="818" y="213"/>
                </a:cubicBezTo>
                <a:cubicBezTo>
                  <a:pt x="819" y="213"/>
                  <a:pt x="819" y="213"/>
                  <a:pt x="819" y="213"/>
                </a:cubicBezTo>
                <a:cubicBezTo>
                  <a:pt x="820" y="213"/>
                  <a:pt x="820" y="213"/>
                  <a:pt x="820" y="213"/>
                </a:cubicBezTo>
                <a:cubicBezTo>
                  <a:pt x="821" y="214"/>
                  <a:pt x="821" y="214"/>
                  <a:pt x="821" y="214"/>
                </a:cubicBezTo>
                <a:cubicBezTo>
                  <a:pt x="822" y="213"/>
                  <a:pt x="822" y="213"/>
                  <a:pt x="822" y="213"/>
                </a:cubicBezTo>
                <a:cubicBezTo>
                  <a:pt x="823" y="212"/>
                  <a:pt x="823" y="212"/>
                  <a:pt x="823" y="212"/>
                </a:cubicBezTo>
                <a:cubicBezTo>
                  <a:pt x="823" y="213"/>
                  <a:pt x="823" y="213"/>
                  <a:pt x="823" y="213"/>
                </a:cubicBezTo>
                <a:cubicBezTo>
                  <a:pt x="824" y="214"/>
                  <a:pt x="824" y="214"/>
                  <a:pt x="824" y="214"/>
                </a:cubicBezTo>
                <a:cubicBezTo>
                  <a:pt x="824" y="215"/>
                  <a:pt x="824" y="215"/>
                  <a:pt x="824" y="215"/>
                </a:cubicBezTo>
                <a:cubicBezTo>
                  <a:pt x="825" y="214"/>
                  <a:pt x="825" y="214"/>
                  <a:pt x="825" y="214"/>
                </a:cubicBezTo>
                <a:cubicBezTo>
                  <a:pt x="826" y="214"/>
                  <a:pt x="826" y="214"/>
                  <a:pt x="826" y="214"/>
                </a:cubicBezTo>
                <a:cubicBezTo>
                  <a:pt x="826" y="215"/>
                  <a:pt x="826" y="215"/>
                  <a:pt x="826" y="215"/>
                </a:cubicBezTo>
                <a:cubicBezTo>
                  <a:pt x="827" y="215"/>
                  <a:pt x="827" y="215"/>
                  <a:pt x="827" y="215"/>
                </a:cubicBezTo>
                <a:cubicBezTo>
                  <a:pt x="828" y="216"/>
                  <a:pt x="828" y="216"/>
                  <a:pt x="828" y="216"/>
                </a:cubicBezTo>
                <a:cubicBezTo>
                  <a:pt x="828" y="215"/>
                  <a:pt x="828" y="215"/>
                  <a:pt x="828" y="215"/>
                </a:cubicBezTo>
                <a:cubicBezTo>
                  <a:pt x="829" y="215"/>
                  <a:pt x="829" y="215"/>
                  <a:pt x="829" y="215"/>
                </a:cubicBezTo>
                <a:cubicBezTo>
                  <a:pt x="830" y="215"/>
                  <a:pt x="830" y="215"/>
                  <a:pt x="830" y="215"/>
                </a:cubicBezTo>
                <a:cubicBezTo>
                  <a:pt x="830" y="216"/>
                  <a:pt x="830" y="216"/>
                  <a:pt x="830" y="216"/>
                </a:cubicBezTo>
                <a:cubicBezTo>
                  <a:pt x="831" y="216"/>
                  <a:pt x="831" y="216"/>
                  <a:pt x="831" y="216"/>
                </a:cubicBezTo>
                <a:cubicBezTo>
                  <a:pt x="832" y="216"/>
                  <a:pt x="832" y="216"/>
                  <a:pt x="832" y="216"/>
                </a:cubicBezTo>
                <a:cubicBezTo>
                  <a:pt x="832" y="215"/>
                  <a:pt x="832" y="215"/>
                  <a:pt x="832" y="215"/>
                </a:cubicBezTo>
                <a:cubicBezTo>
                  <a:pt x="833" y="215"/>
                  <a:pt x="833" y="215"/>
                  <a:pt x="833" y="215"/>
                </a:cubicBezTo>
                <a:cubicBezTo>
                  <a:pt x="833" y="216"/>
                  <a:pt x="833" y="216"/>
                  <a:pt x="833" y="216"/>
                </a:cubicBezTo>
                <a:cubicBezTo>
                  <a:pt x="834" y="215"/>
                  <a:pt x="834" y="215"/>
                  <a:pt x="834" y="215"/>
                </a:cubicBezTo>
                <a:cubicBezTo>
                  <a:pt x="835" y="215"/>
                  <a:pt x="835" y="215"/>
                  <a:pt x="835" y="215"/>
                </a:cubicBezTo>
                <a:cubicBezTo>
                  <a:pt x="836" y="215"/>
                  <a:pt x="836" y="215"/>
                  <a:pt x="836" y="215"/>
                </a:cubicBezTo>
                <a:cubicBezTo>
                  <a:pt x="837" y="215"/>
                  <a:pt x="837" y="215"/>
                  <a:pt x="837" y="215"/>
                </a:cubicBezTo>
                <a:cubicBezTo>
                  <a:pt x="837" y="214"/>
                  <a:pt x="837" y="214"/>
                  <a:pt x="837" y="214"/>
                </a:cubicBezTo>
                <a:cubicBezTo>
                  <a:pt x="838" y="213"/>
                  <a:pt x="838" y="213"/>
                  <a:pt x="838" y="213"/>
                </a:cubicBezTo>
                <a:cubicBezTo>
                  <a:pt x="838" y="212"/>
                  <a:pt x="838" y="212"/>
                  <a:pt x="838" y="212"/>
                </a:cubicBezTo>
                <a:cubicBezTo>
                  <a:pt x="838" y="211"/>
                  <a:pt x="838" y="211"/>
                  <a:pt x="838" y="211"/>
                </a:cubicBezTo>
                <a:cubicBezTo>
                  <a:pt x="837" y="211"/>
                  <a:pt x="837" y="211"/>
                  <a:pt x="837" y="211"/>
                </a:cubicBezTo>
                <a:cubicBezTo>
                  <a:pt x="837" y="210"/>
                  <a:pt x="837" y="210"/>
                  <a:pt x="837" y="210"/>
                </a:cubicBezTo>
                <a:cubicBezTo>
                  <a:pt x="837" y="209"/>
                  <a:pt x="837" y="209"/>
                  <a:pt x="837" y="209"/>
                </a:cubicBezTo>
                <a:cubicBezTo>
                  <a:pt x="838" y="209"/>
                  <a:pt x="838" y="209"/>
                  <a:pt x="838" y="209"/>
                </a:cubicBezTo>
                <a:cubicBezTo>
                  <a:pt x="838" y="208"/>
                  <a:pt x="838" y="208"/>
                  <a:pt x="838" y="208"/>
                </a:cubicBezTo>
                <a:cubicBezTo>
                  <a:pt x="837" y="207"/>
                  <a:pt x="837" y="207"/>
                  <a:pt x="837" y="207"/>
                </a:cubicBezTo>
                <a:cubicBezTo>
                  <a:pt x="836" y="207"/>
                  <a:pt x="836" y="207"/>
                  <a:pt x="836" y="207"/>
                </a:cubicBezTo>
                <a:cubicBezTo>
                  <a:pt x="836" y="208"/>
                  <a:pt x="836" y="208"/>
                  <a:pt x="836" y="208"/>
                </a:cubicBezTo>
                <a:cubicBezTo>
                  <a:pt x="836" y="209"/>
                  <a:pt x="836" y="209"/>
                  <a:pt x="836" y="209"/>
                </a:cubicBezTo>
                <a:cubicBezTo>
                  <a:pt x="835" y="208"/>
                  <a:pt x="835" y="208"/>
                  <a:pt x="835" y="208"/>
                </a:cubicBezTo>
                <a:cubicBezTo>
                  <a:pt x="834" y="208"/>
                  <a:pt x="834" y="208"/>
                  <a:pt x="834" y="208"/>
                </a:cubicBezTo>
                <a:cubicBezTo>
                  <a:pt x="832" y="210"/>
                  <a:pt x="832" y="210"/>
                  <a:pt x="832" y="210"/>
                </a:cubicBezTo>
                <a:cubicBezTo>
                  <a:pt x="831" y="210"/>
                  <a:pt x="831" y="210"/>
                  <a:pt x="831" y="210"/>
                </a:cubicBezTo>
                <a:cubicBezTo>
                  <a:pt x="832" y="209"/>
                  <a:pt x="832" y="209"/>
                  <a:pt x="832" y="209"/>
                </a:cubicBezTo>
                <a:cubicBezTo>
                  <a:pt x="833" y="208"/>
                  <a:pt x="833" y="208"/>
                  <a:pt x="833" y="208"/>
                </a:cubicBezTo>
                <a:cubicBezTo>
                  <a:pt x="833" y="207"/>
                  <a:pt x="833" y="207"/>
                  <a:pt x="833" y="207"/>
                </a:cubicBezTo>
                <a:cubicBezTo>
                  <a:pt x="832" y="208"/>
                  <a:pt x="832" y="208"/>
                  <a:pt x="832" y="208"/>
                </a:cubicBezTo>
                <a:cubicBezTo>
                  <a:pt x="832" y="207"/>
                  <a:pt x="832" y="207"/>
                  <a:pt x="832" y="207"/>
                </a:cubicBezTo>
                <a:cubicBezTo>
                  <a:pt x="832" y="206"/>
                  <a:pt x="832" y="206"/>
                  <a:pt x="832" y="206"/>
                </a:cubicBezTo>
                <a:cubicBezTo>
                  <a:pt x="833" y="206"/>
                  <a:pt x="833" y="206"/>
                  <a:pt x="833" y="206"/>
                </a:cubicBezTo>
                <a:cubicBezTo>
                  <a:pt x="832" y="204"/>
                  <a:pt x="832" y="204"/>
                  <a:pt x="832" y="204"/>
                </a:cubicBezTo>
                <a:cubicBezTo>
                  <a:pt x="833" y="203"/>
                  <a:pt x="833" y="203"/>
                  <a:pt x="833" y="203"/>
                </a:cubicBezTo>
                <a:cubicBezTo>
                  <a:pt x="834" y="203"/>
                  <a:pt x="834" y="203"/>
                  <a:pt x="834" y="203"/>
                </a:cubicBezTo>
                <a:cubicBezTo>
                  <a:pt x="833" y="204"/>
                  <a:pt x="833" y="204"/>
                  <a:pt x="833" y="204"/>
                </a:cubicBezTo>
                <a:cubicBezTo>
                  <a:pt x="834" y="205"/>
                  <a:pt x="834" y="205"/>
                  <a:pt x="834" y="205"/>
                </a:cubicBezTo>
                <a:cubicBezTo>
                  <a:pt x="835" y="206"/>
                  <a:pt x="835" y="206"/>
                  <a:pt x="835" y="206"/>
                </a:cubicBezTo>
                <a:cubicBezTo>
                  <a:pt x="837" y="206"/>
                  <a:pt x="837" y="206"/>
                  <a:pt x="837" y="206"/>
                </a:cubicBezTo>
                <a:cubicBezTo>
                  <a:pt x="837" y="205"/>
                  <a:pt x="837" y="205"/>
                  <a:pt x="837" y="205"/>
                </a:cubicBezTo>
                <a:cubicBezTo>
                  <a:pt x="837" y="204"/>
                  <a:pt x="837" y="204"/>
                  <a:pt x="837" y="204"/>
                </a:cubicBezTo>
                <a:cubicBezTo>
                  <a:pt x="837" y="203"/>
                  <a:pt x="837" y="203"/>
                  <a:pt x="837" y="203"/>
                </a:cubicBezTo>
                <a:cubicBezTo>
                  <a:pt x="838" y="204"/>
                  <a:pt x="838" y="204"/>
                  <a:pt x="838" y="204"/>
                </a:cubicBezTo>
                <a:cubicBezTo>
                  <a:pt x="839" y="204"/>
                  <a:pt x="839" y="204"/>
                  <a:pt x="839" y="204"/>
                </a:cubicBezTo>
                <a:cubicBezTo>
                  <a:pt x="839" y="203"/>
                  <a:pt x="839" y="203"/>
                  <a:pt x="839" y="203"/>
                </a:cubicBezTo>
                <a:cubicBezTo>
                  <a:pt x="840" y="201"/>
                  <a:pt x="840" y="201"/>
                  <a:pt x="840" y="201"/>
                </a:cubicBezTo>
                <a:cubicBezTo>
                  <a:pt x="840" y="203"/>
                  <a:pt x="840" y="203"/>
                  <a:pt x="840" y="203"/>
                </a:cubicBezTo>
                <a:cubicBezTo>
                  <a:pt x="841" y="203"/>
                  <a:pt x="841" y="203"/>
                  <a:pt x="841" y="203"/>
                </a:cubicBezTo>
                <a:cubicBezTo>
                  <a:pt x="842" y="202"/>
                  <a:pt x="842" y="202"/>
                  <a:pt x="842" y="202"/>
                </a:cubicBezTo>
                <a:cubicBezTo>
                  <a:pt x="841" y="204"/>
                  <a:pt x="841" y="204"/>
                  <a:pt x="841" y="204"/>
                </a:cubicBezTo>
                <a:cubicBezTo>
                  <a:pt x="841" y="205"/>
                  <a:pt x="841" y="205"/>
                  <a:pt x="841" y="205"/>
                </a:cubicBezTo>
                <a:cubicBezTo>
                  <a:pt x="842" y="205"/>
                  <a:pt x="842" y="205"/>
                  <a:pt x="842" y="205"/>
                </a:cubicBezTo>
                <a:cubicBezTo>
                  <a:pt x="841" y="206"/>
                  <a:pt x="841" y="206"/>
                  <a:pt x="841" y="206"/>
                </a:cubicBezTo>
                <a:cubicBezTo>
                  <a:pt x="842" y="206"/>
                  <a:pt x="842" y="206"/>
                  <a:pt x="842" y="206"/>
                </a:cubicBezTo>
                <a:cubicBezTo>
                  <a:pt x="843" y="205"/>
                  <a:pt x="843" y="205"/>
                  <a:pt x="843" y="205"/>
                </a:cubicBezTo>
                <a:cubicBezTo>
                  <a:pt x="843" y="204"/>
                  <a:pt x="843" y="204"/>
                  <a:pt x="843" y="204"/>
                </a:cubicBezTo>
                <a:cubicBezTo>
                  <a:pt x="844" y="203"/>
                  <a:pt x="844" y="203"/>
                  <a:pt x="844" y="203"/>
                </a:cubicBezTo>
                <a:cubicBezTo>
                  <a:pt x="845" y="202"/>
                  <a:pt x="845" y="202"/>
                  <a:pt x="845" y="202"/>
                </a:cubicBezTo>
                <a:cubicBezTo>
                  <a:pt x="845" y="204"/>
                  <a:pt x="845" y="204"/>
                  <a:pt x="845" y="204"/>
                </a:cubicBezTo>
                <a:cubicBezTo>
                  <a:pt x="844" y="205"/>
                  <a:pt x="844" y="205"/>
                  <a:pt x="844" y="205"/>
                </a:cubicBezTo>
                <a:cubicBezTo>
                  <a:pt x="844" y="207"/>
                  <a:pt x="844" y="207"/>
                  <a:pt x="844" y="207"/>
                </a:cubicBezTo>
                <a:cubicBezTo>
                  <a:pt x="845" y="207"/>
                  <a:pt x="845" y="207"/>
                  <a:pt x="845" y="207"/>
                </a:cubicBezTo>
                <a:cubicBezTo>
                  <a:pt x="846" y="207"/>
                  <a:pt x="846" y="207"/>
                  <a:pt x="846" y="207"/>
                </a:cubicBezTo>
                <a:cubicBezTo>
                  <a:pt x="846" y="206"/>
                  <a:pt x="846" y="206"/>
                  <a:pt x="846" y="206"/>
                </a:cubicBezTo>
                <a:cubicBezTo>
                  <a:pt x="848" y="205"/>
                  <a:pt x="848" y="205"/>
                  <a:pt x="848" y="205"/>
                </a:cubicBezTo>
                <a:cubicBezTo>
                  <a:pt x="848" y="203"/>
                  <a:pt x="848" y="203"/>
                  <a:pt x="848" y="203"/>
                </a:cubicBezTo>
                <a:close/>
                <a:moveTo>
                  <a:pt x="871" y="218"/>
                </a:moveTo>
                <a:cubicBezTo>
                  <a:pt x="871" y="218"/>
                  <a:pt x="871" y="218"/>
                  <a:pt x="872" y="218"/>
                </a:cubicBezTo>
                <a:cubicBezTo>
                  <a:pt x="872" y="218"/>
                  <a:pt x="872" y="218"/>
                  <a:pt x="873" y="216"/>
                </a:cubicBezTo>
                <a:cubicBezTo>
                  <a:pt x="873" y="216"/>
                  <a:pt x="873" y="216"/>
                  <a:pt x="873" y="215"/>
                </a:cubicBezTo>
                <a:cubicBezTo>
                  <a:pt x="873" y="215"/>
                  <a:pt x="873" y="215"/>
                  <a:pt x="871" y="214"/>
                </a:cubicBezTo>
                <a:cubicBezTo>
                  <a:pt x="871" y="214"/>
                  <a:pt x="871" y="214"/>
                  <a:pt x="870" y="215"/>
                </a:cubicBezTo>
                <a:cubicBezTo>
                  <a:pt x="870" y="215"/>
                  <a:pt x="870" y="215"/>
                  <a:pt x="869" y="217"/>
                </a:cubicBezTo>
                <a:cubicBezTo>
                  <a:pt x="870" y="217"/>
                  <a:pt x="870" y="217"/>
                  <a:pt x="870" y="217"/>
                </a:cubicBezTo>
                <a:cubicBezTo>
                  <a:pt x="870" y="217"/>
                  <a:pt x="870" y="217"/>
                  <a:pt x="871" y="216"/>
                </a:cubicBezTo>
                <a:cubicBezTo>
                  <a:pt x="871" y="216"/>
                  <a:pt x="871" y="216"/>
                  <a:pt x="871" y="217"/>
                </a:cubicBezTo>
                <a:cubicBezTo>
                  <a:pt x="871" y="217"/>
                  <a:pt x="871" y="217"/>
                  <a:pt x="871" y="218"/>
                </a:cubicBezTo>
                <a:close/>
                <a:moveTo>
                  <a:pt x="1083" y="3"/>
                </a:moveTo>
                <a:cubicBezTo>
                  <a:pt x="1083" y="3"/>
                  <a:pt x="1083" y="3"/>
                  <a:pt x="1082" y="2"/>
                </a:cubicBezTo>
                <a:cubicBezTo>
                  <a:pt x="1082" y="2"/>
                  <a:pt x="1082" y="2"/>
                  <a:pt x="1081" y="3"/>
                </a:cubicBezTo>
                <a:cubicBezTo>
                  <a:pt x="1081" y="3"/>
                  <a:pt x="1081" y="3"/>
                  <a:pt x="1082" y="3"/>
                </a:cubicBezTo>
                <a:cubicBezTo>
                  <a:pt x="1082" y="3"/>
                  <a:pt x="1082" y="3"/>
                  <a:pt x="1083" y="3"/>
                </a:cubicBezTo>
                <a:close/>
                <a:moveTo>
                  <a:pt x="861" y="228"/>
                </a:moveTo>
                <a:cubicBezTo>
                  <a:pt x="862" y="228"/>
                  <a:pt x="862" y="228"/>
                  <a:pt x="862" y="228"/>
                </a:cubicBezTo>
                <a:cubicBezTo>
                  <a:pt x="863" y="228"/>
                  <a:pt x="863" y="228"/>
                  <a:pt x="863" y="228"/>
                </a:cubicBezTo>
                <a:cubicBezTo>
                  <a:pt x="865" y="227"/>
                  <a:pt x="865" y="227"/>
                  <a:pt x="865" y="227"/>
                </a:cubicBezTo>
                <a:cubicBezTo>
                  <a:pt x="866" y="227"/>
                  <a:pt x="866" y="227"/>
                  <a:pt x="866" y="227"/>
                </a:cubicBezTo>
                <a:cubicBezTo>
                  <a:pt x="867" y="226"/>
                  <a:pt x="867" y="226"/>
                  <a:pt x="867" y="226"/>
                </a:cubicBezTo>
                <a:cubicBezTo>
                  <a:pt x="868" y="227"/>
                  <a:pt x="868" y="227"/>
                  <a:pt x="868" y="227"/>
                </a:cubicBezTo>
                <a:cubicBezTo>
                  <a:pt x="868" y="226"/>
                  <a:pt x="868" y="226"/>
                  <a:pt x="868" y="226"/>
                </a:cubicBezTo>
                <a:cubicBezTo>
                  <a:pt x="870" y="225"/>
                  <a:pt x="870" y="225"/>
                  <a:pt x="870" y="225"/>
                </a:cubicBezTo>
                <a:cubicBezTo>
                  <a:pt x="870" y="224"/>
                  <a:pt x="870" y="224"/>
                  <a:pt x="870" y="224"/>
                </a:cubicBezTo>
                <a:cubicBezTo>
                  <a:pt x="868" y="225"/>
                  <a:pt x="868" y="225"/>
                  <a:pt x="868" y="225"/>
                </a:cubicBezTo>
                <a:cubicBezTo>
                  <a:pt x="868" y="224"/>
                  <a:pt x="868" y="224"/>
                  <a:pt x="868" y="224"/>
                </a:cubicBezTo>
                <a:cubicBezTo>
                  <a:pt x="869" y="221"/>
                  <a:pt x="869" y="221"/>
                  <a:pt x="869" y="221"/>
                </a:cubicBezTo>
                <a:cubicBezTo>
                  <a:pt x="869" y="220"/>
                  <a:pt x="869" y="220"/>
                  <a:pt x="869" y="220"/>
                </a:cubicBezTo>
                <a:cubicBezTo>
                  <a:pt x="868" y="221"/>
                  <a:pt x="868" y="221"/>
                  <a:pt x="868" y="221"/>
                </a:cubicBezTo>
                <a:cubicBezTo>
                  <a:pt x="867" y="222"/>
                  <a:pt x="867" y="222"/>
                  <a:pt x="867" y="222"/>
                </a:cubicBezTo>
                <a:cubicBezTo>
                  <a:pt x="867" y="221"/>
                  <a:pt x="867" y="221"/>
                  <a:pt x="867" y="221"/>
                </a:cubicBezTo>
                <a:cubicBezTo>
                  <a:pt x="868" y="218"/>
                  <a:pt x="868" y="218"/>
                  <a:pt x="868" y="218"/>
                </a:cubicBezTo>
                <a:cubicBezTo>
                  <a:pt x="867" y="214"/>
                  <a:pt x="867" y="214"/>
                  <a:pt x="867" y="214"/>
                </a:cubicBezTo>
                <a:cubicBezTo>
                  <a:pt x="866" y="213"/>
                  <a:pt x="866" y="213"/>
                  <a:pt x="866" y="213"/>
                </a:cubicBezTo>
                <a:cubicBezTo>
                  <a:pt x="866" y="212"/>
                  <a:pt x="866" y="212"/>
                  <a:pt x="866" y="212"/>
                </a:cubicBezTo>
                <a:cubicBezTo>
                  <a:pt x="865" y="212"/>
                  <a:pt x="865" y="212"/>
                  <a:pt x="865" y="212"/>
                </a:cubicBezTo>
                <a:cubicBezTo>
                  <a:pt x="864" y="213"/>
                  <a:pt x="864" y="213"/>
                  <a:pt x="864" y="213"/>
                </a:cubicBezTo>
                <a:cubicBezTo>
                  <a:pt x="864" y="211"/>
                  <a:pt x="864" y="211"/>
                  <a:pt x="864" y="211"/>
                </a:cubicBezTo>
                <a:cubicBezTo>
                  <a:pt x="865" y="211"/>
                  <a:pt x="865" y="211"/>
                  <a:pt x="865" y="211"/>
                </a:cubicBezTo>
                <a:cubicBezTo>
                  <a:pt x="864" y="209"/>
                  <a:pt x="864" y="209"/>
                  <a:pt x="864" y="209"/>
                </a:cubicBezTo>
                <a:cubicBezTo>
                  <a:pt x="864" y="208"/>
                  <a:pt x="864" y="208"/>
                  <a:pt x="864" y="208"/>
                </a:cubicBezTo>
                <a:cubicBezTo>
                  <a:pt x="864" y="207"/>
                  <a:pt x="864" y="207"/>
                  <a:pt x="864" y="207"/>
                </a:cubicBezTo>
                <a:cubicBezTo>
                  <a:pt x="863" y="208"/>
                  <a:pt x="863" y="208"/>
                  <a:pt x="863" y="208"/>
                </a:cubicBezTo>
                <a:cubicBezTo>
                  <a:pt x="861" y="209"/>
                  <a:pt x="861" y="209"/>
                  <a:pt x="861" y="209"/>
                </a:cubicBezTo>
                <a:cubicBezTo>
                  <a:pt x="860" y="211"/>
                  <a:pt x="860" y="211"/>
                  <a:pt x="860" y="211"/>
                </a:cubicBezTo>
                <a:cubicBezTo>
                  <a:pt x="860" y="213"/>
                  <a:pt x="860" y="213"/>
                  <a:pt x="860" y="213"/>
                </a:cubicBezTo>
                <a:cubicBezTo>
                  <a:pt x="859" y="213"/>
                  <a:pt x="859" y="213"/>
                  <a:pt x="859" y="213"/>
                </a:cubicBezTo>
                <a:cubicBezTo>
                  <a:pt x="859" y="211"/>
                  <a:pt x="859" y="211"/>
                  <a:pt x="859" y="211"/>
                </a:cubicBezTo>
                <a:cubicBezTo>
                  <a:pt x="858" y="211"/>
                  <a:pt x="858" y="211"/>
                  <a:pt x="858" y="211"/>
                </a:cubicBezTo>
                <a:cubicBezTo>
                  <a:pt x="858" y="213"/>
                  <a:pt x="858" y="213"/>
                  <a:pt x="858" y="213"/>
                </a:cubicBezTo>
                <a:cubicBezTo>
                  <a:pt x="857" y="213"/>
                  <a:pt x="857" y="213"/>
                  <a:pt x="857" y="213"/>
                </a:cubicBezTo>
                <a:cubicBezTo>
                  <a:pt x="858" y="214"/>
                  <a:pt x="858" y="214"/>
                  <a:pt x="858" y="214"/>
                </a:cubicBezTo>
                <a:cubicBezTo>
                  <a:pt x="857" y="215"/>
                  <a:pt x="857" y="215"/>
                  <a:pt x="857" y="215"/>
                </a:cubicBezTo>
                <a:cubicBezTo>
                  <a:pt x="856" y="215"/>
                  <a:pt x="856" y="215"/>
                  <a:pt x="856" y="215"/>
                </a:cubicBezTo>
                <a:cubicBezTo>
                  <a:pt x="855" y="216"/>
                  <a:pt x="855" y="216"/>
                  <a:pt x="855" y="216"/>
                </a:cubicBezTo>
                <a:cubicBezTo>
                  <a:pt x="853" y="216"/>
                  <a:pt x="853" y="216"/>
                  <a:pt x="853" y="216"/>
                </a:cubicBezTo>
                <a:cubicBezTo>
                  <a:pt x="852" y="216"/>
                  <a:pt x="852" y="216"/>
                  <a:pt x="852" y="216"/>
                </a:cubicBezTo>
                <a:cubicBezTo>
                  <a:pt x="849" y="218"/>
                  <a:pt x="849" y="218"/>
                  <a:pt x="849" y="218"/>
                </a:cubicBezTo>
                <a:cubicBezTo>
                  <a:pt x="849" y="219"/>
                  <a:pt x="849" y="219"/>
                  <a:pt x="849" y="219"/>
                </a:cubicBezTo>
                <a:cubicBezTo>
                  <a:pt x="851" y="221"/>
                  <a:pt x="851" y="221"/>
                  <a:pt x="851" y="221"/>
                </a:cubicBezTo>
                <a:cubicBezTo>
                  <a:pt x="852" y="220"/>
                  <a:pt x="852" y="220"/>
                  <a:pt x="852" y="220"/>
                </a:cubicBezTo>
                <a:cubicBezTo>
                  <a:pt x="851" y="219"/>
                  <a:pt x="851" y="219"/>
                  <a:pt x="851" y="219"/>
                </a:cubicBezTo>
                <a:cubicBezTo>
                  <a:pt x="852" y="218"/>
                  <a:pt x="852" y="218"/>
                  <a:pt x="852" y="218"/>
                </a:cubicBezTo>
                <a:cubicBezTo>
                  <a:pt x="853" y="219"/>
                  <a:pt x="853" y="219"/>
                  <a:pt x="853" y="219"/>
                </a:cubicBezTo>
                <a:cubicBezTo>
                  <a:pt x="852" y="221"/>
                  <a:pt x="852" y="221"/>
                  <a:pt x="852" y="221"/>
                </a:cubicBezTo>
                <a:cubicBezTo>
                  <a:pt x="854" y="222"/>
                  <a:pt x="854" y="222"/>
                  <a:pt x="854" y="222"/>
                </a:cubicBezTo>
                <a:cubicBezTo>
                  <a:pt x="855" y="221"/>
                  <a:pt x="855" y="221"/>
                  <a:pt x="855" y="221"/>
                </a:cubicBezTo>
                <a:cubicBezTo>
                  <a:pt x="855" y="222"/>
                  <a:pt x="855" y="222"/>
                  <a:pt x="855" y="222"/>
                </a:cubicBezTo>
                <a:cubicBezTo>
                  <a:pt x="855" y="223"/>
                  <a:pt x="855" y="223"/>
                  <a:pt x="855" y="223"/>
                </a:cubicBezTo>
                <a:cubicBezTo>
                  <a:pt x="856" y="224"/>
                  <a:pt x="856" y="224"/>
                  <a:pt x="856" y="224"/>
                </a:cubicBezTo>
                <a:cubicBezTo>
                  <a:pt x="857" y="225"/>
                  <a:pt x="857" y="225"/>
                  <a:pt x="857" y="225"/>
                </a:cubicBezTo>
                <a:cubicBezTo>
                  <a:pt x="858" y="226"/>
                  <a:pt x="858" y="226"/>
                  <a:pt x="858" y="226"/>
                </a:cubicBezTo>
                <a:cubicBezTo>
                  <a:pt x="859" y="227"/>
                  <a:pt x="859" y="227"/>
                  <a:pt x="859" y="227"/>
                </a:cubicBezTo>
                <a:cubicBezTo>
                  <a:pt x="860" y="226"/>
                  <a:pt x="860" y="226"/>
                  <a:pt x="860" y="226"/>
                </a:cubicBezTo>
                <a:cubicBezTo>
                  <a:pt x="860" y="227"/>
                  <a:pt x="860" y="227"/>
                  <a:pt x="860" y="227"/>
                </a:cubicBezTo>
                <a:cubicBezTo>
                  <a:pt x="861" y="228"/>
                  <a:pt x="861" y="228"/>
                  <a:pt x="861" y="228"/>
                </a:cubicBezTo>
                <a:close/>
                <a:moveTo>
                  <a:pt x="868" y="214"/>
                </a:moveTo>
                <a:cubicBezTo>
                  <a:pt x="868" y="216"/>
                  <a:pt x="868" y="216"/>
                  <a:pt x="868" y="216"/>
                </a:cubicBezTo>
                <a:cubicBezTo>
                  <a:pt x="869" y="216"/>
                  <a:pt x="869" y="216"/>
                  <a:pt x="869" y="216"/>
                </a:cubicBezTo>
                <a:cubicBezTo>
                  <a:pt x="870" y="215"/>
                  <a:pt x="870" y="215"/>
                  <a:pt x="870" y="215"/>
                </a:cubicBezTo>
                <a:cubicBezTo>
                  <a:pt x="869" y="213"/>
                  <a:pt x="869" y="213"/>
                  <a:pt x="869" y="213"/>
                </a:cubicBezTo>
                <a:cubicBezTo>
                  <a:pt x="868" y="214"/>
                  <a:pt x="868" y="214"/>
                  <a:pt x="868" y="214"/>
                </a:cubicBezTo>
                <a:close/>
                <a:moveTo>
                  <a:pt x="846" y="216"/>
                </a:moveTo>
                <a:cubicBezTo>
                  <a:pt x="846" y="216"/>
                  <a:pt x="846" y="216"/>
                  <a:pt x="846" y="217"/>
                </a:cubicBezTo>
                <a:cubicBezTo>
                  <a:pt x="847" y="217"/>
                  <a:pt x="847" y="217"/>
                  <a:pt x="847" y="217"/>
                </a:cubicBezTo>
                <a:cubicBezTo>
                  <a:pt x="847" y="217"/>
                  <a:pt x="847" y="217"/>
                  <a:pt x="847" y="216"/>
                </a:cubicBezTo>
                <a:cubicBezTo>
                  <a:pt x="847" y="216"/>
                  <a:pt x="847" y="216"/>
                  <a:pt x="848" y="215"/>
                </a:cubicBezTo>
                <a:cubicBezTo>
                  <a:pt x="848" y="215"/>
                  <a:pt x="848" y="215"/>
                  <a:pt x="847" y="214"/>
                </a:cubicBezTo>
                <a:cubicBezTo>
                  <a:pt x="847" y="214"/>
                  <a:pt x="847" y="214"/>
                  <a:pt x="846" y="214"/>
                </a:cubicBezTo>
                <a:cubicBezTo>
                  <a:pt x="846" y="214"/>
                  <a:pt x="846" y="214"/>
                  <a:pt x="846" y="216"/>
                </a:cubicBezTo>
                <a:close/>
                <a:moveTo>
                  <a:pt x="843" y="217"/>
                </a:moveTo>
                <a:cubicBezTo>
                  <a:pt x="843" y="217"/>
                  <a:pt x="843" y="217"/>
                  <a:pt x="842" y="219"/>
                </a:cubicBezTo>
                <a:cubicBezTo>
                  <a:pt x="842" y="219"/>
                  <a:pt x="842" y="219"/>
                  <a:pt x="842" y="220"/>
                </a:cubicBezTo>
                <a:cubicBezTo>
                  <a:pt x="842" y="220"/>
                  <a:pt x="842" y="220"/>
                  <a:pt x="843" y="221"/>
                </a:cubicBezTo>
                <a:cubicBezTo>
                  <a:pt x="843" y="221"/>
                  <a:pt x="843" y="221"/>
                  <a:pt x="843" y="220"/>
                </a:cubicBezTo>
                <a:cubicBezTo>
                  <a:pt x="843" y="220"/>
                  <a:pt x="843" y="220"/>
                  <a:pt x="844" y="219"/>
                </a:cubicBezTo>
                <a:cubicBezTo>
                  <a:pt x="844" y="219"/>
                  <a:pt x="844" y="219"/>
                  <a:pt x="845" y="219"/>
                </a:cubicBezTo>
                <a:cubicBezTo>
                  <a:pt x="845" y="219"/>
                  <a:pt x="845" y="219"/>
                  <a:pt x="845" y="217"/>
                </a:cubicBezTo>
                <a:cubicBezTo>
                  <a:pt x="845" y="217"/>
                  <a:pt x="845" y="217"/>
                  <a:pt x="845" y="216"/>
                </a:cubicBezTo>
                <a:cubicBezTo>
                  <a:pt x="845" y="216"/>
                  <a:pt x="845" y="216"/>
                  <a:pt x="844" y="216"/>
                </a:cubicBezTo>
                <a:cubicBezTo>
                  <a:pt x="844" y="216"/>
                  <a:pt x="844" y="216"/>
                  <a:pt x="843" y="216"/>
                </a:cubicBezTo>
                <a:cubicBezTo>
                  <a:pt x="843" y="216"/>
                  <a:pt x="843" y="216"/>
                  <a:pt x="843" y="217"/>
                </a:cubicBezTo>
                <a:close/>
                <a:moveTo>
                  <a:pt x="878" y="188"/>
                </a:moveTo>
                <a:cubicBezTo>
                  <a:pt x="878" y="188"/>
                  <a:pt x="878" y="188"/>
                  <a:pt x="877" y="188"/>
                </a:cubicBezTo>
                <a:cubicBezTo>
                  <a:pt x="877" y="188"/>
                  <a:pt x="877" y="188"/>
                  <a:pt x="878" y="189"/>
                </a:cubicBezTo>
                <a:cubicBezTo>
                  <a:pt x="878" y="189"/>
                  <a:pt x="878" y="189"/>
                  <a:pt x="878" y="188"/>
                </a:cubicBezTo>
                <a:close/>
                <a:moveTo>
                  <a:pt x="843" y="211"/>
                </a:moveTo>
                <a:cubicBezTo>
                  <a:pt x="843" y="211"/>
                  <a:pt x="843" y="211"/>
                  <a:pt x="844" y="211"/>
                </a:cubicBezTo>
                <a:cubicBezTo>
                  <a:pt x="844" y="211"/>
                  <a:pt x="844" y="211"/>
                  <a:pt x="845" y="210"/>
                </a:cubicBezTo>
                <a:cubicBezTo>
                  <a:pt x="845" y="210"/>
                  <a:pt x="845" y="210"/>
                  <a:pt x="845" y="209"/>
                </a:cubicBezTo>
                <a:cubicBezTo>
                  <a:pt x="845" y="209"/>
                  <a:pt x="845" y="209"/>
                  <a:pt x="844" y="209"/>
                </a:cubicBezTo>
                <a:cubicBezTo>
                  <a:pt x="844" y="209"/>
                  <a:pt x="844" y="209"/>
                  <a:pt x="844" y="208"/>
                </a:cubicBezTo>
                <a:cubicBezTo>
                  <a:pt x="844" y="208"/>
                  <a:pt x="844" y="208"/>
                  <a:pt x="843" y="208"/>
                </a:cubicBezTo>
                <a:cubicBezTo>
                  <a:pt x="843" y="208"/>
                  <a:pt x="843" y="208"/>
                  <a:pt x="843" y="209"/>
                </a:cubicBezTo>
                <a:cubicBezTo>
                  <a:pt x="843" y="209"/>
                  <a:pt x="843" y="209"/>
                  <a:pt x="844" y="210"/>
                </a:cubicBezTo>
                <a:cubicBezTo>
                  <a:pt x="844" y="210"/>
                  <a:pt x="844" y="210"/>
                  <a:pt x="843" y="210"/>
                </a:cubicBezTo>
                <a:cubicBezTo>
                  <a:pt x="843" y="210"/>
                  <a:pt x="843" y="210"/>
                  <a:pt x="843" y="211"/>
                </a:cubicBezTo>
                <a:close/>
                <a:moveTo>
                  <a:pt x="846" y="230"/>
                </a:moveTo>
                <a:cubicBezTo>
                  <a:pt x="845" y="230"/>
                  <a:pt x="845" y="230"/>
                  <a:pt x="845" y="230"/>
                </a:cubicBezTo>
                <a:cubicBezTo>
                  <a:pt x="845" y="231"/>
                  <a:pt x="845" y="231"/>
                  <a:pt x="845" y="231"/>
                </a:cubicBezTo>
                <a:cubicBezTo>
                  <a:pt x="846" y="231"/>
                  <a:pt x="846" y="231"/>
                  <a:pt x="846" y="231"/>
                </a:cubicBezTo>
                <a:cubicBezTo>
                  <a:pt x="846" y="230"/>
                  <a:pt x="846" y="230"/>
                  <a:pt x="846" y="230"/>
                </a:cubicBezTo>
                <a:close/>
                <a:moveTo>
                  <a:pt x="959" y="229"/>
                </a:moveTo>
                <a:cubicBezTo>
                  <a:pt x="959" y="229"/>
                  <a:pt x="959" y="229"/>
                  <a:pt x="958" y="229"/>
                </a:cubicBezTo>
                <a:cubicBezTo>
                  <a:pt x="958" y="229"/>
                  <a:pt x="958" y="229"/>
                  <a:pt x="957" y="230"/>
                </a:cubicBezTo>
                <a:cubicBezTo>
                  <a:pt x="957" y="230"/>
                  <a:pt x="957" y="230"/>
                  <a:pt x="957" y="231"/>
                </a:cubicBezTo>
                <a:cubicBezTo>
                  <a:pt x="957" y="231"/>
                  <a:pt x="957" y="231"/>
                  <a:pt x="958" y="231"/>
                </a:cubicBezTo>
                <a:cubicBezTo>
                  <a:pt x="958" y="231"/>
                  <a:pt x="958" y="231"/>
                  <a:pt x="959" y="230"/>
                </a:cubicBezTo>
                <a:cubicBezTo>
                  <a:pt x="959" y="230"/>
                  <a:pt x="959" y="230"/>
                  <a:pt x="960" y="229"/>
                </a:cubicBezTo>
                <a:cubicBezTo>
                  <a:pt x="960" y="229"/>
                  <a:pt x="960" y="229"/>
                  <a:pt x="960" y="228"/>
                </a:cubicBezTo>
                <a:cubicBezTo>
                  <a:pt x="960" y="228"/>
                  <a:pt x="960" y="228"/>
                  <a:pt x="959" y="228"/>
                </a:cubicBezTo>
                <a:cubicBezTo>
                  <a:pt x="959" y="228"/>
                  <a:pt x="959" y="228"/>
                  <a:pt x="959" y="229"/>
                </a:cubicBezTo>
                <a:close/>
                <a:moveTo>
                  <a:pt x="1003" y="280"/>
                </a:moveTo>
                <a:cubicBezTo>
                  <a:pt x="1003" y="280"/>
                  <a:pt x="1003" y="280"/>
                  <a:pt x="1004" y="279"/>
                </a:cubicBezTo>
                <a:cubicBezTo>
                  <a:pt x="1004" y="279"/>
                  <a:pt x="1004" y="279"/>
                  <a:pt x="1003" y="279"/>
                </a:cubicBezTo>
                <a:cubicBezTo>
                  <a:pt x="1003" y="279"/>
                  <a:pt x="1003" y="279"/>
                  <a:pt x="1003" y="280"/>
                </a:cubicBezTo>
                <a:close/>
                <a:moveTo>
                  <a:pt x="1007" y="314"/>
                </a:moveTo>
                <a:cubicBezTo>
                  <a:pt x="1006" y="313"/>
                  <a:pt x="1006" y="313"/>
                  <a:pt x="1006" y="313"/>
                </a:cubicBezTo>
                <a:cubicBezTo>
                  <a:pt x="1006" y="314"/>
                  <a:pt x="1006" y="314"/>
                  <a:pt x="1006" y="314"/>
                </a:cubicBezTo>
                <a:cubicBezTo>
                  <a:pt x="1007" y="314"/>
                  <a:pt x="1007" y="314"/>
                  <a:pt x="1007" y="314"/>
                </a:cubicBezTo>
                <a:close/>
                <a:moveTo>
                  <a:pt x="1018" y="260"/>
                </a:moveTo>
                <a:cubicBezTo>
                  <a:pt x="1018" y="260"/>
                  <a:pt x="1018" y="260"/>
                  <a:pt x="1018" y="259"/>
                </a:cubicBezTo>
                <a:cubicBezTo>
                  <a:pt x="1018" y="259"/>
                  <a:pt x="1018" y="259"/>
                  <a:pt x="1017" y="259"/>
                </a:cubicBezTo>
                <a:cubicBezTo>
                  <a:pt x="1017" y="259"/>
                  <a:pt x="1017" y="259"/>
                  <a:pt x="1016" y="261"/>
                </a:cubicBezTo>
                <a:cubicBezTo>
                  <a:pt x="1016" y="261"/>
                  <a:pt x="1016" y="261"/>
                  <a:pt x="1018" y="261"/>
                </a:cubicBezTo>
                <a:cubicBezTo>
                  <a:pt x="1018" y="261"/>
                  <a:pt x="1018" y="261"/>
                  <a:pt x="1018" y="260"/>
                </a:cubicBezTo>
                <a:close/>
                <a:moveTo>
                  <a:pt x="1029" y="280"/>
                </a:moveTo>
                <a:cubicBezTo>
                  <a:pt x="1028" y="280"/>
                  <a:pt x="1028" y="280"/>
                  <a:pt x="1028" y="280"/>
                </a:cubicBezTo>
                <a:cubicBezTo>
                  <a:pt x="1028" y="281"/>
                  <a:pt x="1028" y="281"/>
                  <a:pt x="1028" y="281"/>
                </a:cubicBezTo>
                <a:cubicBezTo>
                  <a:pt x="1030" y="281"/>
                  <a:pt x="1030" y="281"/>
                  <a:pt x="1030" y="281"/>
                </a:cubicBezTo>
                <a:cubicBezTo>
                  <a:pt x="1030" y="282"/>
                  <a:pt x="1030" y="282"/>
                  <a:pt x="1030" y="282"/>
                </a:cubicBezTo>
                <a:cubicBezTo>
                  <a:pt x="1029" y="282"/>
                  <a:pt x="1029" y="282"/>
                  <a:pt x="1029" y="282"/>
                </a:cubicBezTo>
                <a:cubicBezTo>
                  <a:pt x="1028" y="282"/>
                  <a:pt x="1028" y="282"/>
                  <a:pt x="1028" y="282"/>
                </a:cubicBezTo>
                <a:cubicBezTo>
                  <a:pt x="1027" y="282"/>
                  <a:pt x="1027" y="282"/>
                  <a:pt x="1027" y="282"/>
                </a:cubicBezTo>
                <a:cubicBezTo>
                  <a:pt x="1026" y="282"/>
                  <a:pt x="1026" y="282"/>
                  <a:pt x="1026" y="282"/>
                </a:cubicBezTo>
                <a:cubicBezTo>
                  <a:pt x="1026" y="281"/>
                  <a:pt x="1026" y="281"/>
                  <a:pt x="1026" y="281"/>
                </a:cubicBezTo>
                <a:cubicBezTo>
                  <a:pt x="1026" y="280"/>
                  <a:pt x="1026" y="280"/>
                  <a:pt x="1026" y="280"/>
                </a:cubicBezTo>
                <a:cubicBezTo>
                  <a:pt x="1025" y="280"/>
                  <a:pt x="1025" y="280"/>
                  <a:pt x="1025" y="280"/>
                </a:cubicBezTo>
                <a:cubicBezTo>
                  <a:pt x="1025" y="279"/>
                  <a:pt x="1025" y="279"/>
                  <a:pt x="1025" y="279"/>
                </a:cubicBezTo>
                <a:cubicBezTo>
                  <a:pt x="1024" y="279"/>
                  <a:pt x="1024" y="279"/>
                  <a:pt x="1024" y="279"/>
                </a:cubicBezTo>
                <a:cubicBezTo>
                  <a:pt x="1024" y="280"/>
                  <a:pt x="1024" y="280"/>
                  <a:pt x="1024" y="280"/>
                </a:cubicBezTo>
                <a:cubicBezTo>
                  <a:pt x="1025" y="281"/>
                  <a:pt x="1025" y="281"/>
                  <a:pt x="1025" y="281"/>
                </a:cubicBezTo>
                <a:cubicBezTo>
                  <a:pt x="1025" y="282"/>
                  <a:pt x="1025" y="282"/>
                  <a:pt x="1025" y="282"/>
                </a:cubicBezTo>
                <a:cubicBezTo>
                  <a:pt x="1024" y="282"/>
                  <a:pt x="1024" y="282"/>
                  <a:pt x="1024" y="282"/>
                </a:cubicBezTo>
                <a:cubicBezTo>
                  <a:pt x="1023" y="281"/>
                  <a:pt x="1023" y="281"/>
                  <a:pt x="1023" y="281"/>
                </a:cubicBezTo>
                <a:cubicBezTo>
                  <a:pt x="1023" y="282"/>
                  <a:pt x="1023" y="282"/>
                  <a:pt x="1023" y="282"/>
                </a:cubicBezTo>
                <a:cubicBezTo>
                  <a:pt x="1024" y="283"/>
                  <a:pt x="1024" y="283"/>
                  <a:pt x="1024" y="283"/>
                </a:cubicBezTo>
                <a:cubicBezTo>
                  <a:pt x="1025" y="283"/>
                  <a:pt x="1025" y="283"/>
                  <a:pt x="1025" y="283"/>
                </a:cubicBezTo>
                <a:cubicBezTo>
                  <a:pt x="1026" y="283"/>
                  <a:pt x="1026" y="283"/>
                  <a:pt x="1026" y="283"/>
                </a:cubicBezTo>
                <a:cubicBezTo>
                  <a:pt x="1026" y="284"/>
                  <a:pt x="1026" y="284"/>
                  <a:pt x="1026" y="284"/>
                </a:cubicBezTo>
                <a:cubicBezTo>
                  <a:pt x="1026" y="285"/>
                  <a:pt x="1026" y="285"/>
                  <a:pt x="1026" y="285"/>
                </a:cubicBezTo>
                <a:cubicBezTo>
                  <a:pt x="1024" y="285"/>
                  <a:pt x="1024" y="285"/>
                  <a:pt x="1024" y="285"/>
                </a:cubicBezTo>
                <a:cubicBezTo>
                  <a:pt x="1024" y="284"/>
                  <a:pt x="1024" y="284"/>
                  <a:pt x="1024" y="284"/>
                </a:cubicBezTo>
                <a:cubicBezTo>
                  <a:pt x="1023" y="283"/>
                  <a:pt x="1023" y="283"/>
                  <a:pt x="1023" y="283"/>
                </a:cubicBezTo>
                <a:cubicBezTo>
                  <a:pt x="1022" y="283"/>
                  <a:pt x="1022" y="283"/>
                  <a:pt x="1022" y="283"/>
                </a:cubicBezTo>
                <a:cubicBezTo>
                  <a:pt x="1023" y="284"/>
                  <a:pt x="1023" y="284"/>
                  <a:pt x="1023" y="284"/>
                </a:cubicBezTo>
                <a:cubicBezTo>
                  <a:pt x="1024" y="285"/>
                  <a:pt x="1024" y="285"/>
                  <a:pt x="1024" y="285"/>
                </a:cubicBezTo>
                <a:cubicBezTo>
                  <a:pt x="1024" y="287"/>
                  <a:pt x="1024" y="287"/>
                  <a:pt x="1024" y="287"/>
                </a:cubicBezTo>
                <a:cubicBezTo>
                  <a:pt x="1023" y="287"/>
                  <a:pt x="1023" y="287"/>
                  <a:pt x="1023" y="287"/>
                </a:cubicBezTo>
                <a:cubicBezTo>
                  <a:pt x="1022" y="286"/>
                  <a:pt x="1022" y="286"/>
                  <a:pt x="1022" y="286"/>
                </a:cubicBezTo>
                <a:cubicBezTo>
                  <a:pt x="1021" y="286"/>
                  <a:pt x="1021" y="286"/>
                  <a:pt x="1021" y="286"/>
                </a:cubicBezTo>
                <a:cubicBezTo>
                  <a:pt x="1021" y="287"/>
                  <a:pt x="1021" y="287"/>
                  <a:pt x="1021" y="287"/>
                </a:cubicBezTo>
                <a:cubicBezTo>
                  <a:pt x="1021" y="289"/>
                  <a:pt x="1021" y="289"/>
                  <a:pt x="1021" y="289"/>
                </a:cubicBezTo>
                <a:cubicBezTo>
                  <a:pt x="1020" y="289"/>
                  <a:pt x="1020" y="289"/>
                  <a:pt x="1020" y="289"/>
                </a:cubicBezTo>
                <a:cubicBezTo>
                  <a:pt x="1020" y="288"/>
                  <a:pt x="1020" y="288"/>
                  <a:pt x="1020" y="288"/>
                </a:cubicBezTo>
                <a:cubicBezTo>
                  <a:pt x="1019" y="288"/>
                  <a:pt x="1019" y="288"/>
                  <a:pt x="1019" y="288"/>
                </a:cubicBezTo>
                <a:cubicBezTo>
                  <a:pt x="1019" y="289"/>
                  <a:pt x="1019" y="289"/>
                  <a:pt x="1019" y="289"/>
                </a:cubicBezTo>
                <a:cubicBezTo>
                  <a:pt x="1018" y="288"/>
                  <a:pt x="1018" y="288"/>
                  <a:pt x="1018" y="288"/>
                </a:cubicBezTo>
                <a:cubicBezTo>
                  <a:pt x="1018" y="287"/>
                  <a:pt x="1018" y="287"/>
                  <a:pt x="1018" y="287"/>
                </a:cubicBezTo>
                <a:cubicBezTo>
                  <a:pt x="1018" y="286"/>
                  <a:pt x="1018" y="286"/>
                  <a:pt x="1018" y="286"/>
                </a:cubicBezTo>
                <a:cubicBezTo>
                  <a:pt x="1018" y="285"/>
                  <a:pt x="1018" y="285"/>
                  <a:pt x="1018" y="285"/>
                </a:cubicBezTo>
                <a:cubicBezTo>
                  <a:pt x="1017" y="286"/>
                  <a:pt x="1017" y="286"/>
                  <a:pt x="1017" y="286"/>
                </a:cubicBezTo>
                <a:cubicBezTo>
                  <a:pt x="1017" y="288"/>
                  <a:pt x="1017" y="288"/>
                  <a:pt x="1017" y="288"/>
                </a:cubicBezTo>
                <a:cubicBezTo>
                  <a:pt x="1016" y="288"/>
                  <a:pt x="1016" y="288"/>
                  <a:pt x="1016" y="288"/>
                </a:cubicBezTo>
                <a:cubicBezTo>
                  <a:pt x="1017" y="289"/>
                  <a:pt x="1017" y="289"/>
                  <a:pt x="1017" y="289"/>
                </a:cubicBezTo>
                <a:cubicBezTo>
                  <a:pt x="1017" y="290"/>
                  <a:pt x="1017" y="290"/>
                  <a:pt x="1017" y="290"/>
                </a:cubicBezTo>
                <a:cubicBezTo>
                  <a:pt x="1017" y="291"/>
                  <a:pt x="1017" y="291"/>
                  <a:pt x="1017" y="291"/>
                </a:cubicBezTo>
                <a:cubicBezTo>
                  <a:pt x="1017" y="292"/>
                  <a:pt x="1017" y="292"/>
                  <a:pt x="1017" y="292"/>
                </a:cubicBezTo>
                <a:cubicBezTo>
                  <a:pt x="1016" y="292"/>
                  <a:pt x="1016" y="292"/>
                  <a:pt x="1016" y="292"/>
                </a:cubicBezTo>
                <a:cubicBezTo>
                  <a:pt x="1016" y="293"/>
                  <a:pt x="1016" y="293"/>
                  <a:pt x="1016" y="293"/>
                </a:cubicBezTo>
                <a:cubicBezTo>
                  <a:pt x="1015" y="294"/>
                  <a:pt x="1015" y="294"/>
                  <a:pt x="1015" y="294"/>
                </a:cubicBezTo>
                <a:cubicBezTo>
                  <a:pt x="1016" y="294"/>
                  <a:pt x="1016" y="294"/>
                  <a:pt x="1016" y="294"/>
                </a:cubicBezTo>
                <a:cubicBezTo>
                  <a:pt x="1016" y="295"/>
                  <a:pt x="1016" y="295"/>
                  <a:pt x="1016" y="295"/>
                </a:cubicBezTo>
                <a:cubicBezTo>
                  <a:pt x="1016" y="296"/>
                  <a:pt x="1016" y="296"/>
                  <a:pt x="1016" y="296"/>
                </a:cubicBezTo>
                <a:cubicBezTo>
                  <a:pt x="1015" y="296"/>
                  <a:pt x="1015" y="296"/>
                  <a:pt x="1015" y="296"/>
                </a:cubicBezTo>
                <a:cubicBezTo>
                  <a:pt x="1015" y="297"/>
                  <a:pt x="1015" y="297"/>
                  <a:pt x="1015" y="297"/>
                </a:cubicBezTo>
                <a:cubicBezTo>
                  <a:pt x="1014" y="297"/>
                  <a:pt x="1014" y="297"/>
                  <a:pt x="1014" y="297"/>
                </a:cubicBezTo>
                <a:cubicBezTo>
                  <a:pt x="1014" y="296"/>
                  <a:pt x="1014" y="296"/>
                  <a:pt x="1014" y="296"/>
                </a:cubicBezTo>
                <a:cubicBezTo>
                  <a:pt x="1014" y="295"/>
                  <a:pt x="1014" y="295"/>
                  <a:pt x="1014" y="295"/>
                </a:cubicBezTo>
                <a:cubicBezTo>
                  <a:pt x="1013" y="295"/>
                  <a:pt x="1013" y="295"/>
                  <a:pt x="1013" y="295"/>
                </a:cubicBezTo>
                <a:cubicBezTo>
                  <a:pt x="1013" y="294"/>
                  <a:pt x="1013" y="294"/>
                  <a:pt x="1013" y="294"/>
                </a:cubicBezTo>
                <a:cubicBezTo>
                  <a:pt x="1012" y="294"/>
                  <a:pt x="1012" y="294"/>
                  <a:pt x="1012" y="294"/>
                </a:cubicBezTo>
                <a:cubicBezTo>
                  <a:pt x="1012" y="295"/>
                  <a:pt x="1012" y="295"/>
                  <a:pt x="1012" y="295"/>
                </a:cubicBezTo>
                <a:cubicBezTo>
                  <a:pt x="1011" y="295"/>
                  <a:pt x="1011" y="295"/>
                  <a:pt x="1011" y="295"/>
                </a:cubicBezTo>
                <a:cubicBezTo>
                  <a:pt x="1011" y="294"/>
                  <a:pt x="1011" y="294"/>
                  <a:pt x="1011" y="294"/>
                </a:cubicBezTo>
                <a:cubicBezTo>
                  <a:pt x="1011" y="293"/>
                  <a:pt x="1011" y="293"/>
                  <a:pt x="1011" y="293"/>
                </a:cubicBezTo>
                <a:cubicBezTo>
                  <a:pt x="1011" y="292"/>
                  <a:pt x="1011" y="292"/>
                  <a:pt x="1011" y="292"/>
                </a:cubicBezTo>
                <a:cubicBezTo>
                  <a:pt x="1010" y="293"/>
                  <a:pt x="1010" y="293"/>
                  <a:pt x="1010" y="293"/>
                </a:cubicBezTo>
                <a:cubicBezTo>
                  <a:pt x="1009" y="294"/>
                  <a:pt x="1009" y="294"/>
                  <a:pt x="1009" y="294"/>
                </a:cubicBezTo>
                <a:cubicBezTo>
                  <a:pt x="1009" y="293"/>
                  <a:pt x="1009" y="293"/>
                  <a:pt x="1009" y="293"/>
                </a:cubicBezTo>
                <a:cubicBezTo>
                  <a:pt x="1009" y="292"/>
                  <a:pt x="1009" y="292"/>
                  <a:pt x="1009" y="292"/>
                </a:cubicBezTo>
                <a:cubicBezTo>
                  <a:pt x="1009" y="291"/>
                  <a:pt x="1009" y="291"/>
                  <a:pt x="1009" y="291"/>
                </a:cubicBezTo>
                <a:cubicBezTo>
                  <a:pt x="1010" y="290"/>
                  <a:pt x="1010" y="290"/>
                  <a:pt x="1010" y="290"/>
                </a:cubicBezTo>
                <a:cubicBezTo>
                  <a:pt x="1011" y="290"/>
                  <a:pt x="1011" y="290"/>
                  <a:pt x="1011" y="290"/>
                </a:cubicBezTo>
                <a:cubicBezTo>
                  <a:pt x="1010" y="289"/>
                  <a:pt x="1010" y="289"/>
                  <a:pt x="1010" y="289"/>
                </a:cubicBezTo>
                <a:cubicBezTo>
                  <a:pt x="1009" y="289"/>
                  <a:pt x="1009" y="289"/>
                  <a:pt x="1009" y="289"/>
                </a:cubicBezTo>
                <a:cubicBezTo>
                  <a:pt x="1008" y="289"/>
                  <a:pt x="1008" y="289"/>
                  <a:pt x="1008" y="289"/>
                </a:cubicBezTo>
                <a:cubicBezTo>
                  <a:pt x="1008" y="288"/>
                  <a:pt x="1008" y="288"/>
                  <a:pt x="1008" y="288"/>
                </a:cubicBezTo>
                <a:cubicBezTo>
                  <a:pt x="1009" y="288"/>
                  <a:pt x="1009" y="288"/>
                  <a:pt x="1009" y="288"/>
                </a:cubicBezTo>
                <a:cubicBezTo>
                  <a:pt x="1010" y="287"/>
                  <a:pt x="1010" y="287"/>
                  <a:pt x="1010" y="287"/>
                </a:cubicBezTo>
                <a:cubicBezTo>
                  <a:pt x="1009" y="287"/>
                  <a:pt x="1009" y="287"/>
                  <a:pt x="1009" y="287"/>
                </a:cubicBezTo>
                <a:cubicBezTo>
                  <a:pt x="1008" y="287"/>
                  <a:pt x="1008" y="287"/>
                  <a:pt x="1008" y="287"/>
                </a:cubicBezTo>
                <a:cubicBezTo>
                  <a:pt x="1009" y="286"/>
                  <a:pt x="1009" y="286"/>
                  <a:pt x="1009" y="286"/>
                </a:cubicBezTo>
                <a:cubicBezTo>
                  <a:pt x="1010" y="286"/>
                  <a:pt x="1010" y="286"/>
                  <a:pt x="1010" y="286"/>
                </a:cubicBezTo>
                <a:cubicBezTo>
                  <a:pt x="1009" y="285"/>
                  <a:pt x="1009" y="285"/>
                  <a:pt x="1009" y="285"/>
                </a:cubicBezTo>
                <a:cubicBezTo>
                  <a:pt x="1008" y="286"/>
                  <a:pt x="1008" y="286"/>
                  <a:pt x="1008" y="286"/>
                </a:cubicBezTo>
                <a:cubicBezTo>
                  <a:pt x="1008" y="285"/>
                  <a:pt x="1008" y="285"/>
                  <a:pt x="1008" y="285"/>
                </a:cubicBezTo>
                <a:cubicBezTo>
                  <a:pt x="1009" y="284"/>
                  <a:pt x="1009" y="284"/>
                  <a:pt x="1009" y="284"/>
                </a:cubicBezTo>
                <a:cubicBezTo>
                  <a:pt x="1009" y="283"/>
                  <a:pt x="1009" y="283"/>
                  <a:pt x="1009" y="283"/>
                </a:cubicBezTo>
                <a:cubicBezTo>
                  <a:pt x="1010" y="283"/>
                  <a:pt x="1010" y="283"/>
                  <a:pt x="1010" y="283"/>
                </a:cubicBezTo>
                <a:cubicBezTo>
                  <a:pt x="1011" y="282"/>
                  <a:pt x="1011" y="282"/>
                  <a:pt x="1011" y="282"/>
                </a:cubicBezTo>
                <a:cubicBezTo>
                  <a:pt x="1012" y="282"/>
                  <a:pt x="1012" y="282"/>
                  <a:pt x="1012" y="282"/>
                </a:cubicBezTo>
                <a:cubicBezTo>
                  <a:pt x="1013" y="281"/>
                  <a:pt x="1013" y="281"/>
                  <a:pt x="1013" y="281"/>
                </a:cubicBezTo>
                <a:cubicBezTo>
                  <a:pt x="1014" y="280"/>
                  <a:pt x="1014" y="280"/>
                  <a:pt x="1014" y="280"/>
                </a:cubicBezTo>
                <a:cubicBezTo>
                  <a:pt x="1014" y="279"/>
                  <a:pt x="1014" y="279"/>
                  <a:pt x="1014" y="279"/>
                </a:cubicBezTo>
                <a:cubicBezTo>
                  <a:pt x="1013" y="279"/>
                  <a:pt x="1013" y="279"/>
                  <a:pt x="1013" y="279"/>
                </a:cubicBezTo>
                <a:cubicBezTo>
                  <a:pt x="1012" y="280"/>
                  <a:pt x="1012" y="280"/>
                  <a:pt x="1012" y="280"/>
                </a:cubicBezTo>
                <a:cubicBezTo>
                  <a:pt x="1011" y="281"/>
                  <a:pt x="1011" y="281"/>
                  <a:pt x="1011" y="281"/>
                </a:cubicBezTo>
                <a:cubicBezTo>
                  <a:pt x="1010" y="282"/>
                  <a:pt x="1010" y="282"/>
                  <a:pt x="1010" y="282"/>
                </a:cubicBezTo>
                <a:cubicBezTo>
                  <a:pt x="1009" y="282"/>
                  <a:pt x="1009" y="282"/>
                  <a:pt x="1009" y="282"/>
                </a:cubicBezTo>
                <a:cubicBezTo>
                  <a:pt x="1007" y="283"/>
                  <a:pt x="1007" y="283"/>
                  <a:pt x="1007" y="283"/>
                </a:cubicBezTo>
                <a:cubicBezTo>
                  <a:pt x="1006" y="283"/>
                  <a:pt x="1006" y="283"/>
                  <a:pt x="1006" y="283"/>
                </a:cubicBezTo>
                <a:cubicBezTo>
                  <a:pt x="1005" y="283"/>
                  <a:pt x="1005" y="283"/>
                  <a:pt x="1005" y="283"/>
                </a:cubicBezTo>
                <a:cubicBezTo>
                  <a:pt x="1007" y="281"/>
                  <a:pt x="1007" y="281"/>
                  <a:pt x="1007" y="281"/>
                </a:cubicBezTo>
                <a:cubicBezTo>
                  <a:pt x="1008" y="280"/>
                  <a:pt x="1008" y="280"/>
                  <a:pt x="1008" y="280"/>
                </a:cubicBezTo>
                <a:cubicBezTo>
                  <a:pt x="1009" y="280"/>
                  <a:pt x="1009" y="280"/>
                  <a:pt x="1009" y="280"/>
                </a:cubicBezTo>
                <a:cubicBezTo>
                  <a:pt x="1009" y="279"/>
                  <a:pt x="1009" y="279"/>
                  <a:pt x="1009" y="279"/>
                </a:cubicBezTo>
                <a:cubicBezTo>
                  <a:pt x="1009" y="278"/>
                  <a:pt x="1009" y="278"/>
                  <a:pt x="1009" y="278"/>
                </a:cubicBezTo>
                <a:cubicBezTo>
                  <a:pt x="1008" y="279"/>
                  <a:pt x="1008" y="279"/>
                  <a:pt x="1008" y="279"/>
                </a:cubicBezTo>
                <a:cubicBezTo>
                  <a:pt x="1006" y="281"/>
                  <a:pt x="1006" y="281"/>
                  <a:pt x="1006" y="281"/>
                </a:cubicBezTo>
                <a:cubicBezTo>
                  <a:pt x="1005" y="281"/>
                  <a:pt x="1005" y="281"/>
                  <a:pt x="1005" y="281"/>
                </a:cubicBezTo>
                <a:cubicBezTo>
                  <a:pt x="1004" y="281"/>
                  <a:pt x="1004" y="281"/>
                  <a:pt x="1004" y="281"/>
                </a:cubicBezTo>
                <a:cubicBezTo>
                  <a:pt x="1004" y="280"/>
                  <a:pt x="1004" y="280"/>
                  <a:pt x="1004" y="280"/>
                </a:cubicBezTo>
                <a:cubicBezTo>
                  <a:pt x="1004" y="279"/>
                  <a:pt x="1004" y="279"/>
                  <a:pt x="1004" y="279"/>
                </a:cubicBezTo>
                <a:cubicBezTo>
                  <a:pt x="1004" y="278"/>
                  <a:pt x="1004" y="278"/>
                  <a:pt x="1004" y="278"/>
                </a:cubicBezTo>
                <a:cubicBezTo>
                  <a:pt x="1003" y="278"/>
                  <a:pt x="1003" y="278"/>
                  <a:pt x="1003" y="278"/>
                </a:cubicBezTo>
                <a:cubicBezTo>
                  <a:pt x="1002" y="277"/>
                  <a:pt x="1002" y="277"/>
                  <a:pt x="1002" y="277"/>
                </a:cubicBezTo>
                <a:cubicBezTo>
                  <a:pt x="1003" y="276"/>
                  <a:pt x="1003" y="276"/>
                  <a:pt x="1003" y="276"/>
                </a:cubicBezTo>
                <a:cubicBezTo>
                  <a:pt x="1003" y="275"/>
                  <a:pt x="1003" y="275"/>
                  <a:pt x="1003" y="275"/>
                </a:cubicBezTo>
                <a:cubicBezTo>
                  <a:pt x="1002" y="275"/>
                  <a:pt x="1002" y="275"/>
                  <a:pt x="1002" y="275"/>
                </a:cubicBezTo>
                <a:cubicBezTo>
                  <a:pt x="1002" y="276"/>
                  <a:pt x="1002" y="276"/>
                  <a:pt x="1002" y="276"/>
                </a:cubicBezTo>
                <a:cubicBezTo>
                  <a:pt x="1001" y="276"/>
                  <a:pt x="1001" y="276"/>
                  <a:pt x="1001" y="276"/>
                </a:cubicBezTo>
                <a:cubicBezTo>
                  <a:pt x="1000" y="276"/>
                  <a:pt x="1000" y="276"/>
                  <a:pt x="1000" y="276"/>
                </a:cubicBezTo>
                <a:cubicBezTo>
                  <a:pt x="1000" y="275"/>
                  <a:pt x="1000" y="275"/>
                  <a:pt x="1000" y="275"/>
                </a:cubicBezTo>
                <a:cubicBezTo>
                  <a:pt x="999" y="275"/>
                  <a:pt x="999" y="275"/>
                  <a:pt x="999" y="275"/>
                </a:cubicBezTo>
                <a:cubicBezTo>
                  <a:pt x="1000" y="276"/>
                  <a:pt x="1000" y="276"/>
                  <a:pt x="1000" y="276"/>
                </a:cubicBezTo>
                <a:cubicBezTo>
                  <a:pt x="1001" y="277"/>
                  <a:pt x="1001" y="277"/>
                  <a:pt x="1001" y="277"/>
                </a:cubicBezTo>
                <a:cubicBezTo>
                  <a:pt x="1001" y="278"/>
                  <a:pt x="1001" y="278"/>
                  <a:pt x="1001" y="278"/>
                </a:cubicBezTo>
                <a:cubicBezTo>
                  <a:pt x="1000" y="278"/>
                  <a:pt x="1000" y="278"/>
                  <a:pt x="1000" y="278"/>
                </a:cubicBezTo>
                <a:cubicBezTo>
                  <a:pt x="999" y="279"/>
                  <a:pt x="999" y="279"/>
                  <a:pt x="999" y="279"/>
                </a:cubicBezTo>
                <a:cubicBezTo>
                  <a:pt x="998" y="278"/>
                  <a:pt x="998" y="278"/>
                  <a:pt x="998" y="278"/>
                </a:cubicBezTo>
                <a:cubicBezTo>
                  <a:pt x="998" y="279"/>
                  <a:pt x="998" y="279"/>
                  <a:pt x="998" y="279"/>
                </a:cubicBezTo>
                <a:cubicBezTo>
                  <a:pt x="999" y="280"/>
                  <a:pt x="999" y="280"/>
                  <a:pt x="999" y="280"/>
                </a:cubicBezTo>
                <a:cubicBezTo>
                  <a:pt x="1000" y="281"/>
                  <a:pt x="1000" y="281"/>
                  <a:pt x="1000" y="281"/>
                </a:cubicBezTo>
                <a:cubicBezTo>
                  <a:pt x="999" y="282"/>
                  <a:pt x="999" y="282"/>
                  <a:pt x="999" y="282"/>
                </a:cubicBezTo>
                <a:cubicBezTo>
                  <a:pt x="1000" y="282"/>
                  <a:pt x="1000" y="282"/>
                  <a:pt x="1000" y="282"/>
                </a:cubicBezTo>
                <a:cubicBezTo>
                  <a:pt x="1000" y="283"/>
                  <a:pt x="1000" y="283"/>
                  <a:pt x="1000" y="283"/>
                </a:cubicBezTo>
                <a:cubicBezTo>
                  <a:pt x="999" y="283"/>
                  <a:pt x="999" y="283"/>
                  <a:pt x="999" y="283"/>
                </a:cubicBezTo>
                <a:cubicBezTo>
                  <a:pt x="998" y="283"/>
                  <a:pt x="998" y="283"/>
                  <a:pt x="998" y="283"/>
                </a:cubicBezTo>
                <a:cubicBezTo>
                  <a:pt x="997" y="282"/>
                  <a:pt x="997" y="282"/>
                  <a:pt x="997" y="282"/>
                </a:cubicBezTo>
                <a:cubicBezTo>
                  <a:pt x="997" y="283"/>
                  <a:pt x="997" y="283"/>
                  <a:pt x="997" y="283"/>
                </a:cubicBezTo>
                <a:cubicBezTo>
                  <a:pt x="995" y="282"/>
                  <a:pt x="995" y="282"/>
                  <a:pt x="995" y="282"/>
                </a:cubicBezTo>
                <a:cubicBezTo>
                  <a:pt x="995" y="281"/>
                  <a:pt x="995" y="281"/>
                  <a:pt x="995" y="281"/>
                </a:cubicBezTo>
                <a:cubicBezTo>
                  <a:pt x="996" y="280"/>
                  <a:pt x="996" y="280"/>
                  <a:pt x="996" y="280"/>
                </a:cubicBezTo>
                <a:cubicBezTo>
                  <a:pt x="995" y="279"/>
                  <a:pt x="995" y="279"/>
                  <a:pt x="995" y="279"/>
                </a:cubicBezTo>
                <a:cubicBezTo>
                  <a:pt x="994" y="279"/>
                  <a:pt x="994" y="279"/>
                  <a:pt x="994" y="279"/>
                </a:cubicBezTo>
                <a:cubicBezTo>
                  <a:pt x="993" y="279"/>
                  <a:pt x="993" y="279"/>
                  <a:pt x="993" y="279"/>
                </a:cubicBezTo>
                <a:cubicBezTo>
                  <a:pt x="993" y="278"/>
                  <a:pt x="993" y="278"/>
                  <a:pt x="993" y="278"/>
                </a:cubicBezTo>
                <a:cubicBezTo>
                  <a:pt x="993" y="277"/>
                  <a:pt x="993" y="277"/>
                  <a:pt x="993" y="277"/>
                </a:cubicBezTo>
                <a:cubicBezTo>
                  <a:pt x="992" y="278"/>
                  <a:pt x="992" y="278"/>
                  <a:pt x="992" y="278"/>
                </a:cubicBezTo>
                <a:cubicBezTo>
                  <a:pt x="991" y="278"/>
                  <a:pt x="991" y="278"/>
                  <a:pt x="991" y="278"/>
                </a:cubicBezTo>
                <a:cubicBezTo>
                  <a:pt x="990" y="278"/>
                  <a:pt x="990" y="278"/>
                  <a:pt x="990" y="278"/>
                </a:cubicBezTo>
                <a:cubicBezTo>
                  <a:pt x="990" y="279"/>
                  <a:pt x="990" y="279"/>
                  <a:pt x="990" y="279"/>
                </a:cubicBezTo>
                <a:cubicBezTo>
                  <a:pt x="992" y="279"/>
                  <a:pt x="992" y="279"/>
                  <a:pt x="992" y="279"/>
                </a:cubicBezTo>
                <a:cubicBezTo>
                  <a:pt x="993" y="279"/>
                  <a:pt x="993" y="279"/>
                  <a:pt x="993" y="279"/>
                </a:cubicBezTo>
                <a:cubicBezTo>
                  <a:pt x="994" y="280"/>
                  <a:pt x="994" y="280"/>
                  <a:pt x="994" y="280"/>
                </a:cubicBezTo>
                <a:cubicBezTo>
                  <a:pt x="994" y="281"/>
                  <a:pt x="994" y="281"/>
                  <a:pt x="994" y="281"/>
                </a:cubicBezTo>
                <a:cubicBezTo>
                  <a:pt x="993" y="282"/>
                  <a:pt x="993" y="282"/>
                  <a:pt x="993" y="282"/>
                </a:cubicBezTo>
                <a:cubicBezTo>
                  <a:pt x="994" y="282"/>
                  <a:pt x="994" y="282"/>
                  <a:pt x="994" y="282"/>
                </a:cubicBezTo>
                <a:cubicBezTo>
                  <a:pt x="994" y="283"/>
                  <a:pt x="994" y="283"/>
                  <a:pt x="994" y="283"/>
                </a:cubicBezTo>
                <a:cubicBezTo>
                  <a:pt x="994" y="284"/>
                  <a:pt x="994" y="284"/>
                  <a:pt x="994" y="284"/>
                </a:cubicBezTo>
                <a:cubicBezTo>
                  <a:pt x="996" y="284"/>
                  <a:pt x="996" y="284"/>
                  <a:pt x="996" y="284"/>
                </a:cubicBezTo>
                <a:cubicBezTo>
                  <a:pt x="995" y="285"/>
                  <a:pt x="995" y="285"/>
                  <a:pt x="995" y="285"/>
                </a:cubicBezTo>
                <a:cubicBezTo>
                  <a:pt x="993" y="287"/>
                  <a:pt x="993" y="287"/>
                  <a:pt x="993" y="287"/>
                </a:cubicBezTo>
                <a:cubicBezTo>
                  <a:pt x="992" y="288"/>
                  <a:pt x="992" y="288"/>
                  <a:pt x="992" y="288"/>
                </a:cubicBezTo>
                <a:cubicBezTo>
                  <a:pt x="994" y="287"/>
                  <a:pt x="994" y="287"/>
                  <a:pt x="994" y="287"/>
                </a:cubicBezTo>
                <a:cubicBezTo>
                  <a:pt x="995" y="286"/>
                  <a:pt x="995" y="286"/>
                  <a:pt x="995" y="286"/>
                </a:cubicBezTo>
                <a:cubicBezTo>
                  <a:pt x="997" y="286"/>
                  <a:pt x="997" y="286"/>
                  <a:pt x="997" y="286"/>
                </a:cubicBezTo>
                <a:cubicBezTo>
                  <a:pt x="998" y="286"/>
                  <a:pt x="998" y="286"/>
                  <a:pt x="998" y="286"/>
                </a:cubicBezTo>
                <a:cubicBezTo>
                  <a:pt x="998" y="287"/>
                  <a:pt x="998" y="287"/>
                  <a:pt x="998" y="287"/>
                </a:cubicBezTo>
                <a:cubicBezTo>
                  <a:pt x="997" y="287"/>
                  <a:pt x="997" y="287"/>
                  <a:pt x="997" y="287"/>
                </a:cubicBezTo>
                <a:cubicBezTo>
                  <a:pt x="996" y="288"/>
                  <a:pt x="996" y="288"/>
                  <a:pt x="996" y="288"/>
                </a:cubicBezTo>
                <a:cubicBezTo>
                  <a:pt x="997" y="289"/>
                  <a:pt x="997" y="289"/>
                  <a:pt x="997" y="289"/>
                </a:cubicBezTo>
                <a:cubicBezTo>
                  <a:pt x="998" y="289"/>
                  <a:pt x="998" y="289"/>
                  <a:pt x="998" y="289"/>
                </a:cubicBezTo>
                <a:cubicBezTo>
                  <a:pt x="998" y="290"/>
                  <a:pt x="998" y="290"/>
                  <a:pt x="998" y="290"/>
                </a:cubicBezTo>
                <a:cubicBezTo>
                  <a:pt x="996" y="290"/>
                  <a:pt x="996" y="290"/>
                  <a:pt x="996" y="290"/>
                </a:cubicBezTo>
                <a:cubicBezTo>
                  <a:pt x="997" y="291"/>
                  <a:pt x="997" y="291"/>
                  <a:pt x="997" y="291"/>
                </a:cubicBezTo>
                <a:cubicBezTo>
                  <a:pt x="997" y="292"/>
                  <a:pt x="997" y="292"/>
                  <a:pt x="997" y="292"/>
                </a:cubicBezTo>
                <a:cubicBezTo>
                  <a:pt x="997" y="293"/>
                  <a:pt x="997" y="293"/>
                  <a:pt x="997" y="293"/>
                </a:cubicBezTo>
                <a:cubicBezTo>
                  <a:pt x="998" y="293"/>
                  <a:pt x="998" y="293"/>
                  <a:pt x="998" y="293"/>
                </a:cubicBezTo>
                <a:cubicBezTo>
                  <a:pt x="998" y="294"/>
                  <a:pt x="998" y="294"/>
                  <a:pt x="998" y="294"/>
                </a:cubicBezTo>
                <a:cubicBezTo>
                  <a:pt x="998" y="295"/>
                  <a:pt x="998" y="295"/>
                  <a:pt x="998" y="295"/>
                </a:cubicBezTo>
                <a:cubicBezTo>
                  <a:pt x="999" y="295"/>
                  <a:pt x="999" y="295"/>
                  <a:pt x="999" y="295"/>
                </a:cubicBezTo>
                <a:cubicBezTo>
                  <a:pt x="999" y="294"/>
                  <a:pt x="999" y="294"/>
                  <a:pt x="999" y="294"/>
                </a:cubicBezTo>
                <a:cubicBezTo>
                  <a:pt x="999" y="293"/>
                  <a:pt x="999" y="293"/>
                  <a:pt x="999" y="293"/>
                </a:cubicBezTo>
                <a:cubicBezTo>
                  <a:pt x="1000" y="294"/>
                  <a:pt x="1000" y="294"/>
                  <a:pt x="1000" y="294"/>
                </a:cubicBezTo>
                <a:cubicBezTo>
                  <a:pt x="1000" y="295"/>
                  <a:pt x="1000" y="295"/>
                  <a:pt x="1000" y="295"/>
                </a:cubicBezTo>
                <a:cubicBezTo>
                  <a:pt x="1001" y="296"/>
                  <a:pt x="1001" y="296"/>
                  <a:pt x="1001" y="296"/>
                </a:cubicBezTo>
                <a:cubicBezTo>
                  <a:pt x="1000" y="296"/>
                  <a:pt x="1000" y="296"/>
                  <a:pt x="1000" y="296"/>
                </a:cubicBezTo>
                <a:cubicBezTo>
                  <a:pt x="1000" y="297"/>
                  <a:pt x="1000" y="297"/>
                  <a:pt x="1000" y="297"/>
                </a:cubicBezTo>
                <a:cubicBezTo>
                  <a:pt x="1001" y="297"/>
                  <a:pt x="1001" y="297"/>
                  <a:pt x="1001" y="297"/>
                </a:cubicBezTo>
                <a:cubicBezTo>
                  <a:pt x="1002" y="297"/>
                  <a:pt x="1002" y="297"/>
                  <a:pt x="1002" y="297"/>
                </a:cubicBezTo>
                <a:cubicBezTo>
                  <a:pt x="1002" y="296"/>
                  <a:pt x="1002" y="296"/>
                  <a:pt x="1002" y="296"/>
                </a:cubicBezTo>
                <a:cubicBezTo>
                  <a:pt x="1003" y="296"/>
                  <a:pt x="1003" y="296"/>
                  <a:pt x="1003" y="296"/>
                </a:cubicBezTo>
                <a:cubicBezTo>
                  <a:pt x="1003" y="297"/>
                  <a:pt x="1003" y="297"/>
                  <a:pt x="1003" y="297"/>
                </a:cubicBezTo>
                <a:cubicBezTo>
                  <a:pt x="1003" y="298"/>
                  <a:pt x="1003" y="298"/>
                  <a:pt x="1003" y="298"/>
                </a:cubicBezTo>
                <a:cubicBezTo>
                  <a:pt x="1002" y="299"/>
                  <a:pt x="1002" y="299"/>
                  <a:pt x="1002" y="299"/>
                </a:cubicBezTo>
                <a:cubicBezTo>
                  <a:pt x="1002" y="300"/>
                  <a:pt x="1002" y="300"/>
                  <a:pt x="1002" y="300"/>
                </a:cubicBezTo>
                <a:cubicBezTo>
                  <a:pt x="1003" y="301"/>
                  <a:pt x="1003" y="301"/>
                  <a:pt x="1003" y="301"/>
                </a:cubicBezTo>
                <a:cubicBezTo>
                  <a:pt x="1004" y="300"/>
                  <a:pt x="1004" y="300"/>
                  <a:pt x="1004" y="300"/>
                </a:cubicBezTo>
                <a:cubicBezTo>
                  <a:pt x="1005" y="300"/>
                  <a:pt x="1005" y="300"/>
                  <a:pt x="1005" y="300"/>
                </a:cubicBezTo>
                <a:cubicBezTo>
                  <a:pt x="1004" y="301"/>
                  <a:pt x="1004" y="301"/>
                  <a:pt x="1004" y="301"/>
                </a:cubicBezTo>
                <a:cubicBezTo>
                  <a:pt x="1004" y="302"/>
                  <a:pt x="1004" y="302"/>
                  <a:pt x="1004" y="302"/>
                </a:cubicBezTo>
                <a:cubicBezTo>
                  <a:pt x="1003" y="302"/>
                  <a:pt x="1003" y="302"/>
                  <a:pt x="1003" y="302"/>
                </a:cubicBezTo>
                <a:cubicBezTo>
                  <a:pt x="1003" y="303"/>
                  <a:pt x="1003" y="303"/>
                  <a:pt x="1003" y="303"/>
                </a:cubicBezTo>
                <a:cubicBezTo>
                  <a:pt x="1004" y="304"/>
                  <a:pt x="1004" y="304"/>
                  <a:pt x="1004" y="304"/>
                </a:cubicBezTo>
                <a:cubicBezTo>
                  <a:pt x="1004" y="305"/>
                  <a:pt x="1004" y="305"/>
                  <a:pt x="1004" y="305"/>
                </a:cubicBezTo>
                <a:cubicBezTo>
                  <a:pt x="1005" y="305"/>
                  <a:pt x="1005" y="305"/>
                  <a:pt x="1005" y="305"/>
                </a:cubicBezTo>
                <a:cubicBezTo>
                  <a:pt x="1005" y="307"/>
                  <a:pt x="1005" y="307"/>
                  <a:pt x="1005" y="307"/>
                </a:cubicBezTo>
                <a:cubicBezTo>
                  <a:pt x="1006" y="309"/>
                  <a:pt x="1006" y="309"/>
                  <a:pt x="1006" y="309"/>
                </a:cubicBezTo>
                <a:cubicBezTo>
                  <a:pt x="1007" y="309"/>
                  <a:pt x="1007" y="309"/>
                  <a:pt x="1007" y="309"/>
                </a:cubicBezTo>
                <a:cubicBezTo>
                  <a:pt x="1006" y="310"/>
                  <a:pt x="1006" y="310"/>
                  <a:pt x="1006" y="310"/>
                </a:cubicBezTo>
                <a:cubicBezTo>
                  <a:pt x="1006" y="310"/>
                  <a:pt x="1006" y="310"/>
                  <a:pt x="1007" y="310"/>
                </a:cubicBezTo>
                <a:cubicBezTo>
                  <a:pt x="1007" y="310"/>
                  <a:pt x="1007" y="310"/>
                  <a:pt x="1007" y="312"/>
                </a:cubicBezTo>
                <a:cubicBezTo>
                  <a:pt x="1007" y="312"/>
                  <a:pt x="1007" y="312"/>
                  <a:pt x="1006" y="313"/>
                </a:cubicBezTo>
                <a:cubicBezTo>
                  <a:pt x="1006" y="313"/>
                  <a:pt x="1006" y="313"/>
                  <a:pt x="1006" y="312"/>
                </a:cubicBezTo>
                <a:cubicBezTo>
                  <a:pt x="1006" y="312"/>
                  <a:pt x="1006" y="312"/>
                  <a:pt x="1006" y="311"/>
                </a:cubicBezTo>
                <a:cubicBezTo>
                  <a:pt x="1005" y="313"/>
                  <a:pt x="1005" y="313"/>
                  <a:pt x="1005" y="313"/>
                </a:cubicBezTo>
                <a:cubicBezTo>
                  <a:pt x="1005" y="314"/>
                  <a:pt x="1005" y="314"/>
                  <a:pt x="1005" y="314"/>
                </a:cubicBezTo>
                <a:cubicBezTo>
                  <a:pt x="1003" y="312"/>
                  <a:pt x="1003" y="312"/>
                  <a:pt x="1003" y="312"/>
                </a:cubicBezTo>
                <a:cubicBezTo>
                  <a:pt x="1003" y="311"/>
                  <a:pt x="1003" y="311"/>
                  <a:pt x="1003" y="311"/>
                </a:cubicBezTo>
                <a:cubicBezTo>
                  <a:pt x="1003" y="310"/>
                  <a:pt x="1003" y="310"/>
                  <a:pt x="1003" y="310"/>
                </a:cubicBezTo>
                <a:cubicBezTo>
                  <a:pt x="1002" y="311"/>
                  <a:pt x="1002" y="311"/>
                  <a:pt x="1002" y="311"/>
                </a:cubicBezTo>
                <a:cubicBezTo>
                  <a:pt x="1003" y="313"/>
                  <a:pt x="1003" y="313"/>
                  <a:pt x="1003" y="313"/>
                </a:cubicBezTo>
                <a:cubicBezTo>
                  <a:pt x="1003" y="315"/>
                  <a:pt x="1003" y="315"/>
                  <a:pt x="1003" y="315"/>
                </a:cubicBezTo>
                <a:cubicBezTo>
                  <a:pt x="1003" y="316"/>
                  <a:pt x="1003" y="316"/>
                  <a:pt x="1003" y="316"/>
                </a:cubicBezTo>
                <a:cubicBezTo>
                  <a:pt x="1003" y="318"/>
                  <a:pt x="1003" y="318"/>
                  <a:pt x="1003" y="318"/>
                </a:cubicBezTo>
                <a:cubicBezTo>
                  <a:pt x="1002" y="318"/>
                  <a:pt x="1002" y="318"/>
                  <a:pt x="1002" y="318"/>
                </a:cubicBezTo>
                <a:cubicBezTo>
                  <a:pt x="1001" y="317"/>
                  <a:pt x="1001" y="317"/>
                  <a:pt x="1001" y="317"/>
                </a:cubicBezTo>
                <a:cubicBezTo>
                  <a:pt x="1000" y="317"/>
                  <a:pt x="1000" y="317"/>
                  <a:pt x="1000" y="317"/>
                </a:cubicBezTo>
                <a:cubicBezTo>
                  <a:pt x="1001" y="319"/>
                  <a:pt x="1001" y="319"/>
                  <a:pt x="1001" y="319"/>
                </a:cubicBezTo>
                <a:cubicBezTo>
                  <a:pt x="1001" y="321"/>
                  <a:pt x="1001" y="321"/>
                  <a:pt x="1001" y="321"/>
                </a:cubicBezTo>
                <a:cubicBezTo>
                  <a:pt x="1001" y="322"/>
                  <a:pt x="1001" y="322"/>
                  <a:pt x="1001" y="322"/>
                </a:cubicBezTo>
                <a:cubicBezTo>
                  <a:pt x="1000" y="322"/>
                  <a:pt x="1000" y="322"/>
                  <a:pt x="1000" y="322"/>
                </a:cubicBezTo>
                <a:cubicBezTo>
                  <a:pt x="999" y="321"/>
                  <a:pt x="999" y="321"/>
                  <a:pt x="999" y="321"/>
                </a:cubicBezTo>
                <a:cubicBezTo>
                  <a:pt x="999" y="319"/>
                  <a:pt x="999" y="319"/>
                  <a:pt x="999" y="319"/>
                </a:cubicBezTo>
                <a:cubicBezTo>
                  <a:pt x="999" y="318"/>
                  <a:pt x="999" y="318"/>
                  <a:pt x="999" y="318"/>
                </a:cubicBezTo>
                <a:cubicBezTo>
                  <a:pt x="998" y="318"/>
                  <a:pt x="998" y="318"/>
                  <a:pt x="998" y="318"/>
                </a:cubicBezTo>
                <a:cubicBezTo>
                  <a:pt x="997" y="317"/>
                  <a:pt x="997" y="317"/>
                  <a:pt x="997" y="317"/>
                </a:cubicBezTo>
                <a:cubicBezTo>
                  <a:pt x="996" y="316"/>
                  <a:pt x="996" y="316"/>
                  <a:pt x="996" y="316"/>
                </a:cubicBezTo>
                <a:cubicBezTo>
                  <a:pt x="996" y="315"/>
                  <a:pt x="996" y="315"/>
                  <a:pt x="996" y="315"/>
                </a:cubicBezTo>
                <a:cubicBezTo>
                  <a:pt x="996" y="314"/>
                  <a:pt x="996" y="314"/>
                  <a:pt x="996" y="314"/>
                </a:cubicBezTo>
                <a:cubicBezTo>
                  <a:pt x="995" y="314"/>
                  <a:pt x="995" y="314"/>
                  <a:pt x="995" y="314"/>
                </a:cubicBezTo>
                <a:cubicBezTo>
                  <a:pt x="995" y="315"/>
                  <a:pt x="995" y="315"/>
                  <a:pt x="995" y="315"/>
                </a:cubicBezTo>
                <a:cubicBezTo>
                  <a:pt x="996" y="315"/>
                  <a:pt x="996" y="315"/>
                  <a:pt x="996" y="315"/>
                </a:cubicBezTo>
                <a:cubicBezTo>
                  <a:pt x="995" y="316"/>
                  <a:pt x="995" y="316"/>
                  <a:pt x="995" y="316"/>
                </a:cubicBezTo>
                <a:cubicBezTo>
                  <a:pt x="994" y="315"/>
                  <a:pt x="994" y="315"/>
                  <a:pt x="994" y="315"/>
                </a:cubicBezTo>
                <a:cubicBezTo>
                  <a:pt x="994" y="314"/>
                  <a:pt x="994" y="314"/>
                  <a:pt x="994" y="314"/>
                </a:cubicBezTo>
                <a:cubicBezTo>
                  <a:pt x="994" y="313"/>
                  <a:pt x="994" y="313"/>
                  <a:pt x="994" y="313"/>
                </a:cubicBezTo>
                <a:cubicBezTo>
                  <a:pt x="993" y="311"/>
                  <a:pt x="993" y="311"/>
                  <a:pt x="993" y="311"/>
                </a:cubicBezTo>
                <a:cubicBezTo>
                  <a:pt x="993" y="312"/>
                  <a:pt x="993" y="312"/>
                  <a:pt x="993" y="312"/>
                </a:cubicBezTo>
                <a:cubicBezTo>
                  <a:pt x="993" y="314"/>
                  <a:pt x="993" y="314"/>
                  <a:pt x="993" y="314"/>
                </a:cubicBezTo>
                <a:cubicBezTo>
                  <a:pt x="993" y="315"/>
                  <a:pt x="993" y="315"/>
                  <a:pt x="993" y="315"/>
                </a:cubicBezTo>
                <a:cubicBezTo>
                  <a:pt x="992" y="313"/>
                  <a:pt x="992" y="313"/>
                  <a:pt x="992" y="313"/>
                </a:cubicBezTo>
                <a:cubicBezTo>
                  <a:pt x="991" y="313"/>
                  <a:pt x="991" y="313"/>
                  <a:pt x="991" y="313"/>
                </a:cubicBezTo>
                <a:cubicBezTo>
                  <a:pt x="991" y="312"/>
                  <a:pt x="991" y="312"/>
                  <a:pt x="991" y="312"/>
                </a:cubicBezTo>
                <a:cubicBezTo>
                  <a:pt x="990" y="312"/>
                  <a:pt x="990" y="312"/>
                  <a:pt x="990" y="312"/>
                </a:cubicBezTo>
                <a:cubicBezTo>
                  <a:pt x="990" y="310"/>
                  <a:pt x="990" y="310"/>
                  <a:pt x="990" y="310"/>
                </a:cubicBezTo>
                <a:cubicBezTo>
                  <a:pt x="989" y="309"/>
                  <a:pt x="989" y="309"/>
                  <a:pt x="989" y="309"/>
                </a:cubicBezTo>
                <a:cubicBezTo>
                  <a:pt x="989" y="308"/>
                  <a:pt x="989" y="308"/>
                  <a:pt x="989" y="308"/>
                </a:cubicBezTo>
                <a:cubicBezTo>
                  <a:pt x="988" y="308"/>
                  <a:pt x="988" y="308"/>
                  <a:pt x="988" y="308"/>
                </a:cubicBezTo>
                <a:cubicBezTo>
                  <a:pt x="988" y="309"/>
                  <a:pt x="988" y="309"/>
                  <a:pt x="988" y="309"/>
                </a:cubicBezTo>
                <a:cubicBezTo>
                  <a:pt x="988" y="310"/>
                  <a:pt x="988" y="310"/>
                  <a:pt x="988" y="310"/>
                </a:cubicBezTo>
                <a:cubicBezTo>
                  <a:pt x="987" y="309"/>
                  <a:pt x="987" y="309"/>
                  <a:pt x="987" y="309"/>
                </a:cubicBezTo>
                <a:cubicBezTo>
                  <a:pt x="986" y="309"/>
                  <a:pt x="986" y="309"/>
                  <a:pt x="986" y="309"/>
                </a:cubicBezTo>
                <a:cubicBezTo>
                  <a:pt x="985" y="307"/>
                  <a:pt x="985" y="307"/>
                  <a:pt x="985" y="307"/>
                </a:cubicBezTo>
                <a:cubicBezTo>
                  <a:pt x="985" y="306"/>
                  <a:pt x="985" y="306"/>
                  <a:pt x="985" y="306"/>
                </a:cubicBezTo>
                <a:cubicBezTo>
                  <a:pt x="984" y="306"/>
                  <a:pt x="984" y="306"/>
                  <a:pt x="984" y="306"/>
                </a:cubicBezTo>
                <a:cubicBezTo>
                  <a:pt x="983" y="306"/>
                  <a:pt x="983" y="306"/>
                  <a:pt x="983" y="306"/>
                </a:cubicBezTo>
                <a:cubicBezTo>
                  <a:pt x="982" y="306"/>
                  <a:pt x="982" y="306"/>
                  <a:pt x="982" y="306"/>
                </a:cubicBezTo>
                <a:cubicBezTo>
                  <a:pt x="982" y="307"/>
                  <a:pt x="982" y="307"/>
                  <a:pt x="982" y="307"/>
                </a:cubicBezTo>
                <a:cubicBezTo>
                  <a:pt x="983" y="309"/>
                  <a:pt x="983" y="309"/>
                  <a:pt x="983" y="309"/>
                </a:cubicBezTo>
                <a:cubicBezTo>
                  <a:pt x="984" y="310"/>
                  <a:pt x="984" y="310"/>
                  <a:pt x="984" y="310"/>
                </a:cubicBezTo>
                <a:cubicBezTo>
                  <a:pt x="984" y="311"/>
                  <a:pt x="984" y="311"/>
                  <a:pt x="984" y="311"/>
                </a:cubicBezTo>
                <a:cubicBezTo>
                  <a:pt x="985" y="313"/>
                  <a:pt x="985" y="313"/>
                  <a:pt x="985" y="313"/>
                </a:cubicBezTo>
                <a:cubicBezTo>
                  <a:pt x="987" y="313"/>
                  <a:pt x="987" y="313"/>
                  <a:pt x="987" y="313"/>
                </a:cubicBezTo>
                <a:cubicBezTo>
                  <a:pt x="987" y="314"/>
                  <a:pt x="987" y="314"/>
                  <a:pt x="987" y="314"/>
                </a:cubicBezTo>
                <a:cubicBezTo>
                  <a:pt x="987" y="315"/>
                  <a:pt x="987" y="315"/>
                  <a:pt x="987" y="315"/>
                </a:cubicBezTo>
                <a:cubicBezTo>
                  <a:pt x="988" y="315"/>
                  <a:pt x="988" y="315"/>
                  <a:pt x="988" y="315"/>
                </a:cubicBezTo>
                <a:cubicBezTo>
                  <a:pt x="988" y="316"/>
                  <a:pt x="988" y="316"/>
                  <a:pt x="988" y="316"/>
                </a:cubicBezTo>
                <a:cubicBezTo>
                  <a:pt x="989" y="316"/>
                  <a:pt x="989" y="316"/>
                  <a:pt x="989" y="316"/>
                </a:cubicBezTo>
                <a:cubicBezTo>
                  <a:pt x="989" y="317"/>
                  <a:pt x="989" y="317"/>
                  <a:pt x="989" y="317"/>
                </a:cubicBezTo>
                <a:cubicBezTo>
                  <a:pt x="990" y="318"/>
                  <a:pt x="990" y="318"/>
                  <a:pt x="990" y="318"/>
                </a:cubicBezTo>
                <a:cubicBezTo>
                  <a:pt x="990" y="319"/>
                  <a:pt x="990" y="319"/>
                  <a:pt x="990" y="319"/>
                </a:cubicBezTo>
                <a:cubicBezTo>
                  <a:pt x="991" y="319"/>
                  <a:pt x="991" y="319"/>
                  <a:pt x="991" y="319"/>
                </a:cubicBezTo>
                <a:cubicBezTo>
                  <a:pt x="992" y="320"/>
                  <a:pt x="992" y="320"/>
                  <a:pt x="992" y="320"/>
                </a:cubicBezTo>
                <a:cubicBezTo>
                  <a:pt x="991" y="322"/>
                  <a:pt x="991" y="322"/>
                  <a:pt x="991" y="322"/>
                </a:cubicBezTo>
                <a:cubicBezTo>
                  <a:pt x="992" y="322"/>
                  <a:pt x="992" y="322"/>
                  <a:pt x="992" y="322"/>
                </a:cubicBezTo>
                <a:cubicBezTo>
                  <a:pt x="992" y="323"/>
                  <a:pt x="992" y="323"/>
                  <a:pt x="992" y="323"/>
                </a:cubicBezTo>
                <a:cubicBezTo>
                  <a:pt x="993" y="322"/>
                  <a:pt x="993" y="322"/>
                  <a:pt x="993" y="322"/>
                </a:cubicBezTo>
                <a:cubicBezTo>
                  <a:pt x="993" y="324"/>
                  <a:pt x="993" y="324"/>
                  <a:pt x="993" y="324"/>
                </a:cubicBezTo>
                <a:cubicBezTo>
                  <a:pt x="994" y="324"/>
                  <a:pt x="994" y="324"/>
                  <a:pt x="994" y="324"/>
                </a:cubicBezTo>
                <a:cubicBezTo>
                  <a:pt x="994" y="325"/>
                  <a:pt x="994" y="325"/>
                  <a:pt x="994" y="325"/>
                </a:cubicBezTo>
                <a:cubicBezTo>
                  <a:pt x="993" y="325"/>
                  <a:pt x="993" y="325"/>
                  <a:pt x="993" y="325"/>
                </a:cubicBezTo>
                <a:cubicBezTo>
                  <a:pt x="992" y="325"/>
                  <a:pt x="992" y="325"/>
                  <a:pt x="992" y="325"/>
                </a:cubicBezTo>
                <a:cubicBezTo>
                  <a:pt x="993" y="326"/>
                  <a:pt x="993" y="326"/>
                  <a:pt x="993" y="326"/>
                </a:cubicBezTo>
                <a:cubicBezTo>
                  <a:pt x="993" y="327"/>
                  <a:pt x="993" y="327"/>
                  <a:pt x="993" y="327"/>
                </a:cubicBezTo>
                <a:cubicBezTo>
                  <a:pt x="993" y="328"/>
                  <a:pt x="993" y="328"/>
                  <a:pt x="993" y="328"/>
                </a:cubicBezTo>
                <a:cubicBezTo>
                  <a:pt x="992" y="328"/>
                  <a:pt x="992" y="328"/>
                  <a:pt x="992" y="328"/>
                </a:cubicBezTo>
                <a:cubicBezTo>
                  <a:pt x="991" y="327"/>
                  <a:pt x="991" y="327"/>
                  <a:pt x="991" y="327"/>
                </a:cubicBezTo>
                <a:cubicBezTo>
                  <a:pt x="989" y="327"/>
                  <a:pt x="989" y="327"/>
                  <a:pt x="989" y="327"/>
                </a:cubicBezTo>
                <a:cubicBezTo>
                  <a:pt x="988" y="326"/>
                  <a:pt x="988" y="326"/>
                  <a:pt x="988" y="326"/>
                </a:cubicBezTo>
                <a:cubicBezTo>
                  <a:pt x="987" y="326"/>
                  <a:pt x="987" y="326"/>
                  <a:pt x="987" y="326"/>
                </a:cubicBezTo>
                <a:cubicBezTo>
                  <a:pt x="986" y="325"/>
                  <a:pt x="986" y="325"/>
                  <a:pt x="986" y="325"/>
                </a:cubicBezTo>
                <a:cubicBezTo>
                  <a:pt x="985" y="324"/>
                  <a:pt x="985" y="324"/>
                  <a:pt x="985" y="324"/>
                </a:cubicBezTo>
                <a:cubicBezTo>
                  <a:pt x="984" y="323"/>
                  <a:pt x="984" y="323"/>
                  <a:pt x="984" y="323"/>
                </a:cubicBezTo>
                <a:cubicBezTo>
                  <a:pt x="983" y="323"/>
                  <a:pt x="983" y="323"/>
                  <a:pt x="983" y="323"/>
                </a:cubicBezTo>
                <a:cubicBezTo>
                  <a:pt x="982" y="323"/>
                  <a:pt x="982" y="323"/>
                  <a:pt x="982" y="323"/>
                </a:cubicBezTo>
                <a:cubicBezTo>
                  <a:pt x="981" y="323"/>
                  <a:pt x="981" y="323"/>
                  <a:pt x="981" y="323"/>
                </a:cubicBezTo>
                <a:cubicBezTo>
                  <a:pt x="980" y="322"/>
                  <a:pt x="980" y="322"/>
                  <a:pt x="980" y="322"/>
                </a:cubicBezTo>
                <a:cubicBezTo>
                  <a:pt x="980" y="321"/>
                  <a:pt x="980" y="321"/>
                  <a:pt x="980" y="321"/>
                </a:cubicBezTo>
                <a:cubicBezTo>
                  <a:pt x="979" y="321"/>
                  <a:pt x="979" y="321"/>
                  <a:pt x="979" y="321"/>
                </a:cubicBezTo>
                <a:cubicBezTo>
                  <a:pt x="977" y="320"/>
                  <a:pt x="977" y="320"/>
                  <a:pt x="977" y="320"/>
                </a:cubicBezTo>
                <a:cubicBezTo>
                  <a:pt x="978" y="319"/>
                  <a:pt x="978" y="319"/>
                  <a:pt x="978" y="319"/>
                </a:cubicBezTo>
                <a:cubicBezTo>
                  <a:pt x="977" y="319"/>
                  <a:pt x="977" y="319"/>
                  <a:pt x="977" y="319"/>
                </a:cubicBezTo>
                <a:cubicBezTo>
                  <a:pt x="976" y="319"/>
                  <a:pt x="976" y="319"/>
                  <a:pt x="976" y="319"/>
                </a:cubicBezTo>
                <a:cubicBezTo>
                  <a:pt x="976" y="318"/>
                  <a:pt x="976" y="318"/>
                  <a:pt x="976" y="318"/>
                </a:cubicBezTo>
                <a:cubicBezTo>
                  <a:pt x="976" y="317"/>
                  <a:pt x="976" y="317"/>
                  <a:pt x="976" y="317"/>
                </a:cubicBezTo>
                <a:cubicBezTo>
                  <a:pt x="977" y="317"/>
                  <a:pt x="977" y="317"/>
                  <a:pt x="977" y="317"/>
                </a:cubicBezTo>
                <a:cubicBezTo>
                  <a:pt x="976" y="316"/>
                  <a:pt x="976" y="316"/>
                  <a:pt x="976" y="316"/>
                </a:cubicBezTo>
                <a:cubicBezTo>
                  <a:pt x="975" y="316"/>
                  <a:pt x="975" y="316"/>
                  <a:pt x="975" y="316"/>
                </a:cubicBezTo>
                <a:cubicBezTo>
                  <a:pt x="975" y="317"/>
                  <a:pt x="975" y="317"/>
                  <a:pt x="975" y="317"/>
                </a:cubicBezTo>
                <a:cubicBezTo>
                  <a:pt x="974" y="316"/>
                  <a:pt x="974" y="316"/>
                  <a:pt x="974" y="316"/>
                </a:cubicBezTo>
                <a:cubicBezTo>
                  <a:pt x="973" y="316"/>
                  <a:pt x="973" y="316"/>
                  <a:pt x="973" y="316"/>
                </a:cubicBezTo>
                <a:cubicBezTo>
                  <a:pt x="971" y="315"/>
                  <a:pt x="971" y="315"/>
                  <a:pt x="971" y="315"/>
                </a:cubicBezTo>
                <a:cubicBezTo>
                  <a:pt x="970" y="314"/>
                  <a:pt x="970" y="314"/>
                  <a:pt x="970" y="314"/>
                </a:cubicBezTo>
                <a:cubicBezTo>
                  <a:pt x="969" y="313"/>
                  <a:pt x="969" y="313"/>
                  <a:pt x="969" y="313"/>
                </a:cubicBezTo>
                <a:cubicBezTo>
                  <a:pt x="969" y="312"/>
                  <a:pt x="969" y="312"/>
                  <a:pt x="969" y="312"/>
                </a:cubicBezTo>
                <a:cubicBezTo>
                  <a:pt x="968" y="312"/>
                  <a:pt x="968" y="312"/>
                  <a:pt x="968" y="312"/>
                </a:cubicBezTo>
                <a:cubicBezTo>
                  <a:pt x="967" y="311"/>
                  <a:pt x="967" y="311"/>
                  <a:pt x="967" y="311"/>
                </a:cubicBezTo>
                <a:cubicBezTo>
                  <a:pt x="967" y="310"/>
                  <a:pt x="967" y="310"/>
                  <a:pt x="967" y="310"/>
                </a:cubicBezTo>
                <a:cubicBezTo>
                  <a:pt x="966" y="309"/>
                  <a:pt x="966" y="309"/>
                  <a:pt x="966" y="309"/>
                </a:cubicBezTo>
                <a:cubicBezTo>
                  <a:pt x="965" y="308"/>
                  <a:pt x="965" y="308"/>
                  <a:pt x="965" y="308"/>
                </a:cubicBezTo>
                <a:cubicBezTo>
                  <a:pt x="966" y="308"/>
                  <a:pt x="966" y="308"/>
                  <a:pt x="966" y="308"/>
                </a:cubicBezTo>
                <a:cubicBezTo>
                  <a:pt x="967" y="308"/>
                  <a:pt x="967" y="308"/>
                  <a:pt x="967" y="308"/>
                </a:cubicBezTo>
                <a:cubicBezTo>
                  <a:pt x="970" y="306"/>
                  <a:pt x="970" y="306"/>
                  <a:pt x="970" y="306"/>
                </a:cubicBezTo>
                <a:cubicBezTo>
                  <a:pt x="968" y="306"/>
                  <a:pt x="968" y="306"/>
                  <a:pt x="968" y="306"/>
                </a:cubicBezTo>
                <a:cubicBezTo>
                  <a:pt x="967" y="305"/>
                  <a:pt x="967" y="305"/>
                  <a:pt x="967" y="305"/>
                </a:cubicBezTo>
                <a:cubicBezTo>
                  <a:pt x="967" y="303"/>
                  <a:pt x="967" y="303"/>
                  <a:pt x="967" y="303"/>
                </a:cubicBezTo>
                <a:cubicBezTo>
                  <a:pt x="966" y="304"/>
                  <a:pt x="966" y="304"/>
                  <a:pt x="966" y="304"/>
                </a:cubicBezTo>
                <a:cubicBezTo>
                  <a:pt x="966" y="305"/>
                  <a:pt x="966" y="305"/>
                  <a:pt x="966" y="305"/>
                </a:cubicBezTo>
                <a:cubicBezTo>
                  <a:pt x="965" y="304"/>
                  <a:pt x="965" y="304"/>
                  <a:pt x="965" y="304"/>
                </a:cubicBezTo>
                <a:cubicBezTo>
                  <a:pt x="966" y="303"/>
                  <a:pt x="966" y="303"/>
                  <a:pt x="966" y="303"/>
                </a:cubicBezTo>
                <a:cubicBezTo>
                  <a:pt x="966" y="301"/>
                  <a:pt x="966" y="301"/>
                  <a:pt x="966" y="301"/>
                </a:cubicBezTo>
                <a:cubicBezTo>
                  <a:pt x="965" y="303"/>
                  <a:pt x="965" y="303"/>
                  <a:pt x="965" y="303"/>
                </a:cubicBezTo>
                <a:cubicBezTo>
                  <a:pt x="964" y="302"/>
                  <a:pt x="964" y="302"/>
                  <a:pt x="964" y="302"/>
                </a:cubicBezTo>
                <a:cubicBezTo>
                  <a:pt x="964" y="301"/>
                  <a:pt x="964" y="301"/>
                  <a:pt x="964" y="301"/>
                </a:cubicBezTo>
                <a:cubicBezTo>
                  <a:pt x="963" y="301"/>
                  <a:pt x="963" y="301"/>
                  <a:pt x="963" y="301"/>
                </a:cubicBezTo>
                <a:cubicBezTo>
                  <a:pt x="963" y="300"/>
                  <a:pt x="963" y="300"/>
                  <a:pt x="963" y="300"/>
                </a:cubicBezTo>
                <a:cubicBezTo>
                  <a:pt x="963" y="299"/>
                  <a:pt x="963" y="299"/>
                  <a:pt x="963" y="299"/>
                </a:cubicBezTo>
                <a:cubicBezTo>
                  <a:pt x="963" y="297"/>
                  <a:pt x="963" y="297"/>
                  <a:pt x="963" y="297"/>
                </a:cubicBezTo>
                <a:cubicBezTo>
                  <a:pt x="962" y="297"/>
                  <a:pt x="962" y="297"/>
                  <a:pt x="962" y="297"/>
                </a:cubicBezTo>
                <a:cubicBezTo>
                  <a:pt x="962" y="296"/>
                  <a:pt x="962" y="296"/>
                  <a:pt x="962" y="296"/>
                </a:cubicBezTo>
                <a:cubicBezTo>
                  <a:pt x="963" y="294"/>
                  <a:pt x="963" y="294"/>
                  <a:pt x="963" y="294"/>
                </a:cubicBezTo>
                <a:cubicBezTo>
                  <a:pt x="961" y="296"/>
                  <a:pt x="961" y="296"/>
                  <a:pt x="961" y="296"/>
                </a:cubicBezTo>
                <a:cubicBezTo>
                  <a:pt x="961" y="297"/>
                  <a:pt x="961" y="297"/>
                  <a:pt x="961" y="297"/>
                </a:cubicBezTo>
                <a:cubicBezTo>
                  <a:pt x="960" y="296"/>
                  <a:pt x="960" y="296"/>
                  <a:pt x="960" y="296"/>
                </a:cubicBezTo>
                <a:cubicBezTo>
                  <a:pt x="961" y="294"/>
                  <a:pt x="961" y="294"/>
                  <a:pt x="961" y="294"/>
                </a:cubicBezTo>
                <a:cubicBezTo>
                  <a:pt x="960" y="294"/>
                  <a:pt x="960" y="294"/>
                  <a:pt x="960" y="294"/>
                </a:cubicBezTo>
                <a:cubicBezTo>
                  <a:pt x="959" y="294"/>
                  <a:pt x="959" y="294"/>
                  <a:pt x="959" y="294"/>
                </a:cubicBezTo>
                <a:cubicBezTo>
                  <a:pt x="958" y="296"/>
                  <a:pt x="958" y="296"/>
                  <a:pt x="958" y="296"/>
                </a:cubicBezTo>
                <a:cubicBezTo>
                  <a:pt x="957" y="297"/>
                  <a:pt x="957" y="297"/>
                  <a:pt x="957" y="297"/>
                </a:cubicBezTo>
                <a:cubicBezTo>
                  <a:pt x="957" y="295"/>
                  <a:pt x="957" y="295"/>
                  <a:pt x="957" y="295"/>
                </a:cubicBezTo>
                <a:cubicBezTo>
                  <a:pt x="958" y="294"/>
                  <a:pt x="958" y="294"/>
                  <a:pt x="958" y="294"/>
                </a:cubicBezTo>
                <a:cubicBezTo>
                  <a:pt x="958" y="293"/>
                  <a:pt x="958" y="293"/>
                  <a:pt x="958" y="293"/>
                </a:cubicBezTo>
                <a:cubicBezTo>
                  <a:pt x="958" y="292"/>
                  <a:pt x="958" y="292"/>
                  <a:pt x="958" y="292"/>
                </a:cubicBezTo>
                <a:cubicBezTo>
                  <a:pt x="957" y="293"/>
                  <a:pt x="957" y="293"/>
                  <a:pt x="957" y="293"/>
                </a:cubicBezTo>
                <a:cubicBezTo>
                  <a:pt x="956" y="294"/>
                  <a:pt x="956" y="294"/>
                  <a:pt x="956" y="294"/>
                </a:cubicBezTo>
                <a:cubicBezTo>
                  <a:pt x="955" y="295"/>
                  <a:pt x="955" y="295"/>
                  <a:pt x="955" y="295"/>
                </a:cubicBezTo>
                <a:cubicBezTo>
                  <a:pt x="955" y="296"/>
                  <a:pt x="955" y="296"/>
                  <a:pt x="955" y="296"/>
                </a:cubicBezTo>
                <a:cubicBezTo>
                  <a:pt x="953" y="295"/>
                  <a:pt x="953" y="295"/>
                  <a:pt x="953" y="295"/>
                </a:cubicBezTo>
                <a:cubicBezTo>
                  <a:pt x="952" y="294"/>
                  <a:pt x="952" y="294"/>
                  <a:pt x="952" y="294"/>
                </a:cubicBezTo>
                <a:cubicBezTo>
                  <a:pt x="951" y="294"/>
                  <a:pt x="951" y="294"/>
                  <a:pt x="951" y="294"/>
                </a:cubicBezTo>
                <a:cubicBezTo>
                  <a:pt x="950" y="292"/>
                  <a:pt x="950" y="292"/>
                  <a:pt x="950" y="292"/>
                </a:cubicBezTo>
                <a:cubicBezTo>
                  <a:pt x="949" y="293"/>
                  <a:pt x="949" y="293"/>
                  <a:pt x="949" y="293"/>
                </a:cubicBezTo>
                <a:cubicBezTo>
                  <a:pt x="949" y="294"/>
                  <a:pt x="949" y="294"/>
                  <a:pt x="949" y="294"/>
                </a:cubicBezTo>
                <a:cubicBezTo>
                  <a:pt x="949" y="295"/>
                  <a:pt x="949" y="295"/>
                  <a:pt x="949" y="295"/>
                </a:cubicBezTo>
                <a:cubicBezTo>
                  <a:pt x="948" y="295"/>
                  <a:pt x="948" y="295"/>
                  <a:pt x="948" y="295"/>
                </a:cubicBezTo>
                <a:cubicBezTo>
                  <a:pt x="947" y="295"/>
                  <a:pt x="947" y="295"/>
                  <a:pt x="947" y="295"/>
                </a:cubicBezTo>
                <a:cubicBezTo>
                  <a:pt x="946" y="295"/>
                  <a:pt x="946" y="295"/>
                  <a:pt x="946" y="295"/>
                </a:cubicBezTo>
                <a:cubicBezTo>
                  <a:pt x="945" y="296"/>
                  <a:pt x="945" y="296"/>
                  <a:pt x="945" y="296"/>
                </a:cubicBezTo>
                <a:cubicBezTo>
                  <a:pt x="944" y="295"/>
                  <a:pt x="944" y="295"/>
                  <a:pt x="944" y="295"/>
                </a:cubicBezTo>
                <a:cubicBezTo>
                  <a:pt x="943" y="296"/>
                  <a:pt x="943" y="296"/>
                  <a:pt x="943" y="296"/>
                </a:cubicBezTo>
                <a:cubicBezTo>
                  <a:pt x="942" y="296"/>
                  <a:pt x="942" y="296"/>
                  <a:pt x="942" y="296"/>
                </a:cubicBezTo>
                <a:cubicBezTo>
                  <a:pt x="940" y="296"/>
                  <a:pt x="940" y="296"/>
                  <a:pt x="940" y="296"/>
                </a:cubicBezTo>
                <a:cubicBezTo>
                  <a:pt x="941" y="295"/>
                  <a:pt x="941" y="295"/>
                  <a:pt x="941" y="295"/>
                </a:cubicBezTo>
                <a:cubicBezTo>
                  <a:pt x="939" y="293"/>
                  <a:pt x="939" y="293"/>
                  <a:pt x="939" y="293"/>
                </a:cubicBezTo>
                <a:cubicBezTo>
                  <a:pt x="939" y="294"/>
                  <a:pt x="939" y="294"/>
                  <a:pt x="939" y="294"/>
                </a:cubicBezTo>
                <a:cubicBezTo>
                  <a:pt x="938" y="293"/>
                  <a:pt x="938" y="293"/>
                  <a:pt x="938" y="293"/>
                </a:cubicBezTo>
                <a:cubicBezTo>
                  <a:pt x="937" y="290"/>
                  <a:pt x="937" y="290"/>
                  <a:pt x="937" y="290"/>
                </a:cubicBezTo>
                <a:cubicBezTo>
                  <a:pt x="937" y="289"/>
                  <a:pt x="937" y="289"/>
                  <a:pt x="937" y="289"/>
                </a:cubicBezTo>
                <a:cubicBezTo>
                  <a:pt x="938" y="288"/>
                  <a:pt x="938" y="288"/>
                  <a:pt x="938" y="288"/>
                </a:cubicBezTo>
                <a:cubicBezTo>
                  <a:pt x="938" y="287"/>
                  <a:pt x="938" y="287"/>
                  <a:pt x="938" y="287"/>
                </a:cubicBezTo>
                <a:cubicBezTo>
                  <a:pt x="939" y="286"/>
                  <a:pt x="939" y="286"/>
                  <a:pt x="939" y="286"/>
                </a:cubicBezTo>
                <a:cubicBezTo>
                  <a:pt x="941" y="286"/>
                  <a:pt x="941" y="286"/>
                  <a:pt x="941" y="286"/>
                </a:cubicBezTo>
                <a:cubicBezTo>
                  <a:pt x="941" y="285"/>
                  <a:pt x="941" y="285"/>
                  <a:pt x="941" y="285"/>
                </a:cubicBezTo>
                <a:cubicBezTo>
                  <a:pt x="942" y="285"/>
                  <a:pt x="942" y="285"/>
                  <a:pt x="942" y="285"/>
                </a:cubicBezTo>
                <a:cubicBezTo>
                  <a:pt x="943" y="285"/>
                  <a:pt x="943" y="285"/>
                  <a:pt x="943" y="285"/>
                </a:cubicBezTo>
                <a:cubicBezTo>
                  <a:pt x="943" y="284"/>
                  <a:pt x="943" y="284"/>
                  <a:pt x="943" y="284"/>
                </a:cubicBezTo>
                <a:cubicBezTo>
                  <a:pt x="943" y="283"/>
                  <a:pt x="943" y="283"/>
                  <a:pt x="943" y="283"/>
                </a:cubicBezTo>
                <a:cubicBezTo>
                  <a:pt x="943" y="282"/>
                  <a:pt x="943" y="282"/>
                  <a:pt x="943" y="282"/>
                </a:cubicBezTo>
                <a:cubicBezTo>
                  <a:pt x="944" y="282"/>
                  <a:pt x="944" y="282"/>
                  <a:pt x="944" y="282"/>
                </a:cubicBezTo>
                <a:cubicBezTo>
                  <a:pt x="944" y="281"/>
                  <a:pt x="944" y="281"/>
                  <a:pt x="944" y="281"/>
                </a:cubicBezTo>
                <a:cubicBezTo>
                  <a:pt x="945" y="283"/>
                  <a:pt x="945" y="283"/>
                  <a:pt x="945" y="283"/>
                </a:cubicBezTo>
                <a:cubicBezTo>
                  <a:pt x="947" y="283"/>
                  <a:pt x="947" y="283"/>
                  <a:pt x="947" y="283"/>
                </a:cubicBezTo>
                <a:cubicBezTo>
                  <a:pt x="948" y="284"/>
                  <a:pt x="948" y="284"/>
                  <a:pt x="948" y="284"/>
                </a:cubicBezTo>
                <a:cubicBezTo>
                  <a:pt x="949" y="285"/>
                  <a:pt x="949" y="285"/>
                  <a:pt x="949" y="285"/>
                </a:cubicBezTo>
                <a:cubicBezTo>
                  <a:pt x="950" y="285"/>
                  <a:pt x="950" y="285"/>
                  <a:pt x="950" y="285"/>
                </a:cubicBezTo>
                <a:cubicBezTo>
                  <a:pt x="951" y="286"/>
                  <a:pt x="951" y="286"/>
                  <a:pt x="951" y="286"/>
                </a:cubicBezTo>
                <a:cubicBezTo>
                  <a:pt x="952" y="285"/>
                  <a:pt x="952" y="285"/>
                  <a:pt x="952" y="285"/>
                </a:cubicBezTo>
                <a:cubicBezTo>
                  <a:pt x="953" y="285"/>
                  <a:pt x="953" y="285"/>
                  <a:pt x="953" y="285"/>
                </a:cubicBezTo>
                <a:cubicBezTo>
                  <a:pt x="953" y="286"/>
                  <a:pt x="953" y="286"/>
                  <a:pt x="953" y="286"/>
                </a:cubicBezTo>
                <a:cubicBezTo>
                  <a:pt x="954" y="286"/>
                  <a:pt x="954" y="286"/>
                  <a:pt x="954" y="286"/>
                </a:cubicBezTo>
                <a:cubicBezTo>
                  <a:pt x="955" y="286"/>
                  <a:pt x="955" y="286"/>
                  <a:pt x="955" y="286"/>
                </a:cubicBezTo>
                <a:cubicBezTo>
                  <a:pt x="956" y="285"/>
                  <a:pt x="956" y="285"/>
                  <a:pt x="956" y="285"/>
                </a:cubicBezTo>
                <a:cubicBezTo>
                  <a:pt x="957" y="284"/>
                  <a:pt x="957" y="284"/>
                  <a:pt x="957" y="284"/>
                </a:cubicBezTo>
                <a:cubicBezTo>
                  <a:pt x="958" y="284"/>
                  <a:pt x="958" y="284"/>
                  <a:pt x="958" y="284"/>
                </a:cubicBezTo>
                <a:cubicBezTo>
                  <a:pt x="958" y="285"/>
                  <a:pt x="958" y="285"/>
                  <a:pt x="958" y="285"/>
                </a:cubicBezTo>
                <a:cubicBezTo>
                  <a:pt x="959" y="285"/>
                  <a:pt x="959" y="285"/>
                  <a:pt x="959" y="285"/>
                </a:cubicBezTo>
                <a:cubicBezTo>
                  <a:pt x="960" y="284"/>
                  <a:pt x="960" y="284"/>
                  <a:pt x="960" y="284"/>
                </a:cubicBezTo>
                <a:cubicBezTo>
                  <a:pt x="961" y="283"/>
                  <a:pt x="961" y="283"/>
                  <a:pt x="961" y="283"/>
                </a:cubicBezTo>
                <a:cubicBezTo>
                  <a:pt x="962" y="283"/>
                  <a:pt x="962" y="283"/>
                  <a:pt x="962" y="283"/>
                </a:cubicBezTo>
                <a:cubicBezTo>
                  <a:pt x="962" y="285"/>
                  <a:pt x="962" y="285"/>
                  <a:pt x="962" y="285"/>
                </a:cubicBezTo>
                <a:cubicBezTo>
                  <a:pt x="963" y="286"/>
                  <a:pt x="963" y="286"/>
                  <a:pt x="963" y="286"/>
                </a:cubicBezTo>
                <a:cubicBezTo>
                  <a:pt x="963" y="285"/>
                  <a:pt x="963" y="285"/>
                  <a:pt x="963" y="285"/>
                </a:cubicBezTo>
                <a:cubicBezTo>
                  <a:pt x="963" y="284"/>
                  <a:pt x="963" y="284"/>
                  <a:pt x="963" y="284"/>
                </a:cubicBezTo>
                <a:cubicBezTo>
                  <a:pt x="964" y="284"/>
                  <a:pt x="964" y="284"/>
                  <a:pt x="964" y="284"/>
                </a:cubicBezTo>
                <a:cubicBezTo>
                  <a:pt x="965" y="284"/>
                  <a:pt x="965" y="284"/>
                  <a:pt x="965" y="284"/>
                </a:cubicBezTo>
                <a:cubicBezTo>
                  <a:pt x="964" y="281"/>
                  <a:pt x="964" y="281"/>
                  <a:pt x="964" y="281"/>
                </a:cubicBezTo>
                <a:cubicBezTo>
                  <a:pt x="963" y="279"/>
                  <a:pt x="963" y="279"/>
                  <a:pt x="963" y="279"/>
                </a:cubicBezTo>
                <a:cubicBezTo>
                  <a:pt x="963" y="278"/>
                  <a:pt x="963" y="278"/>
                  <a:pt x="963" y="278"/>
                </a:cubicBezTo>
                <a:cubicBezTo>
                  <a:pt x="962" y="277"/>
                  <a:pt x="962" y="277"/>
                  <a:pt x="962" y="277"/>
                </a:cubicBezTo>
                <a:cubicBezTo>
                  <a:pt x="963" y="276"/>
                  <a:pt x="963" y="276"/>
                  <a:pt x="963" y="276"/>
                </a:cubicBezTo>
                <a:cubicBezTo>
                  <a:pt x="963" y="275"/>
                  <a:pt x="963" y="275"/>
                  <a:pt x="963" y="275"/>
                </a:cubicBezTo>
                <a:cubicBezTo>
                  <a:pt x="964" y="275"/>
                  <a:pt x="964" y="275"/>
                  <a:pt x="964" y="275"/>
                </a:cubicBezTo>
                <a:cubicBezTo>
                  <a:pt x="966" y="273"/>
                  <a:pt x="966" y="273"/>
                  <a:pt x="966" y="273"/>
                </a:cubicBezTo>
                <a:cubicBezTo>
                  <a:pt x="968" y="272"/>
                  <a:pt x="968" y="272"/>
                  <a:pt x="968" y="272"/>
                </a:cubicBezTo>
                <a:cubicBezTo>
                  <a:pt x="969" y="272"/>
                  <a:pt x="969" y="272"/>
                  <a:pt x="969" y="272"/>
                </a:cubicBezTo>
                <a:cubicBezTo>
                  <a:pt x="970" y="270"/>
                  <a:pt x="970" y="270"/>
                  <a:pt x="970" y="270"/>
                </a:cubicBezTo>
                <a:cubicBezTo>
                  <a:pt x="971" y="270"/>
                  <a:pt x="971" y="270"/>
                  <a:pt x="971" y="270"/>
                </a:cubicBezTo>
                <a:cubicBezTo>
                  <a:pt x="972" y="271"/>
                  <a:pt x="972" y="271"/>
                  <a:pt x="972" y="271"/>
                </a:cubicBezTo>
                <a:cubicBezTo>
                  <a:pt x="973" y="270"/>
                  <a:pt x="973" y="270"/>
                  <a:pt x="973" y="270"/>
                </a:cubicBezTo>
                <a:cubicBezTo>
                  <a:pt x="972" y="269"/>
                  <a:pt x="972" y="269"/>
                  <a:pt x="972" y="269"/>
                </a:cubicBezTo>
                <a:cubicBezTo>
                  <a:pt x="972" y="268"/>
                  <a:pt x="972" y="268"/>
                  <a:pt x="972" y="268"/>
                </a:cubicBezTo>
                <a:cubicBezTo>
                  <a:pt x="974" y="267"/>
                  <a:pt x="974" y="267"/>
                  <a:pt x="974" y="267"/>
                </a:cubicBezTo>
                <a:cubicBezTo>
                  <a:pt x="974" y="266"/>
                  <a:pt x="974" y="266"/>
                  <a:pt x="974" y="266"/>
                </a:cubicBezTo>
                <a:cubicBezTo>
                  <a:pt x="975" y="265"/>
                  <a:pt x="975" y="265"/>
                  <a:pt x="975" y="265"/>
                </a:cubicBezTo>
                <a:cubicBezTo>
                  <a:pt x="977" y="266"/>
                  <a:pt x="977" y="266"/>
                  <a:pt x="977" y="266"/>
                </a:cubicBezTo>
                <a:cubicBezTo>
                  <a:pt x="978" y="265"/>
                  <a:pt x="978" y="265"/>
                  <a:pt x="978" y="265"/>
                </a:cubicBezTo>
                <a:cubicBezTo>
                  <a:pt x="979" y="264"/>
                  <a:pt x="979" y="264"/>
                  <a:pt x="979" y="264"/>
                </a:cubicBezTo>
                <a:cubicBezTo>
                  <a:pt x="978" y="263"/>
                  <a:pt x="978" y="263"/>
                  <a:pt x="978" y="263"/>
                </a:cubicBezTo>
                <a:cubicBezTo>
                  <a:pt x="979" y="262"/>
                  <a:pt x="979" y="262"/>
                  <a:pt x="979" y="262"/>
                </a:cubicBezTo>
                <a:cubicBezTo>
                  <a:pt x="979" y="260"/>
                  <a:pt x="979" y="260"/>
                  <a:pt x="979" y="260"/>
                </a:cubicBezTo>
                <a:cubicBezTo>
                  <a:pt x="979" y="259"/>
                  <a:pt x="979" y="259"/>
                  <a:pt x="979" y="259"/>
                </a:cubicBezTo>
                <a:cubicBezTo>
                  <a:pt x="979" y="258"/>
                  <a:pt x="979" y="258"/>
                  <a:pt x="979" y="258"/>
                </a:cubicBezTo>
                <a:cubicBezTo>
                  <a:pt x="979" y="257"/>
                  <a:pt x="979" y="257"/>
                  <a:pt x="979" y="257"/>
                </a:cubicBezTo>
                <a:cubicBezTo>
                  <a:pt x="979" y="256"/>
                  <a:pt x="979" y="256"/>
                  <a:pt x="979" y="256"/>
                </a:cubicBezTo>
                <a:cubicBezTo>
                  <a:pt x="978" y="256"/>
                  <a:pt x="978" y="256"/>
                  <a:pt x="978" y="256"/>
                </a:cubicBezTo>
                <a:cubicBezTo>
                  <a:pt x="978" y="255"/>
                  <a:pt x="978" y="255"/>
                  <a:pt x="978" y="255"/>
                </a:cubicBezTo>
                <a:cubicBezTo>
                  <a:pt x="979" y="253"/>
                  <a:pt x="979" y="253"/>
                  <a:pt x="979" y="253"/>
                </a:cubicBezTo>
                <a:cubicBezTo>
                  <a:pt x="980" y="253"/>
                  <a:pt x="980" y="253"/>
                  <a:pt x="980" y="253"/>
                </a:cubicBezTo>
                <a:cubicBezTo>
                  <a:pt x="980" y="252"/>
                  <a:pt x="980" y="252"/>
                  <a:pt x="980" y="252"/>
                </a:cubicBezTo>
                <a:cubicBezTo>
                  <a:pt x="981" y="251"/>
                  <a:pt x="981" y="251"/>
                  <a:pt x="981" y="251"/>
                </a:cubicBezTo>
                <a:cubicBezTo>
                  <a:pt x="980" y="251"/>
                  <a:pt x="980" y="251"/>
                  <a:pt x="980" y="251"/>
                </a:cubicBezTo>
                <a:cubicBezTo>
                  <a:pt x="979" y="251"/>
                  <a:pt x="979" y="251"/>
                  <a:pt x="979" y="251"/>
                </a:cubicBezTo>
                <a:cubicBezTo>
                  <a:pt x="979" y="250"/>
                  <a:pt x="979" y="250"/>
                  <a:pt x="979" y="250"/>
                </a:cubicBezTo>
                <a:cubicBezTo>
                  <a:pt x="978" y="250"/>
                  <a:pt x="978" y="250"/>
                  <a:pt x="978" y="250"/>
                </a:cubicBezTo>
                <a:cubicBezTo>
                  <a:pt x="976" y="250"/>
                  <a:pt x="976" y="250"/>
                  <a:pt x="976" y="250"/>
                </a:cubicBezTo>
                <a:cubicBezTo>
                  <a:pt x="975" y="249"/>
                  <a:pt x="975" y="249"/>
                  <a:pt x="975" y="249"/>
                </a:cubicBezTo>
                <a:cubicBezTo>
                  <a:pt x="977" y="248"/>
                  <a:pt x="977" y="248"/>
                  <a:pt x="977" y="248"/>
                </a:cubicBezTo>
                <a:cubicBezTo>
                  <a:pt x="977" y="247"/>
                  <a:pt x="977" y="247"/>
                  <a:pt x="977" y="247"/>
                </a:cubicBezTo>
                <a:cubicBezTo>
                  <a:pt x="976" y="247"/>
                  <a:pt x="976" y="247"/>
                  <a:pt x="976" y="247"/>
                </a:cubicBezTo>
                <a:cubicBezTo>
                  <a:pt x="976" y="246"/>
                  <a:pt x="976" y="246"/>
                  <a:pt x="976" y="246"/>
                </a:cubicBezTo>
                <a:cubicBezTo>
                  <a:pt x="976" y="245"/>
                  <a:pt x="976" y="245"/>
                  <a:pt x="976" y="245"/>
                </a:cubicBezTo>
                <a:cubicBezTo>
                  <a:pt x="975" y="244"/>
                  <a:pt x="975" y="244"/>
                  <a:pt x="975" y="244"/>
                </a:cubicBezTo>
                <a:cubicBezTo>
                  <a:pt x="975" y="245"/>
                  <a:pt x="975" y="245"/>
                  <a:pt x="975" y="245"/>
                </a:cubicBezTo>
                <a:cubicBezTo>
                  <a:pt x="975" y="246"/>
                  <a:pt x="975" y="246"/>
                  <a:pt x="975" y="246"/>
                </a:cubicBezTo>
                <a:cubicBezTo>
                  <a:pt x="973" y="247"/>
                  <a:pt x="973" y="247"/>
                  <a:pt x="973" y="247"/>
                </a:cubicBezTo>
                <a:cubicBezTo>
                  <a:pt x="973" y="246"/>
                  <a:pt x="973" y="246"/>
                  <a:pt x="973" y="246"/>
                </a:cubicBezTo>
                <a:cubicBezTo>
                  <a:pt x="972" y="245"/>
                  <a:pt x="972" y="245"/>
                  <a:pt x="972" y="245"/>
                </a:cubicBezTo>
                <a:cubicBezTo>
                  <a:pt x="972" y="244"/>
                  <a:pt x="972" y="244"/>
                  <a:pt x="972" y="244"/>
                </a:cubicBezTo>
                <a:cubicBezTo>
                  <a:pt x="973" y="243"/>
                  <a:pt x="973" y="243"/>
                  <a:pt x="973" y="243"/>
                </a:cubicBezTo>
                <a:cubicBezTo>
                  <a:pt x="973" y="242"/>
                  <a:pt x="973" y="242"/>
                  <a:pt x="973" y="242"/>
                </a:cubicBezTo>
                <a:cubicBezTo>
                  <a:pt x="972" y="242"/>
                  <a:pt x="972" y="242"/>
                  <a:pt x="972" y="242"/>
                </a:cubicBezTo>
                <a:cubicBezTo>
                  <a:pt x="973" y="241"/>
                  <a:pt x="973" y="241"/>
                  <a:pt x="973" y="241"/>
                </a:cubicBezTo>
                <a:cubicBezTo>
                  <a:pt x="972" y="241"/>
                  <a:pt x="972" y="241"/>
                  <a:pt x="972" y="241"/>
                </a:cubicBezTo>
                <a:cubicBezTo>
                  <a:pt x="972" y="240"/>
                  <a:pt x="972" y="240"/>
                  <a:pt x="972" y="240"/>
                </a:cubicBezTo>
                <a:cubicBezTo>
                  <a:pt x="973" y="240"/>
                  <a:pt x="973" y="240"/>
                  <a:pt x="973" y="240"/>
                </a:cubicBezTo>
                <a:cubicBezTo>
                  <a:pt x="973" y="239"/>
                  <a:pt x="973" y="239"/>
                  <a:pt x="973" y="239"/>
                </a:cubicBezTo>
                <a:cubicBezTo>
                  <a:pt x="972" y="240"/>
                  <a:pt x="972" y="240"/>
                  <a:pt x="972" y="240"/>
                </a:cubicBezTo>
                <a:cubicBezTo>
                  <a:pt x="971" y="241"/>
                  <a:pt x="971" y="241"/>
                  <a:pt x="971" y="241"/>
                </a:cubicBezTo>
                <a:cubicBezTo>
                  <a:pt x="970" y="241"/>
                  <a:pt x="970" y="241"/>
                  <a:pt x="970" y="241"/>
                </a:cubicBezTo>
                <a:cubicBezTo>
                  <a:pt x="969" y="240"/>
                  <a:pt x="969" y="240"/>
                  <a:pt x="969" y="240"/>
                </a:cubicBezTo>
                <a:cubicBezTo>
                  <a:pt x="968" y="241"/>
                  <a:pt x="968" y="241"/>
                  <a:pt x="968" y="241"/>
                </a:cubicBezTo>
                <a:cubicBezTo>
                  <a:pt x="967" y="241"/>
                  <a:pt x="967" y="241"/>
                  <a:pt x="967" y="241"/>
                </a:cubicBezTo>
                <a:cubicBezTo>
                  <a:pt x="966" y="242"/>
                  <a:pt x="966" y="242"/>
                  <a:pt x="966" y="242"/>
                </a:cubicBezTo>
                <a:cubicBezTo>
                  <a:pt x="965" y="242"/>
                  <a:pt x="965" y="242"/>
                  <a:pt x="965" y="242"/>
                </a:cubicBezTo>
                <a:cubicBezTo>
                  <a:pt x="964" y="242"/>
                  <a:pt x="964" y="242"/>
                  <a:pt x="964" y="242"/>
                </a:cubicBezTo>
                <a:cubicBezTo>
                  <a:pt x="964" y="241"/>
                  <a:pt x="964" y="241"/>
                  <a:pt x="964" y="241"/>
                </a:cubicBezTo>
                <a:cubicBezTo>
                  <a:pt x="964" y="240"/>
                  <a:pt x="964" y="240"/>
                  <a:pt x="964" y="240"/>
                </a:cubicBezTo>
                <a:cubicBezTo>
                  <a:pt x="965" y="239"/>
                  <a:pt x="965" y="239"/>
                  <a:pt x="965" y="239"/>
                </a:cubicBezTo>
                <a:cubicBezTo>
                  <a:pt x="966" y="239"/>
                  <a:pt x="966" y="239"/>
                  <a:pt x="966" y="239"/>
                </a:cubicBezTo>
                <a:cubicBezTo>
                  <a:pt x="967" y="239"/>
                  <a:pt x="967" y="239"/>
                  <a:pt x="967" y="239"/>
                </a:cubicBezTo>
                <a:cubicBezTo>
                  <a:pt x="968" y="239"/>
                  <a:pt x="968" y="239"/>
                  <a:pt x="968" y="239"/>
                </a:cubicBezTo>
                <a:cubicBezTo>
                  <a:pt x="969" y="238"/>
                  <a:pt x="969" y="238"/>
                  <a:pt x="969" y="238"/>
                </a:cubicBezTo>
                <a:cubicBezTo>
                  <a:pt x="969" y="237"/>
                  <a:pt x="969" y="237"/>
                  <a:pt x="969" y="237"/>
                </a:cubicBezTo>
                <a:cubicBezTo>
                  <a:pt x="969" y="236"/>
                  <a:pt x="969" y="236"/>
                  <a:pt x="969" y="236"/>
                </a:cubicBezTo>
                <a:cubicBezTo>
                  <a:pt x="968" y="235"/>
                  <a:pt x="968" y="235"/>
                  <a:pt x="968" y="235"/>
                </a:cubicBezTo>
                <a:cubicBezTo>
                  <a:pt x="967" y="235"/>
                  <a:pt x="967" y="235"/>
                  <a:pt x="967" y="235"/>
                </a:cubicBezTo>
                <a:cubicBezTo>
                  <a:pt x="966" y="234"/>
                  <a:pt x="966" y="234"/>
                  <a:pt x="966" y="234"/>
                </a:cubicBezTo>
                <a:cubicBezTo>
                  <a:pt x="966" y="233"/>
                  <a:pt x="966" y="233"/>
                  <a:pt x="966" y="233"/>
                </a:cubicBezTo>
                <a:cubicBezTo>
                  <a:pt x="966" y="232"/>
                  <a:pt x="966" y="232"/>
                  <a:pt x="966" y="232"/>
                </a:cubicBezTo>
                <a:cubicBezTo>
                  <a:pt x="965" y="232"/>
                  <a:pt x="965" y="232"/>
                  <a:pt x="965" y="232"/>
                </a:cubicBezTo>
                <a:cubicBezTo>
                  <a:pt x="964" y="231"/>
                  <a:pt x="964" y="231"/>
                  <a:pt x="964" y="231"/>
                </a:cubicBezTo>
                <a:cubicBezTo>
                  <a:pt x="964" y="230"/>
                  <a:pt x="964" y="230"/>
                  <a:pt x="964" y="230"/>
                </a:cubicBezTo>
                <a:cubicBezTo>
                  <a:pt x="965" y="230"/>
                  <a:pt x="965" y="230"/>
                  <a:pt x="965" y="230"/>
                </a:cubicBezTo>
                <a:cubicBezTo>
                  <a:pt x="965" y="231"/>
                  <a:pt x="965" y="231"/>
                  <a:pt x="965" y="231"/>
                </a:cubicBezTo>
                <a:cubicBezTo>
                  <a:pt x="966" y="230"/>
                  <a:pt x="966" y="230"/>
                  <a:pt x="966" y="230"/>
                </a:cubicBezTo>
                <a:cubicBezTo>
                  <a:pt x="967" y="229"/>
                  <a:pt x="967" y="229"/>
                  <a:pt x="967" y="229"/>
                </a:cubicBezTo>
                <a:cubicBezTo>
                  <a:pt x="965" y="229"/>
                  <a:pt x="965" y="229"/>
                  <a:pt x="965" y="229"/>
                </a:cubicBezTo>
                <a:cubicBezTo>
                  <a:pt x="965" y="228"/>
                  <a:pt x="965" y="228"/>
                  <a:pt x="965" y="228"/>
                </a:cubicBezTo>
                <a:cubicBezTo>
                  <a:pt x="964" y="228"/>
                  <a:pt x="964" y="228"/>
                  <a:pt x="964" y="228"/>
                </a:cubicBezTo>
                <a:cubicBezTo>
                  <a:pt x="963" y="227"/>
                  <a:pt x="963" y="227"/>
                  <a:pt x="963" y="227"/>
                </a:cubicBezTo>
                <a:cubicBezTo>
                  <a:pt x="962" y="228"/>
                  <a:pt x="962" y="228"/>
                  <a:pt x="962" y="228"/>
                </a:cubicBezTo>
                <a:cubicBezTo>
                  <a:pt x="963" y="226"/>
                  <a:pt x="963" y="226"/>
                  <a:pt x="963" y="226"/>
                </a:cubicBezTo>
                <a:cubicBezTo>
                  <a:pt x="964" y="224"/>
                  <a:pt x="964" y="224"/>
                  <a:pt x="964" y="224"/>
                </a:cubicBezTo>
                <a:cubicBezTo>
                  <a:pt x="964" y="222"/>
                  <a:pt x="964" y="222"/>
                  <a:pt x="964" y="222"/>
                </a:cubicBezTo>
                <a:cubicBezTo>
                  <a:pt x="964" y="221"/>
                  <a:pt x="964" y="221"/>
                  <a:pt x="964" y="221"/>
                </a:cubicBezTo>
                <a:cubicBezTo>
                  <a:pt x="965" y="220"/>
                  <a:pt x="965" y="220"/>
                  <a:pt x="965" y="220"/>
                </a:cubicBezTo>
                <a:cubicBezTo>
                  <a:pt x="964" y="219"/>
                  <a:pt x="964" y="219"/>
                  <a:pt x="964" y="219"/>
                </a:cubicBezTo>
                <a:cubicBezTo>
                  <a:pt x="963" y="220"/>
                  <a:pt x="963" y="220"/>
                  <a:pt x="963" y="220"/>
                </a:cubicBezTo>
                <a:cubicBezTo>
                  <a:pt x="962" y="220"/>
                  <a:pt x="962" y="220"/>
                  <a:pt x="962" y="220"/>
                </a:cubicBezTo>
                <a:cubicBezTo>
                  <a:pt x="962" y="221"/>
                  <a:pt x="962" y="221"/>
                  <a:pt x="962" y="221"/>
                </a:cubicBezTo>
                <a:cubicBezTo>
                  <a:pt x="961" y="220"/>
                  <a:pt x="961" y="220"/>
                  <a:pt x="961" y="220"/>
                </a:cubicBezTo>
                <a:cubicBezTo>
                  <a:pt x="960" y="219"/>
                  <a:pt x="960" y="219"/>
                  <a:pt x="960" y="219"/>
                </a:cubicBezTo>
                <a:cubicBezTo>
                  <a:pt x="960" y="218"/>
                  <a:pt x="960" y="218"/>
                  <a:pt x="960" y="218"/>
                </a:cubicBezTo>
                <a:cubicBezTo>
                  <a:pt x="959" y="217"/>
                  <a:pt x="959" y="217"/>
                  <a:pt x="959" y="217"/>
                </a:cubicBezTo>
                <a:cubicBezTo>
                  <a:pt x="959" y="215"/>
                  <a:pt x="959" y="215"/>
                  <a:pt x="959" y="215"/>
                </a:cubicBezTo>
                <a:cubicBezTo>
                  <a:pt x="960" y="215"/>
                  <a:pt x="960" y="215"/>
                  <a:pt x="960" y="215"/>
                </a:cubicBezTo>
                <a:cubicBezTo>
                  <a:pt x="960" y="214"/>
                  <a:pt x="960" y="214"/>
                  <a:pt x="960" y="214"/>
                </a:cubicBezTo>
                <a:cubicBezTo>
                  <a:pt x="960" y="212"/>
                  <a:pt x="960" y="212"/>
                  <a:pt x="960" y="212"/>
                </a:cubicBezTo>
                <a:cubicBezTo>
                  <a:pt x="959" y="213"/>
                  <a:pt x="959" y="213"/>
                  <a:pt x="959" y="213"/>
                </a:cubicBezTo>
                <a:cubicBezTo>
                  <a:pt x="958" y="215"/>
                  <a:pt x="958" y="215"/>
                  <a:pt x="958" y="215"/>
                </a:cubicBezTo>
                <a:cubicBezTo>
                  <a:pt x="958" y="216"/>
                  <a:pt x="958" y="216"/>
                  <a:pt x="958" y="216"/>
                </a:cubicBezTo>
                <a:cubicBezTo>
                  <a:pt x="957" y="215"/>
                  <a:pt x="957" y="215"/>
                  <a:pt x="957" y="215"/>
                </a:cubicBezTo>
                <a:cubicBezTo>
                  <a:pt x="956" y="216"/>
                  <a:pt x="956" y="216"/>
                  <a:pt x="956" y="216"/>
                </a:cubicBezTo>
                <a:cubicBezTo>
                  <a:pt x="956" y="217"/>
                  <a:pt x="956" y="217"/>
                  <a:pt x="956" y="217"/>
                </a:cubicBezTo>
                <a:cubicBezTo>
                  <a:pt x="957" y="218"/>
                  <a:pt x="957" y="218"/>
                  <a:pt x="957" y="218"/>
                </a:cubicBezTo>
                <a:cubicBezTo>
                  <a:pt x="958" y="221"/>
                  <a:pt x="958" y="221"/>
                  <a:pt x="958" y="221"/>
                </a:cubicBezTo>
                <a:cubicBezTo>
                  <a:pt x="959" y="221"/>
                  <a:pt x="959" y="221"/>
                  <a:pt x="959" y="221"/>
                </a:cubicBezTo>
                <a:cubicBezTo>
                  <a:pt x="959" y="222"/>
                  <a:pt x="959" y="222"/>
                  <a:pt x="959" y="222"/>
                </a:cubicBezTo>
                <a:cubicBezTo>
                  <a:pt x="959" y="223"/>
                  <a:pt x="959" y="223"/>
                  <a:pt x="959" y="223"/>
                </a:cubicBezTo>
                <a:cubicBezTo>
                  <a:pt x="958" y="225"/>
                  <a:pt x="958" y="225"/>
                  <a:pt x="958" y="225"/>
                </a:cubicBezTo>
                <a:cubicBezTo>
                  <a:pt x="957" y="225"/>
                  <a:pt x="957" y="225"/>
                  <a:pt x="957" y="225"/>
                </a:cubicBezTo>
                <a:cubicBezTo>
                  <a:pt x="954" y="225"/>
                  <a:pt x="954" y="225"/>
                  <a:pt x="954" y="225"/>
                </a:cubicBezTo>
                <a:cubicBezTo>
                  <a:pt x="953" y="225"/>
                  <a:pt x="953" y="225"/>
                  <a:pt x="953" y="225"/>
                </a:cubicBezTo>
                <a:cubicBezTo>
                  <a:pt x="951" y="224"/>
                  <a:pt x="951" y="224"/>
                  <a:pt x="951" y="224"/>
                </a:cubicBezTo>
                <a:cubicBezTo>
                  <a:pt x="952" y="224"/>
                  <a:pt x="952" y="224"/>
                  <a:pt x="952" y="224"/>
                </a:cubicBezTo>
                <a:cubicBezTo>
                  <a:pt x="952" y="223"/>
                  <a:pt x="952" y="223"/>
                  <a:pt x="952" y="223"/>
                </a:cubicBezTo>
                <a:cubicBezTo>
                  <a:pt x="950" y="223"/>
                  <a:pt x="950" y="223"/>
                  <a:pt x="950" y="223"/>
                </a:cubicBezTo>
                <a:cubicBezTo>
                  <a:pt x="948" y="222"/>
                  <a:pt x="948" y="222"/>
                  <a:pt x="948" y="222"/>
                </a:cubicBezTo>
                <a:cubicBezTo>
                  <a:pt x="946" y="221"/>
                  <a:pt x="946" y="221"/>
                  <a:pt x="946" y="221"/>
                </a:cubicBezTo>
                <a:cubicBezTo>
                  <a:pt x="947" y="224"/>
                  <a:pt x="947" y="224"/>
                  <a:pt x="947" y="224"/>
                </a:cubicBezTo>
                <a:cubicBezTo>
                  <a:pt x="947" y="225"/>
                  <a:pt x="947" y="225"/>
                  <a:pt x="947" y="225"/>
                </a:cubicBezTo>
                <a:cubicBezTo>
                  <a:pt x="946" y="225"/>
                  <a:pt x="946" y="225"/>
                  <a:pt x="946" y="225"/>
                </a:cubicBezTo>
                <a:cubicBezTo>
                  <a:pt x="945" y="224"/>
                  <a:pt x="945" y="224"/>
                  <a:pt x="945" y="224"/>
                </a:cubicBezTo>
                <a:cubicBezTo>
                  <a:pt x="944" y="223"/>
                  <a:pt x="944" y="223"/>
                  <a:pt x="944" y="223"/>
                </a:cubicBezTo>
                <a:cubicBezTo>
                  <a:pt x="944" y="222"/>
                  <a:pt x="944" y="222"/>
                  <a:pt x="944" y="222"/>
                </a:cubicBezTo>
                <a:cubicBezTo>
                  <a:pt x="943" y="221"/>
                  <a:pt x="943" y="221"/>
                  <a:pt x="943" y="221"/>
                </a:cubicBezTo>
                <a:cubicBezTo>
                  <a:pt x="942" y="220"/>
                  <a:pt x="942" y="220"/>
                  <a:pt x="942" y="220"/>
                </a:cubicBezTo>
                <a:cubicBezTo>
                  <a:pt x="941" y="219"/>
                  <a:pt x="941" y="219"/>
                  <a:pt x="941" y="219"/>
                </a:cubicBezTo>
                <a:cubicBezTo>
                  <a:pt x="940" y="217"/>
                  <a:pt x="940" y="217"/>
                  <a:pt x="940" y="217"/>
                </a:cubicBezTo>
                <a:cubicBezTo>
                  <a:pt x="939" y="217"/>
                  <a:pt x="939" y="217"/>
                  <a:pt x="939" y="217"/>
                </a:cubicBezTo>
                <a:cubicBezTo>
                  <a:pt x="938" y="217"/>
                  <a:pt x="938" y="217"/>
                  <a:pt x="938" y="217"/>
                </a:cubicBezTo>
                <a:cubicBezTo>
                  <a:pt x="940" y="219"/>
                  <a:pt x="940" y="219"/>
                  <a:pt x="940" y="219"/>
                </a:cubicBezTo>
                <a:cubicBezTo>
                  <a:pt x="941" y="220"/>
                  <a:pt x="941" y="220"/>
                  <a:pt x="941" y="220"/>
                </a:cubicBezTo>
                <a:cubicBezTo>
                  <a:pt x="941" y="221"/>
                  <a:pt x="941" y="221"/>
                  <a:pt x="941" y="221"/>
                </a:cubicBezTo>
                <a:cubicBezTo>
                  <a:pt x="942" y="222"/>
                  <a:pt x="942" y="222"/>
                  <a:pt x="942" y="222"/>
                </a:cubicBezTo>
                <a:cubicBezTo>
                  <a:pt x="943" y="222"/>
                  <a:pt x="943" y="222"/>
                  <a:pt x="943" y="222"/>
                </a:cubicBezTo>
                <a:cubicBezTo>
                  <a:pt x="942" y="223"/>
                  <a:pt x="942" y="223"/>
                  <a:pt x="942" y="223"/>
                </a:cubicBezTo>
                <a:cubicBezTo>
                  <a:pt x="941" y="223"/>
                  <a:pt x="941" y="223"/>
                  <a:pt x="941" y="223"/>
                </a:cubicBezTo>
                <a:cubicBezTo>
                  <a:pt x="939" y="222"/>
                  <a:pt x="939" y="222"/>
                  <a:pt x="939" y="222"/>
                </a:cubicBezTo>
                <a:cubicBezTo>
                  <a:pt x="939" y="223"/>
                  <a:pt x="939" y="223"/>
                  <a:pt x="939" y="223"/>
                </a:cubicBezTo>
                <a:cubicBezTo>
                  <a:pt x="938" y="222"/>
                  <a:pt x="938" y="222"/>
                  <a:pt x="938" y="222"/>
                </a:cubicBezTo>
                <a:cubicBezTo>
                  <a:pt x="937" y="221"/>
                  <a:pt x="937" y="221"/>
                  <a:pt x="937" y="221"/>
                </a:cubicBezTo>
                <a:cubicBezTo>
                  <a:pt x="936" y="220"/>
                  <a:pt x="936" y="220"/>
                  <a:pt x="936" y="220"/>
                </a:cubicBezTo>
                <a:cubicBezTo>
                  <a:pt x="934" y="220"/>
                  <a:pt x="934" y="220"/>
                  <a:pt x="934" y="220"/>
                </a:cubicBezTo>
                <a:cubicBezTo>
                  <a:pt x="933" y="221"/>
                  <a:pt x="933" y="221"/>
                  <a:pt x="933" y="221"/>
                </a:cubicBezTo>
                <a:cubicBezTo>
                  <a:pt x="932" y="220"/>
                  <a:pt x="932" y="220"/>
                  <a:pt x="932" y="220"/>
                </a:cubicBezTo>
                <a:cubicBezTo>
                  <a:pt x="931" y="220"/>
                  <a:pt x="931" y="220"/>
                  <a:pt x="931" y="220"/>
                </a:cubicBezTo>
                <a:cubicBezTo>
                  <a:pt x="930" y="220"/>
                  <a:pt x="930" y="220"/>
                  <a:pt x="930" y="220"/>
                </a:cubicBezTo>
                <a:cubicBezTo>
                  <a:pt x="929" y="219"/>
                  <a:pt x="929" y="219"/>
                  <a:pt x="929" y="219"/>
                </a:cubicBezTo>
                <a:cubicBezTo>
                  <a:pt x="928" y="218"/>
                  <a:pt x="928" y="218"/>
                  <a:pt x="928" y="218"/>
                </a:cubicBezTo>
                <a:cubicBezTo>
                  <a:pt x="928" y="217"/>
                  <a:pt x="928" y="217"/>
                  <a:pt x="928" y="217"/>
                </a:cubicBezTo>
                <a:cubicBezTo>
                  <a:pt x="930" y="216"/>
                  <a:pt x="930" y="216"/>
                  <a:pt x="930" y="216"/>
                </a:cubicBezTo>
                <a:cubicBezTo>
                  <a:pt x="930" y="215"/>
                  <a:pt x="930" y="215"/>
                  <a:pt x="930" y="215"/>
                </a:cubicBezTo>
                <a:cubicBezTo>
                  <a:pt x="929" y="215"/>
                  <a:pt x="929" y="215"/>
                  <a:pt x="929" y="215"/>
                </a:cubicBezTo>
                <a:cubicBezTo>
                  <a:pt x="928" y="216"/>
                  <a:pt x="928" y="216"/>
                  <a:pt x="928" y="216"/>
                </a:cubicBezTo>
                <a:cubicBezTo>
                  <a:pt x="927" y="217"/>
                  <a:pt x="927" y="217"/>
                  <a:pt x="927" y="217"/>
                </a:cubicBezTo>
                <a:cubicBezTo>
                  <a:pt x="926" y="217"/>
                  <a:pt x="926" y="217"/>
                  <a:pt x="926" y="217"/>
                </a:cubicBezTo>
                <a:cubicBezTo>
                  <a:pt x="925" y="216"/>
                  <a:pt x="925" y="216"/>
                  <a:pt x="925" y="216"/>
                </a:cubicBezTo>
                <a:cubicBezTo>
                  <a:pt x="924" y="216"/>
                  <a:pt x="924" y="216"/>
                  <a:pt x="924" y="216"/>
                </a:cubicBezTo>
                <a:cubicBezTo>
                  <a:pt x="925" y="217"/>
                  <a:pt x="925" y="217"/>
                  <a:pt x="925" y="217"/>
                </a:cubicBezTo>
                <a:cubicBezTo>
                  <a:pt x="925" y="218"/>
                  <a:pt x="925" y="218"/>
                  <a:pt x="925" y="218"/>
                </a:cubicBezTo>
                <a:cubicBezTo>
                  <a:pt x="923" y="218"/>
                  <a:pt x="923" y="218"/>
                  <a:pt x="923" y="218"/>
                </a:cubicBezTo>
                <a:cubicBezTo>
                  <a:pt x="921" y="216"/>
                  <a:pt x="921" y="216"/>
                  <a:pt x="921" y="216"/>
                </a:cubicBezTo>
                <a:cubicBezTo>
                  <a:pt x="921" y="215"/>
                  <a:pt x="921" y="215"/>
                  <a:pt x="921" y="215"/>
                </a:cubicBezTo>
                <a:cubicBezTo>
                  <a:pt x="920" y="214"/>
                  <a:pt x="920" y="214"/>
                  <a:pt x="920" y="214"/>
                </a:cubicBezTo>
                <a:cubicBezTo>
                  <a:pt x="920" y="213"/>
                  <a:pt x="920" y="213"/>
                  <a:pt x="920" y="213"/>
                </a:cubicBezTo>
                <a:cubicBezTo>
                  <a:pt x="922" y="212"/>
                  <a:pt x="922" y="212"/>
                  <a:pt x="922" y="212"/>
                </a:cubicBezTo>
                <a:cubicBezTo>
                  <a:pt x="923" y="211"/>
                  <a:pt x="923" y="211"/>
                  <a:pt x="923" y="211"/>
                </a:cubicBezTo>
                <a:cubicBezTo>
                  <a:pt x="922" y="211"/>
                  <a:pt x="922" y="211"/>
                  <a:pt x="922" y="211"/>
                </a:cubicBezTo>
                <a:cubicBezTo>
                  <a:pt x="920" y="212"/>
                  <a:pt x="920" y="212"/>
                  <a:pt x="920" y="212"/>
                </a:cubicBezTo>
                <a:cubicBezTo>
                  <a:pt x="920" y="213"/>
                  <a:pt x="920" y="213"/>
                  <a:pt x="920" y="213"/>
                </a:cubicBezTo>
                <a:cubicBezTo>
                  <a:pt x="919" y="213"/>
                  <a:pt x="919" y="213"/>
                  <a:pt x="919" y="213"/>
                </a:cubicBezTo>
                <a:cubicBezTo>
                  <a:pt x="919" y="212"/>
                  <a:pt x="919" y="212"/>
                  <a:pt x="919" y="212"/>
                </a:cubicBezTo>
                <a:cubicBezTo>
                  <a:pt x="919" y="211"/>
                  <a:pt x="919" y="211"/>
                  <a:pt x="919" y="211"/>
                </a:cubicBezTo>
                <a:cubicBezTo>
                  <a:pt x="918" y="211"/>
                  <a:pt x="918" y="211"/>
                  <a:pt x="918" y="211"/>
                </a:cubicBezTo>
                <a:cubicBezTo>
                  <a:pt x="918" y="212"/>
                  <a:pt x="918" y="212"/>
                  <a:pt x="918" y="212"/>
                </a:cubicBezTo>
                <a:cubicBezTo>
                  <a:pt x="918" y="213"/>
                  <a:pt x="918" y="213"/>
                  <a:pt x="918" y="213"/>
                </a:cubicBezTo>
                <a:cubicBezTo>
                  <a:pt x="917" y="213"/>
                  <a:pt x="917" y="213"/>
                  <a:pt x="917" y="213"/>
                </a:cubicBezTo>
                <a:cubicBezTo>
                  <a:pt x="916" y="212"/>
                  <a:pt x="916" y="212"/>
                  <a:pt x="916" y="212"/>
                </a:cubicBezTo>
                <a:cubicBezTo>
                  <a:pt x="915" y="212"/>
                  <a:pt x="915" y="212"/>
                  <a:pt x="915" y="212"/>
                </a:cubicBezTo>
                <a:cubicBezTo>
                  <a:pt x="914" y="212"/>
                  <a:pt x="914" y="212"/>
                  <a:pt x="914" y="212"/>
                </a:cubicBezTo>
                <a:cubicBezTo>
                  <a:pt x="914" y="213"/>
                  <a:pt x="914" y="213"/>
                  <a:pt x="914" y="213"/>
                </a:cubicBezTo>
                <a:cubicBezTo>
                  <a:pt x="913" y="213"/>
                  <a:pt x="913" y="213"/>
                  <a:pt x="913" y="213"/>
                </a:cubicBezTo>
                <a:cubicBezTo>
                  <a:pt x="912" y="212"/>
                  <a:pt x="912" y="212"/>
                  <a:pt x="912" y="212"/>
                </a:cubicBezTo>
                <a:cubicBezTo>
                  <a:pt x="912" y="211"/>
                  <a:pt x="912" y="211"/>
                  <a:pt x="912" y="211"/>
                </a:cubicBezTo>
                <a:cubicBezTo>
                  <a:pt x="913" y="211"/>
                  <a:pt x="913" y="211"/>
                  <a:pt x="913" y="211"/>
                </a:cubicBezTo>
                <a:cubicBezTo>
                  <a:pt x="912" y="210"/>
                  <a:pt x="912" y="210"/>
                  <a:pt x="912" y="210"/>
                </a:cubicBezTo>
                <a:cubicBezTo>
                  <a:pt x="910" y="209"/>
                  <a:pt x="910" y="209"/>
                  <a:pt x="910" y="209"/>
                </a:cubicBezTo>
                <a:cubicBezTo>
                  <a:pt x="910" y="208"/>
                  <a:pt x="910" y="208"/>
                  <a:pt x="910" y="208"/>
                </a:cubicBezTo>
                <a:cubicBezTo>
                  <a:pt x="910" y="206"/>
                  <a:pt x="910" y="206"/>
                  <a:pt x="910" y="206"/>
                </a:cubicBezTo>
                <a:cubicBezTo>
                  <a:pt x="910" y="205"/>
                  <a:pt x="910" y="205"/>
                  <a:pt x="910" y="205"/>
                </a:cubicBezTo>
                <a:cubicBezTo>
                  <a:pt x="910" y="203"/>
                  <a:pt x="910" y="203"/>
                  <a:pt x="910" y="203"/>
                </a:cubicBezTo>
                <a:cubicBezTo>
                  <a:pt x="910" y="202"/>
                  <a:pt x="910" y="202"/>
                  <a:pt x="910" y="202"/>
                </a:cubicBezTo>
                <a:cubicBezTo>
                  <a:pt x="911" y="202"/>
                  <a:pt x="911" y="202"/>
                  <a:pt x="911" y="202"/>
                </a:cubicBezTo>
                <a:cubicBezTo>
                  <a:pt x="911" y="201"/>
                  <a:pt x="911" y="201"/>
                  <a:pt x="911" y="201"/>
                </a:cubicBezTo>
                <a:cubicBezTo>
                  <a:pt x="910" y="200"/>
                  <a:pt x="910" y="200"/>
                  <a:pt x="910" y="200"/>
                </a:cubicBezTo>
                <a:cubicBezTo>
                  <a:pt x="911" y="199"/>
                  <a:pt x="911" y="199"/>
                  <a:pt x="911" y="199"/>
                </a:cubicBezTo>
                <a:cubicBezTo>
                  <a:pt x="912" y="200"/>
                  <a:pt x="912" y="200"/>
                  <a:pt x="912" y="200"/>
                </a:cubicBezTo>
                <a:cubicBezTo>
                  <a:pt x="914" y="200"/>
                  <a:pt x="914" y="200"/>
                  <a:pt x="914" y="200"/>
                </a:cubicBezTo>
                <a:cubicBezTo>
                  <a:pt x="915" y="201"/>
                  <a:pt x="915" y="201"/>
                  <a:pt x="915" y="201"/>
                </a:cubicBezTo>
                <a:cubicBezTo>
                  <a:pt x="916" y="202"/>
                  <a:pt x="916" y="202"/>
                  <a:pt x="916" y="202"/>
                </a:cubicBezTo>
                <a:cubicBezTo>
                  <a:pt x="918" y="203"/>
                  <a:pt x="918" y="203"/>
                  <a:pt x="918" y="203"/>
                </a:cubicBezTo>
                <a:cubicBezTo>
                  <a:pt x="920" y="203"/>
                  <a:pt x="920" y="203"/>
                  <a:pt x="920" y="203"/>
                </a:cubicBezTo>
                <a:cubicBezTo>
                  <a:pt x="922" y="203"/>
                  <a:pt x="922" y="203"/>
                  <a:pt x="922" y="203"/>
                </a:cubicBezTo>
                <a:cubicBezTo>
                  <a:pt x="921" y="202"/>
                  <a:pt x="921" y="202"/>
                  <a:pt x="921" y="202"/>
                </a:cubicBezTo>
                <a:cubicBezTo>
                  <a:pt x="921" y="201"/>
                  <a:pt x="921" y="201"/>
                  <a:pt x="921" y="201"/>
                </a:cubicBezTo>
                <a:cubicBezTo>
                  <a:pt x="920" y="200"/>
                  <a:pt x="920" y="200"/>
                  <a:pt x="920" y="200"/>
                </a:cubicBezTo>
                <a:cubicBezTo>
                  <a:pt x="919" y="199"/>
                  <a:pt x="919" y="199"/>
                  <a:pt x="919" y="199"/>
                </a:cubicBezTo>
                <a:cubicBezTo>
                  <a:pt x="918" y="199"/>
                  <a:pt x="918" y="199"/>
                  <a:pt x="918" y="199"/>
                </a:cubicBezTo>
                <a:cubicBezTo>
                  <a:pt x="916" y="198"/>
                  <a:pt x="916" y="198"/>
                  <a:pt x="916" y="198"/>
                </a:cubicBezTo>
                <a:cubicBezTo>
                  <a:pt x="914" y="197"/>
                  <a:pt x="914" y="197"/>
                  <a:pt x="914" y="197"/>
                </a:cubicBezTo>
                <a:cubicBezTo>
                  <a:pt x="913" y="197"/>
                  <a:pt x="913" y="197"/>
                  <a:pt x="913" y="197"/>
                </a:cubicBezTo>
                <a:cubicBezTo>
                  <a:pt x="911" y="196"/>
                  <a:pt x="911" y="196"/>
                  <a:pt x="911" y="196"/>
                </a:cubicBezTo>
                <a:cubicBezTo>
                  <a:pt x="910" y="195"/>
                  <a:pt x="910" y="195"/>
                  <a:pt x="910" y="195"/>
                </a:cubicBezTo>
                <a:cubicBezTo>
                  <a:pt x="910" y="193"/>
                  <a:pt x="910" y="193"/>
                  <a:pt x="910" y="193"/>
                </a:cubicBezTo>
                <a:cubicBezTo>
                  <a:pt x="912" y="192"/>
                  <a:pt x="912" y="192"/>
                  <a:pt x="912" y="192"/>
                </a:cubicBezTo>
                <a:cubicBezTo>
                  <a:pt x="911" y="191"/>
                  <a:pt x="911" y="191"/>
                  <a:pt x="911" y="191"/>
                </a:cubicBezTo>
                <a:cubicBezTo>
                  <a:pt x="912" y="190"/>
                  <a:pt x="912" y="190"/>
                  <a:pt x="912" y="190"/>
                </a:cubicBezTo>
                <a:cubicBezTo>
                  <a:pt x="913" y="190"/>
                  <a:pt x="913" y="190"/>
                  <a:pt x="913" y="190"/>
                </a:cubicBezTo>
                <a:cubicBezTo>
                  <a:pt x="913" y="188"/>
                  <a:pt x="913" y="188"/>
                  <a:pt x="913" y="188"/>
                </a:cubicBezTo>
                <a:cubicBezTo>
                  <a:pt x="913" y="186"/>
                  <a:pt x="913" y="186"/>
                  <a:pt x="913" y="186"/>
                </a:cubicBezTo>
                <a:cubicBezTo>
                  <a:pt x="914" y="185"/>
                  <a:pt x="914" y="185"/>
                  <a:pt x="914" y="185"/>
                </a:cubicBezTo>
                <a:cubicBezTo>
                  <a:pt x="915" y="185"/>
                  <a:pt x="915" y="185"/>
                  <a:pt x="915" y="185"/>
                </a:cubicBezTo>
                <a:cubicBezTo>
                  <a:pt x="915" y="184"/>
                  <a:pt x="915" y="184"/>
                  <a:pt x="915" y="184"/>
                </a:cubicBezTo>
                <a:cubicBezTo>
                  <a:pt x="917" y="183"/>
                  <a:pt x="917" y="183"/>
                  <a:pt x="917" y="183"/>
                </a:cubicBezTo>
                <a:cubicBezTo>
                  <a:pt x="918" y="183"/>
                  <a:pt x="918" y="183"/>
                  <a:pt x="918" y="183"/>
                </a:cubicBezTo>
                <a:cubicBezTo>
                  <a:pt x="918" y="182"/>
                  <a:pt x="918" y="182"/>
                  <a:pt x="918" y="182"/>
                </a:cubicBezTo>
                <a:cubicBezTo>
                  <a:pt x="917" y="182"/>
                  <a:pt x="917" y="182"/>
                  <a:pt x="917" y="182"/>
                </a:cubicBezTo>
                <a:cubicBezTo>
                  <a:pt x="917" y="181"/>
                  <a:pt x="917" y="181"/>
                  <a:pt x="917" y="181"/>
                </a:cubicBezTo>
                <a:cubicBezTo>
                  <a:pt x="918" y="179"/>
                  <a:pt x="918" y="179"/>
                  <a:pt x="918" y="179"/>
                </a:cubicBezTo>
                <a:cubicBezTo>
                  <a:pt x="919" y="178"/>
                  <a:pt x="919" y="178"/>
                  <a:pt x="919" y="178"/>
                </a:cubicBezTo>
                <a:cubicBezTo>
                  <a:pt x="920" y="177"/>
                  <a:pt x="920" y="177"/>
                  <a:pt x="920" y="177"/>
                </a:cubicBezTo>
                <a:cubicBezTo>
                  <a:pt x="921" y="176"/>
                  <a:pt x="921" y="176"/>
                  <a:pt x="921" y="176"/>
                </a:cubicBezTo>
                <a:cubicBezTo>
                  <a:pt x="922" y="176"/>
                  <a:pt x="922" y="176"/>
                  <a:pt x="922" y="176"/>
                </a:cubicBezTo>
                <a:cubicBezTo>
                  <a:pt x="922" y="174"/>
                  <a:pt x="922" y="174"/>
                  <a:pt x="922" y="174"/>
                </a:cubicBezTo>
                <a:cubicBezTo>
                  <a:pt x="923" y="174"/>
                  <a:pt x="923" y="174"/>
                  <a:pt x="923" y="174"/>
                </a:cubicBezTo>
                <a:cubicBezTo>
                  <a:pt x="923" y="175"/>
                  <a:pt x="923" y="175"/>
                  <a:pt x="923" y="175"/>
                </a:cubicBezTo>
                <a:cubicBezTo>
                  <a:pt x="924" y="174"/>
                  <a:pt x="924" y="174"/>
                  <a:pt x="924" y="174"/>
                </a:cubicBezTo>
                <a:cubicBezTo>
                  <a:pt x="924" y="173"/>
                  <a:pt x="924" y="173"/>
                  <a:pt x="924" y="173"/>
                </a:cubicBezTo>
                <a:cubicBezTo>
                  <a:pt x="925" y="171"/>
                  <a:pt x="925" y="171"/>
                  <a:pt x="925" y="171"/>
                </a:cubicBezTo>
                <a:cubicBezTo>
                  <a:pt x="926" y="171"/>
                  <a:pt x="926" y="171"/>
                  <a:pt x="926" y="171"/>
                </a:cubicBezTo>
                <a:cubicBezTo>
                  <a:pt x="926" y="170"/>
                  <a:pt x="926" y="170"/>
                  <a:pt x="926" y="170"/>
                </a:cubicBezTo>
                <a:cubicBezTo>
                  <a:pt x="927" y="169"/>
                  <a:pt x="927" y="169"/>
                  <a:pt x="927" y="169"/>
                </a:cubicBezTo>
                <a:cubicBezTo>
                  <a:pt x="928" y="169"/>
                  <a:pt x="928" y="169"/>
                  <a:pt x="928" y="169"/>
                </a:cubicBezTo>
                <a:cubicBezTo>
                  <a:pt x="929" y="168"/>
                  <a:pt x="929" y="168"/>
                  <a:pt x="929" y="168"/>
                </a:cubicBezTo>
                <a:cubicBezTo>
                  <a:pt x="930" y="168"/>
                  <a:pt x="930" y="168"/>
                  <a:pt x="930" y="168"/>
                </a:cubicBezTo>
                <a:cubicBezTo>
                  <a:pt x="931" y="168"/>
                  <a:pt x="931" y="168"/>
                  <a:pt x="931" y="168"/>
                </a:cubicBezTo>
                <a:cubicBezTo>
                  <a:pt x="930" y="167"/>
                  <a:pt x="930" y="167"/>
                  <a:pt x="930" y="167"/>
                </a:cubicBezTo>
                <a:cubicBezTo>
                  <a:pt x="931" y="166"/>
                  <a:pt x="931" y="166"/>
                  <a:pt x="931" y="166"/>
                </a:cubicBezTo>
                <a:cubicBezTo>
                  <a:pt x="933" y="165"/>
                  <a:pt x="933" y="165"/>
                  <a:pt x="933" y="165"/>
                </a:cubicBezTo>
                <a:cubicBezTo>
                  <a:pt x="935" y="163"/>
                  <a:pt x="935" y="163"/>
                  <a:pt x="935" y="163"/>
                </a:cubicBezTo>
                <a:cubicBezTo>
                  <a:pt x="938" y="162"/>
                  <a:pt x="938" y="162"/>
                  <a:pt x="938" y="162"/>
                </a:cubicBezTo>
                <a:cubicBezTo>
                  <a:pt x="941" y="162"/>
                  <a:pt x="941" y="162"/>
                  <a:pt x="941" y="162"/>
                </a:cubicBezTo>
                <a:cubicBezTo>
                  <a:pt x="942" y="161"/>
                  <a:pt x="942" y="161"/>
                  <a:pt x="942" y="161"/>
                </a:cubicBezTo>
                <a:cubicBezTo>
                  <a:pt x="943" y="161"/>
                  <a:pt x="943" y="161"/>
                  <a:pt x="943" y="161"/>
                </a:cubicBezTo>
                <a:cubicBezTo>
                  <a:pt x="944" y="161"/>
                  <a:pt x="944" y="161"/>
                  <a:pt x="944" y="161"/>
                </a:cubicBezTo>
                <a:cubicBezTo>
                  <a:pt x="945" y="161"/>
                  <a:pt x="945" y="161"/>
                  <a:pt x="945" y="161"/>
                </a:cubicBezTo>
                <a:cubicBezTo>
                  <a:pt x="947" y="161"/>
                  <a:pt x="947" y="161"/>
                  <a:pt x="947" y="161"/>
                </a:cubicBezTo>
                <a:cubicBezTo>
                  <a:pt x="948" y="162"/>
                  <a:pt x="948" y="162"/>
                  <a:pt x="948" y="162"/>
                </a:cubicBezTo>
                <a:cubicBezTo>
                  <a:pt x="951" y="164"/>
                  <a:pt x="951" y="164"/>
                  <a:pt x="951" y="164"/>
                </a:cubicBezTo>
                <a:cubicBezTo>
                  <a:pt x="951" y="165"/>
                  <a:pt x="951" y="165"/>
                  <a:pt x="951" y="165"/>
                </a:cubicBezTo>
                <a:cubicBezTo>
                  <a:pt x="949" y="166"/>
                  <a:pt x="949" y="166"/>
                  <a:pt x="949" y="166"/>
                </a:cubicBezTo>
                <a:cubicBezTo>
                  <a:pt x="947" y="167"/>
                  <a:pt x="947" y="167"/>
                  <a:pt x="947" y="167"/>
                </a:cubicBezTo>
                <a:cubicBezTo>
                  <a:pt x="946" y="167"/>
                  <a:pt x="946" y="167"/>
                  <a:pt x="946" y="167"/>
                </a:cubicBezTo>
                <a:cubicBezTo>
                  <a:pt x="945" y="168"/>
                  <a:pt x="945" y="168"/>
                  <a:pt x="945" y="168"/>
                </a:cubicBezTo>
                <a:cubicBezTo>
                  <a:pt x="944" y="169"/>
                  <a:pt x="944" y="169"/>
                  <a:pt x="944" y="169"/>
                </a:cubicBezTo>
                <a:cubicBezTo>
                  <a:pt x="943" y="169"/>
                  <a:pt x="943" y="169"/>
                  <a:pt x="943" y="169"/>
                </a:cubicBezTo>
                <a:cubicBezTo>
                  <a:pt x="941" y="172"/>
                  <a:pt x="941" y="172"/>
                  <a:pt x="941" y="172"/>
                </a:cubicBezTo>
                <a:cubicBezTo>
                  <a:pt x="938" y="174"/>
                  <a:pt x="938" y="174"/>
                  <a:pt x="938" y="174"/>
                </a:cubicBezTo>
                <a:cubicBezTo>
                  <a:pt x="937" y="176"/>
                  <a:pt x="937" y="176"/>
                  <a:pt x="937" y="176"/>
                </a:cubicBezTo>
                <a:cubicBezTo>
                  <a:pt x="936" y="176"/>
                  <a:pt x="936" y="176"/>
                  <a:pt x="936" y="176"/>
                </a:cubicBezTo>
                <a:cubicBezTo>
                  <a:pt x="935" y="178"/>
                  <a:pt x="935" y="178"/>
                  <a:pt x="935" y="178"/>
                </a:cubicBezTo>
                <a:cubicBezTo>
                  <a:pt x="934" y="180"/>
                  <a:pt x="934" y="180"/>
                  <a:pt x="934" y="180"/>
                </a:cubicBezTo>
                <a:cubicBezTo>
                  <a:pt x="935" y="181"/>
                  <a:pt x="935" y="181"/>
                  <a:pt x="935" y="181"/>
                </a:cubicBezTo>
                <a:cubicBezTo>
                  <a:pt x="936" y="182"/>
                  <a:pt x="936" y="182"/>
                  <a:pt x="936" y="182"/>
                </a:cubicBezTo>
                <a:cubicBezTo>
                  <a:pt x="936" y="183"/>
                  <a:pt x="936" y="183"/>
                  <a:pt x="936" y="183"/>
                </a:cubicBezTo>
                <a:cubicBezTo>
                  <a:pt x="935" y="184"/>
                  <a:pt x="935" y="184"/>
                  <a:pt x="935" y="184"/>
                </a:cubicBezTo>
                <a:cubicBezTo>
                  <a:pt x="934" y="185"/>
                  <a:pt x="934" y="185"/>
                  <a:pt x="934" y="185"/>
                </a:cubicBezTo>
                <a:cubicBezTo>
                  <a:pt x="933" y="186"/>
                  <a:pt x="933" y="186"/>
                  <a:pt x="933" y="186"/>
                </a:cubicBezTo>
                <a:cubicBezTo>
                  <a:pt x="932" y="187"/>
                  <a:pt x="932" y="187"/>
                  <a:pt x="932" y="187"/>
                </a:cubicBezTo>
                <a:cubicBezTo>
                  <a:pt x="932" y="189"/>
                  <a:pt x="932" y="189"/>
                  <a:pt x="932" y="189"/>
                </a:cubicBezTo>
                <a:cubicBezTo>
                  <a:pt x="931" y="189"/>
                  <a:pt x="931" y="189"/>
                  <a:pt x="931" y="189"/>
                </a:cubicBezTo>
                <a:cubicBezTo>
                  <a:pt x="931" y="190"/>
                  <a:pt x="931" y="190"/>
                  <a:pt x="931" y="190"/>
                </a:cubicBezTo>
                <a:cubicBezTo>
                  <a:pt x="932" y="191"/>
                  <a:pt x="932" y="191"/>
                  <a:pt x="932" y="191"/>
                </a:cubicBezTo>
                <a:cubicBezTo>
                  <a:pt x="932" y="193"/>
                  <a:pt x="932" y="193"/>
                  <a:pt x="932" y="193"/>
                </a:cubicBezTo>
                <a:cubicBezTo>
                  <a:pt x="932" y="194"/>
                  <a:pt x="932" y="194"/>
                  <a:pt x="932" y="194"/>
                </a:cubicBezTo>
                <a:cubicBezTo>
                  <a:pt x="932" y="196"/>
                  <a:pt x="932" y="196"/>
                  <a:pt x="932" y="196"/>
                </a:cubicBezTo>
                <a:cubicBezTo>
                  <a:pt x="933" y="197"/>
                  <a:pt x="933" y="197"/>
                  <a:pt x="933" y="197"/>
                </a:cubicBezTo>
                <a:cubicBezTo>
                  <a:pt x="934" y="198"/>
                  <a:pt x="934" y="198"/>
                  <a:pt x="934" y="198"/>
                </a:cubicBezTo>
                <a:cubicBezTo>
                  <a:pt x="935" y="198"/>
                  <a:pt x="935" y="198"/>
                  <a:pt x="935" y="198"/>
                </a:cubicBezTo>
                <a:cubicBezTo>
                  <a:pt x="935" y="200"/>
                  <a:pt x="935" y="200"/>
                  <a:pt x="935" y="200"/>
                </a:cubicBezTo>
                <a:cubicBezTo>
                  <a:pt x="934" y="201"/>
                  <a:pt x="934" y="201"/>
                  <a:pt x="934" y="201"/>
                </a:cubicBezTo>
                <a:cubicBezTo>
                  <a:pt x="934" y="200"/>
                  <a:pt x="934" y="200"/>
                  <a:pt x="934" y="200"/>
                </a:cubicBezTo>
                <a:cubicBezTo>
                  <a:pt x="933" y="200"/>
                  <a:pt x="933" y="200"/>
                  <a:pt x="933" y="200"/>
                </a:cubicBezTo>
                <a:cubicBezTo>
                  <a:pt x="932" y="200"/>
                  <a:pt x="932" y="200"/>
                  <a:pt x="932" y="200"/>
                </a:cubicBezTo>
                <a:cubicBezTo>
                  <a:pt x="932" y="201"/>
                  <a:pt x="932" y="201"/>
                  <a:pt x="932" y="201"/>
                </a:cubicBezTo>
                <a:cubicBezTo>
                  <a:pt x="931" y="201"/>
                  <a:pt x="931" y="201"/>
                  <a:pt x="931" y="201"/>
                </a:cubicBezTo>
                <a:cubicBezTo>
                  <a:pt x="932" y="202"/>
                  <a:pt x="932" y="202"/>
                  <a:pt x="932" y="202"/>
                </a:cubicBezTo>
                <a:cubicBezTo>
                  <a:pt x="933" y="202"/>
                  <a:pt x="933" y="202"/>
                  <a:pt x="933" y="202"/>
                </a:cubicBezTo>
                <a:cubicBezTo>
                  <a:pt x="934" y="202"/>
                  <a:pt x="934" y="202"/>
                  <a:pt x="934" y="202"/>
                </a:cubicBezTo>
                <a:cubicBezTo>
                  <a:pt x="933" y="203"/>
                  <a:pt x="933" y="203"/>
                  <a:pt x="933" y="203"/>
                </a:cubicBezTo>
                <a:cubicBezTo>
                  <a:pt x="932" y="205"/>
                  <a:pt x="932" y="205"/>
                  <a:pt x="932" y="205"/>
                </a:cubicBezTo>
                <a:cubicBezTo>
                  <a:pt x="932" y="206"/>
                  <a:pt x="932" y="206"/>
                  <a:pt x="932" y="206"/>
                </a:cubicBezTo>
                <a:cubicBezTo>
                  <a:pt x="932" y="207"/>
                  <a:pt x="932" y="207"/>
                  <a:pt x="932" y="207"/>
                </a:cubicBezTo>
                <a:cubicBezTo>
                  <a:pt x="934" y="205"/>
                  <a:pt x="934" y="205"/>
                  <a:pt x="934" y="205"/>
                </a:cubicBezTo>
                <a:cubicBezTo>
                  <a:pt x="935" y="202"/>
                  <a:pt x="935" y="202"/>
                  <a:pt x="935" y="202"/>
                </a:cubicBezTo>
                <a:cubicBezTo>
                  <a:pt x="936" y="199"/>
                  <a:pt x="936" y="199"/>
                  <a:pt x="936" y="199"/>
                </a:cubicBezTo>
                <a:cubicBezTo>
                  <a:pt x="937" y="198"/>
                  <a:pt x="937" y="198"/>
                  <a:pt x="937" y="198"/>
                </a:cubicBezTo>
                <a:cubicBezTo>
                  <a:pt x="937" y="197"/>
                  <a:pt x="937" y="197"/>
                  <a:pt x="937" y="197"/>
                </a:cubicBezTo>
                <a:cubicBezTo>
                  <a:pt x="937" y="196"/>
                  <a:pt x="937" y="196"/>
                  <a:pt x="937" y="196"/>
                </a:cubicBezTo>
                <a:cubicBezTo>
                  <a:pt x="937" y="195"/>
                  <a:pt x="937" y="195"/>
                  <a:pt x="937" y="195"/>
                </a:cubicBezTo>
                <a:cubicBezTo>
                  <a:pt x="936" y="195"/>
                  <a:pt x="936" y="195"/>
                  <a:pt x="936" y="195"/>
                </a:cubicBezTo>
                <a:cubicBezTo>
                  <a:pt x="936" y="194"/>
                  <a:pt x="936" y="194"/>
                  <a:pt x="936" y="194"/>
                </a:cubicBezTo>
                <a:cubicBezTo>
                  <a:pt x="936" y="193"/>
                  <a:pt x="936" y="193"/>
                  <a:pt x="936" y="193"/>
                </a:cubicBezTo>
                <a:cubicBezTo>
                  <a:pt x="935" y="193"/>
                  <a:pt x="935" y="193"/>
                  <a:pt x="935" y="193"/>
                </a:cubicBezTo>
                <a:cubicBezTo>
                  <a:pt x="935" y="191"/>
                  <a:pt x="935" y="191"/>
                  <a:pt x="935" y="191"/>
                </a:cubicBezTo>
                <a:cubicBezTo>
                  <a:pt x="935" y="190"/>
                  <a:pt x="935" y="190"/>
                  <a:pt x="935" y="190"/>
                </a:cubicBezTo>
                <a:cubicBezTo>
                  <a:pt x="934" y="188"/>
                  <a:pt x="934" y="188"/>
                  <a:pt x="934" y="188"/>
                </a:cubicBezTo>
                <a:cubicBezTo>
                  <a:pt x="935" y="188"/>
                  <a:pt x="935" y="188"/>
                  <a:pt x="935" y="188"/>
                </a:cubicBezTo>
                <a:cubicBezTo>
                  <a:pt x="935" y="189"/>
                  <a:pt x="935" y="189"/>
                  <a:pt x="935" y="189"/>
                </a:cubicBezTo>
                <a:cubicBezTo>
                  <a:pt x="936" y="189"/>
                  <a:pt x="936" y="189"/>
                  <a:pt x="936" y="189"/>
                </a:cubicBezTo>
                <a:cubicBezTo>
                  <a:pt x="937" y="188"/>
                  <a:pt x="937" y="188"/>
                  <a:pt x="937" y="188"/>
                </a:cubicBezTo>
                <a:cubicBezTo>
                  <a:pt x="938" y="187"/>
                  <a:pt x="938" y="187"/>
                  <a:pt x="938" y="187"/>
                </a:cubicBezTo>
                <a:cubicBezTo>
                  <a:pt x="938" y="186"/>
                  <a:pt x="938" y="186"/>
                  <a:pt x="938" y="186"/>
                </a:cubicBezTo>
                <a:cubicBezTo>
                  <a:pt x="938" y="185"/>
                  <a:pt x="938" y="185"/>
                  <a:pt x="938" y="185"/>
                </a:cubicBezTo>
                <a:cubicBezTo>
                  <a:pt x="939" y="186"/>
                  <a:pt x="939" y="186"/>
                  <a:pt x="939" y="186"/>
                </a:cubicBezTo>
                <a:cubicBezTo>
                  <a:pt x="940" y="187"/>
                  <a:pt x="940" y="187"/>
                  <a:pt x="940" y="187"/>
                </a:cubicBezTo>
                <a:cubicBezTo>
                  <a:pt x="940" y="188"/>
                  <a:pt x="940" y="188"/>
                  <a:pt x="940" y="188"/>
                </a:cubicBezTo>
                <a:cubicBezTo>
                  <a:pt x="940" y="189"/>
                  <a:pt x="940" y="189"/>
                  <a:pt x="940" y="189"/>
                </a:cubicBezTo>
                <a:cubicBezTo>
                  <a:pt x="941" y="188"/>
                  <a:pt x="941" y="188"/>
                  <a:pt x="941" y="188"/>
                </a:cubicBezTo>
                <a:cubicBezTo>
                  <a:pt x="941" y="186"/>
                  <a:pt x="941" y="186"/>
                  <a:pt x="941" y="186"/>
                </a:cubicBezTo>
                <a:cubicBezTo>
                  <a:pt x="942" y="185"/>
                  <a:pt x="942" y="185"/>
                  <a:pt x="942" y="185"/>
                </a:cubicBezTo>
                <a:cubicBezTo>
                  <a:pt x="943" y="185"/>
                  <a:pt x="943" y="185"/>
                  <a:pt x="943" y="185"/>
                </a:cubicBezTo>
                <a:cubicBezTo>
                  <a:pt x="943" y="184"/>
                  <a:pt x="943" y="184"/>
                  <a:pt x="943" y="184"/>
                </a:cubicBezTo>
                <a:cubicBezTo>
                  <a:pt x="944" y="184"/>
                  <a:pt x="944" y="184"/>
                  <a:pt x="944" y="184"/>
                </a:cubicBezTo>
                <a:cubicBezTo>
                  <a:pt x="944" y="183"/>
                  <a:pt x="944" y="183"/>
                  <a:pt x="944" y="183"/>
                </a:cubicBezTo>
                <a:cubicBezTo>
                  <a:pt x="943" y="183"/>
                  <a:pt x="943" y="183"/>
                  <a:pt x="943" y="183"/>
                </a:cubicBezTo>
                <a:cubicBezTo>
                  <a:pt x="941" y="185"/>
                  <a:pt x="941" y="185"/>
                  <a:pt x="941" y="185"/>
                </a:cubicBezTo>
                <a:cubicBezTo>
                  <a:pt x="940" y="185"/>
                  <a:pt x="940" y="185"/>
                  <a:pt x="940" y="185"/>
                </a:cubicBezTo>
                <a:cubicBezTo>
                  <a:pt x="940" y="183"/>
                  <a:pt x="940" y="183"/>
                  <a:pt x="940" y="183"/>
                </a:cubicBezTo>
                <a:cubicBezTo>
                  <a:pt x="939" y="183"/>
                  <a:pt x="939" y="183"/>
                  <a:pt x="939" y="183"/>
                </a:cubicBezTo>
                <a:cubicBezTo>
                  <a:pt x="939" y="182"/>
                  <a:pt x="939" y="182"/>
                  <a:pt x="939" y="182"/>
                </a:cubicBezTo>
                <a:cubicBezTo>
                  <a:pt x="941" y="181"/>
                  <a:pt x="941" y="181"/>
                  <a:pt x="941" y="181"/>
                </a:cubicBezTo>
                <a:cubicBezTo>
                  <a:pt x="940" y="180"/>
                  <a:pt x="940" y="180"/>
                  <a:pt x="940" y="180"/>
                </a:cubicBezTo>
                <a:cubicBezTo>
                  <a:pt x="940" y="179"/>
                  <a:pt x="940" y="179"/>
                  <a:pt x="940" y="179"/>
                </a:cubicBezTo>
                <a:cubicBezTo>
                  <a:pt x="941" y="177"/>
                  <a:pt x="941" y="177"/>
                  <a:pt x="941" y="177"/>
                </a:cubicBezTo>
                <a:cubicBezTo>
                  <a:pt x="941" y="176"/>
                  <a:pt x="941" y="176"/>
                  <a:pt x="941" y="176"/>
                </a:cubicBezTo>
                <a:cubicBezTo>
                  <a:pt x="942" y="175"/>
                  <a:pt x="942" y="175"/>
                  <a:pt x="942" y="175"/>
                </a:cubicBezTo>
                <a:cubicBezTo>
                  <a:pt x="944" y="175"/>
                  <a:pt x="944" y="175"/>
                  <a:pt x="944" y="175"/>
                </a:cubicBezTo>
                <a:cubicBezTo>
                  <a:pt x="945" y="176"/>
                  <a:pt x="945" y="176"/>
                  <a:pt x="945" y="176"/>
                </a:cubicBezTo>
                <a:cubicBezTo>
                  <a:pt x="945" y="177"/>
                  <a:pt x="945" y="177"/>
                  <a:pt x="945" y="177"/>
                </a:cubicBezTo>
                <a:cubicBezTo>
                  <a:pt x="947" y="178"/>
                  <a:pt x="947" y="178"/>
                  <a:pt x="947" y="178"/>
                </a:cubicBezTo>
                <a:cubicBezTo>
                  <a:pt x="947" y="179"/>
                  <a:pt x="947" y="179"/>
                  <a:pt x="947" y="179"/>
                </a:cubicBezTo>
                <a:cubicBezTo>
                  <a:pt x="948" y="179"/>
                  <a:pt x="948" y="179"/>
                  <a:pt x="948" y="179"/>
                </a:cubicBezTo>
                <a:cubicBezTo>
                  <a:pt x="947" y="178"/>
                  <a:pt x="947" y="178"/>
                  <a:pt x="947" y="178"/>
                </a:cubicBezTo>
                <a:cubicBezTo>
                  <a:pt x="946" y="177"/>
                  <a:pt x="946" y="177"/>
                  <a:pt x="946" y="177"/>
                </a:cubicBezTo>
                <a:cubicBezTo>
                  <a:pt x="945" y="175"/>
                  <a:pt x="945" y="175"/>
                  <a:pt x="945" y="175"/>
                </a:cubicBezTo>
                <a:cubicBezTo>
                  <a:pt x="944" y="175"/>
                  <a:pt x="944" y="175"/>
                  <a:pt x="944" y="175"/>
                </a:cubicBezTo>
                <a:cubicBezTo>
                  <a:pt x="943" y="174"/>
                  <a:pt x="943" y="174"/>
                  <a:pt x="943" y="174"/>
                </a:cubicBezTo>
                <a:cubicBezTo>
                  <a:pt x="946" y="174"/>
                  <a:pt x="946" y="174"/>
                  <a:pt x="946" y="174"/>
                </a:cubicBezTo>
                <a:cubicBezTo>
                  <a:pt x="946" y="173"/>
                  <a:pt x="946" y="173"/>
                  <a:pt x="946" y="173"/>
                </a:cubicBezTo>
                <a:cubicBezTo>
                  <a:pt x="948" y="175"/>
                  <a:pt x="948" y="175"/>
                  <a:pt x="948" y="175"/>
                </a:cubicBezTo>
                <a:cubicBezTo>
                  <a:pt x="950" y="176"/>
                  <a:pt x="950" y="176"/>
                  <a:pt x="950" y="176"/>
                </a:cubicBezTo>
                <a:cubicBezTo>
                  <a:pt x="951" y="176"/>
                  <a:pt x="951" y="176"/>
                  <a:pt x="951" y="176"/>
                </a:cubicBezTo>
                <a:cubicBezTo>
                  <a:pt x="949" y="175"/>
                  <a:pt x="949" y="175"/>
                  <a:pt x="949" y="175"/>
                </a:cubicBezTo>
                <a:cubicBezTo>
                  <a:pt x="948" y="173"/>
                  <a:pt x="948" y="173"/>
                  <a:pt x="948" y="173"/>
                </a:cubicBezTo>
                <a:cubicBezTo>
                  <a:pt x="947" y="172"/>
                  <a:pt x="947" y="172"/>
                  <a:pt x="947" y="172"/>
                </a:cubicBezTo>
                <a:cubicBezTo>
                  <a:pt x="947" y="170"/>
                  <a:pt x="947" y="170"/>
                  <a:pt x="947" y="170"/>
                </a:cubicBezTo>
                <a:cubicBezTo>
                  <a:pt x="949" y="170"/>
                  <a:pt x="949" y="170"/>
                  <a:pt x="949" y="170"/>
                </a:cubicBezTo>
                <a:cubicBezTo>
                  <a:pt x="950" y="170"/>
                  <a:pt x="950" y="170"/>
                  <a:pt x="950" y="170"/>
                </a:cubicBezTo>
                <a:cubicBezTo>
                  <a:pt x="949" y="171"/>
                  <a:pt x="949" y="171"/>
                  <a:pt x="949" y="171"/>
                </a:cubicBezTo>
                <a:cubicBezTo>
                  <a:pt x="950" y="172"/>
                  <a:pt x="950" y="172"/>
                  <a:pt x="950" y="172"/>
                </a:cubicBezTo>
                <a:cubicBezTo>
                  <a:pt x="950" y="171"/>
                  <a:pt x="950" y="171"/>
                  <a:pt x="950" y="171"/>
                </a:cubicBezTo>
                <a:cubicBezTo>
                  <a:pt x="951" y="170"/>
                  <a:pt x="951" y="170"/>
                  <a:pt x="951" y="170"/>
                </a:cubicBezTo>
                <a:cubicBezTo>
                  <a:pt x="952" y="170"/>
                  <a:pt x="952" y="170"/>
                  <a:pt x="952" y="170"/>
                </a:cubicBezTo>
                <a:cubicBezTo>
                  <a:pt x="953" y="171"/>
                  <a:pt x="953" y="171"/>
                  <a:pt x="953" y="171"/>
                </a:cubicBezTo>
                <a:cubicBezTo>
                  <a:pt x="953" y="172"/>
                  <a:pt x="953" y="172"/>
                  <a:pt x="953" y="172"/>
                </a:cubicBezTo>
                <a:cubicBezTo>
                  <a:pt x="954" y="173"/>
                  <a:pt x="954" y="173"/>
                  <a:pt x="954" y="173"/>
                </a:cubicBezTo>
                <a:cubicBezTo>
                  <a:pt x="954" y="172"/>
                  <a:pt x="954" y="172"/>
                  <a:pt x="954" y="172"/>
                </a:cubicBezTo>
                <a:cubicBezTo>
                  <a:pt x="953" y="170"/>
                  <a:pt x="953" y="170"/>
                  <a:pt x="953" y="170"/>
                </a:cubicBezTo>
                <a:cubicBezTo>
                  <a:pt x="954" y="170"/>
                  <a:pt x="954" y="170"/>
                  <a:pt x="954" y="170"/>
                </a:cubicBezTo>
                <a:cubicBezTo>
                  <a:pt x="957" y="169"/>
                  <a:pt x="957" y="169"/>
                  <a:pt x="957" y="169"/>
                </a:cubicBezTo>
                <a:cubicBezTo>
                  <a:pt x="959" y="168"/>
                  <a:pt x="959" y="168"/>
                  <a:pt x="959" y="168"/>
                </a:cubicBezTo>
                <a:cubicBezTo>
                  <a:pt x="960" y="168"/>
                  <a:pt x="960" y="168"/>
                  <a:pt x="960" y="168"/>
                </a:cubicBezTo>
                <a:cubicBezTo>
                  <a:pt x="961" y="167"/>
                  <a:pt x="961" y="167"/>
                  <a:pt x="961" y="167"/>
                </a:cubicBezTo>
                <a:cubicBezTo>
                  <a:pt x="963" y="168"/>
                  <a:pt x="963" y="168"/>
                  <a:pt x="963" y="168"/>
                </a:cubicBezTo>
                <a:cubicBezTo>
                  <a:pt x="965" y="168"/>
                  <a:pt x="965" y="168"/>
                  <a:pt x="965" y="168"/>
                </a:cubicBezTo>
                <a:cubicBezTo>
                  <a:pt x="967" y="168"/>
                  <a:pt x="967" y="168"/>
                  <a:pt x="967" y="168"/>
                </a:cubicBezTo>
                <a:cubicBezTo>
                  <a:pt x="967" y="169"/>
                  <a:pt x="967" y="169"/>
                  <a:pt x="967" y="169"/>
                </a:cubicBezTo>
                <a:cubicBezTo>
                  <a:pt x="967" y="172"/>
                  <a:pt x="967" y="172"/>
                  <a:pt x="967" y="172"/>
                </a:cubicBezTo>
                <a:cubicBezTo>
                  <a:pt x="966" y="173"/>
                  <a:pt x="966" y="173"/>
                  <a:pt x="966" y="173"/>
                </a:cubicBezTo>
                <a:cubicBezTo>
                  <a:pt x="966" y="174"/>
                  <a:pt x="966" y="174"/>
                  <a:pt x="966" y="174"/>
                </a:cubicBezTo>
                <a:cubicBezTo>
                  <a:pt x="965" y="175"/>
                  <a:pt x="965" y="175"/>
                  <a:pt x="965" y="175"/>
                </a:cubicBezTo>
                <a:cubicBezTo>
                  <a:pt x="965" y="176"/>
                  <a:pt x="965" y="176"/>
                  <a:pt x="965" y="176"/>
                </a:cubicBezTo>
                <a:cubicBezTo>
                  <a:pt x="966" y="177"/>
                  <a:pt x="966" y="177"/>
                  <a:pt x="966" y="177"/>
                </a:cubicBezTo>
                <a:cubicBezTo>
                  <a:pt x="967" y="178"/>
                  <a:pt x="967" y="178"/>
                  <a:pt x="967" y="178"/>
                </a:cubicBezTo>
                <a:cubicBezTo>
                  <a:pt x="966" y="178"/>
                  <a:pt x="966" y="178"/>
                  <a:pt x="966" y="178"/>
                </a:cubicBezTo>
                <a:cubicBezTo>
                  <a:pt x="965" y="180"/>
                  <a:pt x="965" y="180"/>
                  <a:pt x="965" y="180"/>
                </a:cubicBezTo>
                <a:cubicBezTo>
                  <a:pt x="964" y="181"/>
                  <a:pt x="964" y="181"/>
                  <a:pt x="964" y="181"/>
                </a:cubicBezTo>
                <a:cubicBezTo>
                  <a:pt x="964" y="182"/>
                  <a:pt x="964" y="182"/>
                  <a:pt x="964" y="182"/>
                </a:cubicBezTo>
                <a:cubicBezTo>
                  <a:pt x="965" y="183"/>
                  <a:pt x="965" y="183"/>
                  <a:pt x="965" y="183"/>
                </a:cubicBezTo>
                <a:cubicBezTo>
                  <a:pt x="965" y="184"/>
                  <a:pt x="965" y="184"/>
                  <a:pt x="965" y="184"/>
                </a:cubicBezTo>
                <a:cubicBezTo>
                  <a:pt x="964" y="185"/>
                  <a:pt x="964" y="185"/>
                  <a:pt x="964" y="185"/>
                </a:cubicBezTo>
                <a:cubicBezTo>
                  <a:pt x="963" y="185"/>
                  <a:pt x="963" y="185"/>
                  <a:pt x="963" y="185"/>
                </a:cubicBezTo>
                <a:cubicBezTo>
                  <a:pt x="963" y="186"/>
                  <a:pt x="963" y="186"/>
                  <a:pt x="963" y="186"/>
                </a:cubicBezTo>
                <a:cubicBezTo>
                  <a:pt x="962" y="186"/>
                  <a:pt x="962" y="186"/>
                  <a:pt x="962" y="186"/>
                </a:cubicBezTo>
                <a:cubicBezTo>
                  <a:pt x="961" y="187"/>
                  <a:pt x="961" y="187"/>
                  <a:pt x="961" y="187"/>
                </a:cubicBezTo>
                <a:cubicBezTo>
                  <a:pt x="960" y="188"/>
                  <a:pt x="960" y="188"/>
                  <a:pt x="960" y="188"/>
                </a:cubicBezTo>
                <a:cubicBezTo>
                  <a:pt x="959" y="189"/>
                  <a:pt x="959" y="189"/>
                  <a:pt x="959" y="189"/>
                </a:cubicBezTo>
                <a:cubicBezTo>
                  <a:pt x="960" y="189"/>
                  <a:pt x="960" y="189"/>
                  <a:pt x="960" y="189"/>
                </a:cubicBezTo>
                <a:cubicBezTo>
                  <a:pt x="961" y="188"/>
                  <a:pt x="961" y="188"/>
                  <a:pt x="961" y="188"/>
                </a:cubicBezTo>
                <a:cubicBezTo>
                  <a:pt x="963" y="187"/>
                  <a:pt x="963" y="187"/>
                  <a:pt x="963" y="187"/>
                </a:cubicBezTo>
                <a:cubicBezTo>
                  <a:pt x="963" y="188"/>
                  <a:pt x="963" y="188"/>
                  <a:pt x="963" y="188"/>
                </a:cubicBezTo>
                <a:cubicBezTo>
                  <a:pt x="961" y="190"/>
                  <a:pt x="961" y="190"/>
                  <a:pt x="961" y="190"/>
                </a:cubicBezTo>
                <a:cubicBezTo>
                  <a:pt x="960" y="190"/>
                  <a:pt x="960" y="190"/>
                  <a:pt x="960" y="190"/>
                </a:cubicBezTo>
                <a:cubicBezTo>
                  <a:pt x="960" y="191"/>
                  <a:pt x="960" y="191"/>
                  <a:pt x="960" y="191"/>
                </a:cubicBezTo>
                <a:cubicBezTo>
                  <a:pt x="960" y="192"/>
                  <a:pt x="960" y="192"/>
                  <a:pt x="960" y="192"/>
                </a:cubicBezTo>
                <a:cubicBezTo>
                  <a:pt x="959" y="192"/>
                  <a:pt x="959" y="192"/>
                  <a:pt x="959" y="192"/>
                </a:cubicBezTo>
                <a:cubicBezTo>
                  <a:pt x="958" y="192"/>
                  <a:pt x="958" y="192"/>
                  <a:pt x="958" y="192"/>
                </a:cubicBezTo>
                <a:cubicBezTo>
                  <a:pt x="958" y="193"/>
                  <a:pt x="958" y="193"/>
                  <a:pt x="958" y="193"/>
                </a:cubicBezTo>
                <a:cubicBezTo>
                  <a:pt x="959" y="193"/>
                  <a:pt x="959" y="193"/>
                  <a:pt x="959" y="193"/>
                </a:cubicBezTo>
                <a:cubicBezTo>
                  <a:pt x="959" y="194"/>
                  <a:pt x="959" y="194"/>
                  <a:pt x="959" y="194"/>
                </a:cubicBezTo>
                <a:cubicBezTo>
                  <a:pt x="958" y="195"/>
                  <a:pt x="958" y="195"/>
                  <a:pt x="958" y="195"/>
                </a:cubicBezTo>
                <a:cubicBezTo>
                  <a:pt x="959" y="195"/>
                  <a:pt x="959" y="195"/>
                  <a:pt x="959" y="195"/>
                </a:cubicBezTo>
                <a:cubicBezTo>
                  <a:pt x="960" y="194"/>
                  <a:pt x="960" y="194"/>
                  <a:pt x="960" y="194"/>
                </a:cubicBezTo>
                <a:cubicBezTo>
                  <a:pt x="961" y="194"/>
                  <a:pt x="961" y="194"/>
                  <a:pt x="961" y="194"/>
                </a:cubicBezTo>
                <a:cubicBezTo>
                  <a:pt x="962" y="193"/>
                  <a:pt x="962" y="193"/>
                  <a:pt x="962" y="193"/>
                </a:cubicBezTo>
                <a:cubicBezTo>
                  <a:pt x="962" y="192"/>
                  <a:pt x="962" y="192"/>
                  <a:pt x="962" y="192"/>
                </a:cubicBezTo>
                <a:cubicBezTo>
                  <a:pt x="963" y="191"/>
                  <a:pt x="963" y="191"/>
                  <a:pt x="963" y="191"/>
                </a:cubicBezTo>
                <a:cubicBezTo>
                  <a:pt x="963" y="190"/>
                  <a:pt x="963" y="190"/>
                  <a:pt x="963" y="190"/>
                </a:cubicBezTo>
                <a:cubicBezTo>
                  <a:pt x="964" y="191"/>
                  <a:pt x="964" y="191"/>
                  <a:pt x="964" y="191"/>
                </a:cubicBezTo>
                <a:cubicBezTo>
                  <a:pt x="964" y="190"/>
                  <a:pt x="964" y="190"/>
                  <a:pt x="964" y="190"/>
                </a:cubicBezTo>
                <a:cubicBezTo>
                  <a:pt x="964" y="189"/>
                  <a:pt x="964" y="189"/>
                  <a:pt x="964" y="189"/>
                </a:cubicBezTo>
                <a:cubicBezTo>
                  <a:pt x="965" y="189"/>
                  <a:pt x="965" y="189"/>
                  <a:pt x="965" y="189"/>
                </a:cubicBezTo>
                <a:cubicBezTo>
                  <a:pt x="966" y="189"/>
                  <a:pt x="966" y="189"/>
                  <a:pt x="966" y="189"/>
                </a:cubicBezTo>
                <a:cubicBezTo>
                  <a:pt x="966" y="190"/>
                  <a:pt x="966" y="190"/>
                  <a:pt x="966" y="190"/>
                </a:cubicBezTo>
                <a:cubicBezTo>
                  <a:pt x="966" y="191"/>
                  <a:pt x="966" y="191"/>
                  <a:pt x="966" y="191"/>
                </a:cubicBezTo>
                <a:cubicBezTo>
                  <a:pt x="967" y="190"/>
                  <a:pt x="967" y="190"/>
                  <a:pt x="967" y="190"/>
                </a:cubicBezTo>
                <a:cubicBezTo>
                  <a:pt x="968" y="189"/>
                  <a:pt x="968" y="189"/>
                  <a:pt x="968" y="189"/>
                </a:cubicBezTo>
                <a:cubicBezTo>
                  <a:pt x="968" y="190"/>
                  <a:pt x="968" y="190"/>
                  <a:pt x="968" y="190"/>
                </a:cubicBezTo>
                <a:cubicBezTo>
                  <a:pt x="969" y="191"/>
                  <a:pt x="969" y="191"/>
                  <a:pt x="969" y="191"/>
                </a:cubicBezTo>
                <a:cubicBezTo>
                  <a:pt x="969" y="192"/>
                  <a:pt x="969" y="192"/>
                  <a:pt x="969" y="192"/>
                </a:cubicBezTo>
                <a:cubicBezTo>
                  <a:pt x="967" y="194"/>
                  <a:pt x="967" y="194"/>
                  <a:pt x="967" y="194"/>
                </a:cubicBezTo>
                <a:cubicBezTo>
                  <a:pt x="966" y="195"/>
                  <a:pt x="966" y="195"/>
                  <a:pt x="966" y="195"/>
                </a:cubicBezTo>
                <a:cubicBezTo>
                  <a:pt x="966" y="196"/>
                  <a:pt x="966" y="196"/>
                  <a:pt x="966" y="196"/>
                </a:cubicBezTo>
                <a:cubicBezTo>
                  <a:pt x="967" y="196"/>
                  <a:pt x="967" y="196"/>
                  <a:pt x="967" y="196"/>
                </a:cubicBezTo>
                <a:cubicBezTo>
                  <a:pt x="968" y="197"/>
                  <a:pt x="968" y="197"/>
                  <a:pt x="968" y="197"/>
                </a:cubicBezTo>
                <a:cubicBezTo>
                  <a:pt x="969" y="196"/>
                  <a:pt x="969" y="196"/>
                  <a:pt x="969" y="196"/>
                </a:cubicBezTo>
                <a:cubicBezTo>
                  <a:pt x="968" y="195"/>
                  <a:pt x="968" y="195"/>
                  <a:pt x="968" y="195"/>
                </a:cubicBezTo>
                <a:cubicBezTo>
                  <a:pt x="969" y="194"/>
                  <a:pt x="969" y="194"/>
                  <a:pt x="969" y="194"/>
                </a:cubicBezTo>
                <a:cubicBezTo>
                  <a:pt x="970" y="193"/>
                  <a:pt x="970" y="193"/>
                  <a:pt x="970" y="193"/>
                </a:cubicBezTo>
                <a:cubicBezTo>
                  <a:pt x="970" y="195"/>
                  <a:pt x="970" y="195"/>
                  <a:pt x="970" y="195"/>
                </a:cubicBezTo>
                <a:cubicBezTo>
                  <a:pt x="970" y="196"/>
                  <a:pt x="970" y="196"/>
                  <a:pt x="970" y="196"/>
                </a:cubicBezTo>
                <a:cubicBezTo>
                  <a:pt x="971" y="195"/>
                  <a:pt x="971" y="195"/>
                  <a:pt x="971" y="195"/>
                </a:cubicBezTo>
                <a:cubicBezTo>
                  <a:pt x="971" y="193"/>
                  <a:pt x="971" y="193"/>
                  <a:pt x="971" y="193"/>
                </a:cubicBezTo>
                <a:cubicBezTo>
                  <a:pt x="970" y="192"/>
                  <a:pt x="970" y="192"/>
                  <a:pt x="970" y="192"/>
                </a:cubicBezTo>
                <a:cubicBezTo>
                  <a:pt x="970" y="190"/>
                  <a:pt x="970" y="190"/>
                  <a:pt x="970" y="190"/>
                </a:cubicBezTo>
                <a:cubicBezTo>
                  <a:pt x="972" y="190"/>
                  <a:pt x="972" y="190"/>
                  <a:pt x="972" y="190"/>
                </a:cubicBezTo>
                <a:cubicBezTo>
                  <a:pt x="971" y="191"/>
                  <a:pt x="971" y="191"/>
                  <a:pt x="971" y="191"/>
                </a:cubicBezTo>
                <a:cubicBezTo>
                  <a:pt x="971" y="192"/>
                  <a:pt x="971" y="192"/>
                  <a:pt x="971" y="192"/>
                </a:cubicBezTo>
                <a:cubicBezTo>
                  <a:pt x="972" y="192"/>
                  <a:pt x="972" y="192"/>
                  <a:pt x="972" y="192"/>
                </a:cubicBezTo>
                <a:cubicBezTo>
                  <a:pt x="973" y="192"/>
                  <a:pt x="973" y="192"/>
                  <a:pt x="973" y="192"/>
                </a:cubicBezTo>
                <a:cubicBezTo>
                  <a:pt x="975" y="194"/>
                  <a:pt x="975" y="194"/>
                  <a:pt x="975" y="194"/>
                </a:cubicBezTo>
                <a:cubicBezTo>
                  <a:pt x="975" y="195"/>
                  <a:pt x="975" y="195"/>
                  <a:pt x="975" y="195"/>
                </a:cubicBezTo>
                <a:cubicBezTo>
                  <a:pt x="976" y="195"/>
                  <a:pt x="976" y="195"/>
                  <a:pt x="976" y="195"/>
                </a:cubicBezTo>
                <a:cubicBezTo>
                  <a:pt x="977" y="195"/>
                  <a:pt x="977" y="195"/>
                  <a:pt x="977" y="195"/>
                </a:cubicBezTo>
                <a:cubicBezTo>
                  <a:pt x="978" y="195"/>
                  <a:pt x="978" y="195"/>
                  <a:pt x="978" y="195"/>
                </a:cubicBezTo>
                <a:cubicBezTo>
                  <a:pt x="977" y="194"/>
                  <a:pt x="977" y="194"/>
                  <a:pt x="977" y="194"/>
                </a:cubicBezTo>
                <a:cubicBezTo>
                  <a:pt x="976" y="194"/>
                  <a:pt x="976" y="194"/>
                  <a:pt x="976" y="194"/>
                </a:cubicBezTo>
                <a:cubicBezTo>
                  <a:pt x="976" y="193"/>
                  <a:pt x="976" y="193"/>
                  <a:pt x="976" y="193"/>
                </a:cubicBezTo>
                <a:cubicBezTo>
                  <a:pt x="974" y="191"/>
                  <a:pt x="974" y="191"/>
                  <a:pt x="974" y="191"/>
                </a:cubicBezTo>
                <a:cubicBezTo>
                  <a:pt x="973" y="191"/>
                  <a:pt x="973" y="191"/>
                  <a:pt x="973" y="191"/>
                </a:cubicBezTo>
                <a:cubicBezTo>
                  <a:pt x="972" y="190"/>
                  <a:pt x="972" y="190"/>
                  <a:pt x="972" y="190"/>
                </a:cubicBezTo>
                <a:cubicBezTo>
                  <a:pt x="974" y="188"/>
                  <a:pt x="974" y="188"/>
                  <a:pt x="974" y="188"/>
                </a:cubicBezTo>
                <a:cubicBezTo>
                  <a:pt x="975" y="188"/>
                  <a:pt x="975" y="188"/>
                  <a:pt x="975" y="188"/>
                </a:cubicBezTo>
                <a:cubicBezTo>
                  <a:pt x="976" y="187"/>
                  <a:pt x="976" y="187"/>
                  <a:pt x="976" y="187"/>
                </a:cubicBezTo>
                <a:cubicBezTo>
                  <a:pt x="978" y="187"/>
                  <a:pt x="978" y="187"/>
                  <a:pt x="978" y="187"/>
                </a:cubicBezTo>
                <a:cubicBezTo>
                  <a:pt x="980" y="187"/>
                  <a:pt x="980" y="187"/>
                  <a:pt x="980" y="187"/>
                </a:cubicBezTo>
                <a:cubicBezTo>
                  <a:pt x="980" y="188"/>
                  <a:pt x="980" y="188"/>
                  <a:pt x="980" y="188"/>
                </a:cubicBezTo>
                <a:cubicBezTo>
                  <a:pt x="981" y="188"/>
                  <a:pt x="981" y="188"/>
                  <a:pt x="981" y="188"/>
                </a:cubicBezTo>
                <a:cubicBezTo>
                  <a:pt x="982" y="188"/>
                  <a:pt x="982" y="188"/>
                  <a:pt x="982" y="188"/>
                </a:cubicBezTo>
                <a:cubicBezTo>
                  <a:pt x="982" y="189"/>
                  <a:pt x="982" y="189"/>
                  <a:pt x="982" y="189"/>
                </a:cubicBezTo>
                <a:cubicBezTo>
                  <a:pt x="983" y="190"/>
                  <a:pt x="983" y="190"/>
                  <a:pt x="983" y="190"/>
                </a:cubicBezTo>
                <a:cubicBezTo>
                  <a:pt x="984" y="190"/>
                  <a:pt x="984" y="190"/>
                  <a:pt x="984" y="190"/>
                </a:cubicBezTo>
                <a:cubicBezTo>
                  <a:pt x="984" y="191"/>
                  <a:pt x="984" y="191"/>
                  <a:pt x="984" y="191"/>
                </a:cubicBezTo>
                <a:cubicBezTo>
                  <a:pt x="985" y="191"/>
                  <a:pt x="985" y="191"/>
                  <a:pt x="985" y="191"/>
                </a:cubicBezTo>
                <a:cubicBezTo>
                  <a:pt x="986" y="191"/>
                  <a:pt x="986" y="191"/>
                  <a:pt x="986" y="191"/>
                </a:cubicBezTo>
                <a:cubicBezTo>
                  <a:pt x="987" y="192"/>
                  <a:pt x="987" y="192"/>
                  <a:pt x="987" y="192"/>
                </a:cubicBezTo>
                <a:cubicBezTo>
                  <a:pt x="988" y="193"/>
                  <a:pt x="988" y="193"/>
                  <a:pt x="988" y="193"/>
                </a:cubicBezTo>
                <a:cubicBezTo>
                  <a:pt x="988" y="194"/>
                  <a:pt x="988" y="194"/>
                  <a:pt x="988" y="194"/>
                </a:cubicBezTo>
                <a:cubicBezTo>
                  <a:pt x="988" y="195"/>
                  <a:pt x="988" y="195"/>
                  <a:pt x="988" y="195"/>
                </a:cubicBezTo>
                <a:cubicBezTo>
                  <a:pt x="988" y="196"/>
                  <a:pt x="988" y="196"/>
                  <a:pt x="988" y="196"/>
                </a:cubicBezTo>
                <a:cubicBezTo>
                  <a:pt x="987" y="197"/>
                  <a:pt x="987" y="197"/>
                  <a:pt x="987" y="197"/>
                </a:cubicBezTo>
                <a:cubicBezTo>
                  <a:pt x="986" y="197"/>
                  <a:pt x="986" y="197"/>
                  <a:pt x="986" y="197"/>
                </a:cubicBezTo>
                <a:cubicBezTo>
                  <a:pt x="986" y="198"/>
                  <a:pt x="986" y="198"/>
                  <a:pt x="986" y="198"/>
                </a:cubicBezTo>
                <a:cubicBezTo>
                  <a:pt x="985" y="199"/>
                  <a:pt x="985" y="199"/>
                  <a:pt x="985" y="199"/>
                </a:cubicBezTo>
                <a:cubicBezTo>
                  <a:pt x="984" y="200"/>
                  <a:pt x="984" y="200"/>
                  <a:pt x="984" y="200"/>
                </a:cubicBezTo>
                <a:cubicBezTo>
                  <a:pt x="983" y="202"/>
                  <a:pt x="983" y="202"/>
                  <a:pt x="983" y="202"/>
                </a:cubicBezTo>
                <a:cubicBezTo>
                  <a:pt x="982" y="202"/>
                  <a:pt x="982" y="202"/>
                  <a:pt x="982" y="202"/>
                </a:cubicBezTo>
                <a:cubicBezTo>
                  <a:pt x="981" y="203"/>
                  <a:pt x="981" y="203"/>
                  <a:pt x="981" y="203"/>
                </a:cubicBezTo>
                <a:cubicBezTo>
                  <a:pt x="981" y="204"/>
                  <a:pt x="981" y="204"/>
                  <a:pt x="981" y="204"/>
                </a:cubicBezTo>
                <a:cubicBezTo>
                  <a:pt x="982" y="203"/>
                  <a:pt x="983" y="202"/>
                  <a:pt x="983" y="202"/>
                </a:cubicBezTo>
                <a:cubicBezTo>
                  <a:pt x="984" y="201"/>
                  <a:pt x="984" y="201"/>
                  <a:pt x="984" y="201"/>
                </a:cubicBezTo>
                <a:cubicBezTo>
                  <a:pt x="985" y="200"/>
                  <a:pt x="985" y="200"/>
                  <a:pt x="985" y="200"/>
                </a:cubicBezTo>
                <a:cubicBezTo>
                  <a:pt x="986" y="199"/>
                  <a:pt x="986" y="199"/>
                  <a:pt x="986" y="199"/>
                </a:cubicBezTo>
                <a:cubicBezTo>
                  <a:pt x="987" y="198"/>
                  <a:pt x="987" y="198"/>
                  <a:pt x="987" y="198"/>
                </a:cubicBezTo>
                <a:cubicBezTo>
                  <a:pt x="989" y="198"/>
                  <a:pt x="989" y="198"/>
                  <a:pt x="989" y="198"/>
                </a:cubicBezTo>
                <a:cubicBezTo>
                  <a:pt x="989" y="199"/>
                  <a:pt x="989" y="199"/>
                  <a:pt x="989" y="199"/>
                </a:cubicBezTo>
                <a:cubicBezTo>
                  <a:pt x="990" y="199"/>
                  <a:pt x="990" y="199"/>
                  <a:pt x="990" y="199"/>
                </a:cubicBezTo>
                <a:cubicBezTo>
                  <a:pt x="990" y="200"/>
                  <a:pt x="990" y="200"/>
                  <a:pt x="990" y="200"/>
                </a:cubicBezTo>
                <a:cubicBezTo>
                  <a:pt x="990" y="201"/>
                  <a:pt x="990" y="201"/>
                  <a:pt x="990" y="201"/>
                </a:cubicBezTo>
                <a:cubicBezTo>
                  <a:pt x="990" y="202"/>
                  <a:pt x="990" y="202"/>
                  <a:pt x="990" y="202"/>
                </a:cubicBezTo>
                <a:cubicBezTo>
                  <a:pt x="988" y="202"/>
                  <a:pt x="988" y="202"/>
                  <a:pt x="988" y="202"/>
                </a:cubicBezTo>
                <a:cubicBezTo>
                  <a:pt x="988" y="203"/>
                  <a:pt x="988" y="203"/>
                  <a:pt x="988" y="203"/>
                </a:cubicBezTo>
                <a:cubicBezTo>
                  <a:pt x="986" y="204"/>
                  <a:pt x="986" y="204"/>
                  <a:pt x="986" y="204"/>
                </a:cubicBezTo>
                <a:cubicBezTo>
                  <a:pt x="986" y="203"/>
                  <a:pt x="986" y="203"/>
                  <a:pt x="986" y="203"/>
                </a:cubicBezTo>
                <a:cubicBezTo>
                  <a:pt x="985" y="203"/>
                  <a:pt x="985" y="203"/>
                  <a:pt x="985" y="203"/>
                </a:cubicBezTo>
                <a:cubicBezTo>
                  <a:pt x="984" y="204"/>
                  <a:pt x="984" y="204"/>
                  <a:pt x="984" y="204"/>
                </a:cubicBezTo>
                <a:cubicBezTo>
                  <a:pt x="985" y="204"/>
                  <a:pt x="985" y="204"/>
                  <a:pt x="985" y="204"/>
                </a:cubicBezTo>
                <a:cubicBezTo>
                  <a:pt x="986" y="205"/>
                  <a:pt x="986" y="205"/>
                  <a:pt x="986" y="205"/>
                </a:cubicBezTo>
                <a:cubicBezTo>
                  <a:pt x="986" y="205"/>
                  <a:pt x="986" y="205"/>
                  <a:pt x="985" y="205"/>
                </a:cubicBezTo>
                <a:cubicBezTo>
                  <a:pt x="985" y="205"/>
                  <a:pt x="985" y="205"/>
                  <a:pt x="985" y="205"/>
                </a:cubicBezTo>
                <a:cubicBezTo>
                  <a:pt x="983" y="206"/>
                  <a:pt x="983" y="206"/>
                  <a:pt x="983" y="206"/>
                </a:cubicBezTo>
                <a:cubicBezTo>
                  <a:pt x="984" y="206"/>
                  <a:pt x="984" y="206"/>
                  <a:pt x="984" y="206"/>
                </a:cubicBezTo>
                <a:cubicBezTo>
                  <a:pt x="984" y="206"/>
                  <a:pt x="984" y="206"/>
                  <a:pt x="985" y="205"/>
                </a:cubicBezTo>
                <a:cubicBezTo>
                  <a:pt x="985" y="205"/>
                  <a:pt x="985" y="205"/>
                  <a:pt x="986" y="205"/>
                </a:cubicBezTo>
                <a:cubicBezTo>
                  <a:pt x="987" y="204"/>
                  <a:pt x="987" y="204"/>
                  <a:pt x="987" y="204"/>
                </a:cubicBezTo>
                <a:cubicBezTo>
                  <a:pt x="987" y="205"/>
                  <a:pt x="987" y="205"/>
                  <a:pt x="987" y="205"/>
                </a:cubicBezTo>
                <a:cubicBezTo>
                  <a:pt x="987" y="206"/>
                  <a:pt x="987" y="206"/>
                  <a:pt x="987" y="206"/>
                </a:cubicBezTo>
                <a:cubicBezTo>
                  <a:pt x="985" y="206"/>
                  <a:pt x="985" y="206"/>
                  <a:pt x="985" y="206"/>
                </a:cubicBezTo>
                <a:cubicBezTo>
                  <a:pt x="984" y="207"/>
                  <a:pt x="984" y="207"/>
                  <a:pt x="984" y="207"/>
                </a:cubicBezTo>
                <a:cubicBezTo>
                  <a:pt x="985" y="207"/>
                  <a:pt x="985" y="207"/>
                  <a:pt x="985" y="207"/>
                </a:cubicBezTo>
                <a:cubicBezTo>
                  <a:pt x="986" y="207"/>
                  <a:pt x="986" y="207"/>
                  <a:pt x="986" y="207"/>
                </a:cubicBezTo>
                <a:cubicBezTo>
                  <a:pt x="985" y="208"/>
                  <a:pt x="985" y="208"/>
                  <a:pt x="985" y="208"/>
                </a:cubicBezTo>
                <a:cubicBezTo>
                  <a:pt x="984" y="209"/>
                  <a:pt x="984" y="209"/>
                  <a:pt x="984" y="209"/>
                </a:cubicBezTo>
                <a:cubicBezTo>
                  <a:pt x="983" y="210"/>
                  <a:pt x="983" y="210"/>
                  <a:pt x="983" y="210"/>
                </a:cubicBezTo>
                <a:cubicBezTo>
                  <a:pt x="985" y="209"/>
                  <a:pt x="985" y="209"/>
                  <a:pt x="985" y="209"/>
                </a:cubicBezTo>
                <a:cubicBezTo>
                  <a:pt x="986" y="207"/>
                  <a:pt x="986" y="207"/>
                  <a:pt x="986" y="207"/>
                </a:cubicBezTo>
                <a:cubicBezTo>
                  <a:pt x="987" y="206"/>
                  <a:pt x="987" y="206"/>
                  <a:pt x="987" y="206"/>
                </a:cubicBezTo>
                <a:cubicBezTo>
                  <a:pt x="989" y="205"/>
                  <a:pt x="989" y="205"/>
                  <a:pt x="989" y="205"/>
                </a:cubicBezTo>
                <a:cubicBezTo>
                  <a:pt x="989" y="206"/>
                  <a:pt x="989" y="206"/>
                  <a:pt x="989" y="206"/>
                </a:cubicBezTo>
                <a:cubicBezTo>
                  <a:pt x="990" y="205"/>
                  <a:pt x="990" y="205"/>
                  <a:pt x="990" y="205"/>
                </a:cubicBezTo>
                <a:cubicBezTo>
                  <a:pt x="992" y="204"/>
                  <a:pt x="992" y="204"/>
                  <a:pt x="992" y="204"/>
                </a:cubicBezTo>
                <a:cubicBezTo>
                  <a:pt x="991" y="206"/>
                  <a:pt x="991" y="206"/>
                  <a:pt x="991" y="206"/>
                </a:cubicBezTo>
                <a:cubicBezTo>
                  <a:pt x="988" y="207"/>
                  <a:pt x="988" y="207"/>
                  <a:pt x="988" y="207"/>
                </a:cubicBezTo>
                <a:cubicBezTo>
                  <a:pt x="988" y="208"/>
                  <a:pt x="988" y="208"/>
                  <a:pt x="988" y="208"/>
                </a:cubicBezTo>
                <a:cubicBezTo>
                  <a:pt x="988" y="209"/>
                  <a:pt x="988" y="209"/>
                  <a:pt x="988" y="209"/>
                </a:cubicBezTo>
                <a:cubicBezTo>
                  <a:pt x="987" y="210"/>
                  <a:pt x="987" y="210"/>
                  <a:pt x="987" y="210"/>
                </a:cubicBezTo>
                <a:cubicBezTo>
                  <a:pt x="987" y="211"/>
                  <a:pt x="987" y="211"/>
                  <a:pt x="987" y="211"/>
                </a:cubicBezTo>
                <a:cubicBezTo>
                  <a:pt x="988" y="211"/>
                  <a:pt x="988" y="211"/>
                  <a:pt x="988" y="211"/>
                </a:cubicBezTo>
                <a:cubicBezTo>
                  <a:pt x="988" y="210"/>
                  <a:pt x="988" y="210"/>
                  <a:pt x="988" y="210"/>
                </a:cubicBezTo>
                <a:cubicBezTo>
                  <a:pt x="989" y="209"/>
                  <a:pt x="989" y="209"/>
                  <a:pt x="989" y="209"/>
                </a:cubicBezTo>
                <a:cubicBezTo>
                  <a:pt x="990" y="207"/>
                  <a:pt x="990" y="207"/>
                  <a:pt x="990" y="207"/>
                </a:cubicBezTo>
                <a:cubicBezTo>
                  <a:pt x="992" y="207"/>
                  <a:pt x="992" y="207"/>
                  <a:pt x="992" y="207"/>
                </a:cubicBezTo>
                <a:cubicBezTo>
                  <a:pt x="992" y="208"/>
                  <a:pt x="992" y="208"/>
                  <a:pt x="992" y="208"/>
                </a:cubicBezTo>
                <a:cubicBezTo>
                  <a:pt x="991" y="209"/>
                  <a:pt x="991" y="209"/>
                  <a:pt x="991" y="209"/>
                </a:cubicBezTo>
                <a:cubicBezTo>
                  <a:pt x="990" y="210"/>
                  <a:pt x="990" y="210"/>
                  <a:pt x="990" y="210"/>
                </a:cubicBezTo>
                <a:cubicBezTo>
                  <a:pt x="989" y="211"/>
                  <a:pt x="989" y="211"/>
                  <a:pt x="989" y="211"/>
                </a:cubicBezTo>
                <a:cubicBezTo>
                  <a:pt x="988" y="213"/>
                  <a:pt x="988" y="213"/>
                  <a:pt x="988" y="213"/>
                </a:cubicBezTo>
                <a:cubicBezTo>
                  <a:pt x="988" y="214"/>
                  <a:pt x="988" y="214"/>
                  <a:pt x="988" y="214"/>
                </a:cubicBezTo>
                <a:cubicBezTo>
                  <a:pt x="989" y="213"/>
                  <a:pt x="989" y="213"/>
                  <a:pt x="989" y="213"/>
                </a:cubicBezTo>
                <a:cubicBezTo>
                  <a:pt x="989" y="212"/>
                  <a:pt x="989" y="212"/>
                  <a:pt x="989" y="212"/>
                </a:cubicBezTo>
                <a:cubicBezTo>
                  <a:pt x="991" y="210"/>
                  <a:pt x="991" y="210"/>
                  <a:pt x="991" y="210"/>
                </a:cubicBezTo>
                <a:cubicBezTo>
                  <a:pt x="992" y="210"/>
                  <a:pt x="992" y="210"/>
                  <a:pt x="992" y="210"/>
                </a:cubicBezTo>
                <a:cubicBezTo>
                  <a:pt x="992" y="211"/>
                  <a:pt x="992" y="211"/>
                  <a:pt x="992" y="211"/>
                </a:cubicBezTo>
                <a:cubicBezTo>
                  <a:pt x="993" y="211"/>
                  <a:pt x="993" y="211"/>
                  <a:pt x="993" y="211"/>
                </a:cubicBezTo>
                <a:cubicBezTo>
                  <a:pt x="993" y="212"/>
                  <a:pt x="993" y="212"/>
                  <a:pt x="993" y="212"/>
                </a:cubicBezTo>
                <a:cubicBezTo>
                  <a:pt x="994" y="212"/>
                  <a:pt x="994" y="212"/>
                  <a:pt x="994" y="212"/>
                </a:cubicBezTo>
                <a:cubicBezTo>
                  <a:pt x="994" y="210"/>
                  <a:pt x="994" y="210"/>
                  <a:pt x="994" y="210"/>
                </a:cubicBezTo>
                <a:cubicBezTo>
                  <a:pt x="995" y="209"/>
                  <a:pt x="995" y="209"/>
                  <a:pt x="995" y="209"/>
                </a:cubicBezTo>
                <a:cubicBezTo>
                  <a:pt x="995" y="208"/>
                  <a:pt x="995" y="208"/>
                  <a:pt x="995" y="208"/>
                </a:cubicBezTo>
                <a:cubicBezTo>
                  <a:pt x="996" y="207"/>
                  <a:pt x="996" y="207"/>
                  <a:pt x="996" y="207"/>
                </a:cubicBezTo>
                <a:cubicBezTo>
                  <a:pt x="997" y="206"/>
                  <a:pt x="997" y="206"/>
                  <a:pt x="997" y="206"/>
                </a:cubicBezTo>
                <a:cubicBezTo>
                  <a:pt x="997" y="205"/>
                  <a:pt x="997" y="205"/>
                  <a:pt x="997" y="205"/>
                </a:cubicBezTo>
                <a:cubicBezTo>
                  <a:pt x="998" y="207"/>
                  <a:pt x="998" y="207"/>
                  <a:pt x="998" y="207"/>
                </a:cubicBezTo>
                <a:cubicBezTo>
                  <a:pt x="999" y="208"/>
                  <a:pt x="999" y="208"/>
                  <a:pt x="999" y="208"/>
                </a:cubicBezTo>
                <a:cubicBezTo>
                  <a:pt x="1000" y="209"/>
                  <a:pt x="1000" y="209"/>
                  <a:pt x="1000" y="209"/>
                </a:cubicBezTo>
                <a:cubicBezTo>
                  <a:pt x="1001" y="210"/>
                  <a:pt x="1001" y="210"/>
                  <a:pt x="1001" y="210"/>
                </a:cubicBezTo>
                <a:cubicBezTo>
                  <a:pt x="1001" y="211"/>
                  <a:pt x="1001" y="211"/>
                  <a:pt x="1001" y="211"/>
                </a:cubicBezTo>
                <a:cubicBezTo>
                  <a:pt x="1002" y="212"/>
                  <a:pt x="1002" y="212"/>
                  <a:pt x="1002" y="212"/>
                </a:cubicBezTo>
                <a:cubicBezTo>
                  <a:pt x="1002" y="213"/>
                  <a:pt x="1002" y="213"/>
                  <a:pt x="1002" y="213"/>
                </a:cubicBezTo>
                <a:cubicBezTo>
                  <a:pt x="1001" y="214"/>
                  <a:pt x="1001" y="214"/>
                  <a:pt x="1001" y="214"/>
                </a:cubicBezTo>
                <a:cubicBezTo>
                  <a:pt x="1000" y="215"/>
                  <a:pt x="1000" y="215"/>
                  <a:pt x="1000" y="215"/>
                </a:cubicBezTo>
                <a:cubicBezTo>
                  <a:pt x="999" y="215"/>
                  <a:pt x="999" y="215"/>
                  <a:pt x="999" y="215"/>
                </a:cubicBezTo>
                <a:cubicBezTo>
                  <a:pt x="997" y="214"/>
                  <a:pt x="997" y="214"/>
                  <a:pt x="997" y="214"/>
                </a:cubicBezTo>
                <a:cubicBezTo>
                  <a:pt x="996" y="214"/>
                  <a:pt x="996" y="214"/>
                  <a:pt x="996" y="214"/>
                </a:cubicBezTo>
                <a:cubicBezTo>
                  <a:pt x="996" y="215"/>
                  <a:pt x="996" y="215"/>
                  <a:pt x="996" y="215"/>
                </a:cubicBezTo>
                <a:cubicBezTo>
                  <a:pt x="997" y="215"/>
                  <a:pt x="997" y="215"/>
                  <a:pt x="997" y="215"/>
                </a:cubicBezTo>
                <a:cubicBezTo>
                  <a:pt x="998" y="215"/>
                  <a:pt x="998" y="215"/>
                  <a:pt x="998" y="215"/>
                </a:cubicBezTo>
                <a:cubicBezTo>
                  <a:pt x="998" y="216"/>
                  <a:pt x="998" y="216"/>
                  <a:pt x="998" y="216"/>
                </a:cubicBezTo>
                <a:cubicBezTo>
                  <a:pt x="999" y="216"/>
                  <a:pt x="999" y="216"/>
                  <a:pt x="999" y="216"/>
                </a:cubicBezTo>
                <a:cubicBezTo>
                  <a:pt x="1000" y="216"/>
                  <a:pt x="1000" y="216"/>
                  <a:pt x="1000" y="216"/>
                </a:cubicBezTo>
                <a:cubicBezTo>
                  <a:pt x="999" y="217"/>
                  <a:pt x="999" y="217"/>
                  <a:pt x="999" y="217"/>
                </a:cubicBezTo>
                <a:cubicBezTo>
                  <a:pt x="998" y="218"/>
                  <a:pt x="998" y="218"/>
                  <a:pt x="998" y="218"/>
                </a:cubicBezTo>
                <a:cubicBezTo>
                  <a:pt x="997" y="217"/>
                  <a:pt x="997" y="217"/>
                  <a:pt x="997" y="217"/>
                </a:cubicBezTo>
                <a:cubicBezTo>
                  <a:pt x="997" y="218"/>
                  <a:pt x="997" y="218"/>
                  <a:pt x="997" y="218"/>
                </a:cubicBezTo>
                <a:cubicBezTo>
                  <a:pt x="996" y="218"/>
                  <a:pt x="996" y="218"/>
                  <a:pt x="996" y="218"/>
                </a:cubicBezTo>
                <a:cubicBezTo>
                  <a:pt x="996" y="217"/>
                  <a:pt x="996" y="217"/>
                  <a:pt x="996" y="217"/>
                </a:cubicBezTo>
                <a:cubicBezTo>
                  <a:pt x="995" y="216"/>
                  <a:pt x="995" y="216"/>
                  <a:pt x="995" y="216"/>
                </a:cubicBezTo>
                <a:cubicBezTo>
                  <a:pt x="994" y="216"/>
                  <a:pt x="994" y="216"/>
                  <a:pt x="994" y="216"/>
                </a:cubicBezTo>
                <a:cubicBezTo>
                  <a:pt x="993" y="216"/>
                  <a:pt x="993" y="216"/>
                  <a:pt x="993" y="216"/>
                </a:cubicBezTo>
                <a:cubicBezTo>
                  <a:pt x="993" y="217"/>
                  <a:pt x="993" y="217"/>
                  <a:pt x="993" y="217"/>
                </a:cubicBezTo>
                <a:cubicBezTo>
                  <a:pt x="994" y="217"/>
                  <a:pt x="994" y="217"/>
                  <a:pt x="994" y="217"/>
                </a:cubicBezTo>
                <a:cubicBezTo>
                  <a:pt x="995" y="217"/>
                  <a:pt x="995" y="217"/>
                  <a:pt x="995" y="217"/>
                </a:cubicBezTo>
                <a:cubicBezTo>
                  <a:pt x="995" y="218"/>
                  <a:pt x="995" y="218"/>
                  <a:pt x="995" y="218"/>
                </a:cubicBezTo>
                <a:cubicBezTo>
                  <a:pt x="994" y="219"/>
                  <a:pt x="994" y="219"/>
                  <a:pt x="994" y="219"/>
                </a:cubicBezTo>
                <a:cubicBezTo>
                  <a:pt x="993" y="219"/>
                  <a:pt x="993" y="219"/>
                  <a:pt x="993" y="219"/>
                </a:cubicBezTo>
                <a:cubicBezTo>
                  <a:pt x="992" y="220"/>
                  <a:pt x="992" y="220"/>
                  <a:pt x="992" y="220"/>
                </a:cubicBezTo>
                <a:cubicBezTo>
                  <a:pt x="993" y="220"/>
                  <a:pt x="993" y="220"/>
                  <a:pt x="993" y="220"/>
                </a:cubicBezTo>
                <a:cubicBezTo>
                  <a:pt x="994" y="219"/>
                  <a:pt x="994" y="219"/>
                  <a:pt x="994" y="219"/>
                </a:cubicBezTo>
                <a:cubicBezTo>
                  <a:pt x="996" y="219"/>
                  <a:pt x="996" y="219"/>
                  <a:pt x="996" y="219"/>
                </a:cubicBezTo>
                <a:cubicBezTo>
                  <a:pt x="997" y="219"/>
                  <a:pt x="997" y="219"/>
                  <a:pt x="997" y="219"/>
                </a:cubicBezTo>
                <a:cubicBezTo>
                  <a:pt x="998" y="218"/>
                  <a:pt x="998" y="218"/>
                  <a:pt x="998" y="218"/>
                </a:cubicBezTo>
                <a:cubicBezTo>
                  <a:pt x="999" y="218"/>
                  <a:pt x="999" y="218"/>
                  <a:pt x="999" y="218"/>
                </a:cubicBezTo>
                <a:cubicBezTo>
                  <a:pt x="1000" y="219"/>
                  <a:pt x="1000" y="219"/>
                  <a:pt x="1000" y="219"/>
                </a:cubicBezTo>
                <a:cubicBezTo>
                  <a:pt x="1000" y="218"/>
                  <a:pt x="1000" y="218"/>
                  <a:pt x="1000" y="218"/>
                </a:cubicBezTo>
                <a:cubicBezTo>
                  <a:pt x="1000" y="217"/>
                  <a:pt x="1000" y="217"/>
                  <a:pt x="1000" y="217"/>
                </a:cubicBezTo>
                <a:cubicBezTo>
                  <a:pt x="1001" y="216"/>
                  <a:pt x="1001" y="216"/>
                  <a:pt x="1001" y="216"/>
                </a:cubicBezTo>
                <a:cubicBezTo>
                  <a:pt x="1003" y="215"/>
                  <a:pt x="1003" y="215"/>
                  <a:pt x="1003" y="215"/>
                </a:cubicBezTo>
                <a:cubicBezTo>
                  <a:pt x="1003" y="216"/>
                  <a:pt x="1003" y="216"/>
                  <a:pt x="1003" y="216"/>
                </a:cubicBezTo>
                <a:cubicBezTo>
                  <a:pt x="1003" y="217"/>
                  <a:pt x="1003" y="217"/>
                  <a:pt x="1003" y="217"/>
                </a:cubicBezTo>
                <a:cubicBezTo>
                  <a:pt x="1003" y="218"/>
                  <a:pt x="1003" y="218"/>
                  <a:pt x="1003" y="218"/>
                </a:cubicBezTo>
                <a:cubicBezTo>
                  <a:pt x="1002" y="220"/>
                  <a:pt x="1002" y="220"/>
                  <a:pt x="1002" y="220"/>
                </a:cubicBezTo>
                <a:cubicBezTo>
                  <a:pt x="1000" y="220"/>
                  <a:pt x="1000" y="220"/>
                  <a:pt x="1000" y="220"/>
                </a:cubicBezTo>
                <a:cubicBezTo>
                  <a:pt x="1000" y="221"/>
                  <a:pt x="1000" y="221"/>
                  <a:pt x="1000" y="221"/>
                </a:cubicBezTo>
                <a:cubicBezTo>
                  <a:pt x="999" y="222"/>
                  <a:pt x="999" y="222"/>
                  <a:pt x="999" y="222"/>
                </a:cubicBezTo>
                <a:cubicBezTo>
                  <a:pt x="998" y="222"/>
                  <a:pt x="998" y="222"/>
                  <a:pt x="998" y="222"/>
                </a:cubicBezTo>
                <a:cubicBezTo>
                  <a:pt x="997" y="221"/>
                  <a:pt x="997" y="221"/>
                  <a:pt x="997" y="221"/>
                </a:cubicBezTo>
                <a:cubicBezTo>
                  <a:pt x="996" y="222"/>
                  <a:pt x="996" y="222"/>
                  <a:pt x="996" y="222"/>
                </a:cubicBezTo>
                <a:cubicBezTo>
                  <a:pt x="996" y="223"/>
                  <a:pt x="996" y="223"/>
                  <a:pt x="996" y="223"/>
                </a:cubicBezTo>
                <a:cubicBezTo>
                  <a:pt x="995" y="224"/>
                  <a:pt x="995" y="224"/>
                  <a:pt x="995" y="224"/>
                </a:cubicBezTo>
                <a:cubicBezTo>
                  <a:pt x="995" y="225"/>
                  <a:pt x="995" y="225"/>
                  <a:pt x="995" y="225"/>
                </a:cubicBezTo>
                <a:cubicBezTo>
                  <a:pt x="994" y="226"/>
                  <a:pt x="994" y="226"/>
                  <a:pt x="994" y="226"/>
                </a:cubicBezTo>
                <a:cubicBezTo>
                  <a:pt x="995" y="226"/>
                  <a:pt x="995" y="226"/>
                  <a:pt x="995" y="226"/>
                </a:cubicBezTo>
                <a:cubicBezTo>
                  <a:pt x="996" y="224"/>
                  <a:pt x="996" y="224"/>
                  <a:pt x="996" y="224"/>
                </a:cubicBezTo>
                <a:cubicBezTo>
                  <a:pt x="997" y="222"/>
                  <a:pt x="997" y="222"/>
                  <a:pt x="997" y="222"/>
                </a:cubicBezTo>
                <a:cubicBezTo>
                  <a:pt x="998" y="222"/>
                  <a:pt x="998" y="222"/>
                  <a:pt x="998" y="222"/>
                </a:cubicBezTo>
                <a:cubicBezTo>
                  <a:pt x="999" y="223"/>
                  <a:pt x="999" y="223"/>
                  <a:pt x="999" y="223"/>
                </a:cubicBezTo>
                <a:cubicBezTo>
                  <a:pt x="998" y="224"/>
                  <a:pt x="998" y="224"/>
                  <a:pt x="998" y="224"/>
                </a:cubicBezTo>
                <a:cubicBezTo>
                  <a:pt x="998" y="225"/>
                  <a:pt x="998" y="225"/>
                  <a:pt x="998" y="225"/>
                </a:cubicBezTo>
                <a:cubicBezTo>
                  <a:pt x="996" y="227"/>
                  <a:pt x="996" y="227"/>
                  <a:pt x="996" y="227"/>
                </a:cubicBezTo>
                <a:cubicBezTo>
                  <a:pt x="995" y="227"/>
                  <a:pt x="995" y="227"/>
                  <a:pt x="995" y="227"/>
                </a:cubicBezTo>
                <a:cubicBezTo>
                  <a:pt x="995" y="228"/>
                  <a:pt x="995" y="228"/>
                  <a:pt x="995" y="228"/>
                </a:cubicBezTo>
                <a:cubicBezTo>
                  <a:pt x="997" y="227"/>
                  <a:pt x="997" y="227"/>
                  <a:pt x="997" y="227"/>
                </a:cubicBezTo>
                <a:cubicBezTo>
                  <a:pt x="999" y="224"/>
                  <a:pt x="999" y="224"/>
                  <a:pt x="999" y="224"/>
                </a:cubicBezTo>
                <a:cubicBezTo>
                  <a:pt x="1000" y="222"/>
                  <a:pt x="1000" y="222"/>
                  <a:pt x="1000" y="222"/>
                </a:cubicBezTo>
                <a:cubicBezTo>
                  <a:pt x="1001" y="221"/>
                  <a:pt x="1001" y="221"/>
                  <a:pt x="1001" y="221"/>
                </a:cubicBezTo>
                <a:cubicBezTo>
                  <a:pt x="1003" y="220"/>
                  <a:pt x="1003" y="220"/>
                  <a:pt x="1003" y="220"/>
                </a:cubicBezTo>
                <a:cubicBezTo>
                  <a:pt x="1005" y="219"/>
                  <a:pt x="1005" y="219"/>
                  <a:pt x="1005" y="219"/>
                </a:cubicBezTo>
                <a:cubicBezTo>
                  <a:pt x="1006" y="219"/>
                  <a:pt x="1006" y="219"/>
                  <a:pt x="1006" y="219"/>
                </a:cubicBezTo>
                <a:cubicBezTo>
                  <a:pt x="1005" y="220"/>
                  <a:pt x="1005" y="220"/>
                  <a:pt x="1005" y="220"/>
                </a:cubicBezTo>
                <a:cubicBezTo>
                  <a:pt x="1004" y="221"/>
                  <a:pt x="1004" y="221"/>
                  <a:pt x="1004" y="221"/>
                </a:cubicBezTo>
                <a:cubicBezTo>
                  <a:pt x="1003" y="221"/>
                  <a:pt x="1003" y="221"/>
                  <a:pt x="1003" y="221"/>
                </a:cubicBezTo>
                <a:cubicBezTo>
                  <a:pt x="1002" y="222"/>
                  <a:pt x="1002" y="222"/>
                  <a:pt x="1002" y="222"/>
                </a:cubicBezTo>
                <a:cubicBezTo>
                  <a:pt x="1002" y="223"/>
                  <a:pt x="1002" y="223"/>
                  <a:pt x="1002" y="223"/>
                </a:cubicBezTo>
                <a:cubicBezTo>
                  <a:pt x="1003" y="222"/>
                  <a:pt x="1003" y="222"/>
                  <a:pt x="1003" y="222"/>
                </a:cubicBezTo>
                <a:cubicBezTo>
                  <a:pt x="1004" y="222"/>
                  <a:pt x="1004" y="222"/>
                  <a:pt x="1004" y="222"/>
                </a:cubicBezTo>
                <a:cubicBezTo>
                  <a:pt x="1005" y="221"/>
                  <a:pt x="1005" y="221"/>
                  <a:pt x="1005" y="221"/>
                </a:cubicBezTo>
                <a:cubicBezTo>
                  <a:pt x="1006" y="221"/>
                  <a:pt x="1006" y="221"/>
                  <a:pt x="1006" y="221"/>
                </a:cubicBezTo>
                <a:cubicBezTo>
                  <a:pt x="1007" y="220"/>
                  <a:pt x="1007" y="220"/>
                  <a:pt x="1007" y="220"/>
                </a:cubicBezTo>
                <a:cubicBezTo>
                  <a:pt x="1008" y="220"/>
                  <a:pt x="1008" y="220"/>
                  <a:pt x="1008" y="220"/>
                </a:cubicBezTo>
                <a:cubicBezTo>
                  <a:pt x="1009" y="220"/>
                  <a:pt x="1009" y="220"/>
                  <a:pt x="1009" y="220"/>
                </a:cubicBezTo>
                <a:cubicBezTo>
                  <a:pt x="1009" y="221"/>
                  <a:pt x="1009" y="221"/>
                  <a:pt x="1009" y="221"/>
                </a:cubicBezTo>
                <a:cubicBezTo>
                  <a:pt x="1010" y="223"/>
                  <a:pt x="1010" y="223"/>
                  <a:pt x="1010" y="223"/>
                </a:cubicBezTo>
                <a:cubicBezTo>
                  <a:pt x="1011" y="224"/>
                  <a:pt x="1011" y="224"/>
                  <a:pt x="1011" y="224"/>
                </a:cubicBezTo>
                <a:cubicBezTo>
                  <a:pt x="1012" y="224"/>
                  <a:pt x="1012" y="224"/>
                  <a:pt x="1012" y="224"/>
                </a:cubicBezTo>
                <a:cubicBezTo>
                  <a:pt x="1012" y="225"/>
                  <a:pt x="1012" y="225"/>
                  <a:pt x="1012" y="225"/>
                </a:cubicBezTo>
                <a:cubicBezTo>
                  <a:pt x="1012" y="226"/>
                  <a:pt x="1012" y="226"/>
                  <a:pt x="1012" y="226"/>
                </a:cubicBezTo>
                <a:cubicBezTo>
                  <a:pt x="1011" y="227"/>
                  <a:pt x="1011" y="227"/>
                  <a:pt x="1011" y="227"/>
                </a:cubicBezTo>
                <a:cubicBezTo>
                  <a:pt x="1010" y="227"/>
                  <a:pt x="1010" y="227"/>
                  <a:pt x="1010" y="227"/>
                </a:cubicBezTo>
                <a:cubicBezTo>
                  <a:pt x="1011" y="226"/>
                  <a:pt x="1011" y="226"/>
                  <a:pt x="1011" y="226"/>
                </a:cubicBezTo>
                <a:cubicBezTo>
                  <a:pt x="1010" y="226"/>
                  <a:pt x="1010" y="226"/>
                  <a:pt x="1010" y="226"/>
                </a:cubicBezTo>
                <a:cubicBezTo>
                  <a:pt x="1009" y="227"/>
                  <a:pt x="1009" y="227"/>
                  <a:pt x="1009" y="227"/>
                </a:cubicBezTo>
                <a:cubicBezTo>
                  <a:pt x="1008" y="228"/>
                  <a:pt x="1008" y="228"/>
                  <a:pt x="1008" y="228"/>
                </a:cubicBezTo>
                <a:cubicBezTo>
                  <a:pt x="1006" y="228"/>
                  <a:pt x="1006" y="228"/>
                  <a:pt x="1006" y="228"/>
                </a:cubicBezTo>
                <a:cubicBezTo>
                  <a:pt x="1005" y="228"/>
                  <a:pt x="1005" y="228"/>
                  <a:pt x="1005" y="228"/>
                </a:cubicBezTo>
                <a:cubicBezTo>
                  <a:pt x="1004" y="228"/>
                  <a:pt x="1004" y="228"/>
                  <a:pt x="1004" y="228"/>
                </a:cubicBezTo>
                <a:cubicBezTo>
                  <a:pt x="1002" y="229"/>
                  <a:pt x="1002" y="229"/>
                  <a:pt x="1002" y="229"/>
                </a:cubicBezTo>
                <a:cubicBezTo>
                  <a:pt x="1001" y="230"/>
                  <a:pt x="1001" y="230"/>
                  <a:pt x="1001" y="230"/>
                </a:cubicBezTo>
                <a:cubicBezTo>
                  <a:pt x="1001" y="231"/>
                  <a:pt x="1001" y="231"/>
                  <a:pt x="1001" y="231"/>
                </a:cubicBezTo>
                <a:cubicBezTo>
                  <a:pt x="999" y="232"/>
                  <a:pt x="999" y="232"/>
                  <a:pt x="999" y="232"/>
                </a:cubicBezTo>
                <a:cubicBezTo>
                  <a:pt x="1001" y="232"/>
                  <a:pt x="1001" y="232"/>
                  <a:pt x="1001" y="232"/>
                </a:cubicBezTo>
                <a:cubicBezTo>
                  <a:pt x="1002" y="231"/>
                  <a:pt x="1002" y="231"/>
                  <a:pt x="1002" y="231"/>
                </a:cubicBezTo>
                <a:cubicBezTo>
                  <a:pt x="1004" y="229"/>
                  <a:pt x="1004" y="229"/>
                  <a:pt x="1004" y="229"/>
                </a:cubicBezTo>
                <a:cubicBezTo>
                  <a:pt x="1005" y="229"/>
                  <a:pt x="1005" y="229"/>
                  <a:pt x="1005" y="229"/>
                </a:cubicBezTo>
                <a:cubicBezTo>
                  <a:pt x="1006" y="229"/>
                  <a:pt x="1006" y="229"/>
                  <a:pt x="1006" y="229"/>
                </a:cubicBezTo>
                <a:cubicBezTo>
                  <a:pt x="1007" y="229"/>
                  <a:pt x="1007" y="229"/>
                  <a:pt x="1007" y="229"/>
                </a:cubicBezTo>
                <a:cubicBezTo>
                  <a:pt x="1008" y="229"/>
                  <a:pt x="1008" y="229"/>
                  <a:pt x="1008" y="229"/>
                </a:cubicBezTo>
                <a:cubicBezTo>
                  <a:pt x="1008" y="230"/>
                  <a:pt x="1008" y="230"/>
                  <a:pt x="1008" y="230"/>
                </a:cubicBezTo>
                <a:cubicBezTo>
                  <a:pt x="1008" y="231"/>
                  <a:pt x="1008" y="231"/>
                  <a:pt x="1008" y="231"/>
                </a:cubicBezTo>
                <a:cubicBezTo>
                  <a:pt x="1007" y="231"/>
                  <a:pt x="1007" y="231"/>
                  <a:pt x="1007" y="231"/>
                </a:cubicBezTo>
                <a:cubicBezTo>
                  <a:pt x="1006" y="232"/>
                  <a:pt x="1006" y="232"/>
                  <a:pt x="1006" y="232"/>
                </a:cubicBezTo>
                <a:cubicBezTo>
                  <a:pt x="1005" y="232"/>
                  <a:pt x="1005" y="232"/>
                  <a:pt x="1005" y="232"/>
                </a:cubicBezTo>
                <a:cubicBezTo>
                  <a:pt x="1004" y="232"/>
                  <a:pt x="1004" y="232"/>
                  <a:pt x="1004" y="232"/>
                </a:cubicBezTo>
                <a:cubicBezTo>
                  <a:pt x="1004" y="234"/>
                  <a:pt x="1004" y="234"/>
                  <a:pt x="1004" y="234"/>
                </a:cubicBezTo>
                <a:cubicBezTo>
                  <a:pt x="1003" y="234"/>
                  <a:pt x="1003" y="234"/>
                  <a:pt x="1003" y="234"/>
                </a:cubicBezTo>
                <a:cubicBezTo>
                  <a:pt x="1002" y="233"/>
                  <a:pt x="1002" y="233"/>
                  <a:pt x="1002" y="233"/>
                </a:cubicBezTo>
                <a:cubicBezTo>
                  <a:pt x="1001" y="234"/>
                  <a:pt x="1001" y="234"/>
                  <a:pt x="1001" y="234"/>
                </a:cubicBezTo>
                <a:cubicBezTo>
                  <a:pt x="1000" y="235"/>
                  <a:pt x="1000" y="235"/>
                  <a:pt x="1000" y="235"/>
                </a:cubicBezTo>
                <a:cubicBezTo>
                  <a:pt x="1001" y="235"/>
                  <a:pt x="1001" y="235"/>
                  <a:pt x="1001" y="235"/>
                </a:cubicBezTo>
                <a:cubicBezTo>
                  <a:pt x="1002" y="234"/>
                  <a:pt x="1002" y="234"/>
                  <a:pt x="1002" y="234"/>
                </a:cubicBezTo>
                <a:cubicBezTo>
                  <a:pt x="1003" y="234"/>
                  <a:pt x="1003" y="234"/>
                  <a:pt x="1003" y="234"/>
                </a:cubicBezTo>
                <a:cubicBezTo>
                  <a:pt x="1003" y="235"/>
                  <a:pt x="1003" y="235"/>
                  <a:pt x="1003" y="235"/>
                </a:cubicBezTo>
                <a:cubicBezTo>
                  <a:pt x="1004" y="234"/>
                  <a:pt x="1004" y="234"/>
                  <a:pt x="1004" y="234"/>
                </a:cubicBezTo>
                <a:cubicBezTo>
                  <a:pt x="1005" y="233"/>
                  <a:pt x="1005" y="233"/>
                  <a:pt x="1005" y="233"/>
                </a:cubicBezTo>
                <a:cubicBezTo>
                  <a:pt x="1006" y="232"/>
                  <a:pt x="1006" y="232"/>
                  <a:pt x="1006" y="232"/>
                </a:cubicBezTo>
                <a:cubicBezTo>
                  <a:pt x="1007" y="233"/>
                  <a:pt x="1007" y="233"/>
                  <a:pt x="1007" y="233"/>
                </a:cubicBezTo>
                <a:cubicBezTo>
                  <a:pt x="1008" y="233"/>
                  <a:pt x="1008" y="233"/>
                  <a:pt x="1008" y="233"/>
                </a:cubicBezTo>
                <a:cubicBezTo>
                  <a:pt x="1009" y="232"/>
                  <a:pt x="1009" y="232"/>
                  <a:pt x="1009" y="232"/>
                </a:cubicBezTo>
                <a:cubicBezTo>
                  <a:pt x="1010" y="231"/>
                  <a:pt x="1010" y="231"/>
                  <a:pt x="1010" y="231"/>
                </a:cubicBezTo>
                <a:cubicBezTo>
                  <a:pt x="1011" y="231"/>
                  <a:pt x="1011" y="231"/>
                  <a:pt x="1011" y="231"/>
                </a:cubicBezTo>
                <a:cubicBezTo>
                  <a:pt x="1011" y="230"/>
                  <a:pt x="1011" y="230"/>
                  <a:pt x="1011" y="230"/>
                </a:cubicBezTo>
                <a:cubicBezTo>
                  <a:pt x="1010" y="230"/>
                  <a:pt x="1010" y="230"/>
                  <a:pt x="1010" y="230"/>
                </a:cubicBezTo>
                <a:cubicBezTo>
                  <a:pt x="1011" y="229"/>
                  <a:pt x="1011" y="229"/>
                  <a:pt x="1011" y="229"/>
                </a:cubicBezTo>
                <a:cubicBezTo>
                  <a:pt x="1011" y="228"/>
                  <a:pt x="1011" y="228"/>
                  <a:pt x="1011" y="228"/>
                </a:cubicBezTo>
                <a:cubicBezTo>
                  <a:pt x="1012" y="228"/>
                  <a:pt x="1012" y="228"/>
                  <a:pt x="1012" y="228"/>
                </a:cubicBezTo>
                <a:cubicBezTo>
                  <a:pt x="1013" y="228"/>
                  <a:pt x="1013" y="228"/>
                  <a:pt x="1013" y="228"/>
                </a:cubicBezTo>
                <a:cubicBezTo>
                  <a:pt x="1013" y="229"/>
                  <a:pt x="1013" y="229"/>
                  <a:pt x="1013" y="229"/>
                </a:cubicBezTo>
                <a:cubicBezTo>
                  <a:pt x="1014" y="232"/>
                  <a:pt x="1014" y="232"/>
                  <a:pt x="1014" y="232"/>
                </a:cubicBezTo>
                <a:cubicBezTo>
                  <a:pt x="1014" y="233"/>
                  <a:pt x="1014" y="233"/>
                  <a:pt x="1014" y="233"/>
                </a:cubicBezTo>
                <a:cubicBezTo>
                  <a:pt x="1015" y="234"/>
                  <a:pt x="1015" y="234"/>
                  <a:pt x="1015" y="234"/>
                </a:cubicBezTo>
                <a:cubicBezTo>
                  <a:pt x="1015" y="235"/>
                  <a:pt x="1015" y="235"/>
                  <a:pt x="1015" y="235"/>
                </a:cubicBezTo>
                <a:cubicBezTo>
                  <a:pt x="1014" y="236"/>
                  <a:pt x="1014" y="236"/>
                  <a:pt x="1014" y="236"/>
                </a:cubicBezTo>
                <a:cubicBezTo>
                  <a:pt x="1013" y="236"/>
                  <a:pt x="1013" y="236"/>
                  <a:pt x="1013" y="236"/>
                </a:cubicBezTo>
                <a:cubicBezTo>
                  <a:pt x="1012" y="235"/>
                  <a:pt x="1012" y="235"/>
                  <a:pt x="1012" y="235"/>
                </a:cubicBezTo>
                <a:cubicBezTo>
                  <a:pt x="1010" y="235"/>
                  <a:pt x="1010" y="235"/>
                  <a:pt x="1010" y="235"/>
                </a:cubicBezTo>
                <a:cubicBezTo>
                  <a:pt x="1009" y="236"/>
                  <a:pt x="1009" y="236"/>
                  <a:pt x="1009" y="236"/>
                </a:cubicBezTo>
                <a:cubicBezTo>
                  <a:pt x="1008" y="236"/>
                  <a:pt x="1008" y="236"/>
                  <a:pt x="1008" y="236"/>
                </a:cubicBezTo>
                <a:cubicBezTo>
                  <a:pt x="1007" y="236"/>
                  <a:pt x="1007" y="236"/>
                  <a:pt x="1007" y="236"/>
                </a:cubicBezTo>
                <a:cubicBezTo>
                  <a:pt x="1006" y="236"/>
                  <a:pt x="1006" y="236"/>
                  <a:pt x="1006" y="236"/>
                </a:cubicBezTo>
                <a:cubicBezTo>
                  <a:pt x="1006" y="237"/>
                  <a:pt x="1006" y="237"/>
                  <a:pt x="1006" y="237"/>
                </a:cubicBezTo>
                <a:cubicBezTo>
                  <a:pt x="1004" y="237"/>
                  <a:pt x="1004" y="237"/>
                  <a:pt x="1004" y="237"/>
                </a:cubicBezTo>
                <a:cubicBezTo>
                  <a:pt x="1005" y="238"/>
                  <a:pt x="1005" y="238"/>
                  <a:pt x="1005" y="238"/>
                </a:cubicBezTo>
                <a:cubicBezTo>
                  <a:pt x="1007" y="237"/>
                  <a:pt x="1007" y="237"/>
                  <a:pt x="1007" y="237"/>
                </a:cubicBezTo>
                <a:cubicBezTo>
                  <a:pt x="1008" y="238"/>
                  <a:pt x="1008" y="238"/>
                  <a:pt x="1008" y="238"/>
                </a:cubicBezTo>
                <a:cubicBezTo>
                  <a:pt x="1010" y="239"/>
                  <a:pt x="1010" y="239"/>
                  <a:pt x="1010" y="239"/>
                </a:cubicBezTo>
                <a:cubicBezTo>
                  <a:pt x="1010" y="240"/>
                  <a:pt x="1010" y="240"/>
                  <a:pt x="1010" y="240"/>
                </a:cubicBezTo>
                <a:cubicBezTo>
                  <a:pt x="1011" y="239"/>
                  <a:pt x="1011" y="239"/>
                  <a:pt x="1011" y="239"/>
                </a:cubicBezTo>
                <a:cubicBezTo>
                  <a:pt x="1012" y="239"/>
                  <a:pt x="1012" y="239"/>
                  <a:pt x="1012" y="239"/>
                </a:cubicBezTo>
                <a:cubicBezTo>
                  <a:pt x="1012" y="240"/>
                  <a:pt x="1012" y="240"/>
                  <a:pt x="1012" y="240"/>
                </a:cubicBezTo>
                <a:cubicBezTo>
                  <a:pt x="1013" y="240"/>
                  <a:pt x="1013" y="240"/>
                  <a:pt x="1013" y="240"/>
                </a:cubicBezTo>
                <a:cubicBezTo>
                  <a:pt x="1015" y="241"/>
                  <a:pt x="1015" y="241"/>
                  <a:pt x="1015" y="241"/>
                </a:cubicBezTo>
                <a:cubicBezTo>
                  <a:pt x="1015" y="242"/>
                  <a:pt x="1015" y="242"/>
                  <a:pt x="1015" y="242"/>
                </a:cubicBezTo>
                <a:cubicBezTo>
                  <a:pt x="1015" y="243"/>
                  <a:pt x="1015" y="243"/>
                  <a:pt x="1015" y="243"/>
                </a:cubicBezTo>
                <a:cubicBezTo>
                  <a:pt x="1015" y="244"/>
                  <a:pt x="1015" y="244"/>
                  <a:pt x="1015" y="244"/>
                </a:cubicBezTo>
                <a:cubicBezTo>
                  <a:pt x="1014" y="244"/>
                  <a:pt x="1014" y="244"/>
                  <a:pt x="1014" y="244"/>
                </a:cubicBezTo>
                <a:cubicBezTo>
                  <a:pt x="1013" y="243"/>
                  <a:pt x="1013" y="243"/>
                  <a:pt x="1013" y="243"/>
                </a:cubicBezTo>
                <a:cubicBezTo>
                  <a:pt x="1012" y="244"/>
                  <a:pt x="1012" y="244"/>
                  <a:pt x="1012" y="244"/>
                </a:cubicBezTo>
                <a:cubicBezTo>
                  <a:pt x="1011" y="243"/>
                  <a:pt x="1011" y="243"/>
                  <a:pt x="1011" y="243"/>
                </a:cubicBezTo>
                <a:cubicBezTo>
                  <a:pt x="1010" y="243"/>
                  <a:pt x="1010" y="243"/>
                  <a:pt x="1010" y="243"/>
                </a:cubicBezTo>
                <a:cubicBezTo>
                  <a:pt x="1009" y="242"/>
                  <a:pt x="1009" y="242"/>
                  <a:pt x="1009" y="242"/>
                </a:cubicBezTo>
                <a:cubicBezTo>
                  <a:pt x="1008" y="241"/>
                  <a:pt x="1008" y="241"/>
                  <a:pt x="1008" y="241"/>
                </a:cubicBezTo>
                <a:cubicBezTo>
                  <a:pt x="1007" y="241"/>
                  <a:pt x="1007" y="241"/>
                  <a:pt x="1007" y="241"/>
                </a:cubicBezTo>
                <a:cubicBezTo>
                  <a:pt x="1006" y="242"/>
                  <a:pt x="1006" y="242"/>
                  <a:pt x="1006" y="242"/>
                </a:cubicBezTo>
                <a:cubicBezTo>
                  <a:pt x="1007" y="242"/>
                  <a:pt x="1007" y="242"/>
                  <a:pt x="1007" y="242"/>
                </a:cubicBezTo>
                <a:cubicBezTo>
                  <a:pt x="1008" y="242"/>
                  <a:pt x="1008" y="242"/>
                  <a:pt x="1008" y="242"/>
                </a:cubicBezTo>
                <a:cubicBezTo>
                  <a:pt x="1007" y="243"/>
                  <a:pt x="1007" y="243"/>
                  <a:pt x="1007" y="243"/>
                </a:cubicBezTo>
                <a:cubicBezTo>
                  <a:pt x="1006" y="243"/>
                  <a:pt x="1006" y="243"/>
                  <a:pt x="1006" y="243"/>
                </a:cubicBezTo>
                <a:cubicBezTo>
                  <a:pt x="1005" y="243"/>
                  <a:pt x="1005" y="243"/>
                  <a:pt x="1005" y="243"/>
                </a:cubicBezTo>
                <a:cubicBezTo>
                  <a:pt x="1004" y="243"/>
                  <a:pt x="1004" y="243"/>
                  <a:pt x="1004" y="243"/>
                </a:cubicBezTo>
                <a:cubicBezTo>
                  <a:pt x="1003" y="244"/>
                  <a:pt x="1003" y="244"/>
                  <a:pt x="1003" y="244"/>
                </a:cubicBezTo>
                <a:cubicBezTo>
                  <a:pt x="1003" y="245"/>
                  <a:pt x="1003" y="245"/>
                  <a:pt x="1003" y="245"/>
                </a:cubicBezTo>
                <a:cubicBezTo>
                  <a:pt x="1004" y="245"/>
                  <a:pt x="1004" y="245"/>
                  <a:pt x="1004" y="245"/>
                </a:cubicBezTo>
                <a:cubicBezTo>
                  <a:pt x="1004" y="244"/>
                  <a:pt x="1004" y="244"/>
                  <a:pt x="1004" y="244"/>
                </a:cubicBezTo>
                <a:cubicBezTo>
                  <a:pt x="1006" y="244"/>
                  <a:pt x="1006" y="244"/>
                  <a:pt x="1006" y="244"/>
                </a:cubicBezTo>
                <a:cubicBezTo>
                  <a:pt x="1007" y="243"/>
                  <a:pt x="1007" y="243"/>
                  <a:pt x="1007" y="243"/>
                </a:cubicBezTo>
                <a:cubicBezTo>
                  <a:pt x="1008" y="244"/>
                  <a:pt x="1008" y="244"/>
                  <a:pt x="1008" y="244"/>
                </a:cubicBezTo>
                <a:cubicBezTo>
                  <a:pt x="1008" y="245"/>
                  <a:pt x="1008" y="245"/>
                  <a:pt x="1008" y="245"/>
                </a:cubicBezTo>
                <a:cubicBezTo>
                  <a:pt x="1009" y="245"/>
                  <a:pt x="1009" y="245"/>
                  <a:pt x="1009" y="245"/>
                </a:cubicBezTo>
                <a:cubicBezTo>
                  <a:pt x="1009" y="246"/>
                  <a:pt x="1009" y="246"/>
                  <a:pt x="1009" y="246"/>
                </a:cubicBezTo>
                <a:cubicBezTo>
                  <a:pt x="1008" y="246"/>
                  <a:pt x="1008" y="246"/>
                  <a:pt x="1008" y="246"/>
                </a:cubicBezTo>
                <a:cubicBezTo>
                  <a:pt x="1007" y="246"/>
                  <a:pt x="1007" y="246"/>
                  <a:pt x="1007" y="246"/>
                </a:cubicBezTo>
                <a:cubicBezTo>
                  <a:pt x="1006" y="246"/>
                  <a:pt x="1006" y="246"/>
                  <a:pt x="1006" y="246"/>
                </a:cubicBezTo>
                <a:cubicBezTo>
                  <a:pt x="1006" y="245"/>
                  <a:pt x="1006" y="245"/>
                  <a:pt x="1006" y="245"/>
                </a:cubicBezTo>
                <a:cubicBezTo>
                  <a:pt x="1005" y="245"/>
                  <a:pt x="1005" y="245"/>
                  <a:pt x="1005" y="245"/>
                </a:cubicBezTo>
                <a:cubicBezTo>
                  <a:pt x="1005" y="246"/>
                  <a:pt x="1005" y="246"/>
                  <a:pt x="1005" y="246"/>
                </a:cubicBezTo>
                <a:cubicBezTo>
                  <a:pt x="1006" y="246"/>
                  <a:pt x="1006" y="246"/>
                  <a:pt x="1006" y="246"/>
                </a:cubicBezTo>
                <a:cubicBezTo>
                  <a:pt x="1007" y="247"/>
                  <a:pt x="1007" y="247"/>
                  <a:pt x="1007" y="247"/>
                </a:cubicBezTo>
                <a:cubicBezTo>
                  <a:pt x="1007" y="248"/>
                  <a:pt x="1007" y="248"/>
                  <a:pt x="1007" y="248"/>
                </a:cubicBezTo>
                <a:cubicBezTo>
                  <a:pt x="1008" y="248"/>
                  <a:pt x="1008" y="248"/>
                  <a:pt x="1008" y="248"/>
                </a:cubicBezTo>
                <a:cubicBezTo>
                  <a:pt x="1007" y="249"/>
                  <a:pt x="1007" y="249"/>
                  <a:pt x="1007" y="249"/>
                </a:cubicBezTo>
                <a:cubicBezTo>
                  <a:pt x="1005" y="248"/>
                  <a:pt x="1005" y="248"/>
                  <a:pt x="1005" y="248"/>
                </a:cubicBezTo>
                <a:cubicBezTo>
                  <a:pt x="1003" y="248"/>
                  <a:pt x="1003" y="248"/>
                  <a:pt x="1003" y="248"/>
                </a:cubicBezTo>
                <a:cubicBezTo>
                  <a:pt x="1001" y="247"/>
                  <a:pt x="1001" y="247"/>
                  <a:pt x="1001" y="247"/>
                </a:cubicBezTo>
                <a:cubicBezTo>
                  <a:pt x="1000" y="247"/>
                  <a:pt x="1000" y="247"/>
                  <a:pt x="1000" y="247"/>
                </a:cubicBezTo>
                <a:cubicBezTo>
                  <a:pt x="1002" y="248"/>
                  <a:pt x="1002" y="248"/>
                  <a:pt x="1002" y="248"/>
                </a:cubicBezTo>
                <a:cubicBezTo>
                  <a:pt x="1005" y="249"/>
                  <a:pt x="1005" y="249"/>
                  <a:pt x="1005" y="249"/>
                </a:cubicBezTo>
                <a:cubicBezTo>
                  <a:pt x="1005" y="250"/>
                  <a:pt x="1005" y="250"/>
                  <a:pt x="1005" y="250"/>
                </a:cubicBezTo>
                <a:cubicBezTo>
                  <a:pt x="1003" y="249"/>
                  <a:pt x="1003" y="249"/>
                  <a:pt x="1003" y="249"/>
                </a:cubicBezTo>
                <a:cubicBezTo>
                  <a:pt x="1002" y="249"/>
                  <a:pt x="1002" y="249"/>
                  <a:pt x="1002" y="249"/>
                </a:cubicBezTo>
                <a:cubicBezTo>
                  <a:pt x="1001" y="250"/>
                  <a:pt x="1001" y="250"/>
                  <a:pt x="1001" y="250"/>
                </a:cubicBezTo>
                <a:cubicBezTo>
                  <a:pt x="1002" y="250"/>
                  <a:pt x="1002" y="250"/>
                  <a:pt x="1002" y="250"/>
                </a:cubicBezTo>
                <a:cubicBezTo>
                  <a:pt x="1003" y="250"/>
                  <a:pt x="1003" y="250"/>
                  <a:pt x="1003" y="250"/>
                </a:cubicBezTo>
                <a:cubicBezTo>
                  <a:pt x="1003" y="251"/>
                  <a:pt x="1003" y="251"/>
                  <a:pt x="1003" y="251"/>
                </a:cubicBezTo>
                <a:cubicBezTo>
                  <a:pt x="1004" y="251"/>
                  <a:pt x="1004" y="251"/>
                  <a:pt x="1004" y="251"/>
                </a:cubicBezTo>
                <a:cubicBezTo>
                  <a:pt x="1004" y="252"/>
                  <a:pt x="1004" y="252"/>
                  <a:pt x="1004" y="252"/>
                </a:cubicBezTo>
                <a:cubicBezTo>
                  <a:pt x="1005" y="253"/>
                  <a:pt x="1005" y="253"/>
                  <a:pt x="1005" y="253"/>
                </a:cubicBezTo>
                <a:cubicBezTo>
                  <a:pt x="1005" y="252"/>
                  <a:pt x="1005" y="252"/>
                  <a:pt x="1005" y="252"/>
                </a:cubicBezTo>
                <a:cubicBezTo>
                  <a:pt x="1006" y="252"/>
                  <a:pt x="1006" y="252"/>
                  <a:pt x="1006" y="252"/>
                </a:cubicBezTo>
                <a:cubicBezTo>
                  <a:pt x="1006" y="253"/>
                  <a:pt x="1006" y="253"/>
                  <a:pt x="1006" y="253"/>
                </a:cubicBezTo>
                <a:cubicBezTo>
                  <a:pt x="1007" y="253"/>
                  <a:pt x="1007" y="253"/>
                  <a:pt x="1007" y="253"/>
                </a:cubicBezTo>
                <a:cubicBezTo>
                  <a:pt x="1007" y="252"/>
                  <a:pt x="1007" y="252"/>
                  <a:pt x="1007" y="252"/>
                </a:cubicBezTo>
                <a:cubicBezTo>
                  <a:pt x="1008" y="252"/>
                  <a:pt x="1008" y="252"/>
                  <a:pt x="1008" y="252"/>
                </a:cubicBezTo>
                <a:cubicBezTo>
                  <a:pt x="1009" y="253"/>
                  <a:pt x="1009" y="253"/>
                  <a:pt x="1009" y="253"/>
                </a:cubicBezTo>
                <a:cubicBezTo>
                  <a:pt x="1010" y="253"/>
                  <a:pt x="1010" y="253"/>
                  <a:pt x="1010" y="253"/>
                </a:cubicBezTo>
                <a:cubicBezTo>
                  <a:pt x="1011" y="253"/>
                  <a:pt x="1011" y="253"/>
                  <a:pt x="1011" y="253"/>
                </a:cubicBezTo>
                <a:cubicBezTo>
                  <a:pt x="1010" y="254"/>
                  <a:pt x="1010" y="254"/>
                  <a:pt x="1010" y="254"/>
                </a:cubicBezTo>
                <a:cubicBezTo>
                  <a:pt x="1010" y="255"/>
                  <a:pt x="1010" y="255"/>
                  <a:pt x="1010" y="255"/>
                </a:cubicBezTo>
                <a:cubicBezTo>
                  <a:pt x="1009" y="254"/>
                  <a:pt x="1009" y="254"/>
                  <a:pt x="1009" y="254"/>
                </a:cubicBezTo>
                <a:cubicBezTo>
                  <a:pt x="1007" y="254"/>
                  <a:pt x="1007" y="254"/>
                  <a:pt x="1007" y="254"/>
                </a:cubicBezTo>
                <a:cubicBezTo>
                  <a:pt x="1005" y="255"/>
                  <a:pt x="1005" y="255"/>
                  <a:pt x="1005" y="255"/>
                </a:cubicBezTo>
                <a:cubicBezTo>
                  <a:pt x="1005" y="256"/>
                  <a:pt x="1005" y="256"/>
                  <a:pt x="1005" y="256"/>
                </a:cubicBezTo>
                <a:cubicBezTo>
                  <a:pt x="1006" y="255"/>
                  <a:pt x="1006" y="255"/>
                  <a:pt x="1006" y="255"/>
                </a:cubicBezTo>
                <a:cubicBezTo>
                  <a:pt x="1007" y="255"/>
                  <a:pt x="1007" y="255"/>
                  <a:pt x="1007" y="255"/>
                </a:cubicBezTo>
                <a:cubicBezTo>
                  <a:pt x="1008" y="255"/>
                  <a:pt x="1008" y="255"/>
                  <a:pt x="1008" y="255"/>
                </a:cubicBezTo>
                <a:cubicBezTo>
                  <a:pt x="1007" y="256"/>
                  <a:pt x="1007" y="256"/>
                  <a:pt x="1007" y="256"/>
                </a:cubicBezTo>
                <a:cubicBezTo>
                  <a:pt x="1008" y="256"/>
                  <a:pt x="1008" y="256"/>
                  <a:pt x="1008" y="256"/>
                </a:cubicBezTo>
                <a:cubicBezTo>
                  <a:pt x="1010" y="256"/>
                  <a:pt x="1010" y="256"/>
                  <a:pt x="1010" y="256"/>
                </a:cubicBezTo>
                <a:cubicBezTo>
                  <a:pt x="1010" y="257"/>
                  <a:pt x="1010" y="257"/>
                  <a:pt x="1010" y="257"/>
                </a:cubicBezTo>
                <a:cubicBezTo>
                  <a:pt x="1011" y="257"/>
                  <a:pt x="1011" y="257"/>
                  <a:pt x="1011" y="257"/>
                </a:cubicBezTo>
                <a:cubicBezTo>
                  <a:pt x="1011" y="258"/>
                  <a:pt x="1011" y="258"/>
                  <a:pt x="1011" y="258"/>
                </a:cubicBezTo>
                <a:cubicBezTo>
                  <a:pt x="1011" y="259"/>
                  <a:pt x="1011" y="259"/>
                  <a:pt x="1011" y="259"/>
                </a:cubicBezTo>
                <a:cubicBezTo>
                  <a:pt x="1010" y="260"/>
                  <a:pt x="1010" y="260"/>
                  <a:pt x="1010" y="260"/>
                </a:cubicBezTo>
                <a:cubicBezTo>
                  <a:pt x="1010" y="261"/>
                  <a:pt x="1010" y="261"/>
                  <a:pt x="1010" y="261"/>
                </a:cubicBezTo>
                <a:cubicBezTo>
                  <a:pt x="1011" y="260"/>
                  <a:pt x="1011" y="260"/>
                  <a:pt x="1011" y="260"/>
                </a:cubicBezTo>
                <a:cubicBezTo>
                  <a:pt x="1012" y="259"/>
                  <a:pt x="1012" y="259"/>
                  <a:pt x="1012" y="259"/>
                </a:cubicBezTo>
                <a:cubicBezTo>
                  <a:pt x="1013" y="259"/>
                  <a:pt x="1013" y="259"/>
                  <a:pt x="1013" y="259"/>
                </a:cubicBezTo>
                <a:cubicBezTo>
                  <a:pt x="1013" y="260"/>
                  <a:pt x="1013" y="260"/>
                  <a:pt x="1013" y="260"/>
                </a:cubicBezTo>
                <a:cubicBezTo>
                  <a:pt x="1012" y="260"/>
                  <a:pt x="1012" y="260"/>
                  <a:pt x="1012" y="260"/>
                </a:cubicBezTo>
                <a:cubicBezTo>
                  <a:pt x="1011" y="262"/>
                  <a:pt x="1011" y="262"/>
                  <a:pt x="1011" y="262"/>
                </a:cubicBezTo>
                <a:cubicBezTo>
                  <a:pt x="1011" y="263"/>
                  <a:pt x="1011" y="263"/>
                  <a:pt x="1011" y="263"/>
                </a:cubicBezTo>
                <a:cubicBezTo>
                  <a:pt x="1011" y="264"/>
                  <a:pt x="1011" y="264"/>
                  <a:pt x="1011" y="264"/>
                </a:cubicBezTo>
                <a:cubicBezTo>
                  <a:pt x="1012" y="262"/>
                  <a:pt x="1012" y="262"/>
                  <a:pt x="1012" y="262"/>
                </a:cubicBezTo>
                <a:cubicBezTo>
                  <a:pt x="1013" y="261"/>
                  <a:pt x="1013" y="261"/>
                  <a:pt x="1013" y="261"/>
                </a:cubicBezTo>
                <a:cubicBezTo>
                  <a:pt x="1014" y="260"/>
                  <a:pt x="1014" y="260"/>
                  <a:pt x="1014" y="260"/>
                </a:cubicBezTo>
                <a:cubicBezTo>
                  <a:pt x="1014" y="259"/>
                  <a:pt x="1014" y="259"/>
                  <a:pt x="1014" y="259"/>
                </a:cubicBezTo>
                <a:cubicBezTo>
                  <a:pt x="1015" y="259"/>
                  <a:pt x="1015" y="259"/>
                  <a:pt x="1015" y="259"/>
                </a:cubicBezTo>
                <a:cubicBezTo>
                  <a:pt x="1015" y="260"/>
                  <a:pt x="1015" y="260"/>
                  <a:pt x="1015" y="260"/>
                </a:cubicBezTo>
                <a:cubicBezTo>
                  <a:pt x="1014" y="261"/>
                  <a:pt x="1014" y="261"/>
                  <a:pt x="1014" y="261"/>
                </a:cubicBezTo>
                <a:cubicBezTo>
                  <a:pt x="1013" y="262"/>
                  <a:pt x="1013" y="262"/>
                  <a:pt x="1013" y="262"/>
                </a:cubicBezTo>
                <a:cubicBezTo>
                  <a:pt x="1013" y="263"/>
                  <a:pt x="1013" y="263"/>
                  <a:pt x="1013" y="263"/>
                </a:cubicBezTo>
                <a:cubicBezTo>
                  <a:pt x="1014" y="264"/>
                  <a:pt x="1014" y="264"/>
                  <a:pt x="1014" y="264"/>
                </a:cubicBezTo>
                <a:cubicBezTo>
                  <a:pt x="1014" y="263"/>
                  <a:pt x="1014" y="263"/>
                  <a:pt x="1014" y="263"/>
                </a:cubicBezTo>
                <a:cubicBezTo>
                  <a:pt x="1014" y="262"/>
                  <a:pt x="1014" y="262"/>
                  <a:pt x="1014" y="262"/>
                </a:cubicBezTo>
                <a:cubicBezTo>
                  <a:pt x="1015" y="261"/>
                  <a:pt x="1015" y="261"/>
                  <a:pt x="1015" y="261"/>
                </a:cubicBezTo>
                <a:cubicBezTo>
                  <a:pt x="1016" y="261"/>
                  <a:pt x="1016" y="261"/>
                  <a:pt x="1016" y="261"/>
                </a:cubicBezTo>
                <a:cubicBezTo>
                  <a:pt x="1016" y="262"/>
                  <a:pt x="1016" y="262"/>
                  <a:pt x="1016" y="262"/>
                </a:cubicBezTo>
                <a:cubicBezTo>
                  <a:pt x="1016" y="263"/>
                  <a:pt x="1016" y="263"/>
                  <a:pt x="1016" y="263"/>
                </a:cubicBezTo>
                <a:cubicBezTo>
                  <a:pt x="1017" y="264"/>
                  <a:pt x="1017" y="264"/>
                  <a:pt x="1017" y="264"/>
                </a:cubicBezTo>
                <a:cubicBezTo>
                  <a:pt x="1018" y="263"/>
                  <a:pt x="1018" y="263"/>
                  <a:pt x="1018" y="263"/>
                </a:cubicBezTo>
                <a:cubicBezTo>
                  <a:pt x="1019" y="263"/>
                  <a:pt x="1019" y="263"/>
                  <a:pt x="1019" y="263"/>
                </a:cubicBezTo>
                <a:cubicBezTo>
                  <a:pt x="1020" y="265"/>
                  <a:pt x="1020" y="265"/>
                  <a:pt x="1020" y="265"/>
                </a:cubicBezTo>
                <a:cubicBezTo>
                  <a:pt x="1019" y="266"/>
                  <a:pt x="1019" y="266"/>
                  <a:pt x="1019" y="266"/>
                </a:cubicBezTo>
                <a:cubicBezTo>
                  <a:pt x="1020" y="267"/>
                  <a:pt x="1020" y="267"/>
                  <a:pt x="1020" y="267"/>
                </a:cubicBezTo>
                <a:cubicBezTo>
                  <a:pt x="1019" y="268"/>
                  <a:pt x="1019" y="268"/>
                  <a:pt x="1019" y="268"/>
                </a:cubicBezTo>
                <a:cubicBezTo>
                  <a:pt x="1020" y="269"/>
                  <a:pt x="1020" y="269"/>
                  <a:pt x="1020" y="269"/>
                </a:cubicBezTo>
                <a:cubicBezTo>
                  <a:pt x="1018" y="269"/>
                  <a:pt x="1018" y="269"/>
                  <a:pt x="1018" y="269"/>
                </a:cubicBezTo>
                <a:cubicBezTo>
                  <a:pt x="1017" y="269"/>
                  <a:pt x="1017" y="269"/>
                  <a:pt x="1017" y="269"/>
                </a:cubicBezTo>
                <a:cubicBezTo>
                  <a:pt x="1017" y="270"/>
                  <a:pt x="1017" y="270"/>
                  <a:pt x="1017" y="270"/>
                </a:cubicBezTo>
                <a:cubicBezTo>
                  <a:pt x="1018" y="269"/>
                  <a:pt x="1018" y="269"/>
                  <a:pt x="1018" y="269"/>
                </a:cubicBezTo>
                <a:cubicBezTo>
                  <a:pt x="1020" y="270"/>
                  <a:pt x="1020" y="270"/>
                  <a:pt x="1020" y="270"/>
                </a:cubicBezTo>
                <a:cubicBezTo>
                  <a:pt x="1020" y="269"/>
                  <a:pt x="1020" y="269"/>
                  <a:pt x="1020" y="269"/>
                </a:cubicBezTo>
                <a:cubicBezTo>
                  <a:pt x="1022" y="269"/>
                  <a:pt x="1022" y="269"/>
                  <a:pt x="1022" y="269"/>
                </a:cubicBezTo>
                <a:cubicBezTo>
                  <a:pt x="1021" y="270"/>
                  <a:pt x="1021" y="270"/>
                  <a:pt x="1021" y="270"/>
                </a:cubicBezTo>
                <a:cubicBezTo>
                  <a:pt x="1020" y="272"/>
                  <a:pt x="1020" y="272"/>
                  <a:pt x="1020" y="272"/>
                </a:cubicBezTo>
                <a:cubicBezTo>
                  <a:pt x="1022" y="271"/>
                  <a:pt x="1022" y="271"/>
                  <a:pt x="1022" y="271"/>
                </a:cubicBezTo>
                <a:cubicBezTo>
                  <a:pt x="1022" y="270"/>
                  <a:pt x="1022" y="270"/>
                  <a:pt x="1022" y="270"/>
                </a:cubicBezTo>
                <a:cubicBezTo>
                  <a:pt x="1023" y="269"/>
                  <a:pt x="1023" y="269"/>
                  <a:pt x="1023" y="269"/>
                </a:cubicBezTo>
                <a:cubicBezTo>
                  <a:pt x="1024" y="269"/>
                  <a:pt x="1024" y="269"/>
                  <a:pt x="1024" y="269"/>
                </a:cubicBezTo>
                <a:cubicBezTo>
                  <a:pt x="1025" y="269"/>
                  <a:pt x="1025" y="269"/>
                  <a:pt x="1025" y="269"/>
                </a:cubicBezTo>
                <a:cubicBezTo>
                  <a:pt x="1024" y="270"/>
                  <a:pt x="1024" y="270"/>
                  <a:pt x="1024" y="270"/>
                </a:cubicBezTo>
                <a:cubicBezTo>
                  <a:pt x="1023" y="271"/>
                  <a:pt x="1023" y="271"/>
                  <a:pt x="1023" y="271"/>
                </a:cubicBezTo>
                <a:cubicBezTo>
                  <a:pt x="1023" y="272"/>
                  <a:pt x="1023" y="272"/>
                  <a:pt x="1023" y="272"/>
                </a:cubicBezTo>
                <a:cubicBezTo>
                  <a:pt x="1021" y="273"/>
                  <a:pt x="1021" y="273"/>
                  <a:pt x="1021" y="273"/>
                </a:cubicBezTo>
                <a:cubicBezTo>
                  <a:pt x="1021" y="274"/>
                  <a:pt x="1021" y="274"/>
                  <a:pt x="1021" y="274"/>
                </a:cubicBezTo>
                <a:cubicBezTo>
                  <a:pt x="1021" y="275"/>
                  <a:pt x="1021" y="275"/>
                  <a:pt x="1021" y="275"/>
                </a:cubicBezTo>
                <a:cubicBezTo>
                  <a:pt x="1022" y="275"/>
                  <a:pt x="1022" y="275"/>
                  <a:pt x="1022" y="275"/>
                </a:cubicBezTo>
                <a:cubicBezTo>
                  <a:pt x="1022" y="274"/>
                  <a:pt x="1022" y="274"/>
                  <a:pt x="1022" y="274"/>
                </a:cubicBezTo>
                <a:cubicBezTo>
                  <a:pt x="1022" y="273"/>
                  <a:pt x="1022" y="273"/>
                  <a:pt x="1022" y="273"/>
                </a:cubicBezTo>
                <a:cubicBezTo>
                  <a:pt x="1024" y="272"/>
                  <a:pt x="1024" y="272"/>
                  <a:pt x="1024" y="272"/>
                </a:cubicBezTo>
                <a:cubicBezTo>
                  <a:pt x="1025" y="272"/>
                  <a:pt x="1025" y="272"/>
                  <a:pt x="1025" y="272"/>
                </a:cubicBezTo>
                <a:cubicBezTo>
                  <a:pt x="1024" y="274"/>
                  <a:pt x="1024" y="274"/>
                  <a:pt x="1024" y="274"/>
                </a:cubicBezTo>
                <a:cubicBezTo>
                  <a:pt x="1024" y="275"/>
                  <a:pt x="1024" y="275"/>
                  <a:pt x="1024" y="275"/>
                </a:cubicBezTo>
                <a:cubicBezTo>
                  <a:pt x="1025" y="274"/>
                  <a:pt x="1025" y="274"/>
                  <a:pt x="1025" y="274"/>
                </a:cubicBezTo>
                <a:cubicBezTo>
                  <a:pt x="1025" y="273"/>
                  <a:pt x="1025" y="273"/>
                  <a:pt x="1025" y="273"/>
                </a:cubicBezTo>
                <a:cubicBezTo>
                  <a:pt x="1026" y="273"/>
                  <a:pt x="1026" y="273"/>
                  <a:pt x="1026" y="273"/>
                </a:cubicBezTo>
                <a:cubicBezTo>
                  <a:pt x="1026" y="275"/>
                  <a:pt x="1026" y="275"/>
                  <a:pt x="1026" y="275"/>
                </a:cubicBezTo>
                <a:cubicBezTo>
                  <a:pt x="1027" y="275"/>
                  <a:pt x="1027" y="275"/>
                  <a:pt x="1027" y="275"/>
                </a:cubicBezTo>
                <a:cubicBezTo>
                  <a:pt x="1027" y="274"/>
                  <a:pt x="1027" y="274"/>
                  <a:pt x="1027" y="274"/>
                </a:cubicBezTo>
                <a:cubicBezTo>
                  <a:pt x="1027" y="273"/>
                  <a:pt x="1027" y="273"/>
                  <a:pt x="1027" y="273"/>
                </a:cubicBezTo>
                <a:cubicBezTo>
                  <a:pt x="1029" y="273"/>
                  <a:pt x="1029" y="273"/>
                  <a:pt x="1029" y="273"/>
                </a:cubicBezTo>
                <a:cubicBezTo>
                  <a:pt x="1029" y="274"/>
                  <a:pt x="1029" y="274"/>
                  <a:pt x="1029" y="274"/>
                </a:cubicBezTo>
                <a:cubicBezTo>
                  <a:pt x="1030" y="274"/>
                  <a:pt x="1030" y="274"/>
                  <a:pt x="1030" y="274"/>
                </a:cubicBezTo>
                <a:cubicBezTo>
                  <a:pt x="1030" y="276"/>
                  <a:pt x="1030" y="276"/>
                  <a:pt x="1030" y="276"/>
                </a:cubicBezTo>
                <a:cubicBezTo>
                  <a:pt x="1031" y="276"/>
                  <a:pt x="1031" y="276"/>
                  <a:pt x="1031" y="276"/>
                </a:cubicBezTo>
                <a:cubicBezTo>
                  <a:pt x="1032" y="277"/>
                  <a:pt x="1032" y="277"/>
                  <a:pt x="1032" y="277"/>
                </a:cubicBezTo>
                <a:cubicBezTo>
                  <a:pt x="1032" y="278"/>
                  <a:pt x="1032" y="278"/>
                  <a:pt x="1032" y="278"/>
                </a:cubicBezTo>
                <a:cubicBezTo>
                  <a:pt x="1032" y="279"/>
                  <a:pt x="1032" y="279"/>
                  <a:pt x="1032" y="279"/>
                </a:cubicBezTo>
                <a:cubicBezTo>
                  <a:pt x="1030" y="279"/>
                  <a:pt x="1030" y="279"/>
                  <a:pt x="1030" y="279"/>
                </a:cubicBezTo>
                <a:cubicBezTo>
                  <a:pt x="1030" y="278"/>
                  <a:pt x="1030" y="278"/>
                  <a:pt x="1030" y="278"/>
                </a:cubicBezTo>
                <a:cubicBezTo>
                  <a:pt x="1029" y="277"/>
                  <a:pt x="1029" y="277"/>
                  <a:pt x="1029" y="277"/>
                </a:cubicBezTo>
                <a:cubicBezTo>
                  <a:pt x="1028" y="277"/>
                  <a:pt x="1028" y="277"/>
                  <a:pt x="1028" y="277"/>
                </a:cubicBezTo>
                <a:cubicBezTo>
                  <a:pt x="1028" y="278"/>
                  <a:pt x="1028" y="278"/>
                  <a:pt x="1028" y="278"/>
                </a:cubicBezTo>
                <a:cubicBezTo>
                  <a:pt x="1029" y="278"/>
                  <a:pt x="1029" y="278"/>
                  <a:pt x="1029" y="278"/>
                </a:cubicBezTo>
                <a:cubicBezTo>
                  <a:pt x="1029" y="279"/>
                  <a:pt x="1029" y="279"/>
                  <a:pt x="1029" y="279"/>
                </a:cubicBezTo>
                <a:cubicBezTo>
                  <a:pt x="1030" y="279"/>
                  <a:pt x="1030" y="279"/>
                  <a:pt x="1030" y="279"/>
                </a:cubicBezTo>
                <a:cubicBezTo>
                  <a:pt x="1030" y="280"/>
                  <a:pt x="1030" y="280"/>
                  <a:pt x="1030" y="280"/>
                </a:cubicBezTo>
                <a:cubicBezTo>
                  <a:pt x="1029" y="280"/>
                  <a:pt x="1029" y="280"/>
                  <a:pt x="1029" y="280"/>
                </a:cubicBezTo>
                <a:close/>
                <a:moveTo>
                  <a:pt x="983" y="197"/>
                </a:moveTo>
                <a:cubicBezTo>
                  <a:pt x="982" y="199"/>
                  <a:pt x="982" y="199"/>
                  <a:pt x="982" y="199"/>
                </a:cubicBezTo>
                <a:cubicBezTo>
                  <a:pt x="984" y="197"/>
                  <a:pt x="984" y="197"/>
                  <a:pt x="984" y="197"/>
                </a:cubicBezTo>
                <a:cubicBezTo>
                  <a:pt x="983" y="197"/>
                  <a:pt x="983" y="197"/>
                  <a:pt x="983" y="197"/>
                </a:cubicBezTo>
                <a:close/>
                <a:moveTo>
                  <a:pt x="991" y="214"/>
                </a:moveTo>
                <a:cubicBezTo>
                  <a:pt x="992" y="213"/>
                  <a:pt x="992" y="213"/>
                  <a:pt x="992" y="213"/>
                </a:cubicBezTo>
                <a:cubicBezTo>
                  <a:pt x="992" y="212"/>
                  <a:pt x="992" y="212"/>
                  <a:pt x="992" y="212"/>
                </a:cubicBezTo>
                <a:cubicBezTo>
                  <a:pt x="991" y="214"/>
                  <a:pt x="991" y="214"/>
                  <a:pt x="991" y="214"/>
                </a:cubicBezTo>
                <a:cubicBezTo>
                  <a:pt x="990" y="215"/>
                  <a:pt x="990" y="215"/>
                  <a:pt x="990" y="215"/>
                </a:cubicBezTo>
                <a:cubicBezTo>
                  <a:pt x="991" y="215"/>
                  <a:pt x="991" y="215"/>
                  <a:pt x="991" y="215"/>
                </a:cubicBezTo>
                <a:cubicBezTo>
                  <a:pt x="991" y="214"/>
                  <a:pt x="991" y="214"/>
                  <a:pt x="991" y="214"/>
                </a:cubicBezTo>
                <a:close/>
                <a:moveTo>
                  <a:pt x="998" y="277"/>
                </a:moveTo>
                <a:cubicBezTo>
                  <a:pt x="998" y="276"/>
                  <a:pt x="998" y="276"/>
                  <a:pt x="998" y="276"/>
                </a:cubicBezTo>
                <a:cubicBezTo>
                  <a:pt x="997" y="277"/>
                  <a:pt x="997" y="277"/>
                  <a:pt x="997" y="277"/>
                </a:cubicBezTo>
                <a:cubicBezTo>
                  <a:pt x="998" y="277"/>
                  <a:pt x="998" y="277"/>
                  <a:pt x="998" y="277"/>
                </a:cubicBezTo>
                <a:close/>
                <a:moveTo>
                  <a:pt x="1016" y="290"/>
                </a:moveTo>
                <a:cubicBezTo>
                  <a:pt x="1016" y="289"/>
                  <a:pt x="1016" y="289"/>
                  <a:pt x="1016" y="289"/>
                </a:cubicBezTo>
                <a:cubicBezTo>
                  <a:pt x="1015" y="290"/>
                  <a:pt x="1015" y="290"/>
                  <a:pt x="1015" y="290"/>
                </a:cubicBezTo>
                <a:cubicBezTo>
                  <a:pt x="1016" y="290"/>
                  <a:pt x="1016" y="290"/>
                  <a:pt x="1016" y="290"/>
                </a:cubicBezTo>
                <a:close/>
                <a:moveTo>
                  <a:pt x="995" y="205"/>
                </a:moveTo>
                <a:cubicBezTo>
                  <a:pt x="995" y="205"/>
                  <a:pt x="995" y="205"/>
                  <a:pt x="995" y="206"/>
                </a:cubicBezTo>
                <a:cubicBezTo>
                  <a:pt x="995" y="206"/>
                  <a:pt x="995" y="206"/>
                  <a:pt x="995" y="207"/>
                </a:cubicBezTo>
                <a:cubicBezTo>
                  <a:pt x="995" y="207"/>
                  <a:pt x="995" y="207"/>
                  <a:pt x="996" y="207"/>
                </a:cubicBezTo>
                <a:cubicBezTo>
                  <a:pt x="996" y="207"/>
                  <a:pt x="996" y="207"/>
                  <a:pt x="996" y="206"/>
                </a:cubicBezTo>
                <a:cubicBezTo>
                  <a:pt x="996" y="206"/>
                  <a:pt x="996" y="206"/>
                  <a:pt x="995" y="205"/>
                </a:cubicBezTo>
                <a:close/>
                <a:moveTo>
                  <a:pt x="995" y="134"/>
                </a:moveTo>
                <a:cubicBezTo>
                  <a:pt x="995" y="134"/>
                  <a:pt x="995" y="134"/>
                  <a:pt x="996" y="133"/>
                </a:cubicBezTo>
                <a:cubicBezTo>
                  <a:pt x="996" y="133"/>
                  <a:pt x="996" y="133"/>
                  <a:pt x="995" y="133"/>
                </a:cubicBezTo>
                <a:cubicBezTo>
                  <a:pt x="995" y="133"/>
                  <a:pt x="995" y="133"/>
                  <a:pt x="992" y="135"/>
                </a:cubicBezTo>
                <a:cubicBezTo>
                  <a:pt x="992" y="135"/>
                  <a:pt x="992" y="135"/>
                  <a:pt x="991" y="136"/>
                </a:cubicBezTo>
                <a:cubicBezTo>
                  <a:pt x="991" y="136"/>
                  <a:pt x="991" y="136"/>
                  <a:pt x="991" y="138"/>
                </a:cubicBezTo>
                <a:cubicBezTo>
                  <a:pt x="991" y="138"/>
                  <a:pt x="991" y="138"/>
                  <a:pt x="992" y="137"/>
                </a:cubicBezTo>
                <a:cubicBezTo>
                  <a:pt x="992" y="137"/>
                  <a:pt x="992" y="137"/>
                  <a:pt x="993" y="137"/>
                </a:cubicBezTo>
                <a:cubicBezTo>
                  <a:pt x="993" y="137"/>
                  <a:pt x="993" y="137"/>
                  <a:pt x="994" y="138"/>
                </a:cubicBezTo>
                <a:cubicBezTo>
                  <a:pt x="994" y="138"/>
                  <a:pt x="994" y="138"/>
                  <a:pt x="994" y="137"/>
                </a:cubicBezTo>
                <a:cubicBezTo>
                  <a:pt x="994" y="137"/>
                  <a:pt x="994" y="137"/>
                  <a:pt x="993" y="136"/>
                </a:cubicBezTo>
                <a:cubicBezTo>
                  <a:pt x="993" y="136"/>
                  <a:pt x="993" y="136"/>
                  <a:pt x="994" y="135"/>
                </a:cubicBezTo>
                <a:cubicBezTo>
                  <a:pt x="994" y="135"/>
                  <a:pt x="994" y="135"/>
                  <a:pt x="995" y="134"/>
                </a:cubicBezTo>
                <a:close/>
                <a:moveTo>
                  <a:pt x="1011" y="256"/>
                </a:moveTo>
                <a:cubicBezTo>
                  <a:pt x="1012" y="257"/>
                  <a:pt x="1012" y="257"/>
                  <a:pt x="1012" y="257"/>
                </a:cubicBezTo>
                <a:cubicBezTo>
                  <a:pt x="1013" y="256"/>
                  <a:pt x="1013" y="256"/>
                  <a:pt x="1013" y="256"/>
                </a:cubicBezTo>
                <a:cubicBezTo>
                  <a:pt x="1012" y="256"/>
                  <a:pt x="1012" y="256"/>
                  <a:pt x="1012" y="256"/>
                </a:cubicBezTo>
                <a:lnTo>
                  <a:pt x="1011" y="256"/>
                </a:lnTo>
                <a:close/>
                <a:moveTo>
                  <a:pt x="1013" y="238"/>
                </a:moveTo>
                <a:cubicBezTo>
                  <a:pt x="1013" y="238"/>
                  <a:pt x="1013" y="238"/>
                  <a:pt x="1013" y="237"/>
                </a:cubicBezTo>
                <a:cubicBezTo>
                  <a:pt x="1013" y="237"/>
                  <a:pt x="1013" y="237"/>
                  <a:pt x="1012" y="237"/>
                </a:cubicBezTo>
                <a:cubicBezTo>
                  <a:pt x="1012" y="237"/>
                  <a:pt x="1012" y="237"/>
                  <a:pt x="1012" y="238"/>
                </a:cubicBezTo>
                <a:cubicBezTo>
                  <a:pt x="1012" y="238"/>
                  <a:pt x="1012" y="238"/>
                  <a:pt x="1013" y="238"/>
                </a:cubicBezTo>
                <a:close/>
                <a:moveTo>
                  <a:pt x="1010" y="237"/>
                </a:moveTo>
                <a:cubicBezTo>
                  <a:pt x="1010" y="237"/>
                  <a:pt x="1010" y="237"/>
                  <a:pt x="1010" y="238"/>
                </a:cubicBezTo>
                <a:cubicBezTo>
                  <a:pt x="1010" y="238"/>
                  <a:pt x="1010" y="238"/>
                  <a:pt x="1011" y="238"/>
                </a:cubicBezTo>
                <a:cubicBezTo>
                  <a:pt x="1011" y="238"/>
                  <a:pt x="1011" y="238"/>
                  <a:pt x="1012" y="237"/>
                </a:cubicBezTo>
                <a:cubicBezTo>
                  <a:pt x="1012" y="237"/>
                  <a:pt x="1012" y="237"/>
                  <a:pt x="1011" y="236"/>
                </a:cubicBezTo>
                <a:cubicBezTo>
                  <a:pt x="1011" y="236"/>
                  <a:pt x="1011" y="236"/>
                  <a:pt x="1010" y="237"/>
                </a:cubicBezTo>
                <a:close/>
                <a:moveTo>
                  <a:pt x="993" y="206"/>
                </a:moveTo>
                <a:cubicBezTo>
                  <a:pt x="993" y="206"/>
                  <a:pt x="993" y="206"/>
                  <a:pt x="994" y="205"/>
                </a:cubicBezTo>
                <a:cubicBezTo>
                  <a:pt x="994" y="205"/>
                  <a:pt x="994" y="205"/>
                  <a:pt x="994" y="204"/>
                </a:cubicBezTo>
                <a:cubicBezTo>
                  <a:pt x="994" y="204"/>
                  <a:pt x="994" y="204"/>
                  <a:pt x="993" y="205"/>
                </a:cubicBezTo>
                <a:cubicBezTo>
                  <a:pt x="993" y="205"/>
                  <a:pt x="993" y="205"/>
                  <a:pt x="993" y="206"/>
                </a:cubicBezTo>
                <a:close/>
                <a:moveTo>
                  <a:pt x="994" y="208"/>
                </a:moveTo>
                <a:cubicBezTo>
                  <a:pt x="994" y="208"/>
                  <a:pt x="994" y="208"/>
                  <a:pt x="993" y="207"/>
                </a:cubicBezTo>
                <a:cubicBezTo>
                  <a:pt x="993" y="207"/>
                  <a:pt x="993" y="207"/>
                  <a:pt x="993" y="208"/>
                </a:cubicBezTo>
                <a:cubicBezTo>
                  <a:pt x="993" y="208"/>
                  <a:pt x="993" y="208"/>
                  <a:pt x="992" y="209"/>
                </a:cubicBezTo>
                <a:cubicBezTo>
                  <a:pt x="992" y="209"/>
                  <a:pt x="992" y="209"/>
                  <a:pt x="993" y="210"/>
                </a:cubicBezTo>
                <a:cubicBezTo>
                  <a:pt x="993" y="210"/>
                  <a:pt x="993" y="210"/>
                  <a:pt x="994" y="209"/>
                </a:cubicBezTo>
                <a:cubicBezTo>
                  <a:pt x="994" y="209"/>
                  <a:pt x="994" y="209"/>
                  <a:pt x="995" y="208"/>
                </a:cubicBezTo>
                <a:cubicBezTo>
                  <a:pt x="995" y="208"/>
                  <a:pt x="995" y="208"/>
                  <a:pt x="994" y="207"/>
                </a:cubicBezTo>
                <a:cubicBezTo>
                  <a:pt x="994" y="207"/>
                  <a:pt x="994" y="207"/>
                  <a:pt x="994" y="208"/>
                </a:cubicBezTo>
                <a:close/>
                <a:moveTo>
                  <a:pt x="974" y="88"/>
                </a:moveTo>
                <a:cubicBezTo>
                  <a:pt x="974" y="88"/>
                  <a:pt x="974" y="88"/>
                  <a:pt x="974" y="89"/>
                </a:cubicBezTo>
                <a:cubicBezTo>
                  <a:pt x="974" y="89"/>
                  <a:pt x="974" y="89"/>
                  <a:pt x="975" y="87"/>
                </a:cubicBezTo>
                <a:cubicBezTo>
                  <a:pt x="975" y="87"/>
                  <a:pt x="975" y="87"/>
                  <a:pt x="974" y="88"/>
                </a:cubicBezTo>
                <a:close/>
                <a:moveTo>
                  <a:pt x="976" y="86"/>
                </a:moveTo>
                <a:cubicBezTo>
                  <a:pt x="976" y="86"/>
                  <a:pt x="976" y="86"/>
                  <a:pt x="975" y="86"/>
                </a:cubicBezTo>
                <a:cubicBezTo>
                  <a:pt x="975" y="86"/>
                  <a:pt x="975" y="86"/>
                  <a:pt x="975" y="87"/>
                </a:cubicBezTo>
                <a:cubicBezTo>
                  <a:pt x="975" y="87"/>
                  <a:pt x="975" y="87"/>
                  <a:pt x="976" y="87"/>
                </a:cubicBezTo>
                <a:cubicBezTo>
                  <a:pt x="976" y="87"/>
                  <a:pt x="976" y="87"/>
                  <a:pt x="976" y="86"/>
                </a:cubicBezTo>
                <a:close/>
                <a:moveTo>
                  <a:pt x="985" y="132"/>
                </a:moveTo>
                <a:cubicBezTo>
                  <a:pt x="986" y="132"/>
                  <a:pt x="986" y="132"/>
                  <a:pt x="986" y="132"/>
                </a:cubicBezTo>
                <a:cubicBezTo>
                  <a:pt x="986" y="131"/>
                  <a:pt x="986" y="131"/>
                  <a:pt x="986" y="131"/>
                </a:cubicBezTo>
                <a:cubicBezTo>
                  <a:pt x="985" y="132"/>
                  <a:pt x="985" y="132"/>
                  <a:pt x="985" y="132"/>
                </a:cubicBezTo>
                <a:close/>
                <a:moveTo>
                  <a:pt x="955" y="97"/>
                </a:moveTo>
                <a:cubicBezTo>
                  <a:pt x="954" y="98"/>
                  <a:pt x="954" y="98"/>
                  <a:pt x="954" y="98"/>
                </a:cubicBezTo>
                <a:cubicBezTo>
                  <a:pt x="953" y="99"/>
                  <a:pt x="953" y="99"/>
                  <a:pt x="953" y="99"/>
                </a:cubicBezTo>
                <a:cubicBezTo>
                  <a:pt x="953" y="101"/>
                  <a:pt x="953" y="101"/>
                  <a:pt x="953" y="101"/>
                </a:cubicBezTo>
                <a:cubicBezTo>
                  <a:pt x="953" y="102"/>
                  <a:pt x="953" y="102"/>
                  <a:pt x="953" y="102"/>
                </a:cubicBezTo>
                <a:cubicBezTo>
                  <a:pt x="953" y="103"/>
                  <a:pt x="953" y="103"/>
                  <a:pt x="953" y="103"/>
                </a:cubicBezTo>
                <a:cubicBezTo>
                  <a:pt x="954" y="104"/>
                  <a:pt x="954" y="104"/>
                  <a:pt x="954" y="104"/>
                </a:cubicBezTo>
                <a:cubicBezTo>
                  <a:pt x="956" y="104"/>
                  <a:pt x="956" y="104"/>
                  <a:pt x="956" y="104"/>
                </a:cubicBezTo>
                <a:cubicBezTo>
                  <a:pt x="957" y="103"/>
                  <a:pt x="957" y="103"/>
                  <a:pt x="957" y="103"/>
                </a:cubicBezTo>
                <a:cubicBezTo>
                  <a:pt x="958" y="101"/>
                  <a:pt x="958" y="101"/>
                  <a:pt x="958" y="101"/>
                </a:cubicBezTo>
                <a:cubicBezTo>
                  <a:pt x="958" y="100"/>
                  <a:pt x="958" y="100"/>
                  <a:pt x="958" y="100"/>
                </a:cubicBezTo>
                <a:cubicBezTo>
                  <a:pt x="958" y="99"/>
                  <a:pt x="958" y="99"/>
                  <a:pt x="958" y="99"/>
                </a:cubicBezTo>
                <a:cubicBezTo>
                  <a:pt x="957" y="98"/>
                  <a:pt x="957" y="98"/>
                  <a:pt x="957" y="98"/>
                </a:cubicBezTo>
                <a:cubicBezTo>
                  <a:pt x="956" y="98"/>
                  <a:pt x="956" y="98"/>
                  <a:pt x="956" y="98"/>
                </a:cubicBezTo>
                <a:cubicBezTo>
                  <a:pt x="956" y="97"/>
                  <a:pt x="956" y="97"/>
                  <a:pt x="956" y="97"/>
                </a:cubicBezTo>
                <a:cubicBezTo>
                  <a:pt x="955" y="97"/>
                  <a:pt x="955" y="97"/>
                  <a:pt x="955" y="97"/>
                </a:cubicBezTo>
                <a:close/>
                <a:moveTo>
                  <a:pt x="952" y="104"/>
                </a:moveTo>
                <a:cubicBezTo>
                  <a:pt x="952" y="105"/>
                  <a:pt x="952" y="105"/>
                  <a:pt x="952" y="105"/>
                </a:cubicBezTo>
                <a:cubicBezTo>
                  <a:pt x="953" y="104"/>
                  <a:pt x="953" y="104"/>
                  <a:pt x="953" y="104"/>
                </a:cubicBezTo>
                <a:cubicBezTo>
                  <a:pt x="953" y="103"/>
                  <a:pt x="953" y="103"/>
                  <a:pt x="953" y="103"/>
                </a:cubicBezTo>
                <a:cubicBezTo>
                  <a:pt x="952" y="103"/>
                  <a:pt x="952" y="103"/>
                  <a:pt x="952" y="103"/>
                </a:cubicBezTo>
                <a:cubicBezTo>
                  <a:pt x="952" y="104"/>
                  <a:pt x="952" y="104"/>
                  <a:pt x="952" y="104"/>
                </a:cubicBezTo>
                <a:close/>
                <a:moveTo>
                  <a:pt x="854" y="193"/>
                </a:moveTo>
                <a:cubicBezTo>
                  <a:pt x="854" y="193"/>
                  <a:pt x="854" y="193"/>
                  <a:pt x="854" y="194"/>
                </a:cubicBezTo>
                <a:cubicBezTo>
                  <a:pt x="854" y="194"/>
                  <a:pt x="854" y="194"/>
                  <a:pt x="854" y="195"/>
                </a:cubicBezTo>
                <a:cubicBezTo>
                  <a:pt x="854" y="195"/>
                  <a:pt x="854" y="195"/>
                  <a:pt x="854" y="196"/>
                </a:cubicBezTo>
                <a:cubicBezTo>
                  <a:pt x="854" y="196"/>
                  <a:pt x="854" y="196"/>
                  <a:pt x="855" y="196"/>
                </a:cubicBezTo>
                <a:cubicBezTo>
                  <a:pt x="855" y="196"/>
                  <a:pt x="855" y="196"/>
                  <a:pt x="855" y="195"/>
                </a:cubicBezTo>
                <a:cubicBezTo>
                  <a:pt x="855" y="195"/>
                  <a:pt x="855" y="195"/>
                  <a:pt x="856" y="194"/>
                </a:cubicBezTo>
                <a:cubicBezTo>
                  <a:pt x="856" y="194"/>
                  <a:pt x="856" y="194"/>
                  <a:pt x="855" y="193"/>
                </a:cubicBezTo>
                <a:cubicBezTo>
                  <a:pt x="855" y="193"/>
                  <a:pt x="855" y="193"/>
                  <a:pt x="855" y="192"/>
                </a:cubicBezTo>
                <a:cubicBezTo>
                  <a:pt x="855" y="192"/>
                  <a:pt x="855" y="192"/>
                  <a:pt x="854" y="193"/>
                </a:cubicBezTo>
                <a:close/>
                <a:moveTo>
                  <a:pt x="956" y="233"/>
                </a:moveTo>
                <a:cubicBezTo>
                  <a:pt x="956" y="234"/>
                  <a:pt x="956" y="234"/>
                  <a:pt x="956" y="234"/>
                </a:cubicBezTo>
                <a:cubicBezTo>
                  <a:pt x="955" y="234"/>
                  <a:pt x="955" y="234"/>
                  <a:pt x="955" y="234"/>
                </a:cubicBezTo>
                <a:cubicBezTo>
                  <a:pt x="954" y="235"/>
                  <a:pt x="954" y="235"/>
                  <a:pt x="954" y="235"/>
                </a:cubicBezTo>
                <a:cubicBezTo>
                  <a:pt x="953" y="235"/>
                  <a:pt x="953" y="235"/>
                  <a:pt x="953" y="235"/>
                </a:cubicBezTo>
                <a:cubicBezTo>
                  <a:pt x="951" y="235"/>
                  <a:pt x="951" y="235"/>
                  <a:pt x="951" y="235"/>
                </a:cubicBezTo>
                <a:cubicBezTo>
                  <a:pt x="951" y="236"/>
                  <a:pt x="951" y="236"/>
                  <a:pt x="951" y="236"/>
                </a:cubicBezTo>
                <a:cubicBezTo>
                  <a:pt x="950" y="237"/>
                  <a:pt x="950" y="237"/>
                  <a:pt x="950" y="237"/>
                </a:cubicBezTo>
                <a:cubicBezTo>
                  <a:pt x="949" y="237"/>
                  <a:pt x="949" y="237"/>
                  <a:pt x="949" y="237"/>
                </a:cubicBezTo>
                <a:cubicBezTo>
                  <a:pt x="950" y="239"/>
                  <a:pt x="950" y="239"/>
                  <a:pt x="950" y="239"/>
                </a:cubicBezTo>
                <a:cubicBezTo>
                  <a:pt x="950" y="238"/>
                  <a:pt x="950" y="238"/>
                  <a:pt x="950" y="238"/>
                </a:cubicBezTo>
                <a:cubicBezTo>
                  <a:pt x="951" y="239"/>
                  <a:pt x="951" y="239"/>
                  <a:pt x="951" y="239"/>
                </a:cubicBezTo>
                <a:cubicBezTo>
                  <a:pt x="952" y="239"/>
                  <a:pt x="952" y="239"/>
                  <a:pt x="952" y="239"/>
                </a:cubicBezTo>
                <a:cubicBezTo>
                  <a:pt x="954" y="237"/>
                  <a:pt x="954" y="237"/>
                  <a:pt x="954" y="237"/>
                </a:cubicBezTo>
                <a:cubicBezTo>
                  <a:pt x="955" y="236"/>
                  <a:pt x="955" y="236"/>
                  <a:pt x="955" y="236"/>
                </a:cubicBezTo>
                <a:cubicBezTo>
                  <a:pt x="957" y="235"/>
                  <a:pt x="957" y="235"/>
                  <a:pt x="957" y="235"/>
                </a:cubicBezTo>
                <a:cubicBezTo>
                  <a:pt x="958" y="234"/>
                  <a:pt x="958" y="234"/>
                  <a:pt x="958" y="234"/>
                </a:cubicBezTo>
                <a:cubicBezTo>
                  <a:pt x="957" y="233"/>
                  <a:pt x="957" y="233"/>
                  <a:pt x="957" y="233"/>
                </a:cubicBezTo>
                <a:cubicBezTo>
                  <a:pt x="957" y="232"/>
                  <a:pt x="957" y="232"/>
                  <a:pt x="957" y="232"/>
                </a:cubicBezTo>
                <a:cubicBezTo>
                  <a:pt x="956" y="233"/>
                  <a:pt x="956" y="233"/>
                  <a:pt x="956" y="233"/>
                </a:cubicBezTo>
                <a:close/>
                <a:moveTo>
                  <a:pt x="989" y="77"/>
                </a:moveTo>
                <a:cubicBezTo>
                  <a:pt x="989" y="77"/>
                  <a:pt x="989" y="77"/>
                  <a:pt x="990" y="76"/>
                </a:cubicBezTo>
                <a:cubicBezTo>
                  <a:pt x="990" y="76"/>
                  <a:pt x="990" y="76"/>
                  <a:pt x="992" y="77"/>
                </a:cubicBezTo>
                <a:cubicBezTo>
                  <a:pt x="992" y="77"/>
                  <a:pt x="992" y="77"/>
                  <a:pt x="993" y="76"/>
                </a:cubicBezTo>
                <a:cubicBezTo>
                  <a:pt x="993" y="76"/>
                  <a:pt x="993" y="76"/>
                  <a:pt x="991" y="75"/>
                </a:cubicBezTo>
                <a:cubicBezTo>
                  <a:pt x="991" y="75"/>
                  <a:pt x="991" y="75"/>
                  <a:pt x="990" y="74"/>
                </a:cubicBezTo>
                <a:cubicBezTo>
                  <a:pt x="990" y="74"/>
                  <a:pt x="990" y="74"/>
                  <a:pt x="989" y="75"/>
                </a:cubicBezTo>
                <a:cubicBezTo>
                  <a:pt x="989" y="75"/>
                  <a:pt x="989" y="75"/>
                  <a:pt x="988" y="75"/>
                </a:cubicBezTo>
                <a:cubicBezTo>
                  <a:pt x="988" y="75"/>
                  <a:pt x="988" y="75"/>
                  <a:pt x="987" y="77"/>
                </a:cubicBezTo>
                <a:cubicBezTo>
                  <a:pt x="987" y="77"/>
                  <a:pt x="987" y="77"/>
                  <a:pt x="988" y="78"/>
                </a:cubicBezTo>
                <a:cubicBezTo>
                  <a:pt x="988" y="78"/>
                  <a:pt x="988" y="78"/>
                  <a:pt x="989" y="77"/>
                </a:cubicBezTo>
                <a:close/>
                <a:moveTo>
                  <a:pt x="958" y="81"/>
                </a:moveTo>
                <a:cubicBezTo>
                  <a:pt x="958" y="83"/>
                  <a:pt x="958" y="83"/>
                  <a:pt x="958" y="83"/>
                </a:cubicBezTo>
                <a:cubicBezTo>
                  <a:pt x="959" y="83"/>
                  <a:pt x="959" y="83"/>
                  <a:pt x="959" y="83"/>
                </a:cubicBezTo>
                <a:cubicBezTo>
                  <a:pt x="959" y="85"/>
                  <a:pt x="959" y="85"/>
                  <a:pt x="959" y="85"/>
                </a:cubicBezTo>
                <a:cubicBezTo>
                  <a:pt x="961" y="85"/>
                  <a:pt x="961" y="85"/>
                  <a:pt x="961" y="85"/>
                </a:cubicBezTo>
                <a:cubicBezTo>
                  <a:pt x="964" y="87"/>
                  <a:pt x="964" y="87"/>
                  <a:pt x="964" y="87"/>
                </a:cubicBezTo>
                <a:cubicBezTo>
                  <a:pt x="965" y="87"/>
                  <a:pt x="965" y="87"/>
                  <a:pt x="965" y="87"/>
                </a:cubicBezTo>
                <a:cubicBezTo>
                  <a:pt x="965" y="86"/>
                  <a:pt x="965" y="86"/>
                  <a:pt x="965" y="86"/>
                </a:cubicBezTo>
                <a:cubicBezTo>
                  <a:pt x="965" y="84"/>
                  <a:pt x="965" y="84"/>
                  <a:pt x="965" y="84"/>
                </a:cubicBezTo>
                <a:cubicBezTo>
                  <a:pt x="967" y="85"/>
                  <a:pt x="967" y="85"/>
                  <a:pt x="967" y="85"/>
                </a:cubicBezTo>
                <a:cubicBezTo>
                  <a:pt x="967" y="86"/>
                  <a:pt x="967" y="86"/>
                  <a:pt x="967" y="86"/>
                </a:cubicBezTo>
                <a:cubicBezTo>
                  <a:pt x="967" y="87"/>
                  <a:pt x="967" y="87"/>
                  <a:pt x="967" y="87"/>
                </a:cubicBezTo>
                <a:cubicBezTo>
                  <a:pt x="967" y="88"/>
                  <a:pt x="967" y="88"/>
                  <a:pt x="967" y="88"/>
                </a:cubicBezTo>
                <a:cubicBezTo>
                  <a:pt x="968" y="85"/>
                  <a:pt x="968" y="85"/>
                  <a:pt x="968" y="85"/>
                </a:cubicBezTo>
                <a:cubicBezTo>
                  <a:pt x="968" y="82"/>
                  <a:pt x="968" y="82"/>
                  <a:pt x="968" y="82"/>
                </a:cubicBezTo>
                <a:cubicBezTo>
                  <a:pt x="969" y="81"/>
                  <a:pt x="969" y="81"/>
                  <a:pt x="969" y="81"/>
                </a:cubicBezTo>
                <a:cubicBezTo>
                  <a:pt x="970" y="79"/>
                  <a:pt x="970" y="79"/>
                  <a:pt x="970" y="79"/>
                </a:cubicBezTo>
                <a:cubicBezTo>
                  <a:pt x="971" y="78"/>
                  <a:pt x="971" y="78"/>
                  <a:pt x="971" y="78"/>
                </a:cubicBezTo>
                <a:cubicBezTo>
                  <a:pt x="971" y="79"/>
                  <a:pt x="971" y="79"/>
                  <a:pt x="971" y="79"/>
                </a:cubicBezTo>
                <a:cubicBezTo>
                  <a:pt x="969" y="82"/>
                  <a:pt x="969" y="82"/>
                  <a:pt x="969" y="82"/>
                </a:cubicBezTo>
                <a:cubicBezTo>
                  <a:pt x="969" y="83"/>
                  <a:pt x="969" y="83"/>
                  <a:pt x="969" y="83"/>
                </a:cubicBezTo>
                <a:cubicBezTo>
                  <a:pt x="969" y="85"/>
                  <a:pt x="969" y="85"/>
                  <a:pt x="969" y="85"/>
                </a:cubicBezTo>
                <a:cubicBezTo>
                  <a:pt x="969" y="87"/>
                  <a:pt x="969" y="87"/>
                  <a:pt x="969" y="87"/>
                </a:cubicBezTo>
                <a:cubicBezTo>
                  <a:pt x="970" y="88"/>
                  <a:pt x="970" y="88"/>
                  <a:pt x="970" y="88"/>
                </a:cubicBezTo>
                <a:cubicBezTo>
                  <a:pt x="969" y="89"/>
                  <a:pt x="969" y="89"/>
                  <a:pt x="969" y="89"/>
                </a:cubicBezTo>
                <a:cubicBezTo>
                  <a:pt x="970" y="89"/>
                  <a:pt x="970" y="89"/>
                  <a:pt x="970" y="89"/>
                </a:cubicBezTo>
                <a:cubicBezTo>
                  <a:pt x="971" y="87"/>
                  <a:pt x="971" y="87"/>
                  <a:pt x="971" y="87"/>
                </a:cubicBezTo>
                <a:cubicBezTo>
                  <a:pt x="973" y="85"/>
                  <a:pt x="973" y="85"/>
                  <a:pt x="973" y="85"/>
                </a:cubicBezTo>
                <a:cubicBezTo>
                  <a:pt x="974" y="82"/>
                  <a:pt x="974" y="82"/>
                  <a:pt x="974" y="82"/>
                </a:cubicBezTo>
                <a:cubicBezTo>
                  <a:pt x="975" y="82"/>
                  <a:pt x="975" y="82"/>
                  <a:pt x="975" y="82"/>
                </a:cubicBezTo>
                <a:cubicBezTo>
                  <a:pt x="975" y="83"/>
                  <a:pt x="975" y="83"/>
                  <a:pt x="975" y="83"/>
                </a:cubicBezTo>
                <a:cubicBezTo>
                  <a:pt x="974" y="84"/>
                  <a:pt x="974" y="84"/>
                  <a:pt x="974" y="84"/>
                </a:cubicBezTo>
                <a:cubicBezTo>
                  <a:pt x="974" y="85"/>
                  <a:pt x="974" y="85"/>
                  <a:pt x="974" y="85"/>
                </a:cubicBezTo>
                <a:cubicBezTo>
                  <a:pt x="975" y="85"/>
                  <a:pt x="975" y="85"/>
                  <a:pt x="975" y="85"/>
                </a:cubicBezTo>
                <a:cubicBezTo>
                  <a:pt x="977" y="84"/>
                  <a:pt x="977" y="84"/>
                  <a:pt x="977" y="84"/>
                </a:cubicBezTo>
                <a:cubicBezTo>
                  <a:pt x="978" y="83"/>
                  <a:pt x="978" y="83"/>
                  <a:pt x="978" y="83"/>
                </a:cubicBezTo>
                <a:cubicBezTo>
                  <a:pt x="978" y="82"/>
                  <a:pt x="978" y="82"/>
                  <a:pt x="978" y="82"/>
                </a:cubicBezTo>
                <a:cubicBezTo>
                  <a:pt x="977" y="82"/>
                  <a:pt x="977" y="82"/>
                  <a:pt x="977" y="82"/>
                </a:cubicBezTo>
                <a:cubicBezTo>
                  <a:pt x="977" y="81"/>
                  <a:pt x="977" y="81"/>
                  <a:pt x="977" y="81"/>
                </a:cubicBezTo>
                <a:cubicBezTo>
                  <a:pt x="978" y="81"/>
                  <a:pt x="978" y="81"/>
                  <a:pt x="978" y="81"/>
                </a:cubicBezTo>
                <a:cubicBezTo>
                  <a:pt x="978" y="79"/>
                  <a:pt x="978" y="79"/>
                  <a:pt x="978" y="79"/>
                </a:cubicBezTo>
                <a:cubicBezTo>
                  <a:pt x="977" y="78"/>
                  <a:pt x="977" y="78"/>
                  <a:pt x="977" y="78"/>
                </a:cubicBezTo>
                <a:cubicBezTo>
                  <a:pt x="977" y="77"/>
                  <a:pt x="977" y="77"/>
                  <a:pt x="977" y="77"/>
                </a:cubicBezTo>
                <a:cubicBezTo>
                  <a:pt x="979" y="76"/>
                  <a:pt x="979" y="76"/>
                  <a:pt x="979" y="76"/>
                </a:cubicBezTo>
                <a:cubicBezTo>
                  <a:pt x="980" y="74"/>
                  <a:pt x="980" y="74"/>
                  <a:pt x="980" y="74"/>
                </a:cubicBezTo>
                <a:cubicBezTo>
                  <a:pt x="981" y="73"/>
                  <a:pt x="981" y="73"/>
                  <a:pt x="981" y="73"/>
                </a:cubicBezTo>
                <a:cubicBezTo>
                  <a:pt x="982" y="74"/>
                  <a:pt x="982" y="74"/>
                  <a:pt x="982" y="74"/>
                </a:cubicBezTo>
                <a:cubicBezTo>
                  <a:pt x="981" y="74"/>
                  <a:pt x="981" y="74"/>
                  <a:pt x="981" y="74"/>
                </a:cubicBezTo>
                <a:cubicBezTo>
                  <a:pt x="980" y="76"/>
                  <a:pt x="980" y="76"/>
                  <a:pt x="980" y="76"/>
                </a:cubicBezTo>
                <a:cubicBezTo>
                  <a:pt x="979" y="78"/>
                  <a:pt x="979" y="78"/>
                  <a:pt x="979" y="78"/>
                </a:cubicBezTo>
                <a:cubicBezTo>
                  <a:pt x="979" y="80"/>
                  <a:pt x="979" y="80"/>
                  <a:pt x="979" y="80"/>
                </a:cubicBezTo>
                <a:cubicBezTo>
                  <a:pt x="979" y="81"/>
                  <a:pt x="979" y="81"/>
                  <a:pt x="979" y="81"/>
                </a:cubicBezTo>
                <a:cubicBezTo>
                  <a:pt x="979" y="82"/>
                  <a:pt x="979" y="82"/>
                  <a:pt x="979" y="82"/>
                </a:cubicBezTo>
                <a:cubicBezTo>
                  <a:pt x="980" y="81"/>
                  <a:pt x="980" y="81"/>
                  <a:pt x="980" y="81"/>
                </a:cubicBezTo>
                <a:cubicBezTo>
                  <a:pt x="981" y="79"/>
                  <a:pt x="981" y="79"/>
                  <a:pt x="981" y="79"/>
                </a:cubicBezTo>
                <a:cubicBezTo>
                  <a:pt x="983" y="77"/>
                  <a:pt x="983" y="77"/>
                  <a:pt x="983" y="77"/>
                </a:cubicBezTo>
                <a:cubicBezTo>
                  <a:pt x="984" y="76"/>
                  <a:pt x="984" y="76"/>
                  <a:pt x="984" y="76"/>
                </a:cubicBezTo>
                <a:cubicBezTo>
                  <a:pt x="984" y="74"/>
                  <a:pt x="984" y="74"/>
                  <a:pt x="984" y="74"/>
                </a:cubicBezTo>
                <a:cubicBezTo>
                  <a:pt x="985" y="73"/>
                  <a:pt x="985" y="73"/>
                  <a:pt x="985" y="73"/>
                </a:cubicBezTo>
                <a:cubicBezTo>
                  <a:pt x="986" y="73"/>
                  <a:pt x="986" y="73"/>
                  <a:pt x="986" y="73"/>
                </a:cubicBezTo>
                <a:cubicBezTo>
                  <a:pt x="986" y="74"/>
                  <a:pt x="986" y="74"/>
                  <a:pt x="986" y="74"/>
                </a:cubicBezTo>
                <a:cubicBezTo>
                  <a:pt x="986" y="75"/>
                  <a:pt x="986" y="75"/>
                  <a:pt x="986" y="75"/>
                </a:cubicBezTo>
                <a:cubicBezTo>
                  <a:pt x="987" y="75"/>
                  <a:pt x="987" y="75"/>
                  <a:pt x="987" y="75"/>
                </a:cubicBezTo>
                <a:cubicBezTo>
                  <a:pt x="988" y="73"/>
                  <a:pt x="988" y="73"/>
                  <a:pt x="988" y="73"/>
                </a:cubicBezTo>
                <a:cubicBezTo>
                  <a:pt x="989" y="73"/>
                  <a:pt x="989" y="73"/>
                  <a:pt x="989" y="73"/>
                </a:cubicBezTo>
                <a:cubicBezTo>
                  <a:pt x="991" y="73"/>
                  <a:pt x="991" y="73"/>
                  <a:pt x="991" y="73"/>
                </a:cubicBezTo>
                <a:cubicBezTo>
                  <a:pt x="993" y="73"/>
                  <a:pt x="993" y="73"/>
                  <a:pt x="993" y="73"/>
                </a:cubicBezTo>
                <a:cubicBezTo>
                  <a:pt x="994" y="73"/>
                  <a:pt x="994" y="73"/>
                  <a:pt x="994" y="73"/>
                </a:cubicBezTo>
                <a:cubicBezTo>
                  <a:pt x="995" y="72"/>
                  <a:pt x="995" y="72"/>
                  <a:pt x="995" y="72"/>
                </a:cubicBezTo>
                <a:cubicBezTo>
                  <a:pt x="996" y="71"/>
                  <a:pt x="996" y="71"/>
                  <a:pt x="996" y="71"/>
                </a:cubicBezTo>
                <a:cubicBezTo>
                  <a:pt x="997" y="70"/>
                  <a:pt x="997" y="70"/>
                  <a:pt x="997" y="70"/>
                </a:cubicBezTo>
                <a:cubicBezTo>
                  <a:pt x="997" y="69"/>
                  <a:pt x="997" y="69"/>
                  <a:pt x="997" y="69"/>
                </a:cubicBezTo>
                <a:cubicBezTo>
                  <a:pt x="996" y="68"/>
                  <a:pt x="996" y="68"/>
                  <a:pt x="996" y="68"/>
                </a:cubicBezTo>
                <a:cubicBezTo>
                  <a:pt x="997" y="66"/>
                  <a:pt x="997" y="66"/>
                  <a:pt x="997" y="66"/>
                </a:cubicBezTo>
                <a:cubicBezTo>
                  <a:pt x="996" y="63"/>
                  <a:pt x="996" y="63"/>
                  <a:pt x="996" y="63"/>
                </a:cubicBezTo>
                <a:cubicBezTo>
                  <a:pt x="995" y="65"/>
                  <a:pt x="995" y="65"/>
                  <a:pt x="995" y="65"/>
                </a:cubicBezTo>
                <a:cubicBezTo>
                  <a:pt x="994" y="67"/>
                  <a:pt x="994" y="67"/>
                  <a:pt x="994" y="67"/>
                </a:cubicBezTo>
                <a:cubicBezTo>
                  <a:pt x="993" y="67"/>
                  <a:pt x="993" y="67"/>
                  <a:pt x="993" y="67"/>
                </a:cubicBezTo>
                <a:cubicBezTo>
                  <a:pt x="993" y="66"/>
                  <a:pt x="993" y="66"/>
                  <a:pt x="993" y="66"/>
                </a:cubicBezTo>
                <a:cubicBezTo>
                  <a:pt x="994" y="65"/>
                  <a:pt x="994" y="65"/>
                  <a:pt x="994" y="65"/>
                </a:cubicBezTo>
                <a:cubicBezTo>
                  <a:pt x="995" y="64"/>
                  <a:pt x="995" y="64"/>
                  <a:pt x="995" y="64"/>
                </a:cubicBezTo>
                <a:cubicBezTo>
                  <a:pt x="995" y="63"/>
                  <a:pt x="995" y="63"/>
                  <a:pt x="995" y="63"/>
                </a:cubicBezTo>
                <a:cubicBezTo>
                  <a:pt x="994" y="62"/>
                  <a:pt x="994" y="62"/>
                  <a:pt x="994" y="62"/>
                </a:cubicBezTo>
                <a:cubicBezTo>
                  <a:pt x="994" y="61"/>
                  <a:pt x="994" y="61"/>
                  <a:pt x="994" y="61"/>
                </a:cubicBezTo>
                <a:cubicBezTo>
                  <a:pt x="993" y="61"/>
                  <a:pt x="993" y="61"/>
                  <a:pt x="993" y="61"/>
                </a:cubicBezTo>
                <a:cubicBezTo>
                  <a:pt x="992" y="61"/>
                  <a:pt x="992" y="61"/>
                  <a:pt x="992" y="61"/>
                </a:cubicBezTo>
                <a:cubicBezTo>
                  <a:pt x="992" y="62"/>
                  <a:pt x="992" y="62"/>
                  <a:pt x="992" y="62"/>
                </a:cubicBezTo>
                <a:cubicBezTo>
                  <a:pt x="991" y="61"/>
                  <a:pt x="991" y="61"/>
                  <a:pt x="991" y="61"/>
                </a:cubicBezTo>
                <a:cubicBezTo>
                  <a:pt x="990" y="61"/>
                  <a:pt x="990" y="61"/>
                  <a:pt x="990" y="61"/>
                </a:cubicBezTo>
                <a:cubicBezTo>
                  <a:pt x="989" y="62"/>
                  <a:pt x="989" y="62"/>
                  <a:pt x="989" y="62"/>
                </a:cubicBezTo>
                <a:cubicBezTo>
                  <a:pt x="988" y="62"/>
                  <a:pt x="988" y="62"/>
                  <a:pt x="988" y="62"/>
                </a:cubicBezTo>
                <a:cubicBezTo>
                  <a:pt x="989" y="61"/>
                  <a:pt x="989" y="61"/>
                  <a:pt x="989" y="61"/>
                </a:cubicBezTo>
                <a:cubicBezTo>
                  <a:pt x="992" y="60"/>
                  <a:pt x="992" y="60"/>
                  <a:pt x="992" y="60"/>
                </a:cubicBezTo>
                <a:cubicBezTo>
                  <a:pt x="993" y="60"/>
                  <a:pt x="993" y="60"/>
                  <a:pt x="993" y="60"/>
                </a:cubicBezTo>
                <a:cubicBezTo>
                  <a:pt x="995" y="58"/>
                  <a:pt x="995" y="58"/>
                  <a:pt x="995" y="58"/>
                </a:cubicBezTo>
                <a:cubicBezTo>
                  <a:pt x="996" y="57"/>
                  <a:pt x="996" y="57"/>
                  <a:pt x="996" y="57"/>
                </a:cubicBezTo>
                <a:cubicBezTo>
                  <a:pt x="997" y="55"/>
                  <a:pt x="997" y="55"/>
                  <a:pt x="997" y="55"/>
                </a:cubicBezTo>
                <a:cubicBezTo>
                  <a:pt x="998" y="53"/>
                  <a:pt x="998" y="53"/>
                  <a:pt x="998" y="53"/>
                </a:cubicBezTo>
                <a:cubicBezTo>
                  <a:pt x="997" y="52"/>
                  <a:pt x="997" y="52"/>
                  <a:pt x="997" y="52"/>
                </a:cubicBezTo>
                <a:cubicBezTo>
                  <a:pt x="996" y="52"/>
                  <a:pt x="996" y="52"/>
                  <a:pt x="996" y="52"/>
                </a:cubicBezTo>
                <a:cubicBezTo>
                  <a:pt x="996" y="53"/>
                  <a:pt x="996" y="53"/>
                  <a:pt x="996" y="53"/>
                </a:cubicBezTo>
                <a:cubicBezTo>
                  <a:pt x="995" y="52"/>
                  <a:pt x="995" y="52"/>
                  <a:pt x="995" y="52"/>
                </a:cubicBezTo>
                <a:cubicBezTo>
                  <a:pt x="996" y="52"/>
                  <a:pt x="996" y="52"/>
                  <a:pt x="996" y="52"/>
                </a:cubicBezTo>
                <a:cubicBezTo>
                  <a:pt x="996" y="51"/>
                  <a:pt x="996" y="51"/>
                  <a:pt x="996" y="51"/>
                </a:cubicBezTo>
                <a:cubicBezTo>
                  <a:pt x="997" y="51"/>
                  <a:pt x="997" y="51"/>
                  <a:pt x="997" y="51"/>
                </a:cubicBezTo>
                <a:cubicBezTo>
                  <a:pt x="998" y="50"/>
                  <a:pt x="998" y="50"/>
                  <a:pt x="998" y="50"/>
                </a:cubicBezTo>
                <a:cubicBezTo>
                  <a:pt x="998" y="49"/>
                  <a:pt x="998" y="49"/>
                  <a:pt x="998" y="49"/>
                </a:cubicBezTo>
                <a:cubicBezTo>
                  <a:pt x="999" y="48"/>
                  <a:pt x="999" y="48"/>
                  <a:pt x="999" y="48"/>
                </a:cubicBezTo>
                <a:cubicBezTo>
                  <a:pt x="999" y="46"/>
                  <a:pt x="999" y="46"/>
                  <a:pt x="999" y="46"/>
                </a:cubicBezTo>
                <a:cubicBezTo>
                  <a:pt x="999" y="45"/>
                  <a:pt x="999" y="45"/>
                  <a:pt x="999" y="45"/>
                </a:cubicBezTo>
                <a:cubicBezTo>
                  <a:pt x="997" y="45"/>
                  <a:pt x="997" y="45"/>
                  <a:pt x="997" y="45"/>
                </a:cubicBezTo>
                <a:cubicBezTo>
                  <a:pt x="996" y="45"/>
                  <a:pt x="996" y="45"/>
                  <a:pt x="996" y="45"/>
                </a:cubicBezTo>
                <a:cubicBezTo>
                  <a:pt x="995" y="48"/>
                  <a:pt x="995" y="48"/>
                  <a:pt x="995" y="48"/>
                </a:cubicBezTo>
                <a:cubicBezTo>
                  <a:pt x="995" y="49"/>
                  <a:pt x="995" y="49"/>
                  <a:pt x="995" y="49"/>
                </a:cubicBezTo>
                <a:cubicBezTo>
                  <a:pt x="995" y="50"/>
                  <a:pt x="995" y="50"/>
                  <a:pt x="995" y="50"/>
                </a:cubicBezTo>
                <a:cubicBezTo>
                  <a:pt x="995" y="51"/>
                  <a:pt x="995" y="51"/>
                  <a:pt x="995" y="51"/>
                </a:cubicBezTo>
                <a:cubicBezTo>
                  <a:pt x="994" y="52"/>
                  <a:pt x="994" y="52"/>
                  <a:pt x="994" y="52"/>
                </a:cubicBezTo>
                <a:cubicBezTo>
                  <a:pt x="994" y="51"/>
                  <a:pt x="994" y="51"/>
                  <a:pt x="994" y="51"/>
                </a:cubicBezTo>
                <a:cubicBezTo>
                  <a:pt x="993" y="50"/>
                  <a:pt x="993" y="50"/>
                  <a:pt x="993" y="50"/>
                </a:cubicBezTo>
                <a:cubicBezTo>
                  <a:pt x="993" y="49"/>
                  <a:pt x="993" y="49"/>
                  <a:pt x="993" y="49"/>
                </a:cubicBezTo>
                <a:cubicBezTo>
                  <a:pt x="994" y="47"/>
                  <a:pt x="994" y="47"/>
                  <a:pt x="994" y="47"/>
                </a:cubicBezTo>
                <a:cubicBezTo>
                  <a:pt x="994" y="46"/>
                  <a:pt x="994" y="46"/>
                  <a:pt x="994" y="46"/>
                </a:cubicBezTo>
                <a:cubicBezTo>
                  <a:pt x="994" y="45"/>
                  <a:pt x="994" y="45"/>
                  <a:pt x="994" y="45"/>
                </a:cubicBezTo>
                <a:cubicBezTo>
                  <a:pt x="995" y="45"/>
                  <a:pt x="995" y="45"/>
                  <a:pt x="995" y="45"/>
                </a:cubicBezTo>
                <a:cubicBezTo>
                  <a:pt x="995" y="43"/>
                  <a:pt x="995" y="43"/>
                  <a:pt x="995" y="43"/>
                </a:cubicBezTo>
                <a:cubicBezTo>
                  <a:pt x="994" y="42"/>
                  <a:pt x="994" y="42"/>
                  <a:pt x="994" y="42"/>
                </a:cubicBezTo>
                <a:cubicBezTo>
                  <a:pt x="993" y="42"/>
                  <a:pt x="993" y="42"/>
                  <a:pt x="993" y="42"/>
                </a:cubicBezTo>
                <a:cubicBezTo>
                  <a:pt x="992" y="43"/>
                  <a:pt x="992" y="43"/>
                  <a:pt x="992" y="43"/>
                </a:cubicBezTo>
                <a:cubicBezTo>
                  <a:pt x="991" y="44"/>
                  <a:pt x="991" y="44"/>
                  <a:pt x="991" y="44"/>
                </a:cubicBezTo>
                <a:cubicBezTo>
                  <a:pt x="991" y="43"/>
                  <a:pt x="991" y="43"/>
                  <a:pt x="991" y="43"/>
                </a:cubicBezTo>
                <a:cubicBezTo>
                  <a:pt x="991" y="41"/>
                  <a:pt x="991" y="41"/>
                  <a:pt x="991" y="41"/>
                </a:cubicBezTo>
                <a:cubicBezTo>
                  <a:pt x="990" y="39"/>
                  <a:pt x="990" y="39"/>
                  <a:pt x="990" y="39"/>
                </a:cubicBezTo>
                <a:cubicBezTo>
                  <a:pt x="990" y="36"/>
                  <a:pt x="990" y="36"/>
                  <a:pt x="990" y="36"/>
                </a:cubicBezTo>
                <a:cubicBezTo>
                  <a:pt x="990" y="34"/>
                  <a:pt x="990" y="34"/>
                  <a:pt x="990" y="34"/>
                </a:cubicBezTo>
                <a:cubicBezTo>
                  <a:pt x="991" y="33"/>
                  <a:pt x="991" y="33"/>
                  <a:pt x="991" y="33"/>
                </a:cubicBezTo>
                <a:cubicBezTo>
                  <a:pt x="991" y="31"/>
                  <a:pt x="991" y="31"/>
                  <a:pt x="991" y="31"/>
                </a:cubicBezTo>
                <a:cubicBezTo>
                  <a:pt x="991" y="29"/>
                  <a:pt x="991" y="29"/>
                  <a:pt x="991" y="29"/>
                </a:cubicBezTo>
                <a:cubicBezTo>
                  <a:pt x="992" y="27"/>
                  <a:pt x="992" y="27"/>
                  <a:pt x="992" y="27"/>
                </a:cubicBezTo>
                <a:cubicBezTo>
                  <a:pt x="992" y="26"/>
                  <a:pt x="992" y="26"/>
                  <a:pt x="992" y="26"/>
                </a:cubicBezTo>
                <a:cubicBezTo>
                  <a:pt x="991" y="24"/>
                  <a:pt x="991" y="24"/>
                  <a:pt x="991" y="24"/>
                </a:cubicBezTo>
                <a:cubicBezTo>
                  <a:pt x="991" y="23"/>
                  <a:pt x="991" y="23"/>
                  <a:pt x="991" y="23"/>
                </a:cubicBezTo>
                <a:cubicBezTo>
                  <a:pt x="989" y="22"/>
                  <a:pt x="989" y="22"/>
                  <a:pt x="989" y="22"/>
                </a:cubicBezTo>
                <a:cubicBezTo>
                  <a:pt x="988" y="21"/>
                  <a:pt x="988" y="21"/>
                  <a:pt x="988" y="21"/>
                </a:cubicBezTo>
                <a:cubicBezTo>
                  <a:pt x="987" y="20"/>
                  <a:pt x="987" y="20"/>
                  <a:pt x="987" y="20"/>
                </a:cubicBezTo>
                <a:cubicBezTo>
                  <a:pt x="986" y="20"/>
                  <a:pt x="986" y="20"/>
                  <a:pt x="986" y="20"/>
                </a:cubicBezTo>
                <a:cubicBezTo>
                  <a:pt x="986" y="21"/>
                  <a:pt x="986" y="21"/>
                  <a:pt x="986" y="21"/>
                </a:cubicBezTo>
                <a:cubicBezTo>
                  <a:pt x="984" y="20"/>
                  <a:pt x="984" y="20"/>
                  <a:pt x="984" y="20"/>
                </a:cubicBezTo>
                <a:cubicBezTo>
                  <a:pt x="983" y="20"/>
                  <a:pt x="983" y="20"/>
                  <a:pt x="983" y="20"/>
                </a:cubicBezTo>
                <a:cubicBezTo>
                  <a:pt x="983" y="21"/>
                  <a:pt x="983" y="21"/>
                  <a:pt x="983" y="21"/>
                </a:cubicBezTo>
                <a:cubicBezTo>
                  <a:pt x="982" y="23"/>
                  <a:pt x="982" y="23"/>
                  <a:pt x="982" y="23"/>
                </a:cubicBezTo>
                <a:cubicBezTo>
                  <a:pt x="983" y="24"/>
                  <a:pt x="983" y="24"/>
                  <a:pt x="983" y="24"/>
                </a:cubicBezTo>
                <a:cubicBezTo>
                  <a:pt x="984" y="24"/>
                  <a:pt x="984" y="24"/>
                  <a:pt x="984" y="24"/>
                </a:cubicBezTo>
                <a:cubicBezTo>
                  <a:pt x="985" y="23"/>
                  <a:pt x="985" y="23"/>
                  <a:pt x="985" y="23"/>
                </a:cubicBezTo>
                <a:cubicBezTo>
                  <a:pt x="986" y="24"/>
                  <a:pt x="986" y="24"/>
                  <a:pt x="986" y="24"/>
                </a:cubicBezTo>
                <a:cubicBezTo>
                  <a:pt x="987" y="25"/>
                  <a:pt x="987" y="25"/>
                  <a:pt x="987" y="25"/>
                </a:cubicBezTo>
                <a:cubicBezTo>
                  <a:pt x="988" y="25"/>
                  <a:pt x="988" y="25"/>
                  <a:pt x="988" y="25"/>
                </a:cubicBezTo>
                <a:cubicBezTo>
                  <a:pt x="988" y="26"/>
                  <a:pt x="988" y="26"/>
                  <a:pt x="988" y="26"/>
                </a:cubicBezTo>
                <a:cubicBezTo>
                  <a:pt x="986" y="28"/>
                  <a:pt x="986" y="28"/>
                  <a:pt x="986" y="28"/>
                </a:cubicBezTo>
                <a:cubicBezTo>
                  <a:pt x="985" y="28"/>
                  <a:pt x="985" y="28"/>
                  <a:pt x="985" y="28"/>
                </a:cubicBezTo>
                <a:cubicBezTo>
                  <a:pt x="984" y="27"/>
                  <a:pt x="984" y="27"/>
                  <a:pt x="984" y="27"/>
                </a:cubicBezTo>
                <a:cubicBezTo>
                  <a:pt x="983" y="27"/>
                  <a:pt x="983" y="27"/>
                  <a:pt x="983" y="27"/>
                </a:cubicBezTo>
                <a:cubicBezTo>
                  <a:pt x="981" y="27"/>
                  <a:pt x="981" y="27"/>
                  <a:pt x="981" y="27"/>
                </a:cubicBezTo>
                <a:cubicBezTo>
                  <a:pt x="982" y="28"/>
                  <a:pt x="982" y="28"/>
                  <a:pt x="982" y="28"/>
                </a:cubicBezTo>
                <a:cubicBezTo>
                  <a:pt x="983" y="28"/>
                  <a:pt x="983" y="28"/>
                  <a:pt x="983" y="28"/>
                </a:cubicBezTo>
                <a:cubicBezTo>
                  <a:pt x="982" y="29"/>
                  <a:pt x="982" y="29"/>
                  <a:pt x="982" y="29"/>
                </a:cubicBezTo>
                <a:cubicBezTo>
                  <a:pt x="981" y="29"/>
                  <a:pt x="981" y="29"/>
                  <a:pt x="981" y="29"/>
                </a:cubicBezTo>
                <a:cubicBezTo>
                  <a:pt x="979" y="28"/>
                  <a:pt x="979" y="28"/>
                  <a:pt x="979" y="28"/>
                </a:cubicBezTo>
                <a:cubicBezTo>
                  <a:pt x="977" y="29"/>
                  <a:pt x="977" y="29"/>
                  <a:pt x="977" y="29"/>
                </a:cubicBezTo>
                <a:cubicBezTo>
                  <a:pt x="977" y="30"/>
                  <a:pt x="977" y="30"/>
                  <a:pt x="977" y="30"/>
                </a:cubicBezTo>
                <a:cubicBezTo>
                  <a:pt x="976" y="31"/>
                  <a:pt x="976" y="31"/>
                  <a:pt x="976" y="31"/>
                </a:cubicBezTo>
                <a:cubicBezTo>
                  <a:pt x="976" y="32"/>
                  <a:pt x="976" y="32"/>
                  <a:pt x="976" y="32"/>
                </a:cubicBezTo>
                <a:cubicBezTo>
                  <a:pt x="977" y="32"/>
                  <a:pt x="977" y="32"/>
                  <a:pt x="977" y="32"/>
                </a:cubicBezTo>
                <a:cubicBezTo>
                  <a:pt x="977" y="34"/>
                  <a:pt x="977" y="34"/>
                  <a:pt x="977" y="34"/>
                </a:cubicBezTo>
                <a:cubicBezTo>
                  <a:pt x="979" y="34"/>
                  <a:pt x="979" y="34"/>
                  <a:pt x="979" y="34"/>
                </a:cubicBezTo>
                <a:cubicBezTo>
                  <a:pt x="979" y="35"/>
                  <a:pt x="979" y="35"/>
                  <a:pt x="979" y="35"/>
                </a:cubicBezTo>
                <a:cubicBezTo>
                  <a:pt x="978" y="35"/>
                  <a:pt x="978" y="35"/>
                  <a:pt x="978" y="35"/>
                </a:cubicBezTo>
                <a:cubicBezTo>
                  <a:pt x="978" y="36"/>
                  <a:pt x="978" y="36"/>
                  <a:pt x="978" y="36"/>
                </a:cubicBezTo>
                <a:cubicBezTo>
                  <a:pt x="978" y="37"/>
                  <a:pt x="978" y="37"/>
                  <a:pt x="978" y="37"/>
                </a:cubicBezTo>
                <a:cubicBezTo>
                  <a:pt x="977" y="37"/>
                  <a:pt x="977" y="37"/>
                  <a:pt x="977" y="37"/>
                </a:cubicBezTo>
                <a:cubicBezTo>
                  <a:pt x="975" y="37"/>
                  <a:pt x="975" y="37"/>
                  <a:pt x="975" y="37"/>
                </a:cubicBezTo>
                <a:cubicBezTo>
                  <a:pt x="974" y="36"/>
                  <a:pt x="974" y="36"/>
                  <a:pt x="974" y="36"/>
                </a:cubicBezTo>
                <a:cubicBezTo>
                  <a:pt x="973" y="35"/>
                  <a:pt x="973" y="35"/>
                  <a:pt x="973" y="35"/>
                </a:cubicBezTo>
                <a:cubicBezTo>
                  <a:pt x="972" y="36"/>
                  <a:pt x="972" y="36"/>
                  <a:pt x="972" y="36"/>
                </a:cubicBezTo>
                <a:cubicBezTo>
                  <a:pt x="972" y="37"/>
                  <a:pt x="972" y="37"/>
                  <a:pt x="972" y="37"/>
                </a:cubicBezTo>
                <a:cubicBezTo>
                  <a:pt x="973" y="38"/>
                  <a:pt x="973" y="38"/>
                  <a:pt x="973" y="38"/>
                </a:cubicBezTo>
                <a:cubicBezTo>
                  <a:pt x="972" y="39"/>
                  <a:pt x="972" y="39"/>
                  <a:pt x="972" y="39"/>
                </a:cubicBezTo>
                <a:cubicBezTo>
                  <a:pt x="971" y="39"/>
                  <a:pt x="971" y="39"/>
                  <a:pt x="971" y="39"/>
                </a:cubicBezTo>
                <a:cubicBezTo>
                  <a:pt x="971" y="38"/>
                  <a:pt x="971" y="38"/>
                  <a:pt x="971" y="38"/>
                </a:cubicBezTo>
                <a:cubicBezTo>
                  <a:pt x="971" y="37"/>
                  <a:pt x="971" y="37"/>
                  <a:pt x="971" y="37"/>
                </a:cubicBezTo>
                <a:cubicBezTo>
                  <a:pt x="969" y="37"/>
                  <a:pt x="969" y="37"/>
                  <a:pt x="969" y="37"/>
                </a:cubicBezTo>
                <a:cubicBezTo>
                  <a:pt x="968" y="36"/>
                  <a:pt x="968" y="36"/>
                  <a:pt x="968" y="36"/>
                </a:cubicBezTo>
                <a:cubicBezTo>
                  <a:pt x="967" y="36"/>
                  <a:pt x="967" y="36"/>
                  <a:pt x="967" y="36"/>
                </a:cubicBezTo>
                <a:cubicBezTo>
                  <a:pt x="967" y="37"/>
                  <a:pt x="967" y="37"/>
                  <a:pt x="967" y="37"/>
                </a:cubicBezTo>
                <a:cubicBezTo>
                  <a:pt x="967" y="38"/>
                  <a:pt x="967" y="38"/>
                  <a:pt x="967" y="38"/>
                </a:cubicBezTo>
                <a:cubicBezTo>
                  <a:pt x="967" y="40"/>
                  <a:pt x="967" y="40"/>
                  <a:pt x="967" y="40"/>
                </a:cubicBezTo>
                <a:cubicBezTo>
                  <a:pt x="968" y="41"/>
                  <a:pt x="968" y="41"/>
                  <a:pt x="968" y="41"/>
                </a:cubicBezTo>
                <a:cubicBezTo>
                  <a:pt x="969" y="42"/>
                  <a:pt x="969" y="42"/>
                  <a:pt x="969" y="42"/>
                </a:cubicBezTo>
                <a:cubicBezTo>
                  <a:pt x="970" y="42"/>
                  <a:pt x="970" y="42"/>
                  <a:pt x="970" y="42"/>
                </a:cubicBezTo>
                <a:cubicBezTo>
                  <a:pt x="971" y="43"/>
                  <a:pt x="971" y="43"/>
                  <a:pt x="971" y="43"/>
                </a:cubicBezTo>
                <a:cubicBezTo>
                  <a:pt x="970" y="43"/>
                  <a:pt x="970" y="43"/>
                  <a:pt x="970" y="43"/>
                </a:cubicBezTo>
                <a:cubicBezTo>
                  <a:pt x="969" y="43"/>
                  <a:pt x="969" y="43"/>
                  <a:pt x="969" y="43"/>
                </a:cubicBezTo>
                <a:cubicBezTo>
                  <a:pt x="970" y="44"/>
                  <a:pt x="970" y="44"/>
                  <a:pt x="970" y="44"/>
                </a:cubicBezTo>
                <a:cubicBezTo>
                  <a:pt x="971" y="45"/>
                  <a:pt x="971" y="45"/>
                  <a:pt x="971" y="45"/>
                </a:cubicBezTo>
                <a:cubicBezTo>
                  <a:pt x="972" y="46"/>
                  <a:pt x="972" y="46"/>
                  <a:pt x="972" y="46"/>
                </a:cubicBezTo>
                <a:cubicBezTo>
                  <a:pt x="974" y="46"/>
                  <a:pt x="974" y="46"/>
                  <a:pt x="974" y="46"/>
                </a:cubicBezTo>
                <a:cubicBezTo>
                  <a:pt x="974" y="45"/>
                  <a:pt x="974" y="45"/>
                  <a:pt x="974" y="45"/>
                </a:cubicBezTo>
                <a:cubicBezTo>
                  <a:pt x="975" y="45"/>
                  <a:pt x="975" y="45"/>
                  <a:pt x="975" y="45"/>
                </a:cubicBezTo>
                <a:cubicBezTo>
                  <a:pt x="975" y="46"/>
                  <a:pt x="975" y="46"/>
                  <a:pt x="975" y="46"/>
                </a:cubicBezTo>
                <a:cubicBezTo>
                  <a:pt x="974" y="46"/>
                  <a:pt x="974" y="46"/>
                  <a:pt x="974" y="46"/>
                </a:cubicBezTo>
                <a:cubicBezTo>
                  <a:pt x="974" y="48"/>
                  <a:pt x="974" y="48"/>
                  <a:pt x="974" y="48"/>
                </a:cubicBezTo>
                <a:cubicBezTo>
                  <a:pt x="973" y="48"/>
                  <a:pt x="973" y="48"/>
                  <a:pt x="973" y="48"/>
                </a:cubicBezTo>
                <a:cubicBezTo>
                  <a:pt x="971" y="47"/>
                  <a:pt x="971" y="47"/>
                  <a:pt x="971" y="47"/>
                </a:cubicBezTo>
                <a:cubicBezTo>
                  <a:pt x="968" y="46"/>
                  <a:pt x="968" y="46"/>
                  <a:pt x="968" y="46"/>
                </a:cubicBezTo>
                <a:cubicBezTo>
                  <a:pt x="967" y="45"/>
                  <a:pt x="967" y="45"/>
                  <a:pt x="967" y="45"/>
                </a:cubicBezTo>
                <a:cubicBezTo>
                  <a:pt x="966" y="44"/>
                  <a:pt x="966" y="44"/>
                  <a:pt x="966" y="44"/>
                </a:cubicBezTo>
                <a:cubicBezTo>
                  <a:pt x="965" y="44"/>
                  <a:pt x="965" y="44"/>
                  <a:pt x="965" y="44"/>
                </a:cubicBezTo>
                <a:cubicBezTo>
                  <a:pt x="964" y="45"/>
                  <a:pt x="964" y="45"/>
                  <a:pt x="964" y="45"/>
                </a:cubicBezTo>
                <a:cubicBezTo>
                  <a:pt x="964" y="46"/>
                  <a:pt x="964" y="46"/>
                  <a:pt x="964" y="46"/>
                </a:cubicBezTo>
                <a:cubicBezTo>
                  <a:pt x="964" y="48"/>
                  <a:pt x="964" y="48"/>
                  <a:pt x="964" y="48"/>
                </a:cubicBezTo>
                <a:cubicBezTo>
                  <a:pt x="963" y="49"/>
                  <a:pt x="963" y="49"/>
                  <a:pt x="963" y="49"/>
                </a:cubicBezTo>
                <a:cubicBezTo>
                  <a:pt x="963" y="50"/>
                  <a:pt x="963" y="50"/>
                  <a:pt x="963" y="50"/>
                </a:cubicBezTo>
                <a:cubicBezTo>
                  <a:pt x="962" y="50"/>
                  <a:pt x="962" y="50"/>
                  <a:pt x="962" y="50"/>
                </a:cubicBezTo>
                <a:cubicBezTo>
                  <a:pt x="962" y="53"/>
                  <a:pt x="962" y="53"/>
                  <a:pt x="962" y="53"/>
                </a:cubicBezTo>
                <a:cubicBezTo>
                  <a:pt x="963" y="54"/>
                  <a:pt x="963" y="54"/>
                  <a:pt x="963" y="54"/>
                </a:cubicBezTo>
                <a:cubicBezTo>
                  <a:pt x="965" y="54"/>
                  <a:pt x="965" y="54"/>
                  <a:pt x="965" y="54"/>
                </a:cubicBezTo>
                <a:cubicBezTo>
                  <a:pt x="966" y="55"/>
                  <a:pt x="966" y="55"/>
                  <a:pt x="966" y="55"/>
                </a:cubicBezTo>
                <a:cubicBezTo>
                  <a:pt x="967" y="54"/>
                  <a:pt x="967" y="54"/>
                  <a:pt x="967" y="54"/>
                </a:cubicBezTo>
                <a:cubicBezTo>
                  <a:pt x="967" y="55"/>
                  <a:pt x="967" y="55"/>
                  <a:pt x="967" y="55"/>
                </a:cubicBezTo>
                <a:cubicBezTo>
                  <a:pt x="966" y="55"/>
                  <a:pt x="966" y="55"/>
                  <a:pt x="966" y="55"/>
                </a:cubicBezTo>
                <a:cubicBezTo>
                  <a:pt x="965" y="55"/>
                  <a:pt x="965" y="55"/>
                  <a:pt x="965" y="55"/>
                </a:cubicBezTo>
                <a:cubicBezTo>
                  <a:pt x="963" y="55"/>
                  <a:pt x="963" y="55"/>
                  <a:pt x="963" y="55"/>
                </a:cubicBezTo>
                <a:cubicBezTo>
                  <a:pt x="962" y="54"/>
                  <a:pt x="962" y="54"/>
                  <a:pt x="962" y="54"/>
                </a:cubicBezTo>
                <a:cubicBezTo>
                  <a:pt x="961" y="55"/>
                  <a:pt x="961" y="55"/>
                  <a:pt x="961" y="55"/>
                </a:cubicBezTo>
                <a:cubicBezTo>
                  <a:pt x="959" y="57"/>
                  <a:pt x="959" y="57"/>
                  <a:pt x="959" y="57"/>
                </a:cubicBezTo>
                <a:cubicBezTo>
                  <a:pt x="959" y="58"/>
                  <a:pt x="959" y="58"/>
                  <a:pt x="959" y="58"/>
                </a:cubicBezTo>
                <a:cubicBezTo>
                  <a:pt x="960" y="59"/>
                  <a:pt x="960" y="59"/>
                  <a:pt x="960" y="59"/>
                </a:cubicBezTo>
                <a:cubicBezTo>
                  <a:pt x="959" y="60"/>
                  <a:pt x="959" y="60"/>
                  <a:pt x="959" y="60"/>
                </a:cubicBezTo>
                <a:cubicBezTo>
                  <a:pt x="959" y="61"/>
                  <a:pt x="959" y="61"/>
                  <a:pt x="959" y="61"/>
                </a:cubicBezTo>
                <a:cubicBezTo>
                  <a:pt x="960" y="61"/>
                  <a:pt x="960" y="61"/>
                  <a:pt x="960" y="61"/>
                </a:cubicBezTo>
                <a:cubicBezTo>
                  <a:pt x="962" y="61"/>
                  <a:pt x="962" y="61"/>
                  <a:pt x="962" y="61"/>
                </a:cubicBezTo>
                <a:cubicBezTo>
                  <a:pt x="963" y="60"/>
                  <a:pt x="963" y="60"/>
                  <a:pt x="963" y="60"/>
                </a:cubicBezTo>
                <a:cubicBezTo>
                  <a:pt x="964" y="60"/>
                  <a:pt x="964" y="60"/>
                  <a:pt x="964" y="60"/>
                </a:cubicBezTo>
                <a:cubicBezTo>
                  <a:pt x="963" y="61"/>
                  <a:pt x="963" y="61"/>
                  <a:pt x="963" y="61"/>
                </a:cubicBezTo>
                <a:cubicBezTo>
                  <a:pt x="962" y="61"/>
                  <a:pt x="962" y="61"/>
                  <a:pt x="962" y="61"/>
                </a:cubicBezTo>
                <a:cubicBezTo>
                  <a:pt x="962" y="63"/>
                  <a:pt x="962" y="63"/>
                  <a:pt x="962" y="63"/>
                </a:cubicBezTo>
                <a:cubicBezTo>
                  <a:pt x="963" y="63"/>
                  <a:pt x="963" y="63"/>
                  <a:pt x="963" y="63"/>
                </a:cubicBezTo>
                <a:cubicBezTo>
                  <a:pt x="964" y="62"/>
                  <a:pt x="964" y="62"/>
                  <a:pt x="964" y="62"/>
                </a:cubicBezTo>
                <a:cubicBezTo>
                  <a:pt x="965" y="62"/>
                  <a:pt x="965" y="62"/>
                  <a:pt x="965" y="62"/>
                </a:cubicBezTo>
                <a:cubicBezTo>
                  <a:pt x="966" y="61"/>
                  <a:pt x="966" y="61"/>
                  <a:pt x="966" y="61"/>
                </a:cubicBezTo>
                <a:cubicBezTo>
                  <a:pt x="966" y="62"/>
                  <a:pt x="966" y="62"/>
                  <a:pt x="966" y="62"/>
                </a:cubicBezTo>
                <a:cubicBezTo>
                  <a:pt x="965" y="63"/>
                  <a:pt x="965" y="63"/>
                  <a:pt x="965" y="63"/>
                </a:cubicBezTo>
                <a:cubicBezTo>
                  <a:pt x="966" y="63"/>
                  <a:pt x="966" y="63"/>
                  <a:pt x="966" y="63"/>
                </a:cubicBezTo>
                <a:cubicBezTo>
                  <a:pt x="968" y="63"/>
                  <a:pt x="968" y="63"/>
                  <a:pt x="968" y="63"/>
                </a:cubicBezTo>
                <a:cubicBezTo>
                  <a:pt x="968" y="64"/>
                  <a:pt x="968" y="64"/>
                  <a:pt x="968" y="64"/>
                </a:cubicBezTo>
                <a:cubicBezTo>
                  <a:pt x="967" y="64"/>
                  <a:pt x="967" y="64"/>
                  <a:pt x="967" y="64"/>
                </a:cubicBezTo>
                <a:cubicBezTo>
                  <a:pt x="967" y="65"/>
                  <a:pt x="967" y="65"/>
                  <a:pt x="967" y="65"/>
                </a:cubicBezTo>
                <a:cubicBezTo>
                  <a:pt x="968" y="65"/>
                  <a:pt x="968" y="65"/>
                  <a:pt x="968" y="65"/>
                </a:cubicBezTo>
                <a:cubicBezTo>
                  <a:pt x="970" y="65"/>
                  <a:pt x="970" y="65"/>
                  <a:pt x="970" y="65"/>
                </a:cubicBezTo>
                <a:cubicBezTo>
                  <a:pt x="971" y="66"/>
                  <a:pt x="971" y="66"/>
                  <a:pt x="971" y="66"/>
                </a:cubicBezTo>
                <a:cubicBezTo>
                  <a:pt x="974" y="67"/>
                  <a:pt x="974" y="67"/>
                  <a:pt x="974" y="67"/>
                </a:cubicBezTo>
                <a:cubicBezTo>
                  <a:pt x="972" y="67"/>
                  <a:pt x="972" y="67"/>
                  <a:pt x="972" y="67"/>
                </a:cubicBezTo>
                <a:cubicBezTo>
                  <a:pt x="971" y="67"/>
                  <a:pt x="971" y="67"/>
                  <a:pt x="971" y="67"/>
                </a:cubicBezTo>
                <a:cubicBezTo>
                  <a:pt x="969" y="66"/>
                  <a:pt x="969" y="66"/>
                  <a:pt x="969" y="66"/>
                </a:cubicBezTo>
                <a:cubicBezTo>
                  <a:pt x="967" y="67"/>
                  <a:pt x="967" y="67"/>
                  <a:pt x="967" y="67"/>
                </a:cubicBezTo>
                <a:cubicBezTo>
                  <a:pt x="969" y="68"/>
                  <a:pt x="969" y="68"/>
                  <a:pt x="969" y="68"/>
                </a:cubicBezTo>
                <a:cubicBezTo>
                  <a:pt x="971" y="68"/>
                  <a:pt x="971" y="68"/>
                  <a:pt x="971" y="68"/>
                </a:cubicBezTo>
                <a:cubicBezTo>
                  <a:pt x="974" y="68"/>
                  <a:pt x="974" y="68"/>
                  <a:pt x="974" y="68"/>
                </a:cubicBezTo>
                <a:cubicBezTo>
                  <a:pt x="975" y="69"/>
                  <a:pt x="975" y="69"/>
                  <a:pt x="975" y="69"/>
                </a:cubicBezTo>
                <a:cubicBezTo>
                  <a:pt x="972" y="70"/>
                  <a:pt x="972" y="70"/>
                  <a:pt x="972" y="70"/>
                </a:cubicBezTo>
                <a:cubicBezTo>
                  <a:pt x="971" y="69"/>
                  <a:pt x="971" y="69"/>
                  <a:pt x="971" y="69"/>
                </a:cubicBezTo>
                <a:cubicBezTo>
                  <a:pt x="969" y="69"/>
                  <a:pt x="969" y="69"/>
                  <a:pt x="969" y="69"/>
                </a:cubicBezTo>
                <a:cubicBezTo>
                  <a:pt x="967" y="69"/>
                  <a:pt x="967" y="69"/>
                  <a:pt x="967" y="69"/>
                </a:cubicBezTo>
                <a:cubicBezTo>
                  <a:pt x="966" y="68"/>
                  <a:pt x="966" y="68"/>
                  <a:pt x="966" y="68"/>
                </a:cubicBezTo>
                <a:cubicBezTo>
                  <a:pt x="965" y="67"/>
                  <a:pt x="965" y="67"/>
                  <a:pt x="965" y="67"/>
                </a:cubicBezTo>
                <a:cubicBezTo>
                  <a:pt x="963" y="66"/>
                  <a:pt x="963" y="66"/>
                  <a:pt x="963" y="66"/>
                </a:cubicBezTo>
                <a:cubicBezTo>
                  <a:pt x="962" y="67"/>
                  <a:pt x="962" y="67"/>
                  <a:pt x="962" y="67"/>
                </a:cubicBezTo>
                <a:cubicBezTo>
                  <a:pt x="960" y="67"/>
                  <a:pt x="960" y="67"/>
                  <a:pt x="960" y="67"/>
                </a:cubicBezTo>
                <a:cubicBezTo>
                  <a:pt x="959" y="68"/>
                  <a:pt x="959" y="68"/>
                  <a:pt x="959" y="68"/>
                </a:cubicBezTo>
                <a:cubicBezTo>
                  <a:pt x="959" y="70"/>
                  <a:pt x="959" y="70"/>
                  <a:pt x="959" y="70"/>
                </a:cubicBezTo>
                <a:cubicBezTo>
                  <a:pt x="960" y="72"/>
                  <a:pt x="960" y="72"/>
                  <a:pt x="960" y="72"/>
                </a:cubicBezTo>
                <a:cubicBezTo>
                  <a:pt x="960" y="73"/>
                  <a:pt x="960" y="73"/>
                  <a:pt x="960" y="73"/>
                </a:cubicBezTo>
                <a:cubicBezTo>
                  <a:pt x="960" y="74"/>
                  <a:pt x="960" y="74"/>
                  <a:pt x="960" y="74"/>
                </a:cubicBezTo>
                <a:cubicBezTo>
                  <a:pt x="959" y="72"/>
                  <a:pt x="959" y="72"/>
                  <a:pt x="959" y="72"/>
                </a:cubicBezTo>
                <a:cubicBezTo>
                  <a:pt x="958" y="72"/>
                  <a:pt x="958" y="72"/>
                  <a:pt x="958" y="72"/>
                </a:cubicBezTo>
                <a:cubicBezTo>
                  <a:pt x="957" y="74"/>
                  <a:pt x="957" y="74"/>
                  <a:pt x="957" y="74"/>
                </a:cubicBezTo>
                <a:cubicBezTo>
                  <a:pt x="957" y="76"/>
                  <a:pt x="957" y="76"/>
                  <a:pt x="957" y="76"/>
                </a:cubicBezTo>
                <a:cubicBezTo>
                  <a:pt x="958" y="76"/>
                  <a:pt x="958" y="76"/>
                  <a:pt x="958" y="76"/>
                </a:cubicBezTo>
                <a:cubicBezTo>
                  <a:pt x="959" y="76"/>
                  <a:pt x="959" y="76"/>
                  <a:pt x="959" y="76"/>
                </a:cubicBezTo>
                <a:cubicBezTo>
                  <a:pt x="960" y="76"/>
                  <a:pt x="960" y="76"/>
                  <a:pt x="960" y="76"/>
                </a:cubicBezTo>
                <a:cubicBezTo>
                  <a:pt x="960" y="77"/>
                  <a:pt x="960" y="77"/>
                  <a:pt x="960" y="77"/>
                </a:cubicBezTo>
                <a:cubicBezTo>
                  <a:pt x="961" y="77"/>
                  <a:pt x="961" y="77"/>
                  <a:pt x="961" y="77"/>
                </a:cubicBezTo>
                <a:cubicBezTo>
                  <a:pt x="960" y="78"/>
                  <a:pt x="960" y="78"/>
                  <a:pt x="960" y="78"/>
                </a:cubicBezTo>
                <a:cubicBezTo>
                  <a:pt x="959" y="77"/>
                  <a:pt x="959" y="77"/>
                  <a:pt x="959" y="77"/>
                </a:cubicBezTo>
                <a:cubicBezTo>
                  <a:pt x="957" y="77"/>
                  <a:pt x="957" y="77"/>
                  <a:pt x="957" y="77"/>
                </a:cubicBezTo>
                <a:cubicBezTo>
                  <a:pt x="957" y="79"/>
                  <a:pt x="957" y="79"/>
                  <a:pt x="957" y="79"/>
                </a:cubicBezTo>
                <a:cubicBezTo>
                  <a:pt x="957" y="80"/>
                  <a:pt x="957" y="80"/>
                  <a:pt x="957" y="80"/>
                </a:cubicBezTo>
                <a:cubicBezTo>
                  <a:pt x="958" y="80"/>
                  <a:pt x="958" y="80"/>
                  <a:pt x="958" y="80"/>
                </a:cubicBezTo>
                <a:cubicBezTo>
                  <a:pt x="958" y="81"/>
                  <a:pt x="958" y="81"/>
                  <a:pt x="958" y="81"/>
                </a:cubicBezTo>
                <a:close/>
                <a:moveTo>
                  <a:pt x="931" y="99"/>
                </a:moveTo>
                <a:cubicBezTo>
                  <a:pt x="930" y="99"/>
                  <a:pt x="930" y="99"/>
                  <a:pt x="930" y="99"/>
                </a:cubicBezTo>
                <a:cubicBezTo>
                  <a:pt x="929" y="98"/>
                  <a:pt x="929" y="98"/>
                  <a:pt x="929" y="98"/>
                </a:cubicBezTo>
                <a:cubicBezTo>
                  <a:pt x="928" y="99"/>
                  <a:pt x="928" y="99"/>
                  <a:pt x="928" y="99"/>
                </a:cubicBezTo>
                <a:cubicBezTo>
                  <a:pt x="926" y="99"/>
                  <a:pt x="926" y="99"/>
                  <a:pt x="926" y="99"/>
                </a:cubicBezTo>
                <a:cubicBezTo>
                  <a:pt x="925" y="100"/>
                  <a:pt x="925" y="100"/>
                  <a:pt x="925" y="100"/>
                </a:cubicBezTo>
                <a:cubicBezTo>
                  <a:pt x="924" y="101"/>
                  <a:pt x="924" y="101"/>
                  <a:pt x="924" y="101"/>
                </a:cubicBezTo>
                <a:cubicBezTo>
                  <a:pt x="925" y="102"/>
                  <a:pt x="925" y="102"/>
                  <a:pt x="925" y="102"/>
                </a:cubicBezTo>
                <a:cubicBezTo>
                  <a:pt x="926" y="103"/>
                  <a:pt x="926" y="103"/>
                  <a:pt x="926" y="103"/>
                </a:cubicBezTo>
                <a:cubicBezTo>
                  <a:pt x="925" y="103"/>
                  <a:pt x="925" y="103"/>
                  <a:pt x="925" y="103"/>
                </a:cubicBezTo>
                <a:cubicBezTo>
                  <a:pt x="924" y="101"/>
                  <a:pt x="924" y="101"/>
                  <a:pt x="924" y="101"/>
                </a:cubicBezTo>
                <a:cubicBezTo>
                  <a:pt x="923" y="102"/>
                  <a:pt x="923" y="102"/>
                  <a:pt x="923" y="102"/>
                </a:cubicBezTo>
                <a:cubicBezTo>
                  <a:pt x="924" y="103"/>
                  <a:pt x="924" y="103"/>
                  <a:pt x="924" y="103"/>
                </a:cubicBezTo>
                <a:cubicBezTo>
                  <a:pt x="925" y="104"/>
                  <a:pt x="925" y="104"/>
                  <a:pt x="925" y="104"/>
                </a:cubicBezTo>
                <a:cubicBezTo>
                  <a:pt x="926" y="106"/>
                  <a:pt x="926" y="106"/>
                  <a:pt x="926" y="106"/>
                </a:cubicBezTo>
                <a:cubicBezTo>
                  <a:pt x="927" y="106"/>
                  <a:pt x="927" y="106"/>
                  <a:pt x="927" y="106"/>
                </a:cubicBezTo>
                <a:cubicBezTo>
                  <a:pt x="927" y="107"/>
                  <a:pt x="927" y="107"/>
                  <a:pt x="927" y="107"/>
                </a:cubicBezTo>
                <a:cubicBezTo>
                  <a:pt x="925" y="107"/>
                  <a:pt x="925" y="107"/>
                  <a:pt x="925" y="107"/>
                </a:cubicBezTo>
                <a:cubicBezTo>
                  <a:pt x="925" y="108"/>
                  <a:pt x="925" y="108"/>
                  <a:pt x="925" y="108"/>
                </a:cubicBezTo>
                <a:cubicBezTo>
                  <a:pt x="927" y="110"/>
                  <a:pt x="927" y="110"/>
                  <a:pt x="927" y="110"/>
                </a:cubicBezTo>
                <a:cubicBezTo>
                  <a:pt x="928" y="110"/>
                  <a:pt x="928" y="110"/>
                  <a:pt x="928" y="110"/>
                </a:cubicBezTo>
                <a:cubicBezTo>
                  <a:pt x="928" y="111"/>
                  <a:pt x="928" y="111"/>
                  <a:pt x="928" y="111"/>
                </a:cubicBezTo>
                <a:cubicBezTo>
                  <a:pt x="926" y="111"/>
                  <a:pt x="926" y="111"/>
                  <a:pt x="926" y="111"/>
                </a:cubicBezTo>
                <a:cubicBezTo>
                  <a:pt x="925" y="112"/>
                  <a:pt x="925" y="112"/>
                  <a:pt x="925" y="112"/>
                </a:cubicBezTo>
                <a:cubicBezTo>
                  <a:pt x="925" y="113"/>
                  <a:pt x="925" y="113"/>
                  <a:pt x="925" y="113"/>
                </a:cubicBezTo>
                <a:cubicBezTo>
                  <a:pt x="926" y="112"/>
                  <a:pt x="926" y="112"/>
                  <a:pt x="926" y="112"/>
                </a:cubicBezTo>
                <a:cubicBezTo>
                  <a:pt x="927" y="113"/>
                  <a:pt x="927" y="113"/>
                  <a:pt x="927" y="113"/>
                </a:cubicBezTo>
                <a:cubicBezTo>
                  <a:pt x="929" y="112"/>
                  <a:pt x="929" y="112"/>
                  <a:pt x="929" y="112"/>
                </a:cubicBezTo>
                <a:cubicBezTo>
                  <a:pt x="929" y="113"/>
                  <a:pt x="929" y="113"/>
                  <a:pt x="929" y="113"/>
                </a:cubicBezTo>
                <a:cubicBezTo>
                  <a:pt x="931" y="113"/>
                  <a:pt x="931" y="113"/>
                  <a:pt x="931" y="113"/>
                </a:cubicBezTo>
                <a:cubicBezTo>
                  <a:pt x="931" y="114"/>
                  <a:pt x="931" y="114"/>
                  <a:pt x="931" y="114"/>
                </a:cubicBezTo>
                <a:cubicBezTo>
                  <a:pt x="932" y="115"/>
                  <a:pt x="932" y="115"/>
                  <a:pt x="932" y="115"/>
                </a:cubicBezTo>
                <a:cubicBezTo>
                  <a:pt x="933" y="115"/>
                  <a:pt x="933" y="115"/>
                  <a:pt x="933" y="115"/>
                </a:cubicBezTo>
                <a:cubicBezTo>
                  <a:pt x="933" y="114"/>
                  <a:pt x="933" y="114"/>
                  <a:pt x="933" y="114"/>
                </a:cubicBezTo>
                <a:cubicBezTo>
                  <a:pt x="934" y="115"/>
                  <a:pt x="934" y="115"/>
                  <a:pt x="934" y="115"/>
                </a:cubicBezTo>
                <a:cubicBezTo>
                  <a:pt x="935" y="114"/>
                  <a:pt x="935" y="114"/>
                  <a:pt x="935" y="114"/>
                </a:cubicBezTo>
                <a:cubicBezTo>
                  <a:pt x="936" y="114"/>
                  <a:pt x="936" y="114"/>
                  <a:pt x="936" y="114"/>
                </a:cubicBezTo>
                <a:cubicBezTo>
                  <a:pt x="936" y="115"/>
                  <a:pt x="936" y="115"/>
                  <a:pt x="936" y="115"/>
                </a:cubicBezTo>
                <a:cubicBezTo>
                  <a:pt x="935" y="116"/>
                  <a:pt x="935" y="116"/>
                  <a:pt x="935" y="116"/>
                </a:cubicBezTo>
                <a:cubicBezTo>
                  <a:pt x="935" y="119"/>
                  <a:pt x="935" y="119"/>
                  <a:pt x="935" y="119"/>
                </a:cubicBezTo>
                <a:cubicBezTo>
                  <a:pt x="935" y="120"/>
                  <a:pt x="935" y="120"/>
                  <a:pt x="935" y="120"/>
                </a:cubicBezTo>
                <a:cubicBezTo>
                  <a:pt x="935" y="121"/>
                  <a:pt x="935" y="121"/>
                  <a:pt x="935" y="121"/>
                </a:cubicBezTo>
                <a:cubicBezTo>
                  <a:pt x="936" y="122"/>
                  <a:pt x="936" y="122"/>
                  <a:pt x="936" y="122"/>
                </a:cubicBezTo>
                <a:cubicBezTo>
                  <a:pt x="935" y="124"/>
                  <a:pt x="935" y="124"/>
                  <a:pt x="935" y="124"/>
                </a:cubicBezTo>
                <a:cubicBezTo>
                  <a:pt x="935" y="125"/>
                  <a:pt x="935" y="125"/>
                  <a:pt x="935" y="125"/>
                </a:cubicBezTo>
                <a:cubicBezTo>
                  <a:pt x="935" y="126"/>
                  <a:pt x="935" y="126"/>
                  <a:pt x="935" y="126"/>
                </a:cubicBezTo>
                <a:cubicBezTo>
                  <a:pt x="933" y="127"/>
                  <a:pt x="933" y="127"/>
                  <a:pt x="933" y="127"/>
                </a:cubicBezTo>
                <a:cubicBezTo>
                  <a:pt x="932" y="128"/>
                  <a:pt x="932" y="128"/>
                  <a:pt x="932" y="128"/>
                </a:cubicBezTo>
                <a:cubicBezTo>
                  <a:pt x="931" y="129"/>
                  <a:pt x="931" y="129"/>
                  <a:pt x="931" y="129"/>
                </a:cubicBezTo>
                <a:cubicBezTo>
                  <a:pt x="930" y="130"/>
                  <a:pt x="930" y="130"/>
                  <a:pt x="930" y="130"/>
                </a:cubicBezTo>
                <a:cubicBezTo>
                  <a:pt x="930" y="131"/>
                  <a:pt x="930" y="131"/>
                  <a:pt x="930" y="131"/>
                </a:cubicBezTo>
                <a:cubicBezTo>
                  <a:pt x="929" y="132"/>
                  <a:pt x="929" y="132"/>
                  <a:pt x="929" y="132"/>
                </a:cubicBezTo>
                <a:cubicBezTo>
                  <a:pt x="928" y="133"/>
                  <a:pt x="928" y="133"/>
                  <a:pt x="928" y="133"/>
                </a:cubicBezTo>
                <a:cubicBezTo>
                  <a:pt x="928" y="134"/>
                  <a:pt x="928" y="134"/>
                  <a:pt x="928" y="134"/>
                </a:cubicBezTo>
                <a:cubicBezTo>
                  <a:pt x="929" y="135"/>
                  <a:pt x="929" y="135"/>
                  <a:pt x="929" y="135"/>
                </a:cubicBezTo>
                <a:cubicBezTo>
                  <a:pt x="929" y="136"/>
                  <a:pt x="929" y="136"/>
                  <a:pt x="929" y="136"/>
                </a:cubicBezTo>
                <a:cubicBezTo>
                  <a:pt x="928" y="136"/>
                  <a:pt x="928" y="136"/>
                  <a:pt x="928" y="136"/>
                </a:cubicBezTo>
                <a:cubicBezTo>
                  <a:pt x="928" y="137"/>
                  <a:pt x="928" y="137"/>
                  <a:pt x="928" y="137"/>
                </a:cubicBezTo>
                <a:cubicBezTo>
                  <a:pt x="929" y="138"/>
                  <a:pt x="929" y="138"/>
                  <a:pt x="929" y="138"/>
                </a:cubicBezTo>
                <a:cubicBezTo>
                  <a:pt x="928" y="139"/>
                  <a:pt x="928" y="139"/>
                  <a:pt x="928" y="139"/>
                </a:cubicBezTo>
                <a:cubicBezTo>
                  <a:pt x="927" y="140"/>
                  <a:pt x="927" y="140"/>
                  <a:pt x="927" y="140"/>
                </a:cubicBezTo>
                <a:cubicBezTo>
                  <a:pt x="928" y="141"/>
                  <a:pt x="928" y="141"/>
                  <a:pt x="928" y="141"/>
                </a:cubicBezTo>
                <a:cubicBezTo>
                  <a:pt x="929" y="141"/>
                  <a:pt x="929" y="141"/>
                  <a:pt x="929" y="141"/>
                </a:cubicBezTo>
                <a:cubicBezTo>
                  <a:pt x="929" y="142"/>
                  <a:pt x="929" y="142"/>
                  <a:pt x="929" y="142"/>
                </a:cubicBezTo>
                <a:cubicBezTo>
                  <a:pt x="930" y="143"/>
                  <a:pt x="930" y="143"/>
                  <a:pt x="930" y="143"/>
                </a:cubicBezTo>
                <a:cubicBezTo>
                  <a:pt x="930" y="142"/>
                  <a:pt x="930" y="142"/>
                  <a:pt x="930" y="142"/>
                </a:cubicBezTo>
                <a:cubicBezTo>
                  <a:pt x="931" y="141"/>
                  <a:pt x="931" y="141"/>
                  <a:pt x="931" y="141"/>
                </a:cubicBezTo>
                <a:cubicBezTo>
                  <a:pt x="931" y="142"/>
                  <a:pt x="931" y="142"/>
                  <a:pt x="931" y="142"/>
                </a:cubicBezTo>
                <a:cubicBezTo>
                  <a:pt x="932" y="142"/>
                  <a:pt x="932" y="142"/>
                  <a:pt x="932" y="142"/>
                </a:cubicBezTo>
                <a:cubicBezTo>
                  <a:pt x="933" y="140"/>
                  <a:pt x="933" y="140"/>
                  <a:pt x="933" y="140"/>
                </a:cubicBezTo>
                <a:cubicBezTo>
                  <a:pt x="934" y="141"/>
                  <a:pt x="934" y="141"/>
                  <a:pt x="934" y="141"/>
                </a:cubicBezTo>
                <a:cubicBezTo>
                  <a:pt x="933" y="142"/>
                  <a:pt x="933" y="142"/>
                  <a:pt x="933" y="142"/>
                </a:cubicBezTo>
                <a:cubicBezTo>
                  <a:pt x="932" y="142"/>
                  <a:pt x="932" y="142"/>
                  <a:pt x="932" y="142"/>
                </a:cubicBezTo>
                <a:cubicBezTo>
                  <a:pt x="932" y="143"/>
                  <a:pt x="932" y="143"/>
                  <a:pt x="932" y="143"/>
                </a:cubicBezTo>
                <a:cubicBezTo>
                  <a:pt x="932" y="144"/>
                  <a:pt x="932" y="144"/>
                  <a:pt x="932" y="144"/>
                </a:cubicBezTo>
                <a:cubicBezTo>
                  <a:pt x="933" y="146"/>
                  <a:pt x="933" y="146"/>
                  <a:pt x="933" y="146"/>
                </a:cubicBezTo>
                <a:cubicBezTo>
                  <a:pt x="935" y="145"/>
                  <a:pt x="935" y="145"/>
                  <a:pt x="935" y="145"/>
                </a:cubicBezTo>
                <a:cubicBezTo>
                  <a:pt x="935" y="146"/>
                  <a:pt x="935" y="146"/>
                  <a:pt x="935" y="146"/>
                </a:cubicBezTo>
                <a:cubicBezTo>
                  <a:pt x="936" y="146"/>
                  <a:pt x="936" y="146"/>
                  <a:pt x="936" y="146"/>
                </a:cubicBezTo>
                <a:cubicBezTo>
                  <a:pt x="937" y="145"/>
                  <a:pt x="937" y="145"/>
                  <a:pt x="937" y="145"/>
                </a:cubicBezTo>
                <a:cubicBezTo>
                  <a:pt x="939" y="145"/>
                  <a:pt x="939" y="145"/>
                  <a:pt x="939" y="145"/>
                </a:cubicBezTo>
                <a:cubicBezTo>
                  <a:pt x="938" y="143"/>
                  <a:pt x="938" y="143"/>
                  <a:pt x="938" y="143"/>
                </a:cubicBezTo>
                <a:cubicBezTo>
                  <a:pt x="939" y="143"/>
                  <a:pt x="939" y="143"/>
                  <a:pt x="939" y="143"/>
                </a:cubicBezTo>
                <a:cubicBezTo>
                  <a:pt x="940" y="143"/>
                  <a:pt x="940" y="143"/>
                  <a:pt x="940" y="143"/>
                </a:cubicBezTo>
                <a:cubicBezTo>
                  <a:pt x="940" y="144"/>
                  <a:pt x="940" y="144"/>
                  <a:pt x="940" y="144"/>
                </a:cubicBezTo>
                <a:cubicBezTo>
                  <a:pt x="940" y="145"/>
                  <a:pt x="940" y="145"/>
                  <a:pt x="940" y="145"/>
                </a:cubicBezTo>
                <a:cubicBezTo>
                  <a:pt x="941" y="143"/>
                  <a:pt x="941" y="143"/>
                  <a:pt x="941" y="143"/>
                </a:cubicBezTo>
                <a:cubicBezTo>
                  <a:pt x="942" y="143"/>
                  <a:pt x="942" y="143"/>
                  <a:pt x="942" y="143"/>
                </a:cubicBezTo>
                <a:cubicBezTo>
                  <a:pt x="942" y="145"/>
                  <a:pt x="942" y="145"/>
                  <a:pt x="942" y="145"/>
                </a:cubicBezTo>
                <a:cubicBezTo>
                  <a:pt x="940" y="147"/>
                  <a:pt x="940" y="147"/>
                  <a:pt x="940" y="147"/>
                </a:cubicBezTo>
                <a:cubicBezTo>
                  <a:pt x="940" y="148"/>
                  <a:pt x="940" y="148"/>
                  <a:pt x="940" y="148"/>
                </a:cubicBezTo>
                <a:cubicBezTo>
                  <a:pt x="941" y="149"/>
                  <a:pt x="941" y="149"/>
                  <a:pt x="941" y="149"/>
                </a:cubicBezTo>
                <a:cubicBezTo>
                  <a:pt x="942" y="150"/>
                  <a:pt x="942" y="150"/>
                  <a:pt x="942" y="150"/>
                </a:cubicBezTo>
                <a:cubicBezTo>
                  <a:pt x="943" y="150"/>
                  <a:pt x="943" y="150"/>
                  <a:pt x="943" y="150"/>
                </a:cubicBezTo>
                <a:cubicBezTo>
                  <a:pt x="945" y="150"/>
                  <a:pt x="945" y="150"/>
                  <a:pt x="945" y="150"/>
                </a:cubicBezTo>
                <a:cubicBezTo>
                  <a:pt x="945" y="149"/>
                  <a:pt x="945" y="149"/>
                  <a:pt x="945" y="149"/>
                </a:cubicBezTo>
                <a:cubicBezTo>
                  <a:pt x="946" y="149"/>
                  <a:pt x="946" y="149"/>
                  <a:pt x="946" y="149"/>
                </a:cubicBezTo>
                <a:cubicBezTo>
                  <a:pt x="946" y="150"/>
                  <a:pt x="946" y="150"/>
                  <a:pt x="946" y="150"/>
                </a:cubicBezTo>
                <a:cubicBezTo>
                  <a:pt x="946" y="151"/>
                  <a:pt x="946" y="151"/>
                  <a:pt x="946" y="151"/>
                </a:cubicBezTo>
                <a:cubicBezTo>
                  <a:pt x="947" y="151"/>
                  <a:pt x="947" y="151"/>
                  <a:pt x="947" y="151"/>
                </a:cubicBezTo>
                <a:cubicBezTo>
                  <a:pt x="948" y="151"/>
                  <a:pt x="948" y="151"/>
                  <a:pt x="948" y="151"/>
                </a:cubicBezTo>
                <a:cubicBezTo>
                  <a:pt x="949" y="151"/>
                  <a:pt x="949" y="151"/>
                  <a:pt x="949" y="151"/>
                </a:cubicBezTo>
                <a:cubicBezTo>
                  <a:pt x="948" y="150"/>
                  <a:pt x="948" y="150"/>
                  <a:pt x="948" y="150"/>
                </a:cubicBezTo>
                <a:cubicBezTo>
                  <a:pt x="948" y="149"/>
                  <a:pt x="948" y="149"/>
                  <a:pt x="948" y="149"/>
                </a:cubicBezTo>
                <a:cubicBezTo>
                  <a:pt x="949" y="148"/>
                  <a:pt x="949" y="148"/>
                  <a:pt x="949" y="148"/>
                </a:cubicBezTo>
                <a:cubicBezTo>
                  <a:pt x="949" y="149"/>
                  <a:pt x="949" y="149"/>
                  <a:pt x="949" y="149"/>
                </a:cubicBezTo>
                <a:cubicBezTo>
                  <a:pt x="949" y="150"/>
                  <a:pt x="949" y="150"/>
                  <a:pt x="949" y="150"/>
                </a:cubicBezTo>
                <a:cubicBezTo>
                  <a:pt x="949" y="151"/>
                  <a:pt x="949" y="151"/>
                  <a:pt x="949" y="151"/>
                </a:cubicBezTo>
                <a:cubicBezTo>
                  <a:pt x="950" y="151"/>
                  <a:pt x="950" y="151"/>
                  <a:pt x="950" y="151"/>
                </a:cubicBezTo>
                <a:cubicBezTo>
                  <a:pt x="950" y="150"/>
                  <a:pt x="950" y="150"/>
                  <a:pt x="950" y="150"/>
                </a:cubicBezTo>
                <a:cubicBezTo>
                  <a:pt x="951" y="150"/>
                  <a:pt x="951" y="150"/>
                  <a:pt x="951" y="150"/>
                </a:cubicBezTo>
                <a:cubicBezTo>
                  <a:pt x="952" y="149"/>
                  <a:pt x="952" y="149"/>
                  <a:pt x="952" y="149"/>
                </a:cubicBezTo>
                <a:cubicBezTo>
                  <a:pt x="952" y="150"/>
                  <a:pt x="952" y="150"/>
                  <a:pt x="952" y="150"/>
                </a:cubicBezTo>
                <a:cubicBezTo>
                  <a:pt x="951" y="151"/>
                  <a:pt x="951" y="151"/>
                  <a:pt x="951" y="151"/>
                </a:cubicBezTo>
                <a:cubicBezTo>
                  <a:pt x="951" y="152"/>
                  <a:pt x="951" y="152"/>
                  <a:pt x="951" y="152"/>
                </a:cubicBezTo>
                <a:cubicBezTo>
                  <a:pt x="953" y="152"/>
                  <a:pt x="953" y="152"/>
                  <a:pt x="953" y="152"/>
                </a:cubicBezTo>
                <a:cubicBezTo>
                  <a:pt x="954" y="151"/>
                  <a:pt x="954" y="151"/>
                  <a:pt x="954" y="151"/>
                </a:cubicBezTo>
                <a:cubicBezTo>
                  <a:pt x="955" y="149"/>
                  <a:pt x="955" y="149"/>
                  <a:pt x="955" y="149"/>
                </a:cubicBezTo>
                <a:cubicBezTo>
                  <a:pt x="955" y="150"/>
                  <a:pt x="955" y="150"/>
                  <a:pt x="955" y="150"/>
                </a:cubicBezTo>
                <a:cubicBezTo>
                  <a:pt x="954" y="151"/>
                  <a:pt x="954" y="151"/>
                  <a:pt x="954" y="151"/>
                </a:cubicBezTo>
                <a:cubicBezTo>
                  <a:pt x="954" y="152"/>
                  <a:pt x="954" y="152"/>
                  <a:pt x="954" y="152"/>
                </a:cubicBezTo>
                <a:cubicBezTo>
                  <a:pt x="956" y="151"/>
                  <a:pt x="956" y="151"/>
                  <a:pt x="956" y="151"/>
                </a:cubicBezTo>
                <a:cubicBezTo>
                  <a:pt x="956" y="150"/>
                  <a:pt x="956" y="150"/>
                  <a:pt x="956" y="150"/>
                </a:cubicBezTo>
                <a:cubicBezTo>
                  <a:pt x="957" y="149"/>
                  <a:pt x="957" y="149"/>
                  <a:pt x="957" y="149"/>
                </a:cubicBezTo>
                <a:cubicBezTo>
                  <a:pt x="956" y="152"/>
                  <a:pt x="956" y="152"/>
                  <a:pt x="956" y="152"/>
                </a:cubicBezTo>
                <a:cubicBezTo>
                  <a:pt x="957" y="152"/>
                  <a:pt x="957" y="152"/>
                  <a:pt x="957" y="152"/>
                </a:cubicBezTo>
                <a:cubicBezTo>
                  <a:pt x="958" y="153"/>
                  <a:pt x="958" y="153"/>
                  <a:pt x="958" y="153"/>
                </a:cubicBezTo>
                <a:cubicBezTo>
                  <a:pt x="960" y="154"/>
                  <a:pt x="960" y="154"/>
                  <a:pt x="960" y="154"/>
                </a:cubicBezTo>
                <a:cubicBezTo>
                  <a:pt x="961" y="153"/>
                  <a:pt x="961" y="153"/>
                  <a:pt x="961" y="153"/>
                </a:cubicBezTo>
                <a:cubicBezTo>
                  <a:pt x="962" y="154"/>
                  <a:pt x="962" y="154"/>
                  <a:pt x="962" y="154"/>
                </a:cubicBezTo>
                <a:cubicBezTo>
                  <a:pt x="963" y="153"/>
                  <a:pt x="963" y="153"/>
                  <a:pt x="963" y="153"/>
                </a:cubicBezTo>
                <a:cubicBezTo>
                  <a:pt x="964" y="153"/>
                  <a:pt x="964" y="153"/>
                  <a:pt x="964" y="153"/>
                </a:cubicBezTo>
                <a:cubicBezTo>
                  <a:pt x="964" y="151"/>
                  <a:pt x="964" y="151"/>
                  <a:pt x="964" y="151"/>
                </a:cubicBezTo>
                <a:cubicBezTo>
                  <a:pt x="965" y="150"/>
                  <a:pt x="965" y="150"/>
                  <a:pt x="965" y="150"/>
                </a:cubicBezTo>
                <a:cubicBezTo>
                  <a:pt x="966" y="149"/>
                  <a:pt x="966" y="149"/>
                  <a:pt x="966" y="149"/>
                </a:cubicBezTo>
                <a:cubicBezTo>
                  <a:pt x="965" y="148"/>
                  <a:pt x="965" y="148"/>
                  <a:pt x="965" y="148"/>
                </a:cubicBezTo>
                <a:cubicBezTo>
                  <a:pt x="966" y="147"/>
                  <a:pt x="966" y="147"/>
                  <a:pt x="966" y="147"/>
                </a:cubicBezTo>
                <a:cubicBezTo>
                  <a:pt x="966" y="149"/>
                  <a:pt x="966" y="149"/>
                  <a:pt x="966" y="149"/>
                </a:cubicBezTo>
                <a:cubicBezTo>
                  <a:pt x="967" y="149"/>
                  <a:pt x="967" y="149"/>
                  <a:pt x="967" y="149"/>
                </a:cubicBezTo>
                <a:cubicBezTo>
                  <a:pt x="967" y="150"/>
                  <a:pt x="967" y="150"/>
                  <a:pt x="967" y="150"/>
                </a:cubicBezTo>
                <a:cubicBezTo>
                  <a:pt x="966" y="150"/>
                  <a:pt x="966" y="150"/>
                  <a:pt x="966" y="150"/>
                </a:cubicBezTo>
                <a:cubicBezTo>
                  <a:pt x="965" y="152"/>
                  <a:pt x="965" y="152"/>
                  <a:pt x="965" y="152"/>
                </a:cubicBezTo>
                <a:cubicBezTo>
                  <a:pt x="966" y="155"/>
                  <a:pt x="966" y="155"/>
                  <a:pt x="966" y="155"/>
                </a:cubicBezTo>
                <a:cubicBezTo>
                  <a:pt x="967" y="155"/>
                  <a:pt x="967" y="155"/>
                  <a:pt x="967" y="155"/>
                </a:cubicBezTo>
                <a:cubicBezTo>
                  <a:pt x="968" y="155"/>
                  <a:pt x="968" y="155"/>
                  <a:pt x="968" y="155"/>
                </a:cubicBezTo>
                <a:cubicBezTo>
                  <a:pt x="968" y="156"/>
                  <a:pt x="968" y="156"/>
                  <a:pt x="968" y="156"/>
                </a:cubicBezTo>
                <a:cubicBezTo>
                  <a:pt x="970" y="156"/>
                  <a:pt x="970" y="156"/>
                  <a:pt x="970" y="156"/>
                </a:cubicBezTo>
                <a:cubicBezTo>
                  <a:pt x="971" y="156"/>
                  <a:pt x="971" y="156"/>
                  <a:pt x="971" y="156"/>
                </a:cubicBezTo>
                <a:cubicBezTo>
                  <a:pt x="973" y="155"/>
                  <a:pt x="973" y="155"/>
                  <a:pt x="973" y="155"/>
                </a:cubicBezTo>
                <a:cubicBezTo>
                  <a:pt x="974" y="155"/>
                  <a:pt x="974" y="155"/>
                  <a:pt x="974" y="155"/>
                </a:cubicBezTo>
                <a:cubicBezTo>
                  <a:pt x="976" y="156"/>
                  <a:pt x="976" y="156"/>
                  <a:pt x="976" y="156"/>
                </a:cubicBezTo>
                <a:cubicBezTo>
                  <a:pt x="977" y="156"/>
                  <a:pt x="977" y="156"/>
                  <a:pt x="977" y="156"/>
                </a:cubicBezTo>
                <a:cubicBezTo>
                  <a:pt x="978" y="156"/>
                  <a:pt x="978" y="156"/>
                  <a:pt x="978" y="156"/>
                </a:cubicBezTo>
                <a:cubicBezTo>
                  <a:pt x="979" y="155"/>
                  <a:pt x="979" y="155"/>
                  <a:pt x="979" y="155"/>
                </a:cubicBezTo>
                <a:cubicBezTo>
                  <a:pt x="979" y="153"/>
                  <a:pt x="979" y="153"/>
                  <a:pt x="979" y="153"/>
                </a:cubicBezTo>
                <a:cubicBezTo>
                  <a:pt x="980" y="153"/>
                  <a:pt x="980" y="153"/>
                  <a:pt x="980" y="153"/>
                </a:cubicBezTo>
                <a:cubicBezTo>
                  <a:pt x="980" y="152"/>
                  <a:pt x="980" y="152"/>
                  <a:pt x="980" y="152"/>
                </a:cubicBezTo>
                <a:cubicBezTo>
                  <a:pt x="980" y="151"/>
                  <a:pt x="980" y="151"/>
                  <a:pt x="980" y="151"/>
                </a:cubicBezTo>
                <a:cubicBezTo>
                  <a:pt x="981" y="153"/>
                  <a:pt x="981" y="153"/>
                  <a:pt x="981" y="153"/>
                </a:cubicBezTo>
                <a:cubicBezTo>
                  <a:pt x="982" y="152"/>
                  <a:pt x="982" y="152"/>
                  <a:pt x="982" y="152"/>
                </a:cubicBezTo>
                <a:cubicBezTo>
                  <a:pt x="983" y="152"/>
                  <a:pt x="983" y="152"/>
                  <a:pt x="983" y="152"/>
                </a:cubicBezTo>
                <a:cubicBezTo>
                  <a:pt x="984" y="152"/>
                  <a:pt x="984" y="152"/>
                  <a:pt x="984" y="152"/>
                </a:cubicBezTo>
                <a:cubicBezTo>
                  <a:pt x="984" y="151"/>
                  <a:pt x="984" y="151"/>
                  <a:pt x="984" y="151"/>
                </a:cubicBezTo>
                <a:cubicBezTo>
                  <a:pt x="984" y="150"/>
                  <a:pt x="984" y="150"/>
                  <a:pt x="984" y="150"/>
                </a:cubicBezTo>
                <a:cubicBezTo>
                  <a:pt x="984" y="149"/>
                  <a:pt x="984" y="149"/>
                  <a:pt x="984" y="149"/>
                </a:cubicBezTo>
                <a:cubicBezTo>
                  <a:pt x="983" y="149"/>
                  <a:pt x="983" y="149"/>
                  <a:pt x="983" y="149"/>
                </a:cubicBezTo>
                <a:cubicBezTo>
                  <a:pt x="982" y="149"/>
                  <a:pt x="982" y="149"/>
                  <a:pt x="982" y="149"/>
                </a:cubicBezTo>
                <a:cubicBezTo>
                  <a:pt x="981" y="149"/>
                  <a:pt x="981" y="149"/>
                  <a:pt x="981" y="149"/>
                </a:cubicBezTo>
                <a:cubicBezTo>
                  <a:pt x="980" y="148"/>
                  <a:pt x="980" y="148"/>
                  <a:pt x="980" y="148"/>
                </a:cubicBezTo>
                <a:cubicBezTo>
                  <a:pt x="981" y="148"/>
                  <a:pt x="981" y="148"/>
                  <a:pt x="981" y="148"/>
                </a:cubicBezTo>
                <a:cubicBezTo>
                  <a:pt x="982" y="148"/>
                  <a:pt x="982" y="148"/>
                  <a:pt x="982" y="148"/>
                </a:cubicBezTo>
                <a:cubicBezTo>
                  <a:pt x="983" y="148"/>
                  <a:pt x="983" y="148"/>
                  <a:pt x="983" y="148"/>
                </a:cubicBezTo>
                <a:cubicBezTo>
                  <a:pt x="984" y="147"/>
                  <a:pt x="984" y="147"/>
                  <a:pt x="984" y="147"/>
                </a:cubicBezTo>
                <a:cubicBezTo>
                  <a:pt x="985" y="147"/>
                  <a:pt x="985" y="147"/>
                  <a:pt x="985" y="147"/>
                </a:cubicBezTo>
                <a:cubicBezTo>
                  <a:pt x="986" y="146"/>
                  <a:pt x="986" y="146"/>
                  <a:pt x="986" y="146"/>
                </a:cubicBezTo>
                <a:cubicBezTo>
                  <a:pt x="986" y="145"/>
                  <a:pt x="986" y="145"/>
                  <a:pt x="986" y="145"/>
                </a:cubicBezTo>
                <a:cubicBezTo>
                  <a:pt x="986" y="144"/>
                  <a:pt x="986" y="144"/>
                  <a:pt x="986" y="144"/>
                </a:cubicBezTo>
                <a:cubicBezTo>
                  <a:pt x="986" y="143"/>
                  <a:pt x="986" y="143"/>
                  <a:pt x="986" y="143"/>
                </a:cubicBezTo>
                <a:cubicBezTo>
                  <a:pt x="987" y="143"/>
                  <a:pt x="987" y="143"/>
                  <a:pt x="987" y="143"/>
                </a:cubicBezTo>
                <a:cubicBezTo>
                  <a:pt x="987" y="142"/>
                  <a:pt x="987" y="142"/>
                  <a:pt x="987" y="142"/>
                </a:cubicBezTo>
                <a:cubicBezTo>
                  <a:pt x="985" y="142"/>
                  <a:pt x="985" y="142"/>
                  <a:pt x="985" y="142"/>
                </a:cubicBezTo>
                <a:cubicBezTo>
                  <a:pt x="984" y="142"/>
                  <a:pt x="984" y="142"/>
                  <a:pt x="984" y="142"/>
                </a:cubicBezTo>
                <a:cubicBezTo>
                  <a:pt x="985" y="141"/>
                  <a:pt x="985" y="141"/>
                  <a:pt x="985" y="141"/>
                </a:cubicBezTo>
                <a:cubicBezTo>
                  <a:pt x="985" y="140"/>
                  <a:pt x="985" y="140"/>
                  <a:pt x="985" y="140"/>
                </a:cubicBezTo>
                <a:cubicBezTo>
                  <a:pt x="984" y="139"/>
                  <a:pt x="984" y="139"/>
                  <a:pt x="984" y="139"/>
                </a:cubicBezTo>
                <a:cubicBezTo>
                  <a:pt x="982" y="139"/>
                  <a:pt x="982" y="139"/>
                  <a:pt x="982" y="139"/>
                </a:cubicBezTo>
                <a:cubicBezTo>
                  <a:pt x="981" y="138"/>
                  <a:pt x="981" y="138"/>
                  <a:pt x="981" y="138"/>
                </a:cubicBezTo>
                <a:cubicBezTo>
                  <a:pt x="982" y="138"/>
                  <a:pt x="982" y="138"/>
                  <a:pt x="982" y="138"/>
                </a:cubicBezTo>
                <a:cubicBezTo>
                  <a:pt x="982" y="137"/>
                  <a:pt x="982" y="137"/>
                  <a:pt x="982" y="137"/>
                </a:cubicBezTo>
                <a:cubicBezTo>
                  <a:pt x="982" y="136"/>
                  <a:pt x="982" y="136"/>
                  <a:pt x="982" y="136"/>
                </a:cubicBezTo>
                <a:cubicBezTo>
                  <a:pt x="980" y="135"/>
                  <a:pt x="980" y="135"/>
                  <a:pt x="980" y="135"/>
                </a:cubicBezTo>
                <a:cubicBezTo>
                  <a:pt x="979" y="135"/>
                  <a:pt x="979" y="135"/>
                  <a:pt x="979" y="135"/>
                </a:cubicBezTo>
                <a:cubicBezTo>
                  <a:pt x="978" y="135"/>
                  <a:pt x="978" y="135"/>
                  <a:pt x="978" y="135"/>
                </a:cubicBezTo>
                <a:cubicBezTo>
                  <a:pt x="976" y="135"/>
                  <a:pt x="976" y="135"/>
                  <a:pt x="976" y="135"/>
                </a:cubicBezTo>
                <a:cubicBezTo>
                  <a:pt x="974" y="136"/>
                  <a:pt x="974" y="136"/>
                  <a:pt x="974" y="136"/>
                </a:cubicBezTo>
                <a:cubicBezTo>
                  <a:pt x="972" y="134"/>
                  <a:pt x="972" y="134"/>
                  <a:pt x="972" y="134"/>
                </a:cubicBezTo>
                <a:cubicBezTo>
                  <a:pt x="972" y="133"/>
                  <a:pt x="972" y="133"/>
                  <a:pt x="972" y="133"/>
                </a:cubicBezTo>
                <a:cubicBezTo>
                  <a:pt x="971" y="133"/>
                  <a:pt x="971" y="133"/>
                  <a:pt x="971" y="133"/>
                </a:cubicBezTo>
                <a:cubicBezTo>
                  <a:pt x="970" y="134"/>
                  <a:pt x="970" y="134"/>
                  <a:pt x="970" y="134"/>
                </a:cubicBezTo>
                <a:cubicBezTo>
                  <a:pt x="969" y="134"/>
                  <a:pt x="969" y="134"/>
                  <a:pt x="969" y="134"/>
                </a:cubicBezTo>
                <a:cubicBezTo>
                  <a:pt x="968" y="134"/>
                  <a:pt x="968" y="134"/>
                  <a:pt x="968" y="134"/>
                </a:cubicBezTo>
                <a:cubicBezTo>
                  <a:pt x="967" y="134"/>
                  <a:pt x="967" y="134"/>
                  <a:pt x="967" y="134"/>
                </a:cubicBezTo>
                <a:cubicBezTo>
                  <a:pt x="967" y="135"/>
                  <a:pt x="967" y="135"/>
                  <a:pt x="967" y="135"/>
                </a:cubicBezTo>
                <a:cubicBezTo>
                  <a:pt x="966" y="134"/>
                  <a:pt x="966" y="134"/>
                  <a:pt x="966" y="134"/>
                </a:cubicBezTo>
                <a:cubicBezTo>
                  <a:pt x="965" y="134"/>
                  <a:pt x="965" y="134"/>
                  <a:pt x="965" y="134"/>
                </a:cubicBezTo>
                <a:cubicBezTo>
                  <a:pt x="964" y="134"/>
                  <a:pt x="964" y="134"/>
                  <a:pt x="964" y="134"/>
                </a:cubicBezTo>
                <a:cubicBezTo>
                  <a:pt x="962" y="134"/>
                  <a:pt x="962" y="134"/>
                  <a:pt x="962" y="134"/>
                </a:cubicBezTo>
                <a:cubicBezTo>
                  <a:pt x="962" y="135"/>
                  <a:pt x="962" y="135"/>
                  <a:pt x="962" y="135"/>
                </a:cubicBezTo>
                <a:cubicBezTo>
                  <a:pt x="961" y="134"/>
                  <a:pt x="961" y="134"/>
                  <a:pt x="961" y="134"/>
                </a:cubicBezTo>
                <a:cubicBezTo>
                  <a:pt x="960" y="135"/>
                  <a:pt x="960" y="135"/>
                  <a:pt x="960" y="135"/>
                </a:cubicBezTo>
                <a:cubicBezTo>
                  <a:pt x="957" y="134"/>
                  <a:pt x="957" y="134"/>
                  <a:pt x="957" y="134"/>
                </a:cubicBezTo>
                <a:cubicBezTo>
                  <a:pt x="957" y="135"/>
                  <a:pt x="957" y="135"/>
                  <a:pt x="957" y="135"/>
                </a:cubicBezTo>
                <a:cubicBezTo>
                  <a:pt x="958" y="135"/>
                  <a:pt x="958" y="135"/>
                  <a:pt x="958" y="135"/>
                </a:cubicBezTo>
                <a:cubicBezTo>
                  <a:pt x="958" y="136"/>
                  <a:pt x="958" y="136"/>
                  <a:pt x="958" y="136"/>
                </a:cubicBezTo>
                <a:cubicBezTo>
                  <a:pt x="959" y="137"/>
                  <a:pt x="959" y="137"/>
                  <a:pt x="959" y="137"/>
                </a:cubicBezTo>
                <a:cubicBezTo>
                  <a:pt x="958" y="137"/>
                  <a:pt x="958" y="137"/>
                  <a:pt x="958" y="137"/>
                </a:cubicBezTo>
                <a:cubicBezTo>
                  <a:pt x="957" y="136"/>
                  <a:pt x="957" y="136"/>
                  <a:pt x="957" y="136"/>
                </a:cubicBezTo>
                <a:cubicBezTo>
                  <a:pt x="956" y="136"/>
                  <a:pt x="956" y="136"/>
                  <a:pt x="956" y="136"/>
                </a:cubicBezTo>
                <a:cubicBezTo>
                  <a:pt x="955" y="136"/>
                  <a:pt x="955" y="136"/>
                  <a:pt x="955" y="136"/>
                </a:cubicBezTo>
                <a:cubicBezTo>
                  <a:pt x="954" y="136"/>
                  <a:pt x="954" y="136"/>
                  <a:pt x="954" y="136"/>
                </a:cubicBezTo>
                <a:cubicBezTo>
                  <a:pt x="955" y="135"/>
                  <a:pt x="955" y="135"/>
                  <a:pt x="955" y="135"/>
                </a:cubicBezTo>
                <a:cubicBezTo>
                  <a:pt x="955" y="134"/>
                  <a:pt x="955" y="134"/>
                  <a:pt x="955" y="134"/>
                </a:cubicBezTo>
                <a:cubicBezTo>
                  <a:pt x="954" y="133"/>
                  <a:pt x="954" y="133"/>
                  <a:pt x="954" y="133"/>
                </a:cubicBezTo>
                <a:cubicBezTo>
                  <a:pt x="954" y="132"/>
                  <a:pt x="954" y="132"/>
                  <a:pt x="954" y="132"/>
                </a:cubicBezTo>
                <a:cubicBezTo>
                  <a:pt x="952" y="132"/>
                  <a:pt x="952" y="132"/>
                  <a:pt x="952" y="132"/>
                </a:cubicBezTo>
                <a:cubicBezTo>
                  <a:pt x="952" y="133"/>
                  <a:pt x="952" y="133"/>
                  <a:pt x="952" y="133"/>
                </a:cubicBezTo>
                <a:cubicBezTo>
                  <a:pt x="952" y="134"/>
                  <a:pt x="952" y="134"/>
                  <a:pt x="952" y="134"/>
                </a:cubicBezTo>
                <a:cubicBezTo>
                  <a:pt x="951" y="134"/>
                  <a:pt x="951" y="134"/>
                  <a:pt x="951" y="134"/>
                </a:cubicBezTo>
                <a:cubicBezTo>
                  <a:pt x="952" y="133"/>
                  <a:pt x="952" y="133"/>
                  <a:pt x="952" y="133"/>
                </a:cubicBezTo>
                <a:cubicBezTo>
                  <a:pt x="951" y="132"/>
                  <a:pt x="951" y="132"/>
                  <a:pt x="951" y="132"/>
                </a:cubicBezTo>
                <a:cubicBezTo>
                  <a:pt x="950" y="132"/>
                  <a:pt x="950" y="132"/>
                  <a:pt x="950" y="132"/>
                </a:cubicBezTo>
                <a:cubicBezTo>
                  <a:pt x="949" y="132"/>
                  <a:pt x="949" y="132"/>
                  <a:pt x="949" y="132"/>
                </a:cubicBezTo>
                <a:cubicBezTo>
                  <a:pt x="949" y="131"/>
                  <a:pt x="949" y="131"/>
                  <a:pt x="949" y="131"/>
                </a:cubicBezTo>
                <a:cubicBezTo>
                  <a:pt x="949" y="129"/>
                  <a:pt x="949" y="129"/>
                  <a:pt x="949" y="129"/>
                </a:cubicBezTo>
                <a:cubicBezTo>
                  <a:pt x="947" y="130"/>
                  <a:pt x="947" y="130"/>
                  <a:pt x="947" y="130"/>
                </a:cubicBezTo>
                <a:cubicBezTo>
                  <a:pt x="946" y="131"/>
                  <a:pt x="946" y="131"/>
                  <a:pt x="946" y="131"/>
                </a:cubicBezTo>
                <a:cubicBezTo>
                  <a:pt x="946" y="133"/>
                  <a:pt x="946" y="133"/>
                  <a:pt x="946" y="133"/>
                </a:cubicBezTo>
                <a:cubicBezTo>
                  <a:pt x="945" y="133"/>
                  <a:pt x="945" y="133"/>
                  <a:pt x="945" y="133"/>
                </a:cubicBezTo>
                <a:cubicBezTo>
                  <a:pt x="945" y="131"/>
                  <a:pt x="945" y="131"/>
                  <a:pt x="945" y="131"/>
                </a:cubicBezTo>
                <a:cubicBezTo>
                  <a:pt x="945" y="130"/>
                  <a:pt x="945" y="130"/>
                  <a:pt x="945" y="130"/>
                </a:cubicBezTo>
                <a:cubicBezTo>
                  <a:pt x="946" y="128"/>
                  <a:pt x="946" y="128"/>
                  <a:pt x="946" y="128"/>
                </a:cubicBezTo>
                <a:cubicBezTo>
                  <a:pt x="945" y="127"/>
                  <a:pt x="945" y="127"/>
                  <a:pt x="945" y="127"/>
                </a:cubicBezTo>
                <a:cubicBezTo>
                  <a:pt x="944" y="127"/>
                  <a:pt x="944" y="127"/>
                  <a:pt x="944" y="127"/>
                </a:cubicBezTo>
                <a:cubicBezTo>
                  <a:pt x="945" y="126"/>
                  <a:pt x="945" y="126"/>
                  <a:pt x="945" y="126"/>
                </a:cubicBezTo>
                <a:cubicBezTo>
                  <a:pt x="945" y="125"/>
                  <a:pt x="945" y="125"/>
                  <a:pt x="945" y="125"/>
                </a:cubicBezTo>
                <a:cubicBezTo>
                  <a:pt x="945" y="124"/>
                  <a:pt x="945" y="124"/>
                  <a:pt x="945" y="124"/>
                </a:cubicBezTo>
                <a:cubicBezTo>
                  <a:pt x="944" y="124"/>
                  <a:pt x="944" y="124"/>
                  <a:pt x="944" y="124"/>
                </a:cubicBezTo>
                <a:cubicBezTo>
                  <a:pt x="943" y="124"/>
                  <a:pt x="943" y="124"/>
                  <a:pt x="943" y="124"/>
                </a:cubicBezTo>
                <a:cubicBezTo>
                  <a:pt x="942" y="123"/>
                  <a:pt x="942" y="123"/>
                  <a:pt x="942" y="123"/>
                </a:cubicBezTo>
                <a:cubicBezTo>
                  <a:pt x="941" y="123"/>
                  <a:pt x="941" y="123"/>
                  <a:pt x="941" y="123"/>
                </a:cubicBezTo>
                <a:cubicBezTo>
                  <a:pt x="941" y="124"/>
                  <a:pt x="941" y="124"/>
                  <a:pt x="941" y="124"/>
                </a:cubicBezTo>
                <a:cubicBezTo>
                  <a:pt x="939" y="124"/>
                  <a:pt x="939" y="124"/>
                  <a:pt x="939" y="124"/>
                </a:cubicBezTo>
                <a:cubicBezTo>
                  <a:pt x="940" y="123"/>
                  <a:pt x="940" y="123"/>
                  <a:pt x="940" y="123"/>
                </a:cubicBezTo>
                <a:cubicBezTo>
                  <a:pt x="940" y="122"/>
                  <a:pt x="940" y="122"/>
                  <a:pt x="940" y="122"/>
                </a:cubicBezTo>
                <a:cubicBezTo>
                  <a:pt x="941" y="121"/>
                  <a:pt x="941" y="121"/>
                  <a:pt x="941" y="121"/>
                </a:cubicBezTo>
                <a:cubicBezTo>
                  <a:pt x="942" y="121"/>
                  <a:pt x="942" y="121"/>
                  <a:pt x="942" y="121"/>
                </a:cubicBezTo>
                <a:cubicBezTo>
                  <a:pt x="943" y="123"/>
                  <a:pt x="943" y="123"/>
                  <a:pt x="943" y="123"/>
                </a:cubicBezTo>
                <a:cubicBezTo>
                  <a:pt x="944" y="123"/>
                  <a:pt x="944" y="123"/>
                  <a:pt x="944" y="123"/>
                </a:cubicBezTo>
                <a:cubicBezTo>
                  <a:pt x="944" y="122"/>
                  <a:pt x="944" y="122"/>
                  <a:pt x="944" y="122"/>
                </a:cubicBezTo>
                <a:cubicBezTo>
                  <a:pt x="943" y="121"/>
                  <a:pt x="943" y="121"/>
                  <a:pt x="943" y="121"/>
                </a:cubicBezTo>
                <a:cubicBezTo>
                  <a:pt x="942" y="120"/>
                  <a:pt x="942" y="120"/>
                  <a:pt x="942" y="120"/>
                </a:cubicBezTo>
                <a:cubicBezTo>
                  <a:pt x="943" y="120"/>
                  <a:pt x="943" y="120"/>
                  <a:pt x="943" y="120"/>
                </a:cubicBezTo>
                <a:cubicBezTo>
                  <a:pt x="941" y="119"/>
                  <a:pt x="941" y="119"/>
                  <a:pt x="941" y="119"/>
                </a:cubicBezTo>
                <a:cubicBezTo>
                  <a:pt x="940" y="118"/>
                  <a:pt x="940" y="118"/>
                  <a:pt x="940" y="118"/>
                </a:cubicBezTo>
                <a:cubicBezTo>
                  <a:pt x="941" y="118"/>
                  <a:pt x="941" y="118"/>
                  <a:pt x="941" y="118"/>
                </a:cubicBezTo>
                <a:cubicBezTo>
                  <a:pt x="941" y="117"/>
                  <a:pt x="941" y="117"/>
                  <a:pt x="941" y="117"/>
                </a:cubicBezTo>
                <a:cubicBezTo>
                  <a:pt x="942" y="118"/>
                  <a:pt x="942" y="118"/>
                  <a:pt x="942" y="118"/>
                </a:cubicBezTo>
                <a:cubicBezTo>
                  <a:pt x="943" y="119"/>
                  <a:pt x="943" y="119"/>
                  <a:pt x="943" y="119"/>
                </a:cubicBezTo>
                <a:cubicBezTo>
                  <a:pt x="945" y="120"/>
                  <a:pt x="945" y="120"/>
                  <a:pt x="945" y="120"/>
                </a:cubicBezTo>
                <a:cubicBezTo>
                  <a:pt x="946" y="121"/>
                  <a:pt x="946" y="121"/>
                  <a:pt x="946" y="121"/>
                </a:cubicBezTo>
                <a:cubicBezTo>
                  <a:pt x="946" y="120"/>
                  <a:pt x="946" y="120"/>
                  <a:pt x="946" y="120"/>
                </a:cubicBezTo>
                <a:cubicBezTo>
                  <a:pt x="947" y="121"/>
                  <a:pt x="947" y="121"/>
                  <a:pt x="947" y="121"/>
                </a:cubicBezTo>
                <a:cubicBezTo>
                  <a:pt x="949" y="121"/>
                  <a:pt x="949" y="121"/>
                  <a:pt x="949" y="121"/>
                </a:cubicBezTo>
                <a:cubicBezTo>
                  <a:pt x="950" y="121"/>
                  <a:pt x="950" y="121"/>
                  <a:pt x="950" y="121"/>
                </a:cubicBezTo>
                <a:cubicBezTo>
                  <a:pt x="951" y="120"/>
                  <a:pt x="951" y="120"/>
                  <a:pt x="951" y="120"/>
                </a:cubicBezTo>
                <a:cubicBezTo>
                  <a:pt x="950" y="119"/>
                  <a:pt x="950" y="119"/>
                  <a:pt x="950" y="119"/>
                </a:cubicBezTo>
                <a:cubicBezTo>
                  <a:pt x="948" y="117"/>
                  <a:pt x="948" y="117"/>
                  <a:pt x="948" y="117"/>
                </a:cubicBezTo>
                <a:cubicBezTo>
                  <a:pt x="947" y="116"/>
                  <a:pt x="947" y="116"/>
                  <a:pt x="947" y="116"/>
                </a:cubicBezTo>
                <a:cubicBezTo>
                  <a:pt x="946" y="116"/>
                  <a:pt x="946" y="116"/>
                  <a:pt x="946" y="116"/>
                </a:cubicBezTo>
                <a:cubicBezTo>
                  <a:pt x="946" y="115"/>
                  <a:pt x="946" y="115"/>
                  <a:pt x="946" y="115"/>
                </a:cubicBezTo>
                <a:cubicBezTo>
                  <a:pt x="944" y="114"/>
                  <a:pt x="944" y="114"/>
                  <a:pt x="944" y="114"/>
                </a:cubicBezTo>
                <a:cubicBezTo>
                  <a:pt x="943" y="113"/>
                  <a:pt x="943" y="113"/>
                  <a:pt x="943" y="113"/>
                </a:cubicBezTo>
                <a:cubicBezTo>
                  <a:pt x="944" y="112"/>
                  <a:pt x="944" y="112"/>
                  <a:pt x="944" y="112"/>
                </a:cubicBezTo>
                <a:cubicBezTo>
                  <a:pt x="945" y="113"/>
                  <a:pt x="945" y="113"/>
                  <a:pt x="945" y="113"/>
                </a:cubicBezTo>
                <a:cubicBezTo>
                  <a:pt x="946" y="114"/>
                  <a:pt x="946" y="114"/>
                  <a:pt x="946" y="114"/>
                </a:cubicBezTo>
                <a:cubicBezTo>
                  <a:pt x="947" y="115"/>
                  <a:pt x="947" y="115"/>
                  <a:pt x="947" y="115"/>
                </a:cubicBezTo>
                <a:cubicBezTo>
                  <a:pt x="948" y="114"/>
                  <a:pt x="948" y="114"/>
                  <a:pt x="948" y="114"/>
                </a:cubicBezTo>
                <a:cubicBezTo>
                  <a:pt x="947" y="112"/>
                  <a:pt x="947" y="112"/>
                  <a:pt x="947" y="112"/>
                </a:cubicBezTo>
                <a:cubicBezTo>
                  <a:pt x="946" y="110"/>
                  <a:pt x="946" y="110"/>
                  <a:pt x="946" y="110"/>
                </a:cubicBezTo>
                <a:cubicBezTo>
                  <a:pt x="945" y="110"/>
                  <a:pt x="945" y="110"/>
                  <a:pt x="945" y="110"/>
                </a:cubicBezTo>
                <a:cubicBezTo>
                  <a:pt x="943" y="110"/>
                  <a:pt x="943" y="110"/>
                  <a:pt x="943" y="110"/>
                </a:cubicBezTo>
                <a:cubicBezTo>
                  <a:pt x="942" y="111"/>
                  <a:pt x="942" y="111"/>
                  <a:pt x="942" y="111"/>
                </a:cubicBezTo>
                <a:cubicBezTo>
                  <a:pt x="941" y="111"/>
                  <a:pt x="941" y="111"/>
                  <a:pt x="941" y="111"/>
                </a:cubicBezTo>
                <a:cubicBezTo>
                  <a:pt x="940" y="110"/>
                  <a:pt x="940" y="110"/>
                  <a:pt x="940" y="110"/>
                </a:cubicBezTo>
                <a:cubicBezTo>
                  <a:pt x="939" y="110"/>
                  <a:pt x="939" y="110"/>
                  <a:pt x="939" y="110"/>
                </a:cubicBezTo>
                <a:cubicBezTo>
                  <a:pt x="938" y="109"/>
                  <a:pt x="938" y="109"/>
                  <a:pt x="938" y="109"/>
                </a:cubicBezTo>
                <a:cubicBezTo>
                  <a:pt x="937" y="111"/>
                  <a:pt x="937" y="111"/>
                  <a:pt x="937" y="111"/>
                </a:cubicBezTo>
                <a:cubicBezTo>
                  <a:pt x="935" y="112"/>
                  <a:pt x="935" y="112"/>
                  <a:pt x="935" y="112"/>
                </a:cubicBezTo>
                <a:cubicBezTo>
                  <a:pt x="935" y="113"/>
                  <a:pt x="935" y="113"/>
                  <a:pt x="935" y="113"/>
                </a:cubicBezTo>
                <a:cubicBezTo>
                  <a:pt x="934" y="114"/>
                  <a:pt x="934" y="114"/>
                  <a:pt x="934" y="114"/>
                </a:cubicBezTo>
                <a:cubicBezTo>
                  <a:pt x="934" y="113"/>
                  <a:pt x="934" y="113"/>
                  <a:pt x="934" y="113"/>
                </a:cubicBezTo>
                <a:cubicBezTo>
                  <a:pt x="935" y="112"/>
                  <a:pt x="935" y="112"/>
                  <a:pt x="935" y="112"/>
                </a:cubicBezTo>
                <a:cubicBezTo>
                  <a:pt x="935" y="111"/>
                  <a:pt x="935" y="111"/>
                  <a:pt x="935" y="111"/>
                </a:cubicBezTo>
                <a:cubicBezTo>
                  <a:pt x="938" y="109"/>
                  <a:pt x="938" y="109"/>
                  <a:pt x="938" y="109"/>
                </a:cubicBezTo>
                <a:cubicBezTo>
                  <a:pt x="938" y="108"/>
                  <a:pt x="938" y="108"/>
                  <a:pt x="938" y="108"/>
                </a:cubicBezTo>
                <a:cubicBezTo>
                  <a:pt x="938" y="107"/>
                  <a:pt x="938" y="107"/>
                  <a:pt x="938" y="107"/>
                </a:cubicBezTo>
                <a:cubicBezTo>
                  <a:pt x="938" y="104"/>
                  <a:pt x="938" y="104"/>
                  <a:pt x="938" y="104"/>
                </a:cubicBezTo>
                <a:cubicBezTo>
                  <a:pt x="937" y="103"/>
                  <a:pt x="937" y="103"/>
                  <a:pt x="937" y="103"/>
                </a:cubicBezTo>
                <a:cubicBezTo>
                  <a:pt x="935" y="103"/>
                  <a:pt x="935" y="103"/>
                  <a:pt x="935" y="103"/>
                </a:cubicBezTo>
                <a:cubicBezTo>
                  <a:pt x="935" y="101"/>
                  <a:pt x="935" y="101"/>
                  <a:pt x="935" y="101"/>
                </a:cubicBezTo>
                <a:cubicBezTo>
                  <a:pt x="934" y="101"/>
                  <a:pt x="934" y="101"/>
                  <a:pt x="934" y="101"/>
                </a:cubicBezTo>
                <a:cubicBezTo>
                  <a:pt x="932" y="100"/>
                  <a:pt x="932" y="100"/>
                  <a:pt x="932" y="100"/>
                </a:cubicBezTo>
                <a:cubicBezTo>
                  <a:pt x="931" y="99"/>
                  <a:pt x="931" y="99"/>
                  <a:pt x="931" y="99"/>
                </a:cubicBezTo>
                <a:close/>
                <a:moveTo>
                  <a:pt x="970" y="318"/>
                </a:moveTo>
                <a:cubicBezTo>
                  <a:pt x="971" y="318"/>
                  <a:pt x="971" y="318"/>
                  <a:pt x="971" y="318"/>
                </a:cubicBezTo>
                <a:cubicBezTo>
                  <a:pt x="972" y="318"/>
                  <a:pt x="972" y="318"/>
                  <a:pt x="972" y="318"/>
                </a:cubicBezTo>
                <a:cubicBezTo>
                  <a:pt x="972" y="317"/>
                  <a:pt x="972" y="317"/>
                  <a:pt x="972" y="317"/>
                </a:cubicBezTo>
                <a:cubicBezTo>
                  <a:pt x="971" y="316"/>
                  <a:pt x="971" y="316"/>
                  <a:pt x="971" y="316"/>
                </a:cubicBezTo>
                <a:cubicBezTo>
                  <a:pt x="970" y="316"/>
                  <a:pt x="970" y="316"/>
                  <a:pt x="970" y="316"/>
                </a:cubicBezTo>
                <a:cubicBezTo>
                  <a:pt x="970" y="317"/>
                  <a:pt x="970" y="317"/>
                  <a:pt x="970" y="317"/>
                </a:cubicBezTo>
                <a:cubicBezTo>
                  <a:pt x="970" y="318"/>
                  <a:pt x="970" y="318"/>
                  <a:pt x="970" y="318"/>
                </a:cubicBezTo>
                <a:close/>
                <a:moveTo>
                  <a:pt x="978" y="341"/>
                </a:moveTo>
                <a:cubicBezTo>
                  <a:pt x="978" y="341"/>
                  <a:pt x="978" y="341"/>
                  <a:pt x="977" y="342"/>
                </a:cubicBezTo>
                <a:cubicBezTo>
                  <a:pt x="977" y="342"/>
                  <a:pt x="977" y="342"/>
                  <a:pt x="976" y="343"/>
                </a:cubicBezTo>
                <a:cubicBezTo>
                  <a:pt x="976" y="343"/>
                  <a:pt x="976" y="343"/>
                  <a:pt x="976" y="344"/>
                </a:cubicBezTo>
                <a:cubicBezTo>
                  <a:pt x="976" y="344"/>
                  <a:pt x="976" y="344"/>
                  <a:pt x="976" y="345"/>
                </a:cubicBezTo>
                <a:cubicBezTo>
                  <a:pt x="976" y="345"/>
                  <a:pt x="976" y="345"/>
                  <a:pt x="977" y="344"/>
                </a:cubicBezTo>
                <a:cubicBezTo>
                  <a:pt x="977" y="344"/>
                  <a:pt x="977" y="344"/>
                  <a:pt x="978" y="344"/>
                </a:cubicBezTo>
                <a:cubicBezTo>
                  <a:pt x="978" y="344"/>
                  <a:pt x="978" y="344"/>
                  <a:pt x="979" y="343"/>
                </a:cubicBezTo>
                <a:cubicBezTo>
                  <a:pt x="979" y="343"/>
                  <a:pt x="979" y="343"/>
                  <a:pt x="980" y="343"/>
                </a:cubicBezTo>
                <a:cubicBezTo>
                  <a:pt x="980" y="343"/>
                  <a:pt x="980" y="343"/>
                  <a:pt x="980" y="342"/>
                </a:cubicBezTo>
                <a:cubicBezTo>
                  <a:pt x="980" y="342"/>
                  <a:pt x="980" y="342"/>
                  <a:pt x="979" y="342"/>
                </a:cubicBezTo>
                <a:cubicBezTo>
                  <a:pt x="979" y="342"/>
                  <a:pt x="979" y="342"/>
                  <a:pt x="979" y="341"/>
                </a:cubicBezTo>
                <a:cubicBezTo>
                  <a:pt x="979" y="341"/>
                  <a:pt x="979" y="341"/>
                  <a:pt x="978" y="341"/>
                </a:cubicBezTo>
                <a:close/>
                <a:moveTo>
                  <a:pt x="968" y="315"/>
                </a:moveTo>
                <a:cubicBezTo>
                  <a:pt x="968" y="316"/>
                  <a:pt x="968" y="316"/>
                  <a:pt x="968" y="316"/>
                </a:cubicBezTo>
                <a:cubicBezTo>
                  <a:pt x="970" y="316"/>
                  <a:pt x="970" y="316"/>
                  <a:pt x="970" y="316"/>
                </a:cubicBezTo>
                <a:cubicBezTo>
                  <a:pt x="969" y="315"/>
                  <a:pt x="969" y="315"/>
                  <a:pt x="969" y="315"/>
                </a:cubicBezTo>
                <a:cubicBezTo>
                  <a:pt x="968" y="315"/>
                  <a:pt x="968" y="315"/>
                  <a:pt x="968" y="315"/>
                </a:cubicBezTo>
                <a:close/>
                <a:moveTo>
                  <a:pt x="940" y="306"/>
                </a:moveTo>
                <a:cubicBezTo>
                  <a:pt x="941" y="306"/>
                  <a:pt x="941" y="306"/>
                  <a:pt x="941" y="306"/>
                </a:cubicBezTo>
                <a:cubicBezTo>
                  <a:pt x="941" y="305"/>
                  <a:pt x="941" y="305"/>
                  <a:pt x="941" y="305"/>
                </a:cubicBezTo>
                <a:cubicBezTo>
                  <a:pt x="942" y="305"/>
                  <a:pt x="942" y="305"/>
                  <a:pt x="942" y="305"/>
                </a:cubicBezTo>
                <a:cubicBezTo>
                  <a:pt x="941" y="304"/>
                  <a:pt x="941" y="304"/>
                  <a:pt x="941" y="304"/>
                </a:cubicBezTo>
                <a:cubicBezTo>
                  <a:pt x="940" y="303"/>
                  <a:pt x="940" y="303"/>
                  <a:pt x="940" y="303"/>
                </a:cubicBezTo>
                <a:cubicBezTo>
                  <a:pt x="939" y="303"/>
                  <a:pt x="939" y="303"/>
                  <a:pt x="939" y="303"/>
                </a:cubicBezTo>
                <a:cubicBezTo>
                  <a:pt x="939" y="302"/>
                  <a:pt x="939" y="302"/>
                  <a:pt x="939" y="302"/>
                </a:cubicBezTo>
                <a:cubicBezTo>
                  <a:pt x="938" y="302"/>
                  <a:pt x="938" y="302"/>
                  <a:pt x="938" y="302"/>
                </a:cubicBezTo>
                <a:cubicBezTo>
                  <a:pt x="937" y="302"/>
                  <a:pt x="937" y="302"/>
                  <a:pt x="937" y="302"/>
                </a:cubicBezTo>
                <a:cubicBezTo>
                  <a:pt x="937" y="303"/>
                  <a:pt x="937" y="303"/>
                  <a:pt x="937" y="303"/>
                </a:cubicBezTo>
                <a:cubicBezTo>
                  <a:pt x="938" y="303"/>
                  <a:pt x="938" y="303"/>
                  <a:pt x="938" y="303"/>
                </a:cubicBezTo>
                <a:cubicBezTo>
                  <a:pt x="938" y="304"/>
                  <a:pt x="938" y="304"/>
                  <a:pt x="938" y="304"/>
                </a:cubicBezTo>
                <a:cubicBezTo>
                  <a:pt x="939" y="305"/>
                  <a:pt x="939" y="305"/>
                  <a:pt x="939" y="305"/>
                </a:cubicBezTo>
                <a:cubicBezTo>
                  <a:pt x="939" y="306"/>
                  <a:pt x="939" y="306"/>
                  <a:pt x="939" y="306"/>
                </a:cubicBezTo>
                <a:cubicBezTo>
                  <a:pt x="940" y="306"/>
                  <a:pt x="940" y="306"/>
                  <a:pt x="940" y="306"/>
                </a:cubicBezTo>
                <a:close/>
                <a:moveTo>
                  <a:pt x="950" y="314"/>
                </a:moveTo>
                <a:cubicBezTo>
                  <a:pt x="949" y="314"/>
                  <a:pt x="949" y="314"/>
                  <a:pt x="949" y="314"/>
                </a:cubicBezTo>
                <a:cubicBezTo>
                  <a:pt x="948" y="314"/>
                  <a:pt x="948" y="314"/>
                  <a:pt x="948" y="314"/>
                </a:cubicBezTo>
                <a:cubicBezTo>
                  <a:pt x="949" y="315"/>
                  <a:pt x="949" y="315"/>
                  <a:pt x="949" y="315"/>
                </a:cubicBezTo>
                <a:cubicBezTo>
                  <a:pt x="950" y="316"/>
                  <a:pt x="950" y="316"/>
                  <a:pt x="950" y="316"/>
                </a:cubicBezTo>
                <a:cubicBezTo>
                  <a:pt x="951" y="316"/>
                  <a:pt x="951" y="316"/>
                  <a:pt x="951" y="316"/>
                </a:cubicBezTo>
                <a:cubicBezTo>
                  <a:pt x="952" y="316"/>
                  <a:pt x="952" y="316"/>
                  <a:pt x="952" y="316"/>
                </a:cubicBezTo>
                <a:cubicBezTo>
                  <a:pt x="951" y="315"/>
                  <a:pt x="951" y="315"/>
                  <a:pt x="951" y="315"/>
                </a:cubicBezTo>
                <a:cubicBezTo>
                  <a:pt x="950" y="314"/>
                  <a:pt x="950" y="314"/>
                  <a:pt x="950" y="314"/>
                </a:cubicBezTo>
                <a:close/>
                <a:moveTo>
                  <a:pt x="939" y="228"/>
                </a:moveTo>
                <a:cubicBezTo>
                  <a:pt x="939" y="228"/>
                  <a:pt x="939" y="228"/>
                  <a:pt x="938" y="227"/>
                </a:cubicBezTo>
                <a:cubicBezTo>
                  <a:pt x="938" y="227"/>
                  <a:pt x="938" y="227"/>
                  <a:pt x="939" y="229"/>
                </a:cubicBezTo>
                <a:cubicBezTo>
                  <a:pt x="939" y="229"/>
                  <a:pt x="939" y="229"/>
                  <a:pt x="939" y="228"/>
                </a:cubicBezTo>
                <a:close/>
                <a:moveTo>
                  <a:pt x="941" y="230"/>
                </a:moveTo>
                <a:cubicBezTo>
                  <a:pt x="941" y="229"/>
                  <a:pt x="941" y="229"/>
                  <a:pt x="941" y="229"/>
                </a:cubicBezTo>
                <a:cubicBezTo>
                  <a:pt x="940" y="229"/>
                  <a:pt x="940" y="229"/>
                  <a:pt x="940" y="229"/>
                </a:cubicBezTo>
                <a:cubicBezTo>
                  <a:pt x="939" y="229"/>
                  <a:pt x="939" y="229"/>
                  <a:pt x="939" y="229"/>
                </a:cubicBezTo>
                <a:cubicBezTo>
                  <a:pt x="940" y="230"/>
                  <a:pt x="940" y="230"/>
                  <a:pt x="940" y="230"/>
                </a:cubicBezTo>
                <a:cubicBezTo>
                  <a:pt x="941" y="230"/>
                  <a:pt x="941" y="230"/>
                  <a:pt x="941" y="230"/>
                </a:cubicBezTo>
                <a:close/>
                <a:moveTo>
                  <a:pt x="938" y="298"/>
                </a:moveTo>
                <a:cubicBezTo>
                  <a:pt x="937" y="297"/>
                  <a:pt x="937" y="297"/>
                  <a:pt x="937" y="297"/>
                </a:cubicBezTo>
                <a:cubicBezTo>
                  <a:pt x="936" y="297"/>
                  <a:pt x="936" y="297"/>
                  <a:pt x="936" y="297"/>
                </a:cubicBezTo>
                <a:cubicBezTo>
                  <a:pt x="936" y="298"/>
                  <a:pt x="936" y="298"/>
                  <a:pt x="936" y="298"/>
                </a:cubicBezTo>
                <a:cubicBezTo>
                  <a:pt x="937" y="298"/>
                  <a:pt x="937" y="298"/>
                  <a:pt x="937" y="298"/>
                </a:cubicBezTo>
                <a:cubicBezTo>
                  <a:pt x="938" y="298"/>
                  <a:pt x="938" y="298"/>
                  <a:pt x="938" y="298"/>
                </a:cubicBezTo>
                <a:close/>
                <a:moveTo>
                  <a:pt x="938" y="224"/>
                </a:moveTo>
                <a:cubicBezTo>
                  <a:pt x="937" y="223"/>
                  <a:pt x="937" y="223"/>
                  <a:pt x="937" y="223"/>
                </a:cubicBezTo>
                <a:cubicBezTo>
                  <a:pt x="936" y="223"/>
                  <a:pt x="936" y="223"/>
                  <a:pt x="936" y="223"/>
                </a:cubicBezTo>
                <a:cubicBezTo>
                  <a:pt x="936" y="224"/>
                  <a:pt x="936" y="224"/>
                  <a:pt x="936" y="224"/>
                </a:cubicBezTo>
                <a:cubicBezTo>
                  <a:pt x="937" y="224"/>
                  <a:pt x="937" y="224"/>
                  <a:pt x="937" y="224"/>
                </a:cubicBezTo>
                <a:cubicBezTo>
                  <a:pt x="937" y="225"/>
                  <a:pt x="937" y="225"/>
                  <a:pt x="937" y="225"/>
                </a:cubicBezTo>
                <a:cubicBezTo>
                  <a:pt x="938" y="224"/>
                  <a:pt x="938" y="224"/>
                  <a:pt x="938" y="224"/>
                </a:cubicBezTo>
                <a:close/>
                <a:moveTo>
                  <a:pt x="1022" y="264"/>
                </a:moveTo>
                <a:cubicBezTo>
                  <a:pt x="1022" y="264"/>
                  <a:pt x="1022" y="264"/>
                  <a:pt x="1021" y="263"/>
                </a:cubicBezTo>
                <a:cubicBezTo>
                  <a:pt x="1021" y="263"/>
                  <a:pt x="1021" y="263"/>
                  <a:pt x="1020" y="264"/>
                </a:cubicBezTo>
                <a:cubicBezTo>
                  <a:pt x="1020" y="264"/>
                  <a:pt x="1020" y="264"/>
                  <a:pt x="1021" y="266"/>
                </a:cubicBezTo>
                <a:cubicBezTo>
                  <a:pt x="1021" y="266"/>
                  <a:pt x="1021" y="266"/>
                  <a:pt x="1022" y="265"/>
                </a:cubicBezTo>
                <a:cubicBezTo>
                  <a:pt x="1022" y="265"/>
                  <a:pt x="1022" y="265"/>
                  <a:pt x="1022" y="264"/>
                </a:cubicBezTo>
                <a:close/>
                <a:moveTo>
                  <a:pt x="1028" y="270"/>
                </a:moveTo>
                <a:cubicBezTo>
                  <a:pt x="1028" y="270"/>
                  <a:pt x="1028" y="270"/>
                  <a:pt x="1027" y="270"/>
                </a:cubicBezTo>
                <a:cubicBezTo>
                  <a:pt x="1027" y="270"/>
                  <a:pt x="1027" y="270"/>
                  <a:pt x="1026" y="270"/>
                </a:cubicBezTo>
                <a:cubicBezTo>
                  <a:pt x="1026" y="270"/>
                  <a:pt x="1026" y="270"/>
                  <a:pt x="1026" y="271"/>
                </a:cubicBezTo>
                <a:cubicBezTo>
                  <a:pt x="1026" y="271"/>
                  <a:pt x="1026" y="271"/>
                  <a:pt x="1027" y="271"/>
                </a:cubicBezTo>
                <a:cubicBezTo>
                  <a:pt x="1027" y="271"/>
                  <a:pt x="1027" y="271"/>
                  <a:pt x="1028" y="270"/>
                </a:cubicBezTo>
                <a:close/>
                <a:moveTo>
                  <a:pt x="1030" y="451"/>
                </a:moveTo>
                <a:cubicBezTo>
                  <a:pt x="1030" y="451"/>
                  <a:pt x="1030" y="451"/>
                  <a:pt x="1031" y="451"/>
                </a:cubicBezTo>
                <a:cubicBezTo>
                  <a:pt x="1031" y="451"/>
                  <a:pt x="1031" y="451"/>
                  <a:pt x="1032" y="450"/>
                </a:cubicBezTo>
                <a:cubicBezTo>
                  <a:pt x="1032" y="450"/>
                  <a:pt x="1032" y="450"/>
                  <a:pt x="1031" y="450"/>
                </a:cubicBezTo>
                <a:cubicBezTo>
                  <a:pt x="1031" y="450"/>
                  <a:pt x="1031" y="450"/>
                  <a:pt x="1030" y="451"/>
                </a:cubicBezTo>
                <a:close/>
                <a:moveTo>
                  <a:pt x="1032" y="429"/>
                </a:moveTo>
                <a:cubicBezTo>
                  <a:pt x="1032" y="429"/>
                  <a:pt x="1032" y="429"/>
                  <a:pt x="1031" y="430"/>
                </a:cubicBezTo>
                <a:cubicBezTo>
                  <a:pt x="1031" y="431"/>
                  <a:pt x="1031" y="431"/>
                  <a:pt x="1031" y="431"/>
                </a:cubicBezTo>
                <a:cubicBezTo>
                  <a:pt x="1031" y="431"/>
                  <a:pt x="1031" y="431"/>
                  <a:pt x="1032" y="430"/>
                </a:cubicBezTo>
                <a:cubicBezTo>
                  <a:pt x="1032" y="430"/>
                  <a:pt x="1032" y="430"/>
                  <a:pt x="1032" y="429"/>
                </a:cubicBezTo>
                <a:close/>
                <a:moveTo>
                  <a:pt x="1007" y="250"/>
                </a:moveTo>
                <a:cubicBezTo>
                  <a:pt x="1006" y="250"/>
                  <a:pt x="1006" y="250"/>
                  <a:pt x="1006" y="250"/>
                </a:cubicBezTo>
                <a:cubicBezTo>
                  <a:pt x="1007" y="251"/>
                  <a:pt x="1007" y="251"/>
                  <a:pt x="1007" y="251"/>
                </a:cubicBezTo>
                <a:cubicBezTo>
                  <a:pt x="1007" y="250"/>
                  <a:pt x="1007" y="250"/>
                  <a:pt x="1007" y="250"/>
                </a:cubicBezTo>
                <a:close/>
                <a:moveTo>
                  <a:pt x="999" y="330"/>
                </a:moveTo>
                <a:cubicBezTo>
                  <a:pt x="999" y="330"/>
                  <a:pt x="999" y="330"/>
                  <a:pt x="998" y="330"/>
                </a:cubicBezTo>
                <a:cubicBezTo>
                  <a:pt x="998" y="330"/>
                  <a:pt x="998" y="330"/>
                  <a:pt x="998" y="329"/>
                </a:cubicBezTo>
                <a:cubicBezTo>
                  <a:pt x="998" y="329"/>
                  <a:pt x="998" y="329"/>
                  <a:pt x="997" y="328"/>
                </a:cubicBezTo>
                <a:cubicBezTo>
                  <a:pt x="997" y="328"/>
                  <a:pt x="997" y="328"/>
                  <a:pt x="997" y="329"/>
                </a:cubicBezTo>
                <a:cubicBezTo>
                  <a:pt x="997" y="329"/>
                  <a:pt x="997" y="329"/>
                  <a:pt x="997" y="330"/>
                </a:cubicBezTo>
                <a:cubicBezTo>
                  <a:pt x="997" y="330"/>
                  <a:pt x="997" y="330"/>
                  <a:pt x="997" y="331"/>
                </a:cubicBezTo>
                <a:cubicBezTo>
                  <a:pt x="997" y="331"/>
                  <a:pt x="997" y="331"/>
                  <a:pt x="998" y="332"/>
                </a:cubicBezTo>
                <a:cubicBezTo>
                  <a:pt x="998" y="332"/>
                  <a:pt x="998" y="332"/>
                  <a:pt x="999" y="331"/>
                </a:cubicBezTo>
                <a:cubicBezTo>
                  <a:pt x="999" y="331"/>
                  <a:pt x="999" y="331"/>
                  <a:pt x="999" y="330"/>
                </a:cubicBezTo>
                <a:close/>
                <a:moveTo>
                  <a:pt x="1001" y="323"/>
                </a:moveTo>
                <a:cubicBezTo>
                  <a:pt x="1000" y="324"/>
                  <a:pt x="1000" y="324"/>
                  <a:pt x="1000" y="324"/>
                </a:cubicBezTo>
                <a:cubicBezTo>
                  <a:pt x="1001" y="324"/>
                  <a:pt x="1001" y="324"/>
                  <a:pt x="1001" y="324"/>
                </a:cubicBezTo>
                <a:cubicBezTo>
                  <a:pt x="1002" y="325"/>
                  <a:pt x="1002" y="325"/>
                  <a:pt x="1002" y="325"/>
                </a:cubicBezTo>
                <a:cubicBezTo>
                  <a:pt x="1003" y="324"/>
                  <a:pt x="1003" y="324"/>
                  <a:pt x="1003" y="324"/>
                </a:cubicBezTo>
                <a:cubicBezTo>
                  <a:pt x="1003" y="323"/>
                  <a:pt x="1003" y="323"/>
                  <a:pt x="1003" y="323"/>
                </a:cubicBezTo>
                <a:cubicBezTo>
                  <a:pt x="1003" y="322"/>
                  <a:pt x="1003" y="322"/>
                  <a:pt x="1003" y="322"/>
                </a:cubicBezTo>
                <a:cubicBezTo>
                  <a:pt x="1002" y="323"/>
                  <a:pt x="1002" y="323"/>
                  <a:pt x="1002" y="323"/>
                </a:cubicBezTo>
                <a:cubicBezTo>
                  <a:pt x="1001" y="323"/>
                  <a:pt x="1001" y="323"/>
                  <a:pt x="1001" y="323"/>
                </a:cubicBezTo>
                <a:close/>
                <a:moveTo>
                  <a:pt x="995" y="332"/>
                </a:moveTo>
                <a:cubicBezTo>
                  <a:pt x="995" y="332"/>
                  <a:pt x="995" y="332"/>
                  <a:pt x="995" y="333"/>
                </a:cubicBezTo>
                <a:cubicBezTo>
                  <a:pt x="995" y="333"/>
                  <a:pt x="995" y="333"/>
                  <a:pt x="995" y="334"/>
                </a:cubicBezTo>
                <a:cubicBezTo>
                  <a:pt x="995" y="334"/>
                  <a:pt x="995" y="334"/>
                  <a:pt x="996" y="334"/>
                </a:cubicBezTo>
                <a:cubicBezTo>
                  <a:pt x="996" y="334"/>
                  <a:pt x="996" y="334"/>
                  <a:pt x="997" y="334"/>
                </a:cubicBezTo>
                <a:cubicBezTo>
                  <a:pt x="997" y="334"/>
                  <a:pt x="997" y="334"/>
                  <a:pt x="997" y="335"/>
                </a:cubicBezTo>
                <a:cubicBezTo>
                  <a:pt x="997" y="335"/>
                  <a:pt x="997" y="335"/>
                  <a:pt x="998" y="335"/>
                </a:cubicBezTo>
                <a:cubicBezTo>
                  <a:pt x="998" y="335"/>
                  <a:pt x="998" y="335"/>
                  <a:pt x="998" y="334"/>
                </a:cubicBezTo>
                <a:cubicBezTo>
                  <a:pt x="998" y="334"/>
                  <a:pt x="998" y="334"/>
                  <a:pt x="999" y="333"/>
                </a:cubicBezTo>
                <a:cubicBezTo>
                  <a:pt x="999" y="333"/>
                  <a:pt x="999" y="333"/>
                  <a:pt x="998" y="332"/>
                </a:cubicBezTo>
                <a:cubicBezTo>
                  <a:pt x="998" y="332"/>
                  <a:pt x="998" y="332"/>
                  <a:pt x="996" y="332"/>
                </a:cubicBezTo>
                <a:cubicBezTo>
                  <a:pt x="996" y="332"/>
                  <a:pt x="996" y="332"/>
                  <a:pt x="995" y="332"/>
                </a:cubicBezTo>
                <a:close/>
                <a:moveTo>
                  <a:pt x="1003" y="299"/>
                </a:moveTo>
                <a:cubicBezTo>
                  <a:pt x="1003" y="299"/>
                  <a:pt x="1003" y="299"/>
                  <a:pt x="1004" y="299"/>
                </a:cubicBezTo>
                <a:cubicBezTo>
                  <a:pt x="1004" y="299"/>
                  <a:pt x="1004" y="299"/>
                  <a:pt x="1005" y="298"/>
                </a:cubicBezTo>
                <a:cubicBezTo>
                  <a:pt x="1005" y="298"/>
                  <a:pt x="1005" y="298"/>
                  <a:pt x="1004" y="298"/>
                </a:cubicBezTo>
                <a:cubicBezTo>
                  <a:pt x="1004" y="298"/>
                  <a:pt x="1004" y="298"/>
                  <a:pt x="1003" y="299"/>
                </a:cubicBezTo>
                <a:close/>
                <a:moveTo>
                  <a:pt x="1005" y="303"/>
                </a:moveTo>
                <a:cubicBezTo>
                  <a:pt x="1005" y="303"/>
                  <a:pt x="1005" y="303"/>
                  <a:pt x="1006" y="303"/>
                </a:cubicBezTo>
                <a:cubicBezTo>
                  <a:pt x="1006" y="303"/>
                  <a:pt x="1006" y="303"/>
                  <a:pt x="1005" y="302"/>
                </a:cubicBezTo>
                <a:cubicBezTo>
                  <a:pt x="1005" y="302"/>
                  <a:pt x="1005" y="302"/>
                  <a:pt x="1005" y="303"/>
                </a:cubicBezTo>
                <a:close/>
                <a:moveTo>
                  <a:pt x="1026" y="17"/>
                </a:moveTo>
                <a:cubicBezTo>
                  <a:pt x="1026" y="17"/>
                  <a:pt x="1026" y="17"/>
                  <a:pt x="1026" y="18"/>
                </a:cubicBezTo>
                <a:cubicBezTo>
                  <a:pt x="1026" y="18"/>
                  <a:pt x="1026" y="18"/>
                  <a:pt x="1027" y="18"/>
                </a:cubicBezTo>
                <a:cubicBezTo>
                  <a:pt x="1027" y="18"/>
                  <a:pt x="1027" y="18"/>
                  <a:pt x="1026" y="17"/>
                </a:cubicBezTo>
                <a:close/>
                <a:moveTo>
                  <a:pt x="606" y="382"/>
                </a:moveTo>
                <a:cubicBezTo>
                  <a:pt x="607" y="383"/>
                  <a:pt x="607" y="383"/>
                  <a:pt x="607" y="383"/>
                </a:cubicBezTo>
                <a:cubicBezTo>
                  <a:pt x="607" y="384"/>
                  <a:pt x="607" y="384"/>
                  <a:pt x="607" y="384"/>
                </a:cubicBezTo>
                <a:cubicBezTo>
                  <a:pt x="608" y="383"/>
                  <a:pt x="608" y="383"/>
                  <a:pt x="608" y="383"/>
                </a:cubicBezTo>
                <a:cubicBezTo>
                  <a:pt x="607" y="381"/>
                  <a:pt x="607" y="381"/>
                  <a:pt x="607" y="381"/>
                </a:cubicBezTo>
                <a:cubicBezTo>
                  <a:pt x="606" y="380"/>
                  <a:pt x="606" y="380"/>
                  <a:pt x="606" y="380"/>
                </a:cubicBezTo>
                <a:cubicBezTo>
                  <a:pt x="606" y="382"/>
                  <a:pt x="606" y="382"/>
                  <a:pt x="606" y="382"/>
                </a:cubicBezTo>
                <a:close/>
                <a:moveTo>
                  <a:pt x="609" y="394"/>
                </a:moveTo>
                <a:cubicBezTo>
                  <a:pt x="609" y="395"/>
                  <a:pt x="609" y="395"/>
                  <a:pt x="609" y="395"/>
                </a:cubicBezTo>
                <a:cubicBezTo>
                  <a:pt x="609" y="396"/>
                  <a:pt x="609" y="396"/>
                  <a:pt x="609" y="396"/>
                </a:cubicBezTo>
                <a:cubicBezTo>
                  <a:pt x="610" y="395"/>
                  <a:pt x="610" y="395"/>
                  <a:pt x="610" y="395"/>
                </a:cubicBezTo>
                <a:cubicBezTo>
                  <a:pt x="609" y="394"/>
                  <a:pt x="609" y="394"/>
                  <a:pt x="609" y="394"/>
                </a:cubicBezTo>
                <a:close/>
                <a:moveTo>
                  <a:pt x="621" y="411"/>
                </a:moveTo>
                <a:cubicBezTo>
                  <a:pt x="621" y="411"/>
                  <a:pt x="621" y="411"/>
                  <a:pt x="620" y="411"/>
                </a:cubicBezTo>
                <a:cubicBezTo>
                  <a:pt x="620" y="411"/>
                  <a:pt x="620" y="411"/>
                  <a:pt x="621" y="413"/>
                </a:cubicBezTo>
                <a:cubicBezTo>
                  <a:pt x="621" y="413"/>
                  <a:pt x="621" y="413"/>
                  <a:pt x="621" y="411"/>
                </a:cubicBezTo>
                <a:close/>
                <a:moveTo>
                  <a:pt x="606" y="377"/>
                </a:moveTo>
                <a:cubicBezTo>
                  <a:pt x="606" y="378"/>
                  <a:pt x="606" y="378"/>
                  <a:pt x="606" y="378"/>
                </a:cubicBezTo>
                <a:cubicBezTo>
                  <a:pt x="607" y="378"/>
                  <a:pt x="607" y="378"/>
                  <a:pt x="607" y="378"/>
                </a:cubicBezTo>
                <a:cubicBezTo>
                  <a:pt x="606" y="377"/>
                  <a:pt x="606" y="377"/>
                  <a:pt x="606" y="377"/>
                </a:cubicBezTo>
                <a:close/>
                <a:moveTo>
                  <a:pt x="619" y="410"/>
                </a:moveTo>
                <a:cubicBezTo>
                  <a:pt x="618" y="410"/>
                  <a:pt x="618" y="410"/>
                  <a:pt x="618" y="410"/>
                </a:cubicBezTo>
                <a:cubicBezTo>
                  <a:pt x="616" y="409"/>
                  <a:pt x="616" y="409"/>
                  <a:pt x="616" y="409"/>
                </a:cubicBezTo>
                <a:cubicBezTo>
                  <a:pt x="614" y="409"/>
                  <a:pt x="614" y="409"/>
                  <a:pt x="614" y="409"/>
                </a:cubicBezTo>
                <a:cubicBezTo>
                  <a:pt x="613" y="408"/>
                  <a:pt x="613" y="408"/>
                  <a:pt x="613" y="408"/>
                </a:cubicBezTo>
                <a:cubicBezTo>
                  <a:pt x="612" y="407"/>
                  <a:pt x="612" y="407"/>
                  <a:pt x="612" y="407"/>
                </a:cubicBezTo>
                <a:cubicBezTo>
                  <a:pt x="610" y="406"/>
                  <a:pt x="610" y="406"/>
                  <a:pt x="610" y="406"/>
                </a:cubicBezTo>
                <a:cubicBezTo>
                  <a:pt x="609" y="405"/>
                  <a:pt x="609" y="405"/>
                  <a:pt x="609" y="405"/>
                </a:cubicBezTo>
                <a:cubicBezTo>
                  <a:pt x="609" y="404"/>
                  <a:pt x="609" y="404"/>
                  <a:pt x="609" y="404"/>
                </a:cubicBezTo>
                <a:cubicBezTo>
                  <a:pt x="608" y="404"/>
                  <a:pt x="608" y="404"/>
                  <a:pt x="608" y="404"/>
                </a:cubicBezTo>
                <a:cubicBezTo>
                  <a:pt x="607" y="403"/>
                  <a:pt x="607" y="403"/>
                  <a:pt x="607" y="403"/>
                </a:cubicBezTo>
                <a:cubicBezTo>
                  <a:pt x="606" y="402"/>
                  <a:pt x="606" y="402"/>
                  <a:pt x="606" y="402"/>
                </a:cubicBezTo>
                <a:cubicBezTo>
                  <a:pt x="605" y="403"/>
                  <a:pt x="605" y="403"/>
                  <a:pt x="605" y="403"/>
                </a:cubicBezTo>
                <a:cubicBezTo>
                  <a:pt x="603" y="403"/>
                  <a:pt x="603" y="403"/>
                  <a:pt x="603" y="403"/>
                </a:cubicBezTo>
                <a:cubicBezTo>
                  <a:pt x="604" y="404"/>
                  <a:pt x="604" y="404"/>
                  <a:pt x="604" y="404"/>
                </a:cubicBezTo>
                <a:cubicBezTo>
                  <a:pt x="604" y="405"/>
                  <a:pt x="604" y="405"/>
                  <a:pt x="604" y="405"/>
                </a:cubicBezTo>
                <a:cubicBezTo>
                  <a:pt x="605" y="406"/>
                  <a:pt x="605" y="406"/>
                  <a:pt x="605" y="406"/>
                </a:cubicBezTo>
                <a:cubicBezTo>
                  <a:pt x="608" y="406"/>
                  <a:pt x="608" y="406"/>
                  <a:pt x="608" y="406"/>
                </a:cubicBezTo>
                <a:cubicBezTo>
                  <a:pt x="607" y="407"/>
                  <a:pt x="607" y="407"/>
                  <a:pt x="607" y="407"/>
                </a:cubicBezTo>
                <a:cubicBezTo>
                  <a:pt x="605" y="407"/>
                  <a:pt x="605" y="407"/>
                  <a:pt x="605" y="407"/>
                </a:cubicBezTo>
                <a:cubicBezTo>
                  <a:pt x="604" y="408"/>
                  <a:pt x="604" y="408"/>
                  <a:pt x="604" y="408"/>
                </a:cubicBezTo>
                <a:cubicBezTo>
                  <a:pt x="605" y="409"/>
                  <a:pt x="605" y="409"/>
                  <a:pt x="605" y="409"/>
                </a:cubicBezTo>
                <a:cubicBezTo>
                  <a:pt x="604" y="410"/>
                  <a:pt x="604" y="410"/>
                  <a:pt x="604" y="410"/>
                </a:cubicBezTo>
                <a:cubicBezTo>
                  <a:pt x="605" y="411"/>
                  <a:pt x="605" y="411"/>
                  <a:pt x="605" y="411"/>
                </a:cubicBezTo>
                <a:cubicBezTo>
                  <a:pt x="606" y="410"/>
                  <a:pt x="606" y="410"/>
                  <a:pt x="606" y="410"/>
                </a:cubicBezTo>
                <a:cubicBezTo>
                  <a:pt x="606" y="411"/>
                  <a:pt x="606" y="411"/>
                  <a:pt x="606" y="411"/>
                </a:cubicBezTo>
                <a:cubicBezTo>
                  <a:pt x="608" y="411"/>
                  <a:pt x="608" y="411"/>
                  <a:pt x="608" y="411"/>
                </a:cubicBezTo>
                <a:cubicBezTo>
                  <a:pt x="608" y="413"/>
                  <a:pt x="608" y="413"/>
                  <a:pt x="608" y="413"/>
                </a:cubicBezTo>
                <a:cubicBezTo>
                  <a:pt x="609" y="413"/>
                  <a:pt x="609" y="413"/>
                  <a:pt x="609" y="413"/>
                </a:cubicBezTo>
                <a:cubicBezTo>
                  <a:pt x="610" y="413"/>
                  <a:pt x="610" y="413"/>
                  <a:pt x="610" y="413"/>
                </a:cubicBezTo>
                <a:cubicBezTo>
                  <a:pt x="609" y="415"/>
                  <a:pt x="609" y="415"/>
                  <a:pt x="609" y="415"/>
                </a:cubicBezTo>
                <a:cubicBezTo>
                  <a:pt x="609" y="416"/>
                  <a:pt x="609" y="416"/>
                  <a:pt x="609" y="416"/>
                </a:cubicBezTo>
                <a:cubicBezTo>
                  <a:pt x="610" y="416"/>
                  <a:pt x="610" y="416"/>
                  <a:pt x="610" y="416"/>
                </a:cubicBezTo>
                <a:cubicBezTo>
                  <a:pt x="610" y="415"/>
                  <a:pt x="610" y="415"/>
                  <a:pt x="610" y="415"/>
                </a:cubicBezTo>
                <a:cubicBezTo>
                  <a:pt x="612" y="414"/>
                  <a:pt x="612" y="414"/>
                  <a:pt x="612" y="414"/>
                </a:cubicBezTo>
                <a:cubicBezTo>
                  <a:pt x="612" y="416"/>
                  <a:pt x="612" y="416"/>
                  <a:pt x="612" y="416"/>
                </a:cubicBezTo>
                <a:cubicBezTo>
                  <a:pt x="611" y="417"/>
                  <a:pt x="611" y="417"/>
                  <a:pt x="611" y="417"/>
                </a:cubicBezTo>
                <a:cubicBezTo>
                  <a:pt x="611" y="418"/>
                  <a:pt x="611" y="418"/>
                  <a:pt x="611" y="418"/>
                </a:cubicBezTo>
                <a:cubicBezTo>
                  <a:pt x="612" y="419"/>
                  <a:pt x="612" y="419"/>
                  <a:pt x="612" y="419"/>
                </a:cubicBezTo>
                <a:cubicBezTo>
                  <a:pt x="614" y="419"/>
                  <a:pt x="614" y="419"/>
                  <a:pt x="614" y="419"/>
                </a:cubicBezTo>
                <a:cubicBezTo>
                  <a:pt x="614" y="420"/>
                  <a:pt x="614" y="420"/>
                  <a:pt x="614" y="420"/>
                </a:cubicBezTo>
                <a:cubicBezTo>
                  <a:pt x="615" y="420"/>
                  <a:pt x="615" y="420"/>
                  <a:pt x="615" y="420"/>
                </a:cubicBezTo>
                <a:cubicBezTo>
                  <a:pt x="615" y="421"/>
                  <a:pt x="615" y="421"/>
                  <a:pt x="615" y="421"/>
                </a:cubicBezTo>
                <a:cubicBezTo>
                  <a:pt x="615" y="422"/>
                  <a:pt x="615" y="422"/>
                  <a:pt x="615" y="422"/>
                </a:cubicBezTo>
                <a:cubicBezTo>
                  <a:pt x="616" y="424"/>
                  <a:pt x="616" y="424"/>
                  <a:pt x="616" y="424"/>
                </a:cubicBezTo>
                <a:cubicBezTo>
                  <a:pt x="617" y="423"/>
                  <a:pt x="617" y="423"/>
                  <a:pt x="617" y="423"/>
                </a:cubicBezTo>
                <a:cubicBezTo>
                  <a:pt x="618" y="423"/>
                  <a:pt x="618" y="423"/>
                  <a:pt x="618" y="423"/>
                </a:cubicBezTo>
                <a:cubicBezTo>
                  <a:pt x="619" y="423"/>
                  <a:pt x="619" y="423"/>
                  <a:pt x="619" y="423"/>
                </a:cubicBezTo>
                <a:cubicBezTo>
                  <a:pt x="617" y="425"/>
                  <a:pt x="617" y="425"/>
                  <a:pt x="617" y="425"/>
                </a:cubicBezTo>
                <a:cubicBezTo>
                  <a:pt x="619" y="428"/>
                  <a:pt x="619" y="428"/>
                  <a:pt x="619" y="428"/>
                </a:cubicBezTo>
                <a:cubicBezTo>
                  <a:pt x="620" y="428"/>
                  <a:pt x="620" y="428"/>
                  <a:pt x="620" y="428"/>
                </a:cubicBezTo>
                <a:cubicBezTo>
                  <a:pt x="621" y="429"/>
                  <a:pt x="621" y="429"/>
                  <a:pt x="621" y="429"/>
                </a:cubicBezTo>
                <a:cubicBezTo>
                  <a:pt x="624" y="431"/>
                  <a:pt x="624" y="431"/>
                  <a:pt x="624" y="431"/>
                </a:cubicBezTo>
                <a:cubicBezTo>
                  <a:pt x="625" y="431"/>
                  <a:pt x="625" y="431"/>
                  <a:pt x="625" y="431"/>
                </a:cubicBezTo>
                <a:cubicBezTo>
                  <a:pt x="626" y="431"/>
                  <a:pt x="626" y="431"/>
                  <a:pt x="626" y="431"/>
                </a:cubicBezTo>
                <a:cubicBezTo>
                  <a:pt x="625" y="427"/>
                  <a:pt x="625" y="427"/>
                  <a:pt x="625" y="427"/>
                </a:cubicBezTo>
                <a:cubicBezTo>
                  <a:pt x="626" y="426"/>
                  <a:pt x="626" y="426"/>
                  <a:pt x="626" y="426"/>
                </a:cubicBezTo>
                <a:cubicBezTo>
                  <a:pt x="625" y="425"/>
                  <a:pt x="625" y="425"/>
                  <a:pt x="625" y="425"/>
                </a:cubicBezTo>
                <a:cubicBezTo>
                  <a:pt x="625" y="422"/>
                  <a:pt x="625" y="422"/>
                  <a:pt x="625" y="422"/>
                </a:cubicBezTo>
                <a:cubicBezTo>
                  <a:pt x="624" y="421"/>
                  <a:pt x="624" y="421"/>
                  <a:pt x="624" y="421"/>
                </a:cubicBezTo>
                <a:cubicBezTo>
                  <a:pt x="622" y="419"/>
                  <a:pt x="622" y="419"/>
                  <a:pt x="622" y="419"/>
                </a:cubicBezTo>
                <a:cubicBezTo>
                  <a:pt x="621" y="415"/>
                  <a:pt x="621" y="415"/>
                  <a:pt x="621" y="415"/>
                </a:cubicBezTo>
                <a:cubicBezTo>
                  <a:pt x="620" y="413"/>
                  <a:pt x="620" y="413"/>
                  <a:pt x="620" y="413"/>
                </a:cubicBezTo>
                <a:cubicBezTo>
                  <a:pt x="620" y="411"/>
                  <a:pt x="620" y="411"/>
                  <a:pt x="620" y="411"/>
                </a:cubicBezTo>
                <a:cubicBezTo>
                  <a:pt x="619" y="410"/>
                  <a:pt x="619" y="410"/>
                  <a:pt x="619" y="410"/>
                </a:cubicBezTo>
                <a:close/>
                <a:moveTo>
                  <a:pt x="612" y="372"/>
                </a:moveTo>
                <a:cubicBezTo>
                  <a:pt x="612" y="372"/>
                  <a:pt x="612" y="372"/>
                  <a:pt x="611" y="372"/>
                </a:cubicBezTo>
                <a:cubicBezTo>
                  <a:pt x="611" y="372"/>
                  <a:pt x="611" y="372"/>
                  <a:pt x="610" y="373"/>
                </a:cubicBezTo>
                <a:cubicBezTo>
                  <a:pt x="610" y="373"/>
                  <a:pt x="610" y="373"/>
                  <a:pt x="610" y="374"/>
                </a:cubicBezTo>
                <a:cubicBezTo>
                  <a:pt x="610" y="374"/>
                  <a:pt x="610" y="374"/>
                  <a:pt x="612" y="373"/>
                </a:cubicBezTo>
                <a:cubicBezTo>
                  <a:pt x="612" y="373"/>
                  <a:pt x="612" y="373"/>
                  <a:pt x="612" y="372"/>
                </a:cubicBezTo>
                <a:close/>
                <a:moveTo>
                  <a:pt x="611" y="383"/>
                </a:moveTo>
                <a:cubicBezTo>
                  <a:pt x="611" y="383"/>
                  <a:pt x="611" y="383"/>
                  <a:pt x="612" y="383"/>
                </a:cubicBezTo>
                <a:cubicBezTo>
                  <a:pt x="612" y="383"/>
                  <a:pt x="612" y="383"/>
                  <a:pt x="611" y="382"/>
                </a:cubicBezTo>
                <a:cubicBezTo>
                  <a:pt x="611" y="382"/>
                  <a:pt x="611" y="382"/>
                  <a:pt x="611" y="383"/>
                </a:cubicBezTo>
                <a:close/>
                <a:moveTo>
                  <a:pt x="896" y="223"/>
                </a:moveTo>
                <a:cubicBezTo>
                  <a:pt x="897" y="223"/>
                  <a:pt x="897" y="223"/>
                  <a:pt x="897" y="223"/>
                </a:cubicBezTo>
                <a:cubicBezTo>
                  <a:pt x="897" y="222"/>
                  <a:pt x="897" y="222"/>
                  <a:pt x="897" y="222"/>
                </a:cubicBezTo>
                <a:cubicBezTo>
                  <a:pt x="897" y="221"/>
                  <a:pt x="897" y="221"/>
                  <a:pt x="897" y="221"/>
                </a:cubicBezTo>
                <a:cubicBezTo>
                  <a:pt x="896" y="222"/>
                  <a:pt x="896" y="222"/>
                  <a:pt x="896" y="222"/>
                </a:cubicBezTo>
                <a:cubicBezTo>
                  <a:pt x="896" y="223"/>
                  <a:pt x="896" y="223"/>
                  <a:pt x="896" y="223"/>
                </a:cubicBezTo>
                <a:close/>
                <a:moveTo>
                  <a:pt x="605" y="376"/>
                </a:moveTo>
                <a:cubicBezTo>
                  <a:pt x="605" y="376"/>
                  <a:pt x="605" y="376"/>
                  <a:pt x="605" y="375"/>
                </a:cubicBezTo>
                <a:cubicBezTo>
                  <a:pt x="605" y="375"/>
                  <a:pt x="605" y="375"/>
                  <a:pt x="605" y="374"/>
                </a:cubicBezTo>
                <a:cubicBezTo>
                  <a:pt x="605" y="374"/>
                  <a:pt x="605" y="374"/>
                  <a:pt x="602" y="371"/>
                </a:cubicBezTo>
                <a:cubicBezTo>
                  <a:pt x="602" y="371"/>
                  <a:pt x="602" y="371"/>
                  <a:pt x="602" y="373"/>
                </a:cubicBezTo>
                <a:cubicBezTo>
                  <a:pt x="602" y="373"/>
                  <a:pt x="602" y="373"/>
                  <a:pt x="604" y="375"/>
                </a:cubicBezTo>
                <a:cubicBezTo>
                  <a:pt x="604" y="375"/>
                  <a:pt x="604" y="375"/>
                  <a:pt x="604" y="376"/>
                </a:cubicBezTo>
                <a:cubicBezTo>
                  <a:pt x="604" y="376"/>
                  <a:pt x="604" y="376"/>
                  <a:pt x="605" y="376"/>
                </a:cubicBezTo>
                <a:close/>
                <a:moveTo>
                  <a:pt x="892" y="214"/>
                </a:moveTo>
                <a:cubicBezTo>
                  <a:pt x="892" y="214"/>
                  <a:pt x="892" y="214"/>
                  <a:pt x="892" y="215"/>
                </a:cubicBezTo>
                <a:cubicBezTo>
                  <a:pt x="892" y="215"/>
                  <a:pt x="892" y="215"/>
                  <a:pt x="892" y="216"/>
                </a:cubicBezTo>
                <a:cubicBezTo>
                  <a:pt x="892" y="216"/>
                  <a:pt x="892" y="216"/>
                  <a:pt x="893" y="215"/>
                </a:cubicBezTo>
                <a:cubicBezTo>
                  <a:pt x="893" y="215"/>
                  <a:pt x="893" y="215"/>
                  <a:pt x="894" y="215"/>
                </a:cubicBezTo>
                <a:cubicBezTo>
                  <a:pt x="894" y="215"/>
                  <a:pt x="894" y="215"/>
                  <a:pt x="893" y="214"/>
                </a:cubicBezTo>
                <a:cubicBezTo>
                  <a:pt x="893" y="214"/>
                  <a:pt x="893" y="214"/>
                  <a:pt x="892" y="214"/>
                </a:cubicBezTo>
                <a:close/>
                <a:moveTo>
                  <a:pt x="608" y="378"/>
                </a:moveTo>
                <a:cubicBezTo>
                  <a:pt x="607" y="379"/>
                  <a:pt x="607" y="379"/>
                  <a:pt x="607" y="379"/>
                </a:cubicBezTo>
                <a:cubicBezTo>
                  <a:pt x="608" y="379"/>
                  <a:pt x="608" y="379"/>
                  <a:pt x="608" y="379"/>
                </a:cubicBezTo>
                <a:cubicBezTo>
                  <a:pt x="608" y="380"/>
                  <a:pt x="608" y="380"/>
                  <a:pt x="608" y="380"/>
                </a:cubicBezTo>
                <a:cubicBezTo>
                  <a:pt x="608" y="381"/>
                  <a:pt x="608" y="381"/>
                  <a:pt x="608" y="381"/>
                </a:cubicBezTo>
                <a:cubicBezTo>
                  <a:pt x="609" y="381"/>
                  <a:pt x="609" y="381"/>
                  <a:pt x="609" y="381"/>
                </a:cubicBezTo>
                <a:cubicBezTo>
                  <a:pt x="610" y="383"/>
                  <a:pt x="610" y="383"/>
                  <a:pt x="610" y="383"/>
                </a:cubicBezTo>
                <a:cubicBezTo>
                  <a:pt x="611" y="381"/>
                  <a:pt x="611" y="381"/>
                  <a:pt x="611" y="381"/>
                </a:cubicBezTo>
                <a:cubicBezTo>
                  <a:pt x="611" y="378"/>
                  <a:pt x="611" y="378"/>
                  <a:pt x="611" y="378"/>
                </a:cubicBezTo>
                <a:cubicBezTo>
                  <a:pt x="610" y="377"/>
                  <a:pt x="610" y="377"/>
                  <a:pt x="610" y="377"/>
                </a:cubicBezTo>
                <a:cubicBezTo>
                  <a:pt x="608" y="378"/>
                  <a:pt x="608" y="378"/>
                  <a:pt x="608" y="378"/>
                </a:cubicBezTo>
                <a:close/>
                <a:moveTo>
                  <a:pt x="610" y="388"/>
                </a:moveTo>
                <a:cubicBezTo>
                  <a:pt x="610" y="388"/>
                  <a:pt x="610" y="388"/>
                  <a:pt x="610" y="389"/>
                </a:cubicBezTo>
                <a:cubicBezTo>
                  <a:pt x="610" y="389"/>
                  <a:pt x="610" y="389"/>
                  <a:pt x="610" y="390"/>
                </a:cubicBezTo>
                <a:cubicBezTo>
                  <a:pt x="610" y="390"/>
                  <a:pt x="610" y="390"/>
                  <a:pt x="611" y="389"/>
                </a:cubicBezTo>
                <a:cubicBezTo>
                  <a:pt x="611" y="389"/>
                  <a:pt x="611" y="389"/>
                  <a:pt x="610" y="388"/>
                </a:cubicBezTo>
                <a:close/>
                <a:moveTo>
                  <a:pt x="605" y="369"/>
                </a:moveTo>
                <a:cubicBezTo>
                  <a:pt x="604" y="369"/>
                  <a:pt x="604" y="369"/>
                  <a:pt x="604" y="369"/>
                </a:cubicBezTo>
                <a:cubicBezTo>
                  <a:pt x="605" y="371"/>
                  <a:pt x="605" y="371"/>
                  <a:pt x="605" y="371"/>
                </a:cubicBezTo>
                <a:cubicBezTo>
                  <a:pt x="605" y="372"/>
                  <a:pt x="605" y="372"/>
                  <a:pt x="605" y="372"/>
                </a:cubicBezTo>
                <a:cubicBezTo>
                  <a:pt x="606" y="374"/>
                  <a:pt x="606" y="374"/>
                  <a:pt x="606" y="374"/>
                </a:cubicBezTo>
                <a:cubicBezTo>
                  <a:pt x="607" y="375"/>
                  <a:pt x="607" y="375"/>
                  <a:pt x="607" y="375"/>
                </a:cubicBezTo>
                <a:cubicBezTo>
                  <a:pt x="607" y="373"/>
                  <a:pt x="607" y="373"/>
                  <a:pt x="607" y="373"/>
                </a:cubicBezTo>
                <a:cubicBezTo>
                  <a:pt x="606" y="371"/>
                  <a:pt x="606" y="371"/>
                  <a:pt x="606" y="371"/>
                </a:cubicBezTo>
                <a:cubicBezTo>
                  <a:pt x="605" y="369"/>
                  <a:pt x="605" y="369"/>
                  <a:pt x="605" y="369"/>
                </a:cubicBezTo>
                <a:close/>
                <a:moveTo>
                  <a:pt x="611" y="391"/>
                </a:moveTo>
                <a:cubicBezTo>
                  <a:pt x="611" y="390"/>
                  <a:pt x="611" y="390"/>
                  <a:pt x="611" y="390"/>
                </a:cubicBezTo>
                <a:cubicBezTo>
                  <a:pt x="609" y="391"/>
                  <a:pt x="609" y="391"/>
                  <a:pt x="609" y="391"/>
                </a:cubicBezTo>
                <a:cubicBezTo>
                  <a:pt x="609" y="392"/>
                  <a:pt x="609" y="392"/>
                  <a:pt x="609" y="392"/>
                </a:cubicBezTo>
                <a:cubicBezTo>
                  <a:pt x="610" y="392"/>
                  <a:pt x="610" y="392"/>
                  <a:pt x="610" y="392"/>
                </a:cubicBezTo>
                <a:cubicBezTo>
                  <a:pt x="611" y="391"/>
                  <a:pt x="611" y="391"/>
                  <a:pt x="611" y="391"/>
                </a:cubicBezTo>
                <a:close/>
                <a:moveTo>
                  <a:pt x="608" y="377"/>
                </a:moveTo>
                <a:cubicBezTo>
                  <a:pt x="608" y="376"/>
                  <a:pt x="608" y="376"/>
                  <a:pt x="608" y="376"/>
                </a:cubicBezTo>
                <a:cubicBezTo>
                  <a:pt x="607" y="376"/>
                  <a:pt x="607" y="376"/>
                  <a:pt x="607" y="376"/>
                </a:cubicBezTo>
                <a:cubicBezTo>
                  <a:pt x="608" y="377"/>
                  <a:pt x="608" y="377"/>
                  <a:pt x="608" y="377"/>
                </a:cubicBezTo>
                <a:close/>
                <a:moveTo>
                  <a:pt x="989" y="484"/>
                </a:moveTo>
                <a:cubicBezTo>
                  <a:pt x="989" y="484"/>
                  <a:pt x="989" y="484"/>
                  <a:pt x="988" y="484"/>
                </a:cubicBezTo>
                <a:cubicBezTo>
                  <a:pt x="988" y="484"/>
                  <a:pt x="988" y="484"/>
                  <a:pt x="987" y="484"/>
                </a:cubicBezTo>
                <a:cubicBezTo>
                  <a:pt x="987" y="484"/>
                  <a:pt x="987" y="484"/>
                  <a:pt x="988" y="485"/>
                </a:cubicBezTo>
                <a:cubicBezTo>
                  <a:pt x="988" y="485"/>
                  <a:pt x="988" y="485"/>
                  <a:pt x="989" y="484"/>
                </a:cubicBezTo>
                <a:close/>
                <a:moveTo>
                  <a:pt x="987" y="467"/>
                </a:moveTo>
                <a:cubicBezTo>
                  <a:pt x="988" y="466"/>
                  <a:pt x="988" y="466"/>
                  <a:pt x="988" y="466"/>
                </a:cubicBezTo>
                <a:cubicBezTo>
                  <a:pt x="986" y="467"/>
                  <a:pt x="986" y="467"/>
                  <a:pt x="986" y="467"/>
                </a:cubicBezTo>
                <a:cubicBezTo>
                  <a:pt x="987" y="467"/>
                  <a:pt x="987" y="467"/>
                  <a:pt x="987" y="467"/>
                </a:cubicBezTo>
                <a:close/>
                <a:moveTo>
                  <a:pt x="623" y="416"/>
                </a:moveTo>
                <a:cubicBezTo>
                  <a:pt x="623" y="416"/>
                  <a:pt x="623" y="416"/>
                  <a:pt x="623" y="418"/>
                </a:cubicBezTo>
                <a:cubicBezTo>
                  <a:pt x="623" y="418"/>
                  <a:pt x="623" y="418"/>
                  <a:pt x="625" y="419"/>
                </a:cubicBezTo>
                <a:cubicBezTo>
                  <a:pt x="625" y="419"/>
                  <a:pt x="625" y="419"/>
                  <a:pt x="626" y="419"/>
                </a:cubicBezTo>
                <a:cubicBezTo>
                  <a:pt x="626" y="419"/>
                  <a:pt x="626" y="419"/>
                  <a:pt x="624" y="417"/>
                </a:cubicBezTo>
                <a:cubicBezTo>
                  <a:pt x="624" y="417"/>
                  <a:pt x="624" y="417"/>
                  <a:pt x="623" y="416"/>
                </a:cubicBezTo>
                <a:close/>
                <a:moveTo>
                  <a:pt x="615" y="405"/>
                </a:moveTo>
                <a:cubicBezTo>
                  <a:pt x="615" y="405"/>
                  <a:pt x="615" y="405"/>
                  <a:pt x="615" y="406"/>
                </a:cubicBezTo>
                <a:cubicBezTo>
                  <a:pt x="615" y="406"/>
                  <a:pt x="615" y="406"/>
                  <a:pt x="616" y="406"/>
                </a:cubicBezTo>
                <a:cubicBezTo>
                  <a:pt x="616" y="406"/>
                  <a:pt x="616" y="406"/>
                  <a:pt x="617" y="405"/>
                </a:cubicBezTo>
                <a:cubicBezTo>
                  <a:pt x="617" y="405"/>
                  <a:pt x="617" y="405"/>
                  <a:pt x="616" y="405"/>
                </a:cubicBezTo>
                <a:cubicBezTo>
                  <a:pt x="616" y="405"/>
                  <a:pt x="616" y="405"/>
                  <a:pt x="615" y="405"/>
                </a:cubicBezTo>
                <a:close/>
                <a:moveTo>
                  <a:pt x="984" y="452"/>
                </a:moveTo>
                <a:cubicBezTo>
                  <a:pt x="986" y="452"/>
                  <a:pt x="986" y="452"/>
                  <a:pt x="986" y="452"/>
                </a:cubicBezTo>
                <a:cubicBezTo>
                  <a:pt x="987" y="453"/>
                  <a:pt x="987" y="453"/>
                  <a:pt x="987" y="453"/>
                </a:cubicBezTo>
                <a:cubicBezTo>
                  <a:pt x="989" y="453"/>
                  <a:pt x="989" y="453"/>
                  <a:pt x="989" y="453"/>
                </a:cubicBezTo>
                <a:cubicBezTo>
                  <a:pt x="990" y="453"/>
                  <a:pt x="990" y="453"/>
                  <a:pt x="990" y="453"/>
                </a:cubicBezTo>
                <a:cubicBezTo>
                  <a:pt x="990" y="452"/>
                  <a:pt x="990" y="452"/>
                  <a:pt x="990" y="452"/>
                </a:cubicBezTo>
                <a:cubicBezTo>
                  <a:pt x="989" y="451"/>
                  <a:pt x="989" y="451"/>
                  <a:pt x="989" y="451"/>
                </a:cubicBezTo>
                <a:cubicBezTo>
                  <a:pt x="989" y="450"/>
                  <a:pt x="989" y="450"/>
                  <a:pt x="989" y="450"/>
                </a:cubicBezTo>
                <a:cubicBezTo>
                  <a:pt x="988" y="450"/>
                  <a:pt x="988" y="450"/>
                  <a:pt x="988" y="450"/>
                </a:cubicBezTo>
                <a:cubicBezTo>
                  <a:pt x="987" y="449"/>
                  <a:pt x="987" y="449"/>
                  <a:pt x="987" y="449"/>
                </a:cubicBezTo>
                <a:cubicBezTo>
                  <a:pt x="985" y="448"/>
                  <a:pt x="985" y="448"/>
                  <a:pt x="985" y="448"/>
                </a:cubicBezTo>
                <a:cubicBezTo>
                  <a:pt x="984" y="446"/>
                  <a:pt x="984" y="446"/>
                  <a:pt x="984" y="446"/>
                </a:cubicBezTo>
                <a:cubicBezTo>
                  <a:pt x="982" y="446"/>
                  <a:pt x="982" y="446"/>
                  <a:pt x="982" y="446"/>
                </a:cubicBezTo>
                <a:cubicBezTo>
                  <a:pt x="980" y="446"/>
                  <a:pt x="980" y="446"/>
                  <a:pt x="980" y="446"/>
                </a:cubicBezTo>
                <a:cubicBezTo>
                  <a:pt x="977" y="445"/>
                  <a:pt x="977" y="445"/>
                  <a:pt x="977" y="445"/>
                </a:cubicBezTo>
                <a:cubicBezTo>
                  <a:pt x="976" y="444"/>
                  <a:pt x="976" y="444"/>
                  <a:pt x="976" y="444"/>
                </a:cubicBezTo>
                <a:cubicBezTo>
                  <a:pt x="975" y="445"/>
                  <a:pt x="975" y="445"/>
                  <a:pt x="975" y="445"/>
                </a:cubicBezTo>
                <a:cubicBezTo>
                  <a:pt x="976" y="446"/>
                  <a:pt x="976" y="446"/>
                  <a:pt x="976" y="446"/>
                </a:cubicBezTo>
                <a:cubicBezTo>
                  <a:pt x="977" y="447"/>
                  <a:pt x="977" y="447"/>
                  <a:pt x="977" y="447"/>
                </a:cubicBezTo>
                <a:cubicBezTo>
                  <a:pt x="979" y="448"/>
                  <a:pt x="979" y="448"/>
                  <a:pt x="979" y="448"/>
                </a:cubicBezTo>
                <a:cubicBezTo>
                  <a:pt x="979" y="449"/>
                  <a:pt x="979" y="449"/>
                  <a:pt x="979" y="449"/>
                </a:cubicBezTo>
                <a:cubicBezTo>
                  <a:pt x="980" y="450"/>
                  <a:pt x="980" y="450"/>
                  <a:pt x="980" y="450"/>
                </a:cubicBezTo>
                <a:cubicBezTo>
                  <a:pt x="983" y="452"/>
                  <a:pt x="983" y="452"/>
                  <a:pt x="983" y="452"/>
                </a:cubicBezTo>
                <a:cubicBezTo>
                  <a:pt x="984" y="452"/>
                  <a:pt x="984" y="452"/>
                  <a:pt x="984" y="452"/>
                </a:cubicBezTo>
                <a:close/>
                <a:moveTo>
                  <a:pt x="609" y="385"/>
                </a:moveTo>
                <a:cubicBezTo>
                  <a:pt x="610" y="384"/>
                  <a:pt x="610" y="384"/>
                  <a:pt x="610" y="384"/>
                </a:cubicBezTo>
                <a:cubicBezTo>
                  <a:pt x="610" y="383"/>
                  <a:pt x="610" y="383"/>
                  <a:pt x="610" y="383"/>
                </a:cubicBezTo>
                <a:cubicBezTo>
                  <a:pt x="608" y="384"/>
                  <a:pt x="608" y="384"/>
                  <a:pt x="608" y="384"/>
                </a:cubicBezTo>
                <a:cubicBezTo>
                  <a:pt x="609" y="385"/>
                  <a:pt x="609" y="385"/>
                  <a:pt x="609" y="385"/>
                </a:cubicBezTo>
                <a:close/>
                <a:moveTo>
                  <a:pt x="975" y="476"/>
                </a:moveTo>
                <a:cubicBezTo>
                  <a:pt x="975" y="476"/>
                  <a:pt x="975" y="476"/>
                  <a:pt x="978" y="477"/>
                </a:cubicBezTo>
                <a:cubicBezTo>
                  <a:pt x="978" y="477"/>
                  <a:pt x="978" y="477"/>
                  <a:pt x="979" y="478"/>
                </a:cubicBezTo>
                <a:cubicBezTo>
                  <a:pt x="979" y="478"/>
                  <a:pt x="979" y="478"/>
                  <a:pt x="980" y="479"/>
                </a:cubicBezTo>
                <a:cubicBezTo>
                  <a:pt x="980" y="479"/>
                  <a:pt x="980" y="479"/>
                  <a:pt x="981" y="478"/>
                </a:cubicBezTo>
                <a:cubicBezTo>
                  <a:pt x="981" y="478"/>
                  <a:pt x="981" y="478"/>
                  <a:pt x="981" y="477"/>
                </a:cubicBezTo>
                <a:cubicBezTo>
                  <a:pt x="981" y="477"/>
                  <a:pt x="981" y="477"/>
                  <a:pt x="981" y="476"/>
                </a:cubicBezTo>
                <a:cubicBezTo>
                  <a:pt x="981" y="476"/>
                  <a:pt x="981" y="476"/>
                  <a:pt x="982" y="475"/>
                </a:cubicBezTo>
                <a:cubicBezTo>
                  <a:pt x="982" y="475"/>
                  <a:pt x="982" y="475"/>
                  <a:pt x="983" y="475"/>
                </a:cubicBezTo>
                <a:cubicBezTo>
                  <a:pt x="983" y="475"/>
                  <a:pt x="983" y="475"/>
                  <a:pt x="983" y="474"/>
                </a:cubicBezTo>
                <a:cubicBezTo>
                  <a:pt x="983" y="474"/>
                  <a:pt x="983" y="474"/>
                  <a:pt x="982" y="474"/>
                </a:cubicBezTo>
                <a:cubicBezTo>
                  <a:pt x="982" y="474"/>
                  <a:pt x="982" y="474"/>
                  <a:pt x="981" y="474"/>
                </a:cubicBezTo>
                <a:cubicBezTo>
                  <a:pt x="981" y="474"/>
                  <a:pt x="981" y="474"/>
                  <a:pt x="980" y="475"/>
                </a:cubicBezTo>
                <a:cubicBezTo>
                  <a:pt x="980" y="475"/>
                  <a:pt x="980" y="475"/>
                  <a:pt x="978" y="475"/>
                </a:cubicBezTo>
                <a:cubicBezTo>
                  <a:pt x="978" y="475"/>
                  <a:pt x="978" y="475"/>
                  <a:pt x="978" y="474"/>
                </a:cubicBezTo>
                <a:cubicBezTo>
                  <a:pt x="978" y="474"/>
                  <a:pt x="978" y="474"/>
                  <a:pt x="977" y="474"/>
                </a:cubicBezTo>
                <a:cubicBezTo>
                  <a:pt x="977" y="474"/>
                  <a:pt x="977" y="474"/>
                  <a:pt x="975" y="473"/>
                </a:cubicBezTo>
                <a:cubicBezTo>
                  <a:pt x="975" y="473"/>
                  <a:pt x="975" y="473"/>
                  <a:pt x="974" y="474"/>
                </a:cubicBezTo>
                <a:cubicBezTo>
                  <a:pt x="974" y="474"/>
                  <a:pt x="974" y="474"/>
                  <a:pt x="974" y="475"/>
                </a:cubicBezTo>
                <a:cubicBezTo>
                  <a:pt x="974" y="475"/>
                  <a:pt x="974" y="475"/>
                  <a:pt x="975" y="476"/>
                </a:cubicBezTo>
                <a:close/>
                <a:moveTo>
                  <a:pt x="973" y="472"/>
                </a:moveTo>
                <a:cubicBezTo>
                  <a:pt x="973" y="472"/>
                  <a:pt x="973" y="472"/>
                  <a:pt x="973" y="471"/>
                </a:cubicBezTo>
                <a:cubicBezTo>
                  <a:pt x="973" y="471"/>
                  <a:pt x="973" y="471"/>
                  <a:pt x="974" y="470"/>
                </a:cubicBezTo>
                <a:cubicBezTo>
                  <a:pt x="974" y="470"/>
                  <a:pt x="974" y="470"/>
                  <a:pt x="973" y="469"/>
                </a:cubicBezTo>
                <a:cubicBezTo>
                  <a:pt x="973" y="469"/>
                  <a:pt x="973" y="469"/>
                  <a:pt x="971" y="471"/>
                </a:cubicBezTo>
                <a:cubicBezTo>
                  <a:pt x="971" y="471"/>
                  <a:pt x="971" y="471"/>
                  <a:pt x="971" y="472"/>
                </a:cubicBezTo>
                <a:cubicBezTo>
                  <a:pt x="971" y="472"/>
                  <a:pt x="971" y="472"/>
                  <a:pt x="972" y="472"/>
                </a:cubicBezTo>
                <a:cubicBezTo>
                  <a:pt x="972" y="472"/>
                  <a:pt x="972" y="472"/>
                  <a:pt x="972" y="473"/>
                </a:cubicBezTo>
                <a:cubicBezTo>
                  <a:pt x="972" y="473"/>
                  <a:pt x="972" y="473"/>
                  <a:pt x="973" y="474"/>
                </a:cubicBezTo>
                <a:cubicBezTo>
                  <a:pt x="973" y="474"/>
                  <a:pt x="973" y="474"/>
                  <a:pt x="974" y="474"/>
                </a:cubicBezTo>
                <a:cubicBezTo>
                  <a:pt x="974" y="474"/>
                  <a:pt x="974" y="474"/>
                  <a:pt x="973" y="473"/>
                </a:cubicBezTo>
                <a:cubicBezTo>
                  <a:pt x="973" y="473"/>
                  <a:pt x="973" y="473"/>
                  <a:pt x="973" y="472"/>
                </a:cubicBezTo>
                <a:close/>
                <a:moveTo>
                  <a:pt x="603" y="367"/>
                </a:moveTo>
                <a:cubicBezTo>
                  <a:pt x="602" y="368"/>
                  <a:pt x="602" y="368"/>
                  <a:pt x="602" y="368"/>
                </a:cubicBezTo>
                <a:cubicBezTo>
                  <a:pt x="604" y="368"/>
                  <a:pt x="604" y="368"/>
                  <a:pt x="604" y="368"/>
                </a:cubicBezTo>
                <a:cubicBezTo>
                  <a:pt x="605" y="368"/>
                  <a:pt x="605" y="368"/>
                  <a:pt x="605" y="368"/>
                </a:cubicBezTo>
                <a:cubicBezTo>
                  <a:pt x="606" y="367"/>
                  <a:pt x="606" y="367"/>
                  <a:pt x="606" y="367"/>
                </a:cubicBezTo>
                <a:cubicBezTo>
                  <a:pt x="604" y="366"/>
                  <a:pt x="604" y="366"/>
                  <a:pt x="604" y="366"/>
                </a:cubicBezTo>
                <a:cubicBezTo>
                  <a:pt x="603" y="367"/>
                  <a:pt x="603" y="367"/>
                  <a:pt x="603" y="367"/>
                </a:cubicBezTo>
                <a:close/>
                <a:moveTo>
                  <a:pt x="896" y="224"/>
                </a:moveTo>
                <a:cubicBezTo>
                  <a:pt x="895" y="222"/>
                  <a:pt x="895" y="222"/>
                  <a:pt x="895" y="222"/>
                </a:cubicBezTo>
                <a:cubicBezTo>
                  <a:pt x="894" y="223"/>
                  <a:pt x="894" y="223"/>
                  <a:pt x="894" y="223"/>
                </a:cubicBezTo>
                <a:cubicBezTo>
                  <a:pt x="895" y="223"/>
                  <a:pt x="895" y="223"/>
                  <a:pt x="895" y="223"/>
                </a:cubicBezTo>
                <a:cubicBezTo>
                  <a:pt x="895" y="224"/>
                  <a:pt x="895" y="224"/>
                  <a:pt x="895" y="224"/>
                </a:cubicBezTo>
                <a:cubicBezTo>
                  <a:pt x="896" y="224"/>
                  <a:pt x="896" y="224"/>
                  <a:pt x="896" y="224"/>
                </a:cubicBezTo>
                <a:close/>
                <a:moveTo>
                  <a:pt x="604" y="362"/>
                </a:moveTo>
                <a:cubicBezTo>
                  <a:pt x="604" y="362"/>
                  <a:pt x="604" y="362"/>
                  <a:pt x="605" y="361"/>
                </a:cubicBezTo>
                <a:cubicBezTo>
                  <a:pt x="605" y="361"/>
                  <a:pt x="605" y="361"/>
                  <a:pt x="605" y="360"/>
                </a:cubicBezTo>
                <a:cubicBezTo>
                  <a:pt x="605" y="360"/>
                  <a:pt x="605" y="360"/>
                  <a:pt x="604" y="361"/>
                </a:cubicBezTo>
                <a:cubicBezTo>
                  <a:pt x="604" y="361"/>
                  <a:pt x="604" y="361"/>
                  <a:pt x="604" y="362"/>
                </a:cubicBezTo>
                <a:close/>
                <a:moveTo>
                  <a:pt x="615" y="388"/>
                </a:moveTo>
                <a:cubicBezTo>
                  <a:pt x="615" y="388"/>
                  <a:pt x="615" y="388"/>
                  <a:pt x="614" y="389"/>
                </a:cubicBezTo>
                <a:cubicBezTo>
                  <a:pt x="614" y="389"/>
                  <a:pt x="614" y="389"/>
                  <a:pt x="613" y="389"/>
                </a:cubicBezTo>
                <a:cubicBezTo>
                  <a:pt x="613" y="389"/>
                  <a:pt x="613" y="389"/>
                  <a:pt x="612" y="391"/>
                </a:cubicBezTo>
                <a:cubicBezTo>
                  <a:pt x="612" y="391"/>
                  <a:pt x="612" y="391"/>
                  <a:pt x="614" y="390"/>
                </a:cubicBezTo>
                <a:cubicBezTo>
                  <a:pt x="614" y="390"/>
                  <a:pt x="614" y="390"/>
                  <a:pt x="615" y="389"/>
                </a:cubicBezTo>
                <a:cubicBezTo>
                  <a:pt x="615" y="389"/>
                  <a:pt x="615" y="389"/>
                  <a:pt x="617" y="388"/>
                </a:cubicBezTo>
                <a:cubicBezTo>
                  <a:pt x="617" y="388"/>
                  <a:pt x="617" y="388"/>
                  <a:pt x="617" y="387"/>
                </a:cubicBezTo>
                <a:cubicBezTo>
                  <a:pt x="617" y="387"/>
                  <a:pt x="617" y="387"/>
                  <a:pt x="615" y="388"/>
                </a:cubicBezTo>
                <a:close/>
                <a:moveTo>
                  <a:pt x="672" y="173"/>
                </a:moveTo>
                <a:cubicBezTo>
                  <a:pt x="672" y="173"/>
                  <a:pt x="672" y="173"/>
                  <a:pt x="672" y="172"/>
                </a:cubicBezTo>
                <a:cubicBezTo>
                  <a:pt x="672" y="172"/>
                  <a:pt x="672" y="172"/>
                  <a:pt x="672" y="171"/>
                </a:cubicBezTo>
                <a:cubicBezTo>
                  <a:pt x="672" y="171"/>
                  <a:pt x="672" y="171"/>
                  <a:pt x="672" y="168"/>
                </a:cubicBezTo>
                <a:cubicBezTo>
                  <a:pt x="672" y="168"/>
                  <a:pt x="672" y="168"/>
                  <a:pt x="672" y="166"/>
                </a:cubicBezTo>
                <a:cubicBezTo>
                  <a:pt x="672" y="166"/>
                  <a:pt x="672" y="166"/>
                  <a:pt x="671" y="167"/>
                </a:cubicBezTo>
                <a:cubicBezTo>
                  <a:pt x="671" y="167"/>
                  <a:pt x="671" y="167"/>
                  <a:pt x="670" y="167"/>
                </a:cubicBezTo>
                <a:cubicBezTo>
                  <a:pt x="670" y="167"/>
                  <a:pt x="670" y="167"/>
                  <a:pt x="670" y="168"/>
                </a:cubicBezTo>
                <a:cubicBezTo>
                  <a:pt x="670" y="168"/>
                  <a:pt x="670" y="168"/>
                  <a:pt x="670" y="170"/>
                </a:cubicBezTo>
                <a:cubicBezTo>
                  <a:pt x="670" y="170"/>
                  <a:pt x="670" y="170"/>
                  <a:pt x="670" y="171"/>
                </a:cubicBezTo>
                <a:cubicBezTo>
                  <a:pt x="670" y="171"/>
                  <a:pt x="670" y="171"/>
                  <a:pt x="670" y="172"/>
                </a:cubicBezTo>
                <a:cubicBezTo>
                  <a:pt x="670" y="172"/>
                  <a:pt x="670" y="172"/>
                  <a:pt x="669" y="173"/>
                </a:cubicBezTo>
                <a:cubicBezTo>
                  <a:pt x="669" y="173"/>
                  <a:pt x="669" y="173"/>
                  <a:pt x="671" y="174"/>
                </a:cubicBezTo>
                <a:cubicBezTo>
                  <a:pt x="671" y="174"/>
                  <a:pt x="671" y="174"/>
                  <a:pt x="672" y="173"/>
                </a:cubicBezTo>
                <a:close/>
                <a:moveTo>
                  <a:pt x="874" y="121"/>
                </a:moveTo>
                <a:cubicBezTo>
                  <a:pt x="874" y="121"/>
                  <a:pt x="874" y="121"/>
                  <a:pt x="875" y="121"/>
                </a:cubicBezTo>
                <a:cubicBezTo>
                  <a:pt x="875" y="121"/>
                  <a:pt x="875" y="121"/>
                  <a:pt x="875" y="120"/>
                </a:cubicBezTo>
                <a:cubicBezTo>
                  <a:pt x="875" y="120"/>
                  <a:pt x="875" y="120"/>
                  <a:pt x="876" y="120"/>
                </a:cubicBezTo>
                <a:cubicBezTo>
                  <a:pt x="876" y="120"/>
                  <a:pt x="876" y="120"/>
                  <a:pt x="877" y="119"/>
                </a:cubicBezTo>
                <a:cubicBezTo>
                  <a:pt x="877" y="119"/>
                  <a:pt x="877" y="119"/>
                  <a:pt x="878" y="118"/>
                </a:cubicBezTo>
                <a:cubicBezTo>
                  <a:pt x="878" y="118"/>
                  <a:pt x="878" y="118"/>
                  <a:pt x="878" y="117"/>
                </a:cubicBezTo>
                <a:cubicBezTo>
                  <a:pt x="878" y="117"/>
                  <a:pt x="878" y="117"/>
                  <a:pt x="878" y="116"/>
                </a:cubicBezTo>
                <a:cubicBezTo>
                  <a:pt x="878" y="116"/>
                  <a:pt x="878" y="116"/>
                  <a:pt x="878" y="115"/>
                </a:cubicBezTo>
                <a:cubicBezTo>
                  <a:pt x="878" y="115"/>
                  <a:pt x="878" y="115"/>
                  <a:pt x="876" y="115"/>
                </a:cubicBezTo>
                <a:cubicBezTo>
                  <a:pt x="876" y="115"/>
                  <a:pt x="876" y="115"/>
                  <a:pt x="874" y="116"/>
                </a:cubicBezTo>
                <a:cubicBezTo>
                  <a:pt x="874" y="116"/>
                  <a:pt x="874" y="116"/>
                  <a:pt x="874" y="117"/>
                </a:cubicBezTo>
                <a:cubicBezTo>
                  <a:pt x="874" y="117"/>
                  <a:pt x="874" y="117"/>
                  <a:pt x="874" y="118"/>
                </a:cubicBezTo>
                <a:cubicBezTo>
                  <a:pt x="874" y="118"/>
                  <a:pt x="874" y="118"/>
                  <a:pt x="872" y="118"/>
                </a:cubicBezTo>
                <a:cubicBezTo>
                  <a:pt x="872" y="118"/>
                  <a:pt x="872" y="118"/>
                  <a:pt x="872" y="119"/>
                </a:cubicBezTo>
                <a:cubicBezTo>
                  <a:pt x="872" y="119"/>
                  <a:pt x="872" y="119"/>
                  <a:pt x="873" y="120"/>
                </a:cubicBezTo>
                <a:cubicBezTo>
                  <a:pt x="873" y="120"/>
                  <a:pt x="873" y="120"/>
                  <a:pt x="874" y="121"/>
                </a:cubicBezTo>
                <a:close/>
                <a:moveTo>
                  <a:pt x="892" y="421"/>
                </a:moveTo>
                <a:cubicBezTo>
                  <a:pt x="892" y="421"/>
                  <a:pt x="892" y="421"/>
                  <a:pt x="894" y="420"/>
                </a:cubicBezTo>
                <a:cubicBezTo>
                  <a:pt x="894" y="420"/>
                  <a:pt x="894" y="420"/>
                  <a:pt x="893" y="419"/>
                </a:cubicBezTo>
                <a:cubicBezTo>
                  <a:pt x="893" y="419"/>
                  <a:pt x="893" y="419"/>
                  <a:pt x="893" y="420"/>
                </a:cubicBezTo>
                <a:cubicBezTo>
                  <a:pt x="893" y="420"/>
                  <a:pt x="893" y="420"/>
                  <a:pt x="892" y="420"/>
                </a:cubicBezTo>
                <a:cubicBezTo>
                  <a:pt x="892" y="420"/>
                  <a:pt x="892" y="420"/>
                  <a:pt x="892" y="421"/>
                </a:cubicBezTo>
                <a:close/>
                <a:moveTo>
                  <a:pt x="1034" y="456"/>
                </a:moveTo>
                <a:cubicBezTo>
                  <a:pt x="1034" y="456"/>
                  <a:pt x="1034" y="456"/>
                  <a:pt x="1034" y="457"/>
                </a:cubicBezTo>
                <a:cubicBezTo>
                  <a:pt x="1034" y="457"/>
                  <a:pt x="1034" y="457"/>
                  <a:pt x="1034" y="458"/>
                </a:cubicBezTo>
                <a:cubicBezTo>
                  <a:pt x="1034" y="458"/>
                  <a:pt x="1034" y="458"/>
                  <a:pt x="1035" y="457"/>
                </a:cubicBezTo>
                <a:cubicBezTo>
                  <a:pt x="1035" y="457"/>
                  <a:pt x="1035" y="457"/>
                  <a:pt x="1035" y="458"/>
                </a:cubicBezTo>
                <a:cubicBezTo>
                  <a:pt x="1035" y="458"/>
                  <a:pt x="1035" y="458"/>
                  <a:pt x="1034" y="459"/>
                </a:cubicBezTo>
                <a:cubicBezTo>
                  <a:pt x="1034" y="459"/>
                  <a:pt x="1034" y="459"/>
                  <a:pt x="1034" y="460"/>
                </a:cubicBezTo>
                <a:cubicBezTo>
                  <a:pt x="1034" y="460"/>
                  <a:pt x="1034" y="460"/>
                  <a:pt x="1035" y="460"/>
                </a:cubicBezTo>
                <a:cubicBezTo>
                  <a:pt x="1035" y="460"/>
                  <a:pt x="1035" y="460"/>
                  <a:pt x="1036" y="459"/>
                </a:cubicBezTo>
                <a:cubicBezTo>
                  <a:pt x="1036" y="459"/>
                  <a:pt x="1036" y="459"/>
                  <a:pt x="1037" y="459"/>
                </a:cubicBezTo>
                <a:cubicBezTo>
                  <a:pt x="1037" y="459"/>
                  <a:pt x="1037" y="459"/>
                  <a:pt x="1037" y="458"/>
                </a:cubicBezTo>
                <a:cubicBezTo>
                  <a:pt x="1037" y="458"/>
                  <a:pt x="1037" y="458"/>
                  <a:pt x="1038" y="458"/>
                </a:cubicBezTo>
                <a:cubicBezTo>
                  <a:pt x="1038" y="458"/>
                  <a:pt x="1038" y="458"/>
                  <a:pt x="1039" y="457"/>
                </a:cubicBezTo>
                <a:cubicBezTo>
                  <a:pt x="1039" y="457"/>
                  <a:pt x="1039" y="457"/>
                  <a:pt x="1039" y="458"/>
                </a:cubicBezTo>
                <a:cubicBezTo>
                  <a:pt x="1039" y="458"/>
                  <a:pt x="1039" y="458"/>
                  <a:pt x="1039" y="459"/>
                </a:cubicBezTo>
                <a:cubicBezTo>
                  <a:pt x="1039" y="459"/>
                  <a:pt x="1039" y="459"/>
                  <a:pt x="1038" y="460"/>
                </a:cubicBezTo>
                <a:cubicBezTo>
                  <a:pt x="1038" y="460"/>
                  <a:pt x="1038" y="460"/>
                  <a:pt x="1037" y="460"/>
                </a:cubicBezTo>
                <a:cubicBezTo>
                  <a:pt x="1037" y="460"/>
                  <a:pt x="1037" y="460"/>
                  <a:pt x="1036" y="461"/>
                </a:cubicBezTo>
                <a:cubicBezTo>
                  <a:pt x="1036" y="461"/>
                  <a:pt x="1036" y="461"/>
                  <a:pt x="1035" y="462"/>
                </a:cubicBezTo>
                <a:cubicBezTo>
                  <a:pt x="1035" y="462"/>
                  <a:pt x="1035" y="462"/>
                  <a:pt x="1034" y="462"/>
                </a:cubicBezTo>
                <a:cubicBezTo>
                  <a:pt x="1034" y="462"/>
                  <a:pt x="1034" y="462"/>
                  <a:pt x="1036" y="463"/>
                </a:cubicBezTo>
                <a:cubicBezTo>
                  <a:pt x="1036" y="463"/>
                  <a:pt x="1036" y="463"/>
                  <a:pt x="1035" y="463"/>
                </a:cubicBezTo>
                <a:cubicBezTo>
                  <a:pt x="1035" y="463"/>
                  <a:pt x="1035" y="463"/>
                  <a:pt x="1034" y="463"/>
                </a:cubicBezTo>
                <a:cubicBezTo>
                  <a:pt x="1034" y="463"/>
                  <a:pt x="1034" y="463"/>
                  <a:pt x="1033" y="463"/>
                </a:cubicBezTo>
                <a:cubicBezTo>
                  <a:pt x="1033" y="463"/>
                  <a:pt x="1033" y="463"/>
                  <a:pt x="1034" y="464"/>
                </a:cubicBezTo>
                <a:cubicBezTo>
                  <a:pt x="1034" y="464"/>
                  <a:pt x="1034" y="464"/>
                  <a:pt x="1035" y="464"/>
                </a:cubicBezTo>
                <a:cubicBezTo>
                  <a:pt x="1035" y="464"/>
                  <a:pt x="1035" y="464"/>
                  <a:pt x="1034" y="465"/>
                </a:cubicBezTo>
                <a:cubicBezTo>
                  <a:pt x="1034" y="465"/>
                  <a:pt x="1034" y="465"/>
                  <a:pt x="1033" y="464"/>
                </a:cubicBezTo>
                <a:cubicBezTo>
                  <a:pt x="1033" y="464"/>
                  <a:pt x="1033" y="464"/>
                  <a:pt x="1033" y="465"/>
                </a:cubicBezTo>
                <a:cubicBezTo>
                  <a:pt x="1033" y="465"/>
                  <a:pt x="1033" y="465"/>
                  <a:pt x="1032" y="465"/>
                </a:cubicBezTo>
                <a:cubicBezTo>
                  <a:pt x="1032" y="465"/>
                  <a:pt x="1032" y="465"/>
                  <a:pt x="1032" y="464"/>
                </a:cubicBezTo>
                <a:cubicBezTo>
                  <a:pt x="1032" y="464"/>
                  <a:pt x="1032" y="464"/>
                  <a:pt x="1031" y="464"/>
                </a:cubicBezTo>
                <a:cubicBezTo>
                  <a:pt x="1031" y="464"/>
                  <a:pt x="1031" y="464"/>
                  <a:pt x="1031" y="466"/>
                </a:cubicBezTo>
                <a:cubicBezTo>
                  <a:pt x="1031" y="466"/>
                  <a:pt x="1031" y="466"/>
                  <a:pt x="1030" y="467"/>
                </a:cubicBezTo>
                <a:cubicBezTo>
                  <a:pt x="1030" y="467"/>
                  <a:pt x="1030" y="467"/>
                  <a:pt x="1030" y="468"/>
                </a:cubicBezTo>
                <a:cubicBezTo>
                  <a:pt x="1030" y="468"/>
                  <a:pt x="1030" y="468"/>
                  <a:pt x="1029" y="469"/>
                </a:cubicBezTo>
                <a:cubicBezTo>
                  <a:pt x="1029" y="469"/>
                  <a:pt x="1029" y="469"/>
                  <a:pt x="1028" y="469"/>
                </a:cubicBezTo>
                <a:cubicBezTo>
                  <a:pt x="1028" y="469"/>
                  <a:pt x="1028" y="469"/>
                  <a:pt x="1029" y="468"/>
                </a:cubicBezTo>
                <a:cubicBezTo>
                  <a:pt x="1029" y="468"/>
                  <a:pt x="1029" y="468"/>
                  <a:pt x="1028" y="468"/>
                </a:cubicBezTo>
                <a:cubicBezTo>
                  <a:pt x="1028" y="468"/>
                  <a:pt x="1028" y="468"/>
                  <a:pt x="1027" y="468"/>
                </a:cubicBezTo>
                <a:cubicBezTo>
                  <a:pt x="1027" y="468"/>
                  <a:pt x="1027" y="468"/>
                  <a:pt x="1026" y="469"/>
                </a:cubicBezTo>
                <a:cubicBezTo>
                  <a:pt x="1026" y="469"/>
                  <a:pt x="1026" y="469"/>
                  <a:pt x="1026" y="470"/>
                </a:cubicBezTo>
                <a:cubicBezTo>
                  <a:pt x="1026" y="470"/>
                  <a:pt x="1026" y="470"/>
                  <a:pt x="1025" y="471"/>
                </a:cubicBezTo>
                <a:cubicBezTo>
                  <a:pt x="1025" y="471"/>
                  <a:pt x="1025" y="471"/>
                  <a:pt x="1025" y="472"/>
                </a:cubicBezTo>
                <a:cubicBezTo>
                  <a:pt x="1025" y="472"/>
                  <a:pt x="1025" y="472"/>
                  <a:pt x="1024" y="472"/>
                </a:cubicBezTo>
                <a:cubicBezTo>
                  <a:pt x="1024" y="472"/>
                  <a:pt x="1024" y="472"/>
                  <a:pt x="1023" y="473"/>
                </a:cubicBezTo>
                <a:cubicBezTo>
                  <a:pt x="1023" y="473"/>
                  <a:pt x="1023" y="473"/>
                  <a:pt x="1023" y="472"/>
                </a:cubicBezTo>
                <a:cubicBezTo>
                  <a:pt x="1023" y="472"/>
                  <a:pt x="1023" y="472"/>
                  <a:pt x="1022" y="472"/>
                </a:cubicBezTo>
                <a:cubicBezTo>
                  <a:pt x="1022" y="472"/>
                  <a:pt x="1022" y="472"/>
                  <a:pt x="1022" y="473"/>
                </a:cubicBezTo>
                <a:cubicBezTo>
                  <a:pt x="1022" y="473"/>
                  <a:pt x="1022" y="473"/>
                  <a:pt x="1021" y="473"/>
                </a:cubicBezTo>
                <a:cubicBezTo>
                  <a:pt x="1021" y="473"/>
                  <a:pt x="1021" y="473"/>
                  <a:pt x="1021" y="472"/>
                </a:cubicBezTo>
                <a:cubicBezTo>
                  <a:pt x="1021" y="472"/>
                  <a:pt x="1021" y="472"/>
                  <a:pt x="1020" y="472"/>
                </a:cubicBezTo>
                <a:cubicBezTo>
                  <a:pt x="1020" y="472"/>
                  <a:pt x="1020" y="472"/>
                  <a:pt x="1020" y="471"/>
                </a:cubicBezTo>
                <a:cubicBezTo>
                  <a:pt x="1020" y="471"/>
                  <a:pt x="1020" y="471"/>
                  <a:pt x="1021" y="471"/>
                </a:cubicBezTo>
                <a:cubicBezTo>
                  <a:pt x="1021" y="471"/>
                  <a:pt x="1021" y="471"/>
                  <a:pt x="1022" y="470"/>
                </a:cubicBezTo>
                <a:cubicBezTo>
                  <a:pt x="1022" y="470"/>
                  <a:pt x="1022" y="470"/>
                  <a:pt x="1023" y="470"/>
                </a:cubicBezTo>
                <a:cubicBezTo>
                  <a:pt x="1023" y="470"/>
                  <a:pt x="1023" y="470"/>
                  <a:pt x="1024" y="469"/>
                </a:cubicBezTo>
                <a:cubicBezTo>
                  <a:pt x="1024" y="469"/>
                  <a:pt x="1024" y="469"/>
                  <a:pt x="1025" y="469"/>
                </a:cubicBezTo>
                <a:cubicBezTo>
                  <a:pt x="1025" y="469"/>
                  <a:pt x="1025" y="469"/>
                  <a:pt x="1025" y="468"/>
                </a:cubicBezTo>
                <a:cubicBezTo>
                  <a:pt x="1025" y="468"/>
                  <a:pt x="1025" y="468"/>
                  <a:pt x="1026" y="468"/>
                </a:cubicBezTo>
                <a:cubicBezTo>
                  <a:pt x="1026" y="468"/>
                  <a:pt x="1026" y="468"/>
                  <a:pt x="1027" y="467"/>
                </a:cubicBezTo>
                <a:cubicBezTo>
                  <a:pt x="1027" y="467"/>
                  <a:pt x="1027" y="467"/>
                  <a:pt x="1028" y="467"/>
                </a:cubicBezTo>
                <a:cubicBezTo>
                  <a:pt x="1028" y="467"/>
                  <a:pt x="1028" y="467"/>
                  <a:pt x="1028" y="466"/>
                </a:cubicBezTo>
                <a:cubicBezTo>
                  <a:pt x="1028" y="466"/>
                  <a:pt x="1028" y="466"/>
                  <a:pt x="1027" y="466"/>
                </a:cubicBezTo>
                <a:cubicBezTo>
                  <a:pt x="1027" y="466"/>
                  <a:pt x="1027" y="466"/>
                  <a:pt x="1026" y="467"/>
                </a:cubicBezTo>
                <a:cubicBezTo>
                  <a:pt x="1026" y="467"/>
                  <a:pt x="1026" y="467"/>
                  <a:pt x="1026" y="466"/>
                </a:cubicBezTo>
                <a:cubicBezTo>
                  <a:pt x="1026" y="466"/>
                  <a:pt x="1026" y="466"/>
                  <a:pt x="1025" y="466"/>
                </a:cubicBezTo>
                <a:cubicBezTo>
                  <a:pt x="1025" y="466"/>
                  <a:pt x="1025" y="466"/>
                  <a:pt x="1024" y="466"/>
                </a:cubicBezTo>
                <a:cubicBezTo>
                  <a:pt x="1024" y="466"/>
                  <a:pt x="1024" y="466"/>
                  <a:pt x="1024" y="467"/>
                </a:cubicBezTo>
                <a:cubicBezTo>
                  <a:pt x="1024" y="467"/>
                  <a:pt x="1024" y="467"/>
                  <a:pt x="1023" y="467"/>
                </a:cubicBezTo>
                <a:cubicBezTo>
                  <a:pt x="1023" y="467"/>
                  <a:pt x="1023" y="467"/>
                  <a:pt x="1022" y="467"/>
                </a:cubicBezTo>
                <a:cubicBezTo>
                  <a:pt x="1022" y="467"/>
                  <a:pt x="1022" y="467"/>
                  <a:pt x="1021" y="467"/>
                </a:cubicBezTo>
                <a:cubicBezTo>
                  <a:pt x="1021" y="467"/>
                  <a:pt x="1021" y="467"/>
                  <a:pt x="1020" y="467"/>
                </a:cubicBezTo>
                <a:cubicBezTo>
                  <a:pt x="1020" y="467"/>
                  <a:pt x="1020" y="467"/>
                  <a:pt x="1021" y="466"/>
                </a:cubicBezTo>
                <a:cubicBezTo>
                  <a:pt x="1021" y="466"/>
                  <a:pt x="1021" y="466"/>
                  <a:pt x="1023" y="466"/>
                </a:cubicBezTo>
                <a:cubicBezTo>
                  <a:pt x="1023" y="466"/>
                  <a:pt x="1023" y="466"/>
                  <a:pt x="1023" y="465"/>
                </a:cubicBezTo>
                <a:cubicBezTo>
                  <a:pt x="1023" y="465"/>
                  <a:pt x="1023" y="465"/>
                  <a:pt x="1022" y="465"/>
                </a:cubicBezTo>
                <a:cubicBezTo>
                  <a:pt x="1022" y="465"/>
                  <a:pt x="1022" y="465"/>
                  <a:pt x="1022" y="464"/>
                </a:cubicBezTo>
                <a:cubicBezTo>
                  <a:pt x="1022" y="464"/>
                  <a:pt x="1022" y="464"/>
                  <a:pt x="1021" y="464"/>
                </a:cubicBezTo>
                <a:cubicBezTo>
                  <a:pt x="1021" y="464"/>
                  <a:pt x="1021" y="464"/>
                  <a:pt x="1021" y="463"/>
                </a:cubicBezTo>
                <a:cubicBezTo>
                  <a:pt x="1021" y="463"/>
                  <a:pt x="1021" y="463"/>
                  <a:pt x="1020" y="464"/>
                </a:cubicBezTo>
                <a:cubicBezTo>
                  <a:pt x="1020" y="464"/>
                  <a:pt x="1020" y="464"/>
                  <a:pt x="1020" y="465"/>
                </a:cubicBezTo>
                <a:cubicBezTo>
                  <a:pt x="1020" y="465"/>
                  <a:pt x="1020" y="465"/>
                  <a:pt x="1020" y="466"/>
                </a:cubicBezTo>
                <a:cubicBezTo>
                  <a:pt x="1020" y="466"/>
                  <a:pt x="1020" y="466"/>
                  <a:pt x="1019" y="466"/>
                </a:cubicBezTo>
                <a:cubicBezTo>
                  <a:pt x="1019" y="466"/>
                  <a:pt x="1019" y="466"/>
                  <a:pt x="1018" y="466"/>
                </a:cubicBezTo>
                <a:cubicBezTo>
                  <a:pt x="1018" y="466"/>
                  <a:pt x="1018" y="466"/>
                  <a:pt x="1017" y="466"/>
                </a:cubicBezTo>
                <a:cubicBezTo>
                  <a:pt x="1017" y="466"/>
                  <a:pt x="1017" y="466"/>
                  <a:pt x="1016" y="466"/>
                </a:cubicBezTo>
                <a:cubicBezTo>
                  <a:pt x="1016" y="466"/>
                  <a:pt x="1016" y="466"/>
                  <a:pt x="1015" y="466"/>
                </a:cubicBezTo>
                <a:cubicBezTo>
                  <a:pt x="1015" y="466"/>
                  <a:pt x="1015" y="466"/>
                  <a:pt x="1013" y="466"/>
                </a:cubicBezTo>
                <a:cubicBezTo>
                  <a:pt x="1013" y="466"/>
                  <a:pt x="1013" y="466"/>
                  <a:pt x="1013" y="465"/>
                </a:cubicBezTo>
                <a:cubicBezTo>
                  <a:pt x="1013" y="465"/>
                  <a:pt x="1013" y="465"/>
                  <a:pt x="1012" y="465"/>
                </a:cubicBezTo>
                <a:cubicBezTo>
                  <a:pt x="1012" y="465"/>
                  <a:pt x="1012" y="465"/>
                  <a:pt x="1010" y="465"/>
                </a:cubicBezTo>
                <a:cubicBezTo>
                  <a:pt x="1010" y="465"/>
                  <a:pt x="1010" y="465"/>
                  <a:pt x="1009" y="465"/>
                </a:cubicBezTo>
                <a:cubicBezTo>
                  <a:pt x="1009" y="465"/>
                  <a:pt x="1009" y="465"/>
                  <a:pt x="1007" y="465"/>
                </a:cubicBezTo>
                <a:cubicBezTo>
                  <a:pt x="1007" y="465"/>
                  <a:pt x="1007" y="465"/>
                  <a:pt x="1006" y="465"/>
                </a:cubicBezTo>
                <a:cubicBezTo>
                  <a:pt x="1006" y="465"/>
                  <a:pt x="1006" y="465"/>
                  <a:pt x="1005" y="466"/>
                </a:cubicBezTo>
                <a:cubicBezTo>
                  <a:pt x="1005" y="466"/>
                  <a:pt x="1005" y="466"/>
                  <a:pt x="1004" y="466"/>
                </a:cubicBezTo>
                <a:cubicBezTo>
                  <a:pt x="1004" y="466"/>
                  <a:pt x="1004" y="466"/>
                  <a:pt x="1002" y="465"/>
                </a:cubicBezTo>
                <a:cubicBezTo>
                  <a:pt x="1002" y="465"/>
                  <a:pt x="1002" y="465"/>
                  <a:pt x="1002" y="464"/>
                </a:cubicBezTo>
                <a:cubicBezTo>
                  <a:pt x="1002" y="464"/>
                  <a:pt x="1002" y="464"/>
                  <a:pt x="1002" y="463"/>
                </a:cubicBezTo>
                <a:cubicBezTo>
                  <a:pt x="1002" y="463"/>
                  <a:pt x="1002" y="463"/>
                  <a:pt x="1004" y="462"/>
                </a:cubicBezTo>
                <a:cubicBezTo>
                  <a:pt x="1004" y="462"/>
                  <a:pt x="1004" y="462"/>
                  <a:pt x="1005" y="461"/>
                </a:cubicBezTo>
                <a:cubicBezTo>
                  <a:pt x="1005" y="461"/>
                  <a:pt x="1005" y="461"/>
                  <a:pt x="1006" y="460"/>
                </a:cubicBezTo>
                <a:cubicBezTo>
                  <a:pt x="1006" y="460"/>
                  <a:pt x="1006" y="460"/>
                  <a:pt x="1007" y="458"/>
                </a:cubicBezTo>
                <a:cubicBezTo>
                  <a:pt x="1007" y="458"/>
                  <a:pt x="1007" y="458"/>
                  <a:pt x="1008" y="457"/>
                </a:cubicBezTo>
                <a:cubicBezTo>
                  <a:pt x="1008" y="457"/>
                  <a:pt x="1008" y="457"/>
                  <a:pt x="1007" y="457"/>
                </a:cubicBezTo>
                <a:cubicBezTo>
                  <a:pt x="1007" y="457"/>
                  <a:pt x="1007" y="457"/>
                  <a:pt x="1007" y="456"/>
                </a:cubicBezTo>
                <a:cubicBezTo>
                  <a:pt x="1007" y="456"/>
                  <a:pt x="1007" y="456"/>
                  <a:pt x="1008" y="455"/>
                </a:cubicBezTo>
                <a:cubicBezTo>
                  <a:pt x="1008" y="455"/>
                  <a:pt x="1008" y="455"/>
                  <a:pt x="1009" y="454"/>
                </a:cubicBezTo>
                <a:cubicBezTo>
                  <a:pt x="1009" y="454"/>
                  <a:pt x="1009" y="454"/>
                  <a:pt x="1009" y="453"/>
                </a:cubicBezTo>
                <a:cubicBezTo>
                  <a:pt x="1009" y="453"/>
                  <a:pt x="1009" y="453"/>
                  <a:pt x="1010" y="454"/>
                </a:cubicBezTo>
                <a:cubicBezTo>
                  <a:pt x="1010" y="454"/>
                  <a:pt x="1010" y="454"/>
                  <a:pt x="1011" y="453"/>
                </a:cubicBezTo>
                <a:cubicBezTo>
                  <a:pt x="1011" y="453"/>
                  <a:pt x="1011" y="453"/>
                  <a:pt x="1011" y="452"/>
                </a:cubicBezTo>
                <a:cubicBezTo>
                  <a:pt x="1011" y="452"/>
                  <a:pt x="1011" y="452"/>
                  <a:pt x="1011" y="451"/>
                </a:cubicBezTo>
                <a:cubicBezTo>
                  <a:pt x="1011" y="451"/>
                  <a:pt x="1011" y="451"/>
                  <a:pt x="1011" y="450"/>
                </a:cubicBezTo>
                <a:cubicBezTo>
                  <a:pt x="1011" y="450"/>
                  <a:pt x="1011" y="450"/>
                  <a:pt x="1012" y="450"/>
                </a:cubicBezTo>
                <a:cubicBezTo>
                  <a:pt x="1012" y="450"/>
                  <a:pt x="1012" y="450"/>
                  <a:pt x="1013" y="450"/>
                </a:cubicBezTo>
                <a:cubicBezTo>
                  <a:pt x="1013" y="450"/>
                  <a:pt x="1013" y="450"/>
                  <a:pt x="1013" y="449"/>
                </a:cubicBezTo>
                <a:cubicBezTo>
                  <a:pt x="1013" y="449"/>
                  <a:pt x="1013" y="449"/>
                  <a:pt x="1013" y="448"/>
                </a:cubicBezTo>
                <a:cubicBezTo>
                  <a:pt x="1013" y="448"/>
                  <a:pt x="1013" y="448"/>
                  <a:pt x="1014" y="446"/>
                </a:cubicBezTo>
                <a:cubicBezTo>
                  <a:pt x="1014" y="446"/>
                  <a:pt x="1014" y="446"/>
                  <a:pt x="1015" y="444"/>
                </a:cubicBezTo>
                <a:cubicBezTo>
                  <a:pt x="1015" y="444"/>
                  <a:pt x="1015" y="444"/>
                  <a:pt x="1016" y="443"/>
                </a:cubicBezTo>
                <a:cubicBezTo>
                  <a:pt x="1016" y="443"/>
                  <a:pt x="1016" y="443"/>
                  <a:pt x="1016" y="442"/>
                </a:cubicBezTo>
                <a:cubicBezTo>
                  <a:pt x="1016" y="442"/>
                  <a:pt x="1016" y="442"/>
                  <a:pt x="1017" y="442"/>
                </a:cubicBezTo>
                <a:cubicBezTo>
                  <a:pt x="1017" y="442"/>
                  <a:pt x="1017" y="442"/>
                  <a:pt x="1017" y="441"/>
                </a:cubicBezTo>
                <a:cubicBezTo>
                  <a:pt x="1017" y="441"/>
                  <a:pt x="1017" y="441"/>
                  <a:pt x="1018" y="440"/>
                </a:cubicBezTo>
                <a:cubicBezTo>
                  <a:pt x="1018" y="440"/>
                  <a:pt x="1018" y="440"/>
                  <a:pt x="1019" y="439"/>
                </a:cubicBezTo>
                <a:cubicBezTo>
                  <a:pt x="1019" y="439"/>
                  <a:pt x="1019" y="439"/>
                  <a:pt x="1020" y="438"/>
                </a:cubicBezTo>
                <a:cubicBezTo>
                  <a:pt x="1020" y="438"/>
                  <a:pt x="1020" y="438"/>
                  <a:pt x="1020" y="437"/>
                </a:cubicBezTo>
                <a:cubicBezTo>
                  <a:pt x="1020" y="437"/>
                  <a:pt x="1020" y="437"/>
                  <a:pt x="1021" y="437"/>
                </a:cubicBezTo>
                <a:cubicBezTo>
                  <a:pt x="1021" y="437"/>
                  <a:pt x="1021" y="437"/>
                  <a:pt x="1021" y="436"/>
                </a:cubicBezTo>
                <a:cubicBezTo>
                  <a:pt x="1021" y="436"/>
                  <a:pt x="1021" y="436"/>
                  <a:pt x="1022" y="435"/>
                </a:cubicBezTo>
                <a:cubicBezTo>
                  <a:pt x="1022" y="435"/>
                  <a:pt x="1022" y="435"/>
                  <a:pt x="1023" y="435"/>
                </a:cubicBezTo>
                <a:cubicBezTo>
                  <a:pt x="1023" y="435"/>
                  <a:pt x="1023" y="435"/>
                  <a:pt x="1024" y="435"/>
                </a:cubicBezTo>
                <a:cubicBezTo>
                  <a:pt x="1024" y="435"/>
                  <a:pt x="1024" y="435"/>
                  <a:pt x="1025" y="434"/>
                </a:cubicBezTo>
                <a:cubicBezTo>
                  <a:pt x="1025" y="434"/>
                  <a:pt x="1025" y="434"/>
                  <a:pt x="1026" y="434"/>
                </a:cubicBezTo>
                <a:cubicBezTo>
                  <a:pt x="1026" y="434"/>
                  <a:pt x="1026" y="434"/>
                  <a:pt x="1027" y="433"/>
                </a:cubicBezTo>
                <a:cubicBezTo>
                  <a:pt x="1027" y="433"/>
                  <a:pt x="1027" y="433"/>
                  <a:pt x="1027" y="434"/>
                </a:cubicBezTo>
                <a:cubicBezTo>
                  <a:pt x="1027" y="434"/>
                  <a:pt x="1027" y="434"/>
                  <a:pt x="1028" y="434"/>
                </a:cubicBezTo>
                <a:cubicBezTo>
                  <a:pt x="1028" y="434"/>
                  <a:pt x="1028" y="434"/>
                  <a:pt x="1028" y="433"/>
                </a:cubicBezTo>
                <a:cubicBezTo>
                  <a:pt x="1028" y="433"/>
                  <a:pt x="1028" y="433"/>
                  <a:pt x="1029" y="433"/>
                </a:cubicBezTo>
                <a:cubicBezTo>
                  <a:pt x="1029" y="433"/>
                  <a:pt x="1029" y="433"/>
                  <a:pt x="1029" y="434"/>
                </a:cubicBezTo>
                <a:cubicBezTo>
                  <a:pt x="1029" y="434"/>
                  <a:pt x="1029" y="434"/>
                  <a:pt x="1029" y="435"/>
                </a:cubicBezTo>
                <a:cubicBezTo>
                  <a:pt x="1029" y="435"/>
                  <a:pt x="1029" y="435"/>
                  <a:pt x="1028" y="435"/>
                </a:cubicBezTo>
                <a:cubicBezTo>
                  <a:pt x="1028" y="435"/>
                  <a:pt x="1028" y="435"/>
                  <a:pt x="1027" y="435"/>
                </a:cubicBezTo>
                <a:cubicBezTo>
                  <a:pt x="1027" y="435"/>
                  <a:pt x="1027" y="435"/>
                  <a:pt x="1026" y="435"/>
                </a:cubicBezTo>
                <a:cubicBezTo>
                  <a:pt x="1026" y="435"/>
                  <a:pt x="1026" y="435"/>
                  <a:pt x="1025" y="435"/>
                </a:cubicBezTo>
                <a:cubicBezTo>
                  <a:pt x="1025" y="435"/>
                  <a:pt x="1025" y="435"/>
                  <a:pt x="1026" y="436"/>
                </a:cubicBezTo>
                <a:cubicBezTo>
                  <a:pt x="1026" y="436"/>
                  <a:pt x="1026" y="436"/>
                  <a:pt x="1026" y="437"/>
                </a:cubicBezTo>
                <a:cubicBezTo>
                  <a:pt x="1026" y="437"/>
                  <a:pt x="1026" y="437"/>
                  <a:pt x="1027" y="436"/>
                </a:cubicBezTo>
                <a:cubicBezTo>
                  <a:pt x="1027" y="436"/>
                  <a:pt x="1027" y="436"/>
                  <a:pt x="1027" y="437"/>
                </a:cubicBezTo>
                <a:cubicBezTo>
                  <a:pt x="1027" y="437"/>
                  <a:pt x="1027" y="437"/>
                  <a:pt x="1026" y="439"/>
                </a:cubicBezTo>
                <a:cubicBezTo>
                  <a:pt x="1026" y="439"/>
                  <a:pt x="1026" y="439"/>
                  <a:pt x="1025" y="440"/>
                </a:cubicBezTo>
                <a:cubicBezTo>
                  <a:pt x="1025" y="440"/>
                  <a:pt x="1025" y="440"/>
                  <a:pt x="1025" y="439"/>
                </a:cubicBezTo>
                <a:cubicBezTo>
                  <a:pt x="1025" y="439"/>
                  <a:pt x="1025" y="439"/>
                  <a:pt x="1024" y="439"/>
                </a:cubicBezTo>
                <a:cubicBezTo>
                  <a:pt x="1024" y="439"/>
                  <a:pt x="1024" y="439"/>
                  <a:pt x="1024" y="440"/>
                </a:cubicBezTo>
                <a:cubicBezTo>
                  <a:pt x="1024" y="440"/>
                  <a:pt x="1024" y="440"/>
                  <a:pt x="1024" y="441"/>
                </a:cubicBezTo>
                <a:cubicBezTo>
                  <a:pt x="1024" y="441"/>
                  <a:pt x="1024" y="441"/>
                  <a:pt x="1023" y="441"/>
                </a:cubicBezTo>
                <a:cubicBezTo>
                  <a:pt x="1023" y="441"/>
                  <a:pt x="1023" y="441"/>
                  <a:pt x="1022" y="442"/>
                </a:cubicBezTo>
                <a:cubicBezTo>
                  <a:pt x="1022" y="442"/>
                  <a:pt x="1022" y="442"/>
                  <a:pt x="1022" y="443"/>
                </a:cubicBezTo>
                <a:cubicBezTo>
                  <a:pt x="1022" y="443"/>
                  <a:pt x="1022" y="443"/>
                  <a:pt x="1021" y="444"/>
                </a:cubicBezTo>
                <a:cubicBezTo>
                  <a:pt x="1021" y="444"/>
                  <a:pt x="1021" y="444"/>
                  <a:pt x="1020" y="445"/>
                </a:cubicBezTo>
                <a:cubicBezTo>
                  <a:pt x="1020" y="445"/>
                  <a:pt x="1020" y="445"/>
                  <a:pt x="1020" y="446"/>
                </a:cubicBezTo>
                <a:cubicBezTo>
                  <a:pt x="1020" y="446"/>
                  <a:pt x="1020" y="446"/>
                  <a:pt x="1020" y="447"/>
                </a:cubicBezTo>
                <a:cubicBezTo>
                  <a:pt x="1020" y="447"/>
                  <a:pt x="1020" y="447"/>
                  <a:pt x="1019" y="448"/>
                </a:cubicBezTo>
                <a:cubicBezTo>
                  <a:pt x="1019" y="448"/>
                  <a:pt x="1019" y="448"/>
                  <a:pt x="1019" y="449"/>
                </a:cubicBezTo>
                <a:cubicBezTo>
                  <a:pt x="1019" y="449"/>
                  <a:pt x="1019" y="449"/>
                  <a:pt x="1020" y="448"/>
                </a:cubicBezTo>
                <a:cubicBezTo>
                  <a:pt x="1020" y="448"/>
                  <a:pt x="1020" y="448"/>
                  <a:pt x="1021" y="447"/>
                </a:cubicBezTo>
                <a:cubicBezTo>
                  <a:pt x="1021" y="447"/>
                  <a:pt x="1021" y="447"/>
                  <a:pt x="1022" y="446"/>
                </a:cubicBezTo>
                <a:cubicBezTo>
                  <a:pt x="1022" y="446"/>
                  <a:pt x="1022" y="446"/>
                  <a:pt x="1022" y="445"/>
                </a:cubicBezTo>
                <a:cubicBezTo>
                  <a:pt x="1022" y="445"/>
                  <a:pt x="1022" y="445"/>
                  <a:pt x="1023" y="445"/>
                </a:cubicBezTo>
                <a:cubicBezTo>
                  <a:pt x="1023" y="445"/>
                  <a:pt x="1023" y="445"/>
                  <a:pt x="1024" y="445"/>
                </a:cubicBezTo>
                <a:cubicBezTo>
                  <a:pt x="1024" y="445"/>
                  <a:pt x="1024" y="445"/>
                  <a:pt x="1023" y="446"/>
                </a:cubicBezTo>
                <a:cubicBezTo>
                  <a:pt x="1023" y="446"/>
                  <a:pt x="1023" y="446"/>
                  <a:pt x="1024" y="446"/>
                </a:cubicBezTo>
                <a:cubicBezTo>
                  <a:pt x="1024" y="446"/>
                  <a:pt x="1024" y="446"/>
                  <a:pt x="1025" y="447"/>
                </a:cubicBezTo>
                <a:cubicBezTo>
                  <a:pt x="1025" y="447"/>
                  <a:pt x="1025" y="447"/>
                  <a:pt x="1026" y="447"/>
                </a:cubicBezTo>
                <a:cubicBezTo>
                  <a:pt x="1026" y="447"/>
                  <a:pt x="1026" y="447"/>
                  <a:pt x="1027" y="446"/>
                </a:cubicBezTo>
                <a:cubicBezTo>
                  <a:pt x="1027" y="446"/>
                  <a:pt x="1027" y="446"/>
                  <a:pt x="1027" y="447"/>
                </a:cubicBezTo>
                <a:cubicBezTo>
                  <a:pt x="1027" y="447"/>
                  <a:pt x="1027" y="447"/>
                  <a:pt x="1026" y="448"/>
                </a:cubicBezTo>
                <a:cubicBezTo>
                  <a:pt x="1026" y="448"/>
                  <a:pt x="1026" y="448"/>
                  <a:pt x="1025" y="448"/>
                </a:cubicBezTo>
                <a:cubicBezTo>
                  <a:pt x="1025" y="448"/>
                  <a:pt x="1025" y="448"/>
                  <a:pt x="1024" y="448"/>
                </a:cubicBezTo>
                <a:cubicBezTo>
                  <a:pt x="1024" y="448"/>
                  <a:pt x="1024" y="448"/>
                  <a:pt x="1023" y="449"/>
                </a:cubicBezTo>
                <a:cubicBezTo>
                  <a:pt x="1023" y="449"/>
                  <a:pt x="1023" y="449"/>
                  <a:pt x="1023" y="450"/>
                </a:cubicBezTo>
                <a:cubicBezTo>
                  <a:pt x="1023" y="450"/>
                  <a:pt x="1023" y="450"/>
                  <a:pt x="1024" y="449"/>
                </a:cubicBezTo>
                <a:cubicBezTo>
                  <a:pt x="1024" y="449"/>
                  <a:pt x="1024" y="449"/>
                  <a:pt x="1024" y="450"/>
                </a:cubicBezTo>
                <a:cubicBezTo>
                  <a:pt x="1024" y="450"/>
                  <a:pt x="1024" y="450"/>
                  <a:pt x="1024" y="451"/>
                </a:cubicBezTo>
                <a:cubicBezTo>
                  <a:pt x="1024" y="451"/>
                  <a:pt x="1024" y="451"/>
                  <a:pt x="1023" y="451"/>
                </a:cubicBezTo>
                <a:cubicBezTo>
                  <a:pt x="1023" y="451"/>
                  <a:pt x="1023" y="451"/>
                  <a:pt x="1023" y="452"/>
                </a:cubicBezTo>
                <a:cubicBezTo>
                  <a:pt x="1023" y="452"/>
                  <a:pt x="1023" y="452"/>
                  <a:pt x="1024" y="451"/>
                </a:cubicBezTo>
                <a:cubicBezTo>
                  <a:pt x="1024" y="451"/>
                  <a:pt x="1024" y="451"/>
                  <a:pt x="1025" y="452"/>
                </a:cubicBezTo>
                <a:cubicBezTo>
                  <a:pt x="1025" y="452"/>
                  <a:pt x="1025" y="452"/>
                  <a:pt x="1026" y="451"/>
                </a:cubicBezTo>
                <a:cubicBezTo>
                  <a:pt x="1026" y="451"/>
                  <a:pt x="1026" y="451"/>
                  <a:pt x="1027" y="451"/>
                </a:cubicBezTo>
                <a:cubicBezTo>
                  <a:pt x="1027" y="451"/>
                  <a:pt x="1027" y="451"/>
                  <a:pt x="1027" y="452"/>
                </a:cubicBezTo>
                <a:cubicBezTo>
                  <a:pt x="1027" y="452"/>
                  <a:pt x="1027" y="452"/>
                  <a:pt x="1026" y="452"/>
                </a:cubicBezTo>
                <a:cubicBezTo>
                  <a:pt x="1026" y="452"/>
                  <a:pt x="1026" y="452"/>
                  <a:pt x="1027" y="453"/>
                </a:cubicBezTo>
                <a:cubicBezTo>
                  <a:pt x="1027" y="453"/>
                  <a:pt x="1027" y="453"/>
                  <a:pt x="1027" y="452"/>
                </a:cubicBezTo>
                <a:cubicBezTo>
                  <a:pt x="1027" y="452"/>
                  <a:pt x="1027" y="452"/>
                  <a:pt x="1028" y="451"/>
                </a:cubicBezTo>
                <a:cubicBezTo>
                  <a:pt x="1028" y="451"/>
                  <a:pt x="1028" y="451"/>
                  <a:pt x="1029" y="451"/>
                </a:cubicBezTo>
                <a:cubicBezTo>
                  <a:pt x="1029" y="451"/>
                  <a:pt x="1029" y="451"/>
                  <a:pt x="1028" y="452"/>
                </a:cubicBezTo>
                <a:cubicBezTo>
                  <a:pt x="1028" y="452"/>
                  <a:pt x="1028" y="452"/>
                  <a:pt x="1028" y="453"/>
                </a:cubicBezTo>
                <a:cubicBezTo>
                  <a:pt x="1028" y="453"/>
                  <a:pt x="1028" y="453"/>
                  <a:pt x="1029" y="452"/>
                </a:cubicBezTo>
                <a:cubicBezTo>
                  <a:pt x="1029" y="452"/>
                  <a:pt x="1029" y="452"/>
                  <a:pt x="1029" y="453"/>
                </a:cubicBezTo>
                <a:cubicBezTo>
                  <a:pt x="1029" y="453"/>
                  <a:pt x="1029" y="453"/>
                  <a:pt x="1030" y="452"/>
                </a:cubicBezTo>
                <a:cubicBezTo>
                  <a:pt x="1030" y="452"/>
                  <a:pt x="1030" y="452"/>
                  <a:pt x="1031" y="452"/>
                </a:cubicBezTo>
                <a:cubicBezTo>
                  <a:pt x="1031" y="452"/>
                  <a:pt x="1031" y="452"/>
                  <a:pt x="1032" y="451"/>
                </a:cubicBezTo>
                <a:cubicBezTo>
                  <a:pt x="1032" y="451"/>
                  <a:pt x="1032" y="451"/>
                  <a:pt x="1033" y="451"/>
                </a:cubicBezTo>
                <a:cubicBezTo>
                  <a:pt x="1033" y="451"/>
                  <a:pt x="1033" y="451"/>
                  <a:pt x="1034" y="451"/>
                </a:cubicBezTo>
                <a:cubicBezTo>
                  <a:pt x="1034" y="451"/>
                  <a:pt x="1034" y="451"/>
                  <a:pt x="1035" y="451"/>
                </a:cubicBezTo>
                <a:cubicBezTo>
                  <a:pt x="1035" y="451"/>
                  <a:pt x="1035" y="451"/>
                  <a:pt x="1036" y="451"/>
                </a:cubicBezTo>
                <a:cubicBezTo>
                  <a:pt x="1036" y="451"/>
                  <a:pt x="1036" y="451"/>
                  <a:pt x="1037" y="452"/>
                </a:cubicBezTo>
                <a:cubicBezTo>
                  <a:pt x="1037" y="452"/>
                  <a:pt x="1037" y="452"/>
                  <a:pt x="1038" y="452"/>
                </a:cubicBezTo>
                <a:cubicBezTo>
                  <a:pt x="1038" y="452"/>
                  <a:pt x="1038" y="452"/>
                  <a:pt x="1038" y="453"/>
                </a:cubicBezTo>
                <a:cubicBezTo>
                  <a:pt x="1038" y="453"/>
                  <a:pt x="1038" y="453"/>
                  <a:pt x="1037" y="454"/>
                </a:cubicBezTo>
                <a:cubicBezTo>
                  <a:pt x="1037" y="454"/>
                  <a:pt x="1037" y="454"/>
                  <a:pt x="1036" y="455"/>
                </a:cubicBezTo>
                <a:cubicBezTo>
                  <a:pt x="1036" y="455"/>
                  <a:pt x="1036" y="455"/>
                  <a:pt x="1035" y="455"/>
                </a:cubicBezTo>
                <a:cubicBezTo>
                  <a:pt x="1035" y="455"/>
                  <a:pt x="1035" y="455"/>
                  <a:pt x="1035" y="456"/>
                </a:cubicBezTo>
                <a:cubicBezTo>
                  <a:pt x="1035" y="456"/>
                  <a:pt x="1035" y="456"/>
                  <a:pt x="1034" y="456"/>
                </a:cubicBezTo>
                <a:close/>
                <a:moveTo>
                  <a:pt x="1033" y="453"/>
                </a:moveTo>
                <a:cubicBezTo>
                  <a:pt x="1033" y="453"/>
                  <a:pt x="1033" y="453"/>
                  <a:pt x="1033" y="452"/>
                </a:cubicBezTo>
                <a:cubicBezTo>
                  <a:pt x="1033" y="452"/>
                  <a:pt x="1033" y="452"/>
                  <a:pt x="1032" y="452"/>
                </a:cubicBezTo>
                <a:cubicBezTo>
                  <a:pt x="1032" y="452"/>
                  <a:pt x="1032" y="452"/>
                  <a:pt x="1033" y="453"/>
                </a:cubicBezTo>
                <a:cubicBezTo>
                  <a:pt x="1033" y="453"/>
                  <a:pt x="1033" y="453"/>
                  <a:pt x="1032" y="454"/>
                </a:cubicBezTo>
                <a:cubicBezTo>
                  <a:pt x="1032" y="454"/>
                  <a:pt x="1032" y="454"/>
                  <a:pt x="1033" y="454"/>
                </a:cubicBezTo>
                <a:cubicBezTo>
                  <a:pt x="1033" y="454"/>
                  <a:pt x="1033" y="454"/>
                  <a:pt x="1033" y="453"/>
                </a:cubicBezTo>
                <a:close/>
                <a:moveTo>
                  <a:pt x="1033" y="467"/>
                </a:moveTo>
                <a:cubicBezTo>
                  <a:pt x="1032" y="468"/>
                  <a:pt x="1032" y="468"/>
                  <a:pt x="1032" y="468"/>
                </a:cubicBezTo>
                <a:cubicBezTo>
                  <a:pt x="1033" y="468"/>
                  <a:pt x="1033" y="468"/>
                  <a:pt x="1033" y="468"/>
                </a:cubicBezTo>
                <a:cubicBezTo>
                  <a:pt x="1032" y="469"/>
                  <a:pt x="1032" y="469"/>
                  <a:pt x="1032" y="469"/>
                </a:cubicBezTo>
                <a:cubicBezTo>
                  <a:pt x="1031" y="470"/>
                  <a:pt x="1031" y="470"/>
                  <a:pt x="1031" y="470"/>
                </a:cubicBezTo>
                <a:cubicBezTo>
                  <a:pt x="1031" y="472"/>
                  <a:pt x="1031" y="472"/>
                  <a:pt x="1031" y="472"/>
                </a:cubicBezTo>
                <a:cubicBezTo>
                  <a:pt x="1030" y="473"/>
                  <a:pt x="1030" y="473"/>
                  <a:pt x="1030" y="473"/>
                </a:cubicBezTo>
                <a:cubicBezTo>
                  <a:pt x="1030" y="474"/>
                  <a:pt x="1030" y="474"/>
                  <a:pt x="1030" y="474"/>
                </a:cubicBezTo>
                <a:cubicBezTo>
                  <a:pt x="1031" y="474"/>
                  <a:pt x="1031" y="474"/>
                  <a:pt x="1031" y="474"/>
                </a:cubicBezTo>
                <a:cubicBezTo>
                  <a:pt x="1032" y="473"/>
                  <a:pt x="1032" y="473"/>
                  <a:pt x="1032" y="473"/>
                </a:cubicBezTo>
                <a:cubicBezTo>
                  <a:pt x="1033" y="472"/>
                  <a:pt x="1033" y="472"/>
                  <a:pt x="1033" y="472"/>
                </a:cubicBezTo>
                <a:cubicBezTo>
                  <a:pt x="1034" y="470"/>
                  <a:pt x="1034" y="470"/>
                  <a:pt x="1034" y="470"/>
                </a:cubicBezTo>
                <a:cubicBezTo>
                  <a:pt x="1035" y="470"/>
                  <a:pt x="1035" y="470"/>
                  <a:pt x="1035" y="470"/>
                </a:cubicBezTo>
                <a:cubicBezTo>
                  <a:pt x="1036" y="470"/>
                  <a:pt x="1036" y="470"/>
                  <a:pt x="1036" y="470"/>
                </a:cubicBezTo>
                <a:cubicBezTo>
                  <a:pt x="1036" y="471"/>
                  <a:pt x="1036" y="471"/>
                  <a:pt x="1036" y="471"/>
                </a:cubicBezTo>
                <a:cubicBezTo>
                  <a:pt x="1035" y="471"/>
                  <a:pt x="1035" y="471"/>
                  <a:pt x="1035" y="471"/>
                </a:cubicBezTo>
                <a:cubicBezTo>
                  <a:pt x="1034" y="472"/>
                  <a:pt x="1034" y="472"/>
                  <a:pt x="1034" y="472"/>
                </a:cubicBezTo>
                <a:cubicBezTo>
                  <a:pt x="1034" y="473"/>
                  <a:pt x="1034" y="473"/>
                  <a:pt x="1034" y="473"/>
                </a:cubicBezTo>
                <a:cubicBezTo>
                  <a:pt x="1034" y="474"/>
                  <a:pt x="1034" y="474"/>
                  <a:pt x="1034" y="474"/>
                </a:cubicBezTo>
                <a:cubicBezTo>
                  <a:pt x="1034" y="475"/>
                  <a:pt x="1034" y="475"/>
                  <a:pt x="1034" y="475"/>
                </a:cubicBezTo>
                <a:cubicBezTo>
                  <a:pt x="1035" y="476"/>
                  <a:pt x="1035" y="476"/>
                  <a:pt x="1035" y="476"/>
                </a:cubicBezTo>
                <a:cubicBezTo>
                  <a:pt x="1035" y="475"/>
                  <a:pt x="1035" y="475"/>
                  <a:pt x="1035" y="475"/>
                </a:cubicBezTo>
                <a:cubicBezTo>
                  <a:pt x="1035" y="474"/>
                  <a:pt x="1035" y="474"/>
                  <a:pt x="1035" y="474"/>
                </a:cubicBezTo>
                <a:cubicBezTo>
                  <a:pt x="1036" y="474"/>
                  <a:pt x="1036" y="474"/>
                  <a:pt x="1036" y="474"/>
                </a:cubicBezTo>
                <a:cubicBezTo>
                  <a:pt x="1037" y="475"/>
                  <a:pt x="1037" y="475"/>
                  <a:pt x="1037" y="475"/>
                </a:cubicBezTo>
                <a:cubicBezTo>
                  <a:pt x="1038" y="475"/>
                  <a:pt x="1038" y="475"/>
                  <a:pt x="1038" y="475"/>
                </a:cubicBezTo>
                <a:cubicBezTo>
                  <a:pt x="1038" y="474"/>
                  <a:pt x="1038" y="474"/>
                  <a:pt x="1038" y="474"/>
                </a:cubicBezTo>
                <a:cubicBezTo>
                  <a:pt x="1038" y="473"/>
                  <a:pt x="1038" y="473"/>
                  <a:pt x="1038" y="473"/>
                </a:cubicBezTo>
                <a:cubicBezTo>
                  <a:pt x="1038" y="472"/>
                  <a:pt x="1038" y="472"/>
                  <a:pt x="1038" y="472"/>
                </a:cubicBezTo>
                <a:cubicBezTo>
                  <a:pt x="1039" y="472"/>
                  <a:pt x="1039" y="472"/>
                  <a:pt x="1039" y="472"/>
                </a:cubicBezTo>
                <a:cubicBezTo>
                  <a:pt x="1039" y="471"/>
                  <a:pt x="1039" y="471"/>
                  <a:pt x="1039" y="471"/>
                </a:cubicBezTo>
                <a:cubicBezTo>
                  <a:pt x="1039" y="470"/>
                  <a:pt x="1039" y="470"/>
                  <a:pt x="1039" y="470"/>
                </a:cubicBezTo>
                <a:cubicBezTo>
                  <a:pt x="1040" y="469"/>
                  <a:pt x="1040" y="469"/>
                  <a:pt x="1040" y="469"/>
                </a:cubicBezTo>
                <a:cubicBezTo>
                  <a:pt x="1041" y="468"/>
                  <a:pt x="1041" y="468"/>
                  <a:pt x="1041" y="468"/>
                </a:cubicBezTo>
                <a:cubicBezTo>
                  <a:pt x="1040" y="466"/>
                  <a:pt x="1040" y="466"/>
                  <a:pt x="1040" y="466"/>
                </a:cubicBezTo>
                <a:cubicBezTo>
                  <a:pt x="1040" y="467"/>
                  <a:pt x="1040" y="467"/>
                  <a:pt x="1040" y="467"/>
                </a:cubicBezTo>
                <a:cubicBezTo>
                  <a:pt x="1039" y="467"/>
                  <a:pt x="1039" y="467"/>
                  <a:pt x="1039" y="467"/>
                </a:cubicBezTo>
                <a:cubicBezTo>
                  <a:pt x="1038" y="468"/>
                  <a:pt x="1038" y="468"/>
                  <a:pt x="1038" y="468"/>
                </a:cubicBezTo>
                <a:cubicBezTo>
                  <a:pt x="1037" y="468"/>
                  <a:pt x="1037" y="468"/>
                  <a:pt x="1037" y="468"/>
                </a:cubicBezTo>
                <a:cubicBezTo>
                  <a:pt x="1037" y="467"/>
                  <a:pt x="1037" y="467"/>
                  <a:pt x="1037" y="467"/>
                </a:cubicBezTo>
                <a:cubicBezTo>
                  <a:pt x="1037" y="466"/>
                  <a:pt x="1037" y="466"/>
                  <a:pt x="1037" y="466"/>
                </a:cubicBezTo>
                <a:cubicBezTo>
                  <a:pt x="1038" y="465"/>
                  <a:pt x="1038" y="465"/>
                  <a:pt x="1038" y="465"/>
                </a:cubicBezTo>
                <a:cubicBezTo>
                  <a:pt x="1039" y="464"/>
                  <a:pt x="1039" y="464"/>
                  <a:pt x="1039" y="464"/>
                </a:cubicBezTo>
                <a:cubicBezTo>
                  <a:pt x="1040" y="464"/>
                  <a:pt x="1040" y="464"/>
                  <a:pt x="1040" y="464"/>
                </a:cubicBezTo>
                <a:cubicBezTo>
                  <a:pt x="1040" y="463"/>
                  <a:pt x="1040" y="463"/>
                  <a:pt x="1040" y="463"/>
                </a:cubicBezTo>
                <a:cubicBezTo>
                  <a:pt x="1039" y="463"/>
                  <a:pt x="1039" y="463"/>
                  <a:pt x="1039" y="463"/>
                </a:cubicBezTo>
                <a:cubicBezTo>
                  <a:pt x="1038" y="464"/>
                  <a:pt x="1038" y="464"/>
                  <a:pt x="1038" y="464"/>
                </a:cubicBezTo>
                <a:cubicBezTo>
                  <a:pt x="1037" y="464"/>
                  <a:pt x="1037" y="464"/>
                  <a:pt x="1037" y="464"/>
                </a:cubicBezTo>
                <a:cubicBezTo>
                  <a:pt x="1037" y="465"/>
                  <a:pt x="1037" y="465"/>
                  <a:pt x="1037" y="465"/>
                </a:cubicBezTo>
                <a:cubicBezTo>
                  <a:pt x="1035" y="466"/>
                  <a:pt x="1035" y="466"/>
                  <a:pt x="1035" y="466"/>
                </a:cubicBezTo>
                <a:cubicBezTo>
                  <a:pt x="1035" y="467"/>
                  <a:pt x="1035" y="467"/>
                  <a:pt x="1035" y="467"/>
                </a:cubicBezTo>
                <a:cubicBezTo>
                  <a:pt x="1034" y="466"/>
                  <a:pt x="1034" y="466"/>
                  <a:pt x="1034" y="466"/>
                </a:cubicBezTo>
                <a:cubicBezTo>
                  <a:pt x="1033" y="465"/>
                  <a:pt x="1033" y="465"/>
                  <a:pt x="1033" y="465"/>
                </a:cubicBezTo>
                <a:cubicBezTo>
                  <a:pt x="1033" y="466"/>
                  <a:pt x="1033" y="466"/>
                  <a:pt x="1033" y="466"/>
                </a:cubicBezTo>
                <a:cubicBezTo>
                  <a:pt x="1033" y="467"/>
                  <a:pt x="1033" y="467"/>
                  <a:pt x="1033" y="467"/>
                </a:cubicBezTo>
                <a:close/>
                <a:moveTo>
                  <a:pt x="1027" y="440"/>
                </a:moveTo>
                <a:cubicBezTo>
                  <a:pt x="1028" y="440"/>
                  <a:pt x="1028" y="440"/>
                  <a:pt x="1028" y="440"/>
                </a:cubicBezTo>
                <a:cubicBezTo>
                  <a:pt x="1028" y="439"/>
                  <a:pt x="1028" y="439"/>
                  <a:pt x="1028" y="439"/>
                </a:cubicBezTo>
                <a:cubicBezTo>
                  <a:pt x="1027" y="439"/>
                  <a:pt x="1027" y="439"/>
                  <a:pt x="1027" y="439"/>
                </a:cubicBezTo>
                <a:cubicBezTo>
                  <a:pt x="1027" y="440"/>
                  <a:pt x="1027" y="440"/>
                  <a:pt x="1027" y="440"/>
                </a:cubicBezTo>
                <a:close/>
                <a:moveTo>
                  <a:pt x="1019" y="475"/>
                </a:moveTo>
                <a:cubicBezTo>
                  <a:pt x="1019" y="475"/>
                  <a:pt x="1019" y="475"/>
                  <a:pt x="1020" y="474"/>
                </a:cubicBezTo>
                <a:cubicBezTo>
                  <a:pt x="1020" y="474"/>
                  <a:pt x="1020" y="474"/>
                  <a:pt x="1019" y="474"/>
                </a:cubicBezTo>
                <a:cubicBezTo>
                  <a:pt x="1019" y="474"/>
                  <a:pt x="1019" y="474"/>
                  <a:pt x="1019" y="475"/>
                </a:cubicBezTo>
                <a:close/>
                <a:moveTo>
                  <a:pt x="1018" y="470"/>
                </a:moveTo>
                <a:cubicBezTo>
                  <a:pt x="1018" y="470"/>
                  <a:pt x="1018" y="470"/>
                  <a:pt x="1017" y="470"/>
                </a:cubicBezTo>
                <a:cubicBezTo>
                  <a:pt x="1017" y="470"/>
                  <a:pt x="1017" y="470"/>
                  <a:pt x="1018" y="471"/>
                </a:cubicBezTo>
                <a:cubicBezTo>
                  <a:pt x="1018" y="471"/>
                  <a:pt x="1018" y="471"/>
                  <a:pt x="1018" y="470"/>
                </a:cubicBezTo>
                <a:close/>
                <a:moveTo>
                  <a:pt x="1006" y="455"/>
                </a:moveTo>
                <a:cubicBezTo>
                  <a:pt x="1005" y="456"/>
                  <a:pt x="1005" y="456"/>
                  <a:pt x="1005" y="456"/>
                </a:cubicBezTo>
                <a:cubicBezTo>
                  <a:pt x="1006" y="456"/>
                  <a:pt x="1006" y="456"/>
                  <a:pt x="1006" y="456"/>
                </a:cubicBezTo>
                <a:cubicBezTo>
                  <a:pt x="1006" y="455"/>
                  <a:pt x="1006" y="455"/>
                  <a:pt x="1006" y="455"/>
                </a:cubicBezTo>
                <a:close/>
                <a:moveTo>
                  <a:pt x="1018" y="474"/>
                </a:moveTo>
                <a:cubicBezTo>
                  <a:pt x="1018" y="474"/>
                  <a:pt x="1018" y="474"/>
                  <a:pt x="1018" y="473"/>
                </a:cubicBezTo>
                <a:cubicBezTo>
                  <a:pt x="1018" y="473"/>
                  <a:pt x="1018" y="473"/>
                  <a:pt x="1018" y="472"/>
                </a:cubicBezTo>
                <a:cubicBezTo>
                  <a:pt x="1018" y="472"/>
                  <a:pt x="1018" y="472"/>
                  <a:pt x="1017" y="473"/>
                </a:cubicBezTo>
                <a:cubicBezTo>
                  <a:pt x="1017" y="473"/>
                  <a:pt x="1017" y="473"/>
                  <a:pt x="1018" y="474"/>
                </a:cubicBezTo>
                <a:close/>
                <a:moveTo>
                  <a:pt x="999" y="38"/>
                </a:moveTo>
                <a:cubicBezTo>
                  <a:pt x="999" y="37"/>
                  <a:pt x="999" y="37"/>
                  <a:pt x="999" y="37"/>
                </a:cubicBezTo>
                <a:cubicBezTo>
                  <a:pt x="998" y="36"/>
                  <a:pt x="998" y="36"/>
                  <a:pt x="998" y="36"/>
                </a:cubicBezTo>
                <a:cubicBezTo>
                  <a:pt x="998" y="34"/>
                  <a:pt x="998" y="34"/>
                  <a:pt x="998" y="34"/>
                </a:cubicBezTo>
                <a:cubicBezTo>
                  <a:pt x="999" y="34"/>
                  <a:pt x="999" y="34"/>
                  <a:pt x="999" y="34"/>
                </a:cubicBezTo>
                <a:cubicBezTo>
                  <a:pt x="1000" y="34"/>
                  <a:pt x="1000" y="34"/>
                  <a:pt x="1000" y="34"/>
                </a:cubicBezTo>
                <a:cubicBezTo>
                  <a:pt x="1001" y="34"/>
                  <a:pt x="1001" y="34"/>
                  <a:pt x="1001" y="34"/>
                </a:cubicBezTo>
                <a:cubicBezTo>
                  <a:pt x="1002" y="34"/>
                  <a:pt x="1002" y="34"/>
                  <a:pt x="1002" y="34"/>
                </a:cubicBezTo>
                <a:cubicBezTo>
                  <a:pt x="1006" y="34"/>
                  <a:pt x="1006" y="34"/>
                  <a:pt x="1006" y="34"/>
                </a:cubicBezTo>
                <a:cubicBezTo>
                  <a:pt x="1008" y="35"/>
                  <a:pt x="1008" y="35"/>
                  <a:pt x="1008" y="35"/>
                </a:cubicBezTo>
                <a:cubicBezTo>
                  <a:pt x="1007" y="33"/>
                  <a:pt x="1007" y="33"/>
                  <a:pt x="1007" y="33"/>
                </a:cubicBezTo>
                <a:cubicBezTo>
                  <a:pt x="1006" y="33"/>
                  <a:pt x="1006" y="33"/>
                  <a:pt x="1006" y="33"/>
                </a:cubicBezTo>
                <a:cubicBezTo>
                  <a:pt x="1004" y="33"/>
                  <a:pt x="1004" y="33"/>
                  <a:pt x="1004" y="33"/>
                </a:cubicBezTo>
                <a:cubicBezTo>
                  <a:pt x="1002" y="32"/>
                  <a:pt x="1002" y="32"/>
                  <a:pt x="1002" y="32"/>
                </a:cubicBezTo>
                <a:cubicBezTo>
                  <a:pt x="1001" y="32"/>
                  <a:pt x="1001" y="32"/>
                  <a:pt x="1001" y="32"/>
                </a:cubicBezTo>
                <a:cubicBezTo>
                  <a:pt x="999" y="32"/>
                  <a:pt x="999" y="32"/>
                  <a:pt x="999" y="32"/>
                </a:cubicBezTo>
                <a:cubicBezTo>
                  <a:pt x="999" y="31"/>
                  <a:pt x="999" y="31"/>
                  <a:pt x="999" y="31"/>
                </a:cubicBezTo>
                <a:cubicBezTo>
                  <a:pt x="1000" y="30"/>
                  <a:pt x="1000" y="30"/>
                  <a:pt x="1000" y="30"/>
                </a:cubicBezTo>
                <a:cubicBezTo>
                  <a:pt x="1000" y="29"/>
                  <a:pt x="1000" y="29"/>
                  <a:pt x="1000" y="29"/>
                </a:cubicBezTo>
                <a:cubicBezTo>
                  <a:pt x="1000" y="28"/>
                  <a:pt x="1000" y="28"/>
                  <a:pt x="1000" y="28"/>
                </a:cubicBezTo>
                <a:cubicBezTo>
                  <a:pt x="1001" y="28"/>
                  <a:pt x="1001" y="28"/>
                  <a:pt x="1001" y="28"/>
                </a:cubicBezTo>
                <a:cubicBezTo>
                  <a:pt x="1002" y="29"/>
                  <a:pt x="1002" y="29"/>
                  <a:pt x="1002" y="29"/>
                </a:cubicBezTo>
                <a:cubicBezTo>
                  <a:pt x="1004" y="29"/>
                  <a:pt x="1004" y="29"/>
                  <a:pt x="1004" y="29"/>
                </a:cubicBezTo>
                <a:cubicBezTo>
                  <a:pt x="1005" y="29"/>
                  <a:pt x="1005" y="29"/>
                  <a:pt x="1005" y="29"/>
                </a:cubicBezTo>
                <a:cubicBezTo>
                  <a:pt x="1004" y="28"/>
                  <a:pt x="1004" y="28"/>
                  <a:pt x="1004" y="28"/>
                </a:cubicBezTo>
                <a:cubicBezTo>
                  <a:pt x="1003" y="28"/>
                  <a:pt x="1003" y="28"/>
                  <a:pt x="1003" y="28"/>
                </a:cubicBezTo>
                <a:cubicBezTo>
                  <a:pt x="1002" y="27"/>
                  <a:pt x="1002" y="27"/>
                  <a:pt x="1002" y="27"/>
                </a:cubicBezTo>
                <a:cubicBezTo>
                  <a:pt x="1002" y="26"/>
                  <a:pt x="1002" y="26"/>
                  <a:pt x="1002" y="26"/>
                </a:cubicBezTo>
                <a:cubicBezTo>
                  <a:pt x="1004" y="26"/>
                  <a:pt x="1004" y="26"/>
                  <a:pt x="1004" y="26"/>
                </a:cubicBezTo>
                <a:cubicBezTo>
                  <a:pt x="1005" y="25"/>
                  <a:pt x="1005" y="25"/>
                  <a:pt x="1005" y="25"/>
                </a:cubicBezTo>
                <a:cubicBezTo>
                  <a:pt x="1008" y="25"/>
                  <a:pt x="1008" y="25"/>
                  <a:pt x="1008" y="25"/>
                </a:cubicBezTo>
                <a:cubicBezTo>
                  <a:pt x="1008" y="24"/>
                  <a:pt x="1008" y="24"/>
                  <a:pt x="1008" y="24"/>
                </a:cubicBezTo>
                <a:cubicBezTo>
                  <a:pt x="1010" y="24"/>
                  <a:pt x="1010" y="24"/>
                  <a:pt x="1010" y="24"/>
                </a:cubicBezTo>
                <a:cubicBezTo>
                  <a:pt x="1011" y="24"/>
                  <a:pt x="1011" y="24"/>
                  <a:pt x="1011" y="24"/>
                </a:cubicBezTo>
                <a:cubicBezTo>
                  <a:pt x="1011" y="23"/>
                  <a:pt x="1011" y="23"/>
                  <a:pt x="1011" y="23"/>
                </a:cubicBezTo>
                <a:cubicBezTo>
                  <a:pt x="1008" y="23"/>
                  <a:pt x="1008" y="23"/>
                  <a:pt x="1008" y="23"/>
                </a:cubicBezTo>
                <a:cubicBezTo>
                  <a:pt x="1006" y="24"/>
                  <a:pt x="1006" y="24"/>
                  <a:pt x="1006" y="24"/>
                </a:cubicBezTo>
                <a:cubicBezTo>
                  <a:pt x="1004" y="24"/>
                  <a:pt x="1004" y="24"/>
                  <a:pt x="1004" y="24"/>
                </a:cubicBezTo>
                <a:cubicBezTo>
                  <a:pt x="1003" y="24"/>
                  <a:pt x="1003" y="24"/>
                  <a:pt x="1003" y="24"/>
                </a:cubicBezTo>
                <a:cubicBezTo>
                  <a:pt x="1002" y="25"/>
                  <a:pt x="1002" y="25"/>
                  <a:pt x="1002" y="25"/>
                </a:cubicBezTo>
                <a:cubicBezTo>
                  <a:pt x="1001" y="25"/>
                  <a:pt x="1001" y="25"/>
                  <a:pt x="1001" y="25"/>
                </a:cubicBezTo>
                <a:cubicBezTo>
                  <a:pt x="1001" y="24"/>
                  <a:pt x="1001" y="24"/>
                  <a:pt x="1001" y="24"/>
                </a:cubicBezTo>
                <a:cubicBezTo>
                  <a:pt x="1001" y="23"/>
                  <a:pt x="1001" y="23"/>
                  <a:pt x="1001" y="23"/>
                </a:cubicBezTo>
                <a:cubicBezTo>
                  <a:pt x="1003" y="22"/>
                  <a:pt x="1003" y="22"/>
                  <a:pt x="1003" y="22"/>
                </a:cubicBezTo>
                <a:cubicBezTo>
                  <a:pt x="1004" y="21"/>
                  <a:pt x="1004" y="21"/>
                  <a:pt x="1004" y="21"/>
                </a:cubicBezTo>
                <a:cubicBezTo>
                  <a:pt x="1006" y="21"/>
                  <a:pt x="1006" y="21"/>
                  <a:pt x="1006" y="21"/>
                </a:cubicBezTo>
                <a:cubicBezTo>
                  <a:pt x="1007" y="20"/>
                  <a:pt x="1007" y="20"/>
                  <a:pt x="1007" y="20"/>
                </a:cubicBezTo>
                <a:cubicBezTo>
                  <a:pt x="1006" y="20"/>
                  <a:pt x="1006" y="20"/>
                  <a:pt x="1006" y="20"/>
                </a:cubicBezTo>
                <a:cubicBezTo>
                  <a:pt x="1005" y="20"/>
                  <a:pt x="1005" y="20"/>
                  <a:pt x="1005" y="20"/>
                </a:cubicBezTo>
                <a:cubicBezTo>
                  <a:pt x="1006" y="18"/>
                  <a:pt x="1006" y="18"/>
                  <a:pt x="1006" y="18"/>
                </a:cubicBezTo>
                <a:cubicBezTo>
                  <a:pt x="1005" y="18"/>
                  <a:pt x="1005" y="18"/>
                  <a:pt x="1005" y="18"/>
                </a:cubicBezTo>
                <a:cubicBezTo>
                  <a:pt x="1005" y="19"/>
                  <a:pt x="1005" y="19"/>
                  <a:pt x="1005" y="19"/>
                </a:cubicBezTo>
                <a:cubicBezTo>
                  <a:pt x="1004" y="20"/>
                  <a:pt x="1004" y="20"/>
                  <a:pt x="1004" y="20"/>
                </a:cubicBezTo>
                <a:cubicBezTo>
                  <a:pt x="1004" y="19"/>
                  <a:pt x="1004" y="19"/>
                  <a:pt x="1004" y="19"/>
                </a:cubicBezTo>
                <a:cubicBezTo>
                  <a:pt x="1003" y="19"/>
                  <a:pt x="1003" y="19"/>
                  <a:pt x="1003" y="19"/>
                </a:cubicBezTo>
                <a:cubicBezTo>
                  <a:pt x="1002" y="19"/>
                  <a:pt x="1002" y="19"/>
                  <a:pt x="1002" y="19"/>
                </a:cubicBezTo>
                <a:cubicBezTo>
                  <a:pt x="1001" y="20"/>
                  <a:pt x="1001" y="20"/>
                  <a:pt x="1001" y="20"/>
                </a:cubicBezTo>
                <a:cubicBezTo>
                  <a:pt x="1001" y="21"/>
                  <a:pt x="1001" y="21"/>
                  <a:pt x="1001" y="21"/>
                </a:cubicBezTo>
                <a:cubicBezTo>
                  <a:pt x="999" y="22"/>
                  <a:pt x="999" y="22"/>
                  <a:pt x="999" y="22"/>
                </a:cubicBezTo>
                <a:cubicBezTo>
                  <a:pt x="999" y="21"/>
                  <a:pt x="999" y="21"/>
                  <a:pt x="999" y="21"/>
                </a:cubicBezTo>
                <a:cubicBezTo>
                  <a:pt x="999" y="19"/>
                  <a:pt x="999" y="19"/>
                  <a:pt x="999" y="19"/>
                </a:cubicBezTo>
                <a:cubicBezTo>
                  <a:pt x="998" y="18"/>
                  <a:pt x="998" y="18"/>
                  <a:pt x="998" y="18"/>
                </a:cubicBezTo>
                <a:cubicBezTo>
                  <a:pt x="999" y="18"/>
                  <a:pt x="999" y="18"/>
                  <a:pt x="999" y="18"/>
                </a:cubicBezTo>
                <a:cubicBezTo>
                  <a:pt x="1000" y="18"/>
                  <a:pt x="1000" y="18"/>
                  <a:pt x="1000" y="18"/>
                </a:cubicBezTo>
                <a:cubicBezTo>
                  <a:pt x="1000" y="17"/>
                  <a:pt x="1000" y="17"/>
                  <a:pt x="1000" y="17"/>
                </a:cubicBezTo>
                <a:cubicBezTo>
                  <a:pt x="1001" y="16"/>
                  <a:pt x="1001" y="16"/>
                  <a:pt x="1001" y="16"/>
                </a:cubicBezTo>
                <a:cubicBezTo>
                  <a:pt x="1002" y="16"/>
                  <a:pt x="1002" y="16"/>
                  <a:pt x="1002" y="16"/>
                </a:cubicBezTo>
                <a:cubicBezTo>
                  <a:pt x="1003" y="15"/>
                  <a:pt x="1003" y="15"/>
                  <a:pt x="1003" y="15"/>
                </a:cubicBezTo>
                <a:cubicBezTo>
                  <a:pt x="1004" y="14"/>
                  <a:pt x="1004" y="14"/>
                  <a:pt x="1004" y="14"/>
                </a:cubicBezTo>
                <a:cubicBezTo>
                  <a:pt x="1005" y="15"/>
                  <a:pt x="1005" y="15"/>
                  <a:pt x="1005" y="15"/>
                </a:cubicBezTo>
                <a:cubicBezTo>
                  <a:pt x="1007" y="14"/>
                  <a:pt x="1007" y="14"/>
                  <a:pt x="1007" y="14"/>
                </a:cubicBezTo>
                <a:cubicBezTo>
                  <a:pt x="1010" y="13"/>
                  <a:pt x="1010" y="13"/>
                  <a:pt x="1010" y="13"/>
                </a:cubicBezTo>
                <a:cubicBezTo>
                  <a:pt x="1011" y="13"/>
                  <a:pt x="1011" y="13"/>
                  <a:pt x="1011" y="13"/>
                </a:cubicBezTo>
                <a:cubicBezTo>
                  <a:pt x="1011" y="14"/>
                  <a:pt x="1011" y="14"/>
                  <a:pt x="1011" y="14"/>
                </a:cubicBezTo>
                <a:cubicBezTo>
                  <a:pt x="1011" y="15"/>
                  <a:pt x="1011" y="15"/>
                  <a:pt x="1011" y="15"/>
                </a:cubicBezTo>
                <a:cubicBezTo>
                  <a:pt x="1011" y="18"/>
                  <a:pt x="1011" y="18"/>
                  <a:pt x="1011" y="18"/>
                </a:cubicBezTo>
                <a:cubicBezTo>
                  <a:pt x="1012" y="17"/>
                  <a:pt x="1012" y="17"/>
                  <a:pt x="1012" y="17"/>
                </a:cubicBezTo>
                <a:cubicBezTo>
                  <a:pt x="1012" y="16"/>
                  <a:pt x="1012" y="16"/>
                  <a:pt x="1012" y="16"/>
                </a:cubicBezTo>
                <a:cubicBezTo>
                  <a:pt x="1013" y="15"/>
                  <a:pt x="1013" y="15"/>
                  <a:pt x="1013" y="15"/>
                </a:cubicBezTo>
                <a:cubicBezTo>
                  <a:pt x="1014" y="15"/>
                  <a:pt x="1014" y="15"/>
                  <a:pt x="1014" y="15"/>
                </a:cubicBezTo>
                <a:cubicBezTo>
                  <a:pt x="1013" y="16"/>
                  <a:pt x="1013" y="16"/>
                  <a:pt x="1013" y="16"/>
                </a:cubicBezTo>
                <a:cubicBezTo>
                  <a:pt x="1013" y="17"/>
                  <a:pt x="1013" y="17"/>
                  <a:pt x="1013" y="17"/>
                </a:cubicBezTo>
                <a:cubicBezTo>
                  <a:pt x="1014" y="16"/>
                  <a:pt x="1014" y="16"/>
                  <a:pt x="1014" y="16"/>
                </a:cubicBezTo>
                <a:cubicBezTo>
                  <a:pt x="1014" y="15"/>
                  <a:pt x="1014" y="15"/>
                  <a:pt x="1014" y="15"/>
                </a:cubicBezTo>
                <a:cubicBezTo>
                  <a:pt x="1015" y="15"/>
                  <a:pt x="1015" y="15"/>
                  <a:pt x="1015" y="15"/>
                </a:cubicBezTo>
                <a:cubicBezTo>
                  <a:pt x="1014" y="14"/>
                  <a:pt x="1014" y="14"/>
                  <a:pt x="1014" y="14"/>
                </a:cubicBezTo>
                <a:cubicBezTo>
                  <a:pt x="1015" y="12"/>
                  <a:pt x="1015" y="12"/>
                  <a:pt x="1015" y="12"/>
                </a:cubicBezTo>
                <a:cubicBezTo>
                  <a:pt x="1017" y="11"/>
                  <a:pt x="1017" y="11"/>
                  <a:pt x="1017" y="11"/>
                </a:cubicBezTo>
                <a:cubicBezTo>
                  <a:pt x="1018" y="11"/>
                  <a:pt x="1018" y="11"/>
                  <a:pt x="1018" y="11"/>
                </a:cubicBezTo>
                <a:cubicBezTo>
                  <a:pt x="1018" y="12"/>
                  <a:pt x="1018" y="12"/>
                  <a:pt x="1018" y="12"/>
                </a:cubicBezTo>
                <a:cubicBezTo>
                  <a:pt x="1018" y="14"/>
                  <a:pt x="1018" y="14"/>
                  <a:pt x="1018" y="14"/>
                </a:cubicBezTo>
                <a:cubicBezTo>
                  <a:pt x="1019" y="14"/>
                  <a:pt x="1019" y="14"/>
                  <a:pt x="1019" y="14"/>
                </a:cubicBezTo>
                <a:cubicBezTo>
                  <a:pt x="1019" y="16"/>
                  <a:pt x="1019" y="16"/>
                  <a:pt x="1019" y="16"/>
                </a:cubicBezTo>
                <a:cubicBezTo>
                  <a:pt x="1019" y="17"/>
                  <a:pt x="1019" y="17"/>
                  <a:pt x="1019" y="17"/>
                </a:cubicBezTo>
                <a:cubicBezTo>
                  <a:pt x="1019" y="18"/>
                  <a:pt x="1019" y="18"/>
                  <a:pt x="1019" y="18"/>
                </a:cubicBezTo>
                <a:cubicBezTo>
                  <a:pt x="1019" y="19"/>
                  <a:pt x="1019" y="19"/>
                  <a:pt x="1019" y="19"/>
                </a:cubicBezTo>
                <a:cubicBezTo>
                  <a:pt x="1020" y="19"/>
                  <a:pt x="1020" y="19"/>
                  <a:pt x="1020" y="19"/>
                </a:cubicBezTo>
                <a:cubicBezTo>
                  <a:pt x="1020" y="18"/>
                  <a:pt x="1020" y="18"/>
                  <a:pt x="1020" y="18"/>
                </a:cubicBezTo>
                <a:cubicBezTo>
                  <a:pt x="1020" y="17"/>
                  <a:pt x="1020" y="17"/>
                  <a:pt x="1020" y="17"/>
                </a:cubicBezTo>
                <a:cubicBezTo>
                  <a:pt x="1021" y="16"/>
                  <a:pt x="1021" y="16"/>
                  <a:pt x="1021" y="16"/>
                </a:cubicBezTo>
                <a:cubicBezTo>
                  <a:pt x="1022" y="14"/>
                  <a:pt x="1022" y="14"/>
                  <a:pt x="1022" y="14"/>
                </a:cubicBezTo>
                <a:cubicBezTo>
                  <a:pt x="1023" y="14"/>
                  <a:pt x="1023" y="14"/>
                  <a:pt x="1023" y="14"/>
                </a:cubicBezTo>
                <a:cubicBezTo>
                  <a:pt x="1024" y="16"/>
                  <a:pt x="1024" y="16"/>
                  <a:pt x="1024" y="16"/>
                </a:cubicBezTo>
                <a:cubicBezTo>
                  <a:pt x="1024" y="17"/>
                  <a:pt x="1024" y="17"/>
                  <a:pt x="1024" y="17"/>
                </a:cubicBezTo>
                <a:cubicBezTo>
                  <a:pt x="1023" y="19"/>
                  <a:pt x="1023" y="19"/>
                  <a:pt x="1023" y="19"/>
                </a:cubicBezTo>
                <a:cubicBezTo>
                  <a:pt x="1024" y="19"/>
                  <a:pt x="1024" y="19"/>
                  <a:pt x="1024" y="19"/>
                </a:cubicBezTo>
                <a:cubicBezTo>
                  <a:pt x="1024" y="20"/>
                  <a:pt x="1024" y="20"/>
                  <a:pt x="1024" y="20"/>
                </a:cubicBezTo>
                <a:cubicBezTo>
                  <a:pt x="1025" y="19"/>
                  <a:pt x="1025" y="19"/>
                  <a:pt x="1025" y="19"/>
                </a:cubicBezTo>
                <a:cubicBezTo>
                  <a:pt x="1025" y="18"/>
                  <a:pt x="1025" y="18"/>
                  <a:pt x="1025" y="18"/>
                </a:cubicBezTo>
                <a:cubicBezTo>
                  <a:pt x="1026" y="18"/>
                  <a:pt x="1026" y="18"/>
                  <a:pt x="1026" y="18"/>
                </a:cubicBezTo>
                <a:cubicBezTo>
                  <a:pt x="1026" y="19"/>
                  <a:pt x="1026" y="19"/>
                  <a:pt x="1026" y="19"/>
                </a:cubicBezTo>
                <a:cubicBezTo>
                  <a:pt x="1027" y="20"/>
                  <a:pt x="1027" y="20"/>
                  <a:pt x="1027" y="20"/>
                </a:cubicBezTo>
                <a:cubicBezTo>
                  <a:pt x="1028" y="19"/>
                  <a:pt x="1028" y="19"/>
                  <a:pt x="1028" y="19"/>
                </a:cubicBezTo>
                <a:cubicBezTo>
                  <a:pt x="1028" y="20"/>
                  <a:pt x="1028" y="20"/>
                  <a:pt x="1028" y="20"/>
                </a:cubicBezTo>
                <a:cubicBezTo>
                  <a:pt x="1029" y="20"/>
                  <a:pt x="1029" y="20"/>
                  <a:pt x="1029" y="20"/>
                </a:cubicBezTo>
                <a:cubicBezTo>
                  <a:pt x="1029" y="18"/>
                  <a:pt x="1029" y="18"/>
                  <a:pt x="1029" y="18"/>
                </a:cubicBezTo>
                <a:cubicBezTo>
                  <a:pt x="1028" y="16"/>
                  <a:pt x="1028" y="16"/>
                  <a:pt x="1028" y="16"/>
                </a:cubicBezTo>
                <a:cubicBezTo>
                  <a:pt x="1027" y="16"/>
                  <a:pt x="1027" y="16"/>
                  <a:pt x="1027" y="16"/>
                </a:cubicBezTo>
                <a:cubicBezTo>
                  <a:pt x="1027" y="15"/>
                  <a:pt x="1027" y="15"/>
                  <a:pt x="1027" y="15"/>
                </a:cubicBezTo>
                <a:cubicBezTo>
                  <a:pt x="1027" y="14"/>
                  <a:pt x="1027" y="14"/>
                  <a:pt x="1027" y="14"/>
                </a:cubicBezTo>
                <a:cubicBezTo>
                  <a:pt x="1026" y="13"/>
                  <a:pt x="1026" y="13"/>
                  <a:pt x="1026" y="13"/>
                </a:cubicBezTo>
                <a:cubicBezTo>
                  <a:pt x="1025" y="12"/>
                  <a:pt x="1025" y="12"/>
                  <a:pt x="1025" y="12"/>
                </a:cubicBezTo>
                <a:cubicBezTo>
                  <a:pt x="1025" y="11"/>
                  <a:pt x="1025" y="11"/>
                  <a:pt x="1025" y="11"/>
                </a:cubicBezTo>
                <a:cubicBezTo>
                  <a:pt x="1025" y="10"/>
                  <a:pt x="1025" y="10"/>
                  <a:pt x="1025" y="10"/>
                </a:cubicBezTo>
                <a:cubicBezTo>
                  <a:pt x="1026" y="10"/>
                  <a:pt x="1026" y="10"/>
                  <a:pt x="1026" y="10"/>
                </a:cubicBezTo>
                <a:cubicBezTo>
                  <a:pt x="1027" y="11"/>
                  <a:pt x="1027" y="11"/>
                  <a:pt x="1027" y="11"/>
                </a:cubicBezTo>
                <a:cubicBezTo>
                  <a:pt x="1028" y="10"/>
                  <a:pt x="1028" y="10"/>
                  <a:pt x="1028" y="10"/>
                </a:cubicBezTo>
                <a:cubicBezTo>
                  <a:pt x="1029" y="11"/>
                  <a:pt x="1029" y="11"/>
                  <a:pt x="1029" y="11"/>
                </a:cubicBezTo>
                <a:cubicBezTo>
                  <a:pt x="1030" y="10"/>
                  <a:pt x="1030" y="10"/>
                  <a:pt x="1030" y="10"/>
                </a:cubicBezTo>
                <a:cubicBezTo>
                  <a:pt x="1030" y="8"/>
                  <a:pt x="1030" y="8"/>
                  <a:pt x="1030" y="8"/>
                </a:cubicBezTo>
                <a:cubicBezTo>
                  <a:pt x="1029" y="7"/>
                  <a:pt x="1029" y="7"/>
                  <a:pt x="1029" y="7"/>
                </a:cubicBezTo>
                <a:cubicBezTo>
                  <a:pt x="1029" y="6"/>
                  <a:pt x="1029" y="6"/>
                  <a:pt x="1029" y="6"/>
                </a:cubicBezTo>
                <a:cubicBezTo>
                  <a:pt x="1031" y="6"/>
                  <a:pt x="1031" y="6"/>
                  <a:pt x="1031" y="6"/>
                </a:cubicBezTo>
                <a:cubicBezTo>
                  <a:pt x="1034" y="6"/>
                  <a:pt x="1034" y="6"/>
                  <a:pt x="1034" y="6"/>
                </a:cubicBezTo>
                <a:cubicBezTo>
                  <a:pt x="1035" y="7"/>
                  <a:pt x="1035" y="7"/>
                  <a:pt x="1035" y="7"/>
                </a:cubicBezTo>
                <a:cubicBezTo>
                  <a:pt x="1035" y="8"/>
                  <a:pt x="1035" y="8"/>
                  <a:pt x="1035" y="8"/>
                </a:cubicBezTo>
                <a:cubicBezTo>
                  <a:pt x="1034" y="9"/>
                  <a:pt x="1034" y="9"/>
                  <a:pt x="1034" y="9"/>
                </a:cubicBezTo>
                <a:cubicBezTo>
                  <a:pt x="1036" y="10"/>
                  <a:pt x="1036" y="10"/>
                  <a:pt x="1036" y="10"/>
                </a:cubicBezTo>
                <a:cubicBezTo>
                  <a:pt x="1036" y="11"/>
                  <a:pt x="1036" y="11"/>
                  <a:pt x="1036" y="11"/>
                </a:cubicBezTo>
                <a:cubicBezTo>
                  <a:pt x="1036" y="13"/>
                  <a:pt x="1036" y="13"/>
                  <a:pt x="1036" y="13"/>
                </a:cubicBezTo>
                <a:cubicBezTo>
                  <a:pt x="1036" y="15"/>
                  <a:pt x="1036" y="15"/>
                  <a:pt x="1036" y="15"/>
                </a:cubicBezTo>
                <a:cubicBezTo>
                  <a:pt x="1037" y="15"/>
                  <a:pt x="1037" y="15"/>
                  <a:pt x="1037" y="15"/>
                </a:cubicBezTo>
                <a:cubicBezTo>
                  <a:pt x="1038" y="13"/>
                  <a:pt x="1038" y="13"/>
                  <a:pt x="1038" y="13"/>
                </a:cubicBezTo>
                <a:cubicBezTo>
                  <a:pt x="1038" y="14"/>
                  <a:pt x="1038" y="14"/>
                  <a:pt x="1038" y="14"/>
                </a:cubicBezTo>
                <a:cubicBezTo>
                  <a:pt x="1038" y="15"/>
                  <a:pt x="1038" y="15"/>
                  <a:pt x="1038" y="15"/>
                </a:cubicBezTo>
                <a:cubicBezTo>
                  <a:pt x="1039" y="15"/>
                  <a:pt x="1039" y="15"/>
                  <a:pt x="1039" y="15"/>
                </a:cubicBezTo>
                <a:cubicBezTo>
                  <a:pt x="1040" y="15"/>
                  <a:pt x="1040" y="15"/>
                  <a:pt x="1040" y="15"/>
                </a:cubicBezTo>
                <a:cubicBezTo>
                  <a:pt x="1040" y="14"/>
                  <a:pt x="1040" y="14"/>
                  <a:pt x="1040" y="14"/>
                </a:cubicBezTo>
                <a:cubicBezTo>
                  <a:pt x="1042" y="13"/>
                  <a:pt x="1042" y="13"/>
                  <a:pt x="1042" y="13"/>
                </a:cubicBezTo>
                <a:cubicBezTo>
                  <a:pt x="1041" y="10"/>
                  <a:pt x="1041" y="10"/>
                  <a:pt x="1041" y="10"/>
                </a:cubicBezTo>
                <a:cubicBezTo>
                  <a:pt x="1042" y="9"/>
                  <a:pt x="1042" y="9"/>
                  <a:pt x="1042" y="9"/>
                </a:cubicBezTo>
                <a:cubicBezTo>
                  <a:pt x="1043" y="9"/>
                  <a:pt x="1043" y="9"/>
                  <a:pt x="1043" y="9"/>
                </a:cubicBezTo>
                <a:cubicBezTo>
                  <a:pt x="1044" y="10"/>
                  <a:pt x="1044" y="10"/>
                  <a:pt x="1044" y="10"/>
                </a:cubicBezTo>
                <a:cubicBezTo>
                  <a:pt x="1046" y="10"/>
                  <a:pt x="1046" y="10"/>
                  <a:pt x="1046" y="10"/>
                </a:cubicBezTo>
                <a:cubicBezTo>
                  <a:pt x="1046" y="9"/>
                  <a:pt x="1046" y="9"/>
                  <a:pt x="1046" y="9"/>
                </a:cubicBezTo>
                <a:cubicBezTo>
                  <a:pt x="1044" y="8"/>
                  <a:pt x="1044" y="8"/>
                  <a:pt x="1044" y="8"/>
                </a:cubicBezTo>
                <a:cubicBezTo>
                  <a:pt x="1043" y="6"/>
                  <a:pt x="1043" y="6"/>
                  <a:pt x="1043" y="6"/>
                </a:cubicBezTo>
                <a:cubicBezTo>
                  <a:pt x="1044" y="5"/>
                  <a:pt x="1044" y="5"/>
                  <a:pt x="1044" y="5"/>
                </a:cubicBezTo>
                <a:cubicBezTo>
                  <a:pt x="1044" y="4"/>
                  <a:pt x="1044" y="4"/>
                  <a:pt x="1044" y="4"/>
                </a:cubicBezTo>
                <a:cubicBezTo>
                  <a:pt x="1045" y="4"/>
                  <a:pt x="1045" y="4"/>
                  <a:pt x="1045" y="4"/>
                </a:cubicBezTo>
                <a:cubicBezTo>
                  <a:pt x="1047" y="5"/>
                  <a:pt x="1047" y="5"/>
                  <a:pt x="1047" y="5"/>
                </a:cubicBezTo>
                <a:cubicBezTo>
                  <a:pt x="1047" y="7"/>
                  <a:pt x="1047" y="7"/>
                  <a:pt x="1047" y="7"/>
                </a:cubicBezTo>
                <a:cubicBezTo>
                  <a:pt x="1048" y="8"/>
                  <a:pt x="1048" y="8"/>
                  <a:pt x="1048" y="8"/>
                </a:cubicBezTo>
                <a:cubicBezTo>
                  <a:pt x="1048" y="10"/>
                  <a:pt x="1048" y="10"/>
                  <a:pt x="1048" y="10"/>
                </a:cubicBezTo>
                <a:cubicBezTo>
                  <a:pt x="1048" y="11"/>
                  <a:pt x="1048" y="11"/>
                  <a:pt x="1048" y="11"/>
                </a:cubicBezTo>
                <a:cubicBezTo>
                  <a:pt x="1048" y="13"/>
                  <a:pt x="1048" y="13"/>
                  <a:pt x="1048" y="13"/>
                </a:cubicBezTo>
                <a:cubicBezTo>
                  <a:pt x="1049" y="14"/>
                  <a:pt x="1049" y="14"/>
                  <a:pt x="1049" y="14"/>
                </a:cubicBezTo>
                <a:cubicBezTo>
                  <a:pt x="1050" y="13"/>
                  <a:pt x="1050" y="13"/>
                  <a:pt x="1050" y="13"/>
                </a:cubicBezTo>
                <a:cubicBezTo>
                  <a:pt x="1050" y="12"/>
                  <a:pt x="1050" y="12"/>
                  <a:pt x="1050" y="12"/>
                </a:cubicBezTo>
                <a:cubicBezTo>
                  <a:pt x="1049" y="11"/>
                  <a:pt x="1049" y="11"/>
                  <a:pt x="1049" y="11"/>
                </a:cubicBezTo>
                <a:cubicBezTo>
                  <a:pt x="1049" y="9"/>
                  <a:pt x="1049" y="9"/>
                  <a:pt x="1049" y="9"/>
                </a:cubicBezTo>
                <a:cubicBezTo>
                  <a:pt x="1049" y="7"/>
                  <a:pt x="1049" y="7"/>
                  <a:pt x="1049" y="7"/>
                </a:cubicBezTo>
                <a:cubicBezTo>
                  <a:pt x="1049" y="5"/>
                  <a:pt x="1049" y="5"/>
                  <a:pt x="1049" y="5"/>
                </a:cubicBezTo>
                <a:cubicBezTo>
                  <a:pt x="1049" y="3"/>
                  <a:pt x="1049" y="3"/>
                  <a:pt x="1049" y="3"/>
                </a:cubicBezTo>
                <a:cubicBezTo>
                  <a:pt x="1049" y="2"/>
                  <a:pt x="1049" y="2"/>
                  <a:pt x="1049" y="2"/>
                </a:cubicBezTo>
                <a:cubicBezTo>
                  <a:pt x="1050" y="2"/>
                  <a:pt x="1050" y="2"/>
                  <a:pt x="1050" y="2"/>
                </a:cubicBezTo>
                <a:cubicBezTo>
                  <a:pt x="1051" y="3"/>
                  <a:pt x="1051" y="3"/>
                  <a:pt x="1051" y="3"/>
                </a:cubicBezTo>
                <a:cubicBezTo>
                  <a:pt x="1052" y="3"/>
                  <a:pt x="1052" y="3"/>
                  <a:pt x="1052" y="3"/>
                </a:cubicBezTo>
                <a:cubicBezTo>
                  <a:pt x="1052" y="5"/>
                  <a:pt x="1052" y="5"/>
                  <a:pt x="1052" y="5"/>
                </a:cubicBezTo>
                <a:cubicBezTo>
                  <a:pt x="1053" y="6"/>
                  <a:pt x="1053" y="6"/>
                  <a:pt x="1053" y="6"/>
                </a:cubicBezTo>
                <a:cubicBezTo>
                  <a:pt x="1053" y="8"/>
                  <a:pt x="1053" y="8"/>
                  <a:pt x="1053" y="8"/>
                </a:cubicBezTo>
                <a:cubicBezTo>
                  <a:pt x="1053" y="10"/>
                  <a:pt x="1053" y="10"/>
                  <a:pt x="1053" y="10"/>
                </a:cubicBezTo>
                <a:cubicBezTo>
                  <a:pt x="1054" y="10"/>
                  <a:pt x="1054" y="10"/>
                  <a:pt x="1054" y="10"/>
                </a:cubicBezTo>
                <a:cubicBezTo>
                  <a:pt x="1054" y="9"/>
                  <a:pt x="1054" y="9"/>
                  <a:pt x="1054" y="9"/>
                </a:cubicBezTo>
                <a:cubicBezTo>
                  <a:pt x="1054" y="8"/>
                  <a:pt x="1054" y="8"/>
                  <a:pt x="1054" y="8"/>
                </a:cubicBezTo>
                <a:cubicBezTo>
                  <a:pt x="1055" y="8"/>
                  <a:pt x="1055" y="8"/>
                  <a:pt x="1055" y="8"/>
                </a:cubicBezTo>
                <a:cubicBezTo>
                  <a:pt x="1057" y="10"/>
                  <a:pt x="1057" y="10"/>
                  <a:pt x="1057" y="10"/>
                </a:cubicBezTo>
                <a:cubicBezTo>
                  <a:pt x="1058" y="10"/>
                  <a:pt x="1058" y="10"/>
                  <a:pt x="1058" y="10"/>
                </a:cubicBezTo>
                <a:cubicBezTo>
                  <a:pt x="1058" y="9"/>
                  <a:pt x="1058" y="9"/>
                  <a:pt x="1058" y="9"/>
                </a:cubicBezTo>
                <a:cubicBezTo>
                  <a:pt x="1057" y="9"/>
                  <a:pt x="1057" y="9"/>
                  <a:pt x="1057" y="9"/>
                </a:cubicBezTo>
                <a:cubicBezTo>
                  <a:pt x="1056" y="8"/>
                  <a:pt x="1056" y="8"/>
                  <a:pt x="1056" y="8"/>
                </a:cubicBezTo>
                <a:cubicBezTo>
                  <a:pt x="1057" y="7"/>
                  <a:pt x="1057" y="7"/>
                  <a:pt x="1057" y="7"/>
                </a:cubicBezTo>
                <a:cubicBezTo>
                  <a:pt x="1057" y="6"/>
                  <a:pt x="1057" y="6"/>
                  <a:pt x="1057" y="6"/>
                </a:cubicBezTo>
                <a:cubicBezTo>
                  <a:pt x="1055" y="5"/>
                  <a:pt x="1055" y="5"/>
                  <a:pt x="1055" y="5"/>
                </a:cubicBezTo>
                <a:cubicBezTo>
                  <a:pt x="1055" y="4"/>
                  <a:pt x="1055" y="4"/>
                  <a:pt x="1055" y="4"/>
                </a:cubicBezTo>
                <a:cubicBezTo>
                  <a:pt x="1057" y="4"/>
                  <a:pt x="1057" y="4"/>
                  <a:pt x="1057" y="4"/>
                </a:cubicBezTo>
                <a:cubicBezTo>
                  <a:pt x="1056" y="3"/>
                  <a:pt x="1056" y="3"/>
                  <a:pt x="1056" y="3"/>
                </a:cubicBezTo>
                <a:cubicBezTo>
                  <a:pt x="1055" y="3"/>
                  <a:pt x="1055" y="3"/>
                  <a:pt x="1055" y="3"/>
                </a:cubicBezTo>
                <a:cubicBezTo>
                  <a:pt x="1054" y="2"/>
                  <a:pt x="1054" y="2"/>
                  <a:pt x="1054" y="2"/>
                </a:cubicBezTo>
                <a:cubicBezTo>
                  <a:pt x="1055" y="2"/>
                  <a:pt x="1055" y="2"/>
                  <a:pt x="1055" y="2"/>
                </a:cubicBezTo>
                <a:cubicBezTo>
                  <a:pt x="1056" y="2"/>
                  <a:pt x="1056" y="2"/>
                  <a:pt x="1056" y="2"/>
                </a:cubicBezTo>
                <a:cubicBezTo>
                  <a:pt x="1057" y="0"/>
                  <a:pt x="1057" y="0"/>
                  <a:pt x="1057" y="0"/>
                </a:cubicBezTo>
                <a:cubicBezTo>
                  <a:pt x="1060" y="1"/>
                  <a:pt x="1060" y="1"/>
                  <a:pt x="1060" y="1"/>
                </a:cubicBezTo>
                <a:cubicBezTo>
                  <a:pt x="1060" y="3"/>
                  <a:pt x="1060" y="3"/>
                  <a:pt x="1060" y="3"/>
                </a:cubicBezTo>
                <a:cubicBezTo>
                  <a:pt x="1060" y="4"/>
                  <a:pt x="1060" y="4"/>
                  <a:pt x="1060" y="4"/>
                </a:cubicBezTo>
                <a:cubicBezTo>
                  <a:pt x="1060" y="5"/>
                  <a:pt x="1060" y="5"/>
                  <a:pt x="1060" y="5"/>
                </a:cubicBezTo>
                <a:cubicBezTo>
                  <a:pt x="1061" y="4"/>
                  <a:pt x="1061" y="4"/>
                  <a:pt x="1061" y="4"/>
                </a:cubicBezTo>
                <a:cubicBezTo>
                  <a:pt x="1062" y="3"/>
                  <a:pt x="1062" y="3"/>
                  <a:pt x="1062" y="3"/>
                </a:cubicBezTo>
                <a:cubicBezTo>
                  <a:pt x="1062" y="2"/>
                  <a:pt x="1062" y="2"/>
                  <a:pt x="1062" y="2"/>
                </a:cubicBezTo>
                <a:cubicBezTo>
                  <a:pt x="1063" y="3"/>
                  <a:pt x="1063" y="3"/>
                  <a:pt x="1063" y="3"/>
                </a:cubicBezTo>
                <a:cubicBezTo>
                  <a:pt x="1062" y="5"/>
                  <a:pt x="1062" y="5"/>
                  <a:pt x="1062" y="5"/>
                </a:cubicBezTo>
                <a:cubicBezTo>
                  <a:pt x="1063" y="5"/>
                  <a:pt x="1063" y="5"/>
                  <a:pt x="1063" y="5"/>
                </a:cubicBezTo>
                <a:cubicBezTo>
                  <a:pt x="1064" y="5"/>
                  <a:pt x="1064" y="5"/>
                  <a:pt x="1064" y="5"/>
                </a:cubicBezTo>
                <a:cubicBezTo>
                  <a:pt x="1065" y="3"/>
                  <a:pt x="1065" y="3"/>
                  <a:pt x="1065" y="3"/>
                </a:cubicBezTo>
                <a:cubicBezTo>
                  <a:pt x="1066" y="4"/>
                  <a:pt x="1066" y="4"/>
                  <a:pt x="1066" y="4"/>
                </a:cubicBezTo>
                <a:cubicBezTo>
                  <a:pt x="1066" y="5"/>
                  <a:pt x="1066" y="5"/>
                  <a:pt x="1066" y="5"/>
                </a:cubicBezTo>
                <a:cubicBezTo>
                  <a:pt x="1065" y="6"/>
                  <a:pt x="1065" y="6"/>
                  <a:pt x="1065" y="6"/>
                </a:cubicBezTo>
                <a:cubicBezTo>
                  <a:pt x="1066" y="8"/>
                  <a:pt x="1066" y="8"/>
                  <a:pt x="1066" y="8"/>
                </a:cubicBezTo>
                <a:cubicBezTo>
                  <a:pt x="1065" y="9"/>
                  <a:pt x="1065" y="9"/>
                  <a:pt x="1065" y="9"/>
                </a:cubicBezTo>
                <a:cubicBezTo>
                  <a:pt x="1066" y="10"/>
                  <a:pt x="1066" y="10"/>
                  <a:pt x="1066" y="10"/>
                </a:cubicBezTo>
                <a:cubicBezTo>
                  <a:pt x="1067" y="9"/>
                  <a:pt x="1067" y="9"/>
                  <a:pt x="1067" y="9"/>
                </a:cubicBezTo>
                <a:cubicBezTo>
                  <a:pt x="1068" y="10"/>
                  <a:pt x="1068" y="10"/>
                  <a:pt x="1068" y="10"/>
                </a:cubicBezTo>
                <a:cubicBezTo>
                  <a:pt x="1068" y="9"/>
                  <a:pt x="1068" y="9"/>
                  <a:pt x="1068" y="9"/>
                </a:cubicBezTo>
                <a:cubicBezTo>
                  <a:pt x="1068" y="7"/>
                  <a:pt x="1068" y="7"/>
                  <a:pt x="1068" y="7"/>
                </a:cubicBezTo>
                <a:cubicBezTo>
                  <a:pt x="1069" y="5"/>
                  <a:pt x="1069" y="5"/>
                  <a:pt x="1069" y="5"/>
                </a:cubicBezTo>
                <a:cubicBezTo>
                  <a:pt x="1068" y="2"/>
                  <a:pt x="1068" y="2"/>
                  <a:pt x="1068" y="2"/>
                </a:cubicBezTo>
                <a:cubicBezTo>
                  <a:pt x="1068" y="1"/>
                  <a:pt x="1068" y="1"/>
                  <a:pt x="1068" y="1"/>
                </a:cubicBezTo>
                <a:cubicBezTo>
                  <a:pt x="1069" y="0"/>
                  <a:pt x="1069" y="0"/>
                  <a:pt x="1069" y="0"/>
                </a:cubicBezTo>
                <a:cubicBezTo>
                  <a:pt x="1070" y="1"/>
                  <a:pt x="1070" y="1"/>
                  <a:pt x="1070" y="1"/>
                </a:cubicBezTo>
                <a:cubicBezTo>
                  <a:pt x="1071" y="1"/>
                  <a:pt x="1071" y="1"/>
                  <a:pt x="1071" y="1"/>
                </a:cubicBezTo>
                <a:cubicBezTo>
                  <a:pt x="1072" y="1"/>
                  <a:pt x="1072" y="1"/>
                  <a:pt x="1072" y="1"/>
                </a:cubicBezTo>
                <a:cubicBezTo>
                  <a:pt x="1074" y="1"/>
                  <a:pt x="1074" y="1"/>
                  <a:pt x="1074" y="1"/>
                </a:cubicBezTo>
                <a:cubicBezTo>
                  <a:pt x="1075" y="1"/>
                  <a:pt x="1075" y="1"/>
                  <a:pt x="1075" y="1"/>
                </a:cubicBezTo>
                <a:cubicBezTo>
                  <a:pt x="1076" y="2"/>
                  <a:pt x="1076" y="2"/>
                  <a:pt x="1076" y="2"/>
                </a:cubicBezTo>
                <a:cubicBezTo>
                  <a:pt x="1077" y="3"/>
                  <a:pt x="1077" y="3"/>
                  <a:pt x="1077" y="3"/>
                </a:cubicBezTo>
                <a:cubicBezTo>
                  <a:pt x="1079" y="2"/>
                  <a:pt x="1079" y="2"/>
                  <a:pt x="1079" y="2"/>
                </a:cubicBezTo>
                <a:cubicBezTo>
                  <a:pt x="1080" y="3"/>
                  <a:pt x="1080" y="3"/>
                  <a:pt x="1080" y="3"/>
                </a:cubicBezTo>
                <a:cubicBezTo>
                  <a:pt x="1081" y="4"/>
                  <a:pt x="1081" y="4"/>
                  <a:pt x="1081" y="4"/>
                </a:cubicBezTo>
                <a:cubicBezTo>
                  <a:pt x="1081" y="5"/>
                  <a:pt x="1081" y="5"/>
                  <a:pt x="1081" y="5"/>
                </a:cubicBezTo>
                <a:cubicBezTo>
                  <a:pt x="1081" y="6"/>
                  <a:pt x="1081" y="6"/>
                  <a:pt x="1081" y="6"/>
                </a:cubicBezTo>
                <a:cubicBezTo>
                  <a:pt x="1081" y="8"/>
                  <a:pt x="1081" y="8"/>
                  <a:pt x="1081" y="8"/>
                </a:cubicBezTo>
                <a:cubicBezTo>
                  <a:pt x="1081" y="9"/>
                  <a:pt x="1081" y="9"/>
                  <a:pt x="1081" y="9"/>
                </a:cubicBezTo>
                <a:cubicBezTo>
                  <a:pt x="1082" y="8"/>
                  <a:pt x="1082" y="8"/>
                  <a:pt x="1082" y="8"/>
                </a:cubicBezTo>
                <a:cubicBezTo>
                  <a:pt x="1083" y="7"/>
                  <a:pt x="1083" y="7"/>
                  <a:pt x="1083" y="7"/>
                </a:cubicBezTo>
                <a:cubicBezTo>
                  <a:pt x="1085" y="5"/>
                  <a:pt x="1085" y="5"/>
                  <a:pt x="1085" y="5"/>
                </a:cubicBezTo>
                <a:cubicBezTo>
                  <a:pt x="1086" y="4"/>
                  <a:pt x="1086" y="4"/>
                  <a:pt x="1086" y="4"/>
                </a:cubicBezTo>
                <a:cubicBezTo>
                  <a:pt x="1087" y="4"/>
                  <a:pt x="1087" y="4"/>
                  <a:pt x="1087" y="4"/>
                </a:cubicBezTo>
                <a:cubicBezTo>
                  <a:pt x="1089" y="5"/>
                  <a:pt x="1089" y="5"/>
                  <a:pt x="1089" y="5"/>
                </a:cubicBezTo>
                <a:cubicBezTo>
                  <a:pt x="1090" y="5"/>
                  <a:pt x="1090" y="5"/>
                  <a:pt x="1090" y="5"/>
                </a:cubicBezTo>
                <a:cubicBezTo>
                  <a:pt x="1090" y="6"/>
                  <a:pt x="1090" y="6"/>
                  <a:pt x="1090" y="6"/>
                </a:cubicBezTo>
                <a:cubicBezTo>
                  <a:pt x="1089" y="7"/>
                  <a:pt x="1089" y="7"/>
                  <a:pt x="1089" y="7"/>
                </a:cubicBezTo>
                <a:cubicBezTo>
                  <a:pt x="1089" y="9"/>
                  <a:pt x="1089" y="9"/>
                  <a:pt x="1089" y="9"/>
                </a:cubicBezTo>
                <a:cubicBezTo>
                  <a:pt x="1090" y="8"/>
                  <a:pt x="1090" y="8"/>
                  <a:pt x="1090" y="8"/>
                </a:cubicBezTo>
                <a:cubicBezTo>
                  <a:pt x="1090" y="7"/>
                  <a:pt x="1090" y="7"/>
                  <a:pt x="1090" y="7"/>
                </a:cubicBezTo>
                <a:cubicBezTo>
                  <a:pt x="1092" y="6"/>
                  <a:pt x="1092" y="6"/>
                  <a:pt x="1092" y="6"/>
                </a:cubicBezTo>
                <a:cubicBezTo>
                  <a:pt x="1093" y="6"/>
                  <a:pt x="1093" y="6"/>
                  <a:pt x="1093" y="6"/>
                </a:cubicBezTo>
                <a:cubicBezTo>
                  <a:pt x="1095" y="6"/>
                  <a:pt x="1095" y="6"/>
                  <a:pt x="1095" y="6"/>
                </a:cubicBezTo>
                <a:cubicBezTo>
                  <a:pt x="1097" y="7"/>
                  <a:pt x="1097" y="7"/>
                  <a:pt x="1097" y="7"/>
                </a:cubicBezTo>
                <a:cubicBezTo>
                  <a:pt x="1098" y="8"/>
                  <a:pt x="1098" y="8"/>
                  <a:pt x="1098" y="8"/>
                </a:cubicBezTo>
                <a:cubicBezTo>
                  <a:pt x="1097" y="8"/>
                  <a:pt x="1097" y="8"/>
                  <a:pt x="1097" y="8"/>
                </a:cubicBezTo>
                <a:cubicBezTo>
                  <a:pt x="1097" y="9"/>
                  <a:pt x="1097" y="9"/>
                  <a:pt x="1097" y="9"/>
                </a:cubicBezTo>
                <a:cubicBezTo>
                  <a:pt x="1096" y="10"/>
                  <a:pt x="1096" y="10"/>
                  <a:pt x="1096" y="10"/>
                </a:cubicBezTo>
                <a:cubicBezTo>
                  <a:pt x="1097" y="11"/>
                  <a:pt x="1097" y="11"/>
                  <a:pt x="1097" y="11"/>
                </a:cubicBezTo>
                <a:cubicBezTo>
                  <a:pt x="1098" y="10"/>
                  <a:pt x="1098" y="10"/>
                  <a:pt x="1098" y="10"/>
                </a:cubicBezTo>
                <a:cubicBezTo>
                  <a:pt x="1099" y="10"/>
                  <a:pt x="1099" y="10"/>
                  <a:pt x="1099" y="10"/>
                </a:cubicBezTo>
                <a:cubicBezTo>
                  <a:pt x="1099" y="11"/>
                  <a:pt x="1099" y="11"/>
                  <a:pt x="1099" y="11"/>
                </a:cubicBezTo>
                <a:cubicBezTo>
                  <a:pt x="1100" y="12"/>
                  <a:pt x="1100" y="12"/>
                  <a:pt x="1100" y="12"/>
                </a:cubicBezTo>
                <a:cubicBezTo>
                  <a:pt x="1100" y="11"/>
                  <a:pt x="1100" y="11"/>
                  <a:pt x="1100" y="11"/>
                </a:cubicBezTo>
                <a:cubicBezTo>
                  <a:pt x="1102" y="10"/>
                  <a:pt x="1102" y="10"/>
                  <a:pt x="1102" y="10"/>
                </a:cubicBezTo>
                <a:cubicBezTo>
                  <a:pt x="1102" y="11"/>
                  <a:pt x="1102" y="11"/>
                  <a:pt x="1102" y="11"/>
                </a:cubicBezTo>
                <a:cubicBezTo>
                  <a:pt x="1102" y="12"/>
                  <a:pt x="1102" y="12"/>
                  <a:pt x="1102" y="12"/>
                </a:cubicBezTo>
                <a:cubicBezTo>
                  <a:pt x="1102" y="13"/>
                  <a:pt x="1102" y="13"/>
                  <a:pt x="1102" y="13"/>
                </a:cubicBezTo>
                <a:cubicBezTo>
                  <a:pt x="1103" y="13"/>
                  <a:pt x="1103" y="13"/>
                  <a:pt x="1103" y="13"/>
                </a:cubicBezTo>
                <a:cubicBezTo>
                  <a:pt x="1104" y="12"/>
                  <a:pt x="1104" y="12"/>
                  <a:pt x="1104" y="12"/>
                </a:cubicBezTo>
                <a:cubicBezTo>
                  <a:pt x="1105" y="12"/>
                  <a:pt x="1105" y="12"/>
                  <a:pt x="1105" y="12"/>
                </a:cubicBezTo>
                <a:cubicBezTo>
                  <a:pt x="1105" y="13"/>
                  <a:pt x="1105" y="13"/>
                  <a:pt x="1105" y="13"/>
                </a:cubicBezTo>
                <a:cubicBezTo>
                  <a:pt x="1108" y="14"/>
                  <a:pt x="1108" y="14"/>
                  <a:pt x="1108" y="14"/>
                </a:cubicBezTo>
                <a:cubicBezTo>
                  <a:pt x="1109" y="14"/>
                  <a:pt x="1109" y="14"/>
                  <a:pt x="1109" y="14"/>
                </a:cubicBezTo>
                <a:cubicBezTo>
                  <a:pt x="1109" y="15"/>
                  <a:pt x="1109" y="15"/>
                  <a:pt x="1109" y="15"/>
                </a:cubicBezTo>
                <a:cubicBezTo>
                  <a:pt x="1106" y="16"/>
                  <a:pt x="1106" y="16"/>
                  <a:pt x="1106" y="16"/>
                </a:cubicBezTo>
                <a:cubicBezTo>
                  <a:pt x="1105" y="18"/>
                  <a:pt x="1105" y="18"/>
                  <a:pt x="1105" y="18"/>
                </a:cubicBezTo>
                <a:cubicBezTo>
                  <a:pt x="1104" y="18"/>
                  <a:pt x="1104" y="18"/>
                  <a:pt x="1104" y="18"/>
                </a:cubicBezTo>
                <a:cubicBezTo>
                  <a:pt x="1102" y="19"/>
                  <a:pt x="1102" y="19"/>
                  <a:pt x="1102" y="19"/>
                </a:cubicBezTo>
                <a:cubicBezTo>
                  <a:pt x="1101" y="19"/>
                  <a:pt x="1101" y="19"/>
                  <a:pt x="1101" y="19"/>
                </a:cubicBezTo>
                <a:cubicBezTo>
                  <a:pt x="1100" y="19"/>
                  <a:pt x="1100" y="19"/>
                  <a:pt x="1100" y="19"/>
                </a:cubicBezTo>
                <a:cubicBezTo>
                  <a:pt x="1099" y="19"/>
                  <a:pt x="1099" y="19"/>
                  <a:pt x="1099" y="19"/>
                </a:cubicBezTo>
                <a:cubicBezTo>
                  <a:pt x="1098" y="20"/>
                  <a:pt x="1098" y="20"/>
                  <a:pt x="1098" y="20"/>
                </a:cubicBezTo>
                <a:cubicBezTo>
                  <a:pt x="1100" y="20"/>
                  <a:pt x="1100" y="20"/>
                  <a:pt x="1100" y="20"/>
                </a:cubicBezTo>
                <a:cubicBezTo>
                  <a:pt x="1103" y="20"/>
                  <a:pt x="1103" y="20"/>
                  <a:pt x="1103" y="20"/>
                </a:cubicBezTo>
                <a:cubicBezTo>
                  <a:pt x="1104" y="21"/>
                  <a:pt x="1104" y="21"/>
                  <a:pt x="1104" y="21"/>
                </a:cubicBezTo>
                <a:cubicBezTo>
                  <a:pt x="1105" y="20"/>
                  <a:pt x="1105" y="20"/>
                  <a:pt x="1105" y="20"/>
                </a:cubicBezTo>
                <a:cubicBezTo>
                  <a:pt x="1106" y="19"/>
                  <a:pt x="1106" y="19"/>
                  <a:pt x="1106" y="19"/>
                </a:cubicBezTo>
                <a:cubicBezTo>
                  <a:pt x="1107" y="19"/>
                  <a:pt x="1107" y="19"/>
                  <a:pt x="1107" y="19"/>
                </a:cubicBezTo>
                <a:cubicBezTo>
                  <a:pt x="1108" y="18"/>
                  <a:pt x="1108" y="18"/>
                  <a:pt x="1108" y="18"/>
                </a:cubicBezTo>
                <a:cubicBezTo>
                  <a:pt x="1109" y="17"/>
                  <a:pt x="1109" y="17"/>
                  <a:pt x="1109" y="17"/>
                </a:cubicBezTo>
                <a:cubicBezTo>
                  <a:pt x="1111" y="17"/>
                  <a:pt x="1111" y="17"/>
                  <a:pt x="1111" y="17"/>
                </a:cubicBezTo>
                <a:cubicBezTo>
                  <a:pt x="1111" y="18"/>
                  <a:pt x="1111" y="18"/>
                  <a:pt x="1111" y="18"/>
                </a:cubicBezTo>
                <a:cubicBezTo>
                  <a:pt x="1111" y="19"/>
                  <a:pt x="1111" y="19"/>
                  <a:pt x="1111" y="19"/>
                </a:cubicBezTo>
                <a:cubicBezTo>
                  <a:pt x="1111" y="20"/>
                  <a:pt x="1111" y="20"/>
                  <a:pt x="1111" y="20"/>
                </a:cubicBezTo>
                <a:cubicBezTo>
                  <a:pt x="1112" y="20"/>
                  <a:pt x="1112" y="20"/>
                  <a:pt x="1112" y="20"/>
                </a:cubicBezTo>
                <a:cubicBezTo>
                  <a:pt x="1112" y="18"/>
                  <a:pt x="1112" y="18"/>
                  <a:pt x="1112" y="18"/>
                </a:cubicBezTo>
                <a:cubicBezTo>
                  <a:pt x="1114" y="17"/>
                  <a:pt x="1114" y="17"/>
                  <a:pt x="1114" y="17"/>
                </a:cubicBezTo>
                <a:cubicBezTo>
                  <a:pt x="1114" y="18"/>
                  <a:pt x="1114" y="18"/>
                  <a:pt x="1114" y="18"/>
                </a:cubicBezTo>
                <a:cubicBezTo>
                  <a:pt x="1113" y="19"/>
                  <a:pt x="1113" y="19"/>
                  <a:pt x="1113" y="19"/>
                </a:cubicBezTo>
                <a:cubicBezTo>
                  <a:pt x="1113" y="20"/>
                  <a:pt x="1113" y="20"/>
                  <a:pt x="1113" y="20"/>
                </a:cubicBezTo>
                <a:cubicBezTo>
                  <a:pt x="1113" y="21"/>
                  <a:pt x="1113" y="21"/>
                  <a:pt x="1113" y="21"/>
                </a:cubicBezTo>
                <a:cubicBezTo>
                  <a:pt x="1114" y="21"/>
                  <a:pt x="1114" y="21"/>
                  <a:pt x="1114" y="21"/>
                </a:cubicBezTo>
                <a:cubicBezTo>
                  <a:pt x="1115" y="20"/>
                  <a:pt x="1115" y="20"/>
                  <a:pt x="1115" y="20"/>
                </a:cubicBezTo>
                <a:cubicBezTo>
                  <a:pt x="1115" y="19"/>
                  <a:pt x="1115" y="19"/>
                  <a:pt x="1115" y="19"/>
                </a:cubicBezTo>
                <a:cubicBezTo>
                  <a:pt x="1116" y="19"/>
                  <a:pt x="1116" y="19"/>
                  <a:pt x="1116" y="19"/>
                </a:cubicBezTo>
                <a:cubicBezTo>
                  <a:pt x="1118" y="19"/>
                  <a:pt x="1118" y="19"/>
                  <a:pt x="1118" y="19"/>
                </a:cubicBezTo>
                <a:cubicBezTo>
                  <a:pt x="1117" y="22"/>
                  <a:pt x="1117" y="22"/>
                  <a:pt x="1117" y="22"/>
                </a:cubicBezTo>
                <a:cubicBezTo>
                  <a:pt x="1117" y="24"/>
                  <a:pt x="1117" y="24"/>
                  <a:pt x="1117" y="24"/>
                </a:cubicBezTo>
                <a:cubicBezTo>
                  <a:pt x="1117" y="25"/>
                  <a:pt x="1117" y="25"/>
                  <a:pt x="1117" y="25"/>
                </a:cubicBezTo>
                <a:cubicBezTo>
                  <a:pt x="1116" y="26"/>
                  <a:pt x="1116" y="26"/>
                  <a:pt x="1116" y="26"/>
                </a:cubicBezTo>
                <a:cubicBezTo>
                  <a:pt x="1115" y="27"/>
                  <a:pt x="1115" y="27"/>
                  <a:pt x="1115" y="27"/>
                </a:cubicBezTo>
                <a:cubicBezTo>
                  <a:pt x="1114" y="29"/>
                  <a:pt x="1114" y="29"/>
                  <a:pt x="1114" y="29"/>
                </a:cubicBezTo>
                <a:cubicBezTo>
                  <a:pt x="1114" y="30"/>
                  <a:pt x="1114" y="30"/>
                  <a:pt x="1114" y="30"/>
                </a:cubicBezTo>
                <a:cubicBezTo>
                  <a:pt x="1115" y="29"/>
                  <a:pt x="1115" y="29"/>
                  <a:pt x="1115" y="29"/>
                </a:cubicBezTo>
                <a:cubicBezTo>
                  <a:pt x="1116" y="28"/>
                  <a:pt x="1116" y="28"/>
                  <a:pt x="1116" y="28"/>
                </a:cubicBezTo>
                <a:cubicBezTo>
                  <a:pt x="1117" y="28"/>
                  <a:pt x="1117" y="28"/>
                  <a:pt x="1117" y="28"/>
                </a:cubicBezTo>
                <a:cubicBezTo>
                  <a:pt x="1118" y="28"/>
                  <a:pt x="1118" y="28"/>
                  <a:pt x="1118" y="28"/>
                </a:cubicBezTo>
                <a:cubicBezTo>
                  <a:pt x="1120" y="29"/>
                  <a:pt x="1120" y="29"/>
                  <a:pt x="1120" y="29"/>
                </a:cubicBezTo>
                <a:cubicBezTo>
                  <a:pt x="1120" y="30"/>
                  <a:pt x="1120" y="30"/>
                  <a:pt x="1120" y="30"/>
                </a:cubicBezTo>
                <a:cubicBezTo>
                  <a:pt x="1121" y="32"/>
                  <a:pt x="1121" y="32"/>
                  <a:pt x="1121" y="32"/>
                </a:cubicBezTo>
                <a:cubicBezTo>
                  <a:pt x="1120" y="35"/>
                  <a:pt x="1120" y="35"/>
                  <a:pt x="1120" y="35"/>
                </a:cubicBezTo>
                <a:cubicBezTo>
                  <a:pt x="1119" y="38"/>
                  <a:pt x="1119" y="38"/>
                  <a:pt x="1119" y="38"/>
                </a:cubicBezTo>
                <a:cubicBezTo>
                  <a:pt x="1116" y="39"/>
                  <a:pt x="1116" y="39"/>
                  <a:pt x="1116" y="39"/>
                </a:cubicBezTo>
                <a:cubicBezTo>
                  <a:pt x="1116" y="40"/>
                  <a:pt x="1116" y="40"/>
                  <a:pt x="1116" y="40"/>
                </a:cubicBezTo>
                <a:cubicBezTo>
                  <a:pt x="1115" y="39"/>
                  <a:pt x="1115" y="39"/>
                  <a:pt x="1115" y="39"/>
                </a:cubicBezTo>
                <a:cubicBezTo>
                  <a:pt x="1113" y="40"/>
                  <a:pt x="1113" y="40"/>
                  <a:pt x="1113" y="40"/>
                </a:cubicBezTo>
                <a:cubicBezTo>
                  <a:pt x="1113" y="41"/>
                  <a:pt x="1113" y="41"/>
                  <a:pt x="1113" y="41"/>
                </a:cubicBezTo>
                <a:cubicBezTo>
                  <a:pt x="1109" y="43"/>
                  <a:pt x="1109" y="43"/>
                  <a:pt x="1109" y="43"/>
                </a:cubicBezTo>
                <a:cubicBezTo>
                  <a:pt x="1107" y="44"/>
                  <a:pt x="1107" y="44"/>
                  <a:pt x="1107" y="44"/>
                </a:cubicBezTo>
                <a:cubicBezTo>
                  <a:pt x="1106" y="44"/>
                  <a:pt x="1106" y="44"/>
                  <a:pt x="1106" y="44"/>
                </a:cubicBezTo>
                <a:cubicBezTo>
                  <a:pt x="1105" y="45"/>
                  <a:pt x="1105" y="45"/>
                  <a:pt x="1105" y="45"/>
                </a:cubicBezTo>
                <a:cubicBezTo>
                  <a:pt x="1103" y="45"/>
                  <a:pt x="1103" y="45"/>
                  <a:pt x="1103" y="45"/>
                </a:cubicBezTo>
                <a:cubicBezTo>
                  <a:pt x="1102" y="44"/>
                  <a:pt x="1102" y="44"/>
                  <a:pt x="1102" y="44"/>
                </a:cubicBezTo>
                <a:cubicBezTo>
                  <a:pt x="1101" y="45"/>
                  <a:pt x="1101" y="45"/>
                  <a:pt x="1101" y="45"/>
                </a:cubicBezTo>
                <a:cubicBezTo>
                  <a:pt x="1101" y="46"/>
                  <a:pt x="1101" y="46"/>
                  <a:pt x="1101" y="46"/>
                </a:cubicBezTo>
                <a:cubicBezTo>
                  <a:pt x="1099" y="45"/>
                  <a:pt x="1099" y="45"/>
                  <a:pt x="1099" y="45"/>
                </a:cubicBezTo>
                <a:cubicBezTo>
                  <a:pt x="1098" y="44"/>
                  <a:pt x="1098" y="44"/>
                  <a:pt x="1098" y="44"/>
                </a:cubicBezTo>
                <a:cubicBezTo>
                  <a:pt x="1096" y="44"/>
                  <a:pt x="1096" y="44"/>
                  <a:pt x="1096" y="44"/>
                </a:cubicBezTo>
                <a:cubicBezTo>
                  <a:pt x="1097" y="45"/>
                  <a:pt x="1097" y="45"/>
                  <a:pt x="1097" y="45"/>
                </a:cubicBezTo>
                <a:cubicBezTo>
                  <a:pt x="1098" y="45"/>
                  <a:pt x="1098" y="45"/>
                  <a:pt x="1098" y="45"/>
                </a:cubicBezTo>
                <a:cubicBezTo>
                  <a:pt x="1097" y="46"/>
                  <a:pt x="1097" y="46"/>
                  <a:pt x="1097" y="46"/>
                </a:cubicBezTo>
                <a:cubicBezTo>
                  <a:pt x="1095" y="45"/>
                  <a:pt x="1095" y="45"/>
                  <a:pt x="1095" y="45"/>
                </a:cubicBezTo>
                <a:cubicBezTo>
                  <a:pt x="1094" y="45"/>
                  <a:pt x="1094" y="45"/>
                  <a:pt x="1094" y="45"/>
                </a:cubicBezTo>
                <a:cubicBezTo>
                  <a:pt x="1092" y="45"/>
                  <a:pt x="1092" y="45"/>
                  <a:pt x="1092" y="45"/>
                </a:cubicBezTo>
                <a:cubicBezTo>
                  <a:pt x="1091" y="44"/>
                  <a:pt x="1091" y="44"/>
                  <a:pt x="1091" y="44"/>
                </a:cubicBezTo>
                <a:cubicBezTo>
                  <a:pt x="1090" y="44"/>
                  <a:pt x="1090" y="44"/>
                  <a:pt x="1090" y="44"/>
                </a:cubicBezTo>
                <a:cubicBezTo>
                  <a:pt x="1089" y="44"/>
                  <a:pt x="1089" y="44"/>
                  <a:pt x="1089" y="44"/>
                </a:cubicBezTo>
                <a:cubicBezTo>
                  <a:pt x="1088" y="42"/>
                  <a:pt x="1088" y="42"/>
                  <a:pt x="1088" y="42"/>
                </a:cubicBezTo>
                <a:cubicBezTo>
                  <a:pt x="1086" y="41"/>
                  <a:pt x="1086" y="41"/>
                  <a:pt x="1086" y="41"/>
                </a:cubicBezTo>
                <a:cubicBezTo>
                  <a:pt x="1087" y="42"/>
                  <a:pt x="1087" y="42"/>
                  <a:pt x="1087" y="42"/>
                </a:cubicBezTo>
                <a:cubicBezTo>
                  <a:pt x="1088" y="44"/>
                  <a:pt x="1088" y="44"/>
                  <a:pt x="1088" y="44"/>
                </a:cubicBezTo>
                <a:cubicBezTo>
                  <a:pt x="1087" y="44"/>
                  <a:pt x="1087" y="44"/>
                  <a:pt x="1087" y="44"/>
                </a:cubicBezTo>
                <a:cubicBezTo>
                  <a:pt x="1085" y="44"/>
                  <a:pt x="1085" y="44"/>
                  <a:pt x="1085" y="44"/>
                </a:cubicBezTo>
                <a:cubicBezTo>
                  <a:pt x="1086" y="45"/>
                  <a:pt x="1086" y="45"/>
                  <a:pt x="1086" y="45"/>
                </a:cubicBezTo>
                <a:cubicBezTo>
                  <a:pt x="1090" y="45"/>
                  <a:pt x="1090" y="45"/>
                  <a:pt x="1090" y="45"/>
                </a:cubicBezTo>
                <a:cubicBezTo>
                  <a:pt x="1092" y="46"/>
                  <a:pt x="1092" y="46"/>
                  <a:pt x="1092" y="46"/>
                </a:cubicBezTo>
                <a:cubicBezTo>
                  <a:pt x="1093" y="47"/>
                  <a:pt x="1093" y="47"/>
                  <a:pt x="1093" y="47"/>
                </a:cubicBezTo>
                <a:cubicBezTo>
                  <a:pt x="1092" y="47"/>
                  <a:pt x="1092" y="47"/>
                  <a:pt x="1092" y="47"/>
                </a:cubicBezTo>
                <a:cubicBezTo>
                  <a:pt x="1087" y="50"/>
                  <a:pt x="1087" y="50"/>
                  <a:pt x="1087" y="50"/>
                </a:cubicBezTo>
                <a:cubicBezTo>
                  <a:pt x="1083" y="50"/>
                  <a:pt x="1083" y="50"/>
                  <a:pt x="1083" y="50"/>
                </a:cubicBezTo>
                <a:cubicBezTo>
                  <a:pt x="1082" y="50"/>
                  <a:pt x="1082" y="50"/>
                  <a:pt x="1082" y="50"/>
                </a:cubicBezTo>
                <a:cubicBezTo>
                  <a:pt x="1080" y="51"/>
                  <a:pt x="1080" y="51"/>
                  <a:pt x="1080" y="51"/>
                </a:cubicBezTo>
                <a:cubicBezTo>
                  <a:pt x="1078" y="50"/>
                  <a:pt x="1078" y="50"/>
                  <a:pt x="1078" y="50"/>
                </a:cubicBezTo>
                <a:cubicBezTo>
                  <a:pt x="1077" y="50"/>
                  <a:pt x="1077" y="50"/>
                  <a:pt x="1077" y="50"/>
                </a:cubicBezTo>
                <a:cubicBezTo>
                  <a:pt x="1076" y="50"/>
                  <a:pt x="1076" y="50"/>
                  <a:pt x="1076" y="50"/>
                </a:cubicBezTo>
                <a:cubicBezTo>
                  <a:pt x="1075" y="50"/>
                  <a:pt x="1075" y="50"/>
                  <a:pt x="1075" y="50"/>
                </a:cubicBezTo>
                <a:cubicBezTo>
                  <a:pt x="1074" y="51"/>
                  <a:pt x="1074" y="51"/>
                  <a:pt x="1074" y="51"/>
                </a:cubicBezTo>
                <a:cubicBezTo>
                  <a:pt x="1075" y="51"/>
                  <a:pt x="1075" y="51"/>
                  <a:pt x="1075" y="51"/>
                </a:cubicBezTo>
                <a:cubicBezTo>
                  <a:pt x="1076" y="52"/>
                  <a:pt x="1076" y="52"/>
                  <a:pt x="1076" y="52"/>
                </a:cubicBezTo>
                <a:cubicBezTo>
                  <a:pt x="1077" y="51"/>
                  <a:pt x="1077" y="51"/>
                  <a:pt x="1077" y="51"/>
                </a:cubicBezTo>
                <a:cubicBezTo>
                  <a:pt x="1078" y="51"/>
                  <a:pt x="1079" y="51"/>
                  <a:pt x="1080" y="51"/>
                </a:cubicBezTo>
                <a:cubicBezTo>
                  <a:pt x="1081" y="51"/>
                  <a:pt x="1081" y="51"/>
                  <a:pt x="1081" y="51"/>
                </a:cubicBezTo>
                <a:cubicBezTo>
                  <a:pt x="1082" y="51"/>
                  <a:pt x="1082" y="51"/>
                  <a:pt x="1082" y="51"/>
                </a:cubicBezTo>
                <a:cubicBezTo>
                  <a:pt x="1087" y="51"/>
                  <a:pt x="1087" y="51"/>
                  <a:pt x="1087" y="51"/>
                </a:cubicBezTo>
                <a:cubicBezTo>
                  <a:pt x="1090" y="51"/>
                  <a:pt x="1090" y="51"/>
                  <a:pt x="1090" y="51"/>
                </a:cubicBezTo>
                <a:cubicBezTo>
                  <a:pt x="1092" y="49"/>
                  <a:pt x="1092" y="49"/>
                  <a:pt x="1092" y="49"/>
                </a:cubicBezTo>
                <a:cubicBezTo>
                  <a:pt x="1094" y="49"/>
                  <a:pt x="1094" y="49"/>
                  <a:pt x="1094" y="49"/>
                </a:cubicBezTo>
                <a:cubicBezTo>
                  <a:pt x="1095" y="49"/>
                  <a:pt x="1095" y="49"/>
                  <a:pt x="1095" y="49"/>
                </a:cubicBezTo>
                <a:cubicBezTo>
                  <a:pt x="1096" y="49"/>
                  <a:pt x="1096" y="49"/>
                  <a:pt x="1096" y="49"/>
                </a:cubicBezTo>
                <a:cubicBezTo>
                  <a:pt x="1098" y="49"/>
                  <a:pt x="1098" y="49"/>
                  <a:pt x="1098" y="49"/>
                </a:cubicBezTo>
                <a:cubicBezTo>
                  <a:pt x="1097" y="50"/>
                  <a:pt x="1097" y="50"/>
                  <a:pt x="1097" y="50"/>
                </a:cubicBezTo>
                <a:cubicBezTo>
                  <a:pt x="1096" y="52"/>
                  <a:pt x="1096" y="52"/>
                  <a:pt x="1096" y="52"/>
                </a:cubicBezTo>
                <a:cubicBezTo>
                  <a:pt x="1094" y="53"/>
                  <a:pt x="1094" y="53"/>
                  <a:pt x="1094" y="53"/>
                </a:cubicBezTo>
                <a:cubicBezTo>
                  <a:pt x="1094" y="54"/>
                  <a:pt x="1094" y="54"/>
                  <a:pt x="1094" y="54"/>
                </a:cubicBezTo>
                <a:cubicBezTo>
                  <a:pt x="1091" y="54"/>
                  <a:pt x="1091" y="54"/>
                  <a:pt x="1091" y="54"/>
                </a:cubicBezTo>
                <a:cubicBezTo>
                  <a:pt x="1090" y="56"/>
                  <a:pt x="1090" y="56"/>
                  <a:pt x="1090" y="56"/>
                </a:cubicBezTo>
                <a:cubicBezTo>
                  <a:pt x="1089" y="56"/>
                  <a:pt x="1089" y="56"/>
                  <a:pt x="1089" y="56"/>
                </a:cubicBezTo>
                <a:cubicBezTo>
                  <a:pt x="1088" y="57"/>
                  <a:pt x="1088" y="57"/>
                  <a:pt x="1088" y="57"/>
                </a:cubicBezTo>
                <a:cubicBezTo>
                  <a:pt x="1086" y="58"/>
                  <a:pt x="1086" y="58"/>
                  <a:pt x="1086" y="58"/>
                </a:cubicBezTo>
                <a:cubicBezTo>
                  <a:pt x="1085" y="58"/>
                  <a:pt x="1085" y="58"/>
                  <a:pt x="1085" y="58"/>
                </a:cubicBezTo>
                <a:cubicBezTo>
                  <a:pt x="1084" y="58"/>
                  <a:pt x="1084" y="58"/>
                  <a:pt x="1084" y="58"/>
                </a:cubicBezTo>
                <a:cubicBezTo>
                  <a:pt x="1082" y="58"/>
                  <a:pt x="1082" y="58"/>
                  <a:pt x="1082" y="58"/>
                </a:cubicBezTo>
                <a:cubicBezTo>
                  <a:pt x="1081" y="59"/>
                  <a:pt x="1081" y="59"/>
                  <a:pt x="1081" y="59"/>
                </a:cubicBezTo>
                <a:cubicBezTo>
                  <a:pt x="1079" y="60"/>
                  <a:pt x="1079" y="60"/>
                  <a:pt x="1079" y="60"/>
                </a:cubicBezTo>
                <a:cubicBezTo>
                  <a:pt x="1078" y="61"/>
                  <a:pt x="1078" y="61"/>
                  <a:pt x="1078" y="61"/>
                </a:cubicBezTo>
                <a:cubicBezTo>
                  <a:pt x="1076" y="62"/>
                  <a:pt x="1076" y="62"/>
                  <a:pt x="1076" y="62"/>
                </a:cubicBezTo>
                <a:cubicBezTo>
                  <a:pt x="1075" y="62"/>
                  <a:pt x="1075" y="62"/>
                  <a:pt x="1075" y="62"/>
                </a:cubicBezTo>
                <a:cubicBezTo>
                  <a:pt x="1074" y="62"/>
                  <a:pt x="1074" y="62"/>
                  <a:pt x="1074" y="62"/>
                </a:cubicBezTo>
                <a:cubicBezTo>
                  <a:pt x="1073" y="63"/>
                  <a:pt x="1073" y="63"/>
                  <a:pt x="1073" y="63"/>
                </a:cubicBezTo>
                <a:cubicBezTo>
                  <a:pt x="1071" y="63"/>
                  <a:pt x="1071" y="63"/>
                  <a:pt x="1071" y="63"/>
                </a:cubicBezTo>
                <a:cubicBezTo>
                  <a:pt x="1071" y="65"/>
                  <a:pt x="1071" y="65"/>
                  <a:pt x="1071" y="65"/>
                </a:cubicBezTo>
                <a:cubicBezTo>
                  <a:pt x="1070" y="66"/>
                  <a:pt x="1070" y="66"/>
                  <a:pt x="1070" y="66"/>
                </a:cubicBezTo>
                <a:cubicBezTo>
                  <a:pt x="1069" y="67"/>
                  <a:pt x="1069" y="67"/>
                  <a:pt x="1069" y="67"/>
                </a:cubicBezTo>
                <a:cubicBezTo>
                  <a:pt x="1066" y="67"/>
                  <a:pt x="1066" y="67"/>
                  <a:pt x="1066" y="67"/>
                </a:cubicBezTo>
                <a:cubicBezTo>
                  <a:pt x="1065" y="67"/>
                  <a:pt x="1065" y="67"/>
                  <a:pt x="1065" y="67"/>
                </a:cubicBezTo>
                <a:cubicBezTo>
                  <a:pt x="1064" y="67"/>
                  <a:pt x="1064" y="67"/>
                  <a:pt x="1064" y="67"/>
                </a:cubicBezTo>
                <a:cubicBezTo>
                  <a:pt x="1064" y="66"/>
                  <a:pt x="1064" y="66"/>
                  <a:pt x="1064" y="66"/>
                </a:cubicBezTo>
                <a:cubicBezTo>
                  <a:pt x="1065" y="66"/>
                  <a:pt x="1065" y="66"/>
                  <a:pt x="1065" y="66"/>
                </a:cubicBezTo>
                <a:cubicBezTo>
                  <a:pt x="1065" y="65"/>
                  <a:pt x="1065" y="65"/>
                  <a:pt x="1065" y="65"/>
                </a:cubicBezTo>
                <a:cubicBezTo>
                  <a:pt x="1064" y="64"/>
                  <a:pt x="1064" y="64"/>
                  <a:pt x="1064" y="64"/>
                </a:cubicBezTo>
                <a:cubicBezTo>
                  <a:pt x="1064" y="66"/>
                  <a:pt x="1064" y="66"/>
                  <a:pt x="1064" y="66"/>
                </a:cubicBezTo>
                <a:cubicBezTo>
                  <a:pt x="1063" y="66"/>
                  <a:pt x="1063" y="66"/>
                  <a:pt x="1063" y="66"/>
                </a:cubicBezTo>
                <a:cubicBezTo>
                  <a:pt x="1063" y="67"/>
                  <a:pt x="1063" y="67"/>
                  <a:pt x="1063" y="67"/>
                </a:cubicBezTo>
                <a:cubicBezTo>
                  <a:pt x="1064" y="68"/>
                  <a:pt x="1064" y="68"/>
                  <a:pt x="1064" y="68"/>
                </a:cubicBezTo>
                <a:cubicBezTo>
                  <a:pt x="1065" y="69"/>
                  <a:pt x="1065" y="69"/>
                  <a:pt x="1065" y="69"/>
                </a:cubicBezTo>
                <a:cubicBezTo>
                  <a:pt x="1064" y="70"/>
                  <a:pt x="1064" y="70"/>
                  <a:pt x="1064" y="70"/>
                </a:cubicBezTo>
                <a:cubicBezTo>
                  <a:pt x="1063" y="70"/>
                  <a:pt x="1063" y="70"/>
                  <a:pt x="1063" y="70"/>
                </a:cubicBezTo>
                <a:cubicBezTo>
                  <a:pt x="1062" y="69"/>
                  <a:pt x="1062" y="69"/>
                  <a:pt x="1062" y="69"/>
                </a:cubicBezTo>
                <a:cubicBezTo>
                  <a:pt x="1061" y="70"/>
                  <a:pt x="1061" y="70"/>
                  <a:pt x="1061" y="70"/>
                </a:cubicBezTo>
                <a:cubicBezTo>
                  <a:pt x="1059" y="69"/>
                  <a:pt x="1059" y="69"/>
                  <a:pt x="1059" y="69"/>
                </a:cubicBezTo>
                <a:cubicBezTo>
                  <a:pt x="1058" y="70"/>
                  <a:pt x="1058" y="70"/>
                  <a:pt x="1058" y="70"/>
                </a:cubicBezTo>
                <a:cubicBezTo>
                  <a:pt x="1057" y="70"/>
                  <a:pt x="1057" y="70"/>
                  <a:pt x="1057" y="70"/>
                </a:cubicBezTo>
                <a:cubicBezTo>
                  <a:pt x="1057" y="69"/>
                  <a:pt x="1057" y="69"/>
                  <a:pt x="1057" y="69"/>
                </a:cubicBezTo>
                <a:cubicBezTo>
                  <a:pt x="1057" y="68"/>
                  <a:pt x="1057" y="68"/>
                  <a:pt x="1057" y="68"/>
                </a:cubicBezTo>
                <a:cubicBezTo>
                  <a:pt x="1056" y="69"/>
                  <a:pt x="1056" y="69"/>
                  <a:pt x="1056" y="69"/>
                </a:cubicBezTo>
                <a:cubicBezTo>
                  <a:pt x="1055" y="70"/>
                  <a:pt x="1055" y="70"/>
                  <a:pt x="1055" y="70"/>
                </a:cubicBezTo>
                <a:cubicBezTo>
                  <a:pt x="1057" y="71"/>
                  <a:pt x="1057" y="71"/>
                  <a:pt x="1057" y="71"/>
                </a:cubicBezTo>
                <a:cubicBezTo>
                  <a:pt x="1060" y="71"/>
                  <a:pt x="1060" y="71"/>
                  <a:pt x="1060" y="71"/>
                </a:cubicBezTo>
                <a:cubicBezTo>
                  <a:pt x="1061" y="72"/>
                  <a:pt x="1061" y="72"/>
                  <a:pt x="1061" y="72"/>
                </a:cubicBezTo>
                <a:cubicBezTo>
                  <a:pt x="1061" y="73"/>
                  <a:pt x="1061" y="73"/>
                  <a:pt x="1061" y="73"/>
                </a:cubicBezTo>
                <a:cubicBezTo>
                  <a:pt x="1060" y="74"/>
                  <a:pt x="1060" y="74"/>
                  <a:pt x="1060" y="74"/>
                </a:cubicBezTo>
                <a:cubicBezTo>
                  <a:pt x="1058" y="73"/>
                  <a:pt x="1058" y="73"/>
                  <a:pt x="1058" y="73"/>
                </a:cubicBezTo>
                <a:cubicBezTo>
                  <a:pt x="1056" y="74"/>
                  <a:pt x="1056" y="74"/>
                  <a:pt x="1056" y="74"/>
                </a:cubicBezTo>
                <a:cubicBezTo>
                  <a:pt x="1057" y="75"/>
                  <a:pt x="1057" y="75"/>
                  <a:pt x="1057" y="75"/>
                </a:cubicBezTo>
                <a:cubicBezTo>
                  <a:pt x="1057" y="74"/>
                  <a:pt x="1057" y="74"/>
                  <a:pt x="1057" y="74"/>
                </a:cubicBezTo>
                <a:cubicBezTo>
                  <a:pt x="1058" y="75"/>
                  <a:pt x="1058" y="75"/>
                  <a:pt x="1058" y="75"/>
                </a:cubicBezTo>
                <a:cubicBezTo>
                  <a:pt x="1058" y="76"/>
                  <a:pt x="1058" y="76"/>
                  <a:pt x="1058" y="76"/>
                </a:cubicBezTo>
                <a:cubicBezTo>
                  <a:pt x="1056" y="78"/>
                  <a:pt x="1056" y="78"/>
                  <a:pt x="1056" y="78"/>
                </a:cubicBezTo>
                <a:cubicBezTo>
                  <a:pt x="1054" y="78"/>
                  <a:pt x="1054" y="78"/>
                  <a:pt x="1054" y="78"/>
                </a:cubicBezTo>
                <a:cubicBezTo>
                  <a:pt x="1051" y="78"/>
                  <a:pt x="1051" y="78"/>
                  <a:pt x="1051" y="78"/>
                </a:cubicBezTo>
                <a:cubicBezTo>
                  <a:pt x="1051" y="77"/>
                  <a:pt x="1051" y="77"/>
                  <a:pt x="1051" y="77"/>
                </a:cubicBezTo>
                <a:cubicBezTo>
                  <a:pt x="1049" y="77"/>
                  <a:pt x="1049" y="77"/>
                  <a:pt x="1049" y="77"/>
                </a:cubicBezTo>
                <a:cubicBezTo>
                  <a:pt x="1049" y="76"/>
                  <a:pt x="1049" y="76"/>
                  <a:pt x="1049" y="76"/>
                </a:cubicBezTo>
                <a:cubicBezTo>
                  <a:pt x="1049" y="74"/>
                  <a:pt x="1049" y="74"/>
                  <a:pt x="1049" y="74"/>
                </a:cubicBezTo>
                <a:cubicBezTo>
                  <a:pt x="1047" y="74"/>
                  <a:pt x="1047" y="74"/>
                  <a:pt x="1047" y="74"/>
                </a:cubicBezTo>
                <a:cubicBezTo>
                  <a:pt x="1046" y="73"/>
                  <a:pt x="1046" y="73"/>
                  <a:pt x="1046" y="73"/>
                </a:cubicBezTo>
                <a:cubicBezTo>
                  <a:pt x="1046" y="72"/>
                  <a:pt x="1046" y="72"/>
                  <a:pt x="1046" y="72"/>
                </a:cubicBezTo>
                <a:cubicBezTo>
                  <a:pt x="1046" y="71"/>
                  <a:pt x="1046" y="71"/>
                  <a:pt x="1046" y="71"/>
                </a:cubicBezTo>
                <a:cubicBezTo>
                  <a:pt x="1045" y="72"/>
                  <a:pt x="1045" y="72"/>
                  <a:pt x="1045" y="72"/>
                </a:cubicBezTo>
                <a:cubicBezTo>
                  <a:pt x="1044" y="71"/>
                  <a:pt x="1044" y="71"/>
                  <a:pt x="1044" y="71"/>
                </a:cubicBezTo>
                <a:cubicBezTo>
                  <a:pt x="1042" y="72"/>
                  <a:pt x="1042" y="72"/>
                  <a:pt x="1042" y="72"/>
                </a:cubicBezTo>
                <a:cubicBezTo>
                  <a:pt x="1043" y="73"/>
                  <a:pt x="1043" y="73"/>
                  <a:pt x="1043" y="73"/>
                </a:cubicBezTo>
                <a:cubicBezTo>
                  <a:pt x="1043" y="72"/>
                  <a:pt x="1043" y="72"/>
                  <a:pt x="1043" y="72"/>
                </a:cubicBezTo>
                <a:cubicBezTo>
                  <a:pt x="1044" y="72"/>
                  <a:pt x="1044" y="72"/>
                  <a:pt x="1044" y="72"/>
                </a:cubicBezTo>
                <a:cubicBezTo>
                  <a:pt x="1047" y="75"/>
                  <a:pt x="1047" y="75"/>
                  <a:pt x="1047" y="75"/>
                </a:cubicBezTo>
                <a:cubicBezTo>
                  <a:pt x="1047" y="79"/>
                  <a:pt x="1047" y="79"/>
                  <a:pt x="1047" y="79"/>
                </a:cubicBezTo>
                <a:cubicBezTo>
                  <a:pt x="1046" y="79"/>
                  <a:pt x="1046" y="79"/>
                  <a:pt x="1046" y="79"/>
                </a:cubicBezTo>
                <a:cubicBezTo>
                  <a:pt x="1045" y="79"/>
                  <a:pt x="1045" y="79"/>
                  <a:pt x="1045" y="79"/>
                </a:cubicBezTo>
                <a:cubicBezTo>
                  <a:pt x="1044" y="78"/>
                  <a:pt x="1044" y="78"/>
                  <a:pt x="1044" y="78"/>
                </a:cubicBezTo>
                <a:cubicBezTo>
                  <a:pt x="1043" y="78"/>
                  <a:pt x="1043" y="78"/>
                  <a:pt x="1043" y="78"/>
                </a:cubicBezTo>
                <a:cubicBezTo>
                  <a:pt x="1043" y="79"/>
                  <a:pt x="1043" y="79"/>
                  <a:pt x="1043" y="79"/>
                </a:cubicBezTo>
                <a:cubicBezTo>
                  <a:pt x="1043" y="80"/>
                  <a:pt x="1043" y="80"/>
                  <a:pt x="1043" y="80"/>
                </a:cubicBezTo>
                <a:cubicBezTo>
                  <a:pt x="1042" y="78"/>
                  <a:pt x="1042" y="78"/>
                  <a:pt x="1042" y="78"/>
                </a:cubicBezTo>
                <a:cubicBezTo>
                  <a:pt x="1041" y="78"/>
                  <a:pt x="1041" y="78"/>
                  <a:pt x="1041" y="78"/>
                </a:cubicBezTo>
                <a:cubicBezTo>
                  <a:pt x="1040" y="79"/>
                  <a:pt x="1040" y="79"/>
                  <a:pt x="1040" y="79"/>
                </a:cubicBezTo>
                <a:cubicBezTo>
                  <a:pt x="1039" y="79"/>
                  <a:pt x="1039" y="79"/>
                  <a:pt x="1039" y="79"/>
                </a:cubicBezTo>
                <a:cubicBezTo>
                  <a:pt x="1037" y="78"/>
                  <a:pt x="1037" y="78"/>
                  <a:pt x="1037" y="78"/>
                </a:cubicBezTo>
                <a:cubicBezTo>
                  <a:pt x="1036" y="77"/>
                  <a:pt x="1036" y="77"/>
                  <a:pt x="1036" y="77"/>
                </a:cubicBezTo>
                <a:cubicBezTo>
                  <a:pt x="1035" y="76"/>
                  <a:pt x="1035" y="76"/>
                  <a:pt x="1035" y="76"/>
                </a:cubicBezTo>
                <a:cubicBezTo>
                  <a:pt x="1033" y="75"/>
                  <a:pt x="1033" y="75"/>
                  <a:pt x="1033" y="75"/>
                </a:cubicBezTo>
                <a:cubicBezTo>
                  <a:pt x="1032" y="74"/>
                  <a:pt x="1032" y="74"/>
                  <a:pt x="1032" y="74"/>
                </a:cubicBezTo>
                <a:cubicBezTo>
                  <a:pt x="1032" y="75"/>
                  <a:pt x="1032" y="75"/>
                  <a:pt x="1032" y="75"/>
                </a:cubicBezTo>
                <a:cubicBezTo>
                  <a:pt x="1032" y="76"/>
                  <a:pt x="1032" y="76"/>
                  <a:pt x="1032" y="76"/>
                </a:cubicBezTo>
                <a:cubicBezTo>
                  <a:pt x="1033" y="76"/>
                  <a:pt x="1033" y="76"/>
                  <a:pt x="1033" y="76"/>
                </a:cubicBezTo>
                <a:cubicBezTo>
                  <a:pt x="1035" y="77"/>
                  <a:pt x="1035" y="77"/>
                  <a:pt x="1035" y="77"/>
                </a:cubicBezTo>
                <a:cubicBezTo>
                  <a:pt x="1036" y="79"/>
                  <a:pt x="1036" y="79"/>
                  <a:pt x="1036" y="79"/>
                </a:cubicBezTo>
                <a:cubicBezTo>
                  <a:pt x="1035" y="80"/>
                  <a:pt x="1035" y="80"/>
                  <a:pt x="1035" y="80"/>
                </a:cubicBezTo>
                <a:cubicBezTo>
                  <a:pt x="1032" y="79"/>
                  <a:pt x="1032" y="79"/>
                  <a:pt x="1032" y="79"/>
                </a:cubicBezTo>
                <a:cubicBezTo>
                  <a:pt x="1031" y="78"/>
                  <a:pt x="1031" y="78"/>
                  <a:pt x="1031" y="78"/>
                </a:cubicBezTo>
                <a:cubicBezTo>
                  <a:pt x="1031" y="77"/>
                  <a:pt x="1031" y="77"/>
                  <a:pt x="1031" y="77"/>
                </a:cubicBezTo>
                <a:cubicBezTo>
                  <a:pt x="1030" y="76"/>
                  <a:pt x="1030" y="76"/>
                  <a:pt x="1030" y="76"/>
                </a:cubicBezTo>
                <a:cubicBezTo>
                  <a:pt x="1030" y="77"/>
                  <a:pt x="1030" y="77"/>
                  <a:pt x="1030" y="77"/>
                </a:cubicBezTo>
                <a:cubicBezTo>
                  <a:pt x="1030" y="78"/>
                  <a:pt x="1030" y="78"/>
                  <a:pt x="1030" y="78"/>
                </a:cubicBezTo>
                <a:cubicBezTo>
                  <a:pt x="1029" y="78"/>
                  <a:pt x="1029" y="78"/>
                  <a:pt x="1029" y="78"/>
                </a:cubicBezTo>
                <a:cubicBezTo>
                  <a:pt x="1028" y="77"/>
                  <a:pt x="1028" y="77"/>
                  <a:pt x="1028" y="77"/>
                </a:cubicBezTo>
                <a:cubicBezTo>
                  <a:pt x="1027" y="77"/>
                  <a:pt x="1027" y="77"/>
                  <a:pt x="1027" y="77"/>
                </a:cubicBezTo>
                <a:cubicBezTo>
                  <a:pt x="1027" y="78"/>
                  <a:pt x="1027" y="78"/>
                  <a:pt x="1027" y="78"/>
                </a:cubicBezTo>
                <a:cubicBezTo>
                  <a:pt x="1029" y="79"/>
                  <a:pt x="1029" y="79"/>
                  <a:pt x="1029" y="79"/>
                </a:cubicBezTo>
                <a:cubicBezTo>
                  <a:pt x="1029" y="80"/>
                  <a:pt x="1029" y="80"/>
                  <a:pt x="1029" y="80"/>
                </a:cubicBezTo>
                <a:cubicBezTo>
                  <a:pt x="1030" y="80"/>
                  <a:pt x="1030" y="80"/>
                  <a:pt x="1030" y="80"/>
                </a:cubicBezTo>
                <a:cubicBezTo>
                  <a:pt x="1031" y="80"/>
                  <a:pt x="1031" y="80"/>
                  <a:pt x="1031" y="80"/>
                </a:cubicBezTo>
                <a:cubicBezTo>
                  <a:pt x="1032" y="80"/>
                  <a:pt x="1032" y="80"/>
                  <a:pt x="1032" y="80"/>
                </a:cubicBezTo>
                <a:cubicBezTo>
                  <a:pt x="1033" y="81"/>
                  <a:pt x="1033" y="81"/>
                  <a:pt x="1033" y="81"/>
                </a:cubicBezTo>
                <a:cubicBezTo>
                  <a:pt x="1034" y="82"/>
                  <a:pt x="1034" y="82"/>
                  <a:pt x="1034" y="82"/>
                </a:cubicBezTo>
                <a:cubicBezTo>
                  <a:pt x="1035" y="82"/>
                  <a:pt x="1035" y="82"/>
                  <a:pt x="1035" y="82"/>
                </a:cubicBezTo>
                <a:cubicBezTo>
                  <a:pt x="1036" y="82"/>
                  <a:pt x="1036" y="82"/>
                  <a:pt x="1036" y="82"/>
                </a:cubicBezTo>
                <a:cubicBezTo>
                  <a:pt x="1039" y="82"/>
                  <a:pt x="1039" y="82"/>
                  <a:pt x="1039" y="82"/>
                </a:cubicBezTo>
                <a:cubicBezTo>
                  <a:pt x="1040" y="83"/>
                  <a:pt x="1040" y="83"/>
                  <a:pt x="1040" y="83"/>
                </a:cubicBezTo>
                <a:cubicBezTo>
                  <a:pt x="1039" y="84"/>
                  <a:pt x="1039" y="84"/>
                  <a:pt x="1039" y="84"/>
                </a:cubicBezTo>
                <a:cubicBezTo>
                  <a:pt x="1039" y="85"/>
                  <a:pt x="1039" y="85"/>
                  <a:pt x="1039" y="85"/>
                </a:cubicBezTo>
                <a:cubicBezTo>
                  <a:pt x="1039" y="86"/>
                  <a:pt x="1039" y="86"/>
                  <a:pt x="1039" y="86"/>
                </a:cubicBezTo>
                <a:cubicBezTo>
                  <a:pt x="1039" y="87"/>
                  <a:pt x="1039" y="87"/>
                  <a:pt x="1039" y="87"/>
                </a:cubicBezTo>
                <a:cubicBezTo>
                  <a:pt x="1039" y="88"/>
                  <a:pt x="1039" y="88"/>
                  <a:pt x="1039" y="88"/>
                </a:cubicBezTo>
                <a:cubicBezTo>
                  <a:pt x="1038" y="88"/>
                  <a:pt x="1038" y="88"/>
                  <a:pt x="1038" y="88"/>
                </a:cubicBezTo>
                <a:cubicBezTo>
                  <a:pt x="1037" y="87"/>
                  <a:pt x="1037" y="87"/>
                  <a:pt x="1037" y="87"/>
                </a:cubicBezTo>
                <a:cubicBezTo>
                  <a:pt x="1036" y="86"/>
                  <a:pt x="1036" y="86"/>
                  <a:pt x="1036" y="86"/>
                </a:cubicBezTo>
                <a:cubicBezTo>
                  <a:pt x="1034" y="85"/>
                  <a:pt x="1034" y="85"/>
                  <a:pt x="1034" y="85"/>
                </a:cubicBezTo>
                <a:cubicBezTo>
                  <a:pt x="1033" y="84"/>
                  <a:pt x="1033" y="84"/>
                  <a:pt x="1033" y="84"/>
                </a:cubicBezTo>
                <a:cubicBezTo>
                  <a:pt x="1034" y="83"/>
                  <a:pt x="1034" y="83"/>
                  <a:pt x="1034" y="83"/>
                </a:cubicBezTo>
                <a:cubicBezTo>
                  <a:pt x="1033" y="82"/>
                  <a:pt x="1033" y="82"/>
                  <a:pt x="1033" y="82"/>
                </a:cubicBezTo>
                <a:cubicBezTo>
                  <a:pt x="1031" y="82"/>
                  <a:pt x="1031" y="82"/>
                  <a:pt x="1031" y="82"/>
                </a:cubicBezTo>
                <a:cubicBezTo>
                  <a:pt x="1028" y="81"/>
                  <a:pt x="1028" y="81"/>
                  <a:pt x="1028" y="81"/>
                </a:cubicBezTo>
                <a:cubicBezTo>
                  <a:pt x="1027" y="80"/>
                  <a:pt x="1027" y="80"/>
                  <a:pt x="1027" y="80"/>
                </a:cubicBezTo>
                <a:cubicBezTo>
                  <a:pt x="1026" y="81"/>
                  <a:pt x="1026" y="81"/>
                  <a:pt x="1026" y="81"/>
                </a:cubicBezTo>
                <a:cubicBezTo>
                  <a:pt x="1028" y="82"/>
                  <a:pt x="1028" y="82"/>
                  <a:pt x="1028" y="82"/>
                </a:cubicBezTo>
                <a:cubicBezTo>
                  <a:pt x="1030" y="82"/>
                  <a:pt x="1030" y="82"/>
                  <a:pt x="1030" y="82"/>
                </a:cubicBezTo>
                <a:cubicBezTo>
                  <a:pt x="1033" y="83"/>
                  <a:pt x="1033" y="83"/>
                  <a:pt x="1033" y="83"/>
                </a:cubicBezTo>
                <a:cubicBezTo>
                  <a:pt x="1033" y="84"/>
                  <a:pt x="1033" y="84"/>
                  <a:pt x="1033" y="84"/>
                </a:cubicBezTo>
                <a:cubicBezTo>
                  <a:pt x="1032" y="84"/>
                  <a:pt x="1032" y="84"/>
                  <a:pt x="1032" y="84"/>
                </a:cubicBezTo>
                <a:cubicBezTo>
                  <a:pt x="1031" y="84"/>
                  <a:pt x="1031" y="84"/>
                  <a:pt x="1031" y="84"/>
                </a:cubicBezTo>
                <a:cubicBezTo>
                  <a:pt x="1028" y="83"/>
                  <a:pt x="1028" y="83"/>
                  <a:pt x="1028" y="83"/>
                </a:cubicBezTo>
                <a:cubicBezTo>
                  <a:pt x="1027" y="84"/>
                  <a:pt x="1027" y="84"/>
                  <a:pt x="1027" y="84"/>
                </a:cubicBezTo>
                <a:cubicBezTo>
                  <a:pt x="1027" y="83"/>
                  <a:pt x="1027" y="83"/>
                  <a:pt x="1027" y="83"/>
                </a:cubicBezTo>
                <a:cubicBezTo>
                  <a:pt x="1026" y="83"/>
                  <a:pt x="1026" y="83"/>
                  <a:pt x="1026" y="83"/>
                </a:cubicBezTo>
                <a:cubicBezTo>
                  <a:pt x="1024" y="82"/>
                  <a:pt x="1024" y="82"/>
                  <a:pt x="1024" y="82"/>
                </a:cubicBezTo>
                <a:cubicBezTo>
                  <a:pt x="1023" y="82"/>
                  <a:pt x="1023" y="82"/>
                  <a:pt x="1023" y="82"/>
                </a:cubicBezTo>
                <a:cubicBezTo>
                  <a:pt x="1025" y="83"/>
                  <a:pt x="1025" y="83"/>
                  <a:pt x="1025" y="83"/>
                </a:cubicBezTo>
                <a:cubicBezTo>
                  <a:pt x="1025" y="84"/>
                  <a:pt x="1025" y="84"/>
                  <a:pt x="1025" y="84"/>
                </a:cubicBezTo>
                <a:cubicBezTo>
                  <a:pt x="1025" y="85"/>
                  <a:pt x="1025" y="85"/>
                  <a:pt x="1025" y="85"/>
                </a:cubicBezTo>
                <a:cubicBezTo>
                  <a:pt x="1026" y="85"/>
                  <a:pt x="1026" y="85"/>
                  <a:pt x="1026" y="85"/>
                </a:cubicBezTo>
                <a:cubicBezTo>
                  <a:pt x="1027" y="85"/>
                  <a:pt x="1027" y="85"/>
                  <a:pt x="1027" y="85"/>
                </a:cubicBezTo>
                <a:cubicBezTo>
                  <a:pt x="1028" y="85"/>
                  <a:pt x="1028" y="85"/>
                  <a:pt x="1028" y="85"/>
                </a:cubicBezTo>
                <a:cubicBezTo>
                  <a:pt x="1028" y="84"/>
                  <a:pt x="1028" y="84"/>
                  <a:pt x="1028" y="84"/>
                </a:cubicBezTo>
                <a:cubicBezTo>
                  <a:pt x="1029" y="85"/>
                  <a:pt x="1029" y="85"/>
                  <a:pt x="1029" y="85"/>
                </a:cubicBezTo>
                <a:cubicBezTo>
                  <a:pt x="1030" y="85"/>
                  <a:pt x="1030" y="85"/>
                  <a:pt x="1030" y="85"/>
                </a:cubicBezTo>
                <a:cubicBezTo>
                  <a:pt x="1031" y="85"/>
                  <a:pt x="1031" y="85"/>
                  <a:pt x="1031" y="85"/>
                </a:cubicBezTo>
                <a:cubicBezTo>
                  <a:pt x="1033" y="87"/>
                  <a:pt x="1033" y="87"/>
                  <a:pt x="1033" y="87"/>
                </a:cubicBezTo>
                <a:cubicBezTo>
                  <a:pt x="1031" y="87"/>
                  <a:pt x="1031" y="87"/>
                  <a:pt x="1031" y="87"/>
                </a:cubicBezTo>
                <a:cubicBezTo>
                  <a:pt x="1030" y="88"/>
                  <a:pt x="1030" y="88"/>
                  <a:pt x="1030" y="88"/>
                </a:cubicBezTo>
                <a:cubicBezTo>
                  <a:pt x="1031" y="88"/>
                  <a:pt x="1031" y="88"/>
                  <a:pt x="1031" y="88"/>
                </a:cubicBezTo>
                <a:cubicBezTo>
                  <a:pt x="1032" y="88"/>
                  <a:pt x="1032" y="88"/>
                  <a:pt x="1032" y="88"/>
                </a:cubicBezTo>
                <a:cubicBezTo>
                  <a:pt x="1033" y="88"/>
                  <a:pt x="1033" y="88"/>
                  <a:pt x="1033" y="88"/>
                </a:cubicBezTo>
                <a:cubicBezTo>
                  <a:pt x="1034" y="89"/>
                  <a:pt x="1034" y="89"/>
                  <a:pt x="1034" y="89"/>
                </a:cubicBezTo>
                <a:cubicBezTo>
                  <a:pt x="1035" y="90"/>
                  <a:pt x="1035" y="90"/>
                  <a:pt x="1035" y="90"/>
                </a:cubicBezTo>
                <a:cubicBezTo>
                  <a:pt x="1035" y="91"/>
                  <a:pt x="1035" y="91"/>
                  <a:pt x="1035" y="91"/>
                </a:cubicBezTo>
                <a:cubicBezTo>
                  <a:pt x="1034" y="93"/>
                  <a:pt x="1034" y="93"/>
                  <a:pt x="1034" y="93"/>
                </a:cubicBezTo>
                <a:cubicBezTo>
                  <a:pt x="1033" y="95"/>
                  <a:pt x="1033" y="95"/>
                  <a:pt x="1033" y="95"/>
                </a:cubicBezTo>
                <a:cubicBezTo>
                  <a:pt x="1031" y="97"/>
                  <a:pt x="1031" y="97"/>
                  <a:pt x="1031" y="97"/>
                </a:cubicBezTo>
                <a:cubicBezTo>
                  <a:pt x="1030" y="96"/>
                  <a:pt x="1030" y="96"/>
                  <a:pt x="1030" y="96"/>
                </a:cubicBezTo>
                <a:cubicBezTo>
                  <a:pt x="1029" y="96"/>
                  <a:pt x="1029" y="96"/>
                  <a:pt x="1029" y="96"/>
                </a:cubicBezTo>
                <a:cubicBezTo>
                  <a:pt x="1028" y="96"/>
                  <a:pt x="1028" y="96"/>
                  <a:pt x="1028" y="96"/>
                </a:cubicBezTo>
                <a:cubicBezTo>
                  <a:pt x="1028" y="95"/>
                  <a:pt x="1028" y="95"/>
                  <a:pt x="1028" y="95"/>
                </a:cubicBezTo>
                <a:cubicBezTo>
                  <a:pt x="1027" y="94"/>
                  <a:pt x="1027" y="94"/>
                  <a:pt x="1027" y="94"/>
                </a:cubicBezTo>
                <a:cubicBezTo>
                  <a:pt x="1025" y="94"/>
                  <a:pt x="1025" y="94"/>
                  <a:pt x="1025" y="94"/>
                </a:cubicBezTo>
                <a:cubicBezTo>
                  <a:pt x="1026" y="95"/>
                  <a:pt x="1026" y="95"/>
                  <a:pt x="1026" y="95"/>
                </a:cubicBezTo>
                <a:cubicBezTo>
                  <a:pt x="1027" y="96"/>
                  <a:pt x="1027" y="96"/>
                  <a:pt x="1027" y="96"/>
                </a:cubicBezTo>
                <a:cubicBezTo>
                  <a:pt x="1028" y="96"/>
                  <a:pt x="1028" y="96"/>
                  <a:pt x="1028" y="96"/>
                </a:cubicBezTo>
                <a:cubicBezTo>
                  <a:pt x="1030" y="97"/>
                  <a:pt x="1030" y="97"/>
                  <a:pt x="1030" y="97"/>
                </a:cubicBezTo>
                <a:cubicBezTo>
                  <a:pt x="1030" y="99"/>
                  <a:pt x="1030" y="99"/>
                  <a:pt x="1030" y="99"/>
                </a:cubicBezTo>
                <a:cubicBezTo>
                  <a:pt x="1029" y="100"/>
                  <a:pt x="1029" y="100"/>
                  <a:pt x="1029" y="100"/>
                </a:cubicBezTo>
                <a:cubicBezTo>
                  <a:pt x="1028" y="100"/>
                  <a:pt x="1028" y="100"/>
                  <a:pt x="1028" y="100"/>
                </a:cubicBezTo>
                <a:cubicBezTo>
                  <a:pt x="1027" y="101"/>
                  <a:pt x="1027" y="101"/>
                  <a:pt x="1027" y="101"/>
                </a:cubicBezTo>
                <a:cubicBezTo>
                  <a:pt x="1026" y="101"/>
                  <a:pt x="1026" y="101"/>
                  <a:pt x="1026" y="101"/>
                </a:cubicBezTo>
                <a:cubicBezTo>
                  <a:pt x="1024" y="100"/>
                  <a:pt x="1024" y="100"/>
                  <a:pt x="1024" y="100"/>
                </a:cubicBezTo>
                <a:cubicBezTo>
                  <a:pt x="1023" y="100"/>
                  <a:pt x="1023" y="100"/>
                  <a:pt x="1023" y="100"/>
                </a:cubicBezTo>
                <a:cubicBezTo>
                  <a:pt x="1023" y="99"/>
                  <a:pt x="1023" y="99"/>
                  <a:pt x="1023" y="99"/>
                </a:cubicBezTo>
                <a:cubicBezTo>
                  <a:pt x="1021" y="99"/>
                  <a:pt x="1021" y="99"/>
                  <a:pt x="1021" y="99"/>
                </a:cubicBezTo>
                <a:cubicBezTo>
                  <a:pt x="1021" y="100"/>
                  <a:pt x="1021" y="100"/>
                  <a:pt x="1021" y="100"/>
                </a:cubicBezTo>
                <a:cubicBezTo>
                  <a:pt x="1021" y="101"/>
                  <a:pt x="1021" y="101"/>
                  <a:pt x="1021" y="101"/>
                </a:cubicBezTo>
                <a:cubicBezTo>
                  <a:pt x="1025" y="103"/>
                  <a:pt x="1025" y="103"/>
                  <a:pt x="1025" y="103"/>
                </a:cubicBezTo>
                <a:cubicBezTo>
                  <a:pt x="1026" y="103"/>
                  <a:pt x="1026" y="103"/>
                  <a:pt x="1026" y="103"/>
                </a:cubicBezTo>
                <a:cubicBezTo>
                  <a:pt x="1025" y="104"/>
                  <a:pt x="1025" y="104"/>
                  <a:pt x="1025" y="104"/>
                </a:cubicBezTo>
                <a:cubicBezTo>
                  <a:pt x="1024" y="105"/>
                  <a:pt x="1024" y="105"/>
                  <a:pt x="1024" y="105"/>
                </a:cubicBezTo>
                <a:cubicBezTo>
                  <a:pt x="1023" y="105"/>
                  <a:pt x="1023" y="105"/>
                  <a:pt x="1023" y="105"/>
                </a:cubicBezTo>
                <a:cubicBezTo>
                  <a:pt x="1022" y="104"/>
                  <a:pt x="1022" y="104"/>
                  <a:pt x="1022" y="104"/>
                </a:cubicBezTo>
                <a:cubicBezTo>
                  <a:pt x="1021" y="104"/>
                  <a:pt x="1021" y="104"/>
                  <a:pt x="1021" y="104"/>
                </a:cubicBezTo>
                <a:cubicBezTo>
                  <a:pt x="1020" y="105"/>
                  <a:pt x="1020" y="105"/>
                  <a:pt x="1020" y="105"/>
                </a:cubicBezTo>
                <a:cubicBezTo>
                  <a:pt x="1018" y="105"/>
                  <a:pt x="1018" y="105"/>
                  <a:pt x="1018" y="105"/>
                </a:cubicBezTo>
                <a:cubicBezTo>
                  <a:pt x="1017" y="104"/>
                  <a:pt x="1017" y="104"/>
                  <a:pt x="1017" y="104"/>
                </a:cubicBezTo>
                <a:cubicBezTo>
                  <a:pt x="1014" y="104"/>
                  <a:pt x="1014" y="104"/>
                  <a:pt x="1014" y="104"/>
                </a:cubicBezTo>
                <a:cubicBezTo>
                  <a:pt x="1013" y="104"/>
                  <a:pt x="1013" y="104"/>
                  <a:pt x="1013" y="104"/>
                </a:cubicBezTo>
                <a:cubicBezTo>
                  <a:pt x="1013" y="105"/>
                  <a:pt x="1013" y="105"/>
                  <a:pt x="1013" y="105"/>
                </a:cubicBezTo>
                <a:cubicBezTo>
                  <a:pt x="1013" y="106"/>
                  <a:pt x="1013" y="106"/>
                  <a:pt x="1013" y="106"/>
                </a:cubicBezTo>
                <a:cubicBezTo>
                  <a:pt x="1011" y="107"/>
                  <a:pt x="1011" y="107"/>
                  <a:pt x="1011" y="107"/>
                </a:cubicBezTo>
                <a:cubicBezTo>
                  <a:pt x="1012" y="107"/>
                  <a:pt x="1012" y="107"/>
                  <a:pt x="1012" y="107"/>
                </a:cubicBezTo>
                <a:cubicBezTo>
                  <a:pt x="1013" y="108"/>
                  <a:pt x="1013" y="108"/>
                  <a:pt x="1013" y="108"/>
                </a:cubicBezTo>
                <a:cubicBezTo>
                  <a:pt x="1013" y="109"/>
                  <a:pt x="1013" y="109"/>
                  <a:pt x="1013" y="109"/>
                </a:cubicBezTo>
                <a:cubicBezTo>
                  <a:pt x="1011" y="110"/>
                  <a:pt x="1011" y="110"/>
                  <a:pt x="1011" y="110"/>
                </a:cubicBezTo>
                <a:cubicBezTo>
                  <a:pt x="1011" y="111"/>
                  <a:pt x="1011" y="111"/>
                  <a:pt x="1011" y="111"/>
                </a:cubicBezTo>
                <a:cubicBezTo>
                  <a:pt x="1010" y="112"/>
                  <a:pt x="1010" y="112"/>
                  <a:pt x="1010" y="112"/>
                </a:cubicBezTo>
                <a:cubicBezTo>
                  <a:pt x="1009" y="112"/>
                  <a:pt x="1009" y="112"/>
                  <a:pt x="1009" y="112"/>
                </a:cubicBezTo>
                <a:cubicBezTo>
                  <a:pt x="1009" y="113"/>
                  <a:pt x="1009" y="113"/>
                  <a:pt x="1009" y="113"/>
                </a:cubicBezTo>
                <a:cubicBezTo>
                  <a:pt x="1007" y="113"/>
                  <a:pt x="1007" y="113"/>
                  <a:pt x="1007" y="113"/>
                </a:cubicBezTo>
                <a:cubicBezTo>
                  <a:pt x="1006" y="113"/>
                  <a:pt x="1006" y="113"/>
                  <a:pt x="1006" y="113"/>
                </a:cubicBezTo>
                <a:cubicBezTo>
                  <a:pt x="1007" y="112"/>
                  <a:pt x="1007" y="112"/>
                  <a:pt x="1007" y="112"/>
                </a:cubicBezTo>
                <a:cubicBezTo>
                  <a:pt x="1006" y="112"/>
                  <a:pt x="1006" y="112"/>
                  <a:pt x="1006" y="112"/>
                </a:cubicBezTo>
                <a:cubicBezTo>
                  <a:pt x="1006" y="113"/>
                  <a:pt x="1006" y="113"/>
                  <a:pt x="1006" y="113"/>
                </a:cubicBezTo>
                <a:cubicBezTo>
                  <a:pt x="1005" y="115"/>
                  <a:pt x="1005" y="115"/>
                  <a:pt x="1005" y="115"/>
                </a:cubicBezTo>
                <a:cubicBezTo>
                  <a:pt x="1004" y="115"/>
                  <a:pt x="1004" y="115"/>
                  <a:pt x="1004" y="115"/>
                </a:cubicBezTo>
                <a:cubicBezTo>
                  <a:pt x="1001" y="114"/>
                  <a:pt x="1001" y="114"/>
                  <a:pt x="1001" y="114"/>
                </a:cubicBezTo>
                <a:cubicBezTo>
                  <a:pt x="1000" y="114"/>
                  <a:pt x="1000" y="114"/>
                  <a:pt x="1000" y="114"/>
                </a:cubicBezTo>
                <a:cubicBezTo>
                  <a:pt x="999" y="114"/>
                  <a:pt x="999" y="114"/>
                  <a:pt x="999" y="114"/>
                </a:cubicBezTo>
                <a:cubicBezTo>
                  <a:pt x="998" y="114"/>
                  <a:pt x="998" y="114"/>
                  <a:pt x="998" y="114"/>
                </a:cubicBezTo>
                <a:cubicBezTo>
                  <a:pt x="995" y="111"/>
                  <a:pt x="995" y="111"/>
                  <a:pt x="995" y="111"/>
                </a:cubicBezTo>
                <a:cubicBezTo>
                  <a:pt x="995" y="108"/>
                  <a:pt x="995" y="108"/>
                  <a:pt x="995" y="108"/>
                </a:cubicBezTo>
                <a:cubicBezTo>
                  <a:pt x="995" y="107"/>
                  <a:pt x="995" y="107"/>
                  <a:pt x="995" y="107"/>
                </a:cubicBezTo>
                <a:cubicBezTo>
                  <a:pt x="995" y="106"/>
                  <a:pt x="995" y="106"/>
                  <a:pt x="995" y="106"/>
                </a:cubicBezTo>
                <a:cubicBezTo>
                  <a:pt x="995" y="105"/>
                  <a:pt x="995" y="105"/>
                  <a:pt x="995" y="105"/>
                </a:cubicBezTo>
                <a:cubicBezTo>
                  <a:pt x="994" y="106"/>
                  <a:pt x="994" y="106"/>
                  <a:pt x="994" y="106"/>
                </a:cubicBezTo>
                <a:cubicBezTo>
                  <a:pt x="994" y="107"/>
                  <a:pt x="994" y="107"/>
                  <a:pt x="994" y="107"/>
                </a:cubicBezTo>
                <a:cubicBezTo>
                  <a:pt x="994" y="109"/>
                  <a:pt x="994" y="109"/>
                  <a:pt x="994" y="109"/>
                </a:cubicBezTo>
                <a:cubicBezTo>
                  <a:pt x="993" y="110"/>
                  <a:pt x="993" y="110"/>
                  <a:pt x="993" y="110"/>
                </a:cubicBezTo>
                <a:cubicBezTo>
                  <a:pt x="994" y="111"/>
                  <a:pt x="994" y="111"/>
                  <a:pt x="994" y="111"/>
                </a:cubicBezTo>
                <a:cubicBezTo>
                  <a:pt x="994" y="112"/>
                  <a:pt x="994" y="112"/>
                  <a:pt x="994" y="112"/>
                </a:cubicBezTo>
                <a:cubicBezTo>
                  <a:pt x="993" y="112"/>
                  <a:pt x="993" y="112"/>
                  <a:pt x="993" y="112"/>
                </a:cubicBezTo>
                <a:cubicBezTo>
                  <a:pt x="991" y="112"/>
                  <a:pt x="991" y="112"/>
                  <a:pt x="991" y="112"/>
                </a:cubicBezTo>
                <a:cubicBezTo>
                  <a:pt x="990" y="112"/>
                  <a:pt x="990" y="112"/>
                  <a:pt x="990" y="112"/>
                </a:cubicBezTo>
                <a:cubicBezTo>
                  <a:pt x="991" y="113"/>
                  <a:pt x="991" y="113"/>
                  <a:pt x="991" y="113"/>
                </a:cubicBezTo>
                <a:cubicBezTo>
                  <a:pt x="990" y="115"/>
                  <a:pt x="990" y="115"/>
                  <a:pt x="990" y="115"/>
                </a:cubicBezTo>
                <a:cubicBezTo>
                  <a:pt x="991" y="115"/>
                  <a:pt x="991" y="115"/>
                  <a:pt x="991" y="115"/>
                </a:cubicBezTo>
                <a:cubicBezTo>
                  <a:pt x="993" y="113"/>
                  <a:pt x="993" y="113"/>
                  <a:pt x="993" y="113"/>
                </a:cubicBezTo>
                <a:cubicBezTo>
                  <a:pt x="994" y="113"/>
                  <a:pt x="994" y="113"/>
                  <a:pt x="994" y="113"/>
                </a:cubicBezTo>
                <a:cubicBezTo>
                  <a:pt x="995" y="112"/>
                  <a:pt x="995" y="112"/>
                  <a:pt x="995" y="112"/>
                </a:cubicBezTo>
                <a:cubicBezTo>
                  <a:pt x="996" y="113"/>
                  <a:pt x="996" y="113"/>
                  <a:pt x="996" y="113"/>
                </a:cubicBezTo>
                <a:cubicBezTo>
                  <a:pt x="997" y="115"/>
                  <a:pt x="997" y="115"/>
                  <a:pt x="997" y="115"/>
                </a:cubicBezTo>
                <a:cubicBezTo>
                  <a:pt x="997" y="116"/>
                  <a:pt x="997" y="116"/>
                  <a:pt x="997" y="116"/>
                </a:cubicBezTo>
                <a:cubicBezTo>
                  <a:pt x="998" y="115"/>
                  <a:pt x="998" y="115"/>
                  <a:pt x="998" y="115"/>
                </a:cubicBezTo>
                <a:cubicBezTo>
                  <a:pt x="1000" y="114"/>
                  <a:pt x="1000" y="114"/>
                  <a:pt x="1000" y="114"/>
                </a:cubicBezTo>
                <a:cubicBezTo>
                  <a:pt x="1002" y="115"/>
                  <a:pt x="1002" y="115"/>
                  <a:pt x="1002" y="115"/>
                </a:cubicBezTo>
                <a:cubicBezTo>
                  <a:pt x="1002" y="116"/>
                  <a:pt x="1002" y="116"/>
                  <a:pt x="1002" y="116"/>
                </a:cubicBezTo>
                <a:cubicBezTo>
                  <a:pt x="1001" y="117"/>
                  <a:pt x="1001" y="117"/>
                  <a:pt x="1001" y="117"/>
                </a:cubicBezTo>
                <a:cubicBezTo>
                  <a:pt x="1001" y="119"/>
                  <a:pt x="1001" y="119"/>
                  <a:pt x="1001" y="119"/>
                </a:cubicBezTo>
                <a:cubicBezTo>
                  <a:pt x="1000" y="119"/>
                  <a:pt x="1000" y="119"/>
                  <a:pt x="1000" y="119"/>
                </a:cubicBezTo>
                <a:cubicBezTo>
                  <a:pt x="1000" y="120"/>
                  <a:pt x="1000" y="120"/>
                  <a:pt x="1000" y="120"/>
                </a:cubicBezTo>
                <a:cubicBezTo>
                  <a:pt x="1001" y="120"/>
                  <a:pt x="1001" y="120"/>
                  <a:pt x="1001" y="120"/>
                </a:cubicBezTo>
                <a:cubicBezTo>
                  <a:pt x="1001" y="121"/>
                  <a:pt x="1001" y="121"/>
                  <a:pt x="1001" y="121"/>
                </a:cubicBezTo>
                <a:cubicBezTo>
                  <a:pt x="1000" y="122"/>
                  <a:pt x="1000" y="122"/>
                  <a:pt x="1000" y="122"/>
                </a:cubicBezTo>
                <a:cubicBezTo>
                  <a:pt x="1001" y="122"/>
                  <a:pt x="1001" y="122"/>
                  <a:pt x="1001" y="122"/>
                </a:cubicBezTo>
                <a:cubicBezTo>
                  <a:pt x="1002" y="121"/>
                  <a:pt x="1002" y="121"/>
                  <a:pt x="1002" y="121"/>
                </a:cubicBezTo>
                <a:cubicBezTo>
                  <a:pt x="1003" y="121"/>
                  <a:pt x="1003" y="121"/>
                  <a:pt x="1003" y="121"/>
                </a:cubicBezTo>
                <a:cubicBezTo>
                  <a:pt x="1004" y="120"/>
                  <a:pt x="1004" y="120"/>
                  <a:pt x="1004" y="120"/>
                </a:cubicBezTo>
                <a:cubicBezTo>
                  <a:pt x="1005" y="120"/>
                  <a:pt x="1005" y="120"/>
                  <a:pt x="1005" y="120"/>
                </a:cubicBezTo>
                <a:cubicBezTo>
                  <a:pt x="1005" y="121"/>
                  <a:pt x="1005" y="121"/>
                  <a:pt x="1005" y="121"/>
                </a:cubicBezTo>
                <a:cubicBezTo>
                  <a:pt x="1005" y="122"/>
                  <a:pt x="1005" y="122"/>
                  <a:pt x="1005" y="122"/>
                </a:cubicBezTo>
                <a:cubicBezTo>
                  <a:pt x="1005" y="123"/>
                  <a:pt x="1005" y="123"/>
                  <a:pt x="1005" y="123"/>
                </a:cubicBezTo>
                <a:cubicBezTo>
                  <a:pt x="1005" y="125"/>
                  <a:pt x="1005" y="125"/>
                  <a:pt x="1005" y="125"/>
                </a:cubicBezTo>
                <a:cubicBezTo>
                  <a:pt x="1004" y="127"/>
                  <a:pt x="1004" y="127"/>
                  <a:pt x="1004" y="127"/>
                </a:cubicBezTo>
                <a:cubicBezTo>
                  <a:pt x="1002" y="127"/>
                  <a:pt x="1002" y="127"/>
                  <a:pt x="1002" y="127"/>
                </a:cubicBezTo>
                <a:cubicBezTo>
                  <a:pt x="1001" y="128"/>
                  <a:pt x="1001" y="128"/>
                  <a:pt x="1001" y="128"/>
                </a:cubicBezTo>
                <a:cubicBezTo>
                  <a:pt x="1000" y="129"/>
                  <a:pt x="1000" y="129"/>
                  <a:pt x="1000" y="129"/>
                </a:cubicBezTo>
                <a:cubicBezTo>
                  <a:pt x="999" y="130"/>
                  <a:pt x="999" y="130"/>
                  <a:pt x="999" y="130"/>
                </a:cubicBezTo>
                <a:cubicBezTo>
                  <a:pt x="999" y="128"/>
                  <a:pt x="999" y="128"/>
                  <a:pt x="999" y="128"/>
                </a:cubicBezTo>
                <a:cubicBezTo>
                  <a:pt x="999" y="127"/>
                  <a:pt x="999" y="127"/>
                  <a:pt x="999" y="127"/>
                </a:cubicBezTo>
                <a:cubicBezTo>
                  <a:pt x="998" y="127"/>
                  <a:pt x="998" y="127"/>
                  <a:pt x="998" y="127"/>
                </a:cubicBezTo>
                <a:cubicBezTo>
                  <a:pt x="997" y="129"/>
                  <a:pt x="997" y="129"/>
                  <a:pt x="997" y="129"/>
                </a:cubicBezTo>
                <a:cubicBezTo>
                  <a:pt x="996" y="129"/>
                  <a:pt x="996" y="129"/>
                  <a:pt x="996" y="129"/>
                </a:cubicBezTo>
                <a:cubicBezTo>
                  <a:pt x="994" y="131"/>
                  <a:pt x="994" y="131"/>
                  <a:pt x="994" y="131"/>
                </a:cubicBezTo>
                <a:cubicBezTo>
                  <a:pt x="994" y="130"/>
                  <a:pt x="994" y="130"/>
                  <a:pt x="994" y="130"/>
                </a:cubicBezTo>
                <a:cubicBezTo>
                  <a:pt x="993" y="130"/>
                  <a:pt x="993" y="130"/>
                  <a:pt x="993" y="130"/>
                </a:cubicBezTo>
                <a:cubicBezTo>
                  <a:pt x="991" y="132"/>
                  <a:pt x="991" y="132"/>
                  <a:pt x="991" y="132"/>
                </a:cubicBezTo>
                <a:cubicBezTo>
                  <a:pt x="990" y="132"/>
                  <a:pt x="990" y="132"/>
                  <a:pt x="990" y="132"/>
                </a:cubicBezTo>
                <a:cubicBezTo>
                  <a:pt x="989" y="132"/>
                  <a:pt x="989" y="132"/>
                  <a:pt x="989" y="132"/>
                </a:cubicBezTo>
                <a:cubicBezTo>
                  <a:pt x="988" y="132"/>
                  <a:pt x="988" y="132"/>
                  <a:pt x="988" y="132"/>
                </a:cubicBezTo>
                <a:cubicBezTo>
                  <a:pt x="988" y="131"/>
                  <a:pt x="988" y="131"/>
                  <a:pt x="988" y="131"/>
                </a:cubicBezTo>
                <a:cubicBezTo>
                  <a:pt x="987" y="131"/>
                  <a:pt x="987" y="131"/>
                  <a:pt x="987" y="131"/>
                </a:cubicBezTo>
                <a:cubicBezTo>
                  <a:pt x="988" y="130"/>
                  <a:pt x="988" y="130"/>
                  <a:pt x="988" y="130"/>
                </a:cubicBezTo>
                <a:cubicBezTo>
                  <a:pt x="989" y="129"/>
                  <a:pt x="989" y="129"/>
                  <a:pt x="989" y="129"/>
                </a:cubicBezTo>
                <a:cubicBezTo>
                  <a:pt x="989" y="128"/>
                  <a:pt x="989" y="128"/>
                  <a:pt x="989" y="128"/>
                </a:cubicBezTo>
                <a:cubicBezTo>
                  <a:pt x="988" y="126"/>
                  <a:pt x="988" y="126"/>
                  <a:pt x="988" y="126"/>
                </a:cubicBezTo>
                <a:cubicBezTo>
                  <a:pt x="987" y="127"/>
                  <a:pt x="987" y="127"/>
                  <a:pt x="987" y="127"/>
                </a:cubicBezTo>
                <a:cubicBezTo>
                  <a:pt x="985" y="126"/>
                  <a:pt x="985" y="126"/>
                  <a:pt x="985" y="126"/>
                </a:cubicBezTo>
                <a:cubicBezTo>
                  <a:pt x="985" y="125"/>
                  <a:pt x="985" y="125"/>
                  <a:pt x="985" y="125"/>
                </a:cubicBezTo>
                <a:cubicBezTo>
                  <a:pt x="985" y="124"/>
                  <a:pt x="985" y="124"/>
                  <a:pt x="985" y="124"/>
                </a:cubicBezTo>
                <a:cubicBezTo>
                  <a:pt x="986" y="123"/>
                  <a:pt x="986" y="123"/>
                  <a:pt x="986" y="123"/>
                </a:cubicBezTo>
                <a:cubicBezTo>
                  <a:pt x="985" y="123"/>
                  <a:pt x="985" y="123"/>
                  <a:pt x="985" y="123"/>
                </a:cubicBezTo>
                <a:cubicBezTo>
                  <a:pt x="984" y="121"/>
                  <a:pt x="984" y="121"/>
                  <a:pt x="984" y="121"/>
                </a:cubicBezTo>
                <a:cubicBezTo>
                  <a:pt x="984" y="120"/>
                  <a:pt x="984" y="120"/>
                  <a:pt x="984" y="120"/>
                </a:cubicBezTo>
                <a:cubicBezTo>
                  <a:pt x="984" y="119"/>
                  <a:pt x="984" y="119"/>
                  <a:pt x="984" y="119"/>
                </a:cubicBezTo>
                <a:cubicBezTo>
                  <a:pt x="983" y="121"/>
                  <a:pt x="983" y="121"/>
                  <a:pt x="983" y="121"/>
                </a:cubicBezTo>
                <a:cubicBezTo>
                  <a:pt x="984" y="123"/>
                  <a:pt x="984" y="123"/>
                  <a:pt x="984" y="123"/>
                </a:cubicBezTo>
                <a:cubicBezTo>
                  <a:pt x="984" y="124"/>
                  <a:pt x="984" y="124"/>
                  <a:pt x="984" y="124"/>
                </a:cubicBezTo>
                <a:cubicBezTo>
                  <a:pt x="984" y="125"/>
                  <a:pt x="984" y="125"/>
                  <a:pt x="984" y="125"/>
                </a:cubicBezTo>
                <a:cubicBezTo>
                  <a:pt x="984" y="126"/>
                  <a:pt x="984" y="126"/>
                  <a:pt x="984" y="126"/>
                </a:cubicBezTo>
                <a:cubicBezTo>
                  <a:pt x="983" y="127"/>
                  <a:pt x="983" y="127"/>
                  <a:pt x="983" y="127"/>
                </a:cubicBezTo>
                <a:cubicBezTo>
                  <a:pt x="982" y="126"/>
                  <a:pt x="982" y="126"/>
                  <a:pt x="982" y="126"/>
                </a:cubicBezTo>
                <a:cubicBezTo>
                  <a:pt x="981" y="127"/>
                  <a:pt x="981" y="127"/>
                  <a:pt x="981" y="127"/>
                </a:cubicBezTo>
                <a:cubicBezTo>
                  <a:pt x="980" y="126"/>
                  <a:pt x="980" y="126"/>
                  <a:pt x="980" y="126"/>
                </a:cubicBezTo>
                <a:cubicBezTo>
                  <a:pt x="980" y="125"/>
                  <a:pt x="980" y="125"/>
                  <a:pt x="980" y="125"/>
                </a:cubicBezTo>
                <a:cubicBezTo>
                  <a:pt x="980" y="123"/>
                  <a:pt x="980" y="123"/>
                  <a:pt x="980" y="123"/>
                </a:cubicBezTo>
                <a:cubicBezTo>
                  <a:pt x="980" y="121"/>
                  <a:pt x="980" y="121"/>
                  <a:pt x="980" y="121"/>
                </a:cubicBezTo>
                <a:cubicBezTo>
                  <a:pt x="980" y="120"/>
                  <a:pt x="980" y="120"/>
                  <a:pt x="980" y="120"/>
                </a:cubicBezTo>
                <a:cubicBezTo>
                  <a:pt x="981" y="119"/>
                  <a:pt x="981" y="119"/>
                  <a:pt x="981" y="119"/>
                </a:cubicBezTo>
                <a:cubicBezTo>
                  <a:pt x="980" y="119"/>
                  <a:pt x="980" y="119"/>
                  <a:pt x="980" y="119"/>
                </a:cubicBezTo>
                <a:cubicBezTo>
                  <a:pt x="979" y="120"/>
                  <a:pt x="979" y="120"/>
                  <a:pt x="979" y="120"/>
                </a:cubicBezTo>
                <a:cubicBezTo>
                  <a:pt x="979" y="122"/>
                  <a:pt x="979" y="122"/>
                  <a:pt x="979" y="122"/>
                </a:cubicBezTo>
                <a:cubicBezTo>
                  <a:pt x="979" y="123"/>
                  <a:pt x="979" y="123"/>
                  <a:pt x="979" y="123"/>
                </a:cubicBezTo>
                <a:cubicBezTo>
                  <a:pt x="978" y="125"/>
                  <a:pt x="978" y="125"/>
                  <a:pt x="978" y="125"/>
                </a:cubicBezTo>
                <a:cubicBezTo>
                  <a:pt x="977" y="125"/>
                  <a:pt x="977" y="125"/>
                  <a:pt x="977" y="125"/>
                </a:cubicBezTo>
                <a:cubicBezTo>
                  <a:pt x="976" y="125"/>
                  <a:pt x="976" y="125"/>
                  <a:pt x="976" y="125"/>
                </a:cubicBezTo>
                <a:cubicBezTo>
                  <a:pt x="976" y="124"/>
                  <a:pt x="976" y="124"/>
                  <a:pt x="976" y="124"/>
                </a:cubicBezTo>
                <a:cubicBezTo>
                  <a:pt x="976" y="123"/>
                  <a:pt x="976" y="123"/>
                  <a:pt x="976" y="123"/>
                </a:cubicBezTo>
                <a:cubicBezTo>
                  <a:pt x="976" y="122"/>
                  <a:pt x="976" y="122"/>
                  <a:pt x="976" y="122"/>
                </a:cubicBezTo>
                <a:cubicBezTo>
                  <a:pt x="977" y="121"/>
                  <a:pt x="977" y="121"/>
                  <a:pt x="977" y="121"/>
                </a:cubicBezTo>
                <a:cubicBezTo>
                  <a:pt x="976" y="119"/>
                  <a:pt x="976" y="119"/>
                  <a:pt x="976" y="119"/>
                </a:cubicBezTo>
                <a:cubicBezTo>
                  <a:pt x="976" y="120"/>
                  <a:pt x="976" y="120"/>
                  <a:pt x="976" y="120"/>
                </a:cubicBezTo>
                <a:cubicBezTo>
                  <a:pt x="976" y="121"/>
                  <a:pt x="976" y="121"/>
                  <a:pt x="976" y="121"/>
                </a:cubicBezTo>
                <a:cubicBezTo>
                  <a:pt x="975" y="122"/>
                  <a:pt x="975" y="122"/>
                  <a:pt x="975" y="122"/>
                </a:cubicBezTo>
                <a:cubicBezTo>
                  <a:pt x="975" y="123"/>
                  <a:pt x="975" y="123"/>
                  <a:pt x="975" y="123"/>
                </a:cubicBezTo>
                <a:cubicBezTo>
                  <a:pt x="974" y="123"/>
                  <a:pt x="974" y="123"/>
                  <a:pt x="974" y="123"/>
                </a:cubicBezTo>
                <a:cubicBezTo>
                  <a:pt x="973" y="123"/>
                  <a:pt x="973" y="123"/>
                  <a:pt x="973" y="123"/>
                </a:cubicBezTo>
                <a:cubicBezTo>
                  <a:pt x="973" y="124"/>
                  <a:pt x="973" y="124"/>
                  <a:pt x="973" y="124"/>
                </a:cubicBezTo>
                <a:cubicBezTo>
                  <a:pt x="972" y="124"/>
                  <a:pt x="972" y="124"/>
                  <a:pt x="972" y="124"/>
                </a:cubicBezTo>
                <a:cubicBezTo>
                  <a:pt x="972" y="123"/>
                  <a:pt x="972" y="123"/>
                  <a:pt x="972" y="123"/>
                </a:cubicBezTo>
                <a:cubicBezTo>
                  <a:pt x="972" y="122"/>
                  <a:pt x="972" y="122"/>
                  <a:pt x="972" y="122"/>
                </a:cubicBezTo>
                <a:cubicBezTo>
                  <a:pt x="972" y="120"/>
                  <a:pt x="972" y="120"/>
                  <a:pt x="972" y="120"/>
                </a:cubicBezTo>
                <a:cubicBezTo>
                  <a:pt x="971" y="120"/>
                  <a:pt x="971" y="120"/>
                  <a:pt x="971" y="120"/>
                </a:cubicBezTo>
                <a:cubicBezTo>
                  <a:pt x="970" y="122"/>
                  <a:pt x="970" y="122"/>
                  <a:pt x="970" y="122"/>
                </a:cubicBezTo>
                <a:cubicBezTo>
                  <a:pt x="971" y="124"/>
                  <a:pt x="971" y="124"/>
                  <a:pt x="971" y="124"/>
                </a:cubicBezTo>
                <a:cubicBezTo>
                  <a:pt x="972" y="125"/>
                  <a:pt x="972" y="125"/>
                  <a:pt x="972" y="125"/>
                </a:cubicBezTo>
                <a:cubicBezTo>
                  <a:pt x="971" y="126"/>
                  <a:pt x="971" y="126"/>
                  <a:pt x="971" y="126"/>
                </a:cubicBezTo>
                <a:cubicBezTo>
                  <a:pt x="970" y="126"/>
                  <a:pt x="970" y="126"/>
                  <a:pt x="970" y="126"/>
                </a:cubicBezTo>
                <a:cubicBezTo>
                  <a:pt x="968" y="126"/>
                  <a:pt x="968" y="126"/>
                  <a:pt x="968" y="126"/>
                </a:cubicBezTo>
                <a:cubicBezTo>
                  <a:pt x="967" y="125"/>
                  <a:pt x="967" y="125"/>
                  <a:pt x="967" y="125"/>
                </a:cubicBezTo>
                <a:cubicBezTo>
                  <a:pt x="965" y="124"/>
                  <a:pt x="965" y="124"/>
                  <a:pt x="965" y="124"/>
                </a:cubicBezTo>
                <a:cubicBezTo>
                  <a:pt x="964" y="124"/>
                  <a:pt x="964" y="124"/>
                  <a:pt x="964" y="124"/>
                </a:cubicBezTo>
                <a:cubicBezTo>
                  <a:pt x="964" y="123"/>
                  <a:pt x="964" y="123"/>
                  <a:pt x="964" y="123"/>
                </a:cubicBezTo>
                <a:cubicBezTo>
                  <a:pt x="963" y="123"/>
                  <a:pt x="963" y="123"/>
                  <a:pt x="963" y="123"/>
                </a:cubicBezTo>
                <a:cubicBezTo>
                  <a:pt x="963" y="122"/>
                  <a:pt x="963" y="122"/>
                  <a:pt x="963" y="122"/>
                </a:cubicBezTo>
                <a:cubicBezTo>
                  <a:pt x="963" y="121"/>
                  <a:pt x="963" y="121"/>
                  <a:pt x="963" y="121"/>
                </a:cubicBezTo>
                <a:cubicBezTo>
                  <a:pt x="964" y="121"/>
                  <a:pt x="964" y="121"/>
                  <a:pt x="964" y="121"/>
                </a:cubicBezTo>
                <a:cubicBezTo>
                  <a:pt x="964" y="120"/>
                  <a:pt x="964" y="120"/>
                  <a:pt x="964" y="120"/>
                </a:cubicBezTo>
                <a:cubicBezTo>
                  <a:pt x="963" y="120"/>
                  <a:pt x="963" y="120"/>
                  <a:pt x="963" y="120"/>
                </a:cubicBezTo>
                <a:cubicBezTo>
                  <a:pt x="962" y="120"/>
                  <a:pt x="962" y="120"/>
                  <a:pt x="962" y="120"/>
                </a:cubicBezTo>
                <a:cubicBezTo>
                  <a:pt x="962" y="121"/>
                  <a:pt x="962" y="121"/>
                  <a:pt x="962" y="121"/>
                </a:cubicBezTo>
                <a:cubicBezTo>
                  <a:pt x="962" y="122"/>
                  <a:pt x="962" y="122"/>
                  <a:pt x="962" y="122"/>
                </a:cubicBezTo>
                <a:cubicBezTo>
                  <a:pt x="961" y="122"/>
                  <a:pt x="961" y="122"/>
                  <a:pt x="961" y="122"/>
                </a:cubicBezTo>
                <a:cubicBezTo>
                  <a:pt x="960" y="121"/>
                  <a:pt x="960" y="121"/>
                  <a:pt x="960" y="121"/>
                </a:cubicBezTo>
                <a:cubicBezTo>
                  <a:pt x="960" y="120"/>
                  <a:pt x="960" y="120"/>
                  <a:pt x="960" y="120"/>
                </a:cubicBezTo>
                <a:cubicBezTo>
                  <a:pt x="960" y="119"/>
                  <a:pt x="960" y="119"/>
                  <a:pt x="960" y="119"/>
                </a:cubicBezTo>
                <a:cubicBezTo>
                  <a:pt x="961" y="118"/>
                  <a:pt x="961" y="118"/>
                  <a:pt x="961" y="118"/>
                </a:cubicBezTo>
                <a:cubicBezTo>
                  <a:pt x="960" y="117"/>
                  <a:pt x="960" y="117"/>
                  <a:pt x="960" y="117"/>
                </a:cubicBezTo>
                <a:cubicBezTo>
                  <a:pt x="960" y="118"/>
                  <a:pt x="960" y="118"/>
                  <a:pt x="960" y="118"/>
                </a:cubicBezTo>
                <a:cubicBezTo>
                  <a:pt x="959" y="119"/>
                  <a:pt x="959" y="119"/>
                  <a:pt x="959" y="119"/>
                </a:cubicBezTo>
                <a:cubicBezTo>
                  <a:pt x="959" y="120"/>
                  <a:pt x="959" y="120"/>
                  <a:pt x="959" y="120"/>
                </a:cubicBezTo>
                <a:cubicBezTo>
                  <a:pt x="959" y="121"/>
                  <a:pt x="959" y="121"/>
                  <a:pt x="959" y="121"/>
                </a:cubicBezTo>
                <a:cubicBezTo>
                  <a:pt x="958" y="121"/>
                  <a:pt x="958" y="121"/>
                  <a:pt x="958" y="121"/>
                </a:cubicBezTo>
                <a:cubicBezTo>
                  <a:pt x="957" y="120"/>
                  <a:pt x="957" y="120"/>
                  <a:pt x="957" y="120"/>
                </a:cubicBezTo>
                <a:cubicBezTo>
                  <a:pt x="956" y="120"/>
                  <a:pt x="956" y="120"/>
                  <a:pt x="956" y="120"/>
                </a:cubicBezTo>
                <a:cubicBezTo>
                  <a:pt x="956" y="119"/>
                  <a:pt x="956" y="119"/>
                  <a:pt x="956" y="119"/>
                </a:cubicBezTo>
                <a:cubicBezTo>
                  <a:pt x="956" y="118"/>
                  <a:pt x="956" y="118"/>
                  <a:pt x="956" y="118"/>
                </a:cubicBezTo>
                <a:cubicBezTo>
                  <a:pt x="957" y="117"/>
                  <a:pt x="957" y="117"/>
                  <a:pt x="957" y="117"/>
                </a:cubicBezTo>
                <a:cubicBezTo>
                  <a:pt x="957" y="116"/>
                  <a:pt x="957" y="116"/>
                  <a:pt x="957" y="116"/>
                </a:cubicBezTo>
                <a:cubicBezTo>
                  <a:pt x="957" y="115"/>
                  <a:pt x="957" y="115"/>
                  <a:pt x="957" y="115"/>
                </a:cubicBezTo>
                <a:cubicBezTo>
                  <a:pt x="958" y="113"/>
                  <a:pt x="958" y="113"/>
                  <a:pt x="958" y="113"/>
                </a:cubicBezTo>
                <a:cubicBezTo>
                  <a:pt x="957" y="113"/>
                  <a:pt x="957" y="113"/>
                  <a:pt x="957" y="113"/>
                </a:cubicBezTo>
                <a:cubicBezTo>
                  <a:pt x="957" y="114"/>
                  <a:pt x="957" y="114"/>
                  <a:pt x="957" y="114"/>
                </a:cubicBezTo>
                <a:cubicBezTo>
                  <a:pt x="956" y="116"/>
                  <a:pt x="956" y="116"/>
                  <a:pt x="956" y="116"/>
                </a:cubicBezTo>
                <a:cubicBezTo>
                  <a:pt x="956" y="118"/>
                  <a:pt x="956" y="118"/>
                  <a:pt x="956" y="118"/>
                </a:cubicBezTo>
                <a:cubicBezTo>
                  <a:pt x="955" y="119"/>
                  <a:pt x="955" y="119"/>
                  <a:pt x="955" y="119"/>
                </a:cubicBezTo>
                <a:cubicBezTo>
                  <a:pt x="955" y="117"/>
                  <a:pt x="955" y="117"/>
                  <a:pt x="955" y="117"/>
                </a:cubicBezTo>
                <a:cubicBezTo>
                  <a:pt x="954" y="119"/>
                  <a:pt x="954" y="119"/>
                  <a:pt x="954" y="119"/>
                </a:cubicBezTo>
                <a:cubicBezTo>
                  <a:pt x="953" y="119"/>
                  <a:pt x="953" y="119"/>
                  <a:pt x="953" y="119"/>
                </a:cubicBezTo>
                <a:cubicBezTo>
                  <a:pt x="953" y="118"/>
                  <a:pt x="953" y="118"/>
                  <a:pt x="953" y="118"/>
                </a:cubicBezTo>
                <a:cubicBezTo>
                  <a:pt x="953" y="116"/>
                  <a:pt x="953" y="116"/>
                  <a:pt x="953" y="116"/>
                </a:cubicBezTo>
                <a:cubicBezTo>
                  <a:pt x="952" y="116"/>
                  <a:pt x="952" y="116"/>
                  <a:pt x="952" y="116"/>
                </a:cubicBezTo>
                <a:cubicBezTo>
                  <a:pt x="952" y="115"/>
                  <a:pt x="952" y="115"/>
                  <a:pt x="952" y="115"/>
                </a:cubicBezTo>
                <a:cubicBezTo>
                  <a:pt x="954" y="114"/>
                  <a:pt x="954" y="114"/>
                  <a:pt x="954" y="114"/>
                </a:cubicBezTo>
                <a:cubicBezTo>
                  <a:pt x="954" y="113"/>
                  <a:pt x="954" y="113"/>
                  <a:pt x="954" y="113"/>
                </a:cubicBezTo>
                <a:cubicBezTo>
                  <a:pt x="954" y="112"/>
                  <a:pt x="954" y="112"/>
                  <a:pt x="954" y="112"/>
                </a:cubicBezTo>
                <a:cubicBezTo>
                  <a:pt x="954" y="111"/>
                  <a:pt x="954" y="111"/>
                  <a:pt x="954" y="111"/>
                </a:cubicBezTo>
                <a:cubicBezTo>
                  <a:pt x="955" y="111"/>
                  <a:pt x="955" y="111"/>
                  <a:pt x="955" y="111"/>
                </a:cubicBezTo>
                <a:cubicBezTo>
                  <a:pt x="956" y="110"/>
                  <a:pt x="956" y="110"/>
                  <a:pt x="956" y="110"/>
                </a:cubicBezTo>
                <a:cubicBezTo>
                  <a:pt x="957" y="110"/>
                  <a:pt x="957" y="110"/>
                  <a:pt x="957" y="110"/>
                </a:cubicBezTo>
                <a:cubicBezTo>
                  <a:pt x="959" y="110"/>
                  <a:pt x="959" y="110"/>
                  <a:pt x="959" y="110"/>
                </a:cubicBezTo>
                <a:cubicBezTo>
                  <a:pt x="959" y="109"/>
                  <a:pt x="959" y="109"/>
                  <a:pt x="959" y="109"/>
                </a:cubicBezTo>
                <a:cubicBezTo>
                  <a:pt x="960" y="108"/>
                  <a:pt x="960" y="108"/>
                  <a:pt x="960" y="108"/>
                </a:cubicBezTo>
                <a:cubicBezTo>
                  <a:pt x="961" y="108"/>
                  <a:pt x="961" y="108"/>
                  <a:pt x="961" y="108"/>
                </a:cubicBezTo>
                <a:cubicBezTo>
                  <a:pt x="961" y="107"/>
                  <a:pt x="961" y="107"/>
                  <a:pt x="961" y="107"/>
                </a:cubicBezTo>
                <a:cubicBezTo>
                  <a:pt x="962" y="107"/>
                  <a:pt x="962" y="107"/>
                  <a:pt x="962" y="107"/>
                </a:cubicBezTo>
                <a:cubicBezTo>
                  <a:pt x="963" y="107"/>
                  <a:pt x="963" y="107"/>
                  <a:pt x="963" y="107"/>
                </a:cubicBezTo>
                <a:cubicBezTo>
                  <a:pt x="964" y="108"/>
                  <a:pt x="964" y="108"/>
                  <a:pt x="964" y="108"/>
                </a:cubicBezTo>
                <a:cubicBezTo>
                  <a:pt x="966" y="108"/>
                  <a:pt x="966" y="108"/>
                  <a:pt x="966" y="108"/>
                </a:cubicBezTo>
                <a:cubicBezTo>
                  <a:pt x="967" y="107"/>
                  <a:pt x="967" y="107"/>
                  <a:pt x="967" y="107"/>
                </a:cubicBezTo>
                <a:cubicBezTo>
                  <a:pt x="968" y="107"/>
                  <a:pt x="968" y="107"/>
                  <a:pt x="968" y="107"/>
                </a:cubicBezTo>
                <a:cubicBezTo>
                  <a:pt x="969" y="109"/>
                  <a:pt x="969" y="109"/>
                  <a:pt x="969" y="109"/>
                </a:cubicBezTo>
                <a:cubicBezTo>
                  <a:pt x="970" y="109"/>
                  <a:pt x="970" y="109"/>
                  <a:pt x="970" y="109"/>
                </a:cubicBezTo>
                <a:cubicBezTo>
                  <a:pt x="970" y="108"/>
                  <a:pt x="970" y="108"/>
                  <a:pt x="970" y="108"/>
                </a:cubicBezTo>
                <a:cubicBezTo>
                  <a:pt x="972" y="109"/>
                  <a:pt x="972" y="109"/>
                  <a:pt x="972" y="109"/>
                </a:cubicBezTo>
                <a:cubicBezTo>
                  <a:pt x="972" y="108"/>
                  <a:pt x="972" y="108"/>
                  <a:pt x="972" y="108"/>
                </a:cubicBezTo>
                <a:cubicBezTo>
                  <a:pt x="973" y="109"/>
                  <a:pt x="973" y="109"/>
                  <a:pt x="973" y="109"/>
                </a:cubicBezTo>
                <a:cubicBezTo>
                  <a:pt x="974" y="108"/>
                  <a:pt x="974" y="108"/>
                  <a:pt x="974" y="108"/>
                </a:cubicBezTo>
                <a:cubicBezTo>
                  <a:pt x="973" y="108"/>
                  <a:pt x="973" y="108"/>
                  <a:pt x="973" y="108"/>
                </a:cubicBezTo>
                <a:cubicBezTo>
                  <a:pt x="972" y="108"/>
                  <a:pt x="972" y="108"/>
                  <a:pt x="972" y="108"/>
                </a:cubicBezTo>
                <a:cubicBezTo>
                  <a:pt x="972" y="107"/>
                  <a:pt x="972" y="107"/>
                  <a:pt x="972" y="107"/>
                </a:cubicBezTo>
                <a:cubicBezTo>
                  <a:pt x="971" y="107"/>
                  <a:pt x="971" y="107"/>
                  <a:pt x="971" y="107"/>
                </a:cubicBezTo>
                <a:cubicBezTo>
                  <a:pt x="972" y="106"/>
                  <a:pt x="972" y="106"/>
                  <a:pt x="972" y="106"/>
                </a:cubicBezTo>
                <a:cubicBezTo>
                  <a:pt x="972" y="105"/>
                  <a:pt x="972" y="105"/>
                  <a:pt x="972" y="105"/>
                </a:cubicBezTo>
                <a:cubicBezTo>
                  <a:pt x="973" y="104"/>
                  <a:pt x="973" y="104"/>
                  <a:pt x="973" y="104"/>
                </a:cubicBezTo>
                <a:cubicBezTo>
                  <a:pt x="971" y="104"/>
                  <a:pt x="971" y="104"/>
                  <a:pt x="971" y="104"/>
                </a:cubicBezTo>
                <a:cubicBezTo>
                  <a:pt x="970" y="104"/>
                  <a:pt x="970" y="104"/>
                  <a:pt x="970" y="104"/>
                </a:cubicBezTo>
                <a:cubicBezTo>
                  <a:pt x="970" y="103"/>
                  <a:pt x="970" y="103"/>
                  <a:pt x="970" y="103"/>
                </a:cubicBezTo>
                <a:cubicBezTo>
                  <a:pt x="971" y="102"/>
                  <a:pt x="971" y="102"/>
                  <a:pt x="971" y="102"/>
                </a:cubicBezTo>
                <a:cubicBezTo>
                  <a:pt x="971" y="101"/>
                  <a:pt x="971" y="101"/>
                  <a:pt x="971" y="101"/>
                </a:cubicBezTo>
                <a:cubicBezTo>
                  <a:pt x="970" y="101"/>
                  <a:pt x="970" y="101"/>
                  <a:pt x="970" y="101"/>
                </a:cubicBezTo>
                <a:cubicBezTo>
                  <a:pt x="970" y="100"/>
                  <a:pt x="970" y="100"/>
                  <a:pt x="970" y="100"/>
                </a:cubicBezTo>
                <a:cubicBezTo>
                  <a:pt x="970" y="98"/>
                  <a:pt x="970" y="98"/>
                  <a:pt x="970" y="98"/>
                </a:cubicBezTo>
                <a:cubicBezTo>
                  <a:pt x="970" y="97"/>
                  <a:pt x="970" y="97"/>
                  <a:pt x="970" y="97"/>
                </a:cubicBezTo>
                <a:cubicBezTo>
                  <a:pt x="970" y="96"/>
                  <a:pt x="970" y="96"/>
                  <a:pt x="970" y="96"/>
                </a:cubicBezTo>
                <a:cubicBezTo>
                  <a:pt x="970" y="95"/>
                  <a:pt x="970" y="95"/>
                  <a:pt x="970" y="95"/>
                </a:cubicBezTo>
                <a:cubicBezTo>
                  <a:pt x="971" y="95"/>
                  <a:pt x="971" y="95"/>
                  <a:pt x="971" y="95"/>
                </a:cubicBezTo>
                <a:cubicBezTo>
                  <a:pt x="972" y="95"/>
                  <a:pt x="972" y="95"/>
                  <a:pt x="972" y="95"/>
                </a:cubicBezTo>
                <a:cubicBezTo>
                  <a:pt x="974" y="95"/>
                  <a:pt x="974" y="95"/>
                  <a:pt x="974" y="95"/>
                </a:cubicBezTo>
                <a:cubicBezTo>
                  <a:pt x="976" y="95"/>
                  <a:pt x="976" y="95"/>
                  <a:pt x="976" y="95"/>
                </a:cubicBezTo>
                <a:cubicBezTo>
                  <a:pt x="977" y="95"/>
                  <a:pt x="977" y="95"/>
                  <a:pt x="977" y="95"/>
                </a:cubicBezTo>
                <a:cubicBezTo>
                  <a:pt x="978" y="97"/>
                  <a:pt x="978" y="97"/>
                  <a:pt x="978" y="97"/>
                </a:cubicBezTo>
                <a:cubicBezTo>
                  <a:pt x="979" y="99"/>
                  <a:pt x="979" y="99"/>
                  <a:pt x="979" y="99"/>
                </a:cubicBezTo>
                <a:cubicBezTo>
                  <a:pt x="979" y="103"/>
                  <a:pt x="979" y="103"/>
                  <a:pt x="979" y="103"/>
                </a:cubicBezTo>
                <a:cubicBezTo>
                  <a:pt x="978" y="104"/>
                  <a:pt x="978" y="104"/>
                  <a:pt x="978" y="104"/>
                </a:cubicBezTo>
                <a:cubicBezTo>
                  <a:pt x="979" y="105"/>
                  <a:pt x="979" y="105"/>
                  <a:pt x="979" y="105"/>
                </a:cubicBezTo>
                <a:cubicBezTo>
                  <a:pt x="982" y="106"/>
                  <a:pt x="982" y="106"/>
                  <a:pt x="982" y="106"/>
                </a:cubicBezTo>
                <a:cubicBezTo>
                  <a:pt x="982" y="107"/>
                  <a:pt x="982" y="107"/>
                  <a:pt x="982" y="107"/>
                </a:cubicBezTo>
                <a:cubicBezTo>
                  <a:pt x="983" y="107"/>
                  <a:pt x="983" y="107"/>
                  <a:pt x="983" y="107"/>
                </a:cubicBezTo>
                <a:cubicBezTo>
                  <a:pt x="986" y="107"/>
                  <a:pt x="986" y="107"/>
                  <a:pt x="986" y="107"/>
                </a:cubicBezTo>
                <a:cubicBezTo>
                  <a:pt x="987" y="108"/>
                  <a:pt x="987" y="108"/>
                  <a:pt x="987" y="108"/>
                </a:cubicBezTo>
                <a:cubicBezTo>
                  <a:pt x="988" y="108"/>
                  <a:pt x="988" y="108"/>
                  <a:pt x="988" y="108"/>
                </a:cubicBezTo>
                <a:cubicBezTo>
                  <a:pt x="987" y="107"/>
                  <a:pt x="987" y="107"/>
                  <a:pt x="987" y="107"/>
                </a:cubicBezTo>
                <a:cubicBezTo>
                  <a:pt x="988" y="106"/>
                  <a:pt x="988" y="106"/>
                  <a:pt x="988" y="106"/>
                </a:cubicBezTo>
                <a:cubicBezTo>
                  <a:pt x="990" y="105"/>
                  <a:pt x="990" y="105"/>
                  <a:pt x="990" y="105"/>
                </a:cubicBezTo>
                <a:cubicBezTo>
                  <a:pt x="990" y="105"/>
                  <a:pt x="990" y="105"/>
                  <a:pt x="992" y="103"/>
                </a:cubicBezTo>
                <a:cubicBezTo>
                  <a:pt x="992" y="103"/>
                  <a:pt x="992" y="103"/>
                  <a:pt x="993" y="102"/>
                </a:cubicBezTo>
                <a:cubicBezTo>
                  <a:pt x="994" y="102"/>
                  <a:pt x="994" y="102"/>
                  <a:pt x="994" y="102"/>
                </a:cubicBezTo>
                <a:cubicBezTo>
                  <a:pt x="996" y="100"/>
                  <a:pt x="996" y="100"/>
                  <a:pt x="996" y="100"/>
                </a:cubicBezTo>
                <a:cubicBezTo>
                  <a:pt x="996" y="99"/>
                  <a:pt x="996" y="99"/>
                  <a:pt x="996" y="99"/>
                </a:cubicBezTo>
                <a:cubicBezTo>
                  <a:pt x="997" y="98"/>
                  <a:pt x="997" y="98"/>
                  <a:pt x="997" y="98"/>
                </a:cubicBezTo>
                <a:cubicBezTo>
                  <a:pt x="996" y="98"/>
                  <a:pt x="996" y="98"/>
                  <a:pt x="996" y="98"/>
                </a:cubicBezTo>
                <a:cubicBezTo>
                  <a:pt x="995" y="99"/>
                  <a:pt x="995" y="99"/>
                  <a:pt x="995" y="99"/>
                </a:cubicBezTo>
                <a:cubicBezTo>
                  <a:pt x="995" y="100"/>
                  <a:pt x="995" y="100"/>
                  <a:pt x="995" y="100"/>
                </a:cubicBezTo>
                <a:cubicBezTo>
                  <a:pt x="993" y="102"/>
                  <a:pt x="993" y="102"/>
                  <a:pt x="993" y="102"/>
                </a:cubicBezTo>
                <a:cubicBezTo>
                  <a:pt x="993" y="102"/>
                  <a:pt x="993" y="102"/>
                  <a:pt x="993" y="102"/>
                </a:cubicBezTo>
                <a:cubicBezTo>
                  <a:pt x="992" y="103"/>
                  <a:pt x="992" y="103"/>
                  <a:pt x="991" y="103"/>
                </a:cubicBezTo>
                <a:cubicBezTo>
                  <a:pt x="991" y="103"/>
                  <a:pt x="991" y="103"/>
                  <a:pt x="990" y="105"/>
                </a:cubicBezTo>
                <a:cubicBezTo>
                  <a:pt x="988" y="105"/>
                  <a:pt x="988" y="105"/>
                  <a:pt x="988" y="105"/>
                </a:cubicBezTo>
                <a:cubicBezTo>
                  <a:pt x="987" y="105"/>
                  <a:pt x="987" y="105"/>
                  <a:pt x="987" y="105"/>
                </a:cubicBezTo>
                <a:cubicBezTo>
                  <a:pt x="986" y="105"/>
                  <a:pt x="986" y="105"/>
                  <a:pt x="986" y="105"/>
                </a:cubicBezTo>
                <a:cubicBezTo>
                  <a:pt x="985" y="105"/>
                  <a:pt x="985" y="105"/>
                  <a:pt x="985" y="105"/>
                </a:cubicBezTo>
                <a:cubicBezTo>
                  <a:pt x="983" y="104"/>
                  <a:pt x="983" y="104"/>
                  <a:pt x="983" y="104"/>
                </a:cubicBezTo>
                <a:cubicBezTo>
                  <a:pt x="983" y="103"/>
                  <a:pt x="983" y="103"/>
                  <a:pt x="983" y="103"/>
                </a:cubicBezTo>
                <a:cubicBezTo>
                  <a:pt x="984" y="103"/>
                  <a:pt x="984" y="103"/>
                  <a:pt x="984" y="103"/>
                </a:cubicBezTo>
                <a:cubicBezTo>
                  <a:pt x="985" y="102"/>
                  <a:pt x="985" y="102"/>
                  <a:pt x="985" y="102"/>
                </a:cubicBezTo>
                <a:cubicBezTo>
                  <a:pt x="985" y="101"/>
                  <a:pt x="985" y="101"/>
                  <a:pt x="985" y="101"/>
                </a:cubicBezTo>
                <a:cubicBezTo>
                  <a:pt x="984" y="102"/>
                  <a:pt x="984" y="102"/>
                  <a:pt x="984" y="102"/>
                </a:cubicBezTo>
                <a:cubicBezTo>
                  <a:pt x="983" y="103"/>
                  <a:pt x="983" y="103"/>
                  <a:pt x="983" y="103"/>
                </a:cubicBezTo>
                <a:cubicBezTo>
                  <a:pt x="982" y="102"/>
                  <a:pt x="982" y="102"/>
                  <a:pt x="982" y="102"/>
                </a:cubicBezTo>
                <a:cubicBezTo>
                  <a:pt x="982" y="101"/>
                  <a:pt x="982" y="101"/>
                  <a:pt x="982" y="101"/>
                </a:cubicBezTo>
                <a:cubicBezTo>
                  <a:pt x="982" y="100"/>
                  <a:pt x="982" y="100"/>
                  <a:pt x="982" y="100"/>
                </a:cubicBezTo>
                <a:cubicBezTo>
                  <a:pt x="984" y="100"/>
                  <a:pt x="984" y="100"/>
                  <a:pt x="984" y="100"/>
                </a:cubicBezTo>
                <a:cubicBezTo>
                  <a:pt x="984" y="99"/>
                  <a:pt x="984" y="99"/>
                  <a:pt x="984" y="99"/>
                </a:cubicBezTo>
                <a:cubicBezTo>
                  <a:pt x="985" y="99"/>
                  <a:pt x="985" y="99"/>
                  <a:pt x="985" y="99"/>
                </a:cubicBezTo>
                <a:cubicBezTo>
                  <a:pt x="985" y="98"/>
                  <a:pt x="985" y="98"/>
                  <a:pt x="985" y="98"/>
                </a:cubicBezTo>
                <a:cubicBezTo>
                  <a:pt x="984" y="98"/>
                  <a:pt x="984" y="98"/>
                  <a:pt x="984" y="98"/>
                </a:cubicBezTo>
                <a:cubicBezTo>
                  <a:pt x="983" y="97"/>
                  <a:pt x="983" y="97"/>
                  <a:pt x="983" y="97"/>
                </a:cubicBezTo>
                <a:cubicBezTo>
                  <a:pt x="983" y="98"/>
                  <a:pt x="983" y="98"/>
                  <a:pt x="983" y="98"/>
                </a:cubicBezTo>
                <a:cubicBezTo>
                  <a:pt x="982" y="98"/>
                  <a:pt x="982" y="98"/>
                  <a:pt x="982" y="98"/>
                </a:cubicBezTo>
                <a:cubicBezTo>
                  <a:pt x="981" y="97"/>
                  <a:pt x="981" y="97"/>
                  <a:pt x="981" y="97"/>
                </a:cubicBezTo>
                <a:cubicBezTo>
                  <a:pt x="982" y="96"/>
                  <a:pt x="982" y="96"/>
                  <a:pt x="982" y="96"/>
                </a:cubicBezTo>
                <a:cubicBezTo>
                  <a:pt x="983" y="96"/>
                  <a:pt x="983" y="96"/>
                  <a:pt x="983" y="96"/>
                </a:cubicBezTo>
                <a:cubicBezTo>
                  <a:pt x="984" y="95"/>
                  <a:pt x="984" y="95"/>
                  <a:pt x="984" y="95"/>
                </a:cubicBezTo>
                <a:cubicBezTo>
                  <a:pt x="985" y="96"/>
                  <a:pt x="985" y="96"/>
                  <a:pt x="985" y="96"/>
                </a:cubicBezTo>
                <a:cubicBezTo>
                  <a:pt x="986" y="96"/>
                  <a:pt x="986" y="96"/>
                  <a:pt x="986" y="96"/>
                </a:cubicBezTo>
                <a:cubicBezTo>
                  <a:pt x="987" y="95"/>
                  <a:pt x="987" y="95"/>
                  <a:pt x="987" y="95"/>
                </a:cubicBezTo>
                <a:cubicBezTo>
                  <a:pt x="986" y="95"/>
                  <a:pt x="986" y="95"/>
                  <a:pt x="986" y="95"/>
                </a:cubicBezTo>
                <a:cubicBezTo>
                  <a:pt x="987" y="94"/>
                  <a:pt x="987" y="94"/>
                  <a:pt x="987" y="94"/>
                </a:cubicBezTo>
                <a:cubicBezTo>
                  <a:pt x="988" y="94"/>
                  <a:pt x="988" y="94"/>
                  <a:pt x="988" y="94"/>
                </a:cubicBezTo>
                <a:cubicBezTo>
                  <a:pt x="988" y="93"/>
                  <a:pt x="988" y="93"/>
                  <a:pt x="988" y="93"/>
                </a:cubicBezTo>
                <a:cubicBezTo>
                  <a:pt x="987" y="93"/>
                  <a:pt x="987" y="93"/>
                  <a:pt x="987" y="93"/>
                </a:cubicBezTo>
                <a:cubicBezTo>
                  <a:pt x="987" y="92"/>
                  <a:pt x="987" y="92"/>
                  <a:pt x="987" y="92"/>
                </a:cubicBezTo>
                <a:cubicBezTo>
                  <a:pt x="988" y="91"/>
                  <a:pt x="988" y="91"/>
                  <a:pt x="988" y="91"/>
                </a:cubicBezTo>
                <a:cubicBezTo>
                  <a:pt x="989" y="91"/>
                  <a:pt x="989" y="91"/>
                  <a:pt x="989" y="91"/>
                </a:cubicBezTo>
                <a:cubicBezTo>
                  <a:pt x="988" y="90"/>
                  <a:pt x="988" y="90"/>
                  <a:pt x="988" y="90"/>
                </a:cubicBezTo>
                <a:cubicBezTo>
                  <a:pt x="990" y="88"/>
                  <a:pt x="990" y="88"/>
                  <a:pt x="990" y="88"/>
                </a:cubicBezTo>
                <a:cubicBezTo>
                  <a:pt x="991" y="87"/>
                  <a:pt x="991" y="87"/>
                  <a:pt x="991" y="87"/>
                </a:cubicBezTo>
                <a:cubicBezTo>
                  <a:pt x="991" y="86"/>
                  <a:pt x="991" y="86"/>
                  <a:pt x="991" y="86"/>
                </a:cubicBezTo>
                <a:cubicBezTo>
                  <a:pt x="990" y="87"/>
                  <a:pt x="990" y="87"/>
                  <a:pt x="990" y="87"/>
                </a:cubicBezTo>
                <a:cubicBezTo>
                  <a:pt x="988" y="89"/>
                  <a:pt x="988" y="89"/>
                  <a:pt x="988" y="89"/>
                </a:cubicBezTo>
                <a:cubicBezTo>
                  <a:pt x="987" y="91"/>
                  <a:pt x="987" y="91"/>
                  <a:pt x="987" y="91"/>
                </a:cubicBezTo>
                <a:cubicBezTo>
                  <a:pt x="985" y="93"/>
                  <a:pt x="985" y="93"/>
                  <a:pt x="985" y="93"/>
                </a:cubicBezTo>
                <a:cubicBezTo>
                  <a:pt x="984" y="94"/>
                  <a:pt x="984" y="94"/>
                  <a:pt x="984" y="94"/>
                </a:cubicBezTo>
                <a:cubicBezTo>
                  <a:pt x="983" y="94"/>
                  <a:pt x="983" y="94"/>
                  <a:pt x="983" y="94"/>
                </a:cubicBezTo>
                <a:cubicBezTo>
                  <a:pt x="981" y="94"/>
                  <a:pt x="981" y="94"/>
                  <a:pt x="981" y="94"/>
                </a:cubicBezTo>
                <a:cubicBezTo>
                  <a:pt x="981" y="93"/>
                  <a:pt x="981" y="93"/>
                  <a:pt x="981" y="93"/>
                </a:cubicBezTo>
                <a:cubicBezTo>
                  <a:pt x="982" y="92"/>
                  <a:pt x="982" y="92"/>
                  <a:pt x="982" y="92"/>
                </a:cubicBezTo>
                <a:cubicBezTo>
                  <a:pt x="983" y="91"/>
                  <a:pt x="983" y="91"/>
                  <a:pt x="983" y="91"/>
                </a:cubicBezTo>
                <a:cubicBezTo>
                  <a:pt x="983" y="90"/>
                  <a:pt x="983" y="90"/>
                  <a:pt x="983" y="90"/>
                </a:cubicBezTo>
                <a:cubicBezTo>
                  <a:pt x="981" y="91"/>
                  <a:pt x="981" y="91"/>
                  <a:pt x="981" y="91"/>
                </a:cubicBezTo>
                <a:cubicBezTo>
                  <a:pt x="980" y="91"/>
                  <a:pt x="980" y="91"/>
                  <a:pt x="980" y="91"/>
                </a:cubicBezTo>
                <a:cubicBezTo>
                  <a:pt x="980" y="92"/>
                  <a:pt x="980" y="92"/>
                  <a:pt x="980" y="92"/>
                </a:cubicBezTo>
                <a:cubicBezTo>
                  <a:pt x="979" y="93"/>
                  <a:pt x="979" y="93"/>
                  <a:pt x="979" y="93"/>
                </a:cubicBezTo>
                <a:cubicBezTo>
                  <a:pt x="977" y="93"/>
                  <a:pt x="977" y="93"/>
                  <a:pt x="977" y="93"/>
                </a:cubicBezTo>
                <a:cubicBezTo>
                  <a:pt x="975" y="91"/>
                  <a:pt x="975" y="91"/>
                  <a:pt x="975" y="91"/>
                </a:cubicBezTo>
                <a:cubicBezTo>
                  <a:pt x="976" y="91"/>
                  <a:pt x="976" y="91"/>
                  <a:pt x="976" y="91"/>
                </a:cubicBezTo>
                <a:cubicBezTo>
                  <a:pt x="977" y="90"/>
                  <a:pt x="977" y="90"/>
                  <a:pt x="977" y="90"/>
                </a:cubicBezTo>
                <a:cubicBezTo>
                  <a:pt x="976" y="90"/>
                  <a:pt x="976" y="90"/>
                  <a:pt x="976" y="90"/>
                </a:cubicBezTo>
                <a:cubicBezTo>
                  <a:pt x="976" y="88"/>
                  <a:pt x="976" y="88"/>
                  <a:pt x="976" y="88"/>
                </a:cubicBezTo>
                <a:cubicBezTo>
                  <a:pt x="978" y="87"/>
                  <a:pt x="978" y="87"/>
                  <a:pt x="978" y="87"/>
                </a:cubicBezTo>
                <a:cubicBezTo>
                  <a:pt x="978" y="86"/>
                  <a:pt x="978" y="86"/>
                  <a:pt x="978" y="86"/>
                </a:cubicBezTo>
                <a:cubicBezTo>
                  <a:pt x="979" y="86"/>
                  <a:pt x="979" y="86"/>
                  <a:pt x="979" y="86"/>
                </a:cubicBezTo>
                <a:cubicBezTo>
                  <a:pt x="981" y="85"/>
                  <a:pt x="981" y="85"/>
                  <a:pt x="981" y="85"/>
                </a:cubicBezTo>
                <a:cubicBezTo>
                  <a:pt x="982" y="85"/>
                  <a:pt x="982" y="85"/>
                  <a:pt x="982" y="85"/>
                </a:cubicBezTo>
                <a:cubicBezTo>
                  <a:pt x="982" y="83"/>
                  <a:pt x="982" y="83"/>
                  <a:pt x="982" y="83"/>
                </a:cubicBezTo>
                <a:cubicBezTo>
                  <a:pt x="983" y="82"/>
                  <a:pt x="983" y="82"/>
                  <a:pt x="983" y="82"/>
                </a:cubicBezTo>
                <a:cubicBezTo>
                  <a:pt x="984" y="80"/>
                  <a:pt x="984" y="80"/>
                  <a:pt x="984" y="80"/>
                </a:cubicBezTo>
                <a:cubicBezTo>
                  <a:pt x="985" y="80"/>
                  <a:pt x="985" y="80"/>
                  <a:pt x="985" y="80"/>
                </a:cubicBezTo>
                <a:cubicBezTo>
                  <a:pt x="988" y="79"/>
                  <a:pt x="988" y="79"/>
                  <a:pt x="988" y="79"/>
                </a:cubicBezTo>
                <a:cubicBezTo>
                  <a:pt x="990" y="80"/>
                  <a:pt x="990" y="80"/>
                  <a:pt x="990" y="80"/>
                </a:cubicBezTo>
                <a:cubicBezTo>
                  <a:pt x="991" y="79"/>
                  <a:pt x="991" y="79"/>
                  <a:pt x="991" y="79"/>
                </a:cubicBezTo>
                <a:cubicBezTo>
                  <a:pt x="992" y="79"/>
                  <a:pt x="992" y="79"/>
                  <a:pt x="992" y="79"/>
                </a:cubicBezTo>
                <a:cubicBezTo>
                  <a:pt x="993" y="78"/>
                  <a:pt x="993" y="78"/>
                  <a:pt x="993" y="78"/>
                </a:cubicBezTo>
                <a:cubicBezTo>
                  <a:pt x="994" y="78"/>
                  <a:pt x="994" y="78"/>
                  <a:pt x="994" y="78"/>
                </a:cubicBezTo>
                <a:cubicBezTo>
                  <a:pt x="994" y="79"/>
                  <a:pt x="994" y="79"/>
                  <a:pt x="994" y="79"/>
                </a:cubicBezTo>
                <a:cubicBezTo>
                  <a:pt x="996" y="80"/>
                  <a:pt x="996" y="80"/>
                  <a:pt x="996" y="80"/>
                </a:cubicBezTo>
                <a:cubicBezTo>
                  <a:pt x="999" y="82"/>
                  <a:pt x="999" y="82"/>
                  <a:pt x="999" y="82"/>
                </a:cubicBezTo>
                <a:cubicBezTo>
                  <a:pt x="1000" y="83"/>
                  <a:pt x="1000" y="83"/>
                  <a:pt x="1000" y="83"/>
                </a:cubicBezTo>
                <a:cubicBezTo>
                  <a:pt x="1000" y="84"/>
                  <a:pt x="1000" y="84"/>
                  <a:pt x="1000" y="84"/>
                </a:cubicBezTo>
                <a:cubicBezTo>
                  <a:pt x="1001" y="84"/>
                  <a:pt x="1001" y="84"/>
                  <a:pt x="1001" y="84"/>
                </a:cubicBezTo>
                <a:cubicBezTo>
                  <a:pt x="1003" y="87"/>
                  <a:pt x="1003" y="87"/>
                  <a:pt x="1003" y="87"/>
                </a:cubicBezTo>
                <a:cubicBezTo>
                  <a:pt x="1003" y="85"/>
                  <a:pt x="1003" y="85"/>
                  <a:pt x="1003" y="85"/>
                </a:cubicBezTo>
                <a:cubicBezTo>
                  <a:pt x="1004" y="85"/>
                  <a:pt x="1004" y="85"/>
                  <a:pt x="1004" y="85"/>
                </a:cubicBezTo>
                <a:cubicBezTo>
                  <a:pt x="1004" y="84"/>
                  <a:pt x="1004" y="84"/>
                  <a:pt x="1004" y="84"/>
                </a:cubicBezTo>
                <a:cubicBezTo>
                  <a:pt x="1002" y="84"/>
                  <a:pt x="1002" y="84"/>
                  <a:pt x="1002" y="84"/>
                </a:cubicBezTo>
                <a:cubicBezTo>
                  <a:pt x="1002" y="83"/>
                  <a:pt x="1002" y="83"/>
                  <a:pt x="1002" y="83"/>
                </a:cubicBezTo>
                <a:cubicBezTo>
                  <a:pt x="1003" y="82"/>
                  <a:pt x="1003" y="82"/>
                  <a:pt x="1003" y="82"/>
                </a:cubicBezTo>
                <a:cubicBezTo>
                  <a:pt x="1005" y="82"/>
                  <a:pt x="1005" y="82"/>
                  <a:pt x="1005" y="82"/>
                </a:cubicBezTo>
                <a:cubicBezTo>
                  <a:pt x="1007" y="83"/>
                  <a:pt x="1007" y="83"/>
                  <a:pt x="1007" y="83"/>
                </a:cubicBezTo>
                <a:cubicBezTo>
                  <a:pt x="1007" y="82"/>
                  <a:pt x="1007" y="82"/>
                  <a:pt x="1007" y="82"/>
                </a:cubicBezTo>
                <a:cubicBezTo>
                  <a:pt x="1007" y="81"/>
                  <a:pt x="1007" y="81"/>
                  <a:pt x="1007" y="81"/>
                </a:cubicBezTo>
                <a:cubicBezTo>
                  <a:pt x="1008" y="80"/>
                  <a:pt x="1008" y="80"/>
                  <a:pt x="1008" y="80"/>
                </a:cubicBezTo>
                <a:cubicBezTo>
                  <a:pt x="1008" y="79"/>
                  <a:pt x="1008" y="79"/>
                  <a:pt x="1008" y="79"/>
                </a:cubicBezTo>
                <a:cubicBezTo>
                  <a:pt x="1007" y="79"/>
                  <a:pt x="1007" y="79"/>
                  <a:pt x="1007" y="79"/>
                </a:cubicBezTo>
                <a:cubicBezTo>
                  <a:pt x="1007" y="80"/>
                  <a:pt x="1007" y="80"/>
                  <a:pt x="1007" y="80"/>
                </a:cubicBezTo>
                <a:cubicBezTo>
                  <a:pt x="1005" y="81"/>
                  <a:pt x="1005" y="81"/>
                  <a:pt x="1005" y="81"/>
                </a:cubicBezTo>
                <a:cubicBezTo>
                  <a:pt x="1005" y="82"/>
                  <a:pt x="1005" y="82"/>
                  <a:pt x="1005" y="82"/>
                </a:cubicBezTo>
                <a:cubicBezTo>
                  <a:pt x="1002" y="81"/>
                  <a:pt x="1002" y="81"/>
                  <a:pt x="1002" y="81"/>
                </a:cubicBezTo>
                <a:cubicBezTo>
                  <a:pt x="1000" y="81"/>
                  <a:pt x="1000" y="81"/>
                  <a:pt x="1000" y="81"/>
                </a:cubicBezTo>
                <a:cubicBezTo>
                  <a:pt x="1000" y="80"/>
                  <a:pt x="1000" y="80"/>
                  <a:pt x="1000" y="80"/>
                </a:cubicBezTo>
                <a:cubicBezTo>
                  <a:pt x="999" y="80"/>
                  <a:pt x="999" y="80"/>
                  <a:pt x="999" y="80"/>
                </a:cubicBezTo>
                <a:cubicBezTo>
                  <a:pt x="997" y="80"/>
                  <a:pt x="997" y="80"/>
                  <a:pt x="997" y="80"/>
                </a:cubicBezTo>
                <a:cubicBezTo>
                  <a:pt x="995" y="77"/>
                  <a:pt x="995" y="77"/>
                  <a:pt x="995" y="77"/>
                </a:cubicBezTo>
                <a:cubicBezTo>
                  <a:pt x="995" y="75"/>
                  <a:pt x="995" y="75"/>
                  <a:pt x="995" y="75"/>
                </a:cubicBezTo>
                <a:cubicBezTo>
                  <a:pt x="996" y="74"/>
                  <a:pt x="996" y="74"/>
                  <a:pt x="996" y="74"/>
                </a:cubicBezTo>
                <a:cubicBezTo>
                  <a:pt x="997" y="75"/>
                  <a:pt x="997" y="75"/>
                  <a:pt x="997" y="75"/>
                </a:cubicBezTo>
                <a:cubicBezTo>
                  <a:pt x="997" y="76"/>
                  <a:pt x="997" y="76"/>
                  <a:pt x="997" y="76"/>
                </a:cubicBezTo>
                <a:cubicBezTo>
                  <a:pt x="998" y="77"/>
                  <a:pt x="998" y="77"/>
                  <a:pt x="998" y="77"/>
                </a:cubicBezTo>
                <a:cubicBezTo>
                  <a:pt x="999" y="75"/>
                  <a:pt x="999" y="75"/>
                  <a:pt x="999" y="75"/>
                </a:cubicBezTo>
                <a:cubicBezTo>
                  <a:pt x="999" y="74"/>
                  <a:pt x="999" y="74"/>
                  <a:pt x="999" y="74"/>
                </a:cubicBezTo>
                <a:cubicBezTo>
                  <a:pt x="998" y="74"/>
                  <a:pt x="998" y="74"/>
                  <a:pt x="998" y="74"/>
                </a:cubicBezTo>
                <a:cubicBezTo>
                  <a:pt x="998" y="72"/>
                  <a:pt x="998" y="72"/>
                  <a:pt x="998" y="72"/>
                </a:cubicBezTo>
                <a:cubicBezTo>
                  <a:pt x="999" y="70"/>
                  <a:pt x="999" y="70"/>
                  <a:pt x="999" y="70"/>
                </a:cubicBezTo>
                <a:cubicBezTo>
                  <a:pt x="999" y="69"/>
                  <a:pt x="999" y="69"/>
                  <a:pt x="999" y="69"/>
                </a:cubicBezTo>
                <a:cubicBezTo>
                  <a:pt x="1000" y="67"/>
                  <a:pt x="1000" y="67"/>
                  <a:pt x="1000" y="67"/>
                </a:cubicBezTo>
                <a:cubicBezTo>
                  <a:pt x="999" y="63"/>
                  <a:pt x="999" y="63"/>
                  <a:pt x="999" y="63"/>
                </a:cubicBezTo>
                <a:cubicBezTo>
                  <a:pt x="999" y="62"/>
                  <a:pt x="999" y="62"/>
                  <a:pt x="999" y="62"/>
                </a:cubicBezTo>
                <a:cubicBezTo>
                  <a:pt x="998" y="61"/>
                  <a:pt x="998" y="61"/>
                  <a:pt x="998" y="61"/>
                </a:cubicBezTo>
                <a:cubicBezTo>
                  <a:pt x="998" y="60"/>
                  <a:pt x="998" y="60"/>
                  <a:pt x="998" y="60"/>
                </a:cubicBezTo>
                <a:cubicBezTo>
                  <a:pt x="998" y="59"/>
                  <a:pt x="998" y="59"/>
                  <a:pt x="998" y="59"/>
                </a:cubicBezTo>
                <a:cubicBezTo>
                  <a:pt x="999" y="59"/>
                  <a:pt x="999" y="59"/>
                  <a:pt x="999" y="59"/>
                </a:cubicBezTo>
                <a:cubicBezTo>
                  <a:pt x="999" y="58"/>
                  <a:pt x="999" y="58"/>
                  <a:pt x="999" y="58"/>
                </a:cubicBezTo>
                <a:cubicBezTo>
                  <a:pt x="1000" y="59"/>
                  <a:pt x="1000" y="59"/>
                  <a:pt x="1000" y="59"/>
                </a:cubicBezTo>
                <a:cubicBezTo>
                  <a:pt x="1001" y="59"/>
                  <a:pt x="1001" y="59"/>
                  <a:pt x="1001" y="59"/>
                </a:cubicBezTo>
                <a:cubicBezTo>
                  <a:pt x="1002" y="61"/>
                  <a:pt x="1002" y="61"/>
                  <a:pt x="1002" y="61"/>
                </a:cubicBezTo>
                <a:cubicBezTo>
                  <a:pt x="1002" y="60"/>
                  <a:pt x="1002" y="60"/>
                  <a:pt x="1002" y="60"/>
                </a:cubicBezTo>
                <a:cubicBezTo>
                  <a:pt x="1002" y="59"/>
                  <a:pt x="1002" y="59"/>
                  <a:pt x="1002" y="59"/>
                </a:cubicBezTo>
                <a:cubicBezTo>
                  <a:pt x="1001" y="58"/>
                  <a:pt x="1001" y="58"/>
                  <a:pt x="1001" y="58"/>
                </a:cubicBezTo>
                <a:cubicBezTo>
                  <a:pt x="1000" y="58"/>
                  <a:pt x="1000" y="58"/>
                  <a:pt x="1000" y="58"/>
                </a:cubicBezTo>
                <a:cubicBezTo>
                  <a:pt x="999" y="57"/>
                  <a:pt x="999" y="57"/>
                  <a:pt x="999" y="57"/>
                </a:cubicBezTo>
                <a:cubicBezTo>
                  <a:pt x="999" y="56"/>
                  <a:pt x="999" y="56"/>
                  <a:pt x="999" y="56"/>
                </a:cubicBezTo>
                <a:cubicBezTo>
                  <a:pt x="1000" y="54"/>
                  <a:pt x="1000" y="54"/>
                  <a:pt x="1000" y="54"/>
                </a:cubicBezTo>
                <a:cubicBezTo>
                  <a:pt x="1004" y="50"/>
                  <a:pt x="1004" y="50"/>
                  <a:pt x="1004" y="50"/>
                </a:cubicBezTo>
                <a:cubicBezTo>
                  <a:pt x="1005" y="50"/>
                  <a:pt x="1005" y="50"/>
                  <a:pt x="1005" y="50"/>
                </a:cubicBezTo>
                <a:cubicBezTo>
                  <a:pt x="1006" y="50"/>
                  <a:pt x="1006" y="50"/>
                  <a:pt x="1006" y="50"/>
                </a:cubicBezTo>
                <a:cubicBezTo>
                  <a:pt x="1007" y="51"/>
                  <a:pt x="1007" y="51"/>
                  <a:pt x="1007" y="51"/>
                </a:cubicBezTo>
                <a:cubicBezTo>
                  <a:pt x="1008" y="53"/>
                  <a:pt x="1008" y="53"/>
                  <a:pt x="1008" y="53"/>
                </a:cubicBezTo>
                <a:cubicBezTo>
                  <a:pt x="1009" y="53"/>
                  <a:pt x="1009" y="53"/>
                  <a:pt x="1009" y="53"/>
                </a:cubicBezTo>
                <a:cubicBezTo>
                  <a:pt x="1012" y="54"/>
                  <a:pt x="1012" y="54"/>
                  <a:pt x="1012" y="54"/>
                </a:cubicBezTo>
                <a:cubicBezTo>
                  <a:pt x="1012" y="56"/>
                  <a:pt x="1012" y="56"/>
                  <a:pt x="1012" y="56"/>
                </a:cubicBezTo>
                <a:cubicBezTo>
                  <a:pt x="1014" y="57"/>
                  <a:pt x="1014" y="57"/>
                  <a:pt x="1014" y="57"/>
                </a:cubicBezTo>
                <a:cubicBezTo>
                  <a:pt x="1014" y="60"/>
                  <a:pt x="1014" y="60"/>
                  <a:pt x="1014" y="60"/>
                </a:cubicBezTo>
                <a:cubicBezTo>
                  <a:pt x="1014" y="63"/>
                  <a:pt x="1014" y="63"/>
                  <a:pt x="1014" y="63"/>
                </a:cubicBezTo>
                <a:cubicBezTo>
                  <a:pt x="1014" y="65"/>
                  <a:pt x="1014" y="65"/>
                  <a:pt x="1014" y="65"/>
                </a:cubicBezTo>
                <a:cubicBezTo>
                  <a:pt x="1015" y="66"/>
                  <a:pt x="1015" y="66"/>
                  <a:pt x="1015" y="66"/>
                </a:cubicBezTo>
                <a:cubicBezTo>
                  <a:pt x="1016" y="65"/>
                  <a:pt x="1016" y="65"/>
                  <a:pt x="1016" y="65"/>
                </a:cubicBezTo>
                <a:cubicBezTo>
                  <a:pt x="1017" y="66"/>
                  <a:pt x="1017" y="66"/>
                  <a:pt x="1017" y="66"/>
                </a:cubicBezTo>
                <a:cubicBezTo>
                  <a:pt x="1018" y="67"/>
                  <a:pt x="1018" y="67"/>
                  <a:pt x="1018" y="67"/>
                </a:cubicBezTo>
                <a:cubicBezTo>
                  <a:pt x="1019" y="66"/>
                  <a:pt x="1019" y="66"/>
                  <a:pt x="1019" y="66"/>
                </a:cubicBezTo>
                <a:cubicBezTo>
                  <a:pt x="1018" y="65"/>
                  <a:pt x="1018" y="65"/>
                  <a:pt x="1018" y="65"/>
                </a:cubicBezTo>
                <a:cubicBezTo>
                  <a:pt x="1017" y="64"/>
                  <a:pt x="1017" y="64"/>
                  <a:pt x="1017" y="64"/>
                </a:cubicBezTo>
                <a:cubicBezTo>
                  <a:pt x="1016" y="64"/>
                  <a:pt x="1016" y="64"/>
                  <a:pt x="1016" y="64"/>
                </a:cubicBezTo>
                <a:cubicBezTo>
                  <a:pt x="1016" y="63"/>
                  <a:pt x="1016" y="63"/>
                  <a:pt x="1016" y="63"/>
                </a:cubicBezTo>
                <a:cubicBezTo>
                  <a:pt x="1017" y="62"/>
                  <a:pt x="1017" y="62"/>
                  <a:pt x="1017" y="62"/>
                </a:cubicBezTo>
                <a:cubicBezTo>
                  <a:pt x="1017" y="61"/>
                  <a:pt x="1017" y="61"/>
                  <a:pt x="1017" y="61"/>
                </a:cubicBezTo>
                <a:cubicBezTo>
                  <a:pt x="1017" y="56"/>
                  <a:pt x="1017" y="56"/>
                  <a:pt x="1017" y="56"/>
                </a:cubicBezTo>
                <a:cubicBezTo>
                  <a:pt x="1016" y="55"/>
                  <a:pt x="1016" y="55"/>
                  <a:pt x="1016" y="55"/>
                </a:cubicBezTo>
                <a:cubicBezTo>
                  <a:pt x="1017" y="54"/>
                  <a:pt x="1017" y="54"/>
                  <a:pt x="1017" y="54"/>
                </a:cubicBezTo>
                <a:cubicBezTo>
                  <a:pt x="1019" y="54"/>
                  <a:pt x="1019" y="54"/>
                  <a:pt x="1019" y="54"/>
                </a:cubicBezTo>
                <a:cubicBezTo>
                  <a:pt x="1020" y="54"/>
                  <a:pt x="1020" y="54"/>
                  <a:pt x="1020" y="54"/>
                </a:cubicBezTo>
                <a:cubicBezTo>
                  <a:pt x="1022" y="55"/>
                  <a:pt x="1022" y="55"/>
                  <a:pt x="1022" y="55"/>
                </a:cubicBezTo>
                <a:cubicBezTo>
                  <a:pt x="1023" y="55"/>
                  <a:pt x="1023" y="55"/>
                  <a:pt x="1023" y="55"/>
                </a:cubicBezTo>
                <a:cubicBezTo>
                  <a:pt x="1025" y="55"/>
                  <a:pt x="1025" y="55"/>
                  <a:pt x="1025" y="55"/>
                </a:cubicBezTo>
                <a:cubicBezTo>
                  <a:pt x="1028" y="55"/>
                  <a:pt x="1028" y="55"/>
                  <a:pt x="1028" y="55"/>
                </a:cubicBezTo>
                <a:cubicBezTo>
                  <a:pt x="1030" y="54"/>
                  <a:pt x="1030" y="54"/>
                  <a:pt x="1030" y="54"/>
                </a:cubicBezTo>
                <a:cubicBezTo>
                  <a:pt x="1031" y="55"/>
                  <a:pt x="1031" y="55"/>
                  <a:pt x="1031" y="55"/>
                </a:cubicBezTo>
                <a:cubicBezTo>
                  <a:pt x="1032" y="56"/>
                  <a:pt x="1032" y="56"/>
                  <a:pt x="1032" y="56"/>
                </a:cubicBezTo>
                <a:cubicBezTo>
                  <a:pt x="1035" y="56"/>
                  <a:pt x="1035" y="56"/>
                  <a:pt x="1035" y="56"/>
                </a:cubicBezTo>
                <a:cubicBezTo>
                  <a:pt x="1036" y="57"/>
                  <a:pt x="1036" y="57"/>
                  <a:pt x="1036" y="57"/>
                </a:cubicBezTo>
                <a:cubicBezTo>
                  <a:pt x="1037" y="56"/>
                  <a:pt x="1037" y="56"/>
                  <a:pt x="1037" y="56"/>
                </a:cubicBezTo>
                <a:cubicBezTo>
                  <a:pt x="1036" y="55"/>
                  <a:pt x="1036" y="55"/>
                  <a:pt x="1036" y="55"/>
                </a:cubicBezTo>
                <a:cubicBezTo>
                  <a:pt x="1034" y="55"/>
                  <a:pt x="1034" y="55"/>
                  <a:pt x="1034" y="55"/>
                </a:cubicBezTo>
                <a:cubicBezTo>
                  <a:pt x="1032" y="54"/>
                  <a:pt x="1032" y="54"/>
                  <a:pt x="1032" y="54"/>
                </a:cubicBezTo>
                <a:cubicBezTo>
                  <a:pt x="1032" y="53"/>
                  <a:pt x="1032" y="53"/>
                  <a:pt x="1032" y="53"/>
                </a:cubicBezTo>
                <a:cubicBezTo>
                  <a:pt x="1033" y="53"/>
                  <a:pt x="1033" y="53"/>
                  <a:pt x="1033" y="53"/>
                </a:cubicBezTo>
                <a:cubicBezTo>
                  <a:pt x="1035" y="53"/>
                  <a:pt x="1035" y="53"/>
                  <a:pt x="1035" y="53"/>
                </a:cubicBezTo>
                <a:cubicBezTo>
                  <a:pt x="1039" y="52"/>
                  <a:pt x="1039" y="52"/>
                  <a:pt x="1039" y="52"/>
                </a:cubicBezTo>
                <a:cubicBezTo>
                  <a:pt x="1042" y="52"/>
                  <a:pt x="1042" y="52"/>
                  <a:pt x="1042" y="52"/>
                </a:cubicBezTo>
                <a:cubicBezTo>
                  <a:pt x="1044" y="53"/>
                  <a:pt x="1044" y="53"/>
                  <a:pt x="1044" y="53"/>
                </a:cubicBezTo>
                <a:cubicBezTo>
                  <a:pt x="1046" y="54"/>
                  <a:pt x="1046" y="54"/>
                  <a:pt x="1046" y="54"/>
                </a:cubicBezTo>
                <a:cubicBezTo>
                  <a:pt x="1047" y="53"/>
                  <a:pt x="1047" y="53"/>
                  <a:pt x="1047" y="53"/>
                </a:cubicBezTo>
                <a:cubicBezTo>
                  <a:pt x="1048" y="53"/>
                  <a:pt x="1048" y="53"/>
                  <a:pt x="1048" y="53"/>
                </a:cubicBezTo>
                <a:cubicBezTo>
                  <a:pt x="1047" y="52"/>
                  <a:pt x="1047" y="52"/>
                  <a:pt x="1047" y="52"/>
                </a:cubicBezTo>
                <a:cubicBezTo>
                  <a:pt x="1046" y="52"/>
                  <a:pt x="1046" y="52"/>
                  <a:pt x="1046" y="52"/>
                </a:cubicBezTo>
                <a:cubicBezTo>
                  <a:pt x="1046" y="51"/>
                  <a:pt x="1046" y="51"/>
                  <a:pt x="1046" y="51"/>
                </a:cubicBezTo>
                <a:cubicBezTo>
                  <a:pt x="1045" y="50"/>
                  <a:pt x="1045" y="50"/>
                  <a:pt x="1045" y="50"/>
                </a:cubicBezTo>
                <a:cubicBezTo>
                  <a:pt x="1043" y="50"/>
                  <a:pt x="1043" y="50"/>
                  <a:pt x="1043" y="50"/>
                </a:cubicBezTo>
                <a:cubicBezTo>
                  <a:pt x="1042" y="50"/>
                  <a:pt x="1042" y="50"/>
                  <a:pt x="1042" y="50"/>
                </a:cubicBezTo>
                <a:cubicBezTo>
                  <a:pt x="1039" y="50"/>
                  <a:pt x="1039" y="50"/>
                  <a:pt x="1039" y="50"/>
                </a:cubicBezTo>
                <a:cubicBezTo>
                  <a:pt x="1040" y="49"/>
                  <a:pt x="1040" y="49"/>
                  <a:pt x="1040" y="49"/>
                </a:cubicBezTo>
                <a:cubicBezTo>
                  <a:pt x="1040" y="47"/>
                  <a:pt x="1040" y="47"/>
                  <a:pt x="1040" y="47"/>
                </a:cubicBezTo>
                <a:cubicBezTo>
                  <a:pt x="1042" y="47"/>
                  <a:pt x="1042" y="47"/>
                  <a:pt x="1042" y="47"/>
                </a:cubicBezTo>
                <a:cubicBezTo>
                  <a:pt x="1043" y="46"/>
                  <a:pt x="1043" y="46"/>
                  <a:pt x="1043" y="46"/>
                </a:cubicBezTo>
                <a:cubicBezTo>
                  <a:pt x="1044" y="44"/>
                  <a:pt x="1044" y="44"/>
                  <a:pt x="1044" y="44"/>
                </a:cubicBezTo>
                <a:cubicBezTo>
                  <a:pt x="1047" y="42"/>
                  <a:pt x="1047" y="42"/>
                  <a:pt x="1047" y="42"/>
                </a:cubicBezTo>
                <a:cubicBezTo>
                  <a:pt x="1046" y="42"/>
                  <a:pt x="1046" y="42"/>
                  <a:pt x="1046" y="42"/>
                </a:cubicBezTo>
                <a:cubicBezTo>
                  <a:pt x="1043" y="44"/>
                  <a:pt x="1043" y="44"/>
                  <a:pt x="1043" y="44"/>
                </a:cubicBezTo>
                <a:cubicBezTo>
                  <a:pt x="1042" y="46"/>
                  <a:pt x="1042" y="46"/>
                  <a:pt x="1042" y="46"/>
                </a:cubicBezTo>
                <a:cubicBezTo>
                  <a:pt x="1041" y="44"/>
                  <a:pt x="1041" y="44"/>
                  <a:pt x="1041" y="44"/>
                </a:cubicBezTo>
                <a:cubicBezTo>
                  <a:pt x="1040" y="45"/>
                  <a:pt x="1040" y="45"/>
                  <a:pt x="1040" y="45"/>
                </a:cubicBezTo>
                <a:cubicBezTo>
                  <a:pt x="1039" y="46"/>
                  <a:pt x="1039" y="46"/>
                  <a:pt x="1039" y="46"/>
                </a:cubicBezTo>
                <a:cubicBezTo>
                  <a:pt x="1037" y="48"/>
                  <a:pt x="1037" y="48"/>
                  <a:pt x="1037" y="48"/>
                </a:cubicBezTo>
                <a:cubicBezTo>
                  <a:pt x="1038" y="48"/>
                  <a:pt x="1038" y="48"/>
                  <a:pt x="1038" y="48"/>
                </a:cubicBezTo>
                <a:cubicBezTo>
                  <a:pt x="1036" y="50"/>
                  <a:pt x="1036" y="50"/>
                  <a:pt x="1036" y="50"/>
                </a:cubicBezTo>
                <a:cubicBezTo>
                  <a:pt x="1035" y="50"/>
                  <a:pt x="1035" y="50"/>
                  <a:pt x="1035" y="50"/>
                </a:cubicBezTo>
                <a:cubicBezTo>
                  <a:pt x="1030" y="52"/>
                  <a:pt x="1030" y="52"/>
                  <a:pt x="1030" y="52"/>
                </a:cubicBezTo>
                <a:cubicBezTo>
                  <a:pt x="1029" y="52"/>
                  <a:pt x="1029" y="52"/>
                  <a:pt x="1029" y="52"/>
                </a:cubicBezTo>
                <a:cubicBezTo>
                  <a:pt x="1028" y="52"/>
                  <a:pt x="1028" y="52"/>
                  <a:pt x="1028" y="52"/>
                </a:cubicBezTo>
                <a:cubicBezTo>
                  <a:pt x="1024" y="52"/>
                  <a:pt x="1024" y="52"/>
                  <a:pt x="1024" y="52"/>
                </a:cubicBezTo>
                <a:cubicBezTo>
                  <a:pt x="1022" y="50"/>
                  <a:pt x="1022" y="50"/>
                  <a:pt x="1022" y="50"/>
                </a:cubicBezTo>
                <a:cubicBezTo>
                  <a:pt x="1021" y="51"/>
                  <a:pt x="1021" y="51"/>
                  <a:pt x="1021" y="51"/>
                </a:cubicBezTo>
                <a:cubicBezTo>
                  <a:pt x="1020" y="51"/>
                  <a:pt x="1020" y="51"/>
                  <a:pt x="1020" y="51"/>
                </a:cubicBezTo>
                <a:cubicBezTo>
                  <a:pt x="1019" y="49"/>
                  <a:pt x="1019" y="49"/>
                  <a:pt x="1019" y="49"/>
                </a:cubicBezTo>
                <a:cubicBezTo>
                  <a:pt x="1021" y="48"/>
                  <a:pt x="1021" y="48"/>
                  <a:pt x="1021" y="48"/>
                </a:cubicBezTo>
                <a:cubicBezTo>
                  <a:pt x="1023" y="48"/>
                  <a:pt x="1023" y="48"/>
                  <a:pt x="1023" y="48"/>
                </a:cubicBezTo>
                <a:cubicBezTo>
                  <a:pt x="1024" y="47"/>
                  <a:pt x="1024" y="47"/>
                  <a:pt x="1024" y="47"/>
                </a:cubicBezTo>
                <a:cubicBezTo>
                  <a:pt x="1025" y="47"/>
                  <a:pt x="1025" y="47"/>
                  <a:pt x="1025" y="47"/>
                </a:cubicBezTo>
                <a:cubicBezTo>
                  <a:pt x="1026" y="47"/>
                  <a:pt x="1026" y="47"/>
                  <a:pt x="1026" y="47"/>
                </a:cubicBezTo>
                <a:cubicBezTo>
                  <a:pt x="1027" y="46"/>
                  <a:pt x="1027" y="46"/>
                  <a:pt x="1027" y="46"/>
                </a:cubicBezTo>
                <a:cubicBezTo>
                  <a:pt x="1026" y="46"/>
                  <a:pt x="1026" y="46"/>
                  <a:pt x="1026" y="46"/>
                </a:cubicBezTo>
                <a:cubicBezTo>
                  <a:pt x="1025" y="47"/>
                  <a:pt x="1025" y="47"/>
                  <a:pt x="1025" y="47"/>
                </a:cubicBezTo>
                <a:cubicBezTo>
                  <a:pt x="1023" y="46"/>
                  <a:pt x="1023" y="46"/>
                  <a:pt x="1023" y="46"/>
                </a:cubicBezTo>
                <a:cubicBezTo>
                  <a:pt x="1022" y="47"/>
                  <a:pt x="1022" y="47"/>
                  <a:pt x="1022" y="47"/>
                </a:cubicBezTo>
                <a:cubicBezTo>
                  <a:pt x="1021" y="47"/>
                  <a:pt x="1021" y="47"/>
                  <a:pt x="1021" y="47"/>
                </a:cubicBezTo>
                <a:cubicBezTo>
                  <a:pt x="1021" y="46"/>
                  <a:pt x="1021" y="46"/>
                  <a:pt x="1021" y="46"/>
                </a:cubicBezTo>
                <a:cubicBezTo>
                  <a:pt x="1022" y="45"/>
                  <a:pt x="1022" y="45"/>
                  <a:pt x="1022" y="45"/>
                </a:cubicBezTo>
                <a:cubicBezTo>
                  <a:pt x="1021" y="45"/>
                  <a:pt x="1021" y="45"/>
                  <a:pt x="1021" y="45"/>
                </a:cubicBezTo>
                <a:cubicBezTo>
                  <a:pt x="1019" y="45"/>
                  <a:pt x="1019" y="45"/>
                  <a:pt x="1019" y="45"/>
                </a:cubicBezTo>
                <a:cubicBezTo>
                  <a:pt x="1019" y="47"/>
                  <a:pt x="1019" y="47"/>
                  <a:pt x="1019" y="47"/>
                </a:cubicBezTo>
                <a:cubicBezTo>
                  <a:pt x="1017" y="49"/>
                  <a:pt x="1017" y="49"/>
                  <a:pt x="1017" y="49"/>
                </a:cubicBezTo>
                <a:cubicBezTo>
                  <a:pt x="1015" y="49"/>
                  <a:pt x="1015" y="49"/>
                  <a:pt x="1015" y="49"/>
                </a:cubicBezTo>
                <a:cubicBezTo>
                  <a:pt x="1012" y="48"/>
                  <a:pt x="1012" y="48"/>
                  <a:pt x="1012" y="48"/>
                </a:cubicBezTo>
                <a:cubicBezTo>
                  <a:pt x="1010" y="48"/>
                  <a:pt x="1010" y="48"/>
                  <a:pt x="1010" y="48"/>
                </a:cubicBezTo>
                <a:cubicBezTo>
                  <a:pt x="1009" y="47"/>
                  <a:pt x="1009" y="47"/>
                  <a:pt x="1009" y="47"/>
                </a:cubicBezTo>
                <a:cubicBezTo>
                  <a:pt x="1009" y="46"/>
                  <a:pt x="1009" y="46"/>
                  <a:pt x="1009" y="46"/>
                </a:cubicBezTo>
                <a:cubicBezTo>
                  <a:pt x="1007" y="46"/>
                  <a:pt x="1007" y="46"/>
                  <a:pt x="1007" y="46"/>
                </a:cubicBezTo>
                <a:cubicBezTo>
                  <a:pt x="1006" y="45"/>
                  <a:pt x="1006" y="45"/>
                  <a:pt x="1006" y="45"/>
                </a:cubicBezTo>
                <a:cubicBezTo>
                  <a:pt x="1006" y="44"/>
                  <a:pt x="1006" y="44"/>
                  <a:pt x="1006" y="44"/>
                </a:cubicBezTo>
                <a:cubicBezTo>
                  <a:pt x="1007" y="43"/>
                  <a:pt x="1007" y="43"/>
                  <a:pt x="1007" y="43"/>
                </a:cubicBezTo>
                <a:cubicBezTo>
                  <a:pt x="1008" y="42"/>
                  <a:pt x="1008" y="42"/>
                  <a:pt x="1008" y="42"/>
                </a:cubicBezTo>
                <a:cubicBezTo>
                  <a:pt x="1010" y="41"/>
                  <a:pt x="1010" y="41"/>
                  <a:pt x="1010" y="41"/>
                </a:cubicBezTo>
                <a:cubicBezTo>
                  <a:pt x="1011" y="39"/>
                  <a:pt x="1011" y="39"/>
                  <a:pt x="1011" y="39"/>
                </a:cubicBezTo>
                <a:cubicBezTo>
                  <a:pt x="1013" y="38"/>
                  <a:pt x="1013" y="38"/>
                  <a:pt x="1013" y="38"/>
                </a:cubicBezTo>
                <a:cubicBezTo>
                  <a:pt x="1015" y="38"/>
                  <a:pt x="1015" y="38"/>
                  <a:pt x="1015" y="38"/>
                </a:cubicBezTo>
                <a:cubicBezTo>
                  <a:pt x="1017" y="38"/>
                  <a:pt x="1017" y="38"/>
                  <a:pt x="1017" y="38"/>
                </a:cubicBezTo>
                <a:cubicBezTo>
                  <a:pt x="1018" y="38"/>
                  <a:pt x="1018" y="38"/>
                  <a:pt x="1018" y="38"/>
                </a:cubicBezTo>
                <a:cubicBezTo>
                  <a:pt x="1019" y="38"/>
                  <a:pt x="1019" y="38"/>
                  <a:pt x="1019" y="38"/>
                </a:cubicBezTo>
                <a:cubicBezTo>
                  <a:pt x="1022" y="39"/>
                  <a:pt x="1022" y="39"/>
                  <a:pt x="1022" y="39"/>
                </a:cubicBezTo>
                <a:cubicBezTo>
                  <a:pt x="1024" y="39"/>
                  <a:pt x="1024" y="39"/>
                  <a:pt x="1024" y="39"/>
                </a:cubicBezTo>
                <a:cubicBezTo>
                  <a:pt x="1025" y="40"/>
                  <a:pt x="1025" y="40"/>
                  <a:pt x="1025" y="40"/>
                </a:cubicBezTo>
                <a:cubicBezTo>
                  <a:pt x="1027" y="39"/>
                  <a:pt x="1027" y="39"/>
                  <a:pt x="1027" y="39"/>
                </a:cubicBezTo>
                <a:cubicBezTo>
                  <a:pt x="1026" y="38"/>
                  <a:pt x="1026" y="38"/>
                  <a:pt x="1026" y="38"/>
                </a:cubicBezTo>
                <a:cubicBezTo>
                  <a:pt x="1024" y="39"/>
                  <a:pt x="1024" y="39"/>
                  <a:pt x="1024" y="39"/>
                </a:cubicBezTo>
                <a:cubicBezTo>
                  <a:pt x="1021" y="38"/>
                  <a:pt x="1021" y="38"/>
                  <a:pt x="1021" y="38"/>
                </a:cubicBezTo>
                <a:cubicBezTo>
                  <a:pt x="1020" y="37"/>
                  <a:pt x="1020" y="37"/>
                  <a:pt x="1020" y="37"/>
                </a:cubicBezTo>
                <a:cubicBezTo>
                  <a:pt x="1018" y="37"/>
                  <a:pt x="1018" y="37"/>
                  <a:pt x="1018" y="37"/>
                </a:cubicBezTo>
                <a:cubicBezTo>
                  <a:pt x="1016" y="37"/>
                  <a:pt x="1016" y="37"/>
                  <a:pt x="1016" y="37"/>
                </a:cubicBezTo>
                <a:cubicBezTo>
                  <a:pt x="1013" y="37"/>
                  <a:pt x="1013" y="37"/>
                  <a:pt x="1013" y="37"/>
                </a:cubicBezTo>
                <a:cubicBezTo>
                  <a:pt x="1012" y="37"/>
                  <a:pt x="1012" y="37"/>
                  <a:pt x="1012" y="37"/>
                </a:cubicBezTo>
                <a:cubicBezTo>
                  <a:pt x="1010" y="39"/>
                  <a:pt x="1010" y="39"/>
                  <a:pt x="1010" y="39"/>
                </a:cubicBezTo>
                <a:cubicBezTo>
                  <a:pt x="1008" y="40"/>
                  <a:pt x="1008" y="40"/>
                  <a:pt x="1008" y="40"/>
                </a:cubicBezTo>
                <a:cubicBezTo>
                  <a:pt x="1006" y="41"/>
                  <a:pt x="1006" y="41"/>
                  <a:pt x="1006" y="41"/>
                </a:cubicBezTo>
                <a:cubicBezTo>
                  <a:pt x="1004" y="43"/>
                  <a:pt x="1004" y="43"/>
                  <a:pt x="1004" y="43"/>
                </a:cubicBezTo>
                <a:cubicBezTo>
                  <a:pt x="1003" y="43"/>
                  <a:pt x="1003" y="43"/>
                  <a:pt x="1003" y="43"/>
                </a:cubicBezTo>
                <a:cubicBezTo>
                  <a:pt x="1001" y="41"/>
                  <a:pt x="1001" y="41"/>
                  <a:pt x="1001" y="41"/>
                </a:cubicBezTo>
                <a:cubicBezTo>
                  <a:pt x="1000" y="41"/>
                  <a:pt x="1000" y="41"/>
                  <a:pt x="1000" y="41"/>
                </a:cubicBezTo>
                <a:cubicBezTo>
                  <a:pt x="1000" y="40"/>
                  <a:pt x="1000" y="40"/>
                  <a:pt x="1000" y="40"/>
                </a:cubicBezTo>
                <a:cubicBezTo>
                  <a:pt x="999" y="38"/>
                  <a:pt x="999" y="38"/>
                  <a:pt x="999" y="38"/>
                </a:cubicBezTo>
                <a:close/>
                <a:moveTo>
                  <a:pt x="964" y="119"/>
                </a:moveTo>
                <a:cubicBezTo>
                  <a:pt x="964" y="117"/>
                  <a:pt x="964" y="117"/>
                  <a:pt x="964" y="117"/>
                </a:cubicBezTo>
                <a:cubicBezTo>
                  <a:pt x="963" y="117"/>
                  <a:pt x="963" y="117"/>
                  <a:pt x="963" y="117"/>
                </a:cubicBezTo>
                <a:cubicBezTo>
                  <a:pt x="963" y="118"/>
                  <a:pt x="963" y="118"/>
                  <a:pt x="963" y="118"/>
                </a:cubicBezTo>
                <a:cubicBezTo>
                  <a:pt x="964" y="119"/>
                  <a:pt x="964" y="119"/>
                  <a:pt x="964" y="119"/>
                </a:cubicBezTo>
                <a:close/>
                <a:moveTo>
                  <a:pt x="1052" y="40"/>
                </a:moveTo>
                <a:cubicBezTo>
                  <a:pt x="1048" y="42"/>
                  <a:pt x="1048" y="42"/>
                  <a:pt x="1048" y="42"/>
                </a:cubicBezTo>
                <a:cubicBezTo>
                  <a:pt x="1049" y="42"/>
                  <a:pt x="1049" y="42"/>
                  <a:pt x="1049" y="42"/>
                </a:cubicBezTo>
                <a:cubicBezTo>
                  <a:pt x="1052" y="41"/>
                  <a:pt x="1052" y="41"/>
                  <a:pt x="1052" y="41"/>
                </a:cubicBezTo>
                <a:cubicBezTo>
                  <a:pt x="1052" y="40"/>
                  <a:pt x="1052" y="40"/>
                  <a:pt x="1052" y="40"/>
                </a:cubicBezTo>
                <a:close/>
                <a:moveTo>
                  <a:pt x="1009" y="35"/>
                </a:moveTo>
                <a:cubicBezTo>
                  <a:pt x="1009" y="36"/>
                  <a:pt x="1009" y="36"/>
                  <a:pt x="1009" y="36"/>
                </a:cubicBezTo>
                <a:cubicBezTo>
                  <a:pt x="1011" y="36"/>
                  <a:pt x="1011" y="36"/>
                  <a:pt x="1011" y="36"/>
                </a:cubicBezTo>
                <a:cubicBezTo>
                  <a:pt x="1012" y="35"/>
                  <a:pt x="1012" y="35"/>
                  <a:pt x="1012" y="35"/>
                </a:cubicBezTo>
                <a:cubicBezTo>
                  <a:pt x="1014" y="36"/>
                  <a:pt x="1014" y="36"/>
                  <a:pt x="1014" y="36"/>
                </a:cubicBezTo>
                <a:cubicBezTo>
                  <a:pt x="1014" y="35"/>
                  <a:pt x="1014" y="35"/>
                  <a:pt x="1014" y="35"/>
                </a:cubicBezTo>
                <a:cubicBezTo>
                  <a:pt x="1015" y="35"/>
                  <a:pt x="1015" y="35"/>
                  <a:pt x="1015" y="35"/>
                </a:cubicBezTo>
                <a:cubicBezTo>
                  <a:pt x="1016" y="34"/>
                  <a:pt x="1016" y="34"/>
                  <a:pt x="1016" y="34"/>
                </a:cubicBezTo>
                <a:cubicBezTo>
                  <a:pt x="1018" y="34"/>
                  <a:pt x="1018" y="34"/>
                  <a:pt x="1018" y="34"/>
                </a:cubicBezTo>
                <a:cubicBezTo>
                  <a:pt x="1021" y="34"/>
                  <a:pt x="1021" y="34"/>
                  <a:pt x="1021" y="34"/>
                </a:cubicBezTo>
                <a:cubicBezTo>
                  <a:pt x="1021" y="33"/>
                  <a:pt x="1021" y="33"/>
                  <a:pt x="1021" y="33"/>
                </a:cubicBezTo>
                <a:cubicBezTo>
                  <a:pt x="1021" y="32"/>
                  <a:pt x="1021" y="32"/>
                  <a:pt x="1021" y="32"/>
                </a:cubicBezTo>
                <a:cubicBezTo>
                  <a:pt x="1020" y="32"/>
                  <a:pt x="1020" y="32"/>
                  <a:pt x="1020" y="32"/>
                </a:cubicBezTo>
                <a:cubicBezTo>
                  <a:pt x="1020" y="33"/>
                  <a:pt x="1020" y="33"/>
                  <a:pt x="1020" y="33"/>
                </a:cubicBezTo>
                <a:cubicBezTo>
                  <a:pt x="1019" y="33"/>
                  <a:pt x="1019" y="33"/>
                  <a:pt x="1019" y="33"/>
                </a:cubicBezTo>
                <a:cubicBezTo>
                  <a:pt x="1017" y="33"/>
                  <a:pt x="1017" y="33"/>
                  <a:pt x="1017" y="33"/>
                </a:cubicBezTo>
                <a:cubicBezTo>
                  <a:pt x="1015" y="33"/>
                  <a:pt x="1015" y="33"/>
                  <a:pt x="1015" y="33"/>
                </a:cubicBezTo>
                <a:cubicBezTo>
                  <a:pt x="1013" y="34"/>
                  <a:pt x="1013" y="34"/>
                  <a:pt x="1013" y="34"/>
                </a:cubicBezTo>
                <a:cubicBezTo>
                  <a:pt x="1012" y="35"/>
                  <a:pt x="1012" y="35"/>
                  <a:pt x="1012" y="35"/>
                </a:cubicBezTo>
                <a:cubicBezTo>
                  <a:pt x="1010" y="34"/>
                  <a:pt x="1010" y="34"/>
                  <a:pt x="1010" y="34"/>
                </a:cubicBezTo>
                <a:cubicBezTo>
                  <a:pt x="1009" y="35"/>
                  <a:pt x="1009" y="35"/>
                  <a:pt x="1009" y="35"/>
                </a:cubicBezTo>
                <a:close/>
                <a:moveTo>
                  <a:pt x="983" y="99"/>
                </a:moveTo>
                <a:cubicBezTo>
                  <a:pt x="983" y="99"/>
                  <a:pt x="983" y="99"/>
                  <a:pt x="984" y="99"/>
                </a:cubicBezTo>
                <a:cubicBezTo>
                  <a:pt x="984" y="99"/>
                  <a:pt x="984" y="99"/>
                  <a:pt x="983" y="98"/>
                </a:cubicBezTo>
                <a:cubicBezTo>
                  <a:pt x="983" y="98"/>
                  <a:pt x="983" y="98"/>
                  <a:pt x="983" y="99"/>
                </a:cubicBezTo>
                <a:close/>
                <a:moveTo>
                  <a:pt x="1003" y="458"/>
                </a:moveTo>
                <a:cubicBezTo>
                  <a:pt x="1004" y="458"/>
                  <a:pt x="1004" y="458"/>
                  <a:pt x="1004" y="458"/>
                </a:cubicBezTo>
                <a:cubicBezTo>
                  <a:pt x="1005" y="458"/>
                  <a:pt x="1005" y="458"/>
                  <a:pt x="1005" y="458"/>
                </a:cubicBezTo>
                <a:cubicBezTo>
                  <a:pt x="1006" y="457"/>
                  <a:pt x="1006" y="457"/>
                  <a:pt x="1006" y="457"/>
                </a:cubicBezTo>
                <a:cubicBezTo>
                  <a:pt x="1005" y="456"/>
                  <a:pt x="1005" y="456"/>
                  <a:pt x="1005" y="456"/>
                </a:cubicBezTo>
                <a:cubicBezTo>
                  <a:pt x="1004" y="456"/>
                  <a:pt x="1004" y="456"/>
                  <a:pt x="1004" y="456"/>
                </a:cubicBezTo>
                <a:cubicBezTo>
                  <a:pt x="1003" y="458"/>
                  <a:pt x="1003" y="458"/>
                  <a:pt x="1003" y="458"/>
                </a:cubicBezTo>
                <a:close/>
                <a:moveTo>
                  <a:pt x="982" y="104"/>
                </a:moveTo>
                <a:cubicBezTo>
                  <a:pt x="982" y="104"/>
                  <a:pt x="982" y="104"/>
                  <a:pt x="982" y="103"/>
                </a:cubicBezTo>
                <a:cubicBezTo>
                  <a:pt x="982" y="103"/>
                  <a:pt x="982" y="103"/>
                  <a:pt x="981" y="102"/>
                </a:cubicBezTo>
                <a:cubicBezTo>
                  <a:pt x="981" y="102"/>
                  <a:pt x="981" y="102"/>
                  <a:pt x="981" y="103"/>
                </a:cubicBezTo>
                <a:cubicBezTo>
                  <a:pt x="981" y="103"/>
                  <a:pt x="981" y="103"/>
                  <a:pt x="981" y="105"/>
                </a:cubicBezTo>
                <a:cubicBezTo>
                  <a:pt x="981" y="105"/>
                  <a:pt x="981" y="105"/>
                  <a:pt x="982" y="105"/>
                </a:cubicBezTo>
                <a:cubicBezTo>
                  <a:pt x="982" y="105"/>
                  <a:pt x="982" y="105"/>
                  <a:pt x="982" y="104"/>
                </a:cubicBezTo>
                <a:close/>
                <a:moveTo>
                  <a:pt x="1035" y="449"/>
                </a:moveTo>
                <a:cubicBezTo>
                  <a:pt x="1035" y="449"/>
                  <a:pt x="1035" y="449"/>
                  <a:pt x="1034" y="449"/>
                </a:cubicBezTo>
                <a:cubicBezTo>
                  <a:pt x="1034" y="449"/>
                  <a:pt x="1034" y="449"/>
                  <a:pt x="1034" y="450"/>
                </a:cubicBezTo>
                <a:cubicBezTo>
                  <a:pt x="1034" y="450"/>
                  <a:pt x="1034" y="450"/>
                  <a:pt x="1035" y="450"/>
                </a:cubicBezTo>
                <a:cubicBezTo>
                  <a:pt x="1035" y="450"/>
                  <a:pt x="1035" y="450"/>
                  <a:pt x="1035" y="449"/>
                </a:cubicBezTo>
                <a:close/>
                <a:moveTo>
                  <a:pt x="1037" y="93"/>
                </a:moveTo>
                <a:cubicBezTo>
                  <a:pt x="1037" y="92"/>
                  <a:pt x="1037" y="92"/>
                  <a:pt x="1037" y="92"/>
                </a:cubicBezTo>
                <a:cubicBezTo>
                  <a:pt x="1036" y="91"/>
                  <a:pt x="1036" y="91"/>
                  <a:pt x="1036" y="91"/>
                </a:cubicBezTo>
                <a:cubicBezTo>
                  <a:pt x="1035" y="92"/>
                  <a:pt x="1035" y="92"/>
                  <a:pt x="1035" y="92"/>
                </a:cubicBezTo>
                <a:cubicBezTo>
                  <a:pt x="1036" y="93"/>
                  <a:pt x="1036" y="93"/>
                  <a:pt x="1036" y="93"/>
                </a:cubicBezTo>
                <a:cubicBezTo>
                  <a:pt x="1037" y="93"/>
                  <a:pt x="1037" y="93"/>
                  <a:pt x="1037" y="93"/>
                </a:cubicBezTo>
                <a:close/>
                <a:moveTo>
                  <a:pt x="932" y="309"/>
                </a:moveTo>
                <a:cubicBezTo>
                  <a:pt x="933" y="308"/>
                  <a:pt x="933" y="308"/>
                  <a:pt x="933" y="308"/>
                </a:cubicBezTo>
                <a:cubicBezTo>
                  <a:pt x="934" y="308"/>
                  <a:pt x="934" y="308"/>
                  <a:pt x="934" y="308"/>
                </a:cubicBezTo>
                <a:cubicBezTo>
                  <a:pt x="935" y="308"/>
                  <a:pt x="935" y="308"/>
                  <a:pt x="935" y="308"/>
                </a:cubicBezTo>
                <a:cubicBezTo>
                  <a:pt x="935" y="307"/>
                  <a:pt x="935" y="307"/>
                  <a:pt x="935" y="307"/>
                </a:cubicBezTo>
                <a:cubicBezTo>
                  <a:pt x="935" y="306"/>
                  <a:pt x="935" y="306"/>
                  <a:pt x="935" y="306"/>
                </a:cubicBezTo>
                <a:cubicBezTo>
                  <a:pt x="935" y="305"/>
                  <a:pt x="935" y="305"/>
                  <a:pt x="935" y="305"/>
                </a:cubicBezTo>
                <a:cubicBezTo>
                  <a:pt x="935" y="304"/>
                  <a:pt x="935" y="304"/>
                  <a:pt x="935" y="304"/>
                </a:cubicBezTo>
                <a:cubicBezTo>
                  <a:pt x="933" y="304"/>
                  <a:pt x="933" y="304"/>
                  <a:pt x="933" y="304"/>
                </a:cubicBezTo>
                <a:cubicBezTo>
                  <a:pt x="932" y="303"/>
                  <a:pt x="932" y="303"/>
                  <a:pt x="932" y="303"/>
                </a:cubicBezTo>
                <a:cubicBezTo>
                  <a:pt x="930" y="303"/>
                  <a:pt x="930" y="303"/>
                  <a:pt x="930" y="303"/>
                </a:cubicBezTo>
                <a:cubicBezTo>
                  <a:pt x="930" y="304"/>
                  <a:pt x="930" y="304"/>
                  <a:pt x="930" y="304"/>
                </a:cubicBezTo>
                <a:cubicBezTo>
                  <a:pt x="930" y="305"/>
                  <a:pt x="930" y="305"/>
                  <a:pt x="930" y="305"/>
                </a:cubicBezTo>
                <a:cubicBezTo>
                  <a:pt x="931" y="306"/>
                  <a:pt x="931" y="306"/>
                  <a:pt x="931" y="306"/>
                </a:cubicBezTo>
                <a:cubicBezTo>
                  <a:pt x="931" y="307"/>
                  <a:pt x="931" y="307"/>
                  <a:pt x="931" y="307"/>
                </a:cubicBezTo>
                <a:cubicBezTo>
                  <a:pt x="932" y="307"/>
                  <a:pt x="932" y="307"/>
                  <a:pt x="932" y="307"/>
                </a:cubicBezTo>
                <a:cubicBezTo>
                  <a:pt x="932" y="308"/>
                  <a:pt x="932" y="308"/>
                  <a:pt x="932" y="308"/>
                </a:cubicBezTo>
                <a:cubicBezTo>
                  <a:pt x="932" y="309"/>
                  <a:pt x="932" y="309"/>
                  <a:pt x="932" y="309"/>
                </a:cubicBezTo>
                <a:close/>
                <a:moveTo>
                  <a:pt x="1015" y="106"/>
                </a:moveTo>
                <a:cubicBezTo>
                  <a:pt x="1014" y="105"/>
                  <a:pt x="1014" y="105"/>
                  <a:pt x="1014" y="105"/>
                </a:cubicBezTo>
                <a:cubicBezTo>
                  <a:pt x="1013" y="105"/>
                  <a:pt x="1013" y="105"/>
                  <a:pt x="1013" y="105"/>
                </a:cubicBezTo>
                <a:cubicBezTo>
                  <a:pt x="1014" y="106"/>
                  <a:pt x="1014" y="106"/>
                  <a:pt x="1014" y="106"/>
                </a:cubicBezTo>
                <a:cubicBezTo>
                  <a:pt x="1015" y="106"/>
                  <a:pt x="1015" y="106"/>
                  <a:pt x="1015" y="106"/>
                </a:cubicBezTo>
                <a:close/>
                <a:moveTo>
                  <a:pt x="902" y="381"/>
                </a:moveTo>
                <a:cubicBezTo>
                  <a:pt x="902" y="380"/>
                  <a:pt x="902" y="380"/>
                  <a:pt x="902" y="380"/>
                </a:cubicBezTo>
                <a:cubicBezTo>
                  <a:pt x="903" y="379"/>
                  <a:pt x="903" y="379"/>
                  <a:pt x="903" y="379"/>
                </a:cubicBezTo>
                <a:cubicBezTo>
                  <a:pt x="903" y="378"/>
                  <a:pt x="903" y="378"/>
                  <a:pt x="903" y="378"/>
                </a:cubicBezTo>
                <a:cubicBezTo>
                  <a:pt x="902" y="378"/>
                  <a:pt x="902" y="378"/>
                  <a:pt x="902" y="378"/>
                </a:cubicBezTo>
                <a:cubicBezTo>
                  <a:pt x="901" y="380"/>
                  <a:pt x="901" y="380"/>
                  <a:pt x="901" y="380"/>
                </a:cubicBezTo>
                <a:cubicBezTo>
                  <a:pt x="900" y="381"/>
                  <a:pt x="900" y="381"/>
                  <a:pt x="900" y="381"/>
                </a:cubicBezTo>
                <a:cubicBezTo>
                  <a:pt x="900" y="382"/>
                  <a:pt x="900" y="382"/>
                  <a:pt x="900" y="382"/>
                </a:cubicBezTo>
                <a:cubicBezTo>
                  <a:pt x="899" y="383"/>
                  <a:pt x="899" y="383"/>
                  <a:pt x="899" y="383"/>
                </a:cubicBezTo>
                <a:cubicBezTo>
                  <a:pt x="899" y="384"/>
                  <a:pt x="899" y="384"/>
                  <a:pt x="899" y="384"/>
                </a:cubicBezTo>
                <a:cubicBezTo>
                  <a:pt x="900" y="383"/>
                  <a:pt x="900" y="383"/>
                  <a:pt x="900" y="383"/>
                </a:cubicBezTo>
                <a:cubicBezTo>
                  <a:pt x="901" y="382"/>
                  <a:pt x="901" y="382"/>
                  <a:pt x="901" y="382"/>
                </a:cubicBezTo>
                <a:cubicBezTo>
                  <a:pt x="900" y="384"/>
                  <a:pt x="900" y="384"/>
                  <a:pt x="900" y="384"/>
                </a:cubicBezTo>
                <a:cubicBezTo>
                  <a:pt x="901" y="384"/>
                  <a:pt x="901" y="384"/>
                  <a:pt x="901" y="384"/>
                </a:cubicBezTo>
                <a:cubicBezTo>
                  <a:pt x="902" y="383"/>
                  <a:pt x="902" y="383"/>
                  <a:pt x="902" y="383"/>
                </a:cubicBezTo>
                <a:cubicBezTo>
                  <a:pt x="903" y="382"/>
                  <a:pt x="903" y="382"/>
                  <a:pt x="903" y="382"/>
                </a:cubicBezTo>
                <a:cubicBezTo>
                  <a:pt x="902" y="382"/>
                  <a:pt x="902" y="382"/>
                  <a:pt x="902" y="382"/>
                </a:cubicBezTo>
                <a:cubicBezTo>
                  <a:pt x="902" y="381"/>
                  <a:pt x="902" y="381"/>
                  <a:pt x="902" y="381"/>
                </a:cubicBezTo>
                <a:close/>
                <a:moveTo>
                  <a:pt x="907" y="381"/>
                </a:moveTo>
                <a:cubicBezTo>
                  <a:pt x="907" y="381"/>
                  <a:pt x="907" y="381"/>
                  <a:pt x="907" y="379"/>
                </a:cubicBezTo>
                <a:cubicBezTo>
                  <a:pt x="907" y="379"/>
                  <a:pt x="907" y="379"/>
                  <a:pt x="906" y="380"/>
                </a:cubicBezTo>
                <a:cubicBezTo>
                  <a:pt x="906" y="379"/>
                  <a:pt x="906" y="379"/>
                  <a:pt x="906" y="379"/>
                </a:cubicBezTo>
                <a:cubicBezTo>
                  <a:pt x="906" y="378"/>
                  <a:pt x="906" y="378"/>
                  <a:pt x="906" y="378"/>
                </a:cubicBezTo>
                <a:cubicBezTo>
                  <a:pt x="905" y="378"/>
                  <a:pt x="905" y="378"/>
                  <a:pt x="905" y="378"/>
                </a:cubicBezTo>
                <a:cubicBezTo>
                  <a:pt x="905" y="377"/>
                  <a:pt x="905" y="377"/>
                  <a:pt x="905" y="377"/>
                </a:cubicBezTo>
                <a:cubicBezTo>
                  <a:pt x="904" y="377"/>
                  <a:pt x="904" y="377"/>
                  <a:pt x="904" y="377"/>
                </a:cubicBezTo>
                <a:cubicBezTo>
                  <a:pt x="904" y="379"/>
                  <a:pt x="904" y="379"/>
                  <a:pt x="904" y="379"/>
                </a:cubicBezTo>
                <a:cubicBezTo>
                  <a:pt x="903" y="380"/>
                  <a:pt x="903" y="380"/>
                  <a:pt x="903" y="380"/>
                </a:cubicBezTo>
                <a:cubicBezTo>
                  <a:pt x="902" y="381"/>
                  <a:pt x="902" y="381"/>
                  <a:pt x="902" y="381"/>
                </a:cubicBezTo>
                <a:cubicBezTo>
                  <a:pt x="904" y="380"/>
                  <a:pt x="904" y="380"/>
                  <a:pt x="904" y="380"/>
                </a:cubicBezTo>
                <a:cubicBezTo>
                  <a:pt x="903" y="381"/>
                  <a:pt x="903" y="381"/>
                  <a:pt x="903" y="381"/>
                </a:cubicBezTo>
                <a:cubicBezTo>
                  <a:pt x="903" y="382"/>
                  <a:pt x="903" y="382"/>
                  <a:pt x="903" y="382"/>
                </a:cubicBezTo>
                <a:cubicBezTo>
                  <a:pt x="905" y="380"/>
                  <a:pt x="905" y="380"/>
                  <a:pt x="905" y="380"/>
                </a:cubicBezTo>
                <a:cubicBezTo>
                  <a:pt x="904" y="382"/>
                  <a:pt x="904" y="382"/>
                  <a:pt x="904" y="382"/>
                </a:cubicBezTo>
                <a:cubicBezTo>
                  <a:pt x="906" y="381"/>
                  <a:pt x="906" y="381"/>
                  <a:pt x="906" y="381"/>
                </a:cubicBezTo>
                <a:cubicBezTo>
                  <a:pt x="906" y="382"/>
                  <a:pt x="906" y="382"/>
                  <a:pt x="906" y="382"/>
                </a:cubicBezTo>
                <a:cubicBezTo>
                  <a:pt x="906" y="382"/>
                  <a:pt x="906" y="382"/>
                  <a:pt x="907" y="381"/>
                </a:cubicBezTo>
                <a:close/>
                <a:moveTo>
                  <a:pt x="883" y="408"/>
                </a:moveTo>
                <a:cubicBezTo>
                  <a:pt x="883" y="408"/>
                  <a:pt x="883" y="408"/>
                  <a:pt x="882" y="409"/>
                </a:cubicBezTo>
                <a:cubicBezTo>
                  <a:pt x="882" y="409"/>
                  <a:pt x="882" y="409"/>
                  <a:pt x="882" y="410"/>
                </a:cubicBezTo>
                <a:cubicBezTo>
                  <a:pt x="882" y="410"/>
                  <a:pt x="882" y="410"/>
                  <a:pt x="881" y="410"/>
                </a:cubicBezTo>
                <a:cubicBezTo>
                  <a:pt x="881" y="410"/>
                  <a:pt x="881" y="410"/>
                  <a:pt x="880" y="411"/>
                </a:cubicBezTo>
                <a:cubicBezTo>
                  <a:pt x="880" y="411"/>
                  <a:pt x="880" y="411"/>
                  <a:pt x="880" y="412"/>
                </a:cubicBezTo>
                <a:cubicBezTo>
                  <a:pt x="880" y="412"/>
                  <a:pt x="880" y="412"/>
                  <a:pt x="881" y="411"/>
                </a:cubicBezTo>
                <a:cubicBezTo>
                  <a:pt x="881" y="411"/>
                  <a:pt x="881" y="411"/>
                  <a:pt x="882" y="412"/>
                </a:cubicBezTo>
                <a:cubicBezTo>
                  <a:pt x="882" y="412"/>
                  <a:pt x="882" y="412"/>
                  <a:pt x="882" y="411"/>
                </a:cubicBezTo>
                <a:cubicBezTo>
                  <a:pt x="882" y="411"/>
                  <a:pt x="882" y="411"/>
                  <a:pt x="883" y="412"/>
                </a:cubicBezTo>
                <a:cubicBezTo>
                  <a:pt x="883" y="412"/>
                  <a:pt x="883" y="412"/>
                  <a:pt x="884" y="412"/>
                </a:cubicBezTo>
                <a:cubicBezTo>
                  <a:pt x="884" y="412"/>
                  <a:pt x="884" y="412"/>
                  <a:pt x="887" y="413"/>
                </a:cubicBezTo>
                <a:cubicBezTo>
                  <a:pt x="887" y="413"/>
                  <a:pt x="887" y="413"/>
                  <a:pt x="888" y="412"/>
                </a:cubicBezTo>
                <a:cubicBezTo>
                  <a:pt x="888" y="412"/>
                  <a:pt x="888" y="412"/>
                  <a:pt x="887" y="411"/>
                </a:cubicBezTo>
                <a:cubicBezTo>
                  <a:pt x="887" y="411"/>
                  <a:pt x="887" y="411"/>
                  <a:pt x="887" y="410"/>
                </a:cubicBezTo>
                <a:cubicBezTo>
                  <a:pt x="887" y="410"/>
                  <a:pt x="887" y="410"/>
                  <a:pt x="886" y="409"/>
                </a:cubicBezTo>
                <a:cubicBezTo>
                  <a:pt x="886" y="409"/>
                  <a:pt x="886" y="409"/>
                  <a:pt x="884" y="409"/>
                </a:cubicBezTo>
                <a:cubicBezTo>
                  <a:pt x="884" y="409"/>
                  <a:pt x="884" y="409"/>
                  <a:pt x="884" y="408"/>
                </a:cubicBezTo>
                <a:cubicBezTo>
                  <a:pt x="884" y="408"/>
                  <a:pt x="884" y="408"/>
                  <a:pt x="883" y="408"/>
                </a:cubicBezTo>
                <a:close/>
                <a:moveTo>
                  <a:pt x="900" y="380"/>
                </a:moveTo>
                <a:cubicBezTo>
                  <a:pt x="900" y="380"/>
                  <a:pt x="900" y="380"/>
                  <a:pt x="901" y="379"/>
                </a:cubicBezTo>
                <a:cubicBezTo>
                  <a:pt x="901" y="379"/>
                  <a:pt x="901" y="379"/>
                  <a:pt x="902" y="377"/>
                </a:cubicBezTo>
                <a:cubicBezTo>
                  <a:pt x="902" y="377"/>
                  <a:pt x="902" y="377"/>
                  <a:pt x="901" y="378"/>
                </a:cubicBezTo>
                <a:cubicBezTo>
                  <a:pt x="901" y="378"/>
                  <a:pt x="901" y="378"/>
                  <a:pt x="900" y="378"/>
                </a:cubicBezTo>
                <a:cubicBezTo>
                  <a:pt x="900" y="378"/>
                  <a:pt x="900" y="378"/>
                  <a:pt x="900" y="379"/>
                </a:cubicBezTo>
                <a:cubicBezTo>
                  <a:pt x="900" y="379"/>
                  <a:pt x="900" y="379"/>
                  <a:pt x="899" y="379"/>
                </a:cubicBezTo>
                <a:cubicBezTo>
                  <a:pt x="899" y="379"/>
                  <a:pt x="899" y="379"/>
                  <a:pt x="898" y="380"/>
                </a:cubicBezTo>
                <a:cubicBezTo>
                  <a:pt x="898" y="380"/>
                  <a:pt x="898" y="380"/>
                  <a:pt x="899" y="380"/>
                </a:cubicBezTo>
                <a:cubicBezTo>
                  <a:pt x="899" y="380"/>
                  <a:pt x="899" y="380"/>
                  <a:pt x="900" y="380"/>
                </a:cubicBezTo>
                <a:close/>
                <a:moveTo>
                  <a:pt x="917" y="324"/>
                </a:moveTo>
                <a:cubicBezTo>
                  <a:pt x="918" y="324"/>
                  <a:pt x="918" y="324"/>
                  <a:pt x="918" y="324"/>
                </a:cubicBezTo>
                <a:cubicBezTo>
                  <a:pt x="918" y="323"/>
                  <a:pt x="918" y="323"/>
                  <a:pt x="918" y="323"/>
                </a:cubicBezTo>
                <a:cubicBezTo>
                  <a:pt x="919" y="322"/>
                  <a:pt x="919" y="322"/>
                  <a:pt x="919" y="322"/>
                </a:cubicBezTo>
                <a:cubicBezTo>
                  <a:pt x="919" y="321"/>
                  <a:pt x="919" y="321"/>
                  <a:pt x="919" y="321"/>
                </a:cubicBezTo>
                <a:cubicBezTo>
                  <a:pt x="920" y="320"/>
                  <a:pt x="920" y="320"/>
                  <a:pt x="920" y="320"/>
                </a:cubicBezTo>
                <a:cubicBezTo>
                  <a:pt x="921" y="319"/>
                  <a:pt x="921" y="319"/>
                  <a:pt x="921" y="319"/>
                </a:cubicBezTo>
                <a:cubicBezTo>
                  <a:pt x="921" y="318"/>
                  <a:pt x="921" y="318"/>
                  <a:pt x="921" y="318"/>
                </a:cubicBezTo>
                <a:cubicBezTo>
                  <a:pt x="921" y="317"/>
                  <a:pt x="921" y="317"/>
                  <a:pt x="921" y="317"/>
                </a:cubicBezTo>
                <a:cubicBezTo>
                  <a:pt x="922" y="317"/>
                  <a:pt x="922" y="317"/>
                  <a:pt x="922" y="317"/>
                </a:cubicBezTo>
                <a:cubicBezTo>
                  <a:pt x="922" y="316"/>
                  <a:pt x="922" y="316"/>
                  <a:pt x="922" y="316"/>
                </a:cubicBezTo>
                <a:cubicBezTo>
                  <a:pt x="922" y="315"/>
                  <a:pt x="922" y="315"/>
                  <a:pt x="922" y="315"/>
                </a:cubicBezTo>
                <a:cubicBezTo>
                  <a:pt x="922" y="314"/>
                  <a:pt x="922" y="314"/>
                  <a:pt x="922" y="314"/>
                </a:cubicBezTo>
                <a:cubicBezTo>
                  <a:pt x="921" y="314"/>
                  <a:pt x="921" y="314"/>
                  <a:pt x="921" y="314"/>
                </a:cubicBezTo>
                <a:cubicBezTo>
                  <a:pt x="920" y="314"/>
                  <a:pt x="920" y="314"/>
                  <a:pt x="920" y="314"/>
                </a:cubicBezTo>
                <a:cubicBezTo>
                  <a:pt x="920" y="313"/>
                  <a:pt x="920" y="313"/>
                  <a:pt x="920" y="313"/>
                </a:cubicBezTo>
                <a:cubicBezTo>
                  <a:pt x="919" y="314"/>
                  <a:pt x="919" y="314"/>
                  <a:pt x="919" y="314"/>
                </a:cubicBezTo>
                <a:cubicBezTo>
                  <a:pt x="918" y="315"/>
                  <a:pt x="918" y="315"/>
                  <a:pt x="918" y="315"/>
                </a:cubicBezTo>
                <a:cubicBezTo>
                  <a:pt x="917" y="315"/>
                  <a:pt x="917" y="315"/>
                  <a:pt x="917" y="315"/>
                </a:cubicBezTo>
                <a:cubicBezTo>
                  <a:pt x="917" y="316"/>
                  <a:pt x="917" y="316"/>
                  <a:pt x="917" y="316"/>
                </a:cubicBezTo>
                <a:cubicBezTo>
                  <a:pt x="916" y="317"/>
                  <a:pt x="916" y="317"/>
                  <a:pt x="916" y="317"/>
                </a:cubicBezTo>
                <a:cubicBezTo>
                  <a:pt x="917" y="318"/>
                  <a:pt x="917" y="318"/>
                  <a:pt x="917" y="318"/>
                </a:cubicBezTo>
                <a:cubicBezTo>
                  <a:pt x="916" y="318"/>
                  <a:pt x="916" y="318"/>
                  <a:pt x="916" y="318"/>
                </a:cubicBezTo>
                <a:cubicBezTo>
                  <a:pt x="916" y="319"/>
                  <a:pt x="916" y="319"/>
                  <a:pt x="916" y="319"/>
                </a:cubicBezTo>
                <a:cubicBezTo>
                  <a:pt x="916" y="320"/>
                  <a:pt x="916" y="320"/>
                  <a:pt x="916" y="320"/>
                </a:cubicBezTo>
                <a:cubicBezTo>
                  <a:pt x="915" y="321"/>
                  <a:pt x="915" y="321"/>
                  <a:pt x="915" y="321"/>
                </a:cubicBezTo>
                <a:cubicBezTo>
                  <a:pt x="916" y="321"/>
                  <a:pt x="916" y="321"/>
                  <a:pt x="916" y="321"/>
                </a:cubicBezTo>
                <a:cubicBezTo>
                  <a:pt x="916" y="322"/>
                  <a:pt x="916" y="322"/>
                  <a:pt x="916" y="322"/>
                </a:cubicBezTo>
                <a:cubicBezTo>
                  <a:pt x="917" y="322"/>
                  <a:pt x="917" y="322"/>
                  <a:pt x="917" y="322"/>
                </a:cubicBezTo>
                <a:cubicBezTo>
                  <a:pt x="917" y="323"/>
                  <a:pt x="917" y="323"/>
                  <a:pt x="917" y="323"/>
                </a:cubicBezTo>
                <a:cubicBezTo>
                  <a:pt x="917" y="324"/>
                  <a:pt x="917" y="324"/>
                  <a:pt x="917" y="324"/>
                </a:cubicBezTo>
                <a:close/>
                <a:moveTo>
                  <a:pt x="930" y="314"/>
                </a:moveTo>
                <a:cubicBezTo>
                  <a:pt x="931" y="314"/>
                  <a:pt x="931" y="314"/>
                  <a:pt x="931" y="314"/>
                </a:cubicBezTo>
                <a:cubicBezTo>
                  <a:pt x="932" y="314"/>
                  <a:pt x="932" y="314"/>
                  <a:pt x="932" y="314"/>
                </a:cubicBezTo>
                <a:cubicBezTo>
                  <a:pt x="930" y="313"/>
                  <a:pt x="930" y="313"/>
                  <a:pt x="930" y="313"/>
                </a:cubicBezTo>
                <a:cubicBezTo>
                  <a:pt x="930" y="314"/>
                  <a:pt x="930" y="314"/>
                  <a:pt x="930" y="314"/>
                </a:cubicBezTo>
                <a:close/>
                <a:moveTo>
                  <a:pt x="932" y="246"/>
                </a:moveTo>
                <a:cubicBezTo>
                  <a:pt x="933" y="246"/>
                  <a:pt x="933" y="246"/>
                  <a:pt x="933" y="246"/>
                </a:cubicBezTo>
                <a:cubicBezTo>
                  <a:pt x="933" y="246"/>
                  <a:pt x="933" y="246"/>
                  <a:pt x="933" y="245"/>
                </a:cubicBezTo>
                <a:cubicBezTo>
                  <a:pt x="933" y="245"/>
                  <a:pt x="933" y="245"/>
                  <a:pt x="932" y="245"/>
                </a:cubicBezTo>
                <a:cubicBezTo>
                  <a:pt x="932" y="245"/>
                  <a:pt x="932" y="245"/>
                  <a:pt x="932" y="246"/>
                </a:cubicBezTo>
                <a:close/>
                <a:moveTo>
                  <a:pt x="923" y="298"/>
                </a:moveTo>
                <a:cubicBezTo>
                  <a:pt x="922" y="298"/>
                  <a:pt x="922" y="298"/>
                  <a:pt x="922" y="298"/>
                </a:cubicBezTo>
                <a:cubicBezTo>
                  <a:pt x="921" y="297"/>
                  <a:pt x="921" y="297"/>
                  <a:pt x="921" y="297"/>
                </a:cubicBezTo>
                <a:cubicBezTo>
                  <a:pt x="922" y="297"/>
                  <a:pt x="922" y="297"/>
                  <a:pt x="922" y="297"/>
                </a:cubicBezTo>
                <a:cubicBezTo>
                  <a:pt x="922" y="296"/>
                  <a:pt x="922" y="296"/>
                  <a:pt x="922" y="296"/>
                </a:cubicBezTo>
                <a:cubicBezTo>
                  <a:pt x="921" y="295"/>
                  <a:pt x="921" y="295"/>
                  <a:pt x="921" y="295"/>
                </a:cubicBezTo>
                <a:cubicBezTo>
                  <a:pt x="921" y="296"/>
                  <a:pt x="921" y="296"/>
                  <a:pt x="921" y="296"/>
                </a:cubicBezTo>
                <a:cubicBezTo>
                  <a:pt x="920" y="296"/>
                  <a:pt x="920" y="296"/>
                  <a:pt x="920" y="296"/>
                </a:cubicBezTo>
                <a:cubicBezTo>
                  <a:pt x="919" y="295"/>
                  <a:pt x="919" y="295"/>
                  <a:pt x="919" y="295"/>
                </a:cubicBezTo>
                <a:cubicBezTo>
                  <a:pt x="918" y="295"/>
                  <a:pt x="918" y="295"/>
                  <a:pt x="918" y="295"/>
                </a:cubicBezTo>
                <a:cubicBezTo>
                  <a:pt x="917" y="296"/>
                  <a:pt x="917" y="296"/>
                  <a:pt x="917" y="296"/>
                </a:cubicBezTo>
                <a:cubicBezTo>
                  <a:pt x="915" y="296"/>
                  <a:pt x="915" y="296"/>
                  <a:pt x="915" y="296"/>
                </a:cubicBezTo>
                <a:cubicBezTo>
                  <a:pt x="915" y="295"/>
                  <a:pt x="915" y="295"/>
                  <a:pt x="915" y="295"/>
                </a:cubicBezTo>
                <a:cubicBezTo>
                  <a:pt x="916" y="294"/>
                  <a:pt x="916" y="294"/>
                  <a:pt x="916" y="294"/>
                </a:cubicBezTo>
                <a:cubicBezTo>
                  <a:pt x="917" y="294"/>
                  <a:pt x="917" y="294"/>
                  <a:pt x="917" y="294"/>
                </a:cubicBezTo>
                <a:cubicBezTo>
                  <a:pt x="917" y="293"/>
                  <a:pt x="917" y="293"/>
                  <a:pt x="917" y="293"/>
                </a:cubicBezTo>
                <a:cubicBezTo>
                  <a:pt x="917" y="292"/>
                  <a:pt x="917" y="292"/>
                  <a:pt x="917" y="292"/>
                </a:cubicBezTo>
                <a:cubicBezTo>
                  <a:pt x="917" y="291"/>
                  <a:pt x="917" y="291"/>
                  <a:pt x="917" y="291"/>
                </a:cubicBezTo>
                <a:cubicBezTo>
                  <a:pt x="917" y="290"/>
                  <a:pt x="917" y="290"/>
                  <a:pt x="917" y="290"/>
                </a:cubicBezTo>
                <a:cubicBezTo>
                  <a:pt x="917" y="289"/>
                  <a:pt x="917" y="289"/>
                  <a:pt x="917" y="289"/>
                </a:cubicBezTo>
                <a:cubicBezTo>
                  <a:pt x="917" y="288"/>
                  <a:pt x="917" y="288"/>
                  <a:pt x="917" y="288"/>
                </a:cubicBezTo>
                <a:cubicBezTo>
                  <a:pt x="915" y="286"/>
                  <a:pt x="915" y="286"/>
                  <a:pt x="915" y="286"/>
                </a:cubicBezTo>
                <a:cubicBezTo>
                  <a:pt x="913" y="286"/>
                  <a:pt x="913" y="286"/>
                  <a:pt x="913" y="286"/>
                </a:cubicBezTo>
                <a:cubicBezTo>
                  <a:pt x="913" y="285"/>
                  <a:pt x="913" y="285"/>
                  <a:pt x="913" y="285"/>
                </a:cubicBezTo>
                <a:cubicBezTo>
                  <a:pt x="913" y="284"/>
                  <a:pt x="913" y="284"/>
                  <a:pt x="913" y="284"/>
                </a:cubicBezTo>
                <a:cubicBezTo>
                  <a:pt x="912" y="284"/>
                  <a:pt x="912" y="284"/>
                  <a:pt x="912" y="284"/>
                </a:cubicBezTo>
                <a:cubicBezTo>
                  <a:pt x="912" y="283"/>
                  <a:pt x="912" y="283"/>
                  <a:pt x="912" y="283"/>
                </a:cubicBezTo>
                <a:cubicBezTo>
                  <a:pt x="912" y="282"/>
                  <a:pt x="912" y="282"/>
                  <a:pt x="912" y="282"/>
                </a:cubicBezTo>
                <a:cubicBezTo>
                  <a:pt x="912" y="281"/>
                  <a:pt x="912" y="281"/>
                  <a:pt x="912" y="281"/>
                </a:cubicBezTo>
                <a:cubicBezTo>
                  <a:pt x="910" y="281"/>
                  <a:pt x="910" y="281"/>
                  <a:pt x="910" y="281"/>
                </a:cubicBezTo>
                <a:cubicBezTo>
                  <a:pt x="908" y="280"/>
                  <a:pt x="908" y="280"/>
                  <a:pt x="908" y="280"/>
                </a:cubicBezTo>
                <a:cubicBezTo>
                  <a:pt x="907" y="279"/>
                  <a:pt x="907" y="279"/>
                  <a:pt x="907" y="279"/>
                </a:cubicBezTo>
                <a:cubicBezTo>
                  <a:pt x="908" y="278"/>
                  <a:pt x="908" y="278"/>
                  <a:pt x="908" y="278"/>
                </a:cubicBezTo>
                <a:cubicBezTo>
                  <a:pt x="908" y="277"/>
                  <a:pt x="908" y="277"/>
                  <a:pt x="908" y="277"/>
                </a:cubicBezTo>
                <a:cubicBezTo>
                  <a:pt x="907" y="277"/>
                  <a:pt x="907" y="277"/>
                  <a:pt x="907" y="277"/>
                </a:cubicBezTo>
                <a:cubicBezTo>
                  <a:pt x="907" y="276"/>
                  <a:pt x="907" y="276"/>
                  <a:pt x="907" y="276"/>
                </a:cubicBezTo>
                <a:cubicBezTo>
                  <a:pt x="906" y="276"/>
                  <a:pt x="906" y="276"/>
                  <a:pt x="906" y="276"/>
                </a:cubicBezTo>
                <a:cubicBezTo>
                  <a:pt x="905" y="277"/>
                  <a:pt x="905" y="277"/>
                  <a:pt x="905" y="277"/>
                </a:cubicBezTo>
                <a:cubicBezTo>
                  <a:pt x="905" y="278"/>
                  <a:pt x="905" y="278"/>
                  <a:pt x="905" y="278"/>
                </a:cubicBezTo>
                <a:cubicBezTo>
                  <a:pt x="904" y="279"/>
                  <a:pt x="904" y="279"/>
                  <a:pt x="904" y="279"/>
                </a:cubicBezTo>
                <a:cubicBezTo>
                  <a:pt x="904" y="278"/>
                  <a:pt x="904" y="278"/>
                  <a:pt x="904" y="278"/>
                </a:cubicBezTo>
                <a:cubicBezTo>
                  <a:pt x="904" y="277"/>
                  <a:pt x="904" y="277"/>
                  <a:pt x="904" y="277"/>
                </a:cubicBezTo>
                <a:cubicBezTo>
                  <a:pt x="903" y="276"/>
                  <a:pt x="903" y="276"/>
                  <a:pt x="903" y="276"/>
                </a:cubicBezTo>
                <a:cubicBezTo>
                  <a:pt x="903" y="275"/>
                  <a:pt x="903" y="275"/>
                  <a:pt x="903" y="275"/>
                </a:cubicBezTo>
                <a:cubicBezTo>
                  <a:pt x="904" y="275"/>
                  <a:pt x="904" y="275"/>
                  <a:pt x="904" y="275"/>
                </a:cubicBezTo>
                <a:cubicBezTo>
                  <a:pt x="905" y="275"/>
                  <a:pt x="905" y="275"/>
                  <a:pt x="905" y="275"/>
                </a:cubicBezTo>
                <a:cubicBezTo>
                  <a:pt x="905" y="274"/>
                  <a:pt x="905" y="274"/>
                  <a:pt x="905" y="274"/>
                </a:cubicBezTo>
                <a:cubicBezTo>
                  <a:pt x="905" y="273"/>
                  <a:pt x="905" y="273"/>
                  <a:pt x="905" y="273"/>
                </a:cubicBezTo>
                <a:cubicBezTo>
                  <a:pt x="905" y="272"/>
                  <a:pt x="905" y="272"/>
                  <a:pt x="905" y="272"/>
                </a:cubicBezTo>
                <a:cubicBezTo>
                  <a:pt x="903" y="272"/>
                  <a:pt x="903" y="272"/>
                  <a:pt x="903" y="272"/>
                </a:cubicBezTo>
                <a:cubicBezTo>
                  <a:pt x="903" y="271"/>
                  <a:pt x="903" y="271"/>
                  <a:pt x="903" y="271"/>
                </a:cubicBezTo>
                <a:cubicBezTo>
                  <a:pt x="904" y="270"/>
                  <a:pt x="904" y="270"/>
                  <a:pt x="904" y="270"/>
                </a:cubicBezTo>
                <a:cubicBezTo>
                  <a:pt x="901" y="271"/>
                  <a:pt x="901" y="271"/>
                  <a:pt x="901" y="271"/>
                </a:cubicBezTo>
                <a:cubicBezTo>
                  <a:pt x="900" y="272"/>
                  <a:pt x="900" y="272"/>
                  <a:pt x="900" y="272"/>
                </a:cubicBezTo>
                <a:cubicBezTo>
                  <a:pt x="899" y="274"/>
                  <a:pt x="899" y="274"/>
                  <a:pt x="899" y="274"/>
                </a:cubicBezTo>
                <a:cubicBezTo>
                  <a:pt x="898" y="276"/>
                  <a:pt x="898" y="276"/>
                  <a:pt x="898" y="276"/>
                </a:cubicBezTo>
                <a:cubicBezTo>
                  <a:pt x="898" y="277"/>
                  <a:pt x="898" y="277"/>
                  <a:pt x="898" y="277"/>
                </a:cubicBezTo>
                <a:cubicBezTo>
                  <a:pt x="897" y="278"/>
                  <a:pt x="897" y="278"/>
                  <a:pt x="897" y="278"/>
                </a:cubicBezTo>
                <a:cubicBezTo>
                  <a:pt x="897" y="279"/>
                  <a:pt x="897" y="279"/>
                  <a:pt x="897" y="279"/>
                </a:cubicBezTo>
                <a:cubicBezTo>
                  <a:pt x="896" y="281"/>
                  <a:pt x="896" y="281"/>
                  <a:pt x="896" y="281"/>
                </a:cubicBezTo>
                <a:cubicBezTo>
                  <a:pt x="896" y="282"/>
                  <a:pt x="896" y="282"/>
                  <a:pt x="896" y="282"/>
                </a:cubicBezTo>
                <a:cubicBezTo>
                  <a:pt x="895" y="283"/>
                  <a:pt x="895" y="283"/>
                  <a:pt x="895" y="283"/>
                </a:cubicBezTo>
                <a:cubicBezTo>
                  <a:pt x="895" y="284"/>
                  <a:pt x="895" y="284"/>
                  <a:pt x="895" y="284"/>
                </a:cubicBezTo>
                <a:cubicBezTo>
                  <a:pt x="894" y="286"/>
                  <a:pt x="894" y="286"/>
                  <a:pt x="894" y="286"/>
                </a:cubicBezTo>
                <a:cubicBezTo>
                  <a:pt x="893" y="287"/>
                  <a:pt x="893" y="287"/>
                  <a:pt x="893" y="287"/>
                </a:cubicBezTo>
                <a:cubicBezTo>
                  <a:pt x="893" y="288"/>
                  <a:pt x="893" y="288"/>
                  <a:pt x="893" y="288"/>
                </a:cubicBezTo>
                <a:cubicBezTo>
                  <a:pt x="893" y="289"/>
                  <a:pt x="893" y="289"/>
                  <a:pt x="893" y="289"/>
                </a:cubicBezTo>
                <a:cubicBezTo>
                  <a:pt x="893" y="291"/>
                  <a:pt x="893" y="291"/>
                  <a:pt x="893" y="291"/>
                </a:cubicBezTo>
                <a:cubicBezTo>
                  <a:pt x="892" y="292"/>
                  <a:pt x="892" y="292"/>
                  <a:pt x="892" y="292"/>
                </a:cubicBezTo>
                <a:cubicBezTo>
                  <a:pt x="891" y="292"/>
                  <a:pt x="891" y="292"/>
                  <a:pt x="891" y="292"/>
                </a:cubicBezTo>
                <a:cubicBezTo>
                  <a:pt x="889" y="293"/>
                  <a:pt x="889" y="293"/>
                  <a:pt x="889" y="293"/>
                </a:cubicBezTo>
                <a:cubicBezTo>
                  <a:pt x="889" y="294"/>
                  <a:pt x="889" y="294"/>
                  <a:pt x="889" y="294"/>
                </a:cubicBezTo>
                <a:cubicBezTo>
                  <a:pt x="888" y="296"/>
                  <a:pt x="888" y="296"/>
                  <a:pt x="888" y="296"/>
                </a:cubicBezTo>
                <a:cubicBezTo>
                  <a:pt x="888" y="297"/>
                  <a:pt x="888" y="297"/>
                  <a:pt x="888" y="297"/>
                </a:cubicBezTo>
                <a:cubicBezTo>
                  <a:pt x="889" y="297"/>
                  <a:pt x="889" y="297"/>
                  <a:pt x="889" y="297"/>
                </a:cubicBezTo>
                <a:cubicBezTo>
                  <a:pt x="889" y="296"/>
                  <a:pt x="889" y="296"/>
                  <a:pt x="889" y="296"/>
                </a:cubicBezTo>
                <a:cubicBezTo>
                  <a:pt x="890" y="296"/>
                  <a:pt x="890" y="296"/>
                  <a:pt x="890" y="296"/>
                </a:cubicBezTo>
                <a:cubicBezTo>
                  <a:pt x="891" y="297"/>
                  <a:pt x="891" y="297"/>
                  <a:pt x="891" y="297"/>
                </a:cubicBezTo>
                <a:cubicBezTo>
                  <a:pt x="892" y="297"/>
                  <a:pt x="892" y="297"/>
                  <a:pt x="892" y="297"/>
                </a:cubicBezTo>
                <a:cubicBezTo>
                  <a:pt x="892" y="296"/>
                  <a:pt x="892" y="296"/>
                  <a:pt x="892" y="296"/>
                </a:cubicBezTo>
                <a:cubicBezTo>
                  <a:pt x="893" y="296"/>
                  <a:pt x="893" y="296"/>
                  <a:pt x="893" y="296"/>
                </a:cubicBezTo>
                <a:cubicBezTo>
                  <a:pt x="894" y="297"/>
                  <a:pt x="894" y="297"/>
                  <a:pt x="894" y="297"/>
                </a:cubicBezTo>
                <a:cubicBezTo>
                  <a:pt x="894" y="298"/>
                  <a:pt x="894" y="298"/>
                  <a:pt x="894" y="298"/>
                </a:cubicBezTo>
                <a:cubicBezTo>
                  <a:pt x="893" y="299"/>
                  <a:pt x="893" y="299"/>
                  <a:pt x="893" y="299"/>
                </a:cubicBezTo>
                <a:cubicBezTo>
                  <a:pt x="893" y="300"/>
                  <a:pt x="893" y="300"/>
                  <a:pt x="893" y="300"/>
                </a:cubicBezTo>
                <a:cubicBezTo>
                  <a:pt x="892" y="301"/>
                  <a:pt x="892" y="301"/>
                  <a:pt x="892" y="301"/>
                </a:cubicBezTo>
                <a:cubicBezTo>
                  <a:pt x="892" y="302"/>
                  <a:pt x="892" y="302"/>
                  <a:pt x="892" y="302"/>
                </a:cubicBezTo>
                <a:cubicBezTo>
                  <a:pt x="893" y="303"/>
                  <a:pt x="893" y="303"/>
                  <a:pt x="893" y="303"/>
                </a:cubicBezTo>
                <a:cubicBezTo>
                  <a:pt x="894" y="303"/>
                  <a:pt x="894" y="303"/>
                  <a:pt x="894" y="303"/>
                </a:cubicBezTo>
                <a:cubicBezTo>
                  <a:pt x="895" y="303"/>
                  <a:pt x="895" y="303"/>
                  <a:pt x="895" y="303"/>
                </a:cubicBezTo>
                <a:cubicBezTo>
                  <a:pt x="895" y="302"/>
                  <a:pt x="895" y="302"/>
                  <a:pt x="895" y="302"/>
                </a:cubicBezTo>
                <a:cubicBezTo>
                  <a:pt x="896" y="303"/>
                  <a:pt x="896" y="303"/>
                  <a:pt x="896" y="303"/>
                </a:cubicBezTo>
                <a:cubicBezTo>
                  <a:pt x="897" y="302"/>
                  <a:pt x="897" y="302"/>
                  <a:pt x="897" y="302"/>
                </a:cubicBezTo>
                <a:cubicBezTo>
                  <a:pt x="898" y="301"/>
                  <a:pt x="898" y="301"/>
                  <a:pt x="898" y="301"/>
                </a:cubicBezTo>
                <a:cubicBezTo>
                  <a:pt x="898" y="302"/>
                  <a:pt x="898" y="302"/>
                  <a:pt x="898" y="302"/>
                </a:cubicBezTo>
                <a:cubicBezTo>
                  <a:pt x="899" y="301"/>
                  <a:pt x="899" y="301"/>
                  <a:pt x="899" y="301"/>
                </a:cubicBezTo>
                <a:cubicBezTo>
                  <a:pt x="900" y="299"/>
                  <a:pt x="900" y="299"/>
                  <a:pt x="900" y="299"/>
                </a:cubicBezTo>
                <a:cubicBezTo>
                  <a:pt x="901" y="298"/>
                  <a:pt x="901" y="298"/>
                  <a:pt x="901" y="298"/>
                </a:cubicBezTo>
                <a:cubicBezTo>
                  <a:pt x="902" y="298"/>
                  <a:pt x="902" y="298"/>
                  <a:pt x="902" y="298"/>
                </a:cubicBezTo>
                <a:cubicBezTo>
                  <a:pt x="903" y="297"/>
                  <a:pt x="903" y="297"/>
                  <a:pt x="903" y="297"/>
                </a:cubicBezTo>
                <a:cubicBezTo>
                  <a:pt x="904" y="297"/>
                  <a:pt x="904" y="297"/>
                  <a:pt x="904" y="297"/>
                </a:cubicBezTo>
                <a:cubicBezTo>
                  <a:pt x="905" y="297"/>
                  <a:pt x="905" y="297"/>
                  <a:pt x="905" y="297"/>
                </a:cubicBezTo>
                <a:cubicBezTo>
                  <a:pt x="905" y="296"/>
                  <a:pt x="905" y="296"/>
                  <a:pt x="905" y="296"/>
                </a:cubicBezTo>
                <a:cubicBezTo>
                  <a:pt x="905" y="294"/>
                  <a:pt x="905" y="294"/>
                  <a:pt x="905" y="294"/>
                </a:cubicBezTo>
                <a:cubicBezTo>
                  <a:pt x="906" y="293"/>
                  <a:pt x="906" y="293"/>
                  <a:pt x="906" y="293"/>
                </a:cubicBezTo>
                <a:cubicBezTo>
                  <a:pt x="906" y="292"/>
                  <a:pt x="906" y="292"/>
                  <a:pt x="906" y="292"/>
                </a:cubicBezTo>
                <a:cubicBezTo>
                  <a:pt x="907" y="292"/>
                  <a:pt x="907" y="292"/>
                  <a:pt x="907" y="292"/>
                </a:cubicBezTo>
                <a:cubicBezTo>
                  <a:pt x="908" y="293"/>
                  <a:pt x="908" y="293"/>
                  <a:pt x="908" y="293"/>
                </a:cubicBezTo>
                <a:cubicBezTo>
                  <a:pt x="908" y="292"/>
                  <a:pt x="908" y="292"/>
                  <a:pt x="908" y="292"/>
                </a:cubicBezTo>
                <a:cubicBezTo>
                  <a:pt x="909" y="292"/>
                  <a:pt x="909" y="292"/>
                  <a:pt x="909" y="292"/>
                </a:cubicBezTo>
                <a:cubicBezTo>
                  <a:pt x="910" y="292"/>
                  <a:pt x="910" y="292"/>
                  <a:pt x="910" y="292"/>
                </a:cubicBezTo>
                <a:cubicBezTo>
                  <a:pt x="910" y="293"/>
                  <a:pt x="910" y="293"/>
                  <a:pt x="910" y="293"/>
                </a:cubicBezTo>
                <a:cubicBezTo>
                  <a:pt x="909" y="294"/>
                  <a:pt x="909" y="294"/>
                  <a:pt x="909" y="294"/>
                </a:cubicBezTo>
                <a:cubicBezTo>
                  <a:pt x="908" y="295"/>
                  <a:pt x="908" y="295"/>
                  <a:pt x="908" y="295"/>
                </a:cubicBezTo>
                <a:cubicBezTo>
                  <a:pt x="909" y="295"/>
                  <a:pt x="909" y="295"/>
                  <a:pt x="909" y="295"/>
                </a:cubicBezTo>
                <a:cubicBezTo>
                  <a:pt x="911" y="295"/>
                  <a:pt x="911" y="295"/>
                  <a:pt x="911" y="295"/>
                </a:cubicBezTo>
                <a:cubicBezTo>
                  <a:pt x="912" y="296"/>
                  <a:pt x="912" y="296"/>
                  <a:pt x="912" y="296"/>
                </a:cubicBezTo>
                <a:cubicBezTo>
                  <a:pt x="912" y="297"/>
                  <a:pt x="912" y="297"/>
                  <a:pt x="912" y="297"/>
                </a:cubicBezTo>
                <a:cubicBezTo>
                  <a:pt x="912" y="298"/>
                  <a:pt x="912" y="298"/>
                  <a:pt x="912" y="298"/>
                </a:cubicBezTo>
                <a:cubicBezTo>
                  <a:pt x="911" y="298"/>
                  <a:pt x="911" y="298"/>
                  <a:pt x="911" y="298"/>
                </a:cubicBezTo>
                <a:cubicBezTo>
                  <a:pt x="911" y="299"/>
                  <a:pt x="911" y="299"/>
                  <a:pt x="911" y="299"/>
                </a:cubicBezTo>
                <a:cubicBezTo>
                  <a:pt x="911" y="300"/>
                  <a:pt x="911" y="300"/>
                  <a:pt x="911" y="300"/>
                </a:cubicBezTo>
                <a:cubicBezTo>
                  <a:pt x="912" y="299"/>
                  <a:pt x="912" y="299"/>
                  <a:pt x="912" y="299"/>
                </a:cubicBezTo>
                <a:cubicBezTo>
                  <a:pt x="913" y="299"/>
                  <a:pt x="913" y="299"/>
                  <a:pt x="913" y="299"/>
                </a:cubicBezTo>
                <a:cubicBezTo>
                  <a:pt x="913" y="300"/>
                  <a:pt x="913" y="300"/>
                  <a:pt x="913" y="300"/>
                </a:cubicBezTo>
                <a:cubicBezTo>
                  <a:pt x="914" y="300"/>
                  <a:pt x="914" y="300"/>
                  <a:pt x="914" y="300"/>
                </a:cubicBezTo>
                <a:cubicBezTo>
                  <a:pt x="915" y="300"/>
                  <a:pt x="915" y="300"/>
                  <a:pt x="915" y="300"/>
                </a:cubicBezTo>
                <a:cubicBezTo>
                  <a:pt x="916" y="301"/>
                  <a:pt x="916" y="301"/>
                  <a:pt x="916" y="301"/>
                </a:cubicBezTo>
                <a:cubicBezTo>
                  <a:pt x="917" y="301"/>
                  <a:pt x="917" y="301"/>
                  <a:pt x="917" y="301"/>
                </a:cubicBezTo>
                <a:cubicBezTo>
                  <a:pt x="918" y="302"/>
                  <a:pt x="918" y="302"/>
                  <a:pt x="918" y="302"/>
                </a:cubicBezTo>
                <a:cubicBezTo>
                  <a:pt x="919" y="302"/>
                  <a:pt x="919" y="302"/>
                  <a:pt x="919" y="302"/>
                </a:cubicBezTo>
                <a:cubicBezTo>
                  <a:pt x="920" y="300"/>
                  <a:pt x="920" y="300"/>
                  <a:pt x="920" y="300"/>
                </a:cubicBezTo>
                <a:cubicBezTo>
                  <a:pt x="921" y="299"/>
                  <a:pt x="921" y="299"/>
                  <a:pt x="921" y="299"/>
                </a:cubicBezTo>
                <a:cubicBezTo>
                  <a:pt x="922" y="299"/>
                  <a:pt x="922" y="299"/>
                  <a:pt x="922" y="299"/>
                </a:cubicBezTo>
                <a:cubicBezTo>
                  <a:pt x="923" y="298"/>
                  <a:pt x="923" y="298"/>
                  <a:pt x="923" y="298"/>
                </a:cubicBezTo>
                <a:close/>
                <a:moveTo>
                  <a:pt x="911" y="269"/>
                </a:moveTo>
                <a:cubicBezTo>
                  <a:pt x="911" y="270"/>
                  <a:pt x="911" y="270"/>
                  <a:pt x="911" y="270"/>
                </a:cubicBezTo>
                <a:cubicBezTo>
                  <a:pt x="911" y="270"/>
                  <a:pt x="911" y="270"/>
                  <a:pt x="912" y="271"/>
                </a:cubicBezTo>
                <a:cubicBezTo>
                  <a:pt x="912" y="271"/>
                  <a:pt x="912" y="271"/>
                  <a:pt x="912" y="272"/>
                </a:cubicBezTo>
                <a:cubicBezTo>
                  <a:pt x="912" y="272"/>
                  <a:pt x="912" y="272"/>
                  <a:pt x="913" y="273"/>
                </a:cubicBezTo>
                <a:cubicBezTo>
                  <a:pt x="913" y="273"/>
                  <a:pt x="913" y="273"/>
                  <a:pt x="913" y="274"/>
                </a:cubicBezTo>
                <a:cubicBezTo>
                  <a:pt x="913" y="274"/>
                  <a:pt x="913" y="274"/>
                  <a:pt x="914" y="274"/>
                </a:cubicBezTo>
                <a:cubicBezTo>
                  <a:pt x="914" y="274"/>
                  <a:pt x="914" y="274"/>
                  <a:pt x="916" y="274"/>
                </a:cubicBezTo>
                <a:cubicBezTo>
                  <a:pt x="916" y="274"/>
                  <a:pt x="916" y="274"/>
                  <a:pt x="916" y="273"/>
                </a:cubicBezTo>
                <a:cubicBezTo>
                  <a:pt x="916" y="273"/>
                  <a:pt x="916" y="273"/>
                  <a:pt x="915" y="273"/>
                </a:cubicBezTo>
                <a:cubicBezTo>
                  <a:pt x="915" y="273"/>
                  <a:pt x="915" y="273"/>
                  <a:pt x="914" y="273"/>
                </a:cubicBezTo>
                <a:cubicBezTo>
                  <a:pt x="914" y="273"/>
                  <a:pt x="914" y="273"/>
                  <a:pt x="914" y="271"/>
                </a:cubicBezTo>
                <a:cubicBezTo>
                  <a:pt x="914" y="271"/>
                  <a:pt x="914" y="271"/>
                  <a:pt x="913" y="270"/>
                </a:cubicBezTo>
                <a:cubicBezTo>
                  <a:pt x="913" y="270"/>
                  <a:pt x="913" y="270"/>
                  <a:pt x="913" y="269"/>
                </a:cubicBezTo>
                <a:cubicBezTo>
                  <a:pt x="913" y="269"/>
                  <a:pt x="913" y="269"/>
                  <a:pt x="911" y="269"/>
                </a:cubicBezTo>
                <a:close/>
                <a:moveTo>
                  <a:pt x="918" y="267"/>
                </a:moveTo>
                <a:cubicBezTo>
                  <a:pt x="918" y="268"/>
                  <a:pt x="918" y="268"/>
                  <a:pt x="918" y="268"/>
                </a:cubicBezTo>
                <a:cubicBezTo>
                  <a:pt x="919" y="268"/>
                  <a:pt x="919" y="268"/>
                  <a:pt x="919" y="268"/>
                </a:cubicBezTo>
                <a:cubicBezTo>
                  <a:pt x="918" y="267"/>
                  <a:pt x="918" y="267"/>
                  <a:pt x="918" y="267"/>
                </a:cubicBezTo>
                <a:close/>
                <a:moveTo>
                  <a:pt x="908" y="270"/>
                </a:moveTo>
                <a:cubicBezTo>
                  <a:pt x="908" y="270"/>
                  <a:pt x="908" y="270"/>
                  <a:pt x="907" y="269"/>
                </a:cubicBezTo>
                <a:cubicBezTo>
                  <a:pt x="907" y="269"/>
                  <a:pt x="907" y="269"/>
                  <a:pt x="906" y="270"/>
                </a:cubicBezTo>
                <a:cubicBezTo>
                  <a:pt x="906" y="270"/>
                  <a:pt x="906" y="270"/>
                  <a:pt x="906" y="271"/>
                </a:cubicBezTo>
                <a:cubicBezTo>
                  <a:pt x="906" y="271"/>
                  <a:pt x="906" y="271"/>
                  <a:pt x="906" y="272"/>
                </a:cubicBezTo>
                <a:cubicBezTo>
                  <a:pt x="906" y="272"/>
                  <a:pt x="906" y="272"/>
                  <a:pt x="906" y="273"/>
                </a:cubicBezTo>
                <a:cubicBezTo>
                  <a:pt x="906" y="273"/>
                  <a:pt x="906" y="273"/>
                  <a:pt x="906" y="274"/>
                </a:cubicBezTo>
                <a:cubicBezTo>
                  <a:pt x="906" y="274"/>
                  <a:pt x="906" y="274"/>
                  <a:pt x="907" y="274"/>
                </a:cubicBezTo>
                <a:cubicBezTo>
                  <a:pt x="907" y="274"/>
                  <a:pt x="907" y="274"/>
                  <a:pt x="908" y="272"/>
                </a:cubicBezTo>
                <a:cubicBezTo>
                  <a:pt x="908" y="272"/>
                  <a:pt x="908" y="272"/>
                  <a:pt x="907" y="271"/>
                </a:cubicBezTo>
                <a:cubicBezTo>
                  <a:pt x="907" y="271"/>
                  <a:pt x="907" y="271"/>
                  <a:pt x="907" y="270"/>
                </a:cubicBezTo>
                <a:cubicBezTo>
                  <a:pt x="907" y="270"/>
                  <a:pt x="907" y="270"/>
                  <a:pt x="908" y="270"/>
                </a:cubicBezTo>
                <a:close/>
                <a:moveTo>
                  <a:pt x="908" y="311"/>
                </a:moveTo>
                <a:cubicBezTo>
                  <a:pt x="910" y="310"/>
                  <a:pt x="910" y="310"/>
                  <a:pt x="910" y="310"/>
                </a:cubicBezTo>
                <a:cubicBezTo>
                  <a:pt x="910" y="309"/>
                  <a:pt x="910" y="309"/>
                  <a:pt x="910" y="309"/>
                </a:cubicBezTo>
                <a:cubicBezTo>
                  <a:pt x="911" y="308"/>
                  <a:pt x="911" y="308"/>
                  <a:pt x="911" y="308"/>
                </a:cubicBezTo>
                <a:cubicBezTo>
                  <a:pt x="909" y="308"/>
                  <a:pt x="909" y="308"/>
                  <a:pt x="909" y="308"/>
                </a:cubicBezTo>
                <a:cubicBezTo>
                  <a:pt x="909" y="307"/>
                  <a:pt x="909" y="307"/>
                  <a:pt x="909" y="307"/>
                </a:cubicBezTo>
                <a:cubicBezTo>
                  <a:pt x="908" y="307"/>
                  <a:pt x="908" y="307"/>
                  <a:pt x="908" y="307"/>
                </a:cubicBezTo>
                <a:cubicBezTo>
                  <a:pt x="907" y="308"/>
                  <a:pt x="907" y="308"/>
                  <a:pt x="907" y="308"/>
                </a:cubicBezTo>
                <a:cubicBezTo>
                  <a:pt x="907" y="307"/>
                  <a:pt x="907" y="307"/>
                  <a:pt x="907" y="307"/>
                </a:cubicBezTo>
                <a:cubicBezTo>
                  <a:pt x="906" y="308"/>
                  <a:pt x="906" y="308"/>
                  <a:pt x="906" y="308"/>
                </a:cubicBezTo>
                <a:cubicBezTo>
                  <a:pt x="905" y="308"/>
                  <a:pt x="905" y="308"/>
                  <a:pt x="905" y="308"/>
                </a:cubicBezTo>
                <a:cubicBezTo>
                  <a:pt x="904" y="308"/>
                  <a:pt x="904" y="308"/>
                  <a:pt x="904" y="308"/>
                </a:cubicBezTo>
                <a:cubicBezTo>
                  <a:pt x="904" y="307"/>
                  <a:pt x="904" y="307"/>
                  <a:pt x="904" y="307"/>
                </a:cubicBezTo>
                <a:cubicBezTo>
                  <a:pt x="903" y="307"/>
                  <a:pt x="903" y="307"/>
                  <a:pt x="903" y="307"/>
                </a:cubicBezTo>
                <a:cubicBezTo>
                  <a:pt x="902" y="307"/>
                  <a:pt x="902" y="307"/>
                  <a:pt x="902" y="307"/>
                </a:cubicBezTo>
                <a:cubicBezTo>
                  <a:pt x="901" y="309"/>
                  <a:pt x="901" y="309"/>
                  <a:pt x="901" y="309"/>
                </a:cubicBezTo>
                <a:cubicBezTo>
                  <a:pt x="901" y="310"/>
                  <a:pt x="901" y="310"/>
                  <a:pt x="901" y="310"/>
                </a:cubicBezTo>
                <a:cubicBezTo>
                  <a:pt x="900" y="310"/>
                  <a:pt x="900" y="310"/>
                  <a:pt x="900" y="310"/>
                </a:cubicBezTo>
                <a:cubicBezTo>
                  <a:pt x="898" y="311"/>
                  <a:pt x="898" y="311"/>
                  <a:pt x="898" y="311"/>
                </a:cubicBezTo>
                <a:cubicBezTo>
                  <a:pt x="898" y="312"/>
                  <a:pt x="898" y="312"/>
                  <a:pt x="898" y="312"/>
                </a:cubicBezTo>
                <a:cubicBezTo>
                  <a:pt x="899" y="313"/>
                  <a:pt x="899" y="313"/>
                  <a:pt x="899" y="313"/>
                </a:cubicBezTo>
                <a:cubicBezTo>
                  <a:pt x="898" y="314"/>
                  <a:pt x="898" y="314"/>
                  <a:pt x="898" y="314"/>
                </a:cubicBezTo>
                <a:cubicBezTo>
                  <a:pt x="898" y="315"/>
                  <a:pt x="898" y="315"/>
                  <a:pt x="898" y="315"/>
                </a:cubicBezTo>
                <a:cubicBezTo>
                  <a:pt x="899" y="316"/>
                  <a:pt x="899" y="316"/>
                  <a:pt x="899" y="316"/>
                </a:cubicBezTo>
                <a:cubicBezTo>
                  <a:pt x="900" y="314"/>
                  <a:pt x="900" y="314"/>
                  <a:pt x="900" y="314"/>
                </a:cubicBezTo>
                <a:cubicBezTo>
                  <a:pt x="901" y="314"/>
                  <a:pt x="901" y="314"/>
                  <a:pt x="901" y="314"/>
                </a:cubicBezTo>
                <a:cubicBezTo>
                  <a:pt x="902" y="314"/>
                  <a:pt x="902" y="314"/>
                  <a:pt x="902" y="314"/>
                </a:cubicBezTo>
                <a:cubicBezTo>
                  <a:pt x="902" y="315"/>
                  <a:pt x="902" y="315"/>
                  <a:pt x="902" y="315"/>
                </a:cubicBezTo>
                <a:cubicBezTo>
                  <a:pt x="903" y="315"/>
                  <a:pt x="903" y="315"/>
                  <a:pt x="903" y="315"/>
                </a:cubicBezTo>
                <a:cubicBezTo>
                  <a:pt x="904" y="313"/>
                  <a:pt x="904" y="313"/>
                  <a:pt x="904" y="313"/>
                </a:cubicBezTo>
                <a:cubicBezTo>
                  <a:pt x="905" y="313"/>
                  <a:pt x="905" y="313"/>
                  <a:pt x="905" y="313"/>
                </a:cubicBezTo>
                <a:cubicBezTo>
                  <a:pt x="906" y="312"/>
                  <a:pt x="906" y="312"/>
                  <a:pt x="906" y="312"/>
                </a:cubicBezTo>
                <a:cubicBezTo>
                  <a:pt x="907" y="311"/>
                  <a:pt x="907" y="311"/>
                  <a:pt x="907" y="311"/>
                </a:cubicBezTo>
                <a:cubicBezTo>
                  <a:pt x="908" y="311"/>
                  <a:pt x="908" y="311"/>
                  <a:pt x="908" y="311"/>
                </a:cubicBezTo>
                <a:close/>
                <a:moveTo>
                  <a:pt x="893" y="407"/>
                </a:moveTo>
                <a:cubicBezTo>
                  <a:pt x="892" y="407"/>
                  <a:pt x="892" y="407"/>
                  <a:pt x="892" y="407"/>
                </a:cubicBezTo>
                <a:cubicBezTo>
                  <a:pt x="892" y="408"/>
                  <a:pt x="892" y="408"/>
                  <a:pt x="892" y="408"/>
                </a:cubicBezTo>
                <a:cubicBezTo>
                  <a:pt x="892" y="409"/>
                  <a:pt x="892" y="409"/>
                  <a:pt x="892" y="409"/>
                </a:cubicBezTo>
                <a:cubicBezTo>
                  <a:pt x="893" y="408"/>
                  <a:pt x="893" y="408"/>
                  <a:pt x="893" y="408"/>
                </a:cubicBezTo>
                <a:cubicBezTo>
                  <a:pt x="893" y="407"/>
                  <a:pt x="893" y="407"/>
                  <a:pt x="893" y="407"/>
                </a:cubicBezTo>
                <a:close/>
                <a:moveTo>
                  <a:pt x="989" y="482"/>
                </a:moveTo>
                <a:cubicBezTo>
                  <a:pt x="989" y="482"/>
                  <a:pt x="989" y="482"/>
                  <a:pt x="990" y="481"/>
                </a:cubicBezTo>
                <a:cubicBezTo>
                  <a:pt x="990" y="481"/>
                  <a:pt x="990" y="481"/>
                  <a:pt x="991" y="482"/>
                </a:cubicBezTo>
                <a:cubicBezTo>
                  <a:pt x="991" y="482"/>
                  <a:pt x="991" y="482"/>
                  <a:pt x="992" y="482"/>
                </a:cubicBezTo>
                <a:cubicBezTo>
                  <a:pt x="992" y="482"/>
                  <a:pt x="992" y="482"/>
                  <a:pt x="994" y="480"/>
                </a:cubicBezTo>
                <a:cubicBezTo>
                  <a:pt x="994" y="480"/>
                  <a:pt x="994" y="480"/>
                  <a:pt x="995" y="480"/>
                </a:cubicBezTo>
                <a:cubicBezTo>
                  <a:pt x="995" y="480"/>
                  <a:pt x="995" y="480"/>
                  <a:pt x="996" y="480"/>
                </a:cubicBezTo>
                <a:cubicBezTo>
                  <a:pt x="996" y="480"/>
                  <a:pt x="996" y="480"/>
                  <a:pt x="997" y="479"/>
                </a:cubicBezTo>
                <a:cubicBezTo>
                  <a:pt x="997" y="479"/>
                  <a:pt x="997" y="479"/>
                  <a:pt x="997" y="477"/>
                </a:cubicBezTo>
                <a:cubicBezTo>
                  <a:pt x="997" y="477"/>
                  <a:pt x="997" y="477"/>
                  <a:pt x="995" y="477"/>
                </a:cubicBezTo>
                <a:cubicBezTo>
                  <a:pt x="995" y="477"/>
                  <a:pt x="995" y="477"/>
                  <a:pt x="995" y="478"/>
                </a:cubicBezTo>
                <a:cubicBezTo>
                  <a:pt x="995" y="478"/>
                  <a:pt x="995" y="478"/>
                  <a:pt x="994" y="478"/>
                </a:cubicBezTo>
                <a:cubicBezTo>
                  <a:pt x="994" y="478"/>
                  <a:pt x="994" y="478"/>
                  <a:pt x="994" y="477"/>
                </a:cubicBezTo>
                <a:cubicBezTo>
                  <a:pt x="994" y="477"/>
                  <a:pt x="994" y="477"/>
                  <a:pt x="994" y="476"/>
                </a:cubicBezTo>
                <a:cubicBezTo>
                  <a:pt x="994" y="476"/>
                  <a:pt x="994" y="476"/>
                  <a:pt x="992" y="476"/>
                </a:cubicBezTo>
                <a:cubicBezTo>
                  <a:pt x="992" y="476"/>
                  <a:pt x="992" y="476"/>
                  <a:pt x="993" y="475"/>
                </a:cubicBezTo>
                <a:cubicBezTo>
                  <a:pt x="993" y="475"/>
                  <a:pt x="993" y="475"/>
                  <a:pt x="994" y="473"/>
                </a:cubicBezTo>
                <a:cubicBezTo>
                  <a:pt x="994" y="473"/>
                  <a:pt x="994" y="473"/>
                  <a:pt x="994" y="472"/>
                </a:cubicBezTo>
                <a:cubicBezTo>
                  <a:pt x="994" y="472"/>
                  <a:pt x="994" y="472"/>
                  <a:pt x="993" y="472"/>
                </a:cubicBezTo>
                <a:cubicBezTo>
                  <a:pt x="993" y="472"/>
                  <a:pt x="993" y="472"/>
                  <a:pt x="994" y="471"/>
                </a:cubicBezTo>
                <a:cubicBezTo>
                  <a:pt x="994" y="471"/>
                  <a:pt x="994" y="471"/>
                  <a:pt x="994" y="470"/>
                </a:cubicBezTo>
                <a:cubicBezTo>
                  <a:pt x="994" y="470"/>
                  <a:pt x="994" y="470"/>
                  <a:pt x="993" y="470"/>
                </a:cubicBezTo>
                <a:cubicBezTo>
                  <a:pt x="993" y="470"/>
                  <a:pt x="993" y="470"/>
                  <a:pt x="992" y="471"/>
                </a:cubicBezTo>
                <a:cubicBezTo>
                  <a:pt x="992" y="471"/>
                  <a:pt x="992" y="471"/>
                  <a:pt x="991" y="473"/>
                </a:cubicBezTo>
                <a:cubicBezTo>
                  <a:pt x="991" y="473"/>
                  <a:pt x="991" y="473"/>
                  <a:pt x="990" y="474"/>
                </a:cubicBezTo>
                <a:cubicBezTo>
                  <a:pt x="990" y="474"/>
                  <a:pt x="990" y="474"/>
                  <a:pt x="990" y="475"/>
                </a:cubicBezTo>
                <a:cubicBezTo>
                  <a:pt x="990" y="475"/>
                  <a:pt x="990" y="475"/>
                  <a:pt x="988" y="477"/>
                </a:cubicBezTo>
                <a:cubicBezTo>
                  <a:pt x="988" y="477"/>
                  <a:pt x="988" y="477"/>
                  <a:pt x="987" y="478"/>
                </a:cubicBezTo>
                <a:cubicBezTo>
                  <a:pt x="987" y="478"/>
                  <a:pt x="987" y="478"/>
                  <a:pt x="986" y="478"/>
                </a:cubicBezTo>
                <a:cubicBezTo>
                  <a:pt x="986" y="478"/>
                  <a:pt x="986" y="478"/>
                  <a:pt x="987" y="479"/>
                </a:cubicBezTo>
                <a:cubicBezTo>
                  <a:pt x="987" y="479"/>
                  <a:pt x="987" y="479"/>
                  <a:pt x="987" y="481"/>
                </a:cubicBezTo>
                <a:cubicBezTo>
                  <a:pt x="987" y="481"/>
                  <a:pt x="987" y="481"/>
                  <a:pt x="989" y="482"/>
                </a:cubicBezTo>
                <a:close/>
                <a:moveTo>
                  <a:pt x="968" y="355"/>
                </a:moveTo>
                <a:cubicBezTo>
                  <a:pt x="967" y="354"/>
                  <a:pt x="967" y="354"/>
                  <a:pt x="967" y="354"/>
                </a:cubicBezTo>
                <a:cubicBezTo>
                  <a:pt x="967" y="355"/>
                  <a:pt x="967" y="355"/>
                  <a:pt x="967" y="355"/>
                </a:cubicBezTo>
                <a:cubicBezTo>
                  <a:pt x="967" y="356"/>
                  <a:pt x="967" y="356"/>
                  <a:pt x="967" y="356"/>
                </a:cubicBezTo>
                <a:cubicBezTo>
                  <a:pt x="967" y="357"/>
                  <a:pt x="967" y="357"/>
                  <a:pt x="967" y="357"/>
                </a:cubicBezTo>
                <a:cubicBezTo>
                  <a:pt x="968" y="356"/>
                  <a:pt x="968" y="356"/>
                  <a:pt x="968" y="356"/>
                </a:cubicBezTo>
                <a:cubicBezTo>
                  <a:pt x="968" y="355"/>
                  <a:pt x="968" y="355"/>
                  <a:pt x="968" y="355"/>
                </a:cubicBezTo>
                <a:close/>
                <a:moveTo>
                  <a:pt x="929" y="154"/>
                </a:moveTo>
                <a:cubicBezTo>
                  <a:pt x="929" y="154"/>
                  <a:pt x="929" y="154"/>
                  <a:pt x="929" y="155"/>
                </a:cubicBezTo>
                <a:cubicBezTo>
                  <a:pt x="929" y="155"/>
                  <a:pt x="929" y="155"/>
                  <a:pt x="930" y="155"/>
                </a:cubicBezTo>
                <a:cubicBezTo>
                  <a:pt x="930" y="155"/>
                  <a:pt x="930" y="155"/>
                  <a:pt x="931" y="154"/>
                </a:cubicBezTo>
                <a:cubicBezTo>
                  <a:pt x="931" y="154"/>
                  <a:pt x="931" y="154"/>
                  <a:pt x="929" y="153"/>
                </a:cubicBezTo>
                <a:cubicBezTo>
                  <a:pt x="929" y="153"/>
                  <a:pt x="929" y="153"/>
                  <a:pt x="929" y="154"/>
                </a:cubicBezTo>
                <a:close/>
                <a:moveTo>
                  <a:pt x="909" y="140"/>
                </a:moveTo>
                <a:cubicBezTo>
                  <a:pt x="909" y="140"/>
                  <a:pt x="909" y="140"/>
                  <a:pt x="910" y="140"/>
                </a:cubicBezTo>
                <a:cubicBezTo>
                  <a:pt x="910" y="140"/>
                  <a:pt x="910" y="140"/>
                  <a:pt x="910" y="139"/>
                </a:cubicBezTo>
                <a:cubicBezTo>
                  <a:pt x="910" y="139"/>
                  <a:pt x="910" y="139"/>
                  <a:pt x="910" y="138"/>
                </a:cubicBezTo>
                <a:cubicBezTo>
                  <a:pt x="910" y="138"/>
                  <a:pt x="910" y="138"/>
                  <a:pt x="909" y="138"/>
                </a:cubicBezTo>
                <a:cubicBezTo>
                  <a:pt x="909" y="138"/>
                  <a:pt x="909" y="138"/>
                  <a:pt x="908" y="138"/>
                </a:cubicBezTo>
                <a:cubicBezTo>
                  <a:pt x="908" y="138"/>
                  <a:pt x="908" y="138"/>
                  <a:pt x="909" y="140"/>
                </a:cubicBezTo>
                <a:close/>
                <a:moveTo>
                  <a:pt x="986" y="187"/>
                </a:moveTo>
                <a:cubicBezTo>
                  <a:pt x="986" y="187"/>
                  <a:pt x="986" y="187"/>
                  <a:pt x="986" y="186"/>
                </a:cubicBezTo>
                <a:cubicBezTo>
                  <a:pt x="986" y="186"/>
                  <a:pt x="986" y="186"/>
                  <a:pt x="987" y="186"/>
                </a:cubicBezTo>
                <a:cubicBezTo>
                  <a:pt x="987" y="186"/>
                  <a:pt x="987" y="186"/>
                  <a:pt x="987" y="185"/>
                </a:cubicBezTo>
                <a:cubicBezTo>
                  <a:pt x="987" y="185"/>
                  <a:pt x="987" y="185"/>
                  <a:pt x="985" y="185"/>
                </a:cubicBezTo>
                <a:cubicBezTo>
                  <a:pt x="985" y="185"/>
                  <a:pt x="985" y="185"/>
                  <a:pt x="986" y="184"/>
                </a:cubicBezTo>
                <a:cubicBezTo>
                  <a:pt x="986" y="184"/>
                  <a:pt x="986" y="184"/>
                  <a:pt x="986" y="183"/>
                </a:cubicBezTo>
                <a:cubicBezTo>
                  <a:pt x="986" y="183"/>
                  <a:pt x="986" y="183"/>
                  <a:pt x="986" y="182"/>
                </a:cubicBezTo>
                <a:cubicBezTo>
                  <a:pt x="986" y="182"/>
                  <a:pt x="986" y="182"/>
                  <a:pt x="986" y="181"/>
                </a:cubicBezTo>
                <a:cubicBezTo>
                  <a:pt x="986" y="181"/>
                  <a:pt x="986" y="181"/>
                  <a:pt x="985" y="180"/>
                </a:cubicBezTo>
                <a:cubicBezTo>
                  <a:pt x="985" y="180"/>
                  <a:pt x="985" y="180"/>
                  <a:pt x="986" y="179"/>
                </a:cubicBezTo>
                <a:cubicBezTo>
                  <a:pt x="986" y="179"/>
                  <a:pt x="986" y="179"/>
                  <a:pt x="985" y="178"/>
                </a:cubicBezTo>
                <a:cubicBezTo>
                  <a:pt x="985" y="178"/>
                  <a:pt x="985" y="178"/>
                  <a:pt x="985" y="177"/>
                </a:cubicBezTo>
                <a:cubicBezTo>
                  <a:pt x="985" y="177"/>
                  <a:pt x="985" y="177"/>
                  <a:pt x="985" y="176"/>
                </a:cubicBezTo>
                <a:cubicBezTo>
                  <a:pt x="985" y="176"/>
                  <a:pt x="985" y="176"/>
                  <a:pt x="985" y="175"/>
                </a:cubicBezTo>
                <a:cubicBezTo>
                  <a:pt x="985" y="175"/>
                  <a:pt x="985" y="175"/>
                  <a:pt x="983" y="174"/>
                </a:cubicBezTo>
                <a:cubicBezTo>
                  <a:pt x="983" y="174"/>
                  <a:pt x="983" y="174"/>
                  <a:pt x="982" y="173"/>
                </a:cubicBezTo>
                <a:cubicBezTo>
                  <a:pt x="982" y="173"/>
                  <a:pt x="982" y="173"/>
                  <a:pt x="982" y="172"/>
                </a:cubicBezTo>
                <a:cubicBezTo>
                  <a:pt x="982" y="172"/>
                  <a:pt x="982" y="172"/>
                  <a:pt x="980" y="172"/>
                </a:cubicBezTo>
                <a:cubicBezTo>
                  <a:pt x="980" y="172"/>
                  <a:pt x="980" y="172"/>
                  <a:pt x="978" y="171"/>
                </a:cubicBezTo>
                <a:cubicBezTo>
                  <a:pt x="978" y="171"/>
                  <a:pt x="978" y="171"/>
                  <a:pt x="977" y="172"/>
                </a:cubicBezTo>
                <a:cubicBezTo>
                  <a:pt x="977" y="172"/>
                  <a:pt x="977" y="172"/>
                  <a:pt x="976" y="171"/>
                </a:cubicBezTo>
                <a:cubicBezTo>
                  <a:pt x="976" y="171"/>
                  <a:pt x="976" y="171"/>
                  <a:pt x="975" y="170"/>
                </a:cubicBezTo>
                <a:cubicBezTo>
                  <a:pt x="975" y="170"/>
                  <a:pt x="975" y="170"/>
                  <a:pt x="972" y="170"/>
                </a:cubicBezTo>
                <a:cubicBezTo>
                  <a:pt x="972" y="170"/>
                  <a:pt x="972" y="170"/>
                  <a:pt x="972" y="169"/>
                </a:cubicBezTo>
                <a:cubicBezTo>
                  <a:pt x="972" y="169"/>
                  <a:pt x="972" y="169"/>
                  <a:pt x="971" y="168"/>
                </a:cubicBezTo>
                <a:cubicBezTo>
                  <a:pt x="971" y="168"/>
                  <a:pt x="971" y="168"/>
                  <a:pt x="970" y="168"/>
                </a:cubicBezTo>
                <a:cubicBezTo>
                  <a:pt x="970" y="168"/>
                  <a:pt x="970" y="168"/>
                  <a:pt x="970" y="170"/>
                </a:cubicBezTo>
                <a:cubicBezTo>
                  <a:pt x="970" y="170"/>
                  <a:pt x="970" y="170"/>
                  <a:pt x="969" y="171"/>
                </a:cubicBezTo>
                <a:cubicBezTo>
                  <a:pt x="969" y="171"/>
                  <a:pt x="969" y="171"/>
                  <a:pt x="969" y="172"/>
                </a:cubicBezTo>
                <a:cubicBezTo>
                  <a:pt x="969" y="172"/>
                  <a:pt x="969" y="172"/>
                  <a:pt x="969" y="173"/>
                </a:cubicBezTo>
                <a:cubicBezTo>
                  <a:pt x="969" y="173"/>
                  <a:pt x="969" y="173"/>
                  <a:pt x="968" y="173"/>
                </a:cubicBezTo>
                <a:cubicBezTo>
                  <a:pt x="968" y="173"/>
                  <a:pt x="968" y="173"/>
                  <a:pt x="967" y="175"/>
                </a:cubicBezTo>
                <a:cubicBezTo>
                  <a:pt x="967" y="175"/>
                  <a:pt x="967" y="175"/>
                  <a:pt x="968" y="176"/>
                </a:cubicBezTo>
                <a:cubicBezTo>
                  <a:pt x="968" y="176"/>
                  <a:pt x="968" y="176"/>
                  <a:pt x="969" y="176"/>
                </a:cubicBezTo>
                <a:cubicBezTo>
                  <a:pt x="969" y="176"/>
                  <a:pt x="969" y="176"/>
                  <a:pt x="969" y="177"/>
                </a:cubicBezTo>
                <a:cubicBezTo>
                  <a:pt x="969" y="177"/>
                  <a:pt x="969" y="177"/>
                  <a:pt x="969" y="178"/>
                </a:cubicBezTo>
                <a:cubicBezTo>
                  <a:pt x="969" y="178"/>
                  <a:pt x="969" y="178"/>
                  <a:pt x="969" y="179"/>
                </a:cubicBezTo>
                <a:cubicBezTo>
                  <a:pt x="969" y="179"/>
                  <a:pt x="969" y="179"/>
                  <a:pt x="968" y="180"/>
                </a:cubicBezTo>
                <a:cubicBezTo>
                  <a:pt x="968" y="180"/>
                  <a:pt x="968" y="180"/>
                  <a:pt x="967" y="182"/>
                </a:cubicBezTo>
                <a:cubicBezTo>
                  <a:pt x="967" y="182"/>
                  <a:pt x="967" y="182"/>
                  <a:pt x="968" y="183"/>
                </a:cubicBezTo>
                <a:cubicBezTo>
                  <a:pt x="968" y="183"/>
                  <a:pt x="968" y="183"/>
                  <a:pt x="969" y="183"/>
                </a:cubicBezTo>
                <a:cubicBezTo>
                  <a:pt x="969" y="183"/>
                  <a:pt x="969" y="183"/>
                  <a:pt x="969" y="185"/>
                </a:cubicBezTo>
                <a:cubicBezTo>
                  <a:pt x="969" y="185"/>
                  <a:pt x="969" y="185"/>
                  <a:pt x="970" y="185"/>
                </a:cubicBezTo>
                <a:cubicBezTo>
                  <a:pt x="970" y="185"/>
                  <a:pt x="970" y="185"/>
                  <a:pt x="972" y="186"/>
                </a:cubicBezTo>
                <a:cubicBezTo>
                  <a:pt x="972" y="186"/>
                  <a:pt x="972" y="186"/>
                  <a:pt x="973" y="186"/>
                </a:cubicBezTo>
                <a:cubicBezTo>
                  <a:pt x="973" y="186"/>
                  <a:pt x="973" y="186"/>
                  <a:pt x="974" y="185"/>
                </a:cubicBezTo>
                <a:cubicBezTo>
                  <a:pt x="974" y="185"/>
                  <a:pt x="974" y="185"/>
                  <a:pt x="975" y="185"/>
                </a:cubicBezTo>
                <a:cubicBezTo>
                  <a:pt x="975" y="185"/>
                  <a:pt x="975" y="185"/>
                  <a:pt x="977" y="184"/>
                </a:cubicBezTo>
                <a:cubicBezTo>
                  <a:pt x="977" y="184"/>
                  <a:pt x="977" y="184"/>
                  <a:pt x="978" y="185"/>
                </a:cubicBezTo>
                <a:cubicBezTo>
                  <a:pt x="978" y="185"/>
                  <a:pt x="978" y="185"/>
                  <a:pt x="980" y="185"/>
                </a:cubicBezTo>
                <a:cubicBezTo>
                  <a:pt x="980" y="185"/>
                  <a:pt x="980" y="185"/>
                  <a:pt x="981" y="186"/>
                </a:cubicBezTo>
                <a:cubicBezTo>
                  <a:pt x="981" y="186"/>
                  <a:pt x="981" y="186"/>
                  <a:pt x="983" y="186"/>
                </a:cubicBezTo>
                <a:cubicBezTo>
                  <a:pt x="983" y="186"/>
                  <a:pt x="983" y="186"/>
                  <a:pt x="983" y="187"/>
                </a:cubicBezTo>
                <a:cubicBezTo>
                  <a:pt x="983" y="187"/>
                  <a:pt x="983" y="187"/>
                  <a:pt x="986" y="187"/>
                </a:cubicBezTo>
                <a:close/>
                <a:moveTo>
                  <a:pt x="922" y="116"/>
                </a:moveTo>
                <a:cubicBezTo>
                  <a:pt x="922" y="116"/>
                  <a:pt x="922" y="116"/>
                  <a:pt x="923" y="116"/>
                </a:cubicBezTo>
                <a:cubicBezTo>
                  <a:pt x="923" y="115"/>
                  <a:pt x="923" y="115"/>
                  <a:pt x="923" y="115"/>
                </a:cubicBezTo>
                <a:cubicBezTo>
                  <a:pt x="923" y="115"/>
                  <a:pt x="923" y="115"/>
                  <a:pt x="922" y="115"/>
                </a:cubicBezTo>
                <a:cubicBezTo>
                  <a:pt x="922" y="115"/>
                  <a:pt x="922" y="115"/>
                  <a:pt x="922" y="116"/>
                </a:cubicBezTo>
                <a:close/>
                <a:moveTo>
                  <a:pt x="922" y="97"/>
                </a:moveTo>
                <a:cubicBezTo>
                  <a:pt x="923" y="98"/>
                  <a:pt x="923" y="98"/>
                  <a:pt x="923" y="98"/>
                </a:cubicBezTo>
                <a:cubicBezTo>
                  <a:pt x="924" y="98"/>
                  <a:pt x="924" y="98"/>
                  <a:pt x="924" y="98"/>
                </a:cubicBezTo>
                <a:cubicBezTo>
                  <a:pt x="924" y="97"/>
                  <a:pt x="924" y="97"/>
                  <a:pt x="924" y="97"/>
                </a:cubicBezTo>
                <a:cubicBezTo>
                  <a:pt x="923" y="97"/>
                  <a:pt x="923" y="97"/>
                  <a:pt x="923" y="97"/>
                </a:cubicBezTo>
                <a:cubicBezTo>
                  <a:pt x="922" y="97"/>
                  <a:pt x="922" y="97"/>
                  <a:pt x="922" y="97"/>
                </a:cubicBezTo>
                <a:close/>
                <a:moveTo>
                  <a:pt x="922" y="105"/>
                </a:moveTo>
                <a:cubicBezTo>
                  <a:pt x="922" y="105"/>
                  <a:pt x="922" y="105"/>
                  <a:pt x="922" y="104"/>
                </a:cubicBezTo>
                <a:cubicBezTo>
                  <a:pt x="922" y="104"/>
                  <a:pt x="922" y="104"/>
                  <a:pt x="921" y="105"/>
                </a:cubicBezTo>
                <a:cubicBezTo>
                  <a:pt x="921" y="105"/>
                  <a:pt x="921" y="105"/>
                  <a:pt x="922" y="105"/>
                </a:cubicBezTo>
                <a:close/>
                <a:moveTo>
                  <a:pt x="921" y="120"/>
                </a:moveTo>
                <a:cubicBezTo>
                  <a:pt x="921" y="120"/>
                  <a:pt x="921" y="120"/>
                  <a:pt x="921" y="121"/>
                </a:cubicBezTo>
                <a:cubicBezTo>
                  <a:pt x="921" y="121"/>
                  <a:pt x="921" y="121"/>
                  <a:pt x="921" y="122"/>
                </a:cubicBezTo>
                <a:cubicBezTo>
                  <a:pt x="921" y="122"/>
                  <a:pt x="921" y="122"/>
                  <a:pt x="921" y="123"/>
                </a:cubicBezTo>
                <a:cubicBezTo>
                  <a:pt x="922" y="122"/>
                  <a:pt x="922" y="122"/>
                  <a:pt x="922" y="122"/>
                </a:cubicBezTo>
                <a:cubicBezTo>
                  <a:pt x="922" y="122"/>
                  <a:pt x="922" y="122"/>
                  <a:pt x="922" y="121"/>
                </a:cubicBezTo>
                <a:cubicBezTo>
                  <a:pt x="922" y="121"/>
                  <a:pt x="922" y="121"/>
                  <a:pt x="923" y="119"/>
                </a:cubicBezTo>
                <a:cubicBezTo>
                  <a:pt x="923" y="119"/>
                  <a:pt x="923" y="119"/>
                  <a:pt x="922" y="119"/>
                </a:cubicBezTo>
                <a:cubicBezTo>
                  <a:pt x="922" y="119"/>
                  <a:pt x="922" y="119"/>
                  <a:pt x="921" y="119"/>
                </a:cubicBezTo>
                <a:cubicBezTo>
                  <a:pt x="921" y="119"/>
                  <a:pt x="921" y="119"/>
                  <a:pt x="921" y="120"/>
                </a:cubicBezTo>
                <a:close/>
                <a:moveTo>
                  <a:pt x="969" y="189"/>
                </a:moveTo>
                <a:cubicBezTo>
                  <a:pt x="969" y="189"/>
                  <a:pt x="969" y="189"/>
                  <a:pt x="970" y="189"/>
                </a:cubicBezTo>
                <a:cubicBezTo>
                  <a:pt x="970" y="189"/>
                  <a:pt x="970" y="189"/>
                  <a:pt x="970" y="188"/>
                </a:cubicBezTo>
                <a:cubicBezTo>
                  <a:pt x="970" y="188"/>
                  <a:pt x="970" y="188"/>
                  <a:pt x="969" y="188"/>
                </a:cubicBezTo>
                <a:cubicBezTo>
                  <a:pt x="969" y="188"/>
                  <a:pt x="969" y="188"/>
                  <a:pt x="969" y="189"/>
                </a:cubicBezTo>
                <a:close/>
                <a:moveTo>
                  <a:pt x="935" y="78"/>
                </a:moveTo>
                <a:cubicBezTo>
                  <a:pt x="935" y="78"/>
                  <a:pt x="935" y="78"/>
                  <a:pt x="934" y="78"/>
                </a:cubicBezTo>
                <a:cubicBezTo>
                  <a:pt x="934" y="78"/>
                  <a:pt x="934" y="78"/>
                  <a:pt x="934" y="79"/>
                </a:cubicBezTo>
                <a:cubicBezTo>
                  <a:pt x="934" y="79"/>
                  <a:pt x="934" y="79"/>
                  <a:pt x="933" y="80"/>
                </a:cubicBezTo>
                <a:cubicBezTo>
                  <a:pt x="933" y="80"/>
                  <a:pt x="933" y="80"/>
                  <a:pt x="934" y="80"/>
                </a:cubicBezTo>
                <a:cubicBezTo>
                  <a:pt x="934" y="80"/>
                  <a:pt x="934" y="80"/>
                  <a:pt x="934" y="82"/>
                </a:cubicBezTo>
                <a:cubicBezTo>
                  <a:pt x="934" y="82"/>
                  <a:pt x="934" y="82"/>
                  <a:pt x="935" y="82"/>
                </a:cubicBezTo>
                <a:cubicBezTo>
                  <a:pt x="935" y="82"/>
                  <a:pt x="935" y="82"/>
                  <a:pt x="934" y="83"/>
                </a:cubicBezTo>
                <a:cubicBezTo>
                  <a:pt x="934" y="83"/>
                  <a:pt x="934" y="83"/>
                  <a:pt x="934" y="85"/>
                </a:cubicBezTo>
                <a:cubicBezTo>
                  <a:pt x="934" y="85"/>
                  <a:pt x="934" y="85"/>
                  <a:pt x="936" y="84"/>
                </a:cubicBezTo>
                <a:cubicBezTo>
                  <a:pt x="936" y="84"/>
                  <a:pt x="936" y="84"/>
                  <a:pt x="936" y="83"/>
                </a:cubicBezTo>
                <a:cubicBezTo>
                  <a:pt x="936" y="83"/>
                  <a:pt x="936" y="83"/>
                  <a:pt x="937" y="84"/>
                </a:cubicBezTo>
                <a:cubicBezTo>
                  <a:pt x="937" y="84"/>
                  <a:pt x="937" y="84"/>
                  <a:pt x="937" y="85"/>
                </a:cubicBezTo>
                <a:cubicBezTo>
                  <a:pt x="937" y="85"/>
                  <a:pt x="937" y="85"/>
                  <a:pt x="938" y="85"/>
                </a:cubicBezTo>
                <a:cubicBezTo>
                  <a:pt x="938" y="85"/>
                  <a:pt x="938" y="85"/>
                  <a:pt x="940" y="84"/>
                </a:cubicBezTo>
                <a:cubicBezTo>
                  <a:pt x="940" y="84"/>
                  <a:pt x="940" y="84"/>
                  <a:pt x="941" y="85"/>
                </a:cubicBezTo>
                <a:cubicBezTo>
                  <a:pt x="941" y="85"/>
                  <a:pt x="941" y="85"/>
                  <a:pt x="942" y="84"/>
                </a:cubicBezTo>
                <a:cubicBezTo>
                  <a:pt x="942" y="84"/>
                  <a:pt x="942" y="84"/>
                  <a:pt x="943" y="84"/>
                </a:cubicBezTo>
                <a:cubicBezTo>
                  <a:pt x="943" y="84"/>
                  <a:pt x="943" y="84"/>
                  <a:pt x="943" y="85"/>
                </a:cubicBezTo>
                <a:cubicBezTo>
                  <a:pt x="943" y="85"/>
                  <a:pt x="943" y="85"/>
                  <a:pt x="944" y="85"/>
                </a:cubicBezTo>
                <a:cubicBezTo>
                  <a:pt x="944" y="85"/>
                  <a:pt x="944" y="85"/>
                  <a:pt x="946" y="83"/>
                </a:cubicBezTo>
                <a:cubicBezTo>
                  <a:pt x="946" y="83"/>
                  <a:pt x="946" y="83"/>
                  <a:pt x="947" y="82"/>
                </a:cubicBezTo>
                <a:cubicBezTo>
                  <a:pt x="947" y="82"/>
                  <a:pt x="947" y="82"/>
                  <a:pt x="946" y="80"/>
                </a:cubicBezTo>
                <a:cubicBezTo>
                  <a:pt x="946" y="80"/>
                  <a:pt x="946" y="80"/>
                  <a:pt x="945" y="80"/>
                </a:cubicBezTo>
                <a:cubicBezTo>
                  <a:pt x="945" y="80"/>
                  <a:pt x="945" y="80"/>
                  <a:pt x="946" y="79"/>
                </a:cubicBezTo>
                <a:cubicBezTo>
                  <a:pt x="946" y="79"/>
                  <a:pt x="946" y="79"/>
                  <a:pt x="947" y="79"/>
                </a:cubicBezTo>
                <a:cubicBezTo>
                  <a:pt x="947" y="79"/>
                  <a:pt x="947" y="79"/>
                  <a:pt x="948" y="79"/>
                </a:cubicBezTo>
                <a:cubicBezTo>
                  <a:pt x="948" y="79"/>
                  <a:pt x="948" y="79"/>
                  <a:pt x="949" y="78"/>
                </a:cubicBezTo>
                <a:cubicBezTo>
                  <a:pt x="949" y="78"/>
                  <a:pt x="949" y="78"/>
                  <a:pt x="948" y="75"/>
                </a:cubicBezTo>
                <a:cubicBezTo>
                  <a:pt x="948" y="75"/>
                  <a:pt x="948" y="75"/>
                  <a:pt x="948" y="74"/>
                </a:cubicBezTo>
                <a:cubicBezTo>
                  <a:pt x="948" y="74"/>
                  <a:pt x="948" y="74"/>
                  <a:pt x="947" y="73"/>
                </a:cubicBezTo>
                <a:cubicBezTo>
                  <a:pt x="947" y="73"/>
                  <a:pt x="947" y="73"/>
                  <a:pt x="946" y="72"/>
                </a:cubicBezTo>
                <a:cubicBezTo>
                  <a:pt x="946" y="72"/>
                  <a:pt x="946" y="72"/>
                  <a:pt x="946" y="71"/>
                </a:cubicBezTo>
                <a:cubicBezTo>
                  <a:pt x="946" y="71"/>
                  <a:pt x="946" y="71"/>
                  <a:pt x="945" y="71"/>
                </a:cubicBezTo>
                <a:cubicBezTo>
                  <a:pt x="945" y="71"/>
                  <a:pt x="945" y="71"/>
                  <a:pt x="945" y="70"/>
                </a:cubicBezTo>
                <a:cubicBezTo>
                  <a:pt x="945" y="70"/>
                  <a:pt x="945" y="70"/>
                  <a:pt x="944" y="69"/>
                </a:cubicBezTo>
                <a:cubicBezTo>
                  <a:pt x="944" y="69"/>
                  <a:pt x="944" y="69"/>
                  <a:pt x="944" y="68"/>
                </a:cubicBezTo>
                <a:cubicBezTo>
                  <a:pt x="944" y="68"/>
                  <a:pt x="944" y="68"/>
                  <a:pt x="944" y="66"/>
                </a:cubicBezTo>
                <a:cubicBezTo>
                  <a:pt x="944" y="66"/>
                  <a:pt x="944" y="66"/>
                  <a:pt x="942" y="64"/>
                </a:cubicBezTo>
                <a:cubicBezTo>
                  <a:pt x="942" y="64"/>
                  <a:pt x="942" y="64"/>
                  <a:pt x="941" y="64"/>
                </a:cubicBezTo>
                <a:cubicBezTo>
                  <a:pt x="941" y="64"/>
                  <a:pt x="941" y="64"/>
                  <a:pt x="939" y="66"/>
                </a:cubicBezTo>
                <a:cubicBezTo>
                  <a:pt x="939" y="66"/>
                  <a:pt x="939" y="66"/>
                  <a:pt x="938" y="66"/>
                </a:cubicBezTo>
                <a:cubicBezTo>
                  <a:pt x="938" y="66"/>
                  <a:pt x="938" y="66"/>
                  <a:pt x="938" y="68"/>
                </a:cubicBezTo>
                <a:cubicBezTo>
                  <a:pt x="938" y="68"/>
                  <a:pt x="938" y="68"/>
                  <a:pt x="937" y="69"/>
                </a:cubicBezTo>
                <a:cubicBezTo>
                  <a:pt x="937" y="69"/>
                  <a:pt x="937" y="69"/>
                  <a:pt x="936" y="70"/>
                </a:cubicBezTo>
                <a:cubicBezTo>
                  <a:pt x="936" y="70"/>
                  <a:pt x="936" y="70"/>
                  <a:pt x="936" y="72"/>
                </a:cubicBezTo>
                <a:cubicBezTo>
                  <a:pt x="936" y="72"/>
                  <a:pt x="936" y="72"/>
                  <a:pt x="935" y="74"/>
                </a:cubicBezTo>
                <a:cubicBezTo>
                  <a:pt x="935" y="74"/>
                  <a:pt x="935" y="74"/>
                  <a:pt x="936" y="75"/>
                </a:cubicBezTo>
                <a:cubicBezTo>
                  <a:pt x="936" y="75"/>
                  <a:pt x="936" y="75"/>
                  <a:pt x="935" y="75"/>
                </a:cubicBezTo>
                <a:cubicBezTo>
                  <a:pt x="935" y="75"/>
                  <a:pt x="935" y="75"/>
                  <a:pt x="935" y="76"/>
                </a:cubicBezTo>
                <a:cubicBezTo>
                  <a:pt x="935" y="76"/>
                  <a:pt x="935" y="76"/>
                  <a:pt x="936" y="76"/>
                </a:cubicBezTo>
                <a:cubicBezTo>
                  <a:pt x="936" y="76"/>
                  <a:pt x="936" y="76"/>
                  <a:pt x="937" y="78"/>
                </a:cubicBezTo>
                <a:cubicBezTo>
                  <a:pt x="937" y="78"/>
                  <a:pt x="937" y="78"/>
                  <a:pt x="937" y="79"/>
                </a:cubicBezTo>
                <a:cubicBezTo>
                  <a:pt x="937" y="79"/>
                  <a:pt x="937" y="79"/>
                  <a:pt x="935" y="78"/>
                </a:cubicBezTo>
                <a:close/>
                <a:moveTo>
                  <a:pt x="909" y="66"/>
                </a:moveTo>
                <a:cubicBezTo>
                  <a:pt x="909" y="67"/>
                  <a:pt x="909" y="67"/>
                  <a:pt x="909" y="67"/>
                </a:cubicBezTo>
                <a:cubicBezTo>
                  <a:pt x="910" y="66"/>
                  <a:pt x="910" y="66"/>
                  <a:pt x="910" y="66"/>
                </a:cubicBezTo>
                <a:cubicBezTo>
                  <a:pt x="911" y="66"/>
                  <a:pt x="911" y="66"/>
                  <a:pt x="911" y="66"/>
                </a:cubicBezTo>
                <a:cubicBezTo>
                  <a:pt x="913" y="66"/>
                  <a:pt x="913" y="66"/>
                  <a:pt x="913" y="66"/>
                </a:cubicBezTo>
                <a:cubicBezTo>
                  <a:pt x="915" y="66"/>
                  <a:pt x="915" y="66"/>
                  <a:pt x="915" y="66"/>
                </a:cubicBezTo>
                <a:cubicBezTo>
                  <a:pt x="916" y="67"/>
                  <a:pt x="916" y="67"/>
                  <a:pt x="916" y="67"/>
                </a:cubicBezTo>
                <a:cubicBezTo>
                  <a:pt x="918" y="66"/>
                  <a:pt x="918" y="66"/>
                  <a:pt x="918" y="66"/>
                </a:cubicBezTo>
                <a:cubicBezTo>
                  <a:pt x="918" y="67"/>
                  <a:pt x="918" y="67"/>
                  <a:pt x="918" y="67"/>
                </a:cubicBezTo>
                <a:cubicBezTo>
                  <a:pt x="916" y="68"/>
                  <a:pt x="916" y="68"/>
                  <a:pt x="916" y="68"/>
                </a:cubicBezTo>
                <a:cubicBezTo>
                  <a:pt x="916" y="70"/>
                  <a:pt x="916" y="70"/>
                  <a:pt x="916" y="70"/>
                </a:cubicBezTo>
                <a:cubicBezTo>
                  <a:pt x="918" y="69"/>
                  <a:pt x="918" y="69"/>
                  <a:pt x="918" y="69"/>
                </a:cubicBezTo>
                <a:cubicBezTo>
                  <a:pt x="919" y="70"/>
                  <a:pt x="919" y="70"/>
                  <a:pt x="919" y="70"/>
                </a:cubicBezTo>
                <a:cubicBezTo>
                  <a:pt x="920" y="72"/>
                  <a:pt x="920" y="72"/>
                  <a:pt x="920" y="72"/>
                </a:cubicBezTo>
                <a:cubicBezTo>
                  <a:pt x="921" y="72"/>
                  <a:pt x="921" y="72"/>
                  <a:pt x="921" y="72"/>
                </a:cubicBezTo>
                <a:cubicBezTo>
                  <a:pt x="922" y="73"/>
                  <a:pt x="922" y="73"/>
                  <a:pt x="922" y="73"/>
                </a:cubicBezTo>
                <a:cubicBezTo>
                  <a:pt x="921" y="74"/>
                  <a:pt x="921" y="74"/>
                  <a:pt x="921" y="74"/>
                </a:cubicBezTo>
                <a:cubicBezTo>
                  <a:pt x="921" y="75"/>
                  <a:pt x="921" y="75"/>
                  <a:pt x="921" y="75"/>
                </a:cubicBezTo>
                <a:cubicBezTo>
                  <a:pt x="919" y="79"/>
                  <a:pt x="919" y="79"/>
                  <a:pt x="919" y="79"/>
                </a:cubicBezTo>
                <a:cubicBezTo>
                  <a:pt x="920" y="81"/>
                  <a:pt x="920" y="81"/>
                  <a:pt x="920" y="81"/>
                </a:cubicBezTo>
                <a:cubicBezTo>
                  <a:pt x="920" y="82"/>
                  <a:pt x="920" y="82"/>
                  <a:pt x="920" y="82"/>
                </a:cubicBezTo>
                <a:cubicBezTo>
                  <a:pt x="921" y="82"/>
                  <a:pt x="921" y="82"/>
                  <a:pt x="921" y="82"/>
                </a:cubicBezTo>
                <a:cubicBezTo>
                  <a:pt x="922" y="82"/>
                  <a:pt x="922" y="82"/>
                  <a:pt x="922" y="82"/>
                </a:cubicBezTo>
                <a:cubicBezTo>
                  <a:pt x="923" y="82"/>
                  <a:pt x="923" y="82"/>
                  <a:pt x="923" y="82"/>
                </a:cubicBezTo>
                <a:cubicBezTo>
                  <a:pt x="924" y="82"/>
                  <a:pt x="924" y="82"/>
                  <a:pt x="924" y="82"/>
                </a:cubicBezTo>
                <a:cubicBezTo>
                  <a:pt x="925" y="81"/>
                  <a:pt x="925" y="81"/>
                  <a:pt x="925" y="81"/>
                </a:cubicBezTo>
                <a:cubicBezTo>
                  <a:pt x="925" y="80"/>
                  <a:pt x="925" y="80"/>
                  <a:pt x="925" y="80"/>
                </a:cubicBezTo>
                <a:cubicBezTo>
                  <a:pt x="926" y="80"/>
                  <a:pt x="926" y="80"/>
                  <a:pt x="926" y="80"/>
                </a:cubicBezTo>
                <a:cubicBezTo>
                  <a:pt x="927" y="78"/>
                  <a:pt x="927" y="78"/>
                  <a:pt x="927" y="78"/>
                </a:cubicBezTo>
                <a:cubicBezTo>
                  <a:pt x="927" y="77"/>
                  <a:pt x="927" y="77"/>
                  <a:pt x="927" y="77"/>
                </a:cubicBezTo>
                <a:cubicBezTo>
                  <a:pt x="928" y="75"/>
                  <a:pt x="928" y="75"/>
                  <a:pt x="928" y="75"/>
                </a:cubicBezTo>
                <a:cubicBezTo>
                  <a:pt x="929" y="73"/>
                  <a:pt x="929" y="73"/>
                  <a:pt x="929" y="73"/>
                </a:cubicBezTo>
                <a:cubicBezTo>
                  <a:pt x="928" y="73"/>
                  <a:pt x="928" y="73"/>
                  <a:pt x="928" y="73"/>
                </a:cubicBezTo>
                <a:cubicBezTo>
                  <a:pt x="928" y="72"/>
                  <a:pt x="928" y="72"/>
                  <a:pt x="928" y="72"/>
                </a:cubicBezTo>
                <a:cubicBezTo>
                  <a:pt x="929" y="72"/>
                  <a:pt x="929" y="72"/>
                  <a:pt x="929" y="72"/>
                </a:cubicBezTo>
                <a:cubicBezTo>
                  <a:pt x="930" y="70"/>
                  <a:pt x="930" y="70"/>
                  <a:pt x="930" y="70"/>
                </a:cubicBezTo>
                <a:cubicBezTo>
                  <a:pt x="931" y="70"/>
                  <a:pt x="931" y="70"/>
                  <a:pt x="931" y="70"/>
                </a:cubicBezTo>
                <a:cubicBezTo>
                  <a:pt x="932" y="69"/>
                  <a:pt x="932" y="69"/>
                  <a:pt x="932" y="69"/>
                </a:cubicBezTo>
                <a:cubicBezTo>
                  <a:pt x="933" y="68"/>
                  <a:pt x="933" y="68"/>
                  <a:pt x="933" y="68"/>
                </a:cubicBezTo>
                <a:cubicBezTo>
                  <a:pt x="933" y="66"/>
                  <a:pt x="933" y="66"/>
                  <a:pt x="933" y="66"/>
                </a:cubicBezTo>
                <a:cubicBezTo>
                  <a:pt x="933" y="65"/>
                  <a:pt x="933" y="65"/>
                  <a:pt x="933" y="65"/>
                </a:cubicBezTo>
                <a:cubicBezTo>
                  <a:pt x="934" y="64"/>
                  <a:pt x="934" y="64"/>
                  <a:pt x="934" y="64"/>
                </a:cubicBezTo>
                <a:cubicBezTo>
                  <a:pt x="934" y="63"/>
                  <a:pt x="934" y="63"/>
                  <a:pt x="934" y="63"/>
                </a:cubicBezTo>
                <a:cubicBezTo>
                  <a:pt x="934" y="62"/>
                  <a:pt x="934" y="62"/>
                  <a:pt x="934" y="62"/>
                </a:cubicBezTo>
                <a:cubicBezTo>
                  <a:pt x="934" y="61"/>
                  <a:pt x="934" y="61"/>
                  <a:pt x="934" y="61"/>
                </a:cubicBezTo>
                <a:cubicBezTo>
                  <a:pt x="933" y="61"/>
                  <a:pt x="933" y="61"/>
                  <a:pt x="933" y="61"/>
                </a:cubicBezTo>
                <a:cubicBezTo>
                  <a:pt x="932" y="60"/>
                  <a:pt x="932" y="60"/>
                  <a:pt x="932" y="60"/>
                </a:cubicBezTo>
                <a:cubicBezTo>
                  <a:pt x="930" y="60"/>
                  <a:pt x="930" y="60"/>
                  <a:pt x="930" y="60"/>
                </a:cubicBezTo>
                <a:cubicBezTo>
                  <a:pt x="931" y="59"/>
                  <a:pt x="931" y="59"/>
                  <a:pt x="931" y="59"/>
                </a:cubicBezTo>
                <a:cubicBezTo>
                  <a:pt x="932" y="58"/>
                  <a:pt x="932" y="58"/>
                  <a:pt x="932" y="58"/>
                </a:cubicBezTo>
                <a:cubicBezTo>
                  <a:pt x="932" y="57"/>
                  <a:pt x="932" y="57"/>
                  <a:pt x="932" y="57"/>
                </a:cubicBezTo>
                <a:cubicBezTo>
                  <a:pt x="932" y="56"/>
                  <a:pt x="932" y="56"/>
                  <a:pt x="932" y="56"/>
                </a:cubicBezTo>
                <a:cubicBezTo>
                  <a:pt x="932" y="55"/>
                  <a:pt x="932" y="55"/>
                  <a:pt x="932" y="55"/>
                </a:cubicBezTo>
                <a:cubicBezTo>
                  <a:pt x="932" y="54"/>
                  <a:pt x="932" y="54"/>
                  <a:pt x="932" y="54"/>
                </a:cubicBezTo>
                <a:cubicBezTo>
                  <a:pt x="931" y="52"/>
                  <a:pt x="931" y="52"/>
                  <a:pt x="931" y="52"/>
                </a:cubicBezTo>
                <a:cubicBezTo>
                  <a:pt x="930" y="52"/>
                  <a:pt x="930" y="52"/>
                  <a:pt x="930" y="52"/>
                </a:cubicBezTo>
                <a:cubicBezTo>
                  <a:pt x="929" y="53"/>
                  <a:pt x="929" y="53"/>
                  <a:pt x="929" y="53"/>
                </a:cubicBezTo>
                <a:cubicBezTo>
                  <a:pt x="927" y="54"/>
                  <a:pt x="927" y="54"/>
                  <a:pt x="927" y="54"/>
                </a:cubicBezTo>
                <a:cubicBezTo>
                  <a:pt x="927" y="55"/>
                  <a:pt x="927" y="55"/>
                  <a:pt x="927" y="55"/>
                </a:cubicBezTo>
                <a:cubicBezTo>
                  <a:pt x="926" y="56"/>
                  <a:pt x="926" y="56"/>
                  <a:pt x="926" y="56"/>
                </a:cubicBezTo>
                <a:cubicBezTo>
                  <a:pt x="925" y="56"/>
                  <a:pt x="925" y="56"/>
                  <a:pt x="925" y="56"/>
                </a:cubicBezTo>
                <a:cubicBezTo>
                  <a:pt x="925" y="54"/>
                  <a:pt x="925" y="54"/>
                  <a:pt x="925" y="54"/>
                </a:cubicBezTo>
                <a:cubicBezTo>
                  <a:pt x="926" y="54"/>
                  <a:pt x="926" y="54"/>
                  <a:pt x="926" y="54"/>
                </a:cubicBezTo>
                <a:cubicBezTo>
                  <a:pt x="926" y="53"/>
                  <a:pt x="926" y="53"/>
                  <a:pt x="926" y="53"/>
                </a:cubicBezTo>
                <a:cubicBezTo>
                  <a:pt x="926" y="51"/>
                  <a:pt x="926" y="51"/>
                  <a:pt x="926" y="51"/>
                </a:cubicBezTo>
                <a:cubicBezTo>
                  <a:pt x="927" y="49"/>
                  <a:pt x="927" y="49"/>
                  <a:pt x="927" y="49"/>
                </a:cubicBezTo>
                <a:cubicBezTo>
                  <a:pt x="927" y="48"/>
                  <a:pt x="927" y="48"/>
                  <a:pt x="927" y="48"/>
                </a:cubicBezTo>
                <a:cubicBezTo>
                  <a:pt x="926" y="47"/>
                  <a:pt x="926" y="47"/>
                  <a:pt x="926" y="47"/>
                </a:cubicBezTo>
                <a:cubicBezTo>
                  <a:pt x="925" y="46"/>
                  <a:pt x="925" y="46"/>
                  <a:pt x="925" y="46"/>
                </a:cubicBezTo>
                <a:cubicBezTo>
                  <a:pt x="924" y="45"/>
                  <a:pt x="924" y="45"/>
                  <a:pt x="924" y="45"/>
                </a:cubicBezTo>
                <a:cubicBezTo>
                  <a:pt x="923" y="45"/>
                  <a:pt x="923" y="45"/>
                  <a:pt x="923" y="45"/>
                </a:cubicBezTo>
                <a:cubicBezTo>
                  <a:pt x="921" y="45"/>
                  <a:pt x="921" y="45"/>
                  <a:pt x="921" y="45"/>
                </a:cubicBezTo>
                <a:cubicBezTo>
                  <a:pt x="920" y="46"/>
                  <a:pt x="920" y="46"/>
                  <a:pt x="920" y="46"/>
                </a:cubicBezTo>
                <a:cubicBezTo>
                  <a:pt x="919" y="46"/>
                  <a:pt x="919" y="46"/>
                  <a:pt x="919" y="46"/>
                </a:cubicBezTo>
                <a:cubicBezTo>
                  <a:pt x="919" y="44"/>
                  <a:pt x="919" y="44"/>
                  <a:pt x="919" y="44"/>
                </a:cubicBezTo>
                <a:cubicBezTo>
                  <a:pt x="918" y="44"/>
                  <a:pt x="918" y="44"/>
                  <a:pt x="918" y="44"/>
                </a:cubicBezTo>
                <a:cubicBezTo>
                  <a:pt x="917" y="45"/>
                  <a:pt x="917" y="45"/>
                  <a:pt x="917" y="45"/>
                </a:cubicBezTo>
                <a:cubicBezTo>
                  <a:pt x="917" y="46"/>
                  <a:pt x="917" y="46"/>
                  <a:pt x="917" y="46"/>
                </a:cubicBezTo>
                <a:cubicBezTo>
                  <a:pt x="916" y="46"/>
                  <a:pt x="916" y="46"/>
                  <a:pt x="916" y="46"/>
                </a:cubicBezTo>
                <a:cubicBezTo>
                  <a:pt x="915" y="48"/>
                  <a:pt x="915" y="48"/>
                  <a:pt x="915" y="48"/>
                </a:cubicBezTo>
                <a:cubicBezTo>
                  <a:pt x="914" y="49"/>
                  <a:pt x="914" y="49"/>
                  <a:pt x="914" y="49"/>
                </a:cubicBezTo>
                <a:cubicBezTo>
                  <a:pt x="914" y="50"/>
                  <a:pt x="914" y="50"/>
                  <a:pt x="914" y="50"/>
                </a:cubicBezTo>
                <a:cubicBezTo>
                  <a:pt x="915" y="51"/>
                  <a:pt x="915" y="51"/>
                  <a:pt x="915" y="51"/>
                </a:cubicBezTo>
                <a:cubicBezTo>
                  <a:pt x="916" y="51"/>
                  <a:pt x="916" y="51"/>
                  <a:pt x="916" y="51"/>
                </a:cubicBezTo>
                <a:cubicBezTo>
                  <a:pt x="917" y="50"/>
                  <a:pt x="917" y="50"/>
                  <a:pt x="917" y="50"/>
                </a:cubicBezTo>
                <a:cubicBezTo>
                  <a:pt x="917" y="51"/>
                  <a:pt x="917" y="51"/>
                  <a:pt x="917" y="51"/>
                </a:cubicBezTo>
                <a:cubicBezTo>
                  <a:pt x="916" y="52"/>
                  <a:pt x="916" y="52"/>
                  <a:pt x="916" y="52"/>
                </a:cubicBezTo>
                <a:cubicBezTo>
                  <a:pt x="914" y="53"/>
                  <a:pt x="914" y="53"/>
                  <a:pt x="914" y="53"/>
                </a:cubicBezTo>
                <a:cubicBezTo>
                  <a:pt x="913" y="55"/>
                  <a:pt x="913" y="55"/>
                  <a:pt x="913" y="55"/>
                </a:cubicBezTo>
                <a:cubicBezTo>
                  <a:pt x="915" y="54"/>
                  <a:pt x="915" y="54"/>
                  <a:pt x="915" y="54"/>
                </a:cubicBezTo>
                <a:cubicBezTo>
                  <a:pt x="917" y="53"/>
                  <a:pt x="917" y="53"/>
                  <a:pt x="917" y="53"/>
                </a:cubicBezTo>
                <a:cubicBezTo>
                  <a:pt x="918" y="52"/>
                  <a:pt x="918" y="52"/>
                  <a:pt x="918" y="52"/>
                </a:cubicBezTo>
                <a:cubicBezTo>
                  <a:pt x="919" y="53"/>
                  <a:pt x="919" y="53"/>
                  <a:pt x="919" y="53"/>
                </a:cubicBezTo>
                <a:cubicBezTo>
                  <a:pt x="919" y="55"/>
                  <a:pt x="919" y="55"/>
                  <a:pt x="919" y="55"/>
                </a:cubicBezTo>
                <a:cubicBezTo>
                  <a:pt x="918" y="55"/>
                  <a:pt x="918" y="55"/>
                  <a:pt x="918" y="55"/>
                </a:cubicBezTo>
                <a:cubicBezTo>
                  <a:pt x="916" y="56"/>
                  <a:pt x="916" y="56"/>
                  <a:pt x="916" y="56"/>
                </a:cubicBezTo>
                <a:cubicBezTo>
                  <a:pt x="916" y="57"/>
                  <a:pt x="916" y="57"/>
                  <a:pt x="916" y="57"/>
                </a:cubicBezTo>
                <a:cubicBezTo>
                  <a:pt x="917" y="58"/>
                  <a:pt x="917" y="58"/>
                  <a:pt x="917" y="58"/>
                </a:cubicBezTo>
                <a:cubicBezTo>
                  <a:pt x="918" y="58"/>
                  <a:pt x="918" y="58"/>
                  <a:pt x="918" y="58"/>
                </a:cubicBezTo>
                <a:cubicBezTo>
                  <a:pt x="919" y="58"/>
                  <a:pt x="919" y="58"/>
                  <a:pt x="919" y="58"/>
                </a:cubicBezTo>
                <a:cubicBezTo>
                  <a:pt x="918" y="59"/>
                  <a:pt x="918" y="59"/>
                  <a:pt x="918" y="59"/>
                </a:cubicBezTo>
                <a:cubicBezTo>
                  <a:pt x="916" y="60"/>
                  <a:pt x="916" y="60"/>
                  <a:pt x="916" y="60"/>
                </a:cubicBezTo>
                <a:cubicBezTo>
                  <a:pt x="915" y="59"/>
                  <a:pt x="915" y="59"/>
                  <a:pt x="915" y="59"/>
                </a:cubicBezTo>
                <a:cubicBezTo>
                  <a:pt x="915" y="60"/>
                  <a:pt x="915" y="60"/>
                  <a:pt x="915" y="60"/>
                </a:cubicBezTo>
                <a:cubicBezTo>
                  <a:pt x="916" y="61"/>
                  <a:pt x="916" y="61"/>
                  <a:pt x="916" y="61"/>
                </a:cubicBezTo>
                <a:cubicBezTo>
                  <a:pt x="914" y="63"/>
                  <a:pt x="914" y="63"/>
                  <a:pt x="914" y="63"/>
                </a:cubicBezTo>
                <a:cubicBezTo>
                  <a:pt x="913" y="61"/>
                  <a:pt x="913" y="61"/>
                  <a:pt x="913" y="61"/>
                </a:cubicBezTo>
                <a:cubicBezTo>
                  <a:pt x="912" y="61"/>
                  <a:pt x="912" y="61"/>
                  <a:pt x="912" y="61"/>
                </a:cubicBezTo>
                <a:cubicBezTo>
                  <a:pt x="911" y="59"/>
                  <a:pt x="911" y="59"/>
                  <a:pt x="911" y="59"/>
                </a:cubicBezTo>
                <a:cubicBezTo>
                  <a:pt x="909" y="61"/>
                  <a:pt x="909" y="61"/>
                  <a:pt x="909" y="61"/>
                </a:cubicBezTo>
                <a:cubicBezTo>
                  <a:pt x="907" y="63"/>
                  <a:pt x="907" y="63"/>
                  <a:pt x="907" y="63"/>
                </a:cubicBezTo>
                <a:cubicBezTo>
                  <a:pt x="909" y="65"/>
                  <a:pt x="909" y="65"/>
                  <a:pt x="909" y="65"/>
                </a:cubicBezTo>
                <a:cubicBezTo>
                  <a:pt x="909" y="66"/>
                  <a:pt x="909" y="66"/>
                  <a:pt x="909" y="66"/>
                </a:cubicBezTo>
                <a:close/>
                <a:moveTo>
                  <a:pt x="948" y="80"/>
                </a:moveTo>
                <a:cubicBezTo>
                  <a:pt x="948" y="82"/>
                  <a:pt x="948" y="82"/>
                  <a:pt x="948" y="82"/>
                </a:cubicBezTo>
                <a:cubicBezTo>
                  <a:pt x="949" y="83"/>
                  <a:pt x="949" y="83"/>
                  <a:pt x="949" y="83"/>
                </a:cubicBezTo>
                <a:cubicBezTo>
                  <a:pt x="950" y="82"/>
                  <a:pt x="950" y="82"/>
                  <a:pt x="950" y="82"/>
                </a:cubicBezTo>
                <a:cubicBezTo>
                  <a:pt x="949" y="80"/>
                  <a:pt x="949" y="80"/>
                  <a:pt x="949" y="80"/>
                </a:cubicBezTo>
                <a:cubicBezTo>
                  <a:pt x="948" y="80"/>
                  <a:pt x="948" y="80"/>
                  <a:pt x="948" y="80"/>
                </a:cubicBezTo>
                <a:close/>
                <a:moveTo>
                  <a:pt x="967" y="188"/>
                </a:moveTo>
                <a:cubicBezTo>
                  <a:pt x="967" y="188"/>
                  <a:pt x="967" y="188"/>
                  <a:pt x="966" y="188"/>
                </a:cubicBezTo>
                <a:cubicBezTo>
                  <a:pt x="966" y="188"/>
                  <a:pt x="966" y="188"/>
                  <a:pt x="967" y="189"/>
                </a:cubicBezTo>
                <a:cubicBezTo>
                  <a:pt x="967" y="189"/>
                  <a:pt x="967" y="189"/>
                  <a:pt x="967" y="188"/>
                </a:cubicBezTo>
                <a:close/>
                <a:moveTo>
                  <a:pt x="965" y="186"/>
                </a:moveTo>
                <a:cubicBezTo>
                  <a:pt x="965" y="186"/>
                  <a:pt x="965" y="186"/>
                  <a:pt x="965" y="187"/>
                </a:cubicBezTo>
                <a:cubicBezTo>
                  <a:pt x="965" y="187"/>
                  <a:pt x="965" y="187"/>
                  <a:pt x="965" y="188"/>
                </a:cubicBezTo>
                <a:cubicBezTo>
                  <a:pt x="965" y="188"/>
                  <a:pt x="965" y="188"/>
                  <a:pt x="966" y="187"/>
                </a:cubicBezTo>
                <a:cubicBezTo>
                  <a:pt x="966" y="187"/>
                  <a:pt x="966" y="187"/>
                  <a:pt x="966" y="186"/>
                </a:cubicBezTo>
                <a:cubicBezTo>
                  <a:pt x="966" y="186"/>
                  <a:pt x="966" y="186"/>
                  <a:pt x="965" y="186"/>
                </a:cubicBezTo>
                <a:close/>
                <a:moveTo>
                  <a:pt x="949" y="111"/>
                </a:moveTo>
                <a:cubicBezTo>
                  <a:pt x="949" y="111"/>
                  <a:pt x="949" y="111"/>
                  <a:pt x="949" y="112"/>
                </a:cubicBezTo>
                <a:cubicBezTo>
                  <a:pt x="949" y="112"/>
                  <a:pt x="949" y="112"/>
                  <a:pt x="949" y="113"/>
                </a:cubicBezTo>
                <a:cubicBezTo>
                  <a:pt x="949" y="113"/>
                  <a:pt x="949" y="113"/>
                  <a:pt x="949" y="115"/>
                </a:cubicBezTo>
                <a:cubicBezTo>
                  <a:pt x="949" y="115"/>
                  <a:pt x="949" y="115"/>
                  <a:pt x="949" y="116"/>
                </a:cubicBezTo>
                <a:cubicBezTo>
                  <a:pt x="949" y="116"/>
                  <a:pt x="949" y="116"/>
                  <a:pt x="951" y="117"/>
                </a:cubicBezTo>
                <a:cubicBezTo>
                  <a:pt x="951" y="117"/>
                  <a:pt x="951" y="117"/>
                  <a:pt x="951" y="116"/>
                </a:cubicBezTo>
                <a:cubicBezTo>
                  <a:pt x="951" y="116"/>
                  <a:pt x="951" y="116"/>
                  <a:pt x="951" y="115"/>
                </a:cubicBezTo>
                <a:cubicBezTo>
                  <a:pt x="951" y="115"/>
                  <a:pt x="951" y="115"/>
                  <a:pt x="951" y="114"/>
                </a:cubicBezTo>
                <a:cubicBezTo>
                  <a:pt x="951" y="114"/>
                  <a:pt x="951" y="114"/>
                  <a:pt x="952" y="112"/>
                </a:cubicBezTo>
                <a:cubicBezTo>
                  <a:pt x="952" y="112"/>
                  <a:pt x="952" y="112"/>
                  <a:pt x="952" y="110"/>
                </a:cubicBezTo>
                <a:cubicBezTo>
                  <a:pt x="952" y="110"/>
                  <a:pt x="952" y="110"/>
                  <a:pt x="950" y="110"/>
                </a:cubicBezTo>
                <a:cubicBezTo>
                  <a:pt x="950" y="110"/>
                  <a:pt x="950" y="110"/>
                  <a:pt x="949" y="110"/>
                </a:cubicBezTo>
                <a:cubicBezTo>
                  <a:pt x="949" y="110"/>
                  <a:pt x="949" y="110"/>
                  <a:pt x="949" y="111"/>
                </a:cubicBezTo>
                <a:close/>
                <a:moveTo>
                  <a:pt x="944" y="91"/>
                </a:moveTo>
                <a:cubicBezTo>
                  <a:pt x="944" y="91"/>
                  <a:pt x="944" y="91"/>
                  <a:pt x="943" y="89"/>
                </a:cubicBezTo>
                <a:cubicBezTo>
                  <a:pt x="943" y="89"/>
                  <a:pt x="943" y="89"/>
                  <a:pt x="942" y="89"/>
                </a:cubicBezTo>
                <a:cubicBezTo>
                  <a:pt x="942" y="89"/>
                  <a:pt x="942" y="89"/>
                  <a:pt x="941" y="88"/>
                </a:cubicBezTo>
                <a:cubicBezTo>
                  <a:pt x="941" y="88"/>
                  <a:pt x="941" y="88"/>
                  <a:pt x="941" y="89"/>
                </a:cubicBezTo>
                <a:cubicBezTo>
                  <a:pt x="941" y="89"/>
                  <a:pt x="941" y="89"/>
                  <a:pt x="940" y="89"/>
                </a:cubicBezTo>
                <a:cubicBezTo>
                  <a:pt x="940" y="89"/>
                  <a:pt x="940" y="89"/>
                  <a:pt x="939" y="88"/>
                </a:cubicBezTo>
                <a:cubicBezTo>
                  <a:pt x="939" y="88"/>
                  <a:pt x="939" y="88"/>
                  <a:pt x="938" y="88"/>
                </a:cubicBezTo>
                <a:cubicBezTo>
                  <a:pt x="938" y="88"/>
                  <a:pt x="938" y="88"/>
                  <a:pt x="937" y="88"/>
                </a:cubicBezTo>
                <a:cubicBezTo>
                  <a:pt x="937" y="88"/>
                  <a:pt x="937" y="88"/>
                  <a:pt x="936" y="88"/>
                </a:cubicBezTo>
                <a:cubicBezTo>
                  <a:pt x="936" y="88"/>
                  <a:pt x="936" y="88"/>
                  <a:pt x="935" y="88"/>
                </a:cubicBezTo>
                <a:cubicBezTo>
                  <a:pt x="935" y="88"/>
                  <a:pt x="935" y="88"/>
                  <a:pt x="934" y="89"/>
                </a:cubicBezTo>
                <a:cubicBezTo>
                  <a:pt x="934" y="89"/>
                  <a:pt x="934" y="89"/>
                  <a:pt x="933" y="91"/>
                </a:cubicBezTo>
                <a:cubicBezTo>
                  <a:pt x="933" y="91"/>
                  <a:pt x="933" y="91"/>
                  <a:pt x="933" y="93"/>
                </a:cubicBezTo>
                <a:cubicBezTo>
                  <a:pt x="933" y="93"/>
                  <a:pt x="933" y="93"/>
                  <a:pt x="934" y="93"/>
                </a:cubicBezTo>
                <a:cubicBezTo>
                  <a:pt x="934" y="93"/>
                  <a:pt x="934" y="93"/>
                  <a:pt x="935" y="93"/>
                </a:cubicBezTo>
                <a:cubicBezTo>
                  <a:pt x="935" y="93"/>
                  <a:pt x="935" y="93"/>
                  <a:pt x="936" y="94"/>
                </a:cubicBezTo>
                <a:cubicBezTo>
                  <a:pt x="936" y="94"/>
                  <a:pt x="936" y="94"/>
                  <a:pt x="937" y="94"/>
                </a:cubicBezTo>
                <a:cubicBezTo>
                  <a:pt x="937" y="94"/>
                  <a:pt x="937" y="94"/>
                  <a:pt x="939" y="94"/>
                </a:cubicBezTo>
                <a:cubicBezTo>
                  <a:pt x="939" y="94"/>
                  <a:pt x="939" y="94"/>
                  <a:pt x="940" y="96"/>
                </a:cubicBezTo>
                <a:cubicBezTo>
                  <a:pt x="940" y="96"/>
                  <a:pt x="940" y="96"/>
                  <a:pt x="942" y="96"/>
                </a:cubicBezTo>
                <a:cubicBezTo>
                  <a:pt x="942" y="96"/>
                  <a:pt x="942" y="96"/>
                  <a:pt x="944" y="97"/>
                </a:cubicBezTo>
                <a:cubicBezTo>
                  <a:pt x="944" y="97"/>
                  <a:pt x="944" y="97"/>
                  <a:pt x="945" y="96"/>
                </a:cubicBezTo>
                <a:cubicBezTo>
                  <a:pt x="945" y="96"/>
                  <a:pt x="945" y="96"/>
                  <a:pt x="947" y="95"/>
                </a:cubicBezTo>
                <a:cubicBezTo>
                  <a:pt x="947" y="95"/>
                  <a:pt x="947" y="95"/>
                  <a:pt x="948" y="95"/>
                </a:cubicBezTo>
                <a:cubicBezTo>
                  <a:pt x="948" y="95"/>
                  <a:pt x="948" y="95"/>
                  <a:pt x="948" y="94"/>
                </a:cubicBezTo>
                <a:cubicBezTo>
                  <a:pt x="948" y="94"/>
                  <a:pt x="948" y="94"/>
                  <a:pt x="948" y="93"/>
                </a:cubicBezTo>
                <a:cubicBezTo>
                  <a:pt x="948" y="93"/>
                  <a:pt x="948" y="93"/>
                  <a:pt x="947" y="92"/>
                </a:cubicBezTo>
                <a:cubicBezTo>
                  <a:pt x="947" y="92"/>
                  <a:pt x="947" y="92"/>
                  <a:pt x="946" y="92"/>
                </a:cubicBezTo>
                <a:cubicBezTo>
                  <a:pt x="946" y="92"/>
                  <a:pt x="946" y="92"/>
                  <a:pt x="945" y="92"/>
                </a:cubicBezTo>
                <a:cubicBezTo>
                  <a:pt x="945" y="92"/>
                  <a:pt x="945" y="92"/>
                  <a:pt x="945" y="91"/>
                </a:cubicBezTo>
                <a:cubicBezTo>
                  <a:pt x="945" y="91"/>
                  <a:pt x="945" y="91"/>
                  <a:pt x="944" y="91"/>
                </a:cubicBezTo>
                <a:close/>
                <a:moveTo>
                  <a:pt x="888" y="106"/>
                </a:moveTo>
                <a:cubicBezTo>
                  <a:pt x="889" y="106"/>
                  <a:pt x="889" y="106"/>
                  <a:pt x="889" y="106"/>
                </a:cubicBezTo>
                <a:cubicBezTo>
                  <a:pt x="892" y="106"/>
                  <a:pt x="892" y="106"/>
                  <a:pt x="892" y="106"/>
                </a:cubicBezTo>
                <a:cubicBezTo>
                  <a:pt x="892" y="105"/>
                  <a:pt x="892" y="105"/>
                  <a:pt x="892" y="105"/>
                </a:cubicBezTo>
                <a:cubicBezTo>
                  <a:pt x="893" y="103"/>
                  <a:pt x="893" y="103"/>
                  <a:pt x="893" y="103"/>
                </a:cubicBezTo>
                <a:cubicBezTo>
                  <a:pt x="892" y="102"/>
                  <a:pt x="892" y="102"/>
                  <a:pt x="892" y="102"/>
                </a:cubicBezTo>
                <a:cubicBezTo>
                  <a:pt x="891" y="103"/>
                  <a:pt x="891" y="103"/>
                  <a:pt x="891" y="103"/>
                </a:cubicBezTo>
                <a:cubicBezTo>
                  <a:pt x="890" y="102"/>
                  <a:pt x="890" y="102"/>
                  <a:pt x="890" y="102"/>
                </a:cubicBezTo>
                <a:cubicBezTo>
                  <a:pt x="888" y="102"/>
                  <a:pt x="888" y="102"/>
                  <a:pt x="888" y="102"/>
                </a:cubicBezTo>
                <a:cubicBezTo>
                  <a:pt x="887" y="102"/>
                  <a:pt x="887" y="102"/>
                  <a:pt x="887" y="102"/>
                </a:cubicBezTo>
                <a:cubicBezTo>
                  <a:pt x="886" y="102"/>
                  <a:pt x="886" y="102"/>
                  <a:pt x="886" y="102"/>
                </a:cubicBezTo>
                <a:cubicBezTo>
                  <a:pt x="885" y="103"/>
                  <a:pt x="885" y="103"/>
                  <a:pt x="885" y="103"/>
                </a:cubicBezTo>
                <a:cubicBezTo>
                  <a:pt x="885" y="104"/>
                  <a:pt x="885" y="104"/>
                  <a:pt x="885" y="104"/>
                </a:cubicBezTo>
                <a:cubicBezTo>
                  <a:pt x="886" y="105"/>
                  <a:pt x="886" y="105"/>
                  <a:pt x="886" y="105"/>
                </a:cubicBezTo>
                <a:cubicBezTo>
                  <a:pt x="887" y="105"/>
                  <a:pt x="887" y="105"/>
                  <a:pt x="887" y="105"/>
                </a:cubicBezTo>
                <a:cubicBezTo>
                  <a:pt x="888" y="106"/>
                  <a:pt x="888" y="106"/>
                  <a:pt x="888" y="106"/>
                </a:cubicBezTo>
                <a:close/>
                <a:moveTo>
                  <a:pt x="890" y="116"/>
                </a:moveTo>
                <a:cubicBezTo>
                  <a:pt x="890" y="117"/>
                  <a:pt x="890" y="117"/>
                  <a:pt x="890" y="117"/>
                </a:cubicBezTo>
                <a:cubicBezTo>
                  <a:pt x="890" y="118"/>
                  <a:pt x="890" y="118"/>
                  <a:pt x="890" y="118"/>
                </a:cubicBezTo>
                <a:cubicBezTo>
                  <a:pt x="891" y="117"/>
                  <a:pt x="891" y="117"/>
                  <a:pt x="891" y="117"/>
                </a:cubicBezTo>
                <a:cubicBezTo>
                  <a:pt x="890" y="116"/>
                  <a:pt x="890" y="116"/>
                  <a:pt x="890" y="116"/>
                </a:cubicBezTo>
                <a:close/>
                <a:moveTo>
                  <a:pt x="888" y="144"/>
                </a:moveTo>
                <a:cubicBezTo>
                  <a:pt x="887" y="145"/>
                  <a:pt x="887" y="145"/>
                  <a:pt x="887" y="145"/>
                </a:cubicBezTo>
                <a:cubicBezTo>
                  <a:pt x="885" y="145"/>
                  <a:pt x="885" y="145"/>
                  <a:pt x="885" y="145"/>
                </a:cubicBezTo>
                <a:cubicBezTo>
                  <a:pt x="885" y="146"/>
                  <a:pt x="885" y="146"/>
                  <a:pt x="885" y="146"/>
                </a:cubicBezTo>
                <a:cubicBezTo>
                  <a:pt x="887" y="146"/>
                  <a:pt x="887" y="146"/>
                  <a:pt x="887" y="146"/>
                </a:cubicBezTo>
                <a:cubicBezTo>
                  <a:pt x="888" y="147"/>
                  <a:pt x="888" y="147"/>
                  <a:pt x="888" y="147"/>
                </a:cubicBezTo>
                <a:cubicBezTo>
                  <a:pt x="889" y="147"/>
                  <a:pt x="889" y="147"/>
                  <a:pt x="889" y="147"/>
                </a:cubicBezTo>
                <a:cubicBezTo>
                  <a:pt x="890" y="147"/>
                  <a:pt x="890" y="147"/>
                  <a:pt x="890" y="147"/>
                </a:cubicBezTo>
                <a:cubicBezTo>
                  <a:pt x="892" y="146"/>
                  <a:pt x="892" y="146"/>
                  <a:pt x="892" y="146"/>
                </a:cubicBezTo>
                <a:cubicBezTo>
                  <a:pt x="893" y="147"/>
                  <a:pt x="893" y="147"/>
                  <a:pt x="893" y="147"/>
                </a:cubicBezTo>
                <a:cubicBezTo>
                  <a:pt x="893" y="146"/>
                  <a:pt x="893" y="146"/>
                  <a:pt x="893" y="146"/>
                </a:cubicBezTo>
                <a:cubicBezTo>
                  <a:pt x="894" y="146"/>
                  <a:pt x="894" y="146"/>
                  <a:pt x="894" y="146"/>
                </a:cubicBezTo>
                <a:cubicBezTo>
                  <a:pt x="896" y="146"/>
                  <a:pt x="896" y="146"/>
                  <a:pt x="896" y="146"/>
                </a:cubicBezTo>
                <a:cubicBezTo>
                  <a:pt x="896" y="145"/>
                  <a:pt x="896" y="145"/>
                  <a:pt x="896" y="145"/>
                </a:cubicBezTo>
                <a:cubicBezTo>
                  <a:pt x="894" y="144"/>
                  <a:pt x="894" y="144"/>
                  <a:pt x="894" y="144"/>
                </a:cubicBezTo>
                <a:cubicBezTo>
                  <a:pt x="893" y="144"/>
                  <a:pt x="893" y="144"/>
                  <a:pt x="893" y="144"/>
                </a:cubicBezTo>
                <a:cubicBezTo>
                  <a:pt x="891" y="144"/>
                  <a:pt x="891" y="144"/>
                  <a:pt x="891" y="144"/>
                </a:cubicBezTo>
                <a:cubicBezTo>
                  <a:pt x="890" y="145"/>
                  <a:pt x="890" y="145"/>
                  <a:pt x="890" y="145"/>
                </a:cubicBezTo>
                <a:cubicBezTo>
                  <a:pt x="888" y="144"/>
                  <a:pt x="888" y="144"/>
                  <a:pt x="888" y="144"/>
                </a:cubicBezTo>
                <a:close/>
                <a:moveTo>
                  <a:pt x="890" y="161"/>
                </a:moveTo>
                <a:cubicBezTo>
                  <a:pt x="890" y="163"/>
                  <a:pt x="890" y="163"/>
                  <a:pt x="890" y="163"/>
                </a:cubicBezTo>
                <a:cubicBezTo>
                  <a:pt x="891" y="163"/>
                  <a:pt x="891" y="163"/>
                  <a:pt x="891" y="163"/>
                </a:cubicBezTo>
                <a:cubicBezTo>
                  <a:pt x="892" y="162"/>
                  <a:pt x="892" y="162"/>
                  <a:pt x="892" y="162"/>
                </a:cubicBezTo>
                <a:cubicBezTo>
                  <a:pt x="892" y="161"/>
                  <a:pt x="892" y="161"/>
                  <a:pt x="892" y="161"/>
                </a:cubicBezTo>
                <a:cubicBezTo>
                  <a:pt x="892" y="160"/>
                  <a:pt x="892" y="160"/>
                  <a:pt x="892" y="160"/>
                </a:cubicBezTo>
                <a:cubicBezTo>
                  <a:pt x="891" y="159"/>
                  <a:pt x="891" y="159"/>
                  <a:pt x="891" y="159"/>
                </a:cubicBezTo>
                <a:cubicBezTo>
                  <a:pt x="891" y="160"/>
                  <a:pt x="891" y="160"/>
                  <a:pt x="891" y="160"/>
                </a:cubicBezTo>
                <a:cubicBezTo>
                  <a:pt x="890" y="161"/>
                  <a:pt x="890" y="161"/>
                  <a:pt x="890" y="161"/>
                </a:cubicBezTo>
                <a:close/>
                <a:moveTo>
                  <a:pt x="884" y="112"/>
                </a:moveTo>
                <a:cubicBezTo>
                  <a:pt x="884" y="112"/>
                  <a:pt x="884" y="112"/>
                  <a:pt x="885" y="111"/>
                </a:cubicBezTo>
                <a:cubicBezTo>
                  <a:pt x="885" y="111"/>
                  <a:pt x="885" y="111"/>
                  <a:pt x="886" y="111"/>
                </a:cubicBezTo>
                <a:cubicBezTo>
                  <a:pt x="886" y="111"/>
                  <a:pt x="886" y="111"/>
                  <a:pt x="887" y="112"/>
                </a:cubicBezTo>
                <a:cubicBezTo>
                  <a:pt x="887" y="112"/>
                  <a:pt x="887" y="112"/>
                  <a:pt x="889" y="111"/>
                </a:cubicBezTo>
                <a:cubicBezTo>
                  <a:pt x="889" y="111"/>
                  <a:pt x="889" y="111"/>
                  <a:pt x="889" y="110"/>
                </a:cubicBezTo>
                <a:cubicBezTo>
                  <a:pt x="889" y="110"/>
                  <a:pt x="889" y="110"/>
                  <a:pt x="890" y="110"/>
                </a:cubicBezTo>
                <a:cubicBezTo>
                  <a:pt x="890" y="110"/>
                  <a:pt x="890" y="110"/>
                  <a:pt x="891" y="110"/>
                </a:cubicBezTo>
                <a:cubicBezTo>
                  <a:pt x="891" y="110"/>
                  <a:pt x="891" y="110"/>
                  <a:pt x="892" y="109"/>
                </a:cubicBezTo>
                <a:cubicBezTo>
                  <a:pt x="892" y="109"/>
                  <a:pt x="892" y="109"/>
                  <a:pt x="891" y="109"/>
                </a:cubicBezTo>
                <a:cubicBezTo>
                  <a:pt x="891" y="109"/>
                  <a:pt x="891" y="109"/>
                  <a:pt x="890" y="109"/>
                </a:cubicBezTo>
                <a:cubicBezTo>
                  <a:pt x="890" y="109"/>
                  <a:pt x="890" y="109"/>
                  <a:pt x="887" y="109"/>
                </a:cubicBezTo>
                <a:cubicBezTo>
                  <a:pt x="887" y="109"/>
                  <a:pt x="887" y="109"/>
                  <a:pt x="886" y="110"/>
                </a:cubicBezTo>
                <a:cubicBezTo>
                  <a:pt x="886" y="110"/>
                  <a:pt x="886" y="110"/>
                  <a:pt x="885" y="110"/>
                </a:cubicBezTo>
                <a:cubicBezTo>
                  <a:pt x="885" y="110"/>
                  <a:pt x="885" y="110"/>
                  <a:pt x="884" y="111"/>
                </a:cubicBezTo>
                <a:cubicBezTo>
                  <a:pt x="884" y="111"/>
                  <a:pt x="884" y="111"/>
                  <a:pt x="884" y="112"/>
                </a:cubicBezTo>
                <a:close/>
                <a:moveTo>
                  <a:pt x="892" y="158"/>
                </a:moveTo>
                <a:cubicBezTo>
                  <a:pt x="891" y="158"/>
                  <a:pt x="891" y="158"/>
                  <a:pt x="891" y="158"/>
                </a:cubicBezTo>
                <a:cubicBezTo>
                  <a:pt x="891" y="159"/>
                  <a:pt x="891" y="159"/>
                  <a:pt x="891" y="159"/>
                </a:cubicBezTo>
                <a:cubicBezTo>
                  <a:pt x="892" y="159"/>
                  <a:pt x="892" y="159"/>
                  <a:pt x="892" y="159"/>
                </a:cubicBezTo>
                <a:cubicBezTo>
                  <a:pt x="892" y="158"/>
                  <a:pt x="892" y="158"/>
                  <a:pt x="892" y="158"/>
                </a:cubicBezTo>
                <a:close/>
                <a:moveTo>
                  <a:pt x="884" y="107"/>
                </a:moveTo>
                <a:cubicBezTo>
                  <a:pt x="885" y="108"/>
                  <a:pt x="885" y="108"/>
                  <a:pt x="885" y="108"/>
                </a:cubicBezTo>
                <a:cubicBezTo>
                  <a:pt x="887" y="108"/>
                  <a:pt x="887" y="108"/>
                  <a:pt x="887" y="108"/>
                </a:cubicBezTo>
                <a:cubicBezTo>
                  <a:pt x="889" y="108"/>
                  <a:pt x="889" y="108"/>
                  <a:pt x="889" y="108"/>
                </a:cubicBezTo>
                <a:cubicBezTo>
                  <a:pt x="890" y="108"/>
                  <a:pt x="890" y="108"/>
                  <a:pt x="890" y="108"/>
                </a:cubicBezTo>
                <a:cubicBezTo>
                  <a:pt x="891" y="108"/>
                  <a:pt x="891" y="108"/>
                  <a:pt x="891" y="108"/>
                </a:cubicBezTo>
                <a:cubicBezTo>
                  <a:pt x="892" y="108"/>
                  <a:pt x="892" y="108"/>
                  <a:pt x="892" y="108"/>
                </a:cubicBezTo>
                <a:cubicBezTo>
                  <a:pt x="892" y="107"/>
                  <a:pt x="892" y="107"/>
                  <a:pt x="892" y="107"/>
                </a:cubicBezTo>
                <a:cubicBezTo>
                  <a:pt x="891" y="107"/>
                  <a:pt x="891" y="107"/>
                  <a:pt x="891" y="107"/>
                </a:cubicBezTo>
                <a:cubicBezTo>
                  <a:pt x="888" y="107"/>
                  <a:pt x="888" y="107"/>
                  <a:pt x="888" y="107"/>
                </a:cubicBezTo>
                <a:cubicBezTo>
                  <a:pt x="887" y="107"/>
                  <a:pt x="887" y="107"/>
                  <a:pt x="887" y="107"/>
                </a:cubicBezTo>
                <a:cubicBezTo>
                  <a:pt x="885" y="107"/>
                  <a:pt x="885" y="107"/>
                  <a:pt x="885" y="107"/>
                </a:cubicBezTo>
                <a:cubicBezTo>
                  <a:pt x="884" y="107"/>
                  <a:pt x="884" y="107"/>
                  <a:pt x="884" y="107"/>
                </a:cubicBezTo>
                <a:close/>
                <a:moveTo>
                  <a:pt x="912" y="81"/>
                </a:moveTo>
                <a:cubicBezTo>
                  <a:pt x="912" y="81"/>
                  <a:pt x="912" y="81"/>
                  <a:pt x="913" y="81"/>
                </a:cubicBezTo>
                <a:cubicBezTo>
                  <a:pt x="913" y="81"/>
                  <a:pt x="913" y="81"/>
                  <a:pt x="914" y="81"/>
                </a:cubicBezTo>
                <a:cubicBezTo>
                  <a:pt x="914" y="81"/>
                  <a:pt x="914" y="81"/>
                  <a:pt x="915" y="81"/>
                </a:cubicBezTo>
                <a:cubicBezTo>
                  <a:pt x="915" y="81"/>
                  <a:pt x="915" y="81"/>
                  <a:pt x="916" y="81"/>
                </a:cubicBezTo>
                <a:cubicBezTo>
                  <a:pt x="916" y="81"/>
                  <a:pt x="916" y="81"/>
                  <a:pt x="916" y="79"/>
                </a:cubicBezTo>
                <a:cubicBezTo>
                  <a:pt x="916" y="79"/>
                  <a:pt x="916" y="79"/>
                  <a:pt x="916" y="78"/>
                </a:cubicBezTo>
                <a:cubicBezTo>
                  <a:pt x="916" y="78"/>
                  <a:pt x="916" y="78"/>
                  <a:pt x="914" y="76"/>
                </a:cubicBezTo>
                <a:cubicBezTo>
                  <a:pt x="914" y="76"/>
                  <a:pt x="914" y="76"/>
                  <a:pt x="912" y="75"/>
                </a:cubicBezTo>
                <a:cubicBezTo>
                  <a:pt x="912" y="75"/>
                  <a:pt x="912" y="75"/>
                  <a:pt x="910" y="75"/>
                </a:cubicBezTo>
                <a:cubicBezTo>
                  <a:pt x="910" y="75"/>
                  <a:pt x="910" y="75"/>
                  <a:pt x="910" y="77"/>
                </a:cubicBezTo>
                <a:cubicBezTo>
                  <a:pt x="910" y="77"/>
                  <a:pt x="910" y="77"/>
                  <a:pt x="910" y="78"/>
                </a:cubicBezTo>
                <a:cubicBezTo>
                  <a:pt x="910" y="78"/>
                  <a:pt x="910" y="78"/>
                  <a:pt x="911" y="80"/>
                </a:cubicBezTo>
                <a:cubicBezTo>
                  <a:pt x="911" y="80"/>
                  <a:pt x="911" y="80"/>
                  <a:pt x="912" y="81"/>
                </a:cubicBezTo>
                <a:close/>
                <a:moveTo>
                  <a:pt x="906" y="125"/>
                </a:moveTo>
                <a:cubicBezTo>
                  <a:pt x="906" y="125"/>
                  <a:pt x="906" y="125"/>
                  <a:pt x="906" y="126"/>
                </a:cubicBezTo>
                <a:cubicBezTo>
                  <a:pt x="906" y="126"/>
                  <a:pt x="906" y="126"/>
                  <a:pt x="907" y="126"/>
                </a:cubicBezTo>
                <a:cubicBezTo>
                  <a:pt x="907" y="126"/>
                  <a:pt x="907" y="126"/>
                  <a:pt x="907" y="125"/>
                </a:cubicBezTo>
                <a:cubicBezTo>
                  <a:pt x="907" y="125"/>
                  <a:pt x="907" y="125"/>
                  <a:pt x="906" y="125"/>
                </a:cubicBezTo>
                <a:close/>
                <a:moveTo>
                  <a:pt x="911" y="121"/>
                </a:moveTo>
                <a:cubicBezTo>
                  <a:pt x="911" y="121"/>
                  <a:pt x="911" y="121"/>
                  <a:pt x="910" y="121"/>
                </a:cubicBezTo>
                <a:cubicBezTo>
                  <a:pt x="910" y="121"/>
                  <a:pt x="910" y="121"/>
                  <a:pt x="911" y="122"/>
                </a:cubicBezTo>
                <a:cubicBezTo>
                  <a:pt x="911" y="122"/>
                  <a:pt x="911" y="122"/>
                  <a:pt x="911" y="121"/>
                </a:cubicBezTo>
                <a:close/>
                <a:moveTo>
                  <a:pt x="899" y="137"/>
                </a:moveTo>
                <a:cubicBezTo>
                  <a:pt x="899" y="137"/>
                  <a:pt x="899" y="137"/>
                  <a:pt x="900" y="137"/>
                </a:cubicBezTo>
                <a:cubicBezTo>
                  <a:pt x="900" y="137"/>
                  <a:pt x="900" y="137"/>
                  <a:pt x="899" y="136"/>
                </a:cubicBezTo>
                <a:cubicBezTo>
                  <a:pt x="899" y="136"/>
                  <a:pt x="899" y="136"/>
                  <a:pt x="897" y="137"/>
                </a:cubicBezTo>
                <a:cubicBezTo>
                  <a:pt x="897" y="137"/>
                  <a:pt x="897" y="137"/>
                  <a:pt x="897" y="138"/>
                </a:cubicBezTo>
                <a:cubicBezTo>
                  <a:pt x="897" y="138"/>
                  <a:pt x="897" y="138"/>
                  <a:pt x="898" y="138"/>
                </a:cubicBezTo>
                <a:cubicBezTo>
                  <a:pt x="898" y="138"/>
                  <a:pt x="898" y="138"/>
                  <a:pt x="899" y="137"/>
                </a:cubicBezTo>
                <a:close/>
                <a:moveTo>
                  <a:pt x="914" y="119"/>
                </a:moveTo>
                <a:cubicBezTo>
                  <a:pt x="914" y="119"/>
                  <a:pt x="914" y="119"/>
                  <a:pt x="913" y="119"/>
                </a:cubicBezTo>
                <a:cubicBezTo>
                  <a:pt x="913" y="119"/>
                  <a:pt x="913" y="119"/>
                  <a:pt x="912" y="120"/>
                </a:cubicBezTo>
                <a:cubicBezTo>
                  <a:pt x="912" y="120"/>
                  <a:pt x="912" y="120"/>
                  <a:pt x="913" y="120"/>
                </a:cubicBezTo>
                <a:cubicBezTo>
                  <a:pt x="913" y="120"/>
                  <a:pt x="913" y="120"/>
                  <a:pt x="914" y="119"/>
                </a:cubicBezTo>
                <a:close/>
                <a:moveTo>
                  <a:pt x="909" y="123"/>
                </a:moveTo>
                <a:cubicBezTo>
                  <a:pt x="909" y="123"/>
                  <a:pt x="909" y="123"/>
                  <a:pt x="909" y="125"/>
                </a:cubicBezTo>
                <a:cubicBezTo>
                  <a:pt x="909" y="125"/>
                  <a:pt x="909" y="125"/>
                  <a:pt x="910" y="126"/>
                </a:cubicBezTo>
                <a:cubicBezTo>
                  <a:pt x="910" y="126"/>
                  <a:pt x="910" y="126"/>
                  <a:pt x="910" y="125"/>
                </a:cubicBezTo>
                <a:cubicBezTo>
                  <a:pt x="910" y="125"/>
                  <a:pt x="910" y="125"/>
                  <a:pt x="911" y="125"/>
                </a:cubicBezTo>
                <a:cubicBezTo>
                  <a:pt x="911" y="125"/>
                  <a:pt x="911" y="125"/>
                  <a:pt x="911" y="124"/>
                </a:cubicBezTo>
                <a:cubicBezTo>
                  <a:pt x="911" y="124"/>
                  <a:pt x="911" y="124"/>
                  <a:pt x="912" y="123"/>
                </a:cubicBezTo>
                <a:cubicBezTo>
                  <a:pt x="912" y="123"/>
                  <a:pt x="912" y="123"/>
                  <a:pt x="911" y="123"/>
                </a:cubicBezTo>
                <a:cubicBezTo>
                  <a:pt x="911" y="123"/>
                  <a:pt x="911" y="123"/>
                  <a:pt x="910" y="123"/>
                </a:cubicBezTo>
                <a:cubicBezTo>
                  <a:pt x="910" y="123"/>
                  <a:pt x="910" y="123"/>
                  <a:pt x="909" y="123"/>
                </a:cubicBezTo>
                <a:close/>
                <a:moveTo>
                  <a:pt x="919" y="71"/>
                </a:moveTo>
                <a:cubicBezTo>
                  <a:pt x="919" y="71"/>
                  <a:pt x="919" y="71"/>
                  <a:pt x="918" y="71"/>
                </a:cubicBezTo>
                <a:cubicBezTo>
                  <a:pt x="918" y="71"/>
                  <a:pt x="918" y="71"/>
                  <a:pt x="918" y="72"/>
                </a:cubicBezTo>
                <a:cubicBezTo>
                  <a:pt x="918" y="72"/>
                  <a:pt x="918" y="72"/>
                  <a:pt x="919" y="72"/>
                </a:cubicBezTo>
                <a:cubicBezTo>
                  <a:pt x="919" y="72"/>
                  <a:pt x="919" y="72"/>
                  <a:pt x="919" y="71"/>
                </a:cubicBezTo>
                <a:close/>
                <a:moveTo>
                  <a:pt x="913" y="124"/>
                </a:moveTo>
                <a:cubicBezTo>
                  <a:pt x="913" y="124"/>
                  <a:pt x="913" y="124"/>
                  <a:pt x="914" y="123"/>
                </a:cubicBezTo>
                <a:cubicBezTo>
                  <a:pt x="914" y="123"/>
                  <a:pt x="914" y="123"/>
                  <a:pt x="913" y="123"/>
                </a:cubicBezTo>
                <a:cubicBezTo>
                  <a:pt x="913" y="123"/>
                  <a:pt x="913" y="123"/>
                  <a:pt x="913" y="122"/>
                </a:cubicBezTo>
                <a:cubicBezTo>
                  <a:pt x="913" y="122"/>
                  <a:pt x="913" y="122"/>
                  <a:pt x="912" y="122"/>
                </a:cubicBezTo>
                <a:cubicBezTo>
                  <a:pt x="912" y="122"/>
                  <a:pt x="912" y="122"/>
                  <a:pt x="912" y="123"/>
                </a:cubicBezTo>
                <a:cubicBezTo>
                  <a:pt x="912" y="123"/>
                  <a:pt x="912" y="123"/>
                  <a:pt x="912" y="124"/>
                </a:cubicBezTo>
                <a:cubicBezTo>
                  <a:pt x="912" y="124"/>
                  <a:pt x="912" y="124"/>
                  <a:pt x="913" y="124"/>
                </a:cubicBezTo>
                <a:close/>
                <a:moveTo>
                  <a:pt x="908" y="134"/>
                </a:moveTo>
                <a:cubicBezTo>
                  <a:pt x="909" y="134"/>
                  <a:pt x="909" y="134"/>
                  <a:pt x="909" y="134"/>
                </a:cubicBezTo>
                <a:cubicBezTo>
                  <a:pt x="909" y="133"/>
                  <a:pt x="909" y="133"/>
                  <a:pt x="909" y="133"/>
                </a:cubicBezTo>
                <a:cubicBezTo>
                  <a:pt x="910" y="133"/>
                  <a:pt x="910" y="133"/>
                  <a:pt x="910" y="133"/>
                </a:cubicBezTo>
                <a:cubicBezTo>
                  <a:pt x="909" y="134"/>
                  <a:pt x="909" y="134"/>
                  <a:pt x="909" y="134"/>
                </a:cubicBezTo>
                <a:cubicBezTo>
                  <a:pt x="909" y="135"/>
                  <a:pt x="909" y="135"/>
                  <a:pt x="909" y="135"/>
                </a:cubicBezTo>
                <a:cubicBezTo>
                  <a:pt x="910" y="135"/>
                  <a:pt x="910" y="135"/>
                  <a:pt x="910" y="135"/>
                </a:cubicBezTo>
                <a:cubicBezTo>
                  <a:pt x="911" y="135"/>
                  <a:pt x="911" y="135"/>
                  <a:pt x="911" y="135"/>
                </a:cubicBezTo>
                <a:cubicBezTo>
                  <a:pt x="911" y="136"/>
                  <a:pt x="911" y="136"/>
                  <a:pt x="911" y="136"/>
                </a:cubicBezTo>
                <a:cubicBezTo>
                  <a:pt x="911" y="137"/>
                  <a:pt x="911" y="137"/>
                  <a:pt x="911" y="137"/>
                </a:cubicBezTo>
                <a:cubicBezTo>
                  <a:pt x="912" y="137"/>
                  <a:pt x="912" y="137"/>
                  <a:pt x="912" y="137"/>
                </a:cubicBezTo>
                <a:cubicBezTo>
                  <a:pt x="912" y="136"/>
                  <a:pt x="912" y="136"/>
                  <a:pt x="912" y="136"/>
                </a:cubicBezTo>
                <a:cubicBezTo>
                  <a:pt x="913" y="136"/>
                  <a:pt x="913" y="136"/>
                  <a:pt x="913" y="136"/>
                </a:cubicBezTo>
                <a:cubicBezTo>
                  <a:pt x="913" y="138"/>
                  <a:pt x="913" y="138"/>
                  <a:pt x="913" y="138"/>
                </a:cubicBezTo>
                <a:cubicBezTo>
                  <a:pt x="914" y="138"/>
                  <a:pt x="914" y="138"/>
                  <a:pt x="914" y="138"/>
                </a:cubicBezTo>
                <a:cubicBezTo>
                  <a:pt x="914" y="139"/>
                  <a:pt x="914" y="139"/>
                  <a:pt x="914" y="139"/>
                </a:cubicBezTo>
                <a:cubicBezTo>
                  <a:pt x="916" y="139"/>
                  <a:pt x="916" y="139"/>
                  <a:pt x="916" y="139"/>
                </a:cubicBezTo>
                <a:cubicBezTo>
                  <a:pt x="917" y="140"/>
                  <a:pt x="917" y="140"/>
                  <a:pt x="917" y="140"/>
                </a:cubicBezTo>
                <a:cubicBezTo>
                  <a:pt x="918" y="140"/>
                  <a:pt x="918" y="140"/>
                  <a:pt x="918" y="140"/>
                </a:cubicBezTo>
                <a:cubicBezTo>
                  <a:pt x="919" y="141"/>
                  <a:pt x="919" y="141"/>
                  <a:pt x="919" y="141"/>
                </a:cubicBezTo>
                <a:cubicBezTo>
                  <a:pt x="919" y="140"/>
                  <a:pt x="919" y="140"/>
                  <a:pt x="919" y="140"/>
                </a:cubicBezTo>
                <a:cubicBezTo>
                  <a:pt x="919" y="139"/>
                  <a:pt x="919" y="139"/>
                  <a:pt x="919" y="139"/>
                </a:cubicBezTo>
                <a:cubicBezTo>
                  <a:pt x="920" y="139"/>
                  <a:pt x="920" y="139"/>
                  <a:pt x="920" y="139"/>
                </a:cubicBezTo>
                <a:cubicBezTo>
                  <a:pt x="920" y="137"/>
                  <a:pt x="920" y="137"/>
                  <a:pt x="920" y="137"/>
                </a:cubicBezTo>
                <a:cubicBezTo>
                  <a:pt x="920" y="136"/>
                  <a:pt x="920" y="136"/>
                  <a:pt x="920" y="136"/>
                </a:cubicBezTo>
                <a:cubicBezTo>
                  <a:pt x="921" y="134"/>
                  <a:pt x="921" y="134"/>
                  <a:pt x="921" y="134"/>
                </a:cubicBezTo>
                <a:cubicBezTo>
                  <a:pt x="922" y="132"/>
                  <a:pt x="922" y="132"/>
                  <a:pt x="922" y="132"/>
                </a:cubicBezTo>
                <a:cubicBezTo>
                  <a:pt x="922" y="130"/>
                  <a:pt x="922" y="130"/>
                  <a:pt x="922" y="130"/>
                </a:cubicBezTo>
                <a:cubicBezTo>
                  <a:pt x="923" y="130"/>
                  <a:pt x="923" y="130"/>
                  <a:pt x="923" y="130"/>
                </a:cubicBezTo>
                <a:cubicBezTo>
                  <a:pt x="922" y="128"/>
                  <a:pt x="922" y="128"/>
                  <a:pt x="922" y="128"/>
                </a:cubicBezTo>
                <a:cubicBezTo>
                  <a:pt x="921" y="128"/>
                  <a:pt x="921" y="128"/>
                  <a:pt x="921" y="128"/>
                </a:cubicBezTo>
                <a:cubicBezTo>
                  <a:pt x="921" y="126"/>
                  <a:pt x="921" y="126"/>
                  <a:pt x="921" y="126"/>
                </a:cubicBezTo>
                <a:cubicBezTo>
                  <a:pt x="920" y="125"/>
                  <a:pt x="920" y="125"/>
                  <a:pt x="920" y="125"/>
                </a:cubicBezTo>
                <a:cubicBezTo>
                  <a:pt x="919" y="124"/>
                  <a:pt x="919" y="124"/>
                  <a:pt x="919" y="124"/>
                </a:cubicBezTo>
                <a:cubicBezTo>
                  <a:pt x="918" y="124"/>
                  <a:pt x="918" y="124"/>
                  <a:pt x="918" y="124"/>
                </a:cubicBezTo>
                <a:cubicBezTo>
                  <a:pt x="916" y="124"/>
                  <a:pt x="916" y="124"/>
                  <a:pt x="916" y="124"/>
                </a:cubicBezTo>
                <a:cubicBezTo>
                  <a:pt x="915" y="124"/>
                  <a:pt x="915" y="124"/>
                  <a:pt x="915" y="124"/>
                </a:cubicBezTo>
                <a:cubicBezTo>
                  <a:pt x="915" y="125"/>
                  <a:pt x="915" y="125"/>
                  <a:pt x="915" y="125"/>
                </a:cubicBezTo>
                <a:cubicBezTo>
                  <a:pt x="915" y="126"/>
                  <a:pt x="915" y="126"/>
                  <a:pt x="915" y="126"/>
                </a:cubicBezTo>
                <a:cubicBezTo>
                  <a:pt x="914" y="126"/>
                  <a:pt x="914" y="126"/>
                  <a:pt x="914" y="126"/>
                </a:cubicBezTo>
                <a:cubicBezTo>
                  <a:pt x="913" y="125"/>
                  <a:pt x="913" y="125"/>
                  <a:pt x="913" y="125"/>
                </a:cubicBezTo>
                <a:cubicBezTo>
                  <a:pt x="912" y="126"/>
                  <a:pt x="912" y="126"/>
                  <a:pt x="912" y="126"/>
                </a:cubicBezTo>
                <a:cubicBezTo>
                  <a:pt x="913" y="126"/>
                  <a:pt x="913" y="126"/>
                  <a:pt x="913" y="126"/>
                </a:cubicBezTo>
                <a:cubicBezTo>
                  <a:pt x="914" y="127"/>
                  <a:pt x="914" y="127"/>
                  <a:pt x="914" y="127"/>
                </a:cubicBezTo>
                <a:cubicBezTo>
                  <a:pt x="912" y="127"/>
                  <a:pt x="912" y="127"/>
                  <a:pt x="912" y="127"/>
                </a:cubicBezTo>
                <a:cubicBezTo>
                  <a:pt x="912" y="128"/>
                  <a:pt x="912" y="128"/>
                  <a:pt x="912" y="128"/>
                </a:cubicBezTo>
                <a:cubicBezTo>
                  <a:pt x="912" y="129"/>
                  <a:pt x="912" y="129"/>
                  <a:pt x="912" y="129"/>
                </a:cubicBezTo>
                <a:cubicBezTo>
                  <a:pt x="911" y="129"/>
                  <a:pt x="911" y="129"/>
                  <a:pt x="911" y="129"/>
                </a:cubicBezTo>
                <a:cubicBezTo>
                  <a:pt x="910" y="129"/>
                  <a:pt x="910" y="129"/>
                  <a:pt x="910" y="129"/>
                </a:cubicBezTo>
                <a:cubicBezTo>
                  <a:pt x="909" y="130"/>
                  <a:pt x="909" y="130"/>
                  <a:pt x="909" y="130"/>
                </a:cubicBezTo>
                <a:cubicBezTo>
                  <a:pt x="908" y="131"/>
                  <a:pt x="908" y="131"/>
                  <a:pt x="908" y="131"/>
                </a:cubicBezTo>
                <a:cubicBezTo>
                  <a:pt x="908" y="132"/>
                  <a:pt x="908" y="132"/>
                  <a:pt x="908" y="132"/>
                </a:cubicBezTo>
                <a:cubicBezTo>
                  <a:pt x="909" y="132"/>
                  <a:pt x="909" y="132"/>
                  <a:pt x="909" y="132"/>
                </a:cubicBezTo>
                <a:cubicBezTo>
                  <a:pt x="908" y="133"/>
                  <a:pt x="908" y="133"/>
                  <a:pt x="908" y="133"/>
                </a:cubicBezTo>
                <a:cubicBezTo>
                  <a:pt x="908" y="134"/>
                  <a:pt x="908" y="134"/>
                  <a:pt x="908" y="134"/>
                </a:cubicBezTo>
                <a:close/>
                <a:moveTo>
                  <a:pt x="910" y="98"/>
                </a:moveTo>
                <a:cubicBezTo>
                  <a:pt x="911" y="99"/>
                  <a:pt x="911" y="99"/>
                  <a:pt x="911" y="99"/>
                </a:cubicBezTo>
                <a:cubicBezTo>
                  <a:pt x="911" y="98"/>
                  <a:pt x="911" y="98"/>
                  <a:pt x="911" y="98"/>
                </a:cubicBezTo>
                <a:cubicBezTo>
                  <a:pt x="910" y="97"/>
                  <a:pt x="910" y="97"/>
                  <a:pt x="910" y="97"/>
                </a:cubicBezTo>
                <a:cubicBezTo>
                  <a:pt x="910" y="98"/>
                  <a:pt x="910" y="98"/>
                  <a:pt x="910" y="98"/>
                </a:cubicBezTo>
                <a:close/>
                <a:moveTo>
                  <a:pt x="733" y="170"/>
                </a:moveTo>
                <a:cubicBezTo>
                  <a:pt x="732" y="170"/>
                  <a:pt x="732" y="170"/>
                  <a:pt x="732" y="170"/>
                </a:cubicBezTo>
                <a:cubicBezTo>
                  <a:pt x="733" y="171"/>
                  <a:pt x="733" y="171"/>
                  <a:pt x="733" y="171"/>
                </a:cubicBezTo>
                <a:cubicBezTo>
                  <a:pt x="733" y="170"/>
                  <a:pt x="733" y="170"/>
                  <a:pt x="733" y="170"/>
                </a:cubicBezTo>
                <a:close/>
                <a:moveTo>
                  <a:pt x="676" y="161"/>
                </a:moveTo>
                <a:cubicBezTo>
                  <a:pt x="676" y="162"/>
                  <a:pt x="676" y="162"/>
                  <a:pt x="676" y="162"/>
                </a:cubicBezTo>
                <a:cubicBezTo>
                  <a:pt x="677" y="161"/>
                  <a:pt x="677" y="161"/>
                  <a:pt x="677" y="161"/>
                </a:cubicBezTo>
                <a:cubicBezTo>
                  <a:pt x="676" y="161"/>
                  <a:pt x="676" y="161"/>
                  <a:pt x="676" y="161"/>
                </a:cubicBezTo>
                <a:close/>
                <a:moveTo>
                  <a:pt x="722" y="158"/>
                </a:moveTo>
                <a:cubicBezTo>
                  <a:pt x="722" y="157"/>
                  <a:pt x="722" y="157"/>
                  <a:pt x="722" y="157"/>
                </a:cubicBezTo>
                <a:cubicBezTo>
                  <a:pt x="720" y="157"/>
                  <a:pt x="720" y="157"/>
                  <a:pt x="720" y="157"/>
                </a:cubicBezTo>
                <a:cubicBezTo>
                  <a:pt x="720" y="158"/>
                  <a:pt x="720" y="158"/>
                  <a:pt x="720" y="158"/>
                </a:cubicBezTo>
                <a:cubicBezTo>
                  <a:pt x="721" y="159"/>
                  <a:pt x="721" y="159"/>
                  <a:pt x="721" y="159"/>
                </a:cubicBezTo>
                <a:cubicBezTo>
                  <a:pt x="722" y="158"/>
                  <a:pt x="722" y="158"/>
                  <a:pt x="722" y="158"/>
                </a:cubicBezTo>
                <a:close/>
                <a:moveTo>
                  <a:pt x="749" y="143"/>
                </a:moveTo>
                <a:cubicBezTo>
                  <a:pt x="750" y="143"/>
                  <a:pt x="750" y="143"/>
                  <a:pt x="750" y="143"/>
                </a:cubicBezTo>
                <a:cubicBezTo>
                  <a:pt x="750" y="143"/>
                  <a:pt x="750" y="143"/>
                  <a:pt x="750" y="144"/>
                </a:cubicBezTo>
                <a:cubicBezTo>
                  <a:pt x="750" y="144"/>
                  <a:pt x="750" y="144"/>
                  <a:pt x="749" y="143"/>
                </a:cubicBezTo>
                <a:cubicBezTo>
                  <a:pt x="749" y="143"/>
                  <a:pt x="749" y="143"/>
                  <a:pt x="750" y="147"/>
                </a:cubicBezTo>
                <a:cubicBezTo>
                  <a:pt x="750" y="147"/>
                  <a:pt x="750" y="147"/>
                  <a:pt x="750" y="148"/>
                </a:cubicBezTo>
                <a:cubicBezTo>
                  <a:pt x="750" y="148"/>
                  <a:pt x="750" y="148"/>
                  <a:pt x="750" y="149"/>
                </a:cubicBezTo>
                <a:cubicBezTo>
                  <a:pt x="750" y="149"/>
                  <a:pt x="750" y="149"/>
                  <a:pt x="750" y="151"/>
                </a:cubicBezTo>
                <a:cubicBezTo>
                  <a:pt x="750" y="151"/>
                  <a:pt x="750" y="151"/>
                  <a:pt x="750" y="152"/>
                </a:cubicBezTo>
                <a:cubicBezTo>
                  <a:pt x="750" y="152"/>
                  <a:pt x="750" y="152"/>
                  <a:pt x="749" y="154"/>
                </a:cubicBezTo>
                <a:cubicBezTo>
                  <a:pt x="749" y="154"/>
                  <a:pt x="749" y="154"/>
                  <a:pt x="749" y="157"/>
                </a:cubicBezTo>
                <a:cubicBezTo>
                  <a:pt x="749" y="157"/>
                  <a:pt x="749" y="157"/>
                  <a:pt x="750" y="157"/>
                </a:cubicBezTo>
                <a:cubicBezTo>
                  <a:pt x="750" y="157"/>
                  <a:pt x="750" y="157"/>
                  <a:pt x="751" y="157"/>
                </a:cubicBezTo>
                <a:cubicBezTo>
                  <a:pt x="751" y="157"/>
                  <a:pt x="751" y="157"/>
                  <a:pt x="752" y="157"/>
                </a:cubicBezTo>
                <a:cubicBezTo>
                  <a:pt x="752" y="157"/>
                  <a:pt x="752" y="157"/>
                  <a:pt x="753" y="156"/>
                </a:cubicBezTo>
                <a:cubicBezTo>
                  <a:pt x="753" y="156"/>
                  <a:pt x="753" y="156"/>
                  <a:pt x="754" y="156"/>
                </a:cubicBezTo>
                <a:cubicBezTo>
                  <a:pt x="754" y="156"/>
                  <a:pt x="754" y="156"/>
                  <a:pt x="756" y="156"/>
                </a:cubicBezTo>
                <a:cubicBezTo>
                  <a:pt x="756" y="156"/>
                  <a:pt x="756" y="156"/>
                  <a:pt x="758" y="154"/>
                </a:cubicBezTo>
                <a:cubicBezTo>
                  <a:pt x="758" y="154"/>
                  <a:pt x="758" y="154"/>
                  <a:pt x="758" y="153"/>
                </a:cubicBezTo>
                <a:cubicBezTo>
                  <a:pt x="758" y="153"/>
                  <a:pt x="758" y="153"/>
                  <a:pt x="759" y="152"/>
                </a:cubicBezTo>
                <a:cubicBezTo>
                  <a:pt x="759" y="152"/>
                  <a:pt x="759" y="152"/>
                  <a:pt x="760" y="153"/>
                </a:cubicBezTo>
                <a:cubicBezTo>
                  <a:pt x="760" y="153"/>
                  <a:pt x="760" y="153"/>
                  <a:pt x="760" y="155"/>
                </a:cubicBezTo>
                <a:cubicBezTo>
                  <a:pt x="760" y="155"/>
                  <a:pt x="760" y="155"/>
                  <a:pt x="759" y="155"/>
                </a:cubicBezTo>
                <a:cubicBezTo>
                  <a:pt x="759" y="155"/>
                  <a:pt x="759" y="155"/>
                  <a:pt x="760" y="157"/>
                </a:cubicBezTo>
                <a:cubicBezTo>
                  <a:pt x="760" y="157"/>
                  <a:pt x="760" y="157"/>
                  <a:pt x="761" y="157"/>
                </a:cubicBezTo>
                <a:cubicBezTo>
                  <a:pt x="761" y="157"/>
                  <a:pt x="761" y="157"/>
                  <a:pt x="763" y="156"/>
                </a:cubicBezTo>
                <a:cubicBezTo>
                  <a:pt x="763" y="156"/>
                  <a:pt x="763" y="156"/>
                  <a:pt x="764" y="156"/>
                </a:cubicBezTo>
                <a:cubicBezTo>
                  <a:pt x="764" y="156"/>
                  <a:pt x="764" y="156"/>
                  <a:pt x="766" y="155"/>
                </a:cubicBezTo>
                <a:cubicBezTo>
                  <a:pt x="766" y="155"/>
                  <a:pt x="766" y="155"/>
                  <a:pt x="767" y="153"/>
                </a:cubicBezTo>
                <a:cubicBezTo>
                  <a:pt x="767" y="153"/>
                  <a:pt x="767" y="153"/>
                  <a:pt x="767" y="152"/>
                </a:cubicBezTo>
                <a:cubicBezTo>
                  <a:pt x="767" y="152"/>
                  <a:pt x="767" y="152"/>
                  <a:pt x="769" y="150"/>
                </a:cubicBezTo>
                <a:cubicBezTo>
                  <a:pt x="769" y="150"/>
                  <a:pt x="769" y="150"/>
                  <a:pt x="769" y="149"/>
                </a:cubicBezTo>
                <a:cubicBezTo>
                  <a:pt x="769" y="149"/>
                  <a:pt x="769" y="149"/>
                  <a:pt x="770" y="148"/>
                </a:cubicBezTo>
                <a:cubicBezTo>
                  <a:pt x="770" y="148"/>
                  <a:pt x="770" y="148"/>
                  <a:pt x="772" y="147"/>
                </a:cubicBezTo>
                <a:cubicBezTo>
                  <a:pt x="772" y="147"/>
                  <a:pt x="772" y="147"/>
                  <a:pt x="772" y="146"/>
                </a:cubicBezTo>
                <a:cubicBezTo>
                  <a:pt x="772" y="146"/>
                  <a:pt x="772" y="146"/>
                  <a:pt x="773" y="144"/>
                </a:cubicBezTo>
                <a:cubicBezTo>
                  <a:pt x="773" y="144"/>
                  <a:pt x="773" y="144"/>
                  <a:pt x="774" y="146"/>
                </a:cubicBezTo>
                <a:cubicBezTo>
                  <a:pt x="774" y="146"/>
                  <a:pt x="774" y="146"/>
                  <a:pt x="776" y="146"/>
                </a:cubicBezTo>
                <a:cubicBezTo>
                  <a:pt x="776" y="146"/>
                  <a:pt x="776" y="146"/>
                  <a:pt x="777" y="145"/>
                </a:cubicBezTo>
                <a:cubicBezTo>
                  <a:pt x="777" y="145"/>
                  <a:pt x="777" y="145"/>
                  <a:pt x="779" y="145"/>
                </a:cubicBezTo>
                <a:cubicBezTo>
                  <a:pt x="779" y="145"/>
                  <a:pt x="779" y="145"/>
                  <a:pt x="779" y="143"/>
                </a:cubicBezTo>
                <a:cubicBezTo>
                  <a:pt x="779" y="143"/>
                  <a:pt x="779" y="143"/>
                  <a:pt x="780" y="143"/>
                </a:cubicBezTo>
                <a:cubicBezTo>
                  <a:pt x="780" y="143"/>
                  <a:pt x="780" y="143"/>
                  <a:pt x="781" y="141"/>
                </a:cubicBezTo>
                <a:cubicBezTo>
                  <a:pt x="781" y="141"/>
                  <a:pt x="781" y="141"/>
                  <a:pt x="782" y="140"/>
                </a:cubicBezTo>
                <a:cubicBezTo>
                  <a:pt x="782" y="140"/>
                  <a:pt x="782" y="140"/>
                  <a:pt x="784" y="139"/>
                </a:cubicBezTo>
                <a:cubicBezTo>
                  <a:pt x="784" y="139"/>
                  <a:pt x="784" y="139"/>
                  <a:pt x="785" y="140"/>
                </a:cubicBezTo>
                <a:cubicBezTo>
                  <a:pt x="785" y="140"/>
                  <a:pt x="785" y="140"/>
                  <a:pt x="786" y="139"/>
                </a:cubicBezTo>
                <a:cubicBezTo>
                  <a:pt x="786" y="139"/>
                  <a:pt x="786" y="139"/>
                  <a:pt x="788" y="139"/>
                </a:cubicBezTo>
                <a:cubicBezTo>
                  <a:pt x="788" y="139"/>
                  <a:pt x="788" y="139"/>
                  <a:pt x="789" y="138"/>
                </a:cubicBezTo>
                <a:cubicBezTo>
                  <a:pt x="789" y="138"/>
                  <a:pt x="789" y="138"/>
                  <a:pt x="791" y="138"/>
                </a:cubicBezTo>
                <a:cubicBezTo>
                  <a:pt x="791" y="138"/>
                  <a:pt x="791" y="138"/>
                  <a:pt x="793" y="137"/>
                </a:cubicBezTo>
                <a:cubicBezTo>
                  <a:pt x="793" y="137"/>
                  <a:pt x="793" y="137"/>
                  <a:pt x="795" y="137"/>
                </a:cubicBezTo>
                <a:cubicBezTo>
                  <a:pt x="795" y="137"/>
                  <a:pt x="795" y="137"/>
                  <a:pt x="799" y="135"/>
                </a:cubicBezTo>
                <a:cubicBezTo>
                  <a:pt x="799" y="135"/>
                  <a:pt x="799" y="135"/>
                  <a:pt x="801" y="135"/>
                </a:cubicBezTo>
                <a:cubicBezTo>
                  <a:pt x="801" y="135"/>
                  <a:pt x="801" y="135"/>
                  <a:pt x="803" y="135"/>
                </a:cubicBezTo>
                <a:cubicBezTo>
                  <a:pt x="803" y="135"/>
                  <a:pt x="803" y="135"/>
                  <a:pt x="804" y="134"/>
                </a:cubicBezTo>
                <a:cubicBezTo>
                  <a:pt x="804" y="134"/>
                  <a:pt x="804" y="134"/>
                  <a:pt x="807" y="134"/>
                </a:cubicBezTo>
                <a:cubicBezTo>
                  <a:pt x="807" y="134"/>
                  <a:pt x="807" y="134"/>
                  <a:pt x="808" y="132"/>
                </a:cubicBezTo>
                <a:cubicBezTo>
                  <a:pt x="808" y="132"/>
                  <a:pt x="808" y="132"/>
                  <a:pt x="808" y="131"/>
                </a:cubicBezTo>
                <a:cubicBezTo>
                  <a:pt x="808" y="131"/>
                  <a:pt x="808" y="131"/>
                  <a:pt x="808" y="130"/>
                </a:cubicBezTo>
                <a:cubicBezTo>
                  <a:pt x="808" y="130"/>
                  <a:pt x="808" y="130"/>
                  <a:pt x="807" y="129"/>
                </a:cubicBezTo>
                <a:cubicBezTo>
                  <a:pt x="807" y="129"/>
                  <a:pt x="807" y="129"/>
                  <a:pt x="807" y="128"/>
                </a:cubicBezTo>
                <a:cubicBezTo>
                  <a:pt x="807" y="128"/>
                  <a:pt x="807" y="128"/>
                  <a:pt x="807" y="127"/>
                </a:cubicBezTo>
                <a:cubicBezTo>
                  <a:pt x="807" y="127"/>
                  <a:pt x="807" y="127"/>
                  <a:pt x="807" y="125"/>
                </a:cubicBezTo>
                <a:cubicBezTo>
                  <a:pt x="807" y="125"/>
                  <a:pt x="807" y="125"/>
                  <a:pt x="807" y="123"/>
                </a:cubicBezTo>
                <a:cubicBezTo>
                  <a:pt x="807" y="123"/>
                  <a:pt x="807" y="123"/>
                  <a:pt x="807" y="120"/>
                </a:cubicBezTo>
                <a:cubicBezTo>
                  <a:pt x="807" y="120"/>
                  <a:pt x="807" y="120"/>
                  <a:pt x="804" y="118"/>
                </a:cubicBezTo>
                <a:cubicBezTo>
                  <a:pt x="804" y="118"/>
                  <a:pt x="804" y="118"/>
                  <a:pt x="804" y="117"/>
                </a:cubicBezTo>
                <a:cubicBezTo>
                  <a:pt x="804" y="117"/>
                  <a:pt x="804" y="117"/>
                  <a:pt x="803" y="116"/>
                </a:cubicBezTo>
                <a:cubicBezTo>
                  <a:pt x="803" y="116"/>
                  <a:pt x="803" y="116"/>
                  <a:pt x="802" y="117"/>
                </a:cubicBezTo>
                <a:cubicBezTo>
                  <a:pt x="802" y="117"/>
                  <a:pt x="802" y="117"/>
                  <a:pt x="800" y="117"/>
                </a:cubicBezTo>
                <a:cubicBezTo>
                  <a:pt x="800" y="117"/>
                  <a:pt x="800" y="117"/>
                  <a:pt x="799" y="118"/>
                </a:cubicBezTo>
                <a:cubicBezTo>
                  <a:pt x="799" y="118"/>
                  <a:pt x="799" y="118"/>
                  <a:pt x="799" y="119"/>
                </a:cubicBezTo>
                <a:cubicBezTo>
                  <a:pt x="799" y="119"/>
                  <a:pt x="799" y="119"/>
                  <a:pt x="797" y="121"/>
                </a:cubicBezTo>
                <a:cubicBezTo>
                  <a:pt x="797" y="121"/>
                  <a:pt x="797" y="121"/>
                  <a:pt x="797" y="120"/>
                </a:cubicBezTo>
                <a:cubicBezTo>
                  <a:pt x="797" y="120"/>
                  <a:pt x="797" y="120"/>
                  <a:pt x="798" y="118"/>
                </a:cubicBezTo>
                <a:cubicBezTo>
                  <a:pt x="798" y="118"/>
                  <a:pt x="798" y="118"/>
                  <a:pt x="799" y="116"/>
                </a:cubicBezTo>
                <a:cubicBezTo>
                  <a:pt x="799" y="116"/>
                  <a:pt x="799" y="116"/>
                  <a:pt x="797" y="116"/>
                </a:cubicBezTo>
                <a:cubicBezTo>
                  <a:pt x="797" y="116"/>
                  <a:pt x="797" y="116"/>
                  <a:pt x="796" y="116"/>
                </a:cubicBezTo>
                <a:cubicBezTo>
                  <a:pt x="796" y="116"/>
                  <a:pt x="796" y="116"/>
                  <a:pt x="796" y="115"/>
                </a:cubicBezTo>
                <a:cubicBezTo>
                  <a:pt x="796" y="115"/>
                  <a:pt x="796" y="115"/>
                  <a:pt x="793" y="113"/>
                </a:cubicBezTo>
                <a:cubicBezTo>
                  <a:pt x="793" y="113"/>
                  <a:pt x="793" y="113"/>
                  <a:pt x="792" y="112"/>
                </a:cubicBezTo>
                <a:cubicBezTo>
                  <a:pt x="792" y="112"/>
                  <a:pt x="792" y="112"/>
                  <a:pt x="791" y="111"/>
                </a:cubicBezTo>
                <a:cubicBezTo>
                  <a:pt x="791" y="111"/>
                  <a:pt x="791" y="111"/>
                  <a:pt x="791" y="110"/>
                </a:cubicBezTo>
                <a:cubicBezTo>
                  <a:pt x="791" y="110"/>
                  <a:pt x="791" y="110"/>
                  <a:pt x="788" y="109"/>
                </a:cubicBezTo>
                <a:cubicBezTo>
                  <a:pt x="788" y="109"/>
                  <a:pt x="788" y="109"/>
                  <a:pt x="785" y="110"/>
                </a:cubicBezTo>
                <a:cubicBezTo>
                  <a:pt x="785" y="110"/>
                  <a:pt x="785" y="110"/>
                  <a:pt x="781" y="110"/>
                </a:cubicBezTo>
                <a:cubicBezTo>
                  <a:pt x="781" y="110"/>
                  <a:pt x="781" y="110"/>
                  <a:pt x="780" y="109"/>
                </a:cubicBezTo>
                <a:cubicBezTo>
                  <a:pt x="780" y="109"/>
                  <a:pt x="780" y="109"/>
                  <a:pt x="776" y="110"/>
                </a:cubicBezTo>
                <a:cubicBezTo>
                  <a:pt x="776" y="110"/>
                  <a:pt x="776" y="110"/>
                  <a:pt x="775" y="109"/>
                </a:cubicBezTo>
                <a:cubicBezTo>
                  <a:pt x="775" y="109"/>
                  <a:pt x="775" y="109"/>
                  <a:pt x="773" y="110"/>
                </a:cubicBezTo>
                <a:cubicBezTo>
                  <a:pt x="773" y="110"/>
                  <a:pt x="773" y="110"/>
                  <a:pt x="773" y="111"/>
                </a:cubicBezTo>
                <a:cubicBezTo>
                  <a:pt x="773" y="111"/>
                  <a:pt x="773" y="111"/>
                  <a:pt x="773" y="113"/>
                </a:cubicBezTo>
                <a:cubicBezTo>
                  <a:pt x="773" y="113"/>
                  <a:pt x="773" y="113"/>
                  <a:pt x="773" y="114"/>
                </a:cubicBezTo>
                <a:cubicBezTo>
                  <a:pt x="773" y="114"/>
                  <a:pt x="773" y="114"/>
                  <a:pt x="772" y="117"/>
                </a:cubicBezTo>
                <a:cubicBezTo>
                  <a:pt x="772" y="117"/>
                  <a:pt x="772" y="117"/>
                  <a:pt x="773" y="118"/>
                </a:cubicBezTo>
                <a:cubicBezTo>
                  <a:pt x="773" y="118"/>
                  <a:pt x="773" y="118"/>
                  <a:pt x="773" y="119"/>
                </a:cubicBezTo>
                <a:cubicBezTo>
                  <a:pt x="773" y="119"/>
                  <a:pt x="773" y="119"/>
                  <a:pt x="771" y="119"/>
                </a:cubicBezTo>
                <a:cubicBezTo>
                  <a:pt x="771" y="119"/>
                  <a:pt x="771" y="119"/>
                  <a:pt x="769" y="121"/>
                </a:cubicBezTo>
                <a:cubicBezTo>
                  <a:pt x="769" y="121"/>
                  <a:pt x="769" y="121"/>
                  <a:pt x="769" y="122"/>
                </a:cubicBezTo>
                <a:cubicBezTo>
                  <a:pt x="769" y="122"/>
                  <a:pt x="769" y="122"/>
                  <a:pt x="766" y="123"/>
                </a:cubicBezTo>
                <a:cubicBezTo>
                  <a:pt x="766" y="123"/>
                  <a:pt x="766" y="123"/>
                  <a:pt x="765" y="124"/>
                </a:cubicBezTo>
                <a:cubicBezTo>
                  <a:pt x="765" y="124"/>
                  <a:pt x="765" y="124"/>
                  <a:pt x="762" y="127"/>
                </a:cubicBezTo>
                <a:cubicBezTo>
                  <a:pt x="762" y="127"/>
                  <a:pt x="762" y="127"/>
                  <a:pt x="761" y="127"/>
                </a:cubicBezTo>
                <a:cubicBezTo>
                  <a:pt x="761" y="127"/>
                  <a:pt x="761" y="127"/>
                  <a:pt x="761" y="128"/>
                </a:cubicBezTo>
                <a:cubicBezTo>
                  <a:pt x="761" y="128"/>
                  <a:pt x="761" y="128"/>
                  <a:pt x="762" y="130"/>
                </a:cubicBezTo>
                <a:cubicBezTo>
                  <a:pt x="762" y="130"/>
                  <a:pt x="762" y="130"/>
                  <a:pt x="762" y="131"/>
                </a:cubicBezTo>
                <a:cubicBezTo>
                  <a:pt x="762" y="131"/>
                  <a:pt x="762" y="131"/>
                  <a:pt x="758" y="131"/>
                </a:cubicBezTo>
                <a:cubicBezTo>
                  <a:pt x="758" y="132"/>
                  <a:pt x="758" y="132"/>
                  <a:pt x="758" y="132"/>
                </a:cubicBezTo>
                <a:cubicBezTo>
                  <a:pt x="758" y="132"/>
                  <a:pt x="758" y="132"/>
                  <a:pt x="757" y="134"/>
                </a:cubicBezTo>
                <a:cubicBezTo>
                  <a:pt x="757" y="134"/>
                  <a:pt x="757" y="134"/>
                  <a:pt x="756" y="134"/>
                </a:cubicBezTo>
                <a:cubicBezTo>
                  <a:pt x="756" y="134"/>
                  <a:pt x="756" y="134"/>
                  <a:pt x="756" y="135"/>
                </a:cubicBezTo>
                <a:cubicBezTo>
                  <a:pt x="756" y="135"/>
                  <a:pt x="756" y="135"/>
                  <a:pt x="753" y="135"/>
                </a:cubicBezTo>
                <a:cubicBezTo>
                  <a:pt x="753" y="135"/>
                  <a:pt x="753" y="135"/>
                  <a:pt x="753" y="137"/>
                </a:cubicBezTo>
                <a:cubicBezTo>
                  <a:pt x="753" y="137"/>
                  <a:pt x="753" y="137"/>
                  <a:pt x="752" y="137"/>
                </a:cubicBezTo>
                <a:cubicBezTo>
                  <a:pt x="752" y="137"/>
                  <a:pt x="752" y="137"/>
                  <a:pt x="751" y="139"/>
                </a:cubicBezTo>
                <a:cubicBezTo>
                  <a:pt x="751" y="139"/>
                  <a:pt x="751" y="139"/>
                  <a:pt x="750" y="139"/>
                </a:cubicBezTo>
                <a:cubicBezTo>
                  <a:pt x="750" y="139"/>
                  <a:pt x="750" y="139"/>
                  <a:pt x="750" y="140"/>
                </a:cubicBezTo>
                <a:cubicBezTo>
                  <a:pt x="750" y="140"/>
                  <a:pt x="750" y="140"/>
                  <a:pt x="748" y="140"/>
                </a:cubicBezTo>
                <a:cubicBezTo>
                  <a:pt x="748" y="140"/>
                  <a:pt x="748" y="140"/>
                  <a:pt x="747" y="141"/>
                </a:cubicBezTo>
                <a:cubicBezTo>
                  <a:pt x="747" y="141"/>
                  <a:pt x="747" y="141"/>
                  <a:pt x="746" y="141"/>
                </a:cubicBezTo>
                <a:cubicBezTo>
                  <a:pt x="746" y="141"/>
                  <a:pt x="746" y="141"/>
                  <a:pt x="746" y="142"/>
                </a:cubicBezTo>
                <a:cubicBezTo>
                  <a:pt x="746" y="142"/>
                  <a:pt x="746" y="142"/>
                  <a:pt x="748" y="143"/>
                </a:cubicBezTo>
                <a:cubicBezTo>
                  <a:pt x="748" y="143"/>
                  <a:pt x="748" y="143"/>
                  <a:pt x="749" y="143"/>
                </a:cubicBezTo>
                <a:close/>
                <a:moveTo>
                  <a:pt x="851" y="106"/>
                </a:moveTo>
                <a:cubicBezTo>
                  <a:pt x="851" y="106"/>
                  <a:pt x="851" y="106"/>
                  <a:pt x="851" y="105"/>
                </a:cubicBezTo>
                <a:cubicBezTo>
                  <a:pt x="851" y="105"/>
                  <a:pt x="851" y="105"/>
                  <a:pt x="850" y="104"/>
                </a:cubicBezTo>
                <a:cubicBezTo>
                  <a:pt x="850" y="104"/>
                  <a:pt x="850" y="104"/>
                  <a:pt x="849" y="105"/>
                </a:cubicBezTo>
                <a:cubicBezTo>
                  <a:pt x="849" y="105"/>
                  <a:pt x="849" y="105"/>
                  <a:pt x="848" y="106"/>
                </a:cubicBezTo>
                <a:cubicBezTo>
                  <a:pt x="848" y="106"/>
                  <a:pt x="848" y="106"/>
                  <a:pt x="847" y="105"/>
                </a:cubicBezTo>
                <a:cubicBezTo>
                  <a:pt x="847" y="105"/>
                  <a:pt x="847" y="105"/>
                  <a:pt x="847" y="103"/>
                </a:cubicBezTo>
                <a:cubicBezTo>
                  <a:pt x="847" y="103"/>
                  <a:pt x="847" y="103"/>
                  <a:pt x="848" y="102"/>
                </a:cubicBezTo>
                <a:cubicBezTo>
                  <a:pt x="848" y="102"/>
                  <a:pt x="848" y="102"/>
                  <a:pt x="849" y="100"/>
                </a:cubicBezTo>
                <a:cubicBezTo>
                  <a:pt x="849" y="100"/>
                  <a:pt x="849" y="100"/>
                  <a:pt x="848" y="100"/>
                </a:cubicBezTo>
                <a:cubicBezTo>
                  <a:pt x="848" y="100"/>
                  <a:pt x="848" y="100"/>
                  <a:pt x="847" y="99"/>
                </a:cubicBezTo>
                <a:cubicBezTo>
                  <a:pt x="847" y="99"/>
                  <a:pt x="847" y="99"/>
                  <a:pt x="846" y="99"/>
                </a:cubicBezTo>
                <a:cubicBezTo>
                  <a:pt x="846" y="99"/>
                  <a:pt x="846" y="99"/>
                  <a:pt x="845" y="98"/>
                </a:cubicBezTo>
                <a:cubicBezTo>
                  <a:pt x="845" y="98"/>
                  <a:pt x="845" y="98"/>
                  <a:pt x="847" y="98"/>
                </a:cubicBezTo>
                <a:cubicBezTo>
                  <a:pt x="847" y="98"/>
                  <a:pt x="847" y="98"/>
                  <a:pt x="848" y="98"/>
                </a:cubicBezTo>
                <a:cubicBezTo>
                  <a:pt x="848" y="98"/>
                  <a:pt x="848" y="98"/>
                  <a:pt x="848" y="95"/>
                </a:cubicBezTo>
                <a:cubicBezTo>
                  <a:pt x="848" y="95"/>
                  <a:pt x="848" y="95"/>
                  <a:pt x="847" y="94"/>
                </a:cubicBezTo>
                <a:cubicBezTo>
                  <a:pt x="847" y="94"/>
                  <a:pt x="847" y="94"/>
                  <a:pt x="847" y="93"/>
                </a:cubicBezTo>
                <a:cubicBezTo>
                  <a:pt x="847" y="93"/>
                  <a:pt x="847" y="93"/>
                  <a:pt x="848" y="92"/>
                </a:cubicBezTo>
                <a:cubicBezTo>
                  <a:pt x="848" y="92"/>
                  <a:pt x="848" y="92"/>
                  <a:pt x="848" y="91"/>
                </a:cubicBezTo>
                <a:cubicBezTo>
                  <a:pt x="848" y="91"/>
                  <a:pt x="848" y="91"/>
                  <a:pt x="847" y="90"/>
                </a:cubicBezTo>
                <a:cubicBezTo>
                  <a:pt x="847" y="90"/>
                  <a:pt x="847" y="90"/>
                  <a:pt x="847" y="89"/>
                </a:cubicBezTo>
                <a:cubicBezTo>
                  <a:pt x="847" y="89"/>
                  <a:pt x="847" y="89"/>
                  <a:pt x="846" y="89"/>
                </a:cubicBezTo>
                <a:cubicBezTo>
                  <a:pt x="846" y="89"/>
                  <a:pt x="846" y="89"/>
                  <a:pt x="845" y="89"/>
                </a:cubicBezTo>
                <a:cubicBezTo>
                  <a:pt x="845" y="89"/>
                  <a:pt x="845" y="89"/>
                  <a:pt x="842" y="89"/>
                </a:cubicBezTo>
                <a:cubicBezTo>
                  <a:pt x="842" y="89"/>
                  <a:pt x="842" y="89"/>
                  <a:pt x="842" y="88"/>
                </a:cubicBezTo>
                <a:cubicBezTo>
                  <a:pt x="842" y="88"/>
                  <a:pt x="842" y="88"/>
                  <a:pt x="843" y="87"/>
                </a:cubicBezTo>
                <a:cubicBezTo>
                  <a:pt x="843" y="87"/>
                  <a:pt x="843" y="87"/>
                  <a:pt x="844" y="86"/>
                </a:cubicBezTo>
                <a:cubicBezTo>
                  <a:pt x="844" y="86"/>
                  <a:pt x="844" y="86"/>
                  <a:pt x="843" y="84"/>
                </a:cubicBezTo>
                <a:cubicBezTo>
                  <a:pt x="843" y="84"/>
                  <a:pt x="843" y="84"/>
                  <a:pt x="842" y="83"/>
                </a:cubicBezTo>
                <a:cubicBezTo>
                  <a:pt x="842" y="83"/>
                  <a:pt x="842" y="83"/>
                  <a:pt x="840" y="83"/>
                </a:cubicBezTo>
                <a:cubicBezTo>
                  <a:pt x="840" y="83"/>
                  <a:pt x="840" y="83"/>
                  <a:pt x="839" y="83"/>
                </a:cubicBezTo>
                <a:cubicBezTo>
                  <a:pt x="839" y="83"/>
                  <a:pt x="839" y="83"/>
                  <a:pt x="836" y="84"/>
                </a:cubicBezTo>
                <a:cubicBezTo>
                  <a:pt x="836" y="84"/>
                  <a:pt x="836" y="84"/>
                  <a:pt x="835" y="84"/>
                </a:cubicBezTo>
                <a:cubicBezTo>
                  <a:pt x="835" y="84"/>
                  <a:pt x="835" y="84"/>
                  <a:pt x="835" y="85"/>
                </a:cubicBezTo>
                <a:cubicBezTo>
                  <a:pt x="835" y="85"/>
                  <a:pt x="835" y="85"/>
                  <a:pt x="836" y="86"/>
                </a:cubicBezTo>
                <a:cubicBezTo>
                  <a:pt x="836" y="86"/>
                  <a:pt x="836" y="86"/>
                  <a:pt x="837" y="87"/>
                </a:cubicBezTo>
                <a:cubicBezTo>
                  <a:pt x="837" y="87"/>
                  <a:pt x="837" y="87"/>
                  <a:pt x="838" y="88"/>
                </a:cubicBezTo>
                <a:cubicBezTo>
                  <a:pt x="838" y="88"/>
                  <a:pt x="838" y="88"/>
                  <a:pt x="837" y="88"/>
                </a:cubicBezTo>
                <a:cubicBezTo>
                  <a:pt x="837" y="88"/>
                  <a:pt x="837" y="88"/>
                  <a:pt x="835" y="87"/>
                </a:cubicBezTo>
                <a:cubicBezTo>
                  <a:pt x="835" y="87"/>
                  <a:pt x="835" y="87"/>
                  <a:pt x="834" y="87"/>
                </a:cubicBezTo>
                <a:cubicBezTo>
                  <a:pt x="834" y="87"/>
                  <a:pt x="834" y="87"/>
                  <a:pt x="834" y="86"/>
                </a:cubicBezTo>
                <a:cubicBezTo>
                  <a:pt x="834" y="86"/>
                  <a:pt x="834" y="86"/>
                  <a:pt x="833" y="86"/>
                </a:cubicBezTo>
                <a:cubicBezTo>
                  <a:pt x="833" y="86"/>
                  <a:pt x="833" y="86"/>
                  <a:pt x="831" y="87"/>
                </a:cubicBezTo>
                <a:cubicBezTo>
                  <a:pt x="831" y="87"/>
                  <a:pt x="831" y="87"/>
                  <a:pt x="830" y="87"/>
                </a:cubicBezTo>
                <a:cubicBezTo>
                  <a:pt x="830" y="87"/>
                  <a:pt x="830" y="87"/>
                  <a:pt x="829" y="88"/>
                </a:cubicBezTo>
                <a:cubicBezTo>
                  <a:pt x="829" y="88"/>
                  <a:pt x="829" y="88"/>
                  <a:pt x="828" y="89"/>
                </a:cubicBezTo>
                <a:cubicBezTo>
                  <a:pt x="828" y="89"/>
                  <a:pt x="828" y="89"/>
                  <a:pt x="828" y="91"/>
                </a:cubicBezTo>
                <a:cubicBezTo>
                  <a:pt x="828" y="91"/>
                  <a:pt x="828" y="91"/>
                  <a:pt x="831" y="91"/>
                </a:cubicBezTo>
                <a:cubicBezTo>
                  <a:pt x="831" y="91"/>
                  <a:pt x="831" y="91"/>
                  <a:pt x="832" y="91"/>
                </a:cubicBezTo>
                <a:cubicBezTo>
                  <a:pt x="832" y="91"/>
                  <a:pt x="832" y="91"/>
                  <a:pt x="833" y="92"/>
                </a:cubicBezTo>
                <a:cubicBezTo>
                  <a:pt x="833" y="92"/>
                  <a:pt x="833" y="92"/>
                  <a:pt x="834" y="92"/>
                </a:cubicBezTo>
                <a:cubicBezTo>
                  <a:pt x="834" y="92"/>
                  <a:pt x="834" y="92"/>
                  <a:pt x="835" y="93"/>
                </a:cubicBezTo>
                <a:cubicBezTo>
                  <a:pt x="835" y="93"/>
                  <a:pt x="835" y="93"/>
                  <a:pt x="834" y="93"/>
                </a:cubicBezTo>
                <a:cubicBezTo>
                  <a:pt x="834" y="93"/>
                  <a:pt x="834" y="93"/>
                  <a:pt x="832" y="92"/>
                </a:cubicBezTo>
                <a:cubicBezTo>
                  <a:pt x="832" y="92"/>
                  <a:pt x="832" y="92"/>
                  <a:pt x="830" y="92"/>
                </a:cubicBezTo>
                <a:cubicBezTo>
                  <a:pt x="830" y="92"/>
                  <a:pt x="830" y="92"/>
                  <a:pt x="827" y="93"/>
                </a:cubicBezTo>
                <a:cubicBezTo>
                  <a:pt x="827" y="93"/>
                  <a:pt x="827" y="93"/>
                  <a:pt x="826" y="92"/>
                </a:cubicBezTo>
                <a:cubicBezTo>
                  <a:pt x="826" y="92"/>
                  <a:pt x="826" y="92"/>
                  <a:pt x="825" y="93"/>
                </a:cubicBezTo>
                <a:cubicBezTo>
                  <a:pt x="825" y="93"/>
                  <a:pt x="825" y="93"/>
                  <a:pt x="824" y="94"/>
                </a:cubicBezTo>
                <a:cubicBezTo>
                  <a:pt x="824" y="94"/>
                  <a:pt x="824" y="94"/>
                  <a:pt x="822" y="96"/>
                </a:cubicBezTo>
                <a:cubicBezTo>
                  <a:pt x="822" y="96"/>
                  <a:pt x="822" y="96"/>
                  <a:pt x="824" y="96"/>
                </a:cubicBezTo>
                <a:cubicBezTo>
                  <a:pt x="824" y="96"/>
                  <a:pt x="824" y="96"/>
                  <a:pt x="826" y="97"/>
                </a:cubicBezTo>
                <a:cubicBezTo>
                  <a:pt x="826" y="97"/>
                  <a:pt x="826" y="97"/>
                  <a:pt x="827" y="97"/>
                </a:cubicBezTo>
                <a:cubicBezTo>
                  <a:pt x="827" y="97"/>
                  <a:pt x="827" y="97"/>
                  <a:pt x="828" y="97"/>
                </a:cubicBezTo>
                <a:cubicBezTo>
                  <a:pt x="828" y="97"/>
                  <a:pt x="828" y="97"/>
                  <a:pt x="829" y="97"/>
                </a:cubicBezTo>
                <a:cubicBezTo>
                  <a:pt x="829" y="97"/>
                  <a:pt x="829" y="97"/>
                  <a:pt x="830" y="98"/>
                </a:cubicBezTo>
                <a:cubicBezTo>
                  <a:pt x="830" y="98"/>
                  <a:pt x="830" y="98"/>
                  <a:pt x="828" y="99"/>
                </a:cubicBezTo>
                <a:cubicBezTo>
                  <a:pt x="828" y="99"/>
                  <a:pt x="828" y="99"/>
                  <a:pt x="827" y="99"/>
                </a:cubicBezTo>
                <a:cubicBezTo>
                  <a:pt x="827" y="99"/>
                  <a:pt x="827" y="99"/>
                  <a:pt x="826" y="100"/>
                </a:cubicBezTo>
                <a:cubicBezTo>
                  <a:pt x="826" y="100"/>
                  <a:pt x="826" y="100"/>
                  <a:pt x="824" y="100"/>
                </a:cubicBezTo>
                <a:cubicBezTo>
                  <a:pt x="824" y="100"/>
                  <a:pt x="824" y="100"/>
                  <a:pt x="823" y="99"/>
                </a:cubicBezTo>
                <a:cubicBezTo>
                  <a:pt x="823" y="99"/>
                  <a:pt x="823" y="99"/>
                  <a:pt x="821" y="99"/>
                </a:cubicBezTo>
                <a:cubicBezTo>
                  <a:pt x="821" y="99"/>
                  <a:pt x="821" y="99"/>
                  <a:pt x="820" y="98"/>
                </a:cubicBezTo>
                <a:cubicBezTo>
                  <a:pt x="820" y="98"/>
                  <a:pt x="820" y="98"/>
                  <a:pt x="819" y="99"/>
                </a:cubicBezTo>
                <a:cubicBezTo>
                  <a:pt x="819" y="99"/>
                  <a:pt x="819" y="99"/>
                  <a:pt x="816" y="100"/>
                </a:cubicBezTo>
                <a:cubicBezTo>
                  <a:pt x="816" y="100"/>
                  <a:pt x="816" y="100"/>
                  <a:pt x="817" y="101"/>
                </a:cubicBezTo>
                <a:cubicBezTo>
                  <a:pt x="817" y="101"/>
                  <a:pt x="817" y="101"/>
                  <a:pt x="817" y="102"/>
                </a:cubicBezTo>
                <a:cubicBezTo>
                  <a:pt x="817" y="102"/>
                  <a:pt x="817" y="102"/>
                  <a:pt x="815" y="103"/>
                </a:cubicBezTo>
                <a:cubicBezTo>
                  <a:pt x="815" y="103"/>
                  <a:pt x="815" y="103"/>
                  <a:pt x="817" y="104"/>
                </a:cubicBezTo>
                <a:cubicBezTo>
                  <a:pt x="817" y="104"/>
                  <a:pt x="817" y="104"/>
                  <a:pt x="819" y="106"/>
                </a:cubicBezTo>
                <a:cubicBezTo>
                  <a:pt x="819" y="106"/>
                  <a:pt x="819" y="106"/>
                  <a:pt x="820" y="105"/>
                </a:cubicBezTo>
                <a:cubicBezTo>
                  <a:pt x="820" y="105"/>
                  <a:pt x="820" y="105"/>
                  <a:pt x="820" y="106"/>
                </a:cubicBezTo>
                <a:cubicBezTo>
                  <a:pt x="820" y="106"/>
                  <a:pt x="820" y="106"/>
                  <a:pt x="821" y="107"/>
                </a:cubicBezTo>
                <a:cubicBezTo>
                  <a:pt x="821" y="107"/>
                  <a:pt x="821" y="107"/>
                  <a:pt x="821" y="109"/>
                </a:cubicBezTo>
                <a:cubicBezTo>
                  <a:pt x="821" y="109"/>
                  <a:pt x="821" y="109"/>
                  <a:pt x="822" y="109"/>
                </a:cubicBezTo>
                <a:cubicBezTo>
                  <a:pt x="822" y="109"/>
                  <a:pt x="822" y="109"/>
                  <a:pt x="823" y="109"/>
                </a:cubicBezTo>
                <a:cubicBezTo>
                  <a:pt x="823" y="109"/>
                  <a:pt x="823" y="109"/>
                  <a:pt x="823" y="107"/>
                </a:cubicBezTo>
                <a:cubicBezTo>
                  <a:pt x="823" y="107"/>
                  <a:pt x="823" y="107"/>
                  <a:pt x="824" y="108"/>
                </a:cubicBezTo>
                <a:cubicBezTo>
                  <a:pt x="824" y="108"/>
                  <a:pt x="824" y="108"/>
                  <a:pt x="824" y="109"/>
                </a:cubicBezTo>
                <a:cubicBezTo>
                  <a:pt x="824" y="109"/>
                  <a:pt x="824" y="109"/>
                  <a:pt x="826" y="110"/>
                </a:cubicBezTo>
                <a:cubicBezTo>
                  <a:pt x="826" y="110"/>
                  <a:pt x="826" y="110"/>
                  <a:pt x="827" y="110"/>
                </a:cubicBezTo>
                <a:cubicBezTo>
                  <a:pt x="827" y="110"/>
                  <a:pt x="827" y="110"/>
                  <a:pt x="827" y="109"/>
                </a:cubicBezTo>
                <a:cubicBezTo>
                  <a:pt x="827" y="109"/>
                  <a:pt x="827" y="109"/>
                  <a:pt x="829" y="108"/>
                </a:cubicBezTo>
                <a:cubicBezTo>
                  <a:pt x="829" y="108"/>
                  <a:pt x="829" y="108"/>
                  <a:pt x="830" y="107"/>
                </a:cubicBezTo>
                <a:cubicBezTo>
                  <a:pt x="830" y="107"/>
                  <a:pt x="830" y="107"/>
                  <a:pt x="830" y="106"/>
                </a:cubicBezTo>
                <a:cubicBezTo>
                  <a:pt x="830" y="106"/>
                  <a:pt x="830" y="106"/>
                  <a:pt x="831" y="108"/>
                </a:cubicBezTo>
                <a:cubicBezTo>
                  <a:pt x="831" y="108"/>
                  <a:pt x="831" y="108"/>
                  <a:pt x="831" y="107"/>
                </a:cubicBezTo>
                <a:cubicBezTo>
                  <a:pt x="831" y="107"/>
                  <a:pt x="831" y="107"/>
                  <a:pt x="833" y="107"/>
                </a:cubicBezTo>
                <a:cubicBezTo>
                  <a:pt x="833" y="107"/>
                  <a:pt x="833" y="107"/>
                  <a:pt x="834" y="107"/>
                </a:cubicBezTo>
                <a:cubicBezTo>
                  <a:pt x="834" y="107"/>
                  <a:pt x="834" y="107"/>
                  <a:pt x="832" y="108"/>
                </a:cubicBezTo>
                <a:cubicBezTo>
                  <a:pt x="832" y="108"/>
                  <a:pt x="832" y="108"/>
                  <a:pt x="831" y="109"/>
                </a:cubicBezTo>
                <a:cubicBezTo>
                  <a:pt x="831" y="109"/>
                  <a:pt x="831" y="109"/>
                  <a:pt x="831" y="110"/>
                </a:cubicBezTo>
                <a:cubicBezTo>
                  <a:pt x="831" y="110"/>
                  <a:pt x="831" y="110"/>
                  <a:pt x="832" y="110"/>
                </a:cubicBezTo>
                <a:cubicBezTo>
                  <a:pt x="832" y="110"/>
                  <a:pt x="832" y="110"/>
                  <a:pt x="834" y="110"/>
                </a:cubicBezTo>
                <a:cubicBezTo>
                  <a:pt x="834" y="110"/>
                  <a:pt x="834" y="110"/>
                  <a:pt x="835" y="110"/>
                </a:cubicBezTo>
                <a:cubicBezTo>
                  <a:pt x="835" y="110"/>
                  <a:pt x="835" y="110"/>
                  <a:pt x="836" y="110"/>
                </a:cubicBezTo>
                <a:cubicBezTo>
                  <a:pt x="836" y="110"/>
                  <a:pt x="836" y="110"/>
                  <a:pt x="837" y="109"/>
                </a:cubicBezTo>
                <a:cubicBezTo>
                  <a:pt x="837" y="109"/>
                  <a:pt x="837" y="109"/>
                  <a:pt x="838" y="110"/>
                </a:cubicBezTo>
                <a:cubicBezTo>
                  <a:pt x="838" y="110"/>
                  <a:pt x="838" y="110"/>
                  <a:pt x="838" y="111"/>
                </a:cubicBezTo>
                <a:cubicBezTo>
                  <a:pt x="838" y="111"/>
                  <a:pt x="838" y="111"/>
                  <a:pt x="840" y="111"/>
                </a:cubicBezTo>
                <a:cubicBezTo>
                  <a:pt x="840" y="111"/>
                  <a:pt x="840" y="111"/>
                  <a:pt x="842" y="110"/>
                </a:cubicBezTo>
                <a:cubicBezTo>
                  <a:pt x="842" y="110"/>
                  <a:pt x="842" y="110"/>
                  <a:pt x="842" y="111"/>
                </a:cubicBezTo>
                <a:cubicBezTo>
                  <a:pt x="842" y="111"/>
                  <a:pt x="842" y="111"/>
                  <a:pt x="843" y="111"/>
                </a:cubicBezTo>
                <a:cubicBezTo>
                  <a:pt x="843" y="111"/>
                  <a:pt x="843" y="111"/>
                  <a:pt x="844" y="110"/>
                </a:cubicBezTo>
                <a:cubicBezTo>
                  <a:pt x="844" y="110"/>
                  <a:pt x="844" y="110"/>
                  <a:pt x="845" y="111"/>
                </a:cubicBezTo>
                <a:cubicBezTo>
                  <a:pt x="845" y="111"/>
                  <a:pt x="845" y="111"/>
                  <a:pt x="844" y="111"/>
                </a:cubicBezTo>
                <a:cubicBezTo>
                  <a:pt x="844" y="111"/>
                  <a:pt x="844" y="111"/>
                  <a:pt x="844" y="112"/>
                </a:cubicBezTo>
                <a:cubicBezTo>
                  <a:pt x="844" y="112"/>
                  <a:pt x="844" y="112"/>
                  <a:pt x="841" y="112"/>
                </a:cubicBezTo>
                <a:cubicBezTo>
                  <a:pt x="841" y="112"/>
                  <a:pt x="841" y="112"/>
                  <a:pt x="840" y="113"/>
                </a:cubicBezTo>
                <a:cubicBezTo>
                  <a:pt x="840" y="113"/>
                  <a:pt x="840" y="113"/>
                  <a:pt x="839" y="113"/>
                </a:cubicBezTo>
                <a:cubicBezTo>
                  <a:pt x="839" y="113"/>
                  <a:pt x="839" y="113"/>
                  <a:pt x="837" y="113"/>
                </a:cubicBezTo>
                <a:cubicBezTo>
                  <a:pt x="837" y="113"/>
                  <a:pt x="837" y="113"/>
                  <a:pt x="835" y="112"/>
                </a:cubicBezTo>
                <a:cubicBezTo>
                  <a:pt x="835" y="112"/>
                  <a:pt x="835" y="112"/>
                  <a:pt x="833" y="112"/>
                </a:cubicBezTo>
                <a:cubicBezTo>
                  <a:pt x="833" y="112"/>
                  <a:pt x="833" y="112"/>
                  <a:pt x="832" y="113"/>
                </a:cubicBezTo>
                <a:cubicBezTo>
                  <a:pt x="832" y="113"/>
                  <a:pt x="832" y="113"/>
                  <a:pt x="831" y="113"/>
                </a:cubicBezTo>
                <a:cubicBezTo>
                  <a:pt x="831" y="113"/>
                  <a:pt x="831" y="113"/>
                  <a:pt x="829" y="113"/>
                </a:cubicBezTo>
                <a:cubicBezTo>
                  <a:pt x="829" y="113"/>
                  <a:pt x="829" y="113"/>
                  <a:pt x="828" y="113"/>
                </a:cubicBezTo>
                <a:cubicBezTo>
                  <a:pt x="828" y="113"/>
                  <a:pt x="828" y="113"/>
                  <a:pt x="826" y="113"/>
                </a:cubicBezTo>
                <a:cubicBezTo>
                  <a:pt x="826" y="113"/>
                  <a:pt x="826" y="113"/>
                  <a:pt x="824" y="113"/>
                </a:cubicBezTo>
                <a:cubicBezTo>
                  <a:pt x="824" y="113"/>
                  <a:pt x="824" y="113"/>
                  <a:pt x="824" y="115"/>
                </a:cubicBezTo>
                <a:cubicBezTo>
                  <a:pt x="824" y="115"/>
                  <a:pt x="824" y="115"/>
                  <a:pt x="824" y="116"/>
                </a:cubicBezTo>
                <a:cubicBezTo>
                  <a:pt x="824" y="116"/>
                  <a:pt x="824" y="116"/>
                  <a:pt x="824" y="117"/>
                </a:cubicBezTo>
                <a:cubicBezTo>
                  <a:pt x="824" y="117"/>
                  <a:pt x="824" y="117"/>
                  <a:pt x="825" y="119"/>
                </a:cubicBezTo>
                <a:cubicBezTo>
                  <a:pt x="825" y="119"/>
                  <a:pt x="825" y="119"/>
                  <a:pt x="826" y="120"/>
                </a:cubicBezTo>
                <a:cubicBezTo>
                  <a:pt x="826" y="120"/>
                  <a:pt x="826" y="120"/>
                  <a:pt x="828" y="120"/>
                </a:cubicBezTo>
                <a:cubicBezTo>
                  <a:pt x="828" y="120"/>
                  <a:pt x="828" y="120"/>
                  <a:pt x="829" y="121"/>
                </a:cubicBezTo>
                <a:cubicBezTo>
                  <a:pt x="829" y="121"/>
                  <a:pt x="829" y="121"/>
                  <a:pt x="831" y="121"/>
                </a:cubicBezTo>
                <a:cubicBezTo>
                  <a:pt x="831" y="121"/>
                  <a:pt x="831" y="121"/>
                  <a:pt x="833" y="121"/>
                </a:cubicBezTo>
                <a:cubicBezTo>
                  <a:pt x="833" y="121"/>
                  <a:pt x="833" y="121"/>
                  <a:pt x="835" y="121"/>
                </a:cubicBezTo>
                <a:cubicBezTo>
                  <a:pt x="835" y="121"/>
                  <a:pt x="835" y="121"/>
                  <a:pt x="837" y="121"/>
                </a:cubicBezTo>
                <a:cubicBezTo>
                  <a:pt x="837" y="121"/>
                  <a:pt x="837" y="121"/>
                  <a:pt x="838" y="121"/>
                </a:cubicBezTo>
                <a:cubicBezTo>
                  <a:pt x="838" y="121"/>
                  <a:pt x="838" y="121"/>
                  <a:pt x="840" y="120"/>
                </a:cubicBezTo>
                <a:cubicBezTo>
                  <a:pt x="840" y="120"/>
                  <a:pt x="840" y="120"/>
                  <a:pt x="841" y="120"/>
                </a:cubicBezTo>
                <a:cubicBezTo>
                  <a:pt x="841" y="120"/>
                  <a:pt x="841" y="120"/>
                  <a:pt x="842" y="119"/>
                </a:cubicBezTo>
                <a:cubicBezTo>
                  <a:pt x="842" y="119"/>
                  <a:pt x="842" y="119"/>
                  <a:pt x="842" y="118"/>
                </a:cubicBezTo>
                <a:cubicBezTo>
                  <a:pt x="842" y="118"/>
                  <a:pt x="842" y="118"/>
                  <a:pt x="843" y="118"/>
                </a:cubicBezTo>
                <a:cubicBezTo>
                  <a:pt x="843" y="118"/>
                  <a:pt x="843" y="118"/>
                  <a:pt x="844" y="118"/>
                </a:cubicBezTo>
                <a:cubicBezTo>
                  <a:pt x="844" y="118"/>
                  <a:pt x="844" y="118"/>
                  <a:pt x="844" y="117"/>
                </a:cubicBezTo>
                <a:cubicBezTo>
                  <a:pt x="844" y="117"/>
                  <a:pt x="844" y="117"/>
                  <a:pt x="845" y="118"/>
                </a:cubicBezTo>
                <a:cubicBezTo>
                  <a:pt x="845" y="118"/>
                  <a:pt x="845" y="118"/>
                  <a:pt x="847" y="118"/>
                </a:cubicBezTo>
                <a:cubicBezTo>
                  <a:pt x="847" y="118"/>
                  <a:pt x="847" y="118"/>
                  <a:pt x="849" y="118"/>
                </a:cubicBezTo>
                <a:cubicBezTo>
                  <a:pt x="849" y="118"/>
                  <a:pt x="849" y="118"/>
                  <a:pt x="849" y="117"/>
                </a:cubicBezTo>
                <a:cubicBezTo>
                  <a:pt x="849" y="117"/>
                  <a:pt x="849" y="117"/>
                  <a:pt x="851" y="117"/>
                </a:cubicBezTo>
                <a:cubicBezTo>
                  <a:pt x="851" y="117"/>
                  <a:pt x="851" y="117"/>
                  <a:pt x="852" y="117"/>
                </a:cubicBezTo>
                <a:cubicBezTo>
                  <a:pt x="852" y="117"/>
                  <a:pt x="852" y="117"/>
                  <a:pt x="853" y="116"/>
                </a:cubicBezTo>
                <a:cubicBezTo>
                  <a:pt x="853" y="116"/>
                  <a:pt x="853" y="116"/>
                  <a:pt x="853" y="115"/>
                </a:cubicBezTo>
                <a:cubicBezTo>
                  <a:pt x="853" y="115"/>
                  <a:pt x="853" y="115"/>
                  <a:pt x="854" y="116"/>
                </a:cubicBezTo>
                <a:cubicBezTo>
                  <a:pt x="854" y="116"/>
                  <a:pt x="854" y="116"/>
                  <a:pt x="854" y="117"/>
                </a:cubicBezTo>
                <a:cubicBezTo>
                  <a:pt x="854" y="117"/>
                  <a:pt x="854" y="117"/>
                  <a:pt x="854" y="118"/>
                </a:cubicBezTo>
                <a:cubicBezTo>
                  <a:pt x="854" y="118"/>
                  <a:pt x="854" y="118"/>
                  <a:pt x="855" y="118"/>
                </a:cubicBezTo>
                <a:cubicBezTo>
                  <a:pt x="855" y="118"/>
                  <a:pt x="855" y="118"/>
                  <a:pt x="856" y="118"/>
                </a:cubicBezTo>
                <a:cubicBezTo>
                  <a:pt x="856" y="118"/>
                  <a:pt x="856" y="118"/>
                  <a:pt x="856" y="117"/>
                </a:cubicBezTo>
                <a:cubicBezTo>
                  <a:pt x="856" y="117"/>
                  <a:pt x="856" y="117"/>
                  <a:pt x="858" y="117"/>
                </a:cubicBezTo>
                <a:cubicBezTo>
                  <a:pt x="858" y="117"/>
                  <a:pt x="858" y="117"/>
                  <a:pt x="858" y="118"/>
                </a:cubicBezTo>
                <a:cubicBezTo>
                  <a:pt x="858" y="118"/>
                  <a:pt x="858" y="118"/>
                  <a:pt x="857" y="119"/>
                </a:cubicBezTo>
                <a:cubicBezTo>
                  <a:pt x="857" y="119"/>
                  <a:pt x="857" y="119"/>
                  <a:pt x="858" y="119"/>
                </a:cubicBezTo>
                <a:cubicBezTo>
                  <a:pt x="858" y="119"/>
                  <a:pt x="858" y="119"/>
                  <a:pt x="859" y="120"/>
                </a:cubicBezTo>
                <a:cubicBezTo>
                  <a:pt x="859" y="120"/>
                  <a:pt x="859" y="120"/>
                  <a:pt x="861" y="120"/>
                </a:cubicBezTo>
                <a:cubicBezTo>
                  <a:pt x="861" y="120"/>
                  <a:pt x="861" y="120"/>
                  <a:pt x="863" y="119"/>
                </a:cubicBezTo>
                <a:cubicBezTo>
                  <a:pt x="863" y="119"/>
                  <a:pt x="863" y="119"/>
                  <a:pt x="864" y="119"/>
                </a:cubicBezTo>
                <a:cubicBezTo>
                  <a:pt x="864" y="119"/>
                  <a:pt x="864" y="119"/>
                  <a:pt x="865" y="118"/>
                </a:cubicBezTo>
                <a:cubicBezTo>
                  <a:pt x="865" y="118"/>
                  <a:pt x="865" y="118"/>
                  <a:pt x="866" y="119"/>
                </a:cubicBezTo>
                <a:cubicBezTo>
                  <a:pt x="866" y="119"/>
                  <a:pt x="866" y="119"/>
                  <a:pt x="867" y="119"/>
                </a:cubicBezTo>
                <a:cubicBezTo>
                  <a:pt x="867" y="119"/>
                  <a:pt x="867" y="119"/>
                  <a:pt x="867" y="118"/>
                </a:cubicBezTo>
                <a:cubicBezTo>
                  <a:pt x="867" y="118"/>
                  <a:pt x="867" y="118"/>
                  <a:pt x="868" y="118"/>
                </a:cubicBezTo>
                <a:cubicBezTo>
                  <a:pt x="868" y="118"/>
                  <a:pt x="868" y="118"/>
                  <a:pt x="868" y="117"/>
                </a:cubicBezTo>
                <a:cubicBezTo>
                  <a:pt x="868" y="117"/>
                  <a:pt x="868" y="117"/>
                  <a:pt x="868" y="116"/>
                </a:cubicBezTo>
                <a:cubicBezTo>
                  <a:pt x="868" y="116"/>
                  <a:pt x="868" y="116"/>
                  <a:pt x="869" y="115"/>
                </a:cubicBezTo>
                <a:cubicBezTo>
                  <a:pt x="869" y="115"/>
                  <a:pt x="869" y="115"/>
                  <a:pt x="870" y="115"/>
                </a:cubicBezTo>
                <a:cubicBezTo>
                  <a:pt x="870" y="115"/>
                  <a:pt x="870" y="115"/>
                  <a:pt x="872" y="113"/>
                </a:cubicBezTo>
                <a:cubicBezTo>
                  <a:pt x="872" y="113"/>
                  <a:pt x="872" y="113"/>
                  <a:pt x="872" y="112"/>
                </a:cubicBezTo>
                <a:cubicBezTo>
                  <a:pt x="872" y="112"/>
                  <a:pt x="872" y="112"/>
                  <a:pt x="873" y="112"/>
                </a:cubicBezTo>
                <a:cubicBezTo>
                  <a:pt x="873" y="112"/>
                  <a:pt x="873" y="112"/>
                  <a:pt x="874" y="111"/>
                </a:cubicBezTo>
                <a:cubicBezTo>
                  <a:pt x="874" y="111"/>
                  <a:pt x="874" y="111"/>
                  <a:pt x="875" y="110"/>
                </a:cubicBezTo>
                <a:cubicBezTo>
                  <a:pt x="875" y="110"/>
                  <a:pt x="875" y="110"/>
                  <a:pt x="877" y="107"/>
                </a:cubicBezTo>
                <a:cubicBezTo>
                  <a:pt x="877" y="107"/>
                  <a:pt x="877" y="107"/>
                  <a:pt x="877" y="105"/>
                </a:cubicBezTo>
                <a:cubicBezTo>
                  <a:pt x="877" y="105"/>
                  <a:pt x="877" y="105"/>
                  <a:pt x="877" y="104"/>
                </a:cubicBezTo>
                <a:cubicBezTo>
                  <a:pt x="877" y="104"/>
                  <a:pt x="877" y="104"/>
                  <a:pt x="876" y="102"/>
                </a:cubicBezTo>
                <a:cubicBezTo>
                  <a:pt x="876" y="102"/>
                  <a:pt x="876" y="102"/>
                  <a:pt x="875" y="101"/>
                </a:cubicBezTo>
                <a:cubicBezTo>
                  <a:pt x="875" y="101"/>
                  <a:pt x="875" y="101"/>
                  <a:pt x="874" y="101"/>
                </a:cubicBezTo>
                <a:cubicBezTo>
                  <a:pt x="874" y="101"/>
                  <a:pt x="874" y="101"/>
                  <a:pt x="872" y="103"/>
                </a:cubicBezTo>
                <a:cubicBezTo>
                  <a:pt x="872" y="103"/>
                  <a:pt x="872" y="103"/>
                  <a:pt x="872" y="104"/>
                </a:cubicBezTo>
                <a:cubicBezTo>
                  <a:pt x="872" y="104"/>
                  <a:pt x="872" y="104"/>
                  <a:pt x="871" y="105"/>
                </a:cubicBezTo>
                <a:cubicBezTo>
                  <a:pt x="871" y="105"/>
                  <a:pt x="871" y="105"/>
                  <a:pt x="871" y="106"/>
                </a:cubicBezTo>
                <a:cubicBezTo>
                  <a:pt x="871" y="106"/>
                  <a:pt x="871" y="106"/>
                  <a:pt x="870" y="106"/>
                </a:cubicBezTo>
                <a:cubicBezTo>
                  <a:pt x="870" y="106"/>
                  <a:pt x="870" y="106"/>
                  <a:pt x="869" y="107"/>
                </a:cubicBezTo>
                <a:cubicBezTo>
                  <a:pt x="869" y="107"/>
                  <a:pt x="869" y="107"/>
                  <a:pt x="869" y="105"/>
                </a:cubicBezTo>
                <a:cubicBezTo>
                  <a:pt x="869" y="105"/>
                  <a:pt x="869" y="105"/>
                  <a:pt x="870" y="103"/>
                </a:cubicBezTo>
                <a:cubicBezTo>
                  <a:pt x="870" y="103"/>
                  <a:pt x="870" y="103"/>
                  <a:pt x="868" y="103"/>
                </a:cubicBezTo>
                <a:cubicBezTo>
                  <a:pt x="868" y="103"/>
                  <a:pt x="868" y="103"/>
                  <a:pt x="867" y="103"/>
                </a:cubicBezTo>
                <a:cubicBezTo>
                  <a:pt x="867" y="103"/>
                  <a:pt x="867" y="103"/>
                  <a:pt x="866" y="104"/>
                </a:cubicBezTo>
                <a:cubicBezTo>
                  <a:pt x="866" y="104"/>
                  <a:pt x="866" y="104"/>
                  <a:pt x="864" y="105"/>
                </a:cubicBezTo>
                <a:cubicBezTo>
                  <a:pt x="864" y="105"/>
                  <a:pt x="864" y="105"/>
                  <a:pt x="864" y="106"/>
                </a:cubicBezTo>
                <a:cubicBezTo>
                  <a:pt x="864" y="106"/>
                  <a:pt x="864" y="106"/>
                  <a:pt x="863" y="105"/>
                </a:cubicBezTo>
                <a:cubicBezTo>
                  <a:pt x="863" y="105"/>
                  <a:pt x="863" y="105"/>
                  <a:pt x="864" y="104"/>
                </a:cubicBezTo>
                <a:cubicBezTo>
                  <a:pt x="864" y="104"/>
                  <a:pt x="864" y="104"/>
                  <a:pt x="865" y="103"/>
                </a:cubicBezTo>
                <a:cubicBezTo>
                  <a:pt x="865" y="103"/>
                  <a:pt x="865" y="103"/>
                  <a:pt x="867" y="101"/>
                </a:cubicBezTo>
                <a:cubicBezTo>
                  <a:pt x="867" y="101"/>
                  <a:pt x="867" y="101"/>
                  <a:pt x="868" y="100"/>
                </a:cubicBezTo>
                <a:cubicBezTo>
                  <a:pt x="868" y="100"/>
                  <a:pt x="868" y="100"/>
                  <a:pt x="868" y="99"/>
                </a:cubicBezTo>
                <a:cubicBezTo>
                  <a:pt x="868" y="99"/>
                  <a:pt x="868" y="99"/>
                  <a:pt x="866" y="99"/>
                </a:cubicBezTo>
                <a:cubicBezTo>
                  <a:pt x="866" y="99"/>
                  <a:pt x="866" y="99"/>
                  <a:pt x="865" y="100"/>
                </a:cubicBezTo>
                <a:cubicBezTo>
                  <a:pt x="865" y="100"/>
                  <a:pt x="865" y="100"/>
                  <a:pt x="864" y="100"/>
                </a:cubicBezTo>
                <a:cubicBezTo>
                  <a:pt x="864" y="100"/>
                  <a:pt x="864" y="100"/>
                  <a:pt x="864" y="99"/>
                </a:cubicBezTo>
                <a:cubicBezTo>
                  <a:pt x="864" y="99"/>
                  <a:pt x="864" y="99"/>
                  <a:pt x="865" y="98"/>
                </a:cubicBezTo>
                <a:cubicBezTo>
                  <a:pt x="865" y="98"/>
                  <a:pt x="865" y="98"/>
                  <a:pt x="867" y="97"/>
                </a:cubicBezTo>
                <a:cubicBezTo>
                  <a:pt x="867" y="97"/>
                  <a:pt x="867" y="97"/>
                  <a:pt x="868" y="97"/>
                </a:cubicBezTo>
                <a:cubicBezTo>
                  <a:pt x="868" y="97"/>
                  <a:pt x="868" y="97"/>
                  <a:pt x="868" y="96"/>
                </a:cubicBezTo>
                <a:cubicBezTo>
                  <a:pt x="868" y="96"/>
                  <a:pt x="868" y="96"/>
                  <a:pt x="868" y="93"/>
                </a:cubicBezTo>
                <a:cubicBezTo>
                  <a:pt x="868" y="93"/>
                  <a:pt x="868" y="93"/>
                  <a:pt x="868" y="91"/>
                </a:cubicBezTo>
                <a:cubicBezTo>
                  <a:pt x="868" y="91"/>
                  <a:pt x="868" y="91"/>
                  <a:pt x="868" y="90"/>
                </a:cubicBezTo>
                <a:cubicBezTo>
                  <a:pt x="868" y="90"/>
                  <a:pt x="868" y="90"/>
                  <a:pt x="868" y="89"/>
                </a:cubicBezTo>
                <a:cubicBezTo>
                  <a:pt x="868" y="89"/>
                  <a:pt x="868" y="89"/>
                  <a:pt x="869" y="88"/>
                </a:cubicBezTo>
                <a:cubicBezTo>
                  <a:pt x="869" y="88"/>
                  <a:pt x="869" y="88"/>
                  <a:pt x="870" y="88"/>
                </a:cubicBezTo>
                <a:cubicBezTo>
                  <a:pt x="870" y="88"/>
                  <a:pt x="870" y="88"/>
                  <a:pt x="871" y="88"/>
                </a:cubicBezTo>
                <a:cubicBezTo>
                  <a:pt x="871" y="88"/>
                  <a:pt x="871" y="88"/>
                  <a:pt x="870" y="87"/>
                </a:cubicBezTo>
                <a:cubicBezTo>
                  <a:pt x="870" y="87"/>
                  <a:pt x="870" y="87"/>
                  <a:pt x="870" y="86"/>
                </a:cubicBezTo>
                <a:cubicBezTo>
                  <a:pt x="870" y="86"/>
                  <a:pt x="870" y="86"/>
                  <a:pt x="869" y="85"/>
                </a:cubicBezTo>
                <a:cubicBezTo>
                  <a:pt x="869" y="85"/>
                  <a:pt x="869" y="85"/>
                  <a:pt x="868" y="85"/>
                </a:cubicBezTo>
                <a:cubicBezTo>
                  <a:pt x="868" y="85"/>
                  <a:pt x="868" y="85"/>
                  <a:pt x="865" y="87"/>
                </a:cubicBezTo>
                <a:cubicBezTo>
                  <a:pt x="865" y="87"/>
                  <a:pt x="865" y="87"/>
                  <a:pt x="863" y="88"/>
                </a:cubicBezTo>
                <a:cubicBezTo>
                  <a:pt x="863" y="88"/>
                  <a:pt x="863" y="88"/>
                  <a:pt x="863" y="89"/>
                </a:cubicBezTo>
                <a:cubicBezTo>
                  <a:pt x="863" y="89"/>
                  <a:pt x="863" y="89"/>
                  <a:pt x="863" y="90"/>
                </a:cubicBezTo>
                <a:cubicBezTo>
                  <a:pt x="863" y="90"/>
                  <a:pt x="863" y="90"/>
                  <a:pt x="862" y="90"/>
                </a:cubicBezTo>
                <a:cubicBezTo>
                  <a:pt x="862" y="90"/>
                  <a:pt x="862" y="90"/>
                  <a:pt x="861" y="90"/>
                </a:cubicBezTo>
                <a:cubicBezTo>
                  <a:pt x="861" y="90"/>
                  <a:pt x="861" y="90"/>
                  <a:pt x="860" y="90"/>
                </a:cubicBezTo>
                <a:cubicBezTo>
                  <a:pt x="860" y="90"/>
                  <a:pt x="860" y="90"/>
                  <a:pt x="859" y="92"/>
                </a:cubicBezTo>
                <a:cubicBezTo>
                  <a:pt x="859" y="92"/>
                  <a:pt x="859" y="92"/>
                  <a:pt x="860" y="93"/>
                </a:cubicBezTo>
                <a:cubicBezTo>
                  <a:pt x="860" y="93"/>
                  <a:pt x="860" y="93"/>
                  <a:pt x="860" y="95"/>
                </a:cubicBezTo>
                <a:cubicBezTo>
                  <a:pt x="860" y="95"/>
                  <a:pt x="860" y="95"/>
                  <a:pt x="861" y="97"/>
                </a:cubicBezTo>
                <a:cubicBezTo>
                  <a:pt x="861" y="97"/>
                  <a:pt x="861" y="97"/>
                  <a:pt x="860" y="99"/>
                </a:cubicBezTo>
                <a:cubicBezTo>
                  <a:pt x="860" y="99"/>
                  <a:pt x="860" y="99"/>
                  <a:pt x="859" y="99"/>
                </a:cubicBezTo>
                <a:cubicBezTo>
                  <a:pt x="859" y="99"/>
                  <a:pt x="859" y="99"/>
                  <a:pt x="857" y="99"/>
                </a:cubicBezTo>
                <a:cubicBezTo>
                  <a:pt x="857" y="99"/>
                  <a:pt x="857" y="99"/>
                  <a:pt x="856" y="100"/>
                </a:cubicBezTo>
                <a:cubicBezTo>
                  <a:pt x="856" y="100"/>
                  <a:pt x="856" y="100"/>
                  <a:pt x="857" y="101"/>
                </a:cubicBezTo>
                <a:cubicBezTo>
                  <a:pt x="857" y="101"/>
                  <a:pt x="857" y="101"/>
                  <a:pt x="857" y="102"/>
                </a:cubicBezTo>
                <a:cubicBezTo>
                  <a:pt x="857" y="102"/>
                  <a:pt x="857" y="102"/>
                  <a:pt x="858" y="103"/>
                </a:cubicBezTo>
                <a:cubicBezTo>
                  <a:pt x="858" y="103"/>
                  <a:pt x="858" y="103"/>
                  <a:pt x="858" y="105"/>
                </a:cubicBezTo>
                <a:cubicBezTo>
                  <a:pt x="858" y="105"/>
                  <a:pt x="858" y="105"/>
                  <a:pt x="856" y="106"/>
                </a:cubicBezTo>
                <a:cubicBezTo>
                  <a:pt x="856" y="106"/>
                  <a:pt x="856" y="106"/>
                  <a:pt x="857" y="107"/>
                </a:cubicBezTo>
                <a:cubicBezTo>
                  <a:pt x="857" y="107"/>
                  <a:pt x="857" y="107"/>
                  <a:pt x="857" y="108"/>
                </a:cubicBezTo>
                <a:cubicBezTo>
                  <a:pt x="857" y="108"/>
                  <a:pt x="857" y="108"/>
                  <a:pt x="856" y="108"/>
                </a:cubicBezTo>
                <a:cubicBezTo>
                  <a:pt x="856" y="108"/>
                  <a:pt x="856" y="108"/>
                  <a:pt x="855" y="106"/>
                </a:cubicBezTo>
                <a:cubicBezTo>
                  <a:pt x="855" y="106"/>
                  <a:pt x="855" y="106"/>
                  <a:pt x="853" y="106"/>
                </a:cubicBezTo>
                <a:cubicBezTo>
                  <a:pt x="853" y="106"/>
                  <a:pt x="853" y="106"/>
                  <a:pt x="852" y="106"/>
                </a:cubicBezTo>
                <a:cubicBezTo>
                  <a:pt x="852" y="106"/>
                  <a:pt x="852" y="106"/>
                  <a:pt x="851" y="106"/>
                </a:cubicBezTo>
                <a:close/>
                <a:moveTo>
                  <a:pt x="802" y="80"/>
                </a:moveTo>
                <a:cubicBezTo>
                  <a:pt x="802" y="81"/>
                  <a:pt x="802" y="81"/>
                  <a:pt x="802" y="81"/>
                </a:cubicBezTo>
                <a:cubicBezTo>
                  <a:pt x="803" y="81"/>
                  <a:pt x="803" y="81"/>
                  <a:pt x="803" y="81"/>
                </a:cubicBezTo>
                <a:cubicBezTo>
                  <a:pt x="804" y="81"/>
                  <a:pt x="804" y="81"/>
                  <a:pt x="804" y="81"/>
                </a:cubicBezTo>
                <a:cubicBezTo>
                  <a:pt x="805" y="80"/>
                  <a:pt x="805" y="80"/>
                  <a:pt x="805" y="80"/>
                </a:cubicBezTo>
                <a:cubicBezTo>
                  <a:pt x="806" y="79"/>
                  <a:pt x="806" y="79"/>
                  <a:pt x="806" y="79"/>
                </a:cubicBezTo>
                <a:cubicBezTo>
                  <a:pt x="807" y="80"/>
                  <a:pt x="807" y="80"/>
                  <a:pt x="807" y="80"/>
                </a:cubicBezTo>
                <a:cubicBezTo>
                  <a:pt x="808" y="82"/>
                  <a:pt x="808" y="82"/>
                  <a:pt x="808" y="82"/>
                </a:cubicBezTo>
                <a:cubicBezTo>
                  <a:pt x="808" y="83"/>
                  <a:pt x="808" y="83"/>
                  <a:pt x="808" y="83"/>
                </a:cubicBezTo>
                <a:cubicBezTo>
                  <a:pt x="809" y="83"/>
                  <a:pt x="809" y="83"/>
                  <a:pt x="809" y="83"/>
                </a:cubicBezTo>
                <a:cubicBezTo>
                  <a:pt x="810" y="83"/>
                  <a:pt x="810" y="83"/>
                  <a:pt x="810" y="83"/>
                </a:cubicBezTo>
                <a:cubicBezTo>
                  <a:pt x="810" y="82"/>
                  <a:pt x="810" y="82"/>
                  <a:pt x="810" y="82"/>
                </a:cubicBezTo>
                <a:cubicBezTo>
                  <a:pt x="810" y="80"/>
                  <a:pt x="810" y="80"/>
                  <a:pt x="810" y="80"/>
                </a:cubicBezTo>
                <a:cubicBezTo>
                  <a:pt x="811" y="80"/>
                  <a:pt x="811" y="80"/>
                  <a:pt x="811" y="80"/>
                </a:cubicBezTo>
                <a:cubicBezTo>
                  <a:pt x="813" y="79"/>
                  <a:pt x="813" y="79"/>
                  <a:pt x="813" y="79"/>
                </a:cubicBezTo>
                <a:cubicBezTo>
                  <a:pt x="813" y="80"/>
                  <a:pt x="813" y="80"/>
                  <a:pt x="813" y="80"/>
                </a:cubicBezTo>
                <a:cubicBezTo>
                  <a:pt x="812" y="81"/>
                  <a:pt x="812" y="81"/>
                  <a:pt x="812" y="81"/>
                </a:cubicBezTo>
                <a:cubicBezTo>
                  <a:pt x="811" y="83"/>
                  <a:pt x="811" y="83"/>
                  <a:pt x="811" y="83"/>
                </a:cubicBezTo>
                <a:cubicBezTo>
                  <a:pt x="812" y="83"/>
                  <a:pt x="812" y="83"/>
                  <a:pt x="812" y="83"/>
                </a:cubicBezTo>
                <a:cubicBezTo>
                  <a:pt x="811" y="84"/>
                  <a:pt x="811" y="84"/>
                  <a:pt x="811" y="84"/>
                </a:cubicBezTo>
                <a:cubicBezTo>
                  <a:pt x="811" y="85"/>
                  <a:pt x="811" y="85"/>
                  <a:pt x="811" y="85"/>
                </a:cubicBezTo>
                <a:cubicBezTo>
                  <a:pt x="811" y="86"/>
                  <a:pt x="811" y="86"/>
                  <a:pt x="811" y="86"/>
                </a:cubicBezTo>
                <a:cubicBezTo>
                  <a:pt x="812" y="85"/>
                  <a:pt x="812" y="85"/>
                  <a:pt x="812" y="85"/>
                </a:cubicBezTo>
                <a:cubicBezTo>
                  <a:pt x="813" y="85"/>
                  <a:pt x="813" y="85"/>
                  <a:pt x="813" y="85"/>
                </a:cubicBezTo>
                <a:cubicBezTo>
                  <a:pt x="813" y="86"/>
                  <a:pt x="813" y="86"/>
                  <a:pt x="813" y="86"/>
                </a:cubicBezTo>
                <a:cubicBezTo>
                  <a:pt x="815" y="85"/>
                  <a:pt x="815" y="85"/>
                  <a:pt x="815" y="85"/>
                </a:cubicBezTo>
                <a:cubicBezTo>
                  <a:pt x="816" y="84"/>
                  <a:pt x="816" y="84"/>
                  <a:pt x="816" y="84"/>
                </a:cubicBezTo>
                <a:cubicBezTo>
                  <a:pt x="817" y="84"/>
                  <a:pt x="817" y="84"/>
                  <a:pt x="817" y="84"/>
                </a:cubicBezTo>
                <a:cubicBezTo>
                  <a:pt x="817" y="83"/>
                  <a:pt x="817" y="83"/>
                  <a:pt x="817" y="83"/>
                </a:cubicBezTo>
                <a:cubicBezTo>
                  <a:pt x="817" y="82"/>
                  <a:pt x="817" y="82"/>
                  <a:pt x="817" y="82"/>
                </a:cubicBezTo>
                <a:cubicBezTo>
                  <a:pt x="818" y="82"/>
                  <a:pt x="818" y="82"/>
                  <a:pt x="818" y="82"/>
                </a:cubicBezTo>
                <a:cubicBezTo>
                  <a:pt x="819" y="81"/>
                  <a:pt x="819" y="81"/>
                  <a:pt x="819" y="81"/>
                </a:cubicBezTo>
                <a:cubicBezTo>
                  <a:pt x="819" y="79"/>
                  <a:pt x="819" y="79"/>
                  <a:pt x="819" y="79"/>
                </a:cubicBezTo>
                <a:cubicBezTo>
                  <a:pt x="820" y="79"/>
                  <a:pt x="820" y="79"/>
                  <a:pt x="820" y="79"/>
                </a:cubicBezTo>
                <a:cubicBezTo>
                  <a:pt x="820" y="80"/>
                  <a:pt x="820" y="80"/>
                  <a:pt x="820" y="80"/>
                </a:cubicBezTo>
                <a:cubicBezTo>
                  <a:pt x="820" y="81"/>
                  <a:pt x="820" y="81"/>
                  <a:pt x="820" y="81"/>
                </a:cubicBezTo>
                <a:cubicBezTo>
                  <a:pt x="820" y="82"/>
                  <a:pt x="820" y="82"/>
                  <a:pt x="820" y="82"/>
                </a:cubicBezTo>
                <a:cubicBezTo>
                  <a:pt x="820" y="84"/>
                  <a:pt x="820" y="84"/>
                  <a:pt x="820" y="84"/>
                </a:cubicBezTo>
                <a:cubicBezTo>
                  <a:pt x="821" y="84"/>
                  <a:pt x="821" y="84"/>
                  <a:pt x="821" y="84"/>
                </a:cubicBezTo>
                <a:cubicBezTo>
                  <a:pt x="822" y="82"/>
                  <a:pt x="822" y="82"/>
                  <a:pt x="822" y="82"/>
                </a:cubicBezTo>
                <a:cubicBezTo>
                  <a:pt x="822" y="81"/>
                  <a:pt x="822" y="81"/>
                  <a:pt x="822" y="81"/>
                </a:cubicBezTo>
                <a:cubicBezTo>
                  <a:pt x="822" y="80"/>
                  <a:pt x="822" y="80"/>
                  <a:pt x="822" y="80"/>
                </a:cubicBezTo>
                <a:cubicBezTo>
                  <a:pt x="823" y="80"/>
                  <a:pt x="823" y="80"/>
                  <a:pt x="823" y="80"/>
                </a:cubicBezTo>
                <a:cubicBezTo>
                  <a:pt x="824" y="78"/>
                  <a:pt x="824" y="78"/>
                  <a:pt x="824" y="78"/>
                </a:cubicBezTo>
                <a:cubicBezTo>
                  <a:pt x="825" y="77"/>
                  <a:pt x="825" y="77"/>
                  <a:pt x="825" y="77"/>
                </a:cubicBezTo>
                <a:cubicBezTo>
                  <a:pt x="824" y="76"/>
                  <a:pt x="824" y="76"/>
                  <a:pt x="824" y="76"/>
                </a:cubicBezTo>
                <a:cubicBezTo>
                  <a:pt x="825" y="75"/>
                  <a:pt x="825" y="75"/>
                  <a:pt x="825" y="75"/>
                </a:cubicBezTo>
                <a:cubicBezTo>
                  <a:pt x="826" y="76"/>
                  <a:pt x="826" y="76"/>
                  <a:pt x="826" y="76"/>
                </a:cubicBezTo>
                <a:cubicBezTo>
                  <a:pt x="828" y="75"/>
                  <a:pt x="828" y="75"/>
                  <a:pt x="828" y="75"/>
                </a:cubicBezTo>
                <a:cubicBezTo>
                  <a:pt x="829" y="73"/>
                  <a:pt x="829" y="73"/>
                  <a:pt x="829" y="73"/>
                </a:cubicBezTo>
                <a:cubicBezTo>
                  <a:pt x="829" y="72"/>
                  <a:pt x="829" y="72"/>
                  <a:pt x="829" y="72"/>
                </a:cubicBezTo>
                <a:cubicBezTo>
                  <a:pt x="830" y="72"/>
                  <a:pt x="830" y="72"/>
                  <a:pt x="830" y="72"/>
                </a:cubicBezTo>
                <a:cubicBezTo>
                  <a:pt x="830" y="71"/>
                  <a:pt x="830" y="71"/>
                  <a:pt x="830" y="71"/>
                </a:cubicBezTo>
                <a:cubicBezTo>
                  <a:pt x="831" y="72"/>
                  <a:pt x="831" y="72"/>
                  <a:pt x="831" y="72"/>
                </a:cubicBezTo>
                <a:cubicBezTo>
                  <a:pt x="832" y="71"/>
                  <a:pt x="832" y="71"/>
                  <a:pt x="832" y="71"/>
                </a:cubicBezTo>
                <a:cubicBezTo>
                  <a:pt x="833" y="71"/>
                  <a:pt x="833" y="71"/>
                  <a:pt x="833" y="71"/>
                </a:cubicBezTo>
                <a:cubicBezTo>
                  <a:pt x="832" y="73"/>
                  <a:pt x="832" y="73"/>
                  <a:pt x="832" y="73"/>
                </a:cubicBezTo>
                <a:cubicBezTo>
                  <a:pt x="831" y="75"/>
                  <a:pt x="831" y="75"/>
                  <a:pt x="831" y="75"/>
                </a:cubicBezTo>
                <a:cubicBezTo>
                  <a:pt x="830" y="76"/>
                  <a:pt x="830" y="76"/>
                  <a:pt x="830" y="76"/>
                </a:cubicBezTo>
                <a:cubicBezTo>
                  <a:pt x="830" y="77"/>
                  <a:pt x="830" y="77"/>
                  <a:pt x="830" y="77"/>
                </a:cubicBezTo>
                <a:cubicBezTo>
                  <a:pt x="830" y="78"/>
                  <a:pt x="830" y="78"/>
                  <a:pt x="830" y="78"/>
                </a:cubicBezTo>
                <a:cubicBezTo>
                  <a:pt x="829" y="78"/>
                  <a:pt x="829" y="78"/>
                  <a:pt x="829" y="78"/>
                </a:cubicBezTo>
                <a:cubicBezTo>
                  <a:pt x="827" y="81"/>
                  <a:pt x="827" y="81"/>
                  <a:pt x="827" y="81"/>
                </a:cubicBezTo>
                <a:cubicBezTo>
                  <a:pt x="827" y="82"/>
                  <a:pt x="827" y="82"/>
                  <a:pt x="827" y="82"/>
                </a:cubicBezTo>
                <a:cubicBezTo>
                  <a:pt x="827" y="83"/>
                  <a:pt x="827" y="83"/>
                  <a:pt x="827" y="83"/>
                </a:cubicBezTo>
                <a:cubicBezTo>
                  <a:pt x="827" y="84"/>
                  <a:pt x="827" y="84"/>
                  <a:pt x="827" y="84"/>
                </a:cubicBezTo>
                <a:cubicBezTo>
                  <a:pt x="828" y="84"/>
                  <a:pt x="828" y="84"/>
                  <a:pt x="828" y="84"/>
                </a:cubicBezTo>
                <a:cubicBezTo>
                  <a:pt x="829" y="84"/>
                  <a:pt x="829" y="84"/>
                  <a:pt x="829" y="84"/>
                </a:cubicBezTo>
                <a:cubicBezTo>
                  <a:pt x="830" y="84"/>
                  <a:pt x="830" y="84"/>
                  <a:pt x="830" y="84"/>
                </a:cubicBezTo>
                <a:cubicBezTo>
                  <a:pt x="831" y="83"/>
                  <a:pt x="831" y="83"/>
                  <a:pt x="831" y="83"/>
                </a:cubicBezTo>
                <a:cubicBezTo>
                  <a:pt x="832" y="82"/>
                  <a:pt x="832" y="82"/>
                  <a:pt x="832" y="82"/>
                </a:cubicBezTo>
                <a:cubicBezTo>
                  <a:pt x="831" y="81"/>
                  <a:pt x="831" y="81"/>
                  <a:pt x="831" y="81"/>
                </a:cubicBezTo>
                <a:cubicBezTo>
                  <a:pt x="832" y="80"/>
                  <a:pt x="832" y="80"/>
                  <a:pt x="832" y="80"/>
                </a:cubicBezTo>
                <a:cubicBezTo>
                  <a:pt x="833" y="79"/>
                  <a:pt x="833" y="79"/>
                  <a:pt x="833" y="79"/>
                </a:cubicBezTo>
                <a:cubicBezTo>
                  <a:pt x="834" y="79"/>
                  <a:pt x="834" y="79"/>
                  <a:pt x="834" y="79"/>
                </a:cubicBezTo>
                <a:cubicBezTo>
                  <a:pt x="835" y="79"/>
                  <a:pt x="835" y="79"/>
                  <a:pt x="835" y="79"/>
                </a:cubicBezTo>
                <a:cubicBezTo>
                  <a:pt x="836" y="79"/>
                  <a:pt x="836" y="79"/>
                  <a:pt x="836" y="79"/>
                </a:cubicBezTo>
                <a:cubicBezTo>
                  <a:pt x="837" y="79"/>
                  <a:pt x="837" y="79"/>
                  <a:pt x="837" y="79"/>
                </a:cubicBezTo>
                <a:cubicBezTo>
                  <a:pt x="839" y="79"/>
                  <a:pt x="839" y="79"/>
                  <a:pt x="839" y="79"/>
                </a:cubicBezTo>
                <a:cubicBezTo>
                  <a:pt x="840" y="77"/>
                  <a:pt x="840" y="77"/>
                  <a:pt x="840" y="77"/>
                </a:cubicBezTo>
                <a:cubicBezTo>
                  <a:pt x="840" y="75"/>
                  <a:pt x="840" y="75"/>
                  <a:pt x="840" y="75"/>
                </a:cubicBezTo>
                <a:cubicBezTo>
                  <a:pt x="841" y="73"/>
                  <a:pt x="841" y="73"/>
                  <a:pt x="841" y="73"/>
                </a:cubicBezTo>
                <a:cubicBezTo>
                  <a:pt x="842" y="72"/>
                  <a:pt x="842" y="72"/>
                  <a:pt x="842" y="72"/>
                </a:cubicBezTo>
                <a:cubicBezTo>
                  <a:pt x="843" y="73"/>
                  <a:pt x="843" y="73"/>
                  <a:pt x="843" y="73"/>
                </a:cubicBezTo>
                <a:cubicBezTo>
                  <a:pt x="844" y="73"/>
                  <a:pt x="844" y="73"/>
                  <a:pt x="844" y="73"/>
                </a:cubicBezTo>
                <a:cubicBezTo>
                  <a:pt x="844" y="72"/>
                  <a:pt x="844" y="72"/>
                  <a:pt x="844" y="72"/>
                </a:cubicBezTo>
                <a:cubicBezTo>
                  <a:pt x="843" y="70"/>
                  <a:pt x="843" y="70"/>
                  <a:pt x="843" y="70"/>
                </a:cubicBezTo>
                <a:cubicBezTo>
                  <a:pt x="843" y="69"/>
                  <a:pt x="843" y="69"/>
                  <a:pt x="843" y="69"/>
                </a:cubicBezTo>
                <a:cubicBezTo>
                  <a:pt x="844" y="68"/>
                  <a:pt x="844" y="68"/>
                  <a:pt x="844" y="68"/>
                </a:cubicBezTo>
                <a:cubicBezTo>
                  <a:pt x="846" y="68"/>
                  <a:pt x="846" y="68"/>
                  <a:pt x="846" y="68"/>
                </a:cubicBezTo>
                <a:cubicBezTo>
                  <a:pt x="847" y="67"/>
                  <a:pt x="847" y="67"/>
                  <a:pt x="847" y="67"/>
                </a:cubicBezTo>
                <a:cubicBezTo>
                  <a:pt x="848" y="68"/>
                  <a:pt x="848" y="68"/>
                  <a:pt x="848" y="68"/>
                </a:cubicBezTo>
                <a:cubicBezTo>
                  <a:pt x="849" y="66"/>
                  <a:pt x="849" y="66"/>
                  <a:pt x="849" y="66"/>
                </a:cubicBezTo>
                <a:cubicBezTo>
                  <a:pt x="849" y="65"/>
                  <a:pt x="849" y="65"/>
                  <a:pt x="849" y="65"/>
                </a:cubicBezTo>
                <a:cubicBezTo>
                  <a:pt x="849" y="63"/>
                  <a:pt x="849" y="63"/>
                  <a:pt x="849" y="63"/>
                </a:cubicBezTo>
                <a:cubicBezTo>
                  <a:pt x="849" y="62"/>
                  <a:pt x="849" y="62"/>
                  <a:pt x="849" y="62"/>
                </a:cubicBezTo>
                <a:cubicBezTo>
                  <a:pt x="849" y="60"/>
                  <a:pt x="849" y="60"/>
                  <a:pt x="849" y="60"/>
                </a:cubicBezTo>
                <a:cubicBezTo>
                  <a:pt x="848" y="60"/>
                  <a:pt x="848" y="60"/>
                  <a:pt x="848" y="60"/>
                </a:cubicBezTo>
                <a:cubicBezTo>
                  <a:pt x="847" y="60"/>
                  <a:pt x="847" y="60"/>
                  <a:pt x="847" y="60"/>
                </a:cubicBezTo>
                <a:cubicBezTo>
                  <a:pt x="846" y="61"/>
                  <a:pt x="846" y="61"/>
                  <a:pt x="846" y="61"/>
                </a:cubicBezTo>
                <a:cubicBezTo>
                  <a:pt x="846" y="63"/>
                  <a:pt x="846" y="63"/>
                  <a:pt x="846" y="63"/>
                </a:cubicBezTo>
                <a:cubicBezTo>
                  <a:pt x="846" y="64"/>
                  <a:pt x="846" y="64"/>
                  <a:pt x="846" y="64"/>
                </a:cubicBezTo>
                <a:cubicBezTo>
                  <a:pt x="845" y="64"/>
                  <a:pt x="845" y="64"/>
                  <a:pt x="845" y="64"/>
                </a:cubicBezTo>
                <a:cubicBezTo>
                  <a:pt x="844" y="63"/>
                  <a:pt x="844" y="63"/>
                  <a:pt x="844" y="63"/>
                </a:cubicBezTo>
                <a:cubicBezTo>
                  <a:pt x="844" y="64"/>
                  <a:pt x="844" y="64"/>
                  <a:pt x="844" y="64"/>
                </a:cubicBezTo>
                <a:cubicBezTo>
                  <a:pt x="843" y="65"/>
                  <a:pt x="843" y="65"/>
                  <a:pt x="843" y="65"/>
                </a:cubicBezTo>
                <a:cubicBezTo>
                  <a:pt x="843" y="64"/>
                  <a:pt x="843" y="64"/>
                  <a:pt x="843" y="64"/>
                </a:cubicBezTo>
                <a:cubicBezTo>
                  <a:pt x="843" y="62"/>
                  <a:pt x="843" y="62"/>
                  <a:pt x="843" y="62"/>
                </a:cubicBezTo>
                <a:cubicBezTo>
                  <a:pt x="841" y="61"/>
                  <a:pt x="841" y="61"/>
                  <a:pt x="841" y="61"/>
                </a:cubicBezTo>
                <a:cubicBezTo>
                  <a:pt x="840" y="61"/>
                  <a:pt x="840" y="61"/>
                  <a:pt x="840" y="61"/>
                </a:cubicBezTo>
                <a:cubicBezTo>
                  <a:pt x="839" y="61"/>
                  <a:pt x="839" y="61"/>
                  <a:pt x="839" y="61"/>
                </a:cubicBezTo>
                <a:cubicBezTo>
                  <a:pt x="838" y="61"/>
                  <a:pt x="838" y="61"/>
                  <a:pt x="838" y="61"/>
                </a:cubicBezTo>
                <a:cubicBezTo>
                  <a:pt x="837" y="61"/>
                  <a:pt x="837" y="61"/>
                  <a:pt x="837" y="61"/>
                </a:cubicBezTo>
                <a:cubicBezTo>
                  <a:pt x="834" y="61"/>
                  <a:pt x="834" y="61"/>
                  <a:pt x="834" y="61"/>
                </a:cubicBezTo>
                <a:cubicBezTo>
                  <a:pt x="833" y="61"/>
                  <a:pt x="833" y="61"/>
                  <a:pt x="833" y="61"/>
                </a:cubicBezTo>
                <a:cubicBezTo>
                  <a:pt x="832" y="62"/>
                  <a:pt x="832" y="62"/>
                  <a:pt x="832" y="62"/>
                </a:cubicBezTo>
                <a:cubicBezTo>
                  <a:pt x="832" y="63"/>
                  <a:pt x="832" y="63"/>
                  <a:pt x="832" y="63"/>
                </a:cubicBezTo>
                <a:cubicBezTo>
                  <a:pt x="831" y="63"/>
                  <a:pt x="831" y="63"/>
                  <a:pt x="831" y="63"/>
                </a:cubicBezTo>
                <a:cubicBezTo>
                  <a:pt x="830" y="63"/>
                  <a:pt x="830" y="63"/>
                  <a:pt x="830" y="63"/>
                </a:cubicBezTo>
                <a:cubicBezTo>
                  <a:pt x="827" y="65"/>
                  <a:pt x="827" y="65"/>
                  <a:pt x="827" y="65"/>
                </a:cubicBezTo>
                <a:cubicBezTo>
                  <a:pt x="827" y="66"/>
                  <a:pt x="827" y="66"/>
                  <a:pt x="827" y="66"/>
                </a:cubicBezTo>
                <a:cubicBezTo>
                  <a:pt x="825" y="66"/>
                  <a:pt x="825" y="66"/>
                  <a:pt x="825" y="66"/>
                </a:cubicBezTo>
                <a:cubicBezTo>
                  <a:pt x="824" y="67"/>
                  <a:pt x="824" y="67"/>
                  <a:pt x="824" y="67"/>
                </a:cubicBezTo>
                <a:cubicBezTo>
                  <a:pt x="823" y="67"/>
                  <a:pt x="823" y="67"/>
                  <a:pt x="823" y="67"/>
                </a:cubicBezTo>
                <a:cubicBezTo>
                  <a:pt x="822" y="68"/>
                  <a:pt x="822" y="68"/>
                  <a:pt x="822" y="68"/>
                </a:cubicBezTo>
                <a:cubicBezTo>
                  <a:pt x="822" y="69"/>
                  <a:pt x="822" y="69"/>
                  <a:pt x="822" y="69"/>
                </a:cubicBezTo>
                <a:cubicBezTo>
                  <a:pt x="820" y="69"/>
                  <a:pt x="820" y="69"/>
                  <a:pt x="820" y="69"/>
                </a:cubicBezTo>
                <a:cubicBezTo>
                  <a:pt x="819" y="70"/>
                  <a:pt x="819" y="70"/>
                  <a:pt x="819" y="70"/>
                </a:cubicBezTo>
                <a:cubicBezTo>
                  <a:pt x="818" y="69"/>
                  <a:pt x="818" y="69"/>
                  <a:pt x="818" y="69"/>
                </a:cubicBezTo>
                <a:cubicBezTo>
                  <a:pt x="817" y="70"/>
                  <a:pt x="817" y="70"/>
                  <a:pt x="817" y="70"/>
                </a:cubicBezTo>
                <a:cubicBezTo>
                  <a:pt x="816" y="70"/>
                  <a:pt x="816" y="70"/>
                  <a:pt x="816" y="70"/>
                </a:cubicBezTo>
                <a:cubicBezTo>
                  <a:pt x="814" y="72"/>
                  <a:pt x="814" y="72"/>
                  <a:pt x="814" y="72"/>
                </a:cubicBezTo>
                <a:cubicBezTo>
                  <a:pt x="813" y="72"/>
                  <a:pt x="813" y="72"/>
                  <a:pt x="813" y="72"/>
                </a:cubicBezTo>
                <a:cubicBezTo>
                  <a:pt x="811" y="72"/>
                  <a:pt x="811" y="72"/>
                  <a:pt x="811" y="72"/>
                </a:cubicBezTo>
                <a:cubicBezTo>
                  <a:pt x="810" y="72"/>
                  <a:pt x="810" y="72"/>
                  <a:pt x="810" y="72"/>
                </a:cubicBezTo>
                <a:cubicBezTo>
                  <a:pt x="807" y="73"/>
                  <a:pt x="807" y="73"/>
                  <a:pt x="807" y="73"/>
                </a:cubicBezTo>
                <a:cubicBezTo>
                  <a:pt x="806" y="75"/>
                  <a:pt x="806" y="75"/>
                  <a:pt x="806" y="75"/>
                </a:cubicBezTo>
                <a:cubicBezTo>
                  <a:pt x="805" y="75"/>
                  <a:pt x="805" y="75"/>
                  <a:pt x="805" y="75"/>
                </a:cubicBezTo>
                <a:cubicBezTo>
                  <a:pt x="803" y="75"/>
                  <a:pt x="803" y="75"/>
                  <a:pt x="803" y="75"/>
                </a:cubicBezTo>
                <a:cubicBezTo>
                  <a:pt x="803" y="77"/>
                  <a:pt x="803" y="77"/>
                  <a:pt x="803" y="77"/>
                </a:cubicBezTo>
                <a:cubicBezTo>
                  <a:pt x="803" y="78"/>
                  <a:pt x="803" y="78"/>
                  <a:pt x="803" y="78"/>
                </a:cubicBezTo>
                <a:cubicBezTo>
                  <a:pt x="804" y="79"/>
                  <a:pt x="804" y="79"/>
                  <a:pt x="804" y="79"/>
                </a:cubicBezTo>
                <a:cubicBezTo>
                  <a:pt x="802" y="80"/>
                  <a:pt x="802" y="80"/>
                  <a:pt x="802" y="80"/>
                </a:cubicBezTo>
                <a:close/>
                <a:moveTo>
                  <a:pt x="847" y="76"/>
                </a:moveTo>
                <a:cubicBezTo>
                  <a:pt x="847" y="76"/>
                  <a:pt x="847" y="76"/>
                  <a:pt x="846" y="77"/>
                </a:cubicBezTo>
                <a:cubicBezTo>
                  <a:pt x="846" y="77"/>
                  <a:pt x="846" y="77"/>
                  <a:pt x="847" y="77"/>
                </a:cubicBezTo>
                <a:cubicBezTo>
                  <a:pt x="847" y="77"/>
                  <a:pt x="847" y="77"/>
                  <a:pt x="848" y="78"/>
                </a:cubicBezTo>
                <a:cubicBezTo>
                  <a:pt x="848" y="78"/>
                  <a:pt x="848" y="78"/>
                  <a:pt x="848" y="79"/>
                </a:cubicBezTo>
                <a:cubicBezTo>
                  <a:pt x="848" y="79"/>
                  <a:pt x="848" y="79"/>
                  <a:pt x="849" y="80"/>
                </a:cubicBezTo>
                <a:cubicBezTo>
                  <a:pt x="849" y="80"/>
                  <a:pt x="849" y="80"/>
                  <a:pt x="850" y="80"/>
                </a:cubicBezTo>
                <a:cubicBezTo>
                  <a:pt x="850" y="80"/>
                  <a:pt x="850" y="80"/>
                  <a:pt x="851" y="79"/>
                </a:cubicBezTo>
                <a:cubicBezTo>
                  <a:pt x="851" y="79"/>
                  <a:pt x="851" y="79"/>
                  <a:pt x="852" y="78"/>
                </a:cubicBezTo>
                <a:cubicBezTo>
                  <a:pt x="852" y="78"/>
                  <a:pt x="852" y="78"/>
                  <a:pt x="851" y="77"/>
                </a:cubicBezTo>
                <a:cubicBezTo>
                  <a:pt x="851" y="77"/>
                  <a:pt x="851" y="77"/>
                  <a:pt x="850" y="77"/>
                </a:cubicBezTo>
                <a:cubicBezTo>
                  <a:pt x="850" y="77"/>
                  <a:pt x="850" y="77"/>
                  <a:pt x="848" y="76"/>
                </a:cubicBezTo>
                <a:cubicBezTo>
                  <a:pt x="848" y="76"/>
                  <a:pt x="848" y="76"/>
                  <a:pt x="847" y="76"/>
                </a:cubicBezTo>
                <a:close/>
                <a:moveTo>
                  <a:pt x="659" y="158"/>
                </a:moveTo>
                <a:cubicBezTo>
                  <a:pt x="660" y="158"/>
                  <a:pt x="660" y="158"/>
                  <a:pt x="660" y="158"/>
                </a:cubicBezTo>
                <a:cubicBezTo>
                  <a:pt x="659" y="156"/>
                  <a:pt x="659" y="156"/>
                  <a:pt x="659" y="156"/>
                </a:cubicBezTo>
                <a:cubicBezTo>
                  <a:pt x="658" y="156"/>
                  <a:pt x="658" y="156"/>
                  <a:pt x="658" y="156"/>
                </a:cubicBezTo>
                <a:cubicBezTo>
                  <a:pt x="657" y="156"/>
                  <a:pt x="657" y="156"/>
                  <a:pt x="657" y="156"/>
                </a:cubicBezTo>
                <a:cubicBezTo>
                  <a:pt x="658" y="158"/>
                  <a:pt x="658" y="158"/>
                  <a:pt x="658" y="158"/>
                </a:cubicBezTo>
                <a:cubicBezTo>
                  <a:pt x="659" y="158"/>
                  <a:pt x="659" y="158"/>
                  <a:pt x="659" y="158"/>
                </a:cubicBezTo>
                <a:close/>
                <a:moveTo>
                  <a:pt x="595" y="367"/>
                </a:moveTo>
                <a:cubicBezTo>
                  <a:pt x="594" y="368"/>
                  <a:pt x="594" y="368"/>
                  <a:pt x="594" y="368"/>
                </a:cubicBezTo>
                <a:cubicBezTo>
                  <a:pt x="594" y="368"/>
                  <a:pt x="594" y="368"/>
                  <a:pt x="593" y="369"/>
                </a:cubicBezTo>
                <a:cubicBezTo>
                  <a:pt x="593" y="369"/>
                  <a:pt x="593" y="369"/>
                  <a:pt x="592" y="370"/>
                </a:cubicBezTo>
                <a:cubicBezTo>
                  <a:pt x="592" y="370"/>
                  <a:pt x="592" y="370"/>
                  <a:pt x="592" y="369"/>
                </a:cubicBezTo>
                <a:cubicBezTo>
                  <a:pt x="592" y="369"/>
                  <a:pt x="592" y="369"/>
                  <a:pt x="591" y="369"/>
                </a:cubicBezTo>
                <a:cubicBezTo>
                  <a:pt x="591" y="369"/>
                  <a:pt x="591" y="369"/>
                  <a:pt x="593" y="368"/>
                </a:cubicBezTo>
                <a:cubicBezTo>
                  <a:pt x="593" y="368"/>
                  <a:pt x="593" y="368"/>
                  <a:pt x="595" y="367"/>
                </a:cubicBezTo>
                <a:cubicBezTo>
                  <a:pt x="595" y="367"/>
                  <a:pt x="595" y="367"/>
                  <a:pt x="595" y="365"/>
                </a:cubicBezTo>
                <a:cubicBezTo>
                  <a:pt x="595" y="365"/>
                  <a:pt x="595" y="365"/>
                  <a:pt x="595" y="364"/>
                </a:cubicBezTo>
                <a:cubicBezTo>
                  <a:pt x="595" y="364"/>
                  <a:pt x="595" y="364"/>
                  <a:pt x="594" y="364"/>
                </a:cubicBezTo>
                <a:cubicBezTo>
                  <a:pt x="594" y="364"/>
                  <a:pt x="594" y="364"/>
                  <a:pt x="593" y="365"/>
                </a:cubicBezTo>
                <a:cubicBezTo>
                  <a:pt x="593" y="365"/>
                  <a:pt x="593" y="365"/>
                  <a:pt x="592" y="365"/>
                </a:cubicBezTo>
                <a:cubicBezTo>
                  <a:pt x="592" y="365"/>
                  <a:pt x="592" y="365"/>
                  <a:pt x="593" y="363"/>
                </a:cubicBezTo>
                <a:cubicBezTo>
                  <a:pt x="593" y="363"/>
                  <a:pt x="593" y="363"/>
                  <a:pt x="591" y="363"/>
                </a:cubicBezTo>
                <a:cubicBezTo>
                  <a:pt x="591" y="363"/>
                  <a:pt x="591" y="363"/>
                  <a:pt x="589" y="366"/>
                </a:cubicBezTo>
                <a:cubicBezTo>
                  <a:pt x="589" y="366"/>
                  <a:pt x="589" y="366"/>
                  <a:pt x="589" y="368"/>
                </a:cubicBezTo>
                <a:cubicBezTo>
                  <a:pt x="589" y="368"/>
                  <a:pt x="589" y="368"/>
                  <a:pt x="588" y="370"/>
                </a:cubicBezTo>
                <a:cubicBezTo>
                  <a:pt x="588" y="370"/>
                  <a:pt x="588" y="370"/>
                  <a:pt x="588" y="371"/>
                </a:cubicBezTo>
                <a:cubicBezTo>
                  <a:pt x="588" y="371"/>
                  <a:pt x="588" y="371"/>
                  <a:pt x="589" y="371"/>
                </a:cubicBezTo>
                <a:cubicBezTo>
                  <a:pt x="589" y="371"/>
                  <a:pt x="589" y="371"/>
                  <a:pt x="590" y="372"/>
                </a:cubicBezTo>
                <a:cubicBezTo>
                  <a:pt x="590" y="372"/>
                  <a:pt x="590" y="372"/>
                  <a:pt x="590" y="373"/>
                </a:cubicBezTo>
                <a:cubicBezTo>
                  <a:pt x="590" y="373"/>
                  <a:pt x="590" y="373"/>
                  <a:pt x="589" y="372"/>
                </a:cubicBezTo>
                <a:cubicBezTo>
                  <a:pt x="589" y="372"/>
                  <a:pt x="589" y="372"/>
                  <a:pt x="588" y="373"/>
                </a:cubicBezTo>
                <a:cubicBezTo>
                  <a:pt x="588" y="373"/>
                  <a:pt x="588" y="373"/>
                  <a:pt x="589" y="374"/>
                </a:cubicBezTo>
                <a:cubicBezTo>
                  <a:pt x="589" y="374"/>
                  <a:pt x="589" y="374"/>
                  <a:pt x="589" y="376"/>
                </a:cubicBezTo>
                <a:cubicBezTo>
                  <a:pt x="589" y="376"/>
                  <a:pt x="589" y="376"/>
                  <a:pt x="591" y="377"/>
                </a:cubicBezTo>
                <a:cubicBezTo>
                  <a:pt x="591" y="377"/>
                  <a:pt x="591" y="377"/>
                  <a:pt x="589" y="377"/>
                </a:cubicBezTo>
                <a:cubicBezTo>
                  <a:pt x="589" y="377"/>
                  <a:pt x="589" y="377"/>
                  <a:pt x="589" y="378"/>
                </a:cubicBezTo>
                <a:cubicBezTo>
                  <a:pt x="589" y="378"/>
                  <a:pt x="589" y="378"/>
                  <a:pt x="589" y="379"/>
                </a:cubicBezTo>
                <a:cubicBezTo>
                  <a:pt x="589" y="379"/>
                  <a:pt x="589" y="379"/>
                  <a:pt x="590" y="379"/>
                </a:cubicBezTo>
                <a:cubicBezTo>
                  <a:pt x="590" y="379"/>
                  <a:pt x="590" y="379"/>
                  <a:pt x="590" y="380"/>
                </a:cubicBezTo>
                <a:cubicBezTo>
                  <a:pt x="590" y="380"/>
                  <a:pt x="590" y="380"/>
                  <a:pt x="590" y="382"/>
                </a:cubicBezTo>
                <a:cubicBezTo>
                  <a:pt x="590" y="382"/>
                  <a:pt x="590" y="382"/>
                  <a:pt x="592" y="386"/>
                </a:cubicBezTo>
                <a:cubicBezTo>
                  <a:pt x="592" y="386"/>
                  <a:pt x="592" y="386"/>
                  <a:pt x="594" y="386"/>
                </a:cubicBezTo>
                <a:cubicBezTo>
                  <a:pt x="594" y="386"/>
                  <a:pt x="594" y="386"/>
                  <a:pt x="594" y="385"/>
                </a:cubicBezTo>
                <a:cubicBezTo>
                  <a:pt x="594" y="385"/>
                  <a:pt x="594" y="385"/>
                  <a:pt x="594" y="384"/>
                </a:cubicBezTo>
                <a:cubicBezTo>
                  <a:pt x="594" y="384"/>
                  <a:pt x="594" y="384"/>
                  <a:pt x="593" y="385"/>
                </a:cubicBezTo>
                <a:cubicBezTo>
                  <a:pt x="593" y="385"/>
                  <a:pt x="593" y="385"/>
                  <a:pt x="593" y="383"/>
                </a:cubicBezTo>
                <a:cubicBezTo>
                  <a:pt x="593" y="383"/>
                  <a:pt x="593" y="383"/>
                  <a:pt x="592" y="381"/>
                </a:cubicBezTo>
                <a:cubicBezTo>
                  <a:pt x="592" y="381"/>
                  <a:pt x="592" y="381"/>
                  <a:pt x="592" y="379"/>
                </a:cubicBezTo>
                <a:cubicBezTo>
                  <a:pt x="592" y="379"/>
                  <a:pt x="592" y="379"/>
                  <a:pt x="592" y="378"/>
                </a:cubicBezTo>
                <a:cubicBezTo>
                  <a:pt x="592" y="378"/>
                  <a:pt x="592" y="378"/>
                  <a:pt x="593" y="376"/>
                </a:cubicBezTo>
                <a:cubicBezTo>
                  <a:pt x="593" y="376"/>
                  <a:pt x="593" y="376"/>
                  <a:pt x="594" y="376"/>
                </a:cubicBezTo>
                <a:cubicBezTo>
                  <a:pt x="594" y="376"/>
                  <a:pt x="594" y="376"/>
                  <a:pt x="594" y="375"/>
                </a:cubicBezTo>
                <a:cubicBezTo>
                  <a:pt x="594" y="375"/>
                  <a:pt x="594" y="375"/>
                  <a:pt x="593" y="375"/>
                </a:cubicBezTo>
                <a:cubicBezTo>
                  <a:pt x="593" y="375"/>
                  <a:pt x="593" y="375"/>
                  <a:pt x="592" y="375"/>
                </a:cubicBezTo>
                <a:cubicBezTo>
                  <a:pt x="592" y="375"/>
                  <a:pt x="592" y="375"/>
                  <a:pt x="591" y="375"/>
                </a:cubicBezTo>
                <a:cubicBezTo>
                  <a:pt x="591" y="375"/>
                  <a:pt x="591" y="375"/>
                  <a:pt x="592" y="374"/>
                </a:cubicBezTo>
                <a:cubicBezTo>
                  <a:pt x="592" y="374"/>
                  <a:pt x="592" y="374"/>
                  <a:pt x="593" y="374"/>
                </a:cubicBezTo>
                <a:cubicBezTo>
                  <a:pt x="593" y="374"/>
                  <a:pt x="593" y="374"/>
                  <a:pt x="594" y="373"/>
                </a:cubicBezTo>
                <a:cubicBezTo>
                  <a:pt x="594" y="373"/>
                  <a:pt x="594" y="373"/>
                  <a:pt x="594" y="371"/>
                </a:cubicBezTo>
                <a:cubicBezTo>
                  <a:pt x="594" y="371"/>
                  <a:pt x="594" y="371"/>
                  <a:pt x="596" y="369"/>
                </a:cubicBezTo>
                <a:cubicBezTo>
                  <a:pt x="596" y="369"/>
                  <a:pt x="596" y="369"/>
                  <a:pt x="596" y="367"/>
                </a:cubicBezTo>
                <a:cubicBezTo>
                  <a:pt x="596" y="367"/>
                  <a:pt x="596" y="367"/>
                  <a:pt x="598" y="365"/>
                </a:cubicBezTo>
                <a:cubicBezTo>
                  <a:pt x="598" y="365"/>
                  <a:pt x="598" y="365"/>
                  <a:pt x="596" y="366"/>
                </a:cubicBezTo>
                <a:cubicBezTo>
                  <a:pt x="596" y="366"/>
                  <a:pt x="596" y="366"/>
                  <a:pt x="595" y="367"/>
                </a:cubicBezTo>
                <a:close/>
                <a:moveTo>
                  <a:pt x="669" y="171"/>
                </a:moveTo>
                <a:cubicBezTo>
                  <a:pt x="669" y="168"/>
                  <a:pt x="669" y="168"/>
                  <a:pt x="669" y="168"/>
                </a:cubicBezTo>
                <a:cubicBezTo>
                  <a:pt x="668" y="169"/>
                  <a:pt x="668" y="169"/>
                  <a:pt x="668" y="169"/>
                </a:cubicBezTo>
                <a:cubicBezTo>
                  <a:pt x="668" y="171"/>
                  <a:pt x="668" y="171"/>
                  <a:pt x="668" y="171"/>
                </a:cubicBezTo>
                <a:cubicBezTo>
                  <a:pt x="669" y="172"/>
                  <a:pt x="669" y="172"/>
                  <a:pt x="669" y="172"/>
                </a:cubicBezTo>
                <a:cubicBezTo>
                  <a:pt x="669" y="171"/>
                  <a:pt x="669" y="171"/>
                  <a:pt x="669" y="171"/>
                </a:cubicBezTo>
                <a:close/>
                <a:moveTo>
                  <a:pt x="675" y="171"/>
                </a:moveTo>
                <a:cubicBezTo>
                  <a:pt x="676" y="171"/>
                  <a:pt x="676" y="171"/>
                  <a:pt x="676" y="171"/>
                </a:cubicBezTo>
                <a:cubicBezTo>
                  <a:pt x="680" y="168"/>
                  <a:pt x="680" y="168"/>
                  <a:pt x="680" y="168"/>
                </a:cubicBezTo>
                <a:cubicBezTo>
                  <a:pt x="682" y="167"/>
                  <a:pt x="682" y="167"/>
                  <a:pt x="682" y="167"/>
                </a:cubicBezTo>
                <a:cubicBezTo>
                  <a:pt x="683" y="165"/>
                  <a:pt x="683" y="165"/>
                  <a:pt x="683" y="165"/>
                </a:cubicBezTo>
                <a:cubicBezTo>
                  <a:pt x="682" y="166"/>
                  <a:pt x="682" y="166"/>
                  <a:pt x="682" y="166"/>
                </a:cubicBezTo>
                <a:cubicBezTo>
                  <a:pt x="681" y="165"/>
                  <a:pt x="681" y="165"/>
                  <a:pt x="681" y="165"/>
                </a:cubicBezTo>
                <a:cubicBezTo>
                  <a:pt x="681" y="163"/>
                  <a:pt x="681" y="163"/>
                  <a:pt x="681" y="163"/>
                </a:cubicBezTo>
                <a:cubicBezTo>
                  <a:pt x="680" y="163"/>
                  <a:pt x="680" y="163"/>
                  <a:pt x="680" y="163"/>
                </a:cubicBezTo>
                <a:cubicBezTo>
                  <a:pt x="679" y="165"/>
                  <a:pt x="679" y="165"/>
                  <a:pt x="679" y="165"/>
                </a:cubicBezTo>
                <a:cubicBezTo>
                  <a:pt x="678" y="165"/>
                  <a:pt x="678" y="165"/>
                  <a:pt x="678" y="165"/>
                </a:cubicBezTo>
                <a:cubicBezTo>
                  <a:pt x="678" y="166"/>
                  <a:pt x="678" y="166"/>
                  <a:pt x="678" y="166"/>
                </a:cubicBezTo>
                <a:cubicBezTo>
                  <a:pt x="677" y="166"/>
                  <a:pt x="677" y="166"/>
                  <a:pt x="677" y="166"/>
                </a:cubicBezTo>
                <a:cubicBezTo>
                  <a:pt x="677" y="167"/>
                  <a:pt x="677" y="167"/>
                  <a:pt x="677" y="167"/>
                </a:cubicBezTo>
                <a:cubicBezTo>
                  <a:pt x="677" y="168"/>
                  <a:pt x="677" y="168"/>
                  <a:pt x="677" y="168"/>
                </a:cubicBezTo>
                <a:cubicBezTo>
                  <a:pt x="676" y="167"/>
                  <a:pt x="676" y="167"/>
                  <a:pt x="676" y="167"/>
                </a:cubicBezTo>
                <a:cubicBezTo>
                  <a:pt x="676" y="166"/>
                  <a:pt x="676" y="166"/>
                  <a:pt x="676" y="166"/>
                </a:cubicBezTo>
                <a:cubicBezTo>
                  <a:pt x="676" y="165"/>
                  <a:pt x="676" y="165"/>
                  <a:pt x="676" y="165"/>
                </a:cubicBezTo>
                <a:cubicBezTo>
                  <a:pt x="675" y="166"/>
                  <a:pt x="675" y="166"/>
                  <a:pt x="675" y="166"/>
                </a:cubicBezTo>
                <a:cubicBezTo>
                  <a:pt x="674" y="166"/>
                  <a:pt x="674" y="166"/>
                  <a:pt x="674" y="166"/>
                </a:cubicBezTo>
                <a:cubicBezTo>
                  <a:pt x="674" y="167"/>
                  <a:pt x="674" y="167"/>
                  <a:pt x="674" y="167"/>
                </a:cubicBezTo>
                <a:cubicBezTo>
                  <a:pt x="673" y="168"/>
                  <a:pt x="673" y="168"/>
                  <a:pt x="673" y="168"/>
                </a:cubicBezTo>
                <a:cubicBezTo>
                  <a:pt x="673" y="170"/>
                  <a:pt x="673" y="170"/>
                  <a:pt x="673" y="170"/>
                </a:cubicBezTo>
                <a:cubicBezTo>
                  <a:pt x="673" y="171"/>
                  <a:pt x="673" y="171"/>
                  <a:pt x="673" y="171"/>
                </a:cubicBezTo>
                <a:cubicBezTo>
                  <a:pt x="673" y="172"/>
                  <a:pt x="673" y="172"/>
                  <a:pt x="673" y="172"/>
                </a:cubicBezTo>
                <a:cubicBezTo>
                  <a:pt x="674" y="172"/>
                  <a:pt x="674" y="172"/>
                  <a:pt x="674" y="172"/>
                </a:cubicBezTo>
                <a:cubicBezTo>
                  <a:pt x="675" y="171"/>
                  <a:pt x="675" y="171"/>
                  <a:pt x="675" y="171"/>
                </a:cubicBezTo>
                <a:close/>
                <a:moveTo>
                  <a:pt x="676" y="163"/>
                </a:moveTo>
                <a:cubicBezTo>
                  <a:pt x="676" y="163"/>
                  <a:pt x="676" y="163"/>
                  <a:pt x="675" y="164"/>
                </a:cubicBezTo>
                <a:cubicBezTo>
                  <a:pt x="675" y="164"/>
                  <a:pt x="675" y="164"/>
                  <a:pt x="676" y="164"/>
                </a:cubicBezTo>
                <a:cubicBezTo>
                  <a:pt x="676" y="164"/>
                  <a:pt x="676" y="164"/>
                  <a:pt x="676" y="163"/>
                </a:cubicBezTo>
                <a:close/>
                <a:moveTo>
                  <a:pt x="803" y="79"/>
                </a:moveTo>
                <a:cubicBezTo>
                  <a:pt x="803" y="79"/>
                  <a:pt x="803" y="79"/>
                  <a:pt x="802" y="78"/>
                </a:cubicBezTo>
                <a:cubicBezTo>
                  <a:pt x="802" y="78"/>
                  <a:pt x="802" y="78"/>
                  <a:pt x="801" y="78"/>
                </a:cubicBezTo>
                <a:cubicBezTo>
                  <a:pt x="801" y="78"/>
                  <a:pt x="801" y="78"/>
                  <a:pt x="801" y="79"/>
                </a:cubicBezTo>
                <a:cubicBezTo>
                  <a:pt x="801" y="79"/>
                  <a:pt x="801" y="79"/>
                  <a:pt x="802" y="79"/>
                </a:cubicBezTo>
                <a:cubicBezTo>
                  <a:pt x="802" y="79"/>
                  <a:pt x="802" y="79"/>
                  <a:pt x="803" y="79"/>
                </a:cubicBezTo>
                <a:close/>
                <a:moveTo>
                  <a:pt x="895" y="86"/>
                </a:moveTo>
                <a:cubicBezTo>
                  <a:pt x="895" y="86"/>
                  <a:pt x="895" y="86"/>
                  <a:pt x="896" y="85"/>
                </a:cubicBezTo>
                <a:cubicBezTo>
                  <a:pt x="896" y="85"/>
                  <a:pt x="896" y="85"/>
                  <a:pt x="897" y="82"/>
                </a:cubicBezTo>
                <a:cubicBezTo>
                  <a:pt x="897" y="82"/>
                  <a:pt x="897" y="82"/>
                  <a:pt x="896" y="81"/>
                </a:cubicBezTo>
                <a:cubicBezTo>
                  <a:pt x="896" y="81"/>
                  <a:pt x="896" y="81"/>
                  <a:pt x="897" y="80"/>
                </a:cubicBezTo>
                <a:cubicBezTo>
                  <a:pt x="897" y="80"/>
                  <a:pt x="897" y="80"/>
                  <a:pt x="897" y="79"/>
                </a:cubicBezTo>
                <a:cubicBezTo>
                  <a:pt x="897" y="79"/>
                  <a:pt x="897" y="79"/>
                  <a:pt x="898" y="76"/>
                </a:cubicBezTo>
                <a:cubicBezTo>
                  <a:pt x="898" y="76"/>
                  <a:pt x="898" y="76"/>
                  <a:pt x="897" y="74"/>
                </a:cubicBezTo>
                <a:cubicBezTo>
                  <a:pt x="897" y="74"/>
                  <a:pt x="897" y="74"/>
                  <a:pt x="897" y="73"/>
                </a:cubicBezTo>
                <a:cubicBezTo>
                  <a:pt x="897" y="73"/>
                  <a:pt x="897" y="73"/>
                  <a:pt x="896" y="74"/>
                </a:cubicBezTo>
                <a:cubicBezTo>
                  <a:pt x="896" y="74"/>
                  <a:pt x="896" y="74"/>
                  <a:pt x="896" y="75"/>
                </a:cubicBezTo>
                <a:cubicBezTo>
                  <a:pt x="896" y="75"/>
                  <a:pt x="896" y="75"/>
                  <a:pt x="895" y="77"/>
                </a:cubicBezTo>
                <a:cubicBezTo>
                  <a:pt x="895" y="77"/>
                  <a:pt x="895" y="77"/>
                  <a:pt x="895" y="78"/>
                </a:cubicBezTo>
                <a:cubicBezTo>
                  <a:pt x="895" y="78"/>
                  <a:pt x="895" y="78"/>
                  <a:pt x="895" y="79"/>
                </a:cubicBezTo>
                <a:cubicBezTo>
                  <a:pt x="895" y="79"/>
                  <a:pt x="895" y="79"/>
                  <a:pt x="893" y="80"/>
                </a:cubicBezTo>
                <a:cubicBezTo>
                  <a:pt x="893" y="80"/>
                  <a:pt x="893" y="80"/>
                  <a:pt x="893" y="81"/>
                </a:cubicBezTo>
                <a:cubicBezTo>
                  <a:pt x="893" y="81"/>
                  <a:pt x="893" y="81"/>
                  <a:pt x="893" y="83"/>
                </a:cubicBezTo>
                <a:cubicBezTo>
                  <a:pt x="893" y="83"/>
                  <a:pt x="893" y="83"/>
                  <a:pt x="892" y="84"/>
                </a:cubicBezTo>
                <a:cubicBezTo>
                  <a:pt x="892" y="84"/>
                  <a:pt x="892" y="84"/>
                  <a:pt x="893" y="86"/>
                </a:cubicBezTo>
                <a:cubicBezTo>
                  <a:pt x="893" y="86"/>
                  <a:pt x="893" y="86"/>
                  <a:pt x="895" y="86"/>
                </a:cubicBezTo>
                <a:close/>
                <a:moveTo>
                  <a:pt x="891" y="95"/>
                </a:moveTo>
                <a:cubicBezTo>
                  <a:pt x="891" y="95"/>
                  <a:pt x="891" y="95"/>
                  <a:pt x="891" y="94"/>
                </a:cubicBezTo>
                <a:cubicBezTo>
                  <a:pt x="891" y="94"/>
                  <a:pt x="891" y="94"/>
                  <a:pt x="890" y="94"/>
                </a:cubicBezTo>
                <a:cubicBezTo>
                  <a:pt x="890" y="94"/>
                  <a:pt x="890" y="94"/>
                  <a:pt x="889" y="94"/>
                </a:cubicBezTo>
                <a:cubicBezTo>
                  <a:pt x="889" y="94"/>
                  <a:pt x="889" y="94"/>
                  <a:pt x="888" y="95"/>
                </a:cubicBezTo>
                <a:cubicBezTo>
                  <a:pt x="888" y="95"/>
                  <a:pt x="888" y="95"/>
                  <a:pt x="888" y="96"/>
                </a:cubicBezTo>
                <a:cubicBezTo>
                  <a:pt x="888" y="96"/>
                  <a:pt x="888" y="96"/>
                  <a:pt x="888" y="97"/>
                </a:cubicBezTo>
                <a:cubicBezTo>
                  <a:pt x="888" y="97"/>
                  <a:pt x="888" y="97"/>
                  <a:pt x="887" y="98"/>
                </a:cubicBezTo>
                <a:cubicBezTo>
                  <a:pt x="887" y="98"/>
                  <a:pt x="887" y="98"/>
                  <a:pt x="887" y="100"/>
                </a:cubicBezTo>
                <a:cubicBezTo>
                  <a:pt x="887" y="100"/>
                  <a:pt x="887" y="100"/>
                  <a:pt x="888" y="100"/>
                </a:cubicBezTo>
                <a:cubicBezTo>
                  <a:pt x="888" y="100"/>
                  <a:pt x="888" y="100"/>
                  <a:pt x="890" y="100"/>
                </a:cubicBezTo>
                <a:cubicBezTo>
                  <a:pt x="890" y="100"/>
                  <a:pt x="890" y="100"/>
                  <a:pt x="891" y="101"/>
                </a:cubicBezTo>
                <a:cubicBezTo>
                  <a:pt x="891" y="101"/>
                  <a:pt x="891" y="101"/>
                  <a:pt x="892" y="101"/>
                </a:cubicBezTo>
                <a:cubicBezTo>
                  <a:pt x="892" y="101"/>
                  <a:pt x="892" y="101"/>
                  <a:pt x="892" y="100"/>
                </a:cubicBezTo>
                <a:cubicBezTo>
                  <a:pt x="892" y="100"/>
                  <a:pt x="892" y="100"/>
                  <a:pt x="892" y="99"/>
                </a:cubicBezTo>
                <a:cubicBezTo>
                  <a:pt x="892" y="99"/>
                  <a:pt x="892" y="99"/>
                  <a:pt x="892" y="98"/>
                </a:cubicBezTo>
                <a:cubicBezTo>
                  <a:pt x="892" y="98"/>
                  <a:pt x="892" y="98"/>
                  <a:pt x="892" y="97"/>
                </a:cubicBezTo>
                <a:cubicBezTo>
                  <a:pt x="892" y="97"/>
                  <a:pt x="892" y="97"/>
                  <a:pt x="892" y="96"/>
                </a:cubicBezTo>
                <a:cubicBezTo>
                  <a:pt x="892" y="96"/>
                  <a:pt x="892" y="96"/>
                  <a:pt x="891" y="96"/>
                </a:cubicBezTo>
                <a:cubicBezTo>
                  <a:pt x="891" y="96"/>
                  <a:pt x="891" y="96"/>
                  <a:pt x="891" y="95"/>
                </a:cubicBezTo>
                <a:close/>
                <a:moveTo>
                  <a:pt x="915" y="68"/>
                </a:moveTo>
                <a:cubicBezTo>
                  <a:pt x="915" y="68"/>
                  <a:pt x="915" y="68"/>
                  <a:pt x="914" y="68"/>
                </a:cubicBezTo>
                <a:cubicBezTo>
                  <a:pt x="914" y="68"/>
                  <a:pt x="914" y="68"/>
                  <a:pt x="913" y="69"/>
                </a:cubicBezTo>
                <a:cubicBezTo>
                  <a:pt x="913" y="69"/>
                  <a:pt x="913" y="69"/>
                  <a:pt x="912" y="70"/>
                </a:cubicBezTo>
                <a:cubicBezTo>
                  <a:pt x="912" y="70"/>
                  <a:pt x="912" y="70"/>
                  <a:pt x="913" y="70"/>
                </a:cubicBezTo>
                <a:cubicBezTo>
                  <a:pt x="913" y="70"/>
                  <a:pt x="913" y="70"/>
                  <a:pt x="914" y="69"/>
                </a:cubicBezTo>
                <a:cubicBezTo>
                  <a:pt x="914" y="69"/>
                  <a:pt x="914" y="69"/>
                  <a:pt x="915" y="68"/>
                </a:cubicBezTo>
                <a:close/>
                <a:moveTo>
                  <a:pt x="899" y="104"/>
                </a:moveTo>
                <a:cubicBezTo>
                  <a:pt x="899" y="104"/>
                  <a:pt x="899" y="104"/>
                  <a:pt x="899" y="103"/>
                </a:cubicBezTo>
                <a:cubicBezTo>
                  <a:pt x="899" y="103"/>
                  <a:pt x="899" y="103"/>
                  <a:pt x="898" y="102"/>
                </a:cubicBezTo>
                <a:cubicBezTo>
                  <a:pt x="898" y="102"/>
                  <a:pt x="898" y="102"/>
                  <a:pt x="897" y="102"/>
                </a:cubicBezTo>
                <a:cubicBezTo>
                  <a:pt x="897" y="102"/>
                  <a:pt x="897" y="102"/>
                  <a:pt x="896" y="103"/>
                </a:cubicBezTo>
                <a:cubicBezTo>
                  <a:pt x="896" y="103"/>
                  <a:pt x="896" y="103"/>
                  <a:pt x="895" y="104"/>
                </a:cubicBezTo>
                <a:cubicBezTo>
                  <a:pt x="895" y="104"/>
                  <a:pt x="895" y="104"/>
                  <a:pt x="895" y="105"/>
                </a:cubicBezTo>
                <a:cubicBezTo>
                  <a:pt x="895" y="105"/>
                  <a:pt x="895" y="105"/>
                  <a:pt x="896" y="105"/>
                </a:cubicBezTo>
                <a:cubicBezTo>
                  <a:pt x="896" y="105"/>
                  <a:pt x="896" y="105"/>
                  <a:pt x="897" y="106"/>
                </a:cubicBezTo>
                <a:cubicBezTo>
                  <a:pt x="897" y="106"/>
                  <a:pt x="897" y="106"/>
                  <a:pt x="896" y="106"/>
                </a:cubicBezTo>
                <a:cubicBezTo>
                  <a:pt x="896" y="106"/>
                  <a:pt x="896" y="106"/>
                  <a:pt x="895" y="107"/>
                </a:cubicBezTo>
                <a:cubicBezTo>
                  <a:pt x="895" y="107"/>
                  <a:pt x="895" y="107"/>
                  <a:pt x="894" y="107"/>
                </a:cubicBezTo>
                <a:cubicBezTo>
                  <a:pt x="894" y="107"/>
                  <a:pt x="894" y="107"/>
                  <a:pt x="894" y="109"/>
                </a:cubicBezTo>
                <a:cubicBezTo>
                  <a:pt x="894" y="109"/>
                  <a:pt x="894" y="109"/>
                  <a:pt x="895" y="109"/>
                </a:cubicBezTo>
                <a:cubicBezTo>
                  <a:pt x="895" y="109"/>
                  <a:pt x="895" y="109"/>
                  <a:pt x="895" y="110"/>
                </a:cubicBezTo>
                <a:cubicBezTo>
                  <a:pt x="895" y="110"/>
                  <a:pt x="895" y="110"/>
                  <a:pt x="893" y="111"/>
                </a:cubicBezTo>
                <a:cubicBezTo>
                  <a:pt x="893" y="111"/>
                  <a:pt x="893" y="111"/>
                  <a:pt x="893" y="112"/>
                </a:cubicBezTo>
                <a:cubicBezTo>
                  <a:pt x="893" y="112"/>
                  <a:pt x="893" y="112"/>
                  <a:pt x="894" y="112"/>
                </a:cubicBezTo>
                <a:cubicBezTo>
                  <a:pt x="894" y="112"/>
                  <a:pt x="894" y="112"/>
                  <a:pt x="894" y="114"/>
                </a:cubicBezTo>
                <a:cubicBezTo>
                  <a:pt x="894" y="114"/>
                  <a:pt x="894" y="114"/>
                  <a:pt x="893" y="114"/>
                </a:cubicBezTo>
                <a:cubicBezTo>
                  <a:pt x="893" y="114"/>
                  <a:pt x="893" y="114"/>
                  <a:pt x="893" y="112"/>
                </a:cubicBezTo>
                <a:cubicBezTo>
                  <a:pt x="893" y="112"/>
                  <a:pt x="893" y="112"/>
                  <a:pt x="892" y="112"/>
                </a:cubicBezTo>
                <a:cubicBezTo>
                  <a:pt x="892" y="112"/>
                  <a:pt x="892" y="112"/>
                  <a:pt x="892" y="111"/>
                </a:cubicBezTo>
                <a:cubicBezTo>
                  <a:pt x="892" y="111"/>
                  <a:pt x="892" y="111"/>
                  <a:pt x="891" y="111"/>
                </a:cubicBezTo>
                <a:cubicBezTo>
                  <a:pt x="891" y="111"/>
                  <a:pt x="891" y="111"/>
                  <a:pt x="890" y="111"/>
                </a:cubicBezTo>
                <a:cubicBezTo>
                  <a:pt x="890" y="111"/>
                  <a:pt x="890" y="111"/>
                  <a:pt x="890" y="112"/>
                </a:cubicBezTo>
                <a:cubicBezTo>
                  <a:pt x="890" y="112"/>
                  <a:pt x="890" y="112"/>
                  <a:pt x="889" y="113"/>
                </a:cubicBezTo>
                <a:cubicBezTo>
                  <a:pt x="889" y="113"/>
                  <a:pt x="889" y="113"/>
                  <a:pt x="888" y="113"/>
                </a:cubicBezTo>
                <a:cubicBezTo>
                  <a:pt x="888" y="113"/>
                  <a:pt x="888" y="113"/>
                  <a:pt x="888" y="114"/>
                </a:cubicBezTo>
                <a:cubicBezTo>
                  <a:pt x="888" y="114"/>
                  <a:pt x="888" y="114"/>
                  <a:pt x="887" y="114"/>
                </a:cubicBezTo>
                <a:cubicBezTo>
                  <a:pt x="887" y="114"/>
                  <a:pt x="887" y="114"/>
                  <a:pt x="887" y="115"/>
                </a:cubicBezTo>
                <a:cubicBezTo>
                  <a:pt x="887" y="115"/>
                  <a:pt x="887" y="115"/>
                  <a:pt x="888" y="115"/>
                </a:cubicBezTo>
                <a:cubicBezTo>
                  <a:pt x="888" y="115"/>
                  <a:pt x="888" y="115"/>
                  <a:pt x="888" y="116"/>
                </a:cubicBezTo>
                <a:cubicBezTo>
                  <a:pt x="888" y="116"/>
                  <a:pt x="888" y="116"/>
                  <a:pt x="889" y="115"/>
                </a:cubicBezTo>
                <a:cubicBezTo>
                  <a:pt x="889" y="115"/>
                  <a:pt x="889" y="115"/>
                  <a:pt x="890" y="115"/>
                </a:cubicBezTo>
                <a:cubicBezTo>
                  <a:pt x="890" y="115"/>
                  <a:pt x="890" y="115"/>
                  <a:pt x="891" y="116"/>
                </a:cubicBezTo>
                <a:cubicBezTo>
                  <a:pt x="891" y="116"/>
                  <a:pt x="891" y="116"/>
                  <a:pt x="892" y="115"/>
                </a:cubicBezTo>
                <a:cubicBezTo>
                  <a:pt x="892" y="115"/>
                  <a:pt x="892" y="115"/>
                  <a:pt x="893" y="116"/>
                </a:cubicBezTo>
                <a:cubicBezTo>
                  <a:pt x="893" y="116"/>
                  <a:pt x="893" y="116"/>
                  <a:pt x="895" y="116"/>
                </a:cubicBezTo>
                <a:cubicBezTo>
                  <a:pt x="895" y="116"/>
                  <a:pt x="895" y="116"/>
                  <a:pt x="896" y="116"/>
                </a:cubicBezTo>
                <a:cubicBezTo>
                  <a:pt x="896" y="116"/>
                  <a:pt x="896" y="116"/>
                  <a:pt x="897" y="116"/>
                </a:cubicBezTo>
                <a:cubicBezTo>
                  <a:pt x="897" y="116"/>
                  <a:pt x="897" y="116"/>
                  <a:pt x="902" y="117"/>
                </a:cubicBezTo>
                <a:cubicBezTo>
                  <a:pt x="902" y="117"/>
                  <a:pt x="902" y="117"/>
                  <a:pt x="903" y="118"/>
                </a:cubicBezTo>
                <a:cubicBezTo>
                  <a:pt x="903" y="118"/>
                  <a:pt x="903" y="118"/>
                  <a:pt x="902" y="118"/>
                </a:cubicBezTo>
                <a:cubicBezTo>
                  <a:pt x="902" y="118"/>
                  <a:pt x="902" y="118"/>
                  <a:pt x="900" y="118"/>
                </a:cubicBezTo>
                <a:cubicBezTo>
                  <a:pt x="900" y="118"/>
                  <a:pt x="900" y="118"/>
                  <a:pt x="899" y="118"/>
                </a:cubicBezTo>
                <a:cubicBezTo>
                  <a:pt x="899" y="118"/>
                  <a:pt x="899" y="118"/>
                  <a:pt x="898" y="119"/>
                </a:cubicBezTo>
                <a:cubicBezTo>
                  <a:pt x="898" y="119"/>
                  <a:pt x="898" y="119"/>
                  <a:pt x="896" y="119"/>
                </a:cubicBezTo>
                <a:cubicBezTo>
                  <a:pt x="896" y="119"/>
                  <a:pt x="896" y="119"/>
                  <a:pt x="897" y="120"/>
                </a:cubicBezTo>
                <a:cubicBezTo>
                  <a:pt x="897" y="120"/>
                  <a:pt x="897" y="120"/>
                  <a:pt x="896" y="120"/>
                </a:cubicBezTo>
                <a:cubicBezTo>
                  <a:pt x="896" y="120"/>
                  <a:pt x="896" y="120"/>
                  <a:pt x="894" y="120"/>
                </a:cubicBezTo>
                <a:cubicBezTo>
                  <a:pt x="894" y="120"/>
                  <a:pt x="894" y="120"/>
                  <a:pt x="893" y="119"/>
                </a:cubicBezTo>
                <a:cubicBezTo>
                  <a:pt x="893" y="119"/>
                  <a:pt x="893" y="119"/>
                  <a:pt x="893" y="120"/>
                </a:cubicBezTo>
                <a:cubicBezTo>
                  <a:pt x="893" y="120"/>
                  <a:pt x="893" y="120"/>
                  <a:pt x="892" y="121"/>
                </a:cubicBezTo>
                <a:cubicBezTo>
                  <a:pt x="892" y="121"/>
                  <a:pt x="892" y="121"/>
                  <a:pt x="892" y="120"/>
                </a:cubicBezTo>
                <a:cubicBezTo>
                  <a:pt x="892" y="120"/>
                  <a:pt x="892" y="120"/>
                  <a:pt x="891" y="120"/>
                </a:cubicBezTo>
                <a:cubicBezTo>
                  <a:pt x="891" y="120"/>
                  <a:pt x="891" y="120"/>
                  <a:pt x="891" y="121"/>
                </a:cubicBezTo>
                <a:cubicBezTo>
                  <a:pt x="891" y="121"/>
                  <a:pt x="891" y="121"/>
                  <a:pt x="892" y="122"/>
                </a:cubicBezTo>
                <a:cubicBezTo>
                  <a:pt x="892" y="122"/>
                  <a:pt x="892" y="122"/>
                  <a:pt x="893" y="122"/>
                </a:cubicBezTo>
                <a:cubicBezTo>
                  <a:pt x="893" y="122"/>
                  <a:pt x="893" y="122"/>
                  <a:pt x="893" y="123"/>
                </a:cubicBezTo>
                <a:cubicBezTo>
                  <a:pt x="893" y="123"/>
                  <a:pt x="893" y="123"/>
                  <a:pt x="893" y="124"/>
                </a:cubicBezTo>
                <a:cubicBezTo>
                  <a:pt x="893" y="124"/>
                  <a:pt x="893" y="124"/>
                  <a:pt x="892" y="123"/>
                </a:cubicBezTo>
                <a:cubicBezTo>
                  <a:pt x="892" y="123"/>
                  <a:pt x="892" y="123"/>
                  <a:pt x="891" y="124"/>
                </a:cubicBezTo>
                <a:cubicBezTo>
                  <a:pt x="891" y="124"/>
                  <a:pt x="891" y="124"/>
                  <a:pt x="891" y="125"/>
                </a:cubicBezTo>
                <a:cubicBezTo>
                  <a:pt x="891" y="125"/>
                  <a:pt x="891" y="125"/>
                  <a:pt x="891" y="127"/>
                </a:cubicBezTo>
                <a:cubicBezTo>
                  <a:pt x="891" y="127"/>
                  <a:pt x="891" y="127"/>
                  <a:pt x="892" y="127"/>
                </a:cubicBezTo>
                <a:cubicBezTo>
                  <a:pt x="892" y="127"/>
                  <a:pt x="892" y="127"/>
                  <a:pt x="893" y="127"/>
                </a:cubicBezTo>
                <a:cubicBezTo>
                  <a:pt x="893" y="127"/>
                  <a:pt x="893" y="127"/>
                  <a:pt x="894" y="128"/>
                </a:cubicBezTo>
                <a:cubicBezTo>
                  <a:pt x="894" y="128"/>
                  <a:pt x="894" y="128"/>
                  <a:pt x="895" y="127"/>
                </a:cubicBezTo>
                <a:cubicBezTo>
                  <a:pt x="895" y="127"/>
                  <a:pt x="895" y="127"/>
                  <a:pt x="895" y="128"/>
                </a:cubicBezTo>
                <a:cubicBezTo>
                  <a:pt x="895" y="128"/>
                  <a:pt x="895" y="128"/>
                  <a:pt x="896" y="128"/>
                </a:cubicBezTo>
                <a:cubicBezTo>
                  <a:pt x="896" y="128"/>
                  <a:pt x="896" y="128"/>
                  <a:pt x="897" y="127"/>
                </a:cubicBezTo>
                <a:cubicBezTo>
                  <a:pt x="897" y="127"/>
                  <a:pt x="897" y="127"/>
                  <a:pt x="897" y="128"/>
                </a:cubicBezTo>
                <a:cubicBezTo>
                  <a:pt x="897" y="128"/>
                  <a:pt x="897" y="128"/>
                  <a:pt x="898" y="129"/>
                </a:cubicBezTo>
                <a:cubicBezTo>
                  <a:pt x="898" y="129"/>
                  <a:pt x="898" y="129"/>
                  <a:pt x="901" y="129"/>
                </a:cubicBezTo>
                <a:cubicBezTo>
                  <a:pt x="901" y="129"/>
                  <a:pt x="901" y="129"/>
                  <a:pt x="902" y="128"/>
                </a:cubicBezTo>
                <a:cubicBezTo>
                  <a:pt x="902" y="128"/>
                  <a:pt x="902" y="128"/>
                  <a:pt x="902" y="127"/>
                </a:cubicBezTo>
                <a:cubicBezTo>
                  <a:pt x="902" y="127"/>
                  <a:pt x="902" y="127"/>
                  <a:pt x="902" y="126"/>
                </a:cubicBezTo>
                <a:cubicBezTo>
                  <a:pt x="902" y="126"/>
                  <a:pt x="902" y="126"/>
                  <a:pt x="903" y="127"/>
                </a:cubicBezTo>
                <a:cubicBezTo>
                  <a:pt x="903" y="127"/>
                  <a:pt x="903" y="127"/>
                  <a:pt x="903" y="129"/>
                </a:cubicBezTo>
                <a:cubicBezTo>
                  <a:pt x="903" y="129"/>
                  <a:pt x="903" y="129"/>
                  <a:pt x="904" y="128"/>
                </a:cubicBezTo>
                <a:cubicBezTo>
                  <a:pt x="904" y="128"/>
                  <a:pt x="904" y="128"/>
                  <a:pt x="904" y="127"/>
                </a:cubicBezTo>
                <a:cubicBezTo>
                  <a:pt x="904" y="127"/>
                  <a:pt x="904" y="127"/>
                  <a:pt x="904" y="126"/>
                </a:cubicBezTo>
                <a:cubicBezTo>
                  <a:pt x="904" y="126"/>
                  <a:pt x="904" y="126"/>
                  <a:pt x="904" y="125"/>
                </a:cubicBezTo>
                <a:cubicBezTo>
                  <a:pt x="904" y="125"/>
                  <a:pt x="904" y="125"/>
                  <a:pt x="903" y="125"/>
                </a:cubicBezTo>
                <a:cubicBezTo>
                  <a:pt x="903" y="125"/>
                  <a:pt x="903" y="125"/>
                  <a:pt x="903" y="124"/>
                </a:cubicBezTo>
                <a:cubicBezTo>
                  <a:pt x="903" y="124"/>
                  <a:pt x="903" y="124"/>
                  <a:pt x="904" y="123"/>
                </a:cubicBezTo>
                <a:cubicBezTo>
                  <a:pt x="904" y="123"/>
                  <a:pt x="904" y="123"/>
                  <a:pt x="905" y="123"/>
                </a:cubicBezTo>
                <a:cubicBezTo>
                  <a:pt x="905" y="123"/>
                  <a:pt x="905" y="123"/>
                  <a:pt x="906" y="122"/>
                </a:cubicBezTo>
                <a:cubicBezTo>
                  <a:pt x="906" y="122"/>
                  <a:pt x="906" y="122"/>
                  <a:pt x="906" y="121"/>
                </a:cubicBezTo>
                <a:cubicBezTo>
                  <a:pt x="906" y="121"/>
                  <a:pt x="906" y="121"/>
                  <a:pt x="907" y="121"/>
                </a:cubicBezTo>
                <a:cubicBezTo>
                  <a:pt x="907" y="121"/>
                  <a:pt x="907" y="121"/>
                  <a:pt x="907" y="122"/>
                </a:cubicBezTo>
                <a:cubicBezTo>
                  <a:pt x="907" y="122"/>
                  <a:pt x="907" y="122"/>
                  <a:pt x="907" y="123"/>
                </a:cubicBezTo>
                <a:cubicBezTo>
                  <a:pt x="907" y="123"/>
                  <a:pt x="907" y="123"/>
                  <a:pt x="908" y="122"/>
                </a:cubicBezTo>
                <a:cubicBezTo>
                  <a:pt x="908" y="122"/>
                  <a:pt x="908" y="122"/>
                  <a:pt x="909" y="120"/>
                </a:cubicBezTo>
                <a:cubicBezTo>
                  <a:pt x="909" y="120"/>
                  <a:pt x="909" y="120"/>
                  <a:pt x="909" y="119"/>
                </a:cubicBezTo>
                <a:cubicBezTo>
                  <a:pt x="909" y="119"/>
                  <a:pt x="909" y="119"/>
                  <a:pt x="908" y="119"/>
                </a:cubicBezTo>
                <a:cubicBezTo>
                  <a:pt x="908" y="119"/>
                  <a:pt x="908" y="119"/>
                  <a:pt x="908" y="118"/>
                </a:cubicBezTo>
                <a:cubicBezTo>
                  <a:pt x="908" y="118"/>
                  <a:pt x="908" y="118"/>
                  <a:pt x="909" y="118"/>
                </a:cubicBezTo>
                <a:cubicBezTo>
                  <a:pt x="909" y="118"/>
                  <a:pt x="909" y="118"/>
                  <a:pt x="910" y="118"/>
                </a:cubicBezTo>
                <a:cubicBezTo>
                  <a:pt x="910" y="118"/>
                  <a:pt x="910" y="118"/>
                  <a:pt x="910" y="117"/>
                </a:cubicBezTo>
                <a:cubicBezTo>
                  <a:pt x="910" y="117"/>
                  <a:pt x="910" y="117"/>
                  <a:pt x="910" y="116"/>
                </a:cubicBezTo>
                <a:cubicBezTo>
                  <a:pt x="910" y="116"/>
                  <a:pt x="910" y="116"/>
                  <a:pt x="911" y="115"/>
                </a:cubicBezTo>
                <a:cubicBezTo>
                  <a:pt x="911" y="115"/>
                  <a:pt x="911" y="115"/>
                  <a:pt x="912" y="114"/>
                </a:cubicBezTo>
                <a:cubicBezTo>
                  <a:pt x="912" y="114"/>
                  <a:pt x="912" y="114"/>
                  <a:pt x="913" y="113"/>
                </a:cubicBezTo>
                <a:cubicBezTo>
                  <a:pt x="913" y="113"/>
                  <a:pt x="913" y="113"/>
                  <a:pt x="914" y="112"/>
                </a:cubicBezTo>
                <a:cubicBezTo>
                  <a:pt x="914" y="112"/>
                  <a:pt x="914" y="112"/>
                  <a:pt x="915" y="111"/>
                </a:cubicBezTo>
                <a:cubicBezTo>
                  <a:pt x="915" y="111"/>
                  <a:pt x="915" y="111"/>
                  <a:pt x="915" y="110"/>
                </a:cubicBezTo>
                <a:cubicBezTo>
                  <a:pt x="915" y="110"/>
                  <a:pt x="915" y="110"/>
                  <a:pt x="916" y="108"/>
                </a:cubicBezTo>
                <a:cubicBezTo>
                  <a:pt x="916" y="108"/>
                  <a:pt x="916" y="108"/>
                  <a:pt x="917" y="107"/>
                </a:cubicBezTo>
                <a:cubicBezTo>
                  <a:pt x="917" y="107"/>
                  <a:pt x="917" y="107"/>
                  <a:pt x="917" y="106"/>
                </a:cubicBezTo>
                <a:cubicBezTo>
                  <a:pt x="917" y="106"/>
                  <a:pt x="917" y="106"/>
                  <a:pt x="917" y="105"/>
                </a:cubicBezTo>
                <a:cubicBezTo>
                  <a:pt x="917" y="105"/>
                  <a:pt x="917" y="105"/>
                  <a:pt x="915" y="104"/>
                </a:cubicBezTo>
                <a:cubicBezTo>
                  <a:pt x="915" y="104"/>
                  <a:pt x="915" y="104"/>
                  <a:pt x="915" y="103"/>
                </a:cubicBezTo>
                <a:cubicBezTo>
                  <a:pt x="915" y="103"/>
                  <a:pt x="915" y="103"/>
                  <a:pt x="916" y="103"/>
                </a:cubicBezTo>
                <a:cubicBezTo>
                  <a:pt x="916" y="103"/>
                  <a:pt x="916" y="103"/>
                  <a:pt x="916" y="102"/>
                </a:cubicBezTo>
                <a:cubicBezTo>
                  <a:pt x="916" y="102"/>
                  <a:pt x="916" y="102"/>
                  <a:pt x="916" y="101"/>
                </a:cubicBezTo>
                <a:cubicBezTo>
                  <a:pt x="916" y="101"/>
                  <a:pt x="916" y="101"/>
                  <a:pt x="915" y="100"/>
                </a:cubicBezTo>
                <a:cubicBezTo>
                  <a:pt x="915" y="100"/>
                  <a:pt x="915" y="100"/>
                  <a:pt x="914" y="100"/>
                </a:cubicBezTo>
                <a:cubicBezTo>
                  <a:pt x="914" y="100"/>
                  <a:pt x="914" y="100"/>
                  <a:pt x="915" y="101"/>
                </a:cubicBezTo>
                <a:cubicBezTo>
                  <a:pt x="915" y="101"/>
                  <a:pt x="915" y="101"/>
                  <a:pt x="915" y="102"/>
                </a:cubicBezTo>
                <a:cubicBezTo>
                  <a:pt x="915" y="102"/>
                  <a:pt x="915" y="102"/>
                  <a:pt x="914" y="102"/>
                </a:cubicBezTo>
                <a:cubicBezTo>
                  <a:pt x="914" y="102"/>
                  <a:pt x="914" y="102"/>
                  <a:pt x="913" y="101"/>
                </a:cubicBezTo>
                <a:cubicBezTo>
                  <a:pt x="913" y="101"/>
                  <a:pt x="913" y="101"/>
                  <a:pt x="912" y="102"/>
                </a:cubicBezTo>
                <a:cubicBezTo>
                  <a:pt x="912" y="102"/>
                  <a:pt x="912" y="102"/>
                  <a:pt x="912" y="104"/>
                </a:cubicBezTo>
                <a:cubicBezTo>
                  <a:pt x="912" y="104"/>
                  <a:pt x="912" y="104"/>
                  <a:pt x="911" y="105"/>
                </a:cubicBezTo>
                <a:cubicBezTo>
                  <a:pt x="911" y="105"/>
                  <a:pt x="911" y="105"/>
                  <a:pt x="910" y="105"/>
                </a:cubicBezTo>
                <a:cubicBezTo>
                  <a:pt x="910" y="105"/>
                  <a:pt x="910" y="105"/>
                  <a:pt x="909" y="104"/>
                </a:cubicBezTo>
                <a:cubicBezTo>
                  <a:pt x="909" y="104"/>
                  <a:pt x="909" y="104"/>
                  <a:pt x="910" y="103"/>
                </a:cubicBezTo>
                <a:cubicBezTo>
                  <a:pt x="910" y="103"/>
                  <a:pt x="910" y="103"/>
                  <a:pt x="911" y="101"/>
                </a:cubicBezTo>
                <a:cubicBezTo>
                  <a:pt x="911" y="101"/>
                  <a:pt x="911" y="101"/>
                  <a:pt x="910" y="100"/>
                </a:cubicBezTo>
                <a:cubicBezTo>
                  <a:pt x="910" y="100"/>
                  <a:pt x="910" y="100"/>
                  <a:pt x="909" y="101"/>
                </a:cubicBezTo>
                <a:cubicBezTo>
                  <a:pt x="909" y="101"/>
                  <a:pt x="909" y="101"/>
                  <a:pt x="908" y="100"/>
                </a:cubicBezTo>
                <a:cubicBezTo>
                  <a:pt x="908" y="100"/>
                  <a:pt x="908" y="100"/>
                  <a:pt x="908" y="99"/>
                </a:cubicBezTo>
                <a:cubicBezTo>
                  <a:pt x="907" y="99"/>
                  <a:pt x="907" y="99"/>
                  <a:pt x="907" y="99"/>
                </a:cubicBezTo>
                <a:cubicBezTo>
                  <a:pt x="906" y="100"/>
                  <a:pt x="906" y="100"/>
                  <a:pt x="906" y="100"/>
                </a:cubicBezTo>
                <a:cubicBezTo>
                  <a:pt x="906" y="100"/>
                  <a:pt x="906" y="100"/>
                  <a:pt x="905" y="100"/>
                </a:cubicBezTo>
                <a:cubicBezTo>
                  <a:pt x="905" y="100"/>
                  <a:pt x="905" y="100"/>
                  <a:pt x="904" y="100"/>
                </a:cubicBezTo>
                <a:cubicBezTo>
                  <a:pt x="904" y="100"/>
                  <a:pt x="904" y="100"/>
                  <a:pt x="903" y="101"/>
                </a:cubicBezTo>
                <a:cubicBezTo>
                  <a:pt x="903" y="101"/>
                  <a:pt x="903" y="101"/>
                  <a:pt x="902" y="101"/>
                </a:cubicBezTo>
                <a:cubicBezTo>
                  <a:pt x="902" y="101"/>
                  <a:pt x="902" y="101"/>
                  <a:pt x="902" y="103"/>
                </a:cubicBezTo>
                <a:cubicBezTo>
                  <a:pt x="902" y="103"/>
                  <a:pt x="902" y="103"/>
                  <a:pt x="902" y="105"/>
                </a:cubicBezTo>
                <a:cubicBezTo>
                  <a:pt x="902" y="105"/>
                  <a:pt x="902" y="105"/>
                  <a:pt x="904" y="106"/>
                </a:cubicBezTo>
                <a:cubicBezTo>
                  <a:pt x="904" y="106"/>
                  <a:pt x="904" y="106"/>
                  <a:pt x="904" y="107"/>
                </a:cubicBezTo>
                <a:cubicBezTo>
                  <a:pt x="904" y="107"/>
                  <a:pt x="904" y="107"/>
                  <a:pt x="903" y="106"/>
                </a:cubicBezTo>
                <a:cubicBezTo>
                  <a:pt x="903" y="106"/>
                  <a:pt x="903" y="106"/>
                  <a:pt x="902" y="106"/>
                </a:cubicBezTo>
                <a:cubicBezTo>
                  <a:pt x="902" y="106"/>
                  <a:pt x="902" y="106"/>
                  <a:pt x="901" y="107"/>
                </a:cubicBezTo>
                <a:cubicBezTo>
                  <a:pt x="901" y="107"/>
                  <a:pt x="901" y="107"/>
                  <a:pt x="903" y="108"/>
                </a:cubicBezTo>
                <a:cubicBezTo>
                  <a:pt x="903" y="108"/>
                  <a:pt x="903" y="108"/>
                  <a:pt x="903" y="109"/>
                </a:cubicBezTo>
                <a:cubicBezTo>
                  <a:pt x="903" y="109"/>
                  <a:pt x="903" y="109"/>
                  <a:pt x="902" y="109"/>
                </a:cubicBezTo>
                <a:cubicBezTo>
                  <a:pt x="902" y="109"/>
                  <a:pt x="902" y="109"/>
                  <a:pt x="902" y="111"/>
                </a:cubicBezTo>
                <a:cubicBezTo>
                  <a:pt x="902" y="111"/>
                  <a:pt x="902" y="111"/>
                  <a:pt x="903" y="112"/>
                </a:cubicBezTo>
                <a:cubicBezTo>
                  <a:pt x="903" y="112"/>
                  <a:pt x="903" y="112"/>
                  <a:pt x="901" y="113"/>
                </a:cubicBezTo>
                <a:cubicBezTo>
                  <a:pt x="901" y="113"/>
                  <a:pt x="901" y="113"/>
                  <a:pt x="900" y="112"/>
                </a:cubicBezTo>
                <a:cubicBezTo>
                  <a:pt x="900" y="112"/>
                  <a:pt x="900" y="112"/>
                  <a:pt x="900" y="111"/>
                </a:cubicBezTo>
                <a:cubicBezTo>
                  <a:pt x="900" y="111"/>
                  <a:pt x="900" y="111"/>
                  <a:pt x="900" y="107"/>
                </a:cubicBezTo>
                <a:cubicBezTo>
                  <a:pt x="900" y="107"/>
                  <a:pt x="900" y="107"/>
                  <a:pt x="899" y="106"/>
                </a:cubicBezTo>
                <a:cubicBezTo>
                  <a:pt x="899" y="106"/>
                  <a:pt x="899" y="106"/>
                  <a:pt x="899" y="105"/>
                </a:cubicBezTo>
                <a:cubicBezTo>
                  <a:pt x="899" y="105"/>
                  <a:pt x="899" y="105"/>
                  <a:pt x="899" y="104"/>
                </a:cubicBezTo>
                <a:close/>
                <a:moveTo>
                  <a:pt x="902" y="99"/>
                </a:moveTo>
                <a:cubicBezTo>
                  <a:pt x="903" y="98"/>
                  <a:pt x="903" y="98"/>
                  <a:pt x="903" y="98"/>
                </a:cubicBezTo>
                <a:cubicBezTo>
                  <a:pt x="904" y="99"/>
                  <a:pt x="904" y="99"/>
                  <a:pt x="904" y="99"/>
                </a:cubicBezTo>
                <a:cubicBezTo>
                  <a:pt x="906" y="97"/>
                  <a:pt x="906" y="97"/>
                  <a:pt x="906" y="97"/>
                </a:cubicBezTo>
                <a:cubicBezTo>
                  <a:pt x="907" y="97"/>
                  <a:pt x="907" y="97"/>
                  <a:pt x="907" y="97"/>
                </a:cubicBezTo>
                <a:cubicBezTo>
                  <a:pt x="908" y="97"/>
                  <a:pt x="908" y="97"/>
                  <a:pt x="908" y="97"/>
                </a:cubicBezTo>
                <a:cubicBezTo>
                  <a:pt x="906" y="96"/>
                  <a:pt x="906" y="96"/>
                  <a:pt x="906" y="96"/>
                </a:cubicBezTo>
                <a:cubicBezTo>
                  <a:pt x="904" y="97"/>
                  <a:pt x="904" y="97"/>
                  <a:pt x="904" y="97"/>
                </a:cubicBezTo>
                <a:cubicBezTo>
                  <a:pt x="903" y="97"/>
                  <a:pt x="903" y="97"/>
                  <a:pt x="903" y="97"/>
                </a:cubicBezTo>
                <a:cubicBezTo>
                  <a:pt x="902" y="97"/>
                  <a:pt x="902" y="97"/>
                  <a:pt x="902" y="97"/>
                </a:cubicBezTo>
                <a:cubicBezTo>
                  <a:pt x="901" y="97"/>
                  <a:pt x="901" y="97"/>
                  <a:pt x="901" y="97"/>
                </a:cubicBezTo>
                <a:cubicBezTo>
                  <a:pt x="900" y="98"/>
                  <a:pt x="900" y="98"/>
                  <a:pt x="900" y="98"/>
                </a:cubicBezTo>
                <a:cubicBezTo>
                  <a:pt x="900" y="99"/>
                  <a:pt x="900" y="99"/>
                  <a:pt x="900" y="99"/>
                </a:cubicBezTo>
                <a:cubicBezTo>
                  <a:pt x="901" y="99"/>
                  <a:pt x="901" y="99"/>
                  <a:pt x="901" y="99"/>
                </a:cubicBezTo>
                <a:cubicBezTo>
                  <a:pt x="902" y="99"/>
                  <a:pt x="902" y="99"/>
                  <a:pt x="902" y="99"/>
                </a:cubicBezTo>
                <a:close/>
                <a:moveTo>
                  <a:pt x="896" y="88"/>
                </a:moveTo>
                <a:cubicBezTo>
                  <a:pt x="896" y="88"/>
                  <a:pt x="896" y="88"/>
                  <a:pt x="897" y="87"/>
                </a:cubicBezTo>
                <a:cubicBezTo>
                  <a:pt x="897" y="87"/>
                  <a:pt x="897" y="87"/>
                  <a:pt x="895" y="87"/>
                </a:cubicBezTo>
                <a:cubicBezTo>
                  <a:pt x="895" y="87"/>
                  <a:pt x="895" y="87"/>
                  <a:pt x="894" y="87"/>
                </a:cubicBezTo>
                <a:cubicBezTo>
                  <a:pt x="894" y="87"/>
                  <a:pt x="894" y="87"/>
                  <a:pt x="895" y="88"/>
                </a:cubicBezTo>
                <a:cubicBezTo>
                  <a:pt x="895" y="88"/>
                  <a:pt x="895" y="88"/>
                  <a:pt x="896" y="88"/>
                </a:cubicBezTo>
                <a:close/>
                <a:moveTo>
                  <a:pt x="875" y="53"/>
                </a:moveTo>
                <a:cubicBezTo>
                  <a:pt x="875" y="53"/>
                  <a:pt x="875" y="53"/>
                  <a:pt x="876" y="53"/>
                </a:cubicBezTo>
                <a:cubicBezTo>
                  <a:pt x="876" y="53"/>
                  <a:pt x="876" y="53"/>
                  <a:pt x="877" y="53"/>
                </a:cubicBezTo>
                <a:cubicBezTo>
                  <a:pt x="877" y="53"/>
                  <a:pt x="877" y="53"/>
                  <a:pt x="878" y="54"/>
                </a:cubicBezTo>
                <a:cubicBezTo>
                  <a:pt x="878" y="54"/>
                  <a:pt x="878" y="54"/>
                  <a:pt x="878" y="56"/>
                </a:cubicBezTo>
                <a:cubicBezTo>
                  <a:pt x="878" y="56"/>
                  <a:pt x="878" y="56"/>
                  <a:pt x="879" y="57"/>
                </a:cubicBezTo>
                <a:cubicBezTo>
                  <a:pt x="879" y="57"/>
                  <a:pt x="879" y="57"/>
                  <a:pt x="880" y="56"/>
                </a:cubicBezTo>
                <a:cubicBezTo>
                  <a:pt x="880" y="56"/>
                  <a:pt x="880" y="56"/>
                  <a:pt x="880" y="55"/>
                </a:cubicBezTo>
                <a:cubicBezTo>
                  <a:pt x="880" y="55"/>
                  <a:pt x="880" y="55"/>
                  <a:pt x="880" y="54"/>
                </a:cubicBezTo>
                <a:cubicBezTo>
                  <a:pt x="880" y="54"/>
                  <a:pt x="880" y="54"/>
                  <a:pt x="881" y="56"/>
                </a:cubicBezTo>
                <a:cubicBezTo>
                  <a:pt x="881" y="56"/>
                  <a:pt x="881" y="56"/>
                  <a:pt x="881" y="57"/>
                </a:cubicBezTo>
                <a:cubicBezTo>
                  <a:pt x="881" y="57"/>
                  <a:pt x="881" y="57"/>
                  <a:pt x="883" y="59"/>
                </a:cubicBezTo>
                <a:cubicBezTo>
                  <a:pt x="883" y="59"/>
                  <a:pt x="883" y="59"/>
                  <a:pt x="884" y="59"/>
                </a:cubicBezTo>
                <a:cubicBezTo>
                  <a:pt x="884" y="59"/>
                  <a:pt x="884" y="59"/>
                  <a:pt x="885" y="59"/>
                </a:cubicBezTo>
                <a:cubicBezTo>
                  <a:pt x="885" y="59"/>
                  <a:pt x="885" y="59"/>
                  <a:pt x="886" y="59"/>
                </a:cubicBezTo>
                <a:cubicBezTo>
                  <a:pt x="886" y="59"/>
                  <a:pt x="886" y="59"/>
                  <a:pt x="887" y="60"/>
                </a:cubicBezTo>
                <a:cubicBezTo>
                  <a:pt x="887" y="60"/>
                  <a:pt x="887" y="60"/>
                  <a:pt x="888" y="58"/>
                </a:cubicBezTo>
                <a:cubicBezTo>
                  <a:pt x="888" y="58"/>
                  <a:pt x="888" y="58"/>
                  <a:pt x="889" y="58"/>
                </a:cubicBezTo>
                <a:cubicBezTo>
                  <a:pt x="889" y="58"/>
                  <a:pt x="889" y="58"/>
                  <a:pt x="890" y="55"/>
                </a:cubicBezTo>
                <a:cubicBezTo>
                  <a:pt x="890" y="55"/>
                  <a:pt x="890" y="55"/>
                  <a:pt x="889" y="54"/>
                </a:cubicBezTo>
                <a:cubicBezTo>
                  <a:pt x="889" y="54"/>
                  <a:pt x="889" y="54"/>
                  <a:pt x="891" y="52"/>
                </a:cubicBezTo>
                <a:cubicBezTo>
                  <a:pt x="891" y="52"/>
                  <a:pt x="891" y="52"/>
                  <a:pt x="891" y="51"/>
                </a:cubicBezTo>
                <a:cubicBezTo>
                  <a:pt x="891" y="51"/>
                  <a:pt x="891" y="51"/>
                  <a:pt x="890" y="49"/>
                </a:cubicBezTo>
                <a:cubicBezTo>
                  <a:pt x="890" y="49"/>
                  <a:pt x="890" y="49"/>
                  <a:pt x="889" y="48"/>
                </a:cubicBezTo>
                <a:cubicBezTo>
                  <a:pt x="889" y="48"/>
                  <a:pt x="889" y="48"/>
                  <a:pt x="888" y="49"/>
                </a:cubicBezTo>
                <a:cubicBezTo>
                  <a:pt x="888" y="49"/>
                  <a:pt x="888" y="49"/>
                  <a:pt x="886" y="49"/>
                </a:cubicBezTo>
                <a:cubicBezTo>
                  <a:pt x="886" y="49"/>
                  <a:pt x="886" y="49"/>
                  <a:pt x="884" y="50"/>
                </a:cubicBezTo>
                <a:cubicBezTo>
                  <a:pt x="884" y="50"/>
                  <a:pt x="884" y="50"/>
                  <a:pt x="883" y="50"/>
                </a:cubicBezTo>
                <a:cubicBezTo>
                  <a:pt x="883" y="50"/>
                  <a:pt x="883" y="50"/>
                  <a:pt x="882" y="50"/>
                </a:cubicBezTo>
                <a:cubicBezTo>
                  <a:pt x="882" y="50"/>
                  <a:pt x="882" y="50"/>
                  <a:pt x="881" y="49"/>
                </a:cubicBezTo>
                <a:cubicBezTo>
                  <a:pt x="881" y="49"/>
                  <a:pt x="881" y="49"/>
                  <a:pt x="880" y="49"/>
                </a:cubicBezTo>
                <a:cubicBezTo>
                  <a:pt x="880" y="49"/>
                  <a:pt x="880" y="49"/>
                  <a:pt x="876" y="50"/>
                </a:cubicBezTo>
                <a:cubicBezTo>
                  <a:pt x="876" y="50"/>
                  <a:pt x="876" y="50"/>
                  <a:pt x="875" y="50"/>
                </a:cubicBezTo>
                <a:cubicBezTo>
                  <a:pt x="875" y="50"/>
                  <a:pt x="875" y="50"/>
                  <a:pt x="873" y="50"/>
                </a:cubicBezTo>
                <a:cubicBezTo>
                  <a:pt x="873" y="50"/>
                  <a:pt x="873" y="50"/>
                  <a:pt x="873" y="51"/>
                </a:cubicBezTo>
                <a:cubicBezTo>
                  <a:pt x="873" y="51"/>
                  <a:pt x="873" y="51"/>
                  <a:pt x="872" y="52"/>
                </a:cubicBezTo>
                <a:cubicBezTo>
                  <a:pt x="872" y="52"/>
                  <a:pt x="872" y="52"/>
                  <a:pt x="872" y="53"/>
                </a:cubicBezTo>
                <a:cubicBezTo>
                  <a:pt x="872" y="53"/>
                  <a:pt x="872" y="53"/>
                  <a:pt x="873" y="53"/>
                </a:cubicBezTo>
                <a:cubicBezTo>
                  <a:pt x="873" y="53"/>
                  <a:pt x="873" y="53"/>
                  <a:pt x="875" y="53"/>
                </a:cubicBezTo>
                <a:close/>
                <a:moveTo>
                  <a:pt x="861" y="63"/>
                </a:moveTo>
                <a:cubicBezTo>
                  <a:pt x="862" y="62"/>
                  <a:pt x="862" y="62"/>
                  <a:pt x="862" y="62"/>
                </a:cubicBezTo>
                <a:cubicBezTo>
                  <a:pt x="863" y="61"/>
                  <a:pt x="863" y="61"/>
                  <a:pt x="863" y="61"/>
                </a:cubicBezTo>
                <a:cubicBezTo>
                  <a:pt x="863" y="59"/>
                  <a:pt x="863" y="59"/>
                  <a:pt x="863" y="59"/>
                </a:cubicBezTo>
                <a:cubicBezTo>
                  <a:pt x="864" y="58"/>
                  <a:pt x="864" y="58"/>
                  <a:pt x="864" y="58"/>
                </a:cubicBezTo>
                <a:cubicBezTo>
                  <a:pt x="863" y="57"/>
                  <a:pt x="863" y="57"/>
                  <a:pt x="863" y="57"/>
                </a:cubicBezTo>
                <a:cubicBezTo>
                  <a:pt x="864" y="56"/>
                  <a:pt x="864" y="56"/>
                  <a:pt x="864" y="56"/>
                </a:cubicBezTo>
                <a:cubicBezTo>
                  <a:pt x="863" y="56"/>
                  <a:pt x="863" y="56"/>
                  <a:pt x="863" y="56"/>
                </a:cubicBezTo>
                <a:cubicBezTo>
                  <a:pt x="862" y="56"/>
                  <a:pt x="862" y="56"/>
                  <a:pt x="862" y="56"/>
                </a:cubicBezTo>
                <a:cubicBezTo>
                  <a:pt x="861" y="56"/>
                  <a:pt x="861" y="56"/>
                  <a:pt x="861" y="56"/>
                </a:cubicBezTo>
                <a:cubicBezTo>
                  <a:pt x="860" y="56"/>
                  <a:pt x="860" y="56"/>
                  <a:pt x="860" y="56"/>
                </a:cubicBezTo>
                <a:cubicBezTo>
                  <a:pt x="859" y="58"/>
                  <a:pt x="859" y="58"/>
                  <a:pt x="859" y="58"/>
                </a:cubicBezTo>
                <a:cubicBezTo>
                  <a:pt x="859" y="59"/>
                  <a:pt x="859" y="59"/>
                  <a:pt x="859" y="59"/>
                </a:cubicBezTo>
                <a:cubicBezTo>
                  <a:pt x="859" y="60"/>
                  <a:pt x="859" y="60"/>
                  <a:pt x="859" y="60"/>
                </a:cubicBezTo>
                <a:cubicBezTo>
                  <a:pt x="860" y="62"/>
                  <a:pt x="860" y="62"/>
                  <a:pt x="860" y="62"/>
                </a:cubicBezTo>
                <a:cubicBezTo>
                  <a:pt x="861" y="63"/>
                  <a:pt x="861" y="63"/>
                  <a:pt x="861" y="63"/>
                </a:cubicBezTo>
                <a:close/>
                <a:moveTo>
                  <a:pt x="856" y="72"/>
                </a:moveTo>
                <a:cubicBezTo>
                  <a:pt x="856" y="72"/>
                  <a:pt x="856" y="72"/>
                  <a:pt x="854" y="72"/>
                </a:cubicBezTo>
                <a:cubicBezTo>
                  <a:pt x="854" y="72"/>
                  <a:pt x="854" y="72"/>
                  <a:pt x="854" y="73"/>
                </a:cubicBezTo>
                <a:cubicBezTo>
                  <a:pt x="854" y="73"/>
                  <a:pt x="854" y="73"/>
                  <a:pt x="855" y="73"/>
                </a:cubicBezTo>
                <a:cubicBezTo>
                  <a:pt x="855" y="73"/>
                  <a:pt x="855" y="73"/>
                  <a:pt x="856" y="72"/>
                </a:cubicBezTo>
                <a:close/>
                <a:moveTo>
                  <a:pt x="864" y="63"/>
                </a:moveTo>
                <a:cubicBezTo>
                  <a:pt x="864" y="63"/>
                  <a:pt x="864" y="63"/>
                  <a:pt x="862" y="64"/>
                </a:cubicBezTo>
                <a:cubicBezTo>
                  <a:pt x="862" y="64"/>
                  <a:pt x="862" y="64"/>
                  <a:pt x="862" y="65"/>
                </a:cubicBezTo>
                <a:cubicBezTo>
                  <a:pt x="862" y="65"/>
                  <a:pt x="862" y="65"/>
                  <a:pt x="861" y="67"/>
                </a:cubicBezTo>
                <a:cubicBezTo>
                  <a:pt x="861" y="67"/>
                  <a:pt x="861" y="67"/>
                  <a:pt x="862" y="68"/>
                </a:cubicBezTo>
                <a:cubicBezTo>
                  <a:pt x="862" y="68"/>
                  <a:pt x="862" y="68"/>
                  <a:pt x="862" y="70"/>
                </a:cubicBezTo>
                <a:cubicBezTo>
                  <a:pt x="862" y="70"/>
                  <a:pt x="862" y="70"/>
                  <a:pt x="863" y="70"/>
                </a:cubicBezTo>
                <a:cubicBezTo>
                  <a:pt x="863" y="70"/>
                  <a:pt x="863" y="70"/>
                  <a:pt x="864" y="71"/>
                </a:cubicBezTo>
                <a:cubicBezTo>
                  <a:pt x="864" y="71"/>
                  <a:pt x="864" y="71"/>
                  <a:pt x="865" y="72"/>
                </a:cubicBezTo>
                <a:cubicBezTo>
                  <a:pt x="865" y="72"/>
                  <a:pt x="865" y="72"/>
                  <a:pt x="864" y="73"/>
                </a:cubicBezTo>
                <a:cubicBezTo>
                  <a:pt x="864" y="73"/>
                  <a:pt x="864" y="73"/>
                  <a:pt x="866" y="73"/>
                </a:cubicBezTo>
                <a:cubicBezTo>
                  <a:pt x="866" y="73"/>
                  <a:pt x="866" y="73"/>
                  <a:pt x="867" y="73"/>
                </a:cubicBezTo>
                <a:cubicBezTo>
                  <a:pt x="867" y="73"/>
                  <a:pt x="867" y="73"/>
                  <a:pt x="868" y="73"/>
                </a:cubicBezTo>
                <a:cubicBezTo>
                  <a:pt x="868" y="73"/>
                  <a:pt x="868" y="73"/>
                  <a:pt x="869" y="74"/>
                </a:cubicBezTo>
                <a:cubicBezTo>
                  <a:pt x="869" y="74"/>
                  <a:pt x="869" y="74"/>
                  <a:pt x="870" y="74"/>
                </a:cubicBezTo>
                <a:cubicBezTo>
                  <a:pt x="870" y="74"/>
                  <a:pt x="870" y="74"/>
                  <a:pt x="872" y="73"/>
                </a:cubicBezTo>
                <a:cubicBezTo>
                  <a:pt x="872" y="73"/>
                  <a:pt x="872" y="73"/>
                  <a:pt x="873" y="73"/>
                </a:cubicBezTo>
                <a:cubicBezTo>
                  <a:pt x="873" y="73"/>
                  <a:pt x="873" y="73"/>
                  <a:pt x="874" y="72"/>
                </a:cubicBezTo>
                <a:cubicBezTo>
                  <a:pt x="874" y="72"/>
                  <a:pt x="874" y="72"/>
                  <a:pt x="875" y="71"/>
                </a:cubicBezTo>
                <a:cubicBezTo>
                  <a:pt x="875" y="71"/>
                  <a:pt x="875" y="71"/>
                  <a:pt x="877" y="69"/>
                </a:cubicBezTo>
                <a:cubicBezTo>
                  <a:pt x="877" y="69"/>
                  <a:pt x="877" y="69"/>
                  <a:pt x="877" y="68"/>
                </a:cubicBezTo>
                <a:cubicBezTo>
                  <a:pt x="877" y="68"/>
                  <a:pt x="877" y="68"/>
                  <a:pt x="876" y="68"/>
                </a:cubicBezTo>
                <a:cubicBezTo>
                  <a:pt x="876" y="68"/>
                  <a:pt x="876" y="68"/>
                  <a:pt x="875" y="68"/>
                </a:cubicBezTo>
                <a:cubicBezTo>
                  <a:pt x="875" y="68"/>
                  <a:pt x="875" y="68"/>
                  <a:pt x="875" y="67"/>
                </a:cubicBezTo>
                <a:cubicBezTo>
                  <a:pt x="875" y="67"/>
                  <a:pt x="875" y="67"/>
                  <a:pt x="876" y="66"/>
                </a:cubicBezTo>
                <a:cubicBezTo>
                  <a:pt x="876" y="66"/>
                  <a:pt x="876" y="66"/>
                  <a:pt x="877" y="66"/>
                </a:cubicBezTo>
                <a:cubicBezTo>
                  <a:pt x="877" y="66"/>
                  <a:pt x="877" y="66"/>
                  <a:pt x="880" y="65"/>
                </a:cubicBezTo>
                <a:cubicBezTo>
                  <a:pt x="880" y="65"/>
                  <a:pt x="880" y="65"/>
                  <a:pt x="881" y="65"/>
                </a:cubicBezTo>
                <a:cubicBezTo>
                  <a:pt x="881" y="65"/>
                  <a:pt x="881" y="65"/>
                  <a:pt x="883" y="63"/>
                </a:cubicBezTo>
                <a:cubicBezTo>
                  <a:pt x="883" y="63"/>
                  <a:pt x="883" y="63"/>
                  <a:pt x="882" y="62"/>
                </a:cubicBezTo>
                <a:cubicBezTo>
                  <a:pt x="882" y="62"/>
                  <a:pt x="882" y="62"/>
                  <a:pt x="881" y="62"/>
                </a:cubicBezTo>
                <a:cubicBezTo>
                  <a:pt x="881" y="62"/>
                  <a:pt x="881" y="62"/>
                  <a:pt x="880" y="62"/>
                </a:cubicBezTo>
                <a:cubicBezTo>
                  <a:pt x="880" y="62"/>
                  <a:pt x="880" y="62"/>
                  <a:pt x="879" y="61"/>
                </a:cubicBezTo>
                <a:cubicBezTo>
                  <a:pt x="879" y="61"/>
                  <a:pt x="879" y="61"/>
                  <a:pt x="877" y="61"/>
                </a:cubicBezTo>
                <a:cubicBezTo>
                  <a:pt x="877" y="61"/>
                  <a:pt x="877" y="61"/>
                  <a:pt x="875" y="60"/>
                </a:cubicBezTo>
                <a:cubicBezTo>
                  <a:pt x="875" y="60"/>
                  <a:pt x="875" y="60"/>
                  <a:pt x="874" y="61"/>
                </a:cubicBezTo>
                <a:cubicBezTo>
                  <a:pt x="874" y="61"/>
                  <a:pt x="874" y="61"/>
                  <a:pt x="873" y="61"/>
                </a:cubicBezTo>
                <a:cubicBezTo>
                  <a:pt x="873" y="61"/>
                  <a:pt x="873" y="61"/>
                  <a:pt x="872" y="60"/>
                </a:cubicBezTo>
                <a:cubicBezTo>
                  <a:pt x="872" y="60"/>
                  <a:pt x="872" y="60"/>
                  <a:pt x="871" y="60"/>
                </a:cubicBezTo>
                <a:cubicBezTo>
                  <a:pt x="871" y="60"/>
                  <a:pt x="871" y="60"/>
                  <a:pt x="870" y="60"/>
                </a:cubicBezTo>
                <a:cubicBezTo>
                  <a:pt x="870" y="60"/>
                  <a:pt x="870" y="60"/>
                  <a:pt x="867" y="60"/>
                </a:cubicBezTo>
                <a:cubicBezTo>
                  <a:pt x="867" y="60"/>
                  <a:pt x="867" y="60"/>
                  <a:pt x="866" y="60"/>
                </a:cubicBezTo>
                <a:cubicBezTo>
                  <a:pt x="866" y="60"/>
                  <a:pt x="866" y="60"/>
                  <a:pt x="865" y="61"/>
                </a:cubicBezTo>
                <a:cubicBezTo>
                  <a:pt x="865" y="61"/>
                  <a:pt x="865" y="61"/>
                  <a:pt x="864" y="62"/>
                </a:cubicBezTo>
                <a:cubicBezTo>
                  <a:pt x="864" y="62"/>
                  <a:pt x="864" y="62"/>
                  <a:pt x="864" y="63"/>
                </a:cubicBezTo>
                <a:close/>
                <a:moveTo>
                  <a:pt x="750" y="614"/>
                </a:moveTo>
                <a:cubicBezTo>
                  <a:pt x="752" y="612"/>
                  <a:pt x="752" y="612"/>
                  <a:pt x="752" y="612"/>
                </a:cubicBezTo>
                <a:cubicBezTo>
                  <a:pt x="753" y="611"/>
                  <a:pt x="753" y="611"/>
                  <a:pt x="753" y="611"/>
                </a:cubicBezTo>
                <a:cubicBezTo>
                  <a:pt x="751" y="612"/>
                  <a:pt x="751" y="612"/>
                  <a:pt x="751" y="612"/>
                </a:cubicBezTo>
                <a:cubicBezTo>
                  <a:pt x="750" y="614"/>
                  <a:pt x="750" y="614"/>
                  <a:pt x="750" y="614"/>
                </a:cubicBezTo>
                <a:close/>
                <a:moveTo>
                  <a:pt x="916" y="515"/>
                </a:moveTo>
                <a:cubicBezTo>
                  <a:pt x="915" y="516"/>
                  <a:pt x="915" y="516"/>
                  <a:pt x="915" y="516"/>
                </a:cubicBezTo>
                <a:cubicBezTo>
                  <a:pt x="913" y="516"/>
                  <a:pt x="913" y="516"/>
                  <a:pt x="913" y="516"/>
                </a:cubicBezTo>
                <a:cubicBezTo>
                  <a:pt x="911" y="517"/>
                  <a:pt x="911" y="517"/>
                  <a:pt x="911" y="517"/>
                </a:cubicBezTo>
                <a:cubicBezTo>
                  <a:pt x="910" y="517"/>
                  <a:pt x="910" y="517"/>
                  <a:pt x="910" y="517"/>
                </a:cubicBezTo>
                <a:cubicBezTo>
                  <a:pt x="908" y="517"/>
                  <a:pt x="908" y="517"/>
                  <a:pt x="908" y="517"/>
                </a:cubicBezTo>
                <a:cubicBezTo>
                  <a:pt x="907" y="518"/>
                  <a:pt x="907" y="518"/>
                  <a:pt x="907" y="518"/>
                </a:cubicBezTo>
                <a:cubicBezTo>
                  <a:pt x="906" y="518"/>
                  <a:pt x="906" y="518"/>
                  <a:pt x="906" y="518"/>
                </a:cubicBezTo>
                <a:cubicBezTo>
                  <a:pt x="906" y="519"/>
                  <a:pt x="906" y="519"/>
                  <a:pt x="906" y="519"/>
                </a:cubicBezTo>
                <a:cubicBezTo>
                  <a:pt x="906" y="519"/>
                  <a:pt x="906" y="519"/>
                  <a:pt x="907" y="519"/>
                </a:cubicBezTo>
                <a:cubicBezTo>
                  <a:pt x="908" y="519"/>
                  <a:pt x="908" y="519"/>
                  <a:pt x="908" y="519"/>
                </a:cubicBezTo>
                <a:cubicBezTo>
                  <a:pt x="909" y="519"/>
                  <a:pt x="909" y="519"/>
                  <a:pt x="909" y="519"/>
                </a:cubicBezTo>
                <a:cubicBezTo>
                  <a:pt x="910" y="518"/>
                  <a:pt x="910" y="518"/>
                  <a:pt x="910" y="518"/>
                </a:cubicBezTo>
                <a:cubicBezTo>
                  <a:pt x="912" y="518"/>
                  <a:pt x="912" y="518"/>
                  <a:pt x="912" y="518"/>
                </a:cubicBezTo>
                <a:cubicBezTo>
                  <a:pt x="913" y="518"/>
                  <a:pt x="913" y="518"/>
                  <a:pt x="913" y="518"/>
                </a:cubicBezTo>
                <a:cubicBezTo>
                  <a:pt x="915" y="518"/>
                  <a:pt x="915" y="518"/>
                  <a:pt x="915" y="518"/>
                </a:cubicBezTo>
                <a:cubicBezTo>
                  <a:pt x="916" y="517"/>
                  <a:pt x="916" y="517"/>
                  <a:pt x="916" y="517"/>
                </a:cubicBezTo>
                <a:cubicBezTo>
                  <a:pt x="916" y="516"/>
                  <a:pt x="916" y="516"/>
                  <a:pt x="916" y="516"/>
                </a:cubicBezTo>
                <a:cubicBezTo>
                  <a:pt x="916" y="515"/>
                  <a:pt x="916" y="515"/>
                  <a:pt x="916" y="515"/>
                </a:cubicBezTo>
                <a:close/>
                <a:moveTo>
                  <a:pt x="917" y="516"/>
                </a:moveTo>
                <a:cubicBezTo>
                  <a:pt x="916" y="517"/>
                  <a:pt x="916" y="517"/>
                  <a:pt x="916" y="517"/>
                </a:cubicBezTo>
                <a:cubicBezTo>
                  <a:pt x="917" y="517"/>
                  <a:pt x="917" y="517"/>
                  <a:pt x="917" y="517"/>
                </a:cubicBezTo>
                <a:cubicBezTo>
                  <a:pt x="917" y="516"/>
                  <a:pt x="917" y="516"/>
                  <a:pt x="917" y="516"/>
                </a:cubicBezTo>
                <a:close/>
                <a:moveTo>
                  <a:pt x="918" y="516"/>
                </a:moveTo>
                <a:cubicBezTo>
                  <a:pt x="917" y="517"/>
                  <a:pt x="917" y="517"/>
                  <a:pt x="917" y="517"/>
                </a:cubicBezTo>
                <a:cubicBezTo>
                  <a:pt x="918" y="517"/>
                  <a:pt x="918" y="517"/>
                  <a:pt x="918" y="517"/>
                </a:cubicBezTo>
                <a:cubicBezTo>
                  <a:pt x="918" y="516"/>
                  <a:pt x="918" y="516"/>
                  <a:pt x="918" y="516"/>
                </a:cubicBezTo>
                <a:close/>
                <a:moveTo>
                  <a:pt x="926" y="513"/>
                </a:moveTo>
                <a:cubicBezTo>
                  <a:pt x="926" y="514"/>
                  <a:pt x="926" y="514"/>
                  <a:pt x="926" y="514"/>
                </a:cubicBezTo>
                <a:cubicBezTo>
                  <a:pt x="927" y="514"/>
                  <a:pt x="927" y="514"/>
                  <a:pt x="927" y="514"/>
                </a:cubicBezTo>
                <a:cubicBezTo>
                  <a:pt x="928" y="514"/>
                  <a:pt x="928" y="514"/>
                  <a:pt x="928" y="514"/>
                </a:cubicBezTo>
                <a:cubicBezTo>
                  <a:pt x="928" y="513"/>
                  <a:pt x="928" y="513"/>
                  <a:pt x="928" y="513"/>
                </a:cubicBezTo>
                <a:cubicBezTo>
                  <a:pt x="927" y="513"/>
                  <a:pt x="927" y="513"/>
                  <a:pt x="927" y="513"/>
                </a:cubicBezTo>
                <a:cubicBezTo>
                  <a:pt x="926" y="513"/>
                  <a:pt x="926" y="513"/>
                  <a:pt x="926" y="513"/>
                </a:cubicBezTo>
                <a:close/>
                <a:moveTo>
                  <a:pt x="749" y="615"/>
                </a:moveTo>
                <a:cubicBezTo>
                  <a:pt x="748" y="617"/>
                  <a:pt x="748" y="617"/>
                  <a:pt x="748" y="617"/>
                </a:cubicBezTo>
                <a:cubicBezTo>
                  <a:pt x="749" y="617"/>
                  <a:pt x="749" y="617"/>
                  <a:pt x="749" y="617"/>
                </a:cubicBezTo>
                <a:cubicBezTo>
                  <a:pt x="749" y="615"/>
                  <a:pt x="749" y="615"/>
                  <a:pt x="749" y="615"/>
                </a:cubicBezTo>
                <a:close/>
                <a:moveTo>
                  <a:pt x="890" y="546"/>
                </a:moveTo>
                <a:cubicBezTo>
                  <a:pt x="890" y="546"/>
                  <a:pt x="890" y="546"/>
                  <a:pt x="891" y="543"/>
                </a:cubicBezTo>
                <a:cubicBezTo>
                  <a:pt x="891" y="543"/>
                  <a:pt x="891" y="543"/>
                  <a:pt x="890" y="544"/>
                </a:cubicBezTo>
                <a:cubicBezTo>
                  <a:pt x="890" y="544"/>
                  <a:pt x="890" y="544"/>
                  <a:pt x="890" y="546"/>
                </a:cubicBezTo>
                <a:close/>
                <a:moveTo>
                  <a:pt x="630" y="433"/>
                </a:moveTo>
                <a:cubicBezTo>
                  <a:pt x="630" y="434"/>
                  <a:pt x="630" y="434"/>
                  <a:pt x="630" y="434"/>
                </a:cubicBezTo>
                <a:cubicBezTo>
                  <a:pt x="630" y="435"/>
                  <a:pt x="630" y="435"/>
                  <a:pt x="630" y="435"/>
                </a:cubicBezTo>
                <a:cubicBezTo>
                  <a:pt x="631" y="435"/>
                  <a:pt x="631" y="435"/>
                  <a:pt x="631" y="435"/>
                </a:cubicBezTo>
                <a:cubicBezTo>
                  <a:pt x="630" y="433"/>
                  <a:pt x="630" y="433"/>
                  <a:pt x="630" y="433"/>
                </a:cubicBezTo>
                <a:close/>
                <a:moveTo>
                  <a:pt x="1000" y="1170"/>
                </a:moveTo>
                <a:cubicBezTo>
                  <a:pt x="1000" y="1170"/>
                  <a:pt x="1000" y="1170"/>
                  <a:pt x="999" y="1171"/>
                </a:cubicBezTo>
                <a:cubicBezTo>
                  <a:pt x="999" y="1171"/>
                  <a:pt x="999" y="1171"/>
                  <a:pt x="1000" y="1171"/>
                </a:cubicBezTo>
                <a:cubicBezTo>
                  <a:pt x="1000" y="1171"/>
                  <a:pt x="1000" y="1171"/>
                  <a:pt x="1001" y="1171"/>
                </a:cubicBezTo>
                <a:cubicBezTo>
                  <a:pt x="1001" y="1171"/>
                  <a:pt x="1001" y="1171"/>
                  <a:pt x="1000" y="1170"/>
                </a:cubicBezTo>
                <a:close/>
                <a:moveTo>
                  <a:pt x="1008" y="1170"/>
                </a:moveTo>
                <a:cubicBezTo>
                  <a:pt x="1008" y="1170"/>
                  <a:pt x="1008" y="1170"/>
                  <a:pt x="1009" y="1168"/>
                </a:cubicBezTo>
                <a:cubicBezTo>
                  <a:pt x="1009" y="1168"/>
                  <a:pt x="1009" y="1168"/>
                  <a:pt x="1010" y="1167"/>
                </a:cubicBezTo>
                <a:cubicBezTo>
                  <a:pt x="1010" y="1167"/>
                  <a:pt x="1010" y="1167"/>
                  <a:pt x="1009" y="1166"/>
                </a:cubicBezTo>
                <a:cubicBezTo>
                  <a:pt x="1009" y="1166"/>
                  <a:pt x="1009" y="1166"/>
                  <a:pt x="1008" y="1167"/>
                </a:cubicBezTo>
                <a:cubicBezTo>
                  <a:pt x="1008" y="1167"/>
                  <a:pt x="1008" y="1167"/>
                  <a:pt x="1007" y="1166"/>
                </a:cubicBezTo>
                <a:cubicBezTo>
                  <a:pt x="1006" y="1166"/>
                  <a:pt x="1006" y="1166"/>
                  <a:pt x="1006" y="1166"/>
                </a:cubicBezTo>
                <a:cubicBezTo>
                  <a:pt x="1006" y="1166"/>
                  <a:pt x="1006" y="1166"/>
                  <a:pt x="1005" y="1168"/>
                </a:cubicBezTo>
                <a:cubicBezTo>
                  <a:pt x="1005" y="1168"/>
                  <a:pt x="1005" y="1168"/>
                  <a:pt x="1004" y="1168"/>
                </a:cubicBezTo>
                <a:cubicBezTo>
                  <a:pt x="1004" y="1168"/>
                  <a:pt x="1004" y="1168"/>
                  <a:pt x="1003" y="1167"/>
                </a:cubicBezTo>
                <a:cubicBezTo>
                  <a:pt x="1003" y="1167"/>
                  <a:pt x="1003" y="1167"/>
                  <a:pt x="1002" y="1167"/>
                </a:cubicBezTo>
                <a:cubicBezTo>
                  <a:pt x="1002" y="1167"/>
                  <a:pt x="1002" y="1167"/>
                  <a:pt x="1004" y="1169"/>
                </a:cubicBezTo>
                <a:cubicBezTo>
                  <a:pt x="1004" y="1169"/>
                  <a:pt x="1004" y="1169"/>
                  <a:pt x="1005" y="1169"/>
                </a:cubicBezTo>
                <a:cubicBezTo>
                  <a:pt x="1005" y="1169"/>
                  <a:pt x="1005" y="1169"/>
                  <a:pt x="1005" y="1170"/>
                </a:cubicBezTo>
                <a:cubicBezTo>
                  <a:pt x="1005" y="1170"/>
                  <a:pt x="1005" y="1170"/>
                  <a:pt x="1004" y="1170"/>
                </a:cubicBezTo>
                <a:cubicBezTo>
                  <a:pt x="1004" y="1170"/>
                  <a:pt x="1004" y="1170"/>
                  <a:pt x="1003" y="1170"/>
                </a:cubicBezTo>
                <a:cubicBezTo>
                  <a:pt x="1003" y="1170"/>
                  <a:pt x="1003" y="1170"/>
                  <a:pt x="1003" y="1171"/>
                </a:cubicBezTo>
                <a:cubicBezTo>
                  <a:pt x="1003" y="1171"/>
                  <a:pt x="1003" y="1171"/>
                  <a:pt x="1002" y="1172"/>
                </a:cubicBezTo>
                <a:cubicBezTo>
                  <a:pt x="1002" y="1172"/>
                  <a:pt x="1002" y="1172"/>
                  <a:pt x="1001" y="1172"/>
                </a:cubicBezTo>
                <a:cubicBezTo>
                  <a:pt x="1001" y="1172"/>
                  <a:pt x="1001" y="1172"/>
                  <a:pt x="1001" y="1173"/>
                </a:cubicBezTo>
                <a:cubicBezTo>
                  <a:pt x="1001" y="1173"/>
                  <a:pt x="1001" y="1173"/>
                  <a:pt x="1002" y="1174"/>
                </a:cubicBezTo>
                <a:cubicBezTo>
                  <a:pt x="1002" y="1174"/>
                  <a:pt x="1002" y="1174"/>
                  <a:pt x="1003" y="1173"/>
                </a:cubicBezTo>
                <a:cubicBezTo>
                  <a:pt x="1003" y="1173"/>
                  <a:pt x="1003" y="1173"/>
                  <a:pt x="1004" y="1174"/>
                </a:cubicBezTo>
                <a:cubicBezTo>
                  <a:pt x="1004" y="1174"/>
                  <a:pt x="1004" y="1174"/>
                  <a:pt x="1005" y="1173"/>
                </a:cubicBezTo>
                <a:cubicBezTo>
                  <a:pt x="1005" y="1173"/>
                  <a:pt x="1005" y="1173"/>
                  <a:pt x="1004" y="1172"/>
                </a:cubicBezTo>
                <a:cubicBezTo>
                  <a:pt x="1004" y="1172"/>
                  <a:pt x="1004" y="1172"/>
                  <a:pt x="1005" y="1171"/>
                </a:cubicBezTo>
                <a:cubicBezTo>
                  <a:pt x="1005" y="1171"/>
                  <a:pt x="1005" y="1171"/>
                  <a:pt x="1006" y="1172"/>
                </a:cubicBezTo>
                <a:cubicBezTo>
                  <a:pt x="1006" y="1172"/>
                  <a:pt x="1006" y="1172"/>
                  <a:pt x="1008" y="1171"/>
                </a:cubicBezTo>
                <a:cubicBezTo>
                  <a:pt x="1008" y="1171"/>
                  <a:pt x="1008" y="1171"/>
                  <a:pt x="1008" y="1170"/>
                </a:cubicBezTo>
                <a:close/>
                <a:moveTo>
                  <a:pt x="1014" y="1171"/>
                </a:moveTo>
                <a:cubicBezTo>
                  <a:pt x="1013" y="1171"/>
                  <a:pt x="1013" y="1171"/>
                  <a:pt x="1013" y="1171"/>
                </a:cubicBezTo>
                <a:cubicBezTo>
                  <a:pt x="1012" y="1171"/>
                  <a:pt x="1012" y="1171"/>
                  <a:pt x="1012" y="1171"/>
                </a:cubicBezTo>
                <a:cubicBezTo>
                  <a:pt x="1013" y="1172"/>
                  <a:pt x="1013" y="1172"/>
                  <a:pt x="1013" y="1172"/>
                </a:cubicBezTo>
                <a:cubicBezTo>
                  <a:pt x="1014" y="1171"/>
                  <a:pt x="1014" y="1171"/>
                  <a:pt x="1014" y="1171"/>
                </a:cubicBezTo>
                <a:close/>
                <a:moveTo>
                  <a:pt x="1004" y="1165"/>
                </a:moveTo>
                <a:cubicBezTo>
                  <a:pt x="1004" y="1166"/>
                  <a:pt x="1004" y="1166"/>
                  <a:pt x="1004" y="1166"/>
                </a:cubicBezTo>
                <a:cubicBezTo>
                  <a:pt x="1005" y="1166"/>
                  <a:pt x="1005" y="1166"/>
                  <a:pt x="1005" y="1166"/>
                </a:cubicBezTo>
                <a:cubicBezTo>
                  <a:pt x="1004" y="1165"/>
                  <a:pt x="1004" y="1165"/>
                  <a:pt x="1004" y="1165"/>
                </a:cubicBezTo>
                <a:close/>
                <a:moveTo>
                  <a:pt x="1142" y="1189"/>
                </a:moveTo>
                <a:cubicBezTo>
                  <a:pt x="1142" y="1189"/>
                  <a:pt x="1142" y="1189"/>
                  <a:pt x="1142" y="1188"/>
                </a:cubicBezTo>
                <a:cubicBezTo>
                  <a:pt x="1142" y="1188"/>
                  <a:pt x="1142" y="1188"/>
                  <a:pt x="1142" y="1187"/>
                </a:cubicBezTo>
                <a:cubicBezTo>
                  <a:pt x="1142" y="1187"/>
                  <a:pt x="1141" y="1187"/>
                  <a:pt x="1140" y="1186"/>
                </a:cubicBezTo>
                <a:cubicBezTo>
                  <a:pt x="1140" y="1186"/>
                  <a:pt x="1140" y="1186"/>
                  <a:pt x="1138" y="1185"/>
                </a:cubicBezTo>
                <a:cubicBezTo>
                  <a:pt x="1138" y="1185"/>
                  <a:pt x="1138" y="1185"/>
                  <a:pt x="1137" y="1185"/>
                </a:cubicBezTo>
                <a:cubicBezTo>
                  <a:pt x="1137" y="1185"/>
                  <a:pt x="1137" y="1185"/>
                  <a:pt x="1137" y="1186"/>
                </a:cubicBezTo>
                <a:cubicBezTo>
                  <a:pt x="1137" y="1186"/>
                  <a:pt x="1137" y="1186"/>
                  <a:pt x="1138" y="1186"/>
                </a:cubicBezTo>
                <a:cubicBezTo>
                  <a:pt x="1138" y="1186"/>
                  <a:pt x="1138" y="1186"/>
                  <a:pt x="1139" y="1187"/>
                </a:cubicBezTo>
                <a:cubicBezTo>
                  <a:pt x="1139" y="1187"/>
                  <a:pt x="1139" y="1187"/>
                  <a:pt x="1140" y="1187"/>
                </a:cubicBezTo>
                <a:cubicBezTo>
                  <a:pt x="1140" y="1187"/>
                  <a:pt x="1140" y="1187"/>
                  <a:pt x="1140" y="1188"/>
                </a:cubicBezTo>
                <a:cubicBezTo>
                  <a:pt x="1140" y="1188"/>
                  <a:pt x="1140" y="1188"/>
                  <a:pt x="1141" y="1189"/>
                </a:cubicBezTo>
                <a:cubicBezTo>
                  <a:pt x="1141" y="1189"/>
                  <a:pt x="1141" y="1189"/>
                  <a:pt x="1141" y="1190"/>
                </a:cubicBezTo>
                <a:cubicBezTo>
                  <a:pt x="1141" y="1190"/>
                  <a:pt x="1141" y="1190"/>
                  <a:pt x="1141" y="1191"/>
                </a:cubicBezTo>
                <a:cubicBezTo>
                  <a:pt x="1141" y="1191"/>
                  <a:pt x="1141" y="1191"/>
                  <a:pt x="1142" y="1191"/>
                </a:cubicBezTo>
                <a:cubicBezTo>
                  <a:pt x="1142" y="1191"/>
                  <a:pt x="1142" y="1191"/>
                  <a:pt x="1143" y="1190"/>
                </a:cubicBezTo>
                <a:cubicBezTo>
                  <a:pt x="1143" y="1190"/>
                  <a:pt x="1143" y="1190"/>
                  <a:pt x="1144" y="1190"/>
                </a:cubicBezTo>
                <a:cubicBezTo>
                  <a:pt x="1144" y="1190"/>
                  <a:pt x="1144" y="1190"/>
                  <a:pt x="1144" y="1189"/>
                </a:cubicBezTo>
                <a:cubicBezTo>
                  <a:pt x="1144" y="1189"/>
                  <a:pt x="1144" y="1189"/>
                  <a:pt x="1143" y="1189"/>
                </a:cubicBezTo>
                <a:cubicBezTo>
                  <a:pt x="1143" y="1189"/>
                  <a:pt x="1143" y="1189"/>
                  <a:pt x="1142" y="1189"/>
                </a:cubicBezTo>
                <a:close/>
                <a:moveTo>
                  <a:pt x="1018" y="1167"/>
                </a:moveTo>
                <a:cubicBezTo>
                  <a:pt x="1016" y="1166"/>
                  <a:pt x="1016" y="1166"/>
                  <a:pt x="1016" y="1166"/>
                </a:cubicBezTo>
                <a:cubicBezTo>
                  <a:pt x="1015" y="1166"/>
                  <a:pt x="1015" y="1166"/>
                  <a:pt x="1015" y="1166"/>
                </a:cubicBezTo>
                <a:cubicBezTo>
                  <a:pt x="1016" y="1167"/>
                  <a:pt x="1016" y="1167"/>
                  <a:pt x="1016" y="1167"/>
                </a:cubicBezTo>
                <a:cubicBezTo>
                  <a:pt x="1015" y="1168"/>
                  <a:pt x="1015" y="1168"/>
                  <a:pt x="1015" y="1168"/>
                </a:cubicBezTo>
                <a:cubicBezTo>
                  <a:pt x="1014" y="1166"/>
                  <a:pt x="1014" y="1166"/>
                  <a:pt x="1014" y="1166"/>
                </a:cubicBezTo>
                <a:cubicBezTo>
                  <a:pt x="1014" y="1165"/>
                  <a:pt x="1014" y="1165"/>
                  <a:pt x="1014" y="1165"/>
                </a:cubicBezTo>
                <a:cubicBezTo>
                  <a:pt x="1012" y="1165"/>
                  <a:pt x="1012" y="1165"/>
                  <a:pt x="1012" y="1165"/>
                </a:cubicBezTo>
                <a:cubicBezTo>
                  <a:pt x="1012" y="1166"/>
                  <a:pt x="1012" y="1166"/>
                  <a:pt x="1012" y="1166"/>
                </a:cubicBezTo>
                <a:cubicBezTo>
                  <a:pt x="1011" y="1166"/>
                  <a:pt x="1011" y="1166"/>
                  <a:pt x="1011" y="1166"/>
                </a:cubicBezTo>
                <a:cubicBezTo>
                  <a:pt x="1011" y="1167"/>
                  <a:pt x="1011" y="1167"/>
                  <a:pt x="1011" y="1167"/>
                </a:cubicBezTo>
                <a:cubicBezTo>
                  <a:pt x="1011" y="1168"/>
                  <a:pt x="1011" y="1168"/>
                  <a:pt x="1011" y="1168"/>
                </a:cubicBezTo>
                <a:cubicBezTo>
                  <a:pt x="1012" y="1169"/>
                  <a:pt x="1012" y="1169"/>
                  <a:pt x="1012" y="1169"/>
                </a:cubicBezTo>
                <a:cubicBezTo>
                  <a:pt x="1012" y="1170"/>
                  <a:pt x="1012" y="1170"/>
                  <a:pt x="1012" y="1170"/>
                </a:cubicBezTo>
                <a:cubicBezTo>
                  <a:pt x="1011" y="1169"/>
                  <a:pt x="1011" y="1169"/>
                  <a:pt x="1011" y="1169"/>
                </a:cubicBezTo>
                <a:cubicBezTo>
                  <a:pt x="1010" y="1170"/>
                  <a:pt x="1010" y="1170"/>
                  <a:pt x="1010" y="1170"/>
                </a:cubicBezTo>
                <a:cubicBezTo>
                  <a:pt x="1008" y="1173"/>
                  <a:pt x="1008" y="1173"/>
                  <a:pt x="1008" y="1173"/>
                </a:cubicBezTo>
                <a:cubicBezTo>
                  <a:pt x="1009" y="1173"/>
                  <a:pt x="1009" y="1173"/>
                  <a:pt x="1009" y="1173"/>
                </a:cubicBezTo>
                <a:cubicBezTo>
                  <a:pt x="1010" y="1174"/>
                  <a:pt x="1010" y="1174"/>
                  <a:pt x="1010" y="1174"/>
                </a:cubicBezTo>
                <a:cubicBezTo>
                  <a:pt x="1011" y="1174"/>
                  <a:pt x="1011" y="1174"/>
                  <a:pt x="1011" y="1174"/>
                </a:cubicBezTo>
                <a:cubicBezTo>
                  <a:pt x="1010" y="1173"/>
                  <a:pt x="1010" y="1173"/>
                  <a:pt x="1010" y="1173"/>
                </a:cubicBezTo>
                <a:cubicBezTo>
                  <a:pt x="1011" y="1172"/>
                  <a:pt x="1011" y="1172"/>
                  <a:pt x="1011" y="1172"/>
                </a:cubicBezTo>
                <a:cubicBezTo>
                  <a:pt x="1012" y="1173"/>
                  <a:pt x="1012" y="1173"/>
                  <a:pt x="1012" y="1173"/>
                </a:cubicBezTo>
                <a:cubicBezTo>
                  <a:pt x="1012" y="1172"/>
                  <a:pt x="1012" y="1172"/>
                  <a:pt x="1012" y="1172"/>
                </a:cubicBezTo>
                <a:cubicBezTo>
                  <a:pt x="1012" y="1171"/>
                  <a:pt x="1012" y="1171"/>
                  <a:pt x="1012" y="1171"/>
                </a:cubicBezTo>
                <a:cubicBezTo>
                  <a:pt x="1013" y="1170"/>
                  <a:pt x="1013" y="1170"/>
                  <a:pt x="1013" y="1170"/>
                </a:cubicBezTo>
                <a:cubicBezTo>
                  <a:pt x="1014" y="1170"/>
                  <a:pt x="1014" y="1170"/>
                  <a:pt x="1014" y="1170"/>
                </a:cubicBezTo>
                <a:cubicBezTo>
                  <a:pt x="1016" y="1170"/>
                  <a:pt x="1016" y="1170"/>
                  <a:pt x="1016" y="1170"/>
                </a:cubicBezTo>
                <a:cubicBezTo>
                  <a:pt x="1017" y="1169"/>
                  <a:pt x="1017" y="1169"/>
                  <a:pt x="1017" y="1169"/>
                </a:cubicBezTo>
                <a:cubicBezTo>
                  <a:pt x="1018" y="1169"/>
                  <a:pt x="1018" y="1169"/>
                  <a:pt x="1018" y="1169"/>
                </a:cubicBezTo>
                <a:cubicBezTo>
                  <a:pt x="1018" y="1168"/>
                  <a:pt x="1018" y="1168"/>
                  <a:pt x="1018" y="1168"/>
                </a:cubicBezTo>
                <a:cubicBezTo>
                  <a:pt x="1017" y="1168"/>
                  <a:pt x="1017" y="1168"/>
                  <a:pt x="1017" y="1168"/>
                </a:cubicBezTo>
                <a:cubicBezTo>
                  <a:pt x="1017" y="1167"/>
                  <a:pt x="1017" y="1167"/>
                  <a:pt x="1017" y="1167"/>
                </a:cubicBezTo>
                <a:cubicBezTo>
                  <a:pt x="1018" y="1167"/>
                  <a:pt x="1018" y="1167"/>
                  <a:pt x="1018" y="1167"/>
                </a:cubicBezTo>
                <a:close/>
                <a:moveTo>
                  <a:pt x="745" y="634"/>
                </a:moveTo>
                <a:cubicBezTo>
                  <a:pt x="744" y="634"/>
                  <a:pt x="744" y="634"/>
                  <a:pt x="744" y="634"/>
                </a:cubicBezTo>
                <a:cubicBezTo>
                  <a:pt x="744" y="635"/>
                  <a:pt x="744" y="635"/>
                  <a:pt x="744" y="635"/>
                </a:cubicBezTo>
                <a:cubicBezTo>
                  <a:pt x="745" y="635"/>
                  <a:pt x="745" y="635"/>
                  <a:pt x="745" y="635"/>
                </a:cubicBezTo>
                <a:cubicBezTo>
                  <a:pt x="745" y="634"/>
                  <a:pt x="745" y="634"/>
                  <a:pt x="745" y="634"/>
                </a:cubicBezTo>
                <a:close/>
                <a:moveTo>
                  <a:pt x="663" y="633"/>
                </a:moveTo>
                <a:cubicBezTo>
                  <a:pt x="663" y="632"/>
                  <a:pt x="663" y="632"/>
                  <a:pt x="663" y="632"/>
                </a:cubicBezTo>
                <a:cubicBezTo>
                  <a:pt x="662" y="632"/>
                  <a:pt x="662" y="632"/>
                  <a:pt x="662" y="632"/>
                </a:cubicBezTo>
                <a:cubicBezTo>
                  <a:pt x="663" y="633"/>
                  <a:pt x="663" y="633"/>
                  <a:pt x="663" y="633"/>
                </a:cubicBezTo>
                <a:close/>
                <a:moveTo>
                  <a:pt x="744" y="637"/>
                </a:moveTo>
                <a:cubicBezTo>
                  <a:pt x="743" y="639"/>
                  <a:pt x="743" y="639"/>
                  <a:pt x="743" y="639"/>
                </a:cubicBezTo>
                <a:cubicBezTo>
                  <a:pt x="744" y="638"/>
                  <a:pt x="744" y="638"/>
                  <a:pt x="744" y="638"/>
                </a:cubicBezTo>
                <a:cubicBezTo>
                  <a:pt x="744" y="637"/>
                  <a:pt x="744" y="637"/>
                  <a:pt x="744" y="637"/>
                </a:cubicBezTo>
                <a:close/>
                <a:moveTo>
                  <a:pt x="1034" y="785"/>
                </a:moveTo>
                <a:cubicBezTo>
                  <a:pt x="1034" y="785"/>
                  <a:pt x="1034" y="785"/>
                  <a:pt x="1033" y="785"/>
                </a:cubicBezTo>
                <a:cubicBezTo>
                  <a:pt x="1033" y="785"/>
                  <a:pt x="1033" y="785"/>
                  <a:pt x="1033" y="787"/>
                </a:cubicBezTo>
                <a:cubicBezTo>
                  <a:pt x="1033" y="787"/>
                  <a:pt x="1033" y="787"/>
                  <a:pt x="1034" y="788"/>
                </a:cubicBezTo>
                <a:cubicBezTo>
                  <a:pt x="1034" y="788"/>
                  <a:pt x="1034" y="788"/>
                  <a:pt x="1035" y="787"/>
                </a:cubicBezTo>
                <a:cubicBezTo>
                  <a:pt x="1035" y="787"/>
                  <a:pt x="1035" y="787"/>
                  <a:pt x="1034" y="785"/>
                </a:cubicBezTo>
                <a:close/>
                <a:moveTo>
                  <a:pt x="1128" y="838"/>
                </a:moveTo>
                <a:cubicBezTo>
                  <a:pt x="1128" y="838"/>
                  <a:pt x="1128" y="838"/>
                  <a:pt x="1130" y="842"/>
                </a:cubicBezTo>
                <a:cubicBezTo>
                  <a:pt x="1130" y="842"/>
                  <a:pt x="1130" y="842"/>
                  <a:pt x="1131" y="844"/>
                </a:cubicBezTo>
                <a:cubicBezTo>
                  <a:pt x="1131" y="844"/>
                  <a:pt x="1131" y="844"/>
                  <a:pt x="1131" y="848"/>
                </a:cubicBezTo>
                <a:cubicBezTo>
                  <a:pt x="1131" y="848"/>
                  <a:pt x="1131" y="848"/>
                  <a:pt x="1130" y="849"/>
                </a:cubicBezTo>
                <a:cubicBezTo>
                  <a:pt x="1130" y="849"/>
                  <a:pt x="1130" y="849"/>
                  <a:pt x="1131" y="851"/>
                </a:cubicBezTo>
                <a:cubicBezTo>
                  <a:pt x="1131" y="851"/>
                  <a:pt x="1131" y="851"/>
                  <a:pt x="1131" y="852"/>
                </a:cubicBezTo>
                <a:cubicBezTo>
                  <a:pt x="1131" y="852"/>
                  <a:pt x="1131" y="852"/>
                  <a:pt x="1130" y="853"/>
                </a:cubicBezTo>
                <a:cubicBezTo>
                  <a:pt x="1130" y="853"/>
                  <a:pt x="1130" y="853"/>
                  <a:pt x="1130" y="854"/>
                </a:cubicBezTo>
                <a:cubicBezTo>
                  <a:pt x="1130" y="854"/>
                  <a:pt x="1130" y="854"/>
                  <a:pt x="1129" y="858"/>
                </a:cubicBezTo>
                <a:cubicBezTo>
                  <a:pt x="1129" y="858"/>
                  <a:pt x="1129" y="858"/>
                  <a:pt x="1128" y="859"/>
                </a:cubicBezTo>
                <a:cubicBezTo>
                  <a:pt x="1128" y="859"/>
                  <a:pt x="1128" y="859"/>
                  <a:pt x="1125" y="862"/>
                </a:cubicBezTo>
                <a:cubicBezTo>
                  <a:pt x="1125" y="862"/>
                  <a:pt x="1125" y="862"/>
                  <a:pt x="1123" y="865"/>
                </a:cubicBezTo>
                <a:cubicBezTo>
                  <a:pt x="1123" y="865"/>
                  <a:pt x="1123" y="865"/>
                  <a:pt x="1122" y="866"/>
                </a:cubicBezTo>
                <a:cubicBezTo>
                  <a:pt x="1122" y="866"/>
                  <a:pt x="1122" y="866"/>
                  <a:pt x="1121" y="866"/>
                </a:cubicBezTo>
                <a:cubicBezTo>
                  <a:pt x="1121" y="866"/>
                  <a:pt x="1121" y="866"/>
                  <a:pt x="1120" y="867"/>
                </a:cubicBezTo>
                <a:cubicBezTo>
                  <a:pt x="1120" y="867"/>
                  <a:pt x="1120" y="867"/>
                  <a:pt x="1117" y="869"/>
                </a:cubicBezTo>
                <a:cubicBezTo>
                  <a:pt x="1117" y="869"/>
                  <a:pt x="1117" y="869"/>
                  <a:pt x="1116" y="871"/>
                </a:cubicBezTo>
                <a:cubicBezTo>
                  <a:pt x="1116" y="871"/>
                  <a:pt x="1116" y="871"/>
                  <a:pt x="1115" y="873"/>
                </a:cubicBezTo>
                <a:cubicBezTo>
                  <a:pt x="1115" y="873"/>
                  <a:pt x="1115" y="873"/>
                  <a:pt x="1115" y="874"/>
                </a:cubicBezTo>
                <a:cubicBezTo>
                  <a:pt x="1115" y="874"/>
                  <a:pt x="1115" y="874"/>
                  <a:pt x="1114" y="876"/>
                </a:cubicBezTo>
                <a:cubicBezTo>
                  <a:pt x="1114" y="876"/>
                  <a:pt x="1114" y="876"/>
                  <a:pt x="1113" y="878"/>
                </a:cubicBezTo>
                <a:cubicBezTo>
                  <a:pt x="1113" y="878"/>
                  <a:pt x="1113" y="878"/>
                  <a:pt x="1111" y="881"/>
                </a:cubicBezTo>
                <a:cubicBezTo>
                  <a:pt x="1111" y="881"/>
                  <a:pt x="1111" y="881"/>
                  <a:pt x="1110" y="882"/>
                </a:cubicBezTo>
                <a:cubicBezTo>
                  <a:pt x="1110" y="882"/>
                  <a:pt x="1110" y="882"/>
                  <a:pt x="1108" y="883"/>
                </a:cubicBezTo>
                <a:cubicBezTo>
                  <a:pt x="1108" y="883"/>
                  <a:pt x="1108" y="883"/>
                  <a:pt x="1108" y="882"/>
                </a:cubicBezTo>
                <a:cubicBezTo>
                  <a:pt x="1108" y="882"/>
                  <a:pt x="1108" y="882"/>
                  <a:pt x="1109" y="882"/>
                </a:cubicBezTo>
                <a:cubicBezTo>
                  <a:pt x="1109" y="882"/>
                  <a:pt x="1109" y="882"/>
                  <a:pt x="1110" y="881"/>
                </a:cubicBezTo>
                <a:cubicBezTo>
                  <a:pt x="1110" y="881"/>
                  <a:pt x="1110" y="881"/>
                  <a:pt x="1109" y="880"/>
                </a:cubicBezTo>
                <a:cubicBezTo>
                  <a:pt x="1109" y="880"/>
                  <a:pt x="1109" y="880"/>
                  <a:pt x="1108" y="880"/>
                </a:cubicBezTo>
                <a:cubicBezTo>
                  <a:pt x="1108" y="880"/>
                  <a:pt x="1108" y="880"/>
                  <a:pt x="1107" y="881"/>
                </a:cubicBezTo>
                <a:cubicBezTo>
                  <a:pt x="1107" y="881"/>
                  <a:pt x="1107" y="881"/>
                  <a:pt x="1106" y="881"/>
                </a:cubicBezTo>
                <a:cubicBezTo>
                  <a:pt x="1106" y="881"/>
                  <a:pt x="1106" y="881"/>
                  <a:pt x="1105" y="880"/>
                </a:cubicBezTo>
                <a:cubicBezTo>
                  <a:pt x="1105" y="880"/>
                  <a:pt x="1105" y="880"/>
                  <a:pt x="1104" y="880"/>
                </a:cubicBezTo>
                <a:cubicBezTo>
                  <a:pt x="1104" y="880"/>
                  <a:pt x="1104" y="880"/>
                  <a:pt x="1106" y="881"/>
                </a:cubicBezTo>
                <a:cubicBezTo>
                  <a:pt x="1106" y="881"/>
                  <a:pt x="1106" y="881"/>
                  <a:pt x="1107" y="882"/>
                </a:cubicBezTo>
                <a:cubicBezTo>
                  <a:pt x="1107" y="882"/>
                  <a:pt x="1107" y="882"/>
                  <a:pt x="1107" y="884"/>
                </a:cubicBezTo>
                <a:cubicBezTo>
                  <a:pt x="1107" y="884"/>
                  <a:pt x="1107" y="884"/>
                  <a:pt x="1106" y="884"/>
                </a:cubicBezTo>
                <a:cubicBezTo>
                  <a:pt x="1106" y="884"/>
                  <a:pt x="1106" y="884"/>
                  <a:pt x="1106" y="885"/>
                </a:cubicBezTo>
                <a:cubicBezTo>
                  <a:pt x="1106" y="885"/>
                  <a:pt x="1106" y="885"/>
                  <a:pt x="1106" y="886"/>
                </a:cubicBezTo>
                <a:cubicBezTo>
                  <a:pt x="1106" y="886"/>
                  <a:pt x="1106" y="886"/>
                  <a:pt x="1105" y="888"/>
                </a:cubicBezTo>
                <a:cubicBezTo>
                  <a:pt x="1105" y="888"/>
                  <a:pt x="1105" y="888"/>
                  <a:pt x="1105" y="889"/>
                </a:cubicBezTo>
                <a:cubicBezTo>
                  <a:pt x="1105" y="889"/>
                  <a:pt x="1105" y="889"/>
                  <a:pt x="1106" y="889"/>
                </a:cubicBezTo>
                <a:cubicBezTo>
                  <a:pt x="1106" y="889"/>
                  <a:pt x="1106" y="889"/>
                  <a:pt x="1107" y="889"/>
                </a:cubicBezTo>
                <a:cubicBezTo>
                  <a:pt x="1107" y="889"/>
                  <a:pt x="1107" y="889"/>
                  <a:pt x="1107" y="890"/>
                </a:cubicBezTo>
                <a:cubicBezTo>
                  <a:pt x="1107" y="890"/>
                  <a:pt x="1107" y="890"/>
                  <a:pt x="1106" y="891"/>
                </a:cubicBezTo>
                <a:cubicBezTo>
                  <a:pt x="1106" y="891"/>
                  <a:pt x="1106" y="891"/>
                  <a:pt x="1106" y="893"/>
                </a:cubicBezTo>
                <a:cubicBezTo>
                  <a:pt x="1106" y="893"/>
                  <a:pt x="1106" y="893"/>
                  <a:pt x="1107" y="901"/>
                </a:cubicBezTo>
                <a:cubicBezTo>
                  <a:pt x="1107" y="901"/>
                  <a:pt x="1107" y="901"/>
                  <a:pt x="1106" y="903"/>
                </a:cubicBezTo>
                <a:cubicBezTo>
                  <a:pt x="1106" y="903"/>
                  <a:pt x="1106" y="903"/>
                  <a:pt x="1106" y="904"/>
                </a:cubicBezTo>
                <a:cubicBezTo>
                  <a:pt x="1106" y="904"/>
                  <a:pt x="1106" y="904"/>
                  <a:pt x="1106" y="906"/>
                </a:cubicBezTo>
                <a:cubicBezTo>
                  <a:pt x="1106" y="906"/>
                  <a:pt x="1106" y="906"/>
                  <a:pt x="1106" y="908"/>
                </a:cubicBezTo>
                <a:cubicBezTo>
                  <a:pt x="1106" y="908"/>
                  <a:pt x="1106" y="908"/>
                  <a:pt x="1105" y="911"/>
                </a:cubicBezTo>
                <a:cubicBezTo>
                  <a:pt x="1105" y="911"/>
                  <a:pt x="1105" y="911"/>
                  <a:pt x="1106" y="913"/>
                </a:cubicBezTo>
                <a:cubicBezTo>
                  <a:pt x="1106" y="913"/>
                  <a:pt x="1106" y="913"/>
                  <a:pt x="1105" y="914"/>
                </a:cubicBezTo>
                <a:cubicBezTo>
                  <a:pt x="1105" y="914"/>
                  <a:pt x="1105" y="914"/>
                  <a:pt x="1104" y="915"/>
                </a:cubicBezTo>
                <a:cubicBezTo>
                  <a:pt x="1104" y="915"/>
                  <a:pt x="1104" y="915"/>
                  <a:pt x="1103" y="916"/>
                </a:cubicBezTo>
                <a:cubicBezTo>
                  <a:pt x="1103" y="916"/>
                  <a:pt x="1103" y="916"/>
                  <a:pt x="1103" y="917"/>
                </a:cubicBezTo>
                <a:cubicBezTo>
                  <a:pt x="1103" y="917"/>
                  <a:pt x="1103" y="917"/>
                  <a:pt x="1102" y="920"/>
                </a:cubicBezTo>
                <a:cubicBezTo>
                  <a:pt x="1102" y="920"/>
                  <a:pt x="1102" y="920"/>
                  <a:pt x="1103" y="924"/>
                </a:cubicBezTo>
                <a:cubicBezTo>
                  <a:pt x="1103" y="924"/>
                  <a:pt x="1103" y="924"/>
                  <a:pt x="1103" y="926"/>
                </a:cubicBezTo>
                <a:cubicBezTo>
                  <a:pt x="1103" y="926"/>
                  <a:pt x="1103" y="926"/>
                  <a:pt x="1100" y="928"/>
                </a:cubicBezTo>
                <a:cubicBezTo>
                  <a:pt x="1100" y="928"/>
                  <a:pt x="1100" y="928"/>
                  <a:pt x="1099" y="931"/>
                </a:cubicBezTo>
                <a:cubicBezTo>
                  <a:pt x="1099" y="931"/>
                  <a:pt x="1099" y="931"/>
                  <a:pt x="1099" y="933"/>
                </a:cubicBezTo>
                <a:cubicBezTo>
                  <a:pt x="1099" y="933"/>
                  <a:pt x="1099" y="933"/>
                  <a:pt x="1098" y="933"/>
                </a:cubicBezTo>
                <a:cubicBezTo>
                  <a:pt x="1098" y="933"/>
                  <a:pt x="1098" y="933"/>
                  <a:pt x="1097" y="934"/>
                </a:cubicBezTo>
                <a:cubicBezTo>
                  <a:pt x="1097" y="934"/>
                  <a:pt x="1097" y="934"/>
                  <a:pt x="1097" y="935"/>
                </a:cubicBezTo>
                <a:cubicBezTo>
                  <a:pt x="1097" y="935"/>
                  <a:pt x="1097" y="935"/>
                  <a:pt x="1096" y="936"/>
                </a:cubicBezTo>
                <a:cubicBezTo>
                  <a:pt x="1096" y="936"/>
                  <a:pt x="1096" y="936"/>
                  <a:pt x="1095" y="938"/>
                </a:cubicBezTo>
                <a:cubicBezTo>
                  <a:pt x="1095" y="938"/>
                  <a:pt x="1095" y="938"/>
                  <a:pt x="1097" y="940"/>
                </a:cubicBezTo>
                <a:cubicBezTo>
                  <a:pt x="1097" y="940"/>
                  <a:pt x="1097" y="940"/>
                  <a:pt x="1097" y="941"/>
                </a:cubicBezTo>
                <a:cubicBezTo>
                  <a:pt x="1097" y="941"/>
                  <a:pt x="1097" y="941"/>
                  <a:pt x="1096" y="942"/>
                </a:cubicBezTo>
                <a:cubicBezTo>
                  <a:pt x="1096" y="942"/>
                  <a:pt x="1096" y="942"/>
                  <a:pt x="1095" y="942"/>
                </a:cubicBezTo>
                <a:cubicBezTo>
                  <a:pt x="1095" y="942"/>
                  <a:pt x="1095" y="942"/>
                  <a:pt x="1093" y="943"/>
                </a:cubicBezTo>
                <a:cubicBezTo>
                  <a:pt x="1093" y="943"/>
                  <a:pt x="1093" y="943"/>
                  <a:pt x="1090" y="945"/>
                </a:cubicBezTo>
                <a:cubicBezTo>
                  <a:pt x="1090" y="945"/>
                  <a:pt x="1090" y="945"/>
                  <a:pt x="1090" y="946"/>
                </a:cubicBezTo>
                <a:cubicBezTo>
                  <a:pt x="1090" y="946"/>
                  <a:pt x="1090" y="946"/>
                  <a:pt x="1090" y="947"/>
                </a:cubicBezTo>
                <a:cubicBezTo>
                  <a:pt x="1090" y="947"/>
                  <a:pt x="1090" y="947"/>
                  <a:pt x="1089" y="948"/>
                </a:cubicBezTo>
                <a:cubicBezTo>
                  <a:pt x="1089" y="948"/>
                  <a:pt x="1089" y="948"/>
                  <a:pt x="1087" y="947"/>
                </a:cubicBezTo>
                <a:cubicBezTo>
                  <a:pt x="1087" y="947"/>
                  <a:pt x="1087" y="947"/>
                  <a:pt x="1085" y="947"/>
                </a:cubicBezTo>
                <a:cubicBezTo>
                  <a:pt x="1085" y="947"/>
                  <a:pt x="1085" y="947"/>
                  <a:pt x="1084" y="948"/>
                </a:cubicBezTo>
                <a:cubicBezTo>
                  <a:pt x="1084" y="948"/>
                  <a:pt x="1084" y="948"/>
                  <a:pt x="1082" y="948"/>
                </a:cubicBezTo>
                <a:cubicBezTo>
                  <a:pt x="1082" y="948"/>
                  <a:pt x="1082" y="948"/>
                  <a:pt x="1082" y="946"/>
                </a:cubicBezTo>
                <a:cubicBezTo>
                  <a:pt x="1082" y="946"/>
                  <a:pt x="1082" y="946"/>
                  <a:pt x="1081" y="946"/>
                </a:cubicBezTo>
                <a:cubicBezTo>
                  <a:pt x="1081" y="946"/>
                  <a:pt x="1081" y="946"/>
                  <a:pt x="1081" y="947"/>
                </a:cubicBezTo>
                <a:cubicBezTo>
                  <a:pt x="1081" y="947"/>
                  <a:pt x="1081" y="947"/>
                  <a:pt x="1078" y="948"/>
                </a:cubicBezTo>
                <a:cubicBezTo>
                  <a:pt x="1078" y="948"/>
                  <a:pt x="1078" y="948"/>
                  <a:pt x="1076" y="949"/>
                </a:cubicBezTo>
                <a:cubicBezTo>
                  <a:pt x="1076" y="949"/>
                  <a:pt x="1076" y="949"/>
                  <a:pt x="1075" y="948"/>
                </a:cubicBezTo>
                <a:cubicBezTo>
                  <a:pt x="1075" y="948"/>
                  <a:pt x="1075" y="948"/>
                  <a:pt x="1077" y="948"/>
                </a:cubicBezTo>
                <a:cubicBezTo>
                  <a:pt x="1077" y="948"/>
                  <a:pt x="1077" y="948"/>
                  <a:pt x="1079" y="947"/>
                </a:cubicBezTo>
                <a:cubicBezTo>
                  <a:pt x="1079" y="947"/>
                  <a:pt x="1079" y="947"/>
                  <a:pt x="1079" y="946"/>
                </a:cubicBezTo>
                <a:cubicBezTo>
                  <a:pt x="1079" y="946"/>
                  <a:pt x="1079" y="946"/>
                  <a:pt x="1078" y="946"/>
                </a:cubicBezTo>
                <a:cubicBezTo>
                  <a:pt x="1078" y="946"/>
                  <a:pt x="1078" y="946"/>
                  <a:pt x="1077" y="947"/>
                </a:cubicBezTo>
                <a:cubicBezTo>
                  <a:pt x="1077" y="947"/>
                  <a:pt x="1077" y="947"/>
                  <a:pt x="1076" y="947"/>
                </a:cubicBezTo>
                <a:cubicBezTo>
                  <a:pt x="1076" y="947"/>
                  <a:pt x="1076" y="947"/>
                  <a:pt x="1075" y="947"/>
                </a:cubicBezTo>
                <a:cubicBezTo>
                  <a:pt x="1075" y="947"/>
                  <a:pt x="1075" y="947"/>
                  <a:pt x="1073" y="948"/>
                </a:cubicBezTo>
                <a:cubicBezTo>
                  <a:pt x="1073" y="948"/>
                  <a:pt x="1073" y="948"/>
                  <a:pt x="1072" y="948"/>
                </a:cubicBezTo>
                <a:cubicBezTo>
                  <a:pt x="1072" y="948"/>
                  <a:pt x="1072" y="948"/>
                  <a:pt x="1073" y="949"/>
                </a:cubicBezTo>
                <a:cubicBezTo>
                  <a:pt x="1073" y="949"/>
                  <a:pt x="1073" y="949"/>
                  <a:pt x="1074" y="949"/>
                </a:cubicBezTo>
                <a:cubicBezTo>
                  <a:pt x="1074" y="949"/>
                  <a:pt x="1074" y="949"/>
                  <a:pt x="1074" y="950"/>
                </a:cubicBezTo>
                <a:cubicBezTo>
                  <a:pt x="1074" y="950"/>
                  <a:pt x="1074" y="950"/>
                  <a:pt x="1073" y="950"/>
                </a:cubicBezTo>
                <a:cubicBezTo>
                  <a:pt x="1073" y="950"/>
                  <a:pt x="1073" y="950"/>
                  <a:pt x="1070" y="952"/>
                </a:cubicBezTo>
                <a:cubicBezTo>
                  <a:pt x="1070" y="952"/>
                  <a:pt x="1070" y="952"/>
                  <a:pt x="1069" y="954"/>
                </a:cubicBezTo>
                <a:cubicBezTo>
                  <a:pt x="1069" y="954"/>
                  <a:pt x="1069" y="954"/>
                  <a:pt x="1068" y="954"/>
                </a:cubicBezTo>
                <a:cubicBezTo>
                  <a:pt x="1068" y="954"/>
                  <a:pt x="1068" y="954"/>
                  <a:pt x="1066" y="954"/>
                </a:cubicBezTo>
                <a:cubicBezTo>
                  <a:pt x="1066" y="954"/>
                  <a:pt x="1066" y="954"/>
                  <a:pt x="1065" y="955"/>
                </a:cubicBezTo>
                <a:cubicBezTo>
                  <a:pt x="1065" y="955"/>
                  <a:pt x="1065" y="955"/>
                  <a:pt x="1064" y="956"/>
                </a:cubicBezTo>
                <a:cubicBezTo>
                  <a:pt x="1064" y="956"/>
                  <a:pt x="1064" y="956"/>
                  <a:pt x="1062" y="956"/>
                </a:cubicBezTo>
                <a:cubicBezTo>
                  <a:pt x="1062" y="956"/>
                  <a:pt x="1062" y="956"/>
                  <a:pt x="1059" y="959"/>
                </a:cubicBezTo>
                <a:cubicBezTo>
                  <a:pt x="1059" y="959"/>
                  <a:pt x="1059" y="959"/>
                  <a:pt x="1057" y="960"/>
                </a:cubicBezTo>
                <a:cubicBezTo>
                  <a:pt x="1057" y="960"/>
                  <a:pt x="1057" y="960"/>
                  <a:pt x="1055" y="962"/>
                </a:cubicBezTo>
                <a:cubicBezTo>
                  <a:pt x="1055" y="962"/>
                  <a:pt x="1055" y="962"/>
                  <a:pt x="1054" y="963"/>
                </a:cubicBezTo>
                <a:cubicBezTo>
                  <a:pt x="1054" y="963"/>
                  <a:pt x="1054" y="963"/>
                  <a:pt x="1052" y="965"/>
                </a:cubicBezTo>
                <a:cubicBezTo>
                  <a:pt x="1052" y="965"/>
                  <a:pt x="1052" y="965"/>
                  <a:pt x="1052" y="964"/>
                </a:cubicBezTo>
                <a:cubicBezTo>
                  <a:pt x="1052" y="964"/>
                  <a:pt x="1052" y="964"/>
                  <a:pt x="1051" y="966"/>
                </a:cubicBezTo>
                <a:cubicBezTo>
                  <a:pt x="1051" y="966"/>
                  <a:pt x="1051" y="966"/>
                  <a:pt x="1050" y="966"/>
                </a:cubicBezTo>
                <a:cubicBezTo>
                  <a:pt x="1050" y="966"/>
                  <a:pt x="1050" y="966"/>
                  <a:pt x="1051" y="967"/>
                </a:cubicBezTo>
                <a:cubicBezTo>
                  <a:pt x="1051" y="967"/>
                  <a:pt x="1051" y="967"/>
                  <a:pt x="1051" y="968"/>
                </a:cubicBezTo>
                <a:cubicBezTo>
                  <a:pt x="1051" y="968"/>
                  <a:pt x="1051" y="968"/>
                  <a:pt x="1050" y="968"/>
                </a:cubicBezTo>
                <a:cubicBezTo>
                  <a:pt x="1050" y="968"/>
                  <a:pt x="1050" y="968"/>
                  <a:pt x="1050" y="969"/>
                </a:cubicBezTo>
                <a:cubicBezTo>
                  <a:pt x="1050" y="969"/>
                  <a:pt x="1050" y="969"/>
                  <a:pt x="1051" y="970"/>
                </a:cubicBezTo>
                <a:cubicBezTo>
                  <a:pt x="1051" y="970"/>
                  <a:pt x="1051" y="970"/>
                  <a:pt x="1049" y="970"/>
                </a:cubicBezTo>
                <a:cubicBezTo>
                  <a:pt x="1049" y="970"/>
                  <a:pt x="1049" y="970"/>
                  <a:pt x="1049" y="971"/>
                </a:cubicBezTo>
                <a:cubicBezTo>
                  <a:pt x="1049" y="971"/>
                  <a:pt x="1049" y="971"/>
                  <a:pt x="1049" y="972"/>
                </a:cubicBezTo>
                <a:cubicBezTo>
                  <a:pt x="1049" y="972"/>
                  <a:pt x="1049" y="972"/>
                  <a:pt x="1050" y="974"/>
                </a:cubicBezTo>
                <a:cubicBezTo>
                  <a:pt x="1050" y="974"/>
                  <a:pt x="1050" y="974"/>
                  <a:pt x="1050" y="975"/>
                </a:cubicBezTo>
                <a:cubicBezTo>
                  <a:pt x="1050" y="975"/>
                  <a:pt x="1050" y="975"/>
                  <a:pt x="1050" y="976"/>
                </a:cubicBezTo>
                <a:cubicBezTo>
                  <a:pt x="1050" y="976"/>
                  <a:pt x="1050" y="976"/>
                  <a:pt x="1050" y="977"/>
                </a:cubicBezTo>
                <a:cubicBezTo>
                  <a:pt x="1050" y="977"/>
                  <a:pt x="1050" y="977"/>
                  <a:pt x="1051" y="978"/>
                </a:cubicBezTo>
                <a:cubicBezTo>
                  <a:pt x="1051" y="978"/>
                  <a:pt x="1051" y="978"/>
                  <a:pt x="1051" y="980"/>
                </a:cubicBezTo>
                <a:cubicBezTo>
                  <a:pt x="1051" y="980"/>
                  <a:pt x="1051" y="980"/>
                  <a:pt x="1052" y="980"/>
                </a:cubicBezTo>
                <a:cubicBezTo>
                  <a:pt x="1052" y="980"/>
                  <a:pt x="1052" y="980"/>
                  <a:pt x="1051" y="981"/>
                </a:cubicBezTo>
                <a:cubicBezTo>
                  <a:pt x="1051" y="981"/>
                  <a:pt x="1051" y="981"/>
                  <a:pt x="1052" y="982"/>
                </a:cubicBezTo>
                <a:cubicBezTo>
                  <a:pt x="1052" y="982"/>
                  <a:pt x="1052" y="982"/>
                  <a:pt x="1051" y="983"/>
                </a:cubicBezTo>
                <a:cubicBezTo>
                  <a:pt x="1051" y="983"/>
                  <a:pt x="1051" y="983"/>
                  <a:pt x="1050" y="984"/>
                </a:cubicBezTo>
                <a:cubicBezTo>
                  <a:pt x="1050" y="984"/>
                  <a:pt x="1050" y="984"/>
                  <a:pt x="1050" y="985"/>
                </a:cubicBezTo>
                <a:cubicBezTo>
                  <a:pt x="1050" y="985"/>
                  <a:pt x="1050" y="985"/>
                  <a:pt x="1050" y="986"/>
                </a:cubicBezTo>
                <a:cubicBezTo>
                  <a:pt x="1050" y="986"/>
                  <a:pt x="1050" y="986"/>
                  <a:pt x="1049" y="987"/>
                </a:cubicBezTo>
                <a:cubicBezTo>
                  <a:pt x="1049" y="987"/>
                  <a:pt x="1049" y="987"/>
                  <a:pt x="1047" y="990"/>
                </a:cubicBezTo>
                <a:cubicBezTo>
                  <a:pt x="1047" y="990"/>
                  <a:pt x="1047" y="990"/>
                  <a:pt x="1044" y="995"/>
                </a:cubicBezTo>
                <a:cubicBezTo>
                  <a:pt x="1044" y="995"/>
                  <a:pt x="1044" y="995"/>
                  <a:pt x="1043" y="999"/>
                </a:cubicBezTo>
                <a:cubicBezTo>
                  <a:pt x="1043" y="999"/>
                  <a:pt x="1043" y="999"/>
                  <a:pt x="1041" y="1001"/>
                </a:cubicBezTo>
                <a:cubicBezTo>
                  <a:pt x="1041" y="1001"/>
                  <a:pt x="1041" y="1001"/>
                  <a:pt x="1039" y="1006"/>
                </a:cubicBezTo>
                <a:cubicBezTo>
                  <a:pt x="1039" y="1006"/>
                  <a:pt x="1039" y="1006"/>
                  <a:pt x="1036" y="1008"/>
                </a:cubicBezTo>
                <a:cubicBezTo>
                  <a:pt x="1036" y="1008"/>
                  <a:pt x="1036" y="1008"/>
                  <a:pt x="1036" y="1007"/>
                </a:cubicBezTo>
                <a:cubicBezTo>
                  <a:pt x="1036" y="1007"/>
                  <a:pt x="1036" y="1007"/>
                  <a:pt x="1036" y="1005"/>
                </a:cubicBezTo>
                <a:cubicBezTo>
                  <a:pt x="1036" y="1005"/>
                  <a:pt x="1036" y="1005"/>
                  <a:pt x="1037" y="1005"/>
                </a:cubicBezTo>
                <a:cubicBezTo>
                  <a:pt x="1037" y="1005"/>
                  <a:pt x="1037" y="1005"/>
                  <a:pt x="1039" y="1003"/>
                </a:cubicBezTo>
                <a:cubicBezTo>
                  <a:pt x="1039" y="1003"/>
                  <a:pt x="1039" y="1003"/>
                  <a:pt x="1040" y="1001"/>
                </a:cubicBezTo>
                <a:cubicBezTo>
                  <a:pt x="1040" y="1001"/>
                  <a:pt x="1040" y="1001"/>
                  <a:pt x="1040" y="999"/>
                </a:cubicBezTo>
                <a:cubicBezTo>
                  <a:pt x="1040" y="999"/>
                  <a:pt x="1040" y="999"/>
                  <a:pt x="1039" y="999"/>
                </a:cubicBezTo>
                <a:cubicBezTo>
                  <a:pt x="1039" y="999"/>
                  <a:pt x="1039" y="999"/>
                  <a:pt x="1038" y="999"/>
                </a:cubicBezTo>
                <a:cubicBezTo>
                  <a:pt x="1038" y="999"/>
                  <a:pt x="1038" y="999"/>
                  <a:pt x="1037" y="998"/>
                </a:cubicBezTo>
                <a:cubicBezTo>
                  <a:pt x="1037" y="998"/>
                  <a:pt x="1037" y="998"/>
                  <a:pt x="1036" y="996"/>
                </a:cubicBezTo>
                <a:cubicBezTo>
                  <a:pt x="1036" y="996"/>
                  <a:pt x="1036" y="996"/>
                  <a:pt x="1035" y="996"/>
                </a:cubicBezTo>
                <a:cubicBezTo>
                  <a:pt x="1035" y="996"/>
                  <a:pt x="1035" y="996"/>
                  <a:pt x="1036" y="997"/>
                </a:cubicBezTo>
                <a:cubicBezTo>
                  <a:pt x="1036" y="997"/>
                  <a:pt x="1036" y="997"/>
                  <a:pt x="1036" y="998"/>
                </a:cubicBezTo>
                <a:cubicBezTo>
                  <a:pt x="1036" y="998"/>
                  <a:pt x="1036" y="998"/>
                  <a:pt x="1037" y="999"/>
                </a:cubicBezTo>
                <a:cubicBezTo>
                  <a:pt x="1037" y="999"/>
                  <a:pt x="1037" y="999"/>
                  <a:pt x="1037" y="1000"/>
                </a:cubicBezTo>
                <a:cubicBezTo>
                  <a:pt x="1037" y="1000"/>
                  <a:pt x="1037" y="1000"/>
                  <a:pt x="1036" y="1001"/>
                </a:cubicBezTo>
                <a:cubicBezTo>
                  <a:pt x="1036" y="1001"/>
                  <a:pt x="1036" y="1001"/>
                  <a:pt x="1035" y="1002"/>
                </a:cubicBezTo>
                <a:cubicBezTo>
                  <a:pt x="1035" y="1002"/>
                  <a:pt x="1035" y="1002"/>
                  <a:pt x="1035" y="1003"/>
                </a:cubicBezTo>
                <a:cubicBezTo>
                  <a:pt x="1035" y="1003"/>
                  <a:pt x="1035" y="1003"/>
                  <a:pt x="1035" y="1004"/>
                </a:cubicBezTo>
                <a:cubicBezTo>
                  <a:pt x="1035" y="1004"/>
                  <a:pt x="1035" y="1004"/>
                  <a:pt x="1035" y="1005"/>
                </a:cubicBezTo>
                <a:cubicBezTo>
                  <a:pt x="1035" y="1005"/>
                  <a:pt x="1035" y="1005"/>
                  <a:pt x="1034" y="1006"/>
                </a:cubicBezTo>
                <a:cubicBezTo>
                  <a:pt x="1034" y="1006"/>
                  <a:pt x="1034" y="1006"/>
                  <a:pt x="1033" y="1006"/>
                </a:cubicBezTo>
                <a:cubicBezTo>
                  <a:pt x="1033" y="1006"/>
                  <a:pt x="1033" y="1006"/>
                  <a:pt x="1032" y="1006"/>
                </a:cubicBezTo>
                <a:cubicBezTo>
                  <a:pt x="1032" y="1006"/>
                  <a:pt x="1032" y="1006"/>
                  <a:pt x="1032" y="1007"/>
                </a:cubicBezTo>
                <a:cubicBezTo>
                  <a:pt x="1032" y="1007"/>
                  <a:pt x="1032" y="1007"/>
                  <a:pt x="1031" y="1008"/>
                </a:cubicBezTo>
                <a:cubicBezTo>
                  <a:pt x="1031" y="1008"/>
                  <a:pt x="1031" y="1008"/>
                  <a:pt x="1031" y="1009"/>
                </a:cubicBezTo>
                <a:cubicBezTo>
                  <a:pt x="1031" y="1009"/>
                  <a:pt x="1031" y="1009"/>
                  <a:pt x="1030" y="1009"/>
                </a:cubicBezTo>
                <a:cubicBezTo>
                  <a:pt x="1030" y="1009"/>
                  <a:pt x="1030" y="1009"/>
                  <a:pt x="1030" y="1010"/>
                </a:cubicBezTo>
                <a:cubicBezTo>
                  <a:pt x="1030" y="1010"/>
                  <a:pt x="1030" y="1010"/>
                  <a:pt x="1031" y="1012"/>
                </a:cubicBezTo>
                <a:cubicBezTo>
                  <a:pt x="1031" y="1012"/>
                  <a:pt x="1031" y="1012"/>
                  <a:pt x="1031" y="1013"/>
                </a:cubicBezTo>
                <a:cubicBezTo>
                  <a:pt x="1031" y="1013"/>
                  <a:pt x="1031" y="1013"/>
                  <a:pt x="1030" y="1016"/>
                </a:cubicBezTo>
                <a:cubicBezTo>
                  <a:pt x="1030" y="1016"/>
                  <a:pt x="1030" y="1016"/>
                  <a:pt x="1029" y="1020"/>
                </a:cubicBezTo>
                <a:cubicBezTo>
                  <a:pt x="1029" y="1020"/>
                  <a:pt x="1029" y="1020"/>
                  <a:pt x="1028" y="1022"/>
                </a:cubicBezTo>
                <a:cubicBezTo>
                  <a:pt x="1028" y="1022"/>
                  <a:pt x="1028" y="1022"/>
                  <a:pt x="1026" y="1024"/>
                </a:cubicBezTo>
                <a:cubicBezTo>
                  <a:pt x="1026" y="1024"/>
                  <a:pt x="1026" y="1024"/>
                  <a:pt x="1025" y="1025"/>
                </a:cubicBezTo>
                <a:cubicBezTo>
                  <a:pt x="1025" y="1025"/>
                  <a:pt x="1025" y="1025"/>
                  <a:pt x="1024" y="1026"/>
                </a:cubicBezTo>
                <a:cubicBezTo>
                  <a:pt x="1024" y="1026"/>
                  <a:pt x="1024" y="1026"/>
                  <a:pt x="1024" y="1028"/>
                </a:cubicBezTo>
                <a:cubicBezTo>
                  <a:pt x="1024" y="1028"/>
                  <a:pt x="1024" y="1028"/>
                  <a:pt x="1023" y="1029"/>
                </a:cubicBezTo>
                <a:cubicBezTo>
                  <a:pt x="1023" y="1029"/>
                  <a:pt x="1023" y="1029"/>
                  <a:pt x="1022" y="1030"/>
                </a:cubicBezTo>
                <a:cubicBezTo>
                  <a:pt x="1022" y="1030"/>
                  <a:pt x="1022" y="1030"/>
                  <a:pt x="1022" y="1031"/>
                </a:cubicBezTo>
                <a:cubicBezTo>
                  <a:pt x="1022" y="1031"/>
                  <a:pt x="1022" y="1031"/>
                  <a:pt x="1021" y="1032"/>
                </a:cubicBezTo>
                <a:cubicBezTo>
                  <a:pt x="1021" y="1032"/>
                  <a:pt x="1021" y="1032"/>
                  <a:pt x="1018" y="1033"/>
                </a:cubicBezTo>
                <a:cubicBezTo>
                  <a:pt x="1018" y="1033"/>
                  <a:pt x="1018" y="1033"/>
                  <a:pt x="1017" y="1033"/>
                </a:cubicBezTo>
                <a:cubicBezTo>
                  <a:pt x="1017" y="1033"/>
                  <a:pt x="1017" y="1033"/>
                  <a:pt x="1017" y="1034"/>
                </a:cubicBezTo>
                <a:cubicBezTo>
                  <a:pt x="1017" y="1034"/>
                  <a:pt x="1017" y="1034"/>
                  <a:pt x="1016" y="1034"/>
                </a:cubicBezTo>
                <a:cubicBezTo>
                  <a:pt x="1016" y="1034"/>
                  <a:pt x="1016" y="1034"/>
                  <a:pt x="1015" y="1034"/>
                </a:cubicBezTo>
                <a:cubicBezTo>
                  <a:pt x="1015" y="1034"/>
                  <a:pt x="1015" y="1034"/>
                  <a:pt x="1014" y="1034"/>
                </a:cubicBezTo>
                <a:cubicBezTo>
                  <a:pt x="1014" y="1034"/>
                  <a:pt x="1014" y="1034"/>
                  <a:pt x="1013" y="1033"/>
                </a:cubicBezTo>
                <a:cubicBezTo>
                  <a:pt x="1013" y="1033"/>
                  <a:pt x="1013" y="1033"/>
                  <a:pt x="1012" y="1033"/>
                </a:cubicBezTo>
                <a:cubicBezTo>
                  <a:pt x="1012" y="1033"/>
                  <a:pt x="1012" y="1033"/>
                  <a:pt x="1010" y="1033"/>
                </a:cubicBezTo>
                <a:cubicBezTo>
                  <a:pt x="1010" y="1033"/>
                  <a:pt x="1010" y="1033"/>
                  <a:pt x="1009" y="1034"/>
                </a:cubicBezTo>
                <a:cubicBezTo>
                  <a:pt x="1009" y="1034"/>
                  <a:pt x="1009" y="1034"/>
                  <a:pt x="1008" y="1034"/>
                </a:cubicBezTo>
                <a:cubicBezTo>
                  <a:pt x="1008" y="1034"/>
                  <a:pt x="1008" y="1034"/>
                  <a:pt x="1008" y="1033"/>
                </a:cubicBezTo>
                <a:cubicBezTo>
                  <a:pt x="1008" y="1033"/>
                  <a:pt x="1008" y="1033"/>
                  <a:pt x="1007" y="1033"/>
                </a:cubicBezTo>
                <a:cubicBezTo>
                  <a:pt x="1007" y="1033"/>
                  <a:pt x="1007" y="1033"/>
                  <a:pt x="1006" y="1032"/>
                </a:cubicBezTo>
                <a:cubicBezTo>
                  <a:pt x="1006" y="1032"/>
                  <a:pt x="1006" y="1032"/>
                  <a:pt x="1004" y="1031"/>
                </a:cubicBezTo>
                <a:cubicBezTo>
                  <a:pt x="1004" y="1031"/>
                  <a:pt x="1004" y="1031"/>
                  <a:pt x="1002" y="1031"/>
                </a:cubicBezTo>
                <a:cubicBezTo>
                  <a:pt x="1002" y="1031"/>
                  <a:pt x="1002" y="1031"/>
                  <a:pt x="1000" y="1031"/>
                </a:cubicBezTo>
                <a:cubicBezTo>
                  <a:pt x="1000" y="1031"/>
                  <a:pt x="1000" y="1031"/>
                  <a:pt x="999" y="1031"/>
                </a:cubicBezTo>
                <a:cubicBezTo>
                  <a:pt x="999" y="1031"/>
                  <a:pt x="999" y="1031"/>
                  <a:pt x="997" y="1030"/>
                </a:cubicBezTo>
                <a:cubicBezTo>
                  <a:pt x="997" y="1030"/>
                  <a:pt x="997" y="1030"/>
                  <a:pt x="996" y="1029"/>
                </a:cubicBezTo>
                <a:cubicBezTo>
                  <a:pt x="996" y="1029"/>
                  <a:pt x="996" y="1029"/>
                  <a:pt x="995" y="1027"/>
                </a:cubicBezTo>
                <a:cubicBezTo>
                  <a:pt x="995" y="1027"/>
                  <a:pt x="995" y="1027"/>
                  <a:pt x="994" y="1025"/>
                </a:cubicBezTo>
                <a:cubicBezTo>
                  <a:pt x="994" y="1025"/>
                  <a:pt x="994" y="1025"/>
                  <a:pt x="994" y="1022"/>
                </a:cubicBezTo>
                <a:cubicBezTo>
                  <a:pt x="994" y="1022"/>
                  <a:pt x="994" y="1022"/>
                  <a:pt x="993" y="1024"/>
                </a:cubicBezTo>
                <a:cubicBezTo>
                  <a:pt x="993" y="1024"/>
                  <a:pt x="993" y="1024"/>
                  <a:pt x="994" y="1027"/>
                </a:cubicBezTo>
                <a:cubicBezTo>
                  <a:pt x="994" y="1027"/>
                  <a:pt x="994" y="1027"/>
                  <a:pt x="994" y="1028"/>
                </a:cubicBezTo>
                <a:cubicBezTo>
                  <a:pt x="994" y="1028"/>
                  <a:pt x="994" y="1028"/>
                  <a:pt x="994" y="1029"/>
                </a:cubicBezTo>
                <a:cubicBezTo>
                  <a:pt x="994" y="1029"/>
                  <a:pt x="994" y="1029"/>
                  <a:pt x="994" y="1030"/>
                </a:cubicBezTo>
                <a:cubicBezTo>
                  <a:pt x="994" y="1030"/>
                  <a:pt x="994" y="1030"/>
                  <a:pt x="995" y="1031"/>
                </a:cubicBezTo>
                <a:cubicBezTo>
                  <a:pt x="995" y="1031"/>
                  <a:pt x="995" y="1031"/>
                  <a:pt x="997" y="1033"/>
                </a:cubicBezTo>
                <a:cubicBezTo>
                  <a:pt x="997" y="1033"/>
                  <a:pt x="997" y="1033"/>
                  <a:pt x="1000" y="1034"/>
                </a:cubicBezTo>
                <a:cubicBezTo>
                  <a:pt x="1000" y="1034"/>
                  <a:pt x="1000" y="1034"/>
                  <a:pt x="1003" y="1036"/>
                </a:cubicBezTo>
                <a:cubicBezTo>
                  <a:pt x="1003" y="1036"/>
                  <a:pt x="1003" y="1036"/>
                  <a:pt x="1004" y="1037"/>
                </a:cubicBezTo>
                <a:cubicBezTo>
                  <a:pt x="1004" y="1037"/>
                  <a:pt x="1004" y="1037"/>
                  <a:pt x="1004" y="1039"/>
                </a:cubicBezTo>
                <a:cubicBezTo>
                  <a:pt x="1004" y="1039"/>
                  <a:pt x="1004" y="1039"/>
                  <a:pt x="1002" y="1042"/>
                </a:cubicBezTo>
                <a:cubicBezTo>
                  <a:pt x="1002" y="1042"/>
                  <a:pt x="1002" y="1042"/>
                  <a:pt x="1002" y="1043"/>
                </a:cubicBezTo>
                <a:cubicBezTo>
                  <a:pt x="1002" y="1043"/>
                  <a:pt x="1002" y="1043"/>
                  <a:pt x="1003" y="1044"/>
                </a:cubicBezTo>
                <a:cubicBezTo>
                  <a:pt x="1003" y="1044"/>
                  <a:pt x="1003" y="1044"/>
                  <a:pt x="1005" y="1045"/>
                </a:cubicBezTo>
                <a:cubicBezTo>
                  <a:pt x="1005" y="1045"/>
                  <a:pt x="1005" y="1045"/>
                  <a:pt x="1006" y="1045"/>
                </a:cubicBezTo>
                <a:cubicBezTo>
                  <a:pt x="1006" y="1045"/>
                  <a:pt x="1006" y="1045"/>
                  <a:pt x="1007" y="1045"/>
                </a:cubicBezTo>
                <a:cubicBezTo>
                  <a:pt x="1007" y="1045"/>
                  <a:pt x="1007" y="1045"/>
                  <a:pt x="1007" y="1046"/>
                </a:cubicBezTo>
                <a:cubicBezTo>
                  <a:pt x="1007" y="1046"/>
                  <a:pt x="1007" y="1046"/>
                  <a:pt x="1007" y="1048"/>
                </a:cubicBezTo>
                <a:cubicBezTo>
                  <a:pt x="1007" y="1048"/>
                  <a:pt x="1007" y="1048"/>
                  <a:pt x="1007" y="1050"/>
                </a:cubicBezTo>
                <a:cubicBezTo>
                  <a:pt x="1007" y="1050"/>
                  <a:pt x="1007" y="1050"/>
                  <a:pt x="1006" y="1052"/>
                </a:cubicBezTo>
                <a:cubicBezTo>
                  <a:pt x="1006" y="1052"/>
                  <a:pt x="1006" y="1052"/>
                  <a:pt x="1006" y="1054"/>
                </a:cubicBezTo>
                <a:cubicBezTo>
                  <a:pt x="1006" y="1054"/>
                  <a:pt x="1006" y="1054"/>
                  <a:pt x="1005" y="1054"/>
                </a:cubicBezTo>
                <a:cubicBezTo>
                  <a:pt x="1005" y="1054"/>
                  <a:pt x="1005" y="1054"/>
                  <a:pt x="1005" y="1053"/>
                </a:cubicBezTo>
                <a:cubicBezTo>
                  <a:pt x="1005" y="1053"/>
                  <a:pt x="1005" y="1053"/>
                  <a:pt x="1004" y="1054"/>
                </a:cubicBezTo>
                <a:cubicBezTo>
                  <a:pt x="1004" y="1054"/>
                  <a:pt x="1004" y="1054"/>
                  <a:pt x="1004" y="1056"/>
                </a:cubicBezTo>
                <a:cubicBezTo>
                  <a:pt x="1004" y="1056"/>
                  <a:pt x="1004" y="1056"/>
                  <a:pt x="1004" y="1057"/>
                </a:cubicBezTo>
                <a:cubicBezTo>
                  <a:pt x="1004" y="1057"/>
                  <a:pt x="1004" y="1057"/>
                  <a:pt x="1004" y="1059"/>
                </a:cubicBezTo>
                <a:cubicBezTo>
                  <a:pt x="1004" y="1059"/>
                  <a:pt x="1004" y="1059"/>
                  <a:pt x="1000" y="1061"/>
                </a:cubicBezTo>
                <a:cubicBezTo>
                  <a:pt x="1000" y="1061"/>
                  <a:pt x="1000" y="1061"/>
                  <a:pt x="998" y="1062"/>
                </a:cubicBezTo>
                <a:cubicBezTo>
                  <a:pt x="998" y="1062"/>
                  <a:pt x="998" y="1062"/>
                  <a:pt x="997" y="1061"/>
                </a:cubicBezTo>
                <a:cubicBezTo>
                  <a:pt x="997" y="1061"/>
                  <a:pt x="997" y="1061"/>
                  <a:pt x="997" y="1062"/>
                </a:cubicBezTo>
                <a:cubicBezTo>
                  <a:pt x="997" y="1062"/>
                  <a:pt x="997" y="1062"/>
                  <a:pt x="993" y="1063"/>
                </a:cubicBezTo>
                <a:cubicBezTo>
                  <a:pt x="993" y="1063"/>
                  <a:pt x="993" y="1063"/>
                  <a:pt x="989" y="1064"/>
                </a:cubicBezTo>
                <a:cubicBezTo>
                  <a:pt x="989" y="1064"/>
                  <a:pt x="989" y="1064"/>
                  <a:pt x="986" y="1065"/>
                </a:cubicBezTo>
                <a:cubicBezTo>
                  <a:pt x="986" y="1065"/>
                  <a:pt x="986" y="1065"/>
                  <a:pt x="984" y="1064"/>
                </a:cubicBezTo>
                <a:cubicBezTo>
                  <a:pt x="984" y="1064"/>
                  <a:pt x="984" y="1064"/>
                  <a:pt x="982" y="1065"/>
                </a:cubicBezTo>
                <a:cubicBezTo>
                  <a:pt x="982" y="1065"/>
                  <a:pt x="982" y="1065"/>
                  <a:pt x="981" y="1065"/>
                </a:cubicBezTo>
                <a:cubicBezTo>
                  <a:pt x="981" y="1065"/>
                  <a:pt x="981" y="1065"/>
                  <a:pt x="979" y="1064"/>
                </a:cubicBezTo>
                <a:cubicBezTo>
                  <a:pt x="979" y="1064"/>
                  <a:pt x="979" y="1064"/>
                  <a:pt x="978" y="1063"/>
                </a:cubicBezTo>
                <a:cubicBezTo>
                  <a:pt x="978" y="1063"/>
                  <a:pt x="978" y="1063"/>
                  <a:pt x="977" y="1063"/>
                </a:cubicBezTo>
                <a:cubicBezTo>
                  <a:pt x="977" y="1063"/>
                  <a:pt x="977" y="1063"/>
                  <a:pt x="976" y="1062"/>
                </a:cubicBezTo>
                <a:cubicBezTo>
                  <a:pt x="976" y="1062"/>
                  <a:pt x="976" y="1062"/>
                  <a:pt x="976" y="1063"/>
                </a:cubicBezTo>
                <a:cubicBezTo>
                  <a:pt x="976" y="1063"/>
                  <a:pt x="976" y="1063"/>
                  <a:pt x="976" y="1064"/>
                </a:cubicBezTo>
                <a:cubicBezTo>
                  <a:pt x="976" y="1064"/>
                  <a:pt x="976" y="1064"/>
                  <a:pt x="976" y="1065"/>
                </a:cubicBezTo>
                <a:cubicBezTo>
                  <a:pt x="976" y="1065"/>
                  <a:pt x="976" y="1065"/>
                  <a:pt x="976" y="1067"/>
                </a:cubicBezTo>
                <a:cubicBezTo>
                  <a:pt x="976" y="1067"/>
                  <a:pt x="976" y="1067"/>
                  <a:pt x="977" y="1068"/>
                </a:cubicBezTo>
                <a:cubicBezTo>
                  <a:pt x="977" y="1068"/>
                  <a:pt x="977" y="1068"/>
                  <a:pt x="978" y="1068"/>
                </a:cubicBezTo>
                <a:cubicBezTo>
                  <a:pt x="978" y="1068"/>
                  <a:pt x="978" y="1068"/>
                  <a:pt x="978" y="1069"/>
                </a:cubicBezTo>
                <a:cubicBezTo>
                  <a:pt x="978" y="1069"/>
                  <a:pt x="978" y="1069"/>
                  <a:pt x="978" y="1070"/>
                </a:cubicBezTo>
                <a:cubicBezTo>
                  <a:pt x="978" y="1070"/>
                  <a:pt x="978" y="1070"/>
                  <a:pt x="977" y="1070"/>
                </a:cubicBezTo>
                <a:cubicBezTo>
                  <a:pt x="977" y="1070"/>
                  <a:pt x="977" y="1070"/>
                  <a:pt x="977" y="1071"/>
                </a:cubicBezTo>
                <a:cubicBezTo>
                  <a:pt x="977" y="1071"/>
                  <a:pt x="977" y="1071"/>
                  <a:pt x="976" y="1072"/>
                </a:cubicBezTo>
                <a:cubicBezTo>
                  <a:pt x="976" y="1072"/>
                  <a:pt x="976" y="1072"/>
                  <a:pt x="976" y="1073"/>
                </a:cubicBezTo>
                <a:cubicBezTo>
                  <a:pt x="976" y="1073"/>
                  <a:pt x="976" y="1073"/>
                  <a:pt x="976" y="1075"/>
                </a:cubicBezTo>
                <a:cubicBezTo>
                  <a:pt x="976" y="1075"/>
                  <a:pt x="976" y="1075"/>
                  <a:pt x="977" y="1076"/>
                </a:cubicBezTo>
                <a:cubicBezTo>
                  <a:pt x="977" y="1076"/>
                  <a:pt x="977" y="1076"/>
                  <a:pt x="978" y="1076"/>
                </a:cubicBezTo>
                <a:cubicBezTo>
                  <a:pt x="978" y="1076"/>
                  <a:pt x="978" y="1076"/>
                  <a:pt x="977" y="1077"/>
                </a:cubicBezTo>
                <a:cubicBezTo>
                  <a:pt x="977" y="1077"/>
                  <a:pt x="977" y="1077"/>
                  <a:pt x="977" y="1078"/>
                </a:cubicBezTo>
                <a:cubicBezTo>
                  <a:pt x="977" y="1078"/>
                  <a:pt x="977" y="1078"/>
                  <a:pt x="977" y="1079"/>
                </a:cubicBezTo>
                <a:cubicBezTo>
                  <a:pt x="977" y="1079"/>
                  <a:pt x="977" y="1079"/>
                  <a:pt x="977" y="1080"/>
                </a:cubicBezTo>
                <a:cubicBezTo>
                  <a:pt x="977" y="1080"/>
                  <a:pt x="977" y="1080"/>
                  <a:pt x="976" y="1081"/>
                </a:cubicBezTo>
                <a:cubicBezTo>
                  <a:pt x="976" y="1081"/>
                  <a:pt x="976" y="1081"/>
                  <a:pt x="974" y="1083"/>
                </a:cubicBezTo>
                <a:cubicBezTo>
                  <a:pt x="974" y="1083"/>
                  <a:pt x="974" y="1083"/>
                  <a:pt x="970" y="1083"/>
                </a:cubicBezTo>
                <a:cubicBezTo>
                  <a:pt x="970" y="1083"/>
                  <a:pt x="970" y="1083"/>
                  <a:pt x="968" y="1082"/>
                </a:cubicBezTo>
                <a:cubicBezTo>
                  <a:pt x="968" y="1082"/>
                  <a:pt x="968" y="1082"/>
                  <a:pt x="966" y="1081"/>
                </a:cubicBezTo>
                <a:cubicBezTo>
                  <a:pt x="966" y="1081"/>
                  <a:pt x="966" y="1081"/>
                  <a:pt x="964" y="1080"/>
                </a:cubicBezTo>
                <a:cubicBezTo>
                  <a:pt x="964" y="1080"/>
                  <a:pt x="964" y="1080"/>
                  <a:pt x="962" y="1080"/>
                </a:cubicBezTo>
                <a:cubicBezTo>
                  <a:pt x="962" y="1080"/>
                  <a:pt x="962" y="1080"/>
                  <a:pt x="962" y="1079"/>
                </a:cubicBezTo>
                <a:cubicBezTo>
                  <a:pt x="962" y="1079"/>
                  <a:pt x="962" y="1079"/>
                  <a:pt x="961" y="1079"/>
                </a:cubicBezTo>
                <a:cubicBezTo>
                  <a:pt x="961" y="1079"/>
                  <a:pt x="961" y="1079"/>
                  <a:pt x="960" y="1080"/>
                </a:cubicBezTo>
                <a:cubicBezTo>
                  <a:pt x="960" y="1080"/>
                  <a:pt x="960" y="1080"/>
                  <a:pt x="960" y="1083"/>
                </a:cubicBezTo>
                <a:cubicBezTo>
                  <a:pt x="960" y="1083"/>
                  <a:pt x="960" y="1083"/>
                  <a:pt x="961" y="1084"/>
                </a:cubicBezTo>
                <a:cubicBezTo>
                  <a:pt x="961" y="1084"/>
                  <a:pt x="961" y="1084"/>
                  <a:pt x="962" y="1086"/>
                </a:cubicBezTo>
                <a:cubicBezTo>
                  <a:pt x="962" y="1086"/>
                  <a:pt x="962" y="1086"/>
                  <a:pt x="962" y="1089"/>
                </a:cubicBezTo>
                <a:cubicBezTo>
                  <a:pt x="962" y="1089"/>
                  <a:pt x="962" y="1089"/>
                  <a:pt x="962" y="1090"/>
                </a:cubicBezTo>
                <a:cubicBezTo>
                  <a:pt x="962" y="1090"/>
                  <a:pt x="962" y="1090"/>
                  <a:pt x="964" y="1091"/>
                </a:cubicBezTo>
                <a:cubicBezTo>
                  <a:pt x="964" y="1091"/>
                  <a:pt x="964" y="1091"/>
                  <a:pt x="966" y="1091"/>
                </a:cubicBezTo>
                <a:cubicBezTo>
                  <a:pt x="966" y="1091"/>
                  <a:pt x="966" y="1091"/>
                  <a:pt x="966" y="1092"/>
                </a:cubicBezTo>
                <a:cubicBezTo>
                  <a:pt x="966" y="1092"/>
                  <a:pt x="966" y="1092"/>
                  <a:pt x="965" y="1092"/>
                </a:cubicBezTo>
                <a:cubicBezTo>
                  <a:pt x="965" y="1092"/>
                  <a:pt x="965" y="1092"/>
                  <a:pt x="966" y="1093"/>
                </a:cubicBezTo>
                <a:cubicBezTo>
                  <a:pt x="966" y="1093"/>
                  <a:pt x="966" y="1093"/>
                  <a:pt x="968" y="1092"/>
                </a:cubicBezTo>
                <a:cubicBezTo>
                  <a:pt x="968" y="1092"/>
                  <a:pt x="968" y="1092"/>
                  <a:pt x="968" y="1091"/>
                </a:cubicBezTo>
                <a:cubicBezTo>
                  <a:pt x="968" y="1091"/>
                  <a:pt x="968" y="1091"/>
                  <a:pt x="967" y="1091"/>
                </a:cubicBezTo>
                <a:cubicBezTo>
                  <a:pt x="967" y="1091"/>
                  <a:pt x="967" y="1091"/>
                  <a:pt x="967" y="1090"/>
                </a:cubicBezTo>
                <a:cubicBezTo>
                  <a:pt x="967" y="1090"/>
                  <a:pt x="967" y="1090"/>
                  <a:pt x="968" y="1090"/>
                </a:cubicBezTo>
                <a:cubicBezTo>
                  <a:pt x="968" y="1090"/>
                  <a:pt x="968" y="1090"/>
                  <a:pt x="970" y="1089"/>
                </a:cubicBezTo>
                <a:cubicBezTo>
                  <a:pt x="970" y="1089"/>
                  <a:pt x="970" y="1089"/>
                  <a:pt x="971" y="1091"/>
                </a:cubicBezTo>
                <a:cubicBezTo>
                  <a:pt x="971" y="1091"/>
                  <a:pt x="971" y="1091"/>
                  <a:pt x="971" y="1092"/>
                </a:cubicBezTo>
                <a:cubicBezTo>
                  <a:pt x="971" y="1092"/>
                  <a:pt x="971" y="1092"/>
                  <a:pt x="971" y="1093"/>
                </a:cubicBezTo>
                <a:cubicBezTo>
                  <a:pt x="971" y="1093"/>
                  <a:pt x="971" y="1093"/>
                  <a:pt x="972" y="1095"/>
                </a:cubicBezTo>
                <a:cubicBezTo>
                  <a:pt x="972" y="1095"/>
                  <a:pt x="972" y="1095"/>
                  <a:pt x="972" y="1096"/>
                </a:cubicBezTo>
                <a:cubicBezTo>
                  <a:pt x="972" y="1096"/>
                  <a:pt x="972" y="1096"/>
                  <a:pt x="969" y="1097"/>
                </a:cubicBezTo>
                <a:cubicBezTo>
                  <a:pt x="969" y="1097"/>
                  <a:pt x="969" y="1097"/>
                  <a:pt x="968" y="1097"/>
                </a:cubicBezTo>
                <a:cubicBezTo>
                  <a:pt x="968" y="1097"/>
                  <a:pt x="968" y="1097"/>
                  <a:pt x="968" y="1096"/>
                </a:cubicBezTo>
                <a:cubicBezTo>
                  <a:pt x="968" y="1096"/>
                  <a:pt x="968" y="1096"/>
                  <a:pt x="968" y="1095"/>
                </a:cubicBezTo>
                <a:cubicBezTo>
                  <a:pt x="968" y="1095"/>
                  <a:pt x="968" y="1095"/>
                  <a:pt x="968" y="1094"/>
                </a:cubicBezTo>
                <a:cubicBezTo>
                  <a:pt x="968" y="1094"/>
                  <a:pt x="968" y="1094"/>
                  <a:pt x="966" y="1094"/>
                </a:cubicBezTo>
                <a:cubicBezTo>
                  <a:pt x="966" y="1094"/>
                  <a:pt x="966" y="1094"/>
                  <a:pt x="965" y="1094"/>
                </a:cubicBezTo>
                <a:cubicBezTo>
                  <a:pt x="965" y="1094"/>
                  <a:pt x="965" y="1094"/>
                  <a:pt x="964" y="1095"/>
                </a:cubicBezTo>
                <a:cubicBezTo>
                  <a:pt x="964" y="1095"/>
                  <a:pt x="964" y="1095"/>
                  <a:pt x="963" y="1096"/>
                </a:cubicBezTo>
                <a:cubicBezTo>
                  <a:pt x="963" y="1096"/>
                  <a:pt x="963" y="1096"/>
                  <a:pt x="964" y="1097"/>
                </a:cubicBezTo>
                <a:cubicBezTo>
                  <a:pt x="964" y="1097"/>
                  <a:pt x="964" y="1097"/>
                  <a:pt x="965" y="1097"/>
                </a:cubicBezTo>
                <a:cubicBezTo>
                  <a:pt x="965" y="1097"/>
                  <a:pt x="965" y="1097"/>
                  <a:pt x="967" y="1097"/>
                </a:cubicBezTo>
                <a:cubicBezTo>
                  <a:pt x="967" y="1097"/>
                  <a:pt x="967" y="1097"/>
                  <a:pt x="967" y="1098"/>
                </a:cubicBezTo>
                <a:cubicBezTo>
                  <a:pt x="967" y="1098"/>
                  <a:pt x="967" y="1098"/>
                  <a:pt x="966" y="1099"/>
                </a:cubicBezTo>
                <a:cubicBezTo>
                  <a:pt x="966" y="1099"/>
                  <a:pt x="966" y="1099"/>
                  <a:pt x="964" y="1100"/>
                </a:cubicBezTo>
                <a:cubicBezTo>
                  <a:pt x="964" y="1100"/>
                  <a:pt x="964" y="1100"/>
                  <a:pt x="963" y="1101"/>
                </a:cubicBezTo>
                <a:cubicBezTo>
                  <a:pt x="963" y="1101"/>
                  <a:pt x="963" y="1101"/>
                  <a:pt x="964" y="1101"/>
                </a:cubicBezTo>
                <a:cubicBezTo>
                  <a:pt x="964" y="1101"/>
                  <a:pt x="964" y="1101"/>
                  <a:pt x="963" y="1102"/>
                </a:cubicBezTo>
                <a:cubicBezTo>
                  <a:pt x="963" y="1102"/>
                  <a:pt x="963" y="1102"/>
                  <a:pt x="962" y="1103"/>
                </a:cubicBezTo>
                <a:cubicBezTo>
                  <a:pt x="962" y="1103"/>
                  <a:pt x="962" y="1103"/>
                  <a:pt x="962" y="1105"/>
                </a:cubicBezTo>
                <a:cubicBezTo>
                  <a:pt x="962" y="1105"/>
                  <a:pt x="962" y="1105"/>
                  <a:pt x="963" y="1106"/>
                </a:cubicBezTo>
                <a:cubicBezTo>
                  <a:pt x="963" y="1106"/>
                  <a:pt x="963" y="1106"/>
                  <a:pt x="963" y="1107"/>
                </a:cubicBezTo>
                <a:cubicBezTo>
                  <a:pt x="963" y="1107"/>
                  <a:pt x="963" y="1107"/>
                  <a:pt x="964" y="1109"/>
                </a:cubicBezTo>
                <a:cubicBezTo>
                  <a:pt x="964" y="1109"/>
                  <a:pt x="964" y="1109"/>
                  <a:pt x="964" y="1110"/>
                </a:cubicBezTo>
                <a:cubicBezTo>
                  <a:pt x="964" y="1110"/>
                  <a:pt x="964" y="1110"/>
                  <a:pt x="964" y="1111"/>
                </a:cubicBezTo>
                <a:cubicBezTo>
                  <a:pt x="964" y="1111"/>
                  <a:pt x="964" y="1111"/>
                  <a:pt x="962" y="1112"/>
                </a:cubicBezTo>
                <a:cubicBezTo>
                  <a:pt x="962" y="1112"/>
                  <a:pt x="962" y="1112"/>
                  <a:pt x="962" y="1113"/>
                </a:cubicBezTo>
                <a:cubicBezTo>
                  <a:pt x="962" y="1113"/>
                  <a:pt x="962" y="1113"/>
                  <a:pt x="963" y="1114"/>
                </a:cubicBezTo>
                <a:cubicBezTo>
                  <a:pt x="963" y="1114"/>
                  <a:pt x="963" y="1114"/>
                  <a:pt x="964" y="1114"/>
                </a:cubicBezTo>
                <a:cubicBezTo>
                  <a:pt x="964" y="1114"/>
                  <a:pt x="964" y="1114"/>
                  <a:pt x="963" y="1115"/>
                </a:cubicBezTo>
                <a:cubicBezTo>
                  <a:pt x="963" y="1115"/>
                  <a:pt x="963" y="1115"/>
                  <a:pt x="961" y="1115"/>
                </a:cubicBezTo>
                <a:cubicBezTo>
                  <a:pt x="961" y="1115"/>
                  <a:pt x="961" y="1115"/>
                  <a:pt x="960" y="1115"/>
                </a:cubicBezTo>
                <a:cubicBezTo>
                  <a:pt x="960" y="1115"/>
                  <a:pt x="960" y="1115"/>
                  <a:pt x="959" y="1115"/>
                </a:cubicBezTo>
                <a:cubicBezTo>
                  <a:pt x="959" y="1115"/>
                  <a:pt x="959" y="1115"/>
                  <a:pt x="957" y="1117"/>
                </a:cubicBezTo>
                <a:cubicBezTo>
                  <a:pt x="957" y="1117"/>
                  <a:pt x="957" y="1117"/>
                  <a:pt x="956" y="1117"/>
                </a:cubicBezTo>
                <a:cubicBezTo>
                  <a:pt x="956" y="1117"/>
                  <a:pt x="956" y="1117"/>
                  <a:pt x="955" y="1118"/>
                </a:cubicBezTo>
                <a:cubicBezTo>
                  <a:pt x="955" y="1118"/>
                  <a:pt x="955" y="1118"/>
                  <a:pt x="954" y="1118"/>
                </a:cubicBezTo>
                <a:cubicBezTo>
                  <a:pt x="954" y="1118"/>
                  <a:pt x="954" y="1118"/>
                  <a:pt x="954" y="1120"/>
                </a:cubicBezTo>
                <a:cubicBezTo>
                  <a:pt x="954" y="1120"/>
                  <a:pt x="954" y="1120"/>
                  <a:pt x="953" y="1121"/>
                </a:cubicBezTo>
                <a:cubicBezTo>
                  <a:pt x="953" y="1121"/>
                  <a:pt x="953" y="1121"/>
                  <a:pt x="952" y="1122"/>
                </a:cubicBezTo>
                <a:cubicBezTo>
                  <a:pt x="952" y="1122"/>
                  <a:pt x="952" y="1122"/>
                  <a:pt x="952" y="1123"/>
                </a:cubicBezTo>
                <a:cubicBezTo>
                  <a:pt x="952" y="1123"/>
                  <a:pt x="952" y="1123"/>
                  <a:pt x="952" y="1124"/>
                </a:cubicBezTo>
                <a:cubicBezTo>
                  <a:pt x="952" y="1124"/>
                  <a:pt x="952" y="1124"/>
                  <a:pt x="952" y="1125"/>
                </a:cubicBezTo>
                <a:cubicBezTo>
                  <a:pt x="952" y="1125"/>
                  <a:pt x="952" y="1125"/>
                  <a:pt x="954" y="1127"/>
                </a:cubicBezTo>
                <a:cubicBezTo>
                  <a:pt x="954" y="1127"/>
                  <a:pt x="954" y="1127"/>
                  <a:pt x="955" y="1128"/>
                </a:cubicBezTo>
                <a:cubicBezTo>
                  <a:pt x="955" y="1128"/>
                  <a:pt x="955" y="1128"/>
                  <a:pt x="956" y="1129"/>
                </a:cubicBezTo>
                <a:cubicBezTo>
                  <a:pt x="956" y="1129"/>
                  <a:pt x="956" y="1129"/>
                  <a:pt x="958" y="1130"/>
                </a:cubicBezTo>
                <a:cubicBezTo>
                  <a:pt x="958" y="1130"/>
                  <a:pt x="958" y="1130"/>
                  <a:pt x="960" y="1132"/>
                </a:cubicBezTo>
                <a:cubicBezTo>
                  <a:pt x="960" y="1132"/>
                  <a:pt x="960" y="1132"/>
                  <a:pt x="962" y="1132"/>
                </a:cubicBezTo>
                <a:cubicBezTo>
                  <a:pt x="962" y="1132"/>
                  <a:pt x="962" y="1132"/>
                  <a:pt x="963" y="1132"/>
                </a:cubicBezTo>
                <a:cubicBezTo>
                  <a:pt x="963" y="1132"/>
                  <a:pt x="963" y="1132"/>
                  <a:pt x="964" y="1132"/>
                </a:cubicBezTo>
                <a:cubicBezTo>
                  <a:pt x="964" y="1132"/>
                  <a:pt x="964" y="1132"/>
                  <a:pt x="965" y="1132"/>
                </a:cubicBezTo>
                <a:cubicBezTo>
                  <a:pt x="965" y="1132"/>
                  <a:pt x="965" y="1132"/>
                  <a:pt x="965" y="1133"/>
                </a:cubicBezTo>
                <a:cubicBezTo>
                  <a:pt x="965" y="1133"/>
                  <a:pt x="965" y="1133"/>
                  <a:pt x="965" y="1134"/>
                </a:cubicBezTo>
                <a:cubicBezTo>
                  <a:pt x="965" y="1134"/>
                  <a:pt x="965" y="1134"/>
                  <a:pt x="965" y="1136"/>
                </a:cubicBezTo>
                <a:cubicBezTo>
                  <a:pt x="965" y="1136"/>
                  <a:pt x="965" y="1136"/>
                  <a:pt x="965" y="1137"/>
                </a:cubicBezTo>
                <a:cubicBezTo>
                  <a:pt x="965" y="1137"/>
                  <a:pt x="965" y="1137"/>
                  <a:pt x="964" y="1138"/>
                </a:cubicBezTo>
                <a:cubicBezTo>
                  <a:pt x="964" y="1138"/>
                  <a:pt x="964" y="1138"/>
                  <a:pt x="965" y="1138"/>
                </a:cubicBezTo>
                <a:cubicBezTo>
                  <a:pt x="965" y="1138"/>
                  <a:pt x="965" y="1138"/>
                  <a:pt x="966" y="1139"/>
                </a:cubicBezTo>
                <a:cubicBezTo>
                  <a:pt x="966" y="1139"/>
                  <a:pt x="966" y="1139"/>
                  <a:pt x="965" y="1139"/>
                </a:cubicBezTo>
                <a:cubicBezTo>
                  <a:pt x="965" y="1139"/>
                  <a:pt x="965" y="1139"/>
                  <a:pt x="965" y="1140"/>
                </a:cubicBezTo>
                <a:cubicBezTo>
                  <a:pt x="965" y="1140"/>
                  <a:pt x="965" y="1140"/>
                  <a:pt x="966" y="1140"/>
                </a:cubicBezTo>
                <a:cubicBezTo>
                  <a:pt x="966" y="1140"/>
                  <a:pt x="966" y="1140"/>
                  <a:pt x="965" y="1142"/>
                </a:cubicBezTo>
                <a:cubicBezTo>
                  <a:pt x="965" y="1142"/>
                  <a:pt x="965" y="1142"/>
                  <a:pt x="964" y="1142"/>
                </a:cubicBezTo>
                <a:cubicBezTo>
                  <a:pt x="964" y="1142"/>
                  <a:pt x="964" y="1142"/>
                  <a:pt x="963" y="1143"/>
                </a:cubicBezTo>
                <a:cubicBezTo>
                  <a:pt x="963" y="1143"/>
                  <a:pt x="963" y="1143"/>
                  <a:pt x="962" y="1145"/>
                </a:cubicBezTo>
                <a:cubicBezTo>
                  <a:pt x="962" y="1145"/>
                  <a:pt x="962" y="1145"/>
                  <a:pt x="961" y="1146"/>
                </a:cubicBezTo>
                <a:cubicBezTo>
                  <a:pt x="961" y="1146"/>
                  <a:pt x="961" y="1146"/>
                  <a:pt x="960" y="1146"/>
                </a:cubicBezTo>
                <a:cubicBezTo>
                  <a:pt x="960" y="1146"/>
                  <a:pt x="960" y="1146"/>
                  <a:pt x="959" y="1147"/>
                </a:cubicBezTo>
                <a:cubicBezTo>
                  <a:pt x="959" y="1147"/>
                  <a:pt x="959" y="1147"/>
                  <a:pt x="958" y="1149"/>
                </a:cubicBezTo>
                <a:cubicBezTo>
                  <a:pt x="958" y="1149"/>
                  <a:pt x="958" y="1149"/>
                  <a:pt x="958" y="1150"/>
                </a:cubicBezTo>
                <a:cubicBezTo>
                  <a:pt x="958" y="1150"/>
                  <a:pt x="958" y="1150"/>
                  <a:pt x="957" y="1151"/>
                </a:cubicBezTo>
                <a:cubicBezTo>
                  <a:pt x="957" y="1151"/>
                  <a:pt x="957" y="1151"/>
                  <a:pt x="957" y="1152"/>
                </a:cubicBezTo>
                <a:cubicBezTo>
                  <a:pt x="957" y="1152"/>
                  <a:pt x="957" y="1152"/>
                  <a:pt x="958" y="1152"/>
                </a:cubicBezTo>
                <a:cubicBezTo>
                  <a:pt x="958" y="1152"/>
                  <a:pt x="958" y="1152"/>
                  <a:pt x="959" y="1154"/>
                </a:cubicBezTo>
                <a:cubicBezTo>
                  <a:pt x="959" y="1154"/>
                  <a:pt x="959" y="1154"/>
                  <a:pt x="958" y="1155"/>
                </a:cubicBezTo>
                <a:cubicBezTo>
                  <a:pt x="958" y="1155"/>
                  <a:pt x="958" y="1155"/>
                  <a:pt x="957" y="1156"/>
                </a:cubicBezTo>
                <a:cubicBezTo>
                  <a:pt x="957" y="1156"/>
                  <a:pt x="957" y="1156"/>
                  <a:pt x="957" y="1157"/>
                </a:cubicBezTo>
                <a:cubicBezTo>
                  <a:pt x="957" y="1157"/>
                  <a:pt x="957" y="1157"/>
                  <a:pt x="956" y="1158"/>
                </a:cubicBezTo>
                <a:cubicBezTo>
                  <a:pt x="956" y="1158"/>
                  <a:pt x="956" y="1158"/>
                  <a:pt x="955" y="1158"/>
                </a:cubicBezTo>
                <a:cubicBezTo>
                  <a:pt x="955" y="1158"/>
                  <a:pt x="955" y="1158"/>
                  <a:pt x="954" y="1157"/>
                </a:cubicBezTo>
                <a:cubicBezTo>
                  <a:pt x="954" y="1157"/>
                  <a:pt x="954" y="1157"/>
                  <a:pt x="954" y="1158"/>
                </a:cubicBezTo>
                <a:cubicBezTo>
                  <a:pt x="954" y="1158"/>
                  <a:pt x="954" y="1158"/>
                  <a:pt x="954" y="1159"/>
                </a:cubicBezTo>
                <a:cubicBezTo>
                  <a:pt x="954" y="1159"/>
                  <a:pt x="954" y="1159"/>
                  <a:pt x="953" y="1160"/>
                </a:cubicBezTo>
                <a:cubicBezTo>
                  <a:pt x="953" y="1160"/>
                  <a:pt x="953" y="1160"/>
                  <a:pt x="952" y="1161"/>
                </a:cubicBezTo>
                <a:cubicBezTo>
                  <a:pt x="952" y="1161"/>
                  <a:pt x="952" y="1161"/>
                  <a:pt x="951" y="1163"/>
                </a:cubicBezTo>
                <a:cubicBezTo>
                  <a:pt x="951" y="1163"/>
                  <a:pt x="951" y="1163"/>
                  <a:pt x="951" y="1165"/>
                </a:cubicBezTo>
                <a:cubicBezTo>
                  <a:pt x="951" y="1165"/>
                  <a:pt x="951" y="1165"/>
                  <a:pt x="953" y="1167"/>
                </a:cubicBezTo>
                <a:cubicBezTo>
                  <a:pt x="953" y="1167"/>
                  <a:pt x="953" y="1167"/>
                  <a:pt x="954" y="1170"/>
                </a:cubicBezTo>
                <a:cubicBezTo>
                  <a:pt x="954" y="1170"/>
                  <a:pt x="954" y="1170"/>
                  <a:pt x="954" y="1171"/>
                </a:cubicBezTo>
                <a:cubicBezTo>
                  <a:pt x="954" y="1171"/>
                  <a:pt x="954" y="1171"/>
                  <a:pt x="954" y="1172"/>
                </a:cubicBezTo>
                <a:cubicBezTo>
                  <a:pt x="954" y="1172"/>
                  <a:pt x="954" y="1172"/>
                  <a:pt x="953" y="1172"/>
                </a:cubicBezTo>
                <a:cubicBezTo>
                  <a:pt x="953" y="1172"/>
                  <a:pt x="953" y="1172"/>
                  <a:pt x="954" y="1173"/>
                </a:cubicBezTo>
                <a:cubicBezTo>
                  <a:pt x="954" y="1173"/>
                  <a:pt x="954" y="1173"/>
                  <a:pt x="955" y="1174"/>
                </a:cubicBezTo>
                <a:cubicBezTo>
                  <a:pt x="955" y="1174"/>
                  <a:pt x="955" y="1174"/>
                  <a:pt x="956" y="1175"/>
                </a:cubicBezTo>
                <a:cubicBezTo>
                  <a:pt x="956" y="1175"/>
                  <a:pt x="956" y="1175"/>
                  <a:pt x="958" y="1176"/>
                </a:cubicBezTo>
                <a:cubicBezTo>
                  <a:pt x="958" y="1176"/>
                  <a:pt x="958" y="1176"/>
                  <a:pt x="959" y="1177"/>
                </a:cubicBezTo>
                <a:cubicBezTo>
                  <a:pt x="959" y="1177"/>
                  <a:pt x="959" y="1177"/>
                  <a:pt x="959" y="1178"/>
                </a:cubicBezTo>
                <a:cubicBezTo>
                  <a:pt x="959" y="1178"/>
                  <a:pt x="959" y="1178"/>
                  <a:pt x="957" y="1178"/>
                </a:cubicBezTo>
                <a:cubicBezTo>
                  <a:pt x="957" y="1178"/>
                  <a:pt x="957" y="1178"/>
                  <a:pt x="956" y="1178"/>
                </a:cubicBezTo>
                <a:cubicBezTo>
                  <a:pt x="956" y="1178"/>
                  <a:pt x="956" y="1178"/>
                  <a:pt x="955" y="1177"/>
                </a:cubicBezTo>
                <a:cubicBezTo>
                  <a:pt x="955" y="1177"/>
                  <a:pt x="955" y="1177"/>
                  <a:pt x="953" y="1178"/>
                </a:cubicBezTo>
                <a:cubicBezTo>
                  <a:pt x="953" y="1178"/>
                  <a:pt x="953" y="1178"/>
                  <a:pt x="952" y="1178"/>
                </a:cubicBezTo>
                <a:cubicBezTo>
                  <a:pt x="952" y="1178"/>
                  <a:pt x="952" y="1178"/>
                  <a:pt x="953" y="1180"/>
                </a:cubicBezTo>
                <a:cubicBezTo>
                  <a:pt x="953" y="1180"/>
                  <a:pt x="953" y="1180"/>
                  <a:pt x="952" y="1180"/>
                </a:cubicBezTo>
                <a:cubicBezTo>
                  <a:pt x="952" y="1180"/>
                  <a:pt x="952" y="1180"/>
                  <a:pt x="951" y="1180"/>
                </a:cubicBezTo>
                <a:cubicBezTo>
                  <a:pt x="951" y="1180"/>
                  <a:pt x="951" y="1180"/>
                  <a:pt x="950" y="1181"/>
                </a:cubicBezTo>
                <a:cubicBezTo>
                  <a:pt x="950" y="1181"/>
                  <a:pt x="950" y="1181"/>
                  <a:pt x="948" y="1182"/>
                </a:cubicBezTo>
                <a:cubicBezTo>
                  <a:pt x="948" y="1182"/>
                  <a:pt x="948" y="1182"/>
                  <a:pt x="947" y="1183"/>
                </a:cubicBezTo>
                <a:cubicBezTo>
                  <a:pt x="947" y="1183"/>
                  <a:pt x="947" y="1183"/>
                  <a:pt x="947" y="1184"/>
                </a:cubicBezTo>
                <a:cubicBezTo>
                  <a:pt x="947" y="1184"/>
                  <a:pt x="947" y="1184"/>
                  <a:pt x="947" y="1185"/>
                </a:cubicBezTo>
                <a:cubicBezTo>
                  <a:pt x="947" y="1185"/>
                  <a:pt x="947" y="1185"/>
                  <a:pt x="947" y="1187"/>
                </a:cubicBezTo>
                <a:cubicBezTo>
                  <a:pt x="947" y="1187"/>
                  <a:pt x="947" y="1187"/>
                  <a:pt x="947" y="1189"/>
                </a:cubicBezTo>
                <a:cubicBezTo>
                  <a:pt x="947" y="1189"/>
                  <a:pt x="947" y="1189"/>
                  <a:pt x="947" y="1190"/>
                </a:cubicBezTo>
                <a:cubicBezTo>
                  <a:pt x="947" y="1190"/>
                  <a:pt x="947" y="1190"/>
                  <a:pt x="947" y="1191"/>
                </a:cubicBezTo>
                <a:cubicBezTo>
                  <a:pt x="947" y="1191"/>
                  <a:pt x="947" y="1191"/>
                  <a:pt x="947" y="1193"/>
                </a:cubicBezTo>
                <a:cubicBezTo>
                  <a:pt x="947" y="1193"/>
                  <a:pt x="947" y="1193"/>
                  <a:pt x="947" y="1194"/>
                </a:cubicBezTo>
                <a:cubicBezTo>
                  <a:pt x="947" y="1194"/>
                  <a:pt x="947" y="1194"/>
                  <a:pt x="946" y="1195"/>
                </a:cubicBezTo>
                <a:cubicBezTo>
                  <a:pt x="946" y="1195"/>
                  <a:pt x="946" y="1195"/>
                  <a:pt x="945" y="1194"/>
                </a:cubicBezTo>
                <a:cubicBezTo>
                  <a:pt x="945" y="1194"/>
                  <a:pt x="945" y="1194"/>
                  <a:pt x="944" y="1194"/>
                </a:cubicBezTo>
                <a:cubicBezTo>
                  <a:pt x="944" y="1194"/>
                  <a:pt x="944" y="1194"/>
                  <a:pt x="943" y="1194"/>
                </a:cubicBezTo>
                <a:cubicBezTo>
                  <a:pt x="943" y="1194"/>
                  <a:pt x="943" y="1194"/>
                  <a:pt x="941" y="1193"/>
                </a:cubicBezTo>
                <a:cubicBezTo>
                  <a:pt x="941" y="1193"/>
                  <a:pt x="941" y="1193"/>
                  <a:pt x="939" y="1191"/>
                </a:cubicBezTo>
                <a:cubicBezTo>
                  <a:pt x="939" y="1191"/>
                  <a:pt x="939" y="1191"/>
                  <a:pt x="939" y="1190"/>
                </a:cubicBezTo>
                <a:cubicBezTo>
                  <a:pt x="939" y="1190"/>
                  <a:pt x="939" y="1190"/>
                  <a:pt x="940" y="1190"/>
                </a:cubicBezTo>
                <a:cubicBezTo>
                  <a:pt x="940" y="1190"/>
                  <a:pt x="940" y="1190"/>
                  <a:pt x="941" y="1189"/>
                </a:cubicBezTo>
                <a:cubicBezTo>
                  <a:pt x="941" y="1189"/>
                  <a:pt x="941" y="1189"/>
                  <a:pt x="942" y="1189"/>
                </a:cubicBezTo>
                <a:cubicBezTo>
                  <a:pt x="942" y="1189"/>
                  <a:pt x="942" y="1189"/>
                  <a:pt x="942" y="1190"/>
                </a:cubicBezTo>
                <a:cubicBezTo>
                  <a:pt x="942" y="1190"/>
                  <a:pt x="942" y="1190"/>
                  <a:pt x="941" y="1191"/>
                </a:cubicBezTo>
                <a:cubicBezTo>
                  <a:pt x="941" y="1191"/>
                  <a:pt x="941" y="1191"/>
                  <a:pt x="942" y="1191"/>
                </a:cubicBezTo>
                <a:cubicBezTo>
                  <a:pt x="942" y="1191"/>
                  <a:pt x="942" y="1191"/>
                  <a:pt x="943" y="1190"/>
                </a:cubicBezTo>
                <a:cubicBezTo>
                  <a:pt x="943" y="1190"/>
                  <a:pt x="943" y="1190"/>
                  <a:pt x="942" y="1189"/>
                </a:cubicBezTo>
                <a:cubicBezTo>
                  <a:pt x="942" y="1189"/>
                  <a:pt x="942" y="1189"/>
                  <a:pt x="942" y="1188"/>
                </a:cubicBezTo>
                <a:cubicBezTo>
                  <a:pt x="942" y="1188"/>
                  <a:pt x="942" y="1188"/>
                  <a:pt x="943" y="1187"/>
                </a:cubicBezTo>
                <a:cubicBezTo>
                  <a:pt x="943" y="1187"/>
                  <a:pt x="943" y="1187"/>
                  <a:pt x="944" y="1186"/>
                </a:cubicBezTo>
                <a:cubicBezTo>
                  <a:pt x="944" y="1186"/>
                  <a:pt x="944" y="1186"/>
                  <a:pt x="944" y="1185"/>
                </a:cubicBezTo>
                <a:cubicBezTo>
                  <a:pt x="944" y="1185"/>
                  <a:pt x="944" y="1185"/>
                  <a:pt x="945" y="1185"/>
                </a:cubicBezTo>
                <a:cubicBezTo>
                  <a:pt x="945" y="1185"/>
                  <a:pt x="945" y="1185"/>
                  <a:pt x="945" y="1184"/>
                </a:cubicBezTo>
                <a:cubicBezTo>
                  <a:pt x="945" y="1184"/>
                  <a:pt x="945" y="1184"/>
                  <a:pt x="944" y="1184"/>
                </a:cubicBezTo>
                <a:cubicBezTo>
                  <a:pt x="944" y="1184"/>
                  <a:pt x="944" y="1184"/>
                  <a:pt x="943" y="1184"/>
                </a:cubicBezTo>
                <a:cubicBezTo>
                  <a:pt x="943" y="1184"/>
                  <a:pt x="943" y="1184"/>
                  <a:pt x="942" y="1184"/>
                </a:cubicBezTo>
                <a:cubicBezTo>
                  <a:pt x="942" y="1184"/>
                  <a:pt x="942" y="1184"/>
                  <a:pt x="941" y="1186"/>
                </a:cubicBezTo>
                <a:cubicBezTo>
                  <a:pt x="941" y="1186"/>
                  <a:pt x="941" y="1186"/>
                  <a:pt x="940" y="1187"/>
                </a:cubicBezTo>
                <a:cubicBezTo>
                  <a:pt x="940" y="1187"/>
                  <a:pt x="940" y="1187"/>
                  <a:pt x="939" y="1187"/>
                </a:cubicBezTo>
                <a:cubicBezTo>
                  <a:pt x="939" y="1187"/>
                  <a:pt x="939" y="1187"/>
                  <a:pt x="940" y="1188"/>
                </a:cubicBezTo>
                <a:cubicBezTo>
                  <a:pt x="940" y="1188"/>
                  <a:pt x="940" y="1188"/>
                  <a:pt x="939" y="1189"/>
                </a:cubicBezTo>
                <a:cubicBezTo>
                  <a:pt x="939" y="1189"/>
                  <a:pt x="939" y="1189"/>
                  <a:pt x="938" y="1190"/>
                </a:cubicBezTo>
                <a:cubicBezTo>
                  <a:pt x="938" y="1190"/>
                  <a:pt x="938" y="1190"/>
                  <a:pt x="938" y="1191"/>
                </a:cubicBezTo>
                <a:cubicBezTo>
                  <a:pt x="938" y="1191"/>
                  <a:pt x="938" y="1191"/>
                  <a:pt x="936" y="1190"/>
                </a:cubicBezTo>
                <a:cubicBezTo>
                  <a:pt x="936" y="1190"/>
                  <a:pt x="936" y="1190"/>
                  <a:pt x="934" y="1189"/>
                </a:cubicBezTo>
                <a:cubicBezTo>
                  <a:pt x="934" y="1189"/>
                  <a:pt x="934" y="1189"/>
                  <a:pt x="935" y="1188"/>
                </a:cubicBezTo>
                <a:cubicBezTo>
                  <a:pt x="935" y="1188"/>
                  <a:pt x="935" y="1188"/>
                  <a:pt x="934" y="1188"/>
                </a:cubicBezTo>
                <a:cubicBezTo>
                  <a:pt x="934" y="1188"/>
                  <a:pt x="934" y="1188"/>
                  <a:pt x="934" y="1187"/>
                </a:cubicBezTo>
                <a:cubicBezTo>
                  <a:pt x="934" y="1187"/>
                  <a:pt x="934" y="1187"/>
                  <a:pt x="935" y="1187"/>
                </a:cubicBezTo>
                <a:cubicBezTo>
                  <a:pt x="935" y="1187"/>
                  <a:pt x="935" y="1187"/>
                  <a:pt x="935" y="1186"/>
                </a:cubicBezTo>
                <a:cubicBezTo>
                  <a:pt x="935" y="1186"/>
                  <a:pt x="935" y="1186"/>
                  <a:pt x="935" y="1185"/>
                </a:cubicBezTo>
                <a:cubicBezTo>
                  <a:pt x="935" y="1185"/>
                  <a:pt x="935" y="1185"/>
                  <a:pt x="936" y="1185"/>
                </a:cubicBezTo>
                <a:cubicBezTo>
                  <a:pt x="936" y="1185"/>
                  <a:pt x="936" y="1185"/>
                  <a:pt x="937" y="1185"/>
                </a:cubicBezTo>
                <a:cubicBezTo>
                  <a:pt x="937" y="1185"/>
                  <a:pt x="937" y="1185"/>
                  <a:pt x="939" y="1183"/>
                </a:cubicBezTo>
                <a:cubicBezTo>
                  <a:pt x="939" y="1183"/>
                  <a:pt x="939" y="1183"/>
                  <a:pt x="940" y="1183"/>
                </a:cubicBezTo>
                <a:cubicBezTo>
                  <a:pt x="940" y="1183"/>
                  <a:pt x="940" y="1183"/>
                  <a:pt x="941" y="1183"/>
                </a:cubicBezTo>
                <a:cubicBezTo>
                  <a:pt x="941" y="1183"/>
                  <a:pt x="941" y="1183"/>
                  <a:pt x="942" y="1182"/>
                </a:cubicBezTo>
                <a:cubicBezTo>
                  <a:pt x="942" y="1182"/>
                  <a:pt x="942" y="1182"/>
                  <a:pt x="941" y="1182"/>
                </a:cubicBezTo>
                <a:cubicBezTo>
                  <a:pt x="941" y="1182"/>
                  <a:pt x="941" y="1182"/>
                  <a:pt x="940" y="1182"/>
                </a:cubicBezTo>
                <a:cubicBezTo>
                  <a:pt x="940" y="1182"/>
                  <a:pt x="940" y="1182"/>
                  <a:pt x="939" y="1182"/>
                </a:cubicBezTo>
                <a:cubicBezTo>
                  <a:pt x="939" y="1182"/>
                  <a:pt x="939" y="1182"/>
                  <a:pt x="937" y="1182"/>
                </a:cubicBezTo>
                <a:cubicBezTo>
                  <a:pt x="937" y="1182"/>
                  <a:pt x="937" y="1182"/>
                  <a:pt x="936" y="1182"/>
                </a:cubicBezTo>
                <a:cubicBezTo>
                  <a:pt x="936" y="1182"/>
                  <a:pt x="936" y="1182"/>
                  <a:pt x="934" y="1181"/>
                </a:cubicBezTo>
                <a:cubicBezTo>
                  <a:pt x="934" y="1181"/>
                  <a:pt x="934" y="1181"/>
                  <a:pt x="934" y="1182"/>
                </a:cubicBezTo>
                <a:cubicBezTo>
                  <a:pt x="934" y="1182"/>
                  <a:pt x="934" y="1182"/>
                  <a:pt x="933" y="1183"/>
                </a:cubicBezTo>
                <a:cubicBezTo>
                  <a:pt x="933" y="1183"/>
                  <a:pt x="933" y="1183"/>
                  <a:pt x="934" y="1183"/>
                </a:cubicBezTo>
                <a:cubicBezTo>
                  <a:pt x="934" y="1183"/>
                  <a:pt x="934" y="1183"/>
                  <a:pt x="934" y="1184"/>
                </a:cubicBezTo>
                <a:cubicBezTo>
                  <a:pt x="934" y="1184"/>
                  <a:pt x="934" y="1184"/>
                  <a:pt x="934" y="1185"/>
                </a:cubicBezTo>
                <a:cubicBezTo>
                  <a:pt x="934" y="1185"/>
                  <a:pt x="934" y="1185"/>
                  <a:pt x="935" y="1186"/>
                </a:cubicBezTo>
                <a:cubicBezTo>
                  <a:pt x="935" y="1186"/>
                  <a:pt x="935" y="1186"/>
                  <a:pt x="934" y="1187"/>
                </a:cubicBezTo>
                <a:cubicBezTo>
                  <a:pt x="934" y="1187"/>
                  <a:pt x="934" y="1187"/>
                  <a:pt x="933" y="1187"/>
                </a:cubicBezTo>
                <a:cubicBezTo>
                  <a:pt x="933" y="1187"/>
                  <a:pt x="933" y="1187"/>
                  <a:pt x="932" y="1186"/>
                </a:cubicBezTo>
                <a:cubicBezTo>
                  <a:pt x="932" y="1186"/>
                  <a:pt x="932" y="1186"/>
                  <a:pt x="930" y="1186"/>
                </a:cubicBezTo>
                <a:cubicBezTo>
                  <a:pt x="930" y="1186"/>
                  <a:pt x="930" y="1186"/>
                  <a:pt x="931" y="1185"/>
                </a:cubicBezTo>
                <a:cubicBezTo>
                  <a:pt x="931" y="1185"/>
                  <a:pt x="931" y="1185"/>
                  <a:pt x="932" y="1185"/>
                </a:cubicBezTo>
                <a:cubicBezTo>
                  <a:pt x="932" y="1185"/>
                  <a:pt x="932" y="1185"/>
                  <a:pt x="932" y="1184"/>
                </a:cubicBezTo>
                <a:cubicBezTo>
                  <a:pt x="932" y="1184"/>
                  <a:pt x="932" y="1184"/>
                  <a:pt x="931" y="1184"/>
                </a:cubicBezTo>
                <a:cubicBezTo>
                  <a:pt x="931" y="1184"/>
                  <a:pt x="931" y="1184"/>
                  <a:pt x="930" y="1183"/>
                </a:cubicBezTo>
                <a:cubicBezTo>
                  <a:pt x="930" y="1183"/>
                  <a:pt x="930" y="1183"/>
                  <a:pt x="930" y="1184"/>
                </a:cubicBezTo>
                <a:cubicBezTo>
                  <a:pt x="930" y="1184"/>
                  <a:pt x="930" y="1184"/>
                  <a:pt x="929" y="1184"/>
                </a:cubicBezTo>
                <a:cubicBezTo>
                  <a:pt x="929" y="1184"/>
                  <a:pt x="929" y="1184"/>
                  <a:pt x="929" y="1183"/>
                </a:cubicBezTo>
                <a:cubicBezTo>
                  <a:pt x="929" y="1183"/>
                  <a:pt x="929" y="1183"/>
                  <a:pt x="929" y="1182"/>
                </a:cubicBezTo>
                <a:cubicBezTo>
                  <a:pt x="929" y="1182"/>
                  <a:pt x="929" y="1182"/>
                  <a:pt x="928" y="1182"/>
                </a:cubicBezTo>
                <a:cubicBezTo>
                  <a:pt x="928" y="1182"/>
                  <a:pt x="928" y="1182"/>
                  <a:pt x="928" y="1180"/>
                </a:cubicBezTo>
                <a:cubicBezTo>
                  <a:pt x="928" y="1180"/>
                  <a:pt x="928" y="1180"/>
                  <a:pt x="927" y="1179"/>
                </a:cubicBezTo>
                <a:cubicBezTo>
                  <a:pt x="927" y="1179"/>
                  <a:pt x="927" y="1179"/>
                  <a:pt x="928" y="1179"/>
                </a:cubicBezTo>
                <a:cubicBezTo>
                  <a:pt x="928" y="1179"/>
                  <a:pt x="928" y="1179"/>
                  <a:pt x="930" y="1179"/>
                </a:cubicBezTo>
                <a:cubicBezTo>
                  <a:pt x="930" y="1179"/>
                  <a:pt x="930" y="1179"/>
                  <a:pt x="931" y="1178"/>
                </a:cubicBezTo>
                <a:cubicBezTo>
                  <a:pt x="931" y="1178"/>
                  <a:pt x="931" y="1178"/>
                  <a:pt x="932" y="1179"/>
                </a:cubicBezTo>
                <a:cubicBezTo>
                  <a:pt x="932" y="1179"/>
                  <a:pt x="932" y="1179"/>
                  <a:pt x="932" y="1180"/>
                </a:cubicBezTo>
                <a:cubicBezTo>
                  <a:pt x="932" y="1180"/>
                  <a:pt x="932" y="1180"/>
                  <a:pt x="933" y="1179"/>
                </a:cubicBezTo>
                <a:cubicBezTo>
                  <a:pt x="933" y="1179"/>
                  <a:pt x="933" y="1179"/>
                  <a:pt x="932" y="1178"/>
                </a:cubicBezTo>
                <a:cubicBezTo>
                  <a:pt x="932" y="1178"/>
                  <a:pt x="932" y="1178"/>
                  <a:pt x="932" y="1177"/>
                </a:cubicBezTo>
                <a:cubicBezTo>
                  <a:pt x="932" y="1177"/>
                  <a:pt x="932" y="1177"/>
                  <a:pt x="933" y="1176"/>
                </a:cubicBezTo>
                <a:cubicBezTo>
                  <a:pt x="933" y="1176"/>
                  <a:pt x="933" y="1176"/>
                  <a:pt x="933" y="1177"/>
                </a:cubicBezTo>
                <a:cubicBezTo>
                  <a:pt x="933" y="1177"/>
                  <a:pt x="933" y="1177"/>
                  <a:pt x="934" y="1179"/>
                </a:cubicBezTo>
                <a:cubicBezTo>
                  <a:pt x="934" y="1179"/>
                  <a:pt x="934" y="1179"/>
                  <a:pt x="934" y="1180"/>
                </a:cubicBezTo>
                <a:cubicBezTo>
                  <a:pt x="934" y="1180"/>
                  <a:pt x="934" y="1180"/>
                  <a:pt x="935" y="1180"/>
                </a:cubicBezTo>
                <a:cubicBezTo>
                  <a:pt x="935" y="1180"/>
                  <a:pt x="935" y="1180"/>
                  <a:pt x="935" y="1179"/>
                </a:cubicBezTo>
                <a:cubicBezTo>
                  <a:pt x="935" y="1179"/>
                  <a:pt x="935" y="1179"/>
                  <a:pt x="934" y="1177"/>
                </a:cubicBezTo>
                <a:cubicBezTo>
                  <a:pt x="934" y="1177"/>
                  <a:pt x="934" y="1177"/>
                  <a:pt x="934" y="1176"/>
                </a:cubicBezTo>
                <a:cubicBezTo>
                  <a:pt x="934" y="1176"/>
                  <a:pt x="934" y="1176"/>
                  <a:pt x="935" y="1175"/>
                </a:cubicBezTo>
                <a:cubicBezTo>
                  <a:pt x="935" y="1175"/>
                  <a:pt x="935" y="1175"/>
                  <a:pt x="935" y="1174"/>
                </a:cubicBezTo>
                <a:cubicBezTo>
                  <a:pt x="935" y="1174"/>
                  <a:pt x="935" y="1174"/>
                  <a:pt x="934" y="1173"/>
                </a:cubicBezTo>
                <a:cubicBezTo>
                  <a:pt x="934" y="1173"/>
                  <a:pt x="934" y="1173"/>
                  <a:pt x="934" y="1173"/>
                </a:cubicBezTo>
                <a:cubicBezTo>
                  <a:pt x="933" y="1173"/>
                  <a:pt x="933" y="1173"/>
                  <a:pt x="933" y="1173"/>
                </a:cubicBezTo>
                <a:cubicBezTo>
                  <a:pt x="933" y="1173"/>
                  <a:pt x="933" y="1173"/>
                  <a:pt x="931" y="1172"/>
                </a:cubicBezTo>
                <a:cubicBezTo>
                  <a:pt x="931" y="1172"/>
                  <a:pt x="931" y="1172"/>
                  <a:pt x="930" y="1172"/>
                </a:cubicBezTo>
                <a:cubicBezTo>
                  <a:pt x="930" y="1172"/>
                  <a:pt x="930" y="1172"/>
                  <a:pt x="930" y="1173"/>
                </a:cubicBezTo>
                <a:cubicBezTo>
                  <a:pt x="930" y="1173"/>
                  <a:pt x="930" y="1173"/>
                  <a:pt x="929" y="1173"/>
                </a:cubicBezTo>
                <a:cubicBezTo>
                  <a:pt x="929" y="1173"/>
                  <a:pt x="929" y="1173"/>
                  <a:pt x="929" y="1174"/>
                </a:cubicBezTo>
                <a:cubicBezTo>
                  <a:pt x="929" y="1174"/>
                  <a:pt x="929" y="1174"/>
                  <a:pt x="931" y="1174"/>
                </a:cubicBezTo>
                <a:cubicBezTo>
                  <a:pt x="931" y="1174"/>
                  <a:pt x="931" y="1174"/>
                  <a:pt x="932" y="1174"/>
                </a:cubicBezTo>
                <a:cubicBezTo>
                  <a:pt x="932" y="1174"/>
                  <a:pt x="932" y="1174"/>
                  <a:pt x="932" y="1175"/>
                </a:cubicBezTo>
                <a:cubicBezTo>
                  <a:pt x="932" y="1175"/>
                  <a:pt x="932" y="1175"/>
                  <a:pt x="931" y="1176"/>
                </a:cubicBezTo>
                <a:cubicBezTo>
                  <a:pt x="931" y="1176"/>
                  <a:pt x="931" y="1176"/>
                  <a:pt x="930" y="1177"/>
                </a:cubicBezTo>
                <a:cubicBezTo>
                  <a:pt x="930" y="1177"/>
                  <a:pt x="930" y="1177"/>
                  <a:pt x="930" y="1176"/>
                </a:cubicBezTo>
                <a:cubicBezTo>
                  <a:pt x="930" y="1176"/>
                  <a:pt x="930" y="1176"/>
                  <a:pt x="930" y="1175"/>
                </a:cubicBezTo>
                <a:cubicBezTo>
                  <a:pt x="930" y="1175"/>
                  <a:pt x="930" y="1175"/>
                  <a:pt x="929" y="1175"/>
                </a:cubicBezTo>
                <a:cubicBezTo>
                  <a:pt x="929" y="1175"/>
                  <a:pt x="929" y="1175"/>
                  <a:pt x="929" y="1176"/>
                </a:cubicBezTo>
                <a:cubicBezTo>
                  <a:pt x="929" y="1176"/>
                  <a:pt x="929" y="1176"/>
                  <a:pt x="929" y="1178"/>
                </a:cubicBezTo>
                <a:cubicBezTo>
                  <a:pt x="929" y="1178"/>
                  <a:pt x="929" y="1178"/>
                  <a:pt x="928" y="1178"/>
                </a:cubicBezTo>
                <a:cubicBezTo>
                  <a:pt x="928" y="1178"/>
                  <a:pt x="928" y="1178"/>
                  <a:pt x="927" y="1177"/>
                </a:cubicBezTo>
                <a:cubicBezTo>
                  <a:pt x="927" y="1177"/>
                  <a:pt x="927" y="1177"/>
                  <a:pt x="927" y="1176"/>
                </a:cubicBezTo>
                <a:cubicBezTo>
                  <a:pt x="927" y="1176"/>
                  <a:pt x="927" y="1176"/>
                  <a:pt x="926" y="1175"/>
                </a:cubicBezTo>
                <a:cubicBezTo>
                  <a:pt x="926" y="1175"/>
                  <a:pt x="926" y="1175"/>
                  <a:pt x="925" y="1173"/>
                </a:cubicBezTo>
                <a:cubicBezTo>
                  <a:pt x="925" y="1173"/>
                  <a:pt x="925" y="1173"/>
                  <a:pt x="926" y="1173"/>
                </a:cubicBezTo>
                <a:cubicBezTo>
                  <a:pt x="926" y="1173"/>
                  <a:pt x="926" y="1173"/>
                  <a:pt x="927" y="1173"/>
                </a:cubicBezTo>
                <a:cubicBezTo>
                  <a:pt x="927" y="1173"/>
                  <a:pt x="927" y="1173"/>
                  <a:pt x="926" y="1172"/>
                </a:cubicBezTo>
                <a:cubicBezTo>
                  <a:pt x="926" y="1172"/>
                  <a:pt x="926" y="1172"/>
                  <a:pt x="926" y="1171"/>
                </a:cubicBezTo>
                <a:cubicBezTo>
                  <a:pt x="926" y="1171"/>
                  <a:pt x="926" y="1171"/>
                  <a:pt x="925" y="1171"/>
                </a:cubicBezTo>
                <a:cubicBezTo>
                  <a:pt x="925" y="1171"/>
                  <a:pt x="925" y="1171"/>
                  <a:pt x="924" y="1170"/>
                </a:cubicBezTo>
                <a:cubicBezTo>
                  <a:pt x="924" y="1170"/>
                  <a:pt x="924" y="1170"/>
                  <a:pt x="923" y="1170"/>
                </a:cubicBezTo>
                <a:cubicBezTo>
                  <a:pt x="923" y="1170"/>
                  <a:pt x="923" y="1170"/>
                  <a:pt x="923" y="1169"/>
                </a:cubicBezTo>
                <a:cubicBezTo>
                  <a:pt x="923" y="1169"/>
                  <a:pt x="923" y="1169"/>
                  <a:pt x="923" y="1168"/>
                </a:cubicBezTo>
                <a:cubicBezTo>
                  <a:pt x="923" y="1168"/>
                  <a:pt x="923" y="1168"/>
                  <a:pt x="924" y="1168"/>
                </a:cubicBezTo>
                <a:cubicBezTo>
                  <a:pt x="924" y="1168"/>
                  <a:pt x="924" y="1168"/>
                  <a:pt x="925" y="1167"/>
                </a:cubicBezTo>
                <a:cubicBezTo>
                  <a:pt x="925" y="1167"/>
                  <a:pt x="925" y="1167"/>
                  <a:pt x="925" y="1166"/>
                </a:cubicBezTo>
                <a:cubicBezTo>
                  <a:pt x="925" y="1166"/>
                  <a:pt x="925" y="1166"/>
                  <a:pt x="924" y="1167"/>
                </a:cubicBezTo>
                <a:cubicBezTo>
                  <a:pt x="924" y="1167"/>
                  <a:pt x="924" y="1167"/>
                  <a:pt x="923" y="1167"/>
                </a:cubicBezTo>
                <a:cubicBezTo>
                  <a:pt x="923" y="1167"/>
                  <a:pt x="923" y="1167"/>
                  <a:pt x="923" y="1165"/>
                </a:cubicBezTo>
                <a:cubicBezTo>
                  <a:pt x="923" y="1165"/>
                  <a:pt x="923" y="1165"/>
                  <a:pt x="924" y="1165"/>
                </a:cubicBezTo>
                <a:cubicBezTo>
                  <a:pt x="924" y="1165"/>
                  <a:pt x="924" y="1165"/>
                  <a:pt x="923" y="1164"/>
                </a:cubicBezTo>
                <a:cubicBezTo>
                  <a:pt x="923" y="1164"/>
                  <a:pt x="923" y="1164"/>
                  <a:pt x="920" y="1164"/>
                </a:cubicBezTo>
                <a:cubicBezTo>
                  <a:pt x="920" y="1164"/>
                  <a:pt x="920" y="1164"/>
                  <a:pt x="919" y="1162"/>
                </a:cubicBezTo>
                <a:cubicBezTo>
                  <a:pt x="919" y="1162"/>
                  <a:pt x="919" y="1162"/>
                  <a:pt x="918" y="1161"/>
                </a:cubicBezTo>
                <a:cubicBezTo>
                  <a:pt x="918" y="1161"/>
                  <a:pt x="918" y="1161"/>
                  <a:pt x="919" y="1160"/>
                </a:cubicBezTo>
                <a:cubicBezTo>
                  <a:pt x="919" y="1160"/>
                  <a:pt x="919" y="1160"/>
                  <a:pt x="920" y="1160"/>
                </a:cubicBezTo>
                <a:cubicBezTo>
                  <a:pt x="920" y="1160"/>
                  <a:pt x="920" y="1160"/>
                  <a:pt x="920" y="1159"/>
                </a:cubicBezTo>
                <a:cubicBezTo>
                  <a:pt x="920" y="1159"/>
                  <a:pt x="920" y="1159"/>
                  <a:pt x="920" y="1158"/>
                </a:cubicBezTo>
                <a:cubicBezTo>
                  <a:pt x="920" y="1158"/>
                  <a:pt x="920" y="1158"/>
                  <a:pt x="920" y="1157"/>
                </a:cubicBezTo>
                <a:cubicBezTo>
                  <a:pt x="920" y="1157"/>
                  <a:pt x="920" y="1157"/>
                  <a:pt x="921" y="1156"/>
                </a:cubicBezTo>
                <a:cubicBezTo>
                  <a:pt x="921" y="1156"/>
                  <a:pt x="921" y="1156"/>
                  <a:pt x="922" y="1156"/>
                </a:cubicBezTo>
                <a:cubicBezTo>
                  <a:pt x="922" y="1156"/>
                  <a:pt x="922" y="1156"/>
                  <a:pt x="923" y="1155"/>
                </a:cubicBezTo>
                <a:cubicBezTo>
                  <a:pt x="923" y="1155"/>
                  <a:pt x="923" y="1155"/>
                  <a:pt x="922" y="1155"/>
                </a:cubicBezTo>
                <a:cubicBezTo>
                  <a:pt x="922" y="1155"/>
                  <a:pt x="922" y="1155"/>
                  <a:pt x="921" y="1155"/>
                </a:cubicBezTo>
                <a:cubicBezTo>
                  <a:pt x="921" y="1155"/>
                  <a:pt x="921" y="1155"/>
                  <a:pt x="921" y="1154"/>
                </a:cubicBezTo>
                <a:cubicBezTo>
                  <a:pt x="921" y="1154"/>
                  <a:pt x="921" y="1154"/>
                  <a:pt x="921" y="1152"/>
                </a:cubicBezTo>
                <a:cubicBezTo>
                  <a:pt x="921" y="1152"/>
                  <a:pt x="921" y="1152"/>
                  <a:pt x="920" y="1154"/>
                </a:cubicBezTo>
                <a:cubicBezTo>
                  <a:pt x="920" y="1154"/>
                  <a:pt x="920" y="1154"/>
                  <a:pt x="920" y="1156"/>
                </a:cubicBezTo>
                <a:cubicBezTo>
                  <a:pt x="920" y="1156"/>
                  <a:pt x="920" y="1156"/>
                  <a:pt x="919" y="1156"/>
                </a:cubicBezTo>
                <a:cubicBezTo>
                  <a:pt x="919" y="1156"/>
                  <a:pt x="919" y="1156"/>
                  <a:pt x="918" y="1154"/>
                </a:cubicBezTo>
                <a:cubicBezTo>
                  <a:pt x="918" y="1154"/>
                  <a:pt x="918" y="1154"/>
                  <a:pt x="919" y="1153"/>
                </a:cubicBezTo>
                <a:cubicBezTo>
                  <a:pt x="919" y="1153"/>
                  <a:pt x="919" y="1153"/>
                  <a:pt x="918" y="1152"/>
                </a:cubicBezTo>
                <a:cubicBezTo>
                  <a:pt x="918" y="1152"/>
                  <a:pt x="918" y="1152"/>
                  <a:pt x="917" y="1149"/>
                </a:cubicBezTo>
                <a:cubicBezTo>
                  <a:pt x="917" y="1149"/>
                  <a:pt x="917" y="1149"/>
                  <a:pt x="917" y="1148"/>
                </a:cubicBezTo>
                <a:cubicBezTo>
                  <a:pt x="917" y="1148"/>
                  <a:pt x="917" y="1148"/>
                  <a:pt x="918" y="1148"/>
                </a:cubicBezTo>
                <a:cubicBezTo>
                  <a:pt x="918" y="1148"/>
                  <a:pt x="918" y="1148"/>
                  <a:pt x="918" y="1147"/>
                </a:cubicBezTo>
                <a:cubicBezTo>
                  <a:pt x="918" y="1147"/>
                  <a:pt x="918" y="1147"/>
                  <a:pt x="918" y="1146"/>
                </a:cubicBezTo>
                <a:cubicBezTo>
                  <a:pt x="918" y="1146"/>
                  <a:pt x="918" y="1146"/>
                  <a:pt x="919" y="1145"/>
                </a:cubicBezTo>
                <a:cubicBezTo>
                  <a:pt x="919" y="1145"/>
                  <a:pt x="919" y="1145"/>
                  <a:pt x="918" y="1145"/>
                </a:cubicBezTo>
                <a:cubicBezTo>
                  <a:pt x="918" y="1145"/>
                  <a:pt x="918" y="1145"/>
                  <a:pt x="917" y="1145"/>
                </a:cubicBezTo>
                <a:cubicBezTo>
                  <a:pt x="917" y="1145"/>
                  <a:pt x="917" y="1145"/>
                  <a:pt x="917" y="1144"/>
                </a:cubicBezTo>
                <a:cubicBezTo>
                  <a:pt x="917" y="1144"/>
                  <a:pt x="917" y="1144"/>
                  <a:pt x="916" y="1143"/>
                </a:cubicBezTo>
                <a:cubicBezTo>
                  <a:pt x="916" y="1143"/>
                  <a:pt x="916" y="1143"/>
                  <a:pt x="915" y="1142"/>
                </a:cubicBezTo>
                <a:cubicBezTo>
                  <a:pt x="915" y="1142"/>
                  <a:pt x="915" y="1142"/>
                  <a:pt x="916" y="1142"/>
                </a:cubicBezTo>
                <a:cubicBezTo>
                  <a:pt x="916" y="1142"/>
                  <a:pt x="916" y="1142"/>
                  <a:pt x="918" y="1141"/>
                </a:cubicBezTo>
                <a:cubicBezTo>
                  <a:pt x="918" y="1141"/>
                  <a:pt x="918" y="1141"/>
                  <a:pt x="919" y="1142"/>
                </a:cubicBezTo>
                <a:cubicBezTo>
                  <a:pt x="919" y="1142"/>
                  <a:pt x="919" y="1142"/>
                  <a:pt x="919" y="1141"/>
                </a:cubicBezTo>
                <a:cubicBezTo>
                  <a:pt x="919" y="1141"/>
                  <a:pt x="919" y="1141"/>
                  <a:pt x="920" y="1141"/>
                </a:cubicBezTo>
                <a:cubicBezTo>
                  <a:pt x="920" y="1141"/>
                  <a:pt x="920" y="1141"/>
                  <a:pt x="921" y="1140"/>
                </a:cubicBezTo>
                <a:cubicBezTo>
                  <a:pt x="921" y="1140"/>
                  <a:pt x="921" y="1140"/>
                  <a:pt x="920" y="1140"/>
                </a:cubicBezTo>
                <a:cubicBezTo>
                  <a:pt x="920" y="1140"/>
                  <a:pt x="920" y="1140"/>
                  <a:pt x="919" y="1140"/>
                </a:cubicBezTo>
                <a:cubicBezTo>
                  <a:pt x="919" y="1140"/>
                  <a:pt x="919" y="1140"/>
                  <a:pt x="918" y="1140"/>
                </a:cubicBezTo>
                <a:cubicBezTo>
                  <a:pt x="918" y="1140"/>
                  <a:pt x="918" y="1140"/>
                  <a:pt x="917" y="1140"/>
                </a:cubicBezTo>
                <a:cubicBezTo>
                  <a:pt x="917" y="1140"/>
                  <a:pt x="917" y="1140"/>
                  <a:pt x="915" y="1140"/>
                </a:cubicBezTo>
                <a:cubicBezTo>
                  <a:pt x="915" y="1140"/>
                  <a:pt x="915" y="1140"/>
                  <a:pt x="915" y="1139"/>
                </a:cubicBezTo>
                <a:cubicBezTo>
                  <a:pt x="915" y="1139"/>
                  <a:pt x="915" y="1139"/>
                  <a:pt x="914" y="1138"/>
                </a:cubicBezTo>
                <a:cubicBezTo>
                  <a:pt x="914" y="1138"/>
                  <a:pt x="914" y="1138"/>
                  <a:pt x="914" y="1137"/>
                </a:cubicBezTo>
                <a:cubicBezTo>
                  <a:pt x="914" y="1137"/>
                  <a:pt x="914" y="1137"/>
                  <a:pt x="915" y="1138"/>
                </a:cubicBezTo>
                <a:cubicBezTo>
                  <a:pt x="915" y="1138"/>
                  <a:pt x="915" y="1138"/>
                  <a:pt x="916" y="1138"/>
                </a:cubicBezTo>
                <a:cubicBezTo>
                  <a:pt x="916" y="1138"/>
                  <a:pt x="916" y="1138"/>
                  <a:pt x="915" y="1137"/>
                </a:cubicBezTo>
                <a:cubicBezTo>
                  <a:pt x="915" y="1137"/>
                  <a:pt x="915" y="1137"/>
                  <a:pt x="915" y="1136"/>
                </a:cubicBezTo>
                <a:cubicBezTo>
                  <a:pt x="915" y="1136"/>
                  <a:pt x="915" y="1136"/>
                  <a:pt x="916" y="1135"/>
                </a:cubicBezTo>
                <a:cubicBezTo>
                  <a:pt x="916" y="1135"/>
                  <a:pt x="916" y="1135"/>
                  <a:pt x="915" y="1134"/>
                </a:cubicBezTo>
                <a:cubicBezTo>
                  <a:pt x="915" y="1134"/>
                  <a:pt x="915" y="1134"/>
                  <a:pt x="916" y="1134"/>
                </a:cubicBezTo>
                <a:cubicBezTo>
                  <a:pt x="916" y="1134"/>
                  <a:pt x="916" y="1134"/>
                  <a:pt x="916" y="1133"/>
                </a:cubicBezTo>
                <a:cubicBezTo>
                  <a:pt x="916" y="1133"/>
                  <a:pt x="916" y="1133"/>
                  <a:pt x="914" y="1132"/>
                </a:cubicBezTo>
                <a:cubicBezTo>
                  <a:pt x="914" y="1132"/>
                  <a:pt x="914" y="1132"/>
                  <a:pt x="914" y="1131"/>
                </a:cubicBezTo>
                <a:cubicBezTo>
                  <a:pt x="914" y="1131"/>
                  <a:pt x="914" y="1131"/>
                  <a:pt x="913" y="1131"/>
                </a:cubicBezTo>
                <a:cubicBezTo>
                  <a:pt x="913" y="1131"/>
                  <a:pt x="913" y="1131"/>
                  <a:pt x="912" y="1132"/>
                </a:cubicBezTo>
                <a:cubicBezTo>
                  <a:pt x="912" y="1132"/>
                  <a:pt x="912" y="1132"/>
                  <a:pt x="911" y="1132"/>
                </a:cubicBezTo>
                <a:cubicBezTo>
                  <a:pt x="911" y="1132"/>
                  <a:pt x="911" y="1132"/>
                  <a:pt x="910" y="1131"/>
                </a:cubicBezTo>
                <a:cubicBezTo>
                  <a:pt x="910" y="1131"/>
                  <a:pt x="910" y="1131"/>
                  <a:pt x="909" y="1130"/>
                </a:cubicBezTo>
                <a:cubicBezTo>
                  <a:pt x="909" y="1130"/>
                  <a:pt x="909" y="1130"/>
                  <a:pt x="907" y="1130"/>
                </a:cubicBezTo>
                <a:cubicBezTo>
                  <a:pt x="907" y="1130"/>
                  <a:pt x="907" y="1130"/>
                  <a:pt x="907" y="1129"/>
                </a:cubicBezTo>
                <a:cubicBezTo>
                  <a:pt x="907" y="1129"/>
                  <a:pt x="907" y="1129"/>
                  <a:pt x="908" y="1128"/>
                </a:cubicBezTo>
                <a:cubicBezTo>
                  <a:pt x="908" y="1128"/>
                  <a:pt x="908" y="1128"/>
                  <a:pt x="908" y="1127"/>
                </a:cubicBezTo>
                <a:cubicBezTo>
                  <a:pt x="908" y="1127"/>
                  <a:pt x="908" y="1127"/>
                  <a:pt x="909" y="1127"/>
                </a:cubicBezTo>
                <a:cubicBezTo>
                  <a:pt x="909" y="1127"/>
                  <a:pt x="909" y="1127"/>
                  <a:pt x="909" y="1126"/>
                </a:cubicBezTo>
                <a:cubicBezTo>
                  <a:pt x="909" y="1126"/>
                  <a:pt x="909" y="1126"/>
                  <a:pt x="908" y="1126"/>
                </a:cubicBezTo>
                <a:cubicBezTo>
                  <a:pt x="908" y="1126"/>
                  <a:pt x="908" y="1126"/>
                  <a:pt x="908" y="1124"/>
                </a:cubicBezTo>
                <a:cubicBezTo>
                  <a:pt x="908" y="1124"/>
                  <a:pt x="908" y="1124"/>
                  <a:pt x="909" y="1123"/>
                </a:cubicBezTo>
                <a:cubicBezTo>
                  <a:pt x="909" y="1123"/>
                  <a:pt x="909" y="1123"/>
                  <a:pt x="909" y="1124"/>
                </a:cubicBezTo>
                <a:cubicBezTo>
                  <a:pt x="909" y="1124"/>
                  <a:pt x="909" y="1124"/>
                  <a:pt x="912" y="1124"/>
                </a:cubicBezTo>
                <a:cubicBezTo>
                  <a:pt x="912" y="1124"/>
                  <a:pt x="912" y="1124"/>
                  <a:pt x="913" y="1123"/>
                </a:cubicBezTo>
                <a:cubicBezTo>
                  <a:pt x="913" y="1123"/>
                  <a:pt x="913" y="1123"/>
                  <a:pt x="913" y="1125"/>
                </a:cubicBezTo>
                <a:cubicBezTo>
                  <a:pt x="913" y="1125"/>
                  <a:pt x="913" y="1125"/>
                  <a:pt x="913" y="1126"/>
                </a:cubicBezTo>
                <a:cubicBezTo>
                  <a:pt x="913" y="1126"/>
                  <a:pt x="913" y="1126"/>
                  <a:pt x="912" y="1126"/>
                </a:cubicBezTo>
                <a:cubicBezTo>
                  <a:pt x="912" y="1126"/>
                  <a:pt x="912" y="1126"/>
                  <a:pt x="911" y="1127"/>
                </a:cubicBezTo>
                <a:cubicBezTo>
                  <a:pt x="911" y="1127"/>
                  <a:pt x="911" y="1127"/>
                  <a:pt x="912" y="1127"/>
                </a:cubicBezTo>
                <a:cubicBezTo>
                  <a:pt x="912" y="1127"/>
                  <a:pt x="912" y="1127"/>
                  <a:pt x="913" y="1126"/>
                </a:cubicBezTo>
                <a:cubicBezTo>
                  <a:pt x="913" y="1126"/>
                  <a:pt x="913" y="1126"/>
                  <a:pt x="915" y="1125"/>
                </a:cubicBezTo>
                <a:cubicBezTo>
                  <a:pt x="915" y="1125"/>
                  <a:pt x="915" y="1125"/>
                  <a:pt x="915" y="1126"/>
                </a:cubicBezTo>
                <a:cubicBezTo>
                  <a:pt x="915" y="1126"/>
                  <a:pt x="915" y="1126"/>
                  <a:pt x="915" y="1127"/>
                </a:cubicBezTo>
                <a:cubicBezTo>
                  <a:pt x="915" y="1127"/>
                  <a:pt x="915" y="1127"/>
                  <a:pt x="915" y="1129"/>
                </a:cubicBezTo>
                <a:cubicBezTo>
                  <a:pt x="915" y="1129"/>
                  <a:pt x="915" y="1129"/>
                  <a:pt x="916" y="1129"/>
                </a:cubicBezTo>
                <a:cubicBezTo>
                  <a:pt x="916" y="1129"/>
                  <a:pt x="916" y="1129"/>
                  <a:pt x="916" y="1127"/>
                </a:cubicBezTo>
                <a:cubicBezTo>
                  <a:pt x="916" y="1127"/>
                  <a:pt x="916" y="1127"/>
                  <a:pt x="917" y="1126"/>
                </a:cubicBezTo>
                <a:cubicBezTo>
                  <a:pt x="917" y="1126"/>
                  <a:pt x="917" y="1126"/>
                  <a:pt x="916" y="1126"/>
                </a:cubicBezTo>
                <a:cubicBezTo>
                  <a:pt x="916" y="1126"/>
                  <a:pt x="916" y="1126"/>
                  <a:pt x="916" y="1124"/>
                </a:cubicBezTo>
                <a:cubicBezTo>
                  <a:pt x="916" y="1124"/>
                  <a:pt x="916" y="1124"/>
                  <a:pt x="917" y="1122"/>
                </a:cubicBezTo>
                <a:cubicBezTo>
                  <a:pt x="917" y="1122"/>
                  <a:pt x="917" y="1122"/>
                  <a:pt x="918" y="1121"/>
                </a:cubicBezTo>
                <a:cubicBezTo>
                  <a:pt x="918" y="1121"/>
                  <a:pt x="918" y="1121"/>
                  <a:pt x="917" y="1121"/>
                </a:cubicBezTo>
                <a:cubicBezTo>
                  <a:pt x="917" y="1121"/>
                  <a:pt x="917" y="1121"/>
                  <a:pt x="917" y="1120"/>
                </a:cubicBezTo>
                <a:cubicBezTo>
                  <a:pt x="917" y="1120"/>
                  <a:pt x="917" y="1120"/>
                  <a:pt x="917" y="1119"/>
                </a:cubicBezTo>
                <a:cubicBezTo>
                  <a:pt x="917" y="1119"/>
                  <a:pt x="917" y="1119"/>
                  <a:pt x="917" y="1118"/>
                </a:cubicBezTo>
                <a:cubicBezTo>
                  <a:pt x="917" y="1118"/>
                  <a:pt x="917" y="1118"/>
                  <a:pt x="917" y="1117"/>
                </a:cubicBezTo>
                <a:cubicBezTo>
                  <a:pt x="917" y="1117"/>
                  <a:pt x="917" y="1117"/>
                  <a:pt x="918" y="1117"/>
                </a:cubicBezTo>
                <a:cubicBezTo>
                  <a:pt x="918" y="1117"/>
                  <a:pt x="918" y="1117"/>
                  <a:pt x="919" y="1116"/>
                </a:cubicBezTo>
                <a:cubicBezTo>
                  <a:pt x="919" y="1116"/>
                  <a:pt x="919" y="1116"/>
                  <a:pt x="920" y="1114"/>
                </a:cubicBezTo>
                <a:cubicBezTo>
                  <a:pt x="920" y="1114"/>
                  <a:pt x="920" y="1114"/>
                  <a:pt x="920" y="1112"/>
                </a:cubicBezTo>
                <a:cubicBezTo>
                  <a:pt x="920" y="1112"/>
                  <a:pt x="920" y="1112"/>
                  <a:pt x="919" y="1112"/>
                </a:cubicBezTo>
                <a:cubicBezTo>
                  <a:pt x="919" y="1112"/>
                  <a:pt x="919" y="1112"/>
                  <a:pt x="919" y="1111"/>
                </a:cubicBezTo>
                <a:cubicBezTo>
                  <a:pt x="919" y="1111"/>
                  <a:pt x="919" y="1111"/>
                  <a:pt x="918" y="1110"/>
                </a:cubicBezTo>
                <a:cubicBezTo>
                  <a:pt x="918" y="1110"/>
                  <a:pt x="918" y="1110"/>
                  <a:pt x="917" y="1110"/>
                </a:cubicBezTo>
                <a:cubicBezTo>
                  <a:pt x="917" y="1110"/>
                  <a:pt x="917" y="1110"/>
                  <a:pt x="916" y="1109"/>
                </a:cubicBezTo>
                <a:cubicBezTo>
                  <a:pt x="916" y="1109"/>
                  <a:pt x="916" y="1109"/>
                  <a:pt x="916" y="1108"/>
                </a:cubicBezTo>
                <a:cubicBezTo>
                  <a:pt x="916" y="1108"/>
                  <a:pt x="916" y="1108"/>
                  <a:pt x="917" y="1107"/>
                </a:cubicBezTo>
                <a:cubicBezTo>
                  <a:pt x="917" y="1107"/>
                  <a:pt x="917" y="1107"/>
                  <a:pt x="917" y="1106"/>
                </a:cubicBezTo>
                <a:cubicBezTo>
                  <a:pt x="917" y="1106"/>
                  <a:pt x="917" y="1106"/>
                  <a:pt x="918" y="1105"/>
                </a:cubicBezTo>
                <a:cubicBezTo>
                  <a:pt x="918" y="1105"/>
                  <a:pt x="918" y="1105"/>
                  <a:pt x="916" y="1104"/>
                </a:cubicBezTo>
                <a:cubicBezTo>
                  <a:pt x="916" y="1104"/>
                  <a:pt x="916" y="1104"/>
                  <a:pt x="916" y="1103"/>
                </a:cubicBezTo>
                <a:cubicBezTo>
                  <a:pt x="916" y="1103"/>
                  <a:pt x="916" y="1103"/>
                  <a:pt x="917" y="1102"/>
                </a:cubicBezTo>
                <a:cubicBezTo>
                  <a:pt x="917" y="1102"/>
                  <a:pt x="917" y="1102"/>
                  <a:pt x="917" y="1101"/>
                </a:cubicBezTo>
                <a:cubicBezTo>
                  <a:pt x="917" y="1101"/>
                  <a:pt x="917" y="1101"/>
                  <a:pt x="918" y="1100"/>
                </a:cubicBezTo>
                <a:cubicBezTo>
                  <a:pt x="918" y="1100"/>
                  <a:pt x="918" y="1100"/>
                  <a:pt x="917" y="1099"/>
                </a:cubicBezTo>
                <a:cubicBezTo>
                  <a:pt x="917" y="1099"/>
                  <a:pt x="917" y="1099"/>
                  <a:pt x="917" y="1097"/>
                </a:cubicBezTo>
                <a:cubicBezTo>
                  <a:pt x="917" y="1097"/>
                  <a:pt x="917" y="1097"/>
                  <a:pt x="918" y="1097"/>
                </a:cubicBezTo>
                <a:cubicBezTo>
                  <a:pt x="918" y="1097"/>
                  <a:pt x="918" y="1097"/>
                  <a:pt x="918" y="1096"/>
                </a:cubicBezTo>
                <a:cubicBezTo>
                  <a:pt x="918" y="1096"/>
                  <a:pt x="918" y="1096"/>
                  <a:pt x="916" y="1095"/>
                </a:cubicBezTo>
                <a:cubicBezTo>
                  <a:pt x="916" y="1095"/>
                  <a:pt x="916" y="1095"/>
                  <a:pt x="916" y="1094"/>
                </a:cubicBezTo>
                <a:cubicBezTo>
                  <a:pt x="916" y="1094"/>
                  <a:pt x="916" y="1094"/>
                  <a:pt x="917" y="1094"/>
                </a:cubicBezTo>
                <a:cubicBezTo>
                  <a:pt x="917" y="1094"/>
                  <a:pt x="917" y="1094"/>
                  <a:pt x="918" y="1095"/>
                </a:cubicBezTo>
                <a:cubicBezTo>
                  <a:pt x="918" y="1095"/>
                  <a:pt x="918" y="1095"/>
                  <a:pt x="918" y="1093"/>
                </a:cubicBezTo>
                <a:cubicBezTo>
                  <a:pt x="918" y="1093"/>
                  <a:pt x="918" y="1093"/>
                  <a:pt x="918" y="1092"/>
                </a:cubicBezTo>
                <a:cubicBezTo>
                  <a:pt x="918" y="1092"/>
                  <a:pt x="918" y="1092"/>
                  <a:pt x="917" y="1092"/>
                </a:cubicBezTo>
                <a:cubicBezTo>
                  <a:pt x="917" y="1092"/>
                  <a:pt x="917" y="1092"/>
                  <a:pt x="916" y="1092"/>
                </a:cubicBezTo>
                <a:cubicBezTo>
                  <a:pt x="916" y="1092"/>
                  <a:pt x="916" y="1092"/>
                  <a:pt x="916" y="1091"/>
                </a:cubicBezTo>
                <a:cubicBezTo>
                  <a:pt x="916" y="1091"/>
                  <a:pt x="916" y="1091"/>
                  <a:pt x="918" y="1090"/>
                </a:cubicBezTo>
                <a:cubicBezTo>
                  <a:pt x="918" y="1090"/>
                  <a:pt x="918" y="1090"/>
                  <a:pt x="918" y="1089"/>
                </a:cubicBezTo>
                <a:cubicBezTo>
                  <a:pt x="918" y="1089"/>
                  <a:pt x="918" y="1089"/>
                  <a:pt x="917" y="1089"/>
                </a:cubicBezTo>
                <a:cubicBezTo>
                  <a:pt x="917" y="1089"/>
                  <a:pt x="917" y="1089"/>
                  <a:pt x="916" y="1088"/>
                </a:cubicBezTo>
                <a:cubicBezTo>
                  <a:pt x="916" y="1088"/>
                  <a:pt x="916" y="1088"/>
                  <a:pt x="915" y="1088"/>
                </a:cubicBezTo>
                <a:cubicBezTo>
                  <a:pt x="915" y="1088"/>
                  <a:pt x="915" y="1088"/>
                  <a:pt x="915" y="1090"/>
                </a:cubicBezTo>
                <a:cubicBezTo>
                  <a:pt x="915" y="1090"/>
                  <a:pt x="915" y="1090"/>
                  <a:pt x="913" y="1090"/>
                </a:cubicBezTo>
                <a:cubicBezTo>
                  <a:pt x="913" y="1090"/>
                  <a:pt x="913" y="1090"/>
                  <a:pt x="911" y="1090"/>
                </a:cubicBezTo>
                <a:cubicBezTo>
                  <a:pt x="911" y="1090"/>
                  <a:pt x="911" y="1090"/>
                  <a:pt x="911" y="1089"/>
                </a:cubicBezTo>
                <a:cubicBezTo>
                  <a:pt x="911" y="1089"/>
                  <a:pt x="911" y="1089"/>
                  <a:pt x="910" y="1088"/>
                </a:cubicBezTo>
                <a:cubicBezTo>
                  <a:pt x="910" y="1088"/>
                  <a:pt x="910" y="1088"/>
                  <a:pt x="908" y="1085"/>
                </a:cubicBezTo>
                <a:cubicBezTo>
                  <a:pt x="908" y="1085"/>
                  <a:pt x="908" y="1085"/>
                  <a:pt x="908" y="1084"/>
                </a:cubicBezTo>
                <a:cubicBezTo>
                  <a:pt x="908" y="1084"/>
                  <a:pt x="908" y="1084"/>
                  <a:pt x="908" y="1083"/>
                </a:cubicBezTo>
                <a:cubicBezTo>
                  <a:pt x="908" y="1083"/>
                  <a:pt x="908" y="1083"/>
                  <a:pt x="907" y="1083"/>
                </a:cubicBezTo>
                <a:cubicBezTo>
                  <a:pt x="907" y="1083"/>
                  <a:pt x="907" y="1083"/>
                  <a:pt x="908" y="1082"/>
                </a:cubicBezTo>
                <a:cubicBezTo>
                  <a:pt x="908" y="1082"/>
                  <a:pt x="908" y="1082"/>
                  <a:pt x="908" y="1081"/>
                </a:cubicBezTo>
                <a:cubicBezTo>
                  <a:pt x="908" y="1081"/>
                  <a:pt x="908" y="1081"/>
                  <a:pt x="908" y="1078"/>
                </a:cubicBezTo>
                <a:cubicBezTo>
                  <a:pt x="908" y="1078"/>
                  <a:pt x="908" y="1078"/>
                  <a:pt x="907" y="1076"/>
                </a:cubicBezTo>
                <a:cubicBezTo>
                  <a:pt x="907" y="1076"/>
                  <a:pt x="907" y="1076"/>
                  <a:pt x="908" y="1075"/>
                </a:cubicBezTo>
                <a:cubicBezTo>
                  <a:pt x="908" y="1075"/>
                  <a:pt x="908" y="1075"/>
                  <a:pt x="909" y="1075"/>
                </a:cubicBezTo>
                <a:cubicBezTo>
                  <a:pt x="909" y="1075"/>
                  <a:pt x="909" y="1075"/>
                  <a:pt x="909" y="1074"/>
                </a:cubicBezTo>
                <a:cubicBezTo>
                  <a:pt x="909" y="1074"/>
                  <a:pt x="909" y="1074"/>
                  <a:pt x="909" y="1073"/>
                </a:cubicBezTo>
                <a:cubicBezTo>
                  <a:pt x="909" y="1073"/>
                  <a:pt x="909" y="1073"/>
                  <a:pt x="910" y="1071"/>
                </a:cubicBezTo>
                <a:cubicBezTo>
                  <a:pt x="910" y="1071"/>
                  <a:pt x="910" y="1071"/>
                  <a:pt x="910" y="1068"/>
                </a:cubicBezTo>
                <a:cubicBezTo>
                  <a:pt x="910" y="1068"/>
                  <a:pt x="910" y="1068"/>
                  <a:pt x="909" y="1068"/>
                </a:cubicBezTo>
                <a:cubicBezTo>
                  <a:pt x="909" y="1068"/>
                  <a:pt x="909" y="1068"/>
                  <a:pt x="909" y="1067"/>
                </a:cubicBezTo>
                <a:cubicBezTo>
                  <a:pt x="909" y="1067"/>
                  <a:pt x="909" y="1067"/>
                  <a:pt x="907" y="1064"/>
                </a:cubicBezTo>
                <a:cubicBezTo>
                  <a:pt x="907" y="1064"/>
                  <a:pt x="907" y="1064"/>
                  <a:pt x="907" y="1062"/>
                </a:cubicBezTo>
                <a:cubicBezTo>
                  <a:pt x="907" y="1062"/>
                  <a:pt x="907" y="1062"/>
                  <a:pt x="907" y="1061"/>
                </a:cubicBezTo>
                <a:cubicBezTo>
                  <a:pt x="907" y="1061"/>
                  <a:pt x="907" y="1061"/>
                  <a:pt x="906" y="1059"/>
                </a:cubicBezTo>
                <a:cubicBezTo>
                  <a:pt x="906" y="1059"/>
                  <a:pt x="906" y="1059"/>
                  <a:pt x="905" y="1058"/>
                </a:cubicBezTo>
                <a:cubicBezTo>
                  <a:pt x="905" y="1058"/>
                  <a:pt x="905" y="1058"/>
                  <a:pt x="905" y="1056"/>
                </a:cubicBezTo>
                <a:cubicBezTo>
                  <a:pt x="905" y="1056"/>
                  <a:pt x="905" y="1056"/>
                  <a:pt x="904" y="1055"/>
                </a:cubicBezTo>
                <a:cubicBezTo>
                  <a:pt x="904" y="1055"/>
                  <a:pt x="904" y="1055"/>
                  <a:pt x="905" y="1054"/>
                </a:cubicBezTo>
                <a:cubicBezTo>
                  <a:pt x="905" y="1054"/>
                  <a:pt x="905" y="1054"/>
                  <a:pt x="906" y="1054"/>
                </a:cubicBezTo>
                <a:cubicBezTo>
                  <a:pt x="906" y="1054"/>
                  <a:pt x="906" y="1054"/>
                  <a:pt x="907" y="1054"/>
                </a:cubicBezTo>
                <a:cubicBezTo>
                  <a:pt x="907" y="1054"/>
                  <a:pt x="907" y="1054"/>
                  <a:pt x="908" y="1053"/>
                </a:cubicBezTo>
                <a:cubicBezTo>
                  <a:pt x="908" y="1053"/>
                  <a:pt x="908" y="1053"/>
                  <a:pt x="908" y="1052"/>
                </a:cubicBezTo>
                <a:cubicBezTo>
                  <a:pt x="908" y="1052"/>
                  <a:pt x="908" y="1052"/>
                  <a:pt x="907" y="1051"/>
                </a:cubicBezTo>
                <a:cubicBezTo>
                  <a:pt x="907" y="1051"/>
                  <a:pt x="907" y="1051"/>
                  <a:pt x="907" y="1050"/>
                </a:cubicBezTo>
                <a:cubicBezTo>
                  <a:pt x="907" y="1050"/>
                  <a:pt x="907" y="1050"/>
                  <a:pt x="908" y="1049"/>
                </a:cubicBezTo>
                <a:cubicBezTo>
                  <a:pt x="908" y="1049"/>
                  <a:pt x="908" y="1049"/>
                  <a:pt x="908" y="1048"/>
                </a:cubicBezTo>
                <a:cubicBezTo>
                  <a:pt x="908" y="1048"/>
                  <a:pt x="908" y="1048"/>
                  <a:pt x="909" y="1048"/>
                </a:cubicBezTo>
                <a:cubicBezTo>
                  <a:pt x="909" y="1048"/>
                  <a:pt x="909" y="1048"/>
                  <a:pt x="909" y="1047"/>
                </a:cubicBezTo>
                <a:cubicBezTo>
                  <a:pt x="909" y="1047"/>
                  <a:pt x="909" y="1047"/>
                  <a:pt x="909" y="1045"/>
                </a:cubicBezTo>
                <a:cubicBezTo>
                  <a:pt x="909" y="1045"/>
                  <a:pt x="909" y="1045"/>
                  <a:pt x="910" y="1044"/>
                </a:cubicBezTo>
                <a:cubicBezTo>
                  <a:pt x="910" y="1044"/>
                  <a:pt x="910" y="1044"/>
                  <a:pt x="909" y="1043"/>
                </a:cubicBezTo>
                <a:cubicBezTo>
                  <a:pt x="909" y="1043"/>
                  <a:pt x="909" y="1043"/>
                  <a:pt x="909" y="1042"/>
                </a:cubicBezTo>
                <a:cubicBezTo>
                  <a:pt x="909" y="1042"/>
                  <a:pt x="909" y="1042"/>
                  <a:pt x="910" y="1042"/>
                </a:cubicBezTo>
                <a:cubicBezTo>
                  <a:pt x="910" y="1042"/>
                  <a:pt x="910" y="1042"/>
                  <a:pt x="910" y="1040"/>
                </a:cubicBezTo>
                <a:cubicBezTo>
                  <a:pt x="910" y="1040"/>
                  <a:pt x="910" y="1040"/>
                  <a:pt x="910" y="1039"/>
                </a:cubicBezTo>
                <a:cubicBezTo>
                  <a:pt x="910" y="1039"/>
                  <a:pt x="910" y="1039"/>
                  <a:pt x="910" y="1038"/>
                </a:cubicBezTo>
                <a:cubicBezTo>
                  <a:pt x="910" y="1038"/>
                  <a:pt x="910" y="1038"/>
                  <a:pt x="911" y="1037"/>
                </a:cubicBezTo>
                <a:cubicBezTo>
                  <a:pt x="911" y="1037"/>
                  <a:pt x="911" y="1037"/>
                  <a:pt x="911" y="1035"/>
                </a:cubicBezTo>
                <a:cubicBezTo>
                  <a:pt x="911" y="1035"/>
                  <a:pt x="911" y="1035"/>
                  <a:pt x="911" y="1034"/>
                </a:cubicBezTo>
                <a:cubicBezTo>
                  <a:pt x="911" y="1034"/>
                  <a:pt x="911" y="1034"/>
                  <a:pt x="912" y="1034"/>
                </a:cubicBezTo>
                <a:cubicBezTo>
                  <a:pt x="912" y="1034"/>
                  <a:pt x="912" y="1034"/>
                  <a:pt x="912" y="1032"/>
                </a:cubicBezTo>
                <a:cubicBezTo>
                  <a:pt x="912" y="1032"/>
                  <a:pt x="912" y="1032"/>
                  <a:pt x="912" y="1031"/>
                </a:cubicBezTo>
                <a:cubicBezTo>
                  <a:pt x="912" y="1031"/>
                  <a:pt x="912" y="1031"/>
                  <a:pt x="912" y="1029"/>
                </a:cubicBezTo>
                <a:cubicBezTo>
                  <a:pt x="912" y="1029"/>
                  <a:pt x="912" y="1029"/>
                  <a:pt x="913" y="1029"/>
                </a:cubicBezTo>
                <a:cubicBezTo>
                  <a:pt x="913" y="1029"/>
                  <a:pt x="913" y="1029"/>
                  <a:pt x="914" y="1027"/>
                </a:cubicBezTo>
                <a:cubicBezTo>
                  <a:pt x="914" y="1027"/>
                  <a:pt x="914" y="1027"/>
                  <a:pt x="914" y="1026"/>
                </a:cubicBezTo>
                <a:cubicBezTo>
                  <a:pt x="914" y="1026"/>
                  <a:pt x="914" y="1026"/>
                  <a:pt x="912" y="1024"/>
                </a:cubicBezTo>
                <a:cubicBezTo>
                  <a:pt x="912" y="1024"/>
                  <a:pt x="912" y="1024"/>
                  <a:pt x="912" y="1023"/>
                </a:cubicBezTo>
                <a:cubicBezTo>
                  <a:pt x="912" y="1023"/>
                  <a:pt x="912" y="1023"/>
                  <a:pt x="913" y="1022"/>
                </a:cubicBezTo>
                <a:cubicBezTo>
                  <a:pt x="913" y="1022"/>
                  <a:pt x="913" y="1022"/>
                  <a:pt x="912" y="1021"/>
                </a:cubicBezTo>
                <a:cubicBezTo>
                  <a:pt x="912" y="1021"/>
                  <a:pt x="912" y="1021"/>
                  <a:pt x="912" y="1020"/>
                </a:cubicBezTo>
                <a:cubicBezTo>
                  <a:pt x="912" y="1020"/>
                  <a:pt x="912" y="1020"/>
                  <a:pt x="913" y="1019"/>
                </a:cubicBezTo>
                <a:cubicBezTo>
                  <a:pt x="913" y="1019"/>
                  <a:pt x="913" y="1019"/>
                  <a:pt x="912" y="1016"/>
                </a:cubicBezTo>
                <a:cubicBezTo>
                  <a:pt x="912" y="1016"/>
                  <a:pt x="912" y="1016"/>
                  <a:pt x="911" y="1014"/>
                </a:cubicBezTo>
                <a:cubicBezTo>
                  <a:pt x="911" y="1014"/>
                  <a:pt x="911" y="1014"/>
                  <a:pt x="911" y="1013"/>
                </a:cubicBezTo>
                <a:cubicBezTo>
                  <a:pt x="911" y="1013"/>
                  <a:pt x="911" y="1013"/>
                  <a:pt x="912" y="1013"/>
                </a:cubicBezTo>
                <a:cubicBezTo>
                  <a:pt x="912" y="1013"/>
                  <a:pt x="912" y="1013"/>
                  <a:pt x="912" y="1011"/>
                </a:cubicBezTo>
                <a:cubicBezTo>
                  <a:pt x="912" y="1011"/>
                  <a:pt x="912" y="1011"/>
                  <a:pt x="910" y="1007"/>
                </a:cubicBezTo>
                <a:cubicBezTo>
                  <a:pt x="910" y="1007"/>
                  <a:pt x="910" y="1007"/>
                  <a:pt x="910" y="1005"/>
                </a:cubicBezTo>
                <a:cubicBezTo>
                  <a:pt x="910" y="1005"/>
                  <a:pt x="910" y="1005"/>
                  <a:pt x="910" y="1004"/>
                </a:cubicBezTo>
                <a:cubicBezTo>
                  <a:pt x="910" y="1004"/>
                  <a:pt x="910" y="1004"/>
                  <a:pt x="910" y="1002"/>
                </a:cubicBezTo>
                <a:cubicBezTo>
                  <a:pt x="910" y="1002"/>
                  <a:pt x="910" y="1002"/>
                  <a:pt x="911" y="1002"/>
                </a:cubicBezTo>
                <a:cubicBezTo>
                  <a:pt x="911" y="1002"/>
                  <a:pt x="911" y="1002"/>
                  <a:pt x="912" y="1001"/>
                </a:cubicBezTo>
                <a:cubicBezTo>
                  <a:pt x="912" y="1001"/>
                  <a:pt x="912" y="1001"/>
                  <a:pt x="911" y="1000"/>
                </a:cubicBezTo>
                <a:cubicBezTo>
                  <a:pt x="911" y="1000"/>
                  <a:pt x="911" y="1000"/>
                  <a:pt x="911" y="998"/>
                </a:cubicBezTo>
                <a:cubicBezTo>
                  <a:pt x="911" y="998"/>
                  <a:pt x="911" y="998"/>
                  <a:pt x="912" y="998"/>
                </a:cubicBezTo>
                <a:cubicBezTo>
                  <a:pt x="912" y="998"/>
                  <a:pt x="912" y="998"/>
                  <a:pt x="911" y="997"/>
                </a:cubicBezTo>
                <a:cubicBezTo>
                  <a:pt x="911" y="997"/>
                  <a:pt x="911" y="997"/>
                  <a:pt x="911" y="995"/>
                </a:cubicBezTo>
                <a:cubicBezTo>
                  <a:pt x="911" y="995"/>
                  <a:pt x="911" y="995"/>
                  <a:pt x="910" y="993"/>
                </a:cubicBezTo>
                <a:cubicBezTo>
                  <a:pt x="910" y="993"/>
                  <a:pt x="910" y="993"/>
                  <a:pt x="910" y="992"/>
                </a:cubicBezTo>
                <a:cubicBezTo>
                  <a:pt x="910" y="992"/>
                  <a:pt x="910" y="992"/>
                  <a:pt x="911" y="990"/>
                </a:cubicBezTo>
                <a:cubicBezTo>
                  <a:pt x="911" y="990"/>
                  <a:pt x="911" y="990"/>
                  <a:pt x="911" y="989"/>
                </a:cubicBezTo>
                <a:cubicBezTo>
                  <a:pt x="911" y="989"/>
                  <a:pt x="911" y="989"/>
                  <a:pt x="911" y="987"/>
                </a:cubicBezTo>
                <a:cubicBezTo>
                  <a:pt x="911" y="987"/>
                  <a:pt x="911" y="987"/>
                  <a:pt x="912" y="986"/>
                </a:cubicBezTo>
                <a:cubicBezTo>
                  <a:pt x="912" y="986"/>
                  <a:pt x="912" y="986"/>
                  <a:pt x="912" y="984"/>
                </a:cubicBezTo>
                <a:cubicBezTo>
                  <a:pt x="912" y="984"/>
                  <a:pt x="912" y="984"/>
                  <a:pt x="913" y="983"/>
                </a:cubicBezTo>
                <a:cubicBezTo>
                  <a:pt x="913" y="983"/>
                  <a:pt x="913" y="983"/>
                  <a:pt x="913" y="982"/>
                </a:cubicBezTo>
                <a:cubicBezTo>
                  <a:pt x="913" y="982"/>
                  <a:pt x="913" y="982"/>
                  <a:pt x="912" y="981"/>
                </a:cubicBezTo>
                <a:cubicBezTo>
                  <a:pt x="912" y="981"/>
                  <a:pt x="912" y="981"/>
                  <a:pt x="912" y="979"/>
                </a:cubicBezTo>
                <a:cubicBezTo>
                  <a:pt x="912" y="979"/>
                  <a:pt x="912" y="979"/>
                  <a:pt x="913" y="978"/>
                </a:cubicBezTo>
                <a:cubicBezTo>
                  <a:pt x="913" y="978"/>
                  <a:pt x="913" y="978"/>
                  <a:pt x="913" y="975"/>
                </a:cubicBezTo>
                <a:cubicBezTo>
                  <a:pt x="913" y="975"/>
                  <a:pt x="913" y="975"/>
                  <a:pt x="914" y="974"/>
                </a:cubicBezTo>
                <a:cubicBezTo>
                  <a:pt x="914" y="974"/>
                  <a:pt x="914" y="974"/>
                  <a:pt x="912" y="972"/>
                </a:cubicBezTo>
                <a:cubicBezTo>
                  <a:pt x="912" y="972"/>
                  <a:pt x="912" y="972"/>
                  <a:pt x="912" y="970"/>
                </a:cubicBezTo>
                <a:cubicBezTo>
                  <a:pt x="912" y="970"/>
                  <a:pt x="912" y="970"/>
                  <a:pt x="913" y="968"/>
                </a:cubicBezTo>
                <a:cubicBezTo>
                  <a:pt x="913" y="968"/>
                  <a:pt x="913" y="968"/>
                  <a:pt x="914" y="967"/>
                </a:cubicBezTo>
                <a:cubicBezTo>
                  <a:pt x="914" y="967"/>
                  <a:pt x="914" y="967"/>
                  <a:pt x="913" y="965"/>
                </a:cubicBezTo>
                <a:cubicBezTo>
                  <a:pt x="913" y="965"/>
                  <a:pt x="913" y="965"/>
                  <a:pt x="913" y="962"/>
                </a:cubicBezTo>
                <a:cubicBezTo>
                  <a:pt x="913" y="962"/>
                  <a:pt x="913" y="962"/>
                  <a:pt x="912" y="956"/>
                </a:cubicBezTo>
                <a:cubicBezTo>
                  <a:pt x="912" y="956"/>
                  <a:pt x="912" y="956"/>
                  <a:pt x="913" y="955"/>
                </a:cubicBezTo>
                <a:cubicBezTo>
                  <a:pt x="913" y="955"/>
                  <a:pt x="913" y="955"/>
                  <a:pt x="913" y="954"/>
                </a:cubicBezTo>
                <a:cubicBezTo>
                  <a:pt x="913" y="954"/>
                  <a:pt x="913" y="954"/>
                  <a:pt x="912" y="955"/>
                </a:cubicBezTo>
                <a:cubicBezTo>
                  <a:pt x="912" y="955"/>
                  <a:pt x="912" y="955"/>
                  <a:pt x="912" y="954"/>
                </a:cubicBezTo>
                <a:cubicBezTo>
                  <a:pt x="912" y="954"/>
                  <a:pt x="912" y="954"/>
                  <a:pt x="911" y="952"/>
                </a:cubicBezTo>
                <a:cubicBezTo>
                  <a:pt x="911" y="952"/>
                  <a:pt x="911" y="952"/>
                  <a:pt x="912" y="951"/>
                </a:cubicBezTo>
                <a:cubicBezTo>
                  <a:pt x="912" y="951"/>
                  <a:pt x="912" y="951"/>
                  <a:pt x="913" y="951"/>
                </a:cubicBezTo>
                <a:cubicBezTo>
                  <a:pt x="913" y="951"/>
                  <a:pt x="913" y="951"/>
                  <a:pt x="913" y="950"/>
                </a:cubicBezTo>
                <a:cubicBezTo>
                  <a:pt x="913" y="950"/>
                  <a:pt x="913" y="950"/>
                  <a:pt x="913" y="945"/>
                </a:cubicBezTo>
                <a:cubicBezTo>
                  <a:pt x="913" y="945"/>
                  <a:pt x="913" y="945"/>
                  <a:pt x="914" y="944"/>
                </a:cubicBezTo>
                <a:cubicBezTo>
                  <a:pt x="914" y="944"/>
                  <a:pt x="914" y="944"/>
                  <a:pt x="914" y="940"/>
                </a:cubicBezTo>
                <a:cubicBezTo>
                  <a:pt x="914" y="940"/>
                  <a:pt x="914" y="940"/>
                  <a:pt x="913" y="938"/>
                </a:cubicBezTo>
                <a:cubicBezTo>
                  <a:pt x="913" y="938"/>
                  <a:pt x="913" y="938"/>
                  <a:pt x="912" y="936"/>
                </a:cubicBezTo>
                <a:cubicBezTo>
                  <a:pt x="912" y="936"/>
                  <a:pt x="912" y="936"/>
                  <a:pt x="912" y="934"/>
                </a:cubicBezTo>
                <a:cubicBezTo>
                  <a:pt x="912" y="934"/>
                  <a:pt x="912" y="934"/>
                  <a:pt x="912" y="933"/>
                </a:cubicBezTo>
                <a:cubicBezTo>
                  <a:pt x="912" y="933"/>
                  <a:pt x="912" y="933"/>
                  <a:pt x="913" y="932"/>
                </a:cubicBezTo>
                <a:cubicBezTo>
                  <a:pt x="913" y="932"/>
                  <a:pt x="913" y="932"/>
                  <a:pt x="913" y="930"/>
                </a:cubicBezTo>
                <a:cubicBezTo>
                  <a:pt x="913" y="930"/>
                  <a:pt x="913" y="930"/>
                  <a:pt x="912" y="925"/>
                </a:cubicBezTo>
                <a:cubicBezTo>
                  <a:pt x="912" y="925"/>
                  <a:pt x="912" y="925"/>
                  <a:pt x="911" y="924"/>
                </a:cubicBezTo>
                <a:cubicBezTo>
                  <a:pt x="911" y="924"/>
                  <a:pt x="911" y="924"/>
                  <a:pt x="911" y="922"/>
                </a:cubicBezTo>
                <a:cubicBezTo>
                  <a:pt x="911" y="922"/>
                  <a:pt x="911" y="922"/>
                  <a:pt x="911" y="920"/>
                </a:cubicBezTo>
                <a:cubicBezTo>
                  <a:pt x="911" y="920"/>
                  <a:pt x="911" y="920"/>
                  <a:pt x="910" y="920"/>
                </a:cubicBezTo>
                <a:cubicBezTo>
                  <a:pt x="910" y="920"/>
                  <a:pt x="910" y="920"/>
                  <a:pt x="909" y="919"/>
                </a:cubicBezTo>
                <a:cubicBezTo>
                  <a:pt x="909" y="919"/>
                  <a:pt x="909" y="919"/>
                  <a:pt x="908" y="918"/>
                </a:cubicBezTo>
                <a:cubicBezTo>
                  <a:pt x="908" y="918"/>
                  <a:pt x="908" y="918"/>
                  <a:pt x="906" y="916"/>
                </a:cubicBezTo>
                <a:cubicBezTo>
                  <a:pt x="906" y="916"/>
                  <a:pt x="906" y="916"/>
                  <a:pt x="905" y="916"/>
                </a:cubicBezTo>
                <a:cubicBezTo>
                  <a:pt x="905" y="916"/>
                  <a:pt x="905" y="916"/>
                  <a:pt x="903" y="915"/>
                </a:cubicBezTo>
                <a:cubicBezTo>
                  <a:pt x="903" y="915"/>
                  <a:pt x="903" y="915"/>
                  <a:pt x="903" y="914"/>
                </a:cubicBezTo>
                <a:cubicBezTo>
                  <a:pt x="903" y="914"/>
                  <a:pt x="903" y="914"/>
                  <a:pt x="903" y="913"/>
                </a:cubicBezTo>
                <a:cubicBezTo>
                  <a:pt x="903" y="913"/>
                  <a:pt x="903" y="913"/>
                  <a:pt x="902" y="913"/>
                </a:cubicBezTo>
                <a:cubicBezTo>
                  <a:pt x="902" y="913"/>
                  <a:pt x="902" y="913"/>
                  <a:pt x="901" y="911"/>
                </a:cubicBezTo>
                <a:cubicBezTo>
                  <a:pt x="901" y="911"/>
                  <a:pt x="901" y="911"/>
                  <a:pt x="900" y="911"/>
                </a:cubicBezTo>
                <a:cubicBezTo>
                  <a:pt x="900" y="911"/>
                  <a:pt x="900" y="911"/>
                  <a:pt x="898" y="909"/>
                </a:cubicBezTo>
                <a:cubicBezTo>
                  <a:pt x="898" y="909"/>
                  <a:pt x="898" y="909"/>
                  <a:pt x="897" y="908"/>
                </a:cubicBezTo>
                <a:cubicBezTo>
                  <a:pt x="897" y="908"/>
                  <a:pt x="897" y="908"/>
                  <a:pt x="896" y="908"/>
                </a:cubicBezTo>
                <a:cubicBezTo>
                  <a:pt x="896" y="908"/>
                  <a:pt x="896" y="908"/>
                  <a:pt x="894" y="908"/>
                </a:cubicBezTo>
                <a:cubicBezTo>
                  <a:pt x="894" y="908"/>
                  <a:pt x="894" y="908"/>
                  <a:pt x="892" y="906"/>
                </a:cubicBezTo>
                <a:cubicBezTo>
                  <a:pt x="892" y="906"/>
                  <a:pt x="892" y="906"/>
                  <a:pt x="891" y="906"/>
                </a:cubicBezTo>
                <a:cubicBezTo>
                  <a:pt x="891" y="906"/>
                  <a:pt x="891" y="906"/>
                  <a:pt x="890" y="906"/>
                </a:cubicBezTo>
                <a:cubicBezTo>
                  <a:pt x="890" y="906"/>
                  <a:pt x="890" y="906"/>
                  <a:pt x="889" y="905"/>
                </a:cubicBezTo>
                <a:cubicBezTo>
                  <a:pt x="889" y="905"/>
                  <a:pt x="889" y="905"/>
                  <a:pt x="888" y="905"/>
                </a:cubicBezTo>
                <a:cubicBezTo>
                  <a:pt x="888" y="905"/>
                  <a:pt x="888" y="905"/>
                  <a:pt x="888" y="904"/>
                </a:cubicBezTo>
                <a:cubicBezTo>
                  <a:pt x="888" y="904"/>
                  <a:pt x="888" y="904"/>
                  <a:pt x="887" y="903"/>
                </a:cubicBezTo>
                <a:cubicBezTo>
                  <a:pt x="887" y="903"/>
                  <a:pt x="887" y="903"/>
                  <a:pt x="885" y="902"/>
                </a:cubicBezTo>
                <a:cubicBezTo>
                  <a:pt x="885" y="902"/>
                  <a:pt x="885" y="902"/>
                  <a:pt x="884" y="901"/>
                </a:cubicBezTo>
                <a:cubicBezTo>
                  <a:pt x="884" y="901"/>
                  <a:pt x="884" y="901"/>
                  <a:pt x="884" y="900"/>
                </a:cubicBezTo>
                <a:cubicBezTo>
                  <a:pt x="884" y="900"/>
                  <a:pt x="884" y="900"/>
                  <a:pt x="883" y="900"/>
                </a:cubicBezTo>
                <a:cubicBezTo>
                  <a:pt x="883" y="900"/>
                  <a:pt x="883" y="900"/>
                  <a:pt x="881" y="901"/>
                </a:cubicBezTo>
                <a:cubicBezTo>
                  <a:pt x="881" y="901"/>
                  <a:pt x="881" y="901"/>
                  <a:pt x="881" y="900"/>
                </a:cubicBezTo>
                <a:cubicBezTo>
                  <a:pt x="881" y="900"/>
                  <a:pt x="881" y="900"/>
                  <a:pt x="880" y="899"/>
                </a:cubicBezTo>
                <a:cubicBezTo>
                  <a:pt x="880" y="899"/>
                  <a:pt x="880" y="899"/>
                  <a:pt x="880" y="898"/>
                </a:cubicBezTo>
                <a:cubicBezTo>
                  <a:pt x="880" y="898"/>
                  <a:pt x="880" y="898"/>
                  <a:pt x="879" y="898"/>
                </a:cubicBezTo>
                <a:cubicBezTo>
                  <a:pt x="879" y="898"/>
                  <a:pt x="879" y="898"/>
                  <a:pt x="878" y="897"/>
                </a:cubicBezTo>
                <a:cubicBezTo>
                  <a:pt x="878" y="897"/>
                  <a:pt x="878" y="897"/>
                  <a:pt x="878" y="896"/>
                </a:cubicBezTo>
                <a:cubicBezTo>
                  <a:pt x="878" y="896"/>
                  <a:pt x="878" y="896"/>
                  <a:pt x="876" y="895"/>
                </a:cubicBezTo>
                <a:cubicBezTo>
                  <a:pt x="876" y="895"/>
                  <a:pt x="876" y="895"/>
                  <a:pt x="873" y="894"/>
                </a:cubicBezTo>
                <a:cubicBezTo>
                  <a:pt x="873" y="894"/>
                  <a:pt x="873" y="894"/>
                  <a:pt x="874" y="893"/>
                </a:cubicBezTo>
                <a:cubicBezTo>
                  <a:pt x="874" y="893"/>
                  <a:pt x="874" y="893"/>
                  <a:pt x="874" y="892"/>
                </a:cubicBezTo>
                <a:cubicBezTo>
                  <a:pt x="874" y="892"/>
                  <a:pt x="874" y="892"/>
                  <a:pt x="873" y="892"/>
                </a:cubicBezTo>
                <a:cubicBezTo>
                  <a:pt x="873" y="892"/>
                  <a:pt x="873" y="892"/>
                  <a:pt x="872" y="892"/>
                </a:cubicBezTo>
                <a:cubicBezTo>
                  <a:pt x="872" y="892"/>
                  <a:pt x="872" y="892"/>
                  <a:pt x="872" y="891"/>
                </a:cubicBezTo>
                <a:cubicBezTo>
                  <a:pt x="872" y="891"/>
                  <a:pt x="872" y="891"/>
                  <a:pt x="872" y="890"/>
                </a:cubicBezTo>
                <a:cubicBezTo>
                  <a:pt x="872" y="890"/>
                  <a:pt x="872" y="890"/>
                  <a:pt x="873" y="889"/>
                </a:cubicBezTo>
                <a:cubicBezTo>
                  <a:pt x="873" y="889"/>
                  <a:pt x="873" y="889"/>
                  <a:pt x="873" y="888"/>
                </a:cubicBezTo>
                <a:cubicBezTo>
                  <a:pt x="873" y="888"/>
                  <a:pt x="873" y="888"/>
                  <a:pt x="871" y="885"/>
                </a:cubicBezTo>
                <a:cubicBezTo>
                  <a:pt x="871" y="885"/>
                  <a:pt x="871" y="885"/>
                  <a:pt x="870" y="884"/>
                </a:cubicBezTo>
                <a:cubicBezTo>
                  <a:pt x="870" y="884"/>
                  <a:pt x="870" y="884"/>
                  <a:pt x="869" y="881"/>
                </a:cubicBezTo>
                <a:cubicBezTo>
                  <a:pt x="869" y="881"/>
                  <a:pt x="869" y="881"/>
                  <a:pt x="868" y="880"/>
                </a:cubicBezTo>
                <a:cubicBezTo>
                  <a:pt x="868" y="880"/>
                  <a:pt x="868" y="880"/>
                  <a:pt x="867" y="879"/>
                </a:cubicBezTo>
                <a:cubicBezTo>
                  <a:pt x="867" y="879"/>
                  <a:pt x="867" y="879"/>
                  <a:pt x="866" y="878"/>
                </a:cubicBezTo>
                <a:cubicBezTo>
                  <a:pt x="866" y="878"/>
                  <a:pt x="866" y="878"/>
                  <a:pt x="866" y="876"/>
                </a:cubicBezTo>
                <a:cubicBezTo>
                  <a:pt x="866" y="876"/>
                  <a:pt x="866" y="876"/>
                  <a:pt x="865" y="875"/>
                </a:cubicBezTo>
                <a:cubicBezTo>
                  <a:pt x="865" y="875"/>
                  <a:pt x="865" y="875"/>
                  <a:pt x="863" y="873"/>
                </a:cubicBezTo>
                <a:cubicBezTo>
                  <a:pt x="863" y="873"/>
                  <a:pt x="863" y="873"/>
                  <a:pt x="862" y="873"/>
                </a:cubicBezTo>
                <a:cubicBezTo>
                  <a:pt x="862" y="873"/>
                  <a:pt x="862" y="873"/>
                  <a:pt x="862" y="872"/>
                </a:cubicBezTo>
                <a:cubicBezTo>
                  <a:pt x="862" y="872"/>
                  <a:pt x="862" y="872"/>
                  <a:pt x="862" y="871"/>
                </a:cubicBezTo>
                <a:cubicBezTo>
                  <a:pt x="862" y="871"/>
                  <a:pt x="862" y="871"/>
                  <a:pt x="862" y="870"/>
                </a:cubicBezTo>
                <a:cubicBezTo>
                  <a:pt x="862" y="870"/>
                  <a:pt x="862" y="870"/>
                  <a:pt x="860" y="867"/>
                </a:cubicBezTo>
                <a:cubicBezTo>
                  <a:pt x="860" y="867"/>
                  <a:pt x="860" y="867"/>
                  <a:pt x="859" y="865"/>
                </a:cubicBezTo>
                <a:cubicBezTo>
                  <a:pt x="859" y="865"/>
                  <a:pt x="859" y="865"/>
                  <a:pt x="859" y="863"/>
                </a:cubicBezTo>
                <a:cubicBezTo>
                  <a:pt x="859" y="863"/>
                  <a:pt x="859" y="863"/>
                  <a:pt x="858" y="861"/>
                </a:cubicBezTo>
                <a:cubicBezTo>
                  <a:pt x="858" y="861"/>
                  <a:pt x="858" y="861"/>
                  <a:pt x="857" y="861"/>
                </a:cubicBezTo>
                <a:cubicBezTo>
                  <a:pt x="857" y="861"/>
                  <a:pt x="857" y="861"/>
                  <a:pt x="856" y="859"/>
                </a:cubicBezTo>
                <a:cubicBezTo>
                  <a:pt x="856" y="859"/>
                  <a:pt x="856" y="859"/>
                  <a:pt x="856" y="857"/>
                </a:cubicBezTo>
                <a:cubicBezTo>
                  <a:pt x="856" y="857"/>
                  <a:pt x="856" y="857"/>
                  <a:pt x="855" y="856"/>
                </a:cubicBezTo>
                <a:cubicBezTo>
                  <a:pt x="855" y="856"/>
                  <a:pt x="855" y="856"/>
                  <a:pt x="855" y="854"/>
                </a:cubicBezTo>
                <a:cubicBezTo>
                  <a:pt x="855" y="854"/>
                  <a:pt x="855" y="854"/>
                  <a:pt x="853" y="852"/>
                </a:cubicBezTo>
                <a:cubicBezTo>
                  <a:pt x="853" y="852"/>
                  <a:pt x="853" y="852"/>
                  <a:pt x="851" y="851"/>
                </a:cubicBezTo>
                <a:cubicBezTo>
                  <a:pt x="851" y="851"/>
                  <a:pt x="851" y="851"/>
                  <a:pt x="850" y="850"/>
                </a:cubicBezTo>
                <a:cubicBezTo>
                  <a:pt x="850" y="850"/>
                  <a:pt x="850" y="850"/>
                  <a:pt x="850" y="848"/>
                </a:cubicBezTo>
                <a:cubicBezTo>
                  <a:pt x="850" y="848"/>
                  <a:pt x="850" y="848"/>
                  <a:pt x="849" y="846"/>
                </a:cubicBezTo>
                <a:cubicBezTo>
                  <a:pt x="849" y="846"/>
                  <a:pt x="849" y="846"/>
                  <a:pt x="848" y="845"/>
                </a:cubicBezTo>
                <a:cubicBezTo>
                  <a:pt x="848" y="845"/>
                  <a:pt x="848" y="845"/>
                  <a:pt x="847" y="845"/>
                </a:cubicBezTo>
                <a:cubicBezTo>
                  <a:pt x="847" y="845"/>
                  <a:pt x="847" y="845"/>
                  <a:pt x="844" y="843"/>
                </a:cubicBezTo>
                <a:cubicBezTo>
                  <a:pt x="844" y="843"/>
                  <a:pt x="844" y="843"/>
                  <a:pt x="843" y="843"/>
                </a:cubicBezTo>
                <a:cubicBezTo>
                  <a:pt x="843" y="843"/>
                  <a:pt x="843" y="843"/>
                  <a:pt x="841" y="841"/>
                </a:cubicBezTo>
                <a:cubicBezTo>
                  <a:pt x="841" y="841"/>
                  <a:pt x="841" y="841"/>
                  <a:pt x="840" y="841"/>
                </a:cubicBezTo>
                <a:cubicBezTo>
                  <a:pt x="840" y="841"/>
                  <a:pt x="840" y="841"/>
                  <a:pt x="838" y="840"/>
                </a:cubicBezTo>
                <a:cubicBezTo>
                  <a:pt x="838" y="840"/>
                  <a:pt x="838" y="840"/>
                  <a:pt x="839" y="839"/>
                </a:cubicBezTo>
                <a:cubicBezTo>
                  <a:pt x="839" y="839"/>
                  <a:pt x="839" y="839"/>
                  <a:pt x="840" y="838"/>
                </a:cubicBezTo>
                <a:cubicBezTo>
                  <a:pt x="840" y="838"/>
                  <a:pt x="840" y="838"/>
                  <a:pt x="841" y="838"/>
                </a:cubicBezTo>
                <a:cubicBezTo>
                  <a:pt x="841" y="838"/>
                  <a:pt x="841" y="838"/>
                  <a:pt x="841" y="837"/>
                </a:cubicBezTo>
                <a:cubicBezTo>
                  <a:pt x="841" y="837"/>
                  <a:pt x="841" y="837"/>
                  <a:pt x="840" y="835"/>
                </a:cubicBezTo>
                <a:cubicBezTo>
                  <a:pt x="840" y="835"/>
                  <a:pt x="840" y="835"/>
                  <a:pt x="839" y="834"/>
                </a:cubicBezTo>
                <a:cubicBezTo>
                  <a:pt x="839" y="834"/>
                  <a:pt x="839" y="834"/>
                  <a:pt x="839" y="833"/>
                </a:cubicBezTo>
                <a:cubicBezTo>
                  <a:pt x="839" y="833"/>
                  <a:pt x="839" y="833"/>
                  <a:pt x="840" y="833"/>
                </a:cubicBezTo>
                <a:cubicBezTo>
                  <a:pt x="840" y="833"/>
                  <a:pt x="840" y="833"/>
                  <a:pt x="839" y="832"/>
                </a:cubicBezTo>
                <a:cubicBezTo>
                  <a:pt x="839" y="832"/>
                  <a:pt x="839" y="832"/>
                  <a:pt x="838" y="831"/>
                </a:cubicBezTo>
                <a:cubicBezTo>
                  <a:pt x="838" y="831"/>
                  <a:pt x="838" y="831"/>
                  <a:pt x="839" y="829"/>
                </a:cubicBezTo>
                <a:cubicBezTo>
                  <a:pt x="839" y="829"/>
                  <a:pt x="839" y="829"/>
                  <a:pt x="839" y="828"/>
                </a:cubicBezTo>
                <a:cubicBezTo>
                  <a:pt x="839" y="828"/>
                  <a:pt x="839" y="828"/>
                  <a:pt x="841" y="826"/>
                </a:cubicBezTo>
                <a:cubicBezTo>
                  <a:pt x="841" y="826"/>
                  <a:pt x="841" y="826"/>
                  <a:pt x="843" y="825"/>
                </a:cubicBezTo>
                <a:cubicBezTo>
                  <a:pt x="843" y="825"/>
                  <a:pt x="843" y="825"/>
                  <a:pt x="846" y="823"/>
                </a:cubicBezTo>
                <a:cubicBezTo>
                  <a:pt x="846" y="823"/>
                  <a:pt x="846" y="823"/>
                  <a:pt x="847" y="822"/>
                </a:cubicBezTo>
                <a:cubicBezTo>
                  <a:pt x="847" y="822"/>
                  <a:pt x="847" y="822"/>
                  <a:pt x="848" y="820"/>
                </a:cubicBezTo>
                <a:cubicBezTo>
                  <a:pt x="848" y="820"/>
                  <a:pt x="848" y="820"/>
                  <a:pt x="848" y="819"/>
                </a:cubicBezTo>
                <a:cubicBezTo>
                  <a:pt x="848" y="819"/>
                  <a:pt x="848" y="819"/>
                  <a:pt x="848" y="817"/>
                </a:cubicBezTo>
                <a:cubicBezTo>
                  <a:pt x="848" y="817"/>
                  <a:pt x="848" y="817"/>
                  <a:pt x="848" y="816"/>
                </a:cubicBezTo>
                <a:cubicBezTo>
                  <a:pt x="848" y="816"/>
                  <a:pt x="848" y="816"/>
                  <a:pt x="847" y="816"/>
                </a:cubicBezTo>
                <a:cubicBezTo>
                  <a:pt x="847" y="816"/>
                  <a:pt x="847" y="816"/>
                  <a:pt x="847" y="815"/>
                </a:cubicBezTo>
                <a:cubicBezTo>
                  <a:pt x="847" y="815"/>
                  <a:pt x="847" y="815"/>
                  <a:pt x="846" y="816"/>
                </a:cubicBezTo>
                <a:cubicBezTo>
                  <a:pt x="846" y="816"/>
                  <a:pt x="846" y="816"/>
                  <a:pt x="846" y="817"/>
                </a:cubicBezTo>
                <a:cubicBezTo>
                  <a:pt x="846" y="817"/>
                  <a:pt x="846" y="817"/>
                  <a:pt x="845" y="818"/>
                </a:cubicBezTo>
                <a:cubicBezTo>
                  <a:pt x="845" y="818"/>
                  <a:pt x="845" y="818"/>
                  <a:pt x="845" y="819"/>
                </a:cubicBezTo>
                <a:cubicBezTo>
                  <a:pt x="845" y="819"/>
                  <a:pt x="845" y="819"/>
                  <a:pt x="844" y="818"/>
                </a:cubicBezTo>
                <a:cubicBezTo>
                  <a:pt x="844" y="818"/>
                  <a:pt x="844" y="818"/>
                  <a:pt x="842" y="817"/>
                </a:cubicBezTo>
                <a:cubicBezTo>
                  <a:pt x="842" y="817"/>
                  <a:pt x="842" y="817"/>
                  <a:pt x="841" y="816"/>
                </a:cubicBezTo>
                <a:cubicBezTo>
                  <a:pt x="841" y="816"/>
                  <a:pt x="841" y="816"/>
                  <a:pt x="840" y="815"/>
                </a:cubicBezTo>
                <a:cubicBezTo>
                  <a:pt x="840" y="815"/>
                  <a:pt x="840" y="815"/>
                  <a:pt x="841" y="815"/>
                </a:cubicBezTo>
                <a:cubicBezTo>
                  <a:pt x="841" y="815"/>
                  <a:pt x="841" y="815"/>
                  <a:pt x="842" y="814"/>
                </a:cubicBezTo>
                <a:cubicBezTo>
                  <a:pt x="842" y="814"/>
                  <a:pt x="842" y="814"/>
                  <a:pt x="841" y="812"/>
                </a:cubicBezTo>
                <a:cubicBezTo>
                  <a:pt x="841" y="812"/>
                  <a:pt x="841" y="812"/>
                  <a:pt x="841" y="811"/>
                </a:cubicBezTo>
                <a:cubicBezTo>
                  <a:pt x="841" y="811"/>
                  <a:pt x="841" y="811"/>
                  <a:pt x="841" y="809"/>
                </a:cubicBezTo>
                <a:cubicBezTo>
                  <a:pt x="841" y="809"/>
                  <a:pt x="841" y="809"/>
                  <a:pt x="841" y="808"/>
                </a:cubicBezTo>
                <a:cubicBezTo>
                  <a:pt x="841" y="808"/>
                  <a:pt x="841" y="808"/>
                  <a:pt x="842" y="807"/>
                </a:cubicBezTo>
                <a:cubicBezTo>
                  <a:pt x="842" y="807"/>
                  <a:pt x="842" y="807"/>
                  <a:pt x="843" y="807"/>
                </a:cubicBezTo>
                <a:cubicBezTo>
                  <a:pt x="843" y="807"/>
                  <a:pt x="843" y="807"/>
                  <a:pt x="844" y="805"/>
                </a:cubicBezTo>
                <a:cubicBezTo>
                  <a:pt x="844" y="805"/>
                  <a:pt x="844" y="805"/>
                  <a:pt x="844" y="804"/>
                </a:cubicBezTo>
                <a:cubicBezTo>
                  <a:pt x="844" y="804"/>
                  <a:pt x="844" y="804"/>
                  <a:pt x="844" y="803"/>
                </a:cubicBezTo>
                <a:cubicBezTo>
                  <a:pt x="844" y="803"/>
                  <a:pt x="844" y="803"/>
                  <a:pt x="846" y="801"/>
                </a:cubicBezTo>
                <a:cubicBezTo>
                  <a:pt x="846" y="801"/>
                  <a:pt x="846" y="801"/>
                  <a:pt x="846" y="799"/>
                </a:cubicBezTo>
                <a:cubicBezTo>
                  <a:pt x="846" y="799"/>
                  <a:pt x="846" y="799"/>
                  <a:pt x="846" y="798"/>
                </a:cubicBezTo>
                <a:cubicBezTo>
                  <a:pt x="846" y="798"/>
                  <a:pt x="846" y="798"/>
                  <a:pt x="846" y="797"/>
                </a:cubicBezTo>
                <a:cubicBezTo>
                  <a:pt x="846" y="797"/>
                  <a:pt x="846" y="797"/>
                  <a:pt x="845" y="796"/>
                </a:cubicBezTo>
                <a:cubicBezTo>
                  <a:pt x="845" y="796"/>
                  <a:pt x="845" y="796"/>
                  <a:pt x="847" y="795"/>
                </a:cubicBezTo>
                <a:cubicBezTo>
                  <a:pt x="847" y="795"/>
                  <a:pt x="847" y="795"/>
                  <a:pt x="848" y="795"/>
                </a:cubicBezTo>
                <a:cubicBezTo>
                  <a:pt x="848" y="795"/>
                  <a:pt x="848" y="795"/>
                  <a:pt x="851" y="793"/>
                </a:cubicBezTo>
                <a:cubicBezTo>
                  <a:pt x="851" y="793"/>
                  <a:pt x="851" y="793"/>
                  <a:pt x="853" y="793"/>
                </a:cubicBezTo>
                <a:cubicBezTo>
                  <a:pt x="853" y="793"/>
                  <a:pt x="853" y="793"/>
                  <a:pt x="853" y="791"/>
                </a:cubicBezTo>
                <a:cubicBezTo>
                  <a:pt x="853" y="791"/>
                  <a:pt x="853" y="791"/>
                  <a:pt x="854" y="790"/>
                </a:cubicBezTo>
                <a:cubicBezTo>
                  <a:pt x="854" y="790"/>
                  <a:pt x="854" y="790"/>
                  <a:pt x="854" y="788"/>
                </a:cubicBezTo>
                <a:cubicBezTo>
                  <a:pt x="854" y="788"/>
                  <a:pt x="854" y="788"/>
                  <a:pt x="856" y="785"/>
                </a:cubicBezTo>
                <a:cubicBezTo>
                  <a:pt x="856" y="785"/>
                  <a:pt x="856" y="785"/>
                  <a:pt x="857" y="784"/>
                </a:cubicBezTo>
                <a:cubicBezTo>
                  <a:pt x="857" y="784"/>
                  <a:pt x="857" y="784"/>
                  <a:pt x="860" y="783"/>
                </a:cubicBezTo>
                <a:cubicBezTo>
                  <a:pt x="860" y="783"/>
                  <a:pt x="860" y="783"/>
                  <a:pt x="862" y="782"/>
                </a:cubicBezTo>
                <a:cubicBezTo>
                  <a:pt x="862" y="782"/>
                  <a:pt x="862" y="782"/>
                  <a:pt x="862" y="780"/>
                </a:cubicBezTo>
                <a:cubicBezTo>
                  <a:pt x="862" y="780"/>
                  <a:pt x="862" y="780"/>
                  <a:pt x="865" y="778"/>
                </a:cubicBezTo>
                <a:cubicBezTo>
                  <a:pt x="865" y="778"/>
                  <a:pt x="865" y="778"/>
                  <a:pt x="865" y="777"/>
                </a:cubicBezTo>
                <a:cubicBezTo>
                  <a:pt x="865" y="777"/>
                  <a:pt x="865" y="777"/>
                  <a:pt x="866" y="776"/>
                </a:cubicBezTo>
                <a:cubicBezTo>
                  <a:pt x="866" y="776"/>
                  <a:pt x="866" y="776"/>
                  <a:pt x="866" y="775"/>
                </a:cubicBezTo>
                <a:cubicBezTo>
                  <a:pt x="866" y="775"/>
                  <a:pt x="866" y="775"/>
                  <a:pt x="865" y="775"/>
                </a:cubicBezTo>
                <a:cubicBezTo>
                  <a:pt x="865" y="775"/>
                  <a:pt x="865" y="775"/>
                  <a:pt x="864" y="774"/>
                </a:cubicBezTo>
                <a:cubicBezTo>
                  <a:pt x="864" y="774"/>
                  <a:pt x="864" y="774"/>
                  <a:pt x="863" y="774"/>
                </a:cubicBezTo>
                <a:cubicBezTo>
                  <a:pt x="863" y="774"/>
                  <a:pt x="863" y="774"/>
                  <a:pt x="863" y="773"/>
                </a:cubicBezTo>
                <a:cubicBezTo>
                  <a:pt x="863" y="773"/>
                  <a:pt x="863" y="773"/>
                  <a:pt x="863" y="772"/>
                </a:cubicBezTo>
                <a:cubicBezTo>
                  <a:pt x="863" y="772"/>
                  <a:pt x="863" y="772"/>
                  <a:pt x="864" y="771"/>
                </a:cubicBezTo>
                <a:cubicBezTo>
                  <a:pt x="864" y="771"/>
                  <a:pt x="864" y="771"/>
                  <a:pt x="864" y="768"/>
                </a:cubicBezTo>
                <a:cubicBezTo>
                  <a:pt x="864" y="768"/>
                  <a:pt x="864" y="768"/>
                  <a:pt x="864" y="766"/>
                </a:cubicBezTo>
                <a:cubicBezTo>
                  <a:pt x="864" y="766"/>
                  <a:pt x="864" y="766"/>
                  <a:pt x="863" y="765"/>
                </a:cubicBezTo>
                <a:cubicBezTo>
                  <a:pt x="863" y="765"/>
                  <a:pt x="863" y="765"/>
                  <a:pt x="863" y="764"/>
                </a:cubicBezTo>
                <a:cubicBezTo>
                  <a:pt x="863" y="764"/>
                  <a:pt x="863" y="764"/>
                  <a:pt x="864" y="763"/>
                </a:cubicBezTo>
                <a:cubicBezTo>
                  <a:pt x="864" y="763"/>
                  <a:pt x="864" y="763"/>
                  <a:pt x="864" y="762"/>
                </a:cubicBezTo>
                <a:cubicBezTo>
                  <a:pt x="864" y="762"/>
                  <a:pt x="864" y="762"/>
                  <a:pt x="863" y="761"/>
                </a:cubicBezTo>
                <a:cubicBezTo>
                  <a:pt x="863" y="761"/>
                  <a:pt x="863" y="761"/>
                  <a:pt x="863" y="760"/>
                </a:cubicBezTo>
                <a:cubicBezTo>
                  <a:pt x="863" y="760"/>
                  <a:pt x="863" y="760"/>
                  <a:pt x="864" y="759"/>
                </a:cubicBezTo>
                <a:cubicBezTo>
                  <a:pt x="864" y="759"/>
                  <a:pt x="864" y="759"/>
                  <a:pt x="864" y="758"/>
                </a:cubicBezTo>
                <a:cubicBezTo>
                  <a:pt x="864" y="758"/>
                  <a:pt x="864" y="758"/>
                  <a:pt x="864" y="757"/>
                </a:cubicBezTo>
                <a:cubicBezTo>
                  <a:pt x="864" y="757"/>
                  <a:pt x="864" y="757"/>
                  <a:pt x="863" y="758"/>
                </a:cubicBezTo>
                <a:cubicBezTo>
                  <a:pt x="863" y="758"/>
                  <a:pt x="863" y="758"/>
                  <a:pt x="861" y="756"/>
                </a:cubicBezTo>
                <a:cubicBezTo>
                  <a:pt x="861" y="756"/>
                  <a:pt x="861" y="756"/>
                  <a:pt x="861" y="755"/>
                </a:cubicBezTo>
                <a:cubicBezTo>
                  <a:pt x="861" y="755"/>
                  <a:pt x="861" y="755"/>
                  <a:pt x="861" y="753"/>
                </a:cubicBezTo>
                <a:cubicBezTo>
                  <a:pt x="861" y="753"/>
                  <a:pt x="861" y="753"/>
                  <a:pt x="859" y="752"/>
                </a:cubicBezTo>
                <a:cubicBezTo>
                  <a:pt x="859" y="752"/>
                  <a:pt x="859" y="752"/>
                  <a:pt x="858" y="750"/>
                </a:cubicBezTo>
                <a:cubicBezTo>
                  <a:pt x="858" y="750"/>
                  <a:pt x="858" y="750"/>
                  <a:pt x="857" y="748"/>
                </a:cubicBezTo>
                <a:cubicBezTo>
                  <a:pt x="857" y="748"/>
                  <a:pt x="857" y="748"/>
                  <a:pt x="858" y="748"/>
                </a:cubicBezTo>
                <a:cubicBezTo>
                  <a:pt x="858" y="748"/>
                  <a:pt x="858" y="748"/>
                  <a:pt x="859" y="746"/>
                </a:cubicBezTo>
                <a:cubicBezTo>
                  <a:pt x="859" y="746"/>
                  <a:pt x="859" y="746"/>
                  <a:pt x="860" y="746"/>
                </a:cubicBezTo>
                <a:cubicBezTo>
                  <a:pt x="860" y="746"/>
                  <a:pt x="860" y="746"/>
                  <a:pt x="860" y="745"/>
                </a:cubicBezTo>
                <a:cubicBezTo>
                  <a:pt x="860" y="745"/>
                  <a:pt x="860" y="745"/>
                  <a:pt x="859" y="745"/>
                </a:cubicBezTo>
                <a:cubicBezTo>
                  <a:pt x="859" y="745"/>
                  <a:pt x="859" y="745"/>
                  <a:pt x="858" y="746"/>
                </a:cubicBezTo>
                <a:cubicBezTo>
                  <a:pt x="858" y="746"/>
                  <a:pt x="858" y="746"/>
                  <a:pt x="857" y="746"/>
                </a:cubicBezTo>
                <a:cubicBezTo>
                  <a:pt x="857" y="746"/>
                  <a:pt x="857" y="746"/>
                  <a:pt x="857" y="744"/>
                </a:cubicBezTo>
                <a:cubicBezTo>
                  <a:pt x="857" y="744"/>
                  <a:pt x="857" y="744"/>
                  <a:pt x="856" y="743"/>
                </a:cubicBezTo>
                <a:cubicBezTo>
                  <a:pt x="856" y="743"/>
                  <a:pt x="856" y="743"/>
                  <a:pt x="855" y="743"/>
                </a:cubicBezTo>
                <a:cubicBezTo>
                  <a:pt x="855" y="743"/>
                  <a:pt x="855" y="743"/>
                  <a:pt x="854" y="742"/>
                </a:cubicBezTo>
                <a:cubicBezTo>
                  <a:pt x="854" y="742"/>
                  <a:pt x="854" y="742"/>
                  <a:pt x="853" y="741"/>
                </a:cubicBezTo>
                <a:cubicBezTo>
                  <a:pt x="853" y="741"/>
                  <a:pt x="853" y="741"/>
                  <a:pt x="851" y="741"/>
                </a:cubicBezTo>
                <a:cubicBezTo>
                  <a:pt x="851" y="741"/>
                  <a:pt x="851" y="741"/>
                  <a:pt x="850" y="742"/>
                </a:cubicBezTo>
                <a:cubicBezTo>
                  <a:pt x="850" y="742"/>
                  <a:pt x="850" y="742"/>
                  <a:pt x="849" y="744"/>
                </a:cubicBezTo>
                <a:cubicBezTo>
                  <a:pt x="849" y="744"/>
                  <a:pt x="849" y="744"/>
                  <a:pt x="850" y="744"/>
                </a:cubicBezTo>
                <a:cubicBezTo>
                  <a:pt x="850" y="744"/>
                  <a:pt x="850" y="744"/>
                  <a:pt x="848" y="746"/>
                </a:cubicBezTo>
                <a:cubicBezTo>
                  <a:pt x="848" y="746"/>
                  <a:pt x="848" y="746"/>
                  <a:pt x="846" y="746"/>
                </a:cubicBezTo>
                <a:cubicBezTo>
                  <a:pt x="846" y="746"/>
                  <a:pt x="846" y="746"/>
                  <a:pt x="845" y="747"/>
                </a:cubicBezTo>
                <a:cubicBezTo>
                  <a:pt x="845" y="747"/>
                  <a:pt x="845" y="747"/>
                  <a:pt x="845" y="748"/>
                </a:cubicBezTo>
                <a:cubicBezTo>
                  <a:pt x="845" y="748"/>
                  <a:pt x="845" y="748"/>
                  <a:pt x="845" y="749"/>
                </a:cubicBezTo>
                <a:cubicBezTo>
                  <a:pt x="845" y="749"/>
                  <a:pt x="845" y="749"/>
                  <a:pt x="846" y="749"/>
                </a:cubicBezTo>
                <a:cubicBezTo>
                  <a:pt x="846" y="749"/>
                  <a:pt x="846" y="749"/>
                  <a:pt x="847" y="750"/>
                </a:cubicBezTo>
                <a:cubicBezTo>
                  <a:pt x="847" y="750"/>
                  <a:pt x="847" y="750"/>
                  <a:pt x="847" y="752"/>
                </a:cubicBezTo>
                <a:cubicBezTo>
                  <a:pt x="847" y="752"/>
                  <a:pt x="847" y="752"/>
                  <a:pt x="846" y="752"/>
                </a:cubicBezTo>
                <a:cubicBezTo>
                  <a:pt x="846" y="752"/>
                  <a:pt x="846" y="752"/>
                  <a:pt x="845" y="753"/>
                </a:cubicBezTo>
                <a:cubicBezTo>
                  <a:pt x="845" y="753"/>
                  <a:pt x="845" y="753"/>
                  <a:pt x="844" y="754"/>
                </a:cubicBezTo>
                <a:cubicBezTo>
                  <a:pt x="844" y="754"/>
                  <a:pt x="844" y="754"/>
                  <a:pt x="842" y="753"/>
                </a:cubicBezTo>
                <a:cubicBezTo>
                  <a:pt x="842" y="753"/>
                  <a:pt x="842" y="753"/>
                  <a:pt x="842" y="752"/>
                </a:cubicBezTo>
                <a:cubicBezTo>
                  <a:pt x="842" y="752"/>
                  <a:pt x="842" y="752"/>
                  <a:pt x="842" y="751"/>
                </a:cubicBezTo>
                <a:cubicBezTo>
                  <a:pt x="842" y="751"/>
                  <a:pt x="842" y="751"/>
                  <a:pt x="842" y="750"/>
                </a:cubicBezTo>
                <a:cubicBezTo>
                  <a:pt x="842" y="750"/>
                  <a:pt x="842" y="750"/>
                  <a:pt x="841" y="749"/>
                </a:cubicBezTo>
                <a:cubicBezTo>
                  <a:pt x="841" y="749"/>
                  <a:pt x="841" y="749"/>
                  <a:pt x="840" y="750"/>
                </a:cubicBezTo>
                <a:cubicBezTo>
                  <a:pt x="840" y="750"/>
                  <a:pt x="840" y="750"/>
                  <a:pt x="841" y="750"/>
                </a:cubicBezTo>
                <a:cubicBezTo>
                  <a:pt x="841" y="750"/>
                  <a:pt x="841" y="750"/>
                  <a:pt x="840" y="751"/>
                </a:cubicBezTo>
                <a:cubicBezTo>
                  <a:pt x="840" y="751"/>
                  <a:pt x="840" y="751"/>
                  <a:pt x="839" y="751"/>
                </a:cubicBezTo>
                <a:cubicBezTo>
                  <a:pt x="839" y="751"/>
                  <a:pt x="839" y="751"/>
                  <a:pt x="838" y="751"/>
                </a:cubicBezTo>
                <a:cubicBezTo>
                  <a:pt x="838" y="751"/>
                  <a:pt x="838" y="751"/>
                  <a:pt x="837" y="749"/>
                </a:cubicBezTo>
                <a:cubicBezTo>
                  <a:pt x="837" y="749"/>
                  <a:pt x="837" y="749"/>
                  <a:pt x="837" y="747"/>
                </a:cubicBezTo>
                <a:cubicBezTo>
                  <a:pt x="837" y="747"/>
                  <a:pt x="837" y="747"/>
                  <a:pt x="835" y="747"/>
                </a:cubicBezTo>
                <a:cubicBezTo>
                  <a:pt x="835" y="747"/>
                  <a:pt x="835" y="747"/>
                  <a:pt x="834" y="747"/>
                </a:cubicBezTo>
                <a:cubicBezTo>
                  <a:pt x="834" y="747"/>
                  <a:pt x="834" y="747"/>
                  <a:pt x="834" y="746"/>
                </a:cubicBezTo>
                <a:cubicBezTo>
                  <a:pt x="834" y="746"/>
                  <a:pt x="834" y="746"/>
                  <a:pt x="833" y="746"/>
                </a:cubicBezTo>
                <a:cubicBezTo>
                  <a:pt x="833" y="746"/>
                  <a:pt x="833" y="746"/>
                  <a:pt x="832" y="746"/>
                </a:cubicBezTo>
                <a:cubicBezTo>
                  <a:pt x="832" y="746"/>
                  <a:pt x="832" y="746"/>
                  <a:pt x="831" y="746"/>
                </a:cubicBezTo>
                <a:cubicBezTo>
                  <a:pt x="831" y="746"/>
                  <a:pt x="831" y="746"/>
                  <a:pt x="830" y="746"/>
                </a:cubicBezTo>
                <a:cubicBezTo>
                  <a:pt x="830" y="746"/>
                  <a:pt x="830" y="746"/>
                  <a:pt x="830" y="747"/>
                </a:cubicBezTo>
                <a:cubicBezTo>
                  <a:pt x="830" y="747"/>
                  <a:pt x="830" y="747"/>
                  <a:pt x="830" y="748"/>
                </a:cubicBezTo>
                <a:cubicBezTo>
                  <a:pt x="830" y="748"/>
                  <a:pt x="830" y="748"/>
                  <a:pt x="829" y="748"/>
                </a:cubicBezTo>
                <a:cubicBezTo>
                  <a:pt x="829" y="748"/>
                  <a:pt x="829" y="748"/>
                  <a:pt x="828" y="747"/>
                </a:cubicBezTo>
                <a:cubicBezTo>
                  <a:pt x="828" y="747"/>
                  <a:pt x="828" y="747"/>
                  <a:pt x="828" y="746"/>
                </a:cubicBezTo>
                <a:cubicBezTo>
                  <a:pt x="828" y="746"/>
                  <a:pt x="828" y="746"/>
                  <a:pt x="827" y="744"/>
                </a:cubicBezTo>
                <a:cubicBezTo>
                  <a:pt x="827" y="744"/>
                  <a:pt x="827" y="744"/>
                  <a:pt x="826" y="744"/>
                </a:cubicBezTo>
                <a:cubicBezTo>
                  <a:pt x="826" y="744"/>
                  <a:pt x="826" y="744"/>
                  <a:pt x="827" y="745"/>
                </a:cubicBezTo>
                <a:cubicBezTo>
                  <a:pt x="827" y="745"/>
                  <a:pt x="827" y="745"/>
                  <a:pt x="827" y="746"/>
                </a:cubicBezTo>
                <a:cubicBezTo>
                  <a:pt x="827" y="746"/>
                  <a:pt x="827" y="746"/>
                  <a:pt x="827" y="747"/>
                </a:cubicBezTo>
                <a:cubicBezTo>
                  <a:pt x="827" y="747"/>
                  <a:pt x="827" y="747"/>
                  <a:pt x="826" y="746"/>
                </a:cubicBezTo>
                <a:cubicBezTo>
                  <a:pt x="826" y="746"/>
                  <a:pt x="826" y="746"/>
                  <a:pt x="824" y="746"/>
                </a:cubicBezTo>
                <a:cubicBezTo>
                  <a:pt x="824" y="746"/>
                  <a:pt x="824" y="746"/>
                  <a:pt x="824" y="745"/>
                </a:cubicBezTo>
                <a:cubicBezTo>
                  <a:pt x="824" y="745"/>
                  <a:pt x="824" y="745"/>
                  <a:pt x="824" y="744"/>
                </a:cubicBezTo>
                <a:cubicBezTo>
                  <a:pt x="824" y="744"/>
                  <a:pt x="824" y="744"/>
                  <a:pt x="824" y="743"/>
                </a:cubicBezTo>
                <a:cubicBezTo>
                  <a:pt x="824" y="743"/>
                  <a:pt x="824" y="743"/>
                  <a:pt x="824" y="742"/>
                </a:cubicBezTo>
                <a:cubicBezTo>
                  <a:pt x="824" y="742"/>
                  <a:pt x="824" y="742"/>
                  <a:pt x="823" y="741"/>
                </a:cubicBezTo>
                <a:cubicBezTo>
                  <a:pt x="823" y="741"/>
                  <a:pt x="823" y="741"/>
                  <a:pt x="822" y="740"/>
                </a:cubicBezTo>
                <a:cubicBezTo>
                  <a:pt x="822" y="740"/>
                  <a:pt x="822" y="740"/>
                  <a:pt x="821" y="739"/>
                </a:cubicBezTo>
                <a:cubicBezTo>
                  <a:pt x="821" y="739"/>
                  <a:pt x="821" y="739"/>
                  <a:pt x="819" y="738"/>
                </a:cubicBezTo>
                <a:cubicBezTo>
                  <a:pt x="819" y="738"/>
                  <a:pt x="819" y="738"/>
                  <a:pt x="819" y="737"/>
                </a:cubicBezTo>
                <a:cubicBezTo>
                  <a:pt x="819" y="737"/>
                  <a:pt x="819" y="737"/>
                  <a:pt x="818" y="736"/>
                </a:cubicBezTo>
                <a:cubicBezTo>
                  <a:pt x="818" y="736"/>
                  <a:pt x="818" y="736"/>
                  <a:pt x="818" y="735"/>
                </a:cubicBezTo>
                <a:cubicBezTo>
                  <a:pt x="818" y="735"/>
                  <a:pt x="818" y="735"/>
                  <a:pt x="817" y="735"/>
                </a:cubicBezTo>
                <a:cubicBezTo>
                  <a:pt x="817" y="735"/>
                  <a:pt x="817" y="735"/>
                  <a:pt x="815" y="734"/>
                </a:cubicBezTo>
                <a:cubicBezTo>
                  <a:pt x="815" y="734"/>
                  <a:pt x="815" y="734"/>
                  <a:pt x="815" y="735"/>
                </a:cubicBezTo>
                <a:cubicBezTo>
                  <a:pt x="815" y="735"/>
                  <a:pt x="815" y="735"/>
                  <a:pt x="817" y="736"/>
                </a:cubicBezTo>
                <a:cubicBezTo>
                  <a:pt x="817" y="736"/>
                  <a:pt x="817" y="736"/>
                  <a:pt x="817" y="737"/>
                </a:cubicBezTo>
                <a:cubicBezTo>
                  <a:pt x="817" y="737"/>
                  <a:pt x="817" y="737"/>
                  <a:pt x="817" y="739"/>
                </a:cubicBezTo>
                <a:cubicBezTo>
                  <a:pt x="817" y="739"/>
                  <a:pt x="817" y="739"/>
                  <a:pt x="816" y="739"/>
                </a:cubicBezTo>
                <a:cubicBezTo>
                  <a:pt x="816" y="739"/>
                  <a:pt x="816" y="739"/>
                  <a:pt x="815" y="738"/>
                </a:cubicBezTo>
                <a:cubicBezTo>
                  <a:pt x="815" y="738"/>
                  <a:pt x="815" y="738"/>
                  <a:pt x="814" y="737"/>
                </a:cubicBezTo>
                <a:cubicBezTo>
                  <a:pt x="814" y="737"/>
                  <a:pt x="814" y="737"/>
                  <a:pt x="813" y="737"/>
                </a:cubicBezTo>
                <a:cubicBezTo>
                  <a:pt x="813" y="737"/>
                  <a:pt x="813" y="737"/>
                  <a:pt x="811" y="735"/>
                </a:cubicBezTo>
                <a:cubicBezTo>
                  <a:pt x="811" y="735"/>
                  <a:pt x="811" y="735"/>
                  <a:pt x="811" y="734"/>
                </a:cubicBezTo>
                <a:cubicBezTo>
                  <a:pt x="811" y="734"/>
                  <a:pt x="811" y="734"/>
                  <a:pt x="811" y="733"/>
                </a:cubicBezTo>
                <a:cubicBezTo>
                  <a:pt x="811" y="733"/>
                  <a:pt x="811" y="733"/>
                  <a:pt x="812" y="732"/>
                </a:cubicBezTo>
                <a:cubicBezTo>
                  <a:pt x="812" y="732"/>
                  <a:pt x="812" y="732"/>
                  <a:pt x="812" y="731"/>
                </a:cubicBezTo>
                <a:cubicBezTo>
                  <a:pt x="812" y="731"/>
                  <a:pt x="812" y="731"/>
                  <a:pt x="811" y="731"/>
                </a:cubicBezTo>
                <a:cubicBezTo>
                  <a:pt x="811" y="731"/>
                  <a:pt x="811" y="731"/>
                  <a:pt x="811" y="730"/>
                </a:cubicBezTo>
                <a:cubicBezTo>
                  <a:pt x="811" y="730"/>
                  <a:pt x="811" y="730"/>
                  <a:pt x="812" y="729"/>
                </a:cubicBezTo>
                <a:cubicBezTo>
                  <a:pt x="812" y="729"/>
                  <a:pt x="812" y="729"/>
                  <a:pt x="811" y="728"/>
                </a:cubicBezTo>
                <a:cubicBezTo>
                  <a:pt x="811" y="728"/>
                  <a:pt x="811" y="728"/>
                  <a:pt x="810" y="728"/>
                </a:cubicBezTo>
                <a:cubicBezTo>
                  <a:pt x="810" y="728"/>
                  <a:pt x="810" y="728"/>
                  <a:pt x="807" y="725"/>
                </a:cubicBezTo>
                <a:cubicBezTo>
                  <a:pt x="807" y="725"/>
                  <a:pt x="807" y="725"/>
                  <a:pt x="806" y="723"/>
                </a:cubicBezTo>
                <a:cubicBezTo>
                  <a:pt x="806" y="723"/>
                  <a:pt x="806" y="723"/>
                  <a:pt x="804" y="721"/>
                </a:cubicBezTo>
                <a:cubicBezTo>
                  <a:pt x="804" y="721"/>
                  <a:pt x="804" y="721"/>
                  <a:pt x="804" y="720"/>
                </a:cubicBezTo>
                <a:cubicBezTo>
                  <a:pt x="804" y="720"/>
                  <a:pt x="804" y="720"/>
                  <a:pt x="803" y="720"/>
                </a:cubicBezTo>
                <a:cubicBezTo>
                  <a:pt x="803" y="720"/>
                  <a:pt x="803" y="720"/>
                  <a:pt x="801" y="717"/>
                </a:cubicBezTo>
                <a:cubicBezTo>
                  <a:pt x="801" y="717"/>
                  <a:pt x="801" y="717"/>
                  <a:pt x="801" y="716"/>
                </a:cubicBezTo>
                <a:cubicBezTo>
                  <a:pt x="801" y="716"/>
                  <a:pt x="801" y="716"/>
                  <a:pt x="802" y="717"/>
                </a:cubicBezTo>
                <a:cubicBezTo>
                  <a:pt x="802" y="717"/>
                  <a:pt x="802" y="717"/>
                  <a:pt x="803" y="716"/>
                </a:cubicBezTo>
                <a:cubicBezTo>
                  <a:pt x="803" y="716"/>
                  <a:pt x="803" y="716"/>
                  <a:pt x="802" y="715"/>
                </a:cubicBezTo>
                <a:cubicBezTo>
                  <a:pt x="802" y="715"/>
                  <a:pt x="802" y="715"/>
                  <a:pt x="802" y="714"/>
                </a:cubicBezTo>
                <a:cubicBezTo>
                  <a:pt x="802" y="714"/>
                  <a:pt x="802" y="714"/>
                  <a:pt x="801" y="715"/>
                </a:cubicBezTo>
                <a:cubicBezTo>
                  <a:pt x="801" y="715"/>
                  <a:pt x="801" y="715"/>
                  <a:pt x="801" y="714"/>
                </a:cubicBezTo>
                <a:cubicBezTo>
                  <a:pt x="801" y="714"/>
                  <a:pt x="801" y="714"/>
                  <a:pt x="800" y="714"/>
                </a:cubicBezTo>
                <a:cubicBezTo>
                  <a:pt x="800" y="714"/>
                  <a:pt x="800" y="714"/>
                  <a:pt x="800" y="715"/>
                </a:cubicBezTo>
                <a:cubicBezTo>
                  <a:pt x="800" y="715"/>
                  <a:pt x="800" y="715"/>
                  <a:pt x="799" y="716"/>
                </a:cubicBezTo>
                <a:cubicBezTo>
                  <a:pt x="799" y="716"/>
                  <a:pt x="799" y="716"/>
                  <a:pt x="796" y="716"/>
                </a:cubicBezTo>
                <a:cubicBezTo>
                  <a:pt x="796" y="716"/>
                  <a:pt x="796" y="716"/>
                  <a:pt x="796" y="715"/>
                </a:cubicBezTo>
                <a:cubicBezTo>
                  <a:pt x="796" y="715"/>
                  <a:pt x="796" y="715"/>
                  <a:pt x="795" y="714"/>
                </a:cubicBezTo>
                <a:cubicBezTo>
                  <a:pt x="795" y="714"/>
                  <a:pt x="795" y="714"/>
                  <a:pt x="793" y="714"/>
                </a:cubicBezTo>
                <a:cubicBezTo>
                  <a:pt x="793" y="714"/>
                  <a:pt x="793" y="714"/>
                  <a:pt x="794" y="715"/>
                </a:cubicBezTo>
                <a:cubicBezTo>
                  <a:pt x="794" y="715"/>
                  <a:pt x="794" y="715"/>
                  <a:pt x="792" y="714"/>
                </a:cubicBezTo>
                <a:cubicBezTo>
                  <a:pt x="792" y="714"/>
                  <a:pt x="792" y="714"/>
                  <a:pt x="789" y="713"/>
                </a:cubicBezTo>
                <a:cubicBezTo>
                  <a:pt x="789" y="713"/>
                  <a:pt x="789" y="713"/>
                  <a:pt x="787" y="713"/>
                </a:cubicBezTo>
                <a:cubicBezTo>
                  <a:pt x="787" y="713"/>
                  <a:pt x="787" y="713"/>
                  <a:pt x="786" y="712"/>
                </a:cubicBezTo>
                <a:cubicBezTo>
                  <a:pt x="786" y="712"/>
                  <a:pt x="786" y="712"/>
                  <a:pt x="785" y="712"/>
                </a:cubicBezTo>
                <a:cubicBezTo>
                  <a:pt x="785" y="712"/>
                  <a:pt x="785" y="712"/>
                  <a:pt x="782" y="711"/>
                </a:cubicBezTo>
                <a:cubicBezTo>
                  <a:pt x="782" y="711"/>
                  <a:pt x="782" y="711"/>
                  <a:pt x="781" y="711"/>
                </a:cubicBezTo>
                <a:cubicBezTo>
                  <a:pt x="781" y="711"/>
                  <a:pt x="781" y="711"/>
                  <a:pt x="779" y="711"/>
                </a:cubicBezTo>
                <a:cubicBezTo>
                  <a:pt x="779" y="711"/>
                  <a:pt x="779" y="711"/>
                  <a:pt x="775" y="710"/>
                </a:cubicBezTo>
                <a:cubicBezTo>
                  <a:pt x="775" y="710"/>
                  <a:pt x="775" y="710"/>
                  <a:pt x="775" y="709"/>
                </a:cubicBezTo>
                <a:cubicBezTo>
                  <a:pt x="775" y="709"/>
                  <a:pt x="775" y="709"/>
                  <a:pt x="774" y="709"/>
                </a:cubicBezTo>
                <a:cubicBezTo>
                  <a:pt x="774" y="709"/>
                  <a:pt x="774" y="709"/>
                  <a:pt x="773" y="708"/>
                </a:cubicBezTo>
                <a:cubicBezTo>
                  <a:pt x="773" y="708"/>
                  <a:pt x="773" y="708"/>
                  <a:pt x="772" y="706"/>
                </a:cubicBezTo>
                <a:cubicBezTo>
                  <a:pt x="772" y="706"/>
                  <a:pt x="772" y="706"/>
                  <a:pt x="771" y="705"/>
                </a:cubicBezTo>
                <a:cubicBezTo>
                  <a:pt x="771" y="705"/>
                  <a:pt x="771" y="705"/>
                  <a:pt x="769" y="704"/>
                </a:cubicBezTo>
                <a:cubicBezTo>
                  <a:pt x="769" y="704"/>
                  <a:pt x="769" y="704"/>
                  <a:pt x="769" y="703"/>
                </a:cubicBezTo>
                <a:cubicBezTo>
                  <a:pt x="769" y="703"/>
                  <a:pt x="769" y="703"/>
                  <a:pt x="768" y="703"/>
                </a:cubicBezTo>
                <a:cubicBezTo>
                  <a:pt x="768" y="703"/>
                  <a:pt x="768" y="703"/>
                  <a:pt x="763" y="699"/>
                </a:cubicBezTo>
                <a:cubicBezTo>
                  <a:pt x="763" y="699"/>
                  <a:pt x="763" y="699"/>
                  <a:pt x="763" y="698"/>
                </a:cubicBezTo>
                <a:cubicBezTo>
                  <a:pt x="763" y="698"/>
                  <a:pt x="763" y="698"/>
                  <a:pt x="762" y="696"/>
                </a:cubicBezTo>
                <a:cubicBezTo>
                  <a:pt x="762" y="696"/>
                  <a:pt x="762" y="696"/>
                  <a:pt x="760" y="695"/>
                </a:cubicBezTo>
                <a:cubicBezTo>
                  <a:pt x="760" y="695"/>
                  <a:pt x="760" y="695"/>
                  <a:pt x="759" y="695"/>
                </a:cubicBezTo>
                <a:cubicBezTo>
                  <a:pt x="759" y="695"/>
                  <a:pt x="759" y="695"/>
                  <a:pt x="761" y="696"/>
                </a:cubicBezTo>
                <a:cubicBezTo>
                  <a:pt x="761" y="696"/>
                  <a:pt x="761" y="696"/>
                  <a:pt x="762" y="698"/>
                </a:cubicBezTo>
                <a:cubicBezTo>
                  <a:pt x="762" y="698"/>
                  <a:pt x="762" y="698"/>
                  <a:pt x="761" y="697"/>
                </a:cubicBezTo>
                <a:cubicBezTo>
                  <a:pt x="761" y="697"/>
                  <a:pt x="761" y="697"/>
                  <a:pt x="759" y="696"/>
                </a:cubicBezTo>
                <a:cubicBezTo>
                  <a:pt x="759" y="696"/>
                  <a:pt x="759" y="696"/>
                  <a:pt x="758" y="696"/>
                </a:cubicBezTo>
                <a:cubicBezTo>
                  <a:pt x="758" y="696"/>
                  <a:pt x="758" y="696"/>
                  <a:pt x="757" y="696"/>
                </a:cubicBezTo>
                <a:cubicBezTo>
                  <a:pt x="757" y="696"/>
                  <a:pt x="757" y="696"/>
                  <a:pt x="757" y="695"/>
                </a:cubicBezTo>
                <a:cubicBezTo>
                  <a:pt x="757" y="695"/>
                  <a:pt x="757" y="695"/>
                  <a:pt x="756" y="695"/>
                </a:cubicBezTo>
                <a:cubicBezTo>
                  <a:pt x="756" y="695"/>
                  <a:pt x="756" y="695"/>
                  <a:pt x="756" y="694"/>
                </a:cubicBezTo>
                <a:cubicBezTo>
                  <a:pt x="756" y="694"/>
                  <a:pt x="756" y="694"/>
                  <a:pt x="754" y="695"/>
                </a:cubicBezTo>
                <a:cubicBezTo>
                  <a:pt x="754" y="695"/>
                  <a:pt x="754" y="695"/>
                  <a:pt x="754" y="696"/>
                </a:cubicBezTo>
                <a:cubicBezTo>
                  <a:pt x="754" y="696"/>
                  <a:pt x="754" y="696"/>
                  <a:pt x="753" y="696"/>
                </a:cubicBezTo>
                <a:cubicBezTo>
                  <a:pt x="753" y="696"/>
                  <a:pt x="753" y="696"/>
                  <a:pt x="751" y="698"/>
                </a:cubicBezTo>
                <a:cubicBezTo>
                  <a:pt x="751" y="698"/>
                  <a:pt x="751" y="698"/>
                  <a:pt x="750" y="698"/>
                </a:cubicBezTo>
                <a:cubicBezTo>
                  <a:pt x="750" y="698"/>
                  <a:pt x="750" y="698"/>
                  <a:pt x="747" y="699"/>
                </a:cubicBezTo>
                <a:cubicBezTo>
                  <a:pt x="747" y="699"/>
                  <a:pt x="747" y="699"/>
                  <a:pt x="746" y="699"/>
                </a:cubicBezTo>
                <a:cubicBezTo>
                  <a:pt x="746" y="699"/>
                  <a:pt x="746" y="699"/>
                  <a:pt x="742" y="698"/>
                </a:cubicBezTo>
                <a:cubicBezTo>
                  <a:pt x="742" y="698"/>
                  <a:pt x="742" y="698"/>
                  <a:pt x="741" y="697"/>
                </a:cubicBezTo>
                <a:cubicBezTo>
                  <a:pt x="741" y="697"/>
                  <a:pt x="741" y="697"/>
                  <a:pt x="739" y="697"/>
                </a:cubicBezTo>
                <a:cubicBezTo>
                  <a:pt x="739" y="697"/>
                  <a:pt x="739" y="697"/>
                  <a:pt x="736" y="696"/>
                </a:cubicBezTo>
                <a:cubicBezTo>
                  <a:pt x="736" y="696"/>
                  <a:pt x="736" y="696"/>
                  <a:pt x="735" y="695"/>
                </a:cubicBezTo>
                <a:cubicBezTo>
                  <a:pt x="735" y="695"/>
                  <a:pt x="735" y="695"/>
                  <a:pt x="735" y="696"/>
                </a:cubicBezTo>
                <a:cubicBezTo>
                  <a:pt x="735" y="696"/>
                  <a:pt x="735" y="696"/>
                  <a:pt x="734" y="695"/>
                </a:cubicBezTo>
                <a:cubicBezTo>
                  <a:pt x="734" y="695"/>
                  <a:pt x="734" y="695"/>
                  <a:pt x="732" y="695"/>
                </a:cubicBezTo>
                <a:cubicBezTo>
                  <a:pt x="732" y="695"/>
                  <a:pt x="732" y="695"/>
                  <a:pt x="731" y="693"/>
                </a:cubicBezTo>
                <a:cubicBezTo>
                  <a:pt x="731" y="693"/>
                  <a:pt x="731" y="693"/>
                  <a:pt x="730" y="693"/>
                </a:cubicBezTo>
                <a:cubicBezTo>
                  <a:pt x="730" y="693"/>
                  <a:pt x="730" y="693"/>
                  <a:pt x="728" y="693"/>
                </a:cubicBezTo>
                <a:cubicBezTo>
                  <a:pt x="728" y="693"/>
                  <a:pt x="728" y="693"/>
                  <a:pt x="726" y="693"/>
                </a:cubicBezTo>
                <a:cubicBezTo>
                  <a:pt x="726" y="693"/>
                  <a:pt x="726" y="693"/>
                  <a:pt x="726" y="691"/>
                </a:cubicBezTo>
                <a:cubicBezTo>
                  <a:pt x="726" y="691"/>
                  <a:pt x="726" y="691"/>
                  <a:pt x="724" y="690"/>
                </a:cubicBezTo>
                <a:cubicBezTo>
                  <a:pt x="724" y="690"/>
                  <a:pt x="724" y="690"/>
                  <a:pt x="721" y="690"/>
                </a:cubicBezTo>
                <a:cubicBezTo>
                  <a:pt x="721" y="690"/>
                  <a:pt x="721" y="690"/>
                  <a:pt x="718" y="689"/>
                </a:cubicBezTo>
                <a:cubicBezTo>
                  <a:pt x="718" y="689"/>
                  <a:pt x="718" y="689"/>
                  <a:pt x="717" y="687"/>
                </a:cubicBezTo>
                <a:cubicBezTo>
                  <a:pt x="717" y="687"/>
                  <a:pt x="717" y="687"/>
                  <a:pt x="716" y="687"/>
                </a:cubicBezTo>
                <a:cubicBezTo>
                  <a:pt x="716" y="687"/>
                  <a:pt x="716" y="687"/>
                  <a:pt x="713" y="684"/>
                </a:cubicBezTo>
                <a:cubicBezTo>
                  <a:pt x="713" y="684"/>
                  <a:pt x="713" y="684"/>
                  <a:pt x="712" y="683"/>
                </a:cubicBezTo>
                <a:cubicBezTo>
                  <a:pt x="712" y="683"/>
                  <a:pt x="712" y="683"/>
                  <a:pt x="711" y="683"/>
                </a:cubicBezTo>
                <a:cubicBezTo>
                  <a:pt x="711" y="683"/>
                  <a:pt x="711" y="683"/>
                  <a:pt x="711" y="684"/>
                </a:cubicBezTo>
                <a:cubicBezTo>
                  <a:pt x="711" y="684"/>
                  <a:pt x="711" y="684"/>
                  <a:pt x="710" y="684"/>
                </a:cubicBezTo>
                <a:cubicBezTo>
                  <a:pt x="710" y="684"/>
                  <a:pt x="710" y="684"/>
                  <a:pt x="708" y="683"/>
                </a:cubicBezTo>
                <a:cubicBezTo>
                  <a:pt x="708" y="683"/>
                  <a:pt x="708" y="683"/>
                  <a:pt x="707" y="683"/>
                </a:cubicBezTo>
                <a:cubicBezTo>
                  <a:pt x="707" y="683"/>
                  <a:pt x="707" y="683"/>
                  <a:pt x="706" y="682"/>
                </a:cubicBezTo>
                <a:cubicBezTo>
                  <a:pt x="706" y="682"/>
                  <a:pt x="706" y="682"/>
                  <a:pt x="705" y="682"/>
                </a:cubicBezTo>
                <a:cubicBezTo>
                  <a:pt x="705" y="682"/>
                  <a:pt x="705" y="682"/>
                  <a:pt x="704" y="682"/>
                </a:cubicBezTo>
                <a:cubicBezTo>
                  <a:pt x="704" y="682"/>
                  <a:pt x="704" y="682"/>
                  <a:pt x="703" y="680"/>
                </a:cubicBezTo>
                <a:cubicBezTo>
                  <a:pt x="703" y="680"/>
                  <a:pt x="703" y="680"/>
                  <a:pt x="702" y="679"/>
                </a:cubicBezTo>
                <a:cubicBezTo>
                  <a:pt x="702" y="679"/>
                  <a:pt x="702" y="679"/>
                  <a:pt x="700" y="677"/>
                </a:cubicBezTo>
                <a:cubicBezTo>
                  <a:pt x="700" y="677"/>
                  <a:pt x="700" y="677"/>
                  <a:pt x="699" y="677"/>
                </a:cubicBezTo>
                <a:cubicBezTo>
                  <a:pt x="699" y="677"/>
                  <a:pt x="699" y="677"/>
                  <a:pt x="699" y="676"/>
                </a:cubicBezTo>
                <a:cubicBezTo>
                  <a:pt x="699" y="676"/>
                  <a:pt x="699" y="676"/>
                  <a:pt x="699" y="675"/>
                </a:cubicBezTo>
                <a:cubicBezTo>
                  <a:pt x="699" y="675"/>
                  <a:pt x="699" y="675"/>
                  <a:pt x="697" y="676"/>
                </a:cubicBezTo>
                <a:cubicBezTo>
                  <a:pt x="697" y="676"/>
                  <a:pt x="697" y="676"/>
                  <a:pt x="695" y="675"/>
                </a:cubicBezTo>
                <a:cubicBezTo>
                  <a:pt x="695" y="675"/>
                  <a:pt x="695" y="675"/>
                  <a:pt x="695" y="674"/>
                </a:cubicBezTo>
                <a:cubicBezTo>
                  <a:pt x="695" y="674"/>
                  <a:pt x="695" y="674"/>
                  <a:pt x="694" y="674"/>
                </a:cubicBezTo>
                <a:cubicBezTo>
                  <a:pt x="694" y="674"/>
                  <a:pt x="694" y="674"/>
                  <a:pt x="693" y="674"/>
                </a:cubicBezTo>
                <a:cubicBezTo>
                  <a:pt x="693" y="674"/>
                  <a:pt x="693" y="674"/>
                  <a:pt x="693" y="672"/>
                </a:cubicBezTo>
                <a:cubicBezTo>
                  <a:pt x="693" y="672"/>
                  <a:pt x="693" y="672"/>
                  <a:pt x="692" y="671"/>
                </a:cubicBezTo>
                <a:cubicBezTo>
                  <a:pt x="692" y="671"/>
                  <a:pt x="692" y="671"/>
                  <a:pt x="692" y="670"/>
                </a:cubicBezTo>
                <a:cubicBezTo>
                  <a:pt x="692" y="670"/>
                  <a:pt x="692" y="670"/>
                  <a:pt x="691" y="669"/>
                </a:cubicBezTo>
                <a:cubicBezTo>
                  <a:pt x="691" y="669"/>
                  <a:pt x="691" y="669"/>
                  <a:pt x="690" y="667"/>
                </a:cubicBezTo>
                <a:cubicBezTo>
                  <a:pt x="690" y="667"/>
                  <a:pt x="690" y="667"/>
                  <a:pt x="690" y="666"/>
                </a:cubicBezTo>
                <a:cubicBezTo>
                  <a:pt x="690" y="666"/>
                  <a:pt x="690" y="666"/>
                  <a:pt x="691" y="666"/>
                </a:cubicBezTo>
                <a:cubicBezTo>
                  <a:pt x="691" y="666"/>
                  <a:pt x="691" y="666"/>
                  <a:pt x="692" y="666"/>
                </a:cubicBezTo>
                <a:cubicBezTo>
                  <a:pt x="692" y="666"/>
                  <a:pt x="692" y="666"/>
                  <a:pt x="693" y="665"/>
                </a:cubicBezTo>
                <a:cubicBezTo>
                  <a:pt x="693" y="665"/>
                  <a:pt x="693" y="665"/>
                  <a:pt x="692" y="665"/>
                </a:cubicBezTo>
                <a:cubicBezTo>
                  <a:pt x="692" y="665"/>
                  <a:pt x="692" y="665"/>
                  <a:pt x="691" y="664"/>
                </a:cubicBezTo>
                <a:cubicBezTo>
                  <a:pt x="691" y="664"/>
                  <a:pt x="691" y="664"/>
                  <a:pt x="692" y="664"/>
                </a:cubicBezTo>
                <a:cubicBezTo>
                  <a:pt x="692" y="664"/>
                  <a:pt x="692" y="664"/>
                  <a:pt x="693" y="662"/>
                </a:cubicBezTo>
                <a:cubicBezTo>
                  <a:pt x="693" y="662"/>
                  <a:pt x="693" y="662"/>
                  <a:pt x="694" y="661"/>
                </a:cubicBezTo>
                <a:cubicBezTo>
                  <a:pt x="694" y="661"/>
                  <a:pt x="694" y="661"/>
                  <a:pt x="694" y="660"/>
                </a:cubicBezTo>
                <a:cubicBezTo>
                  <a:pt x="694" y="660"/>
                  <a:pt x="694" y="660"/>
                  <a:pt x="692" y="656"/>
                </a:cubicBezTo>
                <a:cubicBezTo>
                  <a:pt x="692" y="656"/>
                  <a:pt x="692" y="656"/>
                  <a:pt x="692" y="655"/>
                </a:cubicBezTo>
                <a:cubicBezTo>
                  <a:pt x="692" y="655"/>
                  <a:pt x="692" y="655"/>
                  <a:pt x="691" y="654"/>
                </a:cubicBezTo>
                <a:cubicBezTo>
                  <a:pt x="691" y="654"/>
                  <a:pt x="691" y="654"/>
                  <a:pt x="692" y="653"/>
                </a:cubicBezTo>
                <a:cubicBezTo>
                  <a:pt x="692" y="653"/>
                  <a:pt x="692" y="653"/>
                  <a:pt x="691" y="651"/>
                </a:cubicBezTo>
                <a:cubicBezTo>
                  <a:pt x="691" y="651"/>
                  <a:pt x="691" y="651"/>
                  <a:pt x="689" y="649"/>
                </a:cubicBezTo>
                <a:cubicBezTo>
                  <a:pt x="689" y="649"/>
                  <a:pt x="689" y="649"/>
                  <a:pt x="689" y="647"/>
                </a:cubicBezTo>
                <a:cubicBezTo>
                  <a:pt x="689" y="647"/>
                  <a:pt x="689" y="647"/>
                  <a:pt x="687" y="645"/>
                </a:cubicBezTo>
                <a:cubicBezTo>
                  <a:pt x="687" y="645"/>
                  <a:pt x="687" y="645"/>
                  <a:pt x="686" y="643"/>
                </a:cubicBezTo>
                <a:cubicBezTo>
                  <a:pt x="686" y="643"/>
                  <a:pt x="686" y="643"/>
                  <a:pt x="684" y="640"/>
                </a:cubicBezTo>
                <a:cubicBezTo>
                  <a:pt x="684" y="640"/>
                  <a:pt x="684" y="640"/>
                  <a:pt x="682" y="639"/>
                </a:cubicBezTo>
                <a:cubicBezTo>
                  <a:pt x="682" y="639"/>
                  <a:pt x="682" y="639"/>
                  <a:pt x="681" y="638"/>
                </a:cubicBezTo>
                <a:cubicBezTo>
                  <a:pt x="681" y="638"/>
                  <a:pt x="681" y="638"/>
                  <a:pt x="681" y="637"/>
                </a:cubicBezTo>
                <a:cubicBezTo>
                  <a:pt x="681" y="637"/>
                  <a:pt x="681" y="637"/>
                  <a:pt x="679" y="637"/>
                </a:cubicBezTo>
                <a:cubicBezTo>
                  <a:pt x="679" y="637"/>
                  <a:pt x="679" y="637"/>
                  <a:pt x="678" y="636"/>
                </a:cubicBezTo>
                <a:cubicBezTo>
                  <a:pt x="678" y="636"/>
                  <a:pt x="678" y="636"/>
                  <a:pt x="679" y="635"/>
                </a:cubicBezTo>
                <a:cubicBezTo>
                  <a:pt x="679" y="635"/>
                  <a:pt x="679" y="635"/>
                  <a:pt x="680" y="634"/>
                </a:cubicBezTo>
                <a:cubicBezTo>
                  <a:pt x="680" y="634"/>
                  <a:pt x="680" y="634"/>
                  <a:pt x="679" y="633"/>
                </a:cubicBezTo>
                <a:cubicBezTo>
                  <a:pt x="679" y="633"/>
                  <a:pt x="679" y="633"/>
                  <a:pt x="679" y="632"/>
                </a:cubicBezTo>
                <a:cubicBezTo>
                  <a:pt x="679" y="632"/>
                  <a:pt x="679" y="632"/>
                  <a:pt x="678" y="632"/>
                </a:cubicBezTo>
                <a:cubicBezTo>
                  <a:pt x="678" y="632"/>
                  <a:pt x="678" y="632"/>
                  <a:pt x="676" y="631"/>
                </a:cubicBezTo>
                <a:cubicBezTo>
                  <a:pt x="676" y="631"/>
                  <a:pt x="676" y="631"/>
                  <a:pt x="674" y="629"/>
                </a:cubicBezTo>
                <a:cubicBezTo>
                  <a:pt x="674" y="629"/>
                  <a:pt x="674" y="629"/>
                  <a:pt x="673" y="629"/>
                </a:cubicBezTo>
                <a:cubicBezTo>
                  <a:pt x="673" y="629"/>
                  <a:pt x="673" y="629"/>
                  <a:pt x="672" y="629"/>
                </a:cubicBezTo>
                <a:cubicBezTo>
                  <a:pt x="672" y="629"/>
                  <a:pt x="672" y="629"/>
                  <a:pt x="671" y="628"/>
                </a:cubicBezTo>
                <a:cubicBezTo>
                  <a:pt x="671" y="628"/>
                  <a:pt x="671" y="628"/>
                  <a:pt x="671" y="627"/>
                </a:cubicBezTo>
                <a:cubicBezTo>
                  <a:pt x="671" y="627"/>
                  <a:pt x="671" y="627"/>
                  <a:pt x="671" y="625"/>
                </a:cubicBezTo>
                <a:cubicBezTo>
                  <a:pt x="671" y="625"/>
                  <a:pt x="671" y="625"/>
                  <a:pt x="672" y="624"/>
                </a:cubicBezTo>
                <a:cubicBezTo>
                  <a:pt x="672" y="624"/>
                  <a:pt x="672" y="624"/>
                  <a:pt x="673" y="623"/>
                </a:cubicBezTo>
                <a:cubicBezTo>
                  <a:pt x="673" y="623"/>
                  <a:pt x="673" y="623"/>
                  <a:pt x="674" y="624"/>
                </a:cubicBezTo>
                <a:cubicBezTo>
                  <a:pt x="674" y="624"/>
                  <a:pt x="674" y="624"/>
                  <a:pt x="674" y="623"/>
                </a:cubicBezTo>
                <a:cubicBezTo>
                  <a:pt x="674" y="623"/>
                  <a:pt x="674" y="623"/>
                  <a:pt x="674" y="622"/>
                </a:cubicBezTo>
                <a:cubicBezTo>
                  <a:pt x="674" y="622"/>
                  <a:pt x="674" y="622"/>
                  <a:pt x="673" y="623"/>
                </a:cubicBezTo>
                <a:cubicBezTo>
                  <a:pt x="673" y="623"/>
                  <a:pt x="673" y="623"/>
                  <a:pt x="672" y="622"/>
                </a:cubicBezTo>
                <a:cubicBezTo>
                  <a:pt x="672" y="622"/>
                  <a:pt x="672" y="622"/>
                  <a:pt x="672" y="621"/>
                </a:cubicBezTo>
                <a:cubicBezTo>
                  <a:pt x="672" y="621"/>
                  <a:pt x="672" y="621"/>
                  <a:pt x="671" y="620"/>
                </a:cubicBezTo>
                <a:cubicBezTo>
                  <a:pt x="671" y="620"/>
                  <a:pt x="671" y="620"/>
                  <a:pt x="670" y="620"/>
                </a:cubicBezTo>
                <a:cubicBezTo>
                  <a:pt x="670" y="620"/>
                  <a:pt x="670" y="620"/>
                  <a:pt x="669" y="620"/>
                </a:cubicBezTo>
                <a:cubicBezTo>
                  <a:pt x="669" y="620"/>
                  <a:pt x="669" y="620"/>
                  <a:pt x="669" y="619"/>
                </a:cubicBezTo>
                <a:cubicBezTo>
                  <a:pt x="669" y="619"/>
                  <a:pt x="669" y="619"/>
                  <a:pt x="669" y="618"/>
                </a:cubicBezTo>
                <a:cubicBezTo>
                  <a:pt x="669" y="618"/>
                  <a:pt x="669" y="618"/>
                  <a:pt x="668" y="617"/>
                </a:cubicBezTo>
                <a:cubicBezTo>
                  <a:pt x="668" y="617"/>
                  <a:pt x="668" y="617"/>
                  <a:pt x="667" y="617"/>
                </a:cubicBezTo>
                <a:cubicBezTo>
                  <a:pt x="667" y="617"/>
                  <a:pt x="667" y="617"/>
                  <a:pt x="665" y="615"/>
                </a:cubicBezTo>
                <a:cubicBezTo>
                  <a:pt x="665" y="615"/>
                  <a:pt x="665" y="615"/>
                  <a:pt x="665" y="614"/>
                </a:cubicBezTo>
                <a:cubicBezTo>
                  <a:pt x="665" y="614"/>
                  <a:pt x="665" y="614"/>
                  <a:pt x="665" y="613"/>
                </a:cubicBezTo>
                <a:cubicBezTo>
                  <a:pt x="665" y="613"/>
                  <a:pt x="665" y="613"/>
                  <a:pt x="665" y="612"/>
                </a:cubicBezTo>
                <a:cubicBezTo>
                  <a:pt x="665" y="612"/>
                  <a:pt x="665" y="612"/>
                  <a:pt x="665" y="611"/>
                </a:cubicBezTo>
                <a:cubicBezTo>
                  <a:pt x="665" y="611"/>
                  <a:pt x="665" y="611"/>
                  <a:pt x="664" y="611"/>
                </a:cubicBezTo>
                <a:cubicBezTo>
                  <a:pt x="664" y="611"/>
                  <a:pt x="664" y="611"/>
                  <a:pt x="663" y="611"/>
                </a:cubicBezTo>
                <a:cubicBezTo>
                  <a:pt x="663" y="611"/>
                  <a:pt x="663" y="611"/>
                  <a:pt x="662" y="610"/>
                </a:cubicBezTo>
                <a:cubicBezTo>
                  <a:pt x="662" y="610"/>
                  <a:pt x="662" y="610"/>
                  <a:pt x="661" y="609"/>
                </a:cubicBezTo>
                <a:cubicBezTo>
                  <a:pt x="661" y="609"/>
                  <a:pt x="661" y="609"/>
                  <a:pt x="661" y="607"/>
                </a:cubicBezTo>
                <a:cubicBezTo>
                  <a:pt x="661" y="607"/>
                  <a:pt x="661" y="607"/>
                  <a:pt x="660" y="607"/>
                </a:cubicBezTo>
                <a:cubicBezTo>
                  <a:pt x="660" y="607"/>
                  <a:pt x="660" y="607"/>
                  <a:pt x="659" y="606"/>
                </a:cubicBezTo>
                <a:cubicBezTo>
                  <a:pt x="659" y="606"/>
                  <a:pt x="659" y="606"/>
                  <a:pt x="659" y="605"/>
                </a:cubicBezTo>
                <a:cubicBezTo>
                  <a:pt x="659" y="605"/>
                  <a:pt x="659" y="605"/>
                  <a:pt x="659" y="604"/>
                </a:cubicBezTo>
                <a:cubicBezTo>
                  <a:pt x="659" y="604"/>
                  <a:pt x="659" y="604"/>
                  <a:pt x="658" y="604"/>
                </a:cubicBezTo>
                <a:cubicBezTo>
                  <a:pt x="658" y="604"/>
                  <a:pt x="658" y="604"/>
                  <a:pt x="657" y="601"/>
                </a:cubicBezTo>
                <a:cubicBezTo>
                  <a:pt x="657" y="601"/>
                  <a:pt x="657" y="601"/>
                  <a:pt x="656" y="601"/>
                </a:cubicBezTo>
                <a:cubicBezTo>
                  <a:pt x="656" y="601"/>
                  <a:pt x="656" y="601"/>
                  <a:pt x="656" y="600"/>
                </a:cubicBezTo>
                <a:cubicBezTo>
                  <a:pt x="656" y="600"/>
                  <a:pt x="656" y="600"/>
                  <a:pt x="656" y="599"/>
                </a:cubicBezTo>
                <a:cubicBezTo>
                  <a:pt x="656" y="599"/>
                  <a:pt x="656" y="599"/>
                  <a:pt x="655" y="597"/>
                </a:cubicBezTo>
                <a:cubicBezTo>
                  <a:pt x="655" y="597"/>
                  <a:pt x="655" y="597"/>
                  <a:pt x="654" y="595"/>
                </a:cubicBezTo>
                <a:cubicBezTo>
                  <a:pt x="654" y="595"/>
                  <a:pt x="654" y="595"/>
                  <a:pt x="655" y="595"/>
                </a:cubicBezTo>
                <a:cubicBezTo>
                  <a:pt x="655" y="595"/>
                  <a:pt x="655" y="595"/>
                  <a:pt x="654" y="593"/>
                </a:cubicBezTo>
                <a:cubicBezTo>
                  <a:pt x="654" y="593"/>
                  <a:pt x="654" y="593"/>
                  <a:pt x="654" y="592"/>
                </a:cubicBezTo>
                <a:cubicBezTo>
                  <a:pt x="654" y="592"/>
                  <a:pt x="654" y="592"/>
                  <a:pt x="654" y="590"/>
                </a:cubicBezTo>
                <a:cubicBezTo>
                  <a:pt x="654" y="590"/>
                  <a:pt x="654" y="590"/>
                  <a:pt x="653" y="588"/>
                </a:cubicBezTo>
                <a:cubicBezTo>
                  <a:pt x="653" y="588"/>
                  <a:pt x="653" y="588"/>
                  <a:pt x="653" y="587"/>
                </a:cubicBezTo>
                <a:cubicBezTo>
                  <a:pt x="653" y="587"/>
                  <a:pt x="653" y="587"/>
                  <a:pt x="654" y="586"/>
                </a:cubicBezTo>
                <a:cubicBezTo>
                  <a:pt x="654" y="586"/>
                  <a:pt x="654" y="586"/>
                  <a:pt x="652" y="585"/>
                </a:cubicBezTo>
                <a:cubicBezTo>
                  <a:pt x="652" y="585"/>
                  <a:pt x="652" y="585"/>
                  <a:pt x="651" y="585"/>
                </a:cubicBezTo>
                <a:cubicBezTo>
                  <a:pt x="651" y="585"/>
                  <a:pt x="651" y="585"/>
                  <a:pt x="651" y="584"/>
                </a:cubicBezTo>
                <a:cubicBezTo>
                  <a:pt x="651" y="584"/>
                  <a:pt x="651" y="584"/>
                  <a:pt x="650" y="583"/>
                </a:cubicBezTo>
                <a:cubicBezTo>
                  <a:pt x="650" y="583"/>
                  <a:pt x="650" y="583"/>
                  <a:pt x="649" y="584"/>
                </a:cubicBezTo>
                <a:cubicBezTo>
                  <a:pt x="649" y="584"/>
                  <a:pt x="649" y="584"/>
                  <a:pt x="648" y="584"/>
                </a:cubicBezTo>
                <a:cubicBezTo>
                  <a:pt x="648" y="584"/>
                  <a:pt x="648" y="584"/>
                  <a:pt x="647" y="583"/>
                </a:cubicBezTo>
                <a:cubicBezTo>
                  <a:pt x="647" y="583"/>
                  <a:pt x="647" y="583"/>
                  <a:pt x="646" y="582"/>
                </a:cubicBezTo>
                <a:cubicBezTo>
                  <a:pt x="646" y="582"/>
                  <a:pt x="646" y="582"/>
                  <a:pt x="645" y="581"/>
                </a:cubicBezTo>
                <a:cubicBezTo>
                  <a:pt x="645" y="581"/>
                  <a:pt x="645" y="581"/>
                  <a:pt x="644" y="579"/>
                </a:cubicBezTo>
                <a:cubicBezTo>
                  <a:pt x="644" y="579"/>
                  <a:pt x="644" y="579"/>
                  <a:pt x="644" y="581"/>
                </a:cubicBezTo>
                <a:cubicBezTo>
                  <a:pt x="644" y="581"/>
                  <a:pt x="644" y="581"/>
                  <a:pt x="644" y="582"/>
                </a:cubicBezTo>
                <a:cubicBezTo>
                  <a:pt x="644" y="582"/>
                  <a:pt x="644" y="582"/>
                  <a:pt x="644" y="584"/>
                </a:cubicBezTo>
                <a:cubicBezTo>
                  <a:pt x="644" y="584"/>
                  <a:pt x="644" y="584"/>
                  <a:pt x="643" y="585"/>
                </a:cubicBezTo>
                <a:cubicBezTo>
                  <a:pt x="643" y="585"/>
                  <a:pt x="643" y="585"/>
                  <a:pt x="644" y="588"/>
                </a:cubicBezTo>
                <a:cubicBezTo>
                  <a:pt x="644" y="588"/>
                  <a:pt x="644" y="588"/>
                  <a:pt x="644" y="593"/>
                </a:cubicBezTo>
                <a:cubicBezTo>
                  <a:pt x="644" y="593"/>
                  <a:pt x="644" y="593"/>
                  <a:pt x="643" y="594"/>
                </a:cubicBezTo>
                <a:cubicBezTo>
                  <a:pt x="643" y="594"/>
                  <a:pt x="643" y="594"/>
                  <a:pt x="644" y="594"/>
                </a:cubicBezTo>
                <a:cubicBezTo>
                  <a:pt x="644" y="594"/>
                  <a:pt x="644" y="594"/>
                  <a:pt x="645" y="596"/>
                </a:cubicBezTo>
                <a:cubicBezTo>
                  <a:pt x="645" y="596"/>
                  <a:pt x="645" y="596"/>
                  <a:pt x="645" y="597"/>
                </a:cubicBezTo>
                <a:cubicBezTo>
                  <a:pt x="645" y="597"/>
                  <a:pt x="645" y="597"/>
                  <a:pt x="646" y="598"/>
                </a:cubicBezTo>
                <a:cubicBezTo>
                  <a:pt x="646" y="598"/>
                  <a:pt x="646" y="598"/>
                  <a:pt x="648" y="599"/>
                </a:cubicBezTo>
                <a:cubicBezTo>
                  <a:pt x="648" y="599"/>
                  <a:pt x="648" y="599"/>
                  <a:pt x="648" y="601"/>
                </a:cubicBezTo>
                <a:cubicBezTo>
                  <a:pt x="648" y="601"/>
                  <a:pt x="648" y="601"/>
                  <a:pt x="648" y="602"/>
                </a:cubicBezTo>
                <a:cubicBezTo>
                  <a:pt x="648" y="602"/>
                  <a:pt x="648" y="602"/>
                  <a:pt x="648" y="603"/>
                </a:cubicBezTo>
                <a:cubicBezTo>
                  <a:pt x="648" y="603"/>
                  <a:pt x="648" y="603"/>
                  <a:pt x="649" y="604"/>
                </a:cubicBezTo>
                <a:cubicBezTo>
                  <a:pt x="649" y="604"/>
                  <a:pt x="649" y="604"/>
                  <a:pt x="650" y="604"/>
                </a:cubicBezTo>
                <a:cubicBezTo>
                  <a:pt x="650" y="604"/>
                  <a:pt x="650" y="604"/>
                  <a:pt x="650" y="606"/>
                </a:cubicBezTo>
                <a:cubicBezTo>
                  <a:pt x="650" y="606"/>
                  <a:pt x="650" y="606"/>
                  <a:pt x="651" y="606"/>
                </a:cubicBezTo>
                <a:cubicBezTo>
                  <a:pt x="651" y="606"/>
                  <a:pt x="651" y="606"/>
                  <a:pt x="651" y="607"/>
                </a:cubicBezTo>
                <a:cubicBezTo>
                  <a:pt x="651" y="607"/>
                  <a:pt x="651" y="607"/>
                  <a:pt x="653" y="608"/>
                </a:cubicBezTo>
                <a:cubicBezTo>
                  <a:pt x="653" y="608"/>
                  <a:pt x="653" y="608"/>
                  <a:pt x="652" y="609"/>
                </a:cubicBezTo>
                <a:cubicBezTo>
                  <a:pt x="652" y="609"/>
                  <a:pt x="652" y="609"/>
                  <a:pt x="652" y="611"/>
                </a:cubicBezTo>
                <a:cubicBezTo>
                  <a:pt x="652" y="611"/>
                  <a:pt x="652" y="611"/>
                  <a:pt x="654" y="612"/>
                </a:cubicBezTo>
                <a:cubicBezTo>
                  <a:pt x="654" y="612"/>
                  <a:pt x="654" y="612"/>
                  <a:pt x="655" y="614"/>
                </a:cubicBezTo>
                <a:cubicBezTo>
                  <a:pt x="655" y="614"/>
                  <a:pt x="655" y="614"/>
                  <a:pt x="655" y="616"/>
                </a:cubicBezTo>
                <a:cubicBezTo>
                  <a:pt x="655" y="616"/>
                  <a:pt x="655" y="616"/>
                  <a:pt x="656" y="616"/>
                </a:cubicBezTo>
                <a:cubicBezTo>
                  <a:pt x="656" y="616"/>
                  <a:pt x="656" y="616"/>
                  <a:pt x="656" y="617"/>
                </a:cubicBezTo>
                <a:cubicBezTo>
                  <a:pt x="656" y="617"/>
                  <a:pt x="656" y="617"/>
                  <a:pt x="656" y="618"/>
                </a:cubicBezTo>
                <a:cubicBezTo>
                  <a:pt x="656" y="618"/>
                  <a:pt x="656" y="618"/>
                  <a:pt x="656" y="619"/>
                </a:cubicBezTo>
                <a:cubicBezTo>
                  <a:pt x="656" y="619"/>
                  <a:pt x="656" y="619"/>
                  <a:pt x="657" y="621"/>
                </a:cubicBezTo>
                <a:cubicBezTo>
                  <a:pt x="657" y="621"/>
                  <a:pt x="657" y="621"/>
                  <a:pt x="658" y="620"/>
                </a:cubicBezTo>
                <a:cubicBezTo>
                  <a:pt x="658" y="620"/>
                  <a:pt x="658" y="620"/>
                  <a:pt x="659" y="621"/>
                </a:cubicBezTo>
                <a:cubicBezTo>
                  <a:pt x="659" y="621"/>
                  <a:pt x="659" y="621"/>
                  <a:pt x="660" y="623"/>
                </a:cubicBezTo>
                <a:cubicBezTo>
                  <a:pt x="660" y="623"/>
                  <a:pt x="660" y="623"/>
                  <a:pt x="659" y="624"/>
                </a:cubicBezTo>
                <a:cubicBezTo>
                  <a:pt x="659" y="624"/>
                  <a:pt x="659" y="624"/>
                  <a:pt x="659" y="626"/>
                </a:cubicBezTo>
                <a:cubicBezTo>
                  <a:pt x="659" y="626"/>
                  <a:pt x="659" y="626"/>
                  <a:pt x="660" y="627"/>
                </a:cubicBezTo>
                <a:cubicBezTo>
                  <a:pt x="660" y="627"/>
                  <a:pt x="660" y="627"/>
                  <a:pt x="660" y="628"/>
                </a:cubicBezTo>
                <a:cubicBezTo>
                  <a:pt x="660" y="628"/>
                  <a:pt x="660" y="628"/>
                  <a:pt x="661" y="629"/>
                </a:cubicBezTo>
                <a:cubicBezTo>
                  <a:pt x="661" y="629"/>
                  <a:pt x="661" y="629"/>
                  <a:pt x="661" y="630"/>
                </a:cubicBezTo>
                <a:cubicBezTo>
                  <a:pt x="661" y="630"/>
                  <a:pt x="661" y="630"/>
                  <a:pt x="661" y="631"/>
                </a:cubicBezTo>
                <a:cubicBezTo>
                  <a:pt x="661" y="631"/>
                  <a:pt x="661" y="631"/>
                  <a:pt x="661" y="632"/>
                </a:cubicBezTo>
                <a:cubicBezTo>
                  <a:pt x="661" y="632"/>
                  <a:pt x="661" y="632"/>
                  <a:pt x="662" y="633"/>
                </a:cubicBezTo>
                <a:cubicBezTo>
                  <a:pt x="662" y="633"/>
                  <a:pt x="662" y="633"/>
                  <a:pt x="662" y="634"/>
                </a:cubicBezTo>
                <a:cubicBezTo>
                  <a:pt x="662" y="634"/>
                  <a:pt x="662" y="634"/>
                  <a:pt x="661" y="636"/>
                </a:cubicBezTo>
                <a:cubicBezTo>
                  <a:pt x="661" y="636"/>
                  <a:pt x="661" y="636"/>
                  <a:pt x="661" y="637"/>
                </a:cubicBezTo>
                <a:cubicBezTo>
                  <a:pt x="661" y="637"/>
                  <a:pt x="661" y="637"/>
                  <a:pt x="662" y="638"/>
                </a:cubicBezTo>
                <a:cubicBezTo>
                  <a:pt x="662" y="638"/>
                  <a:pt x="662" y="638"/>
                  <a:pt x="663" y="639"/>
                </a:cubicBezTo>
                <a:cubicBezTo>
                  <a:pt x="663" y="639"/>
                  <a:pt x="663" y="639"/>
                  <a:pt x="664" y="639"/>
                </a:cubicBezTo>
                <a:cubicBezTo>
                  <a:pt x="664" y="639"/>
                  <a:pt x="664" y="639"/>
                  <a:pt x="664" y="638"/>
                </a:cubicBezTo>
                <a:cubicBezTo>
                  <a:pt x="664" y="638"/>
                  <a:pt x="664" y="638"/>
                  <a:pt x="665" y="638"/>
                </a:cubicBezTo>
                <a:cubicBezTo>
                  <a:pt x="665" y="638"/>
                  <a:pt x="665" y="638"/>
                  <a:pt x="666" y="639"/>
                </a:cubicBezTo>
                <a:cubicBezTo>
                  <a:pt x="666" y="639"/>
                  <a:pt x="666" y="639"/>
                  <a:pt x="666" y="640"/>
                </a:cubicBezTo>
                <a:cubicBezTo>
                  <a:pt x="666" y="640"/>
                  <a:pt x="666" y="640"/>
                  <a:pt x="667" y="640"/>
                </a:cubicBezTo>
                <a:cubicBezTo>
                  <a:pt x="667" y="640"/>
                  <a:pt x="667" y="640"/>
                  <a:pt x="667" y="642"/>
                </a:cubicBezTo>
                <a:cubicBezTo>
                  <a:pt x="667" y="642"/>
                  <a:pt x="667" y="642"/>
                  <a:pt x="668" y="642"/>
                </a:cubicBezTo>
                <a:cubicBezTo>
                  <a:pt x="668" y="642"/>
                  <a:pt x="668" y="642"/>
                  <a:pt x="668" y="643"/>
                </a:cubicBezTo>
                <a:cubicBezTo>
                  <a:pt x="668" y="643"/>
                  <a:pt x="668" y="643"/>
                  <a:pt x="669" y="644"/>
                </a:cubicBezTo>
                <a:cubicBezTo>
                  <a:pt x="669" y="644"/>
                  <a:pt x="669" y="644"/>
                  <a:pt x="669" y="645"/>
                </a:cubicBezTo>
                <a:cubicBezTo>
                  <a:pt x="669" y="645"/>
                  <a:pt x="669" y="645"/>
                  <a:pt x="668" y="647"/>
                </a:cubicBezTo>
                <a:cubicBezTo>
                  <a:pt x="668" y="647"/>
                  <a:pt x="668" y="647"/>
                  <a:pt x="666" y="648"/>
                </a:cubicBezTo>
                <a:cubicBezTo>
                  <a:pt x="666" y="648"/>
                  <a:pt x="666" y="648"/>
                  <a:pt x="665" y="648"/>
                </a:cubicBezTo>
                <a:cubicBezTo>
                  <a:pt x="665" y="648"/>
                  <a:pt x="665" y="648"/>
                  <a:pt x="665" y="646"/>
                </a:cubicBezTo>
                <a:cubicBezTo>
                  <a:pt x="665" y="646"/>
                  <a:pt x="665" y="646"/>
                  <a:pt x="664" y="645"/>
                </a:cubicBezTo>
                <a:cubicBezTo>
                  <a:pt x="664" y="645"/>
                  <a:pt x="664" y="645"/>
                  <a:pt x="664" y="643"/>
                </a:cubicBezTo>
                <a:cubicBezTo>
                  <a:pt x="664" y="643"/>
                  <a:pt x="664" y="643"/>
                  <a:pt x="663" y="642"/>
                </a:cubicBezTo>
                <a:cubicBezTo>
                  <a:pt x="663" y="642"/>
                  <a:pt x="663" y="642"/>
                  <a:pt x="662" y="642"/>
                </a:cubicBezTo>
                <a:cubicBezTo>
                  <a:pt x="662" y="642"/>
                  <a:pt x="662" y="642"/>
                  <a:pt x="661" y="641"/>
                </a:cubicBezTo>
                <a:cubicBezTo>
                  <a:pt x="661" y="641"/>
                  <a:pt x="661" y="641"/>
                  <a:pt x="660" y="640"/>
                </a:cubicBezTo>
                <a:cubicBezTo>
                  <a:pt x="660" y="640"/>
                  <a:pt x="660" y="640"/>
                  <a:pt x="659" y="640"/>
                </a:cubicBezTo>
                <a:cubicBezTo>
                  <a:pt x="659" y="640"/>
                  <a:pt x="659" y="640"/>
                  <a:pt x="657" y="637"/>
                </a:cubicBezTo>
                <a:cubicBezTo>
                  <a:pt x="657" y="637"/>
                  <a:pt x="657" y="637"/>
                  <a:pt x="656" y="636"/>
                </a:cubicBezTo>
                <a:cubicBezTo>
                  <a:pt x="656" y="636"/>
                  <a:pt x="656" y="636"/>
                  <a:pt x="655" y="636"/>
                </a:cubicBezTo>
                <a:cubicBezTo>
                  <a:pt x="655" y="636"/>
                  <a:pt x="655" y="636"/>
                  <a:pt x="655" y="635"/>
                </a:cubicBezTo>
                <a:cubicBezTo>
                  <a:pt x="655" y="635"/>
                  <a:pt x="655" y="635"/>
                  <a:pt x="654" y="635"/>
                </a:cubicBezTo>
                <a:cubicBezTo>
                  <a:pt x="654" y="635"/>
                  <a:pt x="654" y="635"/>
                  <a:pt x="653" y="634"/>
                </a:cubicBezTo>
                <a:cubicBezTo>
                  <a:pt x="653" y="634"/>
                  <a:pt x="653" y="634"/>
                  <a:pt x="653" y="633"/>
                </a:cubicBezTo>
                <a:cubicBezTo>
                  <a:pt x="653" y="633"/>
                  <a:pt x="653" y="633"/>
                  <a:pt x="654" y="631"/>
                </a:cubicBezTo>
                <a:cubicBezTo>
                  <a:pt x="654" y="631"/>
                  <a:pt x="654" y="631"/>
                  <a:pt x="654" y="629"/>
                </a:cubicBezTo>
                <a:cubicBezTo>
                  <a:pt x="654" y="629"/>
                  <a:pt x="654" y="629"/>
                  <a:pt x="654" y="626"/>
                </a:cubicBezTo>
                <a:cubicBezTo>
                  <a:pt x="654" y="626"/>
                  <a:pt x="654" y="626"/>
                  <a:pt x="653" y="624"/>
                </a:cubicBezTo>
                <a:cubicBezTo>
                  <a:pt x="653" y="624"/>
                  <a:pt x="653" y="624"/>
                  <a:pt x="653" y="623"/>
                </a:cubicBezTo>
                <a:cubicBezTo>
                  <a:pt x="653" y="623"/>
                  <a:pt x="653" y="623"/>
                  <a:pt x="652" y="623"/>
                </a:cubicBezTo>
                <a:cubicBezTo>
                  <a:pt x="652" y="623"/>
                  <a:pt x="652" y="623"/>
                  <a:pt x="651" y="623"/>
                </a:cubicBezTo>
                <a:cubicBezTo>
                  <a:pt x="651" y="623"/>
                  <a:pt x="651" y="623"/>
                  <a:pt x="649" y="621"/>
                </a:cubicBezTo>
                <a:cubicBezTo>
                  <a:pt x="649" y="621"/>
                  <a:pt x="649" y="621"/>
                  <a:pt x="649" y="619"/>
                </a:cubicBezTo>
                <a:cubicBezTo>
                  <a:pt x="649" y="619"/>
                  <a:pt x="649" y="619"/>
                  <a:pt x="649" y="618"/>
                </a:cubicBezTo>
                <a:cubicBezTo>
                  <a:pt x="649" y="618"/>
                  <a:pt x="649" y="618"/>
                  <a:pt x="648" y="618"/>
                </a:cubicBezTo>
                <a:cubicBezTo>
                  <a:pt x="648" y="618"/>
                  <a:pt x="648" y="618"/>
                  <a:pt x="647" y="619"/>
                </a:cubicBezTo>
                <a:cubicBezTo>
                  <a:pt x="647" y="619"/>
                  <a:pt x="647" y="619"/>
                  <a:pt x="646" y="619"/>
                </a:cubicBezTo>
                <a:cubicBezTo>
                  <a:pt x="646" y="619"/>
                  <a:pt x="646" y="619"/>
                  <a:pt x="645" y="618"/>
                </a:cubicBezTo>
                <a:cubicBezTo>
                  <a:pt x="645" y="618"/>
                  <a:pt x="645" y="618"/>
                  <a:pt x="644" y="618"/>
                </a:cubicBezTo>
                <a:cubicBezTo>
                  <a:pt x="644" y="618"/>
                  <a:pt x="644" y="618"/>
                  <a:pt x="644" y="617"/>
                </a:cubicBezTo>
                <a:cubicBezTo>
                  <a:pt x="644" y="617"/>
                  <a:pt x="644" y="617"/>
                  <a:pt x="642" y="616"/>
                </a:cubicBezTo>
                <a:cubicBezTo>
                  <a:pt x="642" y="616"/>
                  <a:pt x="642" y="616"/>
                  <a:pt x="641" y="616"/>
                </a:cubicBezTo>
                <a:cubicBezTo>
                  <a:pt x="641" y="616"/>
                  <a:pt x="641" y="616"/>
                  <a:pt x="641" y="615"/>
                </a:cubicBezTo>
                <a:cubicBezTo>
                  <a:pt x="641" y="615"/>
                  <a:pt x="641" y="615"/>
                  <a:pt x="641" y="614"/>
                </a:cubicBezTo>
                <a:cubicBezTo>
                  <a:pt x="641" y="614"/>
                  <a:pt x="641" y="614"/>
                  <a:pt x="639" y="613"/>
                </a:cubicBezTo>
                <a:cubicBezTo>
                  <a:pt x="639" y="613"/>
                  <a:pt x="639" y="613"/>
                  <a:pt x="638" y="611"/>
                </a:cubicBezTo>
                <a:cubicBezTo>
                  <a:pt x="638" y="611"/>
                  <a:pt x="638" y="611"/>
                  <a:pt x="639" y="611"/>
                </a:cubicBezTo>
                <a:cubicBezTo>
                  <a:pt x="639" y="611"/>
                  <a:pt x="639" y="611"/>
                  <a:pt x="640" y="611"/>
                </a:cubicBezTo>
                <a:cubicBezTo>
                  <a:pt x="640" y="611"/>
                  <a:pt x="640" y="611"/>
                  <a:pt x="641" y="611"/>
                </a:cubicBezTo>
                <a:cubicBezTo>
                  <a:pt x="641" y="611"/>
                  <a:pt x="641" y="611"/>
                  <a:pt x="643" y="612"/>
                </a:cubicBezTo>
                <a:cubicBezTo>
                  <a:pt x="643" y="612"/>
                  <a:pt x="643" y="612"/>
                  <a:pt x="644" y="612"/>
                </a:cubicBezTo>
                <a:cubicBezTo>
                  <a:pt x="644" y="612"/>
                  <a:pt x="644" y="612"/>
                  <a:pt x="644" y="611"/>
                </a:cubicBezTo>
                <a:cubicBezTo>
                  <a:pt x="644" y="611"/>
                  <a:pt x="644" y="611"/>
                  <a:pt x="643" y="611"/>
                </a:cubicBezTo>
                <a:cubicBezTo>
                  <a:pt x="643" y="611"/>
                  <a:pt x="643" y="611"/>
                  <a:pt x="643" y="610"/>
                </a:cubicBezTo>
                <a:cubicBezTo>
                  <a:pt x="643" y="610"/>
                  <a:pt x="643" y="610"/>
                  <a:pt x="644" y="610"/>
                </a:cubicBezTo>
                <a:cubicBezTo>
                  <a:pt x="644" y="610"/>
                  <a:pt x="644" y="610"/>
                  <a:pt x="645" y="609"/>
                </a:cubicBezTo>
                <a:cubicBezTo>
                  <a:pt x="645" y="609"/>
                  <a:pt x="645" y="609"/>
                  <a:pt x="644" y="608"/>
                </a:cubicBezTo>
                <a:cubicBezTo>
                  <a:pt x="644" y="608"/>
                  <a:pt x="644" y="608"/>
                  <a:pt x="644" y="607"/>
                </a:cubicBezTo>
                <a:cubicBezTo>
                  <a:pt x="644" y="607"/>
                  <a:pt x="644" y="607"/>
                  <a:pt x="645" y="607"/>
                </a:cubicBezTo>
                <a:cubicBezTo>
                  <a:pt x="645" y="607"/>
                  <a:pt x="645" y="607"/>
                  <a:pt x="644" y="605"/>
                </a:cubicBezTo>
                <a:cubicBezTo>
                  <a:pt x="644" y="605"/>
                  <a:pt x="644" y="605"/>
                  <a:pt x="643" y="603"/>
                </a:cubicBezTo>
                <a:cubicBezTo>
                  <a:pt x="643" y="603"/>
                  <a:pt x="643" y="603"/>
                  <a:pt x="641" y="602"/>
                </a:cubicBezTo>
                <a:cubicBezTo>
                  <a:pt x="641" y="602"/>
                  <a:pt x="641" y="602"/>
                  <a:pt x="641" y="601"/>
                </a:cubicBezTo>
                <a:cubicBezTo>
                  <a:pt x="641" y="601"/>
                  <a:pt x="641" y="601"/>
                  <a:pt x="640" y="599"/>
                </a:cubicBezTo>
                <a:cubicBezTo>
                  <a:pt x="640" y="599"/>
                  <a:pt x="640" y="599"/>
                  <a:pt x="638" y="597"/>
                </a:cubicBezTo>
                <a:cubicBezTo>
                  <a:pt x="638" y="597"/>
                  <a:pt x="638" y="597"/>
                  <a:pt x="638" y="598"/>
                </a:cubicBezTo>
                <a:cubicBezTo>
                  <a:pt x="638" y="598"/>
                  <a:pt x="638" y="598"/>
                  <a:pt x="637" y="596"/>
                </a:cubicBezTo>
                <a:cubicBezTo>
                  <a:pt x="637" y="596"/>
                  <a:pt x="637" y="596"/>
                  <a:pt x="636" y="595"/>
                </a:cubicBezTo>
                <a:cubicBezTo>
                  <a:pt x="636" y="595"/>
                  <a:pt x="636" y="595"/>
                  <a:pt x="636" y="593"/>
                </a:cubicBezTo>
                <a:cubicBezTo>
                  <a:pt x="636" y="593"/>
                  <a:pt x="636" y="593"/>
                  <a:pt x="636" y="592"/>
                </a:cubicBezTo>
                <a:cubicBezTo>
                  <a:pt x="636" y="592"/>
                  <a:pt x="636" y="592"/>
                  <a:pt x="635" y="591"/>
                </a:cubicBezTo>
                <a:cubicBezTo>
                  <a:pt x="635" y="591"/>
                  <a:pt x="635" y="591"/>
                  <a:pt x="635" y="590"/>
                </a:cubicBezTo>
                <a:cubicBezTo>
                  <a:pt x="635" y="590"/>
                  <a:pt x="635" y="590"/>
                  <a:pt x="635" y="589"/>
                </a:cubicBezTo>
                <a:cubicBezTo>
                  <a:pt x="635" y="589"/>
                  <a:pt x="635" y="589"/>
                  <a:pt x="635" y="588"/>
                </a:cubicBezTo>
                <a:cubicBezTo>
                  <a:pt x="635" y="588"/>
                  <a:pt x="635" y="588"/>
                  <a:pt x="634" y="587"/>
                </a:cubicBezTo>
                <a:cubicBezTo>
                  <a:pt x="634" y="587"/>
                  <a:pt x="634" y="587"/>
                  <a:pt x="634" y="586"/>
                </a:cubicBezTo>
                <a:cubicBezTo>
                  <a:pt x="634" y="586"/>
                  <a:pt x="634" y="586"/>
                  <a:pt x="634" y="585"/>
                </a:cubicBezTo>
                <a:cubicBezTo>
                  <a:pt x="634" y="585"/>
                  <a:pt x="634" y="585"/>
                  <a:pt x="632" y="583"/>
                </a:cubicBezTo>
                <a:cubicBezTo>
                  <a:pt x="632" y="583"/>
                  <a:pt x="632" y="583"/>
                  <a:pt x="632" y="582"/>
                </a:cubicBezTo>
                <a:cubicBezTo>
                  <a:pt x="632" y="582"/>
                  <a:pt x="632" y="582"/>
                  <a:pt x="632" y="581"/>
                </a:cubicBezTo>
                <a:cubicBezTo>
                  <a:pt x="632" y="581"/>
                  <a:pt x="632" y="581"/>
                  <a:pt x="633" y="581"/>
                </a:cubicBezTo>
                <a:cubicBezTo>
                  <a:pt x="633" y="581"/>
                  <a:pt x="633" y="581"/>
                  <a:pt x="632" y="580"/>
                </a:cubicBezTo>
                <a:cubicBezTo>
                  <a:pt x="632" y="580"/>
                  <a:pt x="632" y="580"/>
                  <a:pt x="631" y="578"/>
                </a:cubicBezTo>
                <a:cubicBezTo>
                  <a:pt x="631" y="578"/>
                  <a:pt x="631" y="578"/>
                  <a:pt x="630" y="575"/>
                </a:cubicBezTo>
                <a:cubicBezTo>
                  <a:pt x="630" y="575"/>
                  <a:pt x="630" y="575"/>
                  <a:pt x="630" y="574"/>
                </a:cubicBezTo>
                <a:cubicBezTo>
                  <a:pt x="630" y="573"/>
                  <a:pt x="630" y="573"/>
                  <a:pt x="630" y="573"/>
                </a:cubicBezTo>
                <a:cubicBezTo>
                  <a:pt x="630" y="571"/>
                  <a:pt x="630" y="571"/>
                  <a:pt x="630" y="571"/>
                </a:cubicBezTo>
                <a:cubicBezTo>
                  <a:pt x="630" y="569"/>
                  <a:pt x="630" y="569"/>
                  <a:pt x="630" y="569"/>
                </a:cubicBezTo>
                <a:cubicBezTo>
                  <a:pt x="628" y="566"/>
                  <a:pt x="628" y="566"/>
                  <a:pt x="628" y="566"/>
                </a:cubicBezTo>
                <a:cubicBezTo>
                  <a:pt x="627" y="564"/>
                  <a:pt x="627" y="564"/>
                  <a:pt x="627" y="564"/>
                </a:cubicBezTo>
                <a:cubicBezTo>
                  <a:pt x="626" y="565"/>
                  <a:pt x="626" y="565"/>
                  <a:pt x="626" y="565"/>
                </a:cubicBezTo>
                <a:cubicBezTo>
                  <a:pt x="625" y="565"/>
                  <a:pt x="625" y="565"/>
                  <a:pt x="625" y="565"/>
                </a:cubicBezTo>
                <a:cubicBezTo>
                  <a:pt x="625" y="564"/>
                  <a:pt x="625" y="564"/>
                  <a:pt x="625" y="564"/>
                </a:cubicBezTo>
                <a:cubicBezTo>
                  <a:pt x="625" y="563"/>
                  <a:pt x="625" y="563"/>
                  <a:pt x="625" y="563"/>
                </a:cubicBezTo>
                <a:cubicBezTo>
                  <a:pt x="623" y="562"/>
                  <a:pt x="623" y="562"/>
                  <a:pt x="623" y="562"/>
                </a:cubicBezTo>
                <a:cubicBezTo>
                  <a:pt x="622" y="562"/>
                  <a:pt x="622" y="562"/>
                  <a:pt x="622" y="562"/>
                </a:cubicBezTo>
                <a:cubicBezTo>
                  <a:pt x="620" y="561"/>
                  <a:pt x="620" y="561"/>
                  <a:pt x="620" y="561"/>
                </a:cubicBezTo>
                <a:cubicBezTo>
                  <a:pt x="620" y="560"/>
                  <a:pt x="620" y="560"/>
                  <a:pt x="620" y="560"/>
                </a:cubicBezTo>
                <a:cubicBezTo>
                  <a:pt x="619" y="559"/>
                  <a:pt x="619" y="559"/>
                  <a:pt x="619" y="559"/>
                </a:cubicBezTo>
                <a:cubicBezTo>
                  <a:pt x="618" y="559"/>
                  <a:pt x="618" y="559"/>
                  <a:pt x="618" y="559"/>
                </a:cubicBezTo>
                <a:cubicBezTo>
                  <a:pt x="617" y="559"/>
                  <a:pt x="617" y="559"/>
                  <a:pt x="617" y="559"/>
                </a:cubicBezTo>
                <a:cubicBezTo>
                  <a:pt x="616" y="558"/>
                  <a:pt x="616" y="558"/>
                  <a:pt x="616" y="558"/>
                </a:cubicBezTo>
                <a:cubicBezTo>
                  <a:pt x="615" y="558"/>
                  <a:pt x="615" y="558"/>
                  <a:pt x="615" y="558"/>
                </a:cubicBezTo>
                <a:cubicBezTo>
                  <a:pt x="612" y="558"/>
                  <a:pt x="612" y="558"/>
                  <a:pt x="612" y="558"/>
                </a:cubicBezTo>
                <a:cubicBezTo>
                  <a:pt x="611" y="557"/>
                  <a:pt x="611" y="557"/>
                  <a:pt x="611" y="557"/>
                </a:cubicBezTo>
                <a:cubicBezTo>
                  <a:pt x="612" y="556"/>
                  <a:pt x="612" y="556"/>
                  <a:pt x="612" y="556"/>
                </a:cubicBezTo>
                <a:cubicBezTo>
                  <a:pt x="612" y="555"/>
                  <a:pt x="612" y="555"/>
                  <a:pt x="612" y="555"/>
                </a:cubicBezTo>
                <a:cubicBezTo>
                  <a:pt x="613" y="554"/>
                  <a:pt x="613" y="554"/>
                  <a:pt x="613" y="554"/>
                </a:cubicBezTo>
                <a:cubicBezTo>
                  <a:pt x="612" y="552"/>
                  <a:pt x="612" y="552"/>
                  <a:pt x="612" y="552"/>
                </a:cubicBezTo>
                <a:cubicBezTo>
                  <a:pt x="611" y="551"/>
                  <a:pt x="611" y="551"/>
                  <a:pt x="611" y="551"/>
                </a:cubicBezTo>
                <a:cubicBezTo>
                  <a:pt x="611" y="550"/>
                  <a:pt x="611" y="550"/>
                  <a:pt x="611" y="550"/>
                </a:cubicBezTo>
                <a:cubicBezTo>
                  <a:pt x="610" y="549"/>
                  <a:pt x="610" y="549"/>
                  <a:pt x="610" y="549"/>
                </a:cubicBezTo>
                <a:cubicBezTo>
                  <a:pt x="608" y="546"/>
                  <a:pt x="608" y="546"/>
                  <a:pt x="608" y="546"/>
                </a:cubicBezTo>
                <a:cubicBezTo>
                  <a:pt x="608" y="544"/>
                  <a:pt x="608" y="544"/>
                  <a:pt x="608" y="544"/>
                </a:cubicBezTo>
                <a:cubicBezTo>
                  <a:pt x="607" y="543"/>
                  <a:pt x="607" y="543"/>
                  <a:pt x="607" y="543"/>
                </a:cubicBezTo>
                <a:cubicBezTo>
                  <a:pt x="607" y="542"/>
                  <a:pt x="607" y="542"/>
                  <a:pt x="607" y="542"/>
                </a:cubicBezTo>
                <a:cubicBezTo>
                  <a:pt x="607" y="541"/>
                  <a:pt x="607" y="541"/>
                  <a:pt x="607" y="541"/>
                </a:cubicBezTo>
                <a:cubicBezTo>
                  <a:pt x="607" y="540"/>
                  <a:pt x="607" y="540"/>
                  <a:pt x="607" y="540"/>
                </a:cubicBezTo>
                <a:cubicBezTo>
                  <a:pt x="607" y="539"/>
                  <a:pt x="607" y="539"/>
                  <a:pt x="607" y="539"/>
                </a:cubicBezTo>
                <a:cubicBezTo>
                  <a:pt x="608" y="538"/>
                  <a:pt x="608" y="538"/>
                  <a:pt x="608" y="538"/>
                </a:cubicBezTo>
                <a:cubicBezTo>
                  <a:pt x="608" y="537"/>
                  <a:pt x="608" y="537"/>
                  <a:pt x="608" y="537"/>
                </a:cubicBezTo>
                <a:cubicBezTo>
                  <a:pt x="607" y="537"/>
                  <a:pt x="607" y="537"/>
                  <a:pt x="607" y="537"/>
                </a:cubicBezTo>
                <a:cubicBezTo>
                  <a:pt x="607" y="536"/>
                  <a:pt x="607" y="536"/>
                  <a:pt x="607" y="536"/>
                </a:cubicBezTo>
                <a:cubicBezTo>
                  <a:pt x="606" y="535"/>
                  <a:pt x="606" y="535"/>
                  <a:pt x="606" y="535"/>
                </a:cubicBezTo>
                <a:cubicBezTo>
                  <a:pt x="606" y="534"/>
                  <a:pt x="606" y="534"/>
                  <a:pt x="606" y="534"/>
                </a:cubicBezTo>
                <a:cubicBezTo>
                  <a:pt x="606" y="533"/>
                  <a:pt x="606" y="533"/>
                  <a:pt x="606" y="533"/>
                </a:cubicBezTo>
                <a:cubicBezTo>
                  <a:pt x="606" y="532"/>
                  <a:pt x="606" y="532"/>
                  <a:pt x="606" y="532"/>
                </a:cubicBezTo>
                <a:cubicBezTo>
                  <a:pt x="606" y="531"/>
                  <a:pt x="606" y="531"/>
                  <a:pt x="606" y="531"/>
                </a:cubicBezTo>
                <a:cubicBezTo>
                  <a:pt x="606" y="530"/>
                  <a:pt x="606" y="530"/>
                  <a:pt x="606" y="530"/>
                </a:cubicBezTo>
                <a:cubicBezTo>
                  <a:pt x="607" y="530"/>
                  <a:pt x="607" y="530"/>
                  <a:pt x="607" y="530"/>
                </a:cubicBezTo>
                <a:cubicBezTo>
                  <a:pt x="608" y="531"/>
                  <a:pt x="608" y="531"/>
                  <a:pt x="608" y="531"/>
                </a:cubicBezTo>
                <a:cubicBezTo>
                  <a:pt x="608" y="530"/>
                  <a:pt x="608" y="530"/>
                  <a:pt x="608" y="530"/>
                </a:cubicBezTo>
                <a:cubicBezTo>
                  <a:pt x="608" y="529"/>
                  <a:pt x="608" y="529"/>
                  <a:pt x="608" y="529"/>
                </a:cubicBezTo>
                <a:cubicBezTo>
                  <a:pt x="607" y="528"/>
                  <a:pt x="607" y="528"/>
                  <a:pt x="607" y="528"/>
                </a:cubicBezTo>
                <a:cubicBezTo>
                  <a:pt x="607" y="527"/>
                  <a:pt x="607" y="527"/>
                  <a:pt x="607" y="527"/>
                </a:cubicBezTo>
                <a:cubicBezTo>
                  <a:pt x="608" y="527"/>
                  <a:pt x="608" y="527"/>
                  <a:pt x="608" y="527"/>
                </a:cubicBezTo>
                <a:cubicBezTo>
                  <a:pt x="608" y="528"/>
                  <a:pt x="608" y="528"/>
                  <a:pt x="608" y="528"/>
                </a:cubicBezTo>
                <a:cubicBezTo>
                  <a:pt x="609" y="528"/>
                  <a:pt x="609" y="528"/>
                  <a:pt x="609" y="528"/>
                </a:cubicBezTo>
                <a:cubicBezTo>
                  <a:pt x="611" y="527"/>
                  <a:pt x="611" y="527"/>
                  <a:pt x="611" y="527"/>
                </a:cubicBezTo>
                <a:cubicBezTo>
                  <a:pt x="609" y="527"/>
                  <a:pt x="609" y="527"/>
                  <a:pt x="609" y="527"/>
                </a:cubicBezTo>
                <a:cubicBezTo>
                  <a:pt x="608" y="527"/>
                  <a:pt x="608" y="527"/>
                  <a:pt x="608" y="527"/>
                </a:cubicBezTo>
                <a:cubicBezTo>
                  <a:pt x="608" y="526"/>
                  <a:pt x="608" y="526"/>
                  <a:pt x="608" y="526"/>
                </a:cubicBezTo>
                <a:cubicBezTo>
                  <a:pt x="607" y="526"/>
                  <a:pt x="607" y="526"/>
                  <a:pt x="607" y="526"/>
                </a:cubicBezTo>
                <a:cubicBezTo>
                  <a:pt x="606" y="526"/>
                  <a:pt x="606" y="526"/>
                  <a:pt x="606" y="526"/>
                </a:cubicBezTo>
                <a:cubicBezTo>
                  <a:pt x="606" y="527"/>
                  <a:pt x="606" y="527"/>
                  <a:pt x="606" y="527"/>
                </a:cubicBezTo>
                <a:cubicBezTo>
                  <a:pt x="606" y="528"/>
                  <a:pt x="606" y="528"/>
                  <a:pt x="606" y="528"/>
                </a:cubicBezTo>
                <a:cubicBezTo>
                  <a:pt x="605" y="528"/>
                  <a:pt x="605" y="528"/>
                  <a:pt x="605" y="528"/>
                </a:cubicBezTo>
                <a:cubicBezTo>
                  <a:pt x="604" y="527"/>
                  <a:pt x="604" y="527"/>
                  <a:pt x="604" y="527"/>
                </a:cubicBezTo>
                <a:cubicBezTo>
                  <a:pt x="604" y="526"/>
                  <a:pt x="604" y="526"/>
                  <a:pt x="604" y="526"/>
                </a:cubicBezTo>
                <a:cubicBezTo>
                  <a:pt x="604" y="525"/>
                  <a:pt x="604" y="525"/>
                  <a:pt x="604" y="525"/>
                </a:cubicBezTo>
                <a:cubicBezTo>
                  <a:pt x="604" y="524"/>
                  <a:pt x="604" y="524"/>
                  <a:pt x="604" y="524"/>
                </a:cubicBezTo>
                <a:cubicBezTo>
                  <a:pt x="601" y="520"/>
                  <a:pt x="601" y="520"/>
                  <a:pt x="601" y="520"/>
                </a:cubicBezTo>
                <a:cubicBezTo>
                  <a:pt x="601" y="519"/>
                  <a:pt x="601" y="519"/>
                  <a:pt x="601" y="519"/>
                </a:cubicBezTo>
                <a:cubicBezTo>
                  <a:pt x="601" y="518"/>
                  <a:pt x="601" y="518"/>
                  <a:pt x="601" y="518"/>
                </a:cubicBezTo>
                <a:cubicBezTo>
                  <a:pt x="602" y="517"/>
                  <a:pt x="602" y="517"/>
                  <a:pt x="602" y="517"/>
                </a:cubicBezTo>
                <a:cubicBezTo>
                  <a:pt x="601" y="516"/>
                  <a:pt x="601" y="516"/>
                  <a:pt x="601" y="516"/>
                </a:cubicBezTo>
                <a:cubicBezTo>
                  <a:pt x="601" y="515"/>
                  <a:pt x="601" y="515"/>
                  <a:pt x="601" y="515"/>
                </a:cubicBezTo>
                <a:cubicBezTo>
                  <a:pt x="601" y="514"/>
                  <a:pt x="601" y="514"/>
                  <a:pt x="601" y="514"/>
                </a:cubicBezTo>
                <a:cubicBezTo>
                  <a:pt x="602" y="513"/>
                  <a:pt x="602" y="513"/>
                  <a:pt x="602" y="513"/>
                </a:cubicBezTo>
                <a:cubicBezTo>
                  <a:pt x="602" y="512"/>
                  <a:pt x="602" y="512"/>
                  <a:pt x="602" y="512"/>
                </a:cubicBezTo>
                <a:cubicBezTo>
                  <a:pt x="602" y="509"/>
                  <a:pt x="602" y="509"/>
                  <a:pt x="602" y="509"/>
                </a:cubicBezTo>
                <a:cubicBezTo>
                  <a:pt x="601" y="507"/>
                  <a:pt x="601" y="507"/>
                  <a:pt x="601" y="507"/>
                </a:cubicBezTo>
                <a:cubicBezTo>
                  <a:pt x="600" y="505"/>
                  <a:pt x="600" y="505"/>
                  <a:pt x="600" y="505"/>
                </a:cubicBezTo>
                <a:cubicBezTo>
                  <a:pt x="600" y="504"/>
                  <a:pt x="600" y="504"/>
                  <a:pt x="600" y="504"/>
                </a:cubicBezTo>
                <a:cubicBezTo>
                  <a:pt x="600" y="502"/>
                  <a:pt x="600" y="502"/>
                  <a:pt x="600" y="502"/>
                </a:cubicBezTo>
                <a:cubicBezTo>
                  <a:pt x="602" y="501"/>
                  <a:pt x="602" y="501"/>
                  <a:pt x="602" y="501"/>
                </a:cubicBezTo>
                <a:cubicBezTo>
                  <a:pt x="603" y="499"/>
                  <a:pt x="603" y="499"/>
                  <a:pt x="603" y="499"/>
                </a:cubicBezTo>
                <a:cubicBezTo>
                  <a:pt x="602" y="499"/>
                  <a:pt x="602" y="499"/>
                  <a:pt x="602" y="499"/>
                </a:cubicBezTo>
                <a:cubicBezTo>
                  <a:pt x="602" y="498"/>
                  <a:pt x="602" y="498"/>
                  <a:pt x="602" y="498"/>
                </a:cubicBezTo>
                <a:cubicBezTo>
                  <a:pt x="603" y="498"/>
                  <a:pt x="603" y="498"/>
                  <a:pt x="603" y="498"/>
                </a:cubicBezTo>
                <a:cubicBezTo>
                  <a:pt x="604" y="496"/>
                  <a:pt x="604" y="496"/>
                  <a:pt x="604" y="496"/>
                </a:cubicBezTo>
                <a:cubicBezTo>
                  <a:pt x="604" y="494"/>
                  <a:pt x="604" y="494"/>
                  <a:pt x="604" y="494"/>
                </a:cubicBezTo>
                <a:cubicBezTo>
                  <a:pt x="603" y="492"/>
                  <a:pt x="603" y="492"/>
                  <a:pt x="603" y="492"/>
                </a:cubicBezTo>
                <a:cubicBezTo>
                  <a:pt x="604" y="491"/>
                  <a:pt x="604" y="491"/>
                  <a:pt x="604" y="491"/>
                </a:cubicBezTo>
                <a:cubicBezTo>
                  <a:pt x="604" y="490"/>
                  <a:pt x="604" y="490"/>
                  <a:pt x="604" y="490"/>
                </a:cubicBezTo>
                <a:cubicBezTo>
                  <a:pt x="603" y="489"/>
                  <a:pt x="603" y="489"/>
                  <a:pt x="603" y="489"/>
                </a:cubicBezTo>
                <a:cubicBezTo>
                  <a:pt x="603" y="488"/>
                  <a:pt x="603" y="488"/>
                  <a:pt x="603" y="488"/>
                </a:cubicBezTo>
                <a:cubicBezTo>
                  <a:pt x="604" y="485"/>
                  <a:pt x="604" y="485"/>
                  <a:pt x="604" y="485"/>
                </a:cubicBezTo>
                <a:cubicBezTo>
                  <a:pt x="604" y="483"/>
                  <a:pt x="604" y="483"/>
                  <a:pt x="604" y="483"/>
                </a:cubicBezTo>
                <a:cubicBezTo>
                  <a:pt x="604" y="482"/>
                  <a:pt x="604" y="482"/>
                  <a:pt x="604" y="482"/>
                </a:cubicBezTo>
                <a:cubicBezTo>
                  <a:pt x="606" y="480"/>
                  <a:pt x="606" y="480"/>
                  <a:pt x="606" y="480"/>
                </a:cubicBezTo>
                <a:cubicBezTo>
                  <a:pt x="606" y="478"/>
                  <a:pt x="606" y="478"/>
                  <a:pt x="606" y="478"/>
                </a:cubicBezTo>
                <a:cubicBezTo>
                  <a:pt x="607" y="478"/>
                  <a:pt x="607" y="478"/>
                  <a:pt x="607" y="478"/>
                </a:cubicBezTo>
                <a:cubicBezTo>
                  <a:pt x="608" y="476"/>
                  <a:pt x="608" y="476"/>
                  <a:pt x="608" y="476"/>
                </a:cubicBezTo>
                <a:cubicBezTo>
                  <a:pt x="609" y="474"/>
                  <a:pt x="609" y="474"/>
                  <a:pt x="609" y="474"/>
                </a:cubicBezTo>
                <a:cubicBezTo>
                  <a:pt x="610" y="473"/>
                  <a:pt x="610" y="473"/>
                  <a:pt x="610" y="473"/>
                </a:cubicBezTo>
                <a:cubicBezTo>
                  <a:pt x="610" y="469"/>
                  <a:pt x="610" y="469"/>
                  <a:pt x="610" y="469"/>
                </a:cubicBezTo>
                <a:cubicBezTo>
                  <a:pt x="612" y="466"/>
                  <a:pt x="612" y="466"/>
                  <a:pt x="612" y="466"/>
                </a:cubicBezTo>
                <a:cubicBezTo>
                  <a:pt x="612" y="463"/>
                  <a:pt x="612" y="463"/>
                  <a:pt x="612" y="463"/>
                </a:cubicBezTo>
                <a:cubicBezTo>
                  <a:pt x="614" y="460"/>
                  <a:pt x="614" y="460"/>
                  <a:pt x="614" y="460"/>
                </a:cubicBezTo>
                <a:cubicBezTo>
                  <a:pt x="614" y="458"/>
                  <a:pt x="614" y="458"/>
                  <a:pt x="614" y="458"/>
                </a:cubicBezTo>
                <a:cubicBezTo>
                  <a:pt x="615" y="457"/>
                  <a:pt x="615" y="457"/>
                  <a:pt x="615" y="457"/>
                </a:cubicBezTo>
                <a:cubicBezTo>
                  <a:pt x="615" y="456"/>
                  <a:pt x="615" y="456"/>
                  <a:pt x="615" y="456"/>
                </a:cubicBezTo>
                <a:cubicBezTo>
                  <a:pt x="615" y="455"/>
                  <a:pt x="615" y="455"/>
                  <a:pt x="615" y="455"/>
                </a:cubicBezTo>
                <a:cubicBezTo>
                  <a:pt x="616" y="453"/>
                  <a:pt x="616" y="453"/>
                  <a:pt x="616" y="453"/>
                </a:cubicBezTo>
                <a:cubicBezTo>
                  <a:pt x="616" y="452"/>
                  <a:pt x="616" y="452"/>
                  <a:pt x="616" y="452"/>
                </a:cubicBezTo>
                <a:cubicBezTo>
                  <a:pt x="617" y="452"/>
                  <a:pt x="617" y="452"/>
                  <a:pt x="617" y="452"/>
                </a:cubicBezTo>
                <a:cubicBezTo>
                  <a:pt x="619" y="452"/>
                  <a:pt x="619" y="452"/>
                  <a:pt x="619" y="452"/>
                </a:cubicBezTo>
                <a:cubicBezTo>
                  <a:pt x="620" y="453"/>
                  <a:pt x="620" y="453"/>
                  <a:pt x="620" y="453"/>
                </a:cubicBezTo>
                <a:cubicBezTo>
                  <a:pt x="621" y="453"/>
                  <a:pt x="621" y="453"/>
                  <a:pt x="621" y="453"/>
                </a:cubicBezTo>
                <a:cubicBezTo>
                  <a:pt x="622" y="454"/>
                  <a:pt x="622" y="454"/>
                  <a:pt x="622" y="454"/>
                </a:cubicBezTo>
                <a:cubicBezTo>
                  <a:pt x="623" y="455"/>
                  <a:pt x="623" y="455"/>
                  <a:pt x="623" y="455"/>
                </a:cubicBezTo>
                <a:cubicBezTo>
                  <a:pt x="623" y="453"/>
                  <a:pt x="623" y="453"/>
                  <a:pt x="623" y="453"/>
                </a:cubicBezTo>
                <a:cubicBezTo>
                  <a:pt x="622" y="453"/>
                  <a:pt x="622" y="453"/>
                  <a:pt x="622" y="453"/>
                </a:cubicBezTo>
                <a:cubicBezTo>
                  <a:pt x="621" y="452"/>
                  <a:pt x="621" y="452"/>
                  <a:pt x="621" y="452"/>
                </a:cubicBezTo>
                <a:cubicBezTo>
                  <a:pt x="620" y="451"/>
                  <a:pt x="620" y="451"/>
                  <a:pt x="620" y="451"/>
                </a:cubicBezTo>
                <a:cubicBezTo>
                  <a:pt x="618" y="451"/>
                  <a:pt x="618" y="451"/>
                  <a:pt x="618" y="451"/>
                </a:cubicBezTo>
                <a:cubicBezTo>
                  <a:pt x="616" y="451"/>
                  <a:pt x="616" y="451"/>
                  <a:pt x="616" y="451"/>
                </a:cubicBezTo>
                <a:cubicBezTo>
                  <a:pt x="616" y="450"/>
                  <a:pt x="616" y="450"/>
                  <a:pt x="616" y="450"/>
                </a:cubicBezTo>
                <a:cubicBezTo>
                  <a:pt x="617" y="450"/>
                  <a:pt x="617" y="450"/>
                  <a:pt x="617" y="450"/>
                </a:cubicBezTo>
                <a:cubicBezTo>
                  <a:pt x="618" y="449"/>
                  <a:pt x="618" y="449"/>
                  <a:pt x="618" y="449"/>
                </a:cubicBezTo>
                <a:cubicBezTo>
                  <a:pt x="618" y="448"/>
                  <a:pt x="618" y="448"/>
                  <a:pt x="618" y="448"/>
                </a:cubicBezTo>
                <a:cubicBezTo>
                  <a:pt x="618" y="447"/>
                  <a:pt x="618" y="447"/>
                  <a:pt x="618" y="447"/>
                </a:cubicBezTo>
                <a:cubicBezTo>
                  <a:pt x="617" y="446"/>
                  <a:pt x="617" y="446"/>
                  <a:pt x="617" y="446"/>
                </a:cubicBezTo>
                <a:cubicBezTo>
                  <a:pt x="617" y="445"/>
                  <a:pt x="617" y="445"/>
                  <a:pt x="617" y="445"/>
                </a:cubicBezTo>
                <a:cubicBezTo>
                  <a:pt x="618" y="445"/>
                  <a:pt x="618" y="445"/>
                  <a:pt x="618" y="445"/>
                </a:cubicBezTo>
                <a:cubicBezTo>
                  <a:pt x="618" y="444"/>
                  <a:pt x="618" y="444"/>
                  <a:pt x="618" y="444"/>
                </a:cubicBezTo>
                <a:cubicBezTo>
                  <a:pt x="617" y="444"/>
                  <a:pt x="617" y="444"/>
                  <a:pt x="617" y="444"/>
                </a:cubicBezTo>
                <a:cubicBezTo>
                  <a:pt x="617" y="443"/>
                  <a:pt x="617" y="443"/>
                  <a:pt x="617" y="443"/>
                </a:cubicBezTo>
                <a:cubicBezTo>
                  <a:pt x="617" y="441"/>
                  <a:pt x="617" y="441"/>
                  <a:pt x="617" y="441"/>
                </a:cubicBezTo>
                <a:cubicBezTo>
                  <a:pt x="617" y="440"/>
                  <a:pt x="617" y="440"/>
                  <a:pt x="617" y="440"/>
                </a:cubicBezTo>
                <a:cubicBezTo>
                  <a:pt x="618" y="436"/>
                  <a:pt x="618" y="436"/>
                  <a:pt x="618" y="436"/>
                </a:cubicBezTo>
                <a:cubicBezTo>
                  <a:pt x="617" y="434"/>
                  <a:pt x="617" y="434"/>
                  <a:pt x="617" y="434"/>
                </a:cubicBezTo>
                <a:cubicBezTo>
                  <a:pt x="617" y="433"/>
                  <a:pt x="617" y="433"/>
                  <a:pt x="617" y="433"/>
                </a:cubicBezTo>
                <a:cubicBezTo>
                  <a:pt x="618" y="431"/>
                  <a:pt x="618" y="431"/>
                  <a:pt x="618" y="431"/>
                </a:cubicBezTo>
                <a:cubicBezTo>
                  <a:pt x="618" y="429"/>
                  <a:pt x="618" y="429"/>
                  <a:pt x="618" y="429"/>
                </a:cubicBezTo>
                <a:cubicBezTo>
                  <a:pt x="619" y="429"/>
                  <a:pt x="619" y="429"/>
                  <a:pt x="619" y="429"/>
                </a:cubicBezTo>
                <a:cubicBezTo>
                  <a:pt x="621" y="432"/>
                  <a:pt x="621" y="432"/>
                  <a:pt x="621" y="432"/>
                </a:cubicBezTo>
                <a:cubicBezTo>
                  <a:pt x="623" y="433"/>
                  <a:pt x="623" y="433"/>
                  <a:pt x="623" y="433"/>
                </a:cubicBezTo>
                <a:cubicBezTo>
                  <a:pt x="626" y="433"/>
                  <a:pt x="626" y="433"/>
                  <a:pt x="626" y="433"/>
                </a:cubicBezTo>
                <a:cubicBezTo>
                  <a:pt x="627" y="433"/>
                  <a:pt x="627" y="433"/>
                  <a:pt x="627" y="433"/>
                </a:cubicBezTo>
                <a:cubicBezTo>
                  <a:pt x="627" y="434"/>
                  <a:pt x="627" y="434"/>
                  <a:pt x="627" y="434"/>
                </a:cubicBezTo>
                <a:cubicBezTo>
                  <a:pt x="628" y="434"/>
                  <a:pt x="628" y="434"/>
                  <a:pt x="628" y="434"/>
                </a:cubicBezTo>
                <a:cubicBezTo>
                  <a:pt x="629" y="434"/>
                  <a:pt x="629" y="434"/>
                  <a:pt x="629" y="434"/>
                </a:cubicBezTo>
                <a:cubicBezTo>
                  <a:pt x="629" y="435"/>
                  <a:pt x="629" y="435"/>
                  <a:pt x="629" y="435"/>
                </a:cubicBezTo>
                <a:cubicBezTo>
                  <a:pt x="629" y="436"/>
                  <a:pt x="629" y="436"/>
                  <a:pt x="629" y="436"/>
                </a:cubicBezTo>
                <a:cubicBezTo>
                  <a:pt x="627" y="436"/>
                  <a:pt x="627" y="436"/>
                  <a:pt x="627" y="436"/>
                </a:cubicBezTo>
                <a:cubicBezTo>
                  <a:pt x="626" y="437"/>
                  <a:pt x="626" y="437"/>
                  <a:pt x="626" y="437"/>
                </a:cubicBezTo>
                <a:cubicBezTo>
                  <a:pt x="626" y="438"/>
                  <a:pt x="626" y="438"/>
                  <a:pt x="626" y="438"/>
                </a:cubicBezTo>
                <a:cubicBezTo>
                  <a:pt x="627" y="438"/>
                  <a:pt x="627" y="438"/>
                  <a:pt x="627" y="438"/>
                </a:cubicBezTo>
                <a:cubicBezTo>
                  <a:pt x="628" y="437"/>
                  <a:pt x="628" y="437"/>
                  <a:pt x="628" y="437"/>
                </a:cubicBezTo>
                <a:cubicBezTo>
                  <a:pt x="629" y="436"/>
                  <a:pt x="629" y="436"/>
                  <a:pt x="629" y="436"/>
                </a:cubicBezTo>
                <a:cubicBezTo>
                  <a:pt x="630" y="437"/>
                  <a:pt x="630" y="437"/>
                  <a:pt x="630" y="437"/>
                </a:cubicBezTo>
                <a:cubicBezTo>
                  <a:pt x="629" y="438"/>
                  <a:pt x="629" y="438"/>
                  <a:pt x="629" y="438"/>
                </a:cubicBezTo>
                <a:cubicBezTo>
                  <a:pt x="628" y="439"/>
                  <a:pt x="628" y="439"/>
                  <a:pt x="628" y="439"/>
                </a:cubicBezTo>
                <a:cubicBezTo>
                  <a:pt x="628" y="441"/>
                  <a:pt x="628" y="441"/>
                  <a:pt x="628" y="441"/>
                </a:cubicBezTo>
                <a:cubicBezTo>
                  <a:pt x="627" y="441"/>
                  <a:pt x="627" y="441"/>
                  <a:pt x="627" y="441"/>
                </a:cubicBezTo>
                <a:cubicBezTo>
                  <a:pt x="627" y="440"/>
                  <a:pt x="627" y="440"/>
                  <a:pt x="627" y="440"/>
                </a:cubicBezTo>
                <a:cubicBezTo>
                  <a:pt x="626" y="441"/>
                  <a:pt x="626" y="441"/>
                  <a:pt x="626" y="441"/>
                </a:cubicBezTo>
                <a:cubicBezTo>
                  <a:pt x="625" y="442"/>
                  <a:pt x="625" y="442"/>
                  <a:pt x="625" y="442"/>
                </a:cubicBezTo>
                <a:cubicBezTo>
                  <a:pt x="626" y="442"/>
                  <a:pt x="626" y="442"/>
                  <a:pt x="626" y="442"/>
                </a:cubicBezTo>
                <a:cubicBezTo>
                  <a:pt x="627" y="443"/>
                  <a:pt x="627" y="443"/>
                  <a:pt x="627" y="443"/>
                </a:cubicBezTo>
                <a:cubicBezTo>
                  <a:pt x="628" y="442"/>
                  <a:pt x="628" y="442"/>
                  <a:pt x="628" y="442"/>
                </a:cubicBezTo>
                <a:cubicBezTo>
                  <a:pt x="628" y="441"/>
                  <a:pt x="628" y="441"/>
                  <a:pt x="628" y="441"/>
                </a:cubicBezTo>
                <a:cubicBezTo>
                  <a:pt x="629" y="440"/>
                  <a:pt x="629" y="440"/>
                  <a:pt x="629" y="440"/>
                </a:cubicBezTo>
                <a:cubicBezTo>
                  <a:pt x="629" y="439"/>
                  <a:pt x="629" y="439"/>
                  <a:pt x="629" y="439"/>
                </a:cubicBezTo>
                <a:cubicBezTo>
                  <a:pt x="630" y="438"/>
                  <a:pt x="630" y="438"/>
                  <a:pt x="630" y="438"/>
                </a:cubicBezTo>
                <a:cubicBezTo>
                  <a:pt x="630" y="437"/>
                  <a:pt x="630" y="437"/>
                  <a:pt x="630" y="437"/>
                </a:cubicBezTo>
                <a:cubicBezTo>
                  <a:pt x="631" y="436"/>
                  <a:pt x="631" y="436"/>
                  <a:pt x="631" y="436"/>
                </a:cubicBezTo>
                <a:cubicBezTo>
                  <a:pt x="632" y="435"/>
                  <a:pt x="632" y="435"/>
                  <a:pt x="632" y="435"/>
                </a:cubicBezTo>
                <a:cubicBezTo>
                  <a:pt x="632" y="434"/>
                  <a:pt x="632" y="434"/>
                  <a:pt x="632" y="434"/>
                </a:cubicBezTo>
                <a:cubicBezTo>
                  <a:pt x="632" y="433"/>
                  <a:pt x="632" y="433"/>
                  <a:pt x="632" y="433"/>
                </a:cubicBezTo>
                <a:cubicBezTo>
                  <a:pt x="631" y="433"/>
                  <a:pt x="631" y="433"/>
                  <a:pt x="631" y="433"/>
                </a:cubicBezTo>
                <a:cubicBezTo>
                  <a:pt x="632" y="432"/>
                  <a:pt x="632" y="432"/>
                  <a:pt x="632" y="432"/>
                </a:cubicBezTo>
                <a:cubicBezTo>
                  <a:pt x="632" y="431"/>
                  <a:pt x="632" y="431"/>
                  <a:pt x="632" y="431"/>
                </a:cubicBezTo>
                <a:cubicBezTo>
                  <a:pt x="631" y="429"/>
                  <a:pt x="631" y="429"/>
                  <a:pt x="631" y="429"/>
                </a:cubicBezTo>
                <a:cubicBezTo>
                  <a:pt x="632" y="429"/>
                  <a:pt x="632" y="429"/>
                  <a:pt x="632" y="429"/>
                </a:cubicBezTo>
                <a:cubicBezTo>
                  <a:pt x="633" y="428"/>
                  <a:pt x="633" y="428"/>
                  <a:pt x="633" y="428"/>
                </a:cubicBezTo>
                <a:cubicBezTo>
                  <a:pt x="631" y="427"/>
                  <a:pt x="631" y="427"/>
                  <a:pt x="631" y="427"/>
                </a:cubicBezTo>
                <a:cubicBezTo>
                  <a:pt x="631" y="425"/>
                  <a:pt x="631" y="425"/>
                  <a:pt x="631" y="425"/>
                </a:cubicBezTo>
                <a:cubicBezTo>
                  <a:pt x="630" y="424"/>
                  <a:pt x="630" y="424"/>
                  <a:pt x="630" y="424"/>
                </a:cubicBezTo>
                <a:cubicBezTo>
                  <a:pt x="629" y="422"/>
                  <a:pt x="629" y="422"/>
                  <a:pt x="629" y="422"/>
                </a:cubicBezTo>
                <a:cubicBezTo>
                  <a:pt x="631" y="420"/>
                  <a:pt x="631" y="420"/>
                  <a:pt x="631" y="420"/>
                </a:cubicBezTo>
                <a:cubicBezTo>
                  <a:pt x="631" y="418"/>
                  <a:pt x="631" y="418"/>
                  <a:pt x="631" y="418"/>
                </a:cubicBezTo>
                <a:cubicBezTo>
                  <a:pt x="630" y="419"/>
                  <a:pt x="630" y="419"/>
                  <a:pt x="630" y="419"/>
                </a:cubicBezTo>
                <a:cubicBezTo>
                  <a:pt x="629" y="419"/>
                  <a:pt x="629" y="419"/>
                  <a:pt x="629" y="419"/>
                </a:cubicBezTo>
                <a:cubicBezTo>
                  <a:pt x="627" y="420"/>
                  <a:pt x="627" y="420"/>
                  <a:pt x="627" y="420"/>
                </a:cubicBezTo>
                <a:cubicBezTo>
                  <a:pt x="626" y="419"/>
                  <a:pt x="626" y="419"/>
                  <a:pt x="626" y="419"/>
                </a:cubicBezTo>
                <a:cubicBezTo>
                  <a:pt x="626" y="417"/>
                  <a:pt x="626" y="417"/>
                  <a:pt x="626" y="417"/>
                </a:cubicBezTo>
                <a:cubicBezTo>
                  <a:pt x="627" y="417"/>
                  <a:pt x="627" y="417"/>
                  <a:pt x="627" y="417"/>
                </a:cubicBezTo>
                <a:cubicBezTo>
                  <a:pt x="627" y="418"/>
                  <a:pt x="627" y="418"/>
                  <a:pt x="627" y="418"/>
                </a:cubicBezTo>
                <a:cubicBezTo>
                  <a:pt x="628" y="419"/>
                  <a:pt x="628" y="419"/>
                  <a:pt x="628" y="419"/>
                </a:cubicBezTo>
                <a:cubicBezTo>
                  <a:pt x="628" y="418"/>
                  <a:pt x="628" y="418"/>
                  <a:pt x="628" y="418"/>
                </a:cubicBezTo>
                <a:cubicBezTo>
                  <a:pt x="627" y="417"/>
                  <a:pt x="627" y="417"/>
                  <a:pt x="627" y="417"/>
                </a:cubicBezTo>
                <a:cubicBezTo>
                  <a:pt x="627" y="416"/>
                  <a:pt x="627" y="416"/>
                  <a:pt x="627" y="416"/>
                </a:cubicBezTo>
                <a:cubicBezTo>
                  <a:pt x="626" y="416"/>
                  <a:pt x="626" y="416"/>
                  <a:pt x="626" y="416"/>
                </a:cubicBezTo>
                <a:cubicBezTo>
                  <a:pt x="625" y="416"/>
                  <a:pt x="625" y="416"/>
                  <a:pt x="625" y="416"/>
                </a:cubicBezTo>
                <a:cubicBezTo>
                  <a:pt x="624" y="416"/>
                  <a:pt x="624" y="416"/>
                  <a:pt x="624" y="416"/>
                </a:cubicBezTo>
                <a:cubicBezTo>
                  <a:pt x="623" y="414"/>
                  <a:pt x="623" y="414"/>
                  <a:pt x="623" y="414"/>
                </a:cubicBezTo>
                <a:cubicBezTo>
                  <a:pt x="623" y="413"/>
                  <a:pt x="623" y="413"/>
                  <a:pt x="623" y="413"/>
                </a:cubicBezTo>
                <a:cubicBezTo>
                  <a:pt x="625" y="412"/>
                  <a:pt x="625" y="412"/>
                  <a:pt x="625" y="412"/>
                </a:cubicBezTo>
                <a:cubicBezTo>
                  <a:pt x="625" y="411"/>
                  <a:pt x="625" y="411"/>
                  <a:pt x="625" y="411"/>
                </a:cubicBezTo>
                <a:cubicBezTo>
                  <a:pt x="626" y="410"/>
                  <a:pt x="626" y="410"/>
                  <a:pt x="626" y="410"/>
                </a:cubicBezTo>
                <a:cubicBezTo>
                  <a:pt x="625" y="410"/>
                  <a:pt x="625" y="410"/>
                  <a:pt x="625" y="410"/>
                </a:cubicBezTo>
                <a:cubicBezTo>
                  <a:pt x="623" y="410"/>
                  <a:pt x="623" y="410"/>
                  <a:pt x="623" y="410"/>
                </a:cubicBezTo>
                <a:cubicBezTo>
                  <a:pt x="624" y="409"/>
                  <a:pt x="624" y="409"/>
                  <a:pt x="624" y="409"/>
                </a:cubicBezTo>
                <a:cubicBezTo>
                  <a:pt x="625" y="407"/>
                  <a:pt x="625" y="407"/>
                  <a:pt x="625" y="407"/>
                </a:cubicBezTo>
                <a:cubicBezTo>
                  <a:pt x="625" y="405"/>
                  <a:pt x="625" y="405"/>
                  <a:pt x="625" y="405"/>
                </a:cubicBezTo>
                <a:cubicBezTo>
                  <a:pt x="625" y="404"/>
                  <a:pt x="625" y="404"/>
                  <a:pt x="625" y="404"/>
                </a:cubicBezTo>
                <a:cubicBezTo>
                  <a:pt x="624" y="405"/>
                  <a:pt x="624" y="405"/>
                  <a:pt x="624" y="405"/>
                </a:cubicBezTo>
                <a:cubicBezTo>
                  <a:pt x="624" y="407"/>
                  <a:pt x="624" y="407"/>
                  <a:pt x="624" y="407"/>
                </a:cubicBezTo>
                <a:cubicBezTo>
                  <a:pt x="623" y="409"/>
                  <a:pt x="623" y="409"/>
                  <a:pt x="623" y="409"/>
                </a:cubicBezTo>
                <a:cubicBezTo>
                  <a:pt x="622" y="409"/>
                  <a:pt x="622" y="409"/>
                  <a:pt x="622" y="409"/>
                </a:cubicBezTo>
                <a:cubicBezTo>
                  <a:pt x="621" y="409"/>
                  <a:pt x="621" y="409"/>
                  <a:pt x="621" y="409"/>
                </a:cubicBezTo>
                <a:cubicBezTo>
                  <a:pt x="620" y="409"/>
                  <a:pt x="620" y="409"/>
                  <a:pt x="620" y="409"/>
                </a:cubicBezTo>
                <a:cubicBezTo>
                  <a:pt x="620" y="408"/>
                  <a:pt x="620" y="408"/>
                  <a:pt x="620" y="408"/>
                </a:cubicBezTo>
                <a:cubicBezTo>
                  <a:pt x="621" y="407"/>
                  <a:pt x="621" y="407"/>
                  <a:pt x="621" y="407"/>
                </a:cubicBezTo>
                <a:cubicBezTo>
                  <a:pt x="620" y="407"/>
                  <a:pt x="620" y="407"/>
                  <a:pt x="620" y="407"/>
                </a:cubicBezTo>
                <a:cubicBezTo>
                  <a:pt x="619" y="408"/>
                  <a:pt x="619" y="408"/>
                  <a:pt x="619" y="408"/>
                </a:cubicBezTo>
                <a:cubicBezTo>
                  <a:pt x="618" y="408"/>
                  <a:pt x="618" y="408"/>
                  <a:pt x="618" y="408"/>
                </a:cubicBezTo>
                <a:cubicBezTo>
                  <a:pt x="617" y="408"/>
                  <a:pt x="617" y="408"/>
                  <a:pt x="617" y="408"/>
                </a:cubicBezTo>
                <a:cubicBezTo>
                  <a:pt x="616" y="408"/>
                  <a:pt x="616" y="408"/>
                  <a:pt x="616" y="408"/>
                </a:cubicBezTo>
                <a:cubicBezTo>
                  <a:pt x="616" y="408"/>
                  <a:pt x="616" y="408"/>
                  <a:pt x="614" y="407"/>
                </a:cubicBezTo>
                <a:cubicBezTo>
                  <a:pt x="614" y="407"/>
                  <a:pt x="614" y="407"/>
                  <a:pt x="616" y="407"/>
                </a:cubicBezTo>
                <a:cubicBezTo>
                  <a:pt x="617" y="406"/>
                  <a:pt x="617" y="406"/>
                  <a:pt x="617" y="406"/>
                </a:cubicBezTo>
                <a:cubicBezTo>
                  <a:pt x="618" y="406"/>
                  <a:pt x="618" y="406"/>
                  <a:pt x="618" y="406"/>
                </a:cubicBezTo>
                <a:cubicBezTo>
                  <a:pt x="619" y="406"/>
                  <a:pt x="619" y="406"/>
                  <a:pt x="619" y="406"/>
                </a:cubicBezTo>
                <a:cubicBezTo>
                  <a:pt x="620" y="406"/>
                  <a:pt x="620" y="406"/>
                  <a:pt x="620" y="406"/>
                </a:cubicBezTo>
                <a:cubicBezTo>
                  <a:pt x="621" y="405"/>
                  <a:pt x="621" y="405"/>
                  <a:pt x="621" y="405"/>
                </a:cubicBezTo>
                <a:cubicBezTo>
                  <a:pt x="622" y="404"/>
                  <a:pt x="622" y="404"/>
                  <a:pt x="622" y="404"/>
                </a:cubicBezTo>
                <a:cubicBezTo>
                  <a:pt x="622" y="403"/>
                  <a:pt x="622" y="403"/>
                  <a:pt x="622" y="403"/>
                </a:cubicBezTo>
                <a:cubicBezTo>
                  <a:pt x="621" y="404"/>
                  <a:pt x="621" y="404"/>
                  <a:pt x="621" y="404"/>
                </a:cubicBezTo>
                <a:cubicBezTo>
                  <a:pt x="620" y="405"/>
                  <a:pt x="620" y="405"/>
                  <a:pt x="620" y="405"/>
                </a:cubicBezTo>
                <a:cubicBezTo>
                  <a:pt x="619" y="406"/>
                  <a:pt x="619" y="406"/>
                  <a:pt x="619" y="406"/>
                </a:cubicBezTo>
                <a:cubicBezTo>
                  <a:pt x="617" y="405"/>
                  <a:pt x="617" y="405"/>
                  <a:pt x="617" y="405"/>
                </a:cubicBezTo>
                <a:cubicBezTo>
                  <a:pt x="617" y="404"/>
                  <a:pt x="617" y="404"/>
                  <a:pt x="617" y="404"/>
                </a:cubicBezTo>
                <a:cubicBezTo>
                  <a:pt x="616" y="404"/>
                  <a:pt x="616" y="404"/>
                  <a:pt x="616" y="404"/>
                </a:cubicBezTo>
                <a:cubicBezTo>
                  <a:pt x="617" y="403"/>
                  <a:pt x="617" y="403"/>
                  <a:pt x="617" y="403"/>
                </a:cubicBezTo>
                <a:cubicBezTo>
                  <a:pt x="616" y="403"/>
                  <a:pt x="616" y="403"/>
                  <a:pt x="616" y="403"/>
                </a:cubicBezTo>
                <a:cubicBezTo>
                  <a:pt x="615" y="403"/>
                  <a:pt x="615" y="403"/>
                  <a:pt x="615" y="403"/>
                </a:cubicBezTo>
                <a:cubicBezTo>
                  <a:pt x="614" y="403"/>
                  <a:pt x="614" y="403"/>
                  <a:pt x="614" y="403"/>
                </a:cubicBezTo>
                <a:cubicBezTo>
                  <a:pt x="613" y="403"/>
                  <a:pt x="613" y="403"/>
                  <a:pt x="613" y="403"/>
                </a:cubicBezTo>
                <a:cubicBezTo>
                  <a:pt x="613" y="404"/>
                  <a:pt x="613" y="404"/>
                  <a:pt x="613" y="404"/>
                </a:cubicBezTo>
                <a:cubicBezTo>
                  <a:pt x="611" y="403"/>
                  <a:pt x="611" y="403"/>
                  <a:pt x="611" y="403"/>
                </a:cubicBezTo>
                <a:cubicBezTo>
                  <a:pt x="611" y="402"/>
                  <a:pt x="611" y="402"/>
                  <a:pt x="611" y="402"/>
                </a:cubicBezTo>
                <a:cubicBezTo>
                  <a:pt x="611" y="401"/>
                  <a:pt x="611" y="401"/>
                  <a:pt x="611" y="401"/>
                </a:cubicBezTo>
                <a:cubicBezTo>
                  <a:pt x="612" y="402"/>
                  <a:pt x="612" y="402"/>
                  <a:pt x="612" y="402"/>
                </a:cubicBezTo>
                <a:cubicBezTo>
                  <a:pt x="613" y="402"/>
                  <a:pt x="613" y="402"/>
                  <a:pt x="613" y="402"/>
                </a:cubicBezTo>
                <a:cubicBezTo>
                  <a:pt x="615" y="402"/>
                  <a:pt x="615" y="402"/>
                  <a:pt x="615" y="402"/>
                </a:cubicBezTo>
                <a:cubicBezTo>
                  <a:pt x="615" y="401"/>
                  <a:pt x="615" y="401"/>
                  <a:pt x="615" y="401"/>
                </a:cubicBezTo>
                <a:cubicBezTo>
                  <a:pt x="615" y="400"/>
                  <a:pt x="615" y="400"/>
                  <a:pt x="615" y="400"/>
                </a:cubicBezTo>
                <a:cubicBezTo>
                  <a:pt x="613" y="400"/>
                  <a:pt x="613" y="400"/>
                  <a:pt x="613" y="400"/>
                </a:cubicBezTo>
                <a:cubicBezTo>
                  <a:pt x="611" y="400"/>
                  <a:pt x="611" y="400"/>
                  <a:pt x="611" y="400"/>
                </a:cubicBezTo>
                <a:cubicBezTo>
                  <a:pt x="610" y="400"/>
                  <a:pt x="610" y="400"/>
                  <a:pt x="610" y="400"/>
                </a:cubicBezTo>
                <a:cubicBezTo>
                  <a:pt x="610" y="399"/>
                  <a:pt x="610" y="399"/>
                  <a:pt x="610" y="399"/>
                </a:cubicBezTo>
                <a:cubicBezTo>
                  <a:pt x="610" y="398"/>
                  <a:pt x="610" y="398"/>
                  <a:pt x="610" y="398"/>
                </a:cubicBezTo>
                <a:cubicBezTo>
                  <a:pt x="611" y="398"/>
                  <a:pt x="611" y="398"/>
                  <a:pt x="611" y="398"/>
                </a:cubicBezTo>
                <a:cubicBezTo>
                  <a:pt x="612" y="399"/>
                  <a:pt x="612" y="399"/>
                  <a:pt x="612" y="399"/>
                </a:cubicBezTo>
                <a:cubicBezTo>
                  <a:pt x="613" y="399"/>
                  <a:pt x="613" y="399"/>
                  <a:pt x="613" y="399"/>
                </a:cubicBezTo>
                <a:cubicBezTo>
                  <a:pt x="614" y="398"/>
                  <a:pt x="614" y="398"/>
                  <a:pt x="614" y="398"/>
                </a:cubicBezTo>
                <a:cubicBezTo>
                  <a:pt x="613" y="398"/>
                  <a:pt x="613" y="398"/>
                  <a:pt x="613" y="398"/>
                </a:cubicBezTo>
                <a:cubicBezTo>
                  <a:pt x="612" y="398"/>
                  <a:pt x="612" y="398"/>
                  <a:pt x="612" y="398"/>
                </a:cubicBezTo>
                <a:cubicBezTo>
                  <a:pt x="610" y="397"/>
                  <a:pt x="610" y="397"/>
                  <a:pt x="610" y="397"/>
                </a:cubicBezTo>
                <a:cubicBezTo>
                  <a:pt x="612" y="397"/>
                  <a:pt x="612" y="397"/>
                  <a:pt x="612" y="397"/>
                </a:cubicBezTo>
                <a:cubicBezTo>
                  <a:pt x="613" y="397"/>
                  <a:pt x="613" y="397"/>
                  <a:pt x="613" y="397"/>
                </a:cubicBezTo>
                <a:cubicBezTo>
                  <a:pt x="614" y="397"/>
                  <a:pt x="614" y="397"/>
                  <a:pt x="614" y="397"/>
                </a:cubicBezTo>
                <a:cubicBezTo>
                  <a:pt x="613" y="396"/>
                  <a:pt x="613" y="396"/>
                  <a:pt x="613" y="396"/>
                </a:cubicBezTo>
                <a:cubicBezTo>
                  <a:pt x="613" y="395"/>
                  <a:pt x="613" y="395"/>
                  <a:pt x="613" y="395"/>
                </a:cubicBezTo>
                <a:cubicBezTo>
                  <a:pt x="614" y="395"/>
                  <a:pt x="614" y="395"/>
                  <a:pt x="614" y="395"/>
                </a:cubicBezTo>
                <a:cubicBezTo>
                  <a:pt x="616" y="395"/>
                  <a:pt x="616" y="395"/>
                  <a:pt x="616" y="395"/>
                </a:cubicBezTo>
                <a:cubicBezTo>
                  <a:pt x="617" y="395"/>
                  <a:pt x="617" y="395"/>
                  <a:pt x="617" y="395"/>
                </a:cubicBezTo>
                <a:cubicBezTo>
                  <a:pt x="615" y="394"/>
                  <a:pt x="615" y="394"/>
                  <a:pt x="615" y="394"/>
                </a:cubicBezTo>
                <a:cubicBezTo>
                  <a:pt x="614" y="394"/>
                  <a:pt x="614" y="394"/>
                  <a:pt x="614" y="394"/>
                </a:cubicBezTo>
                <a:cubicBezTo>
                  <a:pt x="613" y="395"/>
                  <a:pt x="613" y="395"/>
                  <a:pt x="613" y="395"/>
                </a:cubicBezTo>
                <a:cubicBezTo>
                  <a:pt x="612" y="395"/>
                  <a:pt x="612" y="395"/>
                  <a:pt x="612" y="395"/>
                </a:cubicBezTo>
                <a:cubicBezTo>
                  <a:pt x="611" y="396"/>
                  <a:pt x="611" y="396"/>
                  <a:pt x="611" y="396"/>
                </a:cubicBezTo>
                <a:cubicBezTo>
                  <a:pt x="611" y="395"/>
                  <a:pt x="611" y="395"/>
                  <a:pt x="611" y="395"/>
                </a:cubicBezTo>
                <a:cubicBezTo>
                  <a:pt x="611" y="394"/>
                  <a:pt x="611" y="394"/>
                  <a:pt x="611" y="394"/>
                </a:cubicBezTo>
                <a:cubicBezTo>
                  <a:pt x="611" y="393"/>
                  <a:pt x="611" y="393"/>
                  <a:pt x="611" y="393"/>
                </a:cubicBezTo>
                <a:cubicBezTo>
                  <a:pt x="613" y="392"/>
                  <a:pt x="613" y="392"/>
                  <a:pt x="613" y="392"/>
                </a:cubicBezTo>
                <a:cubicBezTo>
                  <a:pt x="614" y="391"/>
                  <a:pt x="614" y="391"/>
                  <a:pt x="614" y="391"/>
                </a:cubicBezTo>
                <a:cubicBezTo>
                  <a:pt x="617" y="389"/>
                  <a:pt x="617" y="389"/>
                  <a:pt x="617" y="389"/>
                </a:cubicBezTo>
                <a:cubicBezTo>
                  <a:pt x="617" y="388"/>
                  <a:pt x="617" y="388"/>
                  <a:pt x="617" y="388"/>
                </a:cubicBezTo>
                <a:cubicBezTo>
                  <a:pt x="618" y="389"/>
                  <a:pt x="618" y="389"/>
                  <a:pt x="618" y="389"/>
                </a:cubicBezTo>
                <a:cubicBezTo>
                  <a:pt x="618" y="391"/>
                  <a:pt x="618" y="391"/>
                  <a:pt x="618" y="391"/>
                </a:cubicBezTo>
                <a:cubicBezTo>
                  <a:pt x="619" y="392"/>
                  <a:pt x="619" y="392"/>
                  <a:pt x="619" y="392"/>
                </a:cubicBezTo>
                <a:cubicBezTo>
                  <a:pt x="619" y="391"/>
                  <a:pt x="619" y="391"/>
                  <a:pt x="619" y="391"/>
                </a:cubicBezTo>
                <a:cubicBezTo>
                  <a:pt x="619" y="390"/>
                  <a:pt x="619" y="390"/>
                  <a:pt x="619" y="390"/>
                </a:cubicBezTo>
                <a:cubicBezTo>
                  <a:pt x="619" y="388"/>
                  <a:pt x="619" y="388"/>
                  <a:pt x="619" y="388"/>
                </a:cubicBezTo>
                <a:cubicBezTo>
                  <a:pt x="620" y="388"/>
                  <a:pt x="620" y="388"/>
                  <a:pt x="620" y="388"/>
                </a:cubicBezTo>
                <a:cubicBezTo>
                  <a:pt x="621" y="388"/>
                  <a:pt x="621" y="388"/>
                  <a:pt x="621" y="388"/>
                </a:cubicBezTo>
                <a:cubicBezTo>
                  <a:pt x="620" y="387"/>
                  <a:pt x="620" y="387"/>
                  <a:pt x="620" y="387"/>
                </a:cubicBezTo>
                <a:cubicBezTo>
                  <a:pt x="619" y="387"/>
                  <a:pt x="619" y="387"/>
                  <a:pt x="619" y="387"/>
                </a:cubicBezTo>
                <a:cubicBezTo>
                  <a:pt x="618" y="388"/>
                  <a:pt x="618" y="388"/>
                  <a:pt x="618" y="388"/>
                </a:cubicBezTo>
                <a:cubicBezTo>
                  <a:pt x="617" y="387"/>
                  <a:pt x="617" y="387"/>
                  <a:pt x="617" y="387"/>
                </a:cubicBezTo>
                <a:cubicBezTo>
                  <a:pt x="617" y="386"/>
                  <a:pt x="617" y="386"/>
                  <a:pt x="617" y="386"/>
                </a:cubicBezTo>
                <a:cubicBezTo>
                  <a:pt x="619" y="385"/>
                  <a:pt x="619" y="385"/>
                  <a:pt x="619" y="385"/>
                </a:cubicBezTo>
                <a:cubicBezTo>
                  <a:pt x="620" y="385"/>
                  <a:pt x="620" y="385"/>
                  <a:pt x="620" y="385"/>
                </a:cubicBezTo>
                <a:cubicBezTo>
                  <a:pt x="621" y="383"/>
                  <a:pt x="621" y="383"/>
                  <a:pt x="621" y="383"/>
                </a:cubicBezTo>
                <a:cubicBezTo>
                  <a:pt x="621" y="382"/>
                  <a:pt x="621" y="382"/>
                  <a:pt x="621" y="382"/>
                </a:cubicBezTo>
                <a:cubicBezTo>
                  <a:pt x="620" y="382"/>
                  <a:pt x="620" y="382"/>
                  <a:pt x="620" y="382"/>
                </a:cubicBezTo>
                <a:cubicBezTo>
                  <a:pt x="620" y="383"/>
                  <a:pt x="620" y="383"/>
                  <a:pt x="620" y="383"/>
                </a:cubicBezTo>
                <a:cubicBezTo>
                  <a:pt x="619" y="384"/>
                  <a:pt x="619" y="384"/>
                  <a:pt x="619" y="384"/>
                </a:cubicBezTo>
                <a:cubicBezTo>
                  <a:pt x="618" y="384"/>
                  <a:pt x="618" y="384"/>
                  <a:pt x="618" y="384"/>
                </a:cubicBezTo>
                <a:cubicBezTo>
                  <a:pt x="616" y="386"/>
                  <a:pt x="616" y="386"/>
                  <a:pt x="616" y="386"/>
                </a:cubicBezTo>
                <a:cubicBezTo>
                  <a:pt x="615" y="387"/>
                  <a:pt x="615" y="387"/>
                  <a:pt x="615" y="387"/>
                </a:cubicBezTo>
                <a:cubicBezTo>
                  <a:pt x="613" y="388"/>
                  <a:pt x="613" y="388"/>
                  <a:pt x="613" y="388"/>
                </a:cubicBezTo>
                <a:cubicBezTo>
                  <a:pt x="612" y="387"/>
                  <a:pt x="612" y="387"/>
                  <a:pt x="612" y="387"/>
                </a:cubicBezTo>
                <a:cubicBezTo>
                  <a:pt x="612" y="386"/>
                  <a:pt x="612" y="386"/>
                  <a:pt x="612" y="386"/>
                </a:cubicBezTo>
                <a:cubicBezTo>
                  <a:pt x="611" y="386"/>
                  <a:pt x="611" y="386"/>
                  <a:pt x="611" y="386"/>
                </a:cubicBezTo>
                <a:cubicBezTo>
                  <a:pt x="610" y="386"/>
                  <a:pt x="610" y="386"/>
                  <a:pt x="610" y="386"/>
                </a:cubicBezTo>
                <a:cubicBezTo>
                  <a:pt x="610" y="385"/>
                  <a:pt x="610" y="385"/>
                  <a:pt x="610" y="385"/>
                </a:cubicBezTo>
                <a:cubicBezTo>
                  <a:pt x="612" y="384"/>
                  <a:pt x="612" y="384"/>
                  <a:pt x="612" y="384"/>
                </a:cubicBezTo>
                <a:cubicBezTo>
                  <a:pt x="613" y="384"/>
                  <a:pt x="613" y="384"/>
                  <a:pt x="613" y="384"/>
                </a:cubicBezTo>
                <a:cubicBezTo>
                  <a:pt x="614" y="384"/>
                  <a:pt x="614" y="384"/>
                  <a:pt x="614" y="384"/>
                </a:cubicBezTo>
                <a:cubicBezTo>
                  <a:pt x="614" y="383"/>
                  <a:pt x="614" y="383"/>
                  <a:pt x="614" y="383"/>
                </a:cubicBezTo>
                <a:cubicBezTo>
                  <a:pt x="614" y="382"/>
                  <a:pt x="614" y="382"/>
                  <a:pt x="614" y="382"/>
                </a:cubicBezTo>
                <a:cubicBezTo>
                  <a:pt x="614" y="381"/>
                  <a:pt x="614" y="381"/>
                  <a:pt x="614" y="381"/>
                </a:cubicBezTo>
                <a:cubicBezTo>
                  <a:pt x="613" y="381"/>
                  <a:pt x="613" y="381"/>
                  <a:pt x="613" y="381"/>
                </a:cubicBezTo>
                <a:cubicBezTo>
                  <a:pt x="612" y="381"/>
                  <a:pt x="612" y="381"/>
                  <a:pt x="612" y="381"/>
                </a:cubicBezTo>
                <a:cubicBezTo>
                  <a:pt x="612" y="380"/>
                  <a:pt x="612" y="380"/>
                  <a:pt x="612" y="380"/>
                </a:cubicBezTo>
                <a:cubicBezTo>
                  <a:pt x="612" y="378"/>
                  <a:pt x="612" y="378"/>
                  <a:pt x="612" y="378"/>
                </a:cubicBezTo>
                <a:cubicBezTo>
                  <a:pt x="611" y="377"/>
                  <a:pt x="611" y="377"/>
                  <a:pt x="611" y="377"/>
                </a:cubicBezTo>
                <a:cubicBezTo>
                  <a:pt x="611" y="376"/>
                  <a:pt x="611" y="376"/>
                  <a:pt x="611" y="376"/>
                </a:cubicBezTo>
                <a:cubicBezTo>
                  <a:pt x="611" y="375"/>
                  <a:pt x="611" y="375"/>
                  <a:pt x="611" y="375"/>
                </a:cubicBezTo>
                <a:cubicBezTo>
                  <a:pt x="613" y="375"/>
                  <a:pt x="613" y="375"/>
                  <a:pt x="613" y="375"/>
                </a:cubicBezTo>
                <a:cubicBezTo>
                  <a:pt x="614" y="376"/>
                  <a:pt x="614" y="376"/>
                  <a:pt x="614" y="376"/>
                </a:cubicBezTo>
                <a:cubicBezTo>
                  <a:pt x="616" y="375"/>
                  <a:pt x="616" y="375"/>
                  <a:pt x="616" y="375"/>
                </a:cubicBezTo>
                <a:cubicBezTo>
                  <a:pt x="617" y="376"/>
                  <a:pt x="617" y="376"/>
                  <a:pt x="617" y="376"/>
                </a:cubicBezTo>
                <a:cubicBezTo>
                  <a:pt x="617" y="375"/>
                  <a:pt x="617" y="375"/>
                  <a:pt x="617" y="375"/>
                </a:cubicBezTo>
                <a:cubicBezTo>
                  <a:pt x="616" y="375"/>
                  <a:pt x="616" y="375"/>
                  <a:pt x="616" y="375"/>
                </a:cubicBezTo>
                <a:cubicBezTo>
                  <a:pt x="615" y="375"/>
                  <a:pt x="615" y="375"/>
                  <a:pt x="615" y="375"/>
                </a:cubicBezTo>
                <a:cubicBezTo>
                  <a:pt x="614" y="374"/>
                  <a:pt x="614" y="374"/>
                  <a:pt x="614" y="374"/>
                </a:cubicBezTo>
                <a:cubicBezTo>
                  <a:pt x="613" y="373"/>
                  <a:pt x="613" y="373"/>
                  <a:pt x="613" y="373"/>
                </a:cubicBezTo>
                <a:cubicBezTo>
                  <a:pt x="613" y="372"/>
                  <a:pt x="613" y="372"/>
                  <a:pt x="613" y="372"/>
                </a:cubicBezTo>
                <a:cubicBezTo>
                  <a:pt x="614" y="371"/>
                  <a:pt x="614" y="371"/>
                  <a:pt x="614" y="371"/>
                </a:cubicBezTo>
                <a:cubicBezTo>
                  <a:pt x="615" y="370"/>
                  <a:pt x="615" y="370"/>
                  <a:pt x="615" y="370"/>
                </a:cubicBezTo>
                <a:cubicBezTo>
                  <a:pt x="615" y="369"/>
                  <a:pt x="615" y="369"/>
                  <a:pt x="615" y="369"/>
                </a:cubicBezTo>
                <a:cubicBezTo>
                  <a:pt x="614" y="369"/>
                  <a:pt x="614" y="369"/>
                  <a:pt x="614" y="369"/>
                </a:cubicBezTo>
                <a:cubicBezTo>
                  <a:pt x="613" y="370"/>
                  <a:pt x="613" y="370"/>
                  <a:pt x="613" y="370"/>
                </a:cubicBezTo>
                <a:cubicBezTo>
                  <a:pt x="612" y="371"/>
                  <a:pt x="612" y="371"/>
                  <a:pt x="612" y="371"/>
                </a:cubicBezTo>
                <a:cubicBezTo>
                  <a:pt x="610" y="372"/>
                  <a:pt x="610" y="372"/>
                  <a:pt x="610" y="372"/>
                </a:cubicBezTo>
                <a:cubicBezTo>
                  <a:pt x="609" y="373"/>
                  <a:pt x="609" y="373"/>
                  <a:pt x="609" y="373"/>
                </a:cubicBezTo>
                <a:cubicBezTo>
                  <a:pt x="609" y="374"/>
                  <a:pt x="609" y="374"/>
                  <a:pt x="609" y="374"/>
                </a:cubicBezTo>
                <a:cubicBezTo>
                  <a:pt x="608" y="374"/>
                  <a:pt x="608" y="374"/>
                  <a:pt x="608" y="374"/>
                </a:cubicBezTo>
                <a:cubicBezTo>
                  <a:pt x="607" y="372"/>
                  <a:pt x="607" y="372"/>
                  <a:pt x="607" y="372"/>
                </a:cubicBezTo>
                <a:cubicBezTo>
                  <a:pt x="607" y="370"/>
                  <a:pt x="607" y="370"/>
                  <a:pt x="607" y="370"/>
                </a:cubicBezTo>
                <a:cubicBezTo>
                  <a:pt x="607" y="367"/>
                  <a:pt x="607" y="367"/>
                  <a:pt x="607" y="367"/>
                </a:cubicBezTo>
                <a:cubicBezTo>
                  <a:pt x="607" y="365"/>
                  <a:pt x="607" y="365"/>
                  <a:pt x="607" y="365"/>
                </a:cubicBezTo>
                <a:cubicBezTo>
                  <a:pt x="607" y="364"/>
                  <a:pt x="607" y="364"/>
                  <a:pt x="607" y="364"/>
                </a:cubicBezTo>
                <a:cubicBezTo>
                  <a:pt x="606" y="364"/>
                  <a:pt x="606" y="364"/>
                  <a:pt x="606" y="364"/>
                </a:cubicBezTo>
                <a:cubicBezTo>
                  <a:pt x="606" y="362"/>
                  <a:pt x="606" y="362"/>
                  <a:pt x="606" y="362"/>
                </a:cubicBezTo>
                <a:cubicBezTo>
                  <a:pt x="607" y="361"/>
                  <a:pt x="607" y="361"/>
                  <a:pt x="607" y="361"/>
                </a:cubicBezTo>
                <a:cubicBezTo>
                  <a:pt x="607" y="362"/>
                  <a:pt x="607" y="362"/>
                  <a:pt x="607" y="362"/>
                </a:cubicBezTo>
                <a:cubicBezTo>
                  <a:pt x="608" y="362"/>
                  <a:pt x="608" y="362"/>
                  <a:pt x="608" y="362"/>
                </a:cubicBezTo>
                <a:cubicBezTo>
                  <a:pt x="608" y="361"/>
                  <a:pt x="608" y="361"/>
                  <a:pt x="608" y="361"/>
                </a:cubicBezTo>
                <a:cubicBezTo>
                  <a:pt x="609" y="360"/>
                  <a:pt x="609" y="360"/>
                  <a:pt x="609" y="360"/>
                </a:cubicBezTo>
                <a:cubicBezTo>
                  <a:pt x="610" y="358"/>
                  <a:pt x="610" y="358"/>
                  <a:pt x="610" y="358"/>
                </a:cubicBezTo>
                <a:cubicBezTo>
                  <a:pt x="611" y="358"/>
                  <a:pt x="611" y="358"/>
                  <a:pt x="611" y="358"/>
                </a:cubicBezTo>
                <a:cubicBezTo>
                  <a:pt x="612" y="358"/>
                  <a:pt x="612" y="358"/>
                  <a:pt x="612" y="358"/>
                </a:cubicBezTo>
                <a:cubicBezTo>
                  <a:pt x="613" y="358"/>
                  <a:pt x="613" y="358"/>
                  <a:pt x="613" y="358"/>
                </a:cubicBezTo>
                <a:cubicBezTo>
                  <a:pt x="612" y="357"/>
                  <a:pt x="612" y="357"/>
                  <a:pt x="612" y="357"/>
                </a:cubicBezTo>
                <a:cubicBezTo>
                  <a:pt x="614" y="355"/>
                  <a:pt x="614" y="355"/>
                  <a:pt x="614" y="355"/>
                </a:cubicBezTo>
                <a:cubicBezTo>
                  <a:pt x="614" y="354"/>
                  <a:pt x="614" y="354"/>
                  <a:pt x="614" y="354"/>
                </a:cubicBezTo>
                <a:cubicBezTo>
                  <a:pt x="616" y="353"/>
                  <a:pt x="616" y="353"/>
                  <a:pt x="616" y="353"/>
                </a:cubicBezTo>
                <a:cubicBezTo>
                  <a:pt x="616" y="352"/>
                  <a:pt x="616" y="352"/>
                  <a:pt x="616" y="352"/>
                </a:cubicBezTo>
                <a:cubicBezTo>
                  <a:pt x="615" y="352"/>
                  <a:pt x="615" y="352"/>
                  <a:pt x="615" y="352"/>
                </a:cubicBezTo>
                <a:cubicBezTo>
                  <a:pt x="613" y="353"/>
                  <a:pt x="613" y="353"/>
                  <a:pt x="613" y="353"/>
                </a:cubicBezTo>
                <a:cubicBezTo>
                  <a:pt x="613" y="354"/>
                  <a:pt x="613" y="354"/>
                  <a:pt x="613" y="354"/>
                </a:cubicBezTo>
                <a:cubicBezTo>
                  <a:pt x="611" y="357"/>
                  <a:pt x="611" y="357"/>
                  <a:pt x="611" y="357"/>
                </a:cubicBezTo>
                <a:cubicBezTo>
                  <a:pt x="611" y="356"/>
                  <a:pt x="611" y="356"/>
                  <a:pt x="611" y="356"/>
                </a:cubicBezTo>
                <a:cubicBezTo>
                  <a:pt x="612" y="354"/>
                  <a:pt x="612" y="354"/>
                  <a:pt x="612" y="354"/>
                </a:cubicBezTo>
                <a:cubicBezTo>
                  <a:pt x="612" y="353"/>
                  <a:pt x="612" y="353"/>
                  <a:pt x="612" y="353"/>
                </a:cubicBezTo>
                <a:cubicBezTo>
                  <a:pt x="612" y="353"/>
                  <a:pt x="612" y="353"/>
                  <a:pt x="611" y="355"/>
                </a:cubicBezTo>
                <a:cubicBezTo>
                  <a:pt x="611" y="355"/>
                  <a:pt x="611" y="355"/>
                  <a:pt x="609" y="357"/>
                </a:cubicBezTo>
                <a:cubicBezTo>
                  <a:pt x="609" y="357"/>
                  <a:pt x="609" y="357"/>
                  <a:pt x="608" y="357"/>
                </a:cubicBezTo>
                <a:cubicBezTo>
                  <a:pt x="608" y="357"/>
                  <a:pt x="608" y="357"/>
                  <a:pt x="607" y="357"/>
                </a:cubicBezTo>
                <a:cubicBezTo>
                  <a:pt x="607" y="357"/>
                  <a:pt x="607" y="357"/>
                  <a:pt x="607" y="358"/>
                </a:cubicBezTo>
                <a:cubicBezTo>
                  <a:pt x="607" y="358"/>
                  <a:pt x="607" y="358"/>
                  <a:pt x="606" y="359"/>
                </a:cubicBezTo>
                <a:cubicBezTo>
                  <a:pt x="606" y="359"/>
                  <a:pt x="606" y="359"/>
                  <a:pt x="605" y="357"/>
                </a:cubicBezTo>
                <a:cubicBezTo>
                  <a:pt x="605" y="357"/>
                  <a:pt x="605" y="357"/>
                  <a:pt x="606" y="356"/>
                </a:cubicBezTo>
                <a:cubicBezTo>
                  <a:pt x="606" y="356"/>
                  <a:pt x="606" y="356"/>
                  <a:pt x="606" y="355"/>
                </a:cubicBezTo>
                <a:cubicBezTo>
                  <a:pt x="606" y="355"/>
                  <a:pt x="606" y="355"/>
                  <a:pt x="607" y="355"/>
                </a:cubicBezTo>
                <a:cubicBezTo>
                  <a:pt x="607" y="355"/>
                  <a:pt x="607" y="355"/>
                  <a:pt x="608" y="355"/>
                </a:cubicBezTo>
                <a:cubicBezTo>
                  <a:pt x="608" y="355"/>
                  <a:pt x="608" y="355"/>
                  <a:pt x="609" y="355"/>
                </a:cubicBezTo>
                <a:cubicBezTo>
                  <a:pt x="609" y="355"/>
                  <a:pt x="609" y="355"/>
                  <a:pt x="609" y="354"/>
                </a:cubicBezTo>
                <a:cubicBezTo>
                  <a:pt x="609" y="354"/>
                  <a:pt x="609" y="354"/>
                  <a:pt x="608" y="354"/>
                </a:cubicBezTo>
                <a:cubicBezTo>
                  <a:pt x="608" y="354"/>
                  <a:pt x="608" y="354"/>
                  <a:pt x="607" y="354"/>
                </a:cubicBezTo>
                <a:cubicBezTo>
                  <a:pt x="607" y="354"/>
                  <a:pt x="607" y="354"/>
                  <a:pt x="606" y="354"/>
                </a:cubicBezTo>
                <a:cubicBezTo>
                  <a:pt x="606" y="354"/>
                  <a:pt x="606" y="354"/>
                  <a:pt x="607" y="353"/>
                </a:cubicBezTo>
                <a:cubicBezTo>
                  <a:pt x="607" y="353"/>
                  <a:pt x="607" y="353"/>
                  <a:pt x="608" y="353"/>
                </a:cubicBezTo>
                <a:cubicBezTo>
                  <a:pt x="608" y="353"/>
                  <a:pt x="608" y="353"/>
                  <a:pt x="609" y="353"/>
                </a:cubicBezTo>
                <a:cubicBezTo>
                  <a:pt x="609" y="353"/>
                  <a:pt x="609" y="353"/>
                  <a:pt x="609" y="352"/>
                </a:cubicBezTo>
                <a:cubicBezTo>
                  <a:pt x="609" y="352"/>
                  <a:pt x="609" y="352"/>
                  <a:pt x="608" y="352"/>
                </a:cubicBezTo>
                <a:cubicBezTo>
                  <a:pt x="608" y="352"/>
                  <a:pt x="608" y="352"/>
                  <a:pt x="609" y="351"/>
                </a:cubicBezTo>
                <a:cubicBezTo>
                  <a:pt x="609" y="351"/>
                  <a:pt x="609" y="351"/>
                  <a:pt x="610" y="349"/>
                </a:cubicBezTo>
                <a:cubicBezTo>
                  <a:pt x="610" y="349"/>
                  <a:pt x="610" y="349"/>
                  <a:pt x="609" y="348"/>
                </a:cubicBezTo>
                <a:cubicBezTo>
                  <a:pt x="609" y="348"/>
                  <a:pt x="609" y="348"/>
                  <a:pt x="609" y="347"/>
                </a:cubicBezTo>
                <a:cubicBezTo>
                  <a:pt x="609" y="347"/>
                  <a:pt x="609" y="347"/>
                  <a:pt x="611" y="346"/>
                </a:cubicBezTo>
                <a:cubicBezTo>
                  <a:pt x="611" y="346"/>
                  <a:pt x="611" y="346"/>
                  <a:pt x="609" y="346"/>
                </a:cubicBezTo>
                <a:cubicBezTo>
                  <a:pt x="609" y="346"/>
                  <a:pt x="609" y="346"/>
                  <a:pt x="609" y="345"/>
                </a:cubicBezTo>
                <a:cubicBezTo>
                  <a:pt x="609" y="345"/>
                  <a:pt x="609" y="345"/>
                  <a:pt x="610" y="344"/>
                </a:cubicBezTo>
                <a:cubicBezTo>
                  <a:pt x="610" y="344"/>
                  <a:pt x="610" y="344"/>
                  <a:pt x="608" y="344"/>
                </a:cubicBezTo>
                <a:cubicBezTo>
                  <a:pt x="608" y="344"/>
                  <a:pt x="608" y="344"/>
                  <a:pt x="607" y="344"/>
                </a:cubicBezTo>
                <a:cubicBezTo>
                  <a:pt x="607" y="344"/>
                  <a:pt x="607" y="344"/>
                  <a:pt x="606" y="345"/>
                </a:cubicBezTo>
                <a:cubicBezTo>
                  <a:pt x="606" y="345"/>
                  <a:pt x="606" y="345"/>
                  <a:pt x="605" y="346"/>
                </a:cubicBezTo>
                <a:cubicBezTo>
                  <a:pt x="605" y="346"/>
                  <a:pt x="605" y="346"/>
                  <a:pt x="604" y="348"/>
                </a:cubicBezTo>
                <a:cubicBezTo>
                  <a:pt x="604" y="348"/>
                  <a:pt x="604" y="348"/>
                  <a:pt x="603" y="349"/>
                </a:cubicBezTo>
                <a:cubicBezTo>
                  <a:pt x="603" y="349"/>
                  <a:pt x="603" y="349"/>
                  <a:pt x="602" y="348"/>
                </a:cubicBezTo>
                <a:cubicBezTo>
                  <a:pt x="602" y="348"/>
                  <a:pt x="602" y="348"/>
                  <a:pt x="602" y="347"/>
                </a:cubicBezTo>
                <a:cubicBezTo>
                  <a:pt x="602" y="347"/>
                  <a:pt x="602" y="347"/>
                  <a:pt x="603" y="346"/>
                </a:cubicBezTo>
                <a:cubicBezTo>
                  <a:pt x="603" y="346"/>
                  <a:pt x="603" y="346"/>
                  <a:pt x="605" y="343"/>
                </a:cubicBezTo>
                <a:cubicBezTo>
                  <a:pt x="604" y="342"/>
                  <a:pt x="604" y="342"/>
                  <a:pt x="604" y="342"/>
                </a:cubicBezTo>
                <a:cubicBezTo>
                  <a:pt x="605" y="341"/>
                  <a:pt x="605" y="341"/>
                  <a:pt x="605" y="341"/>
                </a:cubicBezTo>
                <a:cubicBezTo>
                  <a:pt x="605" y="340"/>
                  <a:pt x="605" y="340"/>
                  <a:pt x="605" y="340"/>
                </a:cubicBezTo>
                <a:cubicBezTo>
                  <a:pt x="606" y="340"/>
                  <a:pt x="606" y="340"/>
                  <a:pt x="606" y="340"/>
                </a:cubicBezTo>
                <a:cubicBezTo>
                  <a:pt x="606" y="342"/>
                  <a:pt x="606" y="342"/>
                  <a:pt x="606" y="342"/>
                </a:cubicBezTo>
                <a:cubicBezTo>
                  <a:pt x="606" y="342"/>
                  <a:pt x="606" y="342"/>
                  <a:pt x="607" y="342"/>
                </a:cubicBezTo>
                <a:cubicBezTo>
                  <a:pt x="607" y="342"/>
                  <a:pt x="607" y="342"/>
                  <a:pt x="608" y="342"/>
                </a:cubicBezTo>
                <a:cubicBezTo>
                  <a:pt x="608" y="342"/>
                  <a:pt x="608" y="342"/>
                  <a:pt x="610" y="341"/>
                </a:cubicBezTo>
                <a:cubicBezTo>
                  <a:pt x="610" y="341"/>
                  <a:pt x="610" y="341"/>
                  <a:pt x="609" y="341"/>
                </a:cubicBezTo>
                <a:cubicBezTo>
                  <a:pt x="609" y="341"/>
                  <a:pt x="609" y="341"/>
                  <a:pt x="608" y="341"/>
                </a:cubicBezTo>
                <a:cubicBezTo>
                  <a:pt x="608" y="341"/>
                  <a:pt x="608" y="341"/>
                  <a:pt x="607" y="340"/>
                </a:cubicBezTo>
                <a:cubicBezTo>
                  <a:pt x="607" y="340"/>
                  <a:pt x="607" y="340"/>
                  <a:pt x="606" y="338"/>
                </a:cubicBezTo>
                <a:cubicBezTo>
                  <a:pt x="606" y="338"/>
                  <a:pt x="606" y="338"/>
                  <a:pt x="605" y="337"/>
                </a:cubicBezTo>
                <a:cubicBezTo>
                  <a:pt x="605" y="337"/>
                  <a:pt x="605" y="337"/>
                  <a:pt x="606" y="336"/>
                </a:cubicBezTo>
                <a:cubicBezTo>
                  <a:pt x="606" y="336"/>
                  <a:pt x="606" y="336"/>
                  <a:pt x="607" y="336"/>
                </a:cubicBezTo>
                <a:cubicBezTo>
                  <a:pt x="607" y="336"/>
                  <a:pt x="607" y="336"/>
                  <a:pt x="606" y="335"/>
                </a:cubicBezTo>
                <a:cubicBezTo>
                  <a:pt x="606" y="335"/>
                  <a:pt x="606" y="335"/>
                  <a:pt x="606" y="334"/>
                </a:cubicBezTo>
                <a:cubicBezTo>
                  <a:pt x="606" y="334"/>
                  <a:pt x="606" y="334"/>
                  <a:pt x="605" y="333"/>
                </a:cubicBezTo>
                <a:cubicBezTo>
                  <a:pt x="605" y="333"/>
                  <a:pt x="605" y="333"/>
                  <a:pt x="604" y="332"/>
                </a:cubicBezTo>
                <a:cubicBezTo>
                  <a:pt x="604" y="332"/>
                  <a:pt x="604" y="332"/>
                  <a:pt x="605" y="332"/>
                </a:cubicBezTo>
                <a:cubicBezTo>
                  <a:pt x="605" y="332"/>
                  <a:pt x="605" y="332"/>
                  <a:pt x="606" y="332"/>
                </a:cubicBezTo>
                <a:cubicBezTo>
                  <a:pt x="606" y="332"/>
                  <a:pt x="606" y="332"/>
                  <a:pt x="605" y="331"/>
                </a:cubicBezTo>
                <a:cubicBezTo>
                  <a:pt x="605" y="331"/>
                  <a:pt x="605" y="331"/>
                  <a:pt x="604" y="331"/>
                </a:cubicBezTo>
                <a:cubicBezTo>
                  <a:pt x="604" y="331"/>
                  <a:pt x="604" y="331"/>
                  <a:pt x="603" y="330"/>
                </a:cubicBezTo>
                <a:cubicBezTo>
                  <a:pt x="603" y="330"/>
                  <a:pt x="603" y="330"/>
                  <a:pt x="602" y="330"/>
                </a:cubicBezTo>
                <a:cubicBezTo>
                  <a:pt x="602" y="330"/>
                  <a:pt x="602" y="330"/>
                  <a:pt x="602" y="329"/>
                </a:cubicBezTo>
                <a:cubicBezTo>
                  <a:pt x="602" y="329"/>
                  <a:pt x="602" y="329"/>
                  <a:pt x="602" y="328"/>
                </a:cubicBezTo>
                <a:cubicBezTo>
                  <a:pt x="602" y="328"/>
                  <a:pt x="602" y="328"/>
                  <a:pt x="603" y="328"/>
                </a:cubicBezTo>
                <a:cubicBezTo>
                  <a:pt x="603" y="328"/>
                  <a:pt x="603" y="328"/>
                  <a:pt x="604" y="327"/>
                </a:cubicBezTo>
                <a:cubicBezTo>
                  <a:pt x="604" y="327"/>
                  <a:pt x="604" y="327"/>
                  <a:pt x="603" y="327"/>
                </a:cubicBezTo>
                <a:cubicBezTo>
                  <a:pt x="603" y="327"/>
                  <a:pt x="603" y="327"/>
                  <a:pt x="603" y="326"/>
                </a:cubicBezTo>
                <a:cubicBezTo>
                  <a:pt x="603" y="326"/>
                  <a:pt x="603" y="326"/>
                  <a:pt x="604" y="325"/>
                </a:cubicBezTo>
                <a:cubicBezTo>
                  <a:pt x="604" y="325"/>
                  <a:pt x="604" y="325"/>
                  <a:pt x="603" y="324"/>
                </a:cubicBezTo>
                <a:cubicBezTo>
                  <a:pt x="603" y="324"/>
                  <a:pt x="603" y="324"/>
                  <a:pt x="604" y="323"/>
                </a:cubicBezTo>
                <a:cubicBezTo>
                  <a:pt x="604" y="323"/>
                  <a:pt x="604" y="323"/>
                  <a:pt x="604" y="324"/>
                </a:cubicBezTo>
                <a:cubicBezTo>
                  <a:pt x="604" y="324"/>
                  <a:pt x="604" y="324"/>
                  <a:pt x="605" y="325"/>
                </a:cubicBezTo>
                <a:cubicBezTo>
                  <a:pt x="605" y="325"/>
                  <a:pt x="605" y="325"/>
                  <a:pt x="606" y="325"/>
                </a:cubicBezTo>
                <a:cubicBezTo>
                  <a:pt x="606" y="325"/>
                  <a:pt x="606" y="325"/>
                  <a:pt x="606" y="324"/>
                </a:cubicBezTo>
                <a:cubicBezTo>
                  <a:pt x="606" y="324"/>
                  <a:pt x="606" y="324"/>
                  <a:pt x="605" y="322"/>
                </a:cubicBezTo>
                <a:cubicBezTo>
                  <a:pt x="605" y="322"/>
                  <a:pt x="605" y="322"/>
                  <a:pt x="606" y="321"/>
                </a:cubicBezTo>
                <a:cubicBezTo>
                  <a:pt x="606" y="321"/>
                  <a:pt x="606" y="321"/>
                  <a:pt x="605" y="320"/>
                </a:cubicBezTo>
                <a:cubicBezTo>
                  <a:pt x="605" y="320"/>
                  <a:pt x="605" y="320"/>
                  <a:pt x="606" y="319"/>
                </a:cubicBezTo>
                <a:cubicBezTo>
                  <a:pt x="606" y="319"/>
                  <a:pt x="606" y="319"/>
                  <a:pt x="608" y="318"/>
                </a:cubicBezTo>
                <a:cubicBezTo>
                  <a:pt x="608" y="318"/>
                  <a:pt x="608" y="318"/>
                  <a:pt x="606" y="318"/>
                </a:cubicBezTo>
                <a:cubicBezTo>
                  <a:pt x="606" y="318"/>
                  <a:pt x="606" y="318"/>
                  <a:pt x="605" y="319"/>
                </a:cubicBezTo>
                <a:cubicBezTo>
                  <a:pt x="605" y="319"/>
                  <a:pt x="605" y="319"/>
                  <a:pt x="605" y="318"/>
                </a:cubicBezTo>
                <a:cubicBezTo>
                  <a:pt x="605" y="318"/>
                  <a:pt x="605" y="318"/>
                  <a:pt x="604" y="319"/>
                </a:cubicBezTo>
                <a:cubicBezTo>
                  <a:pt x="604" y="319"/>
                  <a:pt x="604" y="319"/>
                  <a:pt x="603" y="318"/>
                </a:cubicBezTo>
                <a:cubicBezTo>
                  <a:pt x="603" y="318"/>
                  <a:pt x="603" y="318"/>
                  <a:pt x="603" y="317"/>
                </a:cubicBezTo>
                <a:cubicBezTo>
                  <a:pt x="603" y="317"/>
                  <a:pt x="603" y="317"/>
                  <a:pt x="602" y="317"/>
                </a:cubicBezTo>
                <a:cubicBezTo>
                  <a:pt x="602" y="317"/>
                  <a:pt x="602" y="317"/>
                  <a:pt x="602" y="315"/>
                </a:cubicBezTo>
                <a:cubicBezTo>
                  <a:pt x="602" y="315"/>
                  <a:pt x="602" y="315"/>
                  <a:pt x="601" y="314"/>
                </a:cubicBezTo>
                <a:cubicBezTo>
                  <a:pt x="601" y="314"/>
                  <a:pt x="601" y="314"/>
                  <a:pt x="601" y="313"/>
                </a:cubicBezTo>
                <a:cubicBezTo>
                  <a:pt x="601" y="313"/>
                  <a:pt x="601" y="313"/>
                  <a:pt x="600" y="312"/>
                </a:cubicBezTo>
                <a:cubicBezTo>
                  <a:pt x="600" y="312"/>
                  <a:pt x="600" y="312"/>
                  <a:pt x="601" y="310"/>
                </a:cubicBezTo>
                <a:cubicBezTo>
                  <a:pt x="601" y="310"/>
                  <a:pt x="601" y="310"/>
                  <a:pt x="601" y="309"/>
                </a:cubicBezTo>
                <a:cubicBezTo>
                  <a:pt x="601" y="309"/>
                  <a:pt x="601" y="309"/>
                  <a:pt x="601" y="308"/>
                </a:cubicBezTo>
                <a:cubicBezTo>
                  <a:pt x="601" y="308"/>
                  <a:pt x="601" y="308"/>
                  <a:pt x="601" y="307"/>
                </a:cubicBezTo>
                <a:cubicBezTo>
                  <a:pt x="601" y="307"/>
                  <a:pt x="601" y="307"/>
                  <a:pt x="602" y="305"/>
                </a:cubicBezTo>
                <a:cubicBezTo>
                  <a:pt x="602" y="305"/>
                  <a:pt x="602" y="305"/>
                  <a:pt x="602" y="303"/>
                </a:cubicBezTo>
                <a:cubicBezTo>
                  <a:pt x="602" y="303"/>
                  <a:pt x="602" y="303"/>
                  <a:pt x="602" y="301"/>
                </a:cubicBezTo>
                <a:cubicBezTo>
                  <a:pt x="602" y="301"/>
                  <a:pt x="602" y="301"/>
                  <a:pt x="603" y="299"/>
                </a:cubicBezTo>
                <a:cubicBezTo>
                  <a:pt x="603" y="299"/>
                  <a:pt x="603" y="299"/>
                  <a:pt x="602" y="300"/>
                </a:cubicBezTo>
                <a:cubicBezTo>
                  <a:pt x="602" y="300"/>
                  <a:pt x="602" y="300"/>
                  <a:pt x="601" y="301"/>
                </a:cubicBezTo>
                <a:cubicBezTo>
                  <a:pt x="601" y="301"/>
                  <a:pt x="601" y="301"/>
                  <a:pt x="600" y="300"/>
                </a:cubicBezTo>
                <a:cubicBezTo>
                  <a:pt x="600" y="300"/>
                  <a:pt x="600" y="300"/>
                  <a:pt x="600" y="301"/>
                </a:cubicBezTo>
                <a:cubicBezTo>
                  <a:pt x="600" y="301"/>
                  <a:pt x="600" y="301"/>
                  <a:pt x="600" y="302"/>
                </a:cubicBezTo>
                <a:cubicBezTo>
                  <a:pt x="600" y="302"/>
                  <a:pt x="600" y="302"/>
                  <a:pt x="600" y="305"/>
                </a:cubicBezTo>
                <a:cubicBezTo>
                  <a:pt x="600" y="305"/>
                  <a:pt x="600" y="305"/>
                  <a:pt x="599" y="308"/>
                </a:cubicBezTo>
                <a:cubicBezTo>
                  <a:pt x="599" y="308"/>
                  <a:pt x="599" y="308"/>
                  <a:pt x="599" y="311"/>
                </a:cubicBezTo>
                <a:cubicBezTo>
                  <a:pt x="599" y="311"/>
                  <a:pt x="599" y="311"/>
                  <a:pt x="599" y="312"/>
                </a:cubicBezTo>
                <a:cubicBezTo>
                  <a:pt x="599" y="312"/>
                  <a:pt x="599" y="312"/>
                  <a:pt x="599" y="313"/>
                </a:cubicBezTo>
                <a:cubicBezTo>
                  <a:pt x="599" y="313"/>
                  <a:pt x="599" y="313"/>
                  <a:pt x="597" y="315"/>
                </a:cubicBezTo>
                <a:cubicBezTo>
                  <a:pt x="597" y="315"/>
                  <a:pt x="597" y="315"/>
                  <a:pt x="596" y="313"/>
                </a:cubicBezTo>
                <a:cubicBezTo>
                  <a:pt x="596" y="313"/>
                  <a:pt x="596" y="313"/>
                  <a:pt x="597" y="313"/>
                </a:cubicBezTo>
                <a:cubicBezTo>
                  <a:pt x="597" y="313"/>
                  <a:pt x="597" y="313"/>
                  <a:pt x="597" y="312"/>
                </a:cubicBezTo>
                <a:cubicBezTo>
                  <a:pt x="597" y="312"/>
                  <a:pt x="597" y="312"/>
                  <a:pt x="596" y="313"/>
                </a:cubicBezTo>
                <a:cubicBezTo>
                  <a:pt x="596" y="313"/>
                  <a:pt x="596" y="313"/>
                  <a:pt x="594" y="313"/>
                </a:cubicBezTo>
                <a:cubicBezTo>
                  <a:pt x="594" y="313"/>
                  <a:pt x="594" y="313"/>
                  <a:pt x="594" y="312"/>
                </a:cubicBezTo>
                <a:cubicBezTo>
                  <a:pt x="594" y="312"/>
                  <a:pt x="594" y="312"/>
                  <a:pt x="594" y="311"/>
                </a:cubicBezTo>
                <a:cubicBezTo>
                  <a:pt x="594" y="311"/>
                  <a:pt x="594" y="311"/>
                  <a:pt x="594" y="310"/>
                </a:cubicBezTo>
                <a:cubicBezTo>
                  <a:pt x="594" y="310"/>
                  <a:pt x="594" y="310"/>
                  <a:pt x="594" y="309"/>
                </a:cubicBezTo>
                <a:cubicBezTo>
                  <a:pt x="594" y="309"/>
                  <a:pt x="594" y="309"/>
                  <a:pt x="595" y="308"/>
                </a:cubicBezTo>
                <a:cubicBezTo>
                  <a:pt x="595" y="308"/>
                  <a:pt x="595" y="308"/>
                  <a:pt x="595" y="307"/>
                </a:cubicBezTo>
                <a:cubicBezTo>
                  <a:pt x="595" y="307"/>
                  <a:pt x="595" y="307"/>
                  <a:pt x="594" y="308"/>
                </a:cubicBezTo>
                <a:cubicBezTo>
                  <a:pt x="594" y="308"/>
                  <a:pt x="594" y="308"/>
                  <a:pt x="593" y="308"/>
                </a:cubicBezTo>
                <a:cubicBezTo>
                  <a:pt x="593" y="308"/>
                  <a:pt x="593" y="308"/>
                  <a:pt x="593" y="307"/>
                </a:cubicBezTo>
                <a:cubicBezTo>
                  <a:pt x="593" y="307"/>
                  <a:pt x="593" y="307"/>
                  <a:pt x="593" y="306"/>
                </a:cubicBezTo>
                <a:cubicBezTo>
                  <a:pt x="593" y="306"/>
                  <a:pt x="593" y="306"/>
                  <a:pt x="593" y="305"/>
                </a:cubicBezTo>
                <a:cubicBezTo>
                  <a:pt x="593" y="305"/>
                  <a:pt x="593" y="305"/>
                  <a:pt x="592" y="304"/>
                </a:cubicBezTo>
                <a:cubicBezTo>
                  <a:pt x="592" y="304"/>
                  <a:pt x="592" y="304"/>
                  <a:pt x="592" y="305"/>
                </a:cubicBezTo>
                <a:cubicBezTo>
                  <a:pt x="592" y="305"/>
                  <a:pt x="592" y="305"/>
                  <a:pt x="591" y="305"/>
                </a:cubicBezTo>
                <a:cubicBezTo>
                  <a:pt x="591" y="305"/>
                  <a:pt x="591" y="305"/>
                  <a:pt x="591" y="303"/>
                </a:cubicBezTo>
                <a:cubicBezTo>
                  <a:pt x="591" y="303"/>
                  <a:pt x="591" y="303"/>
                  <a:pt x="590" y="303"/>
                </a:cubicBezTo>
                <a:cubicBezTo>
                  <a:pt x="590" y="303"/>
                  <a:pt x="590" y="303"/>
                  <a:pt x="590" y="305"/>
                </a:cubicBezTo>
                <a:cubicBezTo>
                  <a:pt x="590" y="305"/>
                  <a:pt x="590" y="305"/>
                  <a:pt x="590" y="306"/>
                </a:cubicBezTo>
                <a:cubicBezTo>
                  <a:pt x="590" y="306"/>
                  <a:pt x="590" y="306"/>
                  <a:pt x="591" y="306"/>
                </a:cubicBezTo>
                <a:cubicBezTo>
                  <a:pt x="591" y="306"/>
                  <a:pt x="591" y="306"/>
                  <a:pt x="591" y="307"/>
                </a:cubicBezTo>
                <a:cubicBezTo>
                  <a:pt x="591" y="307"/>
                  <a:pt x="591" y="307"/>
                  <a:pt x="591" y="308"/>
                </a:cubicBezTo>
                <a:cubicBezTo>
                  <a:pt x="591" y="308"/>
                  <a:pt x="591" y="308"/>
                  <a:pt x="590" y="309"/>
                </a:cubicBezTo>
                <a:cubicBezTo>
                  <a:pt x="590" y="309"/>
                  <a:pt x="590" y="309"/>
                  <a:pt x="591" y="309"/>
                </a:cubicBezTo>
                <a:cubicBezTo>
                  <a:pt x="591" y="309"/>
                  <a:pt x="591" y="309"/>
                  <a:pt x="592" y="309"/>
                </a:cubicBezTo>
                <a:cubicBezTo>
                  <a:pt x="592" y="309"/>
                  <a:pt x="592" y="309"/>
                  <a:pt x="593" y="311"/>
                </a:cubicBezTo>
                <a:cubicBezTo>
                  <a:pt x="593" y="311"/>
                  <a:pt x="593" y="311"/>
                  <a:pt x="592" y="312"/>
                </a:cubicBezTo>
                <a:cubicBezTo>
                  <a:pt x="592" y="312"/>
                  <a:pt x="592" y="312"/>
                  <a:pt x="591" y="312"/>
                </a:cubicBezTo>
                <a:cubicBezTo>
                  <a:pt x="591" y="312"/>
                  <a:pt x="591" y="312"/>
                  <a:pt x="590" y="313"/>
                </a:cubicBezTo>
                <a:cubicBezTo>
                  <a:pt x="590" y="313"/>
                  <a:pt x="590" y="313"/>
                  <a:pt x="589" y="312"/>
                </a:cubicBezTo>
                <a:cubicBezTo>
                  <a:pt x="589" y="312"/>
                  <a:pt x="589" y="312"/>
                  <a:pt x="588" y="311"/>
                </a:cubicBezTo>
                <a:cubicBezTo>
                  <a:pt x="588" y="311"/>
                  <a:pt x="588" y="311"/>
                  <a:pt x="586" y="309"/>
                </a:cubicBezTo>
                <a:cubicBezTo>
                  <a:pt x="586" y="309"/>
                  <a:pt x="586" y="309"/>
                  <a:pt x="586" y="308"/>
                </a:cubicBezTo>
                <a:cubicBezTo>
                  <a:pt x="586" y="308"/>
                  <a:pt x="586" y="308"/>
                  <a:pt x="586" y="307"/>
                </a:cubicBezTo>
                <a:cubicBezTo>
                  <a:pt x="586" y="307"/>
                  <a:pt x="586" y="307"/>
                  <a:pt x="585" y="307"/>
                </a:cubicBezTo>
                <a:cubicBezTo>
                  <a:pt x="585" y="307"/>
                  <a:pt x="585" y="307"/>
                  <a:pt x="585" y="306"/>
                </a:cubicBezTo>
                <a:cubicBezTo>
                  <a:pt x="585" y="306"/>
                  <a:pt x="585" y="306"/>
                  <a:pt x="585" y="303"/>
                </a:cubicBezTo>
                <a:cubicBezTo>
                  <a:pt x="585" y="303"/>
                  <a:pt x="585" y="303"/>
                  <a:pt x="584" y="302"/>
                </a:cubicBezTo>
                <a:cubicBezTo>
                  <a:pt x="584" y="302"/>
                  <a:pt x="584" y="302"/>
                  <a:pt x="584" y="301"/>
                </a:cubicBezTo>
                <a:cubicBezTo>
                  <a:pt x="584" y="301"/>
                  <a:pt x="584" y="301"/>
                  <a:pt x="585" y="300"/>
                </a:cubicBezTo>
                <a:cubicBezTo>
                  <a:pt x="585" y="300"/>
                  <a:pt x="585" y="300"/>
                  <a:pt x="586" y="299"/>
                </a:cubicBezTo>
                <a:cubicBezTo>
                  <a:pt x="586" y="299"/>
                  <a:pt x="586" y="299"/>
                  <a:pt x="586" y="298"/>
                </a:cubicBezTo>
                <a:cubicBezTo>
                  <a:pt x="586" y="298"/>
                  <a:pt x="586" y="298"/>
                  <a:pt x="586" y="296"/>
                </a:cubicBezTo>
                <a:cubicBezTo>
                  <a:pt x="586" y="296"/>
                  <a:pt x="586" y="296"/>
                  <a:pt x="585" y="298"/>
                </a:cubicBezTo>
                <a:cubicBezTo>
                  <a:pt x="585" y="298"/>
                  <a:pt x="585" y="298"/>
                  <a:pt x="584" y="300"/>
                </a:cubicBezTo>
                <a:cubicBezTo>
                  <a:pt x="584" y="300"/>
                  <a:pt x="584" y="300"/>
                  <a:pt x="583" y="299"/>
                </a:cubicBezTo>
                <a:cubicBezTo>
                  <a:pt x="583" y="299"/>
                  <a:pt x="583" y="299"/>
                  <a:pt x="582" y="300"/>
                </a:cubicBezTo>
                <a:cubicBezTo>
                  <a:pt x="582" y="300"/>
                  <a:pt x="582" y="300"/>
                  <a:pt x="581" y="298"/>
                </a:cubicBezTo>
                <a:cubicBezTo>
                  <a:pt x="581" y="298"/>
                  <a:pt x="581" y="298"/>
                  <a:pt x="582" y="297"/>
                </a:cubicBezTo>
                <a:cubicBezTo>
                  <a:pt x="582" y="297"/>
                  <a:pt x="582" y="297"/>
                  <a:pt x="581" y="296"/>
                </a:cubicBezTo>
                <a:cubicBezTo>
                  <a:pt x="581" y="296"/>
                  <a:pt x="581" y="296"/>
                  <a:pt x="580" y="297"/>
                </a:cubicBezTo>
                <a:cubicBezTo>
                  <a:pt x="580" y="297"/>
                  <a:pt x="580" y="297"/>
                  <a:pt x="579" y="296"/>
                </a:cubicBezTo>
                <a:cubicBezTo>
                  <a:pt x="579" y="296"/>
                  <a:pt x="579" y="296"/>
                  <a:pt x="579" y="295"/>
                </a:cubicBezTo>
                <a:cubicBezTo>
                  <a:pt x="579" y="295"/>
                  <a:pt x="579" y="295"/>
                  <a:pt x="578" y="293"/>
                </a:cubicBezTo>
                <a:cubicBezTo>
                  <a:pt x="578" y="293"/>
                  <a:pt x="578" y="293"/>
                  <a:pt x="580" y="294"/>
                </a:cubicBezTo>
                <a:cubicBezTo>
                  <a:pt x="580" y="294"/>
                  <a:pt x="580" y="294"/>
                  <a:pt x="581" y="294"/>
                </a:cubicBezTo>
                <a:cubicBezTo>
                  <a:pt x="581" y="294"/>
                  <a:pt x="581" y="294"/>
                  <a:pt x="581" y="292"/>
                </a:cubicBezTo>
                <a:cubicBezTo>
                  <a:pt x="581" y="292"/>
                  <a:pt x="581" y="292"/>
                  <a:pt x="581" y="290"/>
                </a:cubicBezTo>
                <a:cubicBezTo>
                  <a:pt x="581" y="290"/>
                  <a:pt x="581" y="290"/>
                  <a:pt x="580" y="291"/>
                </a:cubicBezTo>
                <a:cubicBezTo>
                  <a:pt x="580" y="291"/>
                  <a:pt x="580" y="291"/>
                  <a:pt x="580" y="290"/>
                </a:cubicBezTo>
                <a:cubicBezTo>
                  <a:pt x="580" y="290"/>
                  <a:pt x="580" y="290"/>
                  <a:pt x="579" y="290"/>
                </a:cubicBezTo>
                <a:cubicBezTo>
                  <a:pt x="579" y="290"/>
                  <a:pt x="579" y="290"/>
                  <a:pt x="576" y="291"/>
                </a:cubicBezTo>
                <a:cubicBezTo>
                  <a:pt x="576" y="291"/>
                  <a:pt x="576" y="291"/>
                  <a:pt x="575" y="290"/>
                </a:cubicBezTo>
                <a:cubicBezTo>
                  <a:pt x="575" y="290"/>
                  <a:pt x="575" y="290"/>
                  <a:pt x="574" y="290"/>
                </a:cubicBezTo>
                <a:cubicBezTo>
                  <a:pt x="574" y="290"/>
                  <a:pt x="574" y="290"/>
                  <a:pt x="573" y="289"/>
                </a:cubicBezTo>
                <a:cubicBezTo>
                  <a:pt x="573" y="289"/>
                  <a:pt x="573" y="289"/>
                  <a:pt x="572" y="288"/>
                </a:cubicBezTo>
                <a:cubicBezTo>
                  <a:pt x="572" y="288"/>
                  <a:pt x="572" y="288"/>
                  <a:pt x="571" y="287"/>
                </a:cubicBezTo>
                <a:cubicBezTo>
                  <a:pt x="571" y="287"/>
                  <a:pt x="571" y="287"/>
                  <a:pt x="573" y="287"/>
                </a:cubicBezTo>
                <a:cubicBezTo>
                  <a:pt x="573" y="287"/>
                  <a:pt x="573" y="287"/>
                  <a:pt x="573" y="286"/>
                </a:cubicBezTo>
                <a:cubicBezTo>
                  <a:pt x="573" y="286"/>
                  <a:pt x="573" y="286"/>
                  <a:pt x="574" y="285"/>
                </a:cubicBezTo>
                <a:cubicBezTo>
                  <a:pt x="574" y="285"/>
                  <a:pt x="574" y="285"/>
                  <a:pt x="573" y="285"/>
                </a:cubicBezTo>
                <a:cubicBezTo>
                  <a:pt x="573" y="285"/>
                  <a:pt x="573" y="285"/>
                  <a:pt x="573" y="286"/>
                </a:cubicBezTo>
                <a:cubicBezTo>
                  <a:pt x="573" y="286"/>
                  <a:pt x="573" y="286"/>
                  <a:pt x="571" y="286"/>
                </a:cubicBezTo>
                <a:cubicBezTo>
                  <a:pt x="571" y="286"/>
                  <a:pt x="571" y="286"/>
                  <a:pt x="570" y="286"/>
                </a:cubicBezTo>
                <a:cubicBezTo>
                  <a:pt x="570" y="286"/>
                  <a:pt x="570" y="286"/>
                  <a:pt x="569" y="286"/>
                </a:cubicBezTo>
                <a:cubicBezTo>
                  <a:pt x="569" y="286"/>
                  <a:pt x="569" y="286"/>
                  <a:pt x="569" y="285"/>
                </a:cubicBezTo>
                <a:cubicBezTo>
                  <a:pt x="569" y="285"/>
                  <a:pt x="569" y="285"/>
                  <a:pt x="568" y="284"/>
                </a:cubicBezTo>
                <a:cubicBezTo>
                  <a:pt x="568" y="284"/>
                  <a:pt x="568" y="284"/>
                  <a:pt x="567" y="284"/>
                </a:cubicBezTo>
                <a:cubicBezTo>
                  <a:pt x="567" y="284"/>
                  <a:pt x="567" y="284"/>
                  <a:pt x="567" y="283"/>
                </a:cubicBezTo>
                <a:cubicBezTo>
                  <a:pt x="567" y="283"/>
                  <a:pt x="567" y="283"/>
                  <a:pt x="566" y="283"/>
                </a:cubicBezTo>
                <a:cubicBezTo>
                  <a:pt x="566" y="283"/>
                  <a:pt x="566" y="283"/>
                  <a:pt x="565" y="283"/>
                </a:cubicBezTo>
                <a:cubicBezTo>
                  <a:pt x="565" y="283"/>
                  <a:pt x="565" y="283"/>
                  <a:pt x="563" y="283"/>
                </a:cubicBezTo>
                <a:cubicBezTo>
                  <a:pt x="563" y="283"/>
                  <a:pt x="563" y="283"/>
                  <a:pt x="562" y="283"/>
                </a:cubicBezTo>
                <a:cubicBezTo>
                  <a:pt x="562" y="283"/>
                  <a:pt x="562" y="283"/>
                  <a:pt x="561" y="283"/>
                </a:cubicBezTo>
                <a:cubicBezTo>
                  <a:pt x="561" y="283"/>
                  <a:pt x="561" y="283"/>
                  <a:pt x="560" y="283"/>
                </a:cubicBezTo>
                <a:cubicBezTo>
                  <a:pt x="560" y="283"/>
                  <a:pt x="560" y="283"/>
                  <a:pt x="557" y="283"/>
                </a:cubicBezTo>
                <a:cubicBezTo>
                  <a:pt x="557" y="283"/>
                  <a:pt x="557" y="283"/>
                  <a:pt x="557" y="282"/>
                </a:cubicBezTo>
                <a:cubicBezTo>
                  <a:pt x="557" y="282"/>
                  <a:pt x="557" y="282"/>
                  <a:pt x="558" y="282"/>
                </a:cubicBezTo>
                <a:cubicBezTo>
                  <a:pt x="558" y="282"/>
                  <a:pt x="558" y="282"/>
                  <a:pt x="559" y="282"/>
                </a:cubicBezTo>
                <a:cubicBezTo>
                  <a:pt x="559" y="282"/>
                  <a:pt x="559" y="282"/>
                  <a:pt x="558" y="280"/>
                </a:cubicBezTo>
                <a:cubicBezTo>
                  <a:pt x="558" y="280"/>
                  <a:pt x="558" y="280"/>
                  <a:pt x="559" y="279"/>
                </a:cubicBezTo>
                <a:cubicBezTo>
                  <a:pt x="559" y="279"/>
                  <a:pt x="559" y="279"/>
                  <a:pt x="559" y="278"/>
                </a:cubicBezTo>
                <a:cubicBezTo>
                  <a:pt x="559" y="278"/>
                  <a:pt x="559" y="278"/>
                  <a:pt x="560" y="277"/>
                </a:cubicBezTo>
                <a:cubicBezTo>
                  <a:pt x="560" y="277"/>
                  <a:pt x="560" y="277"/>
                  <a:pt x="559" y="277"/>
                </a:cubicBezTo>
                <a:cubicBezTo>
                  <a:pt x="559" y="277"/>
                  <a:pt x="559" y="277"/>
                  <a:pt x="558" y="277"/>
                </a:cubicBezTo>
                <a:cubicBezTo>
                  <a:pt x="558" y="277"/>
                  <a:pt x="558" y="277"/>
                  <a:pt x="559" y="278"/>
                </a:cubicBezTo>
                <a:cubicBezTo>
                  <a:pt x="559" y="278"/>
                  <a:pt x="559" y="278"/>
                  <a:pt x="558" y="279"/>
                </a:cubicBezTo>
                <a:cubicBezTo>
                  <a:pt x="558" y="279"/>
                  <a:pt x="558" y="279"/>
                  <a:pt x="557" y="279"/>
                </a:cubicBezTo>
                <a:cubicBezTo>
                  <a:pt x="557" y="279"/>
                  <a:pt x="557" y="279"/>
                  <a:pt x="557" y="278"/>
                </a:cubicBezTo>
                <a:cubicBezTo>
                  <a:pt x="557" y="278"/>
                  <a:pt x="557" y="278"/>
                  <a:pt x="556" y="278"/>
                </a:cubicBezTo>
                <a:cubicBezTo>
                  <a:pt x="556" y="278"/>
                  <a:pt x="556" y="278"/>
                  <a:pt x="556" y="277"/>
                </a:cubicBezTo>
                <a:cubicBezTo>
                  <a:pt x="556" y="277"/>
                  <a:pt x="556" y="277"/>
                  <a:pt x="557" y="277"/>
                </a:cubicBezTo>
                <a:cubicBezTo>
                  <a:pt x="557" y="277"/>
                  <a:pt x="557" y="277"/>
                  <a:pt x="557" y="276"/>
                </a:cubicBezTo>
                <a:cubicBezTo>
                  <a:pt x="557" y="276"/>
                  <a:pt x="557" y="276"/>
                  <a:pt x="556" y="275"/>
                </a:cubicBezTo>
                <a:cubicBezTo>
                  <a:pt x="556" y="275"/>
                  <a:pt x="556" y="275"/>
                  <a:pt x="554" y="276"/>
                </a:cubicBezTo>
                <a:cubicBezTo>
                  <a:pt x="554" y="276"/>
                  <a:pt x="554" y="276"/>
                  <a:pt x="553" y="275"/>
                </a:cubicBezTo>
                <a:cubicBezTo>
                  <a:pt x="553" y="275"/>
                  <a:pt x="553" y="275"/>
                  <a:pt x="552" y="274"/>
                </a:cubicBezTo>
                <a:cubicBezTo>
                  <a:pt x="552" y="274"/>
                  <a:pt x="552" y="274"/>
                  <a:pt x="551" y="275"/>
                </a:cubicBezTo>
                <a:cubicBezTo>
                  <a:pt x="551" y="275"/>
                  <a:pt x="551" y="275"/>
                  <a:pt x="550" y="275"/>
                </a:cubicBezTo>
                <a:cubicBezTo>
                  <a:pt x="550" y="275"/>
                  <a:pt x="550" y="275"/>
                  <a:pt x="550" y="274"/>
                </a:cubicBezTo>
                <a:cubicBezTo>
                  <a:pt x="550" y="274"/>
                  <a:pt x="550" y="274"/>
                  <a:pt x="551" y="274"/>
                </a:cubicBezTo>
                <a:cubicBezTo>
                  <a:pt x="551" y="274"/>
                  <a:pt x="551" y="274"/>
                  <a:pt x="551" y="273"/>
                </a:cubicBezTo>
                <a:cubicBezTo>
                  <a:pt x="551" y="273"/>
                  <a:pt x="551" y="273"/>
                  <a:pt x="549" y="272"/>
                </a:cubicBezTo>
                <a:cubicBezTo>
                  <a:pt x="549" y="272"/>
                  <a:pt x="549" y="272"/>
                  <a:pt x="549" y="271"/>
                </a:cubicBezTo>
                <a:cubicBezTo>
                  <a:pt x="549" y="271"/>
                  <a:pt x="549" y="271"/>
                  <a:pt x="550" y="271"/>
                </a:cubicBezTo>
                <a:cubicBezTo>
                  <a:pt x="550" y="271"/>
                  <a:pt x="550" y="271"/>
                  <a:pt x="551" y="271"/>
                </a:cubicBezTo>
                <a:cubicBezTo>
                  <a:pt x="551" y="271"/>
                  <a:pt x="551" y="271"/>
                  <a:pt x="550" y="270"/>
                </a:cubicBezTo>
                <a:cubicBezTo>
                  <a:pt x="550" y="270"/>
                  <a:pt x="550" y="270"/>
                  <a:pt x="549" y="271"/>
                </a:cubicBezTo>
                <a:cubicBezTo>
                  <a:pt x="549" y="271"/>
                  <a:pt x="549" y="271"/>
                  <a:pt x="548" y="271"/>
                </a:cubicBezTo>
                <a:cubicBezTo>
                  <a:pt x="548" y="271"/>
                  <a:pt x="548" y="271"/>
                  <a:pt x="548" y="270"/>
                </a:cubicBezTo>
                <a:cubicBezTo>
                  <a:pt x="548" y="270"/>
                  <a:pt x="548" y="270"/>
                  <a:pt x="549" y="269"/>
                </a:cubicBezTo>
                <a:cubicBezTo>
                  <a:pt x="549" y="269"/>
                  <a:pt x="549" y="269"/>
                  <a:pt x="549" y="268"/>
                </a:cubicBezTo>
                <a:cubicBezTo>
                  <a:pt x="549" y="268"/>
                  <a:pt x="549" y="268"/>
                  <a:pt x="549" y="267"/>
                </a:cubicBezTo>
                <a:cubicBezTo>
                  <a:pt x="549" y="267"/>
                  <a:pt x="549" y="267"/>
                  <a:pt x="550" y="267"/>
                </a:cubicBezTo>
                <a:cubicBezTo>
                  <a:pt x="550" y="267"/>
                  <a:pt x="550" y="267"/>
                  <a:pt x="551" y="266"/>
                </a:cubicBezTo>
                <a:cubicBezTo>
                  <a:pt x="551" y="266"/>
                  <a:pt x="551" y="266"/>
                  <a:pt x="553" y="266"/>
                </a:cubicBezTo>
                <a:cubicBezTo>
                  <a:pt x="553" y="266"/>
                  <a:pt x="553" y="266"/>
                  <a:pt x="553" y="265"/>
                </a:cubicBezTo>
                <a:cubicBezTo>
                  <a:pt x="553" y="265"/>
                  <a:pt x="553" y="265"/>
                  <a:pt x="552" y="265"/>
                </a:cubicBezTo>
                <a:cubicBezTo>
                  <a:pt x="552" y="265"/>
                  <a:pt x="552" y="265"/>
                  <a:pt x="551" y="265"/>
                </a:cubicBezTo>
                <a:cubicBezTo>
                  <a:pt x="551" y="265"/>
                  <a:pt x="551" y="265"/>
                  <a:pt x="549" y="266"/>
                </a:cubicBezTo>
                <a:cubicBezTo>
                  <a:pt x="549" y="266"/>
                  <a:pt x="549" y="266"/>
                  <a:pt x="548" y="267"/>
                </a:cubicBezTo>
                <a:cubicBezTo>
                  <a:pt x="548" y="267"/>
                  <a:pt x="548" y="267"/>
                  <a:pt x="547" y="266"/>
                </a:cubicBezTo>
                <a:cubicBezTo>
                  <a:pt x="547" y="266"/>
                  <a:pt x="547" y="266"/>
                  <a:pt x="546" y="267"/>
                </a:cubicBezTo>
                <a:cubicBezTo>
                  <a:pt x="546" y="267"/>
                  <a:pt x="546" y="267"/>
                  <a:pt x="545" y="268"/>
                </a:cubicBezTo>
                <a:cubicBezTo>
                  <a:pt x="545" y="268"/>
                  <a:pt x="545" y="268"/>
                  <a:pt x="545" y="267"/>
                </a:cubicBezTo>
                <a:cubicBezTo>
                  <a:pt x="545" y="267"/>
                  <a:pt x="545" y="267"/>
                  <a:pt x="545" y="266"/>
                </a:cubicBezTo>
                <a:cubicBezTo>
                  <a:pt x="545" y="266"/>
                  <a:pt x="545" y="266"/>
                  <a:pt x="546" y="265"/>
                </a:cubicBezTo>
                <a:cubicBezTo>
                  <a:pt x="546" y="265"/>
                  <a:pt x="546" y="265"/>
                  <a:pt x="545" y="265"/>
                </a:cubicBezTo>
                <a:cubicBezTo>
                  <a:pt x="545" y="265"/>
                  <a:pt x="545" y="265"/>
                  <a:pt x="544" y="266"/>
                </a:cubicBezTo>
                <a:cubicBezTo>
                  <a:pt x="544" y="266"/>
                  <a:pt x="544" y="266"/>
                  <a:pt x="543" y="268"/>
                </a:cubicBezTo>
                <a:cubicBezTo>
                  <a:pt x="543" y="268"/>
                  <a:pt x="543" y="268"/>
                  <a:pt x="543" y="269"/>
                </a:cubicBezTo>
                <a:cubicBezTo>
                  <a:pt x="543" y="269"/>
                  <a:pt x="543" y="269"/>
                  <a:pt x="542" y="266"/>
                </a:cubicBezTo>
                <a:cubicBezTo>
                  <a:pt x="542" y="266"/>
                  <a:pt x="542" y="266"/>
                  <a:pt x="542" y="265"/>
                </a:cubicBezTo>
                <a:cubicBezTo>
                  <a:pt x="542" y="265"/>
                  <a:pt x="542" y="265"/>
                  <a:pt x="545" y="264"/>
                </a:cubicBezTo>
                <a:cubicBezTo>
                  <a:pt x="545" y="264"/>
                  <a:pt x="545" y="264"/>
                  <a:pt x="543" y="264"/>
                </a:cubicBezTo>
                <a:cubicBezTo>
                  <a:pt x="543" y="264"/>
                  <a:pt x="543" y="264"/>
                  <a:pt x="542" y="264"/>
                </a:cubicBezTo>
                <a:cubicBezTo>
                  <a:pt x="542" y="264"/>
                  <a:pt x="542" y="264"/>
                  <a:pt x="541" y="263"/>
                </a:cubicBezTo>
                <a:cubicBezTo>
                  <a:pt x="541" y="263"/>
                  <a:pt x="541" y="263"/>
                  <a:pt x="539" y="264"/>
                </a:cubicBezTo>
                <a:cubicBezTo>
                  <a:pt x="539" y="264"/>
                  <a:pt x="539" y="264"/>
                  <a:pt x="539" y="266"/>
                </a:cubicBezTo>
                <a:cubicBezTo>
                  <a:pt x="539" y="266"/>
                  <a:pt x="539" y="266"/>
                  <a:pt x="538" y="266"/>
                </a:cubicBezTo>
                <a:cubicBezTo>
                  <a:pt x="538" y="266"/>
                  <a:pt x="538" y="266"/>
                  <a:pt x="536" y="266"/>
                </a:cubicBezTo>
                <a:cubicBezTo>
                  <a:pt x="536" y="266"/>
                  <a:pt x="536" y="266"/>
                  <a:pt x="536" y="267"/>
                </a:cubicBezTo>
                <a:cubicBezTo>
                  <a:pt x="536" y="267"/>
                  <a:pt x="536" y="267"/>
                  <a:pt x="538" y="268"/>
                </a:cubicBezTo>
                <a:cubicBezTo>
                  <a:pt x="538" y="268"/>
                  <a:pt x="538" y="268"/>
                  <a:pt x="539" y="268"/>
                </a:cubicBezTo>
                <a:cubicBezTo>
                  <a:pt x="539" y="268"/>
                  <a:pt x="539" y="268"/>
                  <a:pt x="539" y="269"/>
                </a:cubicBezTo>
                <a:cubicBezTo>
                  <a:pt x="539" y="269"/>
                  <a:pt x="539" y="269"/>
                  <a:pt x="538" y="270"/>
                </a:cubicBezTo>
                <a:cubicBezTo>
                  <a:pt x="538" y="270"/>
                  <a:pt x="538" y="270"/>
                  <a:pt x="537" y="269"/>
                </a:cubicBezTo>
                <a:cubicBezTo>
                  <a:pt x="537" y="269"/>
                  <a:pt x="537" y="269"/>
                  <a:pt x="536" y="269"/>
                </a:cubicBezTo>
                <a:cubicBezTo>
                  <a:pt x="536" y="269"/>
                  <a:pt x="536" y="269"/>
                  <a:pt x="536" y="270"/>
                </a:cubicBezTo>
                <a:cubicBezTo>
                  <a:pt x="536" y="270"/>
                  <a:pt x="536" y="270"/>
                  <a:pt x="537" y="270"/>
                </a:cubicBezTo>
                <a:cubicBezTo>
                  <a:pt x="537" y="270"/>
                  <a:pt x="537" y="270"/>
                  <a:pt x="538" y="271"/>
                </a:cubicBezTo>
                <a:cubicBezTo>
                  <a:pt x="538" y="271"/>
                  <a:pt x="538" y="271"/>
                  <a:pt x="539" y="271"/>
                </a:cubicBezTo>
                <a:cubicBezTo>
                  <a:pt x="539" y="271"/>
                  <a:pt x="539" y="271"/>
                  <a:pt x="539" y="272"/>
                </a:cubicBezTo>
                <a:cubicBezTo>
                  <a:pt x="539" y="272"/>
                  <a:pt x="539" y="272"/>
                  <a:pt x="539" y="273"/>
                </a:cubicBezTo>
                <a:cubicBezTo>
                  <a:pt x="539" y="273"/>
                  <a:pt x="539" y="273"/>
                  <a:pt x="536" y="274"/>
                </a:cubicBezTo>
                <a:cubicBezTo>
                  <a:pt x="536" y="274"/>
                  <a:pt x="536" y="274"/>
                  <a:pt x="536" y="275"/>
                </a:cubicBezTo>
                <a:cubicBezTo>
                  <a:pt x="536" y="275"/>
                  <a:pt x="536" y="275"/>
                  <a:pt x="537" y="275"/>
                </a:cubicBezTo>
                <a:cubicBezTo>
                  <a:pt x="537" y="275"/>
                  <a:pt x="537" y="275"/>
                  <a:pt x="536" y="276"/>
                </a:cubicBezTo>
                <a:cubicBezTo>
                  <a:pt x="536" y="276"/>
                  <a:pt x="536" y="276"/>
                  <a:pt x="534" y="276"/>
                </a:cubicBezTo>
                <a:cubicBezTo>
                  <a:pt x="534" y="276"/>
                  <a:pt x="534" y="276"/>
                  <a:pt x="533" y="278"/>
                </a:cubicBezTo>
                <a:cubicBezTo>
                  <a:pt x="533" y="278"/>
                  <a:pt x="533" y="278"/>
                  <a:pt x="532" y="278"/>
                </a:cubicBezTo>
                <a:cubicBezTo>
                  <a:pt x="532" y="278"/>
                  <a:pt x="532" y="278"/>
                  <a:pt x="531" y="278"/>
                </a:cubicBezTo>
                <a:cubicBezTo>
                  <a:pt x="531" y="278"/>
                  <a:pt x="531" y="278"/>
                  <a:pt x="531" y="277"/>
                </a:cubicBezTo>
                <a:cubicBezTo>
                  <a:pt x="531" y="277"/>
                  <a:pt x="531" y="277"/>
                  <a:pt x="530" y="276"/>
                </a:cubicBezTo>
                <a:cubicBezTo>
                  <a:pt x="530" y="276"/>
                  <a:pt x="530" y="276"/>
                  <a:pt x="529" y="278"/>
                </a:cubicBezTo>
                <a:cubicBezTo>
                  <a:pt x="529" y="278"/>
                  <a:pt x="529" y="278"/>
                  <a:pt x="528" y="277"/>
                </a:cubicBezTo>
                <a:cubicBezTo>
                  <a:pt x="528" y="277"/>
                  <a:pt x="528" y="277"/>
                  <a:pt x="529" y="276"/>
                </a:cubicBezTo>
                <a:cubicBezTo>
                  <a:pt x="529" y="276"/>
                  <a:pt x="529" y="276"/>
                  <a:pt x="529" y="275"/>
                </a:cubicBezTo>
                <a:cubicBezTo>
                  <a:pt x="529" y="275"/>
                  <a:pt x="529" y="275"/>
                  <a:pt x="528" y="275"/>
                </a:cubicBezTo>
                <a:cubicBezTo>
                  <a:pt x="528" y="275"/>
                  <a:pt x="528" y="275"/>
                  <a:pt x="528" y="277"/>
                </a:cubicBezTo>
                <a:cubicBezTo>
                  <a:pt x="528" y="277"/>
                  <a:pt x="528" y="277"/>
                  <a:pt x="526" y="279"/>
                </a:cubicBezTo>
                <a:cubicBezTo>
                  <a:pt x="526" y="279"/>
                  <a:pt x="526" y="279"/>
                  <a:pt x="527" y="277"/>
                </a:cubicBezTo>
                <a:cubicBezTo>
                  <a:pt x="527" y="277"/>
                  <a:pt x="527" y="277"/>
                  <a:pt x="526" y="277"/>
                </a:cubicBezTo>
                <a:cubicBezTo>
                  <a:pt x="526" y="277"/>
                  <a:pt x="526" y="277"/>
                  <a:pt x="525" y="278"/>
                </a:cubicBezTo>
                <a:cubicBezTo>
                  <a:pt x="525" y="278"/>
                  <a:pt x="525" y="278"/>
                  <a:pt x="524" y="280"/>
                </a:cubicBezTo>
                <a:cubicBezTo>
                  <a:pt x="524" y="280"/>
                  <a:pt x="524" y="280"/>
                  <a:pt x="524" y="281"/>
                </a:cubicBezTo>
                <a:cubicBezTo>
                  <a:pt x="524" y="281"/>
                  <a:pt x="524" y="281"/>
                  <a:pt x="523" y="280"/>
                </a:cubicBezTo>
                <a:cubicBezTo>
                  <a:pt x="523" y="280"/>
                  <a:pt x="523" y="280"/>
                  <a:pt x="522" y="280"/>
                </a:cubicBezTo>
                <a:cubicBezTo>
                  <a:pt x="522" y="280"/>
                  <a:pt x="522" y="280"/>
                  <a:pt x="520" y="282"/>
                </a:cubicBezTo>
                <a:cubicBezTo>
                  <a:pt x="520" y="282"/>
                  <a:pt x="520" y="282"/>
                  <a:pt x="519" y="282"/>
                </a:cubicBezTo>
                <a:cubicBezTo>
                  <a:pt x="519" y="282"/>
                  <a:pt x="519" y="282"/>
                  <a:pt x="518" y="281"/>
                </a:cubicBezTo>
                <a:cubicBezTo>
                  <a:pt x="518" y="281"/>
                  <a:pt x="518" y="281"/>
                  <a:pt x="519" y="280"/>
                </a:cubicBezTo>
                <a:cubicBezTo>
                  <a:pt x="519" y="280"/>
                  <a:pt x="519" y="280"/>
                  <a:pt x="518" y="280"/>
                </a:cubicBezTo>
                <a:cubicBezTo>
                  <a:pt x="518" y="280"/>
                  <a:pt x="518" y="280"/>
                  <a:pt x="518" y="281"/>
                </a:cubicBezTo>
                <a:cubicBezTo>
                  <a:pt x="518" y="282"/>
                  <a:pt x="518" y="282"/>
                  <a:pt x="518" y="282"/>
                </a:cubicBezTo>
                <a:cubicBezTo>
                  <a:pt x="518" y="282"/>
                  <a:pt x="518" y="282"/>
                  <a:pt x="516" y="283"/>
                </a:cubicBezTo>
                <a:cubicBezTo>
                  <a:pt x="516" y="283"/>
                  <a:pt x="516" y="283"/>
                  <a:pt x="515" y="283"/>
                </a:cubicBezTo>
                <a:cubicBezTo>
                  <a:pt x="515" y="283"/>
                  <a:pt x="515" y="283"/>
                  <a:pt x="515" y="284"/>
                </a:cubicBezTo>
                <a:cubicBezTo>
                  <a:pt x="515" y="284"/>
                  <a:pt x="515" y="284"/>
                  <a:pt x="514" y="284"/>
                </a:cubicBezTo>
                <a:cubicBezTo>
                  <a:pt x="514" y="284"/>
                  <a:pt x="514" y="284"/>
                  <a:pt x="514" y="283"/>
                </a:cubicBezTo>
                <a:cubicBezTo>
                  <a:pt x="514" y="283"/>
                  <a:pt x="514" y="283"/>
                  <a:pt x="513" y="283"/>
                </a:cubicBezTo>
                <a:cubicBezTo>
                  <a:pt x="513" y="283"/>
                  <a:pt x="513" y="283"/>
                  <a:pt x="513" y="285"/>
                </a:cubicBezTo>
                <a:cubicBezTo>
                  <a:pt x="513" y="285"/>
                  <a:pt x="513" y="285"/>
                  <a:pt x="512" y="284"/>
                </a:cubicBezTo>
                <a:cubicBezTo>
                  <a:pt x="512" y="284"/>
                  <a:pt x="512" y="284"/>
                  <a:pt x="512" y="285"/>
                </a:cubicBezTo>
                <a:cubicBezTo>
                  <a:pt x="512" y="285"/>
                  <a:pt x="512" y="285"/>
                  <a:pt x="511" y="285"/>
                </a:cubicBezTo>
                <a:cubicBezTo>
                  <a:pt x="511" y="285"/>
                  <a:pt x="511" y="285"/>
                  <a:pt x="510" y="283"/>
                </a:cubicBezTo>
                <a:cubicBezTo>
                  <a:pt x="510" y="283"/>
                  <a:pt x="510" y="283"/>
                  <a:pt x="509" y="282"/>
                </a:cubicBezTo>
                <a:cubicBezTo>
                  <a:pt x="509" y="282"/>
                  <a:pt x="509" y="282"/>
                  <a:pt x="510" y="281"/>
                </a:cubicBezTo>
                <a:cubicBezTo>
                  <a:pt x="510" y="281"/>
                  <a:pt x="510" y="281"/>
                  <a:pt x="511" y="282"/>
                </a:cubicBezTo>
                <a:cubicBezTo>
                  <a:pt x="511" y="282"/>
                  <a:pt x="511" y="282"/>
                  <a:pt x="511" y="281"/>
                </a:cubicBezTo>
                <a:cubicBezTo>
                  <a:pt x="511" y="281"/>
                  <a:pt x="511" y="281"/>
                  <a:pt x="512" y="280"/>
                </a:cubicBezTo>
                <a:cubicBezTo>
                  <a:pt x="512" y="280"/>
                  <a:pt x="512" y="280"/>
                  <a:pt x="513" y="280"/>
                </a:cubicBezTo>
                <a:cubicBezTo>
                  <a:pt x="513" y="280"/>
                  <a:pt x="513" y="280"/>
                  <a:pt x="514" y="281"/>
                </a:cubicBezTo>
                <a:cubicBezTo>
                  <a:pt x="514" y="281"/>
                  <a:pt x="514" y="281"/>
                  <a:pt x="515" y="280"/>
                </a:cubicBezTo>
                <a:cubicBezTo>
                  <a:pt x="515" y="280"/>
                  <a:pt x="515" y="280"/>
                  <a:pt x="516" y="279"/>
                </a:cubicBezTo>
                <a:cubicBezTo>
                  <a:pt x="516" y="279"/>
                  <a:pt x="516" y="279"/>
                  <a:pt x="518" y="278"/>
                </a:cubicBezTo>
                <a:cubicBezTo>
                  <a:pt x="518" y="278"/>
                  <a:pt x="518" y="278"/>
                  <a:pt x="518" y="277"/>
                </a:cubicBezTo>
                <a:cubicBezTo>
                  <a:pt x="518" y="277"/>
                  <a:pt x="518" y="277"/>
                  <a:pt x="517" y="277"/>
                </a:cubicBezTo>
                <a:cubicBezTo>
                  <a:pt x="517" y="277"/>
                  <a:pt x="517" y="277"/>
                  <a:pt x="516" y="278"/>
                </a:cubicBezTo>
                <a:cubicBezTo>
                  <a:pt x="516" y="278"/>
                  <a:pt x="516" y="278"/>
                  <a:pt x="515" y="278"/>
                </a:cubicBezTo>
                <a:cubicBezTo>
                  <a:pt x="515" y="278"/>
                  <a:pt x="515" y="278"/>
                  <a:pt x="515" y="279"/>
                </a:cubicBezTo>
                <a:cubicBezTo>
                  <a:pt x="515" y="279"/>
                  <a:pt x="515" y="279"/>
                  <a:pt x="513" y="277"/>
                </a:cubicBezTo>
                <a:cubicBezTo>
                  <a:pt x="513" y="277"/>
                  <a:pt x="513" y="277"/>
                  <a:pt x="513" y="276"/>
                </a:cubicBezTo>
                <a:cubicBezTo>
                  <a:pt x="513" y="276"/>
                  <a:pt x="513" y="276"/>
                  <a:pt x="514" y="275"/>
                </a:cubicBezTo>
                <a:cubicBezTo>
                  <a:pt x="514" y="275"/>
                  <a:pt x="514" y="275"/>
                  <a:pt x="518" y="272"/>
                </a:cubicBezTo>
                <a:cubicBezTo>
                  <a:pt x="518" y="272"/>
                  <a:pt x="518" y="272"/>
                  <a:pt x="519" y="270"/>
                </a:cubicBezTo>
                <a:cubicBezTo>
                  <a:pt x="519" y="270"/>
                  <a:pt x="519" y="270"/>
                  <a:pt x="520" y="269"/>
                </a:cubicBezTo>
                <a:cubicBezTo>
                  <a:pt x="520" y="269"/>
                  <a:pt x="520" y="269"/>
                  <a:pt x="521" y="267"/>
                </a:cubicBezTo>
                <a:cubicBezTo>
                  <a:pt x="521" y="267"/>
                  <a:pt x="521" y="267"/>
                  <a:pt x="521" y="265"/>
                </a:cubicBezTo>
                <a:cubicBezTo>
                  <a:pt x="521" y="265"/>
                  <a:pt x="521" y="265"/>
                  <a:pt x="522" y="264"/>
                </a:cubicBezTo>
                <a:cubicBezTo>
                  <a:pt x="522" y="264"/>
                  <a:pt x="522" y="264"/>
                  <a:pt x="524" y="264"/>
                </a:cubicBezTo>
                <a:cubicBezTo>
                  <a:pt x="524" y="264"/>
                  <a:pt x="524" y="264"/>
                  <a:pt x="526" y="263"/>
                </a:cubicBezTo>
                <a:cubicBezTo>
                  <a:pt x="526" y="263"/>
                  <a:pt x="526" y="263"/>
                  <a:pt x="527" y="263"/>
                </a:cubicBezTo>
                <a:cubicBezTo>
                  <a:pt x="527" y="263"/>
                  <a:pt x="527" y="263"/>
                  <a:pt x="529" y="262"/>
                </a:cubicBezTo>
                <a:cubicBezTo>
                  <a:pt x="529" y="262"/>
                  <a:pt x="529" y="262"/>
                  <a:pt x="529" y="263"/>
                </a:cubicBezTo>
                <a:cubicBezTo>
                  <a:pt x="529" y="263"/>
                  <a:pt x="529" y="263"/>
                  <a:pt x="530" y="264"/>
                </a:cubicBezTo>
                <a:cubicBezTo>
                  <a:pt x="530" y="264"/>
                  <a:pt x="530" y="264"/>
                  <a:pt x="531" y="264"/>
                </a:cubicBezTo>
                <a:cubicBezTo>
                  <a:pt x="531" y="264"/>
                  <a:pt x="531" y="264"/>
                  <a:pt x="532" y="264"/>
                </a:cubicBezTo>
                <a:cubicBezTo>
                  <a:pt x="532" y="264"/>
                  <a:pt x="532" y="264"/>
                  <a:pt x="533" y="264"/>
                </a:cubicBezTo>
                <a:cubicBezTo>
                  <a:pt x="533" y="264"/>
                  <a:pt x="533" y="264"/>
                  <a:pt x="534" y="265"/>
                </a:cubicBezTo>
                <a:cubicBezTo>
                  <a:pt x="534" y="265"/>
                  <a:pt x="534" y="265"/>
                  <a:pt x="534" y="264"/>
                </a:cubicBezTo>
                <a:cubicBezTo>
                  <a:pt x="534" y="264"/>
                  <a:pt x="534" y="264"/>
                  <a:pt x="532" y="262"/>
                </a:cubicBezTo>
                <a:cubicBezTo>
                  <a:pt x="532" y="262"/>
                  <a:pt x="532" y="262"/>
                  <a:pt x="532" y="261"/>
                </a:cubicBezTo>
                <a:cubicBezTo>
                  <a:pt x="532" y="261"/>
                  <a:pt x="532" y="261"/>
                  <a:pt x="535" y="258"/>
                </a:cubicBezTo>
                <a:cubicBezTo>
                  <a:pt x="535" y="258"/>
                  <a:pt x="535" y="258"/>
                  <a:pt x="537" y="258"/>
                </a:cubicBezTo>
                <a:cubicBezTo>
                  <a:pt x="537" y="258"/>
                  <a:pt x="537" y="258"/>
                  <a:pt x="539" y="257"/>
                </a:cubicBezTo>
                <a:cubicBezTo>
                  <a:pt x="539" y="257"/>
                  <a:pt x="539" y="257"/>
                  <a:pt x="539" y="255"/>
                </a:cubicBezTo>
                <a:cubicBezTo>
                  <a:pt x="539" y="255"/>
                  <a:pt x="539" y="255"/>
                  <a:pt x="538" y="256"/>
                </a:cubicBezTo>
                <a:cubicBezTo>
                  <a:pt x="538" y="256"/>
                  <a:pt x="538" y="256"/>
                  <a:pt x="536" y="257"/>
                </a:cubicBezTo>
                <a:cubicBezTo>
                  <a:pt x="536" y="257"/>
                  <a:pt x="536" y="257"/>
                  <a:pt x="535" y="257"/>
                </a:cubicBezTo>
                <a:cubicBezTo>
                  <a:pt x="535" y="257"/>
                  <a:pt x="535" y="257"/>
                  <a:pt x="533" y="259"/>
                </a:cubicBezTo>
                <a:cubicBezTo>
                  <a:pt x="533" y="259"/>
                  <a:pt x="533" y="259"/>
                  <a:pt x="532" y="258"/>
                </a:cubicBezTo>
                <a:cubicBezTo>
                  <a:pt x="532" y="258"/>
                  <a:pt x="532" y="258"/>
                  <a:pt x="531" y="258"/>
                </a:cubicBezTo>
                <a:cubicBezTo>
                  <a:pt x="531" y="258"/>
                  <a:pt x="531" y="258"/>
                  <a:pt x="531" y="257"/>
                </a:cubicBezTo>
                <a:cubicBezTo>
                  <a:pt x="531" y="257"/>
                  <a:pt x="531" y="257"/>
                  <a:pt x="532" y="255"/>
                </a:cubicBezTo>
                <a:cubicBezTo>
                  <a:pt x="532" y="255"/>
                  <a:pt x="532" y="255"/>
                  <a:pt x="530" y="258"/>
                </a:cubicBezTo>
                <a:cubicBezTo>
                  <a:pt x="530" y="258"/>
                  <a:pt x="530" y="258"/>
                  <a:pt x="528" y="258"/>
                </a:cubicBezTo>
                <a:cubicBezTo>
                  <a:pt x="528" y="258"/>
                  <a:pt x="528" y="258"/>
                  <a:pt x="525" y="260"/>
                </a:cubicBezTo>
                <a:cubicBezTo>
                  <a:pt x="525" y="260"/>
                  <a:pt x="525" y="260"/>
                  <a:pt x="523" y="260"/>
                </a:cubicBezTo>
                <a:cubicBezTo>
                  <a:pt x="523" y="260"/>
                  <a:pt x="523" y="260"/>
                  <a:pt x="520" y="262"/>
                </a:cubicBezTo>
                <a:cubicBezTo>
                  <a:pt x="520" y="262"/>
                  <a:pt x="520" y="262"/>
                  <a:pt x="520" y="263"/>
                </a:cubicBezTo>
                <a:cubicBezTo>
                  <a:pt x="520" y="263"/>
                  <a:pt x="520" y="263"/>
                  <a:pt x="520" y="264"/>
                </a:cubicBezTo>
                <a:cubicBezTo>
                  <a:pt x="520" y="264"/>
                  <a:pt x="520" y="264"/>
                  <a:pt x="518" y="264"/>
                </a:cubicBezTo>
                <a:cubicBezTo>
                  <a:pt x="518" y="264"/>
                  <a:pt x="518" y="264"/>
                  <a:pt x="517" y="265"/>
                </a:cubicBezTo>
                <a:cubicBezTo>
                  <a:pt x="517" y="265"/>
                  <a:pt x="517" y="265"/>
                  <a:pt x="514" y="267"/>
                </a:cubicBezTo>
                <a:cubicBezTo>
                  <a:pt x="514" y="267"/>
                  <a:pt x="514" y="267"/>
                  <a:pt x="513" y="268"/>
                </a:cubicBezTo>
                <a:cubicBezTo>
                  <a:pt x="513" y="268"/>
                  <a:pt x="513" y="268"/>
                  <a:pt x="511" y="269"/>
                </a:cubicBezTo>
                <a:cubicBezTo>
                  <a:pt x="511" y="269"/>
                  <a:pt x="511" y="269"/>
                  <a:pt x="510" y="268"/>
                </a:cubicBezTo>
                <a:cubicBezTo>
                  <a:pt x="510" y="268"/>
                  <a:pt x="510" y="268"/>
                  <a:pt x="509" y="268"/>
                </a:cubicBezTo>
                <a:cubicBezTo>
                  <a:pt x="508" y="268"/>
                  <a:pt x="508" y="268"/>
                  <a:pt x="508" y="268"/>
                </a:cubicBezTo>
                <a:cubicBezTo>
                  <a:pt x="508" y="269"/>
                  <a:pt x="508" y="269"/>
                  <a:pt x="508" y="269"/>
                </a:cubicBezTo>
                <a:cubicBezTo>
                  <a:pt x="509" y="268"/>
                  <a:pt x="509" y="268"/>
                  <a:pt x="509" y="268"/>
                </a:cubicBezTo>
                <a:cubicBezTo>
                  <a:pt x="509" y="268"/>
                  <a:pt x="509" y="268"/>
                  <a:pt x="511" y="269"/>
                </a:cubicBezTo>
                <a:cubicBezTo>
                  <a:pt x="511" y="269"/>
                  <a:pt x="511" y="269"/>
                  <a:pt x="511" y="271"/>
                </a:cubicBezTo>
                <a:cubicBezTo>
                  <a:pt x="511" y="271"/>
                  <a:pt x="511" y="271"/>
                  <a:pt x="511" y="273"/>
                </a:cubicBezTo>
                <a:cubicBezTo>
                  <a:pt x="511" y="273"/>
                  <a:pt x="511" y="273"/>
                  <a:pt x="509" y="273"/>
                </a:cubicBezTo>
                <a:cubicBezTo>
                  <a:pt x="509" y="273"/>
                  <a:pt x="509" y="273"/>
                  <a:pt x="508" y="273"/>
                </a:cubicBezTo>
                <a:cubicBezTo>
                  <a:pt x="508" y="273"/>
                  <a:pt x="508" y="273"/>
                  <a:pt x="507" y="273"/>
                </a:cubicBezTo>
                <a:cubicBezTo>
                  <a:pt x="507" y="273"/>
                  <a:pt x="507" y="273"/>
                  <a:pt x="507" y="274"/>
                </a:cubicBezTo>
                <a:cubicBezTo>
                  <a:pt x="507" y="274"/>
                  <a:pt x="507" y="274"/>
                  <a:pt x="508" y="274"/>
                </a:cubicBezTo>
                <a:cubicBezTo>
                  <a:pt x="508" y="274"/>
                  <a:pt x="508" y="274"/>
                  <a:pt x="507" y="276"/>
                </a:cubicBezTo>
                <a:cubicBezTo>
                  <a:pt x="507" y="276"/>
                  <a:pt x="507" y="276"/>
                  <a:pt x="506" y="276"/>
                </a:cubicBezTo>
                <a:cubicBezTo>
                  <a:pt x="506" y="276"/>
                  <a:pt x="506" y="276"/>
                  <a:pt x="506" y="275"/>
                </a:cubicBezTo>
                <a:cubicBezTo>
                  <a:pt x="506" y="275"/>
                  <a:pt x="506" y="275"/>
                  <a:pt x="506" y="274"/>
                </a:cubicBezTo>
                <a:cubicBezTo>
                  <a:pt x="506" y="274"/>
                  <a:pt x="506" y="274"/>
                  <a:pt x="504" y="275"/>
                </a:cubicBezTo>
                <a:cubicBezTo>
                  <a:pt x="504" y="275"/>
                  <a:pt x="504" y="275"/>
                  <a:pt x="503" y="274"/>
                </a:cubicBezTo>
                <a:cubicBezTo>
                  <a:pt x="503" y="274"/>
                  <a:pt x="503" y="274"/>
                  <a:pt x="502" y="275"/>
                </a:cubicBezTo>
                <a:cubicBezTo>
                  <a:pt x="502" y="275"/>
                  <a:pt x="502" y="275"/>
                  <a:pt x="500" y="275"/>
                </a:cubicBezTo>
                <a:cubicBezTo>
                  <a:pt x="500" y="275"/>
                  <a:pt x="500" y="275"/>
                  <a:pt x="500" y="276"/>
                </a:cubicBezTo>
                <a:cubicBezTo>
                  <a:pt x="500" y="276"/>
                  <a:pt x="500" y="276"/>
                  <a:pt x="499" y="277"/>
                </a:cubicBezTo>
                <a:cubicBezTo>
                  <a:pt x="499" y="277"/>
                  <a:pt x="499" y="277"/>
                  <a:pt x="497" y="278"/>
                </a:cubicBezTo>
                <a:cubicBezTo>
                  <a:pt x="497" y="278"/>
                  <a:pt x="497" y="278"/>
                  <a:pt x="497" y="279"/>
                </a:cubicBezTo>
                <a:cubicBezTo>
                  <a:pt x="497" y="279"/>
                  <a:pt x="497" y="279"/>
                  <a:pt x="497" y="280"/>
                </a:cubicBezTo>
                <a:cubicBezTo>
                  <a:pt x="497" y="280"/>
                  <a:pt x="497" y="280"/>
                  <a:pt x="498" y="280"/>
                </a:cubicBezTo>
                <a:cubicBezTo>
                  <a:pt x="498" y="280"/>
                  <a:pt x="498" y="280"/>
                  <a:pt x="499" y="281"/>
                </a:cubicBezTo>
                <a:cubicBezTo>
                  <a:pt x="499" y="281"/>
                  <a:pt x="499" y="281"/>
                  <a:pt x="500" y="282"/>
                </a:cubicBezTo>
                <a:cubicBezTo>
                  <a:pt x="500" y="282"/>
                  <a:pt x="500" y="282"/>
                  <a:pt x="500" y="284"/>
                </a:cubicBezTo>
                <a:cubicBezTo>
                  <a:pt x="500" y="284"/>
                  <a:pt x="500" y="284"/>
                  <a:pt x="499" y="286"/>
                </a:cubicBezTo>
                <a:cubicBezTo>
                  <a:pt x="499" y="286"/>
                  <a:pt x="499" y="286"/>
                  <a:pt x="498" y="286"/>
                </a:cubicBezTo>
                <a:cubicBezTo>
                  <a:pt x="498" y="286"/>
                  <a:pt x="498" y="286"/>
                  <a:pt x="497" y="287"/>
                </a:cubicBezTo>
                <a:cubicBezTo>
                  <a:pt x="497" y="287"/>
                  <a:pt x="497" y="287"/>
                  <a:pt x="495" y="287"/>
                </a:cubicBezTo>
                <a:cubicBezTo>
                  <a:pt x="495" y="287"/>
                  <a:pt x="495" y="287"/>
                  <a:pt x="494" y="288"/>
                </a:cubicBezTo>
                <a:cubicBezTo>
                  <a:pt x="494" y="288"/>
                  <a:pt x="494" y="288"/>
                  <a:pt x="493" y="288"/>
                </a:cubicBezTo>
                <a:cubicBezTo>
                  <a:pt x="493" y="288"/>
                  <a:pt x="493" y="288"/>
                  <a:pt x="492" y="288"/>
                </a:cubicBezTo>
                <a:cubicBezTo>
                  <a:pt x="492" y="288"/>
                  <a:pt x="492" y="288"/>
                  <a:pt x="493" y="289"/>
                </a:cubicBezTo>
                <a:cubicBezTo>
                  <a:pt x="493" y="289"/>
                  <a:pt x="493" y="289"/>
                  <a:pt x="492" y="289"/>
                </a:cubicBezTo>
                <a:cubicBezTo>
                  <a:pt x="492" y="289"/>
                  <a:pt x="492" y="289"/>
                  <a:pt x="491" y="290"/>
                </a:cubicBezTo>
                <a:cubicBezTo>
                  <a:pt x="491" y="290"/>
                  <a:pt x="491" y="290"/>
                  <a:pt x="490" y="291"/>
                </a:cubicBezTo>
                <a:cubicBezTo>
                  <a:pt x="490" y="291"/>
                  <a:pt x="490" y="291"/>
                  <a:pt x="491" y="291"/>
                </a:cubicBezTo>
                <a:cubicBezTo>
                  <a:pt x="491" y="291"/>
                  <a:pt x="491" y="291"/>
                  <a:pt x="492" y="291"/>
                </a:cubicBezTo>
                <a:cubicBezTo>
                  <a:pt x="492" y="291"/>
                  <a:pt x="492" y="291"/>
                  <a:pt x="491" y="293"/>
                </a:cubicBezTo>
                <a:cubicBezTo>
                  <a:pt x="491" y="293"/>
                  <a:pt x="491" y="293"/>
                  <a:pt x="490" y="292"/>
                </a:cubicBezTo>
                <a:cubicBezTo>
                  <a:pt x="490" y="292"/>
                  <a:pt x="490" y="292"/>
                  <a:pt x="489" y="293"/>
                </a:cubicBezTo>
                <a:cubicBezTo>
                  <a:pt x="489" y="293"/>
                  <a:pt x="489" y="293"/>
                  <a:pt x="489" y="292"/>
                </a:cubicBezTo>
                <a:cubicBezTo>
                  <a:pt x="489" y="292"/>
                  <a:pt x="489" y="292"/>
                  <a:pt x="488" y="292"/>
                </a:cubicBezTo>
                <a:cubicBezTo>
                  <a:pt x="488" y="292"/>
                  <a:pt x="488" y="292"/>
                  <a:pt x="488" y="294"/>
                </a:cubicBezTo>
                <a:cubicBezTo>
                  <a:pt x="488" y="294"/>
                  <a:pt x="488" y="294"/>
                  <a:pt x="486" y="293"/>
                </a:cubicBezTo>
                <a:cubicBezTo>
                  <a:pt x="486" y="293"/>
                  <a:pt x="486" y="293"/>
                  <a:pt x="485" y="294"/>
                </a:cubicBezTo>
                <a:cubicBezTo>
                  <a:pt x="485" y="294"/>
                  <a:pt x="485" y="294"/>
                  <a:pt x="484" y="294"/>
                </a:cubicBezTo>
                <a:cubicBezTo>
                  <a:pt x="484" y="294"/>
                  <a:pt x="484" y="294"/>
                  <a:pt x="484" y="295"/>
                </a:cubicBezTo>
                <a:cubicBezTo>
                  <a:pt x="484" y="295"/>
                  <a:pt x="484" y="295"/>
                  <a:pt x="483" y="295"/>
                </a:cubicBezTo>
                <a:cubicBezTo>
                  <a:pt x="483" y="295"/>
                  <a:pt x="483" y="295"/>
                  <a:pt x="483" y="296"/>
                </a:cubicBezTo>
                <a:cubicBezTo>
                  <a:pt x="483" y="296"/>
                  <a:pt x="483" y="296"/>
                  <a:pt x="482" y="296"/>
                </a:cubicBezTo>
                <a:cubicBezTo>
                  <a:pt x="482" y="296"/>
                  <a:pt x="482" y="296"/>
                  <a:pt x="482" y="295"/>
                </a:cubicBezTo>
                <a:cubicBezTo>
                  <a:pt x="482" y="295"/>
                  <a:pt x="482" y="295"/>
                  <a:pt x="481" y="295"/>
                </a:cubicBezTo>
                <a:cubicBezTo>
                  <a:pt x="481" y="295"/>
                  <a:pt x="481" y="295"/>
                  <a:pt x="480" y="296"/>
                </a:cubicBezTo>
                <a:cubicBezTo>
                  <a:pt x="480" y="296"/>
                  <a:pt x="480" y="296"/>
                  <a:pt x="479" y="297"/>
                </a:cubicBezTo>
                <a:cubicBezTo>
                  <a:pt x="479" y="297"/>
                  <a:pt x="479" y="297"/>
                  <a:pt x="478" y="297"/>
                </a:cubicBezTo>
                <a:cubicBezTo>
                  <a:pt x="478" y="297"/>
                  <a:pt x="478" y="297"/>
                  <a:pt x="477" y="299"/>
                </a:cubicBezTo>
                <a:cubicBezTo>
                  <a:pt x="477" y="299"/>
                  <a:pt x="477" y="299"/>
                  <a:pt x="476" y="298"/>
                </a:cubicBezTo>
                <a:cubicBezTo>
                  <a:pt x="476" y="298"/>
                  <a:pt x="476" y="298"/>
                  <a:pt x="475" y="299"/>
                </a:cubicBezTo>
                <a:cubicBezTo>
                  <a:pt x="475" y="299"/>
                  <a:pt x="475" y="299"/>
                  <a:pt x="474" y="300"/>
                </a:cubicBezTo>
                <a:cubicBezTo>
                  <a:pt x="474" y="300"/>
                  <a:pt x="474" y="300"/>
                  <a:pt x="472" y="301"/>
                </a:cubicBezTo>
                <a:cubicBezTo>
                  <a:pt x="472" y="301"/>
                  <a:pt x="472" y="301"/>
                  <a:pt x="473" y="301"/>
                </a:cubicBezTo>
                <a:cubicBezTo>
                  <a:pt x="473" y="301"/>
                  <a:pt x="473" y="301"/>
                  <a:pt x="474" y="301"/>
                </a:cubicBezTo>
                <a:cubicBezTo>
                  <a:pt x="474" y="301"/>
                  <a:pt x="474" y="301"/>
                  <a:pt x="474" y="302"/>
                </a:cubicBezTo>
                <a:cubicBezTo>
                  <a:pt x="474" y="302"/>
                  <a:pt x="474" y="302"/>
                  <a:pt x="472" y="304"/>
                </a:cubicBezTo>
                <a:cubicBezTo>
                  <a:pt x="472" y="304"/>
                  <a:pt x="472" y="304"/>
                  <a:pt x="471" y="304"/>
                </a:cubicBezTo>
                <a:cubicBezTo>
                  <a:pt x="471" y="304"/>
                  <a:pt x="471" y="304"/>
                  <a:pt x="471" y="303"/>
                </a:cubicBezTo>
                <a:cubicBezTo>
                  <a:pt x="471" y="303"/>
                  <a:pt x="471" y="303"/>
                  <a:pt x="470" y="303"/>
                </a:cubicBezTo>
                <a:cubicBezTo>
                  <a:pt x="470" y="303"/>
                  <a:pt x="470" y="303"/>
                  <a:pt x="470" y="305"/>
                </a:cubicBezTo>
                <a:cubicBezTo>
                  <a:pt x="470" y="305"/>
                  <a:pt x="470" y="305"/>
                  <a:pt x="469" y="304"/>
                </a:cubicBezTo>
                <a:cubicBezTo>
                  <a:pt x="469" y="304"/>
                  <a:pt x="469" y="304"/>
                  <a:pt x="468" y="305"/>
                </a:cubicBezTo>
                <a:cubicBezTo>
                  <a:pt x="468" y="305"/>
                  <a:pt x="468" y="305"/>
                  <a:pt x="467" y="306"/>
                </a:cubicBezTo>
                <a:cubicBezTo>
                  <a:pt x="467" y="306"/>
                  <a:pt x="467" y="306"/>
                  <a:pt x="466" y="306"/>
                </a:cubicBezTo>
                <a:cubicBezTo>
                  <a:pt x="466" y="306"/>
                  <a:pt x="466" y="306"/>
                  <a:pt x="466" y="305"/>
                </a:cubicBezTo>
                <a:cubicBezTo>
                  <a:pt x="466" y="305"/>
                  <a:pt x="466" y="305"/>
                  <a:pt x="465" y="305"/>
                </a:cubicBezTo>
                <a:cubicBezTo>
                  <a:pt x="465" y="305"/>
                  <a:pt x="465" y="305"/>
                  <a:pt x="465" y="306"/>
                </a:cubicBezTo>
                <a:cubicBezTo>
                  <a:pt x="465" y="306"/>
                  <a:pt x="465" y="306"/>
                  <a:pt x="464" y="307"/>
                </a:cubicBezTo>
                <a:cubicBezTo>
                  <a:pt x="464" y="307"/>
                  <a:pt x="464" y="307"/>
                  <a:pt x="464" y="308"/>
                </a:cubicBezTo>
                <a:cubicBezTo>
                  <a:pt x="464" y="308"/>
                  <a:pt x="464" y="308"/>
                  <a:pt x="463" y="308"/>
                </a:cubicBezTo>
                <a:cubicBezTo>
                  <a:pt x="463" y="308"/>
                  <a:pt x="463" y="308"/>
                  <a:pt x="463" y="307"/>
                </a:cubicBezTo>
                <a:cubicBezTo>
                  <a:pt x="463" y="307"/>
                  <a:pt x="463" y="307"/>
                  <a:pt x="462" y="307"/>
                </a:cubicBezTo>
                <a:cubicBezTo>
                  <a:pt x="462" y="307"/>
                  <a:pt x="462" y="307"/>
                  <a:pt x="461" y="308"/>
                </a:cubicBezTo>
                <a:cubicBezTo>
                  <a:pt x="461" y="308"/>
                  <a:pt x="461" y="308"/>
                  <a:pt x="460" y="308"/>
                </a:cubicBezTo>
                <a:cubicBezTo>
                  <a:pt x="460" y="308"/>
                  <a:pt x="460" y="308"/>
                  <a:pt x="461" y="309"/>
                </a:cubicBezTo>
                <a:cubicBezTo>
                  <a:pt x="461" y="309"/>
                  <a:pt x="461" y="309"/>
                  <a:pt x="460" y="310"/>
                </a:cubicBezTo>
                <a:cubicBezTo>
                  <a:pt x="460" y="310"/>
                  <a:pt x="460" y="310"/>
                  <a:pt x="458" y="310"/>
                </a:cubicBezTo>
                <a:cubicBezTo>
                  <a:pt x="458" y="310"/>
                  <a:pt x="458" y="310"/>
                  <a:pt x="456" y="311"/>
                </a:cubicBezTo>
                <a:cubicBezTo>
                  <a:pt x="456" y="311"/>
                  <a:pt x="456" y="311"/>
                  <a:pt x="456" y="312"/>
                </a:cubicBezTo>
                <a:cubicBezTo>
                  <a:pt x="456" y="312"/>
                  <a:pt x="456" y="312"/>
                  <a:pt x="455" y="313"/>
                </a:cubicBezTo>
                <a:cubicBezTo>
                  <a:pt x="455" y="313"/>
                  <a:pt x="455" y="313"/>
                  <a:pt x="456" y="313"/>
                </a:cubicBezTo>
                <a:cubicBezTo>
                  <a:pt x="456" y="313"/>
                  <a:pt x="456" y="313"/>
                  <a:pt x="455" y="314"/>
                </a:cubicBezTo>
                <a:cubicBezTo>
                  <a:pt x="455" y="314"/>
                  <a:pt x="455" y="314"/>
                  <a:pt x="454" y="314"/>
                </a:cubicBezTo>
                <a:cubicBezTo>
                  <a:pt x="454" y="314"/>
                  <a:pt x="454" y="314"/>
                  <a:pt x="454" y="313"/>
                </a:cubicBezTo>
                <a:cubicBezTo>
                  <a:pt x="454" y="313"/>
                  <a:pt x="454" y="313"/>
                  <a:pt x="453" y="314"/>
                </a:cubicBezTo>
                <a:cubicBezTo>
                  <a:pt x="453" y="314"/>
                  <a:pt x="453" y="314"/>
                  <a:pt x="452" y="314"/>
                </a:cubicBezTo>
                <a:cubicBezTo>
                  <a:pt x="452" y="314"/>
                  <a:pt x="452" y="314"/>
                  <a:pt x="451" y="315"/>
                </a:cubicBezTo>
                <a:cubicBezTo>
                  <a:pt x="451" y="315"/>
                  <a:pt x="451" y="315"/>
                  <a:pt x="450" y="315"/>
                </a:cubicBezTo>
                <a:cubicBezTo>
                  <a:pt x="450" y="315"/>
                  <a:pt x="450" y="315"/>
                  <a:pt x="449" y="315"/>
                </a:cubicBezTo>
                <a:cubicBezTo>
                  <a:pt x="449" y="315"/>
                  <a:pt x="449" y="315"/>
                  <a:pt x="448" y="315"/>
                </a:cubicBezTo>
                <a:cubicBezTo>
                  <a:pt x="448" y="315"/>
                  <a:pt x="448" y="315"/>
                  <a:pt x="447" y="315"/>
                </a:cubicBezTo>
                <a:cubicBezTo>
                  <a:pt x="447" y="315"/>
                  <a:pt x="447" y="315"/>
                  <a:pt x="447" y="317"/>
                </a:cubicBezTo>
                <a:cubicBezTo>
                  <a:pt x="447" y="317"/>
                  <a:pt x="447" y="317"/>
                  <a:pt x="445" y="319"/>
                </a:cubicBezTo>
                <a:cubicBezTo>
                  <a:pt x="445" y="319"/>
                  <a:pt x="445" y="319"/>
                  <a:pt x="445" y="318"/>
                </a:cubicBezTo>
                <a:cubicBezTo>
                  <a:pt x="445" y="318"/>
                  <a:pt x="445" y="318"/>
                  <a:pt x="446" y="317"/>
                </a:cubicBezTo>
                <a:cubicBezTo>
                  <a:pt x="446" y="317"/>
                  <a:pt x="446" y="317"/>
                  <a:pt x="446" y="316"/>
                </a:cubicBezTo>
                <a:cubicBezTo>
                  <a:pt x="446" y="316"/>
                  <a:pt x="446" y="316"/>
                  <a:pt x="446" y="315"/>
                </a:cubicBezTo>
                <a:cubicBezTo>
                  <a:pt x="446" y="315"/>
                  <a:pt x="446" y="315"/>
                  <a:pt x="445" y="315"/>
                </a:cubicBezTo>
                <a:cubicBezTo>
                  <a:pt x="445" y="315"/>
                  <a:pt x="445" y="315"/>
                  <a:pt x="443" y="317"/>
                </a:cubicBezTo>
                <a:cubicBezTo>
                  <a:pt x="443" y="317"/>
                  <a:pt x="443" y="317"/>
                  <a:pt x="442" y="317"/>
                </a:cubicBezTo>
                <a:cubicBezTo>
                  <a:pt x="442" y="317"/>
                  <a:pt x="442" y="317"/>
                  <a:pt x="441" y="318"/>
                </a:cubicBezTo>
                <a:cubicBezTo>
                  <a:pt x="441" y="318"/>
                  <a:pt x="441" y="318"/>
                  <a:pt x="440" y="318"/>
                </a:cubicBezTo>
                <a:cubicBezTo>
                  <a:pt x="440" y="318"/>
                  <a:pt x="440" y="318"/>
                  <a:pt x="439" y="319"/>
                </a:cubicBezTo>
                <a:cubicBezTo>
                  <a:pt x="439" y="319"/>
                  <a:pt x="439" y="319"/>
                  <a:pt x="439" y="318"/>
                </a:cubicBezTo>
                <a:cubicBezTo>
                  <a:pt x="439" y="318"/>
                  <a:pt x="439" y="318"/>
                  <a:pt x="439" y="317"/>
                </a:cubicBezTo>
                <a:cubicBezTo>
                  <a:pt x="439" y="317"/>
                  <a:pt x="439" y="317"/>
                  <a:pt x="438" y="318"/>
                </a:cubicBezTo>
                <a:cubicBezTo>
                  <a:pt x="438" y="318"/>
                  <a:pt x="438" y="318"/>
                  <a:pt x="438" y="317"/>
                </a:cubicBezTo>
                <a:cubicBezTo>
                  <a:pt x="438" y="317"/>
                  <a:pt x="438" y="317"/>
                  <a:pt x="437" y="318"/>
                </a:cubicBezTo>
                <a:cubicBezTo>
                  <a:pt x="437" y="318"/>
                  <a:pt x="437" y="318"/>
                  <a:pt x="437" y="319"/>
                </a:cubicBezTo>
                <a:cubicBezTo>
                  <a:pt x="437" y="319"/>
                  <a:pt x="437" y="319"/>
                  <a:pt x="435" y="320"/>
                </a:cubicBezTo>
                <a:cubicBezTo>
                  <a:pt x="435" y="320"/>
                  <a:pt x="435" y="320"/>
                  <a:pt x="435" y="318"/>
                </a:cubicBezTo>
                <a:cubicBezTo>
                  <a:pt x="435" y="318"/>
                  <a:pt x="435" y="318"/>
                  <a:pt x="435" y="317"/>
                </a:cubicBezTo>
                <a:cubicBezTo>
                  <a:pt x="435" y="317"/>
                  <a:pt x="435" y="317"/>
                  <a:pt x="436" y="317"/>
                </a:cubicBezTo>
                <a:cubicBezTo>
                  <a:pt x="436" y="317"/>
                  <a:pt x="436" y="317"/>
                  <a:pt x="437" y="317"/>
                </a:cubicBezTo>
                <a:cubicBezTo>
                  <a:pt x="437" y="317"/>
                  <a:pt x="437" y="317"/>
                  <a:pt x="435" y="316"/>
                </a:cubicBezTo>
                <a:cubicBezTo>
                  <a:pt x="435" y="316"/>
                  <a:pt x="435" y="316"/>
                  <a:pt x="434" y="317"/>
                </a:cubicBezTo>
                <a:cubicBezTo>
                  <a:pt x="434" y="317"/>
                  <a:pt x="434" y="317"/>
                  <a:pt x="433" y="318"/>
                </a:cubicBezTo>
                <a:cubicBezTo>
                  <a:pt x="433" y="318"/>
                  <a:pt x="433" y="318"/>
                  <a:pt x="433" y="319"/>
                </a:cubicBezTo>
                <a:cubicBezTo>
                  <a:pt x="433" y="319"/>
                  <a:pt x="433" y="319"/>
                  <a:pt x="432" y="320"/>
                </a:cubicBezTo>
                <a:cubicBezTo>
                  <a:pt x="432" y="320"/>
                  <a:pt x="432" y="320"/>
                  <a:pt x="431" y="321"/>
                </a:cubicBezTo>
                <a:cubicBezTo>
                  <a:pt x="431" y="321"/>
                  <a:pt x="431" y="321"/>
                  <a:pt x="430" y="321"/>
                </a:cubicBezTo>
                <a:cubicBezTo>
                  <a:pt x="430" y="321"/>
                  <a:pt x="430" y="321"/>
                  <a:pt x="429" y="321"/>
                </a:cubicBezTo>
                <a:cubicBezTo>
                  <a:pt x="429" y="321"/>
                  <a:pt x="429" y="321"/>
                  <a:pt x="429" y="322"/>
                </a:cubicBezTo>
                <a:cubicBezTo>
                  <a:pt x="429" y="322"/>
                  <a:pt x="429" y="322"/>
                  <a:pt x="428" y="321"/>
                </a:cubicBezTo>
                <a:cubicBezTo>
                  <a:pt x="428" y="321"/>
                  <a:pt x="428" y="321"/>
                  <a:pt x="428" y="322"/>
                </a:cubicBezTo>
                <a:cubicBezTo>
                  <a:pt x="428" y="322"/>
                  <a:pt x="428" y="322"/>
                  <a:pt x="427" y="322"/>
                </a:cubicBezTo>
                <a:cubicBezTo>
                  <a:pt x="427" y="322"/>
                  <a:pt x="427" y="322"/>
                  <a:pt x="426" y="322"/>
                </a:cubicBezTo>
                <a:cubicBezTo>
                  <a:pt x="426" y="322"/>
                  <a:pt x="426" y="322"/>
                  <a:pt x="427" y="321"/>
                </a:cubicBezTo>
                <a:cubicBezTo>
                  <a:pt x="427" y="321"/>
                  <a:pt x="427" y="321"/>
                  <a:pt x="426" y="320"/>
                </a:cubicBezTo>
                <a:cubicBezTo>
                  <a:pt x="426" y="320"/>
                  <a:pt x="426" y="320"/>
                  <a:pt x="426" y="321"/>
                </a:cubicBezTo>
                <a:cubicBezTo>
                  <a:pt x="426" y="321"/>
                  <a:pt x="426" y="321"/>
                  <a:pt x="425" y="323"/>
                </a:cubicBezTo>
                <a:cubicBezTo>
                  <a:pt x="425" y="323"/>
                  <a:pt x="425" y="323"/>
                  <a:pt x="423" y="323"/>
                </a:cubicBezTo>
                <a:cubicBezTo>
                  <a:pt x="423" y="323"/>
                  <a:pt x="423" y="323"/>
                  <a:pt x="423" y="322"/>
                </a:cubicBezTo>
                <a:cubicBezTo>
                  <a:pt x="423" y="322"/>
                  <a:pt x="423" y="322"/>
                  <a:pt x="423" y="321"/>
                </a:cubicBezTo>
                <a:cubicBezTo>
                  <a:pt x="423" y="321"/>
                  <a:pt x="423" y="321"/>
                  <a:pt x="422" y="321"/>
                </a:cubicBezTo>
                <a:cubicBezTo>
                  <a:pt x="422" y="321"/>
                  <a:pt x="422" y="321"/>
                  <a:pt x="422" y="322"/>
                </a:cubicBezTo>
                <a:cubicBezTo>
                  <a:pt x="422" y="322"/>
                  <a:pt x="422" y="322"/>
                  <a:pt x="422" y="323"/>
                </a:cubicBezTo>
                <a:cubicBezTo>
                  <a:pt x="422" y="323"/>
                  <a:pt x="422" y="323"/>
                  <a:pt x="421" y="323"/>
                </a:cubicBezTo>
                <a:cubicBezTo>
                  <a:pt x="421" y="323"/>
                  <a:pt x="421" y="323"/>
                  <a:pt x="421" y="322"/>
                </a:cubicBezTo>
                <a:cubicBezTo>
                  <a:pt x="421" y="322"/>
                  <a:pt x="421" y="322"/>
                  <a:pt x="421" y="321"/>
                </a:cubicBezTo>
                <a:cubicBezTo>
                  <a:pt x="421" y="321"/>
                  <a:pt x="421" y="321"/>
                  <a:pt x="422" y="320"/>
                </a:cubicBezTo>
                <a:cubicBezTo>
                  <a:pt x="422" y="320"/>
                  <a:pt x="422" y="320"/>
                  <a:pt x="423" y="320"/>
                </a:cubicBezTo>
                <a:cubicBezTo>
                  <a:pt x="423" y="320"/>
                  <a:pt x="423" y="320"/>
                  <a:pt x="424" y="320"/>
                </a:cubicBezTo>
                <a:cubicBezTo>
                  <a:pt x="424" y="320"/>
                  <a:pt x="424" y="320"/>
                  <a:pt x="425" y="319"/>
                </a:cubicBezTo>
                <a:cubicBezTo>
                  <a:pt x="425" y="319"/>
                  <a:pt x="425" y="319"/>
                  <a:pt x="427" y="318"/>
                </a:cubicBezTo>
                <a:cubicBezTo>
                  <a:pt x="427" y="318"/>
                  <a:pt x="427" y="318"/>
                  <a:pt x="428" y="318"/>
                </a:cubicBezTo>
                <a:cubicBezTo>
                  <a:pt x="428" y="318"/>
                  <a:pt x="428" y="318"/>
                  <a:pt x="428" y="317"/>
                </a:cubicBezTo>
                <a:cubicBezTo>
                  <a:pt x="428" y="317"/>
                  <a:pt x="428" y="317"/>
                  <a:pt x="429" y="316"/>
                </a:cubicBezTo>
                <a:cubicBezTo>
                  <a:pt x="429" y="316"/>
                  <a:pt x="429" y="316"/>
                  <a:pt x="431" y="315"/>
                </a:cubicBezTo>
                <a:cubicBezTo>
                  <a:pt x="431" y="315"/>
                  <a:pt x="431" y="315"/>
                  <a:pt x="432" y="314"/>
                </a:cubicBezTo>
                <a:cubicBezTo>
                  <a:pt x="432" y="314"/>
                  <a:pt x="432" y="314"/>
                  <a:pt x="433" y="313"/>
                </a:cubicBezTo>
                <a:cubicBezTo>
                  <a:pt x="433" y="313"/>
                  <a:pt x="433" y="313"/>
                  <a:pt x="434" y="313"/>
                </a:cubicBezTo>
                <a:cubicBezTo>
                  <a:pt x="434" y="313"/>
                  <a:pt x="434" y="313"/>
                  <a:pt x="436" y="312"/>
                </a:cubicBezTo>
                <a:cubicBezTo>
                  <a:pt x="436" y="312"/>
                  <a:pt x="436" y="312"/>
                  <a:pt x="437" y="312"/>
                </a:cubicBezTo>
                <a:cubicBezTo>
                  <a:pt x="437" y="312"/>
                  <a:pt x="437" y="312"/>
                  <a:pt x="438" y="312"/>
                </a:cubicBezTo>
                <a:cubicBezTo>
                  <a:pt x="438" y="312"/>
                  <a:pt x="438" y="312"/>
                  <a:pt x="439" y="312"/>
                </a:cubicBezTo>
                <a:cubicBezTo>
                  <a:pt x="439" y="312"/>
                  <a:pt x="439" y="312"/>
                  <a:pt x="440" y="313"/>
                </a:cubicBezTo>
                <a:cubicBezTo>
                  <a:pt x="440" y="313"/>
                  <a:pt x="440" y="313"/>
                  <a:pt x="440" y="315"/>
                </a:cubicBezTo>
                <a:cubicBezTo>
                  <a:pt x="440" y="315"/>
                  <a:pt x="440" y="315"/>
                  <a:pt x="441" y="315"/>
                </a:cubicBezTo>
                <a:cubicBezTo>
                  <a:pt x="441" y="315"/>
                  <a:pt x="441" y="315"/>
                  <a:pt x="441" y="314"/>
                </a:cubicBezTo>
                <a:cubicBezTo>
                  <a:pt x="441" y="314"/>
                  <a:pt x="441" y="314"/>
                  <a:pt x="442" y="314"/>
                </a:cubicBezTo>
                <a:cubicBezTo>
                  <a:pt x="442" y="314"/>
                  <a:pt x="442" y="314"/>
                  <a:pt x="442" y="315"/>
                </a:cubicBezTo>
                <a:cubicBezTo>
                  <a:pt x="442" y="315"/>
                  <a:pt x="442" y="315"/>
                  <a:pt x="443" y="314"/>
                </a:cubicBezTo>
                <a:cubicBezTo>
                  <a:pt x="443" y="314"/>
                  <a:pt x="443" y="314"/>
                  <a:pt x="443" y="313"/>
                </a:cubicBezTo>
                <a:cubicBezTo>
                  <a:pt x="443" y="313"/>
                  <a:pt x="443" y="313"/>
                  <a:pt x="442" y="312"/>
                </a:cubicBezTo>
                <a:cubicBezTo>
                  <a:pt x="442" y="312"/>
                  <a:pt x="442" y="312"/>
                  <a:pt x="443" y="310"/>
                </a:cubicBezTo>
                <a:cubicBezTo>
                  <a:pt x="443" y="310"/>
                  <a:pt x="443" y="310"/>
                  <a:pt x="445" y="308"/>
                </a:cubicBezTo>
                <a:cubicBezTo>
                  <a:pt x="445" y="308"/>
                  <a:pt x="445" y="308"/>
                  <a:pt x="448" y="307"/>
                </a:cubicBezTo>
                <a:cubicBezTo>
                  <a:pt x="448" y="307"/>
                  <a:pt x="448" y="307"/>
                  <a:pt x="450" y="306"/>
                </a:cubicBezTo>
                <a:cubicBezTo>
                  <a:pt x="450" y="306"/>
                  <a:pt x="450" y="306"/>
                  <a:pt x="451" y="306"/>
                </a:cubicBezTo>
                <a:cubicBezTo>
                  <a:pt x="451" y="306"/>
                  <a:pt x="451" y="306"/>
                  <a:pt x="453" y="305"/>
                </a:cubicBezTo>
                <a:cubicBezTo>
                  <a:pt x="453" y="305"/>
                  <a:pt x="453" y="305"/>
                  <a:pt x="453" y="304"/>
                </a:cubicBezTo>
                <a:cubicBezTo>
                  <a:pt x="453" y="304"/>
                  <a:pt x="453" y="304"/>
                  <a:pt x="454" y="304"/>
                </a:cubicBezTo>
                <a:cubicBezTo>
                  <a:pt x="454" y="304"/>
                  <a:pt x="454" y="304"/>
                  <a:pt x="455" y="303"/>
                </a:cubicBezTo>
                <a:cubicBezTo>
                  <a:pt x="455" y="303"/>
                  <a:pt x="455" y="303"/>
                  <a:pt x="457" y="302"/>
                </a:cubicBezTo>
                <a:cubicBezTo>
                  <a:pt x="457" y="302"/>
                  <a:pt x="457" y="302"/>
                  <a:pt x="457" y="303"/>
                </a:cubicBezTo>
                <a:cubicBezTo>
                  <a:pt x="457" y="303"/>
                  <a:pt x="457" y="303"/>
                  <a:pt x="458" y="304"/>
                </a:cubicBezTo>
                <a:cubicBezTo>
                  <a:pt x="458" y="304"/>
                  <a:pt x="458" y="304"/>
                  <a:pt x="458" y="303"/>
                </a:cubicBezTo>
                <a:cubicBezTo>
                  <a:pt x="458" y="303"/>
                  <a:pt x="458" y="303"/>
                  <a:pt x="459" y="301"/>
                </a:cubicBezTo>
                <a:cubicBezTo>
                  <a:pt x="459" y="301"/>
                  <a:pt x="459" y="301"/>
                  <a:pt x="462" y="299"/>
                </a:cubicBezTo>
                <a:cubicBezTo>
                  <a:pt x="462" y="299"/>
                  <a:pt x="462" y="299"/>
                  <a:pt x="463" y="299"/>
                </a:cubicBezTo>
                <a:cubicBezTo>
                  <a:pt x="463" y="299"/>
                  <a:pt x="463" y="299"/>
                  <a:pt x="464" y="299"/>
                </a:cubicBezTo>
                <a:cubicBezTo>
                  <a:pt x="464" y="299"/>
                  <a:pt x="464" y="299"/>
                  <a:pt x="464" y="298"/>
                </a:cubicBezTo>
                <a:cubicBezTo>
                  <a:pt x="464" y="298"/>
                  <a:pt x="464" y="298"/>
                  <a:pt x="465" y="297"/>
                </a:cubicBezTo>
                <a:cubicBezTo>
                  <a:pt x="465" y="297"/>
                  <a:pt x="465" y="297"/>
                  <a:pt x="466" y="296"/>
                </a:cubicBezTo>
                <a:cubicBezTo>
                  <a:pt x="466" y="296"/>
                  <a:pt x="466" y="296"/>
                  <a:pt x="467" y="296"/>
                </a:cubicBezTo>
                <a:cubicBezTo>
                  <a:pt x="467" y="296"/>
                  <a:pt x="467" y="296"/>
                  <a:pt x="467" y="297"/>
                </a:cubicBezTo>
                <a:cubicBezTo>
                  <a:pt x="467" y="297"/>
                  <a:pt x="467" y="297"/>
                  <a:pt x="468" y="297"/>
                </a:cubicBezTo>
                <a:cubicBezTo>
                  <a:pt x="468" y="297"/>
                  <a:pt x="468" y="297"/>
                  <a:pt x="468" y="296"/>
                </a:cubicBezTo>
                <a:cubicBezTo>
                  <a:pt x="468" y="296"/>
                  <a:pt x="468" y="296"/>
                  <a:pt x="468" y="295"/>
                </a:cubicBezTo>
                <a:cubicBezTo>
                  <a:pt x="468" y="295"/>
                  <a:pt x="468" y="295"/>
                  <a:pt x="468" y="294"/>
                </a:cubicBezTo>
                <a:cubicBezTo>
                  <a:pt x="468" y="294"/>
                  <a:pt x="468" y="294"/>
                  <a:pt x="470" y="292"/>
                </a:cubicBezTo>
                <a:cubicBezTo>
                  <a:pt x="470" y="292"/>
                  <a:pt x="470" y="292"/>
                  <a:pt x="470" y="290"/>
                </a:cubicBezTo>
                <a:cubicBezTo>
                  <a:pt x="470" y="290"/>
                  <a:pt x="470" y="290"/>
                  <a:pt x="471" y="289"/>
                </a:cubicBezTo>
                <a:cubicBezTo>
                  <a:pt x="471" y="289"/>
                  <a:pt x="471" y="289"/>
                  <a:pt x="472" y="289"/>
                </a:cubicBezTo>
                <a:cubicBezTo>
                  <a:pt x="472" y="289"/>
                  <a:pt x="472" y="289"/>
                  <a:pt x="474" y="289"/>
                </a:cubicBezTo>
                <a:cubicBezTo>
                  <a:pt x="474" y="289"/>
                  <a:pt x="474" y="289"/>
                  <a:pt x="473" y="288"/>
                </a:cubicBezTo>
                <a:cubicBezTo>
                  <a:pt x="473" y="288"/>
                  <a:pt x="473" y="288"/>
                  <a:pt x="473" y="287"/>
                </a:cubicBezTo>
                <a:cubicBezTo>
                  <a:pt x="473" y="287"/>
                  <a:pt x="473" y="287"/>
                  <a:pt x="473" y="286"/>
                </a:cubicBezTo>
                <a:cubicBezTo>
                  <a:pt x="473" y="286"/>
                  <a:pt x="473" y="286"/>
                  <a:pt x="474" y="284"/>
                </a:cubicBezTo>
                <a:cubicBezTo>
                  <a:pt x="474" y="284"/>
                  <a:pt x="474" y="284"/>
                  <a:pt x="475" y="283"/>
                </a:cubicBezTo>
                <a:cubicBezTo>
                  <a:pt x="475" y="283"/>
                  <a:pt x="475" y="283"/>
                  <a:pt x="479" y="281"/>
                </a:cubicBezTo>
                <a:cubicBezTo>
                  <a:pt x="479" y="281"/>
                  <a:pt x="479" y="281"/>
                  <a:pt x="480" y="280"/>
                </a:cubicBezTo>
                <a:cubicBezTo>
                  <a:pt x="480" y="280"/>
                  <a:pt x="480" y="280"/>
                  <a:pt x="480" y="279"/>
                </a:cubicBezTo>
                <a:cubicBezTo>
                  <a:pt x="480" y="279"/>
                  <a:pt x="480" y="279"/>
                  <a:pt x="481" y="278"/>
                </a:cubicBezTo>
                <a:cubicBezTo>
                  <a:pt x="481" y="278"/>
                  <a:pt x="481" y="278"/>
                  <a:pt x="482" y="277"/>
                </a:cubicBezTo>
                <a:cubicBezTo>
                  <a:pt x="482" y="277"/>
                  <a:pt x="482" y="277"/>
                  <a:pt x="481" y="277"/>
                </a:cubicBezTo>
                <a:cubicBezTo>
                  <a:pt x="481" y="277"/>
                  <a:pt x="481" y="277"/>
                  <a:pt x="479" y="278"/>
                </a:cubicBezTo>
                <a:cubicBezTo>
                  <a:pt x="479" y="278"/>
                  <a:pt x="479" y="278"/>
                  <a:pt x="478" y="278"/>
                </a:cubicBezTo>
                <a:cubicBezTo>
                  <a:pt x="478" y="278"/>
                  <a:pt x="478" y="278"/>
                  <a:pt x="477" y="279"/>
                </a:cubicBezTo>
                <a:cubicBezTo>
                  <a:pt x="477" y="279"/>
                  <a:pt x="477" y="279"/>
                  <a:pt x="475" y="280"/>
                </a:cubicBezTo>
                <a:cubicBezTo>
                  <a:pt x="475" y="280"/>
                  <a:pt x="475" y="280"/>
                  <a:pt x="473" y="281"/>
                </a:cubicBezTo>
                <a:cubicBezTo>
                  <a:pt x="473" y="281"/>
                  <a:pt x="473" y="281"/>
                  <a:pt x="472" y="280"/>
                </a:cubicBezTo>
                <a:cubicBezTo>
                  <a:pt x="472" y="280"/>
                  <a:pt x="472" y="280"/>
                  <a:pt x="470" y="279"/>
                </a:cubicBezTo>
                <a:cubicBezTo>
                  <a:pt x="470" y="279"/>
                  <a:pt x="470" y="279"/>
                  <a:pt x="471" y="278"/>
                </a:cubicBezTo>
                <a:cubicBezTo>
                  <a:pt x="471" y="278"/>
                  <a:pt x="471" y="278"/>
                  <a:pt x="472" y="276"/>
                </a:cubicBezTo>
                <a:cubicBezTo>
                  <a:pt x="472" y="276"/>
                  <a:pt x="472" y="276"/>
                  <a:pt x="474" y="275"/>
                </a:cubicBezTo>
                <a:cubicBezTo>
                  <a:pt x="474" y="275"/>
                  <a:pt x="474" y="275"/>
                  <a:pt x="472" y="275"/>
                </a:cubicBezTo>
                <a:cubicBezTo>
                  <a:pt x="472" y="275"/>
                  <a:pt x="472" y="275"/>
                  <a:pt x="471" y="276"/>
                </a:cubicBezTo>
                <a:cubicBezTo>
                  <a:pt x="471" y="276"/>
                  <a:pt x="471" y="276"/>
                  <a:pt x="470" y="276"/>
                </a:cubicBezTo>
                <a:cubicBezTo>
                  <a:pt x="470" y="276"/>
                  <a:pt x="470" y="276"/>
                  <a:pt x="469" y="277"/>
                </a:cubicBezTo>
                <a:cubicBezTo>
                  <a:pt x="469" y="277"/>
                  <a:pt x="469" y="277"/>
                  <a:pt x="469" y="278"/>
                </a:cubicBezTo>
                <a:cubicBezTo>
                  <a:pt x="469" y="278"/>
                  <a:pt x="469" y="278"/>
                  <a:pt x="468" y="280"/>
                </a:cubicBezTo>
                <a:cubicBezTo>
                  <a:pt x="468" y="280"/>
                  <a:pt x="468" y="280"/>
                  <a:pt x="468" y="282"/>
                </a:cubicBezTo>
                <a:cubicBezTo>
                  <a:pt x="468" y="282"/>
                  <a:pt x="468" y="282"/>
                  <a:pt x="467" y="283"/>
                </a:cubicBezTo>
                <a:cubicBezTo>
                  <a:pt x="467" y="283"/>
                  <a:pt x="467" y="283"/>
                  <a:pt x="466" y="281"/>
                </a:cubicBezTo>
                <a:cubicBezTo>
                  <a:pt x="466" y="281"/>
                  <a:pt x="466" y="281"/>
                  <a:pt x="466" y="280"/>
                </a:cubicBezTo>
                <a:cubicBezTo>
                  <a:pt x="466" y="280"/>
                  <a:pt x="466" y="280"/>
                  <a:pt x="466" y="278"/>
                </a:cubicBezTo>
                <a:cubicBezTo>
                  <a:pt x="466" y="278"/>
                  <a:pt x="466" y="278"/>
                  <a:pt x="465" y="277"/>
                </a:cubicBezTo>
                <a:cubicBezTo>
                  <a:pt x="465" y="277"/>
                  <a:pt x="465" y="277"/>
                  <a:pt x="465" y="276"/>
                </a:cubicBezTo>
                <a:cubicBezTo>
                  <a:pt x="465" y="276"/>
                  <a:pt x="465" y="276"/>
                  <a:pt x="464" y="277"/>
                </a:cubicBezTo>
                <a:cubicBezTo>
                  <a:pt x="464" y="277"/>
                  <a:pt x="464" y="277"/>
                  <a:pt x="463" y="277"/>
                </a:cubicBezTo>
                <a:cubicBezTo>
                  <a:pt x="463" y="277"/>
                  <a:pt x="463" y="277"/>
                  <a:pt x="462" y="277"/>
                </a:cubicBezTo>
                <a:cubicBezTo>
                  <a:pt x="462" y="277"/>
                  <a:pt x="462" y="277"/>
                  <a:pt x="463" y="276"/>
                </a:cubicBezTo>
                <a:cubicBezTo>
                  <a:pt x="463" y="276"/>
                  <a:pt x="463" y="276"/>
                  <a:pt x="462" y="275"/>
                </a:cubicBezTo>
                <a:cubicBezTo>
                  <a:pt x="462" y="275"/>
                  <a:pt x="462" y="275"/>
                  <a:pt x="461" y="275"/>
                </a:cubicBezTo>
                <a:cubicBezTo>
                  <a:pt x="461" y="275"/>
                  <a:pt x="461" y="275"/>
                  <a:pt x="461" y="274"/>
                </a:cubicBezTo>
                <a:cubicBezTo>
                  <a:pt x="461" y="274"/>
                  <a:pt x="461" y="274"/>
                  <a:pt x="462" y="274"/>
                </a:cubicBezTo>
                <a:cubicBezTo>
                  <a:pt x="462" y="274"/>
                  <a:pt x="462" y="274"/>
                  <a:pt x="463" y="273"/>
                </a:cubicBezTo>
                <a:cubicBezTo>
                  <a:pt x="463" y="273"/>
                  <a:pt x="463" y="273"/>
                  <a:pt x="461" y="273"/>
                </a:cubicBezTo>
                <a:cubicBezTo>
                  <a:pt x="461" y="273"/>
                  <a:pt x="461" y="273"/>
                  <a:pt x="460" y="274"/>
                </a:cubicBezTo>
                <a:cubicBezTo>
                  <a:pt x="460" y="274"/>
                  <a:pt x="460" y="274"/>
                  <a:pt x="459" y="274"/>
                </a:cubicBezTo>
                <a:cubicBezTo>
                  <a:pt x="459" y="274"/>
                  <a:pt x="459" y="274"/>
                  <a:pt x="458" y="274"/>
                </a:cubicBezTo>
                <a:cubicBezTo>
                  <a:pt x="458" y="274"/>
                  <a:pt x="458" y="274"/>
                  <a:pt x="456" y="276"/>
                </a:cubicBezTo>
                <a:cubicBezTo>
                  <a:pt x="456" y="276"/>
                  <a:pt x="456" y="276"/>
                  <a:pt x="454" y="277"/>
                </a:cubicBezTo>
                <a:cubicBezTo>
                  <a:pt x="454" y="277"/>
                  <a:pt x="454" y="277"/>
                  <a:pt x="454" y="276"/>
                </a:cubicBezTo>
                <a:cubicBezTo>
                  <a:pt x="454" y="276"/>
                  <a:pt x="454" y="276"/>
                  <a:pt x="453" y="276"/>
                </a:cubicBezTo>
                <a:cubicBezTo>
                  <a:pt x="453" y="276"/>
                  <a:pt x="453" y="276"/>
                  <a:pt x="454" y="275"/>
                </a:cubicBezTo>
                <a:cubicBezTo>
                  <a:pt x="454" y="275"/>
                  <a:pt x="454" y="275"/>
                  <a:pt x="455" y="275"/>
                </a:cubicBezTo>
                <a:cubicBezTo>
                  <a:pt x="455" y="275"/>
                  <a:pt x="455" y="275"/>
                  <a:pt x="456" y="274"/>
                </a:cubicBezTo>
                <a:cubicBezTo>
                  <a:pt x="456" y="274"/>
                  <a:pt x="456" y="274"/>
                  <a:pt x="455" y="273"/>
                </a:cubicBezTo>
                <a:cubicBezTo>
                  <a:pt x="455" y="273"/>
                  <a:pt x="455" y="273"/>
                  <a:pt x="456" y="273"/>
                </a:cubicBezTo>
                <a:cubicBezTo>
                  <a:pt x="456" y="273"/>
                  <a:pt x="456" y="273"/>
                  <a:pt x="455" y="272"/>
                </a:cubicBezTo>
                <a:cubicBezTo>
                  <a:pt x="455" y="272"/>
                  <a:pt x="455" y="272"/>
                  <a:pt x="456" y="272"/>
                </a:cubicBezTo>
                <a:cubicBezTo>
                  <a:pt x="456" y="272"/>
                  <a:pt x="456" y="272"/>
                  <a:pt x="457" y="272"/>
                </a:cubicBezTo>
                <a:cubicBezTo>
                  <a:pt x="457" y="272"/>
                  <a:pt x="457" y="272"/>
                  <a:pt x="458" y="271"/>
                </a:cubicBezTo>
                <a:cubicBezTo>
                  <a:pt x="458" y="271"/>
                  <a:pt x="458" y="271"/>
                  <a:pt x="458" y="270"/>
                </a:cubicBezTo>
                <a:cubicBezTo>
                  <a:pt x="458" y="270"/>
                  <a:pt x="458" y="270"/>
                  <a:pt x="457" y="270"/>
                </a:cubicBezTo>
                <a:cubicBezTo>
                  <a:pt x="457" y="270"/>
                  <a:pt x="457" y="270"/>
                  <a:pt x="456" y="271"/>
                </a:cubicBezTo>
                <a:cubicBezTo>
                  <a:pt x="456" y="271"/>
                  <a:pt x="456" y="271"/>
                  <a:pt x="455" y="270"/>
                </a:cubicBezTo>
                <a:cubicBezTo>
                  <a:pt x="455" y="270"/>
                  <a:pt x="455" y="270"/>
                  <a:pt x="455" y="269"/>
                </a:cubicBezTo>
                <a:cubicBezTo>
                  <a:pt x="455" y="269"/>
                  <a:pt x="455" y="269"/>
                  <a:pt x="455" y="268"/>
                </a:cubicBezTo>
                <a:cubicBezTo>
                  <a:pt x="455" y="268"/>
                  <a:pt x="455" y="268"/>
                  <a:pt x="455" y="267"/>
                </a:cubicBezTo>
                <a:cubicBezTo>
                  <a:pt x="455" y="267"/>
                  <a:pt x="455" y="267"/>
                  <a:pt x="456" y="268"/>
                </a:cubicBezTo>
                <a:cubicBezTo>
                  <a:pt x="456" y="268"/>
                  <a:pt x="456" y="268"/>
                  <a:pt x="456" y="267"/>
                </a:cubicBezTo>
                <a:cubicBezTo>
                  <a:pt x="456" y="267"/>
                  <a:pt x="456" y="267"/>
                  <a:pt x="457" y="266"/>
                </a:cubicBezTo>
                <a:cubicBezTo>
                  <a:pt x="457" y="266"/>
                  <a:pt x="457" y="266"/>
                  <a:pt x="458" y="265"/>
                </a:cubicBezTo>
                <a:cubicBezTo>
                  <a:pt x="458" y="265"/>
                  <a:pt x="458" y="265"/>
                  <a:pt x="458" y="264"/>
                </a:cubicBezTo>
                <a:cubicBezTo>
                  <a:pt x="458" y="264"/>
                  <a:pt x="458" y="264"/>
                  <a:pt x="458" y="263"/>
                </a:cubicBezTo>
                <a:cubicBezTo>
                  <a:pt x="458" y="263"/>
                  <a:pt x="458" y="263"/>
                  <a:pt x="458" y="262"/>
                </a:cubicBezTo>
                <a:cubicBezTo>
                  <a:pt x="458" y="262"/>
                  <a:pt x="458" y="262"/>
                  <a:pt x="459" y="261"/>
                </a:cubicBezTo>
                <a:cubicBezTo>
                  <a:pt x="459" y="261"/>
                  <a:pt x="459" y="261"/>
                  <a:pt x="458" y="260"/>
                </a:cubicBezTo>
                <a:cubicBezTo>
                  <a:pt x="458" y="260"/>
                  <a:pt x="458" y="260"/>
                  <a:pt x="459" y="258"/>
                </a:cubicBezTo>
                <a:cubicBezTo>
                  <a:pt x="459" y="258"/>
                  <a:pt x="459" y="258"/>
                  <a:pt x="460" y="257"/>
                </a:cubicBezTo>
                <a:cubicBezTo>
                  <a:pt x="460" y="257"/>
                  <a:pt x="460" y="257"/>
                  <a:pt x="461" y="256"/>
                </a:cubicBezTo>
                <a:cubicBezTo>
                  <a:pt x="461" y="256"/>
                  <a:pt x="461" y="256"/>
                  <a:pt x="461" y="255"/>
                </a:cubicBezTo>
                <a:cubicBezTo>
                  <a:pt x="461" y="255"/>
                  <a:pt x="461" y="255"/>
                  <a:pt x="460" y="254"/>
                </a:cubicBezTo>
                <a:cubicBezTo>
                  <a:pt x="460" y="254"/>
                  <a:pt x="460" y="254"/>
                  <a:pt x="460" y="253"/>
                </a:cubicBezTo>
                <a:cubicBezTo>
                  <a:pt x="460" y="253"/>
                  <a:pt x="460" y="253"/>
                  <a:pt x="462" y="252"/>
                </a:cubicBezTo>
                <a:cubicBezTo>
                  <a:pt x="462" y="252"/>
                  <a:pt x="462" y="252"/>
                  <a:pt x="464" y="250"/>
                </a:cubicBezTo>
                <a:cubicBezTo>
                  <a:pt x="464" y="250"/>
                  <a:pt x="464" y="250"/>
                  <a:pt x="465" y="250"/>
                </a:cubicBezTo>
                <a:cubicBezTo>
                  <a:pt x="465" y="250"/>
                  <a:pt x="465" y="250"/>
                  <a:pt x="464" y="249"/>
                </a:cubicBezTo>
                <a:cubicBezTo>
                  <a:pt x="464" y="249"/>
                  <a:pt x="464" y="249"/>
                  <a:pt x="462" y="251"/>
                </a:cubicBezTo>
                <a:cubicBezTo>
                  <a:pt x="462" y="251"/>
                  <a:pt x="462" y="251"/>
                  <a:pt x="460" y="253"/>
                </a:cubicBezTo>
                <a:cubicBezTo>
                  <a:pt x="460" y="253"/>
                  <a:pt x="460" y="253"/>
                  <a:pt x="458" y="253"/>
                </a:cubicBezTo>
                <a:cubicBezTo>
                  <a:pt x="458" y="253"/>
                  <a:pt x="458" y="253"/>
                  <a:pt x="458" y="254"/>
                </a:cubicBezTo>
                <a:cubicBezTo>
                  <a:pt x="458" y="254"/>
                  <a:pt x="458" y="254"/>
                  <a:pt x="459" y="255"/>
                </a:cubicBezTo>
                <a:cubicBezTo>
                  <a:pt x="459" y="255"/>
                  <a:pt x="459" y="255"/>
                  <a:pt x="459" y="256"/>
                </a:cubicBezTo>
                <a:cubicBezTo>
                  <a:pt x="459" y="256"/>
                  <a:pt x="459" y="256"/>
                  <a:pt x="457" y="258"/>
                </a:cubicBezTo>
                <a:cubicBezTo>
                  <a:pt x="457" y="258"/>
                  <a:pt x="457" y="258"/>
                  <a:pt x="456" y="258"/>
                </a:cubicBezTo>
                <a:cubicBezTo>
                  <a:pt x="456" y="258"/>
                  <a:pt x="456" y="258"/>
                  <a:pt x="455" y="258"/>
                </a:cubicBezTo>
                <a:cubicBezTo>
                  <a:pt x="455" y="258"/>
                  <a:pt x="455" y="258"/>
                  <a:pt x="453" y="259"/>
                </a:cubicBezTo>
                <a:cubicBezTo>
                  <a:pt x="453" y="259"/>
                  <a:pt x="453" y="259"/>
                  <a:pt x="451" y="259"/>
                </a:cubicBezTo>
                <a:cubicBezTo>
                  <a:pt x="451" y="259"/>
                  <a:pt x="451" y="259"/>
                  <a:pt x="447" y="257"/>
                </a:cubicBezTo>
                <a:cubicBezTo>
                  <a:pt x="447" y="257"/>
                  <a:pt x="447" y="257"/>
                  <a:pt x="447" y="256"/>
                </a:cubicBezTo>
                <a:cubicBezTo>
                  <a:pt x="447" y="256"/>
                  <a:pt x="447" y="256"/>
                  <a:pt x="449" y="256"/>
                </a:cubicBezTo>
                <a:cubicBezTo>
                  <a:pt x="449" y="256"/>
                  <a:pt x="449" y="256"/>
                  <a:pt x="448" y="255"/>
                </a:cubicBezTo>
                <a:cubicBezTo>
                  <a:pt x="448" y="255"/>
                  <a:pt x="448" y="255"/>
                  <a:pt x="448" y="254"/>
                </a:cubicBezTo>
                <a:cubicBezTo>
                  <a:pt x="448" y="254"/>
                  <a:pt x="448" y="254"/>
                  <a:pt x="447" y="253"/>
                </a:cubicBezTo>
                <a:cubicBezTo>
                  <a:pt x="447" y="253"/>
                  <a:pt x="447" y="253"/>
                  <a:pt x="447" y="251"/>
                </a:cubicBezTo>
                <a:cubicBezTo>
                  <a:pt x="447" y="251"/>
                  <a:pt x="447" y="251"/>
                  <a:pt x="446" y="251"/>
                </a:cubicBezTo>
                <a:cubicBezTo>
                  <a:pt x="446" y="251"/>
                  <a:pt x="446" y="251"/>
                  <a:pt x="446" y="250"/>
                </a:cubicBezTo>
                <a:cubicBezTo>
                  <a:pt x="446" y="250"/>
                  <a:pt x="446" y="250"/>
                  <a:pt x="446" y="248"/>
                </a:cubicBezTo>
                <a:cubicBezTo>
                  <a:pt x="446" y="248"/>
                  <a:pt x="446" y="248"/>
                  <a:pt x="447" y="247"/>
                </a:cubicBezTo>
                <a:cubicBezTo>
                  <a:pt x="447" y="247"/>
                  <a:pt x="447" y="247"/>
                  <a:pt x="446" y="247"/>
                </a:cubicBezTo>
                <a:cubicBezTo>
                  <a:pt x="446" y="247"/>
                  <a:pt x="446" y="247"/>
                  <a:pt x="446" y="246"/>
                </a:cubicBezTo>
                <a:cubicBezTo>
                  <a:pt x="446" y="246"/>
                  <a:pt x="446" y="246"/>
                  <a:pt x="446" y="245"/>
                </a:cubicBezTo>
                <a:cubicBezTo>
                  <a:pt x="446" y="245"/>
                  <a:pt x="446" y="245"/>
                  <a:pt x="447" y="246"/>
                </a:cubicBezTo>
                <a:cubicBezTo>
                  <a:pt x="447" y="246"/>
                  <a:pt x="447" y="246"/>
                  <a:pt x="448" y="245"/>
                </a:cubicBezTo>
                <a:cubicBezTo>
                  <a:pt x="448" y="245"/>
                  <a:pt x="448" y="245"/>
                  <a:pt x="449" y="244"/>
                </a:cubicBezTo>
                <a:cubicBezTo>
                  <a:pt x="449" y="244"/>
                  <a:pt x="449" y="244"/>
                  <a:pt x="450" y="244"/>
                </a:cubicBezTo>
                <a:cubicBezTo>
                  <a:pt x="450" y="244"/>
                  <a:pt x="450" y="244"/>
                  <a:pt x="451" y="243"/>
                </a:cubicBezTo>
                <a:cubicBezTo>
                  <a:pt x="451" y="243"/>
                  <a:pt x="451" y="243"/>
                  <a:pt x="451" y="244"/>
                </a:cubicBezTo>
                <a:cubicBezTo>
                  <a:pt x="451" y="244"/>
                  <a:pt x="451" y="244"/>
                  <a:pt x="453" y="244"/>
                </a:cubicBezTo>
                <a:cubicBezTo>
                  <a:pt x="453" y="244"/>
                  <a:pt x="453" y="244"/>
                  <a:pt x="454" y="245"/>
                </a:cubicBezTo>
                <a:cubicBezTo>
                  <a:pt x="454" y="245"/>
                  <a:pt x="454" y="245"/>
                  <a:pt x="455" y="245"/>
                </a:cubicBezTo>
                <a:cubicBezTo>
                  <a:pt x="455" y="245"/>
                  <a:pt x="455" y="245"/>
                  <a:pt x="455" y="246"/>
                </a:cubicBezTo>
                <a:cubicBezTo>
                  <a:pt x="455" y="246"/>
                  <a:pt x="455" y="246"/>
                  <a:pt x="456" y="247"/>
                </a:cubicBezTo>
                <a:cubicBezTo>
                  <a:pt x="456" y="247"/>
                  <a:pt x="456" y="247"/>
                  <a:pt x="457" y="247"/>
                </a:cubicBezTo>
                <a:cubicBezTo>
                  <a:pt x="457" y="247"/>
                  <a:pt x="457" y="247"/>
                  <a:pt x="457" y="246"/>
                </a:cubicBezTo>
                <a:cubicBezTo>
                  <a:pt x="457" y="246"/>
                  <a:pt x="457" y="246"/>
                  <a:pt x="456" y="244"/>
                </a:cubicBezTo>
                <a:cubicBezTo>
                  <a:pt x="456" y="244"/>
                  <a:pt x="456" y="244"/>
                  <a:pt x="457" y="244"/>
                </a:cubicBezTo>
                <a:cubicBezTo>
                  <a:pt x="457" y="244"/>
                  <a:pt x="457" y="244"/>
                  <a:pt x="457" y="243"/>
                </a:cubicBezTo>
                <a:cubicBezTo>
                  <a:pt x="457" y="243"/>
                  <a:pt x="457" y="243"/>
                  <a:pt x="456" y="244"/>
                </a:cubicBezTo>
                <a:cubicBezTo>
                  <a:pt x="456" y="244"/>
                  <a:pt x="456" y="244"/>
                  <a:pt x="454" y="244"/>
                </a:cubicBezTo>
                <a:cubicBezTo>
                  <a:pt x="454" y="244"/>
                  <a:pt x="454" y="244"/>
                  <a:pt x="453" y="243"/>
                </a:cubicBezTo>
                <a:cubicBezTo>
                  <a:pt x="453" y="243"/>
                  <a:pt x="453" y="243"/>
                  <a:pt x="452" y="243"/>
                </a:cubicBezTo>
                <a:cubicBezTo>
                  <a:pt x="452" y="243"/>
                  <a:pt x="452" y="243"/>
                  <a:pt x="452" y="242"/>
                </a:cubicBezTo>
                <a:cubicBezTo>
                  <a:pt x="452" y="242"/>
                  <a:pt x="452" y="242"/>
                  <a:pt x="451" y="242"/>
                </a:cubicBezTo>
                <a:cubicBezTo>
                  <a:pt x="451" y="242"/>
                  <a:pt x="451" y="242"/>
                  <a:pt x="450" y="242"/>
                </a:cubicBezTo>
                <a:cubicBezTo>
                  <a:pt x="450" y="242"/>
                  <a:pt x="450" y="242"/>
                  <a:pt x="449" y="242"/>
                </a:cubicBezTo>
                <a:cubicBezTo>
                  <a:pt x="449" y="242"/>
                  <a:pt x="449" y="242"/>
                  <a:pt x="449" y="241"/>
                </a:cubicBezTo>
                <a:cubicBezTo>
                  <a:pt x="449" y="241"/>
                  <a:pt x="449" y="241"/>
                  <a:pt x="450" y="241"/>
                </a:cubicBezTo>
                <a:cubicBezTo>
                  <a:pt x="450" y="241"/>
                  <a:pt x="450" y="241"/>
                  <a:pt x="450" y="239"/>
                </a:cubicBezTo>
                <a:cubicBezTo>
                  <a:pt x="450" y="239"/>
                  <a:pt x="450" y="239"/>
                  <a:pt x="449" y="240"/>
                </a:cubicBezTo>
                <a:cubicBezTo>
                  <a:pt x="449" y="240"/>
                  <a:pt x="449" y="240"/>
                  <a:pt x="448" y="240"/>
                </a:cubicBezTo>
                <a:cubicBezTo>
                  <a:pt x="448" y="240"/>
                  <a:pt x="448" y="240"/>
                  <a:pt x="448" y="239"/>
                </a:cubicBezTo>
                <a:cubicBezTo>
                  <a:pt x="448" y="239"/>
                  <a:pt x="448" y="239"/>
                  <a:pt x="448" y="238"/>
                </a:cubicBezTo>
                <a:cubicBezTo>
                  <a:pt x="448" y="238"/>
                  <a:pt x="448" y="238"/>
                  <a:pt x="449" y="237"/>
                </a:cubicBezTo>
                <a:cubicBezTo>
                  <a:pt x="449" y="237"/>
                  <a:pt x="449" y="237"/>
                  <a:pt x="448" y="235"/>
                </a:cubicBezTo>
                <a:cubicBezTo>
                  <a:pt x="448" y="235"/>
                  <a:pt x="448" y="235"/>
                  <a:pt x="447" y="233"/>
                </a:cubicBezTo>
                <a:cubicBezTo>
                  <a:pt x="447" y="233"/>
                  <a:pt x="447" y="233"/>
                  <a:pt x="449" y="231"/>
                </a:cubicBezTo>
                <a:cubicBezTo>
                  <a:pt x="449" y="231"/>
                  <a:pt x="449" y="231"/>
                  <a:pt x="449" y="230"/>
                </a:cubicBezTo>
                <a:cubicBezTo>
                  <a:pt x="449" y="230"/>
                  <a:pt x="449" y="230"/>
                  <a:pt x="450" y="230"/>
                </a:cubicBezTo>
                <a:cubicBezTo>
                  <a:pt x="450" y="230"/>
                  <a:pt x="450" y="230"/>
                  <a:pt x="451" y="231"/>
                </a:cubicBezTo>
                <a:cubicBezTo>
                  <a:pt x="451" y="231"/>
                  <a:pt x="451" y="231"/>
                  <a:pt x="452" y="230"/>
                </a:cubicBezTo>
                <a:cubicBezTo>
                  <a:pt x="452" y="230"/>
                  <a:pt x="452" y="230"/>
                  <a:pt x="450" y="228"/>
                </a:cubicBezTo>
                <a:cubicBezTo>
                  <a:pt x="450" y="228"/>
                  <a:pt x="450" y="228"/>
                  <a:pt x="451" y="228"/>
                </a:cubicBezTo>
                <a:cubicBezTo>
                  <a:pt x="451" y="228"/>
                  <a:pt x="451" y="228"/>
                  <a:pt x="452" y="228"/>
                </a:cubicBezTo>
                <a:cubicBezTo>
                  <a:pt x="452" y="228"/>
                  <a:pt x="452" y="228"/>
                  <a:pt x="453" y="228"/>
                </a:cubicBezTo>
                <a:cubicBezTo>
                  <a:pt x="453" y="228"/>
                  <a:pt x="453" y="228"/>
                  <a:pt x="454" y="228"/>
                </a:cubicBezTo>
                <a:cubicBezTo>
                  <a:pt x="454" y="228"/>
                  <a:pt x="454" y="228"/>
                  <a:pt x="454" y="226"/>
                </a:cubicBezTo>
                <a:cubicBezTo>
                  <a:pt x="454" y="226"/>
                  <a:pt x="454" y="226"/>
                  <a:pt x="457" y="223"/>
                </a:cubicBezTo>
                <a:cubicBezTo>
                  <a:pt x="457" y="223"/>
                  <a:pt x="457" y="223"/>
                  <a:pt x="458" y="223"/>
                </a:cubicBezTo>
                <a:cubicBezTo>
                  <a:pt x="458" y="223"/>
                  <a:pt x="458" y="223"/>
                  <a:pt x="459" y="223"/>
                </a:cubicBezTo>
                <a:cubicBezTo>
                  <a:pt x="459" y="223"/>
                  <a:pt x="459" y="223"/>
                  <a:pt x="459" y="221"/>
                </a:cubicBezTo>
                <a:cubicBezTo>
                  <a:pt x="459" y="221"/>
                  <a:pt x="459" y="221"/>
                  <a:pt x="461" y="220"/>
                </a:cubicBezTo>
                <a:cubicBezTo>
                  <a:pt x="461" y="220"/>
                  <a:pt x="461" y="220"/>
                  <a:pt x="462" y="219"/>
                </a:cubicBezTo>
                <a:cubicBezTo>
                  <a:pt x="462" y="219"/>
                  <a:pt x="462" y="219"/>
                  <a:pt x="463" y="221"/>
                </a:cubicBezTo>
                <a:cubicBezTo>
                  <a:pt x="463" y="221"/>
                  <a:pt x="463" y="221"/>
                  <a:pt x="463" y="222"/>
                </a:cubicBezTo>
                <a:cubicBezTo>
                  <a:pt x="463" y="222"/>
                  <a:pt x="463" y="222"/>
                  <a:pt x="464" y="222"/>
                </a:cubicBezTo>
                <a:cubicBezTo>
                  <a:pt x="464" y="222"/>
                  <a:pt x="464" y="222"/>
                  <a:pt x="464" y="221"/>
                </a:cubicBezTo>
                <a:cubicBezTo>
                  <a:pt x="464" y="221"/>
                  <a:pt x="464" y="221"/>
                  <a:pt x="464" y="220"/>
                </a:cubicBezTo>
                <a:cubicBezTo>
                  <a:pt x="464" y="220"/>
                  <a:pt x="464" y="220"/>
                  <a:pt x="463" y="219"/>
                </a:cubicBezTo>
                <a:cubicBezTo>
                  <a:pt x="463" y="219"/>
                  <a:pt x="463" y="219"/>
                  <a:pt x="464" y="219"/>
                </a:cubicBezTo>
                <a:cubicBezTo>
                  <a:pt x="464" y="219"/>
                  <a:pt x="464" y="219"/>
                  <a:pt x="466" y="219"/>
                </a:cubicBezTo>
                <a:cubicBezTo>
                  <a:pt x="466" y="219"/>
                  <a:pt x="466" y="219"/>
                  <a:pt x="467" y="221"/>
                </a:cubicBezTo>
                <a:cubicBezTo>
                  <a:pt x="467" y="221"/>
                  <a:pt x="467" y="221"/>
                  <a:pt x="468" y="221"/>
                </a:cubicBezTo>
                <a:cubicBezTo>
                  <a:pt x="468" y="221"/>
                  <a:pt x="468" y="221"/>
                  <a:pt x="468" y="220"/>
                </a:cubicBezTo>
                <a:cubicBezTo>
                  <a:pt x="468" y="220"/>
                  <a:pt x="468" y="220"/>
                  <a:pt x="469" y="218"/>
                </a:cubicBezTo>
                <a:cubicBezTo>
                  <a:pt x="469" y="218"/>
                  <a:pt x="469" y="218"/>
                  <a:pt x="469" y="217"/>
                </a:cubicBezTo>
                <a:cubicBezTo>
                  <a:pt x="469" y="217"/>
                  <a:pt x="469" y="217"/>
                  <a:pt x="470" y="216"/>
                </a:cubicBezTo>
                <a:cubicBezTo>
                  <a:pt x="470" y="216"/>
                  <a:pt x="470" y="216"/>
                  <a:pt x="471" y="216"/>
                </a:cubicBezTo>
                <a:cubicBezTo>
                  <a:pt x="472" y="216"/>
                  <a:pt x="472" y="216"/>
                  <a:pt x="472" y="216"/>
                </a:cubicBezTo>
                <a:cubicBezTo>
                  <a:pt x="472" y="216"/>
                  <a:pt x="472" y="216"/>
                  <a:pt x="473" y="215"/>
                </a:cubicBezTo>
                <a:cubicBezTo>
                  <a:pt x="473" y="215"/>
                  <a:pt x="473" y="215"/>
                  <a:pt x="475" y="215"/>
                </a:cubicBezTo>
                <a:cubicBezTo>
                  <a:pt x="475" y="215"/>
                  <a:pt x="475" y="215"/>
                  <a:pt x="476" y="215"/>
                </a:cubicBezTo>
                <a:cubicBezTo>
                  <a:pt x="476" y="215"/>
                  <a:pt x="476" y="215"/>
                  <a:pt x="477" y="215"/>
                </a:cubicBezTo>
                <a:cubicBezTo>
                  <a:pt x="477" y="215"/>
                  <a:pt x="477" y="215"/>
                  <a:pt x="478" y="214"/>
                </a:cubicBezTo>
                <a:cubicBezTo>
                  <a:pt x="478" y="214"/>
                  <a:pt x="478" y="214"/>
                  <a:pt x="481" y="214"/>
                </a:cubicBezTo>
                <a:cubicBezTo>
                  <a:pt x="481" y="214"/>
                  <a:pt x="481" y="214"/>
                  <a:pt x="482" y="212"/>
                </a:cubicBezTo>
                <a:cubicBezTo>
                  <a:pt x="482" y="212"/>
                  <a:pt x="482" y="212"/>
                  <a:pt x="483" y="211"/>
                </a:cubicBezTo>
                <a:cubicBezTo>
                  <a:pt x="483" y="211"/>
                  <a:pt x="483" y="211"/>
                  <a:pt x="484" y="210"/>
                </a:cubicBezTo>
                <a:cubicBezTo>
                  <a:pt x="484" y="210"/>
                  <a:pt x="484" y="210"/>
                  <a:pt x="485" y="210"/>
                </a:cubicBezTo>
                <a:cubicBezTo>
                  <a:pt x="485" y="210"/>
                  <a:pt x="485" y="210"/>
                  <a:pt x="486" y="211"/>
                </a:cubicBezTo>
                <a:cubicBezTo>
                  <a:pt x="486" y="211"/>
                  <a:pt x="486" y="211"/>
                  <a:pt x="487" y="211"/>
                </a:cubicBezTo>
                <a:cubicBezTo>
                  <a:pt x="487" y="211"/>
                  <a:pt x="487" y="211"/>
                  <a:pt x="488" y="212"/>
                </a:cubicBezTo>
                <a:cubicBezTo>
                  <a:pt x="488" y="212"/>
                  <a:pt x="488" y="212"/>
                  <a:pt x="490" y="212"/>
                </a:cubicBezTo>
                <a:cubicBezTo>
                  <a:pt x="490" y="212"/>
                  <a:pt x="490" y="212"/>
                  <a:pt x="491" y="212"/>
                </a:cubicBezTo>
                <a:cubicBezTo>
                  <a:pt x="491" y="212"/>
                  <a:pt x="491" y="212"/>
                  <a:pt x="492" y="211"/>
                </a:cubicBezTo>
                <a:cubicBezTo>
                  <a:pt x="492" y="211"/>
                  <a:pt x="492" y="211"/>
                  <a:pt x="493" y="210"/>
                </a:cubicBezTo>
                <a:cubicBezTo>
                  <a:pt x="493" y="210"/>
                  <a:pt x="493" y="210"/>
                  <a:pt x="494" y="211"/>
                </a:cubicBezTo>
                <a:cubicBezTo>
                  <a:pt x="494" y="211"/>
                  <a:pt x="494" y="211"/>
                  <a:pt x="495" y="210"/>
                </a:cubicBezTo>
                <a:cubicBezTo>
                  <a:pt x="495" y="210"/>
                  <a:pt x="495" y="210"/>
                  <a:pt x="496" y="208"/>
                </a:cubicBezTo>
                <a:cubicBezTo>
                  <a:pt x="496" y="208"/>
                  <a:pt x="496" y="208"/>
                  <a:pt x="497" y="207"/>
                </a:cubicBezTo>
                <a:cubicBezTo>
                  <a:pt x="497" y="207"/>
                  <a:pt x="497" y="207"/>
                  <a:pt x="496" y="206"/>
                </a:cubicBezTo>
                <a:cubicBezTo>
                  <a:pt x="496" y="206"/>
                  <a:pt x="496" y="206"/>
                  <a:pt x="496" y="205"/>
                </a:cubicBezTo>
                <a:cubicBezTo>
                  <a:pt x="496" y="205"/>
                  <a:pt x="496" y="205"/>
                  <a:pt x="497" y="204"/>
                </a:cubicBezTo>
                <a:cubicBezTo>
                  <a:pt x="497" y="204"/>
                  <a:pt x="497" y="204"/>
                  <a:pt x="497" y="202"/>
                </a:cubicBezTo>
                <a:cubicBezTo>
                  <a:pt x="497" y="202"/>
                  <a:pt x="497" y="202"/>
                  <a:pt x="499" y="200"/>
                </a:cubicBezTo>
                <a:cubicBezTo>
                  <a:pt x="499" y="200"/>
                  <a:pt x="499" y="200"/>
                  <a:pt x="500" y="198"/>
                </a:cubicBezTo>
                <a:cubicBezTo>
                  <a:pt x="500" y="198"/>
                  <a:pt x="500" y="198"/>
                  <a:pt x="499" y="197"/>
                </a:cubicBezTo>
                <a:cubicBezTo>
                  <a:pt x="499" y="197"/>
                  <a:pt x="499" y="197"/>
                  <a:pt x="497" y="197"/>
                </a:cubicBezTo>
                <a:cubicBezTo>
                  <a:pt x="497" y="197"/>
                  <a:pt x="497" y="197"/>
                  <a:pt x="499" y="196"/>
                </a:cubicBezTo>
                <a:cubicBezTo>
                  <a:pt x="499" y="196"/>
                  <a:pt x="499" y="196"/>
                  <a:pt x="500" y="196"/>
                </a:cubicBezTo>
                <a:cubicBezTo>
                  <a:pt x="500" y="196"/>
                  <a:pt x="500" y="196"/>
                  <a:pt x="502" y="196"/>
                </a:cubicBezTo>
                <a:cubicBezTo>
                  <a:pt x="502" y="196"/>
                  <a:pt x="502" y="196"/>
                  <a:pt x="503" y="194"/>
                </a:cubicBezTo>
                <a:cubicBezTo>
                  <a:pt x="503" y="194"/>
                  <a:pt x="503" y="194"/>
                  <a:pt x="502" y="193"/>
                </a:cubicBezTo>
                <a:cubicBezTo>
                  <a:pt x="502" y="193"/>
                  <a:pt x="502" y="193"/>
                  <a:pt x="504" y="192"/>
                </a:cubicBezTo>
                <a:cubicBezTo>
                  <a:pt x="504" y="192"/>
                  <a:pt x="504" y="192"/>
                  <a:pt x="502" y="192"/>
                </a:cubicBezTo>
                <a:cubicBezTo>
                  <a:pt x="502" y="192"/>
                  <a:pt x="502" y="192"/>
                  <a:pt x="500" y="193"/>
                </a:cubicBezTo>
                <a:cubicBezTo>
                  <a:pt x="500" y="193"/>
                  <a:pt x="500" y="193"/>
                  <a:pt x="499" y="193"/>
                </a:cubicBezTo>
                <a:cubicBezTo>
                  <a:pt x="499" y="193"/>
                  <a:pt x="499" y="193"/>
                  <a:pt x="499" y="192"/>
                </a:cubicBezTo>
                <a:cubicBezTo>
                  <a:pt x="499" y="192"/>
                  <a:pt x="499" y="192"/>
                  <a:pt x="498" y="193"/>
                </a:cubicBezTo>
                <a:cubicBezTo>
                  <a:pt x="498" y="193"/>
                  <a:pt x="498" y="193"/>
                  <a:pt x="496" y="194"/>
                </a:cubicBezTo>
                <a:cubicBezTo>
                  <a:pt x="496" y="194"/>
                  <a:pt x="496" y="194"/>
                  <a:pt x="493" y="195"/>
                </a:cubicBezTo>
                <a:cubicBezTo>
                  <a:pt x="493" y="195"/>
                  <a:pt x="493" y="195"/>
                  <a:pt x="491" y="196"/>
                </a:cubicBezTo>
                <a:cubicBezTo>
                  <a:pt x="491" y="196"/>
                  <a:pt x="491" y="196"/>
                  <a:pt x="489" y="198"/>
                </a:cubicBezTo>
                <a:cubicBezTo>
                  <a:pt x="489" y="198"/>
                  <a:pt x="489" y="198"/>
                  <a:pt x="489" y="196"/>
                </a:cubicBezTo>
                <a:cubicBezTo>
                  <a:pt x="489" y="196"/>
                  <a:pt x="489" y="196"/>
                  <a:pt x="490" y="195"/>
                </a:cubicBezTo>
                <a:cubicBezTo>
                  <a:pt x="490" y="195"/>
                  <a:pt x="490" y="195"/>
                  <a:pt x="490" y="194"/>
                </a:cubicBezTo>
                <a:cubicBezTo>
                  <a:pt x="490" y="194"/>
                  <a:pt x="490" y="194"/>
                  <a:pt x="489" y="194"/>
                </a:cubicBezTo>
                <a:cubicBezTo>
                  <a:pt x="489" y="194"/>
                  <a:pt x="489" y="194"/>
                  <a:pt x="488" y="194"/>
                </a:cubicBezTo>
                <a:cubicBezTo>
                  <a:pt x="488" y="194"/>
                  <a:pt x="488" y="194"/>
                  <a:pt x="488" y="196"/>
                </a:cubicBezTo>
                <a:cubicBezTo>
                  <a:pt x="488" y="196"/>
                  <a:pt x="488" y="196"/>
                  <a:pt x="488" y="197"/>
                </a:cubicBezTo>
                <a:cubicBezTo>
                  <a:pt x="488" y="197"/>
                  <a:pt x="488" y="197"/>
                  <a:pt x="487" y="196"/>
                </a:cubicBezTo>
                <a:cubicBezTo>
                  <a:pt x="487" y="196"/>
                  <a:pt x="487" y="196"/>
                  <a:pt x="487" y="195"/>
                </a:cubicBezTo>
                <a:cubicBezTo>
                  <a:pt x="487" y="195"/>
                  <a:pt x="487" y="195"/>
                  <a:pt x="486" y="194"/>
                </a:cubicBezTo>
                <a:cubicBezTo>
                  <a:pt x="486" y="194"/>
                  <a:pt x="486" y="194"/>
                  <a:pt x="483" y="194"/>
                </a:cubicBezTo>
                <a:cubicBezTo>
                  <a:pt x="483" y="194"/>
                  <a:pt x="483" y="194"/>
                  <a:pt x="481" y="193"/>
                </a:cubicBezTo>
                <a:cubicBezTo>
                  <a:pt x="481" y="193"/>
                  <a:pt x="481" y="193"/>
                  <a:pt x="480" y="194"/>
                </a:cubicBezTo>
                <a:cubicBezTo>
                  <a:pt x="480" y="194"/>
                  <a:pt x="480" y="194"/>
                  <a:pt x="478" y="195"/>
                </a:cubicBezTo>
                <a:cubicBezTo>
                  <a:pt x="478" y="195"/>
                  <a:pt x="478" y="195"/>
                  <a:pt x="477" y="195"/>
                </a:cubicBezTo>
                <a:cubicBezTo>
                  <a:pt x="477" y="195"/>
                  <a:pt x="477" y="195"/>
                  <a:pt x="476" y="193"/>
                </a:cubicBezTo>
                <a:cubicBezTo>
                  <a:pt x="476" y="193"/>
                  <a:pt x="476" y="193"/>
                  <a:pt x="474" y="192"/>
                </a:cubicBezTo>
                <a:cubicBezTo>
                  <a:pt x="474" y="192"/>
                  <a:pt x="474" y="192"/>
                  <a:pt x="472" y="190"/>
                </a:cubicBezTo>
                <a:cubicBezTo>
                  <a:pt x="472" y="190"/>
                  <a:pt x="472" y="190"/>
                  <a:pt x="471" y="188"/>
                </a:cubicBezTo>
                <a:cubicBezTo>
                  <a:pt x="471" y="188"/>
                  <a:pt x="471" y="188"/>
                  <a:pt x="472" y="186"/>
                </a:cubicBezTo>
                <a:cubicBezTo>
                  <a:pt x="472" y="186"/>
                  <a:pt x="472" y="186"/>
                  <a:pt x="473" y="185"/>
                </a:cubicBezTo>
                <a:cubicBezTo>
                  <a:pt x="473" y="185"/>
                  <a:pt x="473" y="185"/>
                  <a:pt x="474" y="184"/>
                </a:cubicBezTo>
                <a:cubicBezTo>
                  <a:pt x="474" y="184"/>
                  <a:pt x="474" y="184"/>
                  <a:pt x="474" y="183"/>
                </a:cubicBezTo>
                <a:cubicBezTo>
                  <a:pt x="474" y="183"/>
                  <a:pt x="474" y="183"/>
                  <a:pt x="474" y="182"/>
                </a:cubicBezTo>
                <a:cubicBezTo>
                  <a:pt x="474" y="182"/>
                  <a:pt x="474" y="182"/>
                  <a:pt x="473" y="180"/>
                </a:cubicBezTo>
                <a:cubicBezTo>
                  <a:pt x="473" y="180"/>
                  <a:pt x="473" y="180"/>
                  <a:pt x="474" y="178"/>
                </a:cubicBezTo>
                <a:cubicBezTo>
                  <a:pt x="474" y="178"/>
                  <a:pt x="474" y="178"/>
                  <a:pt x="475" y="178"/>
                </a:cubicBezTo>
                <a:cubicBezTo>
                  <a:pt x="475" y="178"/>
                  <a:pt x="475" y="178"/>
                  <a:pt x="475" y="179"/>
                </a:cubicBezTo>
                <a:cubicBezTo>
                  <a:pt x="475" y="179"/>
                  <a:pt x="475" y="179"/>
                  <a:pt x="474" y="180"/>
                </a:cubicBezTo>
                <a:cubicBezTo>
                  <a:pt x="474" y="180"/>
                  <a:pt x="474" y="180"/>
                  <a:pt x="475" y="181"/>
                </a:cubicBezTo>
                <a:cubicBezTo>
                  <a:pt x="475" y="181"/>
                  <a:pt x="475" y="181"/>
                  <a:pt x="476" y="181"/>
                </a:cubicBezTo>
                <a:cubicBezTo>
                  <a:pt x="476" y="181"/>
                  <a:pt x="476" y="181"/>
                  <a:pt x="477" y="180"/>
                </a:cubicBezTo>
                <a:cubicBezTo>
                  <a:pt x="477" y="180"/>
                  <a:pt x="477" y="180"/>
                  <a:pt x="478" y="180"/>
                </a:cubicBezTo>
                <a:cubicBezTo>
                  <a:pt x="478" y="180"/>
                  <a:pt x="478" y="180"/>
                  <a:pt x="479" y="180"/>
                </a:cubicBezTo>
                <a:cubicBezTo>
                  <a:pt x="479" y="180"/>
                  <a:pt x="479" y="180"/>
                  <a:pt x="480" y="181"/>
                </a:cubicBezTo>
                <a:cubicBezTo>
                  <a:pt x="480" y="181"/>
                  <a:pt x="480" y="181"/>
                  <a:pt x="480" y="183"/>
                </a:cubicBezTo>
                <a:cubicBezTo>
                  <a:pt x="480" y="183"/>
                  <a:pt x="480" y="183"/>
                  <a:pt x="483" y="183"/>
                </a:cubicBezTo>
                <a:cubicBezTo>
                  <a:pt x="483" y="183"/>
                  <a:pt x="483" y="183"/>
                  <a:pt x="483" y="182"/>
                </a:cubicBezTo>
                <a:cubicBezTo>
                  <a:pt x="483" y="182"/>
                  <a:pt x="483" y="182"/>
                  <a:pt x="482" y="181"/>
                </a:cubicBezTo>
                <a:cubicBezTo>
                  <a:pt x="482" y="181"/>
                  <a:pt x="482" y="181"/>
                  <a:pt x="480" y="181"/>
                </a:cubicBezTo>
                <a:cubicBezTo>
                  <a:pt x="480" y="181"/>
                  <a:pt x="480" y="181"/>
                  <a:pt x="480" y="180"/>
                </a:cubicBezTo>
                <a:cubicBezTo>
                  <a:pt x="480" y="180"/>
                  <a:pt x="480" y="180"/>
                  <a:pt x="478" y="179"/>
                </a:cubicBezTo>
                <a:cubicBezTo>
                  <a:pt x="478" y="179"/>
                  <a:pt x="478" y="179"/>
                  <a:pt x="477" y="177"/>
                </a:cubicBezTo>
                <a:cubicBezTo>
                  <a:pt x="477" y="177"/>
                  <a:pt x="477" y="177"/>
                  <a:pt x="475" y="177"/>
                </a:cubicBezTo>
                <a:cubicBezTo>
                  <a:pt x="475" y="177"/>
                  <a:pt x="475" y="177"/>
                  <a:pt x="474" y="174"/>
                </a:cubicBezTo>
                <a:cubicBezTo>
                  <a:pt x="474" y="174"/>
                  <a:pt x="474" y="174"/>
                  <a:pt x="472" y="172"/>
                </a:cubicBezTo>
                <a:cubicBezTo>
                  <a:pt x="472" y="172"/>
                  <a:pt x="472" y="172"/>
                  <a:pt x="472" y="171"/>
                </a:cubicBezTo>
                <a:cubicBezTo>
                  <a:pt x="472" y="171"/>
                  <a:pt x="472" y="171"/>
                  <a:pt x="473" y="170"/>
                </a:cubicBezTo>
                <a:cubicBezTo>
                  <a:pt x="473" y="170"/>
                  <a:pt x="473" y="170"/>
                  <a:pt x="474" y="170"/>
                </a:cubicBezTo>
                <a:cubicBezTo>
                  <a:pt x="474" y="170"/>
                  <a:pt x="474" y="170"/>
                  <a:pt x="473" y="171"/>
                </a:cubicBezTo>
                <a:cubicBezTo>
                  <a:pt x="473" y="171"/>
                  <a:pt x="473" y="171"/>
                  <a:pt x="474" y="171"/>
                </a:cubicBezTo>
                <a:cubicBezTo>
                  <a:pt x="474" y="171"/>
                  <a:pt x="474" y="171"/>
                  <a:pt x="476" y="170"/>
                </a:cubicBezTo>
                <a:cubicBezTo>
                  <a:pt x="476" y="170"/>
                  <a:pt x="476" y="170"/>
                  <a:pt x="477" y="169"/>
                </a:cubicBezTo>
                <a:cubicBezTo>
                  <a:pt x="477" y="169"/>
                  <a:pt x="477" y="169"/>
                  <a:pt x="478" y="169"/>
                </a:cubicBezTo>
                <a:cubicBezTo>
                  <a:pt x="478" y="169"/>
                  <a:pt x="478" y="169"/>
                  <a:pt x="478" y="168"/>
                </a:cubicBezTo>
                <a:cubicBezTo>
                  <a:pt x="478" y="168"/>
                  <a:pt x="478" y="168"/>
                  <a:pt x="480" y="167"/>
                </a:cubicBezTo>
                <a:cubicBezTo>
                  <a:pt x="480" y="167"/>
                  <a:pt x="480" y="167"/>
                  <a:pt x="481" y="167"/>
                </a:cubicBezTo>
                <a:cubicBezTo>
                  <a:pt x="481" y="167"/>
                  <a:pt x="481" y="167"/>
                  <a:pt x="483" y="167"/>
                </a:cubicBezTo>
                <a:cubicBezTo>
                  <a:pt x="483" y="167"/>
                  <a:pt x="483" y="167"/>
                  <a:pt x="484" y="166"/>
                </a:cubicBezTo>
                <a:cubicBezTo>
                  <a:pt x="484" y="166"/>
                  <a:pt x="484" y="166"/>
                  <a:pt x="486" y="165"/>
                </a:cubicBezTo>
                <a:cubicBezTo>
                  <a:pt x="486" y="165"/>
                  <a:pt x="486" y="165"/>
                  <a:pt x="488" y="166"/>
                </a:cubicBezTo>
                <a:cubicBezTo>
                  <a:pt x="488" y="166"/>
                  <a:pt x="488" y="166"/>
                  <a:pt x="489" y="166"/>
                </a:cubicBezTo>
                <a:cubicBezTo>
                  <a:pt x="489" y="166"/>
                  <a:pt x="489" y="166"/>
                  <a:pt x="490" y="167"/>
                </a:cubicBezTo>
                <a:cubicBezTo>
                  <a:pt x="490" y="167"/>
                  <a:pt x="490" y="167"/>
                  <a:pt x="491" y="167"/>
                </a:cubicBezTo>
                <a:cubicBezTo>
                  <a:pt x="491" y="167"/>
                  <a:pt x="491" y="167"/>
                  <a:pt x="492" y="167"/>
                </a:cubicBezTo>
                <a:cubicBezTo>
                  <a:pt x="492" y="167"/>
                  <a:pt x="492" y="167"/>
                  <a:pt x="491" y="165"/>
                </a:cubicBezTo>
                <a:cubicBezTo>
                  <a:pt x="491" y="165"/>
                  <a:pt x="491" y="165"/>
                  <a:pt x="490" y="165"/>
                </a:cubicBezTo>
                <a:cubicBezTo>
                  <a:pt x="490" y="165"/>
                  <a:pt x="490" y="165"/>
                  <a:pt x="490" y="164"/>
                </a:cubicBezTo>
                <a:cubicBezTo>
                  <a:pt x="490" y="164"/>
                  <a:pt x="490" y="164"/>
                  <a:pt x="494" y="163"/>
                </a:cubicBezTo>
                <a:cubicBezTo>
                  <a:pt x="494" y="163"/>
                  <a:pt x="494" y="163"/>
                  <a:pt x="495" y="163"/>
                </a:cubicBezTo>
                <a:cubicBezTo>
                  <a:pt x="495" y="163"/>
                  <a:pt x="495" y="163"/>
                  <a:pt x="496" y="163"/>
                </a:cubicBezTo>
                <a:cubicBezTo>
                  <a:pt x="496" y="163"/>
                  <a:pt x="496" y="163"/>
                  <a:pt x="497" y="163"/>
                </a:cubicBezTo>
                <a:cubicBezTo>
                  <a:pt x="497" y="163"/>
                  <a:pt x="497" y="163"/>
                  <a:pt x="499" y="162"/>
                </a:cubicBezTo>
                <a:cubicBezTo>
                  <a:pt x="499" y="162"/>
                  <a:pt x="499" y="162"/>
                  <a:pt x="501" y="162"/>
                </a:cubicBezTo>
                <a:cubicBezTo>
                  <a:pt x="501" y="162"/>
                  <a:pt x="501" y="162"/>
                  <a:pt x="502" y="163"/>
                </a:cubicBezTo>
                <a:cubicBezTo>
                  <a:pt x="502" y="163"/>
                  <a:pt x="502" y="163"/>
                  <a:pt x="503" y="164"/>
                </a:cubicBezTo>
                <a:cubicBezTo>
                  <a:pt x="503" y="164"/>
                  <a:pt x="503" y="164"/>
                  <a:pt x="503" y="165"/>
                </a:cubicBezTo>
                <a:cubicBezTo>
                  <a:pt x="503" y="165"/>
                  <a:pt x="503" y="165"/>
                  <a:pt x="503" y="166"/>
                </a:cubicBezTo>
                <a:cubicBezTo>
                  <a:pt x="503" y="166"/>
                  <a:pt x="503" y="166"/>
                  <a:pt x="502" y="166"/>
                </a:cubicBezTo>
                <a:cubicBezTo>
                  <a:pt x="502" y="166"/>
                  <a:pt x="502" y="166"/>
                  <a:pt x="501" y="168"/>
                </a:cubicBezTo>
                <a:cubicBezTo>
                  <a:pt x="501" y="168"/>
                  <a:pt x="501" y="168"/>
                  <a:pt x="499" y="168"/>
                </a:cubicBezTo>
                <a:cubicBezTo>
                  <a:pt x="499" y="168"/>
                  <a:pt x="499" y="168"/>
                  <a:pt x="499" y="169"/>
                </a:cubicBezTo>
                <a:cubicBezTo>
                  <a:pt x="499" y="169"/>
                  <a:pt x="499" y="169"/>
                  <a:pt x="500" y="170"/>
                </a:cubicBezTo>
                <a:cubicBezTo>
                  <a:pt x="500" y="170"/>
                  <a:pt x="500" y="170"/>
                  <a:pt x="500" y="172"/>
                </a:cubicBezTo>
                <a:cubicBezTo>
                  <a:pt x="500" y="172"/>
                  <a:pt x="500" y="172"/>
                  <a:pt x="501" y="172"/>
                </a:cubicBezTo>
                <a:cubicBezTo>
                  <a:pt x="501" y="172"/>
                  <a:pt x="501" y="172"/>
                  <a:pt x="501" y="171"/>
                </a:cubicBezTo>
                <a:cubicBezTo>
                  <a:pt x="501" y="171"/>
                  <a:pt x="501" y="171"/>
                  <a:pt x="502" y="172"/>
                </a:cubicBezTo>
                <a:cubicBezTo>
                  <a:pt x="502" y="172"/>
                  <a:pt x="502" y="172"/>
                  <a:pt x="502" y="173"/>
                </a:cubicBezTo>
                <a:cubicBezTo>
                  <a:pt x="502" y="173"/>
                  <a:pt x="502" y="173"/>
                  <a:pt x="503" y="173"/>
                </a:cubicBezTo>
                <a:cubicBezTo>
                  <a:pt x="503" y="173"/>
                  <a:pt x="503" y="173"/>
                  <a:pt x="504" y="173"/>
                </a:cubicBezTo>
                <a:cubicBezTo>
                  <a:pt x="504" y="173"/>
                  <a:pt x="504" y="173"/>
                  <a:pt x="505" y="173"/>
                </a:cubicBezTo>
                <a:cubicBezTo>
                  <a:pt x="505" y="173"/>
                  <a:pt x="505" y="173"/>
                  <a:pt x="505" y="174"/>
                </a:cubicBezTo>
                <a:cubicBezTo>
                  <a:pt x="505" y="174"/>
                  <a:pt x="505" y="174"/>
                  <a:pt x="506" y="174"/>
                </a:cubicBezTo>
                <a:cubicBezTo>
                  <a:pt x="506" y="174"/>
                  <a:pt x="506" y="174"/>
                  <a:pt x="508" y="174"/>
                </a:cubicBezTo>
                <a:cubicBezTo>
                  <a:pt x="508" y="174"/>
                  <a:pt x="508" y="174"/>
                  <a:pt x="508" y="175"/>
                </a:cubicBezTo>
                <a:cubicBezTo>
                  <a:pt x="508" y="175"/>
                  <a:pt x="508" y="175"/>
                  <a:pt x="508" y="176"/>
                </a:cubicBezTo>
                <a:cubicBezTo>
                  <a:pt x="508" y="176"/>
                  <a:pt x="508" y="176"/>
                  <a:pt x="510" y="175"/>
                </a:cubicBezTo>
                <a:cubicBezTo>
                  <a:pt x="510" y="175"/>
                  <a:pt x="510" y="175"/>
                  <a:pt x="511" y="175"/>
                </a:cubicBezTo>
                <a:cubicBezTo>
                  <a:pt x="511" y="175"/>
                  <a:pt x="511" y="175"/>
                  <a:pt x="511" y="174"/>
                </a:cubicBezTo>
                <a:cubicBezTo>
                  <a:pt x="511" y="174"/>
                  <a:pt x="511" y="174"/>
                  <a:pt x="513" y="172"/>
                </a:cubicBezTo>
                <a:cubicBezTo>
                  <a:pt x="513" y="172"/>
                  <a:pt x="513" y="172"/>
                  <a:pt x="514" y="172"/>
                </a:cubicBezTo>
                <a:cubicBezTo>
                  <a:pt x="514" y="172"/>
                  <a:pt x="514" y="172"/>
                  <a:pt x="515" y="172"/>
                </a:cubicBezTo>
                <a:cubicBezTo>
                  <a:pt x="515" y="172"/>
                  <a:pt x="515" y="172"/>
                  <a:pt x="515" y="173"/>
                </a:cubicBezTo>
                <a:cubicBezTo>
                  <a:pt x="515" y="173"/>
                  <a:pt x="515" y="173"/>
                  <a:pt x="513" y="175"/>
                </a:cubicBezTo>
                <a:cubicBezTo>
                  <a:pt x="513" y="175"/>
                  <a:pt x="513" y="175"/>
                  <a:pt x="515" y="175"/>
                </a:cubicBezTo>
                <a:cubicBezTo>
                  <a:pt x="515" y="175"/>
                  <a:pt x="515" y="175"/>
                  <a:pt x="516" y="173"/>
                </a:cubicBezTo>
                <a:cubicBezTo>
                  <a:pt x="516" y="173"/>
                  <a:pt x="516" y="173"/>
                  <a:pt x="516" y="171"/>
                </a:cubicBezTo>
                <a:cubicBezTo>
                  <a:pt x="516" y="171"/>
                  <a:pt x="516" y="171"/>
                  <a:pt x="516" y="170"/>
                </a:cubicBezTo>
                <a:cubicBezTo>
                  <a:pt x="516" y="170"/>
                  <a:pt x="516" y="170"/>
                  <a:pt x="514" y="170"/>
                </a:cubicBezTo>
                <a:cubicBezTo>
                  <a:pt x="514" y="170"/>
                  <a:pt x="514" y="170"/>
                  <a:pt x="514" y="169"/>
                </a:cubicBezTo>
                <a:cubicBezTo>
                  <a:pt x="514" y="169"/>
                  <a:pt x="514" y="169"/>
                  <a:pt x="513" y="169"/>
                </a:cubicBezTo>
                <a:cubicBezTo>
                  <a:pt x="513" y="169"/>
                  <a:pt x="513" y="169"/>
                  <a:pt x="512" y="170"/>
                </a:cubicBezTo>
                <a:cubicBezTo>
                  <a:pt x="512" y="170"/>
                  <a:pt x="512" y="170"/>
                  <a:pt x="512" y="169"/>
                </a:cubicBezTo>
                <a:cubicBezTo>
                  <a:pt x="512" y="169"/>
                  <a:pt x="512" y="169"/>
                  <a:pt x="513" y="168"/>
                </a:cubicBezTo>
                <a:cubicBezTo>
                  <a:pt x="513" y="168"/>
                  <a:pt x="513" y="168"/>
                  <a:pt x="514" y="166"/>
                </a:cubicBezTo>
                <a:cubicBezTo>
                  <a:pt x="514" y="166"/>
                  <a:pt x="514" y="166"/>
                  <a:pt x="514" y="168"/>
                </a:cubicBezTo>
                <a:cubicBezTo>
                  <a:pt x="514" y="168"/>
                  <a:pt x="514" y="168"/>
                  <a:pt x="515" y="169"/>
                </a:cubicBezTo>
                <a:cubicBezTo>
                  <a:pt x="515" y="169"/>
                  <a:pt x="515" y="169"/>
                  <a:pt x="516" y="169"/>
                </a:cubicBezTo>
                <a:cubicBezTo>
                  <a:pt x="516" y="169"/>
                  <a:pt x="516" y="169"/>
                  <a:pt x="517" y="169"/>
                </a:cubicBezTo>
                <a:cubicBezTo>
                  <a:pt x="517" y="169"/>
                  <a:pt x="517" y="169"/>
                  <a:pt x="518" y="171"/>
                </a:cubicBezTo>
                <a:cubicBezTo>
                  <a:pt x="518" y="171"/>
                  <a:pt x="518" y="171"/>
                  <a:pt x="518" y="172"/>
                </a:cubicBezTo>
                <a:cubicBezTo>
                  <a:pt x="518" y="172"/>
                  <a:pt x="518" y="172"/>
                  <a:pt x="520" y="172"/>
                </a:cubicBezTo>
                <a:cubicBezTo>
                  <a:pt x="520" y="172"/>
                  <a:pt x="520" y="172"/>
                  <a:pt x="521" y="171"/>
                </a:cubicBezTo>
                <a:cubicBezTo>
                  <a:pt x="521" y="171"/>
                  <a:pt x="521" y="171"/>
                  <a:pt x="522" y="172"/>
                </a:cubicBezTo>
                <a:cubicBezTo>
                  <a:pt x="522" y="172"/>
                  <a:pt x="522" y="172"/>
                  <a:pt x="522" y="173"/>
                </a:cubicBezTo>
                <a:cubicBezTo>
                  <a:pt x="522" y="173"/>
                  <a:pt x="522" y="173"/>
                  <a:pt x="524" y="173"/>
                </a:cubicBezTo>
                <a:cubicBezTo>
                  <a:pt x="524" y="173"/>
                  <a:pt x="524" y="173"/>
                  <a:pt x="524" y="171"/>
                </a:cubicBezTo>
                <a:cubicBezTo>
                  <a:pt x="524" y="171"/>
                  <a:pt x="524" y="171"/>
                  <a:pt x="524" y="170"/>
                </a:cubicBezTo>
                <a:cubicBezTo>
                  <a:pt x="524" y="170"/>
                  <a:pt x="524" y="170"/>
                  <a:pt x="526" y="169"/>
                </a:cubicBezTo>
                <a:cubicBezTo>
                  <a:pt x="526" y="169"/>
                  <a:pt x="526" y="169"/>
                  <a:pt x="524" y="168"/>
                </a:cubicBezTo>
                <a:cubicBezTo>
                  <a:pt x="524" y="168"/>
                  <a:pt x="524" y="168"/>
                  <a:pt x="522" y="168"/>
                </a:cubicBezTo>
                <a:cubicBezTo>
                  <a:pt x="522" y="168"/>
                  <a:pt x="522" y="168"/>
                  <a:pt x="520" y="168"/>
                </a:cubicBezTo>
                <a:cubicBezTo>
                  <a:pt x="520" y="168"/>
                  <a:pt x="520" y="168"/>
                  <a:pt x="520" y="167"/>
                </a:cubicBezTo>
                <a:cubicBezTo>
                  <a:pt x="520" y="167"/>
                  <a:pt x="520" y="167"/>
                  <a:pt x="519" y="167"/>
                </a:cubicBezTo>
                <a:cubicBezTo>
                  <a:pt x="519" y="167"/>
                  <a:pt x="519" y="167"/>
                  <a:pt x="518" y="167"/>
                </a:cubicBezTo>
                <a:cubicBezTo>
                  <a:pt x="518" y="167"/>
                  <a:pt x="518" y="167"/>
                  <a:pt x="517" y="168"/>
                </a:cubicBezTo>
                <a:cubicBezTo>
                  <a:pt x="517" y="168"/>
                  <a:pt x="517" y="168"/>
                  <a:pt x="516" y="167"/>
                </a:cubicBezTo>
                <a:cubicBezTo>
                  <a:pt x="516" y="167"/>
                  <a:pt x="516" y="167"/>
                  <a:pt x="516" y="166"/>
                </a:cubicBezTo>
                <a:cubicBezTo>
                  <a:pt x="516" y="166"/>
                  <a:pt x="516" y="166"/>
                  <a:pt x="516" y="163"/>
                </a:cubicBezTo>
                <a:cubicBezTo>
                  <a:pt x="516" y="163"/>
                  <a:pt x="516" y="163"/>
                  <a:pt x="516" y="162"/>
                </a:cubicBezTo>
                <a:cubicBezTo>
                  <a:pt x="516" y="162"/>
                  <a:pt x="516" y="162"/>
                  <a:pt x="518" y="162"/>
                </a:cubicBezTo>
                <a:cubicBezTo>
                  <a:pt x="518" y="162"/>
                  <a:pt x="518" y="162"/>
                  <a:pt x="515" y="159"/>
                </a:cubicBezTo>
                <a:cubicBezTo>
                  <a:pt x="515" y="159"/>
                  <a:pt x="515" y="159"/>
                  <a:pt x="515" y="158"/>
                </a:cubicBezTo>
                <a:cubicBezTo>
                  <a:pt x="515" y="158"/>
                  <a:pt x="515" y="158"/>
                  <a:pt x="514" y="158"/>
                </a:cubicBezTo>
                <a:cubicBezTo>
                  <a:pt x="514" y="158"/>
                  <a:pt x="514" y="158"/>
                  <a:pt x="514" y="159"/>
                </a:cubicBezTo>
                <a:cubicBezTo>
                  <a:pt x="514" y="159"/>
                  <a:pt x="514" y="159"/>
                  <a:pt x="513" y="158"/>
                </a:cubicBezTo>
                <a:cubicBezTo>
                  <a:pt x="513" y="158"/>
                  <a:pt x="513" y="158"/>
                  <a:pt x="510" y="155"/>
                </a:cubicBezTo>
                <a:cubicBezTo>
                  <a:pt x="510" y="155"/>
                  <a:pt x="510" y="155"/>
                  <a:pt x="511" y="153"/>
                </a:cubicBezTo>
                <a:cubicBezTo>
                  <a:pt x="511" y="153"/>
                  <a:pt x="511" y="153"/>
                  <a:pt x="513" y="151"/>
                </a:cubicBezTo>
                <a:cubicBezTo>
                  <a:pt x="513" y="151"/>
                  <a:pt x="513" y="151"/>
                  <a:pt x="513" y="147"/>
                </a:cubicBezTo>
                <a:cubicBezTo>
                  <a:pt x="513" y="147"/>
                  <a:pt x="513" y="147"/>
                  <a:pt x="512" y="143"/>
                </a:cubicBezTo>
                <a:cubicBezTo>
                  <a:pt x="512" y="143"/>
                  <a:pt x="512" y="143"/>
                  <a:pt x="511" y="139"/>
                </a:cubicBezTo>
                <a:cubicBezTo>
                  <a:pt x="511" y="139"/>
                  <a:pt x="511" y="139"/>
                  <a:pt x="509" y="134"/>
                </a:cubicBezTo>
                <a:cubicBezTo>
                  <a:pt x="509" y="134"/>
                  <a:pt x="509" y="134"/>
                  <a:pt x="508" y="131"/>
                </a:cubicBezTo>
                <a:cubicBezTo>
                  <a:pt x="508" y="131"/>
                  <a:pt x="508" y="131"/>
                  <a:pt x="509" y="130"/>
                </a:cubicBezTo>
                <a:cubicBezTo>
                  <a:pt x="509" y="130"/>
                  <a:pt x="509" y="130"/>
                  <a:pt x="510" y="131"/>
                </a:cubicBezTo>
                <a:cubicBezTo>
                  <a:pt x="510" y="131"/>
                  <a:pt x="510" y="131"/>
                  <a:pt x="511" y="131"/>
                </a:cubicBezTo>
                <a:cubicBezTo>
                  <a:pt x="511" y="131"/>
                  <a:pt x="511" y="131"/>
                  <a:pt x="511" y="130"/>
                </a:cubicBezTo>
                <a:cubicBezTo>
                  <a:pt x="511" y="130"/>
                  <a:pt x="511" y="130"/>
                  <a:pt x="513" y="128"/>
                </a:cubicBezTo>
                <a:cubicBezTo>
                  <a:pt x="513" y="128"/>
                  <a:pt x="513" y="128"/>
                  <a:pt x="513" y="127"/>
                </a:cubicBezTo>
                <a:cubicBezTo>
                  <a:pt x="513" y="127"/>
                  <a:pt x="513" y="127"/>
                  <a:pt x="515" y="125"/>
                </a:cubicBezTo>
                <a:cubicBezTo>
                  <a:pt x="515" y="125"/>
                  <a:pt x="515" y="125"/>
                  <a:pt x="517" y="123"/>
                </a:cubicBezTo>
                <a:cubicBezTo>
                  <a:pt x="517" y="123"/>
                  <a:pt x="517" y="123"/>
                  <a:pt x="518" y="123"/>
                </a:cubicBezTo>
                <a:cubicBezTo>
                  <a:pt x="518" y="123"/>
                  <a:pt x="518" y="123"/>
                  <a:pt x="520" y="124"/>
                </a:cubicBezTo>
                <a:cubicBezTo>
                  <a:pt x="520" y="124"/>
                  <a:pt x="520" y="124"/>
                  <a:pt x="521" y="125"/>
                </a:cubicBezTo>
                <a:cubicBezTo>
                  <a:pt x="521" y="125"/>
                  <a:pt x="521" y="125"/>
                  <a:pt x="523" y="126"/>
                </a:cubicBezTo>
                <a:cubicBezTo>
                  <a:pt x="523" y="126"/>
                  <a:pt x="523" y="126"/>
                  <a:pt x="524" y="126"/>
                </a:cubicBezTo>
                <a:cubicBezTo>
                  <a:pt x="524" y="126"/>
                  <a:pt x="524" y="126"/>
                  <a:pt x="525" y="127"/>
                </a:cubicBezTo>
                <a:cubicBezTo>
                  <a:pt x="525" y="127"/>
                  <a:pt x="525" y="127"/>
                  <a:pt x="527" y="127"/>
                </a:cubicBezTo>
                <a:cubicBezTo>
                  <a:pt x="527" y="127"/>
                  <a:pt x="527" y="127"/>
                  <a:pt x="529" y="125"/>
                </a:cubicBezTo>
                <a:cubicBezTo>
                  <a:pt x="529" y="125"/>
                  <a:pt x="529" y="125"/>
                  <a:pt x="531" y="125"/>
                </a:cubicBezTo>
                <a:cubicBezTo>
                  <a:pt x="531" y="125"/>
                  <a:pt x="531" y="125"/>
                  <a:pt x="532" y="124"/>
                </a:cubicBezTo>
                <a:cubicBezTo>
                  <a:pt x="532" y="124"/>
                  <a:pt x="532" y="124"/>
                  <a:pt x="534" y="124"/>
                </a:cubicBezTo>
                <a:cubicBezTo>
                  <a:pt x="534" y="124"/>
                  <a:pt x="534" y="124"/>
                  <a:pt x="536" y="123"/>
                </a:cubicBezTo>
                <a:cubicBezTo>
                  <a:pt x="536" y="123"/>
                  <a:pt x="536" y="123"/>
                  <a:pt x="539" y="120"/>
                </a:cubicBezTo>
                <a:cubicBezTo>
                  <a:pt x="539" y="120"/>
                  <a:pt x="539" y="120"/>
                  <a:pt x="541" y="118"/>
                </a:cubicBezTo>
                <a:cubicBezTo>
                  <a:pt x="541" y="118"/>
                  <a:pt x="541" y="118"/>
                  <a:pt x="544" y="116"/>
                </a:cubicBezTo>
                <a:cubicBezTo>
                  <a:pt x="544" y="116"/>
                  <a:pt x="544" y="116"/>
                  <a:pt x="548" y="114"/>
                </a:cubicBezTo>
                <a:cubicBezTo>
                  <a:pt x="548" y="114"/>
                  <a:pt x="548" y="114"/>
                  <a:pt x="551" y="112"/>
                </a:cubicBezTo>
                <a:cubicBezTo>
                  <a:pt x="551" y="112"/>
                  <a:pt x="551" y="112"/>
                  <a:pt x="553" y="110"/>
                </a:cubicBezTo>
                <a:cubicBezTo>
                  <a:pt x="553" y="110"/>
                  <a:pt x="553" y="110"/>
                  <a:pt x="556" y="111"/>
                </a:cubicBezTo>
                <a:cubicBezTo>
                  <a:pt x="556" y="111"/>
                  <a:pt x="556" y="111"/>
                  <a:pt x="557" y="111"/>
                </a:cubicBezTo>
                <a:cubicBezTo>
                  <a:pt x="557" y="111"/>
                  <a:pt x="557" y="111"/>
                  <a:pt x="558" y="111"/>
                </a:cubicBezTo>
                <a:cubicBezTo>
                  <a:pt x="558" y="111"/>
                  <a:pt x="558" y="111"/>
                  <a:pt x="557" y="110"/>
                </a:cubicBezTo>
                <a:cubicBezTo>
                  <a:pt x="557" y="110"/>
                  <a:pt x="557" y="110"/>
                  <a:pt x="555" y="109"/>
                </a:cubicBezTo>
                <a:cubicBezTo>
                  <a:pt x="555" y="109"/>
                  <a:pt x="555" y="109"/>
                  <a:pt x="556" y="109"/>
                </a:cubicBezTo>
                <a:cubicBezTo>
                  <a:pt x="556" y="109"/>
                  <a:pt x="556" y="109"/>
                  <a:pt x="558" y="109"/>
                </a:cubicBezTo>
                <a:cubicBezTo>
                  <a:pt x="558" y="109"/>
                  <a:pt x="558" y="109"/>
                  <a:pt x="559" y="110"/>
                </a:cubicBezTo>
                <a:cubicBezTo>
                  <a:pt x="559" y="110"/>
                  <a:pt x="559" y="110"/>
                  <a:pt x="559" y="111"/>
                </a:cubicBezTo>
                <a:cubicBezTo>
                  <a:pt x="559" y="111"/>
                  <a:pt x="559" y="111"/>
                  <a:pt x="561" y="111"/>
                </a:cubicBezTo>
                <a:cubicBezTo>
                  <a:pt x="561" y="111"/>
                  <a:pt x="561" y="111"/>
                  <a:pt x="564" y="109"/>
                </a:cubicBezTo>
                <a:cubicBezTo>
                  <a:pt x="564" y="109"/>
                  <a:pt x="564" y="109"/>
                  <a:pt x="564" y="110"/>
                </a:cubicBezTo>
                <a:cubicBezTo>
                  <a:pt x="564" y="110"/>
                  <a:pt x="564" y="110"/>
                  <a:pt x="562" y="113"/>
                </a:cubicBezTo>
                <a:cubicBezTo>
                  <a:pt x="562" y="113"/>
                  <a:pt x="562" y="113"/>
                  <a:pt x="562" y="115"/>
                </a:cubicBezTo>
                <a:cubicBezTo>
                  <a:pt x="562" y="115"/>
                  <a:pt x="562" y="115"/>
                  <a:pt x="563" y="115"/>
                </a:cubicBezTo>
                <a:cubicBezTo>
                  <a:pt x="563" y="115"/>
                  <a:pt x="563" y="115"/>
                  <a:pt x="564" y="113"/>
                </a:cubicBezTo>
                <a:cubicBezTo>
                  <a:pt x="564" y="113"/>
                  <a:pt x="564" y="113"/>
                  <a:pt x="565" y="110"/>
                </a:cubicBezTo>
                <a:cubicBezTo>
                  <a:pt x="565" y="110"/>
                  <a:pt x="565" y="110"/>
                  <a:pt x="566" y="109"/>
                </a:cubicBezTo>
                <a:cubicBezTo>
                  <a:pt x="566" y="109"/>
                  <a:pt x="566" y="109"/>
                  <a:pt x="568" y="109"/>
                </a:cubicBezTo>
                <a:cubicBezTo>
                  <a:pt x="568" y="109"/>
                  <a:pt x="568" y="109"/>
                  <a:pt x="569" y="108"/>
                </a:cubicBezTo>
                <a:cubicBezTo>
                  <a:pt x="569" y="108"/>
                  <a:pt x="569" y="108"/>
                  <a:pt x="567" y="108"/>
                </a:cubicBezTo>
                <a:cubicBezTo>
                  <a:pt x="567" y="108"/>
                  <a:pt x="567" y="108"/>
                  <a:pt x="567" y="107"/>
                </a:cubicBezTo>
                <a:cubicBezTo>
                  <a:pt x="567" y="107"/>
                  <a:pt x="567" y="107"/>
                  <a:pt x="568" y="106"/>
                </a:cubicBezTo>
                <a:cubicBezTo>
                  <a:pt x="568" y="106"/>
                  <a:pt x="568" y="106"/>
                  <a:pt x="569" y="105"/>
                </a:cubicBezTo>
                <a:cubicBezTo>
                  <a:pt x="569" y="105"/>
                  <a:pt x="569" y="105"/>
                  <a:pt x="572" y="104"/>
                </a:cubicBezTo>
                <a:cubicBezTo>
                  <a:pt x="572" y="104"/>
                  <a:pt x="572" y="104"/>
                  <a:pt x="573" y="103"/>
                </a:cubicBezTo>
                <a:cubicBezTo>
                  <a:pt x="573" y="103"/>
                  <a:pt x="573" y="103"/>
                  <a:pt x="574" y="104"/>
                </a:cubicBezTo>
                <a:cubicBezTo>
                  <a:pt x="574" y="104"/>
                  <a:pt x="574" y="104"/>
                  <a:pt x="573" y="104"/>
                </a:cubicBezTo>
                <a:cubicBezTo>
                  <a:pt x="573" y="104"/>
                  <a:pt x="573" y="104"/>
                  <a:pt x="573" y="105"/>
                </a:cubicBezTo>
                <a:cubicBezTo>
                  <a:pt x="573" y="105"/>
                  <a:pt x="573" y="105"/>
                  <a:pt x="573" y="106"/>
                </a:cubicBezTo>
                <a:cubicBezTo>
                  <a:pt x="573" y="106"/>
                  <a:pt x="573" y="106"/>
                  <a:pt x="574" y="106"/>
                </a:cubicBezTo>
                <a:cubicBezTo>
                  <a:pt x="574" y="106"/>
                  <a:pt x="574" y="106"/>
                  <a:pt x="574" y="105"/>
                </a:cubicBezTo>
                <a:cubicBezTo>
                  <a:pt x="574" y="105"/>
                  <a:pt x="574" y="105"/>
                  <a:pt x="575" y="104"/>
                </a:cubicBezTo>
                <a:cubicBezTo>
                  <a:pt x="575" y="104"/>
                  <a:pt x="575" y="104"/>
                  <a:pt x="576" y="105"/>
                </a:cubicBezTo>
                <a:cubicBezTo>
                  <a:pt x="576" y="105"/>
                  <a:pt x="576" y="105"/>
                  <a:pt x="577" y="105"/>
                </a:cubicBezTo>
                <a:cubicBezTo>
                  <a:pt x="577" y="105"/>
                  <a:pt x="577" y="105"/>
                  <a:pt x="578" y="105"/>
                </a:cubicBezTo>
                <a:cubicBezTo>
                  <a:pt x="578" y="105"/>
                  <a:pt x="578" y="105"/>
                  <a:pt x="580" y="106"/>
                </a:cubicBezTo>
                <a:cubicBezTo>
                  <a:pt x="580" y="106"/>
                  <a:pt x="580" y="106"/>
                  <a:pt x="582" y="106"/>
                </a:cubicBezTo>
                <a:cubicBezTo>
                  <a:pt x="582" y="106"/>
                  <a:pt x="582" y="106"/>
                  <a:pt x="584" y="106"/>
                </a:cubicBezTo>
                <a:cubicBezTo>
                  <a:pt x="584" y="106"/>
                  <a:pt x="584" y="106"/>
                  <a:pt x="587" y="103"/>
                </a:cubicBezTo>
                <a:cubicBezTo>
                  <a:pt x="587" y="103"/>
                  <a:pt x="587" y="103"/>
                  <a:pt x="588" y="103"/>
                </a:cubicBezTo>
                <a:cubicBezTo>
                  <a:pt x="588" y="103"/>
                  <a:pt x="588" y="103"/>
                  <a:pt x="590" y="103"/>
                </a:cubicBezTo>
                <a:cubicBezTo>
                  <a:pt x="590" y="103"/>
                  <a:pt x="590" y="103"/>
                  <a:pt x="590" y="102"/>
                </a:cubicBezTo>
                <a:cubicBezTo>
                  <a:pt x="590" y="102"/>
                  <a:pt x="590" y="102"/>
                  <a:pt x="593" y="101"/>
                </a:cubicBezTo>
                <a:cubicBezTo>
                  <a:pt x="593" y="101"/>
                  <a:pt x="593" y="101"/>
                  <a:pt x="592" y="102"/>
                </a:cubicBezTo>
                <a:cubicBezTo>
                  <a:pt x="592" y="102"/>
                  <a:pt x="592" y="102"/>
                  <a:pt x="593" y="103"/>
                </a:cubicBezTo>
                <a:cubicBezTo>
                  <a:pt x="593" y="103"/>
                  <a:pt x="593" y="103"/>
                  <a:pt x="593" y="104"/>
                </a:cubicBezTo>
                <a:cubicBezTo>
                  <a:pt x="593" y="104"/>
                  <a:pt x="593" y="104"/>
                  <a:pt x="594" y="104"/>
                </a:cubicBezTo>
                <a:cubicBezTo>
                  <a:pt x="594" y="104"/>
                  <a:pt x="594" y="104"/>
                  <a:pt x="595" y="105"/>
                </a:cubicBezTo>
                <a:cubicBezTo>
                  <a:pt x="595" y="105"/>
                  <a:pt x="595" y="105"/>
                  <a:pt x="595" y="106"/>
                </a:cubicBezTo>
                <a:cubicBezTo>
                  <a:pt x="595" y="106"/>
                  <a:pt x="595" y="106"/>
                  <a:pt x="594" y="107"/>
                </a:cubicBezTo>
                <a:cubicBezTo>
                  <a:pt x="594" y="107"/>
                  <a:pt x="594" y="107"/>
                  <a:pt x="592" y="108"/>
                </a:cubicBezTo>
                <a:cubicBezTo>
                  <a:pt x="592" y="108"/>
                  <a:pt x="592" y="108"/>
                  <a:pt x="591" y="108"/>
                </a:cubicBezTo>
                <a:cubicBezTo>
                  <a:pt x="591" y="108"/>
                  <a:pt x="591" y="108"/>
                  <a:pt x="589" y="107"/>
                </a:cubicBezTo>
                <a:cubicBezTo>
                  <a:pt x="589" y="107"/>
                  <a:pt x="589" y="107"/>
                  <a:pt x="588" y="108"/>
                </a:cubicBezTo>
                <a:cubicBezTo>
                  <a:pt x="588" y="108"/>
                  <a:pt x="588" y="108"/>
                  <a:pt x="587" y="109"/>
                </a:cubicBezTo>
                <a:cubicBezTo>
                  <a:pt x="587" y="109"/>
                  <a:pt x="587" y="109"/>
                  <a:pt x="586" y="110"/>
                </a:cubicBezTo>
                <a:cubicBezTo>
                  <a:pt x="586" y="110"/>
                  <a:pt x="586" y="110"/>
                  <a:pt x="588" y="110"/>
                </a:cubicBezTo>
                <a:cubicBezTo>
                  <a:pt x="588" y="110"/>
                  <a:pt x="588" y="110"/>
                  <a:pt x="588" y="111"/>
                </a:cubicBezTo>
                <a:cubicBezTo>
                  <a:pt x="588" y="111"/>
                  <a:pt x="588" y="111"/>
                  <a:pt x="588" y="113"/>
                </a:cubicBezTo>
                <a:cubicBezTo>
                  <a:pt x="588" y="113"/>
                  <a:pt x="588" y="113"/>
                  <a:pt x="589" y="112"/>
                </a:cubicBezTo>
                <a:cubicBezTo>
                  <a:pt x="589" y="112"/>
                  <a:pt x="589" y="112"/>
                  <a:pt x="590" y="111"/>
                </a:cubicBezTo>
                <a:cubicBezTo>
                  <a:pt x="590" y="111"/>
                  <a:pt x="590" y="111"/>
                  <a:pt x="590" y="112"/>
                </a:cubicBezTo>
                <a:cubicBezTo>
                  <a:pt x="590" y="112"/>
                  <a:pt x="590" y="112"/>
                  <a:pt x="590" y="113"/>
                </a:cubicBezTo>
                <a:cubicBezTo>
                  <a:pt x="590" y="113"/>
                  <a:pt x="590" y="113"/>
                  <a:pt x="591" y="112"/>
                </a:cubicBezTo>
                <a:cubicBezTo>
                  <a:pt x="591" y="112"/>
                  <a:pt x="591" y="112"/>
                  <a:pt x="592" y="112"/>
                </a:cubicBezTo>
                <a:cubicBezTo>
                  <a:pt x="592" y="112"/>
                  <a:pt x="592" y="112"/>
                  <a:pt x="593" y="111"/>
                </a:cubicBezTo>
                <a:cubicBezTo>
                  <a:pt x="593" y="111"/>
                  <a:pt x="593" y="111"/>
                  <a:pt x="592" y="110"/>
                </a:cubicBezTo>
                <a:cubicBezTo>
                  <a:pt x="592" y="110"/>
                  <a:pt x="592" y="110"/>
                  <a:pt x="593" y="109"/>
                </a:cubicBezTo>
                <a:cubicBezTo>
                  <a:pt x="593" y="109"/>
                  <a:pt x="593" y="109"/>
                  <a:pt x="594" y="109"/>
                </a:cubicBezTo>
                <a:cubicBezTo>
                  <a:pt x="594" y="109"/>
                  <a:pt x="594" y="109"/>
                  <a:pt x="595" y="109"/>
                </a:cubicBezTo>
                <a:cubicBezTo>
                  <a:pt x="595" y="109"/>
                  <a:pt x="595" y="109"/>
                  <a:pt x="595" y="108"/>
                </a:cubicBezTo>
                <a:cubicBezTo>
                  <a:pt x="595" y="108"/>
                  <a:pt x="595" y="108"/>
                  <a:pt x="597" y="107"/>
                </a:cubicBezTo>
                <a:cubicBezTo>
                  <a:pt x="597" y="107"/>
                  <a:pt x="597" y="107"/>
                  <a:pt x="598" y="108"/>
                </a:cubicBezTo>
                <a:cubicBezTo>
                  <a:pt x="598" y="108"/>
                  <a:pt x="598" y="108"/>
                  <a:pt x="597" y="109"/>
                </a:cubicBezTo>
                <a:cubicBezTo>
                  <a:pt x="597" y="109"/>
                  <a:pt x="597" y="109"/>
                  <a:pt x="597" y="110"/>
                </a:cubicBezTo>
                <a:cubicBezTo>
                  <a:pt x="597" y="110"/>
                  <a:pt x="597" y="110"/>
                  <a:pt x="596" y="110"/>
                </a:cubicBezTo>
                <a:cubicBezTo>
                  <a:pt x="596" y="110"/>
                  <a:pt x="596" y="110"/>
                  <a:pt x="596" y="111"/>
                </a:cubicBezTo>
                <a:cubicBezTo>
                  <a:pt x="596" y="111"/>
                  <a:pt x="596" y="111"/>
                  <a:pt x="596" y="112"/>
                </a:cubicBezTo>
                <a:cubicBezTo>
                  <a:pt x="596" y="112"/>
                  <a:pt x="596" y="112"/>
                  <a:pt x="596" y="113"/>
                </a:cubicBezTo>
                <a:cubicBezTo>
                  <a:pt x="596" y="113"/>
                  <a:pt x="596" y="113"/>
                  <a:pt x="595" y="114"/>
                </a:cubicBezTo>
                <a:cubicBezTo>
                  <a:pt x="595" y="114"/>
                  <a:pt x="595" y="114"/>
                  <a:pt x="596" y="115"/>
                </a:cubicBezTo>
                <a:cubicBezTo>
                  <a:pt x="596" y="115"/>
                  <a:pt x="596" y="115"/>
                  <a:pt x="596" y="114"/>
                </a:cubicBezTo>
                <a:cubicBezTo>
                  <a:pt x="596" y="114"/>
                  <a:pt x="596" y="114"/>
                  <a:pt x="597" y="113"/>
                </a:cubicBezTo>
                <a:cubicBezTo>
                  <a:pt x="597" y="113"/>
                  <a:pt x="597" y="113"/>
                  <a:pt x="598" y="113"/>
                </a:cubicBezTo>
                <a:cubicBezTo>
                  <a:pt x="598" y="113"/>
                  <a:pt x="598" y="113"/>
                  <a:pt x="599" y="113"/>
                </a:cubicBezTo>
                <a:cubicBezTo>
                  <a:pt x="599" y="113"/>
                  <a:pt x="599" y="113"/>
                  <a:pt x="600" y="113"/>
                </a:cubicBezTo>
                <a:cubicBezTo>
                  <a:pt x="600" y="113"/>
                  <a:pt x="600" y="113"/>
                  <a:pt x="601" y="114"/>
                </a:cubicBezTo>
                <a:cubicBezTo>
                  <a:pt x="601" y="114"/>
                  <a:pt x="601" y="114"/>
                  <a:pt x="602" y="113"/>
                </a:cubicBezTo>
                <a:cubicBezTo>
                  <a:pt x="602" y="113"/>
                  <a:pt x="602" y="113"/>
                  <a:pt x="603" y="114"/>
                </a:cubicBezTo>
                <a:cubicBezTo>
                  <a:pt x="603" y="114"/>
                  <a:pt x="603" y="114"/>
                  <a:pt x="604" y="115"/>
                </a:cubicBezTo>
                <a:cubicBezTo>
                  <a:pt x="604" y="115"/>
                  <a:pt x="604" y="115"/>
                  <a:pt x="604" y="114"/>
                </a:cubicBezTo>
                <a:cubicBezTo>
                  <a:pt x="604" y="114"/>
                  <a:pt x="604" y="114"/>
                  <a:pt x="605" y="114"/>
                </a:cubicBezTo>
                <a:cubicBezTo>
                  <a:pt x="605" y="114"/>
                  <a:pt x="605" y="114"/>
                  <a:pt x="606" y="116"/>
                </a:cubicBezTo>
                <a:cubicBezTo>
                  <a:pt x="606" y="116"/>
                  <a:pt x="606" y="116"/>
                  <a:pt x="606" y="117"/>
                </a:cubicBezTo>
                <a:cubicBezTo>
                  <a:pt x="606" y="117"/>
                  <a:pt x="606" y="117"/>
                  <a:pt x="605" y="117"/>
                </a:cubicBezTo>
                <a:cubicBezTo>
                  <a:pt x="605" y="117"/>
                  <a:pt x="605" y="117"/>
                  <a:pt x="604" y="118"/>
                </a:cubicBezTo>
                <a:cubicBezTo>
                  <a:pt x="604" y="118"/>
                  <a:pt x="604" y="118"/>
                  <a:pt x="603" y="119"/>
                </a:cubicBezTo>
                <a:cubicBezTo>
                  <a:pt x="603" y="119"/>
                  <a:pt x="603" y="119"/>
                  <a:pt x="603" y="120"/>
                </a:cubicBezTo>
                <a:cubicBezTo>
                  <a:pt x="603" y="120"/>
                  <a:pt x="603" y="120"/>
                  <a:pt x="606" y="122"/>
                </a:cubicBezTo>
                <a:cubicBezTo>
                  <a:pt x="606" y="122"/>
                  <a:pt x="606" y="122"/>
                  <a:pt x="605" y="122"/>
                </a:cubicBezTo>
                <a:cubicBezTo>
                  <a:pt x="605" y="122"/>
                  <a:pt x="605" y="122"/>
                  <a:pt x="604" y="123"/>
                </a:cubicBezTo>
                <a:cubicBezTo>
                  <a:pt x="604" y="123"/>
                  <a:pt x="604" y="123"/>
                  <a:pt x="606" y="124"/>
                </a:cubicBezTo>
                <a:cubicBezTo>
                  <a:pt x="606" y="124"/>
                  <a:pt x="606" y="124"/>
                  <a:pt x="606" y="125"/>
                </a:cubicBezTo>
                <a:cubicBezTo>
                  <a:pt x="606" y="125"/>
                  <a:pt x="606" y="125"/>
                  <a:pt x="606" y="127"/>
                </a:cubicBezTo>
                <a:cubicBezTo>
                  <a:pt x="606" y="127"/>
                  <a:pt x="606" y="127"/>
                  <a:pt x="606" y="129"/>
                </a:cubicBezTo>
                <a:cubicBezTo>
                  <a:pt x="606" y="129"/>
                  <a:pt x="606" y="129"/>
                  <a:pt x="605" y="130"/>
                </a:cubicBezTo>
                <a:cubicBezTo>
                  <a:pt x="605" y="130"/>
                  <a:pt x="605" y="130"/>
                  <a:pt x="607" y="129"/>
                </a:cubicBezTo>
                <a:cubicBezTo>
                  <a:pt x="607" y="129"/>
                  <a:pt x="607" y="129"/>
                  <a:pt x="608" y="127"/>
                </a:cubicBezTo>
                <a:cubicBezTo>
                  <a:pt x="608" y="127"/>
                  <a:pt x="608" y="127"/>
                  <a:pt x="610" y="127"/>
                </a:cubicBezTo>
                <a:cubicBezTo>
                  <a:pt x="610" y="127"/>
                  <a:pt x="610" y="127"/>
                  <a:pt x="610" y="126"/>
                </a:cubicBezTo>
                <a:cubicBezTo>
                  <a:pt x="610" y="126"/>
                  <a:pt x="610" y="126"/>
                  <a:pt x="611" y="126"/>
                </a:cubicBezTo>
                <a:cubicBezTo>
                  <a:pt x="611" y="126"/>
                  <a:pt x="611" y="126"/>
                  <a:pt x="613" y="126"/>
                </a:cubicBezTo>
                <a:cubicBezTo>
                  <a:pt x="613" y="126"/>
                  <a:pt x="613" y="126"/>
                  <a:pt x="615" y="126"/>
                </a:cubicBezTo>
                <a:cubicBezTo>
                  <a:pt x="615" y="126"/>
                  <a:pt x="615" y="126"/>
                  <a:pt x="616" y="127"/>
                </a:cubicBezTo>
                <a:cubicBezTo>
                  <a:pt x="616" y="127"/>
                  <a:pt x="616" y="127"/>
                  <a:pt x="617" y="127"/>
                </a:cubicBezTo>
                <a:cubicBezTo>
                  <a:pt x="617" y="127"/>
                  <a:pt x="617" y="127"/>
                  <a:pt x="617" y="129"/>
                </a:cubicBezTo>
                <a:cubicBezTo>
                  <a:pt x="617" y="129"/>
                  <a:pt x="617" y="129"/>
                  <a:pt x="615" y="130"/>
                </a:cubicBezTo>
                <a:cubicBezTo>
                  <a:pt x="615" y="130"/>
                  <a:pt x="615" y="130"/>
                  <a:pt x="614" y="133"/>
                </a:cubicBezTo>
                <a:cubicBezTo>
                  <a:pt x="614" y="133"/>
                  <a:pt x="614" y="133"/>
                  <a:pt x="617" y="131"/>
                </a:cubicBezTo>
                <a:cubicBezTo>
                  <a:pt x="617" y="131"/>
                  <a:pt x="617" y="131"/>
                  <a:pt x="617" y="130"/>
                </a:cubicBezTo>
                <a:cubicBezTo>
                  <a:pt x="617" y="130"/>
                  <a:pt x="617" y="130"/>
                  <a:pt x="618" y="130"/>
                </a:cubicBezTo>
                <a:cubicBezTo>
                  <a:pt x="618" y="130"/>
                  <a:pt x="618" y="130"/>
                  <a:pt x="618" y="131"/>
                </a:cubicBezTo>
                <a:cubicBezTo>
                  <a:pt x="618" y="131"/>
                  <a:pt x="618" y="131"/>
                  <a:pt x="619" y="132"/>
                </a:cubicBezTo>
                <a:cubicBezTo>
                  <a:pt x="619" y="132"/>
                  <a:pt x="619" y="132"/>
                  <a:pt x="620" y="133"/>
                </a:cubicBezTo>
                <a:cubicBezTo>
                  <a:pt x="620" y="133"/>
                  <a:pt x="620" y="133"/>
                  <a:pt x="620" y="134"/>
                </a:cubicBezTo>
                <a:cubicBezTo>
                  <a:pt x="620" y="134"/>
                  <a:pt x="620" y="134"/>
                  <a:pt x="621" y="134"/>
                </a:cubicBezTo>
                <a:cubicBezTo>
                  <a:pt x="621" y="134"/>
                  <a:pt x="621" y="134"/>
                  <a:pt x="622" y="134"/>
                </a:cubicBezTo>
                <a:cubicBezTo>
                  <a:pt x="622" y="134"/>
                  <a:pt x="622" y="134"/>
                  <a:pt x="622" y="135"/>
                </a:cubicBezTo>
                <a:cubicBezTo>
                  <a:pt x="622" y="135"/>
                  <a:pt x="622" y="135"/>
                  <a:pt x="622" y="136"/>
                </a:cubicBezTo>
                <a:cubicBezTo>
                  <a:pt x="622" y="136"/>
                  <a:pt x="622" y="136"/>
                  <a:pt x="623" y="135"/>
                </a:cubicBezTo>
                <a:cubicBezTo>
                  <a:pt x="623" y="135"/>
                  <a:pt x="623" y="135"/>
                  <a:pt x="624" y="136"/>
                </a:cubicBezTo>
                <a:cubicBezTo>
                  <a:pt x="624" y="136"/>
                  <a:pt x="624" y="136"/>
                  <a:pt x="625" y="136"/>
                </a:cubicBezTo>
                <a:cubicBezTo>
                  <a:pt x="625" y="136"/>
                  <a:pt x="625" y="136"/>
                  <a:pt x="626" y="136"/>
                </a:cubicBezTo>
                <a:cubicBezTo>
                  <a:pt x="626" y="136"/>
                  <a:pt x="626" y="136"/>
                  <a:pt x="628" y="137"/>
                </a:cubicBezTo>
                <a:cubicBezTo>
                  <a:pt x="628" y="137"/>
                  <a:pt x="628" y="137"/>
                  <a:pt x="629" y="138"/>
                </a:cubicBezTo>
                <a:cubicBezTo>
                  <a:pt x="629" y="138"/>
                  <a:pt x="629" y="138"/>
                  <a:pt x="629" y="139"/>
                </a:cubicBezTo>
                <a:cubicBezTo>
                  <a:pt x="629" y="139"/>
                  <a:pt x="629" y="139"/>
                  <a:pt x="630" y="139"/>
                </a:cubicBezTo>
                <a:cubicBezTo>
                  <a:pt x="630" y="139"/>
                  <a:pt x="630" y="139"/>
                  <a:pt x="631" y="140"/>
                </a:cubicBezTo>
                <a:cubicBezTo>
                  <a:pt x="631" y="140"/>
                  <a:pt x="631" y="140"/>
                  <a:pt x="630" y="140"/>
                </a:cubicBezTo>
                <a:cubicBezTo>
                  <a:pt x="630" y="140"/>
                  <a:pt x="630" y="140"/>
                  <a:pt x="631" y="141"/>
                </a:cubicBezTo>
                <a:cubicBezTo>
                  <a:pt x="631" y="141"/>
                  <a:pt x="631" y="141"/>
                  <a:pt x="632" y="140"/>
                </a:cubicBezTo>
                <a:cubicBezTo>
                  <a:pt x="632" y="140"/>
                  <a:pt x="632" y="140"/>
                  <a:pt x="633" y="141"/>
                </a:cubicBezTo>
                <a:cubicBezTo>
                  <a:pt x="633" y="141"/>
                  <a:pt x="633" y="141"/>
                  <a:pt x="633" y="142"/>
                </a:cubicBezTo>
                <a:cubicBezTo>
                  <a:pt x="633" y="142"/>
                  <a:pt x="633" y="142"/>
                  <a:pt x="634" y="142"/>
                </a:cubicBezTo>
                <a:cubicBezTo>
                  <a:pt x="634" y="142"/>
                  <a:pt x="634" y="142"/>
                  <a:pt x="635" y="143"/>
                </a:cubicBezTo>
                <a:cubicBezTo>
                  <a:pt x="635" y="143"/>
                  <a:pt x="635" y="143"/>
                  <a:pt x="637" y="142"/>
                </a:cubicBezTo>
                <a:cubicBezTo>
                  <a:pt x="637" y="142"/>
                  <a:pt x="637" y="142"/>
                  <a:pt x="638" y="142"/>
                </a:cubicBezTo>
                <a:cubicBezTo>
                  <a:pt x="638" y="142"/>
                  <a:pt x="638" y="142"/>
                  <a:pt x="639" y="142"/>
                </a:cubicBezTo>
                <a:cubicBezTo>
                  <a:pt x="639" y="142"/>
                  <a:pt x="639" y="142"/>
                  <a:pt x="641" y="142"/>
                </a:cubicBezTo>
                <a:cubicBezTo>
                  <a:pt x="641" y="142"/>
                  <a:pt x="641" y="142"/>
                  <a:pt x="642" y="143"/>
                </a:cubicBezTo>
                <a:cubicBezTo>
                  <a:pt x="642" y="143"/>
                  <a:pt x="642" y="143"/>
                  <a:pt x="642" y="144"/>
                </a:cubicBezTo>
                <a:cubicBezTo>
                  <a:pt x="642" y="144"/>
                  <a:pt x="642" y="144"/>
                  <a:pt x="643" y="146"/>
                </a:cubicBezTo>
                <a:cubicBezTo>
                  <a:pt x="643" y="146"/>
                  <a:pt x="643" y="146"/>
                  <a:pt x="644" y="147"/>
                </a:cubicBezTo>
                <a:cubicBezTo>
                  <a:pt x="644" y="147"/>
                  <a:pt x="644" y="147"/>
                  <a:pt x="645" y="150"/>
                </a:cubicBezTo>
                <a:cubicBezTo>
                  <a:pt x="645" y="150"/>
                  <a:pt x="645" y="150"/>
                  <a:pt x="645" y="151"/>
                </a:cubicBezTo>
                <a:cubicBezTo>
                  <a:pt x="645" y="151"/>
                  <a:pt x="645" y="151"/>
                  <a:pt x="646" y="151"/>
                </a:cubicBezTo>
                <a:cubicBezTo>
                  <a:pt x="646" y="151"/>
                  <a:pt x="646" y="151"/>
                  <a:pt x="648" y="151"/>
                </a:cubicBezTo>
                <a:cubicBezTo>
                  <a:pt x="648" y="152"/>
                  <a:pt x="648" y="152"/>
                  <a:pt x="648" y="152"/>
                </a:cubicBezTo>
                <a:cubicBezTo>
                  <a:pt x="649" y="152"/>
                  <a:pt x="649" y="152"/>
                  <a:pt x="649" y="152"/>
                </a:cubicBezTo>
                <a:cubicBezTo>
                  <a:pt x="652" y="155"/>
                  <a:pt x="652" y="155"/>
                  <a:pt x="652" y="155"/>
                </a:cubicBezTo>
                <a:cubicBezTo>
                  <a:pt x="653" y="155"/>
                  <a:pt x="653" y="155"/>
                  <a:pt x="653" y="155"/>
                </a:cubicBezTo>
                <a:cubicBezTo>
                  <a:pt x="655" y="156"/>
                  <a:pt x="655" y="156"/>
                  <a:pt x="655" y="156"/>
                </a:cubicBezTo>
                <a:cubicBezTo>
                  <a:pt x="655" y="157"/>
                  <a:pt x="655" y="157"/>
                  <a:pt x="655" y="157"/>
                </a:cubicBezTo>
                <a:cubicBezTo>
                  <a:pt x="657" y="158"/>
                  <a:pt x="657" y="158"/>
                  <a:pt x="657" y="158"/>
                </a:cubicBezTo>
                <a:cubicBezTo>
                  <a:pt x="657" y="159"/>
                  <a:pt x="657" y="159"/>
                  <a:pt x="657" y="159"/>
                </a:cubicBezTo>
                <a:cubicBezTo>
                  <a:pt x="658" y="160"/>
                  <a:pt x="658" y="160"/>
                  <a:pt x="658" y="160"/>
                </a:cubicBezTo>
                <a:cubicBezTo>
                  <a:pt x="658" y="161"/>
                  <a:pt x="658" y="161"/>
                  <a:pt x="658" y="161"/>
                </a:cubicBezTo>
                <a:cubicBezTo>
                  <a:pt x="657" y="163"/>
                  <a:pt x="657" y="163"/>
                  <a:pt x="657" y="163"/>
                </a:cubicBezTo>
                <a:cubicBezTo>
                  <a:pt x="658" y="164"/>
                  <a:pt x="658" y="164"/>
                  <a:pt x="658" y="164"/>
                </a:cubicBezTo>
                <a:cubicBezTo>
                  <a:pt x="659" y="164"/>
                  <a:pt x="659" y="164"/>
                  <a:pt x="659" y="164"/>
                </a:cubicBezTo>
                <a:cubicBezTo>
                  <a:pt x="659" y="166"/>
                  <a:pt x="659" y="166"/>
                  <a:pt x="659" y="166"/>
                </a:cubicBezTo>
                <a:cubicBezTo>
                  <a:pt x="660" y="168"/>
                  <a:pt x="660" y="168"/>
                  <a:pt x="660" y="168"/>
                </a:cubicBezTo>
                <a:cubicBezTo>
                  <a:pt x="662" y="170"/>
                  <a:pt x="662" y="170"/>
                  <a:pt x="662" y="170"/>
                </a:cubicBezTo>
                <a:cubicBezTo>
                  <a:pt x="663" y="171"/>
                  <a:pt x="663" y="171"/>
                  <a:pt x="663" y="171"/>
                </a:cubicBezTo>
                <a:cubicBezTo>
                  <a:pt x="664" y="171"/>
                  <a:pt x="664" y="171"/>
                  <a:pt x="664" y="171"/>
                </a:cubicBezTo>
                <a:cubicBezTo>
                  <a:pt x="664" y="172"/>
                  <a:pt x="664" y="172"/>
                  <a:pt x="664" y="172"/>
                </a:cubicBezTo>
                <a:cubicBezTo>
                  <a:pt x="665" y="172"/>
                  <a:pt x="665" y="172"/>
                  <a:pt x="665" y="172"/>
                </a:cubicBezTo>
                <a:cubicBezTo>
                  <a:pt x="666" y="172"/>
                  <a:pt x="666" y="172"/>
                  <a:pt x="666" y="172"/>
                </a:cubicBezTo>
                <a:cubicBezTo>
                  <a:pt x="667" y="174"/>
                  <a:pt x="667" y="174"/>
                  <a:pt x="667" y="174"/>
                </a:cubicBezTo>
                <a:cubicBezTo>
                  <a:pt x="667" y="176"/>
                  <a:pt x="667" y="176"/>
                  <a:pt x="667" y="176"/>
                </a:cubicBezTo>
                <a:cubicBezTo>
                  <a:pt x="668" y="176"/>
                  <a:pt x="668" y="176"/>
                  <a:pt x="668" y="176"/>
                </a:cubicBezTo>
                <a:cubicBezTo>
                  <a:pt x="668" y="177"/>
                  <a:pt x="668" y="177"/>
                  <a:pt x="668" y="177"/>
                </a:cubicBezTo>
                <a:cubicBezTo>
                  <a:pt x="669" y="177"/>
                  <a:pt x="669" y="177"/>
                  <a:pt x="669" y="177"/>
                </a:cubicBezTo>
                <a:cubicBezTo>
                  <a:pt x="669" y="177"/>
                  <a:pt x="669" y="177"/>
                  <a:pt x="668" y="176"/>
                </a:cubicBezTo>
                <a:cubicBezTo>
                  <a:pt x="668" y="176"/>
                  <a:pt x="668" y="176"/>
                  <a:pt x="668" y="175"/>
                </a:cubicBezTo>
                <a:cubicBezTo>
                  <a:pt x="668" y="175"/>
                  <a:pt x="668" y="175"/>
                  <a:pt x="669" y="175"/>
                </a:cubicBezTo>
                <a:cubicBezTo>
                  <a:pt x="669" y="175"/>
                  <a:pt x="669" y="175"/>
                  <a:pt x="667" y="173"/>
                </a:cubicBezTo>
                <a:cubicBezTo>
                  <a:pt x="667" y="173"/>
                  <a:pt x="667" y="173"/>
                  <a:pt x="668" y="172"/>
                </a:cubicBezTo>
                <a:cubicBezTo>
                  <a:pt x="668" y="172"/>
                  <a:pt x="668" y="172"/>
                  <a:pt x="669" y="173"/>
                </a:cubicBezTo>
                <a:cubicBezTo>
                  <a:pt x="670" y="174"/>
                  <a:pt x="670" y="174"/>
                  <a:pt x="670" y="174"/>
                </a:cubicBezTo>
                <a:cubicBezTo>
                  <a:pt x="670" y="174"/>
                  <a:pt x="670" y="174"/>
                  <a:pt x="671" y="174"/>
                </a:cubicBezTo>
                <a:cubicBezTo>
                  <a:pt x="671" y="174"/>
                  <a:pt x="671" y="174"/>
                  <a:pt x="671" y="176"/>
                </a:cubicBezTo>
                <a:cubicBezTo>
                  <a:pt x="671" y="176"/>
                  <a:pt x="671" y="176"/>
                  <a:pt x="672" y="178"/>
                </a:cubicBezTo>
                <a:cubicBezTo>
                  <a:pt x="672" y="178"/>
                  <a:pt x="672" y="178"/>
                  <a:pt x="671" y="179"/>
                </a:cubicBezTo>
                <a:cubicBezTo>
                  <a:pt x="671" y="180"/>
                  <a:pt x="671" y="180"/>
                  <a:pt x="671" y="180"/>
                </a:cubicBezTo>
                <a:cubicBezTo>
                  <a:pt x="671" y="181"/>
                  <a:pt x="671" y="181"/>
                  <a:pt x="671" y="181"/>
                </a:cubicBezTo>
                <a:cubicBezTo>
                  <a:pt x="670" y="183"/>
                  <a:pt x="670" y="183"/>
                  <a:pt x="670" y="183"/>
                </a:cubicBezTo>
                <a:cubicBezTo>
                  <a:pt x="669" y="184"/>
                  <a:pt x="669" y="184"/>
                  <a:pt x="669" y="184"/>
                </a:cubicBezTo>
                <a:cubicBezTo>
                  <a:pt x="672" y="182"/>
                  <a:pt x="672" y="182"/>
                  <a:pt x="672" y="182"/>
                </a:cubicBezTo>
                <a:cubicBezTo>
                  <a:pt x="673" y="181"/>
                  <a:pt x="673" y="181"/>
                  <a:pt x="673" y="181"/>
                </a:cubicBezTo>
                <a:cubicBezTo>
                  <a:pt x="673" y="180"/>
                  <a:pt x="673" y="180"/>
                  <a:pt x="673" y="180"/>
                </a:cubicBezTo>
                <a:cubicBezTo>
                  <a:pt x="673" y="176"/>
                  <a:pt x="673" y="176"/>
                  <a:pt x="673" y="176"/>
                </a:cubicBezTo>
                <a:cubicBezTo>
                  <a:pt x="673" y="174"/>
                  <a:pt x="673" y="174"/>
                  <a:pt x="673" y="174"/>
                </a:cubicBezTo>
                <a:cubicBezTo>
                  <a:pt x="674" y="173"/>
                  <a:pt x="674" y="173"/>
                  <a:pt x="674" y="173"/>
                </a:cubicBezTo>
                <a:cubicBezTo>
                  <a:pt x="676" y="172"/>
                  <a:pt x="676" y="172"/>
                  <a:pt x="676" y="172"/>
                </a:cubicBezTo>
                <a:cubicBezTo>
                  <a:pt x="678" y="171"/>
                  <a:pt x="678" y="171"/>
                  <a:pt x="678" y="171"/>
                </a:cubicBezTo>
                <a:cubicBezTo>
                  <a:pt x="679" y="170"/>
                  <a:pt x="679" y="170"/>
                  <a:pt x="679" y="170"/>
                </a:cubicBezTo>
                <a:cubicBezTo>
                  <a:pt x="680" y="170"/>
                  <a:pt x="680" y="170"/>
                  <a:pt x="680" y="170"/>
                </a:cubicBezTo>
                <a:cubicBezTo>
                  <a:pt x="681" y="169"/>
                  <a:pt x="681" y="169"/>
                  <a:pt x="681" y="169"/>
                </a:cubicBezTo>
                <a:cubicBezTo>
                  <a:pt x="682" y="169"/>
                  <a:pt x="682" y="169"/>
                  <a:pt x="682" y="169"/>
                </a:cubicBezTo>
                <a:cubicBezTo>
                  <a:pt x="684" y="169"/>
                  <a:pt x="684" y="169"/>
                  <a:pt x="684" y="169"/>
                </a:cubicBezTo>
                <a:cubicBezTo>
                  <a:pt x="685" y="169"/>
                  <a:pt x="685" y="169"/>
                  <a:pt x="685" y="169"/>
                </a:cubicBezTo>
                <a:cubicBezTo>
                  <a:pt x="686" y="169"/>
                  <a:pt x="686" y="169"/>
                  <a:pt x="686" y="169"/>
                </a:cubicBezTo>
                <a:cubicBezTo>
                  <a:pt x="687" y="168"/>
                  <a:pt x="687" y="168"/>
                  <a:pt x="687" y="168"/>
                </a:cubicBezTo>
                <a:cubicBezTo>
                  <a:pt x="688" y="166"/>
                  <a:pt x="688" y="166"/>
                  <a:pt x="688" y="166"/>
                </a:cubicBezTo>
                <a:cubicBezTo>
                  <a:pt x="689" y="166"/>
                  <a:pt x="689" y="166"/>
                  <a:pt x="689" y="166"/>
                </a:cubicBezTo>
                <a:cubicBezTo>
                  <a:pt x="690" y="166"/>
                  <a:pt x="690" y="166"/>
                  <a:pt x="690" y="166"/>
                </a:cubicBezTo>
                <a:cubicBezTo>
                  <a:pt x="691" y="166"/>
                  <a:pt x="691" y="166"/>
                  <a:pt x="691" y="166"/>
                </a:cubicBezTo>
                <a:cubicBezTo>
                  <a:pt x="690" y="165"/>
                  <a:pt x="690" y="165"/>
                  <a:pt x="690" y="165"/>
                </a:cubicBezTo>
                <a:cubicBezTo>
                  <a:pt x="691" y="165"/>
                  <a:pt x="691" y="165"/>
                  <a:pt x="691" y="165"/>
                </a:cubicBezTo>
                <a:cubicBezTo>
                  <a:pt x="692" y="166"/>
                  <a:pt x="692" y="166"/>
                  <a:pt x="692" y="166"/>
                </a:cubicBezTo>
                <a:cubicBezTo>
                  <a:pt x="695" y="166"/>
                  <a:pt x="695" y="166"/>
                  <a:pt x="695" y="166"/>
                </a:cubicBezTo>
                <a:cubicBezTo>
                  <a:pt x="698" y="165"/>
                  <a:pt x="698" y="165"/>
                  <a:pt x="698" y="165"/>
                </a:cubicBezTo>
                <a:cubicBezTo>
                  <a:pt x="700" y="164"/>
                  <a:pt x="700" y="164"/>
                  <a:pt x="700" y="164"/>
                </a:cubicBezTo>
                <a:cubicBezTo>
                  <a:pt x="701" y="165"/>
                  <a:pt x="701" y="165"/>
                  <a:pt x="701" y="165"/>
                </a:cubicBezTo>
                <a:cubicBezTo>
                  <a:pt x="702" y="165"/>
                  <a:pt x="702" y="165"/>
                  <a:pt x="702" y="165"/>
                </a:cubicBezTo>
                <a:cubicBezTo>
                  <a:pt x="702" y="163"/>
                  <a:pt x="702" y="163"/>
                  <a:pt x="702" y="163"/>
                </a:cubicBezTo>
                <a:cubicBezTo>
                  <a:pt x="704" y="162"/>
                  <a:pt x="704" y="162"/>
                  <a:pt x="704" y="162"/>
                </a:cubicBezTo>
                <a:cubicBezTo>
                  <a:pt x="705" y="162"/>
                  <a:pt x="705" y="162"/>
                  <a:pt x="705" y="162"/>
                </a:cubicBezTo>
                <a:cubicBezTo>
                  <a:pt x="706" y="163"/>
                  <a:pt x="706" y="163"/>
                  <a:pt x="706" y="163"/>
                </a:cubicBezTo>
                <a:cubicBezTo>
                  <a:pt x="707" y="164"/>
                  <a:pt x="707" y="164"/>
                  <a:pt x="707" y="164"/>
                </a:cubicBezTo>
                <a:cubicBezTo>
                  <a:pt x="708" y="163"/>
                  <a:pt x="708" y="163"/>
                  <a:pt x="708" y="163"/>
                </a:cubicBezTo>
                <a:cubicBezTo>
                  <a:pt x="708" y="162"/>
                  <a:pt x="708" y="162"/>
                  <a:pt x="708" y="162"/>
                </a:cubicBezTo>
                <a:cubicBezTo>
                  <a:pt x="709" y="162"/>
                  <a:pt x="709" y="162"/>
                  <a:pt x="709" y="162"/>
                </a:cubicBezTo>
                <a:cubicBezTo>
                  <a:pt x="709" y="164"/>
                  <a:pt x="709" y="164"/>
                  <a:pt x="709" y="164"/>
                </a:cubicBezTo>
                <a:cubicBezTo>
                  <a:pt x="710" y="164"/>
                  <a:pt x="710" y="164"/>
                  <a:pt x="710" y="164"/>
                </a:cubicBezTo>
                <a:cubicBezTo>
                  <a:pt x="709" y="165"/>
                  <a:pt x="709" y="165"/>
                  <a:pt x="709" y="165"/>
                </a:cubicBezTo>
                <a:cubicBezTo>
                  <a:pt x="708" y="166"/>
                  <a:pt x="708" y="166"/>
                  <a:pt x="708" y="166"/>
                </a:cubicBezTo>
                <a:cubicBezTo>
                  <a:pt x="706" y="167"/>
                  <a:pt x="706" y="167"/>
                  <a:pt x="706" y="167"/>
                </a:cubicBezTo>
                <a:cubicBezTo>
                  <a:pt x="703" y="167"/>
                  <a:pt x="703" y="167"/>
                  <a:pt x="703" y="167"/>
                </a:cubicBezTo>
                <a:cubicBezTo>
                  <a:pt x="702" y="168"/>
                  <a:pt x="702" y="168"/>
                  <a:pt x="702" y="168"/>
                </a:cubicBezTo>
                <a:cubicBezTo>
                  <a:pt x="701" y="169"/>
                  <a:pt x="701" y="169"/>
                  <a:pt x="701" y="169"/>
                </a:cubicBezTo>
                <a:cubicBezTo>
                  <a:pt x="700" y="169"/>
                  <a:pt x="700" y="169"/>
                  <a:pt x="700" y="169"/>
                </a:cubicBezTo>
                <a:cubicBezTo>
                  <a:pt x="699" y="169"/>
                  <a:pt x="699" y="169"/>
                  <a:pt x="699" y="169"/>
                </a:cubicBezTo>
                <a:cubicBezTo>
                  <a:pt x="698" y="169"/>
                  <a:pt x="698" y="169"/>
                  <a:pt x="698" y="169"/>
                </a:cubicBezTo>
                <a:cubicBezTo>
                  <a:pt x="696" y="169"/>
                  <a:pt x="696" y="169"/>
                  <a:pt x="696" y="169"/>
                </a:cubicBezTo>
                <a:cubicBezTo>
                  <a:pt x="694" y="169"/>
                  <a:pt x="694" y="169"/>
                  <a:pt x="694" y="169"/>
                </a:cubicBezTo>
                <a:cubicBezTo>
                  <a:pt x="694" y="170"/>
                  <a:pt x="694" y="170"/>
                  <a:pt x="694" y="170"/>
                </a:cubicBezTo>
                <a:cubicBezTo>
                  <a:pt x="691" y="170"/>
                  <a:pt x="691" y="170"/>
                  <a:pt x="691" y="170"/>
                </a:cubicBezTo>
                <a:cubicBezTo>
                  <a:pt x="690" y="170"/>
                  <a:pt x="690" y="170"/>
                  <a:pt x="690" y="170"/>
                </a:cubicBezTo>
                <a:cubicBezTo>
                  <a:pt x="689" y="172"/>
                  <a:pt x="689" y="172"/>
                  <a:pt x="689" y="172"/>
                </a:cubicBezTo>
                <a:cubicBezTo>
                  <a:pt x="686" y="173"/>
                  <a:pt x="686" y="173"/>
                  <a:pt x="686" y="173"/>
                </a:cubicBezTo>
                <a:cubicBezTo>
                  <a:pt x="686" y="172"/>
                  <a:pt x="686" y="172"/>
                  <a:pt x="686" y="172"/>
                </a:cubicBezTo>
                <a:cubicBezTo>
                  <a:pt x="684" y="173"/>
                  <a:pt x="684" y="173"/>
                  <a:pt x="684" y="173"/>
                </a:cubicBezTo>
                <a:cubicBezTo>
                  <a:pt x="684" y="174"/>
                  <a:pt x="684" y="174"/>
                  <a:pt x="684" y="174"/>
                </a:cubicBezTo>
                <a:cubicBezTo>
                  <a:pt x="683" y="175"/>
                  <a:pt x="683" y="175"/>
                  <a:pt x="683" y="175"/>
                </a:cubicBezTo>
                <a:cubicBezTo>
                  <a:pt x="683" y="174"/>
                  <a:pt x="683" y="174"/>
                  <a:pt x="683" y="174"/>
                </a:cubicBezTo>
                <a:cubicBezTo>
                  <a:pt x="682" y="175"/>
                  <a:pt x="682" y="175"/>
                  <a:pt x="682" y="175"/>
                </a:cubicBezTo>
                <a:cubicBezTo>
                  <a:pt x="681" y="176"/>
                  <a:pt x="681" y="176"/>
                  <a:pt x="681" y="176"/>
                </a:cubicBezTo>
                <a:cubicBezTo>
                  <a:pt x="680" y="176"/>
                  <a:pt x="680" y="176"/>
                  <a:pt x="680" y="176"/>
                </a:cubicBezTo>
                <a:cubicBezTo>
                  <a:pt x="679" y="177"/>
                  <a:pt x="679" y="177"/>
                  <a:pt x="679" y="177"/>
                </a:cubicBezTo>
                <a:cubicBezTo>
                  <a:pt x="680" y="179"/>
                  <a:pt x="680" y="179"/>
                  <a:pt x="680" y="179"/>
                </a:cubicBezTo>
                <a:cubicBezTo>
                  <a:pt x="682" y="180"/>
                  <a:pt x="682" y="180"/>
                  <a:pt x="682" y="180"/>
                </a:cubicBezTo>
                <a:cubicBezTo>
                  <a:pt x="680" y="178"/>
                  <a:pt x="680" y="178"/>
                  <a:pt x="680" y="178"/>
                </a:cubicBezTo>
                <a:cubicBezTo>
                  <a:pt x="682" y="178"/>
                  <a:pt x="682" y="178"/>
                  <a:pt x="682" y="178"/>
                </a:cubicBezTo>
                <a:cubicBezTo>
                  <a:pt x="683" y="178"/>
                  <a:pt x="683" y="178"/>
                  <a:pt x="683" y="178"/>
                </a:cubicBezTo>
                <a:cubicBezTo>
                  <a:pt x="683" y="177"/>
                  <a:pt x="683" y="177"/>
                  <a:pt x="683" y="177"/>
                </a:cubicBezTo>
                <a:cubicBezTo>
                  <a:pt x="684" y="175"/>
                  <a:pt x="684" y="175"/>
                  <a:pt x="684" y="175"/>
                </a:cubicBezTo>
                <a:cubicBezTo>
                  <a:pt x="687" y="175"/>
                  <a:pt x="687" y="175"/>
                  <a:pt x="687" y="175"/>
                </a:cubicBezTo>
                <a:cubicBezTo>
                  <a:pt x="688" y="175"/>
                  <a:pt x="688" y="175"/>
                  <a:pt x="688" y="175"/>
                </a:cubicBezTo>
                <a:cubicBezTo>
                  <a:pt x="691" y="173"/>
                  <a:pt x="691" y="173"/>
                  <a:pt x="691" y="173"/>
                </a:cubicBezTo>
                <a:cubicBezTo>
                  <a:pt x="691" y="172"/>
                  <a:pt x="691" y="172"/>
                  <a:pt x="691" y="172"/>
                </a:cubicBezTo>
                <a:cubicBezTo>
                  <a:pt x="692" y="171"/>
                  <a:pt x="692" y="171"/>
                  <a:pt x="692" y="171"/>
                </a:cubicBezTo>
                <a:cubicBezTo>
                  <a:pt x="693" y="172"/>
                  <a:pt x="693" y="172"/>
                  <a:pt x="693" y="172"/>
                </a:cubicBezTo>
                <a:cubicBezTo>
                  <a:pt x="694" y="172"/>
                  <a:pt x="694" y="172"/>
                  <a:pt x="694" y="172"/>
                </a:cubicBezTo>
                <a:cubicBezTo>
                  <a:pt x="695" y="171"/>
                  <a:pt x="695" y="171"/>
                  <a:pt x="695" y="171"/>
                </a:cubicBezTo>
                <a:cubicBezTo>
                  <a:pt x="695" y="172"/>
                  <a:pt x="695" y="172"/>
                  <a:pt x="695" y="172"/>
                </a:cubicBezTo>
                <a:cubicBezTo>
                  <a:pt x="697" y="171"/>
                  <a:pt x="697" y="171"/>
                  <a:pt x="697" y="171"/>
                </a:cubicBezTo>
                <a:cubicBezTo>
                  <a:pt x="696" y="173"/>
                  <a:pt x="696" y="173"/>
                  <a:pt x="696" y="173"/>
                </a:cubicBezTo>
                <a:cubicBezTo>
                  <a:pt x="696" y="174"/>
                  <a:pt x="696" y="174"/>
                  <a:pt x="696" y="174"/>
                </a:cubicBezTo>
                <a:cubicBezTo>
                  <a:pt x="697" y="172"/>
                  <a:pt x="697" y="172"/>
                  <a:pt x="697" y="172"/>
                </a:cubicBezTo>
                <a:cubicBezTo>
                  <a:pt x="699" y="172"/>
                  <a:pt x="699" y="172"/>
                  <a:pt x="699" y="172"/>
                </a:cubicBezTo>
                <a:cubicBezTo>
                  <a:pt x="703" y="169"/>
                  <a:pt x="703" y="169"/>
                  <a:pt x="703" y="169"/>
                </a:cubicBezTo>
                <a:cubicBezTo>
                  <a:pt x="705" y="169"/>
                  <a:pt x="705" y="169"/>
                  <a:pt x="705" y="169"/>
                </a:cubicBezTo>
                <a:cubicBezTo>
                  <a:pt x="706" y="168"/>
                  <a:pt x="706" y="168"/>
                  <a:pt x="706" y="168"/>
                </a:cubicBezTo>
                <a:cubicBezTo>
                  <a:pt x="709" y="168"/>
                  <a:pt x="709" y="168"/>
                  <a:pt x="709" y="168"/>
                </a:cubicBezTo>
                <a:cubicBezTo>
                  <a:pt x="710" y="167"/>
                  <a:pt x="710" y="167"/>
                  <a:pt x="710" y="167"/>
                </a:cubicBezTo>
                <a:cubicBezTo>
                  <a:pt x="711" y="167"/>
                  <a:pt x="711" y="167"/>
                  <a:pt x="711" y="167"/>
                </a:cubicBezTo>
                <a:cubicBezTo>
                  <a:pt x="710" y="169"/>
                  <a:pt x="710" y="169"/>
                  <a:pt x="710" y="169"/>
                </a:cubicBezTo>
                <a:cubicBezTo>
                  <a:pt x="709" y="169"/>
                  <a:pt x="709" y="169"/>
                  <a:pt x="709" y="169"/>
                </a:cubicBezTo>
                <a:cubicBezTo>
                  <a:pt x="709" y="170"/>
                  <a:pt x="709" y="170"/>
                  <a:pt x="709" y="170"/>
                </a:cubicBezTo>
                <a:cubicBezTo>
                  <a:pt x="710" y="171"/>
                  <a:pt x="710" y="171"/>
                  <a:pt x="710" y="171"/>
                </a:cubicBezTo>
                <a:cubicBezTo>
                  <a:pt x="711" y="169"/>
                  <a:pt x="711" y="169"/>
                  <a:pt x="711" y="169"/>
                </a:cubicBezTo>
                <a:cubicBezTo>
                  <a:pt x="714" y="168"/>
                  <a:pt x="714" y="168"/>
                  <a:pt x="714" y="168"/>
                </a:cubicBezTo>
                <a:cubicBezTo>
                  <a:pt x="715" y="168"/>
                  <a:pt x="715" y="168"/>
                  <a:pt x="715" y="168"/>
                </a:cubicBezTo>
                <a:cubicBezTo>
                  <a:pt x="715" y="167"/>
                  <a:pt x="715" y="167"/>
                  <a:pt x="715" y="167"/>
                </a:cubicBezTo>
                <a:cubicBezTo>
                  <a:pt x="716" y="166"/>
                  <a:pt x="716" y="166"/>
                  <a:pt x="716" y="166"/>
                </a:cubicBezTo>
                <a:cubicBezTo>
                  <a:pt x="717" y="167"/>
                  <a:pt x="717" y="167"/>
                  <a:pt x="717" y="167"/>
                </a:cubicBezTo>
                <a:cubicBezTo>
                  <a:pt x="717" y="166"/>
                  <a:pt x="717" y="166"/>
                  <a:pt x="717" y="166"/>
                </a:cubicBezTo>
                <a:cubicBezTo>
                  <a:pt x="717" y="165"/>
                  <a:pt x="717" y="165"/>
                  <a:pt x="717" y="165"/>
                </a:cubicBezTo>
                <a:cubicBezTo>
                  <a:pt x="718" y="166"/>
                  <a:pt x="718" y="166"/>
                  <a:pt x="718" y="166"/>
                </a:cubicBezTo>
                <a:cubicBezTo>
                  <a:pt x="719" y="166"/>
                  <a:pt x="719" y="166"/>
                  <a:pt x="719" y="166"/>
                </a:cubicBezTo>
                <a:cubicBezTo>
                  <a:pt x="719" y="164"/>
                  <a:pt x="719" y="164"/>
                  <a:pt x="719" y="164"/>
                </a:cubicBezTo>
                <a:cubicBezTo>
                  <a:pt x="719" y="163"/>
                  <a:pt x="719" y="163"/>
                  <a:pt x="719" y="163"/>
                </a:cubicBezTo>
                <a:cubicBezTo>
                  <a:pt x="720" y="162"/>
                  <a:pt x="720" y="162"/>
                  <a:pt x="720" y="162"/>
                </a:cubicBezTo>
                <a:cubicBezTo>
                  <a:pt x="719" y="161"/>
                  <a:pt x="719" y="161"/>
                  <a:pt x="719" y="161"/>
                </a:cubicBezTo>
                <a:cubicBezTo>
                  <a:pt x="720" y="160"/>
                  <a:pt x="720" y="160"/>
                  <a:pt x="720" y="160"/>
                </a:cubicBezTo>
                <a:cubicBezTo>
                  <a:pt x="722" y="159"/>
                  <a:pt x="722" y="159"/>
                  <a:pt x="722" y="159"/>
                </a:cubicBezTo>
                <a:cubicBezTo>
                  <a:pt x="722" y="160"/>
                  <a:pt x="722" y="160"/>
                  <a:pt x="722" y="160"/>
                </a:cubicBezTo>
                <a:cubicBezTo>
                  <a:pt x="722" y="165"/>
                  <a:pt x="722" y="165"/>
                  <a:pt x="722" y="165"/>
                </a:cubicBezTo>
                <a:cubicBezTo>
                  <a:pt x="721" y="167"/>
                  <a:pt x="721" y="167"/>
                  <a:pt x="721" y="167"/>
                </a:cubicBezTo>
                <a:cubicBezTo>
                  <a:pt x="722" y="171"/>
                  <a:pt x="722" y="171"/>
                  <a:pt x="722" y="171"/>
                </a:cubicBezTo>
                <a:cubicBezTo>
                  <a:pt x="720" y="173"/>
                  <a:pt x="720" y="173"/>
                  <a:pt x="720" y="173"/>
                </a:cubicBezTo>
                <a:cubicBezTo>
                  <a:pt x="720" y="178"/>
                  <a:pt x="720" y="178"/>
                  <a:pt x="720" y="178"/>
                </a:cubicBezTo>
                <a:cubicBezTo>
                  <a:pt x="721" y="180"/>
                  <a:pt x="721" y="180"/>
                  <a:pt x="721" y="180"/>
                </a:cubicBezTo>
                <a:cubicBezTo>
                  <a:pt x="722" y="180"/>
                  <a:pt x="722" y="180"/>
                  <a:pt x="722" y="180"/>
                </a:cubicBezTo>
                <a:cubicBezTo>
                  <a:pt x="723" y="182"/>
                  <a:pt x="723" y="182"/>
                  <a:pt x="723" y="182"/>
                </a:cubicBezTo>
                <a:cubicBezTo>
                  <a:pt x="725" y="181"/>
                  <a:pt x="725" y="181"/>
                  <a:pt x="725" y="181"/>
                </a:cubicBezTo>
                <a:cubicBezTo>
                  <a:pt x="724" y="180"/>
                  <a:pt x="724" y="180"/>
                  <a:pt x="724" y="180"/>
                </a:cubicBezTo>
                <a:cubicBezTo>
                  <a:pt x="723" y="180"/>
                  <a:pt x="723" y="180"/>
                  <a:pt x="723" y="180"/>
                </a:cubicBezTo>
                <a:cubicBezTo>
                  <a:pt x="723" y="179"/>
                  <a:pt x="723" y="179"/>
                  <a:pt x="723" y="179"/>
                </a:cubicBezTo>
                <a:cubicBezTo>
                  <a:pt x="724" y="179"/>
                  <a:pt x="724" y="179"/>
                  <a:pt x="724" y="179"/>
                </a:cubicBezTo>
                <a:cubicBezTo>
                  <a:pt x="725" y="179"/>
                  <a:pt x="725" y="179"/>
                  <a:pt x="725" y="179"/>
                </a:cubicBezTo>
                <a:cubicBezTo>
                  <a:pt x="726" y="178"/>
                  <a:pt x="726" y="178"/>
                  <a:pt x="726" y="178"/>
                </a:cubicBezTo>
                <a:cubicBezTo>
                  <a:pt x="725" y="178"/>
                  <a:pt x="725" y="178"/>
                  <a:pt x="725" y="178"/>
                </a:cubicBezTo>
                <a:cubicBezTo>
                  <a:pt x="726" y="176"/>
                  <a:pt x="726" y="176"/>
                  <a:pt x="726" y="176"/>
                </a:cubicBezTo>
                <a:cubicBezTo>
                  <a:pt x="728" y="177"/>
                  <a:pt x="728" y="177"/>
                  <a:pt x="728" y="177"/>
                </a:cubicBezTo>
                <a:cubicBezTo>
                  <a:pt x="728" y="178"/>
                  <a:pt x="728" y="178"/>
                  <a:pt x="728" y="178"/>
                </a:cubicBezTo>
                <a:cubicBezTo>
                  <a:pt x="729" y="177"/>
                  <a:pt x="729" y="177"/>
                  <a:pt x="729" y="177"/>
                </a:cubicBezTo>
                <a:cubicBezTo>
                  <a:pt x="728" y="174"/>
                  <a:pt x="728" y="174"/>
                  <a:pt x="728" y="174"/>
                </a:cubicBezTo>
                <a:cubicBezTo>
                  <a:pt x="729" y="174"/>
                  <a:pt x="729" y="174"/>
                  <a:pt x="729" y="174"/>
                </a:cubicBezTo>
                <a:cubicBezTo>
                  <a:pt x="731" y="173"/>
                  <a:pt x="731" y="173"/>
                  <a:pt x="731" y="173"/>
                </a:cubicBezTo>
                <a:cubicBezTo>
                  <a:pt x="731" y="172"/>
                  <a:pt x="731" y="172"/>
                  <a:pt x="731" y="172"/>
                </a:cubicBezTo>
                <a:cubicBezTo>
                  <a:pt x="733" y="172"/>
                  <a:pt x="733" y="172"/>
                  <a:pt x="733" y="172"/>
                </a:cubicBezTo>
                <a:cubicBezTo>
                  <a:pt x="733" y="173"/>
                  <a:pt x="733" y="173"/>
                  <a:pt x="733" y="173"/>
                </a:cubicBezTo>
                <a:cubicBezTo>
                  <a:pt x="733" y="174"/>
                  <a:pt x="733" y="174"/>
                  <a:pt x="733" y="174"/>
                </a:cubicBezTo>
                <a:cubicBezTo>
                  <a:pt x="732" y="175"/>
                  <a:pt x="732" y="175"/>
                  <a:pt x="732" y="175"/>
                </a:cubicBezTo>
                <a:cubicBezTo>
                  <a:pt x="732" y="176"/>
                  <a:pt x="732" y="176"/>
                  <a:pt x="732" y="176"/>
                </a:cubicBezTo>
                <a:cubicBezTo>
                  <a:pt x="731" y="177"/>
                  <a:pt x="731" y="177"/>
                  <a:pt x="731" y="177"/>
                </a:cubicBezTo>
                <a:cubicBezTo>
                  <a:pt x="731" y="178"/>
                  <a:pt x="731" y="178"/>
                  <a:pt x="731" y="178"/>
                </a:cubicBezTo>
                <a:cubicBezTo>
                  <a:pt x="732" y="178"/>
                  <a:pt x="732" y="178"/>
                  <a:pt x="732" y="178"/>
                </a:cubicBezTo>
                <a:cubicBezTo>
                  <a:pt x="732" y="179"/>
                  <a:pt x="732" y="179"/>
                  <a:pt x="732" y="179"/>
                </a:cubicBezTo>
                <a:cubicBezTo>
                  <a:pt x="731" y="179"/>
                  <a:pt x="731" y="179"/>
                  <a:pt x="731" y="179"/>
                </a:cubicBezTo>
                <a:cubicBezTo>
                  <a:pt x="730" y="181"/>
                  <a:pt x="730" y="181"/>
                  <a:pt x="730" y="181"/>
                </a:cubicBezTo>
                <a:cubicBezTo>
                  <a:pt x="729" y="180"/>
                  <a:pt x="729" y="180"/>
                  <a:pt x="729" y="180"/>
                </a:cubicBezTo>
                <a:cubicBezTo>
                  <a:pt x="729" y="181"/>
                  <a:pt x="729" y="181"/>
                  <a:pt x="729" y="181"/>
                </a:cubicBezTo>
                <a:cubicBezTo>
                  <a:pt x="728" y="182"/>
                  <a:pt x="728" y="182"/>
                  <a:pt x="728" y="182"/>
                </a:cubicBezTo>
                <a:cubicBezTo>
                  <a:pt x="729" y="183"/>
                  <a:pt x="729" y="183"/>
                  <a:pt x="729" y="183"/>
                </a:cubicBezTo>
                <a:cubicBezTo>
                  <a:pt x="730" y="183"/>
                  <a:pt x="730" y="183"/>
                  <a:pt x="730" y="183"/>
                </a:cubicBezTo>
                <a:cubicBezTo>
                  <a:pt x="731" y="184"/>
                  <a:pt x="731" y="184"/>
                  <a:pt x="731" y="184"/>
                </a:cubicBezTo>
                <a:cubicBezTo>
                  <a:pt x="732" y="184"/>
                  <a:pt x="732" y="184"/>
                  <a:pt x="732" y="184"/>
                </a:cubicBezTo>
                <a:cubicBezTo>
                  <a:pt x="734" y="183"/>
                  <a:pt x="734" y="183"/>
                  <a:pt x="734" y="183"/>
                </a:cubicBezTo>
                <a:cubicBezTo>
                  <a:pt x="735" y="183"/>
                  <a:pt x="735" y="183"/>
                  <a:pt x="735" y="183"/>
                </a:cubicBezTo>
                <a:cubicBezTo>
                  <a:pt x="736" y="180"/>
                  <a:pt x="736" y="180"/>
                  <a:pt x="736" y="180"/>
                </a:cubicBezTo>
                <a:cubicBezTo>
                  <a:pt x="738" y="179"/>
                  <a:pt x="738" y="179"/>
                  <a:pt x="738" y="179"/>
                </a:cubicBezTo>
                <a:cubicBezTo>
                  <a:pt x="739" y="178"/>
                  <a:pt x="739" y="178"/>
                  <a:pt x="739" y="178"/>
                </a:cubicBezTo>
                <a:cubicBezTo>
                  <a:pt x="740" y="179"/>
                  <a:pt x="740" y="179"/>
                  <a:pt x="740" y="179"/>
                </a:cubicBezTo>
                <a:cubicBezTo>
                  <a:pt x="741" y="179"/>
                  <a:pt x="741" y="179"/>
                  <a:pt x="741" y="179"/>
                </a:cubicBezTo>
                <a:cubicBezTo>
                  <a:pt x="742" y="180"/>
                  <a:pt x="742" y="180"/>
                  <a:pt x="742" y="180"/>
                </a:cubicBezTo>
                <a:cubicBezTo>
                  <a:pt x="743" y="180"/>
                  <a:pt x="743" y="180"/>
                  <a:pt x="743" y="180"/>
                </a:cubicBezTo>
                <a:cubicBezTo>
                  <a:pt x="745" y="181"/>
                  <a:pt x="745" y="181"/>
                  <a:pt x="745" y="181"/>
                </a:cubicBezTo>
                <a:cubicBezTo>
                  <a:pt x="746" y="181"/>
                  <a:pt x="746" y="181"/>
                  <a:pt x="746" y="181"/>
                </a:cubicBezTo>
                <a:cubicBezTo>
                  <a:pt x="746" y="183"/>
                  <a:pt x="746" y="183"/>
                  <a:pt x="746" y="183"/>
                </a:cubicBezTo>
                <a:cubicBezTo>
                  <a:pt x="747" y="186"/>
                  <a:pt x="747" y="186"/>
                  <a:pt x="747" y="186"/>
                </a:cubicBezTo>
                <a:cubicBezTo>
                  <a:pt x="747" y="187"/>
                  <a:pt x="747" y="187"/>
                  <a:pt x="747" y="187"/>
                </a:cubicBezTo>
                <a:cubicBezTo>
                  <a:pt x="748" y="189"/>
                  <a:pt x="748" y="189"/>
                  <a:pt x="748" y="189"/>
                </a:cubicBezTo>
                <a:cubicBezTo>
                  <a:pt x="753" y="193"/>
                  <a:pt x="753" y="193"/>
                  <a:pt x="753" y="193"/>
                </a:cubicBezTo>
                <a:cubicBezTo>
                  <a:pt x="754" y="194"/>
                  <a:pt x="754" y="194"/>
                  <a:pt x="754" y="194"/>
                </a:cubicBezTo>
                <a:cubicBezTo>
                  <a:pt x="755" y="195"/>
                  <a:pt x="755" y="195"/>
                  <a:pt x="755" y="195"/>
                </a:cubicBezTo>
                <a:cubicBezTo>
                  <a:pt x="757" y="197"/>
                  <a:pt x="757" y="197"/>
                  <a:pt x="757" y="197"/>
                </a:cubicBezTo>
                <a:cubicBezTo>
                  <a:pt x="758" y="197"/>
                  <a:pt x="758" y="197"/>
                  <a:pt x="758" y="197"/>
                </a:cubicBezTo>
                <a:cubicBezTo>
                  <a:pt x="759" y="197"/>
                  <a:pt x="759" y="197"/>
                  <a:pt x="759" y="197"/>
                </a:cubicBezTo>
                <a:cubicBezTo>
                  <a:pt x="760" y="199"/>
                  <a:pt x="760" y="199"/>
                  <a:pt x="760" y="199"/>
                </a:cubicBezTo>
                <a:cubicBezTo>
                  <a:pt x="761" y="198"/>
                  <a:pt x="761" y="198"/>
                  <a:pt x="761" y="198"/>
                </a:cubicBezTo>
                <a:cubicBezTo>
                  <a:pt x="761" y="199"/>
                  <a:pt x="761" y="199"/>
                  <a:pt x="761" y="199"/>
                </a:cubicBezTo>
                <a:cubicBezTo>
                  <a:pt x="763" y="200"/>
                  <a:pt x="763" y="200"/>
                  <a:pt x="763" y="200"/>
                </a:cubicBezTo>
                <a:cubicBezTo>
                  <a:pt x="764" y="200"/>
                  <a:pt x="764" y="200"/>
                  <a:pt x="764" y="200"/>
                </a:cubicBezTo>
                <a:cubicBezTo>
                  <a:pt x="764" y="202"/>
                  <a:pt x="764" y="202"/>
                  <a:pt x="764" y="202"/>
                </a:cubicBezTo>
                <a:cubicBezTo>
                  <a:pt x="765" y="203"/>
                  <a:pt x="765" y="203"/>
                  <a:pt x="765" y="203"/>
                </a:cubicBezTo>
                <a:cubicBezTo>
                  <a:pt x="766" y="202"/>
                  <a:pt x="766" y="202"/>
                  <a:pt x="766" y="202"/>
                </a:cubicBezTo>
                <a:cubicBezTo>
                  <a:pt x="765" y="201"/>
                  <a:pt x="765" y="201"/>
                  <a:pt x="765" y="201"/>
                </a:cubicBezTo>
                <a:cubicBezTo>
                  <a:pt x="765" y="200"/>
                  <a:pt x="765" y="200"/>
                  <a:pt x="765" y="200"/>
                </a:cubicBezTo>
                <a:cubicBezTo>
                  <a:pt x="764" y="199"/>
                  <a:pt x="764" y="199"/>
                  <a:pt x="764" y="199"/>
                </a:cubicBezTo>
                <a:cubicBezTo>
                  <a:pt x="766" y="200"/>
                  <a:pt x="766" y="200"/>
                  <a:pt x="766" y="200"/>
                </a:cubicBezTo>
                <a:cubicBezTo>
                  <a:pt x="767" y="200"/>
                  <a:pt x="767" y="200"/>
                  <a:pt x="767" y="200"/>
                </a:cubicBezTo>
                <a:cubicBezTo>
                  <a:pt x="767" y="199"/>
                  <a:pt x="767" y="199"/>
                  <a:pt x="767" y="199"/>
                </a:cubicBezTo>
                <a:cubicBezTo>
                  <a:pt x="768" y="199"/>
                  <a:pt x="768" y="199"/>
                  <a:pt x="768" y="199"/>
                </a:cubicBezTo>
                <a:cubicBezTo>
                  <a:pt x="770" y="201"/>
                  <a:pt x="770" y="201"/>
                  <a:pt x="770" y="201"/>
                </a:cubicBezTo>
                <a:cubicBezTo>
                  <a:pt x="770" y="202"/>
                  <a:pt x="770" y="202"/>
                  <a:pt x="770" y="202"/>
                </a:cubicBezTo>
                <a:cubicBezTo>
                  <a:pt x="771" y="202"/>
                  <a:pt x="771" y="202"/>
                  <a:pt x="771" y="202"/>
                </a:cubicBezTo>
                <a:cubicBezTo>
                  <a:pt x="771" y="204"/>
                  <a:pt x="771" y="204"/>
                  <a:pt x="771" y="204"/>
                </a:cubicBezTo>
                <a:cubicBezTo>
                  <a:pt x="772" y="205"/>
                  <a:pt x="772" y="205"/>
                  <a:pt x="772" y="205"/>
                </a:cubicBezTo>
                <a:cubicBezTo>
                  <a:pt x="772" y="206"/>
                  <a:pt x="772" y="206"/>
                  <a:pt x="772" y="206"/>
                </a:cubicBezTo>
                <a:cubicBezTo>
                  <a:pt x="773" y="208"/>
                  <a:pt x="773" y="208"/>
                  <a:pt x="773" y="208"/>
                </a:cubicBezTo>
                <a:cubicBezTo>
                  <a:pt x="772" y="209"/>
                  <a:pt x="772" y="209"/>
                  <a:pt x="772" y="209"/>
                </a:cubicBezTo>
                <a:cubicBezTo>
                  <a:pt x="772" y="210"/>
                  <a:pt x="772" y="210"/>
                  <a:pt x="772" y="210"/>
                </a:cubicBezTo>
                <a:cubicBezTo>
                  <a:pt x="771" y="212"/>
                  <a:pt x="771" y="212"/>
                  <a:pt x="771" y="212"/>
                </a:cubicBezTo>
                <a:cubicBezTo>
                  <a:pt x="768" y="211"/>
                  <a:pt x="768" y="211"/>
                  <a:pt x="768" y="211"/>
                </a:cubicBezTo>
                <a:cubicBezTo>
                  <a:pt x="767" y="211"/>
                  <a:pt x="767" y="211"/>
                  <a:pt x="767" y="211"/>
                </a:cubicBezTo>
                <a:cubicBezTo>
                  <a:pt x="766" y="212"/>
                  <a:pt x="766" y="212"/>
                  <a:pt x="766" y="212"/>
                </a:cubicBezTo>
                <a:cubicBezTo>
                  <a:pt x="764" y="211"/>
                  <a:pt x="764" y="211"/>
                  <a:pt x="764" y="211"/>
                </a:cubicBezTo>
                <a:cubicBezTo>
                  <a:pt x="763" y="211"/>
                  <a:pt x="763" y="211"/>
                  <a:pt x="763" y="211"/>
                </a:cubicBezTo>
                <a:cubicBezTo>
                  <a:pt x="764" y="212"/>
                  <a:pt x="764" y="212"/>
                  <a:pt x="764" y="212"/>
                </a:cubicBezTo>
                <a:cubicBezTo>
                  <a:pt x="763" y="213"/>
                  <a:pt x="763" y="213"/>
                  <a:pt x="763" y="213"/>
                </a:cubicBezTo>
                <a:cubicBezTo>
                  <a:pt x="763" y="214"/>
                  <a:pt x="763" y="214"/>
                  <a:pt x="763" y="214"/>
                </a:cubicBezTo>
                <a:cubicBezTo>
                  <a:pt x="761" y="214"/>
                  <a:pt x="761" y="214"/>
                  <a:pt x="761" y="214"/>
                </a:cubicBezTo>
                <a:cubicBezTo>
                  <a:pt x="760" y="214"/>
                  <a:pt x="760" y="214"/>
                  <a:pt x="760" y="214"/>
                </a:cubicBezTo>
                <a:cubicBezTo>
                  <a:pt x="761" y="215"/>
                  <a:pt x="761" y="215"/>
                  <a:pt x="761" y="215"/>
                </a:cubicBezTo>
                <a:cubicBezTo>
                  <a:pt x="762" y="215"/>
                  <a:pt x="762" y="215"/>
                  <a:pt x="762" y="215"/>
                </a:cubicBezTo>
                <a:cubicBezTo>
                  <a:pt x="762" y="217"/>
                  <a:pt x="762" y="217"/>
                  <a:pt x="762" y="217"/>
                </a:cubicBezTo>
                <a:cubicBezTo>
                  <a:pt x="763" y="218"/>
                  <a:pt x="763" y="218"/>
                  <a:pt x="763" y="218"/>
                </a:cubicBezTo>
                <a:cubicBezTo>
                  <a:pt x="764" y="217"/>
                  <a:pt x="764" y="217"/>
                  <a:pt x="764" y="217"/>
                </a:cubicBezTo>
                <a:cubicBezTo>
                  <a:pt x="765" y="218"/>
                  <a:pt x="765" y="218"/>
                  <a:pt x="765" y="218"/>
                </a:cubicBezTo>
                <a:cubicBezTo>
                  <a:pt x="765" y="219"/>
                  <a:pt x="765" y="219"/>
                  <a:pt x="765" y="219"/>
                </a:cubicBezTo>
                <a:cubicBezTo>
                  <a:pt x="767" y="219"/>
                  <a:pt x="767" y="219"/>
                  <a:pt x="767" y="219"/>
                </a:cubicBezTo>
                <a:cubicBezTo>
                  <a:pt x="769" y="220"/>
                  <a:pt x="769" y="220"/>
                  <a:pt x="769" y="220"/>
                </a:cubicBezTo>
                <a:cubicBezTo>
                  <a:pt x="771" y="221"/>
                  <a:pt x="771" y="221"/>
                  <a:pt x="771" y="221"/>
                </a:cubicBezTo>
                <a:cubicBezTo>
                  <a:pt x="774" y="222"/>
                  <a:pt x="774" y="222"/>
                  <a:pt x="774" y="222"/>
                </a:cubicBezTo>
                <a:cubicBezTo>
                  <a:pt x="775" y="222"/>
                  <a:pt x="775" y="222"/>
                  <a:pt x="775" y="222"/>
                </a:cubicBezTo>
                <a:cubicBezTo>
                  <a:pt x="775" y="221"/>
                  <a:pt x="775" y="221"/>
                  <a:pt x="775" y="221"/>
                </a:cubicBezTo>
                <a:cubicBezTo>
                  <a:pt x="776" y="221"/>
                  <a:pt x="776" y="221"/>
                  <a:pt x="776" y="221"/>
                </a:cubicBezTo>
                <a:cubicBezTo>
                  <a:pt x="777" y="222"/>
                  <a:pt x="777" y="222"/>
                  <a:pt x="777" y="222"/>
                </a:cubicBezTo>
                <a:cubicBezTo>
                  <a:pt x="777" y="223"/>
                  <a:pt x="777" y="223"/>
                  <a:pt x="777" y="223"/>
                </a:cubicBezTo>
                <a:cubicBezTo>
                  <a:pt x="779" y="221"/>
                  <a:pt x="779" y="221"/>
                  <a:pt x="779" y="221"/>
                </a:cubicBezTo>
                <a:cubicBezTo>
                  <a:pt x="780" y="222"/>
                  <a:pt x="780" y="222"/>
                  <a:pt x="780" y="222"/>
                </a:cubicBezTo>
                <a:cubicBezTo>
                  <a:pt x="781" y="221"/>
                  <a:pt x="781" y="221"/>
                  <a:pt x="781" y="221"/>
                </a:cubicBezTo>
                <a:cubicBezTo>
                  <a:pt x="782" y="221"/>
                  <a:pt x="782" y="221"/>
                  <a:pt x="782" y="221"/>
                </a:cubicBezTo>
                <a:cubicBezTo>
                  <a:pt x="782" y="222"/>
                  <a:pt x="782" y="222"/>
                  <a:pt x="782" y="222"/>
                </a:cubicBezTo>
                <a:cubicBezTo>
                  <a:pt x="784" y="221"/>
                  <a:pt x="784" y="221"/>
                  <a:pt x="784" y="221"/>
                </a:cubicBezTo>
                <a:cubicBezTo>
                  <a:pt x="788" y="220"/>
                  <a:pt x="788" y="220"/>
                  <a:pt x="788" y="220"/>
                </a:cubicBezTo>
                <a:cubicBezTo>
                  <a:pt x="789" y="219"/>
                  <a:pt x="789" y="219"/>
                  <a:pt x="789" y="219"/>
                </a:cubicBezTo>
                <a:cubicBezTo>
                  <a:pt x="789" y="220"/>
                  <a:pt x="789" y="220"/>
                  <a:pt x="789" y="220"/>
                </a:cubicBezTo>
                <a:cubicBezTo>
                  <a:pt x="788" y="221"/>
                  <a:pt x="788" y="221"/>
                  <a:pt x="788" y="221"/>
                </a:cubicBezTo>
                <a:cubicBezTo>
                  <a:pt x="788" y="222"/>
                  <a:pt x="788" y="222"/>
                  <a:pt x="788" y="222"/>
                </a:cubicBezTo>
                <a:cubicBezTo>
                  <a:pt x="789" y="222"/>
                  <a:pt x="789" y="222"/>
                  <a:pt x="789" y="222"/>
                </a:cubicBezTo>
                <a:cubicBezTo>
                  <a:pt x="789" y="223"/>
                  <a:pt x="789" y="223"/>
                  <a:pt x="789" y="223"/>
                </a:cubicBezTo>
                <a:cubicBezTo>
                  <a:pt x="789" y="224"/>
                  <a:pt x="789" y="224"/>
                  <a:pt x="789" y="224"/>
                </a:cubicBezTo>
                <a:cubicBezTo>
                  <a:pt x="789" y="225"/>
                  <a:pt x="789" y="225"/>
                  <a:pt x="789" y="225"/>
                </a:cubicBezTo>
                <a:cubicBezTo>
                  <a:pt x="790" y="225"/>
                  <a:pt x="790" y="225"/>
                  <a:pt x="790" y="225"/>
                </a:cubicBezTo>
                <a:cubicBezTo>
                  <a:pt x="790" y="224"/>
                  <a:pt x="790" y="224"/>
                  <a:pt x="790" y="224"/>
                </a:cubicBezTo>
                <a:cubicBezTo>
                  <a:pt x="791" y="225"/>
                  <a:pt x="791" y="225"/>
                  <a:pt x="791" y="225"/>
                </a:cubicBezTo>
                <a:cubicBezTo>
                  <a:pt x="791" y="226"/>
                  <a:pt x="791" y="226"/>
                  <a:pt x="791" y="226"/>
                </a:cubicBezTo>
                <a:cubicBezTo>
                  <a:pt x="790" y="228"/>
                  <a:pt x="790" y="228"/>
                  <a:pt x="790" y="228"/>
                </a:cubicBezTo>
                <a:cubicBezTo>
                  <a:pt x="790" y="229"/>
                  <a:pt x="790" y="229"/>
                  <a:pt x="790" y="229"/>
                </a:cubicBezTo>
                <a:cubicBezTo>
                  <a:pt x="791" y="229"/>
                  <a:pt x="791" y="229"/>
                  <a:pt x="791" y="229"/>
                </a:cubicBezTo>
                <a:cubicBezTo>
                  <a:pt x="792" y="228"/>
                  <a:pt x="792" y="228"/>
                  <a:pt x="792" y="228"/>
                </a:cubicBezTo>
                <a:cubicBezTo>
                  <a:pt x="792" y="227"/>
                  <a:pt x="792" y="227"/>
                  <a:pt x="792" y="227"/>
                </a:cubicBezTo>
                <a:cubicBezTo>
                  <a:pt x="792" y="226"/>
                  <a:pt x="792" y="226"/>
                  <a:pt x="792" y="226"/>
                </a:cubicBezTo>
                <a:cubicBezTo>
                  <a:pt x="793" y="226"/>
                  <a:pt x="793" y="226"/>
                  <a:pt x="793" y="226"/>
                </a:cubicBezTo>
                <a:cubicBezTo>
                  <a:pt x="793" y="228"/>
                  <a:pt x="793" y="228"/>
                  <a:pt x="793" y="228"/>
                </a:cubicBezTo>
                <a:cubicBezTo>
                  <a:pt x="792" y="230"/>
                  <a:pt x="792" y="230"/>
                  <a:pt x="792" y="230"/>
                </a:cubicBezTo>
                <a:cubicBezTo>
                  <a:pt x="791" y="231"/>
                  <a:pt x="791" y="231"/>
                  <a:pt x="791" y="231"/>
                </a:cubicBezTo>
                <a:cubicBezTo>
                  <a:pt x="791" y="233"/>
                  <a:pt x="791" y="233"/>
                  <a:pt x="791" y="233"/>
                </a:cubicBezTo>
                <a:cubicBezTo>
                  <a:pt x="792" y="235"/>
                  <a:pt x="792" y="235"/>
                  <a:pt x="792" y="235"/>
                </a:cubicBezTo>
                <a:cubicBezTo>
                  <a:pt x="792" y="237"/>
                  <a:pt x="792" y="237"/>
                  <a:pt x="792" y="237"/>
                </a:cubicBezTo>
                <a:cubicBezTo>
                  <a:pt x="791" y="239"/>
                  <a:pt x="791" y="239"/>
                  <a:pt x="791" y="239"/>
                </a:cubicBezTo>
                <a:cubicBezTo>
                  <a:pt x="792" y="239"/>
                  <a:pt x="792" y="239"/>
                  <a:pt x="792" y="239"/>
                </a:cubicBezTo>
                <a:cubicBezTo>
                  <a:pt x="792" y="240"/>
                  <a:pt x="792" y="240"/>
                  <a:pt x="792" y="240"/>
                </a:cubicBezTo>
                <a:cubicBezTo>
                  <a:pt x="792" y="241"/>
                  <a:pt x="792" y="241"/>
                  <a:pt x="792" y="241"/>
                </a:cubicBezTo>
                <a:cubicBezTo>
                  <a:pt x="792" y="242"/>
                  <a:pt x="792" y="242"/>
                  <a:pt x="792" y="242"/>
                </a:cubicBezTo>
                <a:cubicBezTo>
                  <a:pt x="793" y="244"/>
                  <a:pt x="793" y="244"/>
                  <a:pt x="793" y="244"/>
                </a:cubicBezTo>
                <a:cubicBezTo>
                  <a:pt x="793" y="241"/>
                  <a:pt x="793" y="241"/>
                  <a:pt x="793" y="241"/>
                </a:cubicBezTo>
                <a:cubicBezTo>
                  <a:pt x="793" y="238"/>
                  <a:pt x="793" y="238"/>
                  <a:pt x="793" y="238"/>
                </a:cubicBezTo>
                <a:cubicBezTo>
                  <a:pt x="795" y="235"/>
                  <a:pt x="795" y="235"/>
                  <a:pt x="795" y="235"/>
                </a:cubicBezTo>
                <a:cubicBezTo>
                  <a:pt x="795" y="237"/>
                  <a:pt x="795" y="237"/>
                  <a:pt x="795" y="237"/>
                </a:cubicBezTo>
                <a:cubicBezTo>
                  <a:pt x="795" y="238"/>
                  <a:pt x="795" y="238"/>
                  <a:pt x="795" y="238"/>
                </a:cubicBezTo>
                <a:cubicBezTo>
                  <a:pt x="796" y="237"/>
                  <a:pt x="796" y="237"/>
                  <a:pt x="796" y="237"/>
                </a:cubicBezTo>
                <a:cubicBezTo>
                  <a:pt x="796" y="238"/>
                  <a:pt x="796" y="238"/>
                  <a:pt x="796" y="238"/>
                </a:cubicBezTo>
                <a:cubicBezTo>
                  <a:pt x="797" y="237"/>
                  <a:pt x="797" y="237"/>
                  <a:pt x="797" y="237"/>
                </a:cubicBezTo>
                <a:cubicBezTo>
                  <a:pt x="797" y="236"/>
                  <a:pt x="797" y="236"/>
                  <a:pt x="797" y="236"/>
                </a:cubicBezTo>
                <a:cubicBezTo>
                  <a:pt x="796" y="235"/>
                  <a:pt x="796" y="235"/>
                  <a:pt x="796" y="235"/>
                </a:cubicBezTo>
                <a:cubicBezTo>
                  <a:pt x="796" y="234"/>
                  <a:pt x="796" y="234"/>
                  <a:pt x="796" y="234"/>
                </a:cubicBezTo>
                <a:cubicBezTo>
                  <a:pt x="797" y="234"/>
                  <a:pt x="797" y="234"/>
                  <a:pt x="797" y="234"/>
                </a:cubicBezTo>
                <a:cubicBezTo>
                  <a:pt x="798" y="233"/>
                  <a:pt x="798" y="233"/>
                  <a:pt x="798" y="233"/>
                </a:cubicBezTo>
                <a:cubicBezTo>
                  <a:pt x="797" y="232"/>
                  <a:pt x="797" y="232"/>
                  <a:pt x="797" y="232"/>
                </a:cubicBezTo>
                <a:cubicBezTo>
                  <a:pt x="797" y="229"/>
                  <a:pt x="797" y="229"/>
                  <a:pt x="797" y="229"/>
                </a:cubicBezTo>
                <a:cubicBezTo>
                  <a:pt x="798" y="226"/>
                  <a:pt x="798" y="226"/>
                  <a:pt x="798" y="226"/>
                </a:cubicBezTo>
                <a:cubicBezTo>
                  <a:pt x="798" y="225"/>
                  <a:pt x="798" y="225"/>
                  <a:pt x="798" y="225"/>
                </a:cubicBezTo>
                <a:cubicBezTo>
                  <a:pt x="798" y="224"/>
                  <a:pt x="798" y="224"/>
                  <a:pt x="798" y="224"/>
                </a:cubicBezTo>
                <a:cubicBezTo>
                  <a:pt x="799" y="223"/>
                  <a:pt x="799" y="223"/>
                  <a:pt x="799" y="223"/>
                </a:cubicBezTo>
                <a:cubicBezTo>
                  <a:pt x="801" y="223"/>
                  <a:pt x="801" y="223"/>
                  <a:pt x="801" y="223"/>
                </a:cubicBezTo>
                <a:cubicBezTo>
                  <a:pt x="801" y="222"/>
                  <a:pt x="801" y="222"/>
                  <a:pt x="801" y="222"/>
                </a:cubicBezTo>
                <a:cubicBezTo>
                  <a:pt x="802" y="222"/>
                  <a:pt x="802" y="222"/>
                  <a:pt x="802" y="222"/>
                </a:cubicBezTo>
                <a:cubicBezTo>
                  <a:pt x="803" y="223"/>
                  <a:pt x="803" y="223"/>
                  <a:pt x="803" y="223"/>
                </a:cubicBezTo>
                <a:cubicBezTo>
                  <a:pt x="804" y="222"/>
                  <a:pt x="804" y="222"/>
                  <a:pt x="804" y="222"/>
                </a:cubicBezTo>
                <a:cubicBezTo>
                  <a:pt x="804" y="221"/>
                  <a:pt x="804" y="221"/>
                  <a:pt x="804" y="221"/>
                </a:cubicBezTo>
                <a:cubicBezTo>
                  <a:pt x="805" y="221"/>
                  <a:pt x="805" y="221"/>
                  <a:pt x="805" y="221"/>
                </a:cubicBezTo>
                <a:cubicBezTo>
                  <a:pt x="805" y="222"/>
                  <a:pt x="805" y="222"/>
                  <a:pt x="805" y="222"/>
                </a:cubicBezTo>
                <a:cubicBezTo>
                  <a:pt x="806" y="222"/>
                  <a:pt x="806" y="222"/>
                  <a:pt x="806" y="222"/>
                </a:cubicBezTo>
                <a:cubicBezTo>
                  <a:pt x="807" y="221"/>
                  <a:pt x="807" y="221"/>
                  <a:pt x="807" y="221"/>
                </a:cubicBezTo>
                <a:cubicBezTo>
                  <a:pt x="808" y="220"/>
                  <a:pt x="808" y="220"/>
                  <a:pt x="808" y="220"/>
                </a:cubicBezTo>
                <a:cubicBezTo>
                  <a:pt x="809" y="221"/>
                  <a:pt x="809" y="221"/>
                  <a:pt x="809" y="221"/>
                </a:cubicBezTo>
                <a:cubicBezTo>
                  <a:pt x="810" y="223"/>
                  <a:pt x="810" y="223"/>
                  <a:pt x="810" y="223"/>
                </a:cubicBezTo>
                <a:cubicBezTo>
                  <a:pt x="810" y="221"/>
                  <a:pt x="810" y="221"/>
                  <a:pt x="810" y="221"/>
                </a:cubicBezTo>
                <a:cubicBezTo>
                  <a:pt x="809" y="220"/>
                  <a:pt x="809" y="220"/>
                  <a:pt x="809" y="220"/>
                </a:cubicBezTo>
                <a:cubicBezTo>
                  <a:pt x="810" y="218"/>
                  <a:pt x="810" y="218"/>
                  <a:pt x="810" y="218"/>
                </a:cubicBezTo>
                <a:cubicBezTo>
                  <a:pt x="811" y="218"/>
                  <a:pt x="811" y="218"/>
                  <a:pt x="811" y="218"/>
                </a:cubicBezTo>
                <a:cubicBezTo>
                  <a:pt x="812" y="218"/>
                  <a:pt x="812" y="218"/>
                  <a:pt x="812" y="218"/>
                </a:cubicBezTo>
                <a:cubicBezTo>
                  <a:pt x="813" y="218"/>
                  <a:pt x="813" y="218"/>
                  <a:pt x="813" y="218"/>
                </a:cubicBezTo>
                <a:cubicBezTo>
                  <a:pt x="814" y="218"/>
                  <a:pt x="814" y="218"/>
                  <a:pt x="814" y="218"/>
                </a:cubicBezTo>
                <a:cubicBezTo>
                  <a:pt x="815" y="217"/>
                  <a:pt x="815" y="217"/>
                  <a:pt x="815" y="217"/>
                </a:cubicBezTo>
                <a:cubicBezTo>
                  <a:pt x="815" y="216"/>
                  <a:pt x="815" y="216"/>
                  <a:pt x="815" y="216"/>
                </a:cubicBezTo>
                <a:cubicBezTo>
                  <a:pt x="816" y="215"/>
                  <a:pt x="816" y="215"/>
                  <a:pt x="816" y="215"/>
                </a:cubicBezTo>
                <a:cubicBezTo>
                  <a:pt x="815" y="215"/>
                  <a:pt x="815" y="215"/>
                  <a:pt x="815" y="215"/>
                </a:cubicBezTo>
                <a:cubicBezTo>
                  <a:pt x="814" y="215"/>
                  <a:pt x="814" y="215"/>
                  <a:pt x="814" y="215"/>
                </a:cubicBezTo>
                <a:cubicBezTo>
                  <a:pt x="811" y="216"/>
                  <a:pt x="811" y="216"/>
                  <a:pt x="811" y="216"/>
                </a:cubicBezTo>
                <a:cubicBezTo>
                  <a:pt x="810" y="216"/>
                  <a:pt x="810" y="216"/>
                  <a:pt x="810" y="216"/>
                </a:cubicBezTo>
                <a:cubicBezTo>
                  <a:pt x="810" y="217"/>
                  <a:pt x="810" y="217"/>
                  <a:pt x="810" y="217"/>
                </a:cubicBezTo>
                <a:cubicBezTo>
                  <a:pt x="809" y="217"/>
                  <a:pt x="809" y="217"/>
                  <a:pt x="809" y="217"/>
                </a:cubicBezTo>
                <a:cubicBezTo>
                  <a:pt x="809" y="218"/>
                  <a:pt x="809" y="218"/>
                  <a:pt x="809" y="218"/>
                </a:cubicBezTo>
                <a:cubicBezTo>
                  <a:pt x="808" y="217"/>
                  <a:pt x="808" y="217"/>
                  <a:pt x="808" y="217"/>
                </a:cubicBezTo>
                <a:cubicBezTo>
                  <a:pt x="808" y="216"/>
                  <a:pt x="808" y="216"/>
                  <a:pt x="808" y="216"/>
                </a:cubicBezTo>
                <a:cubicBezTo>
                  <a:pt x="807" y="216"/>
                  <a:pt x="807" y="216"/>
                  <a:pt x="807" y="216"/>
                </a:cubicBezTo>
                <a:cubicBezTo>
                  <a:pt x="807" y="217"/>
                  <a:pt x="807" y="217"/>
                  <a:pt x="807" y="217"/>
                </a:cubicBezTo>
                <a:cubicBezTo>
                  <a:pt x="806" y="218"/>
                  <a:pt x="806" y="218"/>
                  <a:pt x="806" y="218"/>
                </a:cubicBezTo>
                <a:cubicBezTo>
                  <a:pt x="805" y="217"/>
                  <a:pt x="805" y="217"/>
                  <a:pt x="805" y="217"/>
                </a:cubicBezTo>
                <a:cubicBezTo>
                  <a:pt x="804" y="217"/>
                  <a:pt x="804" y="217"/>
                  <a:pt x="804" y="217"/>
                </a:cubicBezTo>
                <a:cubicBezTo>
                  <a:pt x="804" y="216"/>
                  <a:pt x="804" y="216"/>
                  <a:pt x="804" y="216"/>
                </a:cubicBezTo>
                <a:cubicBezTo>
                  <a:pt x="803" y="217"/>
                  <a:pt x="803" y="217"/>
                  <a:pt x="803" y="217"/>
                </a:cubicBezTo>
                <a:cubicBezTo>
                  <a:pt x="803" y="218"/>
                  <a:pt x="803" y="218"/>
                  <a:pt x="803" y="218"/>
                </a:cubicBezTo>
                <a:cubicBezTo>
                  <a:pt x="803" y="219"/>
                  <a:pt x="803" y="219"/>
                  <a:pt x="803" y="219"/>
                </a:cubicBezTo>
                <a:cubicBezTo>
                  <a:pt x="802" y="219"/>
                  <a:pt x="802" y="219"/>
                  <a:pt x="802" y="219"/>
                </a:cubicBezTo>
                <a:cubicBezTo>
                  <a:pt x="800" y="219"/>
                  <a:pt x="800" y="219"/>
                  <a:pt x="800" y="219"/>
                </a:cubicBezTo>
                <a:cubicBezTo>
                  <a:pt x="800" y="218"/>
                  <a:pt x="800" y="218"/>
                  <a:pt x="800" y="218"/>
                </a:cubicBezTo>
                <a:cubicBezTo>
                  <a:pt x="801" y="217"/>
                  <a:pt x="801" y="217"/>
                  <a:pt x="801" y="217"/>
                </a:cubicBezTo>
                <a:cubicBezTo>
                  <a:pt x="801" y="216"/>
                  <a:pt x="801" y="216"/>
                  <a:pt x="801" y="216"/>
                </a:cubicBezTo>
                <a:cubicBezTo>
                  <a:pt x="800" y="217"/>
                  <a:pt x="800" y="217"/>
                  <a:pt x="800" y="217"/>
                </a:cubicBezTo>
                <a:cubicBezTo>
                  <a:pt x="799" y="216"/>
                  <a:pt x="799" y="216"/>
                  <a:pt x="799" y="216"/>
                </a:cubicBezTo>
                <a:cubicBezTo>
                  <a:pt x="799" y="215"/>
                  <a:pt x="799" y="215"/>
                  <a:pt x="799" y="215"/>
                </a:cubicBezTo>
                <a:cubicBezTo>
                  <a:pt x="800" y="214"/>
                  <a:pt x="800" y="214"/>
                  <a:pt x="800" y="214"/>
                </a:cubicBezTo>
                <a:cubicBezTo>
                  <a:pt x="802" y="212"/>
                  <a:pt x="802" y="212"/>
                  <a:pt x="802" y="212"/>
                </a:cubicBezTo>
                <a:cubicBezTo>
                  <a:pt x="803" y="212"/>
                  <a:pt x="803" y="212"/>
                  <a:pt x="803" y="212"/>
                </a:cubicBezTo>
                <a:cubicBezTo>
                  <a:pt x="805" y="212"/>
                  <a:pt x="805" y="212"/>
                  <a:pt x="805" y="212"/>
                </a:cubicBezTo>
                <a:cubicBezTo>
                  <a:pt x="809" y="212"/>
                  <a:pt x="809" y="212"/>
                  <a:pt x="809" y="212"/>
                </a:cubicBezTo>
                <a:cubicBezTo>
                  <a:pt x="812" y="211"/>
                  <a:pt x="812" y="211"/>
                  <a:pt x="812" y="211"/>
                </a:cubicBezTo>
                <a:cubicBezTo>
                  <a:pt x="813" y="211"/>
                  <a:pt x="813" y="211"/>
                  <a:pt x="813" y="211"/>
                </a:cubicBezTo>
                <a:cubicBezTo>
                  <a:pt x="815" y="211"/>
                  <a:pt x="815" y="211"/>
                  <a:pt x="815" y="211"/>
                </a:cubicBezTo>
                <a:cubicBezTo>
                  <a:pt x="815" y="212"/>
                  <a:pt x="815" y="212"/>
                  <a:pt x="815" y="212"/>
                </a:cubicBezTo>
                <a:cubicBezTo>
                  <a:pt x="816" y="213"/>
                  <a:pt x="816" y="213"/>
                  <a:pt x="816" y="213"/>
                </a:cubicBezTo>
                <a:cubicBezTo>
                  <a:pt x="817" y="213"/>
                  <a:pt x="817" y="213"/>
                  <a:pt x="817" y="213"/>
                </a:cubicBezTo>
                <a:cubicBezTo>
                  <a:pt x="817" y="214"/>
                  <a:pt x="817" y="214"/>
                  <a:pt x="817" y="214"/>
                </a:cubicBezTo>
                <a:cubicBezTo>
                  <a:pt x="817" y="216"/>
                  <a:pt x="817" y="216"/>
                  <a:pt x="817" y="216"/>
                </a:cubicBezTo>
                <a:cubicBezTo>
                  <a:pt x="817" y="217"/>
                  <a:pt x="817" y="217"/>
                  <a:pt x="817" y="217"/>
                </a:cubicBezTo>
                <a:cubicBezTo>
                  <a:pt x="817" y="218"/>
                  <a:pt x="817" y="218"/>
                  <a:pt x="817" y="218"/>
                </a:cubicBezTo>
                <a:cubicBezTo>
                  <a:pt x="816" y="218"/>
                  <a:pt x="816" y="218"/>
                  <a:pt x="816" y="218"/>
                </a:cubicBezTo>
                <a:cubicBezTo>
                  <a:pt x="816" y="219"/>
                  <a:pt x="816" y="219"/>
                  <a:pt x="816" y="219"/>
                </a:cubicBezTo>
                <a:cubicBezTo>
                  <a:pt x="817" y="219"/>
                  <a:pt x="817" y="219"/>
                  <a:pt x="817" y="219"/>
                </a:cubicBezTo>
                <a:cubicBezTo>
                  <a:pt x="817" y="222"/>
                  <a:pt x="817" y="222"/>
                  <a:pt x="817" y="222"/>
                </a:cubicBezTo>
                <a:cubicBezTo>
                  <a:pt x="818" y="222"/>
                  <a:pt x="818" y="222"/>
                  <a:pt x="818" y="222"/>
                </a:cubicBezTo>
                <a:cubicBezTo>
                  <a:pt x="819" y="222"/>
                  <a:pt x="819" y="222"/>
                  <a:pt x="819" y="222"/>
                </a:cubicBezTo>
                <a:cubicBezTo>
                  <a:pt x="819" y="223"/>
                  <a:pt x="819" y="223"/>
                  <a:pt x="819" y="223"/>
                </a:cubicBezTo>
                <a:cubicBezTo>
                  <a:pt x="818" y="223"/>
                  <a:pt x="818" y="223"/>
                  <a:pt x="818" y="223"/>
                </a:cubicBezTo>
                <a:cubicBezTo>
                  <a:pt x="817" y="224"/>
                  <a:pt x="817" y="224"/>
                  <a:pt x="817" y="224"/>
                </a:cubicBezTo>
                <a:cubicBezTo>
                  <a:pt x="817" y="225"/>
                  <a:pt x="817" y="225"/>
                  <a:pt x="817" y="225"/>
                </a:cubicBezTo>
                <a:cubicBezTo>
                  <a:pt x="818" y="225"/>
                  <a:pt x="818" y="225"/>
                  <a:pt x="818" y="225"/>
                </a:cubicBezTo>
                <a:cubicBezTo>
                  <a:pt x="819" y="226"/>
                  <a:pt x="819" y="226"/>
                  <a:pt x="819" y="226"/>
                </a:cubicBezTo>
                <a:cubicBezTo>
                  <a:pt x="820" y="226"/>
                  <a:pt x="820" y="226"/>
                  <a:pt x="820" y="226"/>
                </a:cubicBezTo>
                <a:cubicBezTo>
                  <a:pt x="821" y="227"/>
                  <a:pt x="821" y="227"/>
                  <a:pt x="821" y="227"/>
                </a:cubicBezTo>
                <a:cubicBezTo>
                  <a:pt x="822" y="227"/>
                  <a:pt x="822" y="227"/>
                  <a:pt x="822" y="227"/>
                </a:cubicBezTo>
                <a:cubicBezTo>
                  <a:pt x="823" y="226"/>
                  <a:pt x="823" y="226"/>
                  <a:pt x="823" y="226"/>
                </a:cubicBezTo>
                <a:cubicBezTo>
                  <a:pt x="824" y="227"/>
                  <a:pt x="824" y="227"/>
                  <a:pt x="824" y="227"/>
                </a:cubicBezTo>
                <a:cubicBezTo>
                  <a:pt x="824" y="228"/>
                  <a:pt x="824" y="228"/>
                  <a:pt x="824" y="228"/>
                </a:cubicBezTo>
                <a:cubicBezTo>
                  <a:pt x="825" y="228"/>
                  <a:pt x="825" y="228"/>
                  <a:pt x="825" y="228"/>
                </a:cubicBezTo>
                <a:cubicBezTo>
                  <a:pt x="825" y="229"/>
                  <a:pt x="825" y="229"/>
                  <a:pt x="825" y="229"/>
                </a:cubicBezTo>
                <a:cubicBezTo>
                  <a:pt x="825" y="230"/>
                  <a:pt x="825" y="230"/>
                  <a:pt x="825" y="230"/>
                </a:cubicBezTo>
                <a:cubicBezTo>
                  <a:pt x="826" y="231"/>
                  <a:pt x="826" y="231"/>
                  <a:pt x="826" y="231"/>
                </a:cubicBezTo>
                <a:cubicBezTo>
                  <a:pt x="827" y="232"/>
                  <a:pt x="827" y="232"/>
                  <a:pt x="827" y="232"/>
                </a:cubicBezTo>
                <a:cubicBezTo>
                  <a:pt x="827" y="233"/>
                  <a:pt x="827" y="233"/>
                  <a:pt x="827" y="233"/>
                </a:cubicBezTo>
                <a:cubicBezTo>
                  <a:pt x="829" y="232"/>
                  <a:pt x="829" y="232"/>
                  <a:pt x="829" y="232"/>
                </a:cubicBezTo>
                <a:cubicBezTo>
                  <a:pt x="829" y="233"/>
                  <a:pt x="829" y="233"/>
                  <a:pt x="829" y="233"/>
                </a:cubicBezTo>
                <a:cubicBezTo>
                  <a:pt x="829" y="234"/>
                  <a:pt x="829" y="234"/>
                  <a:pt x="829" y="234"/>
                </a:cubicBezTo>
                <a:cubicBezTo>
                  <a:pt x="830" y="234"/>
                  <a:pt x="830" y="234"/>
                  <a:pt x="830" y="234"/>
                </a:cubicBezTo>
                <a:cubicBezTo>
                  <a:pt x="831" y="235"/>
                  <a:pt x="831" y="235"/>
                  <a:pt x="831" y="235"/>
                </a:cubicBezTo>
                <a:cubicBezTo>
                  <a:pt x="832" y="234"/>
                  <a:pt x="832" y="234"/>
                  <a:pt x="832" y="234"/>
                </a:cubicBezTo>
                <a:cubicBezTo>
                  <a:pt x="835" y="234"/>
                  <a:pt x="835" y="234"/>
                  <a:pt x="835" y="234"/>
                </a:cubicBezTo>
                <a:cubicBezTo>
                  <a:pt x="835" y="233"/>
                  <a:pt x="835" y="233"/>
                  <a:pt x="835" y="233"/>
                </a:cubicBezTo>
                <a:cubicBezTo>
                  <a:pt x="837" y="232"/>
                  <a:pt x="837" y="232"/>
                  <a:pt x="837" y="232"/>
                </a:cubicBezTo>
                <a:cubicBezTo>
                  <a:pt x="838" y="233"/>
                  <a:pt x="838" y="233"/>
                  <a:pt x="838" y="233"/>
                </a:cubicBezTo>
                <a:cubicBezTo>
                  <a:pt x="840" y="233"/>
                  <a:pt x="840" y="233"/>
                  <a:pt x="840" y="233"/>
                </a:cubicBezTo>
                <a:cubicBezTo>
                  <a:pt x="842" y="235"/>
                  <a:pt x="842" y="235"/>
                  <a:pt x="842" y="235"/>
                </a:cubicBezTo>
                <a:cubicBezTo>
                  <a:pt x="843" y="235"/>
                  <a:pt x="843" y="235"/>
                  <a:pt x="843" y="235"/>
                </a:cubicBezTo>
                <a:cubicBezTo>
                  <a:pt x="844" y="236"/>
                  <a:pt x="844" y="236"/>
                  <a:pt x="844" y="236"/>
                </a:cubicBezTo>
                <a:cubicBezTo>
                  <a:pt x="845" y="235"/>
                  <a:pt x="845" y="235"/>
                  <a:pt x="845" y="235"/>
                </a:cubicBezTo>
                <a:cubicBezTo>
                  <a:pt x="847" y="235"/>
                  <a:pt x="847" y="235"/>
                  <a:pt x="847" y="235"/>
                </a:cubicBezTo>
                <a:cubicBezTo>
                  <a:pt x="848" y="236"/>
                  <a:pt x="848" y="236"/>
                  <a:pt x="848" y="236"/>
                </a:cubicBezTo>
                <a:cubicBezTo>
                  <a:pt x="848" y="234"/>
                  <a:pt x="848" y="234"/>
                  <a:pt x="848" y="234"/>
                </a:cubicBezTo>
                <a:cubicBezTo>
                  <a:pt x="847" y="233"/>
                  <a:pt x="847" y="233"/>
                  <a:pt x="847" y="233"/>
                </a:cubicBezTo>
                <a:cubicBezTo>
                  <a:pt x="847" y="231"/>
                  <a:pt x="847" y="231"/>
                  <a:pt x="847" y="231"/>
                </a:cubicBezTo>
                <a:cubicBezTo>
                  <a:pt x="848" y="231"/>
                  <a:pt x="848" y="231"/>
                  <a:pt x="848" y="231"/>
                </a:cubicBezTo>
                <a:cubicBezTo>
                  <a:pt x="849" y="233"/>
                  <a:pt x="849" y="233"/>
                  <a:pt x="849" y="233"/>
                </a:cubicBezTo>
                <a:cubicBezTo>
                  <a:pt x="849" y="235"/>
                  <a:pt x="849" y="235"/>
                  <a:pt x="849" y="235"/>
                </a:cubicBezTo>
                <a:cubicBezTo>
                  <a:pt x="851" y="237"/>
                  <a:pt x="851" y="237"/>
                  <a:pt x="851" y="237"/>
                </a:cubicBezTo>
                <a:cubicBezTo>
                  <a:pt x="852" y="239"/>
                  <a:pt x="852" y="239"/>
                  <a:pt x="852" y="239"/>
                </a:cubicBezTo>
                <a:cubicBezTo>
                  <a:pt x="852" y="236"/>
                  <a:pt x="852" y="236"/>
                  <a:pt x="852" y="236"/>
                </a:cubicBezTo>
                <a:cubicBezTo>
                  <a:pt x="851" y="235"/>
                  <a:pt x="851" y="235"/>
                  <a:pt x="851" y="235"/>
                </a:cubicBezTo>
                <a:cubicBezTo>
                  <a:pt x="850" y="235"/>
                  <a:pt x="850" y="235"/>
                  <a:pt x="850" y="235"/>
                </a:cubicBezTo>
                <a:cubicBezTo>
                  <a:pt x="849" y="233"/>
                  <a:pt x="849" y="233"/>
                  <a:pt x="849" y="233"/>
                </a:cubicBezTo>
                <a:cubicBezTo>
                  <a:pt x="849" y="230"/>
                  <a:pt x="849" y="230"/>
                  <a:pt x="849" y="230"/>
                </a:cubicBezTo>
                <a:cubicBezTo>
                  <a:pt x="850" y="231"/>
                  <a:pt x="850" y="231"/>
                  <a:pt x="850" y="231"/>
                </a:cubicBezTo>
                <a:cubicBezTo>
                  <a:pt x="851" y="230"/>
                  <a:pt x="851" y="230"/>
                  <a:pt x="851" y="230"/>
                </a:cubicBezTo>
                <a:cubicBezTo>
                  <a:pt x="850" y="228"/>
                  <a:pt x="850" y="228"/>
                  <a:pt x="850" y="228"/>
                </a:cubicBezTo>
                <a:cubicBezTo>
                  <a:pt x="850" y="227"/>
                  <a:pt x="850" y="227"/>
                  <a:pt x="850" y="227"/>
                </a:cubicBezTo>
                <a:cubicBezTo>
                  <a:pt x="850" y="226"/>
                  <a:pt x="850" y="226"/>
                  <a:pt x="850" y="226"/>
                </a:cubicBezTo>
                <a:cubicBezTo>
                  <a:pt x="851" y="226"/>
                  <a:pt x="851" y="226"/>
                  <a:pt x="851" y="226"/>
                </a:cubicBezTo>
                <a:cubicBezTo>
                  <a:pt x="852" y="227"/>
                  <a:pt x="852" y="227"/>
                  <a:pt x="852" y="227"/>
                </a:cubicBezTo>
                <a:cubicBezTo>
                  <a:pt x="852" y="228"/>
                  <a:pt x="852" y="228"/>
                  <a:pt x="852" y="228"/>
                </a:cubicBezTo>
                <a:cubicBezTo>
                  <a:pt x="853" y="228"/>
                  <a:pt x="853" y="228"/>
                  <a:pt x="853" y="228"/>
                </a:cubicBezTo>
                <a:cubicBezTo>
                  <a:pt x="854" y="227"/>
                  <a:pt x="854" y="227"/>
                  <a:pt x="854" y="227"/>
                </a:cubicBezTo>
                <a:cubicBezTo>
                  <a:pt x="854" y="226"/>
                  <a:pt x="854" y="226"/>
                  <a:pt x="854" y="226"/>
                </a:cubicBezTo>
                <a:cubicBezTo>
                  <a:pt x="855" y="226"/>
                  <a:pt x="855" y="226"/>
                  <a:pt x="855" y="226"/>
                </a:cubicBezTo>
                <a:cubicBezTo>
                  <a:pt x="856" y="227"/>
                  <a:pt x="856" y="227"/>
                  <a:pt x="856" y="227"/>
                </a:cubicBezTo>
                <a:cubicBezTo>
                  <a:pt x="856" y="228"/>
                  <a:pt x="856" y="228"/>
                  <a:pt x="856" y="228"/>
                </a:cubicBezTo>
                <a:cubicBezTo>
                  <a:pt x="857" y="227"/>
                  <a:pt x="857" y="227"/>
                  <a:pt x="857" y="227"/>
                </a:cubicBezTo>
                <a:cubicBezTo>
                  <a:pt x="858" y="228"/>
                  <a:pt x="858" y="228"/>
                  <a:pt x="858" y="228"/>
                </a:cubicBezTo>
                <a:cubicBezTo>
                  <a:pt x="857" y="230"/>
                  <a:pt x="857" y="230"/>
                  <a:pt x="857" y="230"/>
                </a:cubicBezTo>
                <a:cubicBezTo>
                  <a:pt x="857" y="231"/>
                  <a:pt x="857" y="231"/>
                  <a:pt x="857" y="231"/>
                </a:cubicBezTo>
                <a:cubicBezTo>
                  <a:pt x="858" y="231"/>
                  <a:pt x="858" y="231"/>
                  <a:pt x="858" y="231"/>
                </a:cubicBezTo>
                <a:cubicBezTo>
                  <a:pt x="859" y="231"/>
                  <a:pt x="859" y="231"/>
                  <a:pt x="859" y="231"/>
                </a:cubicBezTo>
                <a:cubicBezTo>
                  <a:pt x="860" y="232"/>
                  <a:pt x="860" y="232"/>
                  <a:pt x="860" y="232"/>
                </a:cubicBezTo>
                <a:cubicBezTo>
                  <a:pt x="859" y="233"/>
                  <a:pt x="859" y="233"/>
                  <a:pt x="859" y="233"/>
                </a:cubicBezTo>
                <a:cubicBezTo>
                  <a:pt x="858" y="233"/>
                  <a:pt x="858" y="233"/>
                  <a:pt x="858" y="233"/>
                </a:cubicBezTo>
                <a:cubicBezTo>
                  <a:pt x="858" y="234"/>
                  <a:pt x="858" y="234"/>
                  <a:pt x="858" y="234"/>
                </a:cubicBezTo>
                <a:cubicBezTo>
                  <a:pt x="860" y="233"/>
                  <a:pt x="860" y="233"/>
                  <a:pt x="860" y="233"/>
                </a:cubicBezTo>
                <a:cubicBezTo>
                  <a:pt x="861" y="232"/>
                  <a:pt x="861" y="232"/>
                  <a:pt x="861" y="232"/>
                </a:cubicBezTo>
                <a:cubicBezTo>
                  <a:pt x="862" y="231"/>
                  <a:pt x="862" y="231"/>
                  <a:pt x="862" y="231"/>
                </a:cubicBezTo>
                <a:cubicBezTo>
                  <a:pt x="863" y="232"/>
                  <a:pt x="863" y="232"/>
                  <a:pt x="863" y="232"/>
                </a:cubicBezTo>
                <a:cubicBezTo>
                  <a:pt x="862" y="232"/>
                  <a:pt x="862" y="232"/>
                  <a:pt x="862" y="232"/>
                </a:cubicBezTo>
                <a:cubicBezTo>
                  <a:pt x="862" y="233"/>
                  <a:pt x="862" y="233"/>
                  <a:pt x="862" y="233"/>
                </a:cubicBezTo>
                <a:cubicBezTo>
                  <a:pt x="862" y="234"/>
                  <a:pt x="862" y="234"/>
                  <a:pt x="862" y="234"/>
                </a:cubicBezTo>
                <a:cubicBezTo>
                  <a:pt x="860" y="236"/>
                  <a:pt x="860" y="236"/>
                  <a:pt x="860" y="236"/>
                </a:cubicBezTo>
                <a:cubicBezTo>
                  <a:pt x="858" y="238"/>
                  <a:pt x="858" y="238"/>
                  <a:pt x="858" y="238"/>
                </a:cubicBezTo>
                <a:cubicBezTo>
                  <a:pt x="858" y="239"/>
                  <a:pt x="858" y="239"/>
                  <a:pt x="858" y="239"/>
                </a:cubicBezTo>
                <a:cubicBezTo>
                  <a:pt x="857" y="240"/>
                  <a:pt x="857" y="240"/>
                  <a:pt x="857" y="240"/>
                </a:cubicBezTo>
                <a:cubicBezTo>
                  <a:pt x="857" y="238"/>
                  <a:pt x="857" y="238"/>
                  <a:pt x="857" y="238"/>
                </a:cubicBezTo>
                <a:cubicBezTo>
                  <a:pt x="856" y="240"/>
                  <a:pt x="856" y="240"/>
                  <a:pt x="856" y="240"/>
                </a:cubicBezTo>
                <a:cubicBezTo>
                  <a:pt x="856" y="242"/>
                  <a:pt x="856" y="242"/>
                  <a:pt x="856" y="242"/>
                </a:cubicBezTo>
                <a:cubicBezTo>
                  <a:pt x="857" y="242"/>
                  <a:pt x="857" y="242"/>
                  <a:pt x="857" y="242"/>
                </a:cubicBezTo>
                <a:cubicBezTo>
                  <a:pt x="858" y="242"/>
                  <a:pt x="858" y="242"/>
                  <a:pt x="858" y="242"/>
                </a:cubicBezTo>
                <a:cubicBezTo>
                  <a:pt x="858" y="243"/>
                  <a:pt x="858" y="243"/>
                  <a:pt x="858" y="243"/>
                </a:cubicBezTo>
                <a:cubicBezTo>
                  <a:pt x="856" y="244"/>
                  <a:pt x="856" y="244"/>
                  <a:pt x="856" y="244"/>
                </a:cubicBezTo>
                <a:cubicBezTo>
                  <a:pt x="856" y="245"/>
                  <a:pt x="856" y="245"/>
                  <a:pt x="856" y="245"/>
                </a:cubicBezTo>
                <a:cubicBezTo>
                  <a:pt x="858" y="244"/>
                  <a:pt x="858" y="244"/>
                  <a:pt x="858" y="244"/>
                </a:cubicBezTo>
                <a:cubicBezTo>
                  <a:pt x="859" y="243"/>
                  <a:pt x="859" y="243"/>
                  <a:pt x="859" y="243"/>
                </a:cubicBezTo>
                <a:cubicBezTo>
                  <a:pt x="860" y="243"/>
                  <a:pt x="860" y="243"/>
                  <a:pt x="860" y="243"/>
                </a:cubicBezTo>
                <a:cubicBezTo>
                  <a:pt x="859" y="245"/>
                  <a:pt x="859" y="245"/>
                  <a:pt x="859" y="245"/>
                </a:cubicBezTo>
                <a:cubicBezTo>
                  <a:pt x="858" y="245"/>
                  <a:pt x="858" y="245"/>
                  <a:pt x="858" y="245"/>
                </a:cubicBezTo>
                <a:cubicBezTo>
                  <a:pt x="859" y="246"/>
                  <a:pt x="859" y="246"/>
                  <a:pt x="859" y="246"/>
                </a:cubicBezTo>
                <a:cubicBezTo>
                  <a:pt x="860" y="245"/>
                  <a:pt x="860" y="245"/>
                  <a:pt x="860" y="245"/>
                </a:cubicBezTo>
                <a:cubicBezTo>
                  <a:pt x="859" y="247"/>
                  <a:pt x="859" y="247"/>
                  <a:pt x="859" y="247"/>
                </a:cubicBezTo>
                <a:cubicBezTo>
                  <a:pt x="859" y="248"/>
                  <a:pt x="859" y="248"/>
                  <a:pt x="859" y="248"/>
                </a:cubicBezTo>
                <a:cubicBezTo>
                  <a:pt x="858" y="248"/>
                  <a:pt x="858" y="248"/>
                  <a:pt x="858" y="248"/>
                </a:cubicBezTo>
                <a:cubicBezTo>
                  <a:pt x="857" y="248"/>
                  <a:pt x="857" y="248"/>
                  <a:pt x="857" y="248"/>
                </a:cubicBezTo>
                <a:cubicBezTo>
                  <a:pt x="856" y="247"/>
                  <a:pt x="856" y="247"/>
                  <a:pt x="856" y="247"/>
                </a:cubicBezTo>
                <a:cubicBezTo>
                  <a:pt x="855" y="248"/>
                  <a:pt x="855" y="248"/>
                  <a:pt x="855" y="248"/>
                </a:cubicBezTo>
                <a:cubicBezTo>
                  <a:pt x="854" y="246"/>
                  <a:pt x="854" y="246"/>
                  <a:pt x="854" y="246"/>
                </a:cubicBezTo>
                <a:cubicBezTo>
                  <a:pt x="853" y="248"/>
                  <a:pt x="853" y="248"/>
                  <a:pt x="853" y="248"/>
                </a:cubicBezTo>
                <a:cubicBezTo>
                  <a:pt x="854" y="249"/>
                  <a:pt x="854" y="249"/>
                  <a:pt x="854" y="249"/>
                </a:cubicBezTo>
                <a:cubicBezTo>
                  <a:pt x="855" y="250"/>
                  <a:pt x="855" y="250"/>
                  <a:pt x="855" y="250"/>
                </a:cubicBezTo>
                <a:cubicBezTo>
                  <a:pt x="854" y="253"/>
                  <a:pt x="854" y="253"/>
                  <a:pt x="854" y="253"/>
                </a:cubicBezTo>
                <a:cubicBezTo>
                  <a:pt x="855" y="251"/>
                  <a:pt x="855" y="251"/>
                  <a:pt x="855" y="251"/>
                </a:cubicBezTo>
                <a:cubicBezTo>
                  <a:pt x="855" y="250"/>
                  <a:pt x="855" y="250"/>
                  <a:pt x="855" y="250"/>
                </a:cubicBezTo>
                <a:cubicBezTo>
                  <a:pt x="855" y="249"/>
                  <a:pt x="855" y="249"/>
                  <a:pt x="855" y="249"/>
                </a:cubicBezTo>
                <a:cubicBezTo>
                  <a:pt x="856" y="248"/>
                  <a:pt x="856" y="248"/>
                  <a:pt x="856" y="248"/>
                </a:cubicBezTo>
                <a:cubicBezTo>
                  <a:pt x="856" y="249"/>
                  <a:pt x="856" y="249"/>
                  <a:pt x="856" y="249"/>
                </a:cubicBezTo>
                <a:cubicBezTo>
                  <a:pt x="858" y="249"/>
                  <a:pt x="858" y="249"/>
                  <a:pt x="858" y="249"/>
                </a:cubicBezTo>
                <a:cubicBezTo>
                  <a:pt x="859" y="250"/>
                  <a:pt x="859" y="250"/>
                  <a:pt x="859" y="250"/>
                </a:cubicBezTo>
                <a:cubicBezTo>
                  <a:pt x="860" y="249"/>
                  <a:pt x="860" y="249"/>
                  <a:pt x="860" y="249"/>
                </a:cubicBezTo>
                <a:cubicBezTo>
                  <a:pt x="860" y="248"/>
                  <a:pt x="860" y="248"/>
                  <a:pt x="860" y="248"/>
                </a:cubicBezTo>
                <a:cubicBezTo>
                  <a:pt x="861" y="247"/>
                  <a:pt x="861" y="247"/>
                  <a:pt x="861" y="247"/>
                </a:cubicBezTo>
                <a:cubicBezTo>
                  <a:pt x="862" y="246"/>
                  <a:pt x="862" y="246"/>
                  <a:pt x="862" y="246"/>
                </a:cubicBezTo>
                <a:cubicBezTo>
                  <a:pt x="864" y="246"/>
                  <a:pt x="864" y="246"/>
                  <a:pt x="864" y="246"/>
                </a:cubicBezTo>
                <a:cubicBezTo>
                  <a:pt x="865" y="245"/>
                  <a:pt x="865" y="245"/>
                  <a:pt x="865" y="245"/>
                </a:cubicBezTo>
                <a:cubicBezTo>
                  <a:pt x="864" y="245"/>
                  <a:pt x="864" y="245"/>
                  <a:pt x="864" y="245"/>
                </a:cubicBezTo>
                <a:cubicBezTo>
                  <a:pt x="862" y="245"/>
                  <a:pt x="862" y="245"/>
                  <a:pt x="862" y="245"/>
                </a:cubicBezTo>
                <a:cubicBezTo>
                  <a:pt x="862" y="246"/>
                  <a:pt x="862" y="246"/>
                  <a:pt x="862" y="246"/>
                </a:cubicBezTo>
                <a:cubicBezTo>
                  <a:pt x="861" y="246"/>
                  <a:pt x="861" y="246"/>
                  <a:pt x="861" y="246"/>
                </a:cubicBezTo>
                <a:cubicBezTo>
                  <a:pt x="860" y="246"/>
                  <a:pt x="860" y="246"/>
                  <a:pt x="860" y="246"/>
                </a:cubicBezTo>
                <a:cubicBezTo>
                  <a:pt x="861" y="245"/>
                  <a:pt x="861" y="245"/>
                  <a:pt x="861" y="245"/>
                </a:cubicBezTo>
                <a:cubicBezTo>
                  <a:pt x="862" y="244"/>
                  <a:pt x="862" y="244"/>
                  <a:pt x="862" y="244"/>
                </a:cubicBezTo>
                <a:cubicBezTo>
                  <a:pt x="861" y="244"/>
                  <a:pt x="861" y="244"/>
                  <a:pt x="861" y="244"/>
                </a:cubicBezTo>
                <a:cubicBezTo>
                  <a:pt x="861" y="243"/>
                  <a:pt x="861" y="243"/>
                  <a:pt x="861" y="243"/>
                </a:cubicBezTo>
                <a:cubicBezTo>
                  <a:pt x="862" y="241"/>
                  <a:pt x="862" y="241"/>
                  <a:pt x="862" y="241"/>
                </a:cubicBezTo>
                <a:cubicBezTo>
                  <a:pt x="862" y="240"/>
                  <a:pt x="862" y="240"/>
                  <a:pt x="862" y="240"/>
                </a:cubicBezTo>
                <a:cubicBezTo>
                  <a:pt x="861" y="239"/>
                  <a:pt x="861" y="239"/>
                  <a:pt x="861" y="239"/>
                </a:cubicBezTo>
                <a:cubicBezTo>
                  <a:pt x="862" y="239"/>
                  <a:pt x="862" y="239"/>
                  <a:pt x="862" y="239"/>
                </a:cubicBezTo>
                <a:cubicBezTo>
                  <a:pt x="863" y="237"/>
                  <a:pt x="863" y="237"/>
                  <a:pt x="863" y="237"/>
                </a:cubicBezTo>
                <a:cubicBezTo>
                  <a:pt x="863" y="236"/>
                  <a:pt x="863" y="236"/>
                  <a:pt x="863" y="236"/>
                </a:cubicBezTo>
                <a:cubicBezTo>
                  <a:pt x="865" y="235"/>
                  <a:pt x="865" y="235"/>
                  <a:pt x="865" y="235"/>
                </a:cubicBezTo>
                <a:cubicBezTo>
                  <a:pt x="866" y="234"/>
                  <a:pt x="866" y="234"/>
                  <a:pt x="866" y="234"/>
                </a:cubicBezTo>
                <a:cubicBezTo>
                  <a:pt x="866" y="235"/>
                  <a:pt x="866" y="235"/>
                  <a:pt x="866" y="235"/>
                </a:cubicBezTo>
                <a:cubicBezTo>
                  <a:pt x="867" y="235"/>
                  <a:pt x="867" y="235"/>
                  <a:pt x="867" y="235"/>
                </a:cubicBezTo>
                <a:cubicBezTo>
                  <a:pt x="867" y="236"/>
                  <a:pt x="867" y="236"/>
                  <a:pt x="867" y="236"/>
                </a:cubicBezTo>
                <a:cubicBezTo>
                  <a:pt x="868" y="235"/>
                  <a:pt x="868" y="235"/>
                  <a:pt x="868" y="235"/>
                </a:cubicBezTo>
                <a:cubicBezTo>
                  <a:pt x="869" y="234"/>
                  <a:pt x="869" y="234"/>
                  <a:pt x="869" y="234"/>
                </a:cubicBezTo>
                <a:cubicBezTo>
                  <a:pt x="872" y="233"/>
                  <a:pt x="872" y="233"/>
                  <a:pt x="872" y="233"/>
                </a:cubicBezTo>
                <a:cubicBezTo>
                  <a:pt x="873" y="232"/>
                  <a:pt x="873" y="232"/>
                  <a:pt x="873" y="232"/>
                </a:cubicBezTo>
                <a:cubicBezTo>
                  <a:pt x="872" y="232"/>
                  <a:pt x="872" y="232"/>
                  <a:pt x="872" y="232"/>
                </a:cubicBezTo>
                <a:cubicBezTo>
                  <a:pt x="873" y="231"/>
                  <a:pt x="873" y="231"/>
                  <a:pt x="873" y="231"/>
                </a:cubicBezTo>
                <a:cubicBezTo>
                  <a:pt x="874" y="230"/>
                  <a:pt x="874" y="230"/>
                  <a:pt x="874" y="230"/>
                </a:cubicBezTo>
                <a:cubicBezTo>
                  <a:pt x="876" y="230"/>
                  <a:pt x="876" y="230"/>
                  <a:pt x="876" y="230"/>
                </a:cubicBezTo>
                <a:cubicBezTo>
                  <a:pt x="877" y="229"/>
                  <a:pt x="877" y="229"/>
                  <a:pt x="877" y="229"/>
                </a:cubicBezTo>
                <a:cubicBezTo>
                  <a:pt x="877" y="228"/>
                  <a:pt x="877" y="228"/>
                  <a:pt x="877" y="228"/>
                </a:cubicBezTo>
                <a:cubicBezTo>
                  <a:pt x="877" y="226"/>
                  <a:pt x="877" y="226"/>
                  <a:pt x="877" y="226"/>
                </a:cubicBezTo>
                <a:cubicBezTo>
                  <a:pt x="878" y="225"/>
                  <a:pt x="878" y="225"/>
                  <a:pt x="878" y="225"/>
                </a:cubicBezTo>
                <a:cubicBezTo>
                  <a:pt x="878" y="224"/>
                  <a:pt x="878" y="224"/>
                  <a:pt x="878" y="224"/>
                </a:cubicBezTo>
                <a:cubicBezTo>
                  <a:pt x="878" y="223"/>
                  <a:pt x="878" y="223"/>
                  <a:pt x="878" y="223"/>
                </a:cubicBezTo>
                <a:cubicBezTo>
                  <a:pt x="877" y="224"/>
                  <a:pt x="877" y="224"/>
                  <a:pt x="877" y="224"/>
                </a:cubicBezTo>
                <a:cubicBezTo>
                  <a:pt x="876" y="224"/>
                  <a:pt x="876" y="224"/>
                  <a:pt x="876" y="224"/>
                </a:cubicBezTo>
                <a:cubicBezTo>
                  <a:pt x="876" y="225"/>
                  <a:pt x="876" y="225"/>
                  <a:pt x="876" y="225"/>
                </a:cubicBezTo>
                <a:cubicBezTo>
                  <a:pt x="875" y="226"/>
                  <a:pt x="875" y="226"/>
                  <a:pt x="875" y="226"/>
                </a:cubicBezTo>
                <a:cubicBezTo>
                  <a:pt x="874" y="225"/>
                  <a:pt x="874" y="225"/>
                  <a:pt x="874" y="225"/>
                </a:cubicBezTo>
                <a:cubicBezTo>
                  <a:pt x="873" y="225"/>
                  <a:pt x="873" y="225"/>
                  <a:pt x="873" y="225"/>
                </a:cubicBezTo>
                <a:cubicBezTo>
                  <a:pt x="874" y="223"/>
                  <a:pt x="874" y="223"/>
                  <a:pt x="874" y="223"/>
                </a:cubicBezTo>
                <a:cubicBezTo>
                  <a:pt x="875" y="223"/>
                  <a:pt x="875" y="223"/>
                  <a:pt x="875" y="223"/>
                </a:cubicBezTo>
                <a:cubicBezTo>
                  <a:pt x="875" y="222"/>
                  <a:pt x="875" y="222"/>
                  <a:pt x="875" y="222"/>
                </a:cubicBezTo>
                <a:cubicBezTo>
                  <a:pt x="877" y="222"/>
                  <a:pt x="877" y="222"/>
                  <a:pt x="877" y="222"/>
                </a:cubicBezTo>
                <a:cubicBezTo>
                  <a:pt x="877" y="221"/>
                  <a:pt x="877" y="221"/>
                  <a:pt x="877" y="221"/>
                </a:cubicBezTo>
                <a:cubicBezTo>
                  <a:pt x="876" y="220"/>
                  <a:pt x="876" y="220"/>
                  <a:pt x="876" y="220"/>
                </a:cubicBezTo>
                <a:cubicBezTo>
                  <a:pt x="877" y="219"/>
                  <a:pt x="877" y="219"/>
                  <a:pt x="877" y="219"/>
                </a:cubicBezTo>
                <a:cubicBezTo>
                  <a:pt x="879" y="218"/>
                  <a:pt x="879" y="218"/>
                  <a:pt x="879" y="218"/>
                </a:cubicBezTo>
                <a:cubicBezTo>
                  <a:pt x="880" y="219"/>
                  <a:pt x="880" y="219"/>
                  <a:pt x="880" y="219"/>
                </a:cubicBezTo>
                <a:cubicBezTo>
                  <a:pt x="879" y="220"/>
                  <a:pt x="879" y="220"/>
                  <a:pt x="879" y="220"/>
                </a:cubicBezTo>
                <a:cubicBezTo>
                  <a:pt x="879" y="221"/>
                  <a:pt x="879" y="221"/>
                  <a:pt x="879" y="221"/>
                </a:cubicBezTo>
                <a:cubicBezTo>
                  <a:pt x="881" y="220"/>
                  <a:pt x="881" y="220"/>
                  <a:pt x="881" y="220"/>
                </a:cubicBezTo>
                <a:cubicBezTo>
                  <a:pt x="882" y="218"/>
                  <a:pt x="882" y="218"/>
                  <a:pt x="882" y="218"/>
                </a:cubicBezTo>
                <a:cubicBezTo>
                  <a:pt x="882" y="217"/>
                  <a:pt x="882" y="217"/>
                  <a:pt x="882" y="217"/>
                </a:cubicBezTo>
                <a:cubicBezTo>
                  <a:pt x="880" y="217"/>
                  <a:pt x="880" y="217"/>
                  <a:pt x="880" y="217"/>
                </a:cubicBezTo>
                <a:cubicBezTo>
                  <a:pt x="879" y="217"/>
                  <a:pt x="879" y="217"/>
                  <a:pt x="879" y="217"/>
                </a:cubicBezTo>
                <a:cubicBezTo>
                  <a:pt x="879" y="216"/>
                  <a:pt x="879" y="216"/>
                  <a:pt x="879" y="216"/>
                </a:cubicBezTo>
                <a:cubicBezTo>
                  <a:pt x="877" y="216"/>
                  <a:pt x="877" y="216"/>
                  <a:pt x="877" y="216"/>
                </a:cubicBezTo>
                <a:cubicBezTo>
                  <a:pt x="876" y="214"/>
                  <a:pt x="876" y="214"/>
                  <a:pt x="876" y="214"/>
                </a:cubicBezTo>
                <a:cubicBezTo>
                  <a:pt x="875" y="214"/>
                  <a:pt x="875" y="214"/>
                  <a:pt x="875" y="214"/>
                </a:cubicBezTo>
                <a:cubicBezTo>
                  <a:pt x="874" y="213"/>
                  <a:pt x="874" y="213"/>
                  <a:pt x="874" y="213"/>
                </a:cubicBezTo>
                <a:cubicBezTo>
                  <a:pt x="873" y="212"/>
                  <a:pt x="873" y="212"/>
                  <a:pt x="873" y="212"/>
                </a:cubicBezTo>
                <a:cubicBezTo>
                  <a:pt x="873" y="211"/>
                  <a:pt x="873" y="211"/>
                  <a:pt x="873" y="211"/>
                </a:cubicBezTo>
                <a:cubicBezTo>
                  <a:pt x="872" y="211"/>
                  <a:pt x="872" y="211"/>
                  <a:pt x="872" y="211"/>
                </a:cubicBezTo>
                <a:cubicBezTo>
                  <a:pt x="871" y="211"/>
                  <a:pt x="871" y="211"/>
                  <a:pt x="871" y="211"/>
                </a:cubicBezTo>
                <a:cubicBezTo>
                  <a:pt x="871" y="210"/>
                  <a:pt x="871" y="210"/>
                  <a:pt x="871" y="210"/>
                </a:cubicBezTo>
                <a:cubicBezTo>
                  <a:pt x="871" y="209"/>
                  <a:pt x="871" y="209"/>
                  <a:pt x="871" y="209"/>
                </a:cubicBezTo>
                <a:cubicBezTo>
                  <a:pt x="871" y="208"/>
                  <a:pt x="871" y="208"/>
                  <a:pt x="871" y="208"/>
                </a:cubicBezTo>
                <a:cubicBezTo>
                  <a:pt x="871" y="207"/>
                  <a:pt x="871" y="207"/>
                  <a:pt x="871" y="207"/>
                </a:cubicBezTo>
                <a:cubicBezTo>
                  <a:pt x="871" y="206"/>
                  <a:pt x="871" y="206"/>
                  <a:pt x="871" y="206"/>
                </a:cubicBezTo>
                <a:cubicBezTo>
                  <a:pt x="871" y="203"/>
                  <a:pt x="871" y="203"/>
                  <a:pt x="871" y="203"/>
                </a:cubicBezTo>
                <a:cubicBezTo>
                  <a:pt x="872" y="202"/>
                  <a:pt x="872" y="202"/>
                  <a:pt x="872" y="202"/>
                </a:cubicBezTo>
                <a:cubicBezTo>
                  <a:pt x="874" y="200"/>
                  <a:pt x="874" y="200"/>
                  <a:pt x="874" y="200"/>
                </a:cubicBezTo>
                <a:cubicBezTo>
                  <a:pt x="875" y="200"/>
                  <a:pt x="875" y="200"/>
                  <a:pt x="875" y="200"/>
                </a:cubicBezTo>
                <a:cubicBezTo>
                  <a:pt x="876" y="200"/>
                  <a:pt x="876" y="200"/>
                  <a:pt x="876" y="200"/>
                </a:cubicBezTo>
                <a:cubicBezTo>
                  <a:pt x="876" y="199"/>
                  <a:pt x="876" y="199"/>
                  <a:pt x="876" y="199"/>
                </a:cubicBezTo>
                <a:cubicBezTo>
                  <a:pt x="877" y="198"/>
                  <a:pt x="877" y="198"/>
                  <a:pt x="877" y="198"/>
                </a:cubicBezTo>
                <a:cubicBezTo>
                  <a:pt x="876" y="198"/>
                  <a:pt x="876" y="198"/>
                  <a:pt x="876" y="198"/>
                </a:cubicBezTo>
                <a:cubicBezTo>
                  <a:pt x="875" y="198"/>
                  <a:pt x="875" y="198"/>
                  <a:pt x="875" y="198"/>
                </a:cubicBezTo>
                <a:cubicBezTo>
                  <a:pt x="875" y="197"/>
                  <a:pt x="875" y="197"/>
                  <a:pt x="875" y="197"/>
                </a:cubicBezTo>
                <a:cubicBezTo>
                  <a:pt x="875" y="196"/>
                  <a:pt x="875" y="196"/>
                  <a:pt x="875" y="196"/>
                </a:cubicBezTo>
                <a:cubicBezTo>
                  <a:pt x="875" y="194"/>
                  <a:pt x="875" y="194"/>
                  <a:pt x="875" y="194"/>
                </a:cubicBezTo>
                <a:cubicBezTo>
                  <a:pt x="876" y="193"/>
                  <a:pt x="876" y="193"/>
                  <a:pt x="876" y="193"/>
                </a:cubicBezTo>
                <a:cubicBezTo>
                  <a:pt x="877" y="191"/>
                  <a:pt x="877" y="191"/>
                  <a:pt x="877" y="191"/>
                </a:cubicBezTo>
                <a:cubicBezTo>
                  <a:pt x="878" y="190"/>
                  <a:pt x="878" y="190"/>
                  <a:pt x="878" y="190"/>
                </a:cubicBezTo>
                <a:cubicBezTo>
                  <a:pt x="879" y="189"/>
                  <a:pt x="879" y="189"/>
                  <a:pt x="879" y="189"/>
                </a:cubicBezTo>
                <a:cubicBezTo>
                  <a:pt x="880" y="189"/>
                  <a:pt x="880" y="189"/>
                  <a:pt x="880" y="189"/>
                </a:cubicBezTo>
                <a:cubicBezTo>
                  <a:pt x="881" y="187"/>
                  <a:pt x="881" y="187"/>
                  <a:pt x="881" y="187"/>
                </a:cubicBezTo>
                <a:cubicBezTo>
                  <a:pt x="882" y="186"/>
                  <a:pt x="882" y="186"/>
                  <a:pt x="882" y="186"/>
                </a:cubicBezTo>
                <a:cubicBezTo>
                  <a:pt x="883" y="187"/>
                  <a:pt x="883" y="187"/>
                  <a:pt x="883" y="187"/>
                </a:cubicBezTo>
                <a:cubicBezTo>
                  <a:pt x="883" y="189"/>
                  <a:pt x="883" y="189"/>
                  <a:pt x="883" y="189"/>
                </a:cubicBezTo>
                <a:cubicBezTo>
                  <a:pt x="883" y="190"/>
                  <a:pt x="883" y="190"/>
                  <a:pt x="883" y="190"/>
                </a:cubicBezTo>
                <a:cubicBezTo>
                  <a:pt x="884" y="189"/>
                  <a:pt x="884" y="189"/>
                  <a:pt x="884" y="189"/>
                </a:cubicBezTo>
                <a:cubicBezTo>
                  <a:pt x="886" y="186"/>
                  <a:pt x="886" y="186"/>
                  <a:pt x="886" y="186"/>
                </a:cubicBezTo>
                <a:cubicBezTo>
                  <a:pt x="885" y="186"/>
                  <a:pt x="885" y="186"/>
                  <a:pt x="885" y="186"/>
                </a:cubicBezTo>
                <a:cubicBezTo>
                  <a:pt x="884" y="185"/>
                  <a:pt x="884" y="185"/>
                  <a:pt x="884" y="185"/>
                </a:cubicBezTo>
                <a:cubicBezTo>
                  <a:pt x="883" y="184"/>
                  <a:pt x="883" y="184"/>
                  <a:pt x="883" y="184"/>
                </a:cubicBezTo>
                <a:cubicBezTo>
                  <a:pt x="884" y="183"/>
                  <a:pt x="884" y="183"/>
                  <a:pt x="884" y="183"/>
                </a:cubicBezTo>
                <a:cubicBezTo>
                  <a:pt x="886" y="183"/>
                  <a:pt x="886" y="183"/>
                  <a:pt x="886" y="183"/>
                </a:cubicBezTo>
                <a:cubicBezTo>
                  <a:pt x="888" y="181"/>
                  <a:pt x="888" y="181"/>
                  <a:pt x="888" y="181"/>
                </a:cubicBezTo>
                <a:cubicBezTo>
                  <a:pt x="888" y="180"/>
                  <a:pt x="888" y="180"/>
                  <a:pt x="888" y="180"/>
                </a:cubicBezTo>
                <a:cubicBezTo>
                  <a:pt x="889" y="180"/>
                  <a:pt x="889" y="180"/>
                  <a:pt x="889" y="180"/>
                </a:cubicBezTo>
                <a:cubicBezTo>
                  <a:pt x="890" y="180"/>
                  <a:pt x="890" y="180"/>
                  <a:pt x="890" y="180"/>
                </a:cubicBezTo>
                <a:cubicBezTo>
                  <a:pt x="892" y="181"/>
                  <a:pt x="892" y="181"/>
                  <a:pt x="892" y="181"/>
                </a:cubicBezTo>
                <a:cubicBezTo>
                  <a:pt x="892" y="182"/>
                  <a:pt x="892" y="182"/>
                  <a:pt x="892" y="182"/>
                </a:cubicBezTo>
                <a:cubicBezTo>
                  <a:pt x="892" y="183"/>
                  <a:pt x="892" y="183"/>
                  <a:pt x="892" y="183"/>
                </a:cubicBezTo>
                <a:cubicBezTo>
                  <a:pt x="893" y="183"/>
                  <a:pt x="893" y="183"/>
                  <a:pt x="893" y="183"/>
                </a:cubicBezTo>
                <a:cubicBezTo>
                  <a:pt x="894" y="184"/>
                  <a:pt x="894" y="184"/>
                  <a:pt x="894" y="184"/>
                </a:cubicBezTo>
                <a:cubicBezTo>
                  <a:pt x="895" y="184"/>
                  <a:pt x="895" y="184"/>
                  <a:pt x="895" y="184"/>
                </a:cubicBezTo>
                <a:cubicBezTo>
                  <a:pt x="894" y="186"/>
                  <a:pt x="894" y="186"/>
                  <a:pt x="894" y="186"/>
                </a:cubicBezTo>
                <a:cubicBezTo>
                  <a:pt x="894" y="187"/>
                  <a:pt x="894" y="187"/>
                  <a:pt x="894" y="187"/>
                </a:cubicBezTo>
                <a:cubicBezTo>
                  <a:pt x="894" y="188"/>
                  <a:pt x="894" y="188"/>
                  <a:pt x="894" y="188"/>
                </a:cubicBezTo>
                <a:cubicBezTo>
                  <a:pt x="895" y="189"/>
                  <a:pt x="895" y="189"/>
                  <a:pt x="895" y="189"/>
                </a:cubicBezTo>
                <a:cubicBezTo>
                  <a:pt x="895" y="190"/>
                  <a:pt x="895" y="190"/>
                  <a:pt x="895" y="190"/>
                </a:cubicBezTo>
                <a:cubicBezTo>
                  <a:pt x="895" y="192"/>
                  <a:pt x="895" y="192"/>
                  <a:pt x="895" y="192"/>
                </a:cubicBezTo>
                <a:cubicBezTo>
                  <a:pt x="896" y="193"/>
                  <a:pt x="896" y="193"/>
                  <a:pt x="896" y="193"/>
                </a:cubicBezTo>
                <a:cubicBezTo>
                  <a:pt x="895" y="195"/>
                  <a:pt x="895" y="195"/>
                  <a:pt x="895" y="195"/>
                </a:cubicBezTo>
                <a:cubicBezTo>
                  <a:pt x="894" y="197"/>
                  <a:pt x="894" y="197"/>
                  <a:pt x="894" y="197"/>
                </a:cubicBezTo>
                <a:cubicBezTo>
                  <a:pt x="894" y="199"/>
                  <a:pt x="894" y="199"/>
                  <a:pt x="894" y="199"/>
                </a:cubicBezTo>
                <a:cubicBezTo>
                  <a:pt x="893" y="199"/>
                  <a:pt x="893" y="199"/>
                  <a:pt x="893" y="199"/>
                </a:cubicBezTo>
                <a:cubicBezTo>
                  <a:pt x="894" y="200"/>
                  <a:pt x="894" y="200"/>
                  <a:pt x="894" y="200"/>
                </a:cubicBezTo>
                <a:cubicBezTo>
                  <a:pt x="893" y="201"/>
                  <a:pt x="893" y="201"/>
                  <a:pt x="893" y="201"/>
                </a:cubicBezTo>
                <a:cubicBezTo>
                  <a:pt x="895" y="203"/>
                  <a:pt x="895" y="203"/>
                  <a:pt x="895" y="203"/>
                </a:cubicBezTo>
                <a:cubicBezTo>
                  <a:pt x="895" y="204"/>
                  <a:pt x="895" y="204"/>
                  <a:pt x="895" y="204"/>
                </a:cubicBezTo>
                <a:cubicBezTo>
                  <a:pt x="894" y="204"/>
                  <a:pt x="894" y="204"/>
                  <a:pt x="894" y="204"/>
                </a:cubicBezTo>
                <a:cubicBezTo>
                  <a:pt x="895" y="205"/>
                  <a:pt x="895" y="205"/>
                  <a:pt x="895" y="205"/>
                </a:cubicBezTo>
                <a:cubicBezTo>
                  <a:pt x="894" y="206"/>
                  <a:pt x="894" y="206"/>
                  <a:pt x="894" y="206"/>
                </a:cubicBezTo>
                <a:cubicBezTo>
                  <a:pt x="894" y="207"/>
                  <a:pt x="894" y="207"/>
                  <a:pt x="894" y="207"/>
                </a:cubicBezTo>
                <a:cubicBezTo>
                  <a:pt x="895" y="208"/>
                  <a:pt x="895" y="208"/>
                  <a:pt x="895" y="208"/>
                </a:cubicBezTo>
                <a:cubicBezTo>
                  <a:pt x="896" y="209"/>
                  <a:pt x="896" y="209"/>
                  <a:pt x="896" y="209"/>
                </a:cubicBezTo>
                <a:cubicBezTo>
                  <a:pt x="896" y="210"/>
                  <a:pt x="896" y="210"/>
                  <a:pt x="896" y="210"/>
                </a:cubicBezTo>
                <a:cubicBezTo>
                  <a:pt x="895" y="211"/>
                  <a:pt x="895" y="211"/>
                  <a:pt x="895" y="211"/>
                </a:cubicBezTo>
                <a:cubicBezTo>
                  <a:pt x="894" y="210"/>
                  <a:pt x="894" y="210"/>
                  <a:pt x="894" y="210"/>
                </a:cubicBezTo>
                <a:cubicBezTo>
                  <a:pt x="893" y="210"/>
                  <a:pt x="893" y="210"/>
                  <a:pt x="893" y="210"/>
                </a:cubicBezTo>
                <a:cubicBezTo>
                  <a:pt x="892" y="209"/>
                  <a:pt x="892" y="209"/>
                  <a:pt x="892" y="209"/>
                </a:cubicBezTo>
                <a:cubicBezTo>
                  <a:pt x="893" y="208"/>
                  <a:pt x="893" y="208"/>
                  <a:pt x="893" y="208"/>
                </a:cubicBezTo>
                <a:cubicBezTo>
                  <a:pt x="891" y="208"/>
                  <a:pt x="891" y="208"/>
                  <a:pt x="891" y="208"/>
                </a:cubicBezTo>
                <a:cubicBezTo>
                  <a:pt x="891" y="210"/>
                  <a:pt x="891" y="210"/>
                  <a:pt x="891" y="210"/>
                </a:cubicBezTo>
                <a:cubicBezTo>
                  <a:pt x="890" y="210"/>
                  <a:pt x="890" y="210"/>
                  <a:pt x="890" y="210"/>
                </a:cubicBezTo>
                <a:cubicBezTo>
                  <a:pt x="890" y="211"/>
                  <a:pt x="890" y="211"/>
                  <a:pt x="890" y="211"/>
                </a:cubicBezTo>
                <a:cubicBezTo>
                  <a:pt x="891" y="210"/>
                  <a:pt x="891" y="210"/>
                  <a:pt x="891" y="210"/>
                </a:cubicBezTo>
                <a:cubicBezTo>
                  <a:pt x="892" y="211"/>
                  <a:pt x="892" y="211"/>
                  <a:pt x="892" y="211"/>
                </a:cubicBezTo>
                <a:cubicBezTo>
                  <a:pt x="892" y="212"/>
                  <a:pt x="892" y="212"/>
                  <a:pt x="892" y="212"/>
                </a:cubicBezTo>
                <a:cubicBezTo>
                  <a:pt x="889" y="214"/>
                  <a:pt x="889" y="214"/>
                  <a:pt x="889" y="214"/>
                </a:cubicBezTo>
                <a:cubicBezTo>
                  <a:pt x="888" y="214"/>
                  <a:pt x="888" y="214"/>
                  <a:pt x="888" y="214"/>
                </a:cubicBezTo>
                <a:cubicBezTo>
                  <a:pt x="887" y="215"/>
                  <a:pt x="887" y="215"/>
                  <a:pt x="887" y="215"/>
                </a:cubicBezTo>
                <a:cubicBezTo>
                  <a:pt x="886" y="217"/>
                  <a:pt x="886" y="217"/>
                  <a:pt x="886" y="217"/>
                </a:cubicBezTo>
                <a:cubicBezTo>
                  <a:pt x="887" y="217"/>
                  <a:pt x="887" y="217"/>
                  <a:pt x="887" y="217"/>
                </a:cubicBezTo>
                <a:cubicBezTo>
                  <a:pt x="888" y="217"/>
                  <a:pt x="888" y="217"/>
                  <a:pt x="888" y="217"/>
                </a:cubicBezTo>
                <a:cubicBezTo>
                  <a:pt x="889" y="217"/>
                  <a:pt x="889" y="217"/>
                  <a:pt x="889" y="217"/>
                </a:cubicBezTo>
                <a:cubicBezTo>
                  <a:pt x="889" y="218"/>
                  <a:pt x="889" y="218"/>
                  <a:pt x="889" y="218"/>
                </a:cubicBezTo>
                <a:cubicBezTo>
                  <a:pt x="890" y="219"/>
                  <a:pt x="890" y="219"/>
                  <a:pt x="890" y="219"/>
                </a:cubicBezTo>
                <a:cubicBezTo>
                  <a:pt x="892" y="219"/>
                  <a:pt x="892" y="219"/>
                  <a:pt x="892" y="219"/>
                </a:cubicBezTo>
                <a:cubicBezTo>
                  <a:pt x="892" y="218"/>
                  <a:pt x="892" y="218"/>
                  <a:pt x="892" y="218"/>
                </a:cubicBezTo>
                <a:cubicBezTo>
                  <a:pt x="893" y="218"/>
                  <a:pt x="893" y="218"/>
                  <a:pt x="893" y="218"/>
                </a:cubicBezTo>
                <a:cubicBezTo>
                  <a:pt x="893" y="219"/>
                  <a:pt x="893" y="219"/>
                  <a:pt x="893" y="219"/>
                </a:cubicBezTo>
                <a:cubicBezTo>
                  <a:pt x="894" y="220"/>
                  <a:pt x="894" y="220"/>
                  <a:pt x="894" y="220"/>
                </a:cubicBezTo>
                <a:cubicBezTo>
                  <a:pt x="895" y="220"/>
                  <a:pt x="895" y="220"/>
                  <a:pt x="895" y="220"/>
                </a:cubicBezTo>
                <a:cubicBezTo>
                  <a:pt x="896" y="220"/>
                  <a:pt x="896" y="220"/>
                  <a:pt x="896" y="220"/>
                </a:cubicBezTo>
                <a:cubicBezTo>
                  <a:pt x="897" y="220"/>
                  <a:pt x="897" y="220"/>
                  <a:pt x="897" y="220"/>
                </a:cubicBezTo>
                <a:cubicBezTo>
                  <a:pt x="896" y="221"/>
                  <a:pt x="896" y="221"/>
                  <a:pt x="896" y="221"/>
                </a:cubicBezTo>
                <a:cubicBezTo>
                  <a:pt x="895" y="221"/>
                  <a:pt x="895" y="221"/>
                  <a:pt x="895" y="221"/>
                </a:cubicBezTo>
                <a:cubicBezTo>
                  <a:pt x="893" y="222"/>
                  <a:pt x="893" y="222"/>
                  <a:pt x="893" y="222"/>
                </a:cubicBezTo>
                <a:cubicBezTo>
                  <a:pt x="893" y="221"/>
                  <a:pt x="893" y="221"/>
                  <a:pt x="893" y="221"/>
                </a:cubicBezTo>
                <a:cubicBezTo>
                  <a:pt x="892" y="221"/>
                  <a:pt x="892" y="221"/>
                  <a:pt x="892" y="221"/>
                </a:cubicBezTo>
                <a:cubicBezTo>
                  <a:pt x="892" y="222"/>
                  <a:pt x="892" y="222"/>
                  <a:pt x="892" y="222"/>
                </a:cubicBezTo>
                <a:cubicBezTo>
                  <a:pt x="892" y="223"/>
                  <a:pt x="892" y="223"/>
                  <a:pt x="892" y="223"/>
                </a:cubicBezTo>
                <a:cubicBezTo>
                  <a:pt x="892" y="224"/>
                  <a:pt x="892" y="224"/>
                  <a:pt x="892" y="224"/>
                </a:cubicBezTo>
                <a:cubicBezTo>
                  <a:pt x="893" y="226"/>
                  <a:pt x="893" y="226"/>
                  <a:pt x="893" y="226"/>
                </a:cubicBezTo>
                <a:cubicBezTo>
                  <a:pt x="893" y="227"/>
                  <a:pt x="893" y="227"/>
                  <a:pt x="893" y="227"/>
                </a:cubicBezTo>
                <a:cubicBezTo>
                  <a:pt x="894" y="227"/>
                  <a:pt x="894" y="227"/>
                  <a:pt x="894" y="227"/>
                </a:cubicBezTo>
                <a:cubicBezTo>
                  <a:pt x="893" y="229"/>
                  <a:pt x="893" y="229"/>
                  <a:pt x="893" y="229"/>
                </a:cubicBezTo>
                <a:cubicBezTo>
                  <a:pt x="892" y="230"/>
                  <a:pt x="892" y="230"/>
                  <a:pt x="892" y="230"/>
                </a:cubicBezTo>
                <a:cubicBezTo>
                  <a:pt x="892" y="232"/>
                  <a:pt x="892" y="232"/>
                  <a:pt x="892" y="232"/>
                </a:cubicBezTo>
                <a:cubicBezTo>
                  <a:pt x="891" y="233"/>
                  <a:pt x="891" y="233"/>
                  <a:pt x="891" y="233"/>
                </a:cubicBezTo>
                <a:cubicBezTo>
                  <a:pt x="891" y="234"/>
                  <a:pt x="891" y="234"/>
                  <a:pt x="891" y="234"/>
                </a:cubicBezTo>
                <a:cubicBezTo>
                  <a:pt x="891" y="235"/>
                  <a:pt x="891" y="235"/>
                  <a:pt x="891" y="235"/>
                </a:cubicBezTo>
                <a:cubicBezTo>
                  <a:pt x="891" y="236"/>
                  <a:pt x="891" y="236"/>
                  <a:pt x="891" y="236"/>
                </a:cubicBezTo>
                <a:cubicBezTo>
                  <a:pt x="892" y="236"/>
                  <a:pt x="892" y="236"/>
                  <a:pt x="892" y="236"/>
                </a:cubicBezTo>
                <a:cubicBezTo>
                  <a:pt x="893" y="235"/>
                  <a:pt x="893" y="235"/>
                  <a:pt x="893" y="235"/>
                </a:cubicBezTo>
                <a:cubicBezTo>
                  <a:pt x="893" y="234"/>
                  <a:pt x="893" y="234"/>
                  <a:pt x="893" y="234"/>
                </a:cubicBezTo>
                <a:cubicBezTo>
                  <a:pt x="895" y="234"/>
                  <a:pt x="895" y="234"/>
                  <a:pt x="895" y="234"/>
                </a:cubicBezTo>
                <a:cubicBezTo>
                  <a:pt x="895" y="233"/>
                  <a:pt x="895" y="233"/>
                  <a:pt x="895" y="233"/>
                </a:cubicBezTo>
                <a:cubicBezTo>
                  <a:pt x="895" y="232"/>
                  <a:pt x="895" y="232"/>
                  <a:pt x="895" y="232"/>
                </a:cubicBezTo>
                <a:cubicBezTo>
                  <a:pt x="896" y="232"/>
                  <a:pt x="896" y="232"/>
                  <a:pt x="896" y="232"/>
                </a:cubicBezTo>
                <a:cubicBezTo>
                  <a:pt x="897" y="232"/>
                  <a:pt x="897" y="232"/>
                  <a:pt x="897" y="232"/>
                </a:cubicBezTo>
                <a:cubicBezTo>
                  <a:pt x="897" y="230"/>
                  <a:pt x="897" y="230"/>
                  <a:pt x="897" y="230"/>
                </a:cubicBezTo>
                <a:cubicBezTo>
                  <a:pt x="897" y="228"/>
                  <a:pt x="897" y="228"/>
                  <a:pt x="897" y="228"/>
                </a:cubicBezTo>
                <a:cubicBezTo>
                  <a:pt x="899" y="227"/>
                  <a:pt x="899" y="227"/>
                  <a:pt x="899" y="227"/>
                </a:cubicBezTo>
                <a:cubicBezTo>
                  <a:pt x="900" y="225"/>
                  <a:pt x="900" y="225"/>
                  <a:pt x="900" y="225"/>
                </a:cubicBezTo>
                <a:cubicBezTo>
                  <a:pt x="900" y="224"/>
                  <a:pt x="900" y="224"/>
                  <a:pt x="900" y="224"/>
                </a:cubicBezTo>
                <a:cubicBezTo>
                  <a:pt x="901" y="223"/>
                  <a:pt x="901" y="223"/>
                  <a:pt x="901" y="223"/>
                </a:cubicBezTo>
                <a:cubicBezTo>
                  <a:pt x="902" y="224"/>
                  <a:pt x="902" y="224"/>
                  <a:pt x="902" y="224"/>
                </a:cubicBezTo>
                <a:cubicBezTo>
                  <a:pt x="902" y="225"/>
                  <a:pt x="902" y="225"/>
                  <a:pt x="902" y="225"/>
                </a:cubicBezTo>
                <a:cubicBezTo>
                  <a:pt x="903" y="227"/>
                  <a:pt x="903" y="227"/>
                  <a:pt x="903" y="227"/>
                </a:cubicBezTo>
                <a:cubicBezTo>
                  <a:pt x="903" y="229"/>
                  <a:pt x="903" y="229"/>
                  <a:pt x="903" y="229"/>
                </a:cubicBezTo>
                <a:cubicBezTo>
                  <a:pt x="904" y="230"/>
                  <a:pt x="904" y="230"/>
                  <a:pt x="904" y="230"/>
                </a:cubicBezTo>
                <a:cubicBezTo>
                  <a:pt x="904" y="232"/>
                  <a:pt x="904" y="232"/>
                  <a:pt x="904" y="232"/>
                </a:cubicBezTo>
                <a:cubicBezTo>
                  <a:pt x="904" y="233"/>
                  <a:pt x="904" y="233"/>
                  <a:pt x="904" y="233"/>
                </a:cubicBezTo>
                <a:cubicBezTo>
                  <a:pt x="904" y="235"/>
                  <a:pt x="904" y="235"/>
                  <a:pt x="904" y="235"/>
                </a:cubicBezTo>
                <a:cubicBezTo>
                  <a:pt x="903" y="237"/>
                  <a:pt x="903" y="237"/>
                  <a:pt x="903" y="237"/>
                </a:cubicBezTo>
                <a:cubicBezTo>
                  <a:pt x="902" y="237"/>
                  <a:pt x="902" y="237"/>
                  <a:pt x="902" y="237"/>
                </a:cubicBezTo>
                <a:cubicBezTo>
                  <a:pt x="902" y="236"/>
                  <a:pt x="902" y="236"/>
                  <a:pt x="902" y="236"/>
                </a:cubicBezTo>
                <a:cubicBezTo>
                  <a:pt x="901" y="237"/>
                  <a:pt x="901" y="237"/>
                  <a:pt x="901" y="237"/>
                </a:cubicBezTo>
                <a:cubicBezTo>
                  <a:pt x="900" y="238"/>
                  <a:pt x="900" y="238"/>
                  <a:pt x="900" y="238"/>
                </a:cubicBezTo>
                <a:cubicBezTo>
                  <a:pt x="901" y="239"/>
                  <a:pt x="901" y="239"/>
                  <a:pt x="901" y="239"/>
                </a:cubicBezTo>
                <a:cubicBezTo>
                  <a:pt x="900" y="241"/>
                  <a:pt x="900" y="241"/>
                  <a:pt x="900" y="241"/>
                </a:cubicBezTo>
                <a:cubicBezTo>
                  <a:pt x="899" y="242"/>
                  <a:pt x="899" y="242"/>
                  <a:pt x="899" y="242"/>
                </a:cubicBezTo>
                <a:cubicBezTo>
                  <a:pt x="900" y="243"/>
                  <a:pt x="900" y="243"/>
                  <a:pt x="900" y="243"/>
                </a:cubicBezTo>
                <a:cubicBezTo>
                  <a:pt x="900" y="245"/>
                  <a:pt x="900" y="245"/>
                  <a:pt x="900" y="245"/>
                </a:cubicBezTo>
                <a:cubicBezTo>
                  <a:pt x="901" y="249"/>
                  <a:pt x="901" y="249"/>
                  <a:pt x="901" y="249"/>
                </a:cubicBezTo>
                <a:cubicBezTo>
                  <a:pt x="902" y="251"/>
                  <a:pt x="902" y="251"/>
                  <a:pt x="902" y="251"/>
                </a:cubicBezTo>
                <a:cubicBezTo>
                  <a:pt x="901" y="252"/>
                  <a:pt x="901" y="252"/>
                  <a:pt x="901" y="252"/>
                </a:cubicBezTo>
                <a:cubicBezTo>
                  <a:pt x="902" y="253"/>
                  <a:pt x="902" y="253"/>
                  <a:pt x="902" y="253"/>
                </a:cubicBezTo>
                <a:cubicBezTo>
                  <a:pt x="903" y="253"/>
                  <a:pt x="903" y="253"/>
                  <a:pt x="903" y="253"/>
                </a:cubicBezTo>
                <a:cubicBezTo>
                  <a:pt x="903" y="252"/>
                  <a:pt x="903" y="252"/>
                  <a:pt x="903" y="252"/>
                </a:cubicBezTo>
                <a:cubicBezTo>
                  <a:pt x="902" y="251"/>
                  <a:pt x="902" y="251"/>
                  <a:pt x="902" y="251"/>
                </a:cubicBezTo>
                <a:cubicBezTo>
                  <a:pt x="903" y="250"/>
                  <a:pt x="903" y="250"/>
                  <a:pt x="903" y="250"/>
                </a:cubicBezTo>
                <a:cubicBezTo>
                  <a:pt x="904" y="250"/>
                  <a:pt x="904" y="250"/>
                  <a:pt x="904" y="250"/>
                </a:cubicBezTo>
                <a:cubicBezTo>
                  <a:pt x="905" y="252"/>
                  <a:pt x="905" y="252"/>
                  <a:pt x="905" y="252"/>
                </a:cubicBezTo>
                <a:cubicBezTo>
                  <a:pt x="906" y="250"/>
                  <a:pt x="906" y="250"/>
                  <a:pt x="906" y="250"/>
                </a:cubicBezTo>
                <a:cubicBezTo>
                  <a:pt x="907" y="249"/>
                  <a:pt x="907" y="249"/>
                  <a:pt x="907" y="249"/>
                </a:cubicBezTo>
                <a:cubicBezTo>
                  <a:pt x="907" y="247"/>
                  <a:pt x="907" y="247"/>
                  <a:pt x="907" y="247"/>
                </a:cubicBezTo>
                <a:cubicBezTo>
                  <a:pt x="908" y="247"/>
                  <a:pt x="908" y="247"/>
                  <a:pt x="908" y="247"/>
                </a:cubicBezTo>
                <a:cubicBezTo>
                  <a:pt x="909" y="245"/>
                  <a:pt x="909" y="245"/>
                  <a:pt x="909" y="245"/>
                </a:cubicBezTo>
                <a:cubicBezTo>
                  <a:pt x="910" y="244"/>
                  <a:pt x="910" y="244"/>
                  <a:pt x="910" y="244"/>
                </a:cubicBezTo>
                <a:cubicBezTo>
                  <a:pt x="912" y="242"/>
                  <a:pt x="912" y="242"/>
                  <a:pt x="912" y="242"/>
                </a:cubicBezTo>
                <a:cubicBezTo>
                  <a:pt x="914" y="240"/>
                  <a:pt x="914" y="240"/>
                  <a:pt x="914" y="240"/>
                </a:cubicBezTo>
                <a:cubicBezTo>
                  <a:pt x="915" y="237"/>
                  <a:pt x="915" y="237"/>
                  <a:pt x="915" y="237"/>
                </a:cubicBezTo>
                <a:cubicBezTo>
                  <a:pt x="916" y="235"/>
                  <a:pt x="916" y="235"/>
                  <a:pt x="916" y="235"/>
                </a:cubicBezTo>
                <a:cubicBezTo>
                  <a:pt x="917" y="234"/>
                  <a:pt x="917" y="234"/>
                  <a:pt x="917" y="234"/>
                </a:cubicBezTo>
                <a:cubicBezTo>
                  <a:pt x="918" y="236"/>
                  <a:pt x="918" y="236"/>
                  <a:pt x="918" y="236"/>
                </a:cubicBezTo>
                <a:cubicBezTo>
                  <a:pt x="919" y="235"/>
                  <a:pt x="919" y="235"/>
                  <a:pt x="919" y="235"/>
                </a:cubicBezTo>
                <a:cubicBezTo>
                  <a:pt x="921" y="235"/>
                  <a:pt x="921" y="235"/>
                  <a:pt x="921" y="235"/>
                </a:cubicBezTo>
                <a:cubicBezTo>
                  <a:pt x="921" y="234"/>
                  <a:pt x="921" y="234"/>
                  <a:pt x="921" y="234"/>
                </a:cubicBezTo>
                <a:cubicBezTo>
                  <a:pt x="920" y="234"/>
                  <a:pt x="920" y="234"/>
                  <a:pt x="920" y="234"/>
                </a:cubicBezTo>
                <a:cubicBezTo>
                  <a:pt x="919" y="233"/>
                  <a:pt x="919" y="233"/>
                  <a:pt x="919" y="233"/>
                </a:cubicBezTo>
                <a:cubicBezTo>
                  <a:pt x="921" y="232"/>
                  <a:pt x="921" y="232"/>
                  <a:pt x="921" y="232"/>
                </a:cubicBezTo>
                <a:cubicBezTo>
                  <a:pt x="921" y="233"/>
                  <a:pt x="921" y="233"/>
                  <a:pt x="921" y="233"/>
                </a:cubicBezTo>
                <a:cubicBezTo>
                  <a:pt x="922" y="233"/>
                  <a:pt x="922" y="233"/>
                  <a:pt x="922" y="233"/>
                </a:cubicBezTo>
                <a:cubicBezTo>
                  <a:pt x="923" y="233"/>
                  <a:pt x="923" y="233"/>
                  <a:pt x="923" y="233"/>
                </a:cubicBezTo>
                <a:cubicBezTo>
                  <a:pt x="923" y="232"/>
                  <a:pt x="923" y="232"/>
                  <a:pt x="923" y="232"/>
                </a:cubicBezTo>
                <a:cubicBezTo>
                  <a:pt x="923" y="231"/>
                  <a:pt x="923" y="231"/>
                  <a:pt x="923" y="231"/>
                </a:cubicBezTo>
                <a:cubicBezTo>
                  <a:pt x="922" y="231"/>
                  <a:pt x="922" y="231"/>
                  <a:pt x="922" y="231"/>
                </a:cubicBezTo>
                <a:cubicBezTo>
                  <a:pt x="922" y="230"/>
                  <a:pt x="922" y="230"/>
                  <a:pt x="922" y="230"/>
                </a:cubicBezTo>
                <a:cubicBezTo>
                  <a:pt x="921" y="230"/>
                  <a:pt x="921" y="230"/>
                  <a:pt x="921" y="230"/>
                </a:cubicBezTo>
                <a:cubicBezTo>
                  <a:pt x="921" y="228"/>
                  <a:pt x="921" y="228"/>
                  <a:pt x="921" y="228"/>
                </a:cubicBezTo>
                <a:cubicBezTo>
                  <a:pt x="922" y="227"/>
                  <a:pt x="922" y="227"/>
                  <a:pt x="922" y="227"/>
                </a:cubicBezTo>
                <a:cubicBezTo>
                  <a:pt x="922" y="226"/>
                  <a:pt x="922" y="226"/>
                  <a:pt x="922" y="226"/>
                </a:cubicBezTo>
                <a:cubicBezTo>
                  <a:pt x="923" y="226"/>
                  <a:pt x="923" y="226"/>
                  <a:pt x="923" y="226"/>
                </a:cubicBezTo>
                <a:cubicBezTo>
                  <a:pt x="922" y="225"/>
                  <a:pt x="922" y="225"/>
                  <a:pt x="922" y="225"/>
                </a:cubicBezTo>
                <a:cubicBezTo>
                  <a:pt x="922" y="224"/>
                  <a:pt x="922" y="224"/>
                  <a:pt x="922" y="224"/>
                </a:cubicBezTo>
                <a:cubicBezTo>
                  <a:pt x="923" y="223"/>
                  <a:pt x="923" y="223"/>
                  <a:pt x="923" y="223"/>
                </a:cubicBezTo>
                <a:cubicBezTo>
                  <a:pt x="923" y="222"/>
                  <a:pt x="923" y="222"/>
                  <a:pt x="923" y="222"/>
                </a:cubicBezTo>
                <a:cubicBezTo>
                  <a:pt x="924" y="222"/>
                  <a:pt x="924" y="222"/>
                  <a:pt x="924" y="222"/>
                </a:cubicBezTo>
                <a:cubicBezTo>
                  <a:pt x="924" y="221"/>
                  <a:pt x="924" y="221"/>
                  <a:pt x="924" y="221"/>
                </a:cubicBezTo>
                <a:cubicBezTo>
                  <a:pt x="923" y="221"/>
                  <a:pt x="923" y="221"/>
                  <a:pt x="923" y="221"/>
                </a:cubicBezTo>
                <a:cubicBezTo>
                  <a:pt x="923" y="220"/>
                  <a:pt x="923" y="220"/>
                  <a:pt x="923" y="220"/>
                </a:cubicBezTo>
                <a:cubicBezTo>
                  <a:pt x="924" y="220"/>
                  <a:pt x="924" y="220"/>
                  <a:pt x="924" y="220"/>
                </a:cubicBezTo>
                <a:cubicBezTo>
                  <a:pt x="925" y="221"/>
                  <a:pt x="925" y="221"/>
                  <a:pt x="925" y="221"/>
                </a:cubicBezTo>
                <a:cubicBezTo>
                  <a:pt x="926" y="221"/>
                  <a:pt x="926" y="221"/>
                  <a:pt x="926" y="221"/>
                </a:cubicBezTo>
                <a:cubicBezTo>
                  <a:pt x="927" y="221"/>
                  <a:pt x="927" y="221"/>
                  <a:pt x="927" y="221"/>
                </a:cubicBezTo>
                <a:cubicBezTo>
                  <a:pt x="929" y="221"/>
                  <a:pt x="929" y="221"/>
                  <a:pt x="929" y="221"/>
                </a:cubicBezTo>
                <a:cubicBezTo>
                  <a:pt x="930" y="222"/>
                  <a:pt x="930" y="222"/>
                  <a:pt x="930" y="222"/>
                </a:cubicBezTo>
                <a:cubicBezTo>
                  <a:pt x="930" y="223"/>
                  <a:pt x="930" y="223"/>
                  <a:pt x="930" y="223"/>
                </a:cubicBezTo>
                <a:cubicBezTo>
                  <a:pt x="931" y="224"/>
                  <a:pt x="931" y="224"/>
                  <a:pt x="931" y="224"/>
                </a:cubicBezTo>
                <a:cubicBezTo>
                  <a:pt x="933" y="225"/>
                  <a:pt x="933" y="225"/>
                  <a:pt x="933" y="225"/>
                </a:cubicBezTo>
                <a:cubicBezTo>
                  <a:pt x="934" y="224"/>
                  <a:pt x="934" y="224"/>
                  <a:pt x="934" y="224"/>
                </a:cubicBezTo>
                <a:cubicBezTo>
                  <a:pt x="936" y="225"/>
                  <a:pt x="936" y="225"/>
                  <a:pt x="936" y="225"/>
                </a:cubicBezTo>
                <a:cubicBezTo>
                  <a:pt x="937" y="226"/>
                  <a:pt x="937" y="226"/>
                  <a:pt x="937" y="226"/>
                </a:cubicBezTo>
                <a:cubicBezTo>
                  <a:pt x="937" y="227"/>
                  <a:pt x="937" y="227"/>
                  <a:pt x="937" y="227"/>
                </a:cubicBezTo>
                <a:cubicBezTo>
                  <a:pt x="936" y="228"/>
                  <a:pt x="936" y="228"/>
                  <a:pt x="936" y="228"/>
                </a:cubicBezTo>
                <a:cubicBezTo>
                  <a:pt x="936" y="227"/>
                  <a:pt x="936" y="227"/>
                  <a:pt x="936" y="227"/>
                </a:cubicBezTo>
                <a:cubicBezTo>
                  <a:pt x="935" y="227"/>
                  <a:pt x="935" y="227"/>
                  <a:pt x="935" y="227"/>
                </a:cubicBezTo>
                <a:cubicBezTo>
                  <a:pt x="935" y="228"/>
                  <a:pt x="935" y="228"/>
                  <a:pt x="935" y="228"/>
                </a:cubicBezTo>
                <a:cubicBezTo>
                  <a:pt x="938" y="229"/>
                  <a:pt x="938" y="229"/>
                  <a:pt x="938" y="229"/>
                </a:cubicBezTo>
                <a:cubicBezTo>
                  <a:pt x="938" y="231"/>
                  <a:pt x="938" y="231"/>
                  <a:pt x="938" y="231"/>
                </a:cubicBezTo>
                <a:cubicBezTo>
                  <a:pt x="940" y="231"/>
                  <a:pt x="940" y="231"/>
                  <a:pt x="940" y="231"/>
                </a:cubicBezTo>
                <a:cubicBezTo>
                  <a:pt x="941" y="232"/>
                  <a:pt x="941" y="232"/>
                  <a:pt x="941" y="232"/>
                </a:cubicBezTo>
                <a:cubicBezTo>
                  <a:pt x="941" y="233"/>
                  <a:pt x="941" y="233"/>
                  <a:pt x="941" y="233"/>
                </a:cubicBezTo>
                <a:cubicBezTo>
                  <a:pt x="941" y="234"/>
                  <a:pt x="941" y="234"/>
                  <a:pt x="941" y="234"/>
                </a:cubicBezTo>
                <a:cubicBezTo>
                  <a:pt x="939" y="236"/>
                  <a:pt x="939" y="236"/>
                  <a:pt x="939" y="236"/>
                </a:cubicBezTo>
                <a:cubicBezTo>
                  <a:pt x="938" y="236"/>
                  <a:pt x="938" y="236"/>
                  <a:pt x="938" y="236"/>
                </a:cubicBezTo>
                <a:cubicBezTo>
                  <a:pt x="939" y="237"/>
                  <a:pt x="939" y="237"/>
                  <a:pt x="939" y="237"/>
                </a:cubicBezTo>
                <a:cubicBezTo>
                  <a:pt x="939" y="238"/>
                  <a:pt x="939" y="238"/>
                  <a:pt x="939" y="238"/>
                </a:cubicBezTo>
                <a:cubicBezTo>
                  <a:pt x="940" y="238"/>
                  <a:pt x="940" y="238"/>
                  <a:pt x="940" y="238"/>
                </a:cubicBezTo>
                <a:cubicBezTo>
                  <a:pt x="939" y="239"/>
                  <a:pt x="939" y="239"/>
                  <a:pt x="939" y="239"/>
                </a:cubicBezTo>
                <a:cubicBezTo>
                  <a:pt x="940" y="240"/>
                  <a:pt x="940" y="240"/>
                  <a:pt x="940" y="240"/>
                </a:cubicBezTo>
                <a:cubicBezTo>
                  <a:pt x="938" y="241"/>
                  <a:pt x="938" y="241"/>
                  <a:pt x="938" y="241"/>
                </a:cubicBezTo>
                <a:cubicBezTo>
                  <a:pt x="936" y="241"/>
                  <a:pt x="936" y="241"/>
                  <a:pt x="936" y="241"/>
                </a:cubicBezTo>
                <a:cubicBezTo>
                  <a:pt x="935" y="242"/>
                  <a:pt x="935" y="242"/>
                  <a:pt x="935" y="242"/>
                </a:cubicBezTo>
                <a:cubicBezTo>
                  <a:pt x="934" y="242"/>
                  <a:pt x="934" y="242"/>
                  <a:pt x="934" y="242"/>
                </a:cubicBezTo>
                <a:cubicBezTo>
                  <a:pt x="933" y="240"/>
                  <a:pt x="933" y="240"/>
                  <a:pt x="933" y="240"/>
                </a:cubicBezTo>
                <a:cubicBezTo>
                  <a:pt x="932" y="240"/>
                  <a:pt x="932" y="240"/>
                  <a:pt x="932" y="240"/>
                </a:cubicBezTo>
                <a:cubicBezTo>
                  <a:pt x="931" y="240"/>
                  <a:pt x="931" y="240"/>
                  <a:pt x="931" y="240"/>
                </a:cubicBezTo>
                <a:cubicBezTo>
                  <a:pt x="931" y="241"/>
                  <a:pt x="931" y="241"/>
                  <a:pt x="931" y="241"/>
                </a:cubicBezTo>
                <a:cubicBezTo>
                  <a:pt x="932" y="242"/>
                  <a:pt x="932" y="242"/>
                  <a:pt x="932" y="242"/>
                </a:cubicBezTo>
                <a:cubicBezTo>
                  <a:pt x="932" y="243"/>
                  <a:pt x="932" y="243"/>
                  <a:pt x="932" y="243"/>
                </a:cubicBezTo>
                <a:cubicBezTo>
                  <a:pt x="931" y="244"/>
                  <a:pt x="931" y="244"/>
                  <a:pt x="931" y="244"/>
                </a:cubicBezTo>
                <a:cubicBezTo>
                  <a:pt x="932" y="244"/>
                  <a:pt x="932" y="244"/>
                  <a:pt x="932" y="244"/>
                </a:cubicBezTo>
                <a:cubicBezTo>
                  <a:pt x="931" y="245"/>
                  <a:pt x="931" y="245"/>
                  <a:pt x="931" y="245"/>
                </a:cubicBezTo>
                <a:cubicBezTo>
                  <a:pt x="931" y="246"/>
                  <a:pt x="931" y="246"/>
                  <a:pt x="931" y="246"/>
                </a:cubicBezTo>
                <a:cubicBezTo>
                  <a:pt x="931" y="248"/>
                  <a:pt x="931" y="248"/>
                  <a:pt x="931" y="248"/>
                </a:cubicBezTo>
                <a:cubicBezTo>
                  <a:pt x="931" y="249"/>
                  <a:pt x="931" y="249"/>
                  <a:pt x="931" y="249"/>
                </a:cubicBezTo>
                <a:cubicBezTo>
                  <a:pt x="932" y="250"/>
                  <a:pt x="932" y="250"/>
                  <a:pt x="932" y="250"/>
                </a:cubicBezTo>
                <a:cubicBezTo>
                  <a:pt x="932" y="251"/>
                  <a:pt x="932" y="251"/>
                  <a:pt x="932" y="251"/>
                </a:cubicBezTo>
                <a:cubicBezTo>
                  <a:pt x="933" y="254"/>
                  <a:pt x="933" y="254"/>
                  <a:pt x="933" y="254"/>
                </a:cubicBezTo>
                <a:cubicBezTo>
                  <a:pt x="933" y="255"/>
                  <a:pt x="933" y="255"/>
                  <a:pt x="933" y="255"/>
                </a:cubicBezTo>
                <a:cubicBezTo>
                  <a:pt x="933" y="256"/>
                  <a:pt x="933" y="256"/>
                  <a:pt x="933" y="256"/>
                </a:cubicBezTo>
                <a:cubicBezTo>
                  <a:pt x="931" y="258"/>
                  <a:pt x="931" y="258"/>
                  <a:pt x="931" y="258"/>
                </a:cubicBezTo>
                <a:cubicBezTo>
                  <a:pt x="931" y="259"/>
                  <a:pt x="931" y="259"/>
                  <a:pt x="931" y="259"/>
                </a:cubicBezTo>
                <a:cubicBezTo>
                  <a:pt x="931" y="260"/>
                  <a:pt x="931" y="260"/>
                  <a:pt x="931" y="260"/>
                </a:cubicBezTo>
                <a:cubicBezTo>
                  <a:pt x="930" y="259"/>
                  <a:pt x="930" y="259"/>
                  <a:pt x="930" y="259"/>
                </a:cubicBezTo>
                <a:cubicBezTo>
                  <a:pt x="928" y="259"/>
                  <a:pt x="928" y="259"/>
                  <a:pt x="928" y="259"/>
                </a:cubicBezTo>
                <a:cubicBezTo>
                  <a:pt x="927" y="260"/>
                  <a:pt x="927" y="260"/>
                  <a:pt x="927" y="260"/>
                </a:cubicBezTo>
                <a:cubicBezTo>
                  <a:pt x="926" y="261"/>
                  <a:pt x="926" y="261"/>
                  <a:pt x="926" y="261"/>
                </a:cubicBezTo>
                <a:cubicBezTo>
                  <a:pt x="925" y="262"/>
                  <a:pt x="925" y="262"/>
                  <a:pt x="925" y="262"/>
                </a:cubicBezTo>
                <a:cubicBezTo>
                  <a:pt x="925" y="263"/>
                  <a:pt x="925" y="263"/>
                  <a:pt x="925" y="263"/>
                </a:cubicBezTo>
                <a:cubicBezTo>
                  <a:pt x="924" y="263"/>
                  <a:pt x="924" y="263"/>
                  <a:pt x="924" y="263"/>
                </a:cubicBezTo>
                <a:cubicBezTo>
                  <a:pt x="922" y="265"/>
                  <a:pt x="922" y="265"/>
                  <a:pt x="922" y="265"/>
                </a:cubicBezTo>
                <a:cubicBezTo>
                  <a:pt x="921" y="265"/>
                  <a:pt x="921" y="265"/>
                  <a:pt x="921" y="265"/>
                </a:cubicBezTo>
                <a:cubicBezTo>
                  <a:pt x="920" y="265"/>
                  <a:pt x="920" y="265"/>
                  <a:pt x="920" y="265"/>
                </a:cubicBezTo>
                <a:cubicBezTo>
                  <a:pt x="920" y="266"/>
                  <a:pt x="920" y="266"/>
                  <a:pt x="920" y="266"/>
                </a:cubicBezTo>
                <a:cubicBezTo>
                  <a:pt x="916" y="267"/>
                  <a:pt x="916" y="267"/>
                  <a:pt x="916" y="267"/>
                </a:cubicBezTo>
                <a:cubicBezTo>
                  <a:pt x="916" y="266"/>
                  <a:pt x="916" y="266"/>
                  <a:pt x="916" y="266"/>
                </a:cubicBezTo>
                <a:cubicBezTo>
                  <a:pt x="916" y="265"/>
                  <a:pt x="916" y="265"/>
                  <a:pt x="916" y="265"/>
                </a:cubicBezTo>
                <a:cubicBezTo>
                  <a:pt x="916" y="264"/>
                  <a:pt x="916" y="264"/>
                  <a:pt x="916" y="264"/>
                </a:cubicBezTo>
                <a:cubicBezTo>
                  <a:pt x="915" y="263"/>
                  <a:pt x="915" y="263"/>
                  <a:pt x="915" y="263"/>
                </a:cubicBezTo>
                <a:cubicBezTo>
                  <a:pt x="915" y="262"/>
                  <a:pt x="915" y="262"/>
                  <a:pt x="915" y="262"/>
                </a:cubicBezTo>
                <a:cubicBezTo>
                  <a:pt x="916" y="262"/>
                  <a:pt x="916" y="262"/>
                  <a:pt x="916" y="262"/>
                </a:cubicBezTo>
                <a:cubicBezTo>
                  <a:pt x="916" y="261"/>
                  <a:pt x="916" y="261"/>
                  <a:pt x="916" y="261"/>
                </a:cubicBezTo>
                <a:cubicBezTo>
                  <a:pt x="915" y="261"/>
                  <a:pt x="915" y="261"/>
                  <a:pt x="915" y="261"/>
                </a:cubicBezTo>
                <a:cubicBezTo>
                  <a:pt x="915" y="258"/>
                  <a:pt x="915" y="258"/>
                  <a:pt x="915" y="258"/>
                </a:cubicBezTo>
                <a:cubicBezTo>
                  <a:pt x="914" y="258"/>
                  <a:pt x="914" y="258"/>
                  <a:pt x="914" y="258"/>
                </a:cubicBezTo>
                <a:cubicBezTo>
                  <a:pt x="914" y="257"/>
                  <a:pt x="914" y="257"/>
                  <a:pt x="914" y="257"/>
                </a:cubicBezTo>
                <a:cubicBezTo>
                  <a:pt x="912" y="257"/>
                  <a:pt x="912" y="257"/>
                  <a:pt x="912" y="257"/>
                </a:cubicBezTo>
                <a:cubicBezTo>
                  <a:pt x="911" y="257"/>
                  <a:pt x="911" y="257"/>
                  <a:pt x="911" y="257"/>
                </a:cubicBezTo>
                <a:cubicBezTo>
                  <a:pt x="910" y="259"/>
                  <a:pt x="910" y="259"/>
                  <a:pt x="910" y="259"/>
                </a:cubicBezTo>
                <a:cubicBezTo>
                  <a:pt x="912" y="258"/>
                  <a:pt x="912" y="258"/>
                  <a:pt x="912" y="258"/>
                </a:cubicBezTo>
                <a:cubicBezTo>
                  <a:pt x="913" y="258"/>
                  <a:pt x="913" y="258"/>
                  <a:pt x="913" y="258"/>
                </a:cubicBezTo>
                <a:cubicBezTo>
                  <a:pt x="913" y="259"/>
                  <a:pt x="913" y="259"/>
                  <a:pt x="913" y="259"/>
                </a:cubicBezTo>
                <a:cubicBezTo>
                  <a:pt x="914" y="260"/>
                  <a:pt x="914" y="260"/>
                  <a:pt x="914" y="260"/>
                </a:cubicBezTo>
                <a:cubicBezTo>
                  <a:pt x="914" y="262"/>
                  <a:pt x="914" y="262"/>
                  <a:pt x="914" y="262"/>
                </a:cubicBezTo>
                <a:cubicBezTo>
                  <a:pt x="914" y="263"/>
                  <a:pt x="914" y="263"/>
                  <a:pt x="914" y="263"/>
                </a:cubicBezTo>
                <a:cubicBezTo>
                  <a:pt x="915" y="264"/>
                  <a:pt x="915" y="264"/>
                  <a:pt x="915" y="264"/>
                </a:cubicBezTo>
                <a:cubicBezTo>
                  <a:pt x="915" y="266"/>
                  <a:pt x="915" y="266"/>
                  <a:pt x="915" y="266"/>
                </a:cubicBezTo>
                <a:cubicBezTo>
                  <a:pt x="914" y="266"/>
                  <a:pt x="914" y="266"/>
                  <a:pt x="914" y="266"/>
                </a:cubicBezTo>
                <a:cubicBezTo>
                  <a:pt x="915" y="267"/>
                  <a:pt x="915" y="267"/>
                  <a:pt x="915" y="267"/>
                </a:cubicBezTo>
                <a:cubicBezTo>
                  <a:pt x="915" y="268"/>
                  <a:pt x="915" y="268"/>
                  <a:pt x="915" y="268"/>
                </a:cubicBezTo>
                <a:cubicBezTo>
                  <a:pt x="914" y="268"/>
                  <a:pt x="914" y="268"/>
                  <a:pt x="914" y="268"/>
                </a:cubicBezTo>
                <a:cubicBezTo>
                  <a:pt x="912" y="266"/>
                  <a:pt x="912" y="266"/>
                  <a:pt x="912" y="266"/>
                </a:cubicBezTo>
                <a:cubicBezTo>
                  <a:pt x="912" y="265"/>
                  <a:pt x="912" y="265"/>
                  <a:pt x="912" y="265"/>
                </a:cubicBezTo>
                <a:cubicBezTo>
                  <a:pt x="911" y="265"/>
                  <a:pt x="911" y="265"/>
                  <a:pt x="911" y="265"/>
                </a:cubicBezTo>
                <a:cubicBezTo>
                  <a:pt x="911" y="264"/>
                  <a:pt x="911" y="264"/>
                  <a:pt x="911" y="264"/>
                </a:cubicBezTo>
                <a:cubicBezTo>
                  <a:pt x="910" y="265"/>
                  <a:pt x="910" y="265"/>
                  <a:pt x="910" y="265"/>
                </a:cubicBezTo>
                <a:cubicBezTo>
                  <a:pt x="911" y="266"/>
                  <a:pt x="911" y="266"/>
                  <a:pt x="911" y="266"/>
                </a:cubicBezTo>
                <a:cubicBezTo>
                  <a:pt x="911" y="267"/>
                  <a:pt x="911" y="267"/>
                  <a:pt x="911" y="267"/>
                </a:cubicBezTo>
                <a:cubicBezTo>
                  <a:pt x="910" y="266"/>
                  <a:pt x="910" y="266"/>
                  <a:pt x="910" y="266"/>
                </a:cubicBezTo>
                <a:cubicBezTo>
                  <a:pt x="909" y="266"/>
                  <a:pt x="909" y="266"/>
                  <a:pt x="909" y="266"/>
                </a:cubicBezTo>
                <a:cubicBezTo>
                  <a:pt x="908" y="265"/>
                  <a:pt x="908" y="265"/>
                  <a:pt x="908" y="265"/>
                </a:cubicBezTo>
                <a:cubicBezTo>
                  <a:pt x="908" y="263"/>
                  <a:pt x="908" y="263"/>
                  <a:pt x="908" y="263"/>
                </a:cubicBezTo>
                <a:cubicBezTo>
                  <a:pt x="908" y="262"/>
                  <a:pt x="908" y="262"/>
                  <a:pt x="908" y="262"/>
                </a:cubicBezTo>
                <a:cubicBezTo>
                  <a:pt x="906" y="262"/>
                  <a:pt x="906" y="262"/>
                  <a:pt x="906" y="262"/>
                </a:cubicBezTo>
                <a:cubicBezTo>
                  <a:pt x="904" y="262"/>
                  <a:pt x="904" y="262"/>
                  <a:pt x="904" y="262"/>
                </a:cubicBezTo>
                <a:cubicBezTo>
                  <a:pt x="903" y="262"/>
                  <a:pt x="903" y="262"/>
                  <a:pt x="903" y="262"/>
                </a:cubicBezTo>
                <a:cubicBezTo>
                  <a:pt x="902" y="262"/>
                  <a:pt x="902" y="262"/>
                  <a:pt x="902" y="262"/>
                </a:cubicBezTo>
                <a:cubicBezTo>
                  <a:pt x="901" y="261"/>
                  <a:pt x="901" y="261"/>
                  <a:pt x="901" y="261"/>
                </a:cubicBezTo>
                <a:cubicBezTo>
                  <a:pt x="901" y="262"/>
                  <a:pt x="901" y="262"/>
                  <a:pt x="901" y="262"/>
                </a:cubicBezTo>
                <a:cubicBezTo>
                  <a:pt x="901" y="263"/>
                  <a:pt x="901" y="263"/>
                  <a:pt x="901" y="263"/>
                </a:cubicBezTo>
                <a:cubicBezTo>
                  <a:pt x="901" y="264"/>
                  <a:pt x="901" y="264"/>
                  <a:pt x="901" y="264"/>
                </a:cubicBezTo>
                <a:cubicBezTo>
                  <a:pt x="901" y="265"/>
                  <a:pt x="901" y="265"/>
                  <a:pt x="901" y="265"/>
                </a:cubicBezTo>
                <a:cubicBezTo>
                  <a:pt x="903" y="266"/>
                  <a:pt x="903" y="266"/>
                  <a:pt x="903" y="266"/>
                </a:cubicBezTo>
                <a:cubicBezTo>
                  <a:pt x="903" y="267"/>
                  <a:pt x="903" y="267"/>
                  <a:pt x="903" y="267"/>
                </a:cubicBezTo>
                <a:cubicBezTo>
                  <a:pt x="902" y="268"/>
                  <a:pt x="902" y="268"/>
                  <a:pt x="902" y="268"/>
                </a:cubicBezTo>
                <a:cubicBezTo>
                  <a:pt x="902" y="269"/>
                  <a:pt x="902" y="269"/>
                  <a:pt x="902" y="269"/>
                </a:cubicBezTo>
                <a:cubicBezTo>
                  <a:pt x="899" y="271"/>
                  <a:pt x="899" y="271"/>
                  <a:pt x="899" y="271"/>
                </a:cubicBezTo>
                <a:cubicBezTo>
                  <a:pt x="897" y="272"/>
                  <a:pt x="897" y="272"/>
                  <a:pt x="897" y="272"/>
                </a:cubicBezTo>
                <a:cubicBezTo>
                  <a:pt x="896" y="274"/>
                  <a:pt x="896" y="274"/>
                  <a:pt x="896" y="274"/>
                </a:cubicBezTo>
                <a:cubicBezTo>
                  <a:pt x="895" y="274"/>
                  <a:pt x="895" y="274"/>
                  <a:pt x="895" y="274"/>
                </a:cubicBezTo>
                <a:cubicBezTo>
                  <a:pt x="894" y="274"/>
                  <a:pt x="894" y="274"/>
                  <a:pt x="894" y="274"/>
                </a:cubicBezTo>
                <a:cubicBezTo>
                  <a:pt x="894" y="276"/>
                  <a:pt x="894" y="276"/>
                  <a:pt x="894" y="276"/>
                </a:cubicBezTo>
                <a:cubicBezTo>
                  <a:pt x="892" y="276"/>
                  <a:pt x="892" y="276"/>
                  <a:pt x="892" y="276"/>
                </a:cubicBezTo>
                <a:cubicBezTo>
                  <a:pt x="889" y="276"/>
                  <a:pt x="889" y="276"/>
                  <a:pt x="889" y="276"/>
                </a:cubicBezTo>
                <a:cubicBezTo>
                  <a:pt x="888" y="274"/>
                  <a:pt x="888" y="274"/>
                  <a:pt x="888" y="274"/>
                </a:cubicBezTo>
                <a:cubicBezTo>
                  <a:pt x="887" y="273"/>
                  <a:pt x="887" y="273"/>
                  <a:pt x="887" y="273"/>
                </a:cubicBezTo>
                <a:cubicBezTo>
                  <a:pt x="885" y="272"/>
                  <a:pt x="885" y="272"/>
                  <a:pt x="885" y="272"/>
                </a:cubicBezTo>
                <a:cubicBezTo>
                  <a:pt x="886" y="271"/>
                  <a:pt x="886" y="271"/>
                  <a:pt x="886" y="271"/>
                </a:cubicBezTo>
                <a:cubicBezTo>
                  <a:pt x="886" y="270"/>
                  <a:pt x="886" y="270"/>
                  <a:pt x="886" y="270"/>
                </a:cubicBezTo>
                <a:cubicBezTo>
                  <a:pt x="885" y="270"/>
                  <a:pt x="885" y="270"/>
                  <a:pt x="885" y="270"/>
                </a:cubicBezTo>
                <a:cubicBezTo>
                  <a:pt x="883" y="268"/>
                  <a:pt x="883" y="268"/>
                  <a:pt x="883" y="268"/>
                </a:cubicBezTo>
                <a:cubicBezTo>
                  <a:pt x="882" y="266"/>
                  <a:pt x="882" y="266"/>
                  <a:pt x="882" y="266"/>
                </a:cubicBezTo>
                <a:cubicBezTo>
                  <a:pt x="879" y="266"/>
                  <a:pt x="879" y="266"/>
                  <a:pt x="879" y="266"/>
                </a:cubicBezTo>
                <a:cubicBezTo>
                  <a:pt x="877" y="265"/>
                  <a:pt x="877" y="265"/>
                  <a:pt x="877" y="265"/>
                </a:cubicBezTo>
                <a:cubicBezTo>
                  <a:pt x="874" y="265"/>
                  <a:pt x="874" y="265"/>
                  <a:pt x="874" y="265"/>
                </a:cubicBezTo>
                <a:cubicBezTo>
                  <a:pt x="873" y="265"/>
                  <a:pt x="873" y="265"/>
                  <a:pt x="873" y="265"/>
                </a:cubicBezTo>
                <a:cubicBezTo>
                  <a:pt x="873" y="266"/>
                  <a:pt x="873" y="266"/>
                  <a:pt x="873" y="266"/>
                </a:cubicBezTo>
                <a:cubicBezTo>
                  <a:pt x="874" y="266"/>
                  <a:pt x="874" y="266"/>
                  <a:pt x="874" y="266"/>
                </a:cubicBezTo>
                <a:cubicBezTo>
                  <a:pt x="875" y="266"/>
                  <a:pt x="875" y="266"/>
                  <a:pt x="875" y="266"/>
                </a:cubicBezTo>
                <a:cubicBezTo>
                  <a:pt x="878" y="267"/>
                  <a:pt x="878" y="267"/>
                  <a:pt x="878" y="267"/>
                </a:cubicBezTo>
                <a:cubicBezTo>
                  <a:pt x="881" y="267"/>
                  <a:pt x="881" y="267"/>
                  <a:pt x="881" y="267"/>
                </a:cubicBezTo>
                <a:cubicBezTo>
                  <a:pt x="881" y="268"/>
                  <a:pt x="881" y="268"/>
                  <a:pt x="881" y="268"/>
                </a:cubicBezTo>
                <a:cubicBezTo>
                  <a:pt x="880" y="268"/>
                  <a:pt x="880" y="268"/>
                  <a:pt x="880" y="268"/>
                </a:cubicBezTo>
                <a:cubicBezTo>
                  <a:pt x="881" y="269"/>
                  <a:pt x="881" y="269"/>
                  <a:pt x="881" y="269"/>
                </a:cubicBezTo>
                <a:cubicBezTo>
                  <a:pt x="881" y="271"/>
                  <a:pt x="881" y="271"/>
                  <a:pt x="881" y="271"/>
                </a:cubicBezTo>
                <a:cubicBezTo>
                  <a:pt x="883" y="274"/>
                  <a:pt x="883" y="274"/>
                  <a:pt x="883" y="274"/>
                </a:cubicBezTo>
                <a:cubicBezTo>
                  <a:pt x="884" y="275"/>
                  <a:pt x="884" y="275"/>
                  <a:pt x="884" y="275"/>
                </a:cubicBezTo>
                <a:cubicBezTo>
                  <a:pt x="886" y="276"/>
                  <a:pt x="886" y="276"/>
                  <a:pt x="886" y="276"/>
                </a:cubicBezTo>
                <a:cubicBezTo>
                  <a:pt x="888" y="277"/>
                  <a:pt x="888" y="277"/>
                  <a:pt x="888" y="277"/>
                </a:cubicBezTo>
                <a:cubicBezTo>
                  <a:pt x="893" y="278"/>
                  <a:pt x="893" y="278"/>
                  <a:pt x="893" y="278"/>
                </a:cubicBezTo>
                <a:cubicBezTo>
                  <a:pt x="893" y="279"/>
                  <a:pt x="893" y="279"/>
                  <a:pt x="893" y="279"/>
                </a:cubicBezTo>
                <a:cubicBezTo>
                  <a:pt x="892" y="280"/>
                  <a:pt x="892" y="280"/>
                  <a:pt x="892" y="280"/>
                </a:cubicBezTo>
                <a:cubicBezTo>
                  <a:pt x="891" y="281"/>
                  <a:pt x="891" y="281"/>
                  <a:pt x="891" y="281"/>
                </a:cubicBezTo>
                <a:cubicBezTo>
                  <a:pt x="890" y="281"/>
                  <a:pt x="890" y="281"/>
                  <a:pt x="890" y="281"/>
                </a:cubicBezTo>
                <a:cubicBezTo>
                  <a:pt x="888" y="284"/>
                  <a:pt x="888" y="284"/>
                  <a:pt x="888" y="284"/>
                </a:cubicBezTo>
                <a:cubicBezTo>
                  <a:pt x="888" y="283"/>
                  <a:pt x="888" y="283"/>
                  <a:pt x="888" y="283"/>
                </a:cubicBezTo>
                <a:cubicBezTo>
                  <a:pt x="887" y="284"/>
                  <a:pt x="887" y="284"/>
                  <a:pt x="887" y="284"/>
                </a:cubicBezTo>
                <a:cubicBezTo>
                  <a:pt x="883" y="289"/>
                  <a:pt x="883" y="289"/>
                  <a:pt x="883" y="289"/>
                </a:cubicBezTo>
                <a:cubicBezTo>
                  <a:pt x="881" y="289"/>
                  <a:pt x="881" y="289"/>
                  <a:pt x="881" y="289"/>
                </a:cubicBezTo>
                <a:cubicBezTo>
                  <a:pt x="880" y="291"/>
                  <a:pt x="880" y="291"/>
                  <a:pt x="880" y="291"/>
                </a:cubicBezTo>
                <a:cubicBezTo>
                  <a:pt x="879" y="291"/>
                  <a:pt x="879" y="291"/>
                  <a:pt x="879" y="291"/>
                </a:cubicBezTo>
                <a:cubicBezTo>
                  <a:pt x="878" y="291"/>
                  <a:pt x="878" y="291"/>
                  <a:pt x="878" y="291"/>
                </a:cubicBezTo>
                <a:cubicBezTo>
                  <a:pt x="878" y="292"/>
                  <a:pt x="878" y="292"/>
                  <a:pt x="878" y="292"/>
                </a:cubicBezTo>
                <a:cubicBezTo>
                  <a:pt x="876" y="290"/>
                  <a:pt x="876" y="290"/>
                  <a:pt x="876" y="290"/>
                </a:cubicBezTo>
                <a:cubicBezTo>
                  <a:pt x="875" y="289"/>
                  <a:pt x="875" y="289"/>
                  <a:pt x="875" y="289"/>
                </a:cubicBezTo>
                <a:cubicBezTo>
                  <a:pt x="874" y="290"/>
                  <a:pt x="874" y="290"/>
                  <a:pt x="874" y="290"/>
                </a:cubicBezTo>
                <a:cubicBezTo>
                  <a:pt x="874" y="289"/>
                  <a:pt x="874" y="289"/>
                  <a:pt x="874" y="289"/>
                </a:cubicBezTo>
                <a:cubicBezTo>
                  <a:pt x="875" y="288"/>
                  <a:pt x="875" y="288"/>
                  <a:pt x="875" y="288"/>
                </a:cubicBezTo>
                <a:cubicBezTo>
                  <a:pt x="874" y="288"/>
                  <a:pt x="874" y="288"/>
                  <a:pt x="874" y="288"/>
                </a:cubicBezTo>
                <a:cubicBezTo>
                  <a:pt x="874" y="287"/>
                  <a:pt x="874" y="287"/>
                  <a:pt x="874" y="287"/>
                </a:cubicBezTo>
                <a:cubicBezTo>
                  <a:pt x="873" y="288"/>
                  <a:pt x="873" y="288"/>
                  <a:pt x="873" y="288"/>
                </a:cubicBezTo>
                <a:cubicBezTo>
                  <a:pt x="872" y="290"/>
                  <a:pt x="872" y="290"/>
                  <a:pt x="872" y="290"/>
                </a:cubicBezTo>
                <a:cubicBezTo>
                  <a:pt x="872" y="289"/>
                  <a:pt x="872" y="289"/>
                  <a:pt x="872" y="289"/>
                </a:cubicBezTo>
                <a:cubicBezTo>
                  <a:pt x="871" y="287"/>
                  <a:pt x="871" y="287"/>
                  <a:pt x="871" y="287"/>
                </a:cubicBezTo>
                <a:cubicBezTo>
                  <a:pt x="870" y="289"/>
                  <a:pt x="870" y="289"/>
                  <a:pt x="870" y="289"/>
                </a:cubicBezTo>
                <a:cubicBezTo>
                  <a:pt x="871" y="290"/>
                  <a:pt x="871" y="290"/>
                  <a:pt x="871" y="290"/>
                </a:cubicBezTo>
                <a:cubicBezTo>
                  <a:pt x="871" y="292"/>
                  <a:pt x="871" y="292"/>
                  <a:pt x="871" y="292"/>
                </a:cubicBezTo>
                <a:cubicBezTo>
                  <a:pt x="869" y="294"/>
                  <a:pt x="869" y="294"/>
                  <a:pt x="869" y="294"/>
                </a:cubicBezTo>
                <a:cubicBezTo>
                  <a:pt x="868" y="293"/>
                  <a:pt x="868" y="293"/>
                  <a:pt x="868" y="293"/>
                </a:cubicBezTo>
                <a:cubicBezTo>
                  <a:pt x="867" y="292"/>
                  <a:pt x="867" y="292"/>
                  <a:pt x="867" y="292"/>
                </a:cubicBezTo>
                <a:cubicBezTo>
                  <a:pt x="867" y="293"/>
                  <a:pt x="867" y="293"/>
                  <a:pt x="867" y="293"/>
                </a:cubicBezTo>
                <a:cubicBezTo>
                  <a:pt x="868" y="293"/>
                  <a:pt x="868" y="293"/>
                  <a:pt x="868" y="293"/>
                </a:cubicBezTo>
                <a:cubicBezTo>
                  <a:pt x="867" y="294"/>
                  <a:pt x="867" y="294"/>
                  <a:pt x="867" y="294"/>
                </a:cubicBezTo>
                <a:cubicBezTo>
                  <a:pt x="867" y="295"/>
                  <a:pt x="867" y="295"/>
                  <a:pt x="867" y="295"/>
                </a:cubicBezTo>
                <a:cubicBezTo>
                  <a:pt x="866" y="295"/>
                  <a:pt x="866" y="295"/>
                  <a:pt x="866" y="295"/>
                </a:cubicBezTo>
                <a:cubicBezTo>
                  <a:pt x="865" y="295"/>
                  <a:pt x="865" y="295"/>
                  <a:pt x="865" y="295"/>
                </a:cubicBezTo>
                <a:cubicBezTo>
                  <a:pt x="865" y="294"/>
                  <a:pt x="865" y="294"/>
                  <a:pt x="865" y="294"/>
                </a:cubicBezTo>
                <a:cubicBezTo>
                  <a:pt x="864" y="293"/>
                  <a:pt x="864" y="293"/>
                  <a:pt x="864" y="293"/>
                </a:cubicBezTo>
                <a:cubicBezTo>
                  <a:pt x="862" y="291"/>
                  <a:pt x="862" y="291"/>
                  <a:pt x="862" y="291"/>
                </a:cubicBezTo>
                <a:cubicBezTo>
                  <a:pt x="860" y="290"/>
                  <a:pt x="860" y="290"/>
                  <a:pt x="860" y="290"/>
                </a:cubicBezTo>
                <a:cubicBezTo>
                  <a:pt x="857" y="289"/>
                  <a:pt x="857" y="289"/>
                  <a:pt x="857" y="289"/>
                </a:cubicBezTo>
                <a:cubicBezTo>
                  <a:pt x="857" y="287"/>
                  <a:pt x="857" y="287"/>
                  <a:pt x="857" y="287"/>
                </a:cubicBezTo>
                <a:cubicBezTo>
                  <a:pt x="856" y="287"/>
                  <a:pt x="856" y="287"/>
                  <a:pt x="856" y="287"/>
                </a:cubicBezTo>
                <a:cubicBezTo>
                  <a:pt x="854" y="286"/>
                  <a:pt x="854" y="286"/>
                  <a:pt x="854" y="286"/>
                </a:cubicBezTo>
                <a:cubicBezTo>
                  <a:pt x="853" y="285"/>
                  <a:pt x="853" y="285"/>
                  <a:pt x="853" y="285"/>
                </a:cubicBezTo>
                <a:cubicBezTo>
                  <a:pt x="853" y="286"/>
                  <a:pt x="853" y="286"/>
                  <a:pt x="853" y="286"/>
                </a:cubicBezTo>
                <a:cubicBezTo>
                  <a:pt x="852" y="286"/>
                  <a:pt x="852" y="286"/>
                  <a:pt x="852" y="286"/>
                </a:cubicBezTo>
                <a:cubicBezTo>
                  <a:pt x="853" y="288"/>
                  <a:pt x="853" y="288"/>
                  <a:pt x="853" y="288"/>
                </a:cubicBezTo>
                <a:cubicBezTo>
                  <a:pt x="854" y="289"/>
                  <a:pt x="854" y="289"/>
                  <a:pt x="854" y="289"/>
                </a:cubicBezTo>
                <a:cubicBezTo>
                  <a:pt x="854" y="288"/>
                  <a:pt x="854" y="288"/>
                  <a:pt x="854" y="288"/>
                </a:cubicBezTo>
                <a:cubicBezTo>
                  <a:pt x="854" y="287"/>
                  <a:pt x="854" y="287"/>
                  <a:pt x="854" y="287"/>
                </a:cubicBezTo>
                <a:cubicBezTo>
                  <a:pt x="855" y="287"/>
                  <a:pt x="855" y="287"/>
                  <a:pt x="855" y="287"/>
                </a:cubicBezTo>
                <a:cubicBezTo>
                  <a:pt x="857" y="290"/>
                  <a:pt x="857" y="290"/>
                  <a:pt x="857" y="290"/>
                </a:cubicBezTo>
                <a:cubicBezTo>
                  <a:pt x="859" y="291"/>
                  <a:pt x="859" y="291"/>
                  <a:pt x="859" y="291"/>
                </a:cubicBezTo>
                <a:cubicBezTo>
                  <a:pt x="860" y="292"/>
                  <a:pt x="860" y="292"/>
                  <a:pt x="860" y="292"/>
                </a:cubicBezTo>
                <a:cubicBezTo>
                  <a:pt x="858" y="293"/>
                  <a:pt x="858" y="293"/>
                  <a:pt x="858" y="293"/>
                </a:cubicBezTo>
                <a:cubicBezTo>
                  <a:pt x="859" y="293"/>
                  <a:pt x="859" y="293"/>
                  <a:pt x="859" y="293"/>
                </a:cubicBezTo>
                <a:cubicBezTo>
                  <a:pt x="861" y="292"/>
                  <a:pt x="861" y="292"/>
                  <a:pt x="861" y="292"/>
                </a:cubicBezTo>
                <a:cubicBezTo>
                  <a:pt x="862" y="293"/>
                  <a:pt x="862" y="293"/>
                  <a:pt x="862" y="293"/>
                </a:cubicBezTo>
                <a:cubicBezTo>
                  <a:pt x="862" y="294"/>
                  <a:pt x="862" y="294"/>
                  <a:pt x="862" y="294"/>
                </a:cubicBezTo>
                <a:cubicBezTo>
                  <a:pt x="865" y="297"/>
                  <a:pt x="865" y="297"/>
                  <a:pt x="865" y="297"/>
                </a:cubicBezTo>
                <a:cubicBezTo>
                  <a:pt x="864" y="300"/>
                  <a:pt x="864" y="300"/>
                  <a:pt x="864" y="300"/>
                </a:cubicBezTo>
                <a:cubicBezTo>
                  <a:pt x="863" y="302"/>
                  <a:pt x="863" y="302"/>
                  <a:pt x="863" y="302"/>
                </a:cubicBezTo>
                <a:cubicBezTo>
                  <a:pt x="862" y="302"/>
                  <a:pt x="862" y="302"/>
                  <a:pt x="862" y="302"/>
                </a:cubicBezTo>
                <a:cubicBezTo>
                  <a:pt x="861" y="302"/>
                  <a:pt x="861" y="302"/>
                  <a:pt x="861" y="302"/>
                </a:cubicBezTo>
                <a:cubicBezTo>
                  <a:pt x="859" y="302"/>
                  <a:pt x="859" y="302"/>
                  <a:pt x="859" y="302"/>
                </a:cubicBezTo>
                <a:cubicBezTo>
                  <a:pt x="858" y="301"/>
                  <a:pt x="858" y="301"/>
                  <a:pt x="858" y="301"/>
                </a:cubicBezTo>
                <a:cubicBezTo>
                  <a:pt x="856" y="301"/>
                  <a:pt x="856" y="301"/>
                  <a:pt x="856" y="301"/>
                </a:cubicBezTo>
                <a:cubicBezTo>
                  <a:pt x="854" y="299"/>
                  <a:pt x="854" y="299"/>
                  <a:pt x="854" y="299"/>
                </a:cubicBezTo>
                <a:cubicBezTo>
                  <a:pt x="853" y="297"/>
                  <a:pt x="853" y="297"/>
                  <a:pt x="853" y="297"/>
                </a:cubicBezTo>
                <a:cubicBezTo>
                  <a:pt x="852" y="296"/>
                  <a:pt x="852" y="296"/>
                  <a:pt x="852" y="296"/>
                </a:cubicBezTo>
                <a:cubicBezTo>
                  <a:pt x="852" y="297"/>
                  <a:pt x="852" y="297"/>
                  <a:pt x="852" y="297"/>
                </a:cubicBezTo>
                <a:cubicBezTo>
                  <a:pt x="852" y="298"/>
                  <a:pt x="852" y="298"/>
                  <a:pt x="852" y="298"/>
                </a:cubicBezTo>
                <a:cubicBezTo>
                  <a:pt x="853" y="300"/>
                  <a:pt x="853" y="300"/>
                  <a:pt x="853" y="300"/>
                </a:cubicBezTo>
                <a:cubicBezTo>
                  <a:pt x="854" y="302"/>
                  <a:pt x="854" y="302"/>
                  <a:pt x="854" y="302"/>
                </a:cubicBezTo>
                <a:cubicBezTo>
                  <a:pt x="856" y="305"/>
                  <a:pt x="856" y="305"/>
                  <a:pt x="856" y="305"/>
                </a:cubicBezTo>
                <a:cubicBezTo>
                  <a:pt x="855" y="305"/>
                  <a:pt x="855" y="305"/>
                  <a:pt x="855" y="305"/>
                </a:cubicBezTo>
                <a:cubicBezTo>
                  <a:pt x="854" y="305"/>
                  <a:pt x="854" y="305"/>
                  <a:pt x="854" y="305"/>
                </a:cubicBezTo>
                <a:cubicBezTo>
                  <a:pt x="853" y="305"/>
                  <a:pt x="853" y="305"/>
                  <a:pt x="853" y="305"/>
                </a:cubicBezTo>
                <a:cubicBezTo>
                  <a:pt x="853" y="303"/>
                  <a:pt x="853" y="303"/>
                  <a:pt x="853" y="303"/>
                </a:cubicBezTo>
                <a:cubicBezTo>
                  <a:pt x="852" y="304"/>
                  <a:pt x="852" y="304"/>
                  <a:pt x="852" y="304"/>
                </a:cubicBezTo>
                <a:cubicBezTo>
                  <a:pt x="852" y="305"/>
                  <a:pt x="852" y="305"/>
                  <a:pt x="852" y="305"/>
                </a:cubicBezTo>
                <a:cubicBezTo>
                  <a:pt x="853" y="306"/>
                  <a:pt x="853" y="306"/>
                  <a:pt x="853" y="306"/>
                </a:cubicBezTo>
                <a:cubicBezTo>
                  <a:pt x="854" y="307"/>
                  <a:pt x="854" y="307"/>
                  <a:pt x="854" y="307"/>
                </a:cubicBezTo>
                <a:cubicBezTo>
                  <a:pt x="851" y="306"/>
                  <a:pt x="851" y="306"/>
                  <a:pt x="851" y="306"/>
                </a:cubicBezTo>
                <a:cubicBezTo>
                  <a:pt x="851" y="307"/>
                  <a:pt x="851" y="307"/>
                  <a:pt x="851" y="307"/>
                </a:cubicBezTo>
                <a:cubicBezTo>
                  <a:pt x="851" y="308"/>
                  <a:pt x="851" y="308"/>
                  <a:pt x="851" y="308"/>
                </a:cubicBezTo>
                <a:cubicBezTo>
                  <a:pt x="851" y="309"/>
                  <a:pt x="851" y="309"/>
                  <a:pt x="851" y="309"/>
                </a:cubicBezTo>
                <a:cubicBezTo>
                  <a:pt x="850" y="308"/>
                  <a:pt x="850" y="308"/>
                  <a:pt x="850" y="308"/>
                </a:cubicBezTo>
                <a:cubicBezTo>
                  <a:pt x="850" y="309"/>
                  <a:pt x="850" y="309"/>
                  <a:pt x="850" y="309"/>
                </a:cubicBezTo>
                <a:cubicBezTo>
                  <a:pt x="849" y="309"/>
                  <a:pt x="849" y="309"/>
                  <a:pt x="849" y="309"/>
                </a:cubicBezTo>
                <a:cubicBezTo>
                  <a:pt x="848" y="309"/>
                  <a:pt x="848" y="309"/>
                  <a:pt x="848" y="309"/>
                </a:cubicBezTo>
                <a:cubicBezTo>
                  <a:pt x="847" y="310"/>
                  <a:pt x="847" y="310"/>
                  <a:pt x="847" y="310"/>
                </a:cubicBezTo>
                <a:cubicBezTo>
                  <a:pt x="845" y="310"/>
                  <a:pt x="845" y="310"/>
                  <a:pt x="845" y="310"/>
                </a:cubicBezTo>
                <a:cubicBezTo>
                  <a:pt x="846" y="311"/>
                  <a:pt x="846" y="311"/>
                  <a:pt x="846" y="311"/>
                </a:cubicBezTo>
                <a:cubicBezTo>
                  <a:pt x="847" y="312"/>
                  <a:pt x="847" y="312"/>
                  <a:pt x="847" y="312"/>
                </a:cubicBezTo>
                <a:cubicBezTo>
                  <a:pt x="846" y="312"/>
                  <a:pt x="846" y="312"/>
                  <a:pt x="846" y="312"/>
                </a:cubicBezTo>
                <a:cubicBezTo>
                  <a:pt x="844" y="311"/>
                  <a:pt x="844" y="311"/>
                  <a:pt x="844" y="311"/>
                </a:cubicBezTo>
                <a:cubicBezTo>
                  <a:pt x="843" y="310"/>
                  <a:pt x="843" y="310"/>
                  <a:pt x="843" y="310"/>
                </a:cubicBezTo>
                <a:cubicBezTo>
                  <a:pt x="843" y="311"/>
                  <a:pt x="843" y="311"/>
                  <a:pt x="843" y="311"/>
                </a:cubicBezTo>
                <a:cubicBezTo>
                  <a:pt x="843" y="312"/>
                  <a:pt x="843" y="312"/>
                  <a:pt x="843" y="312"/>
                </a:cubicBezTo>
                <a:cubicBezTo>
                  <a:pt x="844" y="313"/>
                  <a:pt x="844" y="313"/>
                  <a:pt x="844" y="313"/>
                </a:cubicBezTo>
                <a:cubicBezTo>
                  <a:pt x="844" y="314"/>
                  <a:pt x="844" y="314"/>
                  <a:pt x="844" y="314"/>
                </a:cubicBezTo>
                <a:cubicBezTo>
                  <a:pt x="842" y="314"/>
                  <a:pt x="842" y="314"/>
                  <a:pt x="842" y="314"/>
                </a:cubicBezTo>
                <a:cubicBezTo>
                  <a:pt x="841" y="316"/>
                  <a:pt x="841" y="316"/>
                  <a:pt x="841" y="316"/>
                </a:cubicBezTo>
                <a:cubicBezTo>
                  <a:pt x="840" y="316"/>
                  <a:pt x="840" y="316"/>
                  <a:pt x="840" y="316"/>
                </a:cubicBezTo>
                <a:cubicBezTo>
                  <a:pt x="841" y="317"/>
                  <a:pt x="841" y="317"/>
                  <a:pt x="841" y="317"/>
                </a:cubicBezTo>
                <a:cubicBezTo>
                  <a:pt x="840" y="318"/>
                  <a:pt x="840" y="318"/>
                  <a:pt x="840" y="318"/>
                </a:cubicBezTo>
                <a:cubicBezTo>
                  <a:pt x="839" y="318"/>
                  <a:pt x="839" y="318"/>
                  <a:pt x="839" y="318"/>
                </a:cubicBezTo>
                <a:cubicBezTo>
                  <a:pt x="839" y="319"/>
                  <a:pt x="839" y="319"/>
                  <a:pt x="839" y="319"/>
                </a:cubicBezTo>
                <a:cubicBezTo>
                  <a:pt x="839" y="320"/>
                  <a:pt x="839" y="320"/>
                  <a:pt x="839" y="320"/>
                </a:cubicBezTo>
                <a:cubicBezTo>
                  <a:pt x="838" y="320"/>
                  <a:pt x="838" y="320"/>
                  <a:pt x="838" y="320"/>
                </a:cubicBezTo>
                <a:cubicBezTo>
                  <a:pt x="836" y="323"/>
                  <a:pt x="836" y="323"/>
                  <a:pt x="836" y="323"/>
                </a:cubicBezTo>
                <a:cubicBezTo>
                  <a:pt x="835" y="323"/>
                  <a:pt x="835" y="323"/>
                  <a:pt x="835" y="323"/>
                </a:cubicBezTo>
                <a:cubicBezTo>
                  <a:pt x="835" y="324"/>
                  <a:pt x="835" y="324"/>
                  <a:pt x="835" y="324"/>
                </a:cubicBezTo>
                <a:cubicBezTo>
                  <a:pt x="833" y="325"/>
                  <a:pt x="833" y="325"/>
                  <a:pt x="833" y="325"/>
                </a:cubicBezTo>
                <a:cubicBezTo>
                  <a:pt x="832" y="324"/>
                  <a:pt x="832" y="324"/>
                  <a:pt x="832" y="324"/>
                </a:cubicBezTo>
                <a:cubicBezTo>
                  <a:pt x="832" y="325"/>
                  <a:pt x="832" y="325"/>
                  <a:pt x="832" y="325"/>
                </a:cubicBezTo>
                <a:cubicBezTo>
                  <a:pt x="832" y="326"/>
                  <a:pt x="832" y="326"/>
                  <a:pt x="832" y="326"/>
                </a:cubicBezTo>
                <a:cubicBezTo>
                  <a:pt x="831" y="328"/>
                  <a:pt x="831" y="328"/>
                  <a:pt x="831" y="328"/>
                </a:cubicBezTo>
                <a:cubicBezTo>
                  <a:pt x="831" y="330"/>
                  <a:pt x="831" y="330"/>
                  <a:pt x="831" y="330"/>
                </a:cubicBezTo>
                <a:cubicBezTo>
                  <a:pt x="830" y="331"/>
                  <a:pt x="830" y="331"/>
                  <a:pt x="830" y="331"/>
                </a:cubicBezTo>
                <a:cubicBezTo>
                  <a:pt x="830" y="333"/>
                  <a:pt x="830" y="333"/>
                  <a:pt x="830" y="333"/>
                </a:cubicBezTo>
                <a:cubicBezTo>
                  <a:pt x="829" y="333"/>
                  <a:pt x="829" y="333"/>
                  <a:pt x="829" y="333"/>
                </a:cubicBezTo>
                <a:cubicBezTo>
                  <a:pt x="828" y="336"/>
                  <a:pt x="828" y="336"/>
                  <a:pt x="828" y="336"/>
                </a:cubicBezTo>
                <a:cubicBezTo>
                  <a:pt x="828" y="338"/>
                  <a:pt x="828" y="338"/>
                  <a:pt x="828" y="338"/>
                </a:cubicBezTo>
                <a:cubicBezTo>
                  <a:pt x="827" y="340"/>
                  <a:pt x="827" y="340"/>
                  <a:pt x="827" y="340"/>
                </a:cubicBezTo>
                <a:cubicBezTo>
                  <a:pt x="827" y="341"/>
                  <a:pt x="827" y="341"/>
                  <a:pt x="827" y="341"/>
                </a:cubicBezTo>
                <a:cubicBezTo>
                  <a:pt x="825" y="341"/>
                  <a:pt x="825" y="341"/>
                  <a:pt x="825" y="341"/>
                </a:cubicBezTo>
                <a:cubicBezTo>
                  <a:pt x="825" y="342"/>
                  <a:pt x="825" y="342"/>
                  <a:pt x="825" y="342"/>
                </a:cubicBezTo>
                <a:cubicBezTo>
                  <a:pt x="826" y="342"/>
                  <a:pt x="826" y="342"/>
                  <a:pt x="826" y="342"/>
                </a:cubicBezTo>
                <a:cubicBezTo>
                  <a:pt x="827" y="343"/>
                  <a:pt x="827" y="343"/>
                  <a:pt x="827" y="343"/>
                </a:cubicBezTo>
                <a:cubicBezTo>
                  <a:pt x="826" y="344"/>
                  <a:pt x="826" y="344"/>
                  <a:pt x="826" y="344"/>
                </a:cubicBezTo>
                <a:cubicBezTo>
                  <a:pt x="827" y="345"/>
                  <a:pt x="827" y="345"/>
                  <a:pt x="827" y="345"/>
                </a:cubicBezTo>
                <a:cubicBezTo>
                  <a:pt x="827" y="347"/>
                  <a:pt x="827" y="347"/>
                  <a:pt x="827" y="347"/>
                </a:cubicBezTo>
                <a:cubicBezTo>
                  <a:pt x="826" y="350"/>
                  <a:pt x="826" y="350"/>
                  <a:pt x="826" y="350"/>
                </a:cubicBezTo>
                <a:cubicBezTo>
                  <a:pt x="824" y="352"/>
                  <a:pt x="824" y="352"/>
                  <a:pt x="824" y="352"/>
                </a:cubicBezTo>
                <a:cubicBezTo>
                  <a:pt x="825" y="352"/>
                  <a:pt x="825" y="352"/>
                  <a:pt x="825" y="352"/>
                </a:cubicBezTo>
                <a:cubicBezTo>
                  <a:pt x="827" y="349"/>
                  <a:pt x="827" y="349"/>
                  <a:pt x="827" y="349"/>
                </a:cubicBezTo>
                <a:cubicBezTo>
                  <a:pt x="829" y="346"/>
                  <a:pt x="829" y="346"/>
                  <a:pt x="829" y="346"/>
                </a:cubicBezTo>
                <a:cubicBezTo>
                  <a:pt x="833" y="346"/>
                  <a:pt x="833" y="346"/>
                  <a:pt x="833" y="346"/>
                </a:cubicBezTo>
                <a:cubicBezTo>
                  <a:pt x="834" y="346"/>
                  <a:pt x="834" y="346"/>
                  <a:pt x="834" y="346"/>
                </a:cubicBezTo>
                <a:cubicBezTo>
                  <a:pt x="834" y="348"/>
                  <a:pt x="834" y="348"/>
                  <a:pt x="834" y="348"/>
                </a:cubicBezTo>
                <a:cubicBezTo>
                  <a:pt x="833" y="349"/>
                  <a:pt x="833" y="349"/>
                  <a:pt x="833" y="349"/>
                </a:cubicBezTo>
                <a:cubicBezTo>
                  <a:pt x="833" y="350"/>
                  <a:pt x="833" y="350"/>
                  <a:pt x="833" y="350"/>
                </a:cubicBezTo>
                <a:cubicBezTo>
                  <a:pt x="834" y="352"/>
                  <a:pt x="834" y="352"/>
                  <a:pt x="834" y="352"/>
                </a:cubicBezTo>
                <a:cubicBezTo>
                  <a:pt x="834" y="355"/>
                  <a:pt x="834" y="355"/>
                  <a:pt x="834" y="355"/>
                </a:cubicBezTo>
                <a:cubicBezTo>
                  <a:pt x="833" y="357"/>
                  <a:pt x="833" y="357"/>
                  <a:pt x="833" y="357"/>
                </a:cubicBezTo>
                <a:cubicBezTo>
                  <a:pt x="834" y="358"/>
                  <a:pt x="834" y="358"/>
                  <a:pt x="834" y="358"/>
                </a:cubicBezTo>
                <a:cubicBezTo>
                  <a:pt x="834" y="361"/>
                  <a:pt x="834" y="361"/>
                  <a:pt x="834" y="361"/>
                </a:cubicBezTo>
                <a:cubicBezTo>
                  <a:pt x="834" y="362"/>
                  <a:pt x="834" y="362"/>
                  <a:pt x="834" y="362"/>
                </a:cubicBezTo>
                <a:cubicBezTo>
                  <a:pt x="830" y="366"/>
                  <a:pt x="830" y="366"/>
                  <a:pt x="830" y="366"/>
                </a:cubicBezTo>
                <a:cubicBezTo>
                  <a:pt x="828" y="366"/>
                  <a:pt x="828" y="366"/>
                  <a:pt x="828" y="366"/>
                </a:cubicBezTo>
                <a:cubicBezTo>
                  <a:pt x="827" y="366"/>
                  <a:pt x="827" y="366"/>
                  <a:pt x="827" y="366"/>
                </a:cubicBezTo>
                <a:cubicBezTo>
                  <a:pt x="828" y="367"/>
                  <a:pt x="828" y="367"/>
                  <a:pt x="828" y="367"/>
                </a:cubicBezTo>
                <a:cubicBezTo>
                  <a:pt x="830" y="367"/>
                  <a:pt x="830" y="367"/>
                  <a:pt x="830" y="367"/>
                </a:cubicBezTo>
                <a:cubicBezTo>
                  <a:pt x="834" y="365"/>
                  <a:pt x="834" y="365"/>
                  <a:pt x="834" y="365"/>
                </a:cubicBezTo>
                <a:cubicBezTo>
                  <a:pt x="839" y="364"/>
                  <a:pt x="839" y="364"/>
                  <a:pt x="839" y="364"/>
                </a:cubicBezTo>
                <a:cubicBezTo>
                  <a:pt x="841" y="363"/>
                  <a:pt x="841" y="363"/>
                  <a:pt x="841" y="363"/>
                </a:cubicBezTo>
                <a:cubicBezTo>
                  <a:pt x="844" y="365"/>
                  <a:pt x="844" y="365"/>
                  <a:pt x="844" y="365"/>
                </a:cubicBezTo>
                <a:cubicBezTo>
                  <a:pt x="846" y="367"/>
                  <a:pt x="846" y="367"/>
                  <a:pt x="846" y="367"/>
                </a:cubicBezTo>
                <a:cubicBezTo>
                  <a:pt x="848" y="368"/>
                  <a:pt x="848" y="368"/>
                  <a:pt x="848" y="368"/>
                </a:cubicBezTo>
                <a:cubicBezTo>
                  <a:pt x="849" y="368"/>
                  <a:pt x="849" y="368"/>
                  <a:pt x="849" y="368"/>
                </a:cubicBezTo>
                <a:cubicBezTo>
                  <a:pt x="850" y="369"/>
                  <a:pt x="850" y="369"/>
                  <a:pt x="850" y="369"/>
                </a:cubicBezTo>
                <a:cubicBezTo>
                  <a:pt x="852" y="371"/>
                  <a:pt x="852" y="371"/>
                  <a:pt x="852" y="371"/>
                </a:cubicBezTo>
                <a:cubicBezTo>
                  <a:pt x="853" y="371"/>
                  <a:pt x="853" y="371"/>
                  <a:pt x="853" y="371"/>
                </a:cubicBezTo>
                <a:cubicBezTo>
                  <a:pt x="854" y="373"/>
                  <a:pt x="854" y="373"/>
                  <a:pt x="854" y="373"/>
                </a:cubicBezTo>
                <a:cubicBezTo>
                  <a:pt x="855" y="374"/>
                  <a:pt x="855" y="374"/>
                  <a:pt x="855" y="374"/>
                </a:cubicBezTo>
                <a:cubicBezTo>
                  <a:pt x="855" y="375"/>
                  <a:pt x="855" y="375"/>
                  <a:pt x="855" y="375"/>
                </a:cubicBezTo>
                <a:cubicBezTo>
                  <a:pt x="856" y="376"/>
                  <a:pt x="856" y="376"/>
                  <a:pt x="856" y="376"/>
                </a:cubicBezTo>
                <a:cubicBezTo>
                  <a:pt x="857" y="378"/>
                  <a:pt x="857" y="378"/>
                  <a:pt x="857" y="378"/>
                </a:cubicBezTo>
                <a:cubicBezTo>
                  <a:pt x="858" y="378"/>
                  <a:pt x="858" y="378"/>
                  <a:pt x="858" y="378"/>
                </a:cubicBezTo>
                <a:cubicBezTo>
                  <a:pt x="858" y="379"/>
                  <a:pt x="858" y="379"/>
                  <a:pt x="858" y="379"/>
                </a:cubicBezTo>
                <a:cubicBezTo>
                  <a:pt x="861" y="380"/>
                  <a:pt x="861" y="380"/>
                  <a:pt x="861" y="380"/>
                </a:cubicBezTo>
                <a:cubicBezTo>
                  <a:pt x="862" y="381"/>
                  <a:pt x="862" y="381"/>
                  <a:pt x="862" y="381"/>
                </a:cubicBezTo>
                <a:cubicBezTo>
                  <a:pt x="864" y="382"/>
                  <a:pt x="864" y="382"/>
                  <a:pt x="864" y="382"/>
                </a:cubicBezTo>
                <a:cubicBezTo>
                  <a:pt x="865" y="382"/>
                  <a:pt x="865" y="382"/>
                  <a:pt x="865" y="382"/>
                </a:cubicBezTo>
                <a:cubicBezTo>
                  <a:pt x="867" y="384"/>
                  <a:pt x="867" y="384"/>
                  <a:pt x="867" y="384"/>
                </a:cubicBezTo>
                <a:cubicBezTo>
                  <a:pt x="867" y="385"/>
                  <a:pt x="867" y="385"/>
                  <a:pt x="867" y="385"/>
                </a:cubicBezTo>
                <a:cubicBezTo>
                  <a:pt x="869" y="387"/>
                  <a:pt x="869" y="387"/>
                  <a:pt x="869" y="387"/>
                </a:cubicBezTo>
                <a:cubicBezTo>
                  <a:pt x="868" y="387"/>
                  <a:pt x="868" y="387"/>
                  <a:pt x="868" y="387"/>
                </a:cubicBezTo>
                <a:cubicBezTo>
                  <a:pt x="869" y="388"/>
                  <a:pt x="869" y="388"/>
                  <a:pt x="869" y="388"/>
                </a:cubicBezTo>
                <a:cubicBezTo>
                  <a:pt x="871" y="388"/>
                  <a:pt x="871" y="388"/>
                  <a:pt x="871" y="388"/>
                </a:cubicBezTo>
                <a:cubicBezTo>
                  <a:pt x="873" y="388"/>
                  <a:pt x="873" y="388"/>
                  <a:pt x="873" y="388"/>
                </a:cubicBezTo>
                <a:cubicBezTo>
                  <a:pt x="876" y="388"/>
                  <a:pt x="876" y="388"/>
                  <a:pt x="876" y="388"/>
                </a:cubicBezTo>
                <a:cubicBezTo>
                  <a:pt x="877" y="388"/>
                  <a:pt x="877" y="388"/>
                  <a:pt x="877" y="388"/>
                </a:cubicBezTo>
                <a:cubicBezTo>
                  <a:pt x="879" y="389"/>
                  <a:pt x="879" y="389"/>
                  <a:pt x="879" y="389"/>
                </a:cubicBezTo>
                <a:cubicBezTo>
                  <a:pt x="881" y="389"/>
                  <a:pt x="881" y="389"/>
                  <a:pt x="881" y="389"/>
                </a:cubicBezTo>
                <a:cubicBezTo>
                  <a:pt x="882" y="389"/>
                  <a:pt x="882" y="389"/>
                  <a:pt x="882" y="389"/>
                </a:cubicBezTo>
                <a:cubicBezTo>
                  <a:pt x="883" y="389"/>
                  <a:pt x="883" y="389"/>
                  <a:pt x="883" y="389"/>
                </a:cubicBezTo>
                <a:cubicBezTo>
                  <a:pt x="884" y="389"/>
                  <a:pt x="884" y="389"/>
                  <a:pt x="884" y="389"/>
                </a:cubicBezTo>
                <a:cubicBezTo>
                  <a:pt x="884" y="391"/>
                  <a:pt x="884" y="391"/>
                  <a:pt x="884" y="391"/>
                </a:cubicBezTo>
                <a:cubicBezTo>
                  <a:pt x="883" y="394"/>
                  <a:pt x="883" y="394"/>
                  <a:pt x="883" y="394"/>
                </a:cubicBezTo>
                <a:cubicBezTo>
                  <a:pt x="883" y="395"/>
                  <a:pt x="883" y="395"/>
                  <a:pt x="883" y="395"/>
                </a:cubicBezTo>
                <a:cubicBezTo>
                  <a:pt x="882" y="396"/>
                  <a:pt x="882" y="396"/>
                  <a:pt x="882" y="396"/>
                </a:cubicBezTo>
                <a:cubicBezTo>
                  <a:pt x="881" y="398"/>
                  <a:pt x="881" y="398"/>
                  <a:pt x="881" y="398"/>
                </a:cubicBezTo>
                <a:cubicBezTo>
                  <a:pt x="881" y="399"/>
                  <a:pt x="881" y="399"/>
                  <a:pt x="881" y="399"/>
                </a:cubicBezTo>
                <a:cubicBezTo>
                  <a:pt x="882" y="400"/>
                  <a:pt x="882" y="400"/>
                  <a:pt x="882" y="400"/>
                </a:cubicBezTo>
                <a:cubicBezTo>
                  <a:pt x="882" y="402"/>
                  <a:pt x="882" y="402"/>
                  <a:pt x="882" y="402"/>
                </a:cubicBezTo>
                <a:cubicBezTo>
                  <a:pt x="880" y="405"/>
                  <a:pt x="880" y="405"/>
                  <a:pt x="880" y="405"/>
                </a:cubicBezTo>
                <a:cubicBezTo>
                  <a:pt x="880" y="406"/>
                  <a:pt x="880" y="406"/>
                  <a:pt x="880" y="406"/>
                </a:cubicBezTo>
                <a:cubicBezTo>
                  <a:pt x="880" y="408"/>
                  <a:pt x="880" y="408"/>
                  <a:pt x="880" y="408"/>
                </a:cubicBezTo>
                <a:cubicBezTo>
                  <a:pt x="878" y="409"/>
                  <a:pt x="878" y="409"/>
                  <a:pt x="878" y="409"/>
                </a:cubicBezTo>
                <a:cubicBezTo>
                  <a:pt x="878" y="411"/>
                  <a:pt x="878" y="411"/>
                  <a:pt x="878" y="411"/>
                </a:cubicBezTo>
                <a:cubicBezTo>
                  <a:pt x="878" y="412"/>
                  <a:pt x="878" y="412"/>
                  <a:pt x="878" y="412"/>
                </a:cubicBezTo>
                <a:cubicBezTo>
                  <a:pt x="879" y="413"/>
                  <a:pt x="879" y="413"/>
                  <a:pt x="879" y="413"/>
                </a:cubicBezTo>
                <a:cubicBezTo>
                  <a:pt x="879" y="415"/>
                  <a:pt x="879" y="415"/>
                  <a:pt x="879" y="415"/>
                </a:cubicBezTo>
                <a:cubicBezTo>
                  <a:pt x="880" y="415"/>
                  <a:pt x="880" y="415"/>
                  <a:pt x="880" y="415"/>
                </a:cubicBezTo>
                <a:cubicBezTo>
                  <a:pt x="881" y="416"/>
                  <a:pt x="881" y="416"/>
                  <a:pt x="881" y="416"/>
                </a:cubicBezTo>
                <a:cubicBezTo>
                  <a:pt x="881" y="417"/>
                  <a:pt x="881" y="417"/>
                  <a:pt x="881" y="417"/>
                </a:cubicBezTo>
                <a:cubicBezTo>
                  <a:pt x="881" y="418"/>
                  <a:pt x="881" y="418"/>
                  <a:pt x="881" y="418"/>
                </a:cubicBezTo>
                <a:cubicBezTo>
                  <a:pt x="881" y="419"/>
                  <a:pt x="881" y="419"/>
                  <a:pt x="881" y="419"/>
                </a:cubicBezTo>
                <a:cubicBezTo>
                  <a:pt x="882" y="419"/>
                  <a:pt x="882" y="419"/>
                  <a:pt x="882" y="419"/>
                </a:cubicBezTo>
                <a:cubicBezTo>
                  <a:pt x="884" y="420"/>
                  <a:pt x="884" y="420"/>
                  <a:pt x="884" y="420"/>
                </a:cubicBezTo>
                <a:cubicBezTo>
                  <a:pt x="884" y="421"/>
                  <a:pt x="884" y="421"/>
                  <a:pt x="884" y="421"/>
                </a:cubicBezTo>
                <a:cubicBezTo>
                  <a:pt x="885" y="422"/>
                  <a:pt x="885" y="422"/>
                  <a:pt x="885" y="422"/>
                </a:cubicBezTo>
                <a:cubicBezTo>
                  <a:pt x="885" y="424"/>
                  <a:pt x="885" y="424"/>
                  <a:pt x="885" y="424"/>
                </a:cubicBezTo>
                <a:cubicBezTo>
                  <a:pt x="885" y="425"/>
                  <a:pt x="885" y="425"/>
                  <a:pt x="885" y="425"/>
                </a:cubicBezTo>
                <a:cubicBezTo>
                  <a:pt x="885" y="426"/>
                  <a:pt x="885" y="426"/>
                  <a:pt x="885" y="426"/>
                </a:cubicBezTo>
                <a:cubicBezTo>
                  <a:pt x="883" y="429"/>
                  <a:pt x="883" y="429"/>
                  <a:pt x="883" y="429"/>
                </a:cubicBezTo>
                <a:cubicBezTo>
                  <a:pt x="884" y="428"/>
                  <a:pt x="884" y="428"/>
                  <a:pt x="884" y="428"/>
                </a:cubicBezTo>
                <a:cubicBezTo>
                  <a:pt x="886" y="427"/>
                  <a:pt x="886" y="427"/>
                  <a:pt x="886" y="427"/>
                </a:cubicBezTo>
                <a:cubicBezTo>
                  <a:pt x="888" y="427"/>
                  <a:pt x="888" y="427"/>
                  <a:pt x="888" y="427"/>
                </a:cubicBezTo>
                <a:cubicBezTo>
                  <a:pt x="889" y="428"/>
                  <a:pt x="889" y="428"/>
                  <a:pt x="889" y="428"/>
                </a:cubicBezTo>
                <a:cubicBezTo>
                  <a:pt x="890" y="428"/>
                  <a:pt x="890" y="428"/>
                  <a:pt x="890" y="428"/>
                </a:cubicBezTo>
                <a:cubicBezTo>
                  <a:pt x="890" y="427"/>
                  <a:pt x="890" y="427"/>
                  <a:pt x="890" y="427"/>
                </a:cubicBezTo>
                <a:cubicBezTo>
                  <a:pt x="890" y="426"/>
                  <a:pt x="890" y="426"/>
                  <a:pt x="890" y="426"/>
                </a:cubicBezTo>
                <a:cubicBezTo>
                  <a:pt x="892" y="423"/>
                  <a:pt x="892" y="423"/>
                  <a:pt x="892" y="423"/>
                </a:cubicBezTo>
                <a:cubicBezTo>
                  <a:pt x="893" y="423"/>
                  <a:pt x="893" y="423"/>
                  <a:pt x="893" y="423"/>
                </a:cubicBezTo>
                <a:cubicBezTo>
                  <a:pt x="892" y="424"/>
                  <a:pt x="892" y="424"/>
                  <a:pt x="892" y="424"/>
                </a:cubicBezTo>
                <a:cubicBezTo>
                  <a:pt x="893" y="425"/>
                  <a:pt x="893" y="425"/>
                  <a:pt x="893" y="425"/>
                </a:cubicBezTo>
                <a:cubicBezTo>
                  <a:pt x="894" y="428"/>
                  <a:pt x="894" y="428"/>
                  <a:pt x="894" y="428"/>
                </a:cubicBezTo>
                <a:cubicBezTo>
                  <a:pt x="893" y="429"/>
                  <a:pt x="893" y="429"/>
                  <a:pt x="893" y="429"/>
                </a:cubicBezTo>
                <a:cubicBezTo>
                  <a:pt x="895" y="430"/>
                  <a:pt x="895" y="430"/>
                  <a:pt x="895" y="430"/>
                </a:cubicBezTo>
                <a:cubicBezTo>
                  <a:pt x="897" y="431"/>
                  <a:pt x="897" y="431"/>
                  <a:pt x="897" y="431"/>
                </a:cubicBezTo>
                <a:cubicBezTo>
                  <a:pt x="896" y="430"/>
                  <a:pt x="896" y="430"/>
                  <a:pt x="896" y="430"/>
                </a:cubicBezTo>
                <a:cubicBezTo>
                  <a:pt x="895" y="429"/>
                  <a:pt x="895" y="429"/>
                  <a:pt x="895" y="429"/>
                </a:cubicBezTo>
                <a:cubicBezTo>
                  <a:pt x="894" y="427"/>
                  <a:pt x="894" y="427"/>
                  <a:pt x="894" y="427"/>
                </a:cubicBezTo>
                <a:cubicBezTo>
                  <a:pt x="895" y="425"/>
                  <a:pt x="895" y="425"/>
                  <a:pt x="895" y="425"/>
                </a:cubicBezTo>
                <a:cubicBezTo>
                  <a:pt x="895" y="424"/>
                  <a:pt x="895" y="424"/>
                  <a:pt x="895" y="424"/>
                </a:cubicBezTo>
                <a:cubicBezTo>
                  <a:pt x="895" y="423"/>
                  <a:pt x="895" y="423"/>
                  <a:pt x="895" y="423"/>
                </a:cubicBezTo>
                <a:cubicBezTo>
                  <a:pt x="896" y="423"/>
                  <a:pt x="896" y="423"/>
                  <a:pt x="896" y="423"/>
                </a:cubicBezTo>
                <a:cubicBezTo>
                  <a:pt x="896" y="421"/>
                  <a:pt x="896" y="421"/>
                  <a:pt x="896" y="421"/>
                </a:cubicBezTo>
                <a:cubicBezTo>
                  <a:pt x="898" y="419"/>
                  <a:pt x="898" y="419"/>
                  <a:pt x="898" y="419"/>
                </a:cubicBezTo>
                <a:cubicBezTo>
                  <a:pt x="897" y="419"/>
                  <a:pt x="897" y="419"/>
                  <a:pt x="897" y="419"/>
                </a:cubicBezTo>
                <a:cubicBezTo>
                  <a:pt x="897" y="417"/>
                  <a:pt x="897" y="417"/>
                  <a:pt x="897" y="417"/>
                </a:cubicBezTo>
                <a:cubicBezTo>
                  <a:pt x="897" y="416"/>
                  <a:pt x="897" y="416"/>
                  <a:pt x="897" y="416"/>
                </a:cubicBezTo>
                <a:cubicBezTo>
                  <a:pt x="897" y="415"/>
                  <a:pt x="897" y="415"/>
                  <a:pt x="897" y="415"/>
                </a:cubicBezTo>
                <a:cubicBezTo>
                  <a:pt x="898" y="414"/>
                  <a:pt x="898" y="414"/>
                  <a:pt x="898" y="414"/>
                </a:cubicBezTo>
                <a:cubicBezTo>
                  <a:pt x="897" y="413"/>
                  <a:pt x="897" y="413"/>
                  <a:pt x="897" y="413"/>
                </a:cubicBezTo>
                <a:cubicBezTo>
                  <a:pt x="897" y="412"/>
                  <a:pt x="897" y="412"/>
                  <a:pt x="897" y="412"/>
                </a:cubicBezTo>
                <a:cubicBezTo>
                  <a:pt x="896" y="411"/>
                  <a:pt x="896" y="411"/>
                  <a:pt x="896" y="411"/>
                </a:cubicBezTo>
                <a:cubicBezTo>
                  <a:pt x="897" y="408"/>
                  <a:pt x="897" y="408"/>
                  <a:pt x="897" y="408"/>
                </a:cubicBezTo>
                <a:cubicBezTo>
                  <a:pt x="897" y="407"/>
                  <a:pt x="897" y="407"/>
                  <a:pt x="897" y="407"/>
                </a:cubicBezTo>
                <a:cubicBezTo>
                  <a:pt x="897" y="405"/>
                  <a:pt x="897" y="405"/>
                  <a:pt x="897" y="405"/>
                </a:cubicBezTo>
                <a:cubicBezTo>
                  <a:pt x="898" y="404"/>
                  <a:pt x="898" y="404"/>
                  <a:pt x="898" y="404"/>
                </a:cubicBezTo>
                <a:cubicBezTo>
                  <a:pt x="898" y="403"/>
                  <a:pt x="898" y="403"/>
                  <a:pt x="898" y="403"/>
                </a:cubicBezTo>
                <a:cubicBezTo>
                  <a:pt x="898" y="402"/>
                  <a:pt x="898" y="402"/>
                  <a:pt x="898" y="402"/>
                </a:cubicBezTo>
                <a:cubicBezTo>
                  <a:pt x="899" y="401"/>
                  <a:pt x="899" y="401"/>
                  <a:pt x="899" y="401"/>
                </a:cubicBezTo>
                <a:cubicBezTo>
                  <a:pt x="898" y="401"/>
                  <a:pt x="898" y="401"/>
                  <a:pt x="898" y="401"/>
                </a:cubicBezTo>
                <a:cubicBezTo>
                  <a:pt x="898" y="400"/>
                  <a:pt x="898" y="400"/>
                  <a:pt x="898" y="400"/>
                </a:cubicBezTo>
                <a:cubicBezTo>
                  <a:pt x="898" y="399"/>
                  <a:pt x="898" y="399"/>
                  <a:pt x="898" y="399"/>
                </a:cubicBezTo>
                <a:cubicBezTo>
                  <a:pt x="898" y="398"/>
                  <a:pt x="898" y="398"/>
                  <a:pt x="898" y="398"/>
                </a:cubicBezTo>
                <a:cubicBezTo>
                  <a:pt x="897" y="397"/>
                  <a:pt x="897" y="397"/>
                  <a:pt x="897" y="397"/>
                </a:cubicBezTo>
                <a:cubicBezTo>
                  <a:pt x="897" y="395"/>
                  <a:pt x="897" y="395"/>
                  <a:pt x="897" y="395"/>
                </a:cubicBezTo>
                <a:cubicBezTo>
                  <a:pt x="898" y="394"/>
                  <a:pt x="898" y="394"/>
                  <a:pt x="898" y="394"/>
                </a:cubicBezTo>
                <a:cubicBezTo>
                  <a:pt x="901" y="394"/>
                  <a:pt x="901" y="394"/>
                  <a:pt x="901" y="394"/>
                </a:cubicBezTo>
                <a:cubicBezTo>
                  <a:pt x="902" y="393"/>
                  <a:pt x="902" y="393"/>
                  <a:pt x="902" y="393"/>
                </a:cubicBezTo>
                <a:cubicBezTo>
                  <a:pt x="904" y="393"/>
                  <a:pt x="904" y="393"/>
                  <a:pt x="904" y="393"/>
                </a:cubicBezTo>
                <a:cubicBezTo>
                  <a:pt x="904" y="392"/>
                  <a:pt x="904" y="392"/>
                  <a:pt x="904" y="392"/>
                </a:cubicBezTo>
                <a:cubicBezTo>
                  <a:pt x="907" y="391"/>
                  <a:pt x="907" y="391"/>
                  <a:pt x="907" y="391"/>
                </a:cubicBezTo>
                <a:cubicBezTo>
                  <a:pt x="911" y="389"/>
                  <a:pt x="911" y="389"/>
                  <a:pt x="911" y="389"/>
                </a:cubicBezTo>
                <a:cubicBezTo>
                  <a:pt x="911" y="388"/>
                  <a:pt x="911" y="388"/>
                  <a:pt x="911" y="388"/>
                </a:cubicBezTo>
                <a:cubicBezTo>
                  <a:pt x="914" y="387"/>
                  <a:pt x="914" y="387"/>
                  <a:pt x="914" y="387"/>
                </a:cubicBezTo>
                <a:cubicBezTo>
                  <a:pt x="915" y="386"/>
                  <a:pt x="915" y="386"/>
                  <a:pt x="915" y="386"/>
                </a:cubicBezTo>
                <a:cubicBezTo>
                  <a:pt x="916" y="385"/>
                  <a:pt x="916" y="385"/>
                  <a:pt x="916" y="385"/>
                </a:cubicBezTo>
                <a:cubicBezTo>
                  <a:pt x="918" y="382"/>
                  <a:pt x="918" y="382"/>
                  <a:pt x="918" y="382"/>
                </a:cubicBezTo>
                <a:cubicBezTo>
                  <a:pt x="919" y="383"/>
                  <a:pt x="919" y="383"/>
                  <a:pt x="919" y="383"/>
                </a:cubicBezTo>
                <a:cubicBezTo>
                  <a:pt x="920" y="383"/>
                  <a:pt x="920" y="383"/>
                  <a:pt x="920" y="383"/>
                </a:cubicBezTo>
                <a:cubicBezTo>
                  <a:pt x="921" y="382"/>
                  <a:pt x="921" y="382"/>
                  <a:pt x="921" y="382"/>
                </a:cubicBezTo>
                <a:cubicBezTo>
                  <a:pt x="920" y="381"/>
                  <a:pt x="920" y="381"/>
                  <a:pt x="920" y="381"/>
                </a:cubicBezTo>
                <a:cubicBezTo>
                  <a:pt x="920" y="379"/>
                  <a:pt x="920" y="379"/>
                  <a:pt x="920" y="379"/>
                </a:cubicBezTo>
                <a:cubicBezTo>
                  <a:pt x="919" y="380"/>
                  <a:pt x="919" y="380"/>
                  <a:pt x="919" y="380"/>
                </a:cubicBezTo>
                <a:cubicBezTo>
                  <a:pt x="919" y="379"/>
                  <a:pt x="919" y="379"/>
                  <a:pt x="919" y="379"/>
                </a:cubicBezTo>
                <a:cubicBezTo>
                  <a:pt x="920" y="376"/>
                  <a:pt x="920" y="376"/>
                  <a:pt x="920" y="376"/>
                </a:cubicBezTo>
                <a:cubicBezTo>
                  <a:pt x="921" y="376"/>
                  <a:pt x="921" y="376"/>
                  <a:pt x="921" y="376"/>
                </a:cubicBezTo>
                <a:cubicBezTo>
                  <a:pt x="921" y="374"/>
                  <a:pt x="921" y="374"/>
                  <a:pt x="921" y="374"/>
                </a:cubicBezTo>
                <a:cubicBezTo>
                  <a:pt x="921" y="372"/>
                  <a:pt x="921" y="372"/>
                  <a:pt x="921" y="372"/>
                </a:cubicBezTo>
                <a:cubicBezTo>
                  <a:pt x="920" y="370"/>
                  <a:pt x="920" y="370"/>
                  <a:pt x="920" y="370"/>
                </a:cubicBezTo>
                <a:cubicBezTo>
                  <a:pt x="920" y="366"/>
                  <a:pt x="920" y="366"/>
                  <a:pt x="920" y="366"/>
                </a:cubicBezTo>
                <a:cubicBezTo>
                  <a:pt x="920" y="363"/>
                  <a:pt x="920" y="363"/>
                  <a:pt x="920" y="363"/>
                </a:cubicBezTo>
                <a:cubicBezTo>
                  <a:pt x="918" y="360"/>
                  <a:pt x="918" y="360"/>
                  <a:pt x="918" y="360"/>
                </a:cubicBezTo>
                <a:cubicBezTo>
                  <a:pt x="916" y="359"/>
                  <a:pt x="916" y="359"/>
                  <a:pt x="916" y="359"/>
                </a:cubicBezTo>
                <a:cubicBezTo>
                  <a:pt x="916" y="358"/>
                  <a:pt x="916" y="358"/>
                  <a:pt x="916" y="358"/>
                </a:cubicBezTo>
                <a:cubicBezTo>
                  <a:pt x="915" y="358"/>
                  <a:pt x="915" y="358"/>
                  <a:pt x="915" y="358"/>
                </a:cubicBezTo>
                <a:cubicBezTo>
                  <a:pt x="914" y="357"/>
                  <a:pt x="914" y="357"/>
                  <a:pt x="914" y="357"/>
                </a:cubicBezTo>
                <a:cubicBezTo>
                  <a:pt x="915" y="354"/>
                  <a:pt x="915" y="354"/>
                  <a:pt x="915" y="354"/>
                </a:cubicBezTo>
                <a:cubicBezTo>
                  <a:pt x="916" y="354"/>
                  <a:pt x="916" y="354"/>
                  <a:pt x="916" y="354"/>
                </a:cubicBezTo>
                <a:cubicBezTo>
                  <a:pt x="920" y="350"/>
                  <a:pt x="920" y="350"/>
                  <a:pt x="920" y="350"/>
                </a:cubicBezTo>
                <a:cubicBezTo>
                  <a:pt x="921" y="350"/>
                  <a:pt x="921" y="350"/>
                  <a:pt x="921" y="350"/>
                </a:cubicBezTo>
                <a:cubicBezTo>
                  <a:pt x="921" y="349"/>
                  <a:pt x="921" y="349"/>
                  <a:pt x="921" y="349"/>
                </a:cubicBezTo>
                <a:cubicBezTo>
                  <a:pt x="921" y="348"/>
                  <a:pt x="921" y="348"/>
                  <a:pt x="921" y="348"/>
                </a:cubicBezTo>
                <a:cubicBezTo>
                  <a:pt x="921" y="347"/>
                  <a:pt x="921" y="347"/>
                  <a:pt x="921" y="347"/>
                </a:cubicBezTo>
                <a:cubicBezTo>
                  <a:pt x="922" y="346"/>
                  <a:pt x="922" y="346"/>
                  <a:pt x="922" y="346"/>
                </a:cubicBezTo>
                <a:cubicBezTo>
                  <a:pt x="923" y="346"/>
                  <a:pt x="923" y="346"/>
                  <a:pt x="923" y="346"/>
                </a:cubicBezTo>
                <a:cubicBezTo>
                  <a:pt x="924" y="347"/>
                  <a:pt x="924" y="347"/>
                  <a:pt x="924" y="347"/>
                </a:cubicBezTo>
                <a:cubicBezTo>
                  <a:pt x="924" y="346"/>
                  <a:pt x="924" y="346"/>
                  <a:pt x="924" y="346"/>
                </a:cubicBezTo>
                <a:cubicBezTo>
                  <a:pt x="925" y="345"/>
                  <a:pt x="925" y="345"/>
                  <a:pt x="925" y="345"/>
                </a:cubicBezTo>
                <a:cubicBezTo>
                  <a:pt x="927" y="343"/>
                  <a:pt x="927" y="343"/>
                  <a:pt x="927" y="343"/>
                </a:cubicBezTo>
                <a:cubicBezTo>
                  <a:pt x="926" y="342"/>
                  <a:pt x="926" y="342"/>
                  <a:pt x="926" y="342"/>
                </a:cubicBezTo>
                <a:cubicBezTo>
                  <a:pt x="925" y="342"/>
                  <a:pt x="925" y="342"/>
                  <a:pt x="925" y="342"/>
                </a:cubicBezTo>
                <a:cubicBezTo>
                  <a:pt x="925" y="341"/>
                  <a:pt x="925" y="341"/>
                  <a:pt x="925" y="341"/>
                </a:cubicBezTo>
                <a:cubicBezTo>
                  <a:pt x="926" y="340"/>
                  <a:pt x="926" y="340"/>
                  <a:pt x="926" y="340"/>
                </a:cubicBezTo>
                <a:cubicBezTo>
                  <a:pt x="925" y="339"/>
                  <a:pt x="925" y="339"/>
                  <a:pt x="925" y="339"/>
                </a:cubicBezTo>
                <a:cubicBezTo>
                  <a:pt x="925" y="338"/>
                  <a:pt x="925" y="338"/>
                  <a:pt x="925" y="338"/>
                </a:cubicBezTo>
                <a:cubicBezTo>
                  <a:pt x="926" y="337"/>
                  <a:pt x="926" y="337"/>
                  <a:pt x="926" y="337"/>
                </a:cubicBezTo>
                <a:cubicBezTo>
                  <a:pt x="925" y="337"/>
                  <a:pt x="925" y="337"/>
                  <a:pt x="925" y="337"/>
                </a:cubicBezTo>
                <a:cubicBezTo>
                  <a:pt x="925" y="336"/>
                  <a:pt x="925" y="336"/>
                  <a:pt x="925" y="336"/>
                </a:cubicBezTo>
                <a:cubicBezTo>
                  <a:pt x="926" y="334"/>
                  <a:pt x="926" y="334"/>
                  <a:pt x="926" y="334"/>
                </a:cubicBezTo>
                <a:cubicBezTo>
                  <a:pt x="927" y="334"/>
                  <a:pt x="927" y="334"/>
                  <a:pt x="927" y="334"/>
                </a:cubicBezTo>
                <a:cubicBezTo>
                  <a:pt x="926" y="333"/>
                  <a:pt x="926" y="333"/>
                  <a:pt x="926" y="333"/>
                </a:cubicBezTo>
                <a:cubicBezTo>
                  <a:pt x="924" y="334"/>
                  <a:pt x="924" y="334"/>
                  <a:pt x="924" y="334"/>
                </a:cubicBezTo>
                <a:cubicBezTo>
                  <a:pt x="923" y="333"/>
                  <a:pt x="923" y="333"/>
                  <a:pt x="923" y="333"/>
                </a:cubicBezTo>
                <a:cubicBezTo>
                  <a:pt x="923" y="332"/>
                  <a:pt x="923" y="332"/>
                  <a:pt x="923" y="332"/>
                </a:cubicBezTo>
                <a:cubicBezTo>
                  <a:pt x="926" y="330"/>
                  <a:pt x="926" y="330"/>
                  <a:pt x="926" y="330"/>
                </a:cubicBezTo>
                <a:cubicBezTo>
                  <a:pt x="928" y="328"/>
                  <a:pt x="928" y="328"/>
                  <a:pt x="928" y="328"/>
                </a:cubicBezTo>
                <a:cubicBezTo>
                  <a:pt x="928" y="326"/>
                  <a:pt x="928" y="326"/>
                  <a:pt x="928" y="326"/>
                </a:cubicBezTo>
                <a:cubicBezTo>
                  <a:pt x="929" y="327"/>
                  <a:pt x="929" y="327"/>
                  <a:pt x="929" y="327"/>
                </a:cubicBezTo>
                <a:cubicBezTo>
                  <a:pt x="929" y="326"/>
                  <a:pt x="929" y="326"/>
                  <a:pt x="929" y="326"/>
                </a:cubicBezTo>
                <a:cubicBezTo>
                  <a:pt x="929" y="324"/>
                  <a:pt x="929" y="324"/>
                  <a:pt x="929" y="324"/>
                </a:cubicBezTo>
                <a:cubicBezTo>
                  <a:pt x="928" y="324"/>
                  <a:pt x="928" y="324"/>
                  <a:pt x="928" y="324"/>
                </a:cubicBezTo>
                <a:cubicBezTo>
                  <a:pt x="927" y="322"/>
                  <a:pt x="927" y="322"/>
                  <a:pt x="927" y="322"/>
                </a:cubicBezTo>
                <a:cubicBezTo>
                  <a:pt x="927" y="320"/>
                  <a:pt x="927" y="320"/>
                  <a:pt x="927" y="320"/>
                </a:cubicBezTo>
                <a:cubicBezTo>
                  <a:pt x="928" y="318"/>
                  <a:pt x="928" y="318"/>
                  <a:pt x="928" y="318"/>
                </a:cubicBezTo>
                <a:cubicBezTo>
                  <a:pt x="928" y="316"/>
                  <a:pt x="928" y="316"/>
                  <a:pt x="928" y="316"/>
                </a:cubicBezTo>
                <a:cubicBezTo>
                  <a:pt x="929" y="316"/>
                  <a:pt x="929" y="316"/>
                  <a:pt x="929" y="316"/>
                </a:cubicBezTo>
                <a:cubicBezTo>
                  <a:pt x="930" y="316"/>
                  <a:pt x="930" y="316"/>
                  <a:pt x="930" y="316"/>
                </a:cubicBezTo>
                <a:cubicBezTo>
                  <a:pt x="930" y="315"/>
                  <a:pt x="930" y="315"/>
                  <a:pt x="930" y="315"/>
                </a:cubicBezTo>
                <a:cubicBezTo>
                  <a:pt x="931" y="315"/>
                  <a:pt x="931" y="315"/>
                  <a:pt x="931" y="315"/>
                </a:cubicBezTo>
                <a:cubicBezTo>
                  <a:pt x="932" y="315"/>
                  <a:pt x="932" y="315"/>
                  <a:pt x="932" y="315"/>
                </a:cubicBezTo>
                <a:cubicBezTo>
                  <a:pt x="933" y="314"/>
                  <a:pt x="933" y="314"/>
                  <a:pt x="933" y="314"/>
                </a:cubicBezTo>
                <a:cubicBezTo>
                  <a:pt x="934" y="315"/>
                  <a:pt x="934" y="315"/>
                  <a:pt x="934" y="315"/>
                </a:cubicBezTo>
                <a:cubicBezTo>
                  <a:pt x="936" y="315"/>
                  <a:pt x="936" y="315"/>
                  <a:pt x="936" y="315"/>
                </a:cubicBezTo>
                <a:cubicBezTo>
                  <a:pt x="938" y="316"/>
                  <a:pt x="938" y="316"/>
                  <a:pt x="938" y="316"/>
                </a:cubicBezTo>
                <a:cubicBezTo>
                  <a:pt x="941" y="318"/>
                  <a:pt x="941" y="318"/>
                  <a:pt x="941" y="318"/>
                </a:cubicBezTo>
                <a:cubicBezTo>
                  <a:pt x="942" y="318"/>
                  <a:pt x="942" y="318"/>
                  <a:pt x="942" y="318"/>
                </a:cubicBezTo>
                <a:cubicBezTo>
                  <a:pt x="942" y="319"/>
                  <a:pt x="942" y="319"/>
                  <a:pt x="942" y="319"/>
                </a:cubicBezTo>
                <a:cubicBezTo>
                  <a:pt x="944" y="318"/>
                  <a:pt x="944" y="318"/>
                  <a:pt x="944" y="318"/>
                </a:cubicBezTo>
                <a:cubicBezTo>
                  <a:pt x="945" y="318"/>
                  <a:pt x="945" y="318"/>
                  <a:pt x="945" y="318"/>
                </a:cubicBezTo>
                <a:cubicBezTo>
                  <a:pt x="946" y="319"/>
                  <a:pt x="946" y="319"/>
                  <a:pt x="946" y="319"/>
                </a:cubicBezTo>
                <a:cubicBezTo>
                  <a:pt x="947" y="319"/>
                  <a:pt x="947" y="319"/>
                  <a:pt x="947" y="319"/>
                </a:cubicBezTo>
                <a:cubicBezTo>
                  <a:pt x="948" y="320"/>
                  <a:pt x="948" y="320"/>
                  <a:pt x="948" y="320"/>
                </a:cubicBezTo>
                <a:cubicBezTo>
                  <a:pt x="948" y="319"/>
                  <a:pt x="948" y="319"/>
                  <a:pt x="948" y="319"/>
                </a:cubicBezTo>
                <a:cubicBezTo>
                  <a:pt x="949" y="319"/>
                  <a:pt x="949" y="319"/>
                  <a:pt x="949" y="319"/>
                </a:cubicBezTo>
                <a:cubicBezTo>
                  <a:pt x="950" y="319"/>
                  <a:pt x="950" y="319"/>
                  <a:pt x="950" y="319"/>
                </a:cubicBezTo>
                <a:cubicBezTo>
                  <a:pt x="951" y="319"/>
                  <a:pt x="951" y="319"/>
                  <a:pt x="951" y="319"/>
                </a:cubicBezTo>
                <a:cubicBezTo>
                  <a:pt x="952" y="318"/>
                  <a:pt x="952" y="318"/>
                  <a:pt x="952" y="318"/>
                </a:cubicBezTo>
                <a:cubicBezTo>
                  <a:pt x="954" y="319"/>
                  <a:pt x="954" y="319"/>
                  <a:pt x="954" y="319"/>
                </a:cubicBezTo>
                <a:cubicBezTo>
                  <a:pt x="954" y="321"/>
                  <a:pt x="954" y="321"/>
                  <a:pt x="954" y="321"/>
                </a:cubicBezTo>
                <a:cubicBezTo>
                  <a:pt x="956" y="322"/>
                  <a:pt x="956" y="322"/>
                  <a:pt x="956" y="322"/>
                </a:cubicBezTo>
                <a:cubicBezTo>
                  <a:pt x="957" y="322"/>
                  <a:pt x="957" y="322"/>
                  <a:pt x="957" y="322"/>
                </a:cubicBezTo>
                <a:cubicBezTo>
                  <a:pt x="957" y="324"/>
                  <a:pt x="957" y="324"/>
                  <a:pt x="957" y="324"/>
                </a:cubicBezTo>
                <a:cubicBezTo>
                  <a:pt x="956" y="325"/>
                  <a:pt x="956" y="325"/>
                  <a:pt x="956" y="325"/>
                </a:cubicBezTo>
                <a:cubicBezTo>
                  <a:pt x="956" y="326"/>
                  <a:pt x="956" y="326"/>
                  <a:pt x="956" y="326"/>
                </a:cubicBezTo>
                <a:cubicBezTo>
                  <a:pt x="957" y="325"/>
                  <a:pt x="957" y="325"/>
                  <a:pt x="957" y="325"/>
                </a:cubicBezTo>
                <a:cubicBezTo>
                  <a:pt x="958" y="326"/>
                  <a:pt x="958" y="326"/>
                  <a:pt x="958" y="326"/>
                </a:cubicBezTo>
                <a:cubicBezTo>
                  <a:pt x="959" y="328"/>
                  <a:pt x="959" y="328"/>
                  <a:pt x="959" y="328"/>
                </a:cubicBezTo>
                <a:cubicBezTo>
                  <a:pt x="958" y="328"/>
                  <a:pt x="958" y="328"/>
                  <a:pt x="958" y="328"/>
                </a:cubicBezTo>
                <a:cubicBezTo>
                  <a:pt x="959" y="329"/>
                  <a:pt x="959" y="329"/>
                  <a:pt x="959" y="329"/>
                </a:cubicBezTo>
                <a:cubicBezTo>
                  <a:pt x="960" y="328"/>
                  <a:pt x="960" y="328"/>
                  <a:pt x="960" y="328"/>
                </a:cubicBezTo>
                <a:cubicBezTo>
                  <a:pt x="961" y="329"/>
                  <a:pt x="961" y="329"/>
                  <a:pt x="961" y="329"/>
                </a:cubicBezTo>
                <a:cubicBezTo>
                  <a:pt x="961" y="330"/>
                  <a:pt x="961" y="330"/>
                  <a:pt x="961" y="330"/>
                </a:cubicBezTo>
                <a:cubicBezTo>
                  <a:pt x="960" y="329"/>
                  <a:pt x="960" y="329"/>
                  <a:pt x="960" y="329"/>
                </a:cubicBezTo>
                <a:cubicBezTo>
                  <a:pt x="959" y="331"/>
                  <a:pt x="959" y="331"/>
                  <a:pt x="959" y="331"/>
                </a:cubicBezTo>
                <a:cubicBezTo>
                  <a:pt x="958" y="331"/>
                  <a:pt x="958" y="331"/>
                  <a:pt x="958" y="331"/>
                </a:cubicBezTo>
                <a:cubicBezTo>
                  <a:pt x="960" y="332"/>
                  <a:pt x="960" y="332"/>
                  <a:pt x="960" y="332"/>
                </a:cubicBezTo>
                <a:cubicBezTo>
                  <a:pt x="960" y="333"/>
                  <a:pt x="960" y="333"/>
                  <a:pt x="960" y="333"/>
                </a:cubicBezTo>
                <a:cubicBezTo>
                  <a:pt x="961" y="332"/>
                  <a:pt x="961" y="332"/>
                  <a:pt x="961" y="332"/>
                </a:cubicBezTo>
                <a:cubicBezTo>
                  <a:pt x="961" y="333"/>
                  <a:pt x="961" y="333"/>
                  <a:pt x="961" y="333"/>
                </a:cubicBezTo>
                <a:cubicBezTo>
                  <a:pt x="962" y="333"/>
                  <a:pt x="962" y="333"/>
                  <a:pt x="962" y="333"/>
                </a:cubicBezTo>
                <a:cubicBezTo>
                  <a:pt x="964" y="334"/>
                  <a:pt x="964" y="334"/>
                  <a:pt x="964" y="334"/>
                </a:cubicBezTo>
                <a:cubicBezTo>
                  <a:pt x="965" y="334"/>
                  <a:pt x="965" y="334"/>
                  <a:pt x="965" y="334"/>
                </a:cubicBezTo>
                <a:cubicBezTo>
                  <a:pt x="965" y="335"/>
                  <a:pt x="965" y="335"/>
                  <a:pt x="965" y="335"/>
                </a:cubicBezTo>
                <a:cubicBezTo>
                  <a:pt x="966" y="334"/>
                  <a:pt x="966" y="334"/>
                  <a:pt x="966" y="334"/>
                </a:cubicBezTo>
                <a:cubicBezTo>
                  <a:pt x="968" y="335"/>
                  <a:pt x="968" y="335"/>
                  <a:pt x="968" y="335"/>
                </a:cubicBezTo>
                <a:cubicBezTo>
                  <a:pt x="968" y="337"/>
                  <a:pt x="968" y="337"/>
                  <a:pt x="968" y="337"/>
                </a:cubicBezTo>
                <a:cubicBezTo>
                  <a:pt x="968" y="338"/>
                  <a:pt x="968" y="338"/>
                  <a:pt x="968" y="338"/>
                </a:cubicBezTo>
                <a:cubicBezTo>
                  <a:pt x="970" y="337"/>
                  <a:pt x="970" y="337"/>
                  <a:pt x="970" y="337"/>
                </a:cubicBezTo>
                <a:cubicBezTo>
                  <a:pt x="970" y="335"/>
                  <a:pt x="970" y="335"/>
                  <a:pt x="970" y="335"/>
                </a:cubicBezTo>
                <a:cubicBezTo>
                  <a:pt x="971" y="335"/>
                  <a:pt x="971" y="335"/>
                  <a:pt x="971" y="335"/>
                </a:cubicBezTo>
                <a:cubicBezTo>
                  <a:pt x="971" y="337"/>
                  <a:pt x="971" y="337"/>
                  <a:pt x="971" y="337"/>
                </a:cubicBezTo>
                <a:cubicBezTo>
                  <a:pt x="971" y="339"/>
                  <a:pt x="971" y="339"/>
                  <a:pt x="971" y="339"/>
                </a:cubicBezTo>
                <a:cubicBezTo>
                  <a:pt x="969" y="339"/>
                  <a:pt x="969" y="339"/>
                  <a:pt x="969" y="339"/>
                </a:cubicBezTo>
                <a:cubicBezTo>
                  <a:pt x="968" y="341"/>
                  <a:pt x="968" y="341"/>
                  <a:pt x="968" y="341"/>
                </a:cubicBezTo>
                <a:cubicBezTo>
                  <a:pt x="968" y="344"/>
                  <a:pt x="968" y="344"/>
                  <a:pt x="968" y="344"/>
                </a:cubicBezTo>
                <a:cubicBezTo>
                  <a:pt x="967" y="345"/>
                  <a:pt x="967" y="345"/>
                  <a:pt x="967" y="345"/>
                </a:cubicBezTo>
                <a:cubicBezTo>
                  <a:pt x="967" y="346"/>
                  <a:pt x="967" y="346"/>
                  <a:pt x="967" y="346"/>
                </a:cubicBezTo>
                <a:cubicBezTo>
                  <a:pt x="964" y="346"/>
                  <a:pt x="964" y="346"/>
                  <a:pt x="964" y="346"/>
                </a:cubicBezTo>
                <a:cubicBezTo>
                  <a:pt x="961" y="345"/>
                  <a:pt x="961" y="345"/>
                  <a:pt x="961" y="345"/>
                </a:cubicBezTo>
                <a:cubicBezTo>
                  <a:pt x="964" y="347"/>
                  <a:pt x="964" y="347"/>
                  <a:pt x="964" y="347"/>
                </a:cubicBezTo>
                <a:cubicBezTo>
                  <a:pt x="966" y="347"/>
                  <a:pt x="966" y="347"/>
                  <a:pt x="966" y="347"/>
                </a:cubicBezTo>
                <a:cubicBezTo>
                  <a:pt x="968" y="348"/>
                  <a:pt x="968" y="348"/>
                  <a:pt x="968" y="348"/>
                </a:cubicBezTo>
                <a:cubicBezTo>
                  <a:pt x="967" y="351"/>
                  <a:pt x="967" y="351"/>
                  <a:pt x="967" y="351"/>
                </a:cubicBezTo>
                <a:cubicBezTo>
                  <a:pt x="966" y="352"/>
                  <a:pt x="966" y="352"/>
                  <a:pt x="966" y="352"/>
                </a:cubicBezTo>
                <a:cubicBezTo>
                  <a:pt x="966" y="353"/>
                  <a:pt x="966" y="353"/>
                  <a:pt x="966" y="353"/>
                </a:cubicBezTo>
                <a:cubicBezTo>
                  <a:pt x="965" y="355"/>
                  <a:pt x="965" y="355"/>
                  <a:pt x="965" y="355"/>
                </a:cubicBezTo>
                <a:cubicBezTo>
                  <a:pt x="967" y="357"/>
                  <a:pt x="967" y="357"/>
                  <a:pt x="967" y="357"/>
                </a:cubicBezTo>
                <a:cubicBezTo>
                  <a:pt x="968" y="358"/>
                  <a:pt x="968" y="358"/>
                  <a:pt x="968" y="358"/>
                </a:cubicBezTo>
                <a:cubicBezTo>
                  <a:pt x="967" y="358"/>
                  <a:pt x="967" y="358"/>
                  <a:pt x="967" y="358"/>
                </a:cubicBezTo>
                <a:cubicBezTo>
                  <a:pt x="965" y="357"/>
                  <a:pt x="965" y="357"/>
                  <a:pt x="965" y="357"/>
                </a:cubicBezTo>
                <a:cubicBezTo>
                  <a:pt x="966" y="359"/>
                  <a:pt x="966" y="359"/>
                  <a:pt x="966" y="359"/>
                </a:cubicBezTo>
                <a:cubicBezTo>
                  <a:pt x="968" y="360"/>
                  <a:pt x="968" y="360"/>
                  <a:pt x="968" y="360"/>
                </a:cubicBezTo>
                <a:cubicBezTo>
                  <a:pt x="968" y="358"/>
                  <a:pt x="968" y="358"/>
                  <a:pt x="968" y="358"/>
                </a:cubicBezTo>
                <a:cubicBezTo>
                  <a:pt x="969" y="358"/>
                  <a:pt x="969" y="358"/>
                  <a:pt x="969" y="358"/>
                </a:cubicBezTo>
                <a:cubicBezTo>
                  <a:pt x="970" y="360"/>
                  <a:pt x="970" y="360"/>
                  <a:pt x="970" y="360"/>
                </a:cubicBezTo>
                <a:cubicBezTo>
                  <a:pt x="971" y="361"/>
                  <a:pt x="971" y="361"/>
                  <a:pt x="971" y="361"/>
                </a:cubicBezTo>
                <a:cubicBezTo>
                  <a:pt x="970" y="362"/>
                  <a:pt x="970" y="362"/>
                  <a:pt x="970" y="362"/>
                </a:cubicBezTo>
                <a:cubicBezTo>
                  <a:pt x="970" y="364"/>
                  <a:pt x="970" y="364"/>
                  <a:pt x="970" y="364"/>
                </a:cubicBezTo>
                <a:cubicBezTo>
                  <a:pt x="969" y="366"/>
                  <a:pt x="969" y="366"/>
                  <a:pt x="969" y="366"/>
                </a:cubicBezTo>
                <a:cubicBezTo>
                  <a:pt x="969" y="367"/>
                  <a:pt x="969" y="367"/>
                  <a:pt x="969" y="367"/>
                </a:cubicBezTo>
                <a:cubicBezTo>
                  <a:pt x="968" y="368"/>
                  <a:pt x="968" y="368"/>
                  <a:pt x="968" y="368"/>
                </a:cubicBezTo>
                <a:cubicBezTo>
                  <a:pt x="969" y="368"/>
                  <a:pt x="969" y="368"/>
                  <a:pt x="969" y="368"/>
                </a:cubicBezTo>
                <a:cubicBezTo>
                  <a:pt x="971" y="364"/>
                  <a:pt x="971" y="364"/>
                  <a:pt x="971" y="364"/>
                </a:cubicBezTo>
                <a:cubicBezTo>
                  <a:pt x="973" y="363"/>
                  <a:pt x="973" y="363"/>
                  <a:pt x="973" y="363"/>
                </a:cubicBezTo>
                <a:cubicBezTo>
                  <a:pt x="973" y="364"/>
                  <a:pt x="973" y="364"/>
                  <a:pt x="973" y="364"/>
                </a:cubicBezTo>
                <a:cubicBezTo>
                  <a:pt x="973" y="366"/>
                  <a:pt x="973" y="366"/>
                  <a:pt x="973" y="366"/>
                </a:cubicBezTo>
                <a:cubicBezTo>
                  <a:pt x="972" y="367"/>
                  <a:pt x="972" y="367"/>
                  <a:pt x="972" y="367"/>
                </a:cubicBezTo>
                <a:cubicBezTo>
                  <a:pt x="973" y="368"/>
                  <a:pt x="973" y="368"/>
                  <a:pt x="973" y="368"/>
                </a:cubicBezTo>
                <a:cubicBezTo>
                  <a:pt x="974" y="366"/>
                  <a:pt x="974" y="366"/>
                  <a:pt x="974" y="366"/>
                </a:cubicBezTo>
                <a:cubicBezTo>
                  <a:pt x="975" y="365"/>
                  <a:pt x="975" y="365"/>
                  <a:pt x="975" y="365"/>
                </a:cubicBezTo>
                <a:cubicBezTo>
                  <a:pt x="976" y="365"/>
                  <a:pt x="976" y="365"/>
                  <a:pt x="976" y="365"/>
                </a:cubicBezTo>
                <a:cubicBezTo>
                  <a:pt x="977" y="364"/>
                  <a:pt x="977" y="364"/>
                  <a:pt x="977" y="364"/>
                </a:cubicBezTo>
                <a:cubicBezTo>
                  <a:pt x="978" y="364"/>
                  <a:pt x="978" y="364"/>
                  <a:pt x="978" y="364"/>
                </a:cubicBezTo>
                <a:cubicBezTo>
                  <a:pt x="978" y="365"/>
                  <a:pt x="978" y="365"/>
                  <a:pt x="978" y="365"/>
                </a:cubicBezTo>
                <a:cubicBezTo>
                  <a:pt x="979" y="364"/>
                  <a:pt x="979" y="364"/>
                  <a:pt x="979" y="364"/>
                </a:cubicBezTo>
                <a:cubicBezTo>
                  <a:pt x="980" y="364"/>
                  <a:pt x="980" y="364"/>
                  <a:pt x="980" y="364"/>
                </a:cubicBezTo>
                <a:cubicBezTo>
                  <a:pt x="980" y="363"/>
                  <a:pt x="980" y="363"/>
                  <a:pt x="980" y="363"/>
                </a:cubicBezTo>
                <a:cubicBezTo>
                  <a:pt x="981" y="362"/>
                  <a:pt x="981" y="362"/>
                  <a:pt x="981" y="362"/>
                </a:cubicBezTo>
                <a:cubicBezTo>
                  <a:pt x="983" y="360"/>
                  <a:pt x="983" y="360"/>
                  <a:pt x="983" y="360"/>
                </a:cubicBezTo>
                <a:cubicBezTo>
                  <a:pt x="983" y="361"/>
                  <a:pt x="983" y="361"/>
                  <a:pt x="983" y="361"/>
                </a:cubicBezTo>
                <a:cubicBezTo>
                  <a:pt x="984" y="363"/>
                  <a:pt x="984" y="363"/>
                  <a:pt x="984" y="363"/>
                </a:cubicBezTo>
                <a:cubicBezTo>
                  <a:pt x="984" y="362"/>
                  <a:pt x="984" y="362"/>
                  <a:pt x="984" y="362"/>
                </a:cubicBezTo>
                <a:cubicBezTo>
                  <a:pt x="984" y="361"/>
                  <a:pt x="984" y="361"/>
                  <a:pt x="984" y="361"/>
                </a:cubicBezTo>
                <a:cubicBezTo>
                  <a:pt x="985" y="360"/>
                  <a:pt x="985" y="360"/>
                  <a:pt x="985" y="360"/>
                </a:cubicBezTo>
                <a:cubicBezTo>
                  <a:pt x="986" y="359"/>
                  <a:pt x="986" y="359"/>
                  <a:pt x="986" y="359"/>
                </a:cubicBezTo>
                <a:cubicBezTo>
                  <a:pt x="987" y="358"/>
                  <a:pt x="987" y="358"/>
                  <a:pt x="987" y="358"/>
                </a:cubicBezTo>
                <a:cubicBezTo>
                  <a:pt x="987" y="357"/>
                  <a:pt x="987" y="357"/>
                  <a:pt x="987" y="357"/>
                </a:cubicBezTo>
                <a:cubicBezTo>
                  <a:pt x="988" y="356"/>
                  <a:pt x="988" y="356"/>
                  <a:pt x="988" y="356"/>
                </a:cubicBezTo>
                <a:cubicBezTo>
                  <a:pt x="989" y="355"/>
                  <a:pt x="989" y="355"/>
                  <a:pt x="989" y="355"/>
                </a:cubicBezTo>
                <a:cubicBezTo>
                  <a:pt x="989" y="354"/>
                  <a:pt x="989" y="354"/>
                  <a:pt x="989" y="354"/>
                </a:cubicBezTo>
                <a:cubicBezTo>
                  <a:pt x="989" y="353"/>
                  <a:pt x="989" y="353"/>
                  <a:pt x="989" y="353"/>
                </a:cubicBezTo>
                <a:cubicBezTo>
                  <a:pt x="990" y="351"/>
                  <a:pt x="990" y="351"/>
                  <a:pt x="990" y="351"/>
                </a:cubicBezTo>
                <a:cubicBezTo>
                  <a:pt x="991" y="351"/>
                  <a:pt x="991" y="351"/>
                  <a:pt x="991" y="351"/>
                </a:cubicBezTo>
                <a:cubicBezTo>
                  <a:pt x="991" y="350"/>
                  <a:pt x="991" y="350"/>
                  <a:pt x="991" y="350"/>
                </a:cubicBezTo>
                <a:cubicBezTo>
                  <a:pt x="992" y="350"/>
                  <a:pt x="992" y="350"/>
                  <a:pt x="992" y="350"/>
                </a:cubicBezTo>
                <a:cubicBezTo>
                  <a:pt x="992" y="349"/>
                  <a:pt x="992" y="349"/>
                  <a:pt x="992" y="349"/>
                </a:cubicBezTo>
                <a:cubicBezTo>
                  <a:pt x="993" y="347"/>
                  <a:pt x="993" y="347"/>
                  <a:pt x="993" y="347"/>
                </a:cubicBezTo>
                <a:cubicBezTo>
                  <a:pt x="994" y="346"/>
                  <a:pt x="994" y="346"/>
                  <a:pt x="994" y="346"/>
                </a:cubicBezTo>
                <a:cubicBezTo>
                  <a:pt x="994" y="345"/>
                  <a:pt x="994" y="345"/>
                  <a:pt x="994" y="345"/>
                </a:cubicBezTo>
                <a:cubicBezTo>
                  <a:pt x="995" y="344"/>
                  <a:pt x="995" y="344"/>
                  <a:pt x="995" y="344"/>
                </a:cubicBezTo>
                <a:cubicBezTo>
                  <a:pt x="996" y="343"/>
                  <a:pt x="996" y="343"/>
                  <a:pt x="996" y="343"/>
                </a:cubicBezTo>
                <a:cubicBezTo>
                  <a:pt x="997" y="344"/>
                  <a:pt x="997" y="344"/>
                  <a:pt x="997" y="344"/>
                </a:cubicBezTo>
                <a:cubicBezTo>
                  <a:pt x="997" y="345"/>
                  <a:pt x="997" y="345"/>
                  <a:pt x="997" y="345"/>
                </a:cubicBezTo>
                <a:cubicBezTo>
                  <a:pt x="996" y="345"/>
                  <a:pt x="996" y="345"/>
                  <a:pt x="996" y="345"/>
                </a:cubicBezTo>
                <a:cubicBezTo>
                  <a:pt x="996" y="346"/>
                  <a:pt x="996" y="346"/>
                  <a:pt x="996" y="346"/>
                </a:cubicBezTo>
                <a:cubicBezTo>
                  <a:pt x="997" y="347"/>
                  <a:pt x="997" y="347"/>
                  <a:pt x="997" y="347"/>
                </a:cubicBezTo>
                <a:cubicBezTo>
                  <a:pt x="996" y="348"/>
                  <a:pt x="996" y="348"/>
                  <a:pt x="996" y="348"/>
                </a:cubicBezTo>
                <a:cubicBezTo>
                  <a:pt x="997" y="348"/>
                  <a:pt x="997" y="348"/>
                  <a:pt x="997" y="348"/>
                </a:cubicBezTo>
                <a:cubicBezTo>
                  <a:pt x="997" y="350"/>
                  <a:pt x="997" y="350"/>
                  <a:pt x="997" y="350"/>
                </a:cubicBezTo>
                <a:cubicBezTo>
                  <a:pt x="997" y="351"/>
                  <a:pt x="997" y="351"/>
                  <a:pt x="997" y="351"/>
                </a:cubicBezTo>
                <a:cubicBezTo>
                  <a:pt x="997" y="352"/>
                  <a:pt x="997" y="352"/>
                  <a:pt x="997" y="352"/>
                </a:cubicBezTo>
                <a:cubicBezTo>
                  <a:pt x="997" y="353"/>
                  <a:pt x="997" y="353"/>
                  <a:pt x="997" y="353"/>
                </a:cubicBezTo>
                <a:cubicBezTo>
                  <a:pt x="998" y="354"/>
                  <a:pt x="998" y="354"/>
                  <a:pt x="998" y="354"/>
                </a:cubicBezTo>
                <a:cubicBezTo>
                  <a:pt x="998" y="355"/>
                  <a:pt x="998" y="355"/>
                  <a:pt x="998" y="355"/>
                </a:cubicBezTo>
                <a:cubicBezTo>
                  <a:pt x="998" y="356"/>
                  <a:pt x="998" y="356"/>
                  <a:pt x="998" y="356"/>
                </a:cubicBezTo>
                <a:cubicBezTo>
                  <a:pt x="997" y="355"/>
                  <a:pt x="997" y="355"/>
                  <a:pt x="997" y="355"/>
                </a:cubicBezTo>
                <a:cubicBezTo>
                  <a:pt x="996" y="356"/>
                  <a:pt x="996" y="356"/>
                  <a:pt x="996" y="356"/>
                </a:cubicBezTo>
                <a:cubicBezTo>
                  <a:pt x="997" y="357"/>
                  <a:pt x="997" y="357"/>
                  <a:pt x="997" y="357"/>
                </a:cubicBezTo>
                <a:cubicBezTo>
                  <a:pt x="998" y="357"/>
                  <a:pt x="998" y="357"/>
                  <a:pt x="998" y="357"/>
                </a:cubicBezTo>
                <a:cubicBezTo>
                  <a:pt x="999" y="356"/>
                  <a:pt x="999" y="356"/>
                  <a:pt x="999" y="356"/>
                </a:cubicBezTo>
                <a:cubicBezTo>
                  <a:pt x="999" y="357"/>
                  <a:pt x="999" y="357"/>
                  <a:pt x="999" y="357"/>
                </a:cubicBezTo>
                <a:cubicBezTo>
                  <a:pt x="1000" y="358"/>
                  <a:pt x="1000" y="358"/>
                  <a:pt x="1000" y="358"/>
                </a:cubicBezTo>
                <a:cubicBezTo>
                  <a:pt x="999" y="359"/>
                  <a:pt x="999" y="359"/>
                  <a:pt x="999" y="359"/>
                </a:cubicBezTo>
                <a:cubicBezTo>
                  <a:pt x="998" y="360"/>
                  <a:pt x="998" y="360"/>
                  <a:pt x="998" y="360"/>
                </a:cubicBezTo>
                <a:cubicBezTo>
                  <a:pt x="996" y="359"/>
                  <a:pt x="996" y="359"/>
                  <a:pt x="996" y="359"/>
                </a:cubicBezTo>
                <a:cubicBezTo>
                  <a:pt x="996" y="360"/>
                  <a:pt x="996" y="360"/>
                  <a:pt x="996" y="360"/>
                </a:cubicBezTo>
                <a:cubicBezTo>
                  <a:pt x="997" y="361"/>
                  <a:pt x="997" y="361"/>
                  <a:pt x="997" y="361"/>
                </a:cubicBezTo>
                <a:cubicBezTo>
                  <a:pt x="999" y="360"/>
                  <a:pt x="999" y="360"/>
                  <a:pt x="999" y="360"/>
                </a:cubicBezTo>
                <a:cubicBezTo>
                  <a:pt x="1000" y="360"/>
                  <a:pt x="1000" y="360"/>
                  <a:pt x="1000" y="360"/>
                </a:cubicBezTo>
                <a:cubicBezTo>
                  <a:pt x="1000" y="361"/>
                  <a:pt x="1000" y="361"/>
                  <a:pt x="1000" y="361"/>
                </a:cubicBezTo>
                <a:cubicBezTo>
                  <a:pt x="999" y="363"/>
                  <a:pt x="999" y="363"/>
                  <a:pt x="999" y="363"/>
                </a:cubicBezTo>
                <a:cubicBezTo>
                  <a:pt x="1000" y="363"/>
                  <a:pt x="1000" y="363"/>
                  <a:pt x="1000" y="363"/>
                </a:cubicBezTo>
                <a:cubicBezTo>
                  <a:pt x="1001" y="362"/>
                  <a:pt x="1001" y="362"/>
                  <a:pt x="1001" y="362"/>
                </a:cubicBezTo>
                <a:cubicBezTo>
                  <a:pt x="1001" y="364"/>
                  <a:pt x="1001" y="364"/>
                  <a:pt x="1001" y="364"/>
                </a:cubicBezTo>
                <a:cubicBezTo>
                  <a:pt x="1000" y="365"/>
                  <a:pt x="1000" y="365"/>
                  <a:pt x="1000" y="365"/>
                </a:cubicBezTo>
                <a:cubicBezTo>
                  <a:pt x="998" y="365"/>
                  <a:pt x="998" y="365"/>
                  <a:pt x="998" y="365"/>
                </a:cubicBezTo>
                <a:cubicBezTo>
                  <a:pt x="997" y="365"/>
                  <a:pt x="997" y="365"/>
                  <a:pt x="997" y="365"/>
                </a:cubicBezTo>
                <a:cubicBezTo>
                  <a:pt x="997" y="366"/>
                  <a:pt x="997" y="366"/>
                  <a:pt x="997" y="366"/>
                </a:cubicBezTo>
                <a:cubicBezTo>
                  <a:pt x="996" y="367"/>
                  <a:pt x="996" y="367"/>
                  <a:pt x="996" y="367"/>
                </a:cubicBezTo>
                <a:cubicBezTo>
                  <a:pt x="998" y="367"/>
                  <a:pt x="998" y="367"/>
                  <a:pt x="998" y="367"/>
                </a:cubicBezTo>
                <a:cubicBezTo>
                  <a:pt x="1000" y="367"/>
                  <a:pt x="1000" y="367"/>
                  <a:pt x="1000" y="367"/>
                </a:cubicBezTo>
                <a:cubicBezTo>
                  <a:pt x="1001" y="366"/>
                  <a:pt x="1001" y="366"/>
                  <a:pt x="1001" y="366"/>
                </a:cubicBezTo>
                <a:cubicBezTo>
                  <a:pt x="1002" y="366"/>
                  <a:pt x="1002" y="366"/>
                  <a:pt x="1002" y="366"/>
                </a:cubicBezTo>
                <a:cubicBezTo>
                  <a:pt x="1001" y="367"/>
                  <a:pt x="1001" y="367"/>
                  <a:pt x="1001" y="367"/>
                </a:cubicBezTo>
                <a:cubicBezTo>
                  <a:pt x="1001" y="368"/>
                  <a:pt x="1001" y="368"/>
                  <a:pt x="1001" y="368"/>
                </a:cubicBezTo>
                <a:cubicBezTo>
                  <a:pt x="1000" y="368"/>
                  <a:pt x="1000" y="368"/>
                  <a:pt x="1000" y="368"/>
                </a:cubicBezTo>
                <a:cubicBezTo>
                  <a:pt x="999" y="368"/>
                  <a:pt x="999" y="368"/>
                  <a:pt x="999" y="368"/>
                </a:cubicBezTo>
                <a:cubicBezTo>
                  <a:pt x="997" y="371"/>
                  <a:pt x="997" y="371"/>
                  <a:pt x="997" y="371"/>
                </a:cubicBezTo>
                <a:cubicBezTo>
                  <a:pt x="999" y="370"/>
                  <a:pt x="999" y="370"/>
                  <a:pt x="999" y="370"/>
                </a:cubicBezTo>
                <a:cubicBezTo>
                  <a:pt x="1000" y="370"/>
                  <a:pt x="1000" y="370"/>
                  <a:pt x="1000" y="370"/>
                </a:cubicBezTo>
                <a:cubicBezTo>
                  <a:pt x="1001" y="369"/>
                  <a:pt x="1001" y="369"/>
                  <a:pt x="1001" y="369"/>
                </a:cubicBezTo>
                <a:cubicBezTo>
                  <a:pt x="1002" y="370"/>
                  <a:pt x="1002" y="370"/>
                  <a:pt x="1002" y="370"/>
                </a:cubicBezTo>
                <a:cubicBezTo>
                  <a:pt x="1002" y="371"/>
                  <a:pt x="1002" y="371"/>
                  <a:pt x="1002" y="371"/>
                </a:cubicBezTo>
                <a:cubicBezTo>
                  <a:pt x="1001" y="371"/>
                  <a:pt x="1001" y="371"/>
                  <a:pt x="1001" y="371"/>
                </a:cubicBezTo>
                <a:cubicBezTo>
                  <a:pt x="1000" y="372"/>
                  <a:pt x="1000" y="372"/>
                  <a:pt x="1000" y="372"/>
                </a:cubicBezTo>
                <a:cubicBezTo>
                  <a:pt x="1002" y="373"/>
                  <a:pt x="1002" y="373"/>
                  <a:pt x="1002" y="373"/>
                </a:cubicBezTo>
                <a:cubicBezTo>
                  <a:pt x="1002" y="372"/>
                  <a:pt x="1002" y="372"/>
                  <a:pt x="1002" y="372"/>
                </a:cubicBezTo>
                <a:cubicBezTo>
                  <a:pt x="1003" y="373"/>
                  <a:pt x="1003" y="373"/>
                  <a:pt x="1003" y="373"/>
                </a:cubicBezTo>
                <a:cubicBezTo>
                  <a:pt x="1004" y="375"/>
                  <a:pt x="1004" y="375"/>
                  <a:pt x="1004" y="375"/>
                </a:cubicBezTo>
                <a:cubicBezTo>
                  <a:pt x="1003" y="376"/>
                  <a:pt x="1003" y="376"/>
                  <a:pt x="1003" y="376"/>
                </a:cubicBezTo>
                <a:cubicBezTo>
                  <a:pt x="1002" y="376"/>
                  <a:pt x="1002" y="376"/>
                  <a:pt x="1002" y="376"/>
                </a:cubicBezTo>
                <a:cubicBezTo>
                  <a:pt x="1001" y="376"/>
                  <a:pt x="1001" y="376"/>
                  <a:pt x="1001" y="376"/>
                </a:cubicBezTo>
                <a:cubicBezTo>
                  <a:pt x="1000" y="376"/>
                  <a:pt x="1000" y="376"/>
                  <a:pt x="1000" y="376"/>
                </a:cubicBezTo>
                <a:cubicBezTo>
                  <a:pt x="1001" y="377"/>
                  <a:pt x="1001" y="377"/>
                  <a:pt x="1001" y="377"/>
                </a:cubicBezTo>
                <a:cubicBezTo>
                  <a:pt x="1002" y="377"/>
                  <a:pt x="1002" y="377"/>
                  <a:pt x="1002" y="377"/>
                </a:cubicBezTo>
                <a:cubicBezTo>
                  <a:pt x="1004" y="377"/>
                  <a:pt x="1004" y="377"/>
                  <a:pt x="1004" y="377"/>
                </a:cubicBezTo>
                <a:cubicBezTo>
                  <a:pt x="1004" y="378"/>
                  <a:pt x="1004" y="378"/>
                  <a:pt x="1004" y="378"/>
                </a:cubicBezTo>
                <a:cubicBezTo>
                  <a:pt x="1004" y="379"/>
                  <a:pt x="1004" y="379"/>
                  <a:pt x="1004" y="379"/>
                </a:cubicBezTo>
                <a:cubicBezTo>
                  <a:pt x="1003" y="379"/>
                  <a:pt x="1003" y="379"/>
                  <a:pt x="1003" y="379"/>
                </a:cubicBezTo>
                <a:cubicBezTo>
                  <a:pt x="1004" y="380"/>
                  <a:pt x="1004" y="380"/>
                  <a:pt x="1004" y="380"/>
                </a:cubicBezTo>
                <a:cubicBezTo>
                  <a:pt x="1005" y="380"/>
                  <a:pt x="1005" y="380"/>
                  <a:pt x="1005" y="380"/>
                </a:cubicBezTo>
                <a:cubicBezTo>
                  <a:pt x="1006" y="381"/>
                  <a:pt x="1006" y="381"/>
                  <a:pt x="1006" y="381"/>
                </a:cubicBezTo>
                <a:cubicBezTo>
                  <a:pt x="1006" y="382"/>
                  <a:pt x="1006" y="382"/>
                  <a:pt x="1006" y="382"/>
                </a:cubicBezTo>
                <a:cubicBezTo>
                  <a:pt x="1005" y="382"/>
                  <a:pt x="1005" y="382"/>
                  <a:pt x="1005" y="382"/>
                </a:cubicBezTo>
                <a:cubicBezTo>
                  <a:pt x="1003" y="384"/>
                  <a:pt x="1003" y="384"/>
                  <a:pt x="1003" y="384"/>
                </a:cubicBezTo>
                <a:cubicBezTo>
                  <a:pt x="1003" y="383"/>
                  <a:pt x="1003" y="383"/>
                  <a:pt x="1003" y="383"/>
                </a:cubicBezTo>
                <a:cubicBezTo>
                  <a:pt x="1002" y="384"/>
                  <a:pt x="1002" y="384"/>
                  <a:pt x="1002" y="384"/>
                </a:cubicBezTo>
                <a:cubicBezTo>
                  <a:pt x="1003" y="384"/>
                  <a:pt x="1003" y="384"/>
                  <a:pt x="1003" y="384"/>
                </a:cubicBezTo>
                <a:cubicBezTo>
                  <a:pt x="1003" y="385"/>
                  <a:pt x="1003" y="385"/>
                  <a:pt x="1003" y="385"/>
                </a:cubicBezTo>
                <a:cubicBezTo>
                  <a:pt x="1002" y="385"/>
                  <a:pt x="1002" y="385"/>
                  <a:pt x="1002" y="385"/>
                </a:cubicBezTo>
                <a:cubicBezTo>
                  <a:pt x="1000" y="384"/>
                  <a:pt x="1000" y="384"/>
                  <a:pt x="1000" y="384"/>
                </a:cubicBezTo>
                <a:cubicBezTo>
                  <a:pt x="999" y="384"/>
                  <a:pt x="999" y="384"/>
                  <a:pt x="999" y="384"/>
                </a:cubicBezTo>
                <a:cubicBezTo>
                  <a:pt x="1000" y="385"/>
                  <a:pt x="1000" y="385"/>
                  <a:pt x="1000" y="385"/>
                </a:cubicBezTo>
                <a:cubicBezTo>
                  <a:pt x="1000" y="386"/>
                  <a:pt x="1000" y="386"/>
                  <a:pt x="1000" y="386"/>
                </a:cubicBezTo>
                <a:cubicBezTo>
                  <a:pt x="1002" y="387"/>
                  <a:pt x="1002" y="387"/>
                  <a:pt x="1002" y="387"/>
                </a:cubicBezTo>
                <a:cubicBezTo>
                  <a:pt x="1002" y="388"/>
                  <a:pt x="1002" y="388"/>
                  <a:pt x="1002" y="388"/>
                </a:cubicBezTo>
                <a:cubicBezTo>
                  <a:pt x="1002" y="389"/>
                  <a:pt x="1002" y="389"/>
                  <a:pt x="1002" y="389"/>
                </a:cubicBezTo>
                <a:cubicBezTo>
                  <a:pt x="1001" y="389"/>
                  <a:pt x="1001" y="389"/>
                  <a:pt x="1001" y="389"/>
                </a:cubicBezTo>
                <a:cubicBezTo>
                  <a:pt x="1000" y="390"/>
                  <a:pt x="1000" y="390"/>
                  <a:pt x="1000" y="390"/>
                </a:cubicBezTo>
                <a:cubicBezTo>
                  <a:pt x="1001" y="390"/>
                  <a:pt x="1001" y="390"/>
                  <a:pt x="1001" y="390"/>
                </a:cubicBezTo>
                <a:cubicBezTo>
                  <a:pt x="1002" y="390"/>
                  <a:pt x="1002" y="390"/>
                  <a:pt x="1002" y="390"/>
                </a:cubicBezTo>
                <a:cubicBezTo>
                  <a:pt x="1003" y="389"/>
                  <a:pt x="1003" y="389"/>
                  <a:pt x="1003" y="389"/>
                </a:cubicBezTo>
                <a:cubicBezTo>
                  <a:pt x="1004" y="389"/>
                  <a:pt x="1004" y="389"/>
                  <a:pt x="1004" y="389"/>
                </a:cubicBezTo>
                <a:cubicBezTo>
                  <a:pt x="1004" y="390"/>
                  <a:pt x="1004" y="390"/>
                  <a:pt x="1004" y="390"/>
                </a:cubicBezTo>
                <a:cubicBezTo>
                  <a:pt x="1004" y="391"/>
                  <a:pt x="1004" y="391"/>
                  <a:pt x="1004" y="391"/>
                </a:cubicBezTo>
                <a:cubicBezTo>
                  <a:pt x="1005" y="391"/>
                  <a:pt x="1005" y="391"/>
                  <a:pt x="1005" y="391"/>
                </a:cubicBezTo>
                <a:cubicBezTo>
                  <a:pt x="1005" y="392"/>
                  <a:pt x="1005" y="392"/>
                  <a:pt x="1005" y="392"/>
                </a:cubicBezTo>
                <a:cubicBezTo>
                  <a:pt x="1005" y="393"/>
                  <a:pt x="1005" y="393"/>
                  <a:pt x="1005" y="393"/>
                </a:cubicBezTo>
                <a:cubicBezTo>
                  <a:pt x="1006" y="392"/>
                  <a:pt x="1006" y="392"/>
                  <a:pt x="1006" y="392"/>
                </a:cubicBezTo>
                <a:cubicBezTo>
                  <a:pt x="1007" y="393"/>
                  <a:pt x="1007" y="393"/>
                  <a:pt x="1007" y="393"/>
                </a:cubicBezTo>
                <a:cubicBezTo>
                  <a:pt x="1007" y="394"/>
                  <a:pt x="1007" y="394"/>
                  <a:pt x="1007" y="394"/>
                </a:cubicBezTo>
                <a:cubicBezTo>
                  <a:pt x="1007" y="395"/>
                  <a:pt x="1007" y="395"/>
                  <a:pt x="1007" y="395"/>
                </a:cubicBezTo>
                <a:cubicBezTo>
                  <a:pt x="1007" y="396"/>
                  <a:pt x="1007" y="396"/>
                  <a:pt x="1007" y="396"/>
                </a:cubicBezTo>
                <a:cubicBezTo>
                  <a:pt x="1009" y="394"/>
                  <a:pt x="1009" y="394"/>
                  <a:pt x="1009" y="394"/>
                </a:cubicBezTo>
                <a:cubicBezTo>
                  <a:pt x="1009" y="395"/>
                  <a:pt x="1009" y="395"/>
                  <a:pt x="1009" y="395"/>
                </a:cubicBezTo>
                <a:cubicBezTo>
                  <a:pt x="1009" y="396"/>
                  <a:pt x="1009" y="396"/>
                  <a:pt x="1009" y="396"/>
                </a:cubicBezTo>
                <a:cubicBezTo>
                  <a:pt x="1008" y="397"/>
                  <a:pt x="1008" y="397"/>
                  <a:pt x="1008" y="397"/>
                </a:cubicBezTo>
                <a:cubicBezTo>
                  <a:pt x="1006" y="399"/>
                  <a:pt x="1006" y="399"/>
                  <a:pt x="1006" y="399"/>
                </a:cubicBezTo>
                <a:cubicBezTo>
                  <a:pt x="1005" y="400"/>
                  <a:pt x="1005" y="400"/>
                  <a:pt x="1005" y="400"/>
                </a:cubicBezTo>
                <a:cubicBezTo>
                  <a:pt x="1004" y="400"/>
                  <a:pt x="1004" y="400"/>
                  <a:pt x="1004" y="400"/>
                </a:cubicBezTo>
                <a:cubicBezTo>
                  <a:pt x="1005" y="401"/>
                  <a:pt x="1005" y="401"/>
                  <a:pt x="1005" y="401"/>
                </a:cubicBezTo>
                <a:cubicBezTo>
                  <a:pt x="1006" y="400"/>
                  <a:pt x="1006" y="400"/>
                  <a:pt x="1006" y="400"/>
                </a:cubicBezTo>
                <a:cubicBezTo>
                  <a:pt x="1008" y="398"/>
                  <a:pt x="1008" y="398"/>
                  <a:pt x="1008" y="398"/>
                </a:cubicBezTo>
                <a:cubicBezTo>
                  <a:pt x="1009" y="398"/>
                  <a:pt x="1009" y="398"/>
                  <a:pt x="1009" y="398"/>
                </a:cubicBezTo>
                <a:cubicBezTo>
                  <a:pt x="1009" y="399"/>
                  <a:pt x="1009" y="399"/>
                  <a:pt x="1009" y="399"/>
                </a:cubicBezTo>
                <a:cubicBezTo>
                  <a:pt x="1008" y="400"/>
                  <a:pt x="1008" y="400"/>
                  <a:pt x="1008" y="400"/>
                </a:cubicBezTo>
                <a:cubicBezTo>
                  <a:pt x="1008" y="401"/>
                  <a:pt x="1008" y="401"/>
                  <a:pt x="1008" y="401"/>
                </a:cubicBezTo>
                <a:cubicBezTo>
                  <a:pt x="1009" y="400"/>
                  <a:pt x="1009" y="400"/>
                  <a:pt x="1009" y="400"/>
                </a:cubicBezTo>
                <a:cubicBezTo>
                  <a:pt x="1011" y="398"/>
                  <a:pt x="1011" y="398"/>
                  <a:pt x="1011" y="398"/>
                </a:cubicBezTo>
                <a:cubicBezTo>
                  <a:pt x="1012" y="398"/>
                  <a:pt x="1012" y="398"/>
                  <a:pt x="1012" y="398"/>
                </a:cubicBezTo>
                <a:cubicBezTo>
                  <a:pt x="1012" y="399"/>
                  <a:pt x="1012" y="399"/>
                  <a:pt x="1012" y="399"/>
                </a:cubicBezTo>
                <a:cubicBezTo>
                  <a:pt x="1011" y="399"/>
                  <a:pt x="1011" y="399"/>
                  <a:pt x="1011" y="399"/>
                </a:cubicBezTo>
                <a:cubicBezTo>
                  <a:pt x="1010" y="400"/>
                  <a:pt x="1010" y="400"/>
                  <a:pt x="1010" y="400"/>
                </a:cubicBezTo>
                <a:cubicBezTo>
                  <a:pt x="1011" y="400"/>
                  <a:pt x="1011" y="400"/>
                  <a:pt x="1011" y="400"/>
                </a:cubicBezTo>
                <a:cubicBezTo>
                  <a:pt x="1013" y="399"/>
                  <a:pt x="1013" y="399"/>
                  <a:pt x="1013" y="399"/>
                </a:cubicBezTo>
                <a:cubicBezTo>
                  <a:pt x="1013" y="400"/>
                  <a:pt x="1013" y="400"/>
                  <a:pt x="1013" y="400"/>
                </a:cubicBezTo>
                <a:cubicBezTo>
                  <a:pt x="1011" y="401"/>
                  <a:pt x="1011" y="401"/>
                  <a:pt x="1011" y="401"/>
                </a:cubicBezTo>
                <a:cubicBezTo>
                  <a:pt x="1010" y="402"/>
                  <a:pt x="1010" y="402"/>
                  <a:pt x="1010" y="402"/>
                </a:cubicBezTo>
                <a:cubicBezTo>
                  <a:pt x="1011" y="402"/>
                  <a:pt x="1011" y="402"/>
                  <a:pt x="1011" y="402"/>
                </a:cubicBezTo>
                <a:cubicBezTo>
                  <a:pt x="1012" y="401"/>
                  <a:pt x="1012" y="401"/>
                  <a:pt x="1012" y="401"/>
                </a:cubicBezTo>
                <a:cubicBezTo>
                  <a:pt x="1013" y="400"/>
                  <a:pt x="1013" y="400"/>
                  <a:pt x="1013" y="400"/>
                </a:cubicBezTo>
                <a:cubicBezTo>
                  <a:pt x="1014" y="399"/>
                  <a:pt x="1014" y="399"/>
                  <a:pt x="1014" y="399"/>
                </a:cubicBezTo>
                <a:cubicBezTo>
                  <a:pt x="1015" y="399"/>
                  <a:pt x="1015" y="399"/>
                  <a:pt x="1015" y="399"/>
                </a:cubicBezTo>
                <a:cubicBezTo>
                  <a:pt x="1014" y="400"/>
                  <a:pt x="1014" y="400"/>
                  <a:pt x="1014" y="400"/>
                </a:cubicBezTo>
                <a:cubicBezTo>
                  <a:pt x="1014" y="401"/>
                  <a:pt x="1014" y="401"/>
                  <a:pt x="1014" y="401"/>
                </a:cubicBezTo>
                <a:cubicBezTo>
                  <a:pt x="1016" y="399"/>
                  <a:pt x="1016" y="399"/>
                  <a:pt x="1016" y="399"/>
                </a:cubicBezTo>
                <a:cubicBezTo>
                  <a:pt x="1016" y="400"/>
                  <a:pt x="1016" y="400"/>
                  <a:pt x="1016" y="400"/>
                </a:cubicBezTo>
                <a:cubicBezTo>
                  <a:pt x="1016" y="402"/>
                  <a:pt x="1016" y="402"/>
                  <a:pt x="1016" y="402"/>
                </a:cubicBezTo>
                <a:cubicBezTo>
                  <a:pt x="1015" y="402"/>
                  <a:pt x="1015" y="402"/>
                  <a:pt x="1015" y="402"/>
                </a:cubicBezTo>
                <a:cubicBezTo>
                  <a:pt x="1015" y="403"/>
                  <a:pt x="1015" y="403"/>
                  <a:pt x="1015" y="403"/>
                </a:cubicBezTo>
                <a:cubicBezTo>
                  <a:pt x="1016" y="403"/>
                  <a:pt x="1016" y="403"/>
                  <a:pt x="1016" y="403"/>
                </a:cubicBezTo>
                <a:cubicBezTo>
                  <a:pt x="1018" y="404"/>
                  <a:pt x="1018" y="404"/>
                  <a:pt x="1018" y="404"/>
                </a:cubicBezTo>
                <a:cubicBezTo>
                  <a:pt x="1019" y="403"/>
                  <a:pt x="1019" y="403"/>
                  <a:pt x="1019" y="403"/>
                </a:cubicBezTo>
                <a:cubicBezTo>
                  <a:pt x="1021" y="402"/>
                  <a:pt x="1021" y="402"/>
                  <a:pt x="1021" y="402"/>
                </a:cubicBezTo>
                <a:cubicBezTo>
                  <a:pt x="1021" y="403"/>
                  <a:pt x="1021" y="403"/>
                  <a:pt x="1021" y="403"/>
                </a:cubicBezTo>
                <a:cubicBezTo>
                  <a:pt x="1021" y="404"/>
                  <a:pt x="1021" y="404"/>
                  <a:pt x="1021" y="404"/>
                </a:cubicBezTo>
                <a:cubicBezTo>
                  <a:pt x="1020" y="404"/>
                  <a:pt x="1020" y="404"/>
                  <a:pt x="1020" y="404"/>
                </a:cubicBezTo>
                <a:cubicBezTo>
                  <a:pt x="1023" y="405"/>
                  <a:pt x="1023" y="405"/>
                  <a:pt x="1023" y="405"/>
                </a:cubicBezTo>
                <a:cubicBezTo>
                  <a:pt x="1024" y="406"/>
                  <a:pt x="1024" y="406"/>
                  <a:pt x="1024" y="406"/>
                </a:cubicBezTo>
                <a:cubicBezTo>
                  <a:pt x="1022" y="406"/>
                  <a:pt x="1022" y="406"/>
                  <a:pt x="1022" y="406"/>
                </a:cubicBezTo>
                <a:cubicBezTo>
                  <a:pt x="1022" y="407"/>
                  <a:pt x="1022" y="407"/>
                  <a:pt x="1022" y="407"/>
                </a:cubicBezTo>
                <a:cubicBezTo>
                  <a:pt x="1019" y="407"/>
                  <a:pt x="1019" y="407"/>
                  <a:pt x="1019" y="407"/>
                </a:cubicBezTo>
                <a:cubicBezTo>
                  <a:pt x="1017" y="408"/>
                  <a:pt x="1017" y="408"/>
                  <a:pt x="1017" y="408"/>
                </a:cubicBezTo>
                <a:cubicBezTo>
                  <a:pt x="1016" y="409"/>
                  <a:pt x="1016" y="409"/>
                  <a:pt x="1016" y="409"/>
                </a:cubicBezTo>
                <a:cubicBezTo>
                  <a:pt x="1016" y="410"/>
                  <a:pt x="1016" y="410"/>
                  <a:pt x="1016" y="410"/>
                </a:cubicBezTo>
                <a:cubicBezTo>
                  <a:pt x="1013" y="410"/>
                  <a:pt x="1013" y="410"/>
                  <a:pt x="1013" y="410"/>
                </a:cubicBezTo>
                <a:cubicBezTo>
                  <a:pt x="1011" y="411"/>
                  <a:pt x="1011" y="411"/>
                  <a:pt x="1011" y="411"/>
                </a:cubicBezTo>
                <a:cubicBezTo>
                  <a:pt x="1009" y="412"/>
                  <a:pt x="1009" y="412"/>
                  <a:pt x="1009" y="412"/>
                </a:cubicBezTo>
                <a:cubicBezTo>
                  <a:pt x="1008" y="412"/>
                  <a:pt x="1008" y="412"/>
                  <a:pt x="1008" y="412"/>
                </a:cubicBezTo>
                <a:cubicBezTo>
                  <a:pt x="1007" y="412"/>
                  <a:pt x="1007" y="412"/>
                  <a:pt x="1007" y="412"/>
                </a:cubicBezTo>
                <a:cubicBezTo>
                  <a:pt x="1007" y="414"/>
                  <a:pt x="1007" y="414"/>
                  <a:pt x="1007" y="414"/>
                </a:cubicBezTo>
                <a:cubicBezTo>
                  <a:pt x="1006" y="414"/>
                  <a:pt x="1006" y="414"/>
                  <a:pt x="1006" y="414"/>
                </a:cubicBezTo>
                <a:cubicBezTo>
                  <a:pt x="1004" y="413"/>
                  <a:pt x="1004" y="413"/>
                  <a:pt x="1004" y="413"/>
                </a:cubicBezTo>
                <a:cubicBezTo>
                  <a:pt x="1003" y="410"/>
                  <a:pt x="1003" y="410"/>
                  <a:pt x="1003" y="410"/>
                </a:cubicBezTo>
                <a:cubicBezTo>
                  <a:pt x="1003" y="412"/>
                  <a:pt x="1003" y="412"/>
                  <a:pt x="1003" y="412"/>
                </a:cubicBezTo>
                <a:cubicBezTo>
                  <a:pt x="1002" y="412"/>
                  <a:pt x="1002" y="412"/>
                  <a:pt x="1002" y="412"/>
                </a:cubicBezTo>
                <a:cubicBezTo>
                  <a:pt x="1003" y="413"/>
                  <a:pt x="1003" y="413"/>
                  <a:pt x="1003" y="413"/>
                </a:cubicBezTo>
                <a:cubicBezTo>
                  <a:pt x="1006" y="415"/>
                  <a:pt x="1006" y="415"/>
                  <a:pt x="1006" y="415"/>
                </a:cubicBezTo>
                <a:cubicBezTo>
                  <a:pt x="1006" y="416"/>
                  <a:pt x="1006" y="416"/>
                  <a:pt x="1006" y="416"/>
                </a:cubicBezTo>
                <a:cubicBezTo>
                  <a:pt x="1005" y="416"/>
                  <a:pt x="1005" y="416"/>
                  <a:pt x="1005" y="416"/>
                </a:cubicBezTo>
                <a:cubicBezTo>
                  <a:pt x="1004" y="416"/>
                  <a:pt x="1004" y="416"/>
                  <a:pt x="1004" y="416"/>
                </a:cubicBezTo>
                <a:cubicBezTo>
                  <a:pt x="1005" y="417"/>
                  <a:pt x="1005" y="417"/>
                  <a:pt x="1005" y="417"/>
                </a:cubicBezTo>
                <a:cubicBezTo>
                  <a:pt x="1005" y="418"/>
                  <a:pt x="1005" y="418"/>
                  <a:pt x="1005" y="418"/>
                </a:cubicBezTo>
                <a:cubicBezTo>
                  <a:pt x="1006" y="417"/>
                  <a:pt x="1006" y="417"/>
                  <a:pt x="1006" y="417"/>
                </a:cubicBezTo>
                <a:cubicBezTo>
                  <a:pt x="1007" y="415"/>
                  <a:pt x="1007" y="415"/>
                  <a:pt x="1007" y="415"/>
                </a:cubicBezTo>
                <a:cubicBezTo>
                  <a:pt x="1009" y="415"/>
                  <a:pt x="1009" y="415"/>
                  <a:pt x="1009" y="415"/>
                </a:cubicBezTo>
                <a:cubicBezTo>
                  <a:pt x="1011" y="414"/>
                  <a:pt x="1011" y="414"/>
                  <a:pt x="1011" y="414"/>
                </a:cubicBezTo>
                <a:cubicBezTo>
                  <a:pt x="1012" y="414"/>
                  <a:pt x="1012" y="414"/>
                  <a:pt x="1012" y="414"/>
                </a:cubicBezTo>
                <a:cubicBezTo>
                  <a:pt x="1012" y="413"/>
                  <a:pt x="1012" y="413"/>
                  <a:pt x="1012" y="413"/>
                </a:cubicBezTo>
                <a:cubicBezTo>
                  <a:pt x="1013" y="411"/>
                  <a:pt x="1013" y="411"/>
                  <a:pt x="1013" y="411"/>
                </a:cubicBezTo>
                <a:cubicBezTo>
                  <a:pt x="1015" y="411"/>
                  <a:pt x="1015" y="411"/>
                  <a:pt x="1015" y="411"/>
                </a:cubicBezTo>
                <a:cubicBezTo>
                  <a:pt x="1017" y="410"/>
                  <a:pt x="1017" y="410"/>
                  <a:pt x="1017" y="410"/>
                </a:cubicBezTo>
                <a:cubicBezTo>
                  <a:pt x="1018" y="409"/>
                  <a:pt x="1018" y="409"/>
                  <a:pt x="1018" y="409"/>
                </a:cubicBezTo>
                <a:cubicBezTo>
                  <a:pt x="1021" y="409"/>
                  <a:pt x="1021" y="409"/>
                  <a:pt x="1021" y="409"/>
                </a:cubicBezTo>
                <a:cubicBezTo>
                  <a:pt x="1023" y="409"/>
                  <a:pt x="1023" y="409"/>
                  <a:pt x="1023" y="409"/>
                </a:cubicBezTo>
                <a:cubicBezTo>
                  <a:pt x="1024" y="411"/>
                  <a:pt x="1024" y="411"/>
                  <a:pt x="1024" y="411"/>
                </a:cubicBezTo>
                <a:cubicBezTo>
                  <a:pt x="1024" y="413"/>
                  <a:pt x="1024" y="413"/>
                  <a:pt x="1024" y="413"/>
                </a:cubicBezTo>
                <a:cubicBezTo>
                  <a:pt x="1022" y="414"/>
                  <a:pt x="1022" y="414"/>
                  <a:pt x="1022" y="414"/>
                </a:cubicBezTo>
                <a:cubicBezTo>
                  <a:pt x="1021" y="415"/>
                  <a:pt x="1021" y="415"/>
                  <a:pt x="1021" y="415"/>
                </a:cubicBezTo>
                <a:cubicBezTo>
                  <a:pt x="1022" y="415"/>
                  <a:pt x="1022" y="415"/>
                  <a:pt x="1022" y="415"/>
                </a:cubicBezTo>
                <a:cubicBezTo>
                  <a:pt x="1023" y="416"/>
                  <a:pt x="1023" y="416"/>
                  <a:pt x="1023" y="416"/>
                </a:cubicBezTo>
                <a:cubicBezTo>
                  <a:pt x="1023" y="415"/>
                  <a:pt x="1023" y="415"/>
                  <a:pt x="1023" y="415"/>
                </a:cubicBezTo>
                <a:cubicBezTo>
                  <a:pt x="1024" y="414"/>
                  <a:pt x="1024" y="414"/>
                  <a:pt x="1024" y="414"/>
                </a:cubicBezTo>
                <a:cubicBezTo>
                  <a:pt x="1026" y="413"/>
                  <a:pt x="1026" y="413"/>
                  <a:pt x="1026" y="413"/>
                </a:cubicBezTo>
                <a:cubicBezTo>
                  <a:pt x="1027" y="413"/>
                  <a:pt x="1027" y="413"/>
                  <a:pt x="1027" y="413"/>
                </a:cubicBezTo>
                <a:cubicBezTo>
                  <a:pt x="1027" y="414"/>
                  <a:pt x="1027" y="414"/>
                  <a:pt x="1027" y="414"/>
                </a:cubicBezTo>
                <a:cubicBezTo>
                  <a:pt x="1027" y="415"/>
                  <a:pt x="1027" y="415"/>
                  <a:pt x="1027" y="415"/>
                </a:cubicBezTo>
                <a:cubicBezTo>
                  <a:pt x="1028" y="415"/>
                  <a:pt x="1028" y="415"/>
                  <a:pt x="1028" y="415"/>
                </a:cubicBezTo>
                <a:cubicBezTo>
                  <a:pt x="1030" y="416"/>
                  <a:pt x="1030" y="416"/>
                  <a:pt x="1030" y="416"/>
                </a:cubicBezTo>
                <a:cubicBezTo>
                  <a:pt x="1029" y="416"/>
                  <a:pt x="1029" y="416"/>
                  <a:pt x="1029" y="416"/>
                </a:cubicBezTo>
                <a:cubicBezTo>
                  <a:pt x="1028" y="416"/>
                  <a:pt x="1028" y="416"/>
                  <a:pt x="1028" y="416"/>
                </a:cubicBezTo>
                <a:cubicBezTo>
                  <a:pt x="1029" y="417"/>
                  <a:pt x="1029" y="417"/>
                  <a:pt x="1029" y="417"/>
                </a:cubicBezTo>
                <a:cubicBezTo>
                  <a:pt x="1030" y="418"/>
                  <a:pt x="1030" y="418"/>
                  <a:pt x="1030" y="418"/>
                </a:cubicBezTo>
                <a:cubicBezTo>
                  <a:pt x="1031" y="419"/>
                  <a:pt x="1031" y="419"/>
                  <a:pt x="1031" y="419"/>
                </a:cubicBezTo>
                <a:cubicBezTo>
                  <a:pt x="1030" y="419"/>
                  <a:pt x="1030" y="419"/>
                  <a:pt x="1030" y="419"/>
                </a:cubicBezTo>
                <a:cubicBezTo>
                  <a:pt x="1029" y="419"/>
                  <a:pt x="1029" y="419"/>
                  <a:pt x="1029" y="419"/>
                </a:cubicBezTo>
                <a:cubicBezTo>
                  <a:pt x="1028" y="420"/>
                  <a:pt x="1028" y="420"/>
                  <a:pt x="1028" y="420"/>
                </a:cubicBezTo>
                <a:cubicBezTo>
                  <a:pt x="1030" y="421"/>
                  <a:pt x="1030" y="421"/>
                  <a:pt x="1030" y="421"/>
                </a:cubicBezTo>
                <a:cubicBezTo>
                  <a:pt x="1029" y="422"/>
                  <a:pt x="1029" y="422"/>
                  <a:pt x="1029" y="422"/>
                </a:cubicBezTo>
                <a:cubicBezTo>
                  <a:pt x="1028" y="422"/>
                  <a:pt x="1028" y="422"/>
                  <a:pt x="1028" y="422"/>
                </a:cubicBezTo>
                <a:cubicBezTo>
                  <a:pt x="1028" y="423"/>
                  <a:pt x="1028" y="423"/>
                  <a:pt x="1028" y="423"/>
                </a:cubicBezTo>
                <a:cubicBezTo>
                  <a:pt x="1027" y="424"/>
                  <a:pt x="1027" y="424"/>
                  <a:pt x="1027" y="424"/>
                </a:cubicBezTo>
                <a:cubicBezTo>
                  <a:pt x="1025" y="423"/>
                  <a:pt x="1025" y="423"/>
                  <a:pt x="1025" y="423"/>
                </a:cubicBezTo>
                <a:cubicBezTo>
                  <a:pt x="1026" y="424"/>
                  <a:pt x="1026" y="424"/>
                  <a:pt x="1026" y="424"/>
                </a:cubicBezTo>
                <a:cubicBezTo>
                  <a:pt x="1028" y="425"/>
                  <a:pt x="1028" y="425"/>
                  <a:pt x="1028" y="425"/>
                </a:cubicBezTo>
                <a:cubicBezTo>
                  <a:pt x="1029" y="424"/>
                  <a:pt x="1029" y="424"/>
                  <a:pt x="1029" y="424"/>
                </a:cubicBezTo>
                <a:cubicBezTo>
                  <a:pt x="1030" y="425"/>
                  <a:pt x="1030" y="425"/>
                  <a:pt x="1030" y="425"/>
                </a:cubicBezTo>
                <a:cubicBezTo>
                  <a:pt x="1029" y="426"/>
                  <a:pt x="1029" y="426"/>
                  <a:pt x="1029" y="426"/>
                </a:cubicBezTo>
                <a:cubicBezTo>
                  <a:pt x="1030" y="426"/>
                  <a:pt x="1030" y="426"/>
                  <a:pt x="1030" y="426"/>
                </a:cubicBezTo>
                <a:cubicBezTo>
                  <a:pt x="1029" y="428"/>
                  <a:pt x="1029" y="428"/>
                  <a:pt x="1029" y="428"/>
                </a:cubicBezTo>
                <a:cubicBezTo>
                  <a:pt x="1029" y="429"/>
                  <a:pt x="1029" y="429"/>
                  <a:pt x="1029" y="429"/>
                </a:cubicBezTo>
                <a:cubicBezTo>
                  <a:pt x="1028" y="429"/>
                  <a:pt x="1028" y="429"/>
                  <a:pt x="1028" y="429"/>
                </a:cubicBezTo>
                <a:cubicBezTo>
                  <a:pt x="1027" y="430"/>
                  <a:pt x="1027" y="430"/>
                  <a:pt x="1027" y="430"/>
                </a:cubicBezTo>
                <a:cubicBezTo>
                  <a:pt x="1026" y="431"/>
                  <a:pt x="1026" y="431"/>
                  <a:pt x="1026" y="431"/>
                </a:cubicBezTo>
                <a:cubicBezTo>
                  <a:pt x="1024" y="431"/>
                  <a:pt x="1024" y="431"/>
                  <a:pt x="1024" y="431"/>
                </a:cubicBezTo>
                <a:cubicBezTo>
                  <a:pt x="1023" y="432"/>
                  <a:pt x="1023" y="432"/>
                  <a:pt x="1023" y="432"/>
                </a:cubicBezTo>
                <a:cubicBezTo>
                  <a:pt x="1022" y="433"/>
                  <a:pt x="1022" y="433"/>
                  <a:pt x="1022" y="433"/>
                </a:cubicBezTo>
                <a:cubicBezTo>
                  <a:pt x="1021" y="433"/>
                  <a:pt x="1021" y="433"/>
                  <a:pt x="1021" y="433"/>
                </a:cubicBezTo>
                <a:cubicBezTo>
                  <a:pt x="1021" y="434"/>
                  <a:pt x="1021" y="434"/>
                  <a:pt x="1021" y="434"/>
                </a:cubicBezTo>
                <a:cubicBezTo>
                  <a:pt x="1020" y="434"/>
                  <a:pt x="1020" y="434"/>
                  <a:pt x="1020" y="434"/>
                </a:cubicBezTo>
                <a:cubicBezTo>
                  <a:pt x="1019" y="433"/>
                  <a:pt x="1019" y="433"/>
                  <a:pt x="1019" y="433"/>
                </a:cubicBezTo>
                <a:cubicBezTo>
                  <a:pt x="1018" y="434"/>
                  <a:pt x="1018" y="434"/>
                  <a:pt x="1018" y="434"/>
                </a:cubicBezTo>
                <a:cubicBezTo>
                  <a:pt x="1017" y="434"/>
                  <a:pt x="1017" y="434"/>
                  <a:pt x="1017" y="434"/>
                </a:cubicBezTo>
                <a:cubicBezTo>
                  <a:pt x="1017" y="433"/>
                  <a:pt x="1017" y="433"/>
                  <a:pt x="1017" y="433"/>
                </a:cubicBezTo>
                <a:cubicBezTo>
                  <a:pt x="1015" y="434"/>
                  <a:pt x="1015" y="434"/>
                  <a:pt x="1015" y="434"/>
                </a:cubicBezTo>
                <a:cubicBezTo>
                  <a:pt x="1014" y="434"/>
                  <a:pt x="1014" y="434"/>
                  <a:pt x="1014" y="434"/>
                </a:cubicBezTo>
                <a:cubicBezTo>
                  <a:pt x="1013" y="433"/>
                  <a:pt x="1013" y="433"/>
                  <a:pt x="1013" y="433"/>
                </a:cubicBezTo>
                <a:cubicBezTo>
                  <a:pt x="1013" y="434"/>
                  <a:pt x="1013" y="434"/>
                  <a:pt x="1013" y="434"/>
                </a:cubicBezTo>
                <a:cubicBezTo>
                  <a:pt x="1012" y="435"/>
                  <a:pt x="1012" y="435"/>
                  <a:pt x="1012" y="435"/>
                </a:cubicBezTo>
                <a:cubicBezTo>
                  <a:pt x="1011" y="434"/>
                  <a:pt x="1011" y="434"/>
                  <a:pt x="1011" y="434"/>
                </a:cubicBezTo>
                <a:cubicBezTo>
                  <a:pt x="1010" y="435"/>
                  <a:pt x="1010" y="435"/>
                  <a:pt x="1010" y="435"/>
                </a:cubicBezTo>
                <a:cubicBezTo>
                  <a:pt x="1011" y="435"/>
                  <a:pt x="1011" y="435"/>
                  <a:pt x="1011" y="435"/>
                </a:cubicBezTo>
                <a:cubicBezTo>
                  <a:pt x="1011" y="436"/>
                  <a:pt x="1011" y="436"/>
                  <a:pt x="1011" y="436"/>
                </a:cubicBezTo>
                <a:cubicBezTo>
                  <a:pt x="1010" y="437"/>
                  <a:pt x="1010" y="437"/>
                  <a:pt x="1010" y="437"/>
                </a:cubicBezTo>
                <a:cubicBezTo>
                  <a:pt x="1009" y="437"/>
                  <a:pt x="1009" y="437"/>
                  <a:pt x="1009" y="437"/>
                </a:cubicBezTo>
                <a:cubicBezTo>
                  <a:pt x="1009" y="438"/>
                  <a:pt x="1009" y="438"/>
                  <a:pt x="1009" y="438"/>
                </a:cubicBezTo>
                <a:cubicBezTo>
                  <a:pt x="1008" y="439"/>
                  <a:pt x="1008" y="439"/>
                  <a:pt x="1008" y="439"/>
                </a:cubicBezTo>
                <a:cubicBezTo>
                  <a:pt x="1007" y="439"/>
                  <a:pt x="1007" y="439"/>
                  <a:pt x="1007" y="439"/>
                </a:cubicBezTo>
                <a:cubicBezTo>
                  <a:pt x="1007" y="440"/>
                  <a:pt x="1007" y="440"/>
                  <a:pt x="1007" y="440"/>
                </a:cubicBezTo>
                <a:cubicBezTo>
                  <a:pt x="1006" y="440"/>
                  <a:pt x="1006" y="440"/>
                  <a:pt x="1006" y="440"/>
                </a:cubicBezTo>
                <a:cubicBezTo>
                  <a:pt x="1005" y="442"/>
                  <a:pt x="1005" y="442"/>
                  <a:pt x="1005" y="442"/>
                </a:cubicBezTo>
                <a:cubicBezTo>
                  <a:pt x="1004" y="441"/>
                  <a:pt x="1004" y="441"/>
                  <a:pt x="1004" y="441"/>
                </a:cubicBezTo>
                <a:cubicBezTo>
                  <a:pt x="1004" y="442"/>
                  <a:pt x="1004" y="442"/>
                  <a:pt x="1004" y="442"/>
                </a:cubicBezTo>
                <a:cubicBezTo>
                  <a:pt x="1002" y="442"/>
                  <a:pt x="1002" y="442"/>
                  <a:pt x="1002" y="442"/>
                </a:cubicBezTo>
                <a:cubicBezTo>
                  <a:pt x="1002" y="443"/>
                  <a:pt x="1002" y="443"/>
                  <a:pt x="1002" y="443"/>
                </a:cubicBezTo>
                <a:cubicBezTo>
                  <a:pt x="1001" y="443"/>
                  <a:pt x="1001" y="443"/>
                  <a:pt x="1001" y="443"/>
                </a:cubicBezTo>
                <a:cubicBezTo>
                  <a:pt x="1000" y="443"/>
                  <a:pt x="1000" y="443"/>
                  <a:pt x="1000" y="443"/>
                </a:cubicBezTo>
                <a:cubicBezTo>
                  <a:pt x="998" y="443"/>
                  <a:pt x="998" y="443"/>
                  <a:pt x="998" y="443"/>
                </a:cubicBezTo>
                <a:cubicBezTo>
                  <a:pt x="998" y="442"/>
                  <a:pt x="998" y="442"/>
                  <a:pt x="998" y="442"/>
                </a:cubicBezTo>
                <a:cubicBezTo>
                  <a:pt x="996" y="443"/>
                  <a:pt x="996" y="443"/>
                  <a:pt x="996" y="443"/>
                </a:cubicBezTo>
                <a:cubicBezTo>
                  <a:pt x="995" y="443"/>
                  <a:pt x="995" y="443"/>
                  <a:pt x="995" y="443"/>
                </a:cubicBezTo>
                <a:cubicBezTo>
                  <a:pt x="993" y="444"/>
                  <a:pt x="993" y="444"/>
                  <a:pt x="993" y="444"/>
                </a:cubicBezTo>
                <a:cubicBezTo>
                  <a:pt x="991" y="443"/>
                  <a:pt x="991" y="443"/>
                  <a:pt x="991" y="443"/>
                </a:cubicBezTo>
                <a:cubicBezTo>
                  <a:pt x="992" y="443"/>
                  <a:pt x="992" y="443"/>
                  <a:pt x="992" y="443"/>
                </a:cubicBezTo>
                <a:cubicBezTo>
                  <a:pt x="991" y="442"/>
                  <a:pt x="991" y="442"/>
                  <a:pt x="991" y="442"/>
                </a:cubicBezTo>
                <a:cubicBezTo>
                  <a:pt x="990" y="443"/>
                  <a:pt x="990" y="443"/>
                  <a:pt x="990" y="443"/>
                </a:cubicBezTo>
                <a:cubicBezTo>
                  <a:pt x="989" y="443"/>
                  <a:pt x="989" y="443"/>
                  <a:pt x="989" y="443"/>
                </a:cubicBezTo>
                <a:cubicBezTo>
                  <a:pt x="987" y="442"/>
                  <a:pt x="987" y="442"/>
                  <a:pt x="987" y="442"/>
                </a:cubicBezTo>
                <a:cubicBezTo>
                  <a:pt x="986" y="442"/>
                  <a:pt x="986" y="442"/>
                  <a:pt x="986" y="442"/>
                </a:cubicBezTo>
                <a:cubicBezTo>
                  <a:pt x="985" y="442"/>
                  <a:pt x="985" y="442"/>
                  <a:pt x="985" y="442"/>
                </a:cubicBezTo>
                <a:cubicBezTo>
                  <a:pt x="984" y="441"/>
                  <a:pt x="984" y="441"/>
                  <a:pt x="984" y="441"/>
                </a:cubicBezTo>
                <a:cubicBezTo>
                  <a:pt x="983" y="441"/>
                  <a:pt x="983" y="441"/>
                  <a:pt x="983" y="441"/>
                </a:cubicBezTo>
                <a:cubicBezTo>
                  <a:pt x="982" y="442"/>
                  <a:pt x="982" y="442"/>
                  <a:pt x="982" y="442"/>
                </a:cubicBezTo>
                <a:cubicBezTo>
                  <a:pt x="980" y="442"/>
                  <a:pt x="980" y="442"/>
                  <a:pt x="980" y="442"/>
                </a:cubicBezTo>
                <a:cubicBezTo>
                  <a:pt x="979" y="441"/>
                  <a:pt x="979" y="441"/>
                  <a:pt x="979" y="441"/>
                </a:cubicBezTo>
                <a:cubicBezTo>
                  <a:pt x="978" y="442"/>
                  <a:pt x="978" y="442"/>
                  <a:pt x="978" y="442"/>
                </a:cubicBezTo>
                <a:cubicBezTo>
                  <a:pt x="977" y="442"/>
                  <a:pt x="977" y="442"/>
                  <a:pt x="977" y="442"/>
                </a:cubicBezTo>
                <a:cubicBezTo>
                  <a:pt x="976" y="441"/>
                  <a:pt x="976" y="441"/>
                  <a:pt x="976" y="441"/>
                </a:cubicBezTo>
                <a:cubicBezTo>
                  <a:pt x="975" y="442"/>
                  <a:pt x="975" y="442"/>
                  <a:pt x="975" y="442"/>
                </a:cubicBezTo>
                <a:cubicBezTo>
                  <a:pt x="974" y="441"/>
                  <a:pt x="974" y="441"/>
                  <a:pt x="974" y="441"/>
                </a:cubicBezTo>
                <a:cubicBezTo>
                  <a:pt x="973" y="441"/>
                  <a:pt x="973" y="441"/>
                  <a:pt x="973" y="441"/>
                </a:cubicBezTo>
                <a:cubicBezTo>
                  <a:pt x="971" y="441"/>
                  <a:pt x="971" y="441"/>
                  <a:pt x="971" y="441"/>
                </a:cubicBezTo>
                <a:cubicBezTo>
                  <a:pt x="969" y="441"/>
                  <a:pt x="969" y="441"/>
                  <a:pt x="969" y="441"/>
                </a:cubicBezTo>
                <a:cubicBezTo>
                  <a:pt x="967" y="441"/>
                  <a:pt x="967" y="441"/>
                  <a:pt x="967" y="441"/>
                </a:cubicBezTo>
                <a:cubicBezTo>
                  <a:pt x="966" y="439"/>
                  <a:pt x="966" y="439"/>
                  <a:pt x="966" y="439"/>
                </a:cubicBezTo>
                <a:cubicBezTo>
                  <a:pt x="965" y="440"/>
                  <a:pt x="965" y="440"/>
                  <a:pt x="965" y="440"/>
                </a:cubicBezTo>
                <a:cubicBezTo>
                  <a:pt x="964" y="441"/>
                  <a:pt x="964" y="441"/>
                  <a:pt x="964" y="441"/>
                </a:cubicBezTo>
                <a:cubicBezTo>
                  <a:pt x="965" y="441"/>
                  <a:pt x="965" y="441"/>
                  <a:pt x="965" y="441"/>
                </a:cubicBezTo>
                <a:cubicBezTo>
                  <a:pt x="964" y="442"/>
                  <a:pt x="964" y="442"/>
                  <a:pt x="964" y="442"/>
                </a:cubicBezTo>
                <a:cubicBezTo>
                  <a:pt x="963" y="442"/>
                  <a:pt x="963" y="442"/>
                  <a:pt x="963" y="442"/>
                </a:cubicBezTo>
                <a:cubicBezTo>
                  <a:pt x="961" y="444"/>
                  <a:pt x="961" y="444"/>
                  <a:pt x="961" y="444"/>
                </a:cubicBezTo>
                <a:cubicBezTo>
                  <a:pt x="959" y="445"/>
                  <a:pt x="959" y="445"/>
                  <a:pt x="959" y="445"/>
                </a:cubicBezTo>
                <a:cubicBezTo>
                  <a:pt x="959" y="446"/>
                  <a:pt x="959" y="446"/>
                  <a:pt x="959" y="446"/>
                </a:cubicBezTo>
                <a:cubicBezTo>
                  <a:pt x="959" y="448"/>
                  <a:pt x="959" y="448"/>
                  <a:pt x="959" y="448"/>
                </a:cubicBezTo>
                <a:cubicBezTo>
                  <a:pt x="958" y="449"/>
                  <a:pt x="958" y="449"/>
                  <a:pt x="958" y="449"/>
                </a:cubicBezTo>
                <a:cubicBezTo>
                  <a:pt x="956" y="449"/>
                  <a:pt x="956" y="449"/>
                  <a:pt x="956" y="449"/>
                </a:cubicBezTo>
                <a:cubicBezTo>
                  <a:pt x="955" y="449"/>
                  <a:pt x="955" y="449"/>
                  <a:pt x="955" y="449"/>
                </a:cubicBezTo>
                <a:cubicBezTo>
                  <a:pt x="953" y="450"/>
                  <a:pt x="953" y="450"/>
                  <a:pt x="953" y="450"/>
                </a:cubicBezTo>
                <a:cubicBezTo>
                  <a:pt x="952" y="451"/>
                  <a:pt x="952" y="451"/>
                  <a:pt x="952" y="451"/>
                </a:cubicBezTo>
                <a:cubicBezTo>
                  <a:pt x="951" y="451"/>
                  <a:pt x="951" y="451"/>
                  <a:pt x="951" y="451"/>
                </a:cubicBezTo>
                <a:cubicBezTo>
                  <a:pt x="950" y="451"/>
                  <a:pt x="950" y="451"/>
                  <a:pt x="950" y="451"/>
                </a:cubicBezTo>
                <a:cubicBezTo>
                  <a:pt x="949" y="453"/>
                  <a:pt x="949" y="453"/>
                  <a:pt x="949" y="453"/>
                </a:cubicBezTo>
                <a:cubicBezTo>
                  <a:pt x="948" y="453"/>
                  <a:pt x="948" y="453"/>
                  <a:pt x="948" y="453"/>
                </a:cubicBezTo>
                <a:cubicBezTo>
                  <a:pt x="946" y="454"/>
                  <a:pt x="946" y="454"/>
                  <a:pt x="946" y="454"/>
                </a:cubicBezTo>
                <a:cubicBezTo>
                  <a:pt x="945" y="455"/>
                  <a:pt x="945" y="455"/>
                  <a:pt x="945" y="455"/>
                </a:cubicBezTo>
                <a:cubicBezTo>
                  <a:pt x="944" y="457"/>
                  <a:pt x="944" y="457"/>
                  <a:pt x="944" y="457"/>
                </a:cubicBezTo>
                <a:cubicBezTo>
                  <a:pt x="941" y="458"/>
                  <a:pt x="941" y="458"/>
                  <a:pt x="941" y="458"/>
                </a:cubicBezTo>
                <a:cubicBezTo>
                  <a:pt x="941" y="460"/>
                  <a:pt x="941" y="460"/>
                  <a:pt x="941" y="460"/>
                </a:cubicBezTo>
                <a:cubicBezTo>
                  <a:pt x="939" y="461"/>
                  <a:pt x="939" y="461"/>
                  <a:pt x="939" y="461"/>
                </a:cubicBezTo>
                <a:cubicBezTo>
                  <a:pt x="938" y="463"/>
                  <a:pt x="938" y="463"/>
                  <a:pt x="938" y="463"/>
                </a:cubicBezTo>
                <a:cubicBezTo>
                  <a:pt x="937" y="463"/>
                  <a:pt x="937" y="463"/>
                  <a:pt x="937" y="463"/>
                </a:cubicBezTo>
                <a:cubicBezTo>
                  <a:pt x="936" y="465"/>
                  <a:pt x="936" y="465"/>
                  <a:pt x="936" y="465"/>
                </a:cubicBezTo>
                <a:cubicBezTo>
                  <a:pt x="935" y="466"/>
                  <a:pt x="935" y="466"/>
                  <a:pt x="935" y="466"/>
                </a:cubicBezTo>
                <a:cubicBezTo>
                  <a:pt x="932" y="468"/>
                  <a:pt x="932" y="468"/>
                  <a:pt x="932" y="468"/>
                </a:cubicBezTo>
                <a:cubicBezTo>
                  <a:pt x="932" y="469"/>
                  <a:pt x="932" y="469"/>
                  <a:pt x="932" y="469"/>
                </a:cubicBezTo>
                <a:cubicBezTo>
                  <a:pt x="929" y="470"/>
                  <a:pt x="929" y="470"/>
                  <a:pt x="929" y="470"/>
                </a:cubicBezTo>
                <a:cubicBezTo>
                  <a:pt x="927" y="470"/>
                  <a:pt x="927" y="470"/>
                  <a:pt x="927" y="470"/>
                </a:cubicBezTo>
                <a:cubicBezTo>
                  <a:pt x="928" y="471"/>
                  <a:pt x="928" y="471"/>
                  <a:pt x="928" y="471"/>
                </a:cubicBezTo>
                <a:cubicBezTo>
                  <a:pt x="932" y="469"/>
                  <a:pt x="932" y="469"/>
                  <a:pt x="932" y="469"/>
                </a:cubicBezTo>
                <a:cubicBezTo>
                  <a:pt x="934" y="468"/>
                  <a:pt x="934" y="468"/>
                  <a:pt x="934" y="468"/>
                </a:cubicBezTo>
                <a:cubicBezTo>
                  <a:pt x="937" y="466"/>
                  <a:pt x="937" y="466"/>
                  <a:pt x="937" y="466"/>
                </a:cubicBezTo>
                <a:cubicBezTo>
                  <a:pt x="938" y="464"/>
                  <a:pt x="938" y="464"/>
                  <a:pt x="938" y="464"/>
                </a:cubicBezTo>
                <a:cubicBezTo>
                  <a:pt x="940" y="463"/>
                  <a:pt x="940" y="463"/>
                  <a:pt x="940" y="463"/>
                </a:cubicBezTo>
                <a:cubicBezTo>
                  <a:pt x="941" y="462"/>
                  <a:pt x="941" y="462"/>
                  <a:pt x="941" y="462"/>
                </a:cubicBezTo>
                <a:cubicBezTo>
                  <a:pt x="944" y="459"/>
                  <a:pt x="944" y="459"/>
                  <a:pt x="944" y="459"/>
                </a:cubicBezTo>
                <a:cubicBezTo>
                  <a:pt x="948" y="457"/>
                  <a:pt x="948" y="457"/>
                  <a:pt x="948" y="457"/>
                </a:cubicBezTo>
                <a:cubicBezTo>
                  <a:pt x="951" y="455"/>
                  <a:pt x="951" y="455"/>
                  <a:pt x="951" y="455"/>
                </a:cubicBezTo>
                <a:cubicBezTo>
                  <a:pt x="953" y="454"/>
                  <a:pt x="953" y="454"/>
                  <a:pt x="953" y="454"/>
                </a:cubicBezTo>
                <a:cubicBezTo>
                  <a:pt x="954" y="454"/>
                  <a:pt x="954" y="454"/>
                  <a:pt x="954" y="454"/>
                </a:cubicBezTo>
                <a:cubicBezTo>
                  <a:pt x="958" y="453"/>
                  <a:pt x="958" y="453"/>
                  <a:pt x="958" y="453"/>
                </a:cubicBezTo>
                <a:cubicBezTo>
                  <a:pt x="961" y="452"/>
                  <a:pt x="961" y="452"/>
                  <a:pt x="961" y="452"/>
                </a:cubicBezTo>
                <a:cubicBezTo>
                  <a:pt x="963" y="452"/>
                  <a:pt x="963" y="452"/>
                  <a:pt x="963" y="452"/>
                </a:cubicBezTo>
                <a:cubicBezTo>
                  <a:pt x="964" y="451"/>
                  <a:pt x="964" y="451"/>
                  <a:pt x="964" y="451"/>
                </a:cubicBezTo>
                <a:cubicBezTo>
                  <a:pt x="968" y="451"/>
                  <a:pt x="968" y="451"/>
                  <a:pt x="968" y="451"/>
                </a:cubicBezTo>
                <a:cubicBezTo>
                  <a:pt x="971" y="452"/>
                  <a:pt x="971" y="452"/>
                  <a:pt x="971" y="452"/>
                </a:cubicBezTo>
                <a:cubicBezTo>
                  <a:pt x="973" y="453"/>
                  <a:pt x="973" y="453"/>
                  <a:pt x="973" y="453"/>
                </a:cubicBezTo>
                <a:cubicBezTo>
                  <a:pt x="973" y="454"/>
                  <a:pt x="973" y="454"/>
                  <a:pt x="973" y="454"/>
                </a:cubicBezTo>
                <a:cubicBezTo>
                  <a:pt x="972" y="454"/>
                  <a:pt x="972" y="454"/>
                  <a:pt x="972" y="454"/>
                </a:cubicBezTo>
                <a:cubicBezTo>
                  <a:pt x="973" y="455"/>
                  <a:pt x="973" y="455"/>
                  <a:pt x="973" y="455"/>
                </a:cubicBezTo>
                <a:cubicBezTo>
                  <a:pt x="974" y="455"/>
                  <a:pt x="974" y="455"/>
                  <a:pt x="974" y="455"/>
                </a:cubicBezTo>
                <a:cubicBezTo>
                  <a:pt x="973" y="456"/>
                  <a:pt x="973" y="456"/>
                  <a:pt x="973" y="456"/>
                </a:cubicBezTo>
                <a:cubicBezTo>
                  <a:pt x="974" y="456"/>
                  <a:pt x="974" y="456"/>
                  <a:pt x="974" y="456"/>
                </a:cubicBezTo>
                <a:cubicBezTo>
                  <a:pt x="973" y="458"/>
                  <a:pt x="973" y="458"/>
                  <a:pt x="973" y="458"/>
                </a:cubicBezTo>
                <a:cubicBezTo>
                  <a:pt x="971" y="459"/>
                  <a:pt x="971" y="459"/>
                  <a:pt x="971" y="459"/>
                </a:cubicBezTo>
                <a:cubicBezTo>
                  <a:pt x="970" y="460"/>
                  <a:pt x="970" y="460"/>
                  <a:pt x="970" y="460"/>
                </a:cubicBezTo>
                <a:cubicBezTo>
                  <a:pt x="969" y="460"/>
                  <a:pt x="969" y="460"/>
                  <a:pt x="969" y="460"/>
                </a:cubicBezTo>
                <a:cubicBezTo>
                  <a:pt x="968" y="461"/>
                  <a:pt x="968" y="461"/>
                  <a:pt x="968" y="461"/>
                </a:cubicBezTo>
                <a:cubicBezTo>
                  <a:pt x="966" y="461"/>
                  <a:pt x="966" y="461"/>
                  <a:pt x="966" y="461"/>
                </a:cubicBezTo>
                <a:cubicBezTo>
                  <a:pt x="965" y="460"/>
                  <a:pt x="965" y="460"/>
                  <a:pt x="965" y="460"/>
                </a:cubicBezTo>
                <a:cubicBezTo>
                  <a:pt x="964" y="460"/>
                  <a:pt x="964" y="460"/>
                  <a:pt x="964" y="460"/>
                </a:cubicBezTo>
                <a:cubicBezTo>
                  <a:pt x="963" y="460"/>
                  <a:pt x="963" y="460"/>
                  <a:pt x="963" y="460"/>
                </a:cubicBezTo>
                <a:cubicBezTo>
                  <a:pt x="961" y="461"/>
                  <a:pt x="961" y="461"/>
                  <a:pt x="961" y="461"/>
                </a:cubicBezTo>
                <a:cubicBezTo>
                  <a:pt x="960" y="460"/>
                  <a:pt x="960" y="460"/>
                  <a:pt x="960" y="460"/>
                </a:cubicBezTo>
                <a:cubicBezTo>
                  <a:pt x="958" y="461"/>
                  <a:pt x="958" y="461"/>
                  <a:pt x="958" y="461"/>
                </a:cubicBezTo>
                <a:cubicBezTo>
                  <a:pt x="960" y="461"/>
                  <a:pt x="960" y="461"/>
                  <a:pt x="960" y="461"/>
                </a:cubicBezTo>
                <a:cubicBezTo>
                  <a:pt x="961" y="461"/>
                  <a:pt x="961" y="461"/>
                  <a:pt x="961" y="461"/>
                </a:cubicBezTo>
                <a:cubicBezTo>
                  <a:pt x="962" y="461"/>
                  <a:pt x="962" y="461"/>
                  <a:pt x="962" y="461"/>
                </a:cubicBezTo>
                <a:cubicBezTo>
                  <a:pt x="964" y="462"/>
                  <a:pt x="964" y="462"/>
                  <a:pt x="964" y="462"/>
                </a:cubicBezTo>
                <a:cubicBezTo>
                  <a:pt x="965" y="463"/>
                  <a:pt x="965" y="463"/>
                  <a:pt x="965" y="463"/>
                </a:cubicBezTo>
                <a:cubicBezTo>
                  <a:pt x="965" y="464"/>
                  <a:pt x="965" y="464"/>
                  <a:pt x="965" y="464"/>
                </a:cubicBezTo>
                <a:cubicBezTo>
                  <a:pt x="967" y="463"/>
                  <a:pt x="967" y="463"/>
                  <a:pt x="967" y="463"/>
                </a:cubicBezTo>
                <a:cubicBezTo>
                  <a:pt x="968" y="462"/>
                  <a:pt x="968" y="462"/>
                  <a:pt x="968" y="462"/>
                </a:cubicBezTo>
                <a:cubicBezTo>
                  <a:pt x="969" y="462"/>
                  <a:pt x="969" y="462"/>
                  <a:pt x="969" y="462"/>
                </a:cubicBezTo>
                <a:cubicBezTo>
                  <a:pt x="969" y="463"/>
                  <a:pt x="969" y="463"/>
                  <a:pt x="969" y="463"/>
                </a:cubicBezTo>
                <a:cubicBezTo>
                  <a:pt x="970" y="463"/>
                  <a:pt x="970" y="463"/>
                  <a:pt x="970" y="463"/>
                </a:cubicBezTo>
                <a:cubicBezTo>
                  <a:pt x="971" y="463"/>
                  <a:pt x="971" y="463"/>
                  <a:pt x="971" y="463"/>
                </a:cubicBezTo>
                <a:cubicBezTo>
                  <a:pt x="969" y="464"/>
                  <a:pt x="969" y="464"/>
                  <a:pt x="969" y="464"/>
                </a:cubicBezTo>
                <a:cubicBezTo>
                  <a:pt x="968" y="468"/>
                  <a:pt x="968" y="468"/>
                  <a:pt x="968" y="468"/>
                </a:cubicBezTo>
                <a:cubicBezTo>
                  <a:pt x="967" y="468"/>
                  <a:pt x="967" y="468"/>
                  <a:pt x="967" y="468"/>
                </a:cubicBezTo>
                <a:cubicBezTo>
                  <a:pt x="966" y="469"/>
                  <a:pt x="966" y="469"/>
                  <a:pt x="966" y="469"/>
                </a:cubicBezTo>
                <a:cubicBezTo>
                  <a:pt x="969" y="469"/>
                  <a:pt x="969" y="469"/>
                  <a:pt x="969" y="469"/>
                </a:cubicBezTo>
                <a:cubicBezTo>
                  <a:pt x="968" y="470"/>
                  <a:pt x="968" y="470"/>
                  <a:pt x="968" y="470"/>
                </a:cubicBezTo>
                <a:cubicBezTo>
                  <a:pt x="969" y="471"/>
                  <a:pt x="969" y="471"/>
                  <a:pt x="969" y="471"/>
                </a:cubicBezTo>
                <a:cubicBezTo>
                  <a:pt x="969" y="472"/>
                  <a:pt x="969" y="472"/>
                  <a:pt x="969" y="472"/>
                </a:cubicBezTo>
                <a:cubicBezTo>
                  <a:pt x="969" y="474"/>
                  <a:pt x="969" y="474"/>
                  <a:pt x="969" y="474"/>
                </a:cubicBezTo>
                <a:cubicBezTo>
                  <a:pt x="970" y="476"/>
                  <a:pt x="970" y="476"/>
                  <a:pt x="970" y="476"/>
                </a:cubicBezTo>
                <a:cubicBezTo>
                  <a:pt x="971" y="476"/>
                  <a:pt x="971" y="476"/>
                  <a:pt x="971" y="476"/>
                </a:cubicBezTo>
                <a:cubicBezTo>
                  <a:pt x="972" y="477"/>
                  <a:pt x="972" y="477"/>
                  <a:pt x="972" y="477"/>
                </a:cubicBezTo>
                <a:cubicBezTo>
                  <a:pt x="974" y="477"/>
                  <a:pt x="974" y="477"/>
                  <a:pt x="974" y="477"/>
                </a:cubicBezTo>
                <a:cubicBezTo>
                  <a:pt x="973" y="478"/>
                  <a:pt x="973" y="478"/>
                  <a:pt x="973" y="478"/>
                </a:cubicBezTo>
                <a:cubicBezTo>
                  <a:pt x="972" y="478"/>
                  <a:pt x="972" y="478"/>
                  <a:pt x="972" y="478"/>
                </a:cubicBezTo>
                <a:cubicBezTo>
                  <a:pt x="974" y="479"/>
                  <a:pt x="974" y="479"/>
                  <a:pt x="974" y="479"/>
                </a:cubicBezTo>
                <a:cubicBezTo>
                  <a:pt x="976" y="479"/>
                  <a:pt x="976" y="479"/>
                  <a:pt x="976" y="479"/>
                </a:cubicBezTo>
                <a:cubicBezTo>
                  <a:pt x="977" y="480"/>
                  <a:pt x="977" y="480"/>
                  <a:pt x="977" y="480"/>
                </a:cubicBezTo>
                <a:cubicBezTo>
                  <a:pt x="977" y="479"/>
                  <a:pt x="977" y="479"/>
                  <a:pt x="977" y="479"/>
                </a:cubicBezTo>
                <a:cubicBezTo>
                  <a:pt x="979" y="480"/>
                  <a:pt x="979" y="480"/>
                  <a:pt x="979" y="480"/>
                </a:cubicBezTo>
                <a:cubicBezTo>
                  <a:pt x="979" y="481"/>
                  <a:pt x="979" y="481"/>
                  <a:pt x="979" y="481"/>
                </a:cubicBezTo>
                <a:cubicBezTo>
                  <a:pt x="981" y="481"/>
                  <a:pt x="981" y="481"/>
                  <a:pt x="981" y="481"/>
                </a:cubicBezTo>
                <a:cubicBezTo>
                  <a:pt x="982" y="480"/>
                  <a:pt x="982" y="480"/>
                  <a:pt x="982" y="480"/>
                </a:cubicBezTo>
                <a:cubicBezTo>
                  <a:pt x="984" y="479"/>
                  <a:pt x="984" y="479"/>
                  <a:pt x="984" y="479"/>
                </a:cubicBezTo>
                <a:cubicBezTo>
                  <a:pt x="984" y="480"/>
                  <a:pt x="984" y="480"/>
                  <a:pt x="984" y="480"/>
                </a:cubicBezTo>
                <a:cubicBezTo>
                  <a:pt x="983" y="481"/>
                  <a:pt x="983" y="481"/>
                  <a:pt x="983" y="481"/>
                </a:cubicBezTo>
                <a:cubicBezTo>
                  <a:pt x="985" y="481"/>
                  <a:pt x="985" y="481"/>
                  <a:pt x="985" y="481"/>
                </a:cubicBezTo>
                <a:cubicBezTo>
                  <a:pt x="987" y="482"/>
                  <a:pt x="987" y="482"/>
                  <a:pt x="987" y="482"/>
                </a:cubicBezTo>
                <a:cubicBezTo>
                  <a:pt x="987" y="483"/>
                  <a:pt x="987" y="483"/>
                  <a:pt x="987" y="483"/>
                </a:cubicBezTo>
                <a:cubicBezTo>
                  <a:pt x="986" y="483"/>
                  <a:pt x="986" y="483"/>
                  <a:pt x="986" y="483"/>
                </a:cubicBezTo>
                <a:cubicBezTo>
                  <a:pt x="987" y="484"/>
                  <a:pt x="987" y="484"/>
                  <a:pt x="987" y="484"/>
                </a:cubicBezTo>
                <a:cubicBezTo>
                  <a:pt x="986" y="485"/>
                  <a:pt x="986" y="485"/>
                  <a:pt x="986" y="485"/>
                </a:cubicBezTo>
                <a:cubicBezTo>
                  <a:pt x="984" y="485"/>
                  <a:pt x="984" y="485"/>
                  <a:pt x="984" y="485"/>
                </a:cubicBezTo>
                <a:cubicBezTo>
                  <a:pt x="981" y="487"/>
                  <a:pt x="981" y="487"/>
                  <a:pt x="981" y="487"/>
                </a:cubicBezTo>
                <a:cubicBezTo>
                  <a:pt x="980" y="487"/>
                  <a:pt x="980" y="487"/>
                  <a:pt x="980" y="487"/>
                </a:cubicBezTo>
                <a:cubicBezTo>
                  <a:pt x="978" y="487"/>
                  <a:pt x="978" y="487"/>
                  <a:pt x="978" y="487"/>
                </a:cubicBezTo>
                <a:cubicBezTo>
                  <a:pt x="976" y="488"/>
                  <a:pt x="976" y="488"/>
                  <a:pt x="976" y="488"/>
                </a:cubicBezTo>
                <a:cubicBezTo>
                  <a:pt x="974" y="489"/>
                  <a:pt x="974" y="489"/>
                  <a:pt x="974" y="489"/>
                </a:cubicBezTo>
                <a:cubicBezTo>
                  <a:pt x="973" y="489"/>
                  <a:pt x="973" y="489"/>
                  <a:pt x="973" y="489"/>
                </a:cubicBezTo>
                <a:cubicBezTo>
                  <a:pt x="971" y="489"/>
                  <a:pt x="971" y="489"/>
                  <a:pt x="971" y="489"/>
                </a:cubicBezTo>
                <a:cubicBezTo>
                  <a:pt x="971" y="488"/>
                  <a:pt x="971" y="488"/>
                  <a:pt x="971" y="488"/>
                </a:cubicBezTo>
                <a:cubicBezTo>
                  <a:pt x="970" y="488"/>
                  <a:pt x="970" y="488"/>
                  <a:pt x="970" y="488"/>
                </a:cubicBezTo>
                <a:cubicBezTo>
                  <a:pt x="970" y="489"/>
                  <a:pt x="970" y="489"/>
                  <a:pt x="970" y="489"/>
                </a:cubicBezTo>
                <a:cubicBezTo>
                  <a:pt x="969" y="488"/>
                  <a:pt x="969" y="488"/>
                  <a:pt x="969" y="488"/>
                </a:cubicBezTo>
                <a:cubicBezTo>
                  <a:pt x="968" y="490"/>
                  <a:pt x="968" y="490"/>
                  <a:pt x="968" y="490"/>
                </a:cubicBezTo>
                <a:cubicBezTo>
                  <a:pt x="969" y="491"/>
                  <a:pt x="969" y="491"/>
                  <a:pt x="969" y="491"/>
                </a:cubicBezTo>
                <a:cubicBezTo>
                  <a:pt x="967" y="492"/>
                  <a:pt x="967" y="492"/>
                  <a:pt x="967" y="492"/>
                </a:cubicBezTo>
                <a:cubicBezTo>
                  <a:pt x="965" y="494"/>
                  <a:pt x="965" y="494"/>
                  <a:pt x="965" y="494"/>
                </a:cubicBezTo>
                <a:cubicBezTo>
                  <a:pt x="964" y="495"/>
                  <a:pt x="964" y="495"/>
                  <a:pt x="964" y="495"/>
                </a:cubicBezTo>
                <a:cubicBezTo>
                  <a:pt x="962" y="496"/>
                  <a:pt x="962" y="496"/>
                  <a:pt x="962" y="496"/>
                </a:cubicBezTo>
                <a:cubicBezTo>
                  <a:pt x="961" y="496"/>
                  <a:pt x="961" y="496"/>
                  <a:pt x="961" y="496"/>
                </a:cubicBezTo>
                <a:cubicBezTo>
                  <a:pt x="961" y="497"/>
                  <a:pt x="961" y="497"/>
                  <a:pt x="961" y="497"/>
                </a:cubicBezTo>
                <a:cubicBezTo>
                  <a:pt x="960" y="497"/>
                  <a:pt x="960" y="497"/>
                  <a:pt x="960" y="497"/>
                </a:cubicBezTo>
                <a:cubicBezTo>
                  <a:pt x="959" y="497"/>
                  <a:pt x="959" y="497"/>
                  <a:pt x="959" y="497"/>
                </a:cubicBezTo>
                <a:cubicBezTo>
                  <a:pt x="958" y="497"/>
                  <a:pt x="958" y="497"/>
                  <a:pt x="958" y="497"/>
                </a:cubicBezTo>
                <a:cubicBezTo>
                  <a:pt x="958" y="495"/>
                  <a:pt x="958" y="495"/>
                  <a:pt x="958" y="495"/>
                </a:cubicBezTo>
                <a:cubicBezTo>
                  <a:pt x="957" y="495"/>
                  <a:pt x="957" y="495"/>
                  <a:pt x="957" y="495"/>
                </a:cubicBezTo>
                <a:cubicBezTo>
                  <a:pt x="957" y="494"/>
                  <a:pt x="957" y="494"/>
                  <a:pt x="957" y="494"/>
                </a:cubicBezTo>
                <a:cubicBezTo>
                  <a:pt x="956" y="493"/>
                  <a:pt x="956" y="493"/>
                  <a:pt x="956" y="493"/>
                </a:cubicBezTo>
                <a:cubicBezTo>
                  <a:pt x="956" y="491"/>
                  <a:pt x="956" y="491"/>
                  <a:pt x="956" y="491"/>
                </a:cubicBezTo>
                <a:cubicBezTo>
                  <a:pt x="957" y="489"/>
                  <a:pt x="957" y="489"/>
                  <a:pt x="957" y="489"/>
                </a:cubicBezTo>
                <a:cubicBezTo>
                  <a:pt x="959" y="488"/>
                  <a:pt x="959" y="488"/>
                  <a:pt x="959" y="488"/>
                </a:cubicBezTo>
                <a:cubicBezTo>
                  <a:pt x="959" y="487"/>
                  <a:pt x="959" y="487"/>
                  <a:pt x="959" y="487"/>
                </a:cubicBezTo>
                <a:cubicBezTo>
                  <a:pt x="961" y="486"/>
                  <a:pt x="961" y="486"/>
                  <a:pt x="961" y="486"/>
                </a:cubicBezTo>
                <a:cubicBezTo>
                  <a:pt x="964" y="485"/>
                  <a:pt x="964" y="485"/>
                  <a:pt x="964" y="485"/>
                </a:cubicBezTo>
                <a:cubicBezTo>
                  <a:pt x="966" y="484"/>
                  <a:pt x="966" y="484"/>
                  <a:pt x="966" y="484"/>
                </a:cubicBezTo>
                <a:cubicBezTo>
                  <a:pt x="968" y="483"/>
                  <a:pt x="968" y="483"/>
                  <a:pt x="968" y="483"/>
                </a:cubicBezTo>
                <a:cubicBezTo>
                  <a:pt x="969" y="484"/>
                  <a:pt x="969" y="484"/>
                  <a:pt x="969" y="484"/>
                </a:cubicBezTo>
                <a:cubicBezTo>
                  <a:pt x="969" y="485"/>
                  <a:pt x="969" y="485"/>
                  <a:pt x="969" y="485"/>
                </a:cubicBezTo>
                <a:cubicBezTo>
                  <a:pt x="970" y="485"/>
                  <a:pt x="970" y="485"/>
                  <a:pt x="970" y="485"/>
                </a:cubicBezTo>
                <a:cubicBezTo>
                  <a:pt x="970" y="484"/>
                  <a:pt x="970" y="484"/>
                  <a:pt x="970" y="484"/>
                </a:cubicBezTo>
                <a:cubicBezTo>
                  <a:pt x="971" y="484"/>
                  <a:pt x="971" y="484"/>
                  <a:pt x="971" y="484"/>
                </a:cubicBezTo>
                <a:cubicBezTo>
                  <a:pt x="973" y="483"/>
                  <a:pt x="973" y="483"/>
                  <a:pt x="973" y="483"/>
                </a:cubicBezTo>
                <a:cubicBezTo>
                  <a:pt x="972" y="483"/>
                  <a:pt x="972" y="483"/>
                  <a:pt x="972" y="483"/>
                </a:cubicBezTo>
                <a:cubicBezTo>
                  <a:pt x="970" y="483"/>
                  <a:pt x="970" y="483"/>
                  <a:pt x="970" y="483"/>
                </a:cubicBezTo>
                <a:cubicBezTo>
                  <a:pt x="969" y="482"/>
                  <a:pt x="969" y="482"/>
                  <a:pt x="969" y="482"/>
                </a:cubicBezTo>
                <a:cubicBezTo>
                  <a:pt x="968" y="482"/>
                  <a:pt x="968" y="482"/>
                  <a:pt x="968" y="482"/>
                </a:cubicBezTo>
                <a:cubicBezTo>
                  <a:pt x="967" y="483"/>
                  <a:pt x="967" y="483"/>
                  <a:pt x="967" y="483"/>
                </a:cubicBezTo>
                <a:cubicBezTo>
                  <a:pt x="965" y="483"/>
                  <a:pt x="965" y="483"/>
                  <a:pt x="965" y="483"/>
                </a:cubicBezTo>
                <a:cubicBezTo>
                  <a:pt x="967" y="481"/>
                  <a:pt x="967" y="481"/>
                  <a:pt x="967" y="481"/>
                </a:cubicBezTo>
                <a:cubicBezTo>
                  <a:pt x="968" y="481"/>
                  <a:pt x="968" y="481"/>
                  <a:pt x="968" y="481"/>
                </a:cubicBezTo>
                <a:cubicBezTo>
                  <a:pt x="969" y="480"/>
                  <a:pt x="969" y="480"/>
                  <a:pt x="969" y="480"/>
                </a:cubicBezTo>
                <a:cubicBezTo>
                  <a:pt x="969" y="479"/>
                  <a:pt x="969" y="479"/>
                  <a:pt x="969" y="479"/>
                </a:cubicBezTo>
                <a:cubicBezTo>
                  <a:pt x="968" y="479"/>
                  <a:pt x="968" y="479"/>
                  <a:pt x="968" y="479"/>
                </a:cubicBezTo>
                <a:cubicBezTo>
                  <a:pt x="967" y="480"/>
                  <a:pt x="967" y="480"/>
                  <a:pt x="967" y="480"/>
                </a:cubicBezTo>
                <a:cubicBezTo>
                  <a:pt x="966" y="481"/>
                  <a:pt x="966" y="481"/>
                  <a:pt x="966" y="481"/>
                </a:cubicBezTo>
                <a:cubicBezTo>
                  <a:pt x="965" y="482"/>
                  <a:pt x="965" y="482"/>
                  <a:pt x="965" y="482"/>
                </a:cubicBezTo>
                <a:cubicBezTo>
                  <a:pt x="963" y="482"/>
                  <a:pt x="963" y="482"/>
                  <a:pt x="963" y="482"/>
                </a:cubicBezTo>
                <a:cubicBezTo>
                  <a:pt x="963" y="483"/>
                  <a:pt x="963" y="483"/>
                  <a:pt x="963" y="483"/>
                </a:cubicBezTo>
                <a:cubicBezTo>
                  <a:pt x="960" y="484"/>
                  <a:pt x="960" y="484"/>
                  <a:pt x="960" y="484"/>
                </a:cubicBezTo>
                <a:cubicBezTo>
                  <a:pt x="959" y="483"/>
                  <a:pt x="959" y="483"/>
                  <a:pt x="959" y="483"/>
                </a:cubicBezTo>
                <a:cubicBezTo>
                  <a:pt x="958" y="484"/>
                  <a:pt x="958" y="484"/>
                  <a:pt x="958" y="484"/>
                </a:cubicBezTo>
                <a:cubicBezTo>
                  <a:pt x="957" y="484"/>
                  <a:pt x="957" y="484"/>
                  <a:pt x="957" y="484"/>
                </a:cubicBezTo>
                <a:cubicBezTo>
                  <a:pt x="956" y="484"/>
                  <a:pt x="956" y="484"/>
                  <a:pt x="956" y="484"/>
                </a:cubicBezTo>
                <a:cubicBezTo>
                  <a:pt x="955" y="485"/>
                  <a:pt x="955" y="485"/>
                  <a:pt x="955" y="485"/>
                </a:cubicBezTo>
                <a:cubicBezTo>
                  <a:pt x="954" y="484"/>
                  <a:pt x="954" y="484"/>
                  <a:pt x="954" y="484"/>
                </a:cubicBezTo>
                <a:cubicBezTo>
                  <a:pt x="954" y="483"/>
                  <a:pt x="954" y="483"/>
                  <a:pt x="954" y="483"/>
                </a:cubicBezTo>
                <a:cubicBezTo>
                  <a:pt x="953" y="484"/>
                  <a:pt x="953" y="484"/>
                  <a:pt x="953" y="484"/>
                </a:cubicBezTo>
                <a:cubicBezTo>
                  <a:pt x="951" y="483"/>
                  <a:pt x="951" y="483"/>
                  <a:pt x="951" y="483"/>
                </a:cubicBezTo>
                <a:cubicBezTo>
                  <a:pt x="953" y="485"/>
                  <a:pt x="953" y="485"/>
                  <a:pt x="953" y="485"/>
                </a:cubicBezTo>
                <a:cubicBezTo>
                  <a:pt x="953" y="486"/>
                  <a:pt x="953" y="486"/>
                  <a:pt x="953" y="486"/>
                </a:cubicBezTo>
                <a:cubicBezTo>
                  <a:pt x="954" y="487"/>
                  <a:pt x="954" y="487"/>
                  <a:pt x="954" y="487"/>
                </a:cubicBezTo>
                <a:cubicBezTo>
                  <a:pt x="954" y="486"/>
                  <a:pt x="954" y="486"/>
                  <a:pt x="954" y="486"/>
                </a:cubicBezTo>
                <a:cubicBezTo>
                  <a:pt x="955" y="487"/>
                  <a:pt x="955" y="487"/>
                  <a:pt x="955" y="487"/>
                </a:cubicBezTo>
                <a:cubicBezTo>
                  <a:pt x="955" y="488"/>
                  <a:pt x="955" y="488"/>
                  <a:pt x="955" y="488"/>
                </a:cubicBezTo>
                <a:cubicBezTo>
                  <a:pt x="953" y="488"/>
                  <a:pt x="953" y="488"/>
                  <a:pt x="953" y="488"/>
                </a:cubicBezTo>
                <a:cubicBezTo>
                  <a:pt x="953" y="487"/>
                  <a:pt x="953" y="487"/>
                  <a:pt x="953" y="487"/>
                </a:cubicBezTo>
                <a:cubicBezTo>
                  <a:pt x="951" y="488"/>
                  <a:pt x="951" y="488"/>
                  <a:pt x="951" y="488"/>
                </a:cubicBezTo>
                <a:cubicBezTo>
                  <a:pt x="950" y="488"/>
                  <a:pt x="950" y="488"/>
                  <a:pt x="950" y="488"/>
                </a:cubicBezTo>
                <a:cubicBezTo>
                  <a:pt x="949" y="489"/>
                  <a:pt x="949" y="489"/>
                  <a:pt x="949" y="489"/>
                </a:cubicBezTo>
                <a:cubicBezTo>
                  <a:pt x="948" y="489"/>
                  <a:pt x="948" y="489"/>
                  <a:pt x="948" y="489"/>
                </a:cubicBezTo>
                <a:cubicBezTo>
                  <a:pt x="947" y="490"/>
                  <a:pt x="947" y="490"/>
                  <a:pt x="947" y="490"/>
                </a:cubicBezTo>
                <a:cubicBezTo>
                  <a:pt x="946" y="490"/>
                  <a:pt x="946" y="490"/>
                  <a:pt x="946" y="490"/>
                </a:cubicBezTo>
                <a:cubicBezTo>
                  <a:pt x="945" y="489"/>
                  <a:pt x="945" y="489"/>
                  <a:pt x="945" y="489"/>
                </a:cubicBezTo>
                <a:cubicBezTo>
                  <a:pt x="944" y="489"/>
                  <a:pt x="944" y="489"/>
                  <a:pt x="944" y="489"/>
                </a:cubicBezTo>
                <a:cubicBezTo>
                  <a:pt x="943" y="490"/>
                  <a:pt x="943" y="490"/>
                  <a:pt x="943" y="490"/>
                </a:cubicBezTo>
                <a:cubicBezTo>
                  <a:pt x="942" y="490"/>
                  <a:pt x="942" y="490"/>
                  <a:pt x="942" y="490"/>
                </a:cubicBezTo>
                <a:cubicBezTo>
                  <a:pt x="941" y="489"/>
                  <a:pt x="941" y="489"/>
                  <a:pt x="941" y="489"/>
                </a:cubicBezTo>
                <a:cubicBezTo>
                  <a:pt x="940" y="490"/>
                  <a:pt x="940" y="490"/>
                  <a:pt x="940" y="490"/>
                </a:cubicBezTo>
                <a:cubicBezTo>
                  <a:pt x="939" y="492"/>
                  <a:pt x="939" y="492"/>
                  <a:pt x="939" y="492"/>
                </a:cubicBezTo>
                <a:cubicBezTo>
                  <a:pt x="938" y="492"/>
                  <a:pt x="938" y="492"/>
                  <a:pt x="938" y="492"/>
                </a:cubicBezTo>
                <a:cubicBezTo>
                  <a:pt x="937" y="493"/>
                  <a:pt x="937" y="493"/>
                  <a:pt x="937" y="493"/>
                </a:cubicBezTo>
                <a:cubicBezTo>
                  <a:pt x="936" y="492"/>
                  <a:pt x="936" y="492"/>
                  <a:pt x="936" y="492"/>
                </a:cubicBezTo>
                <a:cubicBezTo>
                  <a:pt x="936" y="493"/>
                  <a:pt x="936" y="493"/>
                  <a:pt x="936" y="493"/>
                </a:cubicBezTo>
                <a:cubicBezTo>
                  <a:pt x="935" y="494"/>
                  <a:pt x="935" y="494"/>
                  <a:pt x="935" y="494"/>
                </a:cubicBezTo>
                <a:cubicBezTo>
                  <a:pt x="934" y="494"/>
                  <a:pt x="934" y="494"/>
                  <a:pt x="934" y="494"/>
                </a:cubicBezTo>
                <a:cubicBezTo>
                  <a:pt x="934" y="493"/>
                  <a:pt x="934" y="493"/>
                  <a:pt x="934" y="493"/>
                </a:cubicBezTo>
                <a:cubicBezTo>
                  <a:pt x="933" y="494"/>
                  <a:pt x="933" y="494"/>
                  <a:pt x="933" y="494"/>
                </a:cubicBezTo>
                <a:cubicBezTo>
                  <a:pt x="932" y="496"/>
                  <a:pt x="932" y="496"/>
                  <a:pt x="932" y="496"/>
                </a:cubicBezTo>
                <a:cubicBezTo>
                  <a:pt x="930" y="497"/>
                  <a:pt x="930" y="497"/>
                  <a:pt x="930" y="497"/>
                </a:cubicBezTo>
                <a:cubicBezTo>
                  <a:pt x="929" y="500"/>
                  <a:pt x="929" y="500"/>
                  <a:pt x="929" y="500"/>
                </a:cubicBezTo>
                <a:cubicBezTo>
                  <a:pt x="928" y="501"/>
                  <a:pt x="928" y="501"/>
                  <a:pt x="928" y="501"/>
                </a:cubicBezTo>
                <a:cubicBezTo>
                  <a:pt x="928" y="502"/>
                  <a:pt x="928" y="502"/>
                  <a:pt x="928" y="502"/>
                </a:cubicBezTo>
                <a:cubicBezTo>
                  <a:pt x="927" y="502"/>
                  <a:pt x="927" y="502"/>
                  <a:pt x="927" y="502"/>
                </a:cubicBezTo>
                <a:cubicBezTo>
                  <a:pt x="927" y="503"/>
                  <a:pt x="927" y="503"/>
                  <a:pt x="927" y="503"/>
                </a:cubicBezTo>
                <a:cubicBezTo>
                  <a:pt x="928" y="503"/>
                  <a:pt x="928" y="503"/>
                  <a:pt x="928" y="503"/>
                </a:cubicBezTo>
                <a:cubicBezTo>
                  <a:pt x="928" y="504"/>
                  <a:pt x="928" y="504"/>
                  <a:pt x="928" y="504"/>
                </a:cubicBezTo>
                <a:cubicBezTo>
                  <a:pt x="926" y="506"/>
                  <a:pt x="926" y="506"/>
                  <a:pt x="926" y="506"/>
                </a:cubicBezTo>
                <a:cubicBezTo>
                  <a:pt x="927" y="507"/>
                  <a:pt x="927" y="507"/>
                  <a:pt x="927" y="507"/>
                </a:cubicBezTo>
                <a:cubicBezTo>
                  <a:pt x="928" y="509"/>
                  <a:pt x="928" y="509"/>
                  <a:pt x="928" y="509"/>
                </a:cubicBezTo>
                <a:cubicBezTo>
                  <a:pt x="928" y="510"/>
                  <a:pt x="928" y="510"/>
                  <a:pt x="928" y="510"/>
                </a:cubicBezTo>
                <a:cubicBezTo>
                  <a:pt x="930" y="510"/>
                  <a:pt x="930" y="510"/>
                  <a:pt x="930" y="510"/>
                </a:cubicBezTo>
                <a:cubicBezTo>
                  <a:pt x="930" y="509"/>
                  <a:pt x="930" y="509"/>
                  <a:pt x="930" y="509"/>
                </a:cubicBezTo>
                <a:cubicBezTo>
                  <a:pt x="930" y="508"/>
                  <a:pt x="930" y="508"/>
                  <a:pt x="930" y="508"/>
                </a:cubicBezTo>
                <a:cubicBezTo>
                  <a:pt x="931" y="508"/>
                  <a:pt x="931" y="508"/>
                  <a:pt x="931" y="508"/>
                </a:cubicBezTo>
                <a:cubicBezTo>
                  <a:pt x="931" y="510"/>
                  <a:pt x="931" y="510"/>
                  <a:pt x="931" y="510"/>
                </a:cubicBezTo>
                <a:cubicBezTo>
                  <a:pt x="931" y="511"/>
                  <a:pt x="931" y="511"/>
                  <a:pt x="931" y="511"/>
                </a:cubicBezTo>
                <a:cubicBezTo>
                  <a:pt x="928" y="512"/>
                  <a:pt x="928" y="512"/>
                  <a:pt x="928" y="512"/>
                </a:cubicBezTo>
                <a:cubicBezTo>
                  <a:pt x="927" y="512"/>
                  <a:pt x="927" y="512"/>
                  <a:pt x="927" y="512"/>
                </a:cubicBezTo>
                <a:cubicBezTo>
                  <a:pt x="927" y="511"/>
                  <a:pt x="927" y="511"/>
                  <a:pt x="927" y="511"/>
                </a:cubicBezTo>
                <a:cubicBezTo>
                  <a:pt x="926" y="510"/>
                  <a:pt x="926" y="510"/>
                  <a:pt x="926" y="510"/>
                </a:cubicBezTo>
                <a:cubicBezTo>
                  <a:pt x="925" y="512"/>
                  <a:pt x="925" y="512"/>
                  <a:pt x="925" y="512"/>
                </a:cubicBezTo>
                <a:cubicBezTo>
                  <a:pt x="924" y="514"/>
                  <a:pt x="924" y="514"/>
                  <a:pt x="924" y="514"/>
                </a:cubicBezTo>
                <a:cubicBezTo>
                  <a:pt x="923" y="513"/>
                  <a:pt x="923" y="513"/>
                  <a:pt x="923" y="513"/>
                </a:cubicBezTo>
                <a:cubicBezTo>
                  <a:pt x="923" y="511"/>
                  <a:pt x="923" y="511"/>
                  <a:pt x="923" y="511"/>
                </a:cubicBezTo>
                <a:cubicBezTo>
                  <a:pt x="922" y="510"/>
                  <a:pt x="922" y="510"/>
                  <a:pt x="922" y="510"/>
                </a:cubicBezTo>
                <a:cubicBezTo>
                  <a:pt x="922" y="511"/>
                  <a:pt x="922" y="511"/>
                  <a:pt x="922" y="511"/>
                </a:cubicBezTo>
                <a:cubicBezTo>
                  <a:pt x="922" y="513"/>
                  <a:pt x="922" y="513"/>
                  <a:pt x="922" y="513"/>
                </a:cubicBezTo>
                <a:cubicBezTo>
                  <a:pt x="923" y="514"/>
                  <a:pt x="923" y="514"/>
                  <a:pt x="923" y="514"/>
                </a:cubicBezTo>
                <a:cubicBezTo>
                  <a:pt x="922" y="514"/>
                  <a:pt x="922" y="514"/>
                  <a:pt x="922" y="514"/>
                </a:cubicBezTo>
                <a:cubicBezTo>
                  <a:pt x="919" y="514"/>
                  <a:pt x="919" y="514"/>
                  <a:pt x="919" y="514"/>
                </a:cubicBezTo>
                <a:cubicBezTo>
                  <a:pt x="918" y="514"/>
                  <a:pt x="918" y="514"/>
                  <a:pt x="918" y="514"/>
                </a:cubicBezTo>
                <a:cubicBezTo>
                  <a:pt x="916" y="514"/>
                  <a:pt x="916" y="514"/>
                  <a:pt x="916" y="514"/>
                </a:cubicBezTo>
                <a:cubicBezTo>
                  <a:pt x="914" y="514"/>
                  <a:pt x="914" y="514"/>
                  <a:pt x="914" y="514"/>
                </a:cubicBezTo>
                <a:cubicBezTo>
                  <a:pt x="913" y="514"/>
                  <a:pt x="913" y="514"/>
                  <a:pt x="913" y="514"/>
                </a:cubicBezTo>
                <a:cubicBezTo>
                  <a:pt x="911" y="515"/>
                  <a:pt x="911" y="515"/>
                  <a:pt x="911" y="515"/>
                </a:cubicBezTo>
                <a:cubicBezTo>
                  <a:pt x="909" y="515"/>
                  <a:pt x="909" y="515"/>
                  <a:pt x="909" y="515"/>
                </a:cubicBezTo>
                <a:cubicBezTo>
                  <a:pt x="907" y="516"/>
                  <a:pt x="907" y="516"/>
                  <a:pt x="907" y="516"/>
                </a:cubicBezTo>
                <a:cubicBezTo>
                  <a:pt x="906" y="517"/>
                  <a:pt x="906" y="517"/>
                  <a:pt x="906" y="517"/>
                </a:cubicBezTo>
                <a:cubicBezTo>
                  <a:pt x="905" y="518"/>
                  <a:pt x="905" y="518"/>
                  <a:pt x="905" y="518"/>
                </a:cubicBezTo>
                <a:cubicBezTo>
                  <a:pt x="905" y="519"/>
                  <a:pt x="905" y="519"/>
                  <a:pt x="905" y="519"/>
                </a:cubicBezTo>
                <a:cubicBezTo>
                  <a:pt x="904" y="519"/>
                  <a:pt x="904" y="519"/>
                  <a:pt x="904" y="519"/>
                </a:cubicBezTo>
                <a:cubicBezTo>
                  <a:pt x="904" y="520"/>
                  <a:pt x="904" y="520"/>
                  <a:pt x="904" y="520"/>
                </a:cubicBezTo>
                <a:cubicBezTo>
                  <a:pt x="905" y="521"/>
                  <a:pt x="905" y="521"/>
                  <a:pt x="905" y="521"/>
                </a:cubicBezTo>
                <a:cubicBezTo>
                  <a:pt x="905" y="522"/>
                  <a:pt x="905" y="522"/>
                  <a:pt x="905" y="522"/>
                </a:cubicBezTo>
                <a:cubicBezTo>
                  <a:pt x="904" y="523"/>
                  <a:pt x="904" y="523"/>
                  <a:pt x="904" y="523"/>
                </a:cubicBezTo>
                <a:cubicBezTo>
                  <a:pt x="904" y="524"/>
                  <a:pt x="904" y="524"/>
                  <a:pt x="904" y="524"/>
                </a:cubicBezTo>
                <a:cubicBezTo>
                  <a:pt x="904" y="525"/>
                  <a:pt x="904" y="525"/>
                  <a:pt x="904" y="525"/>
                </a:cubicBezTo>
                <a:cubicBezTo>
                  <a:pt x="904" y="526"/>
                  <a:pt x="904" y="526"/>
                  <a:pt x="904" y="526"/>
                </a:cubicBezTo>
                <a:cubicBezTo>
                  <a:pt x="903" y="527"/>
                  <a:pt x="903" y="527"/>
                  <a:pt x="903" y="527"/>
                </a:cubicBezTo>
                <a:cubicBezTo>
                  <a:pt x="902" y="528"/>
                  <a:pt x="902" y="528"/>
                  <a:pt x="902" y="528"/>
                </a:cubicBezTo>
                <a:cubicBezTo>
                  <a:pt x="901" y="530"/>
                  <a:pt x="901" y="530"/>
                  <a:pt x="901" y="530"/>
                </a:cubicBezTo>
                <a:cubicBezTo>
                  <a:pt x="900" y="531"/>
                  <a:pt x="900" y="531"/>
                  <a:pt x="900" y="531"/>
                </a:cubicBezTo>
                <a:cubicBezTo>
                  <a:pt x="900" y="530"/>
                  <a:pt x="900" y="530"/>
                  <a:pt x="900" y="530"/>
                </a:cubicBezTo>
                <a:cubicBezTo>
                  <a:pt x="899" y="531"/>
                  <a:pt x="899" y="531"/>
                  <a:pt x="899" y="531"/>
                </a:cubicBezTo>
                <a:cubicBezTo>
                  <a:pt x="898" y="533"/>
                  <a:pt x="898" y="533"/>
                  <a:pt x="898" y="533"/>
                </a:cubicBezTo>
                <a:cubicBezTo>
                  <a:pt x="898" y="532"/>
                  <a:pt x="898" y="532"/>
                  <a:pt x="898" y="532"/>
                </a:cubicBezTo>
                <a:cubicBezTo>
                  <a:pt x="897" y="533"/>
                  <a:pt x="897" y="533"/>
                  <a:pt x="897" y="533"/>
                </a:cubicBezTo>
                <a:cubicBezTo>
                  <a:pt x="898" y="531"/>
                  <a:pt x="898" y="531"/>
                  <a:pt x="898" y="531"/>
                </a:cubicBezTo>
                <a:cubicBezTo>
                  <a:pt x="897" y="531"/>
                  <a:pt x="897" y="531"/>
                  <a:pt x="897" y="531"/>
                </a:cubicBezTo>
                <a:cubicBezTo>
                  <a:pt x="895" y="529"/>
                  <a:pt x="895" y="529"/>
                  <a:pt x="895" y="529"/>
                </a:cubicBezTo>
                <a:cubicBezTo>
                  <a:pt x="895" y="528"/>
                  <a:pt x="895" y="528"/>
                  <a:pt x="895" y="528"/>
                </a:cubicBezTo>
                <a:cubicBezTo>
                  <a:pt x="897" y="525"/>
                  <a:pt x="897" y="525"/>
                  <a:pt x="897" y="525"/>
                </a:cubicBezTo>
                <a:cubicBezTo>
                  <a:pt x="896" y="526"/>
                  <a:pt x="896" y="526"/>
                  <a:pt x="896" y="526"/>
                </a:cubicBezTo>
                <a:cubicBezTo>
                  <a:pt x="895" y="527"/>
                  <a:pt x="895" y="527"/>
                  <a:pt x="895" y="527"/>
                </a:cubicBezTo>
                <a:cubicBezTo>
                  <a:pt x="894" y="528"/>
                  <a:pt x="894" y="528"/>
                  <a:pt x="894" y="528"/>
                </a:cubicBezTo>
                <a:cubicBezTo>
                  <a:pt x="894" y="530"/>
                  <a:pt x="894" y="530"/>
                  <a:pt x="894" y="530"/>
                </a:cubicBezTo>
                <a:cubicBezTo>
                  <a:pt x="895" y="530"/>
                  <a:pt x="895" y="530"/>
                  <a:pt x="895" y="530"/>
                </a:cubicBezTo>
                <a:cubicBezTo>
                  <a:pt x="895" y="532"/>
                  <a:pt x="895" y="532"/>
                  <a:pt x="895" y="532"/>
                </a:cubicBezTo>
                <a:cubicBezTo>
                  <a:pt x="895" y="533"/>
                  <a:pt x="895" y="533"/>
                  <a:pt x="895" y="533"/>
                </a:cubicBezTo>
                <a:cubicBezTo>
                  <a:pt x="896" y="535"/>
                  <a:pt x="896" y="535"/>
                  <a:pt x="896" y="535"/>
                </a:cubicBezTo>
                <a:cubicBezTo>
                  <a:pt x="896" y="536"/>
                  <a:pt x="896" y="536"/>
                  <a:pt x="896" y="536"/>
                </a:cubicBezTo>
                <a:cubicBezTo>
                  <a:pt x="895" y="539"/>
                  <a:pt x="895" y="539"/>
                  <a:pt x="895" y="539"/>
                </a:cubicBezTo>
                <a:cubicBezTo>
                  <a:pt x="894" y="539"/>
                  <a:pt x="894" y="539"/>
                  <a:pt x="894" y="539"/>
                </a:cubicBezTo>
                <a:cubicBezTo>
                  <a:pt x="893" y="542"/>
                  <a:pt x="893" y="542"/>
                  <a:pt x="893" y="542"/>
                </a:cubicBezTo>
                <a:cubicBezTo>
                  <a:pt x="892" y="543"/>
                  <a:pt x="892" y="543"/>
                  <a:pt x="892" y="543"/>
                </a:cubicBezTo>
                <a:cubicBezTo>
                  <a:pt x="892" y="544"/>
                  <a:pt x="892" y="544"/>
                  <a:pt x="892" y="544"/>
                </a:cubicBezTo>
                <a:cubicBezTo>
                  <a:pt x="891" y="543"/>
                  <a:pt x="891" y="543"/>
                  <a:pt x="891" y="543"/>
                </a:cubicBezTo>
                <a:cubicBezTo>
                  <a:pt x="890" y="542"/>
                  <a:pt x="890" y="542"/>
                  <a:pt x="890" y="542"/>
                </a:cubicBezTo>
                <a:cubicBezTo>
                  <a:pt x="891" y="541"/>
                  <a:pt x="891" y="541"/>
                  <a:pt x="891" y="541"/>
                </a:cubicBezTo>
                <a:cubicBezTo>
                  <a:pt x="892" y="540"/>
                  <a:pt x="892" y="540"/>
                  <a:pt x="892" y="540"/>
                </a:cubicBezTo>
                <a:cubicBezTo>
                  <a:pt x="891" y="540"/>
                  <a:pt x="891" y="540"/>
                  <a:pt x="891" y="540"/>
                </a:cubicBezTo>
                <a:cubicBezTo>
                  <a:pt x="890" y="539"/>
                  <a:pt x="890" y="539"/>
                  <a:pt x="890" y="539"/>
                </a:cubicBezTo>
                <a:cubicBezTo>
                  <a:pt x="890" y="538"/>
                  <a:pt x="890" y="538"/>
                  <a:pt x="890" y="538"/>
                </a:cubicBezTo>
                <a:cubicBezTo>
                  <a:pt x="889" y="539"/>
                  <a:pt x="889" y="539"/>
                  <a:pt x="889" y="539"/>
                </a:cubicBezTo>
                <a:cubicBezTo>
                  <a:pt x="888" y="537"/>
                  <a:pt x="888" y="537"/>
                  <a:pt x="888" y="537"/>
                </a:cubicBezTo>
                <a:cubicBezTo>
                  <a:pt x="888" y="536"/>
                  <a:pt x="888" y="536"/>
                  <a:pt x="888" y="536"/>
                </a:cubicBezTo>
                <a:cubicBezTo>
                  <a:pt x="889" y="535"/>
                  <a:pt x="889" y="535"/>
                  <a:pt x="889" y="535"/>
                </a:cubicBezTo>
                <a:cubicBezTo>
                  <a:pt x="890" y="533"/>
                  <a:pt x="890" y="533"/>
                  <a:pt x="890" y="533"/>
                </a:cubicBezTo>
                <a:cubicBezTo>
                  <a:pt x="889" y="531"/>
                  <a:pt x="889" y="531"/>
                  <a:pt x="889" y="531"/>
                </a:cubicBezTo>
                <a:cubicBezTo>
                  <a:pt x="889" y="530"/>
                  <a:pt x="889" y="530"/>
                  <a:pt x="889" y="530"/>
                </a:cubicBezTo>
                <a:cubicBezTo>
                  <a:pt x="890" y="529"/>
                  <a:pt x="890" y="529"/>
                  <a:pt x="890" y="529"/>
                </a:cubicBezTo>
                <a:cubicBezTo>
                  <a:pt x="888" y="530"/>
                  <a:pt x="888" y="530"/>
                  <a:pt x="888" y="530"/>
                </a:cubicBezTo>
                <a:cubicBezTo>
                  <a:pt x="887" y="530"/>
                  <a:pt x="887" y="530"/>
                  <a:pt x="887" y="530"/>
                </a:cubicBezTo>
                <a:cubicBezTo>
                  <a:pt x="888" y="531"/>
                  <a:pt x="888" y="531"/>
                  <a:pt x="888" y="531"/>
                </a:cubicBezTo>
                <a:cubicBezTo>
                  <a:pt x="887" y="532"/>
                  <a:pt x="887" y="532"/>
                  <a:pt x="887" y="532"/>
                </a:cubicBezTo>
                <a:cubicBezTo>
                  <a:pt x="887" y="534"/>
                  <a:pt x="887" y="534"/>
                  <a:pt x="887" y="534"/>
                </a:cubicBezTo>
                <a:cubicBezTo>
                  <a:pt x="887" y="535"/>
                  <a:pt x="887" y="535"/>
                  <a:pt x="887" y="535"/>
                </a:cubicBezTo>
                <a:cubicBezTo>
                  <a:pt x="887" y="537"/>
                  <a:pt x="887" y="537"/>
                  <a:pt x="887" y="537"/>
                </a:cubicBezTo>
                <a:cubicBezTo>
                  <a:pt x="887" y="539"/>
                  <a:pt x="887" y="539"/>
                  <a:pt x="887" y="539"/>
                </a:cubicBezTo>
                <a:cubicBezTo>
                  <a:pt x="885" y="537"/>
                  <a:pt x="885" y="537"/>
                  <a:pt x="885" y="537"/>
                </a:cubicBezTo>
                <a:cubicBezTo>
                  <a:pt x="884" y="537"/>
                  <a:pt x="884" y="537"/>
                  <a:pt x="884" y="537"/>
                </a:cubicBezTo>
                <a:cubicBezTo>
                  <a:pt x="883" y="536"/>
                  <a:pt x="883" y="536"/>
                  <a:pt x="883" y="536"/>
                </a:cubicBezTo>
                <a:cubicBezTo>
                  <a:pt x="883" y="535"/>
                  <a:pt x="883" y="535"/>
                  <a:pt x="883" y="535"/>
                </a:cubicBezTo>
                <a:cubicBezTo>
                  <a:pt x="883" y="534"/>
                  <a:pt x="883" y="534"/>
                  <a:pt x="883" y="534"/>
                </a:cubicBezTo>
                <a:cubicBezTo>
                  <a:pt x="882" y="535"/>
                  <a:pt x="882" y="535"/>
                  <a:pt x="882" y="535"/>
                </a:cubicBezTo>
                <a:cubicBezTo>
                  <a:pt x="882" y="536"/>
                  <a:pt x="882" y="536"/>
                  <a:pt x="882" y="536"/>
                </a:cubicBezTo>
                <a:cubicBezTo>
                  <a:pt x="883" y="537"/>
                  <a:pt x="883" y="537"/>
                  <a:pt x="883" y="537"/>
                </a:cubicBezTo>
                <a:cubicBezTo>
                  <a:pt x="884" y="538"/>
                  <a:pt x="884" y="538"/>
                  <a:pt x="884" y="538"/>
                </a:cubicBezTo>
                <a:cubicBezTo>
                  <a:pt x="885" y="538"/>
                  <a:pt x="885" y="538"/>
                  <a:pt x="885" y="538"/>
                </a:cubicBezTo>
                <a:cubicBezTo>
                  <a:pt x="887" y="540"/>
                  <a:pt x="887" y="540"/>
                  <a:pt x="887" y="540"/>
                </a:cubicBezTo>
                <a:cubicBezTo>
                  <a:pt x="888" y="541"/>
                  <a:pt x="888" y="541"/>
                  <a:pt x="888" y="541"/>
                </a:cubicBezTo>
                <a:cubicBezTo>
                  <a:pt x="888" y="542"/>
                  <a:pt x="888" y="542"/>
                  <a:pt x="888" y="542"/>
                </a:cubicBezTo>
                <a:cubicBezTo>
                  <a:pt x="887" y="543"/>
                  <a:pt x="887" y="543"/>
                  <a:pt x="887" y="543"/>
                </a:cubicBezTo>
                <a:cubicBezTo>
                  <a:pt x="886" y="543"/>
                  <a:pt x="886" y="543"/>
                  <a:pt x="886" y="543"/>
                </a:cubicBezTo>
                <a:cubicBezTo>
                  <a:pt x="886" y="542"/>
                  <a:pt x="886" y="542"/>
                  <a:pt x="886" y="542"/>
                </a:cubicBezTo>
                <a:cubicBezTo>
                  <a:pt x="885" y="541"/>
                  <a:pt x="885" y="541"/>
                  <a:pt x="885" y="541"/>
                </a:cubicBezTo>
                <a:cubicBezTo>
                  <a:pt x="886" y="543"/>
                  <a:pt x="886" y="543"/>
                  <a:pt x="886" y="543"/>
                </a:cubicBezTo>
                <a:cubicBezTo>
                  <a:pt x="887" y="544"/>
                  <a:pt x="887" y="544"/>
                  <a:pt x="887" y="544"/>
                </a:cubicBezTo>
                <a:cubicBezTo>
                  <a:pt x="888" y="545"/>
                  <a:pt x="888" y="545"/>
                  <a:pt x="888" y="545"/>
                </a:cubicBezTo>
                <a:cubicBezTo>
                  <a:pt x="887" y="545"/>
                  <a:pt x="887" y="545"/>
                  <a:pt x="887" y="545"/>
                </a:cubicBezTo>
                <a:cubicBezTo>
                  <a:pt x="887" y="546"/>
                  <a:pt x="887" y="546"/>
                  <a:pt x="887" y="546"/>
                </a:cubicBezTo>
                <a:cubicBezTo>
                  <a:pt x="888" y="547"/>
                  <a:pt x="888" y="547"/>
                  <a:pt x="888" y="547"/>
                </a:cubicBezTo>
                <a:cubicBezTo>
                  <a:pt x="887" y="548"/>
                  <a:pt x="887" y="548"/>
                  <a:pt x="887" y="548"/>
                </a:cubicBezTo>
                <a:cubicBezTo>
                  <a:pt x="886" y="547"/>
                  <a:pt x="886" y="547"/>
                  <a:pt x="886" y="547"/>
                </a:cubicBezTo>
                <a:cubicBezTo>
                  <a:pt x="886" y="546"/>
                  <a:pt x="886" y="546"/>
                  <a:pt x="886" y="546"/>
                </a:cubicBezTo>
                <a:cubicBezTo>
                  <a:pt x="884" y="546"/>
                  <a:pt x="884" y="546"/>
                  <a:pt x="884" y="546"/>
                </a:cubicBezTo>
                <a:cubicBezTo>
                  <a:pt x="883" y="546"/>
                  <a:pt x="883" y="546"/>
                  <a:pt x="883" y="546"/>
                </a:cubicBezTo>
                <a:cubicBezTo>
                  <a:pt x="884" y="547"/>
                  <a:pt x="884" y="547"/>
                  <a:pt x="884" y="547"/>
                </a:cubicBezTo>
                <a:cubicBezTo>
                  <a:pt x="885" y="547"/>
                  <a:pt x="885" y="547"/>
                  <a:pt x="885" y="547"/>
                </a:cubicBezTo>
                <a:cubicBezTo>
                  <a:pt x="886" y="547"/>
                  <a:pt x="886" y="547"/>
                  <a:pt x="886" y="547"/>
                </a:cubicBezTo>
                <a:cubicBezTo>
                  <a:pt x="886" y="549"/>
                  <a:pt x="886" y="549"/>
                  <a:pt x="886" y="549"/>
                </a:cubicBezTo>
                <a:cubicBezTo>
                  <a:pt x="887" y="549"/>
                  <a:pt x="887" y="549"/>
                  <a:pt x="887" y="549"/>
                </a:cubicBezTo>
                <a:cubicBezTo>
                  <a:pt x="888" y="549"/>
                  <a:pt x="888" y="549"/>
                  <a:pt x="888" y="549"/>
                </a:cubicBezTo>
                <a:cubicBezTo>
                  <a:pt x="889" y="549"/>
                  <a:pt x="889" y="549"/>
                  <a:pt x="889" y="549"/>
                </a:cubicBezTo>
                <a:cubicBezTo>
                  <a:pt x="889" y="550"/>
                  <a:pt x="889" y="550"/>
                  <a:pt x="889" y="550"/>
                </a:cubicBezTo>
                <a:cubicBezTo>
                  <a:pt x="889" y="551"/>
                  <a:pt x="889" y="551"/>
                  <a:pt x="889" y="551"/>
                </a:cubicBezTo>
                <a:cubicBezTo>
                  <a:pt x="888" y="551"/>
                  <a:pt x="888" y="551"/>
                  <a:pt x="888" y="551"/>
                </a:cubicBezTo>
                <a:cubicBezTo>
                  <a:pt x="888" y="552"/>
                  <a:pt x="888" y="552"/>
                  <a:pt x="888" y="552"/>
                </a:cubicBezTo>
                <a:cubicBezTo>
                  <a:pt x="889" y="554"/>
                  <a:pt x="889" y="554"/>
                  <a:pt x="889" y="554"/>
                </a:cubicBezTo>
                <a:cubicBezTo>
                  <a:pt x="888" y="554"/>
                  <a:pt x="888" y="554"/>
                  <a:pt x="888" y="554"/>
                </a:cubicBezTo>
                <a:cubicBezTo>
                  <a:pt x="887" y="554"/>
                  <a:pt x="887" y="554"/>
                  <a:pt x="887" y="554"/>
                </a:cubicBezTo>
                <a:cubicBezTo>
                  <a:pt x="887" y="555"/>
                  <a:pt x="887" y="555"/>
                  <a:pt x="887" y="555"/>
                </a:cubicBezTo>
                <a:cubicBezTo>
                  <a:pt x="885" y="555"/>
                  <a:pt x="885" y="555"/>
                  <a:pt x="885" y="555"/>
                </a:cubicBezTo>
                <a:cubicBezTo>
                  <a:pt x="885" y="556"/>
                  <a:pt x="885" y="556"/>
                  <a:pt x="885" y="556"/>
                </a:cubicBezTo>
                <a:cubicBezTo>
                  <a:pt x="884" y="555"/>
                  <a:pt x="884" y="555"/>
                  <a:pt x="884" y="555"/>
                </a:cubicBezTo>
                <a:cubicBezTo>
                  <a:pt x="883" y="554"/>
                  <a:pt x="883" y="554"/>
                  <a:pt x="883" y="554"/>
                </a:cubicBezTo>
                <a:cubicBezTo>
                  <a:pt x="883" y="556"/>
                  <a:pt x="883" y="556"/>
                  <a:pt x="883" y="556"/>
                </a:cubicBezTo>
                <a:cubicBezTo>
                  <a:pt x="883" y="557"/>
                  <a:pt x="883" y="557"/>
                  <a:pt x="883" y="557"/>
                </a:cubicBezTo>
                <a:cubicBezTo>
                  <a:pt x="884" y="557"/>
                  <a:pt x="884" y="557"/>
                  <a:pt x="884" y="557"/>
                </a:cubicBezTo>
                <a:cubicBezTo>
                  <a:pt x="886" y="556"/>
                  <a:pt x="886" y="556"/>
                  <a:pt x="886" y="556"/>
                </a:cubicBezTo>
                <a:cubicBezTo>
                  <a:pt x="887" y="556"/>
                  <a:pt x="887" y="556"/>
                  <a:pt x="887" y="556"/>
                </a:cubicBezTo>
                <a:cubicBezTo>
                  <a:pt x="887" y="558"/>
                  <a:pt x="887" y="558"/>
                  <a:pt x="887" y="558"/>
                </a:cubicBezTo>
                <a:cubicBezTo>
                  <a:pt x="888" y="559"/>
                  <a:pt x="888" y="559"/>
                  <a:pt x="888" y="559"/>
                </a:cubicBezTo>
                <a:cubicBezTo>
                  <a:pt x="888" y="558"/>
                  <a:pt x="888" y="558"/>
                  <a:pt x="888" y="558"/>
                </a:cubicBezTo>
                <a:cubicBezTo>
                  <a:pt x="888" y="557"/>
                  <a:pt x="888" y="557"/>
                  <a:pt x="888" y="557"/>
                </a:cubicBezTo>
                <a:cubicBezTo>
                  <a:pt x="889" y="556"/>
                  <a:pt x="889" y="556"/>
                  <a:pt x="889" y="556"/>
                </a:cubicBezTo>
                <a:cubicBezTo>
                  <a:pt x="889" y="557"/>
                  <a:pt x="889" y="557"/>
                  <a:pt x="889" y="557"/>
                </a:cubicBezTo>
                <a:cubicBezTo>
                  <a:pt x="889" y="559"/>
                  <a:pt x="889" y="559"/>
                  <a:pt x="889" y="559"/>
                </a:cubicBezTo>
                <a:cubicBezTo>
                  <a:pt x="887" y="560"/>
                  <a:pt x="887" y="560"/>
                  <a:pt x="887" y="560"/>
                </a:cubicBezTo>
                <a:cubicBezTo>
                  <a:pt x="887" y="561"/>
                  <a:pt x="887" y="561"/>
                  <a:pt x="887" y="561"/>
                </a:cubicBezTo>
                <a:cubicBezTo>
                  <a:pt x="886" y="561"/>
                  <a:pt x="886" y="561"/>
                  <a:pt x="886" y="561"/>
                </a:cubicBezTo>
                <a:cubicBezTo>
                  <a:pt x="885" y="561"/>
                  <a:pt x="885" y="561"/>
                  <a:pt x="885" y="561"/>
                </a:cubicBezTo>
                <a:cubicBezTo>
                  <a:pt x="884" y="560"/>
                  <a:pt x="884" y="560"/>
                  <a:pt x="884" y="560"/>
                </a:cubicBezTo>
                <a:cubicBezTo>
                  <a:pt x="883" y="561"/>
                  <a:pt x="883" y="561"/>
                  <a:pt x="883" y="561"/>
                </a:cubicBezTo>
                <a:cubicBezTo>
                  <a:pt x="882" y="560"/>
                  <a:pt x="882" y="560"/>
                  <a:pt x="882" y="560"/>
                </a:cubicBezTo>
                <a:cubicBezTo>
                  <a:pt x="881" y="560"/>
                  <a:pt x="881" y="560"/>
                  <a:pt x="881" y="560"/>
                </a:cubicBezTo>
                <a:cubicBezTo>
                  <a:pt x="882" y="561"/>
                  <a:pt x="882" y="561"/>
                  <a:pt x="882" y="561"/>
                </a:cubicBezTo>
                <a:cubicBezTo>
                  <a:pt x="883" y="561"/>
                  <a:pt x="883" y="561"/>
                  <a:pt x="883" y="561"/>
                </a:cubicBezTo>
                <a:cubicBezTo>
                  <a:pt x="884" y="561"/>
                  <a:pt x="884" y="561"/>
                  <a:pt x="884" y="561"/>
                </a:cubicBezTo>
                <a:cubicBezTo>
                  <a:pt x="884" y="562"/>
                  <a:pt x="884" y="562"/>
                  <a:pt x="884" y="562"/>
                </a:cubicBezTo>
                <a:cubicBezTo>
                  <a:pt x="883" y="563"/>
                  <a:pt x="883" y="563"/>
                  <a:pt x="883" y="563"/>
                </a:cubicBezTo>
                <a:cubicBezTo>
                  <a:pt x="884" y="563"/>
                  <a:pt x="884" y="563"/>
                  <a:pt x="884" y="563"/>
                </a:cubicBezTo>
                <a:cubicBezTo>
                  <a:pt x="882" y="564"/>
                  <a:pt x="882" y="564"/>
                  <a:pt x="882" y="564"/>
                </a:cubicBezTo>
                <a:cubicBezTo>
                  <a:pt x="883" y="564"/>
                  <a:pt x="883" y="564"/>
                  <a:pt x="883" y="564"/>
                </a:cubicBezTo>
                <a:cubicBezTo>
                  <a:pt x="884" y="563"/>
                  <a:pt x="884" y="563"/>
                  <a:pt x="884" y="563"/>
                </a:cubicBezTo>
                <a:cubicBezTo>
                  <a:pt x="885" y="564"/>
                  <a:pt x="885" y="564"/>
                  <a:pt x="885" y="564"/>
                </a:cubicBezTo>
                <a:cubicBezTo>
                  <a:pt x="884" y="565"/>
                  <a:pt x="884" y="565"/>
                  <a:pt x="884" y="565"/>
                </a:cubicBezTo>
                <a:cubicBezTo>
                  <a:pt x="883" y="565"/>
                  <a:pt x="883" y="565"/>
                  <a:pt x="883" y="565"/>
                </a:cubicBezTo>
                <a:cubicBezTo>
                  <a:pt x="882" y="565"/>
                  <a:pt x="882" y="565"/>
                  <a:pt x="882" y="565"/>
                </a:cubicBezTo>
                <a:cubicBezTo>
                  <a:pt x="880" y="566"/>
                  <a:pt x="880" y="566"/>
                  <a:pt x="880" y="566"/>
                </a:cubicBezTo>
                <a:cubicBezTo>
                  <a:pt x="877" y="567"/>
                  <a:pt x="877" y="567"/>
                  <a:pt x="877" y="567"/>
                </a:cubicBezTo>
                <a:cubicBezTo>
                  <a:pt x="874" y="570"/>
                  <a:pt x="874" y="570"/>
                  <a:pt x="874" y="570"/>
                </a:cubicBezTo>
                <a:cubicBezTo>
                  <a:pt x="873" y="572"/>
                  <a:pt x="873" y="572"/>
                  <a:pt x="873" y="572"/>
                </a:cubicBezTo>
                <a:cubicBezTo>
                  <a:pt x="872" y="572"/>
                  <a:pt x="872" y="572"/>
                  <a:pt x="872" y="572"/>
                </a:cubicBezTo>
                <a:cubicBezTo>
                  <a:pt x="872" y="571"/>
                  <a:pt x="872" y="571"/>
                  <a:pt x="872" y="571"/>
                </a:cubicBezTo>
                <a:cubicBezTo>
                  <a:pt x="870" y="572"/>
                  <a:pt x="870" y="572"/>
                  <a:pt x="870" y="572"/>
                </a:cubicBezTo>
                <a:cubicBezTo>
                  <a:pt x="869" y="573"/>
                  <a:pt x="869" y="573"/>
                  <a:pt x="869" y="573"/>
                </a:cubicBezTo>
                <a:cubicBezTo>
                  <a:pt x="866" y="576"/>
                  <a:pt x="866" y="576"/>
                  <a:pt x="866" y="576"/>
                </a:cubicBezTo>
                <a:cubicBezTo>
                  <a:pt x="866" y="577"/>
                  <a:pt x="866" y="577"/>
                  <a:pt x="866" y="577"/>
                </a:cubicBezTo>
                <a:cubicBezTo>
                  <a:pt x="865" y="577"/>
                  <a:pt x="865" y="577"/>
                  <a:pt x="865" y="577"/>
                </a:cubicBezTo>
                <a:cubicBezTo>
                  <a:pt x="865" y="578"/>
                  <a:pt x="865" y="578"/>
                  <a:pt x="865" y="578"/>
                </a:cubicBezTo>
                <a:cubicBezTo>
                  <a:pt x="864" y="579"/>
                  <a:pt x="864" y="579"/>
                  <a:pt x="864" y="579"/>
                </a:cubicBezTo>
                <a:cubicBezTo>
                  <a:pt x="863" y="579"/>
                  <a:pt x="863" y="579"/>
                  <a:pt x="863" y="579"/>
                </a:cubicBezTo>
                <a:cubicBezTo>
                  <a:pt x="862" y="579"/>
                  <a:pt x="862" y="579"/>
                  <a:pt x="862" y="579"/>
                </a:cubicBezTo>
                <a:cubicBezTo>
                  <a:pt x="862" y="580"/>
                  <a:pt x="862" y="580"/>
                  <a:pt x="862" y="580"/>
                </a:cubicBezTo>
                <a:cubicBezTo>
                  <a:pt x="860" y="580"/>
                  <a:pt x="860" y="580"/>
                  <a:pt x="860" y="580"/>
                </a:cubicBezTo>
                <a:cubicBezTo>
                  <a:pt x="860" y="581"/>
                  <a:pt x="860" y="581"/>
                  <a:pt x="860" y="581"/>
                </a:cubicBezTo>
                <a:cubicBezTo>
                  <a:pt x="858" y="581"/>
                  <a:pt x="858" y="581"/>
                  <a:pt x="858" y="581"/>
                </a:cubicBezTo>
                <a:cubicBezTo>
                  <a:pt x="858" y="582"/>
                  <a:pt x="858" y="582"/>
                  <a:pt x="858" y="582"/>
                </a:cubicBezTo>
                <a:cubicBezTo>
                  <a:pt x="856" y="582"/>
                  <a:pt x="856" y="582"/>
                  <a:pt x="856" y="582"/>
                </a:cubicBezTo>
                <a:cubicBezTo>
                  <a:pt x="855" y="582"/>
                  <a:pt x="855" y="582"/>
                  <a:pt x="855" y="582"/>
                </a:cubicBezTo>
                <a:cubicBezTo>
                  <a:pt x="854" y="583"/>
                  <a:pt x="854" y="583"/>
                  <a:pt x="854" y="583"/>
                </a:cubicBezTo>
                <a:cubicBezTo>
                  <a:pt x="855" y="583"/>
                  <a:pt x="855" y="583"/>
                  <a:pt x="855" y="583"/>
                </a:cubicBezTo>
                <a:cubicBezTo>
                  <a:pt x="855" y="584"/>
                  <a:pt x="855" y="584"/>
                  <a:pt x="855" y="584"/>
                </a:cubicBezTo>
                <a:cubicBezTo>
                  <a:pt x="854" y="585"/>
                  <a:pt x="854" y="585"/>
                  <a:pt x="854" y="585"/>
                </a:cubicBezTo>
                <a:cubicBezTo>
                  <a:pt x="853" y="585"/>
                  <a:pt x="853" y="585"/>
                  <a:pt x="853" y="585"/>
                </a:cubicBezTo>
                <a:cubicBezTo>
                  <a:pt x="853" y="586"/>
                  <a:pt x="853" y="586"/>
                  <a:pt x="853" y="586"/>
                </a:cubicBezTo>
                <a:cubicBezTo>
                  <a:pt x="852" y="586"/>
                  <a:pt x="852" y="586"/>
                  <a:pt x="852" y="586"/>
                </a:cubicBezTo>
                <a:cubicBezTo>
                  <a:pt x="851" y="588"/>
                  <a:pt x="851" y="588"/>
                  <a:pt x="851" y="588"/>
                </a:cubicBezTo>
                <a:cubicBezTo>
                  <a:pt x="850" y="590"/>
                  <a:pt x="850" y="590"/>
                  <a:pt x="850" y="590"/>
                </a:cubicBezTo>
                <a:cubicBezTo>
                  <a:pt x="850" y="592"/>
                  <a:pt x="850" y="592"/>
                  <a:pt x="850" y="592"/>
                </a:cubicBezTo>
                <a:cubicBezTo>
                  <a:pt x="849" y="596"/>
                  <a:pt x="849" y="596"/>
                  <a:pt x="849" y="596"/>
                </a:cubicBezTo>
                <a:cubicBezTo>
                  <a:pt x="849" y="598"/>
                  <a:pt x="849" y="598"/>
                  <a:pt x="849" y="598"/>
                </a:cubicBezTo>
                <a:cubicBezTo>
                  <a:pt x="849" y="600"/>
                  <a:pt x="849" y="600"/>
                  <a:pt x="849" y="600"/>
                </a:cubicBezTo>
                <a:cubicBezTo>
                  <a:pt x="850" y="602"/>
                  <a:pt x="850" y="602"/>
                  <a:pt x="850" y="602"/>
                </a:cubicBezTo>
                <a:cubicBezTo>
                  <a:pt x="850" y="605"/>
                  <a:pt x="850" y="605"/>
                  <a:pt x="850" y="605"/>
                </a:cubicBezTo>
                <a:cubicBezTo>
                  <a:pt x="851" y="606"/>
                  <a:pt x="851" y="606"/>
                  <a:pt x="851" y="606"/>
                </a:cubicBezTo>
                <a:cubicBezTo>
                  <a:pt x="851" y="609"/>
                  <a:pt x="851" y="609"/>
                  <a:pt x="851" y="609"/>
                </a:cubicBezTo>
                <a:cubicBezTo>
                  <a:pt x="852" y="610"/>
                  <a:pt x="852" y="610"/>
                  <a:pt x="852" y="610"/>
                </a:cubicBezTo>
                <a:cubicBezTo>
                  <a:pt x="853" y="611"/>
                  <a:pt x="853" y="611"/>
                  <a:pt x="853" y="611"/>
                </a:cubicBezTo>
                <a:cubicBezTo>
                  <a:pt x="852" y="613"/>
                  <a:pt x="852" y="613"/>
                  <a:pt x="852" y="613"/>
                </a:cubicBezTo>
                <a:cubicBezTo>
                  <a:pt x="852" y="615"/>
                  <a:pt x="852" y="615"/>
                  <a:pt x="852" y="615"/>
                </a:cubicBezTo>
                <a:cubicBezTo>
                  <a:pt x="853" y="619"/>
                  <a:pt x="853" y="619"/>
                  <a:pt x="853" y="619"/>
                </a:cubicBezTo>
                <a:cubicBezTo>
                  <a:pt x="854" y="620"/>
                  <a:pt x="854" y="620"/>
                  <a:pt x="854" y="620"/>
                </a:cubicBezTo>
                <a:cubicBezTo>
                  <a:pt x="855" y="622"/>
                  <a:pt x="855" y="622"/>
                  <a:pt x="855" y="622"/>
                </a:cubicBezTo>
                <a:cubicBezTo>
                  <a:pt x="854" y="623"/>
                  <a:pt x="854" y="623"/>
                  <a:pt x="854" y="623"/>
                </a:cubicBezTo>
                <a:cubicBezTo>
                  <a:pt x="854" y="625"/>
                  <a:pt x="854" y="625"/>
                  <a:pt x="854" y="625"/>
                </a:cubicBezTo>
                <a:cubicBezTo>
                  <a:pt x="854" y="626"/>
                  <a:pt x="854" y="626"/>
                  <a:pt x="854" y="626"/>
                </a:cubicBezTo>
                <a:cubicBezTo>
                  <a:pt x="854" y="627"/>
                  <a:pt x="854" y="627"/>
                  <a:pt x="854" y="627"/>
                </a:cubicBezTo>
                <a:cubicBezTo>
                  <a:pt x="853" y="629"/>
                  <a:pt x="853" y="629"/>
                  <a:pt x="853" y="629"/>
                </a:cubicBezTo>
                <a:cubicBezTo>
                  <a:pt x="852" y="631"/>
                  <a:pt x="852" y="631"/>
                  <a:pt x="852" y="631"/>
                </a:cubicBezTo>
                <a:cubicBezTo>
                  <a:pt x="851" y="632"/>
                  <a:pt x="851" y="632"/>
                  <a:pt x="851" y="632"/>
                </a:cubicBezTo>
                <a:cubicBezTo>
                  <a:pt x="851" y="633"/>
                  <a:pt x="851" y="633"/>
                  <a:pt x="851" y="633"/>
                </a:cubicBezTo>
                <a:cubicBezTo>
                  <a:pt x="850" y="634"/>
                  <a:pt x="850" y="634"/>
                  <a:pt x="850" y="634"/>
                </a:cubicBezTo>
                <a:cubicBezTo>
                  <a:pt x="849" y="634"/>
                  <a:pt x="849" y="634"/>
                  <a:pt x="849" y="634"/>
                </a:cubicBezTo>
                <a:cubicBezTo>
                  <a:pt x="848" y="634"/>
                  <a:pt x="848" y="634"/>
                  <a:pt x="848" y="634"/>
                </a:cubicBezTo>
                <a:cubicBezTo>
                  <a:pt x="847" y="633"/>
                  <a:pt x="847" y="633"/>
                  <a:pt x="847" y="633"/>
                </a:cubicBezTo>
                <a:cubicBezTo>
                  <a:pt x="846" y="633"/>
                  <a:pt x="846" y="633"/>
                  <a:pt x="846" y="633"/>
                </a:cubicBezTo>
                <a:cubicBezTo>
                  <a:pt x="847" y="632"/>
                  <a:pt x="847" y="632"/>
                  <a:pt x="847" y="632"/>
                </a:cubicBezTo>
                <a:cubicBezTo>
                  <a:pt x="845" y="631"/>
                  <a:pt x="845" y="631"/>
                  <a:pt x="845" y="631"/>
                </a:cubicBezTo>
                <a:cubicBezTo>
                  <a:pt x="845" y="630"/>
                  <a:pt x="845" y="630"/>
                  <a:pt x="845" y="630"/>
                </a:cubicBezTo>
                <a:cubicBezTo>
                  <a:pt x="845" y="629"/>
                  <a:pt x="845" y="629"/>
                  <a:pt x="845" y="629"/>
                </a:cubicBezTo>
                <a:cubicBezTo>
                  <a:pt x="844" y="629"/>
                  <a:pt x="844" y="629"/>
                  <a:pt x="844" y="629"/>
                </a:cubicBezTo>
                <a:cubicBezTo>
                  <a:pt x="843" y="629"/>
                  <a:pt x="843" y="629"/>
                  <a:pt x="843" y="629"/>
                </a:cubicBezTo>
                <a:cubicBezTo>
                  <a:pt x="843" y="627"/>
                  <a:pt x="843" y="627"/>
                  <a:pt x="843" y="627"/>
                </a:cubicBezTo>
                <a:cubicBezTo>
                  <a:pt x="843" y="626"/>
                  <a:pt x="843" y="626"/>
                  <a:pt x="843" y="626"/>
                </a:cubicBezTo>
                <a:cubicBezTo>
                  <a:pt x="842" y="625"/>
                  <a:pt x="842" y="625"/>
                  <a:pt x="842" y="625"/>
                </a:cubicBezTo>
                <a:cubicBezTo>
                  <a:pt x="841" y="624"/>
                  <a:pt x="841" y="624"/>
                  <a:pt x="841" y="624"/>
                </a:cubicBezTo>
                <a:cubicBezTo>
                  <a:pt x="842" y="623"/>
                  <a:pt x="842" y="623"/>
                  <a:pt x="842" y="623"/>
                </a:cubicBezTo>
                <a:cubicBezTo>
                  <a:pt x="842" y="622"/>
                  <a:pt x="842" y="622"/>
                  <a:pt x="842" y="622"/>
                </a:cubicBezTo>
                <a:cubicBezTo>
                  <a:pt x="841" y="621"/>
                  <a:pt x="841" y="621"/>
                  <a:pt x="841" y="621"/>
                </a:cubicBezTo>
                <a:cubicBezTo>
                  <a:pt x="840" y="621"/>
                  <a:pt x="840" y="621"/>
                  <a:pt x="840" y="621"/>
                </a:cubicBezTo>
                <a:cubicBezTo>
                  <a:pt x="839" y="620"/>
                  <a:pt x="839" y="620"/>
                  <a:pt x="839" y="620"/>
                </a:cubicBezTo>
                <a:cubicBezTo>
                  <a:pt x="839" y="619"/>
                  <a:pt x="839" y="619"/>
                  <a:pt x="839" y="619"/>
                </a:cubicBezTo>
                <a:cubicBezTo>
                  <a:pt x="839" y="618"/>
                  <a:pt x="839" y="618"/>
                  <a:pt x="839" y="618"/>
                </a:cubicBezTo>
                <a:cubicBezTo>
                  <a:pt x="840" y="616"/>
                  <a:pt x="840" y="616"/>
                  <a:pt x="840" y="616"/>
                </a:cubicBezTo>
                <a:cubicBezTo>
                  <a:pt x="840" y="615"/>
                  <a:pt x="840" y="615"/>
                  <a:pt x="840" y="615"/>
                </a:cubicBezTo>
                <a:cubicBezTo>
                  <a:pt x="839" y="614"/>
                  <a:pt x="839" y="614"/>
                  <a:pt x="839" y="614"/>
                </a:cubicBezTo>
                <a:cubicBezTo>
                  <a:pt x="839" y="615"/>
                  <a:pt x="839" y="615"/>
                  <a:pt x="839" y="615"/>
                </a:cubicBezTo>
                <a:cubicBezTo>
                  <a:pt x="838" y="616"/>
                  <a:pt x="838" y="616"/>
                  <a:pt x="838" y="616"/>
                </a:cubicBezTo>
                <a:cubicBezTo>
                  <a:pt x="837" y="615"/>
                  <a:pt x="837" y="615"/>
                  <a:pt x="837" y="615"/>
                </a:cubicBezTo>
                <a:cubicBezTo>
                  <a:pt x="837" y="614"/>
                  <a:pt x="837" y="614"/>
                  <a:pt x="837" y="614"/>
                </a:cubicBezTo>
                <a:cubicBezTo>
                  <a:pt x="839" y="612"/>
                  <a:pt x="839" y="612"/>
                  <a:pt x="839" y="612"/>
                </a:cubicBezTo>
                <a:cubicBezTo>
                  <a:pt x="839" y="609"/>
                  <a:pt x="839" y="609"/>
                  <a:pt x="839" y="609"/>
                </a:cubicBezTo>
                <a:cubicBezTo>
                  <a:pt x="839" y="608"/>
                  <a:pt x="839" y="608"/>
                  <a:pt x="839" y="608"/>
                </a:cubicBezTo>
                <a:cubicBezTo>
                  <a:pt x="839" y="606"/>
                  <a:pt x="839" y="606"/>
                  <a:pt x="839" y="606"/>
                </a:cubicBezTo>
                <a:cubicBezTo>
                  <a:pt x="838" y="606"/>
                  <a:pt x="838" y="606"/>
                  <a:pt x="838" y="606"/>
                </a:cubicBezTo>
                <a:cubicBezTo>
                  <a:pt x="837" y="605"/>
                  <a:pt x="837" y="605"/>
                  <a:pt x="837" y="605"/>
                </a:cubicBezTo>
                <a:cubicBezTo>
                  <a:pt x="837" y="604"/>
                  <a:pt x="837" y="604"/>
                  <a:pt x="837" y="604"/>
                </a:cubicBezTo>
                <a:cubicBezTo>
                  <a:pt x="836" y="604"/>
                  <a:pt x="836" y="604"/>
                  <a:pt x="836" y="604"/>
                </a:cubicBezTo>
                <a:cubicBezTo>
                  <a:pt x="836" y="602"/>
                  <a:pt x="836" y="602"/>
                  <a:pt x="836" y="602"/>
                </a:cubicBezTo>
                <a:cubicBezTo>
                  <a:pt x="835" y="602"/>
                  <a:pt x="835" y="602"/>
                  <a:pt x="835" y="602"/>
                </a:cubicBezTo>
                <a:cubicBezTo>
                  <a:pt x="834" y="599"/>
                  <a:pt x="834" y="599"/>
                  <a:pt x="834" y="599"/>
                </a:cubicBezTo>
                <a:cubicBezTo>
                  <a:pt x="832" y="599"/>
                  <a:pt x="832" y="599"/>
                  <a:pt x="832" y="599"/>
                </a:cubicBezTo>
                <a:cubicBezTo>
                  <a:pt x="830" y="599"/>
                  <a:pt x="830" y="599"/>
                  <a:pt x="830" y="599"/>
                </a:cubicBezTo>
                <a:cubicBezTo>
                  <a:pt x="830" y="600"/>
                  <a:pt x="830" y="600"/>
                  <a:pt x="830" y="600"/>
                </a:cubicBezTo>
                <a:cubicBezTo>
                  <a:pt x="829" y="600"/>
                  <a:pt x="829" y="600"/>
                  <a:pt x="829" y="600"/>
                </a:cubicBezTo>
                <a:cubicBezTo>
                  <a:pt x="827" y="601"/>
                  <a:pt x="827" y="601"/>
                  <a:pt x="827" y="601"/>
                </a:cubicBezTo>
                <a:cubicBezTo>
                  <a:pt x="826" y="601"/>
                  <a:pt x="826" y="601"/>
                  <a:pt x="826" y="601"/>
                </a:cubicBezTo>
                <a:cubicBezTo>
                  <a:pt x="824" y="602"/>
                  <a:pt x="824" y="602"/>
                  <a:pt x="824" y="602"/>
                </a:cubicBezTo>
                <a:cubicBezTo>
                  <a:pt x="824" y="601"/>
                  <a:pt x="824" y="601"/>
                  <a:pt x="824" y="601"/>
                </a:cubicBezTo>
                <a:cubicBezTo>
                  <a:pt x="825" y="601"/>
                  <a:pt x="825" y="601"/>
                  <a:pt x="825" y="601"/>
                </a:cubicBezTo>
                <a:cubicBezTo>
                  <a:pt x="824" y="600"/>
                  <a:pt x="824" y="600"/>
                  <a:pt x="824" y="600"/>
                </a:cubicBezTo>
                <a:cubicBezTo>
                  <a:pt x="822" y="599"/>
                  <a:pt x="822" y="599"/>
                  <a:pt x="822" y="599"/>
                </a:cubicBezTo>
                <a:cubicBezTo>
                  <a:pt x="822" y="598"/>
                  <a:pt x="822" y="598"/>
                  <a:pt x="822" y="598"/>
                </a:cubicBezTo>
                <a:cubicBezTo>
                  <a:pt x="823" y="599"/>
                  <a:pt x="823" y="599"/>
                  <a:pt x="823" y="599"/>
                </a:cubicBezTo>
                <a:cubicBezTo>
                  <a:pt x="823" y="598"/>
                  <a:pt x="823" y="598"/>
                  <a:pt x="823" y="598"/>
                </a:cubicBezTo>
                <a:cubicBezTo>
                  <a:pt x="822" y="598"/>
                  <a:pt x="822" y="598"/>
                  <a:pt x="822" y="598"/>
                </a:cubicBezTo>
                <a:cubicBezTo>
                  <a:pt x="822" y="597"/>
                  <a:pt x="822" y="597"/>
                  <a:pt x="822" y="597"/>
                </a:cubicBezTo>
                <a:cubicBezTo>
                  <a:pt x="821" y="597"/>
                  <a:pt x="821" y="597"/>
                  <a:pt x="821" y="597"/>
                </a:cubicBezTo>
                <a:cubicBezTo>
                  <a:pt x="822" y="598"/>
                  <a:pt x="822" y="598"/>
                  <a:pt x="822" y="598"/>
                </a:cubicBezTo>
                <a:cubicBezTo>
                  <a:pt x="821" y="598"/>
                  <a:pt x="821" y="598"/>
                  <a:pt x="821" y="598"/>
                </a:cubicBezTo>
                <a:cubicBezTo>
                  <a:pt x="820" y="597"/>
                  <a:pt x="820" y="597"/>
                  <a:pt x="820" y="597"/>
                </a:cubicBezTo>
                <a:cubicBezTo>
                  <a:pt x="818" y="597"/>
                  <a:pt x="818" y="597"/>
                  <a:pt x="818" y="597"/>
                </a:cubicBezTo>
                <a:cubicBezTo>
                  <a:pt x="817" y="597"/>
                  <a:pt x="817" y="597"/>
                  <a:pt x="817" y="597"/>
                </a:cubicBezTo>
                <a:cubicBezTo>
                  <a:pt x="817" y="596"/>
                  <a:pt x="817" y="596"/>
                  <a:pt x="817" y="596"/>
                </a:cubicBezTo>
                <a:cubicBezTo>
                  <a:pt x="816" y="597"/>
                  <a:pt x="816" y="597"/>
                  <a:pt x="816" y="597"/>
                </a:cubicBezTo>
                <a:cubicBezTo>
                  <a:pt x="816" y="596"/>
                  <a:pt x="816" y="596"/>
                  <a:pt x="816" y="596"/>
                </a:cubicBezTo>
                <a:cubicBezTo>
                  <a:pt x="814" y="597"/>
                  <a:pt x="814" y="597"/>
                  <a:pt x="814" y="597"/>
                </a:cubicBezTo>
                <a:cubicBezTo>
                  <a:pt x="813" y="596"/>
                  <a:pt x="813" y="596"/>
                  <a:pt x="813" y="596"/>
                </a:cubicBezTo>
                <a:cubicBezTo>
                  <a:pt x="812" y="596"/>
                  <a:pt x="812" y="596"/>
                  <a:pt x="812" y="596"/>
                </a:cubicBezTo>
                <a:cubicBezTo>
                  <a:pt x="810" y="596"/>
                  <a:pt x="810" y="596"/>
                  <a:pt x="810" y="596"/>
                </a:cubicBezTo>
                <a:cubicBezTo>
                  <a:pt x="809" y="597"/>
                  <a:pt x="809" y="597"/>
                  <a:pt x="809" y="597"/>
                </a:cubicBezTo>
                <a:cubicBezTo>
                  <a:pt x="808" y="596"/>
                  <a:pt x="808" y="596"/>
                  <a:pt x="808" y="596"/>
                </a:cubicBezTo>
                <a:cubicBezTo>
                  <a:pt x="808" y="595"/>
                  <a:pt x="808" y="595"/>
                  <a:pt x="808" y="595"/>
                </a:cubicBezTo>
                <a:cubicBezTo>
                  <a:pt x="808" y="594"/>
                  <a:pt x="808" y="594"/>
                  <a:pt x="808" y="594"/>
                </a:cubicBezTo>
                <a:cubicBezTo>
                  <a:pt x="807" y="594"/>
                  <a:pt x="807" y="594"/>
                  <a:pt x="807" y="594"/>
                </a:cubicBezTo>
                <a:cubicBezTo>
                  <a:pt x="807" y="595"/>
                  <a:pt x="807" y="595"/>
                  <a:pt x="807" y="595"/>
                </a:cubicBezTo>
                <a:cubicBezTo>
                  <a:pt x="806" y="596"/>
                  <a:pt x="806" y="596"/>
                  <a:pt x="806" y="596"/>
                </a:cubicBezTo>
                <a:cubicBezTo>
                  <a:pt x="805" y="596"/>
                  <a:pt x="805" y="596"/>
                  <a:pt x="805" y="596"/>
                </a:cubicBezTo>
                <a:cubicBezTo>
                  <a:pt x="803" y="596"/>
                  <a:pt x="803" y="596"/>
                  <a:pt x="803" y="596"/>
                </a:cubicBezTo>
                <a:cubicBezTo>
                  <a:pt x="799" y="597"/>
                  <a:pt x="799" y="597"/>
                  <a:pt x="799" y="597"/>
                </a:cubicBezTo>
                <a:cubicBezTo>
                  <a:pt x="798" y="598"/>
                  <a:pt x="798" y="598"/>
                  <a:pt x="798" y="598"/>
                </a:cubicBezTo>
                <a:cubicBezTo>
                  <a:pt x="796" y="598"/>
                  <a:pt x="796" y="598"/>
                  <a:pt x="796" y="598"/>
                </a:cubicBezTo>
                <a:cubicBezTo>
                  <a:pt x="795" y="600"/>
                  <a:pt x="795" y="600"/>
                  <a:pt x="795" y="600"/>
                </a:cubicBezTo>
                <a:cubicBezTo>
                  <a:pt x="795" y="601"/>
                  <a:pt x="795" y="601"/>
                  <a:pt x="795" y="601"/>
                </a:cubicBezTo>
                <a:cubicBezTo>
                  <a:pt x="796" y="600"/>
                  <a:pt x="796" y="600"/>
                  <a:pt x="796" y="600"/>
                </a:cubicBezTo>
                <a:cubicBezTo>
                  <a:pt x="797" y="599"/>
                  <a:pt x="797" y="599"/>
                  <a:pt x="797" y="599"/>
                </a:cubicBezTo>
                <a:cubicBezTo>
                  <a:pt x="797" y="600"/>
                  <a:pt x="797" y="600"/>
                  <a:pt x="797" y="600"/>
                </a:cubicBezTo>
                <a:cubicBezTo>
                  <a:pt x="798" y="600"/>
                  <a:pt x="798" y="600"/>
                  <a:pt x="798" y="600"/>
                </a:cubicBezTo>
                <a:cubicBezTo>
                  <a:pt x="799" y="601"/>
                  <a:pt x="799" y="601"/>
                  <a:pt x="799" y="601"/>
                </a:cubicBezTo>
                <a:cubicBezTo>
                  <a:pt x="798" y="601"/>
                  <a:pt x="798" y="601"/>
                  <a:pt x="798" y="601"/>
                </a:cubicBezTo>
                <a:cubicBezTo>
                  <a:pt x="796" y="602"/>
                  <a:pt x="796" y="602"/>
                  <a:pt x="796" y="602"/>
                </a:cubicBezTo>
                <a:cubicBezTo>
                  <a:pt x="796" y="603"/>
                  <a:pt x="796" y="603"/>
                  <a:pt x="796" y="603"/>
                </a:cubicBezTo>
                <a:cubicBezTo>
                  <a:pt x="797" y="604"/>
                  <a:pt x="797" y="604"/>
                  <a:pt x="797" y="604"/>
                </a:cubicBezTo>
                <a:cubicBezTo>
                  <a:pt x="799" y="604"/>
                  <a:pt x="799" y="604"/>
                  <a:pt x="799" y="604"/>
                </a:cubicBezTo>
                <a:cubicBezTo>
                  <a:pt x="800" y="606"/>
                  <a:pt x="800" y="606"/>
                  <a:pt x="800" y="606"/>
                </a:cubicBezTo>
                <a:cubicBezTo>
                  <a:pt x="799" y="606"/>
                  <a:pt x="799" y="606"/>
                  <a:pt x="799" y="606"/>
                </a:cubicBezTo>
                <a:cubicBezTo>
                  <a:pt x="798" y="605"/>
                  <a:pt x="798" y="605"/>
                  <a:pt x="798" y="605"/>
                </a:cubicBezTo>
                <a:cubicBezTo>
                  <a:pt x="797" y="606"/>
                  <a:pt x="797" y="606"/>
                  <a:pt x="797" y="606"/>
                </a:cubicBezTo>
                <a:cubicBezTo>
                  <a:pt x="797" y="605"/>
                  <a:pt x="797" y="605"/>
                  <a:pt x="797" y="605"/>
                </a:cubicBezTo>
                <a:cubicBezTo>
                  <a:pt x="796" y="604"/>
                  <a:pt x="796" y="604"/>
                  <a:pt x="796" y="604"/>
                </a:cubicBezTo>
                <a:cubicBezTo>
                  <a:pt x="795" y="603"/>
                  <a:pt x="795" y="603"/>
                  <a:pt x="795" y="603"/>
                </a:cubicBezTo>
                <a:cubicBezTo>
                  <a:pt x="794" y="603"/>
                  <a:pt x="794" y="603"/>
                  <a:pt x="794" y="603"/>
                </a:cubicBezTo>
                <a:cubicBezTo>
                  <a:pt x="794" y="604"/>
                  <a:pt x="794" y="604"/>
                  <a:pt x="794" y="604"/>
                </a:cubicBezTo>
                <a:cubicBezTo>
                  <a:pt x="794" y="606"/>
                  <a:pt x="794" y="606"/>
                  <a:pt x="794" y="606"/>
                </a:cubicBezTo>
                <a:cubicBezTo>
                  <a:pt x="793" y="606"/>
                  <a:pt x="793" y="606"/>
                  <a:pt x="793" y="606"/>
                </a:cubicBezTo>
                <a:cubicBezTo>
                  <a:pt x="793" y="605"/>
                  <a:pt x="793" y="605"/>
                  <a:pt x="793" y="605"/>
                </a:cubicBezTo>
                <a:cubicBezTo>
                  <a:pt x="792" y="605"/>
                  <a:pt x="792" y="605"/>
                  <a:pt x="792" y="605"/>
                </a:cubicBezTo>
                <a:cubicBezTo>
                  <a:pt x="791" y="605"/>
                  <a:pt x="791" y="605"/>
                  <a:pt x="791" y="605"/>
                </a:cubicBezTo>
                <a:cubicBezTo>
                  <a:pt x="790" y="606"/>
                  <a:pt x="790" y="606"/>
                  <a:pt x="790" y="606"/>
                </a:cubicBezTo>
                <a:cubicBezTo>
                  <a:pt x="789" y="606"/>
                  <a:pt x="789" y="606"/>
                  <a:pt x="789" y="606"/>
                </a:cubicBezTo>
                <a:cubicBezTo>
                  <a:pt x="788" y="605"/>
                  <a:pt x="788" y="605"/>
                  <a:pt x="788" y="605"/>
                </a:cubicBezTo>
                <a:cubicBezTo>
                  <a:pt x="787" y="605"/>
                  <a:pt x="787" y="605"/>
                  <a:pt x="787" y="605"/>
                </a:cubicBezTo>
                <a:cubicBezTo>
                  <a:pt x="786" y="605"/>
                  <a:pt x="786" y="605"/>
                  <a:pt x="786" y="605"/>
                </a:cubicBezTo>
                <a:cubicBezTo>
                  <a:pt x="787" y="604"/>
                  <a:pt x="787" y="604"/>
                  <a:pt x="787" y="604"/>
                </a:cubicBezTo>
                <a:cubicBezTo>
                  <a:pt x="787" y="603"/>
                  <a:pt x="787" y="603"/>
                  <a:pt x="787" y="603"/>
                </a:cubicBezTo>
                <a:cubicBezTo>
                  <a:pt x="786" y="603"/>
                  <a:pt x="786" y="603"/>
                  <a:pt x="786" y="603"/>
                </a:cubicBezTo>
                <a:cubicBezTo>
                  <a:pt x="785" y="603"/>
                  <a:pt x="785" y="603"/>
                  <a:pt x="785" y="603"/>
                </a:cubicBezTo>
                <a:cubicBezTo>
                  <a:pt x="785" y="602"/>
                  <a:pt x="785" y="602"/>
                  <a:pt x="785" y="602"/>
                </a:cubicBezTo>
                <a:cubicBezTo>
                  <a:pt x="785" y="601"/>
                  <a:pt x="785" y="601"/>
                  <a:pt x="785" y="601"/>
                </a:cubicBezTo>
                <a:cubicBezTo>
                  <a:pt x="784" y="602"/>
                  <a:pt x="784" y="602"/>
                  <a:pt x="784" y="602"/>
                </a:cubicBezTo>
                <a:cubicBezTo>
                  <a:pt x="783" y="601"/>
                  <a:pt x="783" y="601"/>
                  <a:pt x="783" y="601"/>
                </a:cubicBezTo>
                <a:cubicBezTo>
                  <a:pt x="784" y="601"/>
                  <a:pt x="784" y="601"/>
                  <a:pt x="784" y="601"/>
                </a:cubicBezTo>
                <a:cubicBezTo>
                  <a:pt x="783" y="600"/>
                  <a:pt x="783" y="600"/>
                  <a:pt x="783" y="600"/>
                </a:cubicBezTo>
                <a:cubicBezTo>
                  <a:pt x="782" y="601"/>
                  <a:pt x="782" y="601"/>
                  <a:pt x="782" y="601"/>
                </a:cubicBezTo>
                <a:cubicBezTo>
                  <a:pt x="782" y="602"/>
                  <a:pt x="782" y="602"/>
                  <a:pt x="782" y="602"/>
                </a:cubicBezTo>
                <a:cubicBezTo>
                  <a:pt x="781" y="602"/>
                  <a:pt x="781" y="602"/>
                  <a:pt x="781" y="602"/>
                </a:cubicBezTo>
                <a:cubicBezTo>
                  <a:pt x="777" y="602"/>
                  <a:pt x="777" y="602"/>
                  <a:pt x="777" y="602"/>
                </a:cubicBezTo>
                <a:cubicBezTo>
                  <a:pt x="777" y="601"/>
                  <a:pt x="777" y="601"/>
                  <a:pt x="777" y="601"/>
                </a:cubicBezTo>
                <a:cubicBezTo>
                  <a:pt x="774" y="601"/>
                  <a:pt x="774" y="601"/>
                  <a:pt x="774" y="601"/>
                </a:cubicBezTo>
                <a:cubicBezTo>
                  <a:pt x="772" y="601"/>
                  <a:pt x="772" y="601"/>
                  <a:pt x="772" y="601"/>
                </a:cubicBezTo>
                <a:cubicBezTo>
                  <a:pt x="770" y="601"/>
                  <a:pt x="770" y="601"/>
                  <a:pt x="770" y="601"/>
                </a:cubicBezTo>
                <a:cubicBezTo>
                  <a:pt x="769" y="602"/>
                  <a:pt x="769" y="602"/>
                  <a:pt x="769" y="602"/>
                </a:cubicBezTo>
                <a:cubicBezTo>
                  <a:pt x="768" y="602"/>
                  <a:pt x="768" y="602"/>
                  <a:pt x="768" y="602"/>
                </a:cubicBezTo>
                <a:cubicBezTo>
                  <a:pt x="767" y="603"/>
                  <a:pt x="767" y="603"/>
                  <a:pt x="767" y="603"/>
                </a:cubicBezTo>
                <a:cubicBezTo>
                  <a:pt x="766" y="603"/>
                  <a:pt x="766" y="603"/>
                  <a:pt x="766" y="603"/>
                </a:cubicBezTo>
                <a:cubicBezTo>
                  <a:pt x="766" y="602"/>
                  <a:pt x="766" y="602"/>
                  <a:pt x="766" y="602"/>
                </a:cubicBezTo>
                <a:cubicBezTo>
                  <a:pt x="766" y="601"/>
                  <a:pt x="766" y="601"/>
                  <a:pt x="766" y="601"/>
                </a:cubicBezTo>
                <a:cubicBezTo>
                  <a:pt x="767" y="600"/>
                  <a:pt x="767" y="600"/>
                  <a:pt x="767" y="600"/>
                </a:cubicBezTo>
                <a:cubicBezTo>
                  <a:pt x="766" y="599"/>
                  <a:pt x="766" y="599"/>
                  <a:pt x="766" y="599"/>
                </a:cubicBezTo>
                <a:cubicBezTo>
                  <a:pt x="766" y="600"/>
                  <a:pt x="766" y="600"/>
                  <a:pt x="766" y="600"/>
                </a:cubicBezTo>
                <a:cubicBezTo>
                  <a:pt x="765" y="601"/>
                  <a:pt x="765" y="601"/>
                  <a:pt x="765" y="601"/>
                </a:cubicBezTo>
                <a:cubicBezTo>
                  <a:pt x="764" y="601"/>
                  <a:pt x="764" y="601"/>
                  <a:pt x="764" y="601"/>
                </a:cubicBezTo>
                <a:cubicBezTo>
                  <a:pt x="763" y="600"/>
                  <a:pt x="763" y="600"/>
                  <a:pt x="763" y="600"/>
                </a:cubicBezTo>
                <a:cubicBezTo>
                  <a:pt x="764" y="602"/>
                  <a:pt x="764" y="602"/>
                  <a:pt x="764" y="602"/>
                </a:cubicBezTo>
                <a:cubicBezTo>
                  <a:pt x="764" y="603"/>
                  <a:pt x="764" y="603"/>
                  <a:pt x="764" y="603"/>
                </a:cubicBezTo>
                <a:cubicBezTo>
                  <a:pt x="764" y="604"/>
                  <a:pt x="764" y="604"/>
                  <a:pt x="764" y="604"/>
                </a:cubicBezTo>
                <a:cubicBezTo>
                  <a:pt x="764" y="605"/>
                  <a:pt x="764" y="605"/>
                  <a:pt x="764" y="605"/>
                </a:cubicBezTo>
                <a:cubicBezTo>
                  <a:pt x="763" y="605"/>
                  <a:pt x="763" y="605"/>
                  <a:pt x="763" y="605"/>
                </a:cubicBezTo>
                <a:cubicBezTo>
                  <a:pt x="761" y="607"/>
                  <a:pt x="761" y="607"/>
                  <a:pt x="761" y="607"/>
                </a:cubicBezTo>
                <a:cubicBezTo>
                  <a:pt x="758" y="608"/>
                  <a:pt x="758" y="608"/>
                  <a:pt x="758" y="608"/>
                </a:cubicBezTo>
                <a:cubicBezTo>
                  <a:pt x="757" y="608"/>
                  <a:pt x="757" y="608"/>
                  <a:pt x="757" y="608"/>
                </a:cubicBezTo>
                <a:cubicBezTo>
                  <a:pt x="756" y="609"/>
                  <a:pt x="756" y="609"/>
                  <a:pt x="756" y="609"/>
                </a:cubicBezTo>
                <a:cubicBezTo>
                  <a:pt x="755" y="609"/>
                  <a:pt x="755" y="609"/>
                  <a:pt x="755" y="609"/>
                </a:cubicBezTo>
                <a:cubicBezTo>
                  <a:pt x="756" y="608"/>
                  <a:pt x="756" y="608"/>
                  <a:pt x="756" y="608"/>
                </a:cubicBezTo>
                <a:cubicBezTo>
                  <a:pt x="755" y="608"/>
                  <a:pt x="755" y="608"/>
                  <a:pt x="755" y="608"/>
                </a:cubicBezTo>
                <a:cubicBezTo>
                  <a:pt x="754" y="608"/>
                  <a:pt x="754" y="608"/>
                  <a:pt x="754" y="608"/>
                </a:cubicBezTo>
                <a:cubicBezTo>
                  <a:pt x="753" y="608"/>
                  <a:pt x="753" y="608"/>
                  <a:pt x="753" y="608"/>
                </a:cubicBezTo>
                <a:cubicBezTo>
                  <a:pt x="754" y="609"/>
                  <a:pt x="754" y="609"/>
                  <a:pt x="754" y="609"/>
                </a:cubicBezTo>
                <a:cubicBezTo>
                  <a:pt x="753" y="609"/>
                  <a:pt x="753" y="609"/>
                  <a:pt x="753" y="609"/>
                </a:cubicBezTo>
                <a:cubicBezTo>
                  <a:pt x="752" y="609"/>
                  <a:pt x="752" y="609"/>
                  <a:pt x="752" y="609"/>
                </a:cubicBezTo>
                <a:cubicBezTo>
                  <a:pt x="752" y="610"/>
                  <a:pt x="752" y="610"/>
                  <a:pt x="752" y="610"/>
                </a:cubicBezTo>
                <a:cubicBezTo>
                  <a:pt x="751" y="611"/>
                  <a:pt x="751" y="611"/>
                  <a:pt x="751" y="611"/>
                </a:cubicBezTo>
                <a:cubicBezTo>
                  <a:pt x="750" y="611"/>
                  <a:pt x="750" y="611"/>
                  <a:pt x="750" y="611"/>
                </a:cubicBezTo>
                <a:cubicBezTo>
                  <a:pt x="749" y="612"/>
                  <a:pt x="749" y="612"/>
                  <a:pt x="749" y="612"/>
                </a:cubicBezTo>
                <a:cubicBezTo>
                  <a:pt x="750" y="613"/>
                  <a:pt x="750" y="613"/>
                  <a:pt x="750" y="613"/>
                </a:cubicBezTo>
                <a:cubicBezTo>
                  <a:pt x="749" y="614"/>
                  <a:pt x="749" y="614"/>
                  <a:pt x="749" y="614"/>
                </a:cubicBezTo>
                <a:cubicBezTo>
                  <a:pt x="748" y="614"/>
                  <a:pt x="748" y="614"/>
                  <a:pt x="748" y="614"/>
                </a:cubicBezTo>
                <a:cubicBezTo>
                  <a:pt x="748" y="617"/>
                  <a:pt x="748" y="617"/>
                  <a:pt x="748" y="617"/>
                </a:cubicBezTo>
                <a:cubicBezTo>
                  <a:pt x="747" y="618"/>
                  <a:pt x="747" y="618"/>
                  <a:pt x="747" y="618"/>
                </a:cubicBezTo>
                <a:cubicBezTo>
                  <a:pt x="747" y="620"/>
                  <a:pt x="747" y="620"/>
                  <a:pt x="747" y="620"/>
                </a:cubicBezTo>
                <a:cubicBezTo>
                  <a:pt x="746" y="621"/>
                  <a:pt x="746" y="621"/>
                  <a:pt x="746" y="621"/>
                </a:cubicBezTo>
                <a:cubicBezTo>
                  <a:pt x="746" y="622"/>
                  <a:pt x="746" y="622"/>
                  <a:pt x="746" y="622"/>
                </a:cubicBezTo>
                <a:cubicBezTo>
                  <a:pt x="746" y="625"/>
                  <a:pt x="746" y="625"/>
                  <a:pt x="746" y="625"/>
                </a:cubicBezTo>
                <a:cubicBezTo>
                  <a:pt x="747" y="626"/>
                  <a:pt x="747" y="626"/>
                  <a:pt x="747" y="626"/>
                </a:cubicBezTo>
                <a:cubicBezTo>
                  <a:pt x="746" y="627"/>
                  <a:pt x="746" y="627"/>
                  <a:pt x="746" y="627"/>
                </a:cubicBezTo>
                <a:cubicBezTo>
                  <a:pt x="746" y="629"/>
                  <a:pt x="746" y="629"/>
                  <a:pt x="746" y="629"/>
                </a:cubicBezTo>
                <a:cubicBezTo>
                  <a:pt x="746" y="629"/>
                  <a:pt x="746" y="629"/>
                  <a:pt x="747" y="627"/>
                </a:cubicBezTo>
                <a:cubicBezTo>
                  <a:pt x="747" y="627"/>
                  <a:pt x="747" y="627"/>
                  <a:pt x="747" y="629"/>
                </a:cubicBezTo>
                <a:cubicBezTo>
                  <a:pt x="747" y="629"/>
                  <a:pt x="747" y="629"/>
                  <a:pt x="746" y="631"/>
                </a:cubicBezTo>
                <a:cubicBezTo>
                  <a:pt x="746" y="631"/>
                  <a:pt x="746" y="631"/>
                  <a:pt x="745" y="632"/>
                </a:cubicBezTo>
                <a:cubicBezTo>
                  <a:pt x="745" y="632"/>
                  <a:pt x="745" y="632"/>
                  <a:pt x="744" y="631"/>
                </a:cubicBezTo>
                <a:cubicBezTo>
                  <a:pt x="744" y="631"/>
                  <a:pt x="744" y="631"/>
                  <a:pt x="744" y="633"/>
                </a:cubicBezTo>
                <a:cubicBezTo>
                  <a:pt x="744" y="633"/>
                  <a:pt x="744" y="633"/>
                  <a:pt x="743" y="634"/>
                </a:cubicBezTo>
                <a:cubicBezTo>
                  <a:pt x="743" y="634"/>
                  <a:pt x="743" y="634"/>
                  <a:pt x="744" y="635"/>
                </a:cubicBezTo>
                <a:cubicBezTo>
                  <a:pt x="744" y="635"/>
                  <a:pt x="744" y="635"/>
                  <a:pt x="743" y="637"/>
                </a:cubicBezTo>
                <a:cubicBezTo>
                  <a:pt x="743" y="637"/>
                  <a:pt x="743" y="637"/>
                  <a:pt x="743" y="638"/>
                </a:cubicBezTo>
                <a:cubicBezTo>
                  <a:pt x="743" y="638"/>
                  <a:pt x="743" y="638"/>
                  <a:pt x="743" y="639"/>
                </a:cubicBezTo>
                <a:cubicBezTo>
                  <a:pt x="743" y="639"/>
                  <a:pt x="743" y="639"/>
                  <a:pt x="743" y="640"/>
                </a:cubicBezTo>
                <a:cubicBezTo>
                  <a:pt x="743" y="640"/>
                  <a:pt x="743" y="640"/>
                  <a:pt x="743" y="641"/>
                </a:cubicBezTo>
                <a:cubicBezTo>
                  <a:pt x="743" y="641"/>
                  <a:pt x="743" y="641"/>
                  <a:pt x="743" y="642"/>
                </a:cubicBezTo>
                <a:cubicBezTo>
                  <a:pt x="743" y="642"/>
                  <a:pt x="743" y="642"/>
                  <a:pt x="742" y="645"/>
                </a:cubicBezTo>
                <a:cubicBezTo>
                  <a:pt x="742" y="645"/>
                  <a:pt x="742" y="645"/>
                  <a:pt x="742" y="647"/>
                </a:cubicBezTo>
                <a:cubicBezTo>
                  <a:pt x="742" y="647"/>
                  <a:pt x="742" y="647"/>
                  <a:pt x="742" y="650"/>
                </a:cubicBezTo>
                <a:cubicBezTo>
                  <a:pt x="742" y="650"/>
                  <a:pt x="742" y="650"/>
                  <a:pt x="741" y="651"/>
                </a:cubicBezTo>
                <a:cubicBezTo>
                  <a:pt x="741" y="651"/>
                  <a:pt x="741" y="651"/>
                  <a:pt x="741" y="652"/>
                </a:cubicBezTo>
                <a:cubicBezTo>
                  <a:pt x="741" y="652"/>
                  <a:pt x="741" y="652"/>
                  <a:pt x="742" y="654"/>
                </a:cubicBezTo>
                <a:cubicBezTo>
                  <a:pt x="742" y="654"/>
                  <a:pt x="742" y="654"/>
                  <a:pt x="741" y="656"/>
                </a:cubicBezTo>
                <a:cubicBezTo>
                  <a:pt x="741" y="656"/>
                  <a:pt x="741" y="656"/>
                  <a:pt x="741" y="658"/>
                </a:cubicBezTo>
                <a:cubicBezTo>
                  <a:pt x="741" y="658"/>
                  <a:pt x="741" y="658"/>
                  <a:pt x="742" y="659"/>
                </a:cubicBezTo>
                <a:cubicBezTo>
                  <a:pt x="742" y="659"/>
                  <a:pt x="742" y="659"/>
                  <a:pt x="743" y="661"/>
                </a:cubicBezTo>
                <a:cubicBezTo>
                  <a:pt x="743" y="661"/>
                  <a:pt x="743" y="661"/>
                  <a:pt x="743" y="662"/>
                </a:cubicBezTo>
                <a:cubicBezTo>
                  <a:pt x="743" y="662"/>
                  <a:pt x="743" y="662"/>
                  <a:pt x="743" y="663"/>
                </a:cubicBezTo>
                <a:cubicBezTo>
                  <a:pt x="743" y="663"/>
                  <a:pt x="743" y="663"/>
                  <a:pt x="743" y="664"/>
                </a:cubicBezTo>
                <a:cubicBezTo>
                  <a:pt x="743" y="664"/>
                  <a:pt x="743" y="664"/>
                  <a:pt x="744" y="665"/>
                </a:cubicBezTo>
                <a:cubicBezTo>
                  <a:pt x="744" y="665"/>
                  <a:pt x="744" y="665"/>
                  <a:pt x="747" y="669"/>
                </a:cubicBezTo>
                <a:cubicBezTo>
                  <a:pt x="747" y="669"/>
                  <a:pt x="747" y="669"/>
                  <a:pt x="748" y="670"/>
                </a:cubicBezTo>
                <a:cubicBezTo>
                  <a:pt x="748" y="670"/>
                  <a:pt x="748" y="670"/>
                  <a:pt x="749" y="672"/>
                </a:cubicBezTo>
                <a:cubicBezTo>
                  <a:pt x="749" y="672"/>
                  <a:pt x="749" y="672"/>
                  <a:pt x="749" y="673"/>
                </a:cubicBezTo>
                <a:cubicBezTo>
                  <a:pt x="749" y="673"/>
                  <a:pt x="749" y="673"/>
                  <a:pt x="749" y="674"/>
                </a:cubicBezTo>
                <a:cubicBezTo>
                  <a:pt x="749" y="674"/>
                  <a:pt x="749" y="674"/>
                  <a:pt x="752" y="677"/>
                </a:cubicBezTo>
                <a:cubicBezTo>
                  <a:pt x="752" y="677"/>
                  <a:pt x="752" y="677"/>
                  <a:pt x="752" y="678"/>
                </a:cubicBezTo>
                <a:cubicBezTo>
                  <a:pt x="752" y="678"/>
                  <a:pt x="752" y="678"/>
                  <a:pt x="753" y="678"/>
                </a:cubicBezTo>
                <a:cubicBezTo>
                  <a:pt x="753" y="678"/>
                  <a:pt x="753" y="678"/>
                  <a:pt x="755" y="678"/>
                </a:cubicBezTo>
                <a:cubicBezTo>
                  <a:pt x="755" y="678"/>
                  <a:pt x="755" y="678"/>
                  <a:pt x="757" y="679"/>
                </a:cubicBezTo>
                <a:cubicBezTo>
                  <a:pt x="757" y="679"/>
                  <a:pt x="757" y="679"/>
                  <a:pt x="758" y="681"/>
                </a:cubicBezTo>
                <a:cubicBezTo>
                  <a:pt x="758" y="681"/>
                  <a:pt x="758" y="681"/>
                  <a:pt x="759" y="683"/>
                </a:cubicBezTo>
                <a:cubicBezTo>
                  <a:pt x="759" y="683"/>
                  <a:pt x="759" y="683"/>
                  <a:pt x="760" y="682"/>
                </a:cubicBezTo>
                <a:cubicBezTo>
                  <a:pt x="760" y="682"/>
                  <a:pt x="760" y="682"/>
                  <a:pt x="762" y="682"/>
                </a:cubicBezTo>
                <a:cubicBezTo>
                  <a:pt x="762" y="682"/>
                  <a:pt x="762" y="682"/>
                  <a:pt x="763" y="682"/>
                </a:cubicBezTo>
                <a:cubicBezTo>
                  <a:pt x="763" y="682"/>
                  <a:pt x="763" y="682"/>
                  <a:pt x="764" y="682"/>
                </a:cubicBezTo>
                <a:cubicBezTo>
                  <a:pt x="764" y="682"/>
                  <a:pt x="764" y="682"/>
                  <a:pt x="766" y="681"/>
                </a:cubicBezTo>
                <a:cubicBezTo>
                  <a:pt x="766" y="681"/>
                  <a:pt x="766" y="681"/>
                  <a:pt x="767" y="680"/>
                </a:cubicBezTo>
                <a:cubicBezTo>
                  <a:pt x="767" y="680"/>
                  <a:pt x="767" y="680"/>
                  <a:pt x="769" y="680"/>
                </a:cubicBezTo>
                <a:cubicBezTo>
                  <a:pt x="769" y="680"/>
                  <a:pt x="769" y="680"/>
                  <a:pt x="770" y="680"/>
                </a:cubicBezTo>
                <a:cubicBezTo>
                  <a:pt x="770" y="680"/>
                  <a:pt x="770" y="680"/>
                  <a:pt x="772" y="679"/>
                </a:cubicBezTo>
                <a:cubicBezTo>
                  <a:pt x="772" y="679"/>
                  <a:pt x="772" y="679"/>
                  <a:pt x="773" y="679"/>
                </a:cubicBezTo>
                <a:cubicBezTo>
                  <a:pt x="773" y="679"/>
                  <a:pt x="773" y="679"/>
                  <a:pt x="775" y="679"/>
                </a:cubicBezTo>
                <a:cubicBezTo>
                  <a:pt x="775" y="679"/>
                  <a:pt x="775" y="679"/>
                  <a:pt x="777" y="679"/>
                </a:cubicBezTo>
                <a:cubicBezTo>
                  <a:pt x="777" y="679"/>
                  <a:pt x="777" y="679"/>
                  <a:pt x="776" y="680"/>
                </a:cubicBezTo>
                <a:cubicBezTo>
                  <a:pt x="776" y="680"/>
                  <a:pt x="776" y="680"/>
                  <a:pt x="775" y="681"/>
                </a:cubicBezTo>
                <a:cubicBezTo>
                  <a:pt x="775" y="681"/>
                  <a:pt x="775" y="681"/>
                  <a:pt x="777" y="681"/>
                </a:cubicBezTo>
                <a:cubicBezTo>
                  <a:pt x="777" y="681"/>
                  <a:pt x="777" y="681"/>
                  <a:pt x="778" y="682"/>
                </a:cubicBezTo>
                <a:cubicBezTo>
                  <a:pt x="778" y="682"/>
                  <a:pt x="778" y="682"/>
                  <a:pt x="778" y="681"/>
                </a:cubicBezTo>
                <a:cubicBezTo>
                  <a:pt x="778" y="681"/>
                  <a:pt x="778" y="681"/>
                  <a:pt x="779" y="681"/>
                </a:cubicBezTo>
                <a:cubicBezTo>
                  <a:pt x="779" y="681"/>
                  <a:pt x="779" y="681"/>
                  <a:pt x="780" y="680"/>
                </a:cubicBezTo>
                <a:cubicBezTo>
                  <a:pt x="780" y="680"/>
                  <a:pt x="780" y="680"/>
                  <a:pt x="780" y="678"/>
                </a:cubicBezTo>
                <a:cubicBezTo>
                  <a:pt x="780" y="678"/>
                  <a:pt x="780" y="678"/>
                  <a:pt x="780" y="677"/>
                </a:cubicBezTo>
                <a:cubicBezTo>
                  <a:pt x="780" y="677"/>
                  <a:pt x="780" y="677"/>
                  <a:pt x="779" y="678"/>
                </a:cubicBezTo>
                <a:cubicBezTo>
                  <a:pt x="779" y="678"/>
                  <a:pt x="779" y="678"/>
                  <a:pt x="779" y="677"/>
                </a:cubicBezTo>
                <a:cubicBezTo>
                  <a:pt x="779" y="677"/>
                  <a:pt x="779" y="677"/>
                  <a:pt x="781" y="676"/>
                </a:cubicBezTo>
                <a:cubicBezTo>
                  <a:pt x="781" y="676"/>
                  <a:pt x="781" y="676"/>
                  <a:pt x="782" y="676"/>
                </a:cubicBezTo>
                <a:cubicBezTo>
                  <a:pt x="782" y="676"/>
                  <a:pt x="782" y="676"/>
                  <a:pt x="784" y="674"/>
                </a:cubicBezTo>
                <a:cubicBezTo>
                  <a:pt x="784" y="674"/>
                  <a:pt x="784" y="674"/>
                  <a:pt x="784" y="672"/>
                </a:cubicBezTo>
                <a:cubicBezTo>
                  <a:pt x="784" y="672"/>
                  <a:pt x="784" y="672"/>
                  <a:pt x="786" y="670"/>
                </a:cubicBezTo>
                <a:cubicBezTo>
                  <a:pt x="786" y="670"/>
                  <a:pt x="786" y="670"/>
                  <a:pt x="786" y="669"/>
                </a:cubicBezTo>
                <a:cubicBezTo>
                  <a:pt x="786" y="669"/>
                  <a:pt x="786" y="669"/>
                  <a:pt x="786" y="665"/>
                </a:cubicBezTo>
                <a:cubicBezTo>
                  <a:pt x="786" y="665"/>
                  <a:pt x="786" y="665"/>
                  <a:pt x="788" y="663"/>
                </a:cubicBezTo>
                <a:cubicBezTo>
                  <a:pt x="788" y="663"/>
                  <a:pt x="788" y="663"/>
                  <a:pt x="787" y="663"/>
                </a:cubicBezTo>
                <a:cubicBezTo>
                  <a:pt x="787" y="663"/>
                  <a:pt x="787" y="663"/>
                  <a:pt x="787" y="662"/>
                </a:cubicBezTo>
                <a:cubicBezTo>
                  <a:pt x="787" y="662"/>
                  <a:pt x="787" y="662"/>
                  <a:pt x="791" y="661"/>
                </a:cubicBezTo>
                <a:cubicBezTo>
                  <a:pt x="791" y="661"/>
                  <a:pt x="791" y="661"/>
                  <a:pt x="797" y="661"/>
                </a:cubicBezTo>
                <a:cubicBezTo>
                  <a:pt x="797" y="661"/>
                  <a:pt x="797" y="661"/>
                  <a:pt x="798" y="659"/>
                </a:cubicBezTo>
                <a:cubicBezTo>
                  <a:pt x="798" y="659"/>
                  <a:pt x="798" y="659"/>
                  <a:pt x="799" y="659"/>
                </a:cubicBezTo>
                <a:cubicBezTo>
                  <a:pt x="799" y="659"/>
                  <a:pt x="799" y="659"/>
                  <a:pt x="800" y="660"/>
                </a:cubicBezTo>
                <a:cubicBezTo>
                  <a:pt x="800" y="660"/>
                  <a:pt x="800" y="660"/>
                  <a:pt x="801" y="659"/>
                </a:cubicBezTo>
                <a:cubicBezTo>
                  <a:pt x="801" y="659"/>
                  <a:pt x="801" y="659"/>
                  <a:pt x="801" y="658"/>
                </a:cubicBezTo>
                <a:cubicBezTo>
                  <a:pt x="801" y="658"/>
                  <a:pt x="801" y="658"/>
                  <a:pt x="804" y="658"/>
                </a:cubicBezTo>
                <a:cubicBezTo>
                  <a:pt x="804" y="658"/>
                  <a:pt x="804" y="658"/>
                  <a:pt x="806" y="659"/>
                </a:cubicBezTo>
                <a:cubicBezTo>
                  <a:pt x="806" y="659"/>
                  <a:pt x="806" y="659"/>
                  <a:pt x="807" y="659"/>
                </a:cubicBezTo>
                <a:cubicBezTo>
                  <a:pt x="807" y="659"/>
                  <a:pt x="807" y="659"/>
                  <a:pt x="807" y="658"/>
                </a:cubicBezTo>
                <a:cubicBezTo>
                  <a:pt x="807" y="658"/>
                  <a:pt x="807" y="658"/>
                  <a:pt x="808" y="658"/>
                </a:cubicBezTo>
                <a:cubicBezTo>
                  <a:pt x="808" y="658"/>
                  <a:pt x="808" y="658"/>
                  <a:pt x="810" y="660"/>
                </a:cubicBezTo>
                <a:cubicBezTo>
                  <a:pt x="810" y="660"/>
                  <a:pt x="810" y="660"/>
                  <a:pt x="810" y="662"/>
                </a:cubicBezTo>
                <a:cubicBezTo>
                  <a:pt x="810" y="662"/>
                  <a:pt x="810" y="662"/>
                  <a:pt x="809" y="663"/>
                </a:cubicBezTo>
                <a:cubicBezTo>
                  <a:pt x="809" y="663"/>
                  <a:pt x="809" y="663"/>
                  <a:pt x="808" y="666"/>
                </a:cubicBezTo>
                <a:cubicBezTo>
                  <a:pt x="808" y="666"/>
                  <a:pt x="808" y="666"/>
                  <a:pt x="805" y="668"/>
                </a:cubicBezTo>
                <a:cubicBezTo>
                  <a:pt x="805" y="668"/>
                  <a:pt x="805" y="668"/>
                  <a:pt x="804" y="669"/>
                </a:cubicBezTo>
                <a:cubicBezTo>
                  <a:pt x="804" y="669"/>
                  <a:pt x="804" y="669"/>
                  <a:pt x="804" y="671"/>
                </a:cubicBezTo>
                <a:cubicBezTo>
                  <a:pt x="804" y="671"/>
                  <a:pt x="804" y="671"/>
                  <a:pt x="803" y="671"/>
                </a:cubicBezTo>
                <a:cubicBezTo>
                  <a:pt x="803" y="671"/>
                  <a:pt x="803" y="671"/>
                  <a:pt x="803" y="672"/>
                </a:cubicBezTo>
                <a:cubicBezTo>
                  <a:pt x="803" y="672"/>
                  <a:pt x="803" y="672"/>
                  <a:pt x="803" y="673"/>
                </a:cubicBezTo>
                <a:cubicBezTo>
                  <a:pt x="803" y="673"/>
                  <a:pt x="803" y="673"/>
                  <a:pt x="804" y="673"/>
                </a:cubicBezTo>
                <a:cubicBezTo>
                  <a:pt x="804" y="673"/>
                  <a:pt x="804" y="673"/>
                  <a:pt x="804" y="674"/>
                </a:cubicBezTo>
                <a:cubicBezTo>
                  <a:pt x="804" y="674"/>
                  <a:pt x="804" y="674"/>
                  <a:pt x="803" y="675"/>
                </a:cubicBezTo>
                <a:cubicBezTo>
                  <a:pt x="803" y="675"/>
                  <a:pt x="803" y="675"/>
                  <a:pt x="803" y="676"/>
                </a:cubicBezTo>
                <a:cubicBezTo>
                  <a:pt x="803" y="676"/>
                  <a:pt x="803" y="676"/>
                  <a:pt x="804" y="675"/>
                </a:cubicBezTo>
                <a:cubicBezTo>
                  <a:pt x="804" y="675"/>
                  <a:pt x="804" y="675"/>
                  <a:pt x="805" y="675"/>
                </a:cubicBezTo>
                <a:cubicBezTo>
                  <a:pt x="805" y="675"/>
                  <a:pt x="805" y="675"/>
                  <a:pt x="804" y="676"/>
                </a:cubicBezTo>
                <a:cubicBezTo>
                  <a:pt x="804" y="676"/>
                  <a:pt x="804" y="676"/>
                  <a:pt x="803" y="680"/>
                </a:cubicBezTo>
                <a:cubicBezTo>
                  <a:pt x="803" y="680"/>
                  <a:pt x="803" y="680"/>
                  <a:pt x="802" y="682"/>
                </a:cubicBezTo>
                <a:cubicBezTo>
                  <a:pt x="802" y="682"/>
                  <a:pt x="802" y="682"/>
                  <a:pt x="801" y="682"/>
                </a:cubicBezTo>
                <a:cubicBezTo>
                  <a:pt x="801" y="682"/>
                  <a:pt x="801" y="682"/>
                  <a:pt x="801" y="681"/>
                </a:cubicBezTo>
                <a:cubicBezTo>
                  <a:pt x="801" y="681"/>
                  <a:pt x="801" y="681"/>
                  <a:pt x="800" y="680"/>
                </a:cubicBezTo>
                <a:cubicBezTo>
                  <a:pt x="800" y="680"/>
                  <a:pt x="800" y="680"/>
                  <a:pt x="799" y="680"/>
                </a:cubicBezTo>
                <a:cubicBezTo>
                  <a:pt x="799" y="680"/>
                  <a:pt x="799" y="680"/>
                  <a:pt x="800" y="679"/>
                </a:cubicBezTo>
                <a:cubicBezTo>
                  <a:pt x="800" y="679"/>
                  <a:pt x="800" y="679"/>
                  <a:pt x="800" y="678"/>
                </a:cubicBezTo>
                <a:cubicBezTo>
                  <a:pt x="800" y="678"/>
                  <a:pt x="800" y="678"/>
                  <a:pt x="799" y="678"/>
                </a:cubicBezTo>
                <a:cubicBezTo>
                  <a:pt x="799" y="678"/>
                  <a:pt x="799" y="678"/>
                  <a:pt x="798" y="680"/>
                </a:cubicBezTo>
                <a:cubicBezTo>
                  <a:pt x="798" y="680"/>
                  <a:pt x="798" y="680"/>
                  <a:pt x="797" y="681"/>
                </a:cubicBezTo>
                <a:cubicBezTo>
                  <a:pt x="797" y="681"/>
                  <a:pt x="797" y="681"/>
                  <a:pt x="798" y="681"/>
                </a:cubicBezTo>
                <a:cubicBezTo>
                  <a:pt x="798" y="681"/>
                  <a:pt x="798" y="681"/>
                  <a:pt x="799" y="681"/>
                </a:cubicBezTo>
                <a:cubicBezTo>
                  <a:pt x="799" y="681"/>
                  <a:pt x="799" y="681"/>
                  <a:pt x="799" y="682"/>
                </a:cubicBezTo>
                <a:cubicBezTo>
                  <a:pt x="799" y="682"/>
                  <a:pt x="799" y="682"/>
                  <a:pt x="799" y="685"/>
                </a:cubicBezTo>
                <a:cubicBezTo>
                  <a:pt x="799" y="685"/>
                  <a:pt x="799" y="685"/>
                  <a:pt x="798" y="686"/>
                </a:cubicBezTo>
                <a:cubicBezTo>
                  <a:pt x="798" y="686"/>
                  <a:pt x="798" y="686"/>
                  <a:pt x="798" y="688"/>
                </a:cubicBezTo>
                <a:cubicBezTo>
                  <a:pt x="798" y="688"/>
                  <a:pt x="798" y="688"/>
                  <a:pt x="798" y="689"/>
                </a:cubicBezTo>
                <a:cubicBezTo>
                  <a:pt x="798" y="689"/>
                  <a:pt x="798" y="689"/>
                  <a:pt x="798" y="691"/>
                </a:cubicBezTo>
                <a:cubicBezTo>
                  <a:pt x="798" y="691"/>
                  <a:pt x="798" y="691"/>
                  <a:pt x="798" y="693"/>
                </a:cubicBezTo>
                <a:cubicBezTo>
                  <a:pt x="798" y="693"/>
                  <a:pt x="798" y="693"/>
                  <a:pt x="796" y="695"/>
                </a:cubicBezTo>
                <a:cubicBezTo>
                  <a:pt x="796" y="695"/>
                  <a:pt x="796" y="695"/>
                  <a:pt x="795" y="695"/>
                </a:cubicBezTo>
                <a:cubicBezTo>
                  <a:pt x="795" y="695"/>
                  <a:pt x="795" y="695"/>
                  <a:pt x="794" y="696"/>
                </a:cubicBezTo>
                <a:cubicBezTo>
                  <a:pt x="794" y="696"/>
                  <a:pt x="794" y="696"/>
                  <a:pt x="794" y="697"/>
                </a:cubicBezTo>
                <a:cubicBezTo>
                  <a:pt x="794" y="697"/>
                  <a:pt x="794" y="697"/>
                  <a:pt x="794" y="698"/>
                </a:cubicBezTo>
                <a:cubicBezTo>
                  <a:pt x="794" y="698"/>
                  <a:pt x="794" y="698"/>
                  <a:pt x="795" y="698"/>
                </a:cubicBezTo>
                <a:cubicBezTo>
                  <a:pt x="795" y="698"/>
                  <a:pt x="795" y="698"/>
                  <a:pt x="796" y="698"/>
                </a:cubicBezTo>
                <a:cubicBezTo>
                  <a:pt x="796" y="698"/>
                  <a:pt x="796" y="698"/>
                  <a:pt x="797" y="698"/>
                </a:cubicBezTo>
                <a:cubicBezTo>
                  <a:pt x="797" y="698"/>
                  <a:pt x="797" y="698"/>
                  <a:pt x="798" y="698"/>
                </a:cubicBezTo>
                <a:cubicBezTo>
                  <a:pt x="798" y="698"/>
                  <a:pt x="798" y="698"/>
                  <a:pt x="799" y="699"/>
                </a:cubicBezTo>
                <a:cubicBezTo>
                  <a:pt x="799" y="699"/>
                  <a:pt x="799" y="699"/>
                  <a:pt x="800" y="698"/>
                </a:cubicBezTo>
                <a:cubicBezTo>
                  <a:pt x="800" y="698"/>
                  <a:pt x="800" y="698"/>
                  <a:pt x="804" y="698"/>
                </a:cubicBezTo>
                <a:cubicBezTo>
                  <a:pt x="804" y="698"/>
                  <a:pt x="804" y="698"/>
                  <a:pt x="807" y="698"/>
                </a:cubicBezTo>
                <a:cubicBezTo>
                  <a:pt x="807" y="698"/>
                  <a:pt x="807" y="698"/>
                  <a:pt x="809" y="697"/>
                </a:cubicBezTo>
                <a:cubicBezTo>
                  <a:pt x="809" y="697"/>
                  <a:pt x="809" y="697"/>
                  <a:pt x="810" y="698"/>
                </a:cubicBezTo>
                <a:cubicBezTo>
                  <a:pt x="810" y="698"/>
                  <a:pt x="810" y="698"/>
                  <a:pt x="810" y="697"/>
                </a:cubicBezTo>
                <a:cubicBezTo>
                  <a:pt x="810" y="697"/>
                  <a:pt x="810" y="697"/>
                  <a:pt x="811" y="697"/>
                </a:cubicBezTo>
                <a:cubicBezTo>
                  <a:pt x="811" y="697"/>
                  <a:pt x="811" y="697"/>
                  <a:pt x="811" y="696"/>
                </a:cubicBezTo>
                <a:cubicBezTo>
                  <a:pt x="811" y="696"/>
                  <a:pt x="811" y="696"/>
                  <a:pt x="812" y="696"/>
                </a:cubicBezTo>
                <a:cubicBezTo>
                  <a:pt x="812" y="696"/>
                  <a:pt x="812" y="696"/>
                  <a:pt x="814" y="698"/>
                </a:cubicBezTo>
                <a:cubicBezTo>
                  <a:pt x="814" y="698"/>
                  <a:pt x="814" y="698"/>
                  <a:pt x="817" y="698"/>
                </a:cubicBezTo>
                <a:cubicBezTo>
                  <a:pt x="817" y="698"/>
                  <a:pt x="817" y="698"/>
                  <a:pt x="819" y="698"/>
                </a:cubicBezTo>
                <a:cubicBezTo>
                  <a:pt x="819" y="698"/>
                  <a:pt x="819" y="698"/>
                  <a:pt x="820" y="699"/>
                </a:cubicBezTo>
                <a:cubicBezTo>
                  <a:pt x="820" y="699"/>
                  <a:pt x="820" y="699"/>
                  <a:pt x="820" y="698"/>
                </a:cubicBezTo>
                <a:cubicBezTo>
                  <a:pt x="820" y="698"/>
                  <a:pt x="820" y="698"/>
                  <a:pt x="821" y="698"/>
                </a:cubicBezTo>
                <a:cubicBezTo>
                  <a:pt x="821" y="698"/>
                  <a:pt x="821" y="698"/>
                  <a:pt x="822" y="698"/>
                </a:cubicBezTo>
                <a:cubicBezTo>
                  <a:pt x="822" y="698"/>
                  <a:pt x="822" y="698"/>
                  <a:pt x="823" y="698"/>
                </a:cubicBezTo>
                <a:cubicBezTo>
                  <a:pt x="823" y="698"/>
                  <a:pt x="823" y="698"/>
                  <a:pt x="825" y="699"/>
                </a:cubicBezTo>
                <a:cubicBezTo>
                  <a:pt x="825" y="699"/>
                  <a:pt x="825" y="699"/>
                  <a:pt x="826" y="700"/>
                </a:cubicBezTo>
                <a:cubicBezTo>
                  <a:pt x="826" y="700"/>
                  <a:pt x="826" y="700"/>
                  <a:pt x="824" y="699"/>
                </a:cubicBezTo>
                <a:cubicBezTo>
                  <a:pt x="824" y="699"/>
                  <a:pt x="824" y="699"/>
                  <a:pt x="823" y="699"/>
                </a:cubicBezTo>
                <a:cubicBezTo>
                  <a:pt x="823" y="699"/>
                  <a:pt x="823" y="699"/>
                  <a:pt x="822" y="699"/>
                </a:cubicBezTo>
                <a:cubicBezTo>
                  <a:pt x="822" y="699"/>
                  <a:pt x="822" y="699"/>
                  <a:pt x="822" y="700"/>
                </a:cubicBezTo>
                <a:cubicBezTo>
                  <a:pt x="822" y="700"/>
                  <a:pt x="822" y="700"/>
                  <a:pt x="821" y="701"/>
                </a:cubicBezTo>
                <a:cubicBezTo>
                  <a:pt x="821" y="701"/>
                  <a:pt x="821" y="701"/>
                  <a:pt x="822" y="701"/>
                </a:cubicBezTo>
                <a:cubicBezTo>
                  <a:pt x="822" y="701"/>
                  <a:pt x="822" y="701"/>
                  <a:pt x="824" y="701"/>
                </a:cubicBezTo>
                <a:cubicBezTo>
                  <a:pt x="824" y="701"/>
                  <a:pt x="824" y="701"/>
                  <a:pt x="826" y="701"/>
                </a:cubicBezTo>
                <a:cubicBezTo>
                  <a:pt x="826" y="701"/>
                  <a:pt x="826" y="701"/>
                  <a:pt x="827" y="702"/>
                </a:cubicBezTo>
                <a:cubicBezTo>
                  <a:pt x="827" y="702"/>
                  <a:pt x="827" y="702"/>
                  <a:pt x="827" y="700"/>
                </a:cubicBezTo>
                <a:cubicBezTo>
                  <a:pt x="827" y="700"/>
                  <a:pt x="827" y="700"/>
                  <a:pt x="828" y="701"/>
                </a:cubicBezTo>
                <a:cubicBezTo>
                  <a:pt x="828" y="701"/>
                  <a:pt x="828" y="701"/>
                  <a:pt x="830" y="702"/>
                </a:cubicBezTo>
                <a:cubicBezTo>
                  <a:pt x="830" y="702"/>
                  <a:pt x="830" y="702"/>
                  <a:pt x="830" y="703"/>
                </a:cubicBezTo>
                <a:cubicBezTo>
                  <a:pt x="830" y="703"/>
                  <a:pt x="830" y="703"/>
                  <a:pt x="829" y="703"/>
                </a:cubicBezTo>
                <a:cubicBezTo>
                  <a:pt x="829" y="703"/>
                  <a:pt x="829" y="703"/>
                  <a:pt x="829" y="704"/>
                </a:cubicBezTo>
                <a:cubicBezTo>
                  <a:pt x="829" y="704"/>
                  <a:pt x="829" y="704"/>
                  <a:pt x="829" y="706"/>
                </a:cubicBezTo>
                <a:cubicBezTo>
                  <a:pt x="829" y="706"/>
                  <a:pt x="829" y="706"/>
                  <a:pt x="829" y="707"/>
                </a:cubicBezTo>
                <a:cubicBezTo>
                  <a:pt x="829" y="707"/>
                  <a:pt x="829" y="707"/>
                  <a:pt x="829" y="708"/>
                </a:cubicBezTo>
                <a:cubicBezTo>
                  <a:pt x="829" y="708"/>
                  <a:pt x="829" y="708"/>
                  <a:pt x="829" y="709"/>
                </a:cubicBezTo>
                <a:cubicBezTo>
                  <a:pt x="829" y="709"/>
                  <a:pt x="829" y="709"/>
                  <a:pt x="829" y="710"/>
                </a:cubicBezTo>
                <a:cubicBezTo>
                  <a:pt x="829" y="710"/>
                  <a:pt x="829" y="710"/>
                  <a:pt x="828" y="711"/>
                </a:cubicBezTo>
                <a:cubicBezTo>
                  <a:pt x="828" y="711"/>
                  <a:pt x="828" y="711"/>
                  <a:pt x="827" y="713"/>
                </a:cubicBezTo>
                <a:cubicBezTo>
                  <a:pt x="827" y="713"/>
                  <a:pt x="827" y="713"/>
                  <a:pt x="826" y="713"/>
                </a:cubicBezTo>
                <a:cubicBezTo>
                  <a:pt x="826" y="713"/>
                  <a:pt x="826" y="713"/>
                  <a:pt x="826" y="714"/>
                </a:cubicBezTo>
                <a:cubicBezTo>
                  <a:pt x="826" y="714"/>
                  <a:pt x="826" y="714"/>
                  <a:pt x="827" y="714"/>
                </a:cubicBezTo>
                <a:cubicBezTo>
                  <a:pt x="827" y="714"/>
                  <a:pt x="827" y="714"/>
                  <a:pt x="827" y="715"/>
                </a:cubicBezTo>
                <a:cubicBezTo>
                  <a:pt x="827" y="715"/>
                  <a:pt x="827" y="715"/>
                  <a:pt x="827" y="718"/>
                </a:cubicBezTo>
                <a:cubicBezTo>
                  <a:pt x="827" y="718"/>
                  <a:pt x="827" y="718"/>
                  <a:pt x="827" y="721"/>
                </a:cubicBezTo>
                <a:cubicBezTo>
                  <a:pt x="827" y="721"/>
                  <a:pt x="827" y="721"/>
                  <a:pt x="826" y="721"/>
                </a:cubicBezTo>
                <a:cubicBezTo>
                  <a:pt x="826" y="721"/>
                  <a:pt x="826" y="721"/>
                  <a:pt x="826" y="720"/>
                </a:cubicBezTo>
                <a:cubicBezTo>
                  <a:pt x="826" y="720"/>
                  <a:pt x="826" y="720"/>
                  <a:pt x="826" y="719"/>
                </a:cubicBezTo>
                <a:cubicBezTo>
                  <a:pt x="826" y="719"/>
                  <a:pt x="826" y="719"/>
                  <a:pt x="826" y="718"/>
                </a:cubicBezTo>
                <a:cubicBezTo>
                  <a:pt x="826" y="718"/>
                  <a:pt x="826" y="718"/>
                  <a:pt x="825" y="718"/>
                </a:cubicBezTo>
                <a:cubicBezTo>
                  <a:pt x="825" y="718"/>
                  <a:pt x="825" y="718"/>
                  <a:pt x="825" y="720"/>
                </a:cubicBezTo>
                <a:cubicBezTo>
                  <a:pt x="825" y="720"/>
                  <a:pt x="825" y="720"/>
                  <a:pt x="825" y="721"/>
                </a:cubicBezTo>
                <a:cubicBezTo>
                  <a:pt x="825" y="721"/>
                  <a:pt x="825" y="721"/>
                  <a:pt x="825" y="722"/>
                </a:cubicBezTo>
                <a:cubicBezTo>
                  <a:pt x="825" y="722"/>
                  <a:pt x="825" y="722"/>
                  <a:pt x="824" y="723"/>
                </a:cubicBezTo>
                <a:cubicBezTo>
                  <a:pt x="824" y="723"/>
                  <a:pt x="824" y="723"/>
                  <a:pt x="824" y="724"/>
                </a:cubicBezTo>
                <a:cubicBezTo>
                  <a:pt x="824" y="724"/>
                  <a:pt x="824" y="724"/>
                  <a:pt x="824" y="725"/>
                </a:cubicBezTo>
                <a:cubicBezTo>
                  <a:pt x="824" y="725"/>
                  <a:pt x="824" y="725"/>
                  <a:pt x="825" y="725"/>
                </a:cubicBezTo>
                <a:cubicBezTo>
                  <a:pt x="825" y="725"/>
                  <a:pt x="825" y="725"/>
                  <a:pt x="825" y="726"/>
                </a:cubicBezTo>
                <a:cubicBezTo>
                  <a:pt x="825" y="726"/>
                  <a:pt x="825" y="726"/>
                  <a:pt x="824" y="727"/>
                </a:cubicBezTo>
                <a:cubicBezTo>
                  <a:pt x="824" y="727"/>
                  <a:pt x="824" y="727"/>
                  <a:pt x="824" y="729"/>
                </a:cubicBezTo>
                <a:cubicBezTo>
                  <a:pt x="824" y="729"/>
                  <a:pt x="824" y="729"/>
                  <a:pt x="825" y="729"/>
                </a:cubicBezTo>
                <a:cubicBezTo>
                  <a:pt x="825" y="729"/>
                  <a:pt x="825" y="729"/>
                  <a:pt x="825" y="730"/>
                </a:cubicBezTo>
                <a:cubicBezTo>
                  <a:pt x="825" y="730"/>
                  <a:pt x="825" y="730"/>
                  <a:pt x="824" y="731"/>
                </a:cubicBezTo>
                <a:cubicBezTo>
                  <a:pt x="824" y="731"/>
                  <a:pt x="824" y="731"/>
                  <a:pt x="825" y="731"/>
                </a:cubicBezTo>
                <a:cubicBezTo>
                  <a:pt x="825" y="731"/>
                  <a:pt x="825" y="731"/>
                  <a:pt x="826" y="731"/>
                </a:cubicBezTo>
                <a:cubicBezTo>
                  <a:pt x="826" y="731"/>
                  <a:pt x="826" y="731"/>
                  <a:pt x="827" y="732"/>
                </a:cubicBezTo>
                <a:cubicBezTo>
                  <a:pt x="827" y="732"/>
                  <a:pt x="827" y="732"/>
                  <a:pt x="827" y="733"/>
                </a:cubicBezTo>
                <a:cubicBezTo>
                  <a:pt x="827" y="733"/>
                  <a:pt x="827" y="733"/>
                  <a:pt x="828" y="734"/>
                </a:cubicBezTo>
                <a:cubicBezTo>
                  <a:pt x="828" y="734"/>
                  <a:pt x="828" y="734"/>
                  <a:pt x="829" y="736"/>
                </a:cubicBezTo>
                <a:cubicBezTo>
                  <a:pt x="829" y="736"/>
                  <a:pt x="829" y="736"/>
                  <a:pt x="829" y="737"/>
                </a:cubicBezTo>
                <a:cubicBezTo>
                  <a:pt x="829" y="737"/>
                  <a:pt x="829" y="737"/>
                  <a:pt x="830" y="737"/>
                </a:cubicBezTo>
                <a:cubicBezTo>
                  <a:pt x="830" y="737"/>
                  <a:pt x="830" y="737"/>
                  <a:pt x="831" y="738"/>
                </a:cubicBezTo>
                <a:cubicBezTo>
                  <a:pt x="831" y="738"/>
                  <a:pt x="831" y="738"/>
                  <a:pt x="832" y="738"/>
                </a:cubicBezTo>
                <a:cubicBezTo>
                  <a:pt x="832" y="738"/>
                  <a:pt x="832" y="738"/>
                  <a:pt x="832" y="739"/>
                </a:cubicBezTo>
                <a:cubicBezTo>
                  <a:pt x="832" y="739"/>
                  <a:pt x="832" y="739"/>
                  <a:pt x="833" y="740"/>
                </a:cubicBezTo>
                <a:cubicBezTo>
                  <a:pt x="833" y="740"/>
                  <a:pt x="833" y="740"/>
                  <a:pt x="834" y="740"/>
                </a:cubicBezTo>
                <a:cubicBezTo>
                  <a:pt x="834" y="740"/>
                  <a:pt x="834" y="740"/>
                  <a:pt x="834" y="741"/>
                </a:cubicBezTo>
                <a:cubicBezTo>
                  <a:pt x="834" y="741"/>
                  <a:pt x="834" y="741"/>
                  <a:pt x="834" y="742"/>
                </a:cubicBezTo>
                <a:cubicBezTo>
                  <a:pt x="834" y="742"/>
                  <a:pt x="834" y="742"/>
                  <a:pt x="835" y="742"/>
                </a:cubicBezTo>
                <a:cubicBezTo>
                  <a:pt x="835" y="742"/>
                  <a:pt x="835" y="742"/>
                  <a:pt x="836" y="742"/>
                </a:cubicBezTo>
                <a:cubicBezTo>
                  <a:pt x="836" y="742"/>
                  <a:pt x="836" y="742"/>
                  <a:pt x="836" y="741"/>
                </a:cubicBezTo>
                <a:cubicBezTo>
                  <a:pt x="836" y="741"/>
                  <a:pt x="836" y="741"/>
                  <a:pt x="837" y="741"/>
                </a:cubicBezTo>
                <a:cubicBezTo>
                  <a:pt x="837" y="741"/>
                  <a:pt x="837" y="741"/>
                  <a:pt x="839" y="743"/>
                </a:cubicBezTo>
                <a:cubicBezTo>
                  <a:pt x="839" y="743"/>
                  <a:pt x="839" y="743"/>
                  <a:pt x="841" y="743"/>
                </a:cubicBezTo>
                <a:cubicBezTo>
                  <a:pt x="841" y="743"/>
                  <a:pt x="841" y="743"/>
                  <a:pt x="843" y="743"/>
                </a:cubicBezTo>
                <a:cubicBezTo>
                  <a:pt x="843" y="743"/>
                  <a:pt x="843" y="743"/>
                  <a:pt x="844" y="742"/>
                </a:cubicBezTo>
                <a:cubicBezTo>
                  <a:pt x="844" y="742"/>
                  <a:pt x="844" y="742"/>
                  <a:pt x="847" y="740"/>
                </a:cubicBezTo>
                <a:cubicBezTo>
                  <a:pt x="847" y="740"/>
                  <a:pt x="847" y="740"/>
                  <a:pt x="849" y="739"/>
                </a:cubicBezTo>
                <a:cubicBezTo>
                  <a:pt x="849" y="739"/>
                  <a:pt x="849" y="739"/>
                  <a:pt x="851" y="738"/>
                </a:cubicBezTo>
                <a:cubicBezTo>
                  <a:pt x="851" y="738"/>
                  <a:pt x="851" y="738"/>
                  <a:pt x="852" y="738"/>
                </a:cubicBezTo>
                <a:cubicBezTo>
                  <a:pt x="852" y="738"/>
                  <a:pt x="852" y="738"/>
                  <a:pt x="853" y="738"/>
                </a:cubicBezTo>
                <a:cubicBezTo>
                  <a:pt x="853" y="738"/>
                  <a:pt x="853" y="738"/>
                  <a:pt x="853" y="739"/>
                </a:cubicBezTo>
                <a:cubicBezTo>
                  <a:pt x="853" y="739"/>
                  <a:pt x="853" y="739"/>
                  <a:pt x="854" y="739"/>
                </a:cubicBezTo>
                <a:cubicBezTo>
                  <a:pt x="854" y="739"/>
                  <a:pt x="854" y="739"/>
                  <a:pt x="857" y="739"/>
                </a:cubicBezTo>
                <a:cubicBezTo>
                  <a:pt x="857" y="739"/>
                  <a:pt x="857" y="739"/>
                  <a:pt x="858" y="739"/>
                </a:cubicBezTo>
                <a:cubicBezTo>
                  <a:pt x="858" y="739"/>
                  <a:pt x="858" y="739"/>
                  <a:pt x="861" y="741"/>
                </a:cubicBezTo>
                <a:cubicBezTo>
                  <a:pt x="861" y="741"/>
                  <a:pt x="861" y="741"/>
                  <a:pt x="862" y="742"/>
                </a:cubicBezTo>
                <a:cubicBezTo>
                  <a:pt x="862" y="742"/>
                  <a:pt x="862" y="742"/>
                  <a:pt x="862" y="743"/>
                </a:cubicBezTo>
                <a:cubicBezTo>
                  <a:pt x="862" y="743"/>
                  <a:pt x="862" y="743"/>
                  <a:pt x="863" y="743"/>
                </a:cubicBezTo>
                <a:cubicBezTo>
                  <a:pt x="863" y="743"/>
                  <a:pt x="863" y="743"/>
                  <a:pt x="864" y="744"/>
                </a:cubicBezTo>
                <a:cubicBezTo>
                  <a:pt x="864" y="744"/>
                  <a:pt x="864" y="744"/>
                  <a:pt x="865" y="745"/>
                </a:cubicBezTo>
                <a:cubicBezTo>
                  <a:pt x="865" y="745"/>
                  <a:pt x="865" y="745"/>
                  <a:pt x="865" y="746"/>
                </a:cubicBezTo>
                <a:cubicBezTo>
                  <a:pt x="865" y="746"/>
                  <a:pt x="865" y="746"/>
                  <a:pt x="866" y="747"/>
                </a:cubicBezTo>
                <a:cubicBezTo>
                  <a:pt x="866" y="747"/>
                  <a:pt x="866" y="747"/>
                  <a:pt x="866" y="748"/>
                </a:cubicBezTo>
                <a:cubicBezTo>
                  <a:pt x="866" y="748"/>
                  <a:pt x="866" y="748"/>
                  <a:pt x="867" y="749"/>
                </a:cubicBezTo>
                <a:cubicBezTo>
                  <a:pt x="867" y="749"/>
                  <a:pt x="867" y="749"/>
                  <a:pt x="868" y="749"/>
                </a:cubicBezTo>
                <a:cubicBezTo>
                  <a:pt x="868" y="749"/>
                  <a:pt x="868" y="749"/>
                  <a:pt x="868" y="747"/>
                </a:cubicBezTo>
                <a:cubicBezTo>
                  <a:pt x="868" y="747"/>
                  <a:pt x="868" y="747"/>
                  <a:pt x="868" y="746"/>
                </a:cubicBezTo>
                <a:cubicBezTo>
                  <a:pt x="868" y="746"/>
                  <a:pt x="868" y="746"/>
                  <a:pt x="867" y="745"/>
                </a:cubicBezTo>
                <a:cubicBezTo>
                  <a:pt x="867" y="745"/>
                  <a:pt x="867" y="745"/>
                  <a:pt x="867" y="744"/>
                </a:cubicBezTo>
                <a:cubicBezTo>
                  <a:pt x="867" y="744"/>
                  <a:pt x="867" y="744"/>
                  <a:pt x="868" y="744"/>
                </a:cubicBezTo>
                <a:cubicBezTo>
                  <a:pt x="868" y="744"/>
                  <a:pt x="868" y="744"/>
                  <a:pt x="869" y="743"/>
                </a:cubicBezTo>
                <a:cubicBezTo>
                  <a:pt x="869" y="743"/>
                  <a:pt x="869" y="743"/>
                  <a:pt x="870" y="742"/>
                </a:cubicBezTo>
                <a:cubicBezTo>
                  <a:pt x="870" y="742"/>
                  <a:pt x="870" y="742"/>
                  <a:pt x="871" y="741"/>
                </a:cubicBezTo>
                <a:cubicBezTo>
                  <a:pt x="871" y="741"/>
                  <a:pt x="871" y="741"/>
                  <a:pt x="872" y="740"/>
                </a:cubicBezTo>
                <a:cubicBezTo>
                  <a:pt x="872" y="740"/>
                  <a:pt x="872" y="740"/>
                  <a:pt x="873" y="739"/>
                </a:cubicBezTo>
                <a:cubicBezTo>
                  <a:pt x="873" y="739"/>
                  <a:pt x="873" y="739"/>
                  <a:pt x="874" y="739"/>
                </a:cubicBezTo>
                <a:cubicBezTo>
                  <a:pt x="874" y="739"/>
                  <a:pt x="874" y="739"/>
                  <a:pt x="875" y="739"/>
                </a:cubicBezTo>
                <a:cubicBezTo>
                  <a:pt x="875" y="739"/>
                  <a:pt x="875" y="739"/>
                  <a:pt x="875" y="737"/>
                </a:cubicBezTo>
                <a:cubicBezTo>
                  <a:pt x="875" y="737"/>
                  <a:pt x="875" y="737"/>
                  <a:pt x="875" y="736"/>
                </a:cubicBezTo>
                <a:cubicBezTo>
                  <a:pt x="875" y="736"/>
                  <a:pt x="875" y="736"/>
                  <a:pt x="874" y="736"/>
                </a:cubicBezTo>
                <a:cubicBezTo>
                  <a:pt x="874" y="736"/>
                  <a:pt x="874" y="736"/>
                  <a:pt x="875" y="735"/>
                </a:cubicBezTo>
                <a:cubicBezTo>
                  <a:pt x="875" y="735"/>
                  <a:pt x="875" y="735"/>
                  <a:pt x="876" y="732"/>
                </a:cubicBezTo>
                <a:cubicBezTo>
                  <a:pt x="876" y="732"/>
                  <a:pt x="876" y="732"/>
                  <a:pt x="878" y="730"/>
                </a:cubicBezTo>
                <a:cubicBezTo>
                  <a:pt x="878" y="730"/>
                  <a:pt x="878" y="730"/>
                  <a:pt x="880" y="728"/>
                </a:cubicBezTo>
                <a:cubicBezTo>
                  <a:pt x="880" y="728"/>
                  <a:pt x="880" y="728"/>
                  <a:pt x="881" y="728"/>
                </a:cubicBezTo>
                <a:cubicBezTo>
                  <a:pt x="881" y="728"/>
                  <a:pt x="881" y="728"/>
                  <a:pt x="883" y="729"/>
                </a:cubicBezTo>
                <a:cubicBezTo>
                  <a:pt x="883" y="729"/>
                  <a:pt x="883" y="729"/>
                  <a:pt x="883" y="730"/>
                </a:cubicBezTo>
                <a:cubicBezTo>
                  <a:pt x="883" y="730"/>
                  <a:pt x="883" y="730"/>
                  <a:pt x="883" y="731"/>
                </a:cubicBezTo>
                <a:cubicBezTo>
                  <a:pt x="883" y="731"/>
                  <a:pt x="883" y="731"/>
                  <a:pt x="884" y="731"/>
                </a:cubicBezTo>
                <a:cubicBezTo>
                  <a:pt x="884" y="731"/>
                  <a:pt x="884" y="731"/>
                  <a:pt x="885" y="730"/>
                </a:cubicBezTo>
                <a:cubicBezTo>
                  <a:pt x="885" y="730"/>
                  <a:pt x="885" y="730"/>
                  <a:pt x="885" y="729"/>
                </a:cubicBezTo>
                <a:cubicBezTo>
                  <a:pt x="885" y="729"/>
                  <a:pt x="885" y="729"/>
                  <a:pt x="884" y="728"/>
                </a:cubicBezTo>
                <a:cubicBezTo>
                  <a:pt x="884" y="728"/>
                  <a:pt x="884" y="728"/>
                  <a:pt x="884" y="727"/>
                </a:cubicBezTo>
                <a:cubicBezTo>
                  <a:pt x="884" y="727"/>
                  <a:pt x="884" y="727"/>
                  <a:pt x="885" y="727"/>
                </a:cubicBezTo>
                <a:cubicBezTo>
                  <a:pt x="885" y="727"/>
                  <a:pt x="885" y="727"/>
                  <a:pt x="887" y="727"/>
                </a:cubicBezTo>
                <a:cubicBezTo>
                  <a:pt x="887" y="727"/>
                  <a:pt x="887" y="727"/>
                  <a:pt x="889" y="727"/>
                </a:cubicBezTo>
                <a:cubicBezTo>
                  <a:pt x="889" y="727"/>
                  <a:pt x="889" y="727"/>
                  <a:pt x="891" y="726"/>
                </a:cubicBezTo>
                <a:cubicBezTo>
                  <a:pt x="891" y="726"/>
                  <a:pt x="891" y="726"/>
                  <a:pt x="892" y="725"/>
                </a:cubicBezTo>
                <a:cubicBezTo>
                  <a:pt x="892" y="725"/>
                  <a:pt x="892" y="725"/>
                  <a:pt x="895" y="724"/>
                </a:cubicBezTo>
                <a:cubicBezTo>
                  <a:pt x="895" y="724"/>
                  <a:pt x="895" y="724"/>
                  <a:pt x="896" y="723"/>
                </a:cubicBezTo>
                <a:cubicBezTo>
                  <a:pt x="896" y="723"/>
                  <a:pt x="896" y="723"/>
                  <a:pt x="897" y="723"/>
                </a:cubicBezTo>
                <a:cubicBezTo>
                  <a:pt x="897" y="723"/>
                  <a:pt x="897" y="723"/>
                  <a:pt x="896" y="722"/>
                </a:cubicBezTo>
                <a:cubicBezTo>
                  <a:pt x="896" y="722"/>
                  <a:pt x="896" y="722"/>
                  <a:pt x="897" y="721"/>
                </a:cubicBezTo>
                <a:cubicBezTo>
                  <a:pt x="897" y="721"/>
                  <a:pt x="897" y="721"/>
                  <a:pt x="898" y="721"/>
                </a:cubicBezTo>
                <a:cubicBezTo>
                  <a:pt x="898" y="721"/>
                  <a:pt x="898" y="721"/>
                  <a:pt x="899" y="721"/>
                </a:cubicBezTo>
                <a:cubicBezTo>
                  <a:pt x="899" y="721"/>
                  <a:pt x="899" y="721"/>
                  <a:pt x="900" y="721"/>
                </a:cubicBezTo>
                <a:cubicBezTo>
                  <a:pt x="900" y="721"/>
                  <a:pt x="900" y="721"/>
                  <a:pt x="900" y="720"/>
                </a:cubicBezTo>
                <a:cubicBezTo>
                  <a:pt x="900" y="720"/>
                  <a:pt x="900" y="720"/>
                  <a:pt x="901" y="720"/>
                </a:cubicBezTo>
                <a:cubicBezTo>
                  <a:pt x="901" y="720"/>
                  <a:pt x="901" y="720"/>
                  <a:pt x="904" y="721"/>
                </a:cubicBezTo>
                <a:cubicBezTo>
                  <a:pt x="904" y="721"/>
                  <a:pt x="904" y="721"/>
                  <a:pt x="904" y="722"/>
                </a:cubicBezTo>
                <a:cubicBezTo>
                  <a:pt x="904" y="722"/>
                  <a:pt x="904" y="722"/>
                  <a:pt x="904" y="723"/>
                </a:cubicBezTo>
                <a:cubicBezTo>
                  <a:pt x="904" y="723"/>
                  <a:pt x="904" y="723"/>
                  <a:pt x="903" y="723"/>
                </a:cubicBezTo>
                <a:cubicBezTo>
                  <a:pt x="903" y="723"/>
                  <a:pt x="903" y="723"/>
                  <a:pt x="902" y="725"/>
                </a:cubicBezTo>
                <a:cubicBezTo>
                  <a:pt x="902" y="725"/>
                  <a:pt x="902" y="725"/>
                  <a:pt x="900" y="725"/>
                </a:cubicBezTo>
                <a:cubicBezTo>
                  <a:pt x="900" y="725"/>
                  <a:pt x="900" y="725"/>
                  <a:pt x="899" y="726"/>
                </a:cubicBezTo>
                <a:cubicBezTo>
                  <a:pt x="899" y="726"/>
                  <a:pt x="899" y="726"/>
                  <a:pt x="899" y="727"/>
                </a:cubicBezTo>
                <a:cubicBezTo>
                  <a:pt x="899" y="727"/>
                  <a:pt x="899" y="727"/>
                  <a:pt x="899" y="728"/>
                </a:cubicBezTo>
                <a:cubicBezTo>
                  <a:pt x="899" y="728"/>
                  <a:pt x="899" y="728"/>
                  <a:pt x="900" y="728"/>
                </a:cubicBezTo>
                <a:cubicBezTo>
                  <a:pt x="900" y="728"/>
                  <a:pt x="900" y="728"/>
                  <a:pt x="900" y="729"/>
                </a:cubicBezTo>
                <a:cubicBezTo>
                  <a:pt x="900" y="729"/>
                  <a:pt x="900" y="729"/>
                  <a:pt x="900" y="730"/>
                </a:cubicBezTo>
                <a:cubicBezTo>
                  <a:pt x="900" y="730"/>
                  <a:pt x="900" y="730"/>
                  <a:pt x="901" y="731"/>
                </a:cubicBezTo>
                <a:cubicBezTo>
                  <a:pt x="901" y="731"/>
                  <a:pt x="901" y="731"/>
                  <a:pt x="902" y="730"/>
                </a:cubicBezTo>
                <a:cubicBezTo>
                  <a:pt x="902" y="730"/>
                  <a:pt x="902" y="730"/>
                  <a:pt x="905" y="728"/>
                </a:cubicBezTo>
                <a:cubicBezTo>
                  <a:pt x="905" y="728"/>
                  <a:pt x="905" y="728"/>
                  <a:pt x="908" y="728"/>
                </a:cubicBezTo>
                <a:cubicBezTo>
                  <a:pt x="908" y="728"/>
                  <a:pt x="908" y="728"/>
                  <a:pt x="909" y="727"/>
                </a:cubicBezTo>
                <a:cubicBezTo>
                  <a:pt x="909" y="727"/>
                  <a:pt x="909" y="727"/>
                  <a:pt x="910" y="726"/>
                </a:cubicBezTo>
                <a:cubicBezTo>
                  <a:pt x="910" y="726"/>
                  <a:pt x="910" y="726"/>
                  <a:pt x="910" y="727"/>
                </a:cubicBezTo>
                <a:cubicBezTo>
                  <a:pt x="910" y="727"/>
                  <a:pt x="910" y="727"/>
                  <a:pt x="911" y="727"/>
                </a:cubicBezTo>
                <a:cubicBezTo>
                  <a:pt x="911" y="727"/>
                  <a:pt x="911" y="727"/>
                  <a:pt x="912" y="727"/>
                </a:cubicBezTo>
                <a:cubicBezTo>
                  <a:pt x="912" y="727"/>
                  <a:pt x="912" y="727"/>
                  <a:pt x="913" y="726"/>
                </a:cubicBezTo>
                <a:cubicBezTo>
                  <a:pt x="913" y="726"/>
                  <a:pt x="913" y="726"/>
                  <a:pt x="912" y="725"/>
                </a:cubicBezTo>
                <a:cubicBezTo>
                  <a:pt x="912" y="725"/>
                  <a:pt x="912" y="725"/>
                  <a:pt x="911" y="725"/>
                </a:cubicBezTo>
                <a:cubicBezTo>
                  <a:pt x="911" y="725"/>
                  <a:pt x="911" y="725"/>
                  <a:pt x="909" y="726"/>
                </a:cubicBezTo>
                <a:cubicBezTo>
                  <a:pt x="909" y="726"/>
                  <a:pt x="909" y="726"/>
                  <a:pt x="909" y="725"/>
                </a:cubicBezTo>
                <a:cubicBezTo>
                  <a:pt x="909" y="725"/>
                  <a:pt x="909" y="725"/>
                  <a:pt x="908" y="724"/>
                </a:cubicBezTo>
                <a:cubicBezTo>
                  <a:pt x="908" y="724"/>
                  <a:pt x="908" y="724"/>
                  <a:pt x="910" y="722"/>
                </a:cubicBezTo>
                <a:cubicBezTo>
                  <a:pt x="910" y="722"/>
                  <a:pt x="910" y="722"/>
                  <a:pt x="912" y="721"/>
                </a:cubicBezTo>
                <a:cubicBezTo>
                  <a:pt x="912" y="721"/>
                  <a:pt x="912" y="721"/>
                  <a:pt x="913" y="723"/>
                </a:cubicBezTo>
                <a:cubicBezTo>
                  <a:pt x="913" y="723"/>
                  <a:pt x="913" y="723"/>
                  <a:pt x="913" y="725"/>
                </a:cubicBezTo>
                <a:cubicBezTo>
                  <a:pt x="913" y="725"/>
                  <a:pt x="913" y="725"/>
                  <a:pt x="914" y="727"/>
                </a:cubicBezTo>
                <a:cubicBezTo>
                  <a:pt x="914" y="727"/>
                  <a:pt x="914" y="727"/>
                  <a:pt x="915" y="726"/>
                </a:cubicBezTo>
                <a:cubicBezTo>
                  <a:pt x="915" y="726"/>
                  <a:pt x="915" y="726"/>
                  <a:pt x="916" y="726"/>
                </a:cubicBezTo>
                <a:cubicBezTo>
                  <a:pt x="916" y="726"/>
                  <a:pt x="916" y="726"/>
                  <a:pt x="917" y="727"/>
                </a:cubicBezTo>
                <a:cubicBezTo>
                  <a:pt x="917" y="727"/>
                  <a:pt x="917" y="727"/>
                  <a:pt x="920" y="727"/>
                </a:cubicBezTo>
                <a:cubicBezTo>
                  <a:pt x="920" y="727"/>
                  <a:pt x="920" y="727"/>
                  <a:pt x="921" y="727"/>
                </a:cubicBezTo>
                <a:cubicBezTo>
                  <a:pt x="921" y="727"/>
                  <a:pt x="921" y="727"/>
                  <a:pt x="923" y="729"/>
                </a:cubicBezTo>
                <a:cubicBezTo>
                  <a:pt x="923" y="729"/>
                  <a:pt x="923" y="729"/>
                  <a:pt x="923" y="730"/>
                </a:cubicBezTo>
                <a:cubicBezTo>
                  <a:pt x="923" y="730"/>
                  <a:pt x="923" y="730"/>
                  <a:pt x="922" y="730"/>
                </a:cubicBezTo>
                <a:cubicBezTo>
                  <a:pt x="922" y="730"/>
                  <a:pt x="922" y="730"/>
                  <a:pt x="922" y="731"/>
                </a:cubicBezTo>
                <a:cubicBezTo>
                  <a:pt x="922" y="731"/>
                  <a:pt x="922" y="731"/>
                  <a:pt x="922" y="732"/>
                </a:cubicBezTo>
                <a:cubicBezTo>
                  <a:pt x="922" y="732"/>
                  <a:pt x="922" y="732"/>
                  <a:pt x="924" y="733"/>
                </a:cubicBezTo>
                <a:cubicBezTo>
                  <a:pt x="924" y="733"/>
                  <a:pt x="924" y="733"/>
                  <a:pt x="926" y="733"/>
                </a:cubicBezTo>
                <a:cubicBezTo>
                  <a:pt x="926" y="733"/>
                  <a:pt x="926" y="733"/>
                  <a:pt x="932" y="732"/>
                </a:cubicBezTo>
                <a:cubicBezTo>
                  <a:pt x="932" y="732"/>
                  <a:pt x="932" y="732"/>
                  <a:pt x="935" y="732"/>
                </a:cubicBezTo>
                <a:cubicBezTo>
                  <a:pt x="935" y="732"/>
                  <a:pt x="935" y="732"/>
                  <a:pt x="936" y="732"/>
                </a:cubicBezTo>
                <a:cubicBezTo>
                  <a:pt x="936" y="732"/>
                  <a:pt x="936" y="732"/>
                  <a:pt x="937" y="733"/>
                </a:cubicBezTo>
                <a:cubicBezTo>
                  <a:pt x="937" y="733"/>
                  <a:pt x="937" y="733"/>
                  <a:pt x="940" y="735"/>
                </a:cubicBezTo>
                <a:cubicBezTo>
                  <a:pt x="940" y="735"/>
                  <a:pt x="940" y="735"/>
                  <a:pt x="941" y="735"/>
                </a:cubicBezTo>
                <a:cubicBezTo>
                  <a:pt x="941" y="735"/>
                  <a:pt x="941" y="735"/>
                  <a:pt x="943" y="734"/>
                </a:cubicBezTo>
                <a:cubicBezTo>
                  <a:pt x="943" y="734"/>
                  <a:pt x="943" y="734"/>
                  <a:pt x="945" y="733"/>
                </a:cubicBezTo>
                <a:cubicBezTo>
                  <a:pt x="945" y="733"/>
                  <a:pt x="945" y="733"/>
                  <a:pt x="946" y="733"/>
                </a:cubicBezTo>
                <a:cubicBezTo>
                  <a:pt x="946" y="733"/>
                  <a:pt x="946" y="733"/>
                  <a:pt x="948" y="731"/>
                </a:cubicBezTo>
                <a:cubicBezTo>
                  <a:pt x="948" y="731"/>
                  <a:pt x="948" y="731"/>
                  <a:pt x="950" y="731"/>
                </a:cubicBezTo>
                <a:cubicBezTo>
                  <a:pt x="950" y="731"/>
                  <a:pt x="950" y="731"/>
                  <a:pt x="953" y="730"/>
                </a:cubicBezTo>
                <a:cubicBezTo>
                  <a:pt x="953" y="730"/>
                  <a:pt x="953" y="730"/>
                  <a:pt x="955" y="731"/>
                </a:cubicBezTo>
                <a:cubicBezTo>
                  <a:pt x="955" y="731"/>
                  <a:pt x="955" y="731"/>
                  <a:pt x="957" y="730"/>
                </a:cubicBezTo>
                <a:cubicBezTo>
                  <a:pt x="957" y="730"/>
                  <a:pt x="957" y="730"/>
                  <a:pt x="959" y="731"/>
                </a:cubicBezTo>
                <a:cubicBezTo>
                  <a:pt x="959" y="731"/>
                  <a:pt x="959" y="731"/>
                  <a:pt x="961" y="731"/>
                </a:cubicBezTo>
                <a:cubicBezTo>
                  <a:pt x="961" y="731"/>
                  <a:pt x="961" y="731"/>
                  <a:pt x="961" y="732"/>
                </a:cubicBezTo>
                <a:cubicBezTo>
                  <a:pt x="961" y="732"/>
                  <a:pt x="961" y="732"/>
                  <a:pt x="959" y="732"/>
                </a:cubicBezTo>
                <a:cubicBezTo>
                  <a:pt x="959" y="732"/>
                  <a:pt x="959" y="732"/>
                  <a:pt x="958" y="732"/>
                </a:cubicBezTo>
                <a:cubicBezTo>
                  <a:pt x="958" y="732"/>
                  <a:pt x="958" y="732"/>
                  <a:pt x="955" y="732"/>
                </a:cubicBezTo>
                <a:cubicBezTo>
                  <a:pt x="955" y="732"/>
                  <a:pt x="955" y="732"/>
                  <a:pt x="955" y="733"/>
                </a:cubicBezTo>
                <a:cubicBezTo>
                  <a:pt x="955" y="733"/>
                  <a:pt x="955" y="733"/>
                  <a:pt x="955" y="734"/>
                </a:cubicBezTo>
                <a:cubicBezTo>
                  <a:pt x="955" y="734"/>
                  <a:pt x="955" y="734"/>
                  <a:pt x="956" y="734"/>
                </a:cubicBezTo>
                <a:cubicBezTo>
                  <a:pt x="956" y="734"/>
                  <a:pt x="956" y="734"/>
                  <a:pt x="957" y="735"/>
                </a:cubicBezTo>
                <a:cubicBezTo>
                  <a:pt x="957" y="735"/>
                  <a:pt x="957" y="735"/>
                  <a:pt x="958" y="735"/>
                </a:cubicBezTo>
                <a:cubicBezTo>
                  <a:pt x="958" y="735"/>
                  <a:pt x="958" y="735"/>
                  <a:pt x="959" y="736"/>
                </a:cubicBezTo>
                <a:cubicBezTo>
                  <a:pt x="959" y="736"/>
                  <a:pt x="959" y="736"/>
                  <a:pt x="960" y="737"/>
                </a:cubicBezTo>
                <a:cubicBezTo>
                  <a:pt x="960" y="737"/>
                  <a:pt x="960" y="737"/>
                  <a:pt x="961" y="737"/>
                </a:cubicBezTo>
                <a:cubicBezTo>
                  <a:pt x="961" y="737"/>
                  <a:pt x="961" y="737"/>
                  <a:pt x="962" y="737"/>
                </a:cubicBezTo>
                <a:cubicBezTo>
                  <a:pt x="962" y="737"/>
                  <a:pt x="962" y="737"/>
                  <a:pt x="962" y="738"/>
                </a:cubicBezTo>
                <a:cubicBezTo>
                  <a:pt x="962" y="738"/>
                  <a:pt x="962" y="738"/>
                  <a:pt x="965" y="738"/>
                </a:cubicBezTo>
                <a:cubicBezTo>
                  <a:pt x="965" y="738"/>
                  <a:pt x="965" y="738"/>
                  <a:pt x="966" y="739"/>
                </a:cubicBezTo>
                <a:cubicBezTo>
                  <a:pt x="966" y="739"/>
                  <a:pt x="966" y="739"/>
                  <a:pt x="967" y="740"/>
                </a:cubicBezTo>
                <a:cubicBezTo>
                  <a:pt x="967" y="740"/>
                  <a:pt x="967" y="740"/>
                  <a:pt x="967" y="741"/>
                </a:cubicBezTo>
                <a:cubicBezTo>
                  <a:pt x="967" y="741"/>
                  <a:pt x="967" y="741"/>
                  <a:pt x="967" y="742"/>
                </a:cubicBezTo>
                <a:cubicBezTo>
                  <a:pt x="967" y="742"/>
                  <a:pt x="967" y="742"/>
                  <a:pt x="966" y="743"/>
                </a:cubicBezTo>
                <a:cubicBezTo>
                  <a:pt x="966" y="743"/>
                  <a:pt x="966" y="743"/>
                  <a:pt x="965" y="744"/>
                </a:cubicBezTo>
                <a:cubicBezTo>
                  <a:pt x="965" y="744"/>
                  <a:pt x="965" y="744"/>
                  <a:pt x="964" y="744"/>
                </a:cubicBezTo>
                <a:cubicBezTo>
                  <a:pt x="964" y="744"/>
                  <a:pt x="964" y="744"/>
                  <a:pt x="962" y="745"/>
                </a:cubicBezTo>
                <a:cubicBezTo>
                  <a:pt x="962" y="745"/>
                  <a:pt x="962" y="745"/>
                  <a:pt x="963" y="745"/>
                </a:cubicBezTo>
                <a:cubicBezTo>
                  <a:pt x="963" y="745"/>
                  <a:pt x="963" y="745"/>
                  <a:pt x="965" y="745"/>
                </a:cubicBezTo>
                <a:cubicBezTo>
                  <a:pt x="965" y="745"/>
                  <a:pt x="965" y="745"/>
                  <a:pt x="967" y="744"/>
                </a:cubicBezTo>
                <a:cubicBezTo>
                  <a:pt x="967" y="744"/>
                  <a:pt x="967" y="744"/>
                  <a:pt x="968" y="744"/>
                </a:cubicBezTo>
                <a:cubicBezTo>
                  <a:pt x="968" y="744"/>
                  <a:pt x="968" y="744"/>
                  <a:pt x="970" y="744"/>
                </a:cubicBezTo>
                <a:cubicBezTo>
                  <a:pt x="970" y="744"/>
                  <a:pt x="970" y="744"/>
                  <a:pt x="971" y="744"/>
                </a:cubicBezTo>
                <a:cubicBezTo>
                  <a:pt x="971" y="744"/>
                  <a:pt x="971" y="744"/>
                  <a:pt x="974" y="745"/>
                </a:cubicBezTo>
                <a:cubicBezTo>
                  <a:pt x="974" y="745"/>
                  <a:pt x="974" y="745"/>
                  <a:pt x="975" y="746"/>
                </a:cubicBezTo>
                <a:cubicBezTo>
                  <a:pt x="975" y="746"/>
                  <a:pt x="975" y="746"/>
                  <a:pt x="977" y="747"/>
                </a:cubicBezTo>
                <a:cubicBezTo>
                  <a:pt x="977" y="747"/>
                  <a:pt x="977" y="747"/>
                  <a:pt x="977" y="748"/>
                </a:cubicBezTo>
                <a:cubicBezTo>
                  <a:pt x="977" y="748"/>
                  <a:pt x="977" y="748"/>
                  <a:pt x="978" y="750"/>
                </a:cubicBezTo>
                <a:cubicBezTo>
                  <a:pt x="978" y="750"/>
                  <a:pt x="978" y="750"/>
                  <a:pt x="981" y="751"/>
                </a:cubicBezTo>
                <a:cubicBezTo>
                  <a:pt x="981" y="751"/>
                  <a:pt x="981" y="751"/>
                  <a:pt x="982" y="752"/>
                </a:cubicBezTo>
                <a:cubicBezTo>
                  <a:pt x="982" y="752"/>
                  <a:pt x="982" y="752"/>
                  <a:pt x="983" y="754"/>
                </a:cubicBezTo>
                <a:cubicBezTo>
                  <a:pt x="983" y="754"/>
                  <a:pt x="983" y="754"/>
                  <a:pt x="982" y="755"/>
                </a:cubicBezTo>
                <a:cubicBezTo>
                  <a:pt x="982" y="755"/>
                  <a:pt x="982" y="755"/>
                  <a:pt x="982" y="757"/>
                </a:cubicBezTo>
                <a:cubicBezTo>
                  <a:pt x="982" y="757"/>
                  <a:pt x="982" y="757"/>
                  <a:pt x="983" y="756"/>
                </a:cubicBezTo>
                <a:cubicBezTo>
                  <a:pt x="983" y="756"/>
                  <a:pt x="983" y="756"/>
                  <a:pt x="984" y="756"/>
                </a:cubicBezTo>
                <a:cubicBezTo>
                  <a:pt x="984" y="756"/>
                  <a:pt x="984" y="756"/>
                  <a:pt x="985" y="756"/>
                </a:cubicBezTo>
                <a:cubicBezTo>
                  <a:pt x="985" y="756"/>
                  <a:pt x="985" y="756"/>
                  <a:pt x="986" y="757"/>
                </a:cubicBezTo>
                <a:cubicBezTo>
                  <a:pt x="986" y="757"/>
                  <a:pt x="986" y="757"/>
                  <a:pt x="988" y="759"/>
                </a:cubicBezTo>
                <a:cubicBezTo>
                  <a:pt x="988" y="759"/>
                  <a:pt x="988" y="759"/>
                  <a:pt x="991" y="759"/>
                </a:cubicBezTo>
                <a:cubicBezTo>
                  <a:pt x="991" y="759"/>
                  <a:pt x="991" y="759"/>
                  <a:pt x="991" y="760"/>
                </a:cubicBezTo>
                <a:cubicBezTo>
                  <a:pt x="991" y="760"/>
                  <a:pt x="991" y="760"/>
                  <a:pt x="991" y="762"/>
                </a:cubicBezTo>
                <a:cubicBezTo>
                  <a:pt x="991" y="762"/>
                  <a:pt x="991" y="762"/>
                  <a:pt x="992" y="763"/>
                </a:cubicBezTo>
                <a:cubicBezTo>
                  <a:pt x="992" y="763"/>
                  <a:pt x="992" y="763"/>
                  <a:pt x="992" y="762"/>
                </a:cubicBezTo>
                <a:cubicBezTo>
                  <a:pt x="992" y="762"/>
                  <a:pt x="992" y="762"/>
                  <a:pt x="993" y="761"/>
                </a:cubicBezTo>
                <a:cubicBezTo>
                  <a:pt x="993" y="761"/>
                  <a:pt x="993" y="761"/>
                  <a:pt x="996" y="761"/>
                </a:cubicBezTo>
                <a:cubicBezTo>
                  <a:pt x="996" y="761"/>
                  <a:pt x="996" y="761"/>
                  <a:pt x="998" y="762"/>
                </a:cubicBezTo>
                <a:cubicBezTo>
                  <a:pt x="998" y="762"/>
                  <a:pt x="998" y="762"/>
                  <a:pt x="1001" y="761"/>
                </a:cubicBezTo>
                <a:cubicBezTo>
                  <a:pt x="1001" y="761"/>
                  <a:pt x="1001" y="761"/>
                  <a:pt x="1003" y="761"/>
                </a:cubicBezTo>
                <a:cubicBezTo>
                  <a:pt x="1003" y="761"/>
                  <a:pt x="1003" y="761"/>
                  <a:pt x="1004" y="761"/>
                </a:cubicBezTo>
                <a:cubicBezTo>
                  <a:pt x="1004" y="761"/>
                  <a:pt x="1004" y="761"/>
                  <a:pt x="1005" y="761"/>
                </a:cubicBezTo>
                <a:cubicBezTo>
                  <a:pt x="1005" y="761"/>
                  <a:pt x="1005" y="761"/>
                  <a:pt x="1007" y="762"/>
                </a:cubicBezTo>
                <a:cubicBezTo>
                  <a:pt x="1007" y="762"/>
                  <a:pt x="1007" y="762"/>
                  <a:pt x="1009" y="762"/>
                </a:cubicBezTo>
                <a:cubicBezTo>
                  <a:pt x="1009" y="762"/>
                  <a:pt x="1009" y="762"/>
                  <a:pt x="1011" y="763"/>
                </a:cubicBezTo>
                <a:cubicBezTo>
                  <a:pt x="1011" y="763"/>
                  <a:pt x="1011" y="763"/>
                  <a:pt x="1009" y="765"/>
                </a:cubicBezTo>
                <a:cubicBezTo>
                  <a:pt x="1009" y="765"/>
                  <a:pt x="1009" y="765"/>
                  <a:pt x="1011" y="764"/>
                </a:cubicBezTo>
                <a:cubicBezTo>
                  <a:pt x="1011" y="764"/>
                  <a:pt x="1011" y="764"/>
                  <a:pt x="1012" y="763"/>
                </a:cubicBezTo>
                <a:cubicBezTo>
                  <a:pt x="1012" y="763"/>
                  <a:pt x="1012" y="763"/>
                  <a:pt x="1014" y="764"/>
                </a:cubicBezTo>
                <a:cubicBezTo>
                  <a:pt x="1014" y="764"/>
                  <a:pt x="1014" y="764"/>
                  <a:pt x="1015" y="765"/>
                </a:cubicBezTo>
                <a:cubicBezTo>
                  <a:pt x="1015" y="765"/>
                  <a:pt x="1015" y="765"/>
                  <a:pt x="1019" y="766"/>
                </a:cubicBezTo>
                <a:cubicBezTo>
                  <a:pt x="1019" y="766"/>
                  <a:pt x="1019" y="766"/>
                  <a:pt x="1020" y="767"/>
                </a:cubicBezTo>
                <a:cubicBezTo>
                  <a:pt x="1020" y="767"/>
                  <a:pt x="1020" y="767"/>
                  <a:pt x="1021" y="767"/>
                </a:cubicBezTo>
                <a:cubicBezTo>
                  <a:pt x="1021" y="767"/>
                  <a:pt x="1021" y="767"/>
                  <a:pt x="1023" y="769"/>
                </a:cubicBezTo>
                <a:cubicBezTo>
                  <a:pt x="1023" y="769"/>
                  <a:pt x="1023" y="769"/>
                  <a:pt x="1023" y="770"/>
                </a:cubicBezTo>
                <a:cubicBezTo>
                  <a:pt x="1023" y="770"/>
                  <a:pt x="1023" y="770"/>
                  <a:pt x="1024" y="771"/>
                </a:cubicBezTo>
                <a:cubicBezTo>
                  <a:pt x="1024" y="771"/>
                  <a:pt x="1024" y="771"/>
                  <a:pt x="1025" y="772"/>
                </a:cubicBezTo>
                <a:cubicBezTo>
                  <a:pt x="1025" y="772"/>
                  <a:pt x="1025" y="772"/>
                  <a:pt x="1026" y="773"/>
                </a:cubicBezTo>
                <a:cubicBezTo>
                  <a:pt x="1026" y="773"/>
                  <a:pt x="1026" y="773"/>
                  <a:pt x="1024" y="775"/>
                </a:cubicBezTo>
                <a:cubicBezTo>
                  <a:pt x="1024" y="775"/>
                  <a:pt x="1024" y="775"/>
                  <a:pt x="1026" y="774"/>
                </a:cubicBezTo>
                <a:cubicBezTo>
                  <a:pt x="1026" y="774"/>
                  <a:pt x="1026" y="774"/>
                  <a:pt x="1026" y="773"/>
                </a:cubicBezTo>
                <a:cubicBezTo>
                  <a:pt x="1026" y="773"/>
                  <a:pt x="1026" y="773"/>
                  <a:pt x="1026" y="772"/>
                </a:cubicBezTo>
                <a:cubicBezTo>
                  <a:pt x="1026" y="772"/>
                  <a:pt x="1026" y="772"/>
                  <a:pt x="1027" y="772"/>
                </a:cubicBezTo>
                <a:cubicBezTo>
                  <a:pt x="1027" y="772"/>
                  <a:pt x="1027" y="772"/>
                  <a:pt x="1027" y="773"/>
                </a:cubicBezTo>
                <a:cubicBezTo>
                  <a:pt x="1027" y="773"/>
                  <a:pt x="1027" y="773"/>
                  <a:pt x="1028" y="775"/>
                </a:cubicBezTo>
                <a:cubicBezTo>
                  <a:pt x="1028" y="775"/>
                  <a:pt x="1028" y="775"/>
                  <a:pt x="1028" y="776"/>
                </a:cubicBezTo>
                <a:cubicBezTo>
                  <a:pt x="1028" y="776"/>
                  <a:pt x="1028" y="776"/>
                  <a:pt x="1028" y="778"/>
                </a:cubicBezTo>
                <a:cubicBezTo>
                  <a:pt x="1028" y="778"/>
                  <a:pt x="1028" y="778"/>
                  <a:pt x="1029" y="780"/>
                </a:cubicBezTo>
                <a:cubicBezTo>
                  <a:pt x="1029" y="780"/>
                  <a:pt x="1029" y="780"/>
                  <a:pt x="1031" y="782"/>
                </a:cubicBezTo>
                <a:cubicBezTo>
                  <a:pt x="1031" y="782"/>
                  <a:pt x="1031" y="782"/>
                  <a:pt x="1032" y="785"/>
                </a:cubicBezTo>
                <a:cubicBezTo>
                  <a:pt x="1032" y="785"/>
                  <a:pt x="1032" y="785"/>
                  <a:pt x="1033" y="788"/>
                </a:cubicBezTo>
                <a:cubicBezTo>
                  <a:pt x="1033" y="788"/>
                  <a:pt x="1033" y="788"/>
                  <a:pt x="1033" y="789"/>
                </a:cubicBezTo>
                <a:cubicBezTo>
                  <a:pt x="1033" y="789"/>
                  <a:pt x="1033" y="789"/>
                  <a:pt x="1034" y="788"/>
                </a:cubicBezTo>
                <a:cubicBezTo>
                  <a:pt x="1034" y="788"/>
                  <a:pt x="1034" y="788"/>
                  <a:pt x="1035" y="788"/>
                </a:cubicBezTo>
                <a:cubicBezTo>
                  <a:pt x="1035" y="788"/>
                  <a:pt x="1035" y="788"/>
                  <a:pt x="1036" y="789"/>
                </a:cubicBezTo>
                <a:cubicBezTo>
                  <a:pt x="1036" y="789"/>
                  <a:pt x="1036" y="789"/>
                  <a:pt x="1036" y="790"/>
                </a:cubicBezTo>
                <a:cubicBezTo>
                  <a:pt x="1036" y="790"/>
                  <a:pt x="1036" y="790"/>
                  <a:pt x="1036" y="791"/>
                </a:cubicBezTo>
                <a:cubicBezTo>
                  <a:pt x="1036" y="791"/>
                  <a:pt x="1036" y="791"/>
                  <a:pt x="1036" y="792"/>
                </a:cubicBezTo>
                <a:cubicBezTo>
                  <a:pt x="1036" y="792"/>
                  <a:pt x="1036" y="792"/>
                  <a:pt x="1036" y="793"/>
                </a:cubicBezTo>
                <a:cubicBezTo>
                  <a:pt x="1036" y="793"/>
                  <a:pt x="1036" y="793"/>
                  <a:pt x="1035" y="794"/>
                </a:cubicBezTo>
                <a:cubicBezTo>
                  <a:pt x="1035" y="794"/>
                  <a:pt x="1035" y="794"/>
                  <a:pt x="1033" y="797"/>
                </a:cubicBezTo>
                <a:cubicBezTo>
                  <a:pt x="1033" y="797"/>
                  <a:pt x="1033" y="797"/>
                  <a:pt x="1031" y="798"/>
                </a:cubicBezTo>
                <a:cubicBezTo>
                  <a:pt x="1031" y="798"/>
                  <a:pt x="1031" y="798"/>
                  <a:pt x="1030" y="799"/>
                </a:cubicBezTo>
                <a:cubicBezTo>
                  <a:pt x="1030" y="799"/>
                  <a:pt x="1030" y="799"/>
                  <a:pt x="1029" y="800"/>
                </a:cubicBezTo>
                <a:cubicBezTo>
                  <a:pt x="1029" y="800"/>
                  <a:pt x="1029" y="800"/>
                  <a:pt x="1028" y="800"/>
                </a:cubicBezTo>
                <a:cubicBezTo>
                  <a:pt x="1028" y="800"/>
                  <a:pt x="1028" y="800"/>
                  <a:pt x="1027" y="801"/>
                </a:cubicBezTo>
                <a:cubicBezTo>
                  <a:pt x="1027" y="801"/>
                  <a:pt x="1027" y="801"/>
                  <a:pt x="1027" y="803"/>
                </a:cubicBezTo>
                <a:cubicBezTo>
                  <a:pt x="1027" y="803"/>
                  <a:pt x="1027" y="803"/>
                  <a:pt x="1024" y="806"/>
                </a:cubicBezTo>
                <a:cubicBezTo>
                  <a:pt x="1024" y="806"/>
                  <a:pt x="1024" y="806"/>
                  <a:pt x="1024" y="808"/>
                </a:cubicBezTo>
                <a:cubicBezTo>
                  <a:pt x="1024" y="808"/>
                  <a:pt x="1024" y="808"/>
                  <a:pt x="1023" y="809"/>
                </a:cubicBezTo>
                <a:cubicBezTo>
                  <a:pt x="1023" y="809"/>
                  <a:pt x="1023" y="809"/>
                  <a:pt x="1024" y="809"/>
                </a:cubicBezTo>
                <a:cubicBezTo>
                  <a:pt x="1024" y="809"/>
                  <a:pt x="1024" y="809"/>
                  <a:pt x="1025" y="807"/>
                </a:cubicBezTo>
                <a:cubicBezTo>
                  <a:pt x="1025" y="807"/>
                  <a:pt x="1025" y="807"/>
                  <a:pt x="1025" y="806"/>
                </a:cubicBezTo>
                <a:cubicBezTo>
                  <a:pt x="1025" y="806"/>
                  <a:pt x="1025" y="806"/>
                  <a:pt x="1027" y="805"/>
                </a:cubicBezTo>
                <a:cubicBezTo>
                  <a:pt x="1027" y="805"/>
                  <a:pt x="1027" y="805"/>
                  <a:pt x="1027" y="806"/>
                </a:cubicBezTo>
                <a:cubicBezTo>
                  <a:pt x="1027" y="806"/>
                  <a:pt x="1027" y="806"/>
                  <a:pt x="1027" y="807"/>
                </a:cubicBezTo>
                <a:cubicBezTo>
                  <a:pt x="1025" y="810"/>
                  <a:pt x="1025" y="810"/>
                  <a:pt x="1025" y="810"/>
                </a:cubicBezTo>
                <a:cubicBezTo>
                  <a:pt x="1027" y="808"/>
                  <a:pt x="1027" y="808"/>
                  <a:pt x="1027" y="808"/>
                </a:cubicBezTo>
                <a:cubicBezTo>
                  <a:pt x="1027" y="807"/>
                  <a:pt x="1027" y="807"/>
                  <a:pt x="1027" y="807"/>
                </a:cubicBezTo>
                <a:cubicBezTo>
                  <a:pt x="1027" y="807"/>
                  <a:pt x="1027" y="807"/>
                  <a:pt x="1029" y="805"/>
                </a:cubicBezTo>
                <a:cubicBezTo>
                  <a:pt x="1029" y="805"/>
                  <a:pt x="1029" y="805"/>
                  <a:pt x="1030" y="805"/>
                </a:cubicBezTo>
                <a:cubicBezTo>
                  <a:pt x="1030" y="805"/>
                  <a:pt x="1030" y="805"/>
                  <a:pt x="1031" y="805"/>
                </a:cubicBezTo>
                <a:cubicBezTo>
                  <a:pt x="1031" y="805"/>
                  <a:pt x="1031" y="805"/>
                  <a:pt x="1031" y="806"/>
                </a:cubicBezTo>
                <a:cubicBezTo>
                  <a:pt x="1031" y="806"/>
                  <a:pt x="1031" y="806"/>
                  <a:pt x="1032" y="805"/>
                </a:cubicBezTo>
                <a:cubicBezTo>
                  <a:pt x="1032" y="805"/>
                  <a:pt x="1032" y="805"/>
                  <a:pt x="1033" y="805"/>
                </a:cubicBezTo>
                <a:cubicBezTo>
                  <a:pt x="1033" y="805"/>
                  <a:pt x="1033" y="805"/>
                  <a:pt x="1033" y="804"/>
                </a:cubicBezTo>
                <a:cubicBezTo>
                  <a:pt x="1033" y="804"/>
                  <a:pt x="1033" y="804"/>
                  <a:pt x="1032" y="804"/>
                </a:cubicBezTo>
                <a:cubicBezTo>
                  <a:pt x="1032" y="804"/>
                  <a:pt x="1032" y="804"/>
                  <a:pt x="1032" y="803"/>
                </a:cubicBezTo>
                <a:cubicBezTo>
                  <a:pt x="1032" y="803"/>
                  <a:pt x="1032" y="803"/>
                  <a:pt x="1034" y="801"/>
                </a:cubicBezTo>
                <a:cubicBezTo>
                  <a:pt x="1034" y="801"/>
                  <a:pt x="1034" y="801"/>
                  <a:pt x="1036" y="801"/>
                </a:cubicBezTo>
                <a:cubicBezTo>
                  <a:pt x="1036" y="801"/>
                  <a:pt x="1036" y="801"/>
                  <a:pt x="1038" y="802"/>
                </a:cubicBezTo>
                <a:cubicBezTo>
                  <a:pt x="1038" y="802"/>
                  <a:pt x="1038" y="802"/>
                  <a:pt x="1040" y="802"/>
                </a:cubicBezTo>
                <a:cubicBezTo>
                  <a:pt x="1040" y="802"/>
                  <a:pt x="1040" y="802"/>
                  <a:pt x="1041" y="801"/>
                </a:cubicBezTo>
                <a:cubicBezTo>
                  <a:pt x="1041" y="801"/>
                  <a:pt x="1041" y="801"/>
                  <a:pt x="1043" y="801"/>
                </a:cubicBezTo>
                <a:cubicBezTo>
                  <a:pt x="1043" y="801"/>
                  <a:pt x="1043" y="801"/>
                  <a:pt x="1044" y="802"/>
                </a:cubicBezTo>
                <a:cubicBezTo>
                  <a:pt x="1044" y="802"/>
                  <a:pt x="1044" y="802"/>
                  <a:pt x="1046" y="802"/>
                </a:cubicBezTo>
                <a:cubicBezTo>
                  <a:pt x="1046" y="802"/>
                  <a:pt x="1046" y="802"/>
                  <a:pt x="1046" y="803"/>
                </a:cubicBezTo>
                <a:cubicBezTo>
                  <a:pt x="1046" y="803"/>
                  <a:pt x="1046" y="803"/>
                  <a:pt x="1045" y="804"/>
                </a:cubicBezTo>
                <a:cubicBezTo>
                  <a:pt x="1045" y="804"/>
                  <a:pt x="1045" y="804"/>
                  <a:pt x="1045" y="806"/>
                </a:cubicBezTo>
                <a:cubicBezTo>
                  <a:pt x="1045" y="806"/>
                  <a:pt x="1045" y="806"/>
                  <a:pt x="1043" y="808"/>
                </a:cubicBezTo>
                <a:cubicBezTo>
                  <a:pt x="1043" y="808"/>
                  <a:pt x="1043" y="808"/>
                  <a:pt x="1043" y="809"/>
                </a:cubicBezTo>
                <a:cubicBezTo>
                  <a:pt x="1043" y="809"/>
                  <a:pt x="1043" y="809"/>
                  <a:pt x="1042" y="810"/>
                </a:cubicBezTo>
                <a:cubicBezTo>
                  <a:pt x="1042" y="810"/>
                  <a:pt x="1042" y="810"/>
                  <a:pt x="1041" y="810"/>
                </a:cubicBezTo>
                <a:cubicBezTo>
                  <a:pt x="1041" y="810"/>
                  <a:pt x="1041" y="810"/>
                  <a:pt x="1040" y="811"/>
                </a:cubicBezTo>
                <a:cubicBezTo>
                  <a:pt x="1040" y="811"/>
                  <a:pt x="1040" y="811"/>
                  <a:pt x="1039" y="810"/>
                </a:cubicBezTo>
                <a:cubicBezTo>
                  <a:pt x="1039" y="810"/>
                  <a:pt x="1039" y="810"/>
                  <a:pt x="1038" y="811"/>
                </a:cubicBezTo>
                <a:cubicBezTo>
                  <a:pt x="1038" y="811"/>
                  <a:pt x="1038" y="811"/>
                  <a:pt x="1037" y="812"/>
                </a:cubicBezTo>
                <a:cubicBezTo>
                  <a:pt x="1037" y="812"/>
                  <a:pt x="1037" y="812"/>
                  <a:pt x="1035" y="811"/>
                </a:cubicBezTo>
                <a:cubicBezTo>
                  <a:pt x="1035" y="811"/>
                  <a:pt x="1035" y="811"/>
                  <a:pt x="1034" y="812"/>
                </a:cubicBezTo>
                <a:cubicBezTo>
                  <a:pt x="1034" y="812"/>
                  <a:pt x="1034" y="812"/>
                  <a:pt x="1033" y="812"/>
                </a:cubicBezTo>
                <a:cubicBezTo>
                  <a:pt x="1033" y="812"/>
                  <a:pt x="1033" y="812"/>
                  <a:pt x="1032" y="812"/>
                </a:cubicBezTo>
                <a:cubicBezTo>
                  <a:pt x="1032" y="812"/>
                  <a:pt x="1032" y="812"/>
                  <a:pt x="1033" y="813"/>
                </a:cubicBezTo>
                <a:cubicBezTo>
                  <a:pt x="1033" y="813"/>
                  <a:pt x="1033" y="813"/>
                  <a:pt x="1034" y="813"/>
                </a:cubicBezTo>
                <a:cubicBezTo>
                  <a:pt x="1034" y="813"/>
                  <a:pt x="1034" y="813"/>
                  <a:pt x="1035" y="813"/>
                </a:cubicBezTo>
                <a:cubicBezTo>
                  <a:pt x="1035" y="813"/>
                  <a:pt x="1035" y="813"/>
                  <a:pt x="1037" y="813"/>
                </a:cubicBezTo>
                <a:cubicBezTo>
                  <a:pt x="1037" y="813"/>
                  <a:pt x="1037" y="813"/>
                  <a:pt x="1038" y="812"/>
                </a:cubicBezTo>
                <a:cubicBezTo>
                  <a:pt x="1038" y="812"/>
                  <a:pt x="1038" y="812"/>
                  <a:pt x="1039" y="812"/>
                </a:cubicBezTo>
                <a:cubicBezTo>
                  <a:pt x="1039" y="812"/>
                  <a:pt x="1039" y="812"/>
                  <a:pt x="1039" y="813"/>
                </a:cubicBezTo>
                <a:cubicBezTo>
                  <a:pt x="1039" y="813"/>
                  <a:pt x="1039" y="813"/>
                  <a:pt x="1039" y="815"/>
                </a:cubicBezTo>
                <a:cubicBezTo>
                  <a:pt x="1039" y="815"/>
                  <a:pt x="1039" y="815"/>
                  <a:pt x="1039" y="816"/>
                </a:cubicBezTo>
                <a:cubicBezTo>
                  <a:pt x="1039" y="816"/>
                  <a:pt x="1039" y="816"/>
                  <a:pt x="1038" y="817"/>
                </a:cubicBezTo>
                <a:cubicBezTo>
                  <a:pt x="1038" y="817"/>
                  <a:pt x="1038" y="817"/>
                  <a:pt x="1037" y="818"/>
                </a:cubicBezTo>
                <a:cubicBezTo>
                  <a:pt x="1037" y="818"/>
                  <a:pt x="1037" y="818"/>
                  <a:pt x="1037" y="819"/>
                </a:cubicBezTo>
                <a:cubicBezTo>
                  <a:pt x="1037" y="819"/>
                  <a:pt x="1037" y="819"/>
                  <a:pt x="1038" y="821"/>
                </a:cubicBezTo>
                <a:cubicBezTo>
                  <a:pt x="1038" y="820"/>
                  <a:pt x="1038" y="820"/>
                  <a:pt x="1038" y="820"/>
                </a:cubicBezTo>
                <a:cubicBezTo>
                  <a:pt x="1038" y="820"/>
                  <a:pt x="1038" y="820"/>
                  <a:pt x="1038" y="819"/>
                </a:cubicBezTo>
                <a:cubicBezTo>
                  <a:pt x="1038" y="819"/>
                  <a:pt x="1038" y="819"/>
                  <a:pt x="1038" y="818"/>
                </a:cubicBezTo>
                <a:cubicBezTo>
                  <a:pt x="1038" y="818"/>
                  <a:pt x="1038" y="818"/>
                  <a:pt x="1039" y="817"/>
                </a:cubicBezTo>
                <a:cubicBezTo>
                  <a:pt x="1039" y="817"/>
                  <a:pt x="1039" y="817"/>
                  <a:pt x="1040" y="816"/>
                </a:cubicBezTo>
                <a:cubicBezTo>
                  <a:pt x="1040" y="816"/>
                  <a:pt x="1040" y="816"/>
                  <a:pt x="1040" y="814"/>
                </a:cubicBezTo>
                <a:cubicBezTo>
                  <a:pt x="1040" y="814"/>
                  <a:pt x="1040" y="814"/>
                  <a:pt x="1041" y="812"/>
                </a:cubicBezTo>
                <a:cubicBezTo>
                  <a:pt x="1041" y="812"/>
                  <a:pt x="1041" y="812"/>
                  <a:pt x="1042" y="811"/>
                </a:cubicBezTo>
                <a:cubicBezTo>
                  <a:pt x="1042" y="811"/>
                  <a:pt x="1042" y="811"/>
                  <a:pt x="1044" y="810"/>
                </a:cubicBezTo>
                <a:cubicBezTo>
                  <a:pt x="1044" y="810"/>
                  <a:pt x="1044" y="810"/>
                  <a:pt x="1046" y="809"/>
                </a:cubicBezTo>
                <a:cubicBezTo>
                  <a:pt x="1046" y="809"/>
                  <a:pt x="1046" y="809"/>
                  <a:pt x="1047" y="807"/>
                </a:cubicBezTo>
                <a:cubicBezTo>
                  <a:pt x="1047" y="807"/>
                  <a:pt x="1047" y="807"/>
                  <a:pt x="1048" y="805"/>
                </a:cubicBezTo>
                <a:cubicBezTo>
                  <a:pt x="1048" y="805"/>
                  <a:pt x="1048" y="805"/>
                  <a:pt x="1049" y="805"/>
                </a:cubicBezTo>
                <a:cubicBezTo>
                  <a:pt x="1049" y="805"/>
                  <a:pt x="1049" y="805"/>
                  <a:pt x="1050" y="805"/>
                </a:cubicBezTo>
                <a:cubicBezTo>
                  <a:pt x="1050" y="805"/>
                  <a:pt x="1050" y="805"/>
                  <a:pt x="1051" y="806"/>
                </a:cubicBezTo>
                <a:cubicBezTo>
                  <a:pt x="1051" y="806"/>
                  <a:pt x="1051" y="806"/>
                  <a:pt x="1051" y="805"/>
                </a:cubicBezTo>
                <a:cubicBezTo>
                  <a:pt x="1051" y="805"/>
                  <a:pt x="1051" y="805"/>
                  <a:pt x="1052" y="805"/>
                </a:cubicBezTo>
                <a:cubicBezTo>
                  <a:pt x="1052" y="805"/>
                  <a:pt x="1052" y="805"/>
                  <a:pt x="1053" y="805"/>
                </a:cubicBezTo>
                <a:cubicBezTo>
                  <a:pt x="1053" y="805"/>
                  <a:pt x="1053" y="805"/>
                  <a:pt x="1054" y="805"/>
                </a:cubicBezTo>
                <a:cubicBezTo>
                  <a:pt x="1054" y="805"/>
                  <a:pt x="1054" y="805"/>
                  <a:pt x="1056" y="806"/>
                </a:cubicBezTo>
                <a:cubicBezTo>
                  <a:pt x="1056" y="806"/>
                  <a:pt x="1056" y="806"/>
                  <a:pt x="1057" y="806"/>
                </a:cubicBezTo>
                <a:cubicBezTo>
                  <a:pt x="1057" y="806"/>
                  <a:pt x="1057" y="806"/>
                  <a:pt x="1058" y="806"/>
                </a:cubicBezTo>
                <a:cubicBezTo>
                  <a:pt x="1058" y="806"/>
                  <a:pt x="1058" y="806"/>
                  <a:pt x="1059" y="807"/>
                </a:cubicBezTo>
                <a:cubicBezTo>
                  <a:pt x="1059" y="807"/>
                  <a:pt x="1059" y="807"/>
                  <a:pt x="1059" y="808"/>
                </a:cubicBezTo>
                <a:cubicBezTo>
                  <a:pt x="1059" y="808"/>
                  <a:pt x="1059" y="808"/>
                  <a:pt x="1060" y="807"/>
                </a:cubicBezTo>
                <a:cubicBezTo>
                  <a:pt x="1060" y="807"/>
                  <a:pt x="1060" y="807"/>
                  <a:pt x="1061" y="808"/>
                </a:cubicBezTo>
                <a:cubicBezTo>
                  <a:pt x="1061" y="808"/>
                  <a:pt x="1061" y="808"/>
                  <a:pt x="1062" y="808"/>
                </a:cubicBezTo>
                <a:cubicBezTo>
                  <a:pt x="1062" y="808"/>
                  <a:pt x="1062" y="808"/>
                  <a:pt x="1063" y="809"/>
                </a:cubicBezTo>
                <a:cubicBezTo>
                  <a:pt x="1063" y="809"/>
                  <a:pt x="1063" y="809"/>
                  <a:pt x="1063" y="810"/>
                </a:cubicBezTo>
                <a:cubicBezTo>
                  <a:pt x="1063" y="810"/>
                  <a:pt x="1063" y="810"/>
                  <a:pt x="1064" y="810"/>
                </a:cubicBezTo>
                <a:cubicBezTo>
                  <a:pt x="1064" y="810"/>
                  <a:pt x="1064" y="810"/>
                  <a:pt x="1064" y="811"/>
                </a:cubicBezTo>
                <a:cubicBezTo>
                  <a:pt x="1064" y="811"/>
                  <a:pt x="1064" y="811"/>
                  <a:pt x="1065" y="811"/>
                </a:cubicBezTo>
                <a:cubicBezTo>
                  <a:pt x="1065" y="811"/>
                  <a:pt x="1065" y="811"/>
                  <a:pt x="1066" y="810"/>
                </a:cubicBezTo>
                <a:cubicBezTo>
                  <a:pt x="1066" y="810"/>
                  <a:pt x="1066" y="810"/>
                  <a:pt x="1067" y="810"/>
                </a:cubicBezTo>
                <a:cubicBezTo>
                  <a:pt x="1067" y="810"/>
                  <a:pt x="1067" y="810"/>
                  <a:pt x="1068" y="810"/>
                </a:cubicBezTo>
                <a:cubicBezTo>
                  <a:pt x="1068" y="810"/>
                  <a:pt x="1068" y="810"/>
                  <a:pt x="1069" y="811"/>
                </a:cubicBezTo>
                <a:cubicBezTo>
                  <a:pt x="1069" y="811"/>
                  <a:pt x="1069" y="811"/>
                  <a:pt x="1071" y="813"/>
                </a:cubicBezTo>
                <a:cubicBezTo>
                  <a:pt x="1071" y="813"/>
                  <a:pt x="1071" y="813"/>
                  <a:pt x="1070" y="815"/>
                </a:cubicBezTo>
                <a:cubicBezTo>
                  <a:pt x="1070" y="815"/>
                  <a:pt x="1070" y="815"/>
                  <a:pt x="1071" y="815"/>
                </a:cubicBezTo>
                <a:cubicBezTo>
                  <a:pt x="1071" y="815"/>
                  <a:pt x="1071" y="815"/>
                  <a:pt x="1070" y="816"/>
                </a:cubicBezTo>
                <a:cubicBezTo>
                  <a:pt x="1070" y="816"/>
                  <a:pt x="1070" y="816"/>
                  <a:pt x="1070" y="818"/>
                </a:cubicBezTo>
                <a:cubicBezTo>
                  <a:pt x="1070" y="818"/>
                  <a:pt x="1070" y="818"/>
                  <a:pt x="1070" y="819"/>
                </a:cubicBezTo>
                <a:cubicBezTo>
                  <a:pt x="1070" y="819"/>
                  <a:pt x="1070" y="819"/>
                  <a:pt x="1070" y="821"/>
                </a:cubicBezTo>
                <a:cubicBezTo>
                  <a:pt x="1070" y="821"/>
                  <a:pt x="1070" y="821"/>
                  <a:pt x="1071" y="819"/>
                </a:cubicBezTo>
                <a:cubicBezTo>
                  <a:pt x="1071" y="819"/>
                  <a:pt x="1071" y="819"/>
                  <a:pt x="1071" y="817"/>
                </a:cubicBezTo>
                <a:cubicBezTo>
                  <a:pt x="1071" y="817"/>
                  <a:pt x="1071" y="817"/>
                  <a:pt x="1072" y="817"/>
                </a:cubicBezTo>
                <a:cubicBezTo>
                  <a:pt x="1072" y="817"/>
                  <a:pt x="1072" y="817"/>
                  <a:pt x="1072" y="818"/>
                </a:cubicBezTo>
                <a:cubicBezTo>
                  <a:pt x="1072" y="818"/>
                  <a:pt x="1072" y="818"/>
                  <a:pt x="1073" y="819"/>
                </a:cubicBezTo>
                <a:cubicBezTo>
                  <a:pt x="1073" y="819"/>
                  <a:pt x="1073" y="819"/>
                  <a:pt x="1073" y="818"/>
                </a:cubicBezTo>
                <a:cubicBezTo>
                  <a:pt x="1073" y="818"/>
                  <a:pt x="1073" y="818"/>
                  <a:pt x="1073" y="817"/>
                </a:cubicBezTo>
                <a:cubicBezTo>
                  <a:pt x="1073" y="817"/>
                  <a:pt x="1073" y="817"/>
                  <a:pt x="1074" y="816"/>
                </a:cubicBezTo>
                <a:cubicBezTo>
                  <a:pt x="1074" y="816"/>
                  <a:pt x="1074" y="816"/>
                  <a:pt x="1075" y="816"/>
                </a:cubicBezTo>
                <a:cubicBezTo>
                  <a:pt x="1075" y="816"/>
                  <a:pt x="1075" y="816"/>
                  <a:pt x="1076" y="816"/>
                </a:cubicBezTo>
                <a:cubicBezTo>
                  <a:pt x="1076" y="816"/>
                  <a:pt x="1076" y="816"/>
                  <a:pt x="1076" y="815"/>
                </a:cubicBezTo>
                <a:cubicBezTo>
                  <a:pt x="1076" y="815"/>
                  <a:pt x="1076" y="815"/>
                  <a:pt x="1077" y="815"/>
                </a:cubicBezTo>
                <a:cubicBezTo>
                  <a:pt x="1077" y="815"/>
                  <a:pt x="1077" y="815"/>
                  <a:pt x="1081" y="816"/>
                </a:cubicBezTo>
                <a:cubicBezTo>
                  <a:pt x="1081" y="816"/>
                  <a:pt x="1081" y="816"/>
                  <a:pt x="1082" y="817"/>
                </a:cubicBezTo>
                <a:cubicBezTo>
                  <a:pt x="1082" y="817"/>
                  <a:pt x="1082" y="817"/>
                  <a:pt x="1083" y="816"/>
                </a:cubicBezTo>
                <a:cubicBezTo>
                  <a:pt x="1083" y="816"/>
                  <a:pt x="1083" y="816"/>
                  <a:pt x="1085" y="817"/>
                </a:cubicBezTo>
                <a:cubicBezTo>
                  <a:pt x="1085" y="817"/>
                  <a:pt x="1085" y="817"/>
                  <a:pt x="1086" y="817"/>
                </a:cubicBezTo>
                <a:cubicBezTo>
                  <a:pt x="1086" y="817"/>
                  <a:pt x="1086" y="817"/>
                  <a:pt x="1087" y="818"/>
                </a:cubicBezTo>
                <a:cubicBezTo>
                  <a:pt x="1087" y="818"/>
                  <a:pt x="1087" y="818"/>
                  <a:pt x="1087" y="817"/>
                </a:cubicBezTo>
                <a:cubicBezTo>
                  <a:pt x="1087" y="817"/>
                  <a:pt x="1087" y="817"/>
                  <a:pt x="1088" y="817"/>
                </a:cubicBezTo>
                <a:cubicBezTo>
                  <a:pt x="1088" y="817"/>
                  <a:pt x="1088" y="817"/>
                  <a:pt x="1090" y="818"/>
                </a:cubicBezTo>
                <a:cubicBezTo>
                  <a:pt x="1090" y="818"/>
                  <a:pt x="1090" y="818"/>
                  <a:pt x="1090" y="819"/>
                </a:cubicBezTo>
                <a:cubicBezTo>
                  <a:pt x="1090" y="819"/>
                  <a:pt x="1090" y="819"/>
                  <a:pt x="1091" y="818"/>
                </a:cubicBezTo>
                <a:cubicBezTo>
                  <a:pt x="1091" y="818"/>
                  <a:pt x="1091" y="818"/>
                  <a:pt x="1092" y="817"/>
                </a:cubicBezTo>
                <a:cubicBezTo>
                  <a:pt x="1092" y="817"/>
                  <a:pt x="1092" y="817"/>
                  <a:pt x="1093" y="818"/>
                </a:cubicBezTo>
                <a:cubicBezTo>
                  <a:pt x="1093" y="818"/>
                  <a:pt x="1093" y="818"/>
                  <a:pt x="1095" y="818"/>
                </a:cubicBezTo>
                <a:cubicBezTo>
                  <a:pt x="1095" y="818"/>
                  <a:pt x="1095" y="818"/>
                  <a:pt x="1096" y="817"/>
                </a:cubicBezTo>
                <a:cubicBezTo>
                  <a:pt x="1096" y="817"/>
                  <a:pt x="1096" y="817"/>
                  <a:pt x="1098" y="818"/>
                </a:cubicBezTo>
                <a:cubicBezTo>
                  <a:pt x="1098" y="818"/>
                  <a:pt x="1098" y="818"/>
                  <a:pt x="1100" y="818"/>
                </a:cubicBezTo>
                <a:cubicBezTo>
                  <a:pt x="1100" y="818"/>
                  <a:pt x="1100" y="818"/>
                  <a:pt x="1104" y="821"/>
                </a:cubicBezTo>
                <a:cubicBezTo>
                  <a:pt x="1104" y="821"/>
                  <a:pt x="1104" y="821"/>
                  <a:pt x="1105" y="821"/>
                </a:cubicBezTo>
                <a:cubicBezTo>
                  <a:pt x="1105" y="821"/>
                  <a:pt x="1105" y="821"/>
                  <a:pt x="1106" y="822"/>
                </a:cubicBezTo>
                <a:cubicBezTo>
                  <a:pt x="1106" y="822"/>
                  <a:pt x="1106" y="822"/>
                  <a:pt x="1108" y="822"/>
                </a:cubicBezTo>
                <a:cubicBezTo>
                  <a:pt x="1108" y="822"/>
                  <a:pt x="1108" y="822"/>
                  <a:pt x="1110" y="825"/>
                </a:cubicBezTo>
                <a:cubicBezTo>
                  <a:pt x="1110" y="825"/>
                  <a:pt x="1110" y="825"/>
                  <a:pt x="1113" y="828"/>
                </a:cubicBezTo>
                <a:cubicBezTo>
                  <a:pt x="1113" y="828"/>
                  <a:pt x="1113" y="828"/>
                  <a:pt x="1114" y="829"/>
                </a:cubicBezTo>
                <a:cubicBezTo>
                  <a:pt x="1114" y="829"/>
                  <a:pt x="1114" y="829"/>
                  <a:pt x="1116" y="830"/>
                </a:cubicBezTo>
                <a:cubicBezTo>
                  <a:pt x="1116" y="830"/>
                  <a:pt x="1116" y="830"/>
                  <a:pt x="1117" y="831"/>
                </a:cubicBezTo>
                <a:cubicBezTo>
                  <a:pt x="1117" y="831"/>
                  <a:pt x="1117" y="831"/>
                  <a:pt x="1118" y="831"/>
                </a:cubicBezTo>
                <a:cubicBezTo>
                  <a:pt x="1118" y="831"/>
                  <a:pt x="1118" y="831"/>
                  <a:pt x="1120" y="833"/>
                </a:cubicBezTo>
                <a:cubicBezTo>
                  <a:pt x="1120" y="833"/>
                  <a:pt x="1120" y="833"/>
                  <a:pt x="1121" y="832"/>
                </a:cubicBezTo>
                <a:cubicBezTo>
                  <a:pt x="1121" y="832"/>
                  <a:pt x="1121" y="832"/>
                  <a:pt x="1124" y="832"/>
                </a:cubicBezTo>
                <a:cubicBezTo>
                  <a:pt x="1124" y="832"/>
                  <a:pt x="1124" y="832"/>
                  <a:pt x="1128" y="834"/>
                </a:cubicBezTo>
                <a:cubicBezTo>
                  <a:pt x="1128" y="834"/>
                  <a:pt x="1128" y="834"/>
                  <a:pt x="1128" y="836"/>
                </a:cubicBezTo>
                <a:cubicBezTo>
                  <a:pt x="1128" y="836"/>
                  <a:pt x="1128" y="836"/>
                  <a:pt x="1128" y="838"/>
                </a:cubicBezTo>
                <a:close/>
                <a:moveTo>
                  <a:pt x="1010" y="409"/>
                </a:moveTo>
                <a:cubicBezTo>
                  <a:pt x="1010" y="410"/>
                  <a:pt x="1010" y="410"/>
                  <a:pt x="1010" y="410"/>
                </a:cubicBezTo>
                <a:cubicBezTo>
                  <a:pt x="1012" y="410"/>
                  <a:pt x="1012" y="410"/>
                  <a:pt x="1012" y="410"/>
                </a:cubicBezTo>
                <a:cubicBezTo>
                  <a:pt x="1015" y="409"/>
                  <a:pt x="1015" y="409"/>
                  <a:pt x="1015" y="409"/>
                </a:cubicBezTo>
                <a:cubicBezTo>
                  <a:pt x="1013" y="409"/>
                  <a:pt x="1013" y="409"/>
                  <a:pt x="1013" y="409"/>
                </a:cubicBezTo>
                <a:cubicBezTo>
                  <a:pt x="1010" y="409"/>
                  <a:pt x="1010" y="409"/>
                  <a:pt x="1010" y="409"/>
                </a:cubicBezTo>
                <a:close/>
                <a:moveTo>
                  <a:pt x="856" y="293"/>
                </a:moveTo>
                <a:cubicBezTo>
                  <a:pt x="856" y="294"/>
                  <a:pt x="856" y="294"/>
                  <a:pt x="856" y="294"/>
                </a:cubicBezTo>
                <a:cubicBezTo>
                  <a:pt x="857" y="293"/>
                  <a:pt x="857" y="293"/>
                  <a:pt x="857" y="293"/>
                </a:cubicBezTo>
                <a:cubicBezTo>
                  <a:pt x="856" y="293"/>
                  <a:pt x="856" y="293"/>
                  <a:pt x="856" y="293"/>
                </a:cubicBezTo>
                <a:close/>
                <a:moveTo>
                  <a:pt x="821" y="352"/>
                </a:moveTo>
                <a:cubicBezTo>
                  <a:pt x="821" y="354"/>
                  <a:pt x="821" y="354"/>
                  <a:pt x="821" y="354"/>
                </a:cubicBezTo>
                <a:cubicBezTo>
                  <a:pt x="822" y="352"/>
                  <a:pt x="822" y="352"/>
                  <a:pt x="822" y="352"/>
                </a:cubicBezTo>
                <a:cubicBezTo>
                  <a:pt x="821" y="352"/>
                  <a:pt x="821" y="352"/>
                  <a:pt x="821" y="352"/>
                </a:cubicBezTo>
                <a:close/>
                <a:moveTo>
                  <a:pt x="457" y="242"/>
                </a:moveTo>
                <a:cubicBezTo>
                  <a:pt x="457" y="242"/>
                  <a:pt x="457" y="242"/>
                  <a:pt x="459" y="240"/>
                </a:cubicBezTo>
                <a:cubicBezTo>
                  <a:pt x="458" y="240"/>
                  <a:pt x="458" y="240"/>
                  <a:pt x="458" y="240"/>
                </a:cubicBezTo>
                <a:cubicBezTo>
                  <a:pt x="458" y="240"/>
                  <a:pt x="458" y="240"/>
                  <a:pt x="457" y="241"/>
                </a:cubicBezTo>
                <a:cubicBezTo>
                  <a:pt x="457" y="241"/>
                  <a:pt x="457" y="241"/>
                  <a:pt x="457" y="242"/>
                </a:cubicBezTo>
                <a:close/>
                <a:moveTo>
                  <a:pt x="552" y="270"/>
                </a:moveTo>
                <a:cubicBezTo>
                  <a:pt x="552" y="270"/>
                  <a:pt x="552" y="270"/>
                  <a:pt x="552" y="269"/>
                </a:cubicBezTo>
                <a:cubicBezTo>
                  <a:pt x="552" y="269"/>
                  <a:pt x="552" y="269"/>
                  <a:pt x="551" y="269"/>
                </a:cubicBezTo>
                <a:cubicBezTo>
                  <a:pt x="551" y="269"/>
                  <a:pt x="551" y="269"/>
                  <a:pt x="552" y="270"/>
                </a:cubicBezTo>
                <a:close/>
                <a:moveTo>
                  <a:pt x="614" y="349"/>
                </a:moveTo>
                <a:cubicBezTo>
                  <a:pt x="615" y="347"/>
                  <a:pt x="615" y="347"/>
                  <a:pt x="615" y="347"/>
                </a:cubicBezTo>
                <a:cubicBezTo>
                  <a:pt x="614" y="347"/>
                  <a:pt x="614" y="347"/>
                  <a:pt x="614" y="347"/>
                </a:cubicBezTo>
                <a:cubicBezTo>
                  <a:pt x="614" y="347"/>
                  <a:pt x="614" y="347"/>
                  <a:pt x="614" y="348"/>
                </a:cubicBezTo>
                <a:cubicBezTo>
                  <a:pt x="614" y="348"/>
                  <a:pt x="614" y="348"/>
                  <a:pt x="612" y="351"/>
                </a:cubicBezTo>
                <a:cubicBezTo>
                  <a:pt x="612" y="351"/>
                  <a:pt x="612" y="351"/>
                  <a:pt x="612" y="352"/>
                </a:cubicBezTo>
                <a:cubicBezTo>
                  <a:pt x="614" y="349"/>
                  <a:pt x="614" y="349"/>
                  <a:pt x="614" y="349"/>
                </a:cubicBezTo>
                <a:close/>
                <a:moveTo>
                  <a:pt x="901" y="733"/>
                </a:moveTo>
                <a:cubicBezTo>
                  <a:pt x="901" y="733"/>
                  <a:pt x="901" y="733"/>
                  <a:pt x="898" y="735"/>
                </a:cubicBezTo>
                <a:cubicBezTo>
                  <a:pt x="898" y="735"/>
                  <a:pt x="898" y="735"/>
                  <a:pt x="898" y="736"/>
                </a:cubicBezTo>
                <a:cubicBezTo>
                  <a:pt x="898" y="736"/>
                  <a:pt x="898" y="736"/>
                  <a:pt x="897" y="737"/>
                </a:cubicBezTo>
                <a:cubicBezTo>
                  <a:pt x="897" y="737"/>
                  <a:pt x="897" y="737"/>
                  <a:pt x="897" y="738"/>
                </a:cubicBezTo>
                <a:cubicBezTo>
                  <a:pt x="897" y="738"/>
                  <a:pt x="897" y="738"/>
                  <a:pt x="899" y="740"/>
                </a:cubicBezTo>
                <a:cubicBezTo>
                  <a:pt x="899" y="740"/>
                  <a:pt x="899" y="740"/>
                  <a:pt x="899" y="742"/>
                </a:cubicBezTo>
                <a:cubicBezTo>
                  <a:pt x="899" y="742"/>
                  <a:pt x="899" y="742"/>
                  <a:pt x="900" y="742"/>
                </a:cubicBezTo>
                <a:cubicBezTo>
                  <a:pt x="900" y="742"/>
                  <a:pt x="900" y="742"/>
                  <a:pt x="902" y="741"/>
                </a:cubicBezTo>
                <a:cubicBezTo>
                  <a:pt x="902" y="741"/>
                  <a:pt x="902" y="741"/>
                  <a:pt x="903" y="739"/>
                </a:cubicBezTo>
                <a:cubicBezTo>
                  <a:pt x="903" y="739"/>
                  <a:pt x="903" y="739"/>
                  <a:pt x="902" y="737"/>
                </a:cubicBezTo>
                <a:cubicBezTo>
                  <a:pt x="902" y="737"/>
                  <a:pt x="902" y="737"/>
                  <a:pt x="902" y="736"/>
                </a:cubicBezTo>
                <a:cubicBezTo>
                  <a:pt x="902" y="736"/>
                  <a:pt x="902" y="736"/>
                  <a:pt x="902" y="733"/>
                </a:cubicBezTo>
                <a:cubicBezTo>
                  <a:pt x="902" y="733"/>
                  <a:pt x="902" y="733"/>
                  <a:pt x="901" y="732"/>
                </a:cubicBezTo>
                <a:cubicBezTo>
                  <a:pt x="901" y="733"/>
                  <a:pt x="901" y="733"/>
                  <a:pt x="901" y="733"/>
                </a:cubicBezTo>
                <a:close/>
                <a:moveTo>
                  <a:pt x="1035" y="797"/>
                </a:moveTo>
                <a:cubicBezTo>
                  <a:pt x="1035" y="797"/>
                  <a:pt x="1035" y="797"/>
                  <a:pt x="1036" y="796"/>
                </a:cubicBezTo>
                <a:cubicBezTo>
                  <a:pt x="1036" y="796"/>
                  <a:pt x="1036" y="796"/>
                  <a:pt x="1036" y="795"/>
                </a:cubicBezTo>
                <a:cubicBezTo>
                  <a:pt x="1036" y="795"/>
                  <a:pt x="1036" y="795"/>
                  <a:pt x="1035" y="796"/>
                </a:cubicBezTo>
                <a:cubicBezTo>
                  <a:pt x="1035" y="796"/>
                  <a:pt x="1035" y="796"/>
                  <a:pt x="1034" y="796"/>
                </a:cubicBezTo>
                <a:cubicBezTo>
                  <a:pt x="1034" y="796"/>
                  <a:pt x="1034" y="796"/>
                  <a:pt x="1033" y="797"/>
                </a:cubicBezTo>
                <a:cubicBezTo>
                  <a:pt x="1033" y="797"/>
                  <a:pt x="1033" y="797"/>
                  <a:pt x="1034" y="798"/>
                </a:cubicBezTo>
                <a:cubicBezTo>
                  <a:pt x="1034" y="798"/>
                  <a:pt x="1034" y="798"/>
                  <a:pt x="1035" y="797"/>
                </a:cubicBezTo>
                <a:close/>
                <a:moveTo>
                  <a:pt x="1040" y="801"/>
                </a:moveTo>
                <a:cubicBezTo>
                  <a:pt x="1040" y="801"/>
                  <a:pt x="1040" y="801"/>
                  <a:pt x="1040" y="800"/>
                </a:cubicBezTo>
                <a:cubicBezTo>
                  <a:pt x="1040" y="800"/>
                  <a:pt x="1040" y="800"/>
                  <a:pt x="1039" y="800"/>
                </a:cubicBezTo>
                <a:cubicBezTo>
                  <a:pt x="1039" y="800"/>
                  <a:pt x="1039" y="800"/>
                  <a:pt x="1038" y="801"/>
                </a:cubicBezTo>
                <a:cubicBezTo>
                  <a:pt x="1038" y="801"/>
                  <a:pt x="1038" y="801"/>
                  <a:pt x="1039" y="801"/>
                </a:cubicBezTo>
                <a:cubicBezTo>
                  <a:pt x="1039" y="801"/>
                  <a:pt x="1039" y="801"/>
                  <a:pt x="1040" y="801"/>
                </a:cubicBezTo>
                <a:close/>
                <a:moveTo>
                  <a:pt x="1030" y="802"/>
                </a:moveTo>
                <a:cubicBezTo>
                  <a:pt x="1031" y="802"/>
                  <a:pt x="1031" y="802"/>
                  <a:pt x="1031" y="802"/>
                </a:cubicBezTo>
                <a:cubicBezTo>
                  <a:pt x="1032" y="801"/>
                  <a:pt x="1032" y="801"/>
                  <a:pt x="1032" y="801"/>
                </a:cubicBezTo>
                <a:cubicBezTo>
                  <a:pt x="1031" y="801"/>
                  <a:pt x="1031" y="801"/>
                  <a:pt x="1031" y="801"/>
                </a:cubicBezTo>
                <a:cubicBezTo>
                  <a:pt x="1030" y="801"/>
                  <a:pt x="1030" y="801"/>
                  <a:pt x="1030" y="801"/>
                </a:cubicBezTo>
                <a:cubicBezTo>
                  <a:pt x="1029" y="802"/>
                  <a:pt x="1029" y="802"/>
                  <a:pt x="1029" y="802"/>
                </a:cubicBezTo>
                <a:cubicBezTo>
                  <a:pt x="1028" y="804"/>
                  <a:pt x="1028" y="804"/>
                  <a:pt x="1028" y="804"/>
                </a:cubicBezTo>
                <a:cubicBezTo>
                  <a:pt x="1029" y="804"/>
                  <a:pt x="1029" y="804"/>
                  <a:pt x="1029" y="804"/>
                </a:cubicBezTo>
                <a:cubicBezTo>
                  <a:pt x="1029" y="803"/>
                  <a:pt x="1029" y="803"/>
                  <a:pt x="1029" y="803"/>
                </a:cubicBezTo>
                <a:cubicBezTo>
                  <a:pt x="1030" y="802"/>
                  <a:pt x="1030" y="802"/>
                  <a:pt x="1030" y="802"/>
                </a:cubicBezTo>
                <a:close/>
                <a:moveTo>
                  <a:pt x="1035" y="799"/>
                </a:moveTo>
                <a:cubicBezTo>
                  <a:pt x="1036" y="800"/>
                  <a:pt x="1036" y="800"/>
                  <a:pt x="1036" y="800"/>
                </a:cubicBezTo>
                <a:cubicBezTo>
                  <a:pt x="1037" y="800"/>
                  <a:pt x="1037" y="800"/>
                  <a:pt x="1037" y="800"/>
                </a:cubicBezTo>
                <a:cubicBezTo>
                  <a:pt x="1037" y="799"/>
                  <a:pt x="1037" y="799"/>
                  <a:pt x="1037" y="799"/>
                </a:cubicBezTo>
                <a:cubicBezTo>
                  <a:pt x="1038" y="799"/>
                  <a:pt x="1038" y="799"/>
                  <a:pt x="1038" y="799"/>
                </a:cubicBezTo>
                <a:cubicBezTo>
                  <a:pt x="1037" y="798"/>
                  <a:pt x="1037" y="798"/>
                  <a:pt x="1037" y="798"/>
                </a:cubicBezTo>
                <a:cubicBezTo>
                  <a:pt x="1035" y="799"/>
                  <a:pt x="1035" y="799"/>
                  <a:pt x="1035" y="799"/>
                </a:cubicBezTo>
                <a:close/>
                <a:moveTo>
                  <a:pt x="1034" y="1008"/>
                </a:moveTo>
                <a:cubicBezTo>
                  <a:pt x="1033" y="1009"/>
                  <a:pt x="1033" y="1009"/>
                  <a:pt x="1033" y="1009"/>
                </a:cubicBezTo>
                <a:cubicBezTo>
                  <a:pt x="1033" y="1010"/>
                  <a:pt x="1033" y="1010"/>
                  <a:pt x="1033" y="1010"/>
                </a:cubicBezTo>
                <a:cubicBezTo>
                  <a:pt x="1032" y="1010"/>
                  <a:pt x="1032" y="1010"/>
                  <a:pt x="1032" y="1010"/>
                </a:cubicBezTo>
                <a:cubicBezTo>
                  <a:pt x="1031" y="1011"/>
                  <a:pt x="1031" y="1011"/>
                  <a:pt x="1031" y="1011"/>
                </a:cubicBezTo>
                <a:cubicBezTo>
                  <a:pt x="1033" y="1012"/>
                  <a:pt x="1033" y="1012"/>
                  <a:pt x="1033" y="1012"/>
                </a:cubicBezTo>
                <a:cubicBezTo>
                  <a:pt x="1036" y="1008"/>
                  <a:pt x="1036" y="1008"/>
                  <a:pt x="1036" y="1008"/>
                </a:cubicBezTo>
                <a:cubicBezTo>
                  <a:pt x="1035" y="1008"/>
                  <a:pt x="1035" y="1008"/>
                  <a:pt x="1035" y="1008"/>
                </a:cubicBezTo>
                <a:cubicBezTo>
                  <a:pt x="1034" y="1008"/>
                  <a:pt x="1034" y="1008"/>
                  <a:pt x="1034" y="1008"/>
                </a:cubicBezTo>
                <a:close/>
                <a:moveTo>
                  <a:pt x="1033" y="800"/>
                </a:moveTo>
                <a:cubicBezTo>
                  <a:pt x="1034" y="800"/>
                  <a:pt x="1034" y="800"/>
                  <a:pt x="1034" y="800"/>
                </a:cubicBezTo>
                <a:cubicBezTo>
                  <a:pt x="1033" y="799"/>
                  <a:pt x="1033" y="799"/>
                  <a:pt x="1033" y="799"/>
                </a:cubicBezTo>
                <a:cubicBezTo>
                  <a:pt x="1033" y="800"/>
                  <a:pt x="1033" y="800"/>
                  <a:pt x="1033" y="800"/>
                </a:cubicBezTo>
                <a:close/>
                <a:moveTo>
                  <a:pt x="1031" y="804"/>
                </a:moveTo>
                <a:cubicBezTo>
                  <a:pt x="1031" y="804"/>
                  <a:pt x="1031" y="804"/>
                  <a:pt x="1031" y="803"/>
                </a:cubicBezTo>
                <a:cubicBezTo>
                  <a:pt x="1031" y="803"/>
                  <a:pt x="1031" y="803"/>
                  <a:pt x="1030" y="803"/>
                </a:cubicBezTo>
                <a:cubicBezTo>
                  <a:pt x="1030" y="803"/>
                  <a:pt x="1030" y="803"/>
                  <a:pt x="1029" y="804"/>
                </a:cubicBezTo>
                <a:cubicBezTo>
                  <a:pt x="1029" y="804"/>
                  <a:pt x="1029" y="804"/>
                  <a:pt x="1030" y="804"/>
                </a:cubicBezTo>
                <a:cubicBezTo>
                  <a:pt x="1030" y="804"/>
                  <a:pt x="1030" y="804"/>
                  <a:pt x="1031" y="804"/>
                </a:cubicBezTo>
                <a:close/>
                <a:moveTo>
                  <a:pt x="910" y="719"/>
                </a:moveTo>
                <a:cubicBezTo>
                  <a:pt x="911" y="720"/>
                  <a:pt x="911" y="720"/>
                  <a:pt x="911" y="720"/>
                </a:cubicBezTo>
                <a:cubicBezTo>
                  <a:pt x="912" y="720"/>
                  <a:pt x="912" y="720"/>
                  <a:pt x="912" y="720"/>
                </a:cubicBezTo>
                <a:cubicBezTo>
                  <a:pt x="911" y="719"/>
                  <a:pt x="911" y="719"/>
                  <a:pt x="911" y="719"/>
                </a:cubicBezTo>
                <a:cubicBezTo>
                  <a:pt x="910" y="719"/>
                  <a:pt x="910" y="719"/>
                  <a:pt x="910" y="719"/>
                </a:cubicBezTo>
                <a:close/>
                <a:moveTo>
                  <a:pt x="923" y="722"/>
                </a:moveTo>
                <a:cubicBezTo>
                  <a:pt x="923" y="722"/>
                  <a:pt x="923" y="722"/>
                  <a:pt x="922" y="721"/>
                </a:cubicBezTo>
                <a:cubicBezTo>
                  <a:pt x="922" y="721"/>
                  <a:pt x="922" y="721"/>
                  <a:pt x="920" y="721"/>
                </a:cubicBezTo>
                <a:cubicBezTo>
                  <a:pt x="920" y="721"/>
                  <a:pt x="920" y="721"/>
                  <a:pt x="921" y="722"/>
                </a:cubicBezTo>
                <a:cubicBezTo>
                  <a:pt x="921" y="722"/>
                  <a:pt x="921" y="722"/>
                  <a:pt x="922" y="722"/>
                </a:cubicBezTo>
                <a:cubicBezTo>
                  <a:pt x="922" y="722"/>
                  <a:pt x="922" y="722"/>
                  <a:pt x="922" y="723"/>
                </a:cubicBezTo>
                <a:cubicBezTo>
                  <a:pt x="922" y="723"/>
                  <a:pt x="922" y="723"/>
                  <a:pt x="923" y="722"/>
                </a:cubicBezTo>
                <a:close/>
                <a:moveTo>
                  <a:pt x="949" y="730"/>
                </a:moveTo>
                <a:cubicBezTo>
                  <a:pt x="949" y="730"/>
                  <a:pt x="949" y="730"/>
                  <a:pt x="950" y="729"/>
                </a:cubicBezTo>
                <a:cubicBezTo>
                  <a:pt x="950" y="729"/>
                  <a:pt x="950" y="729"/>
                  <a:pt x="949" y="728"/>
                </a:cubicBezTo>
                <a:cubicBezTo>
                  <a:pt x="949" y="728"/>
                  <a:pt x="949" y="728"/>
                  <a:pt x="947" y="729"/>
                </a:cubicBezTo>
                <a:cubicBezTo>
                  <a:pt x="947" y="729"/>
                  <a:pt x="947" y="729"/>
                  <a:pt x="947" y="728"/>
                </a:cubicBezTo>
                <a:cubicBezTo>
                  <a:pt x="947" y="728"/>
                  <a:pt x="947" y="728"/>
                  <a:pt x="946" y="729"/>
                </a:cubicBezTo>
                <a:cubicBezTo>
                  <a:pt x="946" y="730"/>
                  <a:pt x="946" y="730"/>
                  <a:pt x="946" y="730"/>
                </a:cubicBezTo>
                <a:cubicBezTo>
                  <a:pt x="946" y="730"/>
                  <a:pt x="946" y="730"/>
                  <a:pt x="948" y="730"/>
                </a:cubicBezTo>
                <a:cubicBezTo>
                  <a:pt x="948" y="730"/>
                  <a:pt x="948" y="730"/>
                  <a:pt x="949" y="730"/>
                </a:cubicBezTo>
                <a:close/>
                <a:moveTo>
                  <a:pt x="916" y="720"/>
                </a:moveTo>
                <a:cubicBezTo>
                  <a:pt x="916" y="720"/>
                  <a:pt x="916" y="720"/>
                  <a:pt x="916" y="721"/>
                </a:cubicBezTo>
                <a:cubicBezTo>
                  <a:pt x="916" y="721"/>
                  <a:pt x="916" y="721"/>
                  <a:pt x="916" y="722"/>
                </a:cubicBezTo>
                <a:cubicBezTo>
                  <a:pt x="916" y="722"/>
                  <a:pt x="916" y="722"/>
                  <a:pt x="918" y="722"/>
                </a:cubicBezTo>
                <a:cubicBezTo>
                  <a:pt x="918" y="722"/>
                  <a:pt x="918" y="722"/>
                  <a:pt x="917" y="721"/>
                </a:cubicBezTo>
                <a:cubicBezTo>
                  <a:pt x="917" y="721"/>
                  <a:pt x="917" y="721"/>
                  <a:pt x="916" y="720"/>
                </a:cubicBezTo>
                <a:close/>
                <a:moveTo>
                  <a:pt x="845" y="821"/>
                </a:moveTo>
                <a:cubicBezTo>
                  <a:pt x="846" y="821"/>
                  <a:pt x="846" y="821"/>
                  <a:pt x="846" y="821"/>
                </a:cubicBezTo>
                <a:cubicBezTo>
                  <a:pt x="846" y="820"/>
                  <a:pt x="846" y="820"/>
                  <a:pt x="846" y="820"/>
                </a:cubicBezTo>
                <a:cubicBezTo>
                  <a:pt x="846" y="819"/>
                  <a:pt x="846" y="819"/>
                  <a:pt x="846" y="819"/>
                </a:cubicBezTo>
                <a:cubicBezTo>
                  <a:pt x="846" y="818"/>
                  <a:pt x="846" y="818"/>
                  <a:pt x="846" y="818"/>
                </a:cubicBezTo>
                <a:cubicBezTo>
                  <a:pt x="845" y="819"/>
                  <a:pt x="845" y="819"/>
                  <a:pt x="845" y="819"/>
                </a:cubicBezTo>
                <a:cubicBezTo>
                  <a:pt x="845" y="820"/>
                  <a:pt x="845" y="820"/>
                  <a:pt x="845" y="820"/>
                </a:cubicBezTo>
                <a:cubicBezTo>
                  <a:pt x="845" y="821"/>
                  <a:pt x="845" y="821"/>
                  <a:pt x="845" y="821"/>
                </a:cubicBezTo>
                <a:close/>
                <a:moveTo>
                  <a:pt x="988" y="1199"/>
                </a:moveTo>
                <a:cubicBezTo>
                  <a:pt x="986" y="1199"/>
                  <a:pt x="986" y="1199"/>
                  <a:pt x="986" y="1199"/>
                </a:cubicBezTo>
                <a:cubicBezTo>
                  <a:pt x="985" y="1200"/>
                  <a:pt x="985" y="1200"/>
                  <a:pt x="985" y="1200"/>
                </a:cubicBezTo>
                <a:cubicBezTo>
                  <a:pt x="986" y="1201"/>
                  <a:pt x="986" y="1201"/>
                  <a:pt x="986" y="1201"/>
                </a:cubicBezTo>
                <a:cubicBezTo>
                  <a:pt x="988" y="1200"/>
                  <a:pt x="988" y="1200"/>
                  <a:pt x="988" y="1200"/>
                </a:cubicBezTo>
                <a:cubicBezTo>
                  <a:pt x="989" y="1200"/>
                  <a:pt x="989" y="1200"/>
                  <a:pt x="989" y="1200"/>
                </a:cubicBezTo>
                <a:cubicBezTo>
                  <a:pt x="990" y="1198"/>
                  <a:pt x="990" y="1198"/>
                  <a:pt x="990" y="1198"/>
                </a:cubicBezTo>
                <a:cubicBezTo>
                  <a:pt x="989" y="1198"/>
                  <a:pt x="989" y="1198"/>
                  <a:pt x="989" y="1198"/>
                </a:cubicBezTo>
                <a:cubicBezTo>
                  <a:pt x="988" y="1199"/>
                  <a:pt x="988" y="1199"/>
                  <a:pt x="988" y="1199"/>
                </a:cubicBezTo>
                <a:close/>
                <a:moveTo>
                  <a:pt x="913" y="1111"/>
                </a:moveTo>
                <a:cubicBezTo>
                  <a:pt x="913" y="1111"/>
                  <a:pt x="913" y="1111"/>
                  <a:pt x="912" y="1112"/>
                </a:cubicBezTo>
                <a:cubicBezTo>
                  <a:pt x="912" y="1112"/>
                  <a:pt x="912" y="1112"/>
                  <a:pt x="913" y="1113"/>
                </a:cubicBezTo>
                <a:cubicBezTo>
                  <a:pt x="913" y="1113"/>
                  <a:pt x="913" y="1113"/>
                  <a:pt x="913" y="1111"/>
                </a:cubicBezTo>
                <a:close/>
                <a:moveTo>
                  <a:pt x="911" y="1110"/>
                </a:moveTo>
                <a:cubicBezTo>
                  <a:pt x="911" y="1110"/>
                  <a:pt x="911" y="1110"/>
                  <a:pt x="912" y="1109"/>
                </a:cubicBezTo>
                <a:cubicBezTo>
                  <a:pt x="912" y="1109"/>
                  <a:pt x="912" y="1109"/>
                  <a:pt x="911" y="1109"/>
                </a:cubicBezTo>
                <a:cubicBezTo>
                  <a:pt x="911" y="1109"/>
                  <a:pt x="911" y="1109"/>
                  <a:pt x="911" y="1110"/>
                </a:cubicBezTo>
                <a:close/>
                <a:moveTo>
                  <a:pt x="911" y="1106"/>
                </a:moveTo>
                <a:cubicBezTo>
                  <a:pt x="911" y="1106"/>
                  <a:pt x="911" y="1106"/>
                  <a:pt x="910" y="1107"/>
                </a:cubicBezTo>
                <a:cubicBezTo>
                  <a:pt x="910" y="1107"/>
                  <a:pt x="910" y="1107"/>
                  <a:pt x="911" y="1107"/>
                </a:cubicBezTo>
                <a:cubicBezTo>
                  <a:pt x="911" y="1107"/>
                  <a:pt x="911" y="1107"/>
                  <a:pt x="912" y="1107"/>
                </a:cubicBezTo>
                <a:cubicBezTo>
                  <a:pt x="912" y="1107"/>
                  <a:pt x="912" y="1107"/>
                  <a:pt x="911" y="1106"/>
                </a:cubicBezTo>
                <a:close/>
                <a:moveTo>
                  <a:pt x="909" y="1111"/>
                </a:moveTo>
                <a:cubicBezTo>
                  <a:pt x="909" y="1111"/>
                  <a:pt x="909" y="1111"/>
                  <a:pt x="910" y="1111"/>
                </a:cubicBezTo>
                <a:cubicBezTo>
                  <a:pt x="910" y="1111"/>
                  <a:pt x="910" y="1111"/>
                  <a:pt x="911" y="1111"/>
                </a:cubicBezTo>
                <a:cubicBezTo>
                  <a:pt x="911" y="1111"/>
                  <a:pt x="911" y="1111"/>
                  <a:pt x="910" y="1110"/>
                </a:cubicBezTo>
                <a:cubicBezTo>
                  <a:pt x="910" y="1110"/>
                  <a:pt x="910" y="1110"/>
                  <a:pt x="909" y="1111"/>
                </a:cubicBezTo>
                <a:close/>
                <a:moveTo>
                  <a:pt x="910" y="1115"/>
                </a:moveTo>
                <a:cubicBezTo>
                  <a:pt x="911" y="1116"/>
                  <a:pt x="911" y="1116"/>
                  <a:pt x="911" y="1116"/>
                </a:cubicBezTo>
                <a:cubicBezTo>
                  <a:pt x="911" y="1116"/>
                  <a:pt x="911" y="1116"/>
                  <a:pt x="911" y="1115"/>
                </a:cubicBezTo>
                <a:cubicBezTo>
                  <a:pt x="911" y="1115"/>
                  <a:pt x="911" y="1115"/>
                  <a:pt x="913" y="1115"/>
                </a:cubicBezTo>
                <a:cubicBezTo>
                  <a:pt x="913" y="1115"/>
                  <a:pt x="913" y="1115"/>
                  <a:pt x="913" y="1114"/>
                </a:cubicBezTo>
                <a:cubicBezTo>
                  <a:pt x="913" y="1114"/>
                  <a:pt x="913" y="1114"/>
                  <a:pt x="911" y="1114"/>
                </a:cubicBezTo>
                <a:cubicBezTo>
                  <a:pt x="911" y="1114"/>
                  <a:pt x="911" y="1114"/>
                  <a:pt x="910" y="1115"/>
                </a:cubicBezTo>
                <a:close/>
                <a:moveTo>
                  <a:pt x="912" y="1118"/>
                </a:moveTo>
                <a:cubicBezTo>
                  <a:pt x="912" y="1118"/>
                  <a:pt x="912" y="1118"/>
                  <a:pt x="913" y="1119"/>
                </a:cubicBezTo>
                <a:cubicBezTo>
                  <a:pt x="913" y="1119"/>
                  <a:pt x="913" y="1119"/>
                  <a:pt x="913" y="1120"/>
                </a:cubicBezTo>
                <a:cubicBezTo>
                  <a:pt x="913" y="1120"/>
                  <a:pt x="913" y="1120"/>
                  <a:pt x="914" y="1121"/>
                </a:cubicBezTo>
                <a:cubicBezTo>
                  <a:pt x="914" y="1121"/>
                  <a:pt x="914" y="1121"/>
                  <a:pt x="915" y="1120"/>
                </a:cubicBezTo>
                <a:cubicBezTo>
                  <a:pt x="915" y="1120"/>
                  <a:pt x="915" y="1120"/>
                  <a:pt x="915" y="1118"/>
                </a:cubicBezTo>
                <a:cubicBezTo>
                  <a:pt x="915" y="1118"/>
                  <a:pt x="915" y="1118"/>
                  <a:pt x="913" y="1118"/>
                </a:cubicBezTo>
                <a:cubicBezTo>
                  <a:pt x="913" y="1118"/>
                  <a:pt x="913" y="1118"/>
                  <a:pt x="912" y="1118"/>
                </a:cubicBezTo>
                <a:close/>
                <a:moveTo>
                  <a:pt x="912" y="1092"/>
                </a:moveTo>
                <a:cubicBezTo>
                  <a:pt x="912" y="1092"/>
                  <a:pt x="912" y="1092"/>
                  <a:pt x="911" y="1091"/>
                </a:cubicBezTo>
                <a:cubicBezTo>
                  <a:pt x="911" y="1091"/>
                  <a:pt x="911" y="1091"/>
                  <a:pt x="910" y="1090"/>
                </a:cubicBezTo>
                <a:cubicBezTo>
                  <a:pt x="910" y="1090"/>
                  <a:pt x="910" y="1090"/>
                  <a:pt x="909" y="1090"/>
                </a:cubicBezTo>
                <a:cubicBezTo>
                  <a:pt x="909" y="1090"/>
                  <a:pt x="909" y="1090"/>
                  <a:pt x="908" y="1091"/>
                </a:cubicBezTo>
                <a:cubicBezTo>
                  <a:pt x="908" y="1091"/>
                  <a:pt x="908" y="1091"/>
                  <a:pt x="908" y="1092"/>
                </a:cubicBezTo>
                <a:cubicBezTo>
                  <a:pt x="908" y="1092"/>
                  <a:pt x="908" y="1092"/>
                  <a:pt x="908" y="1093"/>
                </a:cubicBezTo>
                <a:cubicBezTo>
                  <a:pt x="908" y="1093"/>
                  <a:pt x="908" y="1093"/>
                  <a:pt x="907" y="1094"/>
                </a:cubicBezTo>
                <a:cubicBezTo>
                  <a:pt x="907" y="1094"/>
                  <a:pt x="907" y="1094"/>
                  <a:pt x="907" y="1095"/>
                </a:cubicBezTo>
                <a:cubicBezTo>
                  <a:pt x="907" y="1095"/>
                  <a:pt x="907" y="1095"/>
                  <a:pt x="907" y="1096"/>
                </a:cubicBezTo>
                <a:cubicBezTo>
                  <a:pt x="907" y="1096"/>
                  <a:pt x="907" y="1096"/>
                  <a:pt x="908" y="1096"/>
                </a:cubicBezTo>
                <a:cubicBezTo>
                  <a:pt x="908" y="1096"/>
                  <a:pt x="908" y="1096"/>
                  <a:pt x="908" y="1097"/>
                </a:cubicBezTo>
                <a:cubicBezTo>
                  <a:pt x="908" y="1097"/>
                  <a:pt x="908" y="1097"/>
                  <a:pt x="908" y="1101"/>
                </a:cubicBezTo>
                <a:cubicBezTo>
                  <a:pt x="908" y="1101"/>
                  <a:pt x="908" y="1101"/>
                  <a:pt x="908" y="1103"/>
                </a:cubicBezTo>
                <a:cubicBezTo>
                  <a:pt x="908" y="1103"/>
                  <a:pt x="908" y="1103"/>
                  <a:pt x="909" y="1103"/>
                </a:cubicBezTo>
                <a:cubicBezTo>
                  <a:pt x="909" y="1103"/>
                  <a:pt x="909" y="1103"/>
                  <a:pt x="911" y="1103"/>
                </a:cubicBezTo>
                <a:cubicBezTo>
                  <a:pt x="911" y="1103"/>
                  <a:pt x="911" y="1103"/>
                  <a:pt x="911" y="1101"/>
                </a:cubicBezTo>
                <a:cubicBezTo>
                  <a:pt x="911" y="1101"/>
                  <a:pt x="911" y="1101"/>
                  <a:pt x="912" y="1100"/>
                </a:cubicBezTo>
                <a:cubicBezTo>
                  <a:pt x="912" y="1100"/>
                  <a:pt x="912" y="1100"/>
                  <a:pt x="913" y="1101"/>
                </a:cubicBezTo>
                <a:cubicBezTo>
                  <a:pt x="913" y="1101"/>
                  <a:pt x="913" y="1101"/>
                  <a:pt x="912" y="1099"/>
                </a:cubicBezTo>
                <a:cubicBezTo>
                  <a:pt x="912" y="1099"/>
                  <a:pt x="912" y="1099"/>
                  <a:pt x="911" y="1097"/>
                </a:cubicBezTo>
                <a:cubicBezTo>
                  <a:pt x="911" y="1097"/>
                  <a:pt x="911" y="1097"/>
                  <a:pt x="912" y="1097"/>
                </a:cubicBezTo>
                <a:cubicBezTo>
                  <a:pt x="912" y="1097"/>
                  <a:pt x="912" y="1097"/>
                  <a:pt x="913" y="1097"/>
                </a:cubicBezTo>
                <a:cubicBezTo>
                  <a:pt x="913" y="1097"/>
                  <a:pt x="913" y="1097"/>
                  <a:pt x="912" y="1096"/>
                </a:cubicBezTo>
                <a:cubicBezTo>
                  <a:pt x="912" y="1096"/>
                  <a:pt x="912" y="1096"/>
                  <a:pt x="912" y="1094"/>
                </a:cubicBezTo>
                <a:cubicBezTo>
                  <a:pt x="912" y="1094"/>
                  <a:pt x="912" y="1094"/>
                  <a:pt x="912" y="1092"/>
                </a:cubicBezTo>
                <a:close/>
                <a:moveTo>
                  <a:pt x="915" y="1095"/>
                </a:moveTo>
                <a:cubicBezTo>
                  <a:pt x="915" y="1095"/>
                  <a:pt x="915" y="1095"/>
                  <a:pt x="915" y="1094"/>
                </a:cubicBezTo>
                <a:cubicBezTo>
                  <a:pt x="915" y="1094"/>
                  <a:pt x="915" y="1094"/>
                  <a:pt x="914" y="1094"/>
                </a:cubicBezTo>
                <a:cubicBezTo>
                  <a:pt x="914" y="1094"/>
                  <a:pt x="914" y="1094"/>
                  <a:pt x="915" y="1095"/>
                </a:cubicBezTo>
                <a:close/>
                <a:moveTo>
                  <a:pt x="914" y="1143"/>
                </a:moveTo>
                <a:cubicBezTo>
                  <a:pt x="914" y="1143"/>
                  <a:pt x="914" y="1143"/>
                  <a:pt x="913" y="1141"/>
                </a:cubicBezTo>
                <a:cubicBezTo>
                  <a:pt x="913" y="1141"/>
                  <a:pt x="913" y="1141"/>
                  <a:pt x="912" y="1141"/>
                </a:cubicBezTo>
                <a:cubicBezTo>
                  <a:pt x="912" y="1141"/>
                  <a:pt x="912" y="1141"/>
                  <a:pt x="911" y="1141"/>
                </a:cubicBezTo>
                <a:cubicBezTo>
                  <a:pt x="911" y="1141"/>
                  <a:pt x="911" y="1141"/>
                  <a:pt x="911" y="1142"/>
                </a:cubicBezTo>
                <a:cubicBezTo>
                  <a:pt x="911" y="1142"/>
                  <a:pt x="911" y="1142"/>
                  <a:pt x="912" y="1143"/>
                </a:cubicBezTo>
                <a:cubicBezTo>
                  <a:pt x="912" y="1143"/>
                  <a:pt x="912" y="1143"/>
                  <a:pt x="914" y="1145"/>
                </a:cubicBezTo>
                <a:cubicBezTo>
                  <a:pt x="914" y="1145"/>
                  <a:pt x="914" y="1145"/>
                  <a:pt x="914" y="1146"/>
                </a:cubicBezTo>
                <a:cubicBezTo>
                  <a:pt x="914" y="1146"/>
                  <a:pt x="914" y="1146"/>
                  <a:pt x="914" y="1147"/>
                </a:cubicBezTo>
                <a:cubicBezTo>
                  <a:pt x="914" y="1147"/>
                  <a:pt x="914" y="1147"/>
                  <a:pt x="915" y="1147"/>
                </a:cubicBezTo>
                <a:cubicBezTo>
                  <a:pt x="915" y="1147"/>
                  <a:pt x="915" y="1147"/>
                  <a:pt x="917" y="1147"/>
                </a:cubicBezTo>
                <a:cubicBezTo>
                  <a:pt x="917" y="1147"/>
                  <a:pt x="917" y="1147"/>
                  <a:pt x="916" y="1145"/>
                </a:cubicBezTo>
                <a:cubicBezTo>
                  <a:pt x="916" y="1145"/>
                  <a:pt x="916" y="1145"/>
                  <a:pt x="915" y="1144"/>
                </a:cubicBezTo>
                <a:cubicBezTo>
                  <a:pt x="915" y="1144"/>
                  <a:pt x="915" y="1144"/>
                  <a:pt x="915" y="1143"/>
                </a:cubicBezTo>
                <a:cubicBezTo>
                  <a:pt x="915" y="1143"/>
                  <a:pt x="915" y="1143"/>
                  <a:pt x="914" y="1143"/>
                </a:cubicBezTo>
                <a:close/>
                <a:moveTo>
                  <a:pt x="913" y="1117"/>
                </a:moveTo>
                <a:cubicBezTo>
                  <a:pt x="913" y="1117"/>
                  <a:pt x="913" y="1117"/>
                  <a:pt x="913" y="1116"/>
                </a:cubicBezTo>
                <a:cubicBezTo>
                  <a:pt x="913" y="1116"/>
                  <a:pt x="913" y="1116"/>
                  <a:pt x="912" y="1116"/>
                </a:cubicBezTo>
                <a:cubicBezTo>
                  <a:pt x="912" y="1116"/>
                  <a:pt x="912" y="1116"/>
                  <a:pt x="911" y="1117"/>
                </a:cubicBezTo>
                <a:cubicBezTo>
                  <a:pt x="911" y="1117"/>
                  <a:pt x="911" y="1117"/>
                  <a:pt x="912" y="1117"/>
                </a:cubicBezTo>
                <a:cubicBezTo>
                  <a:pt x="912" y="1117"/>
                  <a:pt x="912" y="1117"/>
                  <a:pt x="913" y="1117"/>
                </a:cubicBezTo>
                <a:close/>
                <a:moveTo>
                  <a:pt x="922" y="1180"/>
                </a:moveTo>
                <a:cubicBezTo>
                  <a:pt x="922" y="1180"/>
                  <a:pt x="922" y="1180"/>
                  <a:pt x="922" y="1181"/>
                </a:cubicBezTo>
                <a:cubicBezTo>
                  <a:pt x="922" y="1181"/>
                  <a:pt x="922" y="1181"/>
                  <a:pt x="923" y="1181"/>
                </a:cubicBezTo>
                <a:cubicBezTo>
                  <a:pt x="923" y="1181"/>
                  <a:pt x="923" y="1181"/>
                  <a:pt x="923" y="1179"/>
                </a:cubicBezTo>
                <a:cubicBezTo>
                  <a:pt x="923" y="1179"/>
                  <a:pt x="923" y="1179"/>
                  <a:pt x="923" y="1178"/>
                </a:cubicBezTo>
                <a:cubicBezTo>
                  <a:pt x="923" y="1178"/>
                  <a:pt x="923" y="1178"/>
                  <a:pt x="922" y="1179"/>
                </a:cubicBezTo>
                <a:cubicBezTo>
                  <a:pt x="922" y="1179"/>
                  <a:pt x="922" y="1179"/>
                  <a:pt x="922" y="1180"/>
                </a:cubicBezTo>
                <a:close/>
                <a:moveTo>
                  <a:pt x="915" y="1108"/>
                </a:moveTo>
                <a:cubicBezTo>
                  <a:pt x="915" y="1108"/>
                  <a:pt x="915" y="1108"/>
                  <a:pt x="916" y="1107"/>
                </a:cubicBezTo>
                <a:cubicBezTo>
                  <a:pt x="916" y="1107"/>
                  <a:pt x="916" y="1107"/>
                  <a:pt x="915" y="1107"/>
                </a:cubicBezTo>
                <a:cubicBezTo>
                  <a:pt x="915" y="1107"/>
                  <a:pt x="915" y="1107"/>
                  <a:pt x="915" y="1108"/>
                </a:cubicBezTo>
                <a:close/>
                <a:moveTo>
                  <a:pt x="945" y="1198"/>
                </a:moveTo>
                <a:cubicBezTo>
                  <a:pt x="945" y="1198"/>
                  <a:pt x="945" y="1198"/>
                  <a:pt x="946" y="1197"/>
                </a:cubicBezTo>
                <a:cubicBezTo>
                  <a:pt x="946" y="1197"/>
                  <a:pt x="946" y="1197"/>
                  <a:pt x="946" y="1198"/>
                </a:cubicBezTo>
                <a:cubicBezTo>
                  <a:pt x="946" y="1198"/>
                  <a:pt x="946" y="1198"/>
                  <a:pt x="947" y="1198"/>
                </a:cubicBezTo>
                <a:cubicBezTo>
                  <a:pt x="947" y="1198"/>
                  <a:pt x="947" y="1198"/>
                  <a:pt x="948" y="1198"/>
                </a:cubicBezTo>
                <a:cubicBezTo>
                  <a:pt x="948" y="1198"/>
                  <a:pt x="948" y="1198"/>
                  <a:pt x="948" y="1197"/>
                </a:cubicBezTo>
                <a:cubicBezTo>
                  <a:pt x="948" y="1197"/>
                  <a:pt x="948" y="1197"/>
                  <a:pt x="948" y="1196"/>
                </a:cubicBezTo>
                <a:cubicBezTo>
                  <a:pt x="948" y="1196"/>
                  <a:pt x="948" y="1196"/>
                  <a:pt x="947" y="1196"/>
                </a:cubicBezTo>
                <a:cubicBezTo>
                  <a:pt x="947" y="1196"/>
                  <a:pt x="947" y="1196"/>
                  <a:pt x="946" y="1196"/>
                </a:cubicBezTo>
                <a:cubicBezTo>
                  <a:pt x="946" y="1196"/>
                  <a:pt x="946" y="1196"/>
                  <a:pt x="944" y="1195"/>
                </a:cubicBezTo>
                <a:cubicBezTo>
                  <a:pt x="944" y="1195"/>
                  <a:pt x="944" y="1195"/>
                  <a:pt x="943" y="1195"/>
                </a:cubicBezTo>
                <a:cubicBezTo>
                  <a:pt x="943" y="1195"/>
                  <a:pt x="943" y="1195"/>
                  <a:pt x="942" y="1196"/>
                </a:cubicBezTo>
                <a:cubicBezTo>
                  <a:pt x="942" y="1196"/>
                  <a:pt x="942" y="1196"/>
                  <a:pt x="942" y="1197"/>
                </a:cubicBezTo>
                <a:cubicBezTo>
                  <a:pt x="942" y="1197"/>
                  <a:pt x="942" y="1197"/>
                  <a:pt x="943" y="1198"/>
                </a:cubicBezTo>
                <a:cubicBezTo>
                  <a:pt x="943" y="1198"/>
                  <a:pt x="943" y="1198"/>
                  <a:pt x="943" y="1197"/>
                </a:cubicBezTo>
                <a:cubicBezTo>
                  <a:pt x="943" y="1197"/>
                  <a:pt x="943" y="1197"/>
                  <a:pt x="945" y="1197"/>
                </a:cubicBezTo>
                <a:cubicBezTo>
                  <a:pt x="945" y="1197"/>
                  <a:pt x="945" y="1197"/>
                  <a:pt x="945" y="1198"/>
                </a:cubicBezTo>
                <a:close/>
                <a:moveTo>
                  <a:pt x="934" y="1191"/>
                </a:moveTo>
                <a:cubicBezTo>
                  <a:pt x="934" y="1191"/>
                  <a:pt x="934" y="1191"/>
                  <a:pt x="934" y="1190"/>
                </a:cubicBezTo>
                <a:cubicBezTo>
                  <a:pt x="934" y="1190"/>
                  <a:pt x="934" y="1190"/>
                  <a:pt x="933" y="1190"/>
                </a:cubicBezTo>
                <a:cubicBezTo>
                  <a:pt x="933" y="1190"/>
                  <a:pt x="933" y="1190"/>
                  <a:pt x="932" y="1189"/>
                </a:cubicBezTo>
                <a:cubicBezTo>
                  <a:pt x="932" y="1189"/>
                  <a:pt x="932" y="1189"/>
                  <a:pt x="930" y="1189"/>
                </a:cubicBezTo>
                <a:cubicBezTo>
                  <a:pt x="930" y="1189"/>
                  <a:pt x="930" y="1189"/>
                  <a:pt x="929" y="1188"/>
                </a:cubicBezTo>
                <a:cubicBezTo>
                  <a:pt x="929" y="1188"/>
                  <a:pt x="929" y="1188"/>
                  <a:pt x="928" y="1188"/>
                </a:cubicBezTo>
                <a:cubicBezTo>
                  <a:pt x="928" y="1188"/>
                  <a:pt x="928" y="1188"/>
                  <a:pt x="927" y="1188"/>
                </a:cubicBezTo>
                <a:cubicBezTo>
                  <a:pt x="927" y="1188"/>
                  <a:pt x="927" y="1188"/>
                  <a:pt x="926" y="1187"/>
                </a:cubicBezTo>
                <a:cubicBezTo>
                  <a:pt x="926" y="1187"/>
                  <a:pt x="926" y="1187"/>
                  <a:pt x="925" y="1186"/>
                </a:cubicBezTo>
                <a:cubicBezTo>
                  <a:pt x="925" y="1186"/>
                  <a:pt x="925" y="1186"/>
                  <a:pt x="924" y="1185"/>
                </a:cubicBezTo>
                <a:cubicBezTo>
                  <a:pt x="924" y="1185"/>
                  <a:pt x="924" y="1185"/>
                  <a:pt x="924" y="1186"/>
                </a:cubicBezTo>
                <a:cubicBezTo>
                  <a:pt x="924" y="1186"/>
                  <a:pt x="924" y="1186"/>
                  <a:pt x="924" y="1187"/>
                </a:cubicBezTo>
                <a:cubicBezTo>
                  <a:pt x="924" y="1187"/>
                  <a:pt x="924" y="1187"/>
                  <a:pt x="925" y="1189"/>
                </a:cubicBezTo>
                <a:cubicBezTo>
                  <a:pt x="925" y="1189"/>
                  <a:pt x="925" y="1189"/>
                  <a:pt x="926" y="1189"/>
                </a:cubicBezTo>
                <a:cubicBezTo>
                  <a:pt x="926" y="1189"/>
                  <a:pt x="926" y="1189"/>
                  <a:pt x="928" y="1190"/>
                </a:cubicBezTo>
                <a:cubicBezTo>
                  <a:pt x="928" y="1190"/>
                  <a:pt x="928" y="1190"/>
                  <a:pt x="929" y="1190"/>
                </a:cubicBezTo>
                <a:cubicBezTo>
                  <a:pt x="929" y="1190"/>
                  <a:pt x="929" y="1190"/>
                  <a:pt x="930" y="1190"/>
                </a:cubicBezTo>
                <a:cubicBezTo>
                  <a:pt x="930" y="1190"/>
                  <a:pt x="930" y="1190"/>
                  <a:pt x="932" y="1191"/>
                </a:cubicBezTo>
                <a:cubicBezTo>
                  <a:pt x="932" y="1191"/>
                  <a:pt x="932" y="1191"/>
                  <a:pt x="933" y="1191"/>
                </a:cubicBezTo>
                <a:cubicBezTo>
                  <a:pt x="933" y="1191"/>
                  <a:pt x="933" y="1191"/>
                  <a:pt x="934" y="1191"/>
                </a:cubicBezTo>
                <a:close/>
                <a:moveTo>
                  <a:pt x="912" y="1121"/>
                </a:moveTo>
                <a:cubicBezTo>
                  <a:pt x="912" y="1121"/>
                  <a:pt x="912" y="1121"/>
                  <a:pt x="912" y="1120"/>
                </a:cubicBezTo>
                <a:cubicBezTo>
                  <a:pt x="912" y="1120"/>
                  <a:pt x="912" y="1120"/>
                  <a:pt x="911" y="1120"/>
                </a:cubicBezTo>
                <a:cubicBezTo>
                  <a:pt x="911" y="1120"/>
                  <a:pt x="911" y="1120"/>
                  <a:pt x="912" y="1121"/>
                </a:cubicBezTo>
                <a:close/>
                <a:moveTo>
                  <a:pt x="940" y="1198"/>
                </a:moveTo>
                <a:cubicBezTo>
                  <a:pt x="940" y="1199"/>
                  <a:pt x="940" y="1199"/>
                  <a:pt x="940" y="1199"/>
                </a:cubicBezTo>
                <a:cubicBezTo>
                  <a:pt x="941" y="1199"/>
                  <a:pt x="941" y="1199"/>
                  <a:pt x="941" y="1199"/>
                </a:cubicBezTo>
                <a:cubicBezTo>
                  <a:pt x="942" y="1198"/>
                  <a:pt x="942" y="1198"/>
                  <a:pt x="942" y="1198"/>
                </a:cubicBezTo>
                <a:cubicBezTo>
                  <a:pt x="942" y="1197"/>
                  <a:pt x="942" y="1197"/>
                  <a:pt x="942" y="1197"/>
                </a:cubicBezTo>
                <a:cubicBezTo>
                  <a:pt x="941" y="1197"/>
                  <a:pt x="941" y="1197"/>
                  <a:pt x="941" y="1197"/>
                </a:cubicBezTo>
                <a:cubicBezTo>
                  <a:pt x="940" y="1198"/>
                  <a:pt x="940" y="1198"/>
                  <a:pt x="940" y="1198"/>
                </a:cubicBezTo>
                <a:close/>
                <a:moveTo>
                  <a:pt x="940" y="1196"/>
                </a:moveTo>
                <a:cubicBezTo>
                  <a:pt x="940" y="1196"/>
                  <a:pt x="940" y="1196"/>
                  <a:pt x="940" y="1195"/>
                </a:cubicBezTo>
                <a:cubicBezTo>
                  <a:pt x="940" y="1195"/>
                  <a:pt x="940" y="1195"/>
                  <a:pt x="941" y="1195"/>
                </a:cubicBezTo>
                <a:cubicBezTo>
                  <a:pt x="941" y="1195"/>
                  <a:pt x="941" y="1195"/>
                  <a:pt x="941" y="1194"/>
                </a:cubicBezTo>
                <a:cubicBezTo>
                  <a:pt x="941" y="1194"/>
                  <a:pt x="941" y="1194"/>
                  <a:pt x="940" y="1194"/>
                </a:cubicBezTo>
                <a:cubicBezTo>
                  <a:pt x="940" y="1194"/>
                  <a:pt x="940" y="1194"/>
                  <a:pt x="939" y="1194"/>
                </a:cubicBezTo>
                <a:cubicBezTo>
                  <a:pt x="939" y="1194"/>
                  <a:pt x="939" y="1194"/>
                  <a:pt x="938" y="1193"/>
                </a:cubicBezTo>
                <a:cubicBezTo>
                  <a:pt x="938" y="1193"/>
                  <a:pt x="938" y="1193"/>
                  <a:pt x="937" y="1193"/>
                </a:cubicBezTo>
                <a:cubicBezTo>
                  <a:pt x="937" y="1193"/>
                  <a:pt x="937" y="1193"/>
                  <a:pt x="936" y="1192"/>
                </a:cubicBezTo>
                <a:cubicBezTo>
                  <a:pt x="936" y="1192"/>
                  <a:pt x="936" y="1192"/>
                  <a:pt x="934" y="1192"/>
                </a:cubicBezTo>
                <a:cubicBezTo>
                  <a:pt x="934" y="1192"/>
                  <a:pt x="934" y="1192"/>
                  <a:pt x="933" y="1192"/>
                </a:cubicBezTo>
                <a:cubicBezTo>
                  <a:pt x="933" y="1192"/>
                  <a:pt x="933" y="1192"/>
                  <a:pt x="932" y="1191"/>
                </a:cubicBezTo>
                <a:cubicBezTo>
                  <a:pt x="932" y="1191"/>
                  <a:pt x="932" y="1191"/>
                  <a:pt x="931" y="1191"/>
                </a:cubicBezTo>
                <a:cubicBezTo>
                  <a:pt x="931" y="1191"/>
                  <a:pt x="931" y="1191"/>
                  <a:pt x="931" y="1192"/>
                </a:cubicBezTo>
                <a:cubicBezTo>
                  <a:pt x="931" y="1192"/>
                  <a:pt x="931" y="1192"/>
                  <a:pt x="932" y="1193"/>
                </a:cubicBezTo>
                <a:cubicBezTo>
                  <a:pt x="932" y="1193"/>
                  <a:pt x="932" y="1193"/>
                  <a:pt x="932" y="1194"/>
                </a:cubicBezTo>
                <a:cubicBezTo>
                  <a:pt x="932" y="1194"/>
                  <a:pt x="932" y="1194"/>
                  <a:pt x="934" y="1195"/>
                </a:cubicBezTo>
                <a:cubicBezTo>
                  <a:pt x="934" y="1195"/>
                  <a:pt x="934" y="1195"/>
                  <a:pt x="935" y="1196"/>
                </a:cubicBezTo>
                <a:cubicBezTo>
                  <a:pt x="935" y="1196"/>
                  <a:pt x="935" y="1196"/>
                  <a:pt x="936" y="1196"/>
                </a:cubicBezTo>
                <a:cubicBezTo>
                  <a:pt x="936" y="1196"/>
                  <a:pt x="936" y="1196"/>
                  <a:pt x="937" y="1196"/>
                </a:cubicBezTo>
                <a:cubicBezTo>
                  <a:pt x="937" y="1196"/>
                  <a:pt x="937" y="1196"/>
                  <a:pt x="938" y="1196"/>
                </a:cubicBezTo>
                <a:cubicBezTo>
                  <a:pt x="938" y="1196"/>
                  <a:pt x="938" y="1196"/>
                  <a:pt x="938" y="1197"/>
                </a:cubicBezTo>
                <a:cubicBezTo>
                  <a:pt x="938" y="1197"/>
                  <a:pt x="938" y="1197"/>
                  <a:pt x="939" y="1198"/>
                </a:cubicBezTo>
                <a:cubicBezTo>
                  <a:pt x="939" y="1198"/>
                  <a:pt x="939" y="1198"/>
                  <a:pt x="940" y="1198"/>
                </a:cubicBezTo>
                <a:cubicBezTo>
                  <a:pt x="940" y="1198"/>
                  <a:pt x="940" y="1198"/>
                  <a:pt x="939" y="1197"/>
                </a:cubicBezTo>
                <a:cubicBezTo>
                  <a:pt x="939" y="1197"/>
                  <a:pt x="939" y="1197"/>
                  <a:pt x="940" y="1196"/>
                </a:cubicBezTo>
                <a:close/>
                <a:moveTo>
                  <a:pt x="937" y="1197"/>
                </a:moveTo>
                <a:cubicBezTo>
                  <a:pt x="937" y="1196"/>
                  <a:pt x="937" y="1196"/>
                  <a:pt x="937" y="1196"/>
                </a:cubicBezTo>
                <a:cubicBezTo>
                  <a:pt x="936" y="1197"/>
                  <a:pt x="936" y="1197"/>
                  <a:pt x="936" y="1197"/>
                </a:cubicBezTo>
                <a:cubicBezTo>
                  <a:pt x="937" y="1197"/>
                  <a:pt x="937" y="1197"/>
                  <a:pt x="937" y="1197"/>
                </a:cubicBezTo>
                <a:close/>
                <a:moveTo>
                  <a:pt x="927" y="1192"/>
                </a:moveTo>
                <a:cubicBezTo>
                  <a:pt x="927" y="1192"/>
                  <a:pt x="927" y="1192"/>
                  <a:pt x="929" y="1192"/>
                </a:cubicBezTo>
                <a:cubicBezTo>
                  <a:pt x="928" y="1191"/>
                  <a:pt x="928" y="1191"/>
                  <a:pt x="928" y="1191"/>
                </a:cubicBezTo>
                <a:cubicBezTo>
                  <a:pt x="928" y="1191"/>
                  <a:pt x="928" y="1191"/>
                  <a:pt x="927" y="1192"/>
                </a:cubicBezTo>
                <a:close/>
                <a:moveTo>
                  <a:pt x="917" y="1162"/>
                </a:moveTo>
                <a:cubicBezTo>
                  <a:pt x="917" y="1162"/>
                  <a:pt x="917" y="1162"/>
                  <a:pt x="917" y="1161"/>
                </a:cubicBezTo>
                <a:cubicBezTo>
                  <a:pt x="917" y="1161"/>
                  <a:pt x="917" y="1161"/>
                  <a:pt x="916" y="1161"/>
                </a:cubicBezTo>
                <a:cubicBezTo>
                  <a:pt x="916" y="1161"/>
                  <a:pt x="916" y="1161"/>
                  <a:pt x="915" y="1161"/>
                </a:cubicBezTo>
                <a:cubicBezTo>
                  <a:pt x="915" y="1161"/>
                  <a:pt x="915" y="1161"/>
                  <a:pt x="915" y="1162"/>
                </a:cubicBezTo>
                <a:cubicBezTo>
                  <a:pt x="915" y="1162"/>
                  <a:pt x="915" y="1162"/>
                  <a:pt x="914" y="1162"/>
                </a:cubicBezTo>
                <a:cubicBezTo>
                  <a:pt x="914" y="1162"/>
                  <a:pt x="914" y="1162"/>
                  <a:pt x="915" y="1163"/>
                </a:cubicBezTo>
                <a:cubicBezTo>
                  <a:pt x="915" y="1163"/>
                  <a:pt x="915" y="1163"/>
                  <a:pt x="915" y="1164"/>
                </a:cubicBezTo>
                <a:cubicBezTo>
                  <a:pt x="915" y="1164"/>
                  <a:pt x="915" y="1164"/>
                  <a:pt x="916" y="1164"/>
                </a:cubicBezTo>
                <a:cubicBezTo>
                  <a:pt x="916" y="1164"/>
                  <a:pt x="916" y="1164"/>
                  <a:pt x="917" y="1163"/>
                </a:cubicBezTo>
                <a:cubicBezTo>
                  <a:pt x="917" y="1163"/>
                  <a:pt x="917" y="1163"/>
                  <a:pt x="917" y="1162"/>
                </a:cubicBezTo>
                <a:close/>
                <a:moveTo>
                  <a:pt x="910" y="1113"/>
                </a:moveTo>
                <a:cubicBezTo>
                  <a:pt x="910" y="1113"/>
                  <a:pt x="910" y="1113"/>
                  <a:pt x="911" y="1113"/>
                </a:cubicBezTo>
                <a:cubicBezTo>
                  <a:pt x="911" y="1113"/>
                  <a:pt x="911" y="1113"/>
                  <a:pt x="910" y="1112"/>
                </a:cubicBezTo>
                <a:cubicBezTo>
                  <a:pt x="910" y="1112"/>
                  <a:pt x="910" y="1112"/>
                  <a:pt x="909" y="1112"/>
                </a:cubicBezTo>
                <a:cubicBezTo>
                  <a:pt x="909" y="1112"/>
                  <a:pt x="909" y="1112"/>
                  <a:pt x="909" y="1113"/>
                </a:cubicBezTo>
                <a:cubicBezTo>
                  <a:pt x="909" y="1113"/>
                  <a:pt x="909" y="1113"/>
                  <a:pt x="909" y="1114"/>
                </a:cubicBezTo>
                <a:cubicBezTo>
                  <a:pt x="909" y="1114"/>
                  <a:pt x="909" y="1114"/>
                  <a:pt x="910" y="1113"/>
                </a:cubicBezTo>
                <a:close/>
                <a:moveTo>
                  <a:pt x="906" y="1106"/>
                </a:moveTo>
                <a:cubicBezTo>
                  <a:pt x="906" y="1106"/>
                  <a:pt x="906" y="1106"/>
                  <a:pt x="907" y="1107"/>
                </a:cubicBezTo>
                <a:cubicBezTo>
                  <a:pt x="907" y="1107"/>
                  <a:pt x="907" y="1107"/>
                  <a:pt x="909" y="1106"/>
                </a:cubicBezTo>
                <a:cubicBezTo>
                  <a:pt x="909" y="1106"/>
                  <a:pt x="909" y="1106"/>
                  <a:pt x="908" y="1105"/>
                </a:cubicBezTo>
                <a:cubicBezTo>
                  <a:pt x="908" y="1105"/>
                  <a:pt x="908" y="1105"/>
                  <a:pt x="907" y="1105"/>
                </a:cubicBezTo>
                <a:cubicBezTo>
                  <a:pt x="907" y="1105"/>
                  <a:pt x="907" y="1105"/>
                  <a:pt x="906" y="1106"/>
                </a:cubicBezTo>
                <a:close/>
                <a:moveTo>
                  <a:pt x="912" y="1108"/>
                </a:moveTo>
                <a:cubicBezTo>
                  <a:pt x="912" y="1108"/>
                  <a:pt x="912" y="1108"/>
                  <a:pt x="913" y="1108"/>
                </a:cubicBezTo>
                <a:cubicBezTo>
                  <a:pt x="913" y="1108"/>
                  <a:pt x="913" y="1108"/>
                  <a:pt x="913" y="1109"/>
                </a:cubicBezTo>
                <a:cubicBezTo>
                  <a:pt x="913" y="1109"/>
                  <a:pt x="913" y="1109"/>
                  <a:pt x="914" y="1109"/>
                </a:cubicBezTo>
                <a:cubicBezTo>
                  <a:pt x="914" y="1109"/>
                  <a:pt x="914" y="1109"/>
                  <a:pt x="914" y="1107"/>
                </a:cubicBezTo>
                <a:cubicBezTo>
                  <a:pt x="914" y="1107"/>
                  <a:pt x="914" y="1107"/>
                  <a:pt x="913" y="1107"/>
                </a:cubicBezTo>
                <a:cubicBezTo>
                  <a:pt x="913" y="1107"/>
                  <a:pt x="913" y="1107"/>
                  <a:pt x="912" y="1108"/>
                </a:cubicBezTo>
                <a:close/>
                <a:moveTo>
                  <a:pt x="905" y="1115"/>
                </a:moveTo>
                <a:cubicBezTo>
                  <a:pt x="905" y="1115"/>
                  <a:pt x="905" y="1115"/>
                  <a:pt x="907" y="1116"/>
                </a:cubicBezTo>
                <a:cubicBezTo>
                  <a:pt x="907" y="1116"/>
                  <a:pt x="907" y="1116"/>
                  <a:pt x="907" y="1115"/>
                </a:cubicBezTo>
                <a:cubicBezTo>
                  <a:pt x="907" y="1115"/>
                  <a:pt x="907" y="1115"/>
                  <a:pt x="907" y="1114"/>
                </a:cubicBezTo>
                <a:cubicBezTo>
                  <a:pt x="907" y="1114"/>
                  <a:pt x="907" y="1114"/>
                  <a:pt x="905" y="1114"/>
                </a:cubicBezTo>
                <a:cubicBezTo>
                  <a:pt x="905" y="1114"/>
                  <a:pt x="905" y="1114"/>
                  <a:pt x="905" y="1115"/>
                </a:cubicBezTo>
                <a:close/>
                <a:moveTo>
                  <a:pt x="924" y="1174"/>
                </a:moveTo>
                <a:cubicBezTo>
                  <a:pt x="924" y="1174"/>
                  <a:pt x="924" y="1174"/>
                  <a:pt x="924" y="1176"/>
                </a:cubicBezTo>
                <a:cubicBezTo>
                  <a:pt x="924" y="1176"/>
                  <a:pt x="924" y="1176"/>
                  <a:pt x="925" y="1177"/>
                </a:cubicBezTo>
                <a:cubicBezTo>
                  <a:pt x="925" y="1177"/>
                  <a:pt x="925" y="1177"/>
                  <a:pt x="926" y="1177"/>
                </a:cubicBezTo>
                <a:cubicBezTo>
                  <a:pt x="926" y="1177"/>
                  <a:pt x="926" y="1177"/>
                  <a:pt x="925" y="1175"/>
                </a:cubicBezTo>
                <a:cubicBezTo>
                  <a:pt x="925" y="1175"/>
                  <a:pt x="925" y="1175"/>
                  <a:pt x="925" y="1174"/>
                </a:cubicBezTo>
                <a:cubicBezTo>
                  <a:pt x="925" y="1174"/>
                  <a:pt x="925" y="1174"/>
                  <a:pt x="924" y="1174"/>
                </a:cubicBezTo>
                <a:close/>
                <a:moveTo>
                  <a:pt x="909" y="1113"/>
                </a:moveTo>
                <a:cubicBezTo>
                  <a:pt x="909" y="1113"/>
                  <a:pt x="909" y="1113"/>
                  <a:pt x="908" y="1113"/>
                </a:cubicBezTo>
                <a:cubicBezTo>
                  <a:pt x="908" y="1113"/>
                  <a:pt x="908" y="1113"/>
                  <a:pt x="907" y="1114"/>
                </a:cubicBezTo>
                <a:cubicBezTo>
                  <a:pt x="907" y="1114"/>
                  <a:pt x="907" y="1114"/>
                  <a:pt x="908" y="1114"/>
                </a:cubicBezTo>
                <a:cubicBezTo>
                  <a:pt x="908" y="1114"/>
                  <a:pt x="908" y="1114"/>
                  <a:pt x="909" y="1113"/>
                </a:cubicBezTo>
                <a:close/>
                <a:moveTo>
                  <a:pt x="913" y="1122"/>
                </a:moveTo>
                <a:cubicBezTo>
                  <a:pt x="913" y="1122"/>
                  <a:pt x="913" y="1122"/>
                  <a:pt x="914" y="1121"/>
                </a:cubicBezTo>
                <a:cubicBezTo>
                  <a:pt x="914" y="1121"/>
                  <a:pt x="914" y="1121"/>
                  <a:pt x="913" y="1121"/>
                </a:cubicBezTo>
                <a:cubicBezTo>
                  <a:pt x="913" y="1121"/>
                  <a:pt x="913" y="1121"/>
                  <a:pt x="913" y="1122"/>
                </a:cubicBezTo>
                <a:close/>
                <a:moveTo>
                  <a:pt x="925" y="1178"/>
                </a:moveTo>
                <a:cubicBezTo>
                  <a:pt x="925" y="1178"/>
                  <a:pt x="925" y="1178"/>
                  <a:pt x="926" y="1179"/>
                </a:cubicBezTo>
                <a:cubicBezTo>
                  <a:pt x="926" y="1179"/>
                  <a:pt x="926" y="1179"/>
                  <a:pt x="927" y="1179"/>
                </a:cubicBezTo>
                <a:cubicBezTo>
                  <a:pt x="927" y="1179"/>
                  <a:pt x="927" y="1179"/>
                  <a:pt x="926" y="1178"/>
                </a:cubicBezTo>
                <a:cubicBezTo>
                  <a:pt x="926" y="1178"/>
                  <a:pt x="926" y="1178"/>
                  <a:pt x="925" y="1178"/>
                </a:cubicBezTo>
                <a:close/>
                <a:moveTo>
                  <a:pt x="911" y="1156"/>
                </a:moveTo>
                <a:cubicBezTo>
                  <a:pt x="911" y="1156"/>
                  <a:pt x="911" y="1156"/>
                  <a:pt x="912" y="1157"/>
                </a:cubicBezTo>
                <a:cubicBezTo>
                  <a:pt x="912" y="1157"/>
                  <a:pt x="912" y="1157"/>
                  <a:pt x="912" y="1158"/>
                </a:cubicBezTo>
                <a:cubicBezTo>
                  <a:pt x="912" y="1158"/>
                  <a:pt x="912" y="1158"/>
                  <a:pt x="913" y="1158"/>
                </a:cubicBezTo>
                <a:cubicBezTo>
                  <a:pt x="913" y="1158"/>
                  <a:pt x="913" y="1158"/>
                  <a:pt x="914" y="1157"/>
                </a:cubicBezTo>
                <a:cubicBezTo>
                  <a:pt x="914" y="1157"/>
                  <a:pt x="914" y="1157"/>
                  <a:pt x="913" y="1156"/>
                </a:cubicBezTo>
                <a:cubicBezTo>
                  <a:pt x="913" y="1156"/>
                  <a:pt x="913" y="1156"/>
                  <a:pt x="911" y="1156"/>
                </a:cubicBezTo>
                <a:close/>
                <a:moveTo>
                  <a:pt x="918" y="1169"/>
                </a:moveTo>
                <a:cubicBezTo>
                  <a:pt x="918" y="1169"/>
                  <a:pt x="918" y="1169"/>
                  <a:pt x="917" y="1170"/>
                </a:cubicBezTo>
                <a:cubicBezTo>
                  <a:pt x="917" y="1170"/>
                  <a:pt x="917" y="1170"/>
                  <a:pt x="918" y="1171"/>
                </a:cubicBezTo>
                <a:cubicBezTo>
                  <a:pt x="918" y="1171"/>
                  <a:pt x="918" y="1171"/>
                  <a:pt x="918" y="1172"/>
                </a:cubicBezTo>
                <a:cubicBezTo>
                  <a:pt x="918" y="1172"/>
                  <a:pt x="918" y="1172"/>
                  <a:pt x="917" y="1172"/>
                </a:cubicBezTo>
                <a:cubicBezTo>
                  <a:pt x="917" y="1172"/>
                  <a:pt x="917" y="1172"/>
                  <a:pt x="918" y="1173"/>
                </a:cubicBezTo>
                <a:cubicBezTo>
                  <a:pt x="918" y="1173"/>
                  <a:pt x="918" y="1173"/>
                  <a:pt x="919" y="1173"/>
                </a:cubicBezTo>
                <a:cubicBezTo>
                  <a:pt x="919" y="1173"/>
                  <a:pt x="919" y="1173"/>
                  <a:pt x="921" y="1172"/>
                </a:cubicBezTo>
                <a:cubicBezTo>
                  <a:pt x="921" y="1172"/>
                  <a:pt x="921" y="1172"/>
                  <a:pt x="922" y="1172"/>
                </a:cubicBezTo>
                <a:cubicBezTo>
                  <a:pt x="922" y="1172"/>
                  <a:pt x="922" y="1172"/>
                  <a:pt x="922" y="1171"/>
                </a:cubicBezTo>
                <a:cubicBezTo>
                  <a:pt x="922" y="1171"/>
                  <a:pt x="922" y="1171"/>
                  <a:pt x="920" y="1170"/>
                </a:cubicBezTo>
                <a:cubicBezTo>
                  <a:pt x="920" y="1170"/>
                  <a:pt x="920" y="1170"/>
                  <a:pt x="919" y="1170"/>
                </a:cubicBezTo>
                <a:cubicBezTo>
                  <a:pt x="919" y="1170"/>
                  <a:pt x="919" y="1170"/>
                  <a:pt x="918" y="1169"/>
                </a:cubicBezTo>
                <a:close/>
                <a:moveTo>
                  <a:pt x="956" y="1204"/>
                </a:moveTo>
                <a:cubicBezTo>
                  <a:pt x="957" y="1205"/>
                  <a:pt x="957" y="1205"/>
                  <a:pt x="957" y="1205"/>
                </a:cubicBezTo>
                <a:cubicBezTo>
                  <a:pt x="957" y="1205"/>
                  <a:pt x="957" y="1205"/>
                  <a:pt x="958" y="1204"/>
                </a:cubicBezTo>
                <a:cubicBezTo>
                  <a:pt x="958" y="1204"/>
                  <a:pt x="958" y="1204"/>
                  <a:pt x="957" y="1204"/>
                </a:cubicBezTo>
                <a:cubicBezTo>
                  <a:pt x="957" y="1204"/>
                  <a:pt x="957" y="1204"/>
                  <a:pt x="956" y="1204"/>
                </a:cubicBezTo>
                <a:close/>
                <a:moveTo>
                  <a:pt x="917" y="1165"/>
                </a:moveTo>
                <a:cubicBezTo>
                  <a:pt x="917" y="1165"/>
                  <a:pt x="917" y="1165"/>
                  <a:pt x="917" y="1166"/>
                </a:cubicBezTo>
                <a:cubicBezTo>
                  <a:pt x="917" y="1166"/>
                  <a:pt x="917" y="1166"/>
                  <a:pt x="917" y="1167"/>
                </a:cubicBezTo>
                <a:cubicBezTo>
                  <a:pt x="917" y="1167"/>
                  <a:pt x="917" y="1167"/>
                  <a:pt x="918" y="1167"/>
                </a:cubicBezTo>
                <a:cubicBezTo>
                  <a:pt x="918" y="1168"/>
                  <a:pt x="918" y="1168"/>
                  <a:pt x="918" y="1168"/>
                </a:cubicBezTo>
                <a:cubicBezTo>
                  <a:pt x="918" y="1168"/>
                  <a:pt x="918" y="1168"/>
                  <a:pt x="920" y="1170"/>
                </a:cubicBezTo>
                <a:cubicBezTo>
                  <a:pt x="920" y="1170"/>
                  <a:pt x="920" y="1170"/>
                  <a:pt x="921" y="1170"/>
                </a:cubicBezTo>
                <a:cubicBezTo>
                  <a:pt x="921" y="1170"/>
                  <a:pt x="921" y="1170"/>
                  <a:pt x="921" y="1169"/>
                </a:cubicBezTo>
                <a:cubicBezTo>
                  <a:pt x="921" y="1169"/>
                  <a:pt x="921" y="1169"/>
                  <a:pt x="920" y="1167"/>
                </a:cubicBezTo>
                <a:cubicBezTo>
                  <a:pt x="920" y="1167"/>
                  <a:pt x="920" y="1167"/>
                  <a:pt x="919" y="1166"/>
                </a:cubicBezTo>
                <a:cubicBezTo>
                  <a:pt x="919" y="1166"/>
                  <a:pt x="919" y="1166"/>
                  <a:pt x="918" y="1166"/>
                </a:cubicBezTo>
                <a:cubicBezTo>
                  <a:pt x="918" y="1166"/>
                  <a:pt x="918" y="1166"/>
                  <a:pt x="917" y="1165"/>
                </a:cubicBezTo>
                <a:close/>
                <a:moveTo>
                  <a:pt x="918" y="1164"/>
                </a:moveTo>
                <a:cubicBezTo>
                  <a:pt x="918" y="1164"/>
                  <a:pt x="918" y="1164"/>
                  <a:pt x="919" y="1166"/>
                </a:cubicBezTo>
                <a:cubicBezTo>
                  <a:pt x="919" y="1166"/>
                  <a:pt x="919" y="1166"/>
                  <a:pt x="920" y="1166"/>
                </a:cubicBezTo>
                <a:cubicBezTo>
                  <a:pt x="920" y="1166"/>
                  <a:pt x="920" y="1166"/>
                  <a:pt x="922" y="1168"/>
                </a:cubicBezTo>
                <a:cubicBezTo>
                  <a:pt x="922" y="1168"/>
                  <a:pt x="922" y="1168"/>
                  <a:pt x="921" y="1166"/>
                </a:cubicBezTo>
                <a:cubicBezTo>
                  <a:pt x="921" y="1166"/>
                  <a:pt x="921" y="1166"/>
                  <a:pt x="920" y="1164"/>
                </a:cubicBezTo>
                <a:cubicBezTo>
                  <a:pt x="920" y="1164"/>
                  <a:pt x="920" y="1164"/>
                  <a:pt x="919" y="1164"/>
                </a:cubicBezTo>
                <a:cubicBezTo>
                  <a:pt x="919" y="1164"/>
                  <a:pt x="919" y="1164"/>
                  <a:pt x="918" y="1164"/>
                </a:cubicBezTo>
                <a:close/>
                <a:moveTo>
                  <a:pt x="923" y="1176"/>
                </a:moveTo>
                <a:cubicBezTo>
                  <a:pt x="923" y="1176"/>
                  <a:pt x="923" y="1176"/>
                  <a:pt x="922" y="1175"/>
                </a:cubicBezTo>
                <a:cubicBezTo>
                  <a:pt x="922" y="1175"/>
                  <a:pt x="922" y="1175"/>
                  <a:pt x="921" y="1175"/>
                </a:cubicBezTo>
                <a:cubicBezTo>
                  <a:pt x="921" y="1175"/>
                  <a:pt x="921" y="1175"/>
                  <a:pt x="920" y="1174"/>
                </a:cubicBezTo>
                <a:cubicBezTo>
                  <a:pt x="920" y="1174"/>
                  <a:pt x="920" y="1174"/>
                  <a:pt x="919" y="1174"/>
                </a:cubicBezTo>
                <a:cubicBezTo>
                  <a:pt x="919" y="1174"/>
                  <a:pt x="919" y="1174"/>
                  <a:pt x="920" y="1175"/>
                </a:cubicBezTo>
                <a:cubicBezTo>
                  <a:pt x="920" y="1175"/>
                  <a:pt x="920" y="1175"/>
                  <a:pt x="919" y="1176"/>
                </a:cubicBezTo>
                <a:cubicBezTo>
                  <a:pt x="919" y="1176"/>
                  <a:pt x="919" y="1176"/>
                  <a:pt x="919" y="1177"/>
                </a:cubicBezTo>
                <a:cubicBezTo>
                  <a:pt x="919" y="1177"/>
                  <a:pt x="919" y="1177"/>
                  <a:pt x="920" y="1178"/>
                </a:cubicBezTo>
                <a:cubicBezTo>
                  <a:pt x="920" y="1178"/>
                  <a:pt x="920" y="1178"/>
                  <a:pt x="921" y="1178"/>
                </a:cubicBezTo>
                <a:cubicBezTo>
                  <a:pt x="921" y="1178"/>
                  <a:pt x="921" y="1178"/>
                  <a:pt x="920" y="1177"/>
                </a:cubicBezTo>
                <a:cubicBezTo>
                  <a:pt x="920" y="1177"/>
                  <a:pt x="920" y="1177"/>
                  <a:pt x="921" y="1176"/>
                </a:cubicBezTo>
                <a:cubicBezTo>
                  <a:pt x="921" y="1176"/>
                  <a:pt x="921" y="1176"/>
                  <a:pt x="921" y="1177"/>
                </a:cubicBezTo>
                <a:cubicBezTo>
                  <a:pt x="921" y="1177"/>
                  <a:pt x="921" y="1177"/>
                  <a:pt x="922" y="1178"/>
                </a:cubicBezTo>
                <a:cubicBezTo>
                  <a:pt x="922" y="1178"/>
                  <a:pt x="922" y="1178"/>
                  <a:pt x="923" y="1177"/>
                </a:cubicBezTo>
                <a:cubicBezTo>
                  <a:pt x="923" y="1177"/>
                  <a:pt x="923" y="1177"/>
                  <a:pt x="924" y="1178"/>
                </a:cubicBezTo>
                <a:cubicBezTo>
                  <a:pt x="924" y="1178"/>
                  <a:pt x="924" y="1178"/>
                  <a:pt x="925" y="1178"/>
                </a:cubicBezTo>
                <a:cubicBezTo>
                  <a:pt x="925" y="1178"/>
                  <a:pt x="925" y="1178"/>
                  <a:pt x="924" y="1177"/>
                </a:cubicBezTo>
                <a:cubicBezTo>
                  <a:pt x="924" y="1177"/>
                  <a:pt x="924" y="1177"/>
                  <a:pt x="923" y="1176"/>
                </a:cubicBezTo>
                <a:close/>
                <a:moveTo>
                  <a:pt x="965" y="1202"/>
                </a:moveTo>
                <a:cubicBezTo>
                  <a:pt x="965" y="1202"/>
                  <a:pt x="965" y="1202"/>
                  <a:pt x="963" y="1203"/>
                </a:cubicBezTo>
                <a:cubicBezTo>
                  <a:pt x="963" y="1203"/>
                  <a:pt x="963" y="1203"/>
                  <a:pt x="960" y="1204"/>
                </a:cubicBezTo>
                <a:cubicBezTo>
                  <a:pt x="960" y="1204"/>
                  <a:pt x="960" y="1204"/>
                  <a:pt x="959" y="1204"/>
                </a:cubicBezTo>
                <a:cubicBezTo>
                  <a:pt x="959" y="1204"/>
                  <a:pt x="959" y="1204"/>
                  <a:pt x="958" y="1204"/>
                </a:cubicBezTo>
                <a:cubicBezTo>
                  <a:pt x="958" y="1204"/>
                  <a:pt x="958" y="1204"/>
                  <a:pt x="959" y="1205"/>
                </a:cubicBezTo>
                <a:cubicBezTo>
                  <a:pt x="959" y="1205"/>
                  <a:pt x="959" y="1205"/>
                  <a:pt x="957" y="1206"/>
                </a:cubicBezTo>
                <a:cubicBezTo>
                  <a:pt x="957" y="1206"/>
                  <a:pt x="957" y="1206"/>
                  <a:pt x="956" y="1206"/>
                </a:cubicBezTo>
                <a:cubicBezTo>
                  <a:pt x="956" y="1206"/>
                  <a:pt x="956" y="1206"/>
                  <a:pt x="956" y="1207"/>
                </a:cubicBezTo>
                <a:cubicBezTo>
                  <a:pt x="956" y="1207"/>
                  <a:pt x="956" y="1207"/>
                  <a:pt x="957" y="1207"/>
                </a:cubicBezTo>
                <a:cubicBezTo>
                  <a:pt x="957" y="1207"/>
                  <a:pt x="957" y="1207"/>
                  <a:pt x="958" y="1207"/>
                </a:cubicBezTo>
                <a:cubicBezTo>
                  <a:pt x="958" y="1207"/>
                  <a:pt x="958" y="1207"/>
                  <a:pt x="957" y="1208"/>
                </a:cubicBezTo>
                <a:cubicBezTo>
                  <a:pt x="957" y="1208"/>
                  <a:pt x="957" y="1208"/>
                  <a:pt x="958" y="1208"/>
                </a:cubicBezTo>
                <a:cubicBezTo>
                  <a:pt x="958" y="1208"/>
                  <a:pt x="958" y="1208"/>
                  <a:pt x="959" y="1209"/>
                </a:cubicBezTo>
                <a:cubicBezTo>
                  <a:pt x="959" y="1209"/>
                  <a:pt x="959" y="1209"/>
                  <a:pt x="959" y="1208"/>
                </a:cubicBezTo>
                <a:cubicBezTo>
                  <a:pt x="959" y="1208"/>
                  <a:pt x="959" y="1208"/>
                  <a:pt x="961" y="1209"/>
                </a:cubicBezTo>
                <a:cubicBezTo>
                  <a:pt x="961" y="1209"/>
                  <a:pt x="961" y="1209"/>
                  <a:pt x="962" y="1208"/>
                </a:cubicBezTo>
                <a:cubicBezTo>
                  <a:pt x="962" y="1208"/>
                  <a:pt x="962" y="1208"/>
                  <a:pt x="961" y="1207"/>
                </a:cubicBezTo>
                <a:cubicBezTo>
                  <a:pt x="961" y="1207"/>
                  <a:pt x="961" y="1207"/>
                  <a:pt x="962" y="1207"/>
                </a:cubicBezTo>
                <a:cubicBezTo>
                  <a:pt x="962" y="1207"/>
                  <a:pt x="962" y="1207"/>
                  <a:pt x="962" y="1208"/>
                </a:cubicBezTo>
                <a:cubicBezTo>
                  <a:pt x="962" y="1208"/>
                  <a:pt x="962" y="1208"/>
                  <a:pt x="963" y="1208"/>
                </a:cubicBezTo>
                <a:cubicBezTo>
                  <a:pt x="963" y="1208"/>
                  <a:pt x="963" y="1208"/>
                  <a:pt x="964" y="1208"/>
                </a:cubicBezTo>
                <a:cubicBezTo>
                  <a:pt x="964" y="1208"/>
                  <a:pt x="964" y="1208"/>
                  <a:pt x="965" y="1208"/>
                </a:cubicBezTo>
                <a:cubicBezTo>
                  <a:pt x="965" y="1208"/>
                  <a:pt x="965" y="1208"/>
                  <a:pt x="967" y="1209"/>
                </a:cubicBezTo>
                <a:cubicBezTo>
                  <a:pt x="967" y="1209"/>
                  <a:pt x="967" y="1209"/>
                  <a:pt x="967" y="1208"/>
                </a:cubicBezTo>
                <a:cubicBezTo>
                  <a:pt x="967" y="1208"/>
                  <a:pt x="967" y="1208"/>
                  <a:pt x="966" y="1207"/>
                </a:cubicBezTo>
                <a:cubicBezTo>
                  <a:pt x="966" y="1207"/>
                  <a:pt x="966" y="1207"/>
                  <a:pt x="965" y="1207"/>
                </a:cubicBezTo>
                <a:cubicBezTo>
                  <a:pt x="965" y="1207"/>
                  <a:pt x="965" y="1207"/>
                  <a:pt x="965" y="1206"/>
                </a:cubicBezTo>
                <a:cubicBezTo>
                  <a:pt x="965" y="1206"/>
                  <a:pt x="965" y="1206"/>
                  <a:pt x="963" y="1206"/>
                </a:cubicBezTo>
                <a:cubicBezTo>
                  <a:pt x="963" y="1206"/>
                  <a:pt x="963" y="1206"/>
                  <a:pt x="962" y="1205"/>
                </a:cubicBezTo>
                <a:cubicBezTo>
                  <a:pt x="962" y="1205"/>
                  <a:pt x="962" y="1205"/>
                  <a:pt x="963" y="1205"/>
                </a:cubicBezTo>
                <a:cubicBezTo>
                  <a:pt x="963" y="1205"/>
                  <a:pt x="963" y="1205"/>
                  <a:pt x="964" y="1205"/>
                </a:cubicBezTo>
                <a:cubicBezTo>
                  <a:pt x="964" y="1205"/>
                  <a:pt x="964" y="1205"/>
                  <a:pt x="965" y="1204"/>
                </a:cubicBezTo>
                <a:cubicBezTo>
                  <a:pt x="965" y="1204"/>
                  <a:pt x="965" y="1204"/>
                  <a:pt x="966" y="1204"/>
                </a:cubicBezTo>
                <a:cubicBezTo>
                  <a:pt x="966" y="1204"/>
                  <a:pt x="966" y="1204"/>
                  <a:pt x="966" y="1205"/>
                </a:cubicBezTo>
                <a:cubicBezTo>
                  <a:pt x="966" y="1205"/>
                  <a:pt x="966" y="1205"/>
                  <a:pt x="967" y="1206"/>
                </a:cubicBezTo>
                <a:cubicBezTo>
                  <a:pt x="967" y="1206"/>
                  <a:pt x="967" y="1206"/>
                  <a:pt x="968" y="1205"/>
                </a:cubicBezTo>
                <a:cubicBezTo>
                  <a:pt x="968" y="1205"/>
                  <a:pt x="968" y="1205"/>
                  <a:pt x="969" y="1205"/>
                </a:cubicBezTo>
                <a:cubicBezTo>
                  <a:pt x="969" y="1205"/>
                  <a:pt x="969" y="1205"/>
                  <a:pt x="970" y="1205"/>
                </a:cubicBezTo>
                <a:cubicBezTo>
                  <a:pt x="970" y="1205"/>
                  <a:pt x="970" y="1205"/>
                  <a:pt x="971" y="1206"/>
                </a:cubicBezTo>
                <a:cubicBezTo>
                  <a:pt x="971" y="1206"/>
                  <a:pt x="971" y="1206"/>
                  <a:pt x="972" y="1205"/>
                </a:cubicBezTo>
                <a:cubicBezTo>
                  <a:pt x="972" y="1205"/>
                  <a:pt x="972" y="1205"/>
                  <a:pt x="972" y="1204"/>
                </a:cubicBezTo>
                <a:cubicBezTo>
                  <a:pt x="972" y="1204"/>
                  <a:pt x="972" y="1204"/>
                  <a:pt x="971" y="1203"/>
                </a:cubicBezTo>
                <a:cubicBezTo>
                  <a:pt x="971" y="1203"/>
                  <a:pt x="971" y="1203"/>
                  <a:pt x="970" y="1202"/>
                </a:cubicBezTo>
                <a:cubicBezTo>
                  <a:pt x="970" y="1202"/>
                  <a:pt x="970" y="1202"/>
                  <a:pt x="968" y="1202"/>
                </a:cubicBezTo>
                <a:cubicBezTo>
                  <a:pt x="968" y="1202"/>
                  <a:pt x="968" y="1202"/>
                  <a:pt x="967" y="1203"/>
                </a:cubicBezTo>
                <a:cubicBezTo>
                  <a:pt x="967" y="1203"/>
                  <a:pt x="967" y="1203"/>
                  <a:pt x="965" y="1202"/>
                </a:cubicBezTo>
                <a:close/>
                <a:moveTo>
                  <a:pt x="948" y="1206"/>
                </a:moveTo>
                <a:cubicBezTo>
                  <a:pt x="948" y="1206"/>
                  <a:pt x="948" y="1206"/>
                  <a:pt x="948" y="1205"/>
                </a:cubicBezTo>
                <a:cubicBezTo>
                  <a:pt x="948" y="1205"/>
                  <a:pt x="948" y="1205"/>
                  <a:pt x="947" y="1205"/>
                </a:cubicBezTo>
                <a:cubicBezTo>
                  <a:pt x="947" y="1205"/>
                  <a:pt x="947" y="1205"/>
                  <a:pt x="948" y="1206"/>
                </a:cubicBezTo>
                <a:close/>
                <a:moveTo>
                  <a:pt x="927" y="1182"/>
                </a:moveTo>
                <a:cubicBezTo>
                  <a:pt x="927" y="1182"/>
                  <a:pt x="927" y="1182"/>
                  <a:pt x="926" y="1182"/>
                </a:cubicBezTo>
                <a:cubicBezTo>
                  <a:pt x="926" y="1182"/>
                  <a:pt x="926" y="1182"/>
                  <a:pt x="925" y="1183"/>
                </a:cubicBezTo>
                <a:cubicBezTo>
                  <a:pt x="925" y="1183"/>
                  <a:pt x="925" y="1183"/>
                  <a:pt x="927" y="1183"/>
                </a:cubicBezTo>
                <a:cubicBezTo>
                  <a:pt x="927" y="1183"/>
                  <a:pt x="927" y="1183"/>
                  <a:pt x="927" y="1184"/>
                </a:cubicBezTo>
                <a:cubicBezTo>
                  <a:pt x="927" y="1184"/>
                  <a:pt x="927" y="1184"/>
                  <a:pt x="928" y="1184"/>
                </a:cubicBezTo>
                <a:cubicBezTo>
                  <a:pt x="928" y="1184"/>
                  <a:pt x="928" y="1184"/>
                  <a:pt x="929" y="1183"/>
                </a:cubicBezTo>
                <a:cubicBezTo>
                  <a:pt x="929" y="1183"/>
                  <a:pt x="929" y="1183"/>
                  <a:pt x="928" y="1182"/>
                </a:cubicBezTo>
                <a:cubicBezTo>
                  <a:pt x="928" y="1182"/>
                  <a:pt x="928" y="1182"/>
                  <a:pt x="927" y="1182"/>
                </a:cubicBezTo>
                <a:close/>
                <a:moveTo>
                  <a:pt x="927" y="1180"/>
                </a:moveTo>
                <a:cubicBezTo>
                  <a:pt x="927" y="1180"/>
                  <a:pt x="927" y="1180"/>
                  <a:pt x="925" y="1179"/>
                </a:cubicBezTo>
                <a:cubicBezTo>
                  <a:pt x="925" y="1179"/>
                  <a:pt x="925" y="1179"/>
                  <a:pt x="925" y="1180"/>
                </a:cubicBezTo>
                <a:cubicBezTo>
                  <a:pt x="925" y="1180"/>
                  <a:pt x="925" y="1180"/>
                  <a:pt x="927" y="1182"/>
                </a:cubicBezTo>
                <a:cubicBezTo>
                  <a:pt x="927" y="1182"/>
                  <a:pt x="927" y="1182"/>
                  <a:pt x="927" y="1181"/>
                </a:cubicBezTo>
                <a:cubicBezTo>
                  <a:pt x="927" y="1181"/>
                  <a:pt x="927" y="1181"/>
                  <a:pt x="927" y="1180"/>
                </a:cubicBezTo>
                <a:close/>
                <a:moveTo>
                  <a:pt x="953" y="1182"/>
                </a:moveTo>
                <a:cubicBezTo>
                  <a:pt x="953" y="1182"/>
                  <a:pt x="953" y="1182"/>
                  <a:pt x="953" y="1183"/>
                </a:cubicBezTo>
                <a:cubicBezTo>
                  <a:pt x="953" y="1183"/>
                  <a:pt x="953" y="1183"/>
                  <a:pt x="952" y="1184"/>
                </a:cubicBezTo>
                <a:cubicBezTo>
                  <a:pt x="952" y="1184"/>
                  <a:pt x="952" y="1184"/>
                  <a:pt x="951" y="1184"/>
                </a:cubicBezTo>
                <a:cubicBezTo>
                  <a:pt x="951" y="1184"/>
                  <a:pt x="951" y="1184"/>
                  <a:pt x="950" y="1184"/>
                </a:cubicBezTo>
                <a:cubicBezTo>
                  <a:pt x="950" y="1184"/>
                  <a:pt x="950" y="1184"/>
                  <a:pt x="949" y="1183"/>
                </a:cubicBezTo>
                <a:cubicBezTo>
                  <a:pt x="949" y="1183"/>
                  <a:pt x="949" y="1183"/>
                  <a:pt x="949" y="1184"/>
                </a:cubicBezTo>
                <a:cubicBezTo>
                  <a:pt x="949" y="1184"/>
                  <a:pt x="949" y="1184"/>
                  <a:pt x="949" y="1185"/>
                </a:cubicBezTo>
                <a:cubicBezTo>
                  <a:pt x="949" y="1185"/>
                  <a:pt x="949" y="1185"/>
                  <a:pt x="950" y="1185"/>
                </a:cubicBezTo>
                <a:cubicBezTo>
                  <a:pt x="950" y="1185"/>
                  <a:pt x="950" y="1185"/>
                  <a:pt x="950" y="1186"/>
                </a:cubicBezTo>
                <a:cubicBezTo>
                  <a:pt x="950" y="1186"/>
                  <a:pt x="950" y="1186"/>
                  <a:pt x="949" y="1187"/>
                </a:cubicBezTo>
                <a:cubicBezTo>
                  <a:pt x="949" y="1187"/>
                  <a:pt x="949" y="1187"/>
                  <a:pt x="949" y="1188"/>
                </a:cubicBezTo>
                <a:cubicBezTo>
                  <a:pt x="949" y="1188"/>
                  <a:pt x="949" y="1188"/>
                  <a:pt x="950" y="1189"/>
                </a:cubicBezTo>
                <a:cubicBezTo>
                  <a:pt x="950" y="1189"/>
                  <a:pt x="950" y="1189"/>
                  <a:pt x="951" y="1191"/>
                </a:cubicBezTo>
                <a:cubicBezTo>
                  <a:pt x="951" y="1191"/>
                  <a:pt x="951" y="1191"/>
                  <a:pt x="952" y="1190"/>
                </a:cubicBezTo>
                <a:cubicBezTo>
                  <a:pt x="952" y="1190"/>
                  <a:pt x="952" y="1190"/>
                  <a:pt x="953" y="1189"/>
                </a:cubicBezTo>
                <a:cubicBezTo>
                  <a:pt x="953" y="1189"/>
                  <a:pt x="953" y="1189"/>
                  <a:pt x="954" y="1188"/>
                </a:cubicBezTo>
                <a:cubicBezTo>
                  <a:pt x="954" y="1188"/>
                  <a:pt x="954" y="1188"/>
                  <a:pt x="956" y="1188"/>
                </a:cubicBezTo>
                <a:cubicBezTo>
                  <a:pt x="956" y="1188"/>
                  <a:pt x="956" y="1188"/>
                  <a:pt x="956" y="1190"/>
                </a:cubicBezTo>
                <a:cubicBezTo>
                  <a:pt x="956" y="1190"/>
                  <a:pt x="956" y="1190"/>
                  <a:pt x="955" y="1191"/>
                </a:cubicBezTo>
                <a:cubicBezTo>
                  <a:pt x="955" y="1191"/>
                  <a:pt x="955" y="1191"/>
                  <a:pt x="954" y="1191"/>
                </a:cubicBezTo>
                <a:cubicBezTo>
                  <a:pt x="954" y="1191"/>
                  <a:pt x="954" y="1191"/>
                  <a:pt x="954" y="1192"/>
                </a:cubicBezTo>
                <a:cubicBezTo>
                  <a:pt x="954" y="1192"/>
                  <a:pt x="954" y="1192"/>
                  <a:pt x="952" y="1193"/>
                </a:cubicBezTo>
                <a:cubicBezTo>
                  <a:pt x="952" y="1193"/>
                  <a:pt x="952" y="1193"/>
                  <a:pt x="952" y="1194"/>
                </a:cubicBezTo>
                <a:cubicBezTo>
                  <a:pt x="952" y="1194"/>
                  <a:pt x="952" y="1194"/>
                  <a:pt x="953" y="1195"/>
                </a:cubicBezTo>
                <a:cubicBezTo>
                  <a:pt x="953" y="1195"/>
                  <a:pt x="953" y="1195"/>
                  <a:pt x="954" y="1196"/>
                </a:cubicBezTo>
                <a:cubicBezTo>
                  <a:pt x="954" y="1196"/>
                  <a:pt x="954" y="1196"/>
                  <a:pt x="956" y="1196"/>
                </a:cubicBezTo>
                <a:cubicBezTo>
                  <a:pt x="956" y="1196"/>
                  <a:pt x="956" y="1196"/>
                  <a:pt x="958" y="1197"/>
                </a:cubicBezTo>
                <a:cubicBezTo>
                  <a:pt x="958" y="1197"/>
                  <a:pt x="958" y="1197"/>
                  <a:pt x="961" y="1199"/>
                </a:cubicBezTo>
                <a:cubicBezTo>
                  <a:pt x="961" y="1199"/>
                  <a:pt x="961" y="1199"/>
                  <a:pt x="962" y="1199"/>
                </a:cubicBezTo>
                <a:cubicBezTo>
                  <a:pt x="963" y="1199"/>
                  <a:pt x="963" y="1199"/>
                  <a:pt x="963" y="1199"/>
                </a:cubicBezTo>
                <a:cubicBezTo>
                  <a:pt x="965" y="1199"/>
                  <a:pt x="965" y="1199"/>
                  <a:pt x="965" y="1199"/>
                </a:cubicBezTo>
                <a:cubicBezTo>
                  <a:pt x="966" y="1199"/>
                  <a:pt x="966" y="1199"/>
                  <a:pt x="966" y="1199"/>
                </a:cubicBezTo>
                <a:cubicBezTo>
                  <a:pt x="968" y="1198"/>
                  <a:pt x="968" y="1198"/>
                  <a:pt x="968" y="1198"/>
                </a:cubicBezTo>
                <a:cubicBezTo>
                  <a:pt x="968" y="1199"/>
                  <a:pt x="968" y="1199"/>
                  <a:pt x="968" y="1199"/>
                </a:cubicBezTo>
                <a:cubicBezTo>
                  <a:pt x="967" y="1199"/>
                  <a:pt x="967" y="1199"/>
                  <a:pt x="967" y="1199"/>
                </a:cubicBezTo>
                <a:cubicBezTo>
                  <a:pt x="965" y="1200"/>
                  <a:pt x="965" y="1200"/>
                  <a:pt x="965" y="1200"/>
                </a:cubicBezTo>
                <a:cubicBezTo>
                  <a:pt x="962" y="1200"/>
                  <a:pt x="962" y="1200"/>
                  <a:pt x="962" y="1200"/>
                </a:cubicBezTo>
                <a:cubicBezTo>
                  <a:pt x="960" y="1199"/>
                  <a:pt x="960" y="1199"/>
                  <a:pt x="960" y="1199"/>
                </a:cubicBezTo>
                <a:cubicBezTo>
                  <a:pt x="958" y="1198"/>
                  <a:pt x="958" y="1198"/>
                  <a:pt x="958" y="1198"/>
                </a:cubicBezTo>
                <a:cubicBezTo>
                  <a:pt x="955" y="1197"/>
                  <a:pt x="955" y="1197"/>
                  <a:pt x="955" y="1197"/>
                </a:cubicBezTo>
                <a:cubicBezTo>
                  <a:pt x="954" y="1197"/>
                  <a:pt x="954" y="1197"/>
                  <a:pt x="954" y="1197"/>
                </a:cubicBezTo>
                <a:cubicBezTo>
                  <a:pt x="953" y="1197"/>
                  <a:pt x="953" y="1197"/>
                  <a:pt x="953" y="1197"/>
                </a:cubicBezTo>
                <a:cubicBezTo>
                  <a:pt x="954" y="1198"/>
                  <a:pt x="954" y="1198"/>
                  <a:pt x="954" y="1198"/>
                </a:cubicBezTo>
                <a:cubicBezTo>
                  <a:pt x="953" y="1198"/>
                  <a:pt x="953" y="1198"/>
                  <a:pt x="953" y="1198"/>
                </a:cubicBezTo>
                <a:cubicBezTo>
                  <a:pt x="951" y="1197"/>
                  <a:pt x="951" y="1197"/>
                  <a:pt x="951" y="1197"/>
                </a:cubicBezTo>
                <a:cubicBezTo>
                  <a:pt x="950" y="1196"/>
                  <a:pt x="950" y="1196"/>
                  <a:pt x="950" y="1196"/>
                </a:cubicBezTo>
                <a:cubicBezTo>
                  <a:pt x="949" y="1197"/>
                  <a:pt x="949" y="1197"/>
                  <a:pt x="949" y="1197"/>
                </a:cubicBezTo>
                <a:cubicBezTo>
                  <a:pt x="950" y="1197"/>
                  <a:pt x="950" y="1197"/>
                  <a:pt x="950" y="1197"/>
                </a:cubicBezTo>
                <a:cubicBezTo>
                  <a:pt x="952" y="1199"/>
                  <a:pt x="952" y="1199"/>
                  <a:pt x="952" y="1199"/>
                </a:cubicBezTo>
                <a:cubicBezTo>
                  <a:pt x="952" y="1200"/>
                  <a:pt x="952" y="1200"/>
                  <a:pt x="952" y="1200"/>
                </a:cubicBezTo>
                <a:cubicBezTo>
                  <a:pt x="951" y="1200"/>
                  <a:pt x="951" y="1200"/>
                  <a:pt x="951" y="1200"/>
                </a:cubicBezTo>
                <a:cubicBezTo>
                  <a:pt x="951" y="1199"/>
                  <a:pt x="951" y="1199"/>
                  <a:pt x="951" y="1199"/>
                </a:cubicBezTo>
                <a:cubicBezTo>
                  <a:pt x="949" y="1198"/>
                  <a:pt x="949" y="1198"/>
                  <a:pt x="949" y="1198"/>
                </a:cubicBezTo>
                <a:cubicBezTo>
                  <a:pt x="949" y="1199"/>
                  <a:pt x="949" y="1199"/>
                  <a:pt x="949" y="1199"/>
                </a:cubicBezTo>
                <a:cubicBezTo>
                  <a:pt x="948" y="1200"/>
                  <a:pt x="948" y="1200"/>
                  <a:pt x="948" y="1200"/>
                </a:cubicBezTo>
                <a:cubicBezTo>
                  <a:pt x="946" y="1200"/>
                  <a:pt x="946" y="1200"/>
                  <a:pt x="946" y="1200"/>
                </a:cubicBezTo>
                <a:cubicBezTo>
                  <a:pt x="946" y="1201"/>
                  <a:pt x="946" y="1201"/>
                  <a:pt x="946" y="1201"/>
                </a:cubicBezTo>
                <a:cubicBezTo>
                  <a:pt x="945" y="1201"/>
                  <a:pt x="945" y="1201"/>
                  <a:pt x="945" y="1201"/>
                </a:cubicBezTo>
                <a:cubicBezTo>
                  <a:pt x="944" y="1201"/>
                  <a:pt x="944" y="1201"/>
                  <a:pt x="944" y="1201"/>
                </a:cubicBezTo>
                <a:cubicBezTo>
                  <a:pt x="944" y="1202"/>
                  <a:pt x="944" y="1202"/>
                  <a:pt x="944" y="1202"/>
                </a:cubicBezTo>
                <a:cubicBezTo>
                  <a:pt x="945" y="1202"/>
                  <a:pt x="945" y="1202"/>
                  <a:pt x="945" y="1202"/>
                </a:cubicBezTo>
                <a:cubicBezTo>
                  <a:pt x="947" y="1202"/>
                  <a:pt x="947" y="1202"/>
                  <a:pt x="947" y="1202"/>
                </a:cubicBezTo>
                <a:cubicBezTo>
                  <a:pt x="947" y="1201"/>
                  <a:pt x="947" y="1201"/>
                  <a:pt x="947" y="1201"/>
                </a:cubicBezTo>
                <a:cubicBezTo>
                  <a:pt x="948" y="1201"/>
                  <a:pt x="948" y="1201"/>
                  <a:pt x="948" y="1201"/>
                </a:cubicBezTo>
                <a:cubicBezTo>
                  <a:pt x="949" y="1202"/>
                  <a:pt x="949" y="1202"/>
                  <a:pt x="949" y="1202"/>
                </a:cubicBezTo>
                <a:cubicBezTo>
                  <a:pt x="950" y="1202"/>
                  <a:pt x="950" y="1202"/>
                  <a:pt x="950" y="1202"/>
                </a:cubicBezTo>
                <a:cubicBezTo>
                  <a:pt x="950" y="1203"/>
                  <a:pt x="950" y="1203"/>
                  <a:pt x="950" y="1203"/>
                </a:cubicBezTo>
                <a:cubicBezTo>
                  <a:pt x="951" y="1203"/>
                  <a:pt x="951" y="1203"/>
                  <a:pt x="951" y="1203"/>
                </a:cubicBezTo>
                <a:cubicBezTo>
                  <a:pt x="950" y="1204"/>
                  <a:pt x="950" y="1204"/>
                  <a:pt x="950" y="1204"/>
                </a:cubicBezTo>
                <a:cubicBezTo>
                  <a:pt x="950" y="1205"/>
                  <a:pt x="950" y="1205"/>
                  <a:pt x="950" y="1205"/>
                </a:cubicBezTo>
                <a:cubicBezTo>
                  <a:pt x="950" y="1206"/>
                  <a:pt x="950" y="1206"/>
                  <a:pt x="950" y="1206"/>
                </a:cubicBezTo>
                <a:cubicBezTo>
                  <a:pt x="951" y="1206"/>
                  <a:pt x="951" y="1206"/>
                  <a:pt x="951" y="1206"/>
                </a:cubicBezTo>
                <a:cubicBezTo>
                  <a:pt x="952" y="1206"/>
                  <a:pt x="952" y="1206"/>
                  <a:pt x="952" y="1206"/>
                </a:cubicBezTo>
                <a:cubicBezTo>
                  <a:pt x="953" y="1207"/>
                  <a:pt x="953" y="1207"/>
                  <a:pt x="953" y="1207"/>
                </a:cubicBezTo>
                <a:cubicBezTo>
                  <a:pt x="954" y="1207"/>
                  <a:pt x="954" y="1207"/>
                  <a:pt x="954" y="1207"/>
                </a:cubicBezTo>
                <a:cubicBezTo>
                  <a:pt x="953" y="1206"/>
                  <a:pt x="953" y="1206"/>
                  <a:pt x="953" y="1206"/>
                </a:cubicBezTo>
                <a:cubicBezTo>
                  <a:pt x="952" y="1205"/>
                  <a:pt x="952" y="1205"/>
                  <a:pt x="952" y="1205"/>
                </a:cubicBezTo>
                <a:cubicBezTo>
                  <a:pt x="953" y="1205"/>
                  <a:pt x="953" y="1205"/>
                  <a:pt x="953" y="1205"/>
                </a:cubicBezTo>
                <a:cubicBezTo>
                  <a:pt x="954" y="1205"/>
                  <a:pt x="954" y="1205"/>
                  <a:pt x="954" y="1205"/>
                </a:cubicBezTo>
                <a:cubicBezTo>
                  <a:pt x="954" y="1204"/>
                  <a:pt x="954" y="1204"/>
                  <a:pt x="954" y="1204"/>
                </a:cubicBezTo>
                <a:cubicBezTo>
                  <a:pt x="953" y="1204"/>
                  <a:pt x="953" y="1204"/>
                  <a:pt x="953" y="1204"/>
                </a:cubicBezTo>
                <a:cubicBezTo>
                  <a:pt x="952" y="1203"/>
                  <a:pt x="952" y="1203"/>
                  <a:pt x="952" y="1203"/>
                </a:cubicBezTo>
                <a:cubicBezTo>
                  <a:pt x="955" y="1202"/>
                  <a:pt x="955" y="1202"/>
                  <a:pt x="955" y="1202"/>
                </a:cubicBezTo>
                <a:cubicBezTo>
                  <a:pt x="956" y="1202"/>
                  <a:pt x="956" y="1202"/>
                  <a:pt x="956" y="1202"/>
                </a:cubicBezTo>
                <a:cubicBezTo>
                  <a:pt x="961" y="1203"/>
                  <a:pt x="961" y="1203"/>
                  <a:pt x="961" y="1203"/>
                </a:cubicBezTo>
                <a:cubicBezTo>
                  <a:pt x="962" y="1203"/>
                  <a:pt x="962" y="1203"/>
                  <a:pt x="962" y="1203"/>
                </a:cubicBezTo>
                <a:cubicBezTo>
                  <a:pt x="961" y="1202"/>
                  <a:pt x="961" y="1202"/>
                  <a:pt x="961" y="1202"/>
                </a:cubicBezTo>
                <a:cubicBezTo>
                  <a:pt x="963" y="1202"/>
                  <a:pt x="963" y="1202"/>
                  <a:pt x="963" y="1202"/>
                </a:cubicBezTo>
                <a:cubicBezTo>
                  <a:pt x="964" y="1202"/>
                  <a:pt x="964" y="1202"/>
                  <a:pt x="964" y="1202"/>
                </a:cubicBezTo>
                <a:cubicBezTo>
                  <a:pt x="966" y="1201"/>
                  <a:pt x="966" y="1201"/>
                  <a:pt x="966" y="1201"/>
                </a:cubicBezTo>
                <a:cubicBezTo>
                  <a:pt x="968" y="1202"/>
                  <a:pt x="968" y="1202"/>
                  <a:pt x="968" y="1202"/>
                </a:cubicBezTo>
                <a:cubicBezTo>
                  <a:pt x="970" y="1201"/>
                  <a:pt x="970" y="1201"/>
                  <a:pt x="970" y="1201"/>
                </a:cubicBezTo>
                <a:cubicBezTo>
                  <a:pt x="973" y="1202"/>
                  <a:pt x="973" y="1202"/>
                  <a:pt x="973" y="1202"/>
                </a:cubicBezTo>
                <a:cubicBezTo>
                  <a:pt x="974" y="1202"/>
                  <a:pt x="974" y="1202"/>
                  <a:pt x="974" y="1202"/>
                </a:cubicBezTo>
                <a:cubicBezTo>
                  <a:pt x="976" y="1203"/>
                  <a:pt x="976" y="1203"/>
                  <a:pt x="976" y="1203"/>
                </a:cubicBezTo>
                <a:cubicBezTo>
                  <a:pt x="977" y="1203"/>
                  <a:pt x="977" y="1203"/>
                  <a:pt x="977" y="1203"/>
                </a:cubicBezTo>
                <a:cubicBezTo>
                  <a:pt x="978" y="1201"/>
                  <a:pt x="978" y="1201"/>
                  <a:pt x="978" y="1201"/>
                </a:cubicBezTo>
                <a:cubicBezTo>
                  <a:pt x="978" y="1200"/>
                  <a:pt x="978" y="1200"/>
                  <a:pt x="978" y="1200"/>
                </a:cubicBezTo>
                <a:cubicBezTo>
                  <a:pt x="980" y="1200"/>
                  <a:pt x="980" y="1200"/>
                  <a:pt x="980" y="1200"/>
                </a:cubicBezTo>
                <a:cubicBezTo>
                  <a:pt x="982" y="1200"/>
                  <a:pt x="982" y="1200"/>
                  <a:pt x="982" y="1200"/>
                </a:cubicBezTo>
                <a:cubicBezTo>
                  <a:pt x="982" y="1198"/>
                  <a:pt x="982" y="1198"/>
                  <a:pt x="982" y="1198"/>
                </a:cubicBezTo>
                <a:cubicBezTo>
                  <a:pt x="981" y="1198"/>
                  <a:pt x="981" y="1198"/>
                  <a:pt x="981" y="1198"/>
                </a:cubicBezTo>
                <a:cubicBezTo>
                  <a:pt x="978" y="1199"/>
                  <a:pt x="978" y="1199"/>
                  <a:pt x="978" y="1199"/>
                </a:cubicBezTo>
                <a:cubicBezTo>
                  <a:pt x="977" y="1198"/>
                  <a:pt x="977" y="1198"/>
                  <a:pt x="977" y="1198"/>
                </a:cubicBezTo>
                <a:cubicBezTo>
                  <a:pt x="975" y="1197"/>
                  <a:pt x="975" y="1197"/>
                  <a:pt x="975" y="1197"/>
                </a:cubicBezTo>
                <a:cubicBezTo>
                  <a:pt x="974" y="1197"/>
                  <a:pt x="974" y="1197"/>
                  <a:pt x="974" y="1197"/>
                </a:cubicBezTo>
                <a:cubicBezTo>
                  <a:pt x="973" y="1196"/>
                  <a:pt x="973" y="1196"/>
                  <a:pt x="973" y="1196"/>
                </a:cubicBezTo>
                <a:cubicBezTo>
                  <a:pt x="968" y="1194"/>
                  <a:pt x="968" y="1194"/>
                  <a:pt x="968" y="1194"/>
                </a:cubicBezTo>
                <a:cubicBezTo>
                  <a:pt x="967" y="1194"/>
                  <a:pt x="967" y="1194"/>
                  <a:pt x="967" y="1194"/>
                </a:cubicBezTo>
                <a:cubicBezTo>
                  <a:pt x="967" y="1192"/>
                  <a:pt x="967" y="1192"/>
                  <a:pt x="967" y="1192"/>
                </a:cubicBezTo>
                <a:cubicBezTo>
                  <a:pt x="965" y="1191"/>
                  <a:pt x="965" y="1191"/>
                  <a:pt x="965" y="1191"/>
                </a:cubicBezTo>
                <a:cubicBezTo>
                  <a:pt x="963" y="1191"/>
                  <a:pt x="963" y="1191"/>
                  <a:pt x="963" y="1191"/>
                </a:cubicBezTo>
                <a:cubicBezTo>
                  <a:pt x="963" y="1189"/>
                  <a:pt x="963" y="1189"/>
                  <a:pt x="963" y="1189"/>
                </a:cubicBezTo>
                <a:cubicBezTo>
                  <a:pt x="962" y="1188"/>
                  <a:pt x="962" y="1188"/>
                  <a:pt x="962" y="1188"/>
                </a:cubicBezTo>
                <a:cubicBezTo>
                  <a:pt x="960" y="1188"/>
                  <a:pt x="960" y="1188"/>
                  <a:pt x="960" y="1188"/>
                </a:cubicBezTo>
                <a:cubicBezTo>
                  <a:pt x="959" y="1187"/>
                  <a:pt x="959" y="1187"/>
                  <a:pt x="959" y="1187"/>
                </a:cubicBezTo>
                <a:cubicBezTo>
                  <a:pt x="960" y="1186"/>
                  <a:pt x="960" y="1186"/>
                  <a:pt x="960" y="1186"/>
                </a:cubicBezTo>
                <a:cubicBezTo>
                  <a:pt x="961" y="1186"/>
                  <a:pt x="961" y="1186"/>
                  <a:pt x="961" y="1186"/>
                </a:cubicBezTo>
                <a:cubicBezTo>
                  <a:pt x="960" y="1183"/>
                  <a:pt x="960" y="1183"/>
                  <a:pt x="960" y="1183"/>
                </a:cubicBezTo>
                <a:cubicBezTo>
                  <a:pt x="958" y="1181"/>
                  <a:pt x="958" y="1181"/>
                  <a:pt x="958" y="1181"/>
                </a:cubicBezTo>
                <a:cubicBezTo>
                  <a:pt x="958" y="1180"/>
                  <a:pt x="958" y="1180"/>
                  <a:pt x="958" y="1180"/>
                </a:cubicBezTo>
                <a:cubicBezTo>
                  <a:pt x="957" y="1180"/>
                  <a:pt x="957" y="1180"/>
                  <a:pt x="957" y="1180"/>
                </a:cubicBezTo>
                <a:cubicBezTo>
                  <a:pt x="957" y="1180"/>
                  <a:pt x="957" y="1180"/>
                  <a:pt x="956" y="1181"/>
                </a:cubicBezTo>
                <a:cubicBezTo>
                  <a:pt x="956" y="1181"/>
                  <a:pt x="956" y="1181"/>
                  <a:pt x="955" y="1181"/>
                </a:cubicBezTo>
                <a:cubicBezTo>
                  <a:pt x="955" y="1181"/>
                  <a:pt x="955" y="1181"/>
                  <a:pt x="954" y="1180"/>
                </a:cubicBezTo>
                <a:cubicBezTo>
                  <a:pt x="954" y="1180"/>
                  <a:pt x="954" y="1180"/>
                  <a:pt x="953" y="1180"/>
                </a:cubicBezTo>
                <a:cubicBezTo>
                  <a:pt x="953" y="1180"/>
                  <a:pt x="953" y="1180"/>
                  <a:pt x="953" y="1181"/>
                </a:cubicBezTo>
                <a:cubicBezTo>
                  <a:pt x="953" y="1181"/>
                  <a:pt x="953" y="1181"/>
                  <a:pt x="953" y="1182"/>
                </a:cubicBezTo>
                <a:close/>
                <a:moveTo>
                  <a:pt x="952" y="1196"/>
                </a:moveTo>
                <a:cubicBezTo>
                  <a:pt x="950" y="1195"/>
                  <a:pt x="950" y="1195"/>
                  <a:pt x="950" y="1195"/>
                </a:cubicBezTo>
                <a:cubicBezTo>
                  <a:pt x="951" y="1194"/>
                  <a:pt x="951" y="1194"/>
                  <a:pt x="951" y="1194"/>
                </a:cubicBezTo>
                <a:cubicBezTo>
                  <a:pt x="951" y="1193"/>
                  <a:pt x="951" y="1193"/>
                  <a:pt x="951" y="1193"/>
                </a:cubicBezTo>
                <a:cubicBezTo>
                  <a:pt x="950" y="1191"/>
                  <a:pt x="950" y="1191"/>
                  <a:pt x="950" y="1191"/>
                </a:cubicBezTo>
                <a:cubicBezTo>
                  <a:pt x="950" y="1190"/>
                  <a:pt x="950" y="1190"/>
                  <a:pt x="950" y="1190"/>
                </a:cubicBezTo>
                <a:cubicBezTo>
                  <a:pt x="949" y="1190"/>
                  <a:pt x="949" y="1190"/>
                  <a:pt x="949" y="1190"/>
                </a:cubicBezTo>
                <a:cubicBezTo>
                  <a:pt x="949" y="1191"/>
                  <a:pt x="949" y="1191"/>
                  <a:pt x="949" y="1191"/>
                </a:cubicBezTo>
                <a:cubicBezTo>
                  <a:pt x="948" y="1192"/>
                  <a:pt x="948" y="1192"/>
                  <a:pt x="948" y="1192"/>
                </a:cubicBezTo>
                <a:cubicBezTo>
                  <a:pt x="949" y="1193"/>
                  <a:pt x="949" y="1193"/>
                  <a:pt x="949" y="1193"/>
                </a:cubicBezTo>
                <a:cubicBezTo>
                  <a:pt x="948" y="1194"/>
                  <a:pt x="948" y="1194"/>
                  <a:pt x="948" y="1194"/>
                </a:cubicBezTo>
                <a:cubicBezTo>
                  <a:pt x="948" y="1195"/>
                  <a:pt x="948" y="1195"/>
                  <a:pt x="948" y="1195"/>
                </a:cubicBezTo>
                <a:cubicBezTo>
                  <a:pt x="950" y="1196"/>
                  <a:pt x="950" y="1196"/>
                  <a:pt x="950" y="1196"/>
                </a:cubicBezTo>
                <a:cubicBezTo>
                  <a:pt x="951" y="1196"/>
                  <a:pt x="951" y="1196"/>
                  <a:pt x="951" y="1196"/>
                </a:cubicBezTo>
                <a:cubicBezTo>
                  <a:pt x="952" y="1196"/>
                  <a:pt x="952" y="1196"/>
                  <a:pt x="952" y="1196"/>
                </a:cubicBezTo>
                <a:close/>
                <a:moveTo>
                  <a:pt x="913" y="1123"/>
                </a:moveTo>
                <a:cubicBezTo>
                  <a:pt x="913" y="1123"/>
                  <a:pt x="913" y="1123"/>
                  <a:pt x="912" y="1122"/>
                </a:cubicBezTo>
                <a:cubicBezTo>
                  <a:pt x="912" y="1122"/>
                  <a:pt x="912" y="1122"/>
                  <a:pt x="911" y="1121"/>
                </a:cubicBezTo>
                <a:cubicBezTo>
                  <a:pt x="911" y="1121"/>
                  <a:pt x="911" y="1121"/>
                  <a:pt x="910" y="1122"/>
                </a:cubicBezTo>
                <a:cubicBezTo>
                  <a:pt x="910" y="1122"/>
                  <a:pt x="910" y="1122"/>
                  <a:pt x="912" y="1123"/>
                </a:cubicBezTo>
                <a:cubicBezTo>
                  <a:pt x="912" y="1123"/>
                  <a:pt x="912" y="1123"/>
                  <a:pt x="913" y="1123"/>
                </a:cubicBezTo>
                <a:close/>
                <a:moveTo>
                  <a:pt x="932" y="1173"/>
                </a:moveTo>
                <a:cubicBezTo>
                  <a:pt x="930" y="1173"/>
                  <a:pt x="930" y="1173"/>
                  <a:pt x="930" y="1173"/>
                </a:cubicBezTo>
                <a:cubicBezTo>
                  <a:pt x="932" y="1174"/>
                  <a:pt x="932" y="1174"/>
                  <a:pt x="932" y="1174"/>
                </a:cubicBezTo>
                <a:cubicBezTo>
                  <a:pt x="933" y="1174"/>
                  <a:pt x="933" y="1174"/>
                  <a:pt x="933" y="1174"/>
                </a:cubicBezTo>
                <a:cubicBezTo>
                  <a:pt x="934" y="1175"/>
                  <a:pt x="934" y="1175"/>
                  <a:pt x="934" y="1175"/>
                </a:cubicBezTo>
                <a:cubicBezTo>
                  <a:pt x="934" y="1174"/>
                  <a:pt x="934" y="1174"/>
                  <a:pt x="934" y="1173"/>
                </a:cubicBezTo>
                <a:cubicBezTo>
                  <a:pt x="933" y="1173"/>
                  <a:pt x="933" y="1173"/>
                  <a:pt x="933" y="1173"/>
                </a:cubicBezTo>
                <a:cubicBezTo>
                  <a:pt x="932" y="1173"/>
                  <a:pt x="932" y="1173"/>
                  <a:pt x="932" y="1173"/>
                </a:cubicBezTo>
                <a:close/>
                <a:moveTo>
                  <a:pt x="971" y="1210"/>
                </a:moveTo>
                <a:cubicBezTo>
                  <a:pt x="971" y="1210"/>
                  <a:pt x="971" y="1210"/>
                  <a:pt x="972" y="1210"/>
                </a:cubicBezTo>
                <a:cubicBezTo>
                  <a:pt x="972" y="1210"/>
                  <a:pt x="972" y="1210"/>
                  <a:pt x="973" y="1211"/>
                </a:cubicBezTo>
                <a:cubicBezTo>
                  <a:pt x="973" y="1211"/>
                  <a:pt x="973" y="1211"/>
                  <a:pt x="973" y="1209"/>
                </a:cubicBezTo>
                <a:cubicBezTo>
                  <a:pt x="973" y="1209"/>
                  <a:pt x="973" y="1209"/>
                  <a:pt x="972" y="1209"/>
                </a:cubicBezTo>
                <a:cubicBezTo>
                  <a:pt x="972" y="1209"/>
                  <a:pt x="972" y="1209"/>
                  <a:pt x="971" y="1210"/>
                </a:cubicBezTo>
                <a:close/>
                <a:moveTo>
                  <a:pt x="917" y="1152"/>
                </a:moveTo>
                <a:cubicBezTo>
                  <a:pt x="917" y="1152"/>
                  <a:pt x="917" y="1152"/>
                  <a:pt x="917" y="1149"/>
                </a:cubicBezTo>
                <a:cubicBezTo>
                  <a:pt x="917" y="1149"/>
                  <a:pt x="917" y="1149"/>
                  <a:pt x="916" y="1148"/>
                </a:cubicBezTo>
                <a:cubicBezTo>
                  <a:pt x="916" y="1148"/>
                  <a:pt x="916" y="1148"/>
                  <a:pt x="914" y="1148"/>
                </a:cubicBezTo>
                <a:cubicBezTo>
                  <a:pt x="914" y="1148"/>
                  <a:pt x="914" y="1148"/>
                  <a:pt x="913" y="1149"/>
                </a:cubicBezTo>
                <a:cubicBezTo>
                  <a:pt x="913" y="1149"/>
                  <a:pt x="913" y="1149"/>
                  <a:pt x="913" y="1150"/>
                </a:cubicBezTo>
                <a:cubicBezTo>
                  <a:pt x="913" y="1150"/>
                  <a:pt x="913" y="1150"/>
                  <a:pt x="914" y="1151"/>
                </a:cubicBezTo>
                <a:cubicBezTo>
                  <a:pt x="914" y="1151"/>
                  <a:pt x="914" y="1151"/>
                  <a:pt x="914" y="1152"/>
                </a:cubicBezTo>
                <a:cubicBezTo>
                  <a:pt x="914" y="1152"/>
                  <a:pt x="914" y="1152"/>
                  <a:pt x="914" y="1153"/>
                </a:cubicBezTo>
                <a:cubicBezTo>
                  <a:pt x="914" y="1153"/>
                  <a:pt x="914" y="1153"/>
                  <a:pt x="915" y="1153"/>
                </a:cubicBezTo>
                <a:cubicBezTo>
                  <a:pt x="915" y="1153"/>
                  <a:pt x="915" y="1153"/>
                  <a:pt x="914" y="1154"/>
                </a:cubicBezTo>
                <a:cubicBezTo>
                  <a:pt x="914" y="1154"/>
                  <a:pt x="914" y="1154"/>
                  <a:pt x="913" y="1154"/>
                </a:cubicBezTo>
                <a:cubicBezTo>
                  <a:pt x="913" y="1154"/>
                  <a:pt x="913" y="1154"/>
                  <a:pt x="914" y="1157"/>
                </a:cubicBezTo>
                <a:cubicBezTo>
                  <a:pt x="914" y="1157"/>
                  <a:pt x="914" y="1157"/>
                  <a:pt x="914" y="1158"/>
                </a:cubicBezTo>
                <a:cubicBezTo>
                  <a:pt x="914" y="1158"/>
                  <a:pt x="914" y="1158"/>
                  <a:pt x="916" y="1159"/>
                </a:cubicBezTo>
                <a:cubicBezTo>
                  <a:pt x="916" y="1159"/>
                  <a:pt x="916" y="1159"/>
                  <a:pt x="916" y="1157"/>
                </a:cubicBezTo>
                <a:cubicBezTo>
                  <a:pt x="916" y="1157"/>
                  <a:pt x="916" y="1157"/>
                  <a:pt x="917" y="1158"/>
                </a:cubicBezTo>
                <a:cubicBezTo>
                  <a:pt x="917" y="1158"/>
                  <a:pt x="917" y="1158"/>
                  <a:pt x="917" y="1160"/>
                </a:cubicBezTo>
                <a:cubicBezTo>
                  <a:pt x="917" y="1160"/>
                  <a:pt x="917" y="1160"/>
                  <a:pt x="918" y="1160"/>
                </a:cubicBezTo>
                <a:cubicBezTo>
                  <a:pt x="918" y="1160"/>
                  <a:pt x="918" y="1160"/>
                  <a:pt x="919" y="1159"/>
                </a:cubicBezTo>
                <a:cubicBezTo>
                  <a:pt x="919" y="1159"/>
                  <a:pt x="919" y="1159"/>
                  <a:pt x="919" y="1158"/>
                </a:cubicBezTo>
                <a:cubicBezTo>
                  <a:pt x="919" y="1158"/>
                  <a:pt x="919" y="1158"/>
                  <a:pt x="918" y="1156"/>
                </a:cubicBezTo>
                <a:cubicBezTo>
                  <a:pt x="918" y="1156"/>
                  <a:pt x="918" y="1156"/>
                  <a:pt x="918" y="1155"/>
                </a:cubicBezTo>
                <a:cubicBezTo>
                  <a:pt x="918" y="1155"/>
                  <a:pt x="918" y="1155"/>
                  <a:pt x="918" y="1154"/>
                </a:cubicBezTo>
                <a:cubicBezTo>
                  <a:pt x="918" y="1153"/>
                  <a:pt x="918" y="1153"/>
                  <a:pt x="918" y="1153"/>
                </a:cubicBezTo>
                <a:cubicBezTo>
                  <a:pt x="918" y="1153"/>
                  <a:pt x="918" y="1153"/>
                  <a:pt x="917" y="1152"/>
                </a:cubicBezTo>
                <a:close/>
                <a:moveTo>
                  <a:pt x="947" y="1204"/>
                </a:moveTo>
                <a:cubicBezTo>
                  <a:pt x="947" y="1204"/>
                  <a:pt x="947" y="1204"/>
                  <a:pt x="948" y="1204"/>
                </a:cubicBezTo>
                <a:cubicBezTo>
                  <a:pt x="948" y="1204"/>
                  <a:pt x="948" y="1204"/>
                  <a:pt x="948" y="1203"/>
                </a:cubicBezTo>
                <a:cubicBezTo>
                  <a:pt x="948" y="1203"/>
                  <a:pt x="948" y="1203"/>
                  <a:pt x="947" y="1203"/>
                </a:cubicBezTo>
                <a:cubicBezTo>
                  <a:pt x="947" y="1203"/>
                  <a:pt x="947" y="1203"/>
                  <a:pt x="947" y="1204"/>
                </a:cubicBezTo>
                <a:close/>
                <a:moveTo>
                  <a:pt x="910" y="1122"/>
                </a:moveTo>
                <a:cubicBezTo>
                  <a:pt x="910" y="1122"/>
                  <a:pt x="910" y="1122"/>
                  <a:pt x="909" y="1122"/>
                </a:cubicBezTo>
                <a:cubicBezTo>
                  <a:pt x="909" y="1122"/>
                  <a:pt x="909" y="1122"/>
                  <a:pt x="909" y="1123"/>
                </a:cubicBezTo>
                <a:cubicBezTo>
                  <a:pt x="909" y="1123"/>
                  <a:pt x="909" y="1123"/>
                  <a:pt x="910" y="1123"/>
                </a:cubicBezTo>
                <a:cubicBezTo>
                  <a:pt x="910" y="1123"/>
                  <a:pt x="910" y="1123"/>
                  <a:pt x="910" y="1122"/>
                </a:cubicBezTo>
                <a:close/>
                <a:moveTo>
                  <a:pt x="911" y="1152"/>
                </a:moveTo>
                <a:cubicBezTo>
                  <a:pt x="911" y="1152"/>
                  <a:pt x="911" y="1152"/>
                  <a:pt x="911" y="1153"/>
                </a:cubicBezTo>
                <a:cubicBezTo>
                  <a:pt x="911" y="1153"/>
                  <a:pt x="911" y="1153"/>
                  <a:pt x="912" y="1153"/>
                </a:cubicBezTo>
                <a:cubicBezTo>
                  <a:pt x="912" y="1153"/>
                  <a:pt x="912" y="1153"/>
                  <a:pt x="913" y="1151"/>
                </a:cubicBezTo>
                <a:cubicBezTo>
                  <a:pt x="913" y="1151"/>
                  <a:pt x="913" y="1151"/>
                  <a:pt x="913" y="1150"/>
                </a:cubicBezTo>
                <a:cubicBezTo>
                  <a:pt x="913" y="1150"/>
                  <a:pt x="913" y="1150"/>
                  <a:pt x="911" y="1150"/>
                </a:cubicBezTo>
                <a:cubicBezTo>
                  <a:pt x="911" y="1150"/>
                  <a:pt x="911" y="1150"/>
                  <a:pt x="911" y="1152"/>
                </a:cubicBezTo>
                <a:close/>
                <a:moveTo>
                  <a:pt x="970" y="1212"/>
                </a:moveTo>
                <a:cubicBezTo>
                  <a:pt x="971" y="1211"/>
                  <a:pt x="971" y="1211"/>
                  <a:pt x="971" y="1211"/>
                </a:cubicBezTo>
                <a:cubicBezTo>
                  <a:pt x="970" y="1211"/>
                  <a:pt x="970" y="1211"/>
                  <a:pt x="970" y="1211"/>
                </a:cubicBezTo>
                <a:cubicBezTo>
                  <a:pt x="970" y="1212"/>
                  <a:pt x="970" y="1212"/>
                  <a:pt x="970" y="1212"/>
                </a:cubicBezTo>
                <a:close/>
                <a:moveTo>
                  <a:pt x="913" y="1147"/>
                </a:moveTo>
                <a:cubicBezTo>
                  <a:pt x="913" y="1147"/>
                  <a:pt x="913" y="1147"/>
                  <a:pt x="912" y="1145"/>
                </a:cubicBezTo>
                <a:cubicBezTo>
                  <a:pt x="912" y="1145"/>
                  <a:pt x="912" y="1145"/>
                  <a:pt x="911" y="1143"/>
                </a:cubicBezTo>
                <a:cubicBezTo>
                  <a:pt x="911" y="1143"/>
                  <a:pt x="911" y="1143"/>
                  <a:pt x="909" y="1142"/>
                </a:cubicBezTo>
                <a:cubicBezTo>
                  <a:pt x="909" y="1142"/>
                  <a:pt x="909" y="1142"/>
                  <a:pt x="909" y="1143"/>
                </a:cubicBezTo>
                <a:cubicBezTo>
                  <a:pt x="909" y="1143"/>
                  <a:pt x="909" y="1143"/>
                  <a:pt x="909" y="1144"/>
                </a:cubicBezTo>
                <a:cubicBezTo>
                  <a:pt x="909" y="1144"/>
                  <a:pt x="909" y="1144"/>
                  <a:pt x="909" y="1145"/>
                </a:cubicBezTo>
                <a:cubicBezTo>
                  <a:pt x="909" y="1145"/>
                  <a:pt x="909" y="1145"/>
                  <a:pt x="911" y="1145"/>
                </a:cubicBezTo>
                <a:cubicBezTo>
                  <a:pt x="911" y="1145"/>
                  <a:pt x="911" y="1145"/>
                  <a:pt x="911" y="1146"/>
                </a:cubicBezTo>
                <a:cubicBezTo>
                  <a:pt x="911" y="1146"/>
                  <a:pt x="911" y="1146"/>
                  <a:pt x="912" y="1148"/>
                </a:cubicBezTo>
                <a:cubicBezTo>
                  <a:pt x="912" y="1148"/>
                  <a:pt x="912" y="1148"/>
                  <a:pt x="913" y="1149"/>
                </a:cubicBezTo>
                <a:cubicBezTo>
                  <a:pt x="913" y="1149"/>
                  <a:pt x="913" y="1149"/>
                  <a:pt x="913" y="1148"/>
                </a:cubicBezTo>
                <a:cubicBezTo>
                  <a:pt x="913" y="1148"/>
                  <a:pt x="913" y="1148"/>
                  <a:pt x="913" y="1147"/>
                </a:cubicBezTo>
                <a:close/>
                <a:moveTo>
                  <a:pt x="909" y="1146"/>
                </a:moveTo>
                <a:cubicBezTo>
                  <a:pt x="909" y="1146"/>
                  <a:pt x="909" y="1146"/>
                  <a:pt x="909" y="1147"/>
                </a:cubicBezTo>
                <a:cubicBezTo>
                  <a:pt x="909" y="1147"/>
                  <a:pt x="909" y="1147"/>
                  <a:pt x="910" y="1148"/>
                </a:cubicBezTo>
                <a:cubicBezTo>
                  <a:pt x="910" y="1148"/>
                  <a:pt x="910" y="1148"/>
                  <a:pt x="911" y="1148"/>
                </a:cubicBezTo>
                <a:cubicBezTo>
                  <a:pt x="911" y="1148"/>
                  <a:pt x="911" y="1148"/>
                  <a:pt x="911" y="1147"/>
                </a:cubicBezTo>
                <a:cubicBezTo>
                  <a:pt x="911" y="1147"/>
                  <a:pt x="911" y="1147"/>
                  <a:pt x="911" y="1146"/>
                </a:cubicBezTo>
                <a:cubicBezTo>
                  <a:pt x="911" y="1146"/>
                  <a:pt x="911" y="1146"/>
                  <a:pt x="910" y="1146"/>
                </a:cubicBezTo>
                <a:cubicBezTo>
                  <a:pt x="910" y="1146"/>
                  <a:pt x="910" y="1146"/>
                  <a:pt x="909" y="1146"/>
                </a:cubicBezTo>
                <a:close/>
                <a:moveTo>
                  <a:pt x="905" y="1132"/>
                </a:moveTo>
                <a:cubicBezTo>
                  <a:pt x="907" y="1134"/>
                  <a:pt x="907" y="1134"/>
                  <a:pt x="907" y="1134"/>
                </a:cubicBezTo>
                <a:cubicBezTo>
                  <a:pt x="908" y="1134"/>
                  <a:pt x="908" y="1134"/>
                  <a:pt x="908" y="1134"/>
                </a:cubicBezTo>
                <a:cubicBezTo>
                  <a:pt x="908" y="1133"/>
                  <a:pt x="908" y="1133"/>
                  <a:pt x="908" y="1133"/>
                </a:cubicBezTo>
                <a:cubicBezTo>
                  <a:pt x="908" y="1132"/>
                  <a:pt x="908" y="1132"/>
                  <a:pt x="908" y="1132"/>
                </a:cubicBezTo>
                <a:cubicBezTo>
                  <a:pt x="907" y="1132"/>
                  <a:pt x="907" y="1132"/>
                  <a:pt x="907" y="1132"/>
                </a:cubicBezTo>
                <a:cubicBezTo>
                  <a:pt x="907" y="1131"/>
                  <a:pt x="907" y="1131"/>
                  <a:pt x="907" y="1131"/>
                </a:cubicBezTo>
                <a:cubicBezTo>
                  <a:pt x="907" y="1130"/>
                  <a:pt x="907" y="1130"/>
                  <a:pt x="907" y="1130"/>
                </a:cubicBezTo>
                <a:cubicBezTo>
                  <a:pt x="905" y="1131"/>
                  <a:pt x="905" y="1131"/>
                  <a:pt x="905" y="1131"/>
                </a:cubicBezTo>
                <a:cubicBezTo>
                  <a:pt x="905" y="1132"/>
                  <a:pt x="905" y="1132"/>
                  <a:pt x="905" y="1132"/>
                </a:cubicBezTo>
                <a:close/>
                <a:moveTo>
                  <a:pt x="918" y="1112"/>
                </a:moveTo>
                <a:cubicBezTo>
                  <a:pt x="918" y="1112"/>
                  <a:pt x="918" y="1112"/>
                  <a:pt x="917" y="1111"/>
                </a:cubicBezTo>
                <a:cubicBezTo>
                  <a:pt x="917" y="1111"/>
                  <a:pt x="917" y="1111"/>
                  <a:pt x="916" y="1112"/>
                </a:cubicBezTo>
                <a:cubicBezTo>
                  <a:pt x="916" y="1112"/>
                  <a:pt x="916" y="1112"/>
                  <a:pt x="915" y="1114"/>
                </a:cubicBezTo>
                <a:cubicBezTo>
                  <a:pt x="915" y="1114"/>
                  <a:pt x="915" y="1114"/>
                  <a:pt x="916" y="1115"/>
                </a:cubicBezTo>
                <a:cubicBezTo>
                  <a:pt x="916" y="1115"/>
                  <a:pt x="916" y="1115"/>
                  <a:pt x="916" y="1116"/>
                </a:cubicBezTo>
                <a:cubicBezTo>
                  <a:pt x="916" y="1116"/>
                  <a:pt x="916" y="1116"/>
                  <a:pt x="917" y="1115"/>
                </a:cubicBezTo>
                <a:cubicBezTo>
                  <a:pt x="917" y="1115"/>
                  <a:pt x="917" y="1115"/>
                  <a:pt x="918" y="1116"/>
                </a:cubicBezTo>
                <a:cubicBezTo>
                  <a:pt x="918" y="1116"/>
                  <a:pt x="918" y="1116"/>
                  <a:pt x="919" y="1115"/>
                </a:cubicBezTo>
                <a:cubicBezTo>
                  <a:pt x="919" y="1115"/>
                  <a:pt x="919" y="1115"/>
                  <a:pt x="920" y="1114"/>
                </a:cubicBezTo>
                <a:cubicBezTo>
                  <a:pt x="920" y="1114"/>
                  <a:pt x="920" y="1114"/>
                  <a:pt x="919" y="1112"/>
                </a:cubicBezTo>
                <a:cubicBezTo>
                  <a:pt x="919" y="1112"/>
                  <a:pt x="919" y="1112"/>
                  <a:pt x="918" y="1112"/>
                </a:cubicBezTo>
                <a:close/>
                <a:moveTo>
                  <a:pt x="915" y="1110"/>
                </a:moveTo>
                <a:cubicBezTo>
                  <a:pt x="915" y="1110"/>
                  <a:pt x="915" y="1110"/>
                  <a:pt x="915" y="1111"/>
                </a:cubicBezTo>
                <a:cubicBezTo>
                  <a:pt x="915" y="1111"/>
                  <a:pt x="915" y="1111"/>
                  <a:pt x="917" y="1111"/>
                </a:cubicBezTo>
                <a:cubicBezTo>
                  <a:pt x="917" y="1111"/>
                  <a:pt x="917" y="1111"/>
                  <a:pt x="916" y="1110"/>
                </a:cubicBezTo>
                <a:cubicBezTo>
                  <a:pt x="916" y="1110"/>
                  <a:pt x="916" y="1110"/>
                  <a:pt x="915" y="1110"/>
                </a:cubicBezTo>
                <a:close/>
                <a:moveTo>
                  <a:pt x="960" y="692"/>
                </a:moveTo>
                <a:cubicBezTo>
                  <a:pt x="961" y="692"/>
                  <a:pt x="961" y="692"/>
                  <a:pt x="961" y="692"/>
                </a:cubicBezTo>
                <a:cubicBezTo>
                  <a:pt x="960" y="691"/>
                  <a:pt x="960" y="691"/>
                  <a:pt x="960" y="691"/>
                </a:cubicBezTo>
                <a:cubicBezTo>
                  <a:pt x="960" y="692"/>
                  <a:pt x="960" y="692"/>
                  <a:pt x="960" y="692"/>
                </a:cubicBezTo>
                <a:close/>
                <a:moveTo>
                  <a:pt x="965" y="693"/>
                </a:moveTo>
                <a:cubicBezTo>
                  <a:pt x="966" y="695"/>
                  <a:pt x="966" y="695"/>
                  <a:pt x="966" y="695"/>
                </a:cubicBezTo>
                <a:cubicBezTo>
                  <a:pt x="967" y="695"/>
                  <a:pt x="967" y="695"/>
                  <a:pt x="967" y="695"/>
                </a:cubicBezTo>
                <a:cubicBezTo>
                  <a:pt x="966" y="692"/>
                  <a:pt x="966" y="692"/>
                  <a:pt x="966" y="692"/>
                </a:cubicBezTo>
                <a:cubicBezTo>
                  <a:pt x="965" y="693"/>
                  <a:pt x="965" y="693"/>
                  <a:pt x="965" y="693"/>
                </a:cubicBezTo>
                <a:close/>
                <a:moveTo>
                  <a:pt x="963" y="694"/>
                </a:moveTo>
                <a:cubicBezTo>
                  <a:pt x="963" y="695"/>
                  <a:pt x="963" y="695"/>
                  <a:pt x="963" y="695"/>
                </a:cubicBezTo>
                <a:cubicBezTo>
                  <a:pt x="964" y="697"/>
                  <a:pt x="964" y="697"/>
                  <a:pt x="964" y="697"/>
                </a:cubicBezTo>
                <a:cubicBezTo>
                  <a:pt x="965" y="695"/>
                  <a:pt x="965" y="695"/>
                  <a:pt x="965" y="695"/>
                </a:cubicBezTo>
                <a:cubicBezTo>
                  <a:pt x="964" y="694"/>
                  <a:pt x="964" y="694"/>
                  <a:pt x="964" y="694"/>
                </a:cubicBezTo>
                <a:cubicBezTo>
                  <a:pt x="963" y="694"/>
                  <a:pt x="963" y="694"/>
                  <a:pt x="963" y="694"/>
                </a:cubicBezTo>
                <a:close/>
                <a:moveTo>
                  <a:pt x="966" y="697"/>
                </a:moveTo>
                <a:cubicBezTo>
                  <a:pt x="967" y="698"/>
                  <a:pt x="967" y="698"/>
                  <a:pt x="967" y="698"/>
                </a:cubicBezTo>
                <a:cubicBezTo>
                  <a:pt x="967" y="696"/>
                  <a:pt x="967" y="696"/>
                  <a:pt x="967" y="696"/>
                </a:cubicBezTo>
                <a:cubicBezTo>
                  <a:pt x="966" y="697"/>
                  <a:pt x="966" y="697"/>
                  <a:pt x="966" y="697"/>
                </a:cubicBezTo>
                <a:close/>
                <a:moveTo>
                  <a:pt x="965" y="699"/>
                </a:moveTo>
                <a:cubicBezTo>
                  <a:pt x="965" y="699"/>
                  <a:pt x="965" y="699"/>
                  <a:pt x="965" y="699"/>
                </a:cubicBezTo>
                <a:cubicBezTo>
                  <a:pt x="965" y="699"/>
                  <a:pt x="965" y="699"/>
                  <a:pt x="965" y="699"/>
                </a:cubicBezTo>
                <a:close/>
                <a:moveTo>
                  <a:pt x="965" y="702"/>
                </a:moveTo>
                <a:cubicBezTo>
                  <a:pt x="965" y="702"/>
                  <a:pt x="965" y="702"/>
                  <a:pt x="966" y="702"/>
                </a:cubicBezTo>
                <a:cubicBezTo>
                  <a:pt x="966" y="702"/>
                  <a:pt x="966" y="702"/>
                  <a:pt x="966" y="700"/>
                </a:cubicBezTo>
                <a:cubicBezTo>
                  <a:pt x="966" y="700"/>
                  <a:pt x="966" y="700"/>
                  <a:pt x="965" y="699"/>
                </a:cubicBezTo>
                <a:cubicBezTo>
                  <a:pt x="965" y="700"/>
                  <a:pt x="965" y="700"/>
                  <a:pt x="965" y="700"/>
                </a:cubicBezTo>
                <a:cubicBezTo>
                  <a:pt x="965" y="700"/>
                  <a:pt x="965" y="700"/>
                  <a:pt x="965" y="702"/>
                </a:cubicBezTo>
                <a:close/>
                <a:moveTo>
                  <a:pt x="968" y="711"/>
                </a:moveTo>
                <a:cubicBezTo>
                  <a:pt x="968" y="709"/>
                  <a:pt x="968" y="709"/>
                  <a:pt x="968" y="709"/>
                </a:cubicBezTo>
                <a:cubicBezTo>
                  <a:pt x="966" y="711"/>
                  <a:pt x="966" y="711"/>
                  <a:pt x="966" y="711"/>
                </a:cubicBezTo>
                <a:cubicBezTo>
                  <a:pt x="967" y="712"/>
                  <a:pt x="967" y="712"/>
                  <a:pt x="967" y="712"/>
                </a:cubicBezTo>
                <a:cubicBezTo>
                  <a:pt x="968" y="713"/>
                  <a:pt x="968" y="713"/>
                  <a:pt x="968" y="713"/>
                </a:cubicBezTo>
                <a:cubicBezTo>
                  <a:pt x="968" y="711"/>
                  <a:pt x="968" y="711"/>
                  <a:pt x="968" y="711"/>
                </a:cubicBezTo>
                <a:close/>
                <a:moveTo>
                  <a:pt x="968" y="708"/>
                </a:moveTo>
                <a:cubicBezTo>
                  <a:pt x="969" y="707"/>
                  <a:pt x="969" y="707"/>
                  <a:pt x="969" y="707"/>
                </a:cubicBezTo>
                <a:cubicBezTo>
                  <a:pt x="968" y="704"/>
                  <a:pt x="968" y="704"/>
                  <a:pt x="968" y="704"/>
                </a:cubicBezTo>
                <a:cubicBezTo>
                  <a:pt x="965" y="704"/>
                  <a:pt x="965" y="704"/>
                  <a:pt x="965" y="704"/>
                </a:cubicBezTo>
                <a:cubicBezTo>
                  <a:pt x="965" y="705"/>
                  <a:pt x="965" y="705"/>
                  <a:pt x="965" y="705"/>
                </a:cubicBezTo>
                <a:cubicBezTo>
                  <a:pt x="967" y="706"/>
                  <a:pt x="967" y="706"/>
                  <a:pt x="967" y="706"/>
                </a:cubicBezTo>
                <a:cubicBezTo>
                  <a:pt x="967" y="707"/>
                  <a:pt x="967" y="707"/>
                  <a:pt x="967" y="707"/>
                </a:cubicBezTo>
                <a:cubicBezTo>
                  <a:pt x="968" y="708"/>
                  <a:pt x="968" y="708"/>
                  <a:pt x="968" y="708"/>
                </a:cubicBezTo>
                <a:close/>
                <a:moveTo>
                  <a:pt x="977" y="716"/>
                </a:moveTo>
                <a:cubicBezTo>
                  <a:pt x="978" y="716"/>
                  <a:pt x="978" y="716"/>
                  <a:pt x="978" y="716"/>
                </a:cubicBezTo>
                <a:cubicBezTo>
                  <a:pt x="978" y="715"/>
                  <a:pt x="978" y="715"/>
                  <a:pt x="978" y="715"/>
                </a:cubicBezTo>
                <a:cubicBezTo>
                  <a:pt x="977" y="714"/>
                  <a:pt x="977" y="714"/>
                  <a:pt x="977" y="714"/>
                </a:cubicBezTo>
                <a:cubicBezTo>
                  <a:pt x="976" y="715"/>
                  <a:pt x="976" y="715"/>
                  <a:pt x="976" y="715"/>
                </a:cubicBezTo>
                <a:cubicBezTo>
                  <a:pt x="977" y="716"/>
                  <a:pt x="977" y="716"/>
                  <a:pt x="977" y="716"/>
                </a:cubicBezTo>
                <a:close/>
                <a:moveTo>
                  <a:pt x="965" y="720"/>
                </a:moveTo>
                <a:cubicBezTo>
                  <a:pt x="965" y="720"/>
                  <a:pt x="965" y="720"/>
                  <a:pt x="966" y="720"/>
                </a:cubicBezTo>
                <a:cubicBezTo>
                  <a:pt x="966" y="720"/>
                  <a:pt x="966" y="720"/>
                  <a:pt x="965" y="719"/>
                </a:cubicBezTo>
                <a:lnTo>
                  <a:pt x="965" y="720"/>
                </a:lnTo>
                <a:close/>
                <a:moveTo>
                  <a:pt x="966" y="713"/>
                </a:moveTo>
                <a:cubicBezTo>
                  <a:pt x="966" y="717"/>
                  <a:pt x="966" y="717"/>
                  <a:pt x="966" y="717"/>
                </a:cubicBezTo>
                <a:cubicBezTo>
                  <a:pt x="966" y="717"/>
                  <a:pt x="966" y="717"/>
                  <a:pt x="967" y="715"/>
                </a:cubicBezTo>
                <a:cubicBezTo>
                  <a:pt x="967" y="715"/>
                  <a:pt x="967" y="715"/>
                  <a:pt x="966" y="713"/>
                </a:cubicBezTo>
                <a:close/>
                <a:moveTo>
                  <a:pt x="964" y="723"/>
                </a:moveTo>
                <a:cubicBezTo>
                  <a:pt x="965" y="722"/>
                  <a:pt x="965" y="722"/>
                  <a:pt x="965" y="722"/>
                </a:cubicBezTo>
                <a:cubicBezTo>
                  <a:pt x="964" y="721"/>
                  <a:pt x="964" y="721"/>
                  <a:pt x="964" y="721"/>
                </a:cubicBezTo>
                <a:cubicBezTo>
                  <a:pt x="963" y="721"/>
                  <a:pt x="963" y="721"/>
                  <a:pt x="963" y="721"/>
                </a:cubicBezTo>
                <a:cubicBezTo>
                  <a:pt x="962" y="723"/>
                  <a:pt x="962" y="723"/>
                  <a:pt x="962" y="723"/>
                </a:cubicBezTo>
                <a:cubicBezTo>
                  <a:pt x="964" y="723"/>
                  <a:pt x="964" y="723"/>
                  <a:pt x="964" y="723"/>
                </a:cubicBezTo>
                <a:close/>
                <a:moveTo>
                  <a:pt x="965" y="731"/>
                </a:moveTo>
                <a:cubicBezTo>
                  <a:pt x="964" y="730"/>
                  <a:pt x="964" y="730"/>
                  <a:pt x="964" y="730"/>
                </a:cubicBezTo>
                <a:cubicBezTo>
                  <a:pt x="963" y="731"/>
                  <a:pt x="963" y="731"/>
                  <a:pt x="963" y="731"/>
                </a:cubicBezTo>
                <a:cubicBezTo>
                  <a:pt x="962" y="731"/>
                  <a:pt x="962" y="731"/>
                  <a:pt x="962" y="731"/>
                </a:cubicBezTo>
                <a:cubicBezTo>
                  <a:pt x="964" y="732"/>
                  <a:pt x="964" y="732"/>
                  <a:pt x="964" y="732"/>
                </a:cubicBezTo>
                <a:cubicBezTo>
                  <a:pt x="964" y="734"/>
                  <a:pt x="964" y="734"/>
                  <a:pt x="964" y="734"/>
                </a:cubicBezTo>
                <a:cubicBezTo>
                  <a:pt x="963" y="735"/>
                  <a:pt x="963" y="735"/>
                  <a:pt x="963" y="735"/>
                </a:cubicBezTo>
                <a:cubicBezTo>
                  <a:pt x="961" y="735"/>
                  <a:pt x="961" y="735"/>
                  <a:pt x="961" y="735"/>
                </a:cubicBezTo>
                <a:cubicBezTo>
                  <a:pt x="963" y="736"/>
                  <a:pt x="963" y="736"/>
                  <a:pt x="963" y="736"/>
                </a:cubicBezTo>
                <a:cubicBezTo>
                  <a:pt x="966" y="735"/>
                  <a:pt x="966" y="735"/>
                  <a:pt x="966" y="735"/>
                </a:cubicBezTo>
                <a:cubicBezTo>
                  <a:pt x="967" y="734"/>
                  <a:pt x="967" y="734"/>
                  <a:pt x="967" y="734"/>
                </a:cubicBezTo>
                <a:cubicBezTo>
                  <a:pt x="967" y="733"/>
                  <a:pt x="967" y="733"/>
                  <a:pt x="967" y="733"/>
                </a:cubicBezTo>
                <a:cubicBezTo>
                  <a:pt x="966" y="732"/>
                  <a:pt x="966" y="732"/>
                  <a:pt x="966" y="732"/>
                </a:cubicBezTo>
                <a:cubicBezTo>
                  <a:pt x="968" y="730"/>
                  <a:pt x="968" y="730"/>
                  <a:pt x="968" y="730"/>
                </a:cubicBezTo>
                <a:cubicBezTo>
                  <a:pt x="965" y="731"/>
                  <a:pt x="965" y="731"/>
                  <a:pt x="965" y="731"/>
                </a:cubicBezTo>
                <a:close/>
                <a:moveTo>
                  <a:pt x="970" y="728"/>
                </a:moveTo>
                <a:cubicBezTo>
                  <a:pt x="968" y="729"/>
                  <a:pt x="968" y="729"/>
                  <a:pt x="968" y="729"/>
                </a:cubicBezTo>
                <a:cubicBezTo>
                  <a:pt x="969" y="729"/>
                  <a:pt x="969" y="729"/>
                  <a:pt x="969" y="729"/>
                </a:cubicBezTo>
                <a:cubicBezTo>
                  <a:pt x="970" y="728"/>
                  <a:pt x="970" y="728"/>
                  <a:pt x="970" y="728"/>
                </a:cubicBezTo>
                <a:close/>
                <a:moveTo>
                  <a:pt x="878" y="483"/>
                </a:moveTo>
                <a:cubicBezTo>
                  <a:pt x="879" y="484"/>
                  <a:pt x="879" y="484"/>
                  <a:pt x="879" y="484"/>
                </a:cubicBezTo>
                <a:cubicBezTo>
                  <a:pt x="879" y="484"/>
                  <a:pt x="879" y="484"/>
                  <a:pt x="879" y="484"/>
                </a:cubicBezTo>
                <a:cubicBezTo>
                  <a:pt x="880" y="484"/>
                  <a:pt x="880" y="484"/>
                  <a:pt x="880" y="484"/>
                </a:cubicBezTo>
                <a:cubicBezTo>
                  <a:pt x="879" y="483"/>
                  <a:pt x="879" y="483"/>
                  <a:pt x="879" y="483"/>
                </a:cubicBezTo>
                <a:cubicBezTo>
                  <a:pt x="879" y="482"/>
                  <a:pt x="879" y="482"/>
                  <a:pt x="879" y="482"/>
                </a:cubicBezTo>
                <a:cubicBezTo>
                  <a:pt x="878" y="481"/>
                  <a:pt x="878" y="481"/>
                  <a:pt x="878" y="481"/>
                </a:cubicBezTo>
                <a:cubicBezTo>
                  <a:pt x="878" y="480"/>
                  <a:pt x="878" y="480"/>
                  <a:pt x="878" y="480"/>
                </a:cubicBezTo>
                <a:cubicBezTo>
                  <a:pt x="877" y="479"/>
                  <a:pt x="877" y="479"/>
                  <a:pt x="877" y="479"/>
                </a:cubicBezTo>
                <a:cubicBezTo>
                  <a:pt x="877" y="479"/>
                  <a:pt x="877" y="479"/>
                  <a:pt x="877" y="479"/>
                </a:cubicBezTo>
                <a:cubicBezTo>
                  <a:pt x="876" y="478"/>
                  <a:pt x="876" y="478"/>
                  <a:pt x="876" y="478"/>
                </a:cubicBezTo>
                <a:cubicBezTo>
                  <a:pt x="876" y="477"/>
                  <a:pt x="876" y="477"/>
                  <a:pt x="876" y="477"/>
                </a:cubicBezTo>
                <a:cubicBezTo>
                  <a:pt x="875" y="477"/>
                  <a:pt x="875" y="477"/>
                  <a:pt x="875" y="477"/>
                </a:cubicBezTo>
                <a:cubicBezTo>
                  <a:pt x="875" y="476"/>
                  <a:pt x="875" y="476"/>
                  <a:pt x="875" y="476"/>
                </a:cubicBezTo>
                <a:cubicBezTo>
                  <a:pt x="875" y="475"/>
                  <a:pt x="875" y="475"/>
                  <a:pt x="875" y="475"/>
                </a:cubicBezTo>
                <a:cubicBezTo>
                  <a:pt x="875" y="474"/>
                  <a:pt x="875" y="474"/>
                  <a:pt x="875" y="474"/>
                </a:cubicBezTo>
                <a:cubicBezTo>
                  <a:pt x="874" y="473"/>
                  <a:pt x="874" y="473"/>
                  <a:pt x="874" y="473"/>
                </a:cubicBezTo>
                <a:cubicBezTo>
                  <a:pt x="873" y="473"/>
                  <a:pt x="873" y="473"/>
                  <a:pt x="873" y="473"/>
                </a:cubicBezTo>
                <a:cubicBezTo>
                  <a:pt x="872" y="473"/>
                  <a:pt x="872" y="473"/>
                  <a:pt x="872" y="473"/>
                </a:cubicBezTo>
                <a:cubicBezTo>
                  <a:pt x="870" y="473"/>
                  <a:pt x="870" y="473"/>
                  <a:pt x="870" y="473"/>
                </a:cubicBezTo>
                <a:cubicBezTo>
                  <a:pt x="869" y="472"/>
                  <a:pt x="869" y="472"/>
                  <a:pt x="869" y="472"/>
                </a:cubicBezTo>
                <a:cubicBezTo>
                  <a:pt x="869" y="472"/>
                  <a:pt x="869" y="472"/>
                  <a:pt x="869" y="472"/>
                </a:cubicBezTo>
                <a:cubicBezTo>
                  <a:pt x="868" y="472"/>
                  <a:pt x="868" y="472"/>
                  <a:pt x="868" y="472"/>
                </a:cubicBezTo>
                <a:cubicBezTo>
                  <a:pt x="868" y="472"/>
                  <a:pt x="868" y="472"/>
                  <a:pt x="868" y="472"/>
                </a:cubicBezTo>
                <a:cubicBezTo>
                  <a:pt x="866" y="471"/>
                  <a:pt x="866" y="471"/>
                  <a:pt x="866" y="471"/>
                </a:cubicBezTo>
                <a:cubicBezTo>
                  <a:pt x="865" y="471"/>
                  <a:pt x="865" y="471"/>
                  <a:pt x="865" y="471"/>
                </a:cubicBezTo>
                <a:cubicBezTo>
                  <a:pt x="863" y="471"/>
                  <a:pt x="863" y="471"/>
                  <a:pt x="863" y="471"/>
                </a:cubicBezTo>
                <a:cubicBezTo>
                  <a:pt x="859" y="470"/>
                  <a:pt x="859" y="470"/>
                  <a:pt x="859" y="470"/>
                </a:cubicBezTo>
                <a:cubicBezTo>
                  <a:pt x="859" y="470"/>
                  <a:pt x="859" y="470"/>
                  <a:pt x="859" y="470"/>
                </a:cubicBezTo>
                <a:cubicBezTo>
                  <a:pt x="858" y="469"/>
                  <a:pt x="858" y="469"/>
                  <a:pt x="858" y="469"/>
                </a:cubicBezTo>
                <a:cubicBezTo>
                  <a:pt x="857" y="469"/>
                  <a:pt x="857" y="469"/>
                  <a:pt x="857" y="469"/>
                </a:cubicBezTo>
                <a:cubicBezTo>
                  <a:pt x="856" y="469"/>
                  <a:pt x="856" y="469"/>
                  <a:pt x="856" y="469"/>
                </a:cubicBezTo>
                <a:cubicBezTo>
                  <a:pt x="856" y="468"/>
                  <a:pt x="856" y="468"/>
                  <a:pt x="856" y="468"/>
                </a:cubicBezTo>
                <a:cubicBezTo>
                  <a:pt x="853" y="467"/>
                  <a:pt x="853" y="467"/>
                  <a:pt x="853" y="467"/>
                </a:cubicBezTo>
                <a:cubicBezTo>
                  <a:pt x="853" y="466"/>
                  <a:pt x="853" y="466"/>
                  <a:pt x="853" y="466"/>
                </a:cubicBezTo>
                <a:cubicBezTo>
                  <a:pt x="854" y="466"/>
                  <a:pt x="854" y="466"/>
                  <a:pt x="854" y="466"/>
                </a:cubicBezTo>
                <a:cubicBezTo>
                  <a:pt x="855" y="465"/>
                  <a:pt x="855" y="465"/>
                  <a:pt x="855" y="465"/>
                </a:cubicBezTo>
                <a:cubicBezTo>
                  <a:pt x="855" y="464"/>
                  <a:pt x="855" y="464"/>
                  <a:pt x="855" y="464"/>
                </a:cubicBezTo>
                <a:cubicBezTo>
                  <a:pt x="854" y="463"/>
                  <a:pt x="854" y="463"/>
                  <a:pt x="854" y="463"/>
                </a:cubicBezTo>
                <a:cubicBezTo>
                  <a:pt x="853" y="464"/>
                  <a:pt x="853" y="464"/>
                  <a:pt x="853" y="464"/>
                </a:cubicBezTo>
                <a:cubicBezTo>
                  <a:pt x="853" y="463"/>
                  <a:pt x="853" y="463"/>
                  <a:pt x="853" y="463"/>
                </a:cubicBezTo>
                <a:cubicBezTo>
                  <a:pt x="853" y="462"/>
                  <a:pt x="853" y="462"/>
                  <a:pt x="853" y="462"/>
                </a:cubicBezTo>
                <a:cubicBezTo>
                  <a:pt x="853" y="462"/>
                  <a:pt x="853" y="462"/>
                  <a:pt x="853" y="462"/>
                </a:cubicBezTo>
                <a:cubicBezTo>
                  <a:pt x="854" y="461"/>
                  <a:pt x="854" y="461"/>
                  <a:pt x="854" y="461"/>
                </a:cubicBezTo>
                <a:cubicBezTo>
                  <a:pt x="854" y="460"/>
                  <a:pt x="854" y="460"/>
                  <a:pt x="854" y="460"/>
                </a:cubicBezTo>
                <a:cubicBezTo>
                  <a:pt x="853" y="459"/>
                  <a:pt x="853" y="459"/>
                  <a:pt x="853" y="459"/>
                </a:cubicBezTo>
                <a:cubicBezTo>
                  <a:pt x="853" y="458"/>
                  <a:pt x="853" y="458"/>
                  <a:pt x="853" y="458"/>
                </a:cubicBezTo>
                <a:cubicBezTo>
                  <a:pt x="853" y="457"/>
                  <a:pt x="853" y="457"/>
                  <a:pt x="853" y="457"/>
                </a:cubicBezTo>
                <a:cubicBezTo>
                  <a:pt x="853" y="456"/>
                  <a:pt x="853" y="456"/>
                  <a:pt x="853" y="456"/>
                </a:cubicBezTo>
                <a:cubicBezTo>
                  <a:pt x="854" y="456"/>
                  <a:pt x="854" y="456"/>
                  <a:pt x="854" y="456"/>
                </a:cubicBezTo>
                <a:cubicBezTo>
                  <a:pt x="854" y="456"/>
                  <a:pt x="854" y="456"/>
                  <a:pt x="854" y="456"/>
                </a:cubicBezTo>
                <a:cubicBezTo>
                  <a:pt x="854" y="455"/>
                  <a:pt x="854" y="455"/>
                  <a:pt x="854" y="455"/>
                </a:cubicBezTo>
                <a:cubicBezTo>
                  <a:pt x="853" y="455"/>
                  <a:pt x="853" y="455"/>
                  <a:pt x="853" y="455"/>
                </a:cubicBezTo>
                <a:cubicBezTo>
                  <a:pt x="851" y="454"/>
                  <a:pt x="851" y="454"/>
                  <a:pt x="851" y="454"/>
                </a:cubicBezTo>
                <a:cubicBezTo>
                  <a:pt x="850" y="455"/>
                  <a:pt x="850" y="455"/>
                  <a:pt x="850" y="455"/>
                </a:cubicBezTo>
                <a:cubicBezTo>
                  <a:pt x="848" y="454"/>
                  <a:pt x="848" y="454"/>
                  <a:pt x="848" y="454"/>
                </a:cubicBezTo>
                <a:cubicBezTo>
                  <a:pt x="847" y="452"/>
                  <a:pt x="847" y="452"/>
                  <a:pt x="847" y="452"/>
                </a:cubicBezTo>
                <a:cubicBezTo>
                  <a:pt x="847" y="451"/>
                  <a:pt x="847" y="451"/>
                  <a:pt x="847" y="451"/>
                </a:cubicBezTo>
                <a:cubicBezTo>
                  <a:pt x="844" y="449"/>
                  <a:pt x="840" y="448"/>
                  <a:pt x="836" y="446"/>
                </a:cubicBezTo>
                <a:cubicBezTo>
                  <a:pt x="836" y="448"/>
                  <a:pt x="836" y="448"/>
                  <a:pt x="836" y="448"/>
                </a:cubicBezTo>
                <a:cubicBezTo>
                  <a:pt x="835" y="448"/>
                  <a:pt x="835" y="448"/>
                  <a:pt x="835" y="448"/>
                </a:cubicBezTo>
                <a:cubicBezTo>
                  <a:pt x="835" y="449"/>
                  <a:pt x="835" y="449"/>
                  <a:pt x="835" y="449"/>
                </a:cubicBezTo>
                <a:cubicBezTo>
                  <a:pt x="834" y="449"/>
                  <a:pt x="834" y="449"/>
                  <a:pt x="834" y="449"/>
                </a:cubicBezTo>
                <a:cubicBezTo>
                  <a:pt x="834" y="448"/>
                  <a:pt x="834" y="448"/>
                  <a:pt x="834" y="448"/>
                </a:cubicBezTo>
                <a:cubicBezTo>
                  <a:pt x="835" y="446"/>
                  <a:pt x="835" y="446"/>
                  <a:pt x="835" y="446"/>
                </a:cubicBezTo>
                <a:cubicBezTo>
                  <a:pt x="835" y="446"/>
                  <a:pt x="835" y="446"/>
                  <a:pt x="835" y="446"/>
                </a:cubicBezTo>
                <a:cubicBezTo>
                  <a:pt x="835" y="446"/>
                  <a:pt x="835" y="446"/>
                  <a:pt x="834" y="446"/>
                </a:cubicBezTo>
                <a:cubicBezTo>
                  <a:pt x="834" y="446"/>
                  <a:pt x="834" y="446"/>
                  <a:pt x="834" y="446"/>
                </a:cubicBezTo>
                <a:cubicBezTo>
                  <a:pt x="834" y="448"/>
                  <a:pt x="834" y="448"/>
                  <a:pt x="834" y="448"/>
                </a:cubicBezTo>
                <a:cubicBezTo>
                  <a:pt x="833" y="449"/>
                  <a:pt x="833" y="449"/>
                  <a:pt x="833" y="449"/>
                </a:cubicBezTo>
                <a:cubicBezTo>
                  <a:pt x="833" y="450"/>
                  <a:pt x="833" y="450"/>
                  <a:pt x="833" y="450"/>
                </a:cubicBezTo>
                <a:cubicBezTo>
                  <a:pt x="832" y="450"/>
                  <a:pt x="832" y="450"/>
                  <a:pt x="832" y="450"/>
                </a:cubicBezTo>
                <a:cubicBezTo>
                  <a:pt x="831" y="450"/>
                  <a:pt x="831" y="450"/>
                  <a:pt x="831" y="450"/>
                </a:cubicBezTo>
                <a:cubicBezTo>
                  <a:pt x="832" y="449"/>
                  <a:pt x="832" y="449"/>
                  <a:pt x="832" y="449"/>
                </a:cubicBezTo>
                <a:cubicBezTo>
                  <a:pt x="832" y="449"/>
                  <a:pt x="832" y="449"/>
                  <a:pt x="832" y="449"/>
                </a:cubicBezTo>
                <a:cubicBezTo>
                  <a:pt x="831" y="449"/>
                  <a:pt x="831" y="449"/>
                  <a:pt x="831" y="449"/>
                </a:cubicBezTo>
                <a:cubicBezTo>
                  <a:pt x="829" y="450"/>
                  <a:pt x="829" y="450"/>
                  <a:pt x="829" y="450"/>
                </a:cubicBezTo>
                <a:cubicBezTo>
                  <a:pt x="828" y="451"/>
                  <a:pt x="828" y="451"/>
                  <a:pt x="828" y="451"/>
                </a:cubicBezTo>
                <a:cubicBezTo>
                  <a:pt x="827" y="452"/>
                  <a:pt x="827" y="452"/>
                  <a:pt x="827" y="452"/>
                </a:cubicBezTo>
                <a:cubicBezTo>
                  <a:pt x="826" y="453"/>
                  <a:pt x="826" y="453"/>
                  <a:pt x="826" y="453"/>
                </a:cubicBezTo>
                <a:cubicBezTo>
                  <a:pt x="825" y="453"/>
                  <a:pt x="825" y="453"/>
                  <a:pt x="825" y="453"/>
                </a:cubicBezTo>
                <a:cubicBezTo>
                  <a:pt x="824" y="454"/>
                  <a:pt x="824" y="454"/>
                  <a:pt x="824" y="454"/>
                </a:cubicBezTo>
                <a:cubicBezTo>
                  <a:pt x="822" y="454"/>
                  <a:pt x="822" y="454"/>
                  <a:pt x="822" y="454"/>
                </a:cubicBezTo>
                <a:cubicBezTo>
                  <a:pt x="819" y="455"/>
                  <a:pt x="819" y="455"/>
                  <a:pt x="819" y="455"/>
                </a:cubicBezTo>
                <a:cubicBezTo>
                  <a:pt x="815" y="457"/>
                  <a:pt x="815" y="457"/>
                  <a:pt x="815" y="457"/>
                </a:cubicBezTo>
                <a:cubicBezTo>
                  <a:pt x="814" y="459"/>
                  <a:pt x="814" y="459"/>
                  <a:pt x="814" y="459"/>
                </a:cubicBezTo>
                <a:cubicBezTo>
                  <a:pt x="813" y="460"/>
                  <a:pt x="813" y="460"/>
                  <a:pt x="813" y="460"/>
                </a:cubicBezTo>
                <a:cubicBezTo>
                  <a:pt x="812" y="460"/>
                  <a:pt x="812" y="460"/>
                  <a:pt x="812" y="460"/>
                </a:cubicBezTo>
                <a:cubicBezTo>
                  <a:pt x="811" y="460"/>
                  <a:pt x="811" y="460"/>
                  <a:pt x="811" y="460"/>
                </a:cubicBezTo>
                <a:cubicBezTo>
                  <a:pt x="810" y="462"/>
                  <a:pt x="810" y="462"/>
                  <a:pt x="810" y="462"/>
                </a:cubicBezTo>
                <a:cubicBezTo>
                  <a:pt x="809" y="462"/>
                  <a:pt x="809" y="462"/>
                  <a:pt x="809" y="462"/>
                </a:cubicBezTo>
                <a:cubicBezTo>
                  <a:pt x="808" y="463"/>
                  <a:pt x="808" y="463"/>
                  <a:pt x="808" y="463"/>
                </a:cubicBezTo>
                <a:cubicBezTo>
                  <a:pt x="809" y="463"/>
                  <a:pt x="809" y="463"/>
                  <a:pt x="809" y="463"/>
                </a:cubicBezTo>
                <a:cubicBezTo>
                  <a:pt x="809" y="464"/>
                  <a:pt x="809" y="464"/>
                  <a:pt x="809" y="464"/>
                </a:cubicBezTo>
                <a:cubicBezTo>
                  <a:pt x="810" y="464"/>
                  <a:pt x="810" y="464"/>
                  <a:pt x="810" y="464"/>
                </a:cubicBezTo>
                <a:cubicBezTo>
                  <a:pt x="812" y="463"/>
                  <a:pt x="812" y="463"/>
                  <a:pt x="812" y="463"/>
                </a:cubicBezTo>
                <a:cubicBezTo>
                  <a:pt x="812" y="462"/>
                  <a:pt x="812" y="462"/>
                  <a:pt x="812" y="462"/>
                </a:cubicBezTo>
                <a:cubicBezTo>
                  <a:pt x="814" y="462"/>
                  <a:pt x="814" y="462"/>
                  <a:pt x="814" y="462"/>
                </a:cubicBezTo>
                <a:cubicBezTo>
                  <a:pt x="815" y="461"/>
                  <a:pt x="815" y="461"/>
                  <a:pt x="815" y="461"/>
                </a:cubicBezTo>
                <a:cubicBezTo>
                  <a:pt x="815" y="461"/>
                  <a:pt x="815" y="461"/>
                  <a:pt x="815" y="461"/>
                </a:cubicBezTo>
                <a:cubicBezTo>
                  <a:pt x="817" y="461"/>
                  <a:pt x="817" y="461"/>
                  <a:pt x="817" y="461"/>
                </a:cubicBezTo>
                <a:cubicBezTo>
                  <a:pt x="817" y="462"/>
                  <a:pt x="817" y="462"/>
                  <a:pt x="817" y="462"/>
                </a:cubicBezTo>
                <a:cubicBezTo>
                  <a:pt x="816" y="462"/>
                  <a:pt x="816" y="462"/>
                  <a:pt x="816" y="462"/>
                </a:cubicBezTo>
                <a:cubicBezTo>
                  <a:pt x="816" y="464"/>
                  <a:pt x="816" y="464"/>
                  <a:pt x="816" y="464"/>
                </a:cubicBezTo>
                <a:cubicBezTo>
                  <a:pt x="816" y="464"/>
                  <a:pt x="816" y="464"/>
                  <a:pt x="816" y="464"/>
                </a:cubicBezTo>
                <a:cubicBezTo>
                  <a:pt x="816" y="464"/>
                  <a:pt x="816" y="464"/>
                  <a:pt x="816" y="464"/>
                </a:cubicBezTo>
                <a:cubicBezTo>
                  <a:pt x="816" y="464"/>
                  <a:pt x="816" y="464"/>
                  <a:pt x="816" y="464"/>
                </a:cubicBezTo>
                <a:cubicBezTo>
                  <a:pt x="817" y="464"/>
                  <a:pt x="817" y="464"/>
                  <a:pt x="817" y="464"/>
                </a:cubicBezTo>
                <a:cubicBezTo>
                  <a:pt x="817" y="465"/>
                  <a:pt x="817" y="465"/>
                  <a:pt x="817" y="465"/>
                </a:cubicBezTo>
                <a:cubicBezTo>
                  <a:pt x="818" y="465"/>
                  <a:pt x="818" y="465"/>
                  <a:pt x="818" y="465"/>
                </a:cubicBezTo>
                <a:cubicBezTo>
                  <a:pt x="819" y="465"/>
                  <a:pt x="819" y="465"/>
                  <a:pt x="819" y="465"/>
                </a:cubicBezTo>
                <a:cubicBezTo>
                  <a:pt x="820" y="465"/>
                  <a:pt x="820" y="465"/>
                  <a:pt x="820" y="465"/>
                </a:cubicBezTo>
                <a:cubicBezTo>
                  <a:pt x="823" y="463"/>
                  <a:pt x="823" y="463"/>
                  <a:pt x="823" y="463"/>
                </a:cubicBezTo>
                <a:cubicBezTo>
                  <a:pt x="824" y="463"/>
                  <a:pt x="824" y="463"/>
                  <a:pt x="824" y="463"/>
                </a:cubicBezTo>
                <a:cubicBezTo>
                  <a:pt x="825" y="463"/>
                  <a:pt x="825" y="463"/>
                  <a:pt x="825" y="463"/>
                </a:cubicBezTo>
                <a:cubicBezTo>
                  <a:pt x="826" y="463"/>
                  <a:pt x="826" y="463"/>
                  <a:pt x="826" y="463"/>
                </a:cubicBezTo>
                <a:cubicBezTo>
                  <a:pt x="827" y="462"/>
                  <a:pt x="827" y="462"/>
                  <a:pt x="827" y="462"/>
                </a:cubicBezTo>
                <a:cubicBezTo>
                  <a:pt x="828" y="461"/>
                  <a:pt x="828" y="461"/>
                  <a:pt x="828" y="461"/>
                </a:cubicBezTo>
                <a:cubicBezTo>
                  <a:pt x="829" y="461"/>
                  <a:pt x="829" y="461"/>
                  <a:pt x="829" y="461"/>
                </a:cubicBezTo>
                <a:cubicBezTo>
                  <a:pt x="829" y="461"/>
                  <a:pt x="829" y="461"/>
                  <a:pt x="829" y="461"/>
                </a:cubicBezTo>
                <a:cubicBezTo>
                  <a:pt x="830" y="460"/>
                  <a:pt x="830" y="460"/>
                  <a:pt x="830" y="460"/>
                </a:cubicBezTo>
                <a:cubicBezTo>
                  <a:pt x="831" y="459"/>
                  <a:pt x="831" y="459"/>
                  <a:pt x="831" y="459"/>
                </a:cubicBezTo>
                <a:cubicBezTo>
                  <a:pt x="832" y="459"/>
                  <a:pt x="832" y="459"/>
                  <a:pt x="832" y="459"/>
                </a:cubicBezTo>
                <a:cubicBezTo>
                  <a:pt x="832" y="458"/>
                  <a:pt x="832" y="458"/>
                  <a:pt x="832" y="458"/>
                </a:cubicBezTo>
                <a:cubicBezTo>
                  <a:pt x="834" y="458"/>
                  <a:pt x="834" y="458"/>
                  <a:pt x="834" y="458"/>
                </a:cubicBezTo>
                <a:cubicBezTo>
                  <a:pt x="834" y="458"/>
                  <a:pt x="834" y="458"/>
                  <a:pt x="834" y="458"/>
                </a:cubicBezTo>
                <a:cubicBezTo>
                  <a:pt x="836" y="458"/>
                  <a:pt x="836" y="458"/>
                  <a:pt x="836" y="458"/>
                </a:cubicBezTo>
                <a:cubicBezTo>
                  <a:pt x="836" y="458"/>
                  <a:pt x="836" y="458"/>
                  <a:pt x="836" y="458"/>
                </a:cubicBezTo>
                <a:cubicBezTo>
                  <a:pt x="836" y="459"/>
                  <a:pt x="836" y="459"/>
                  <a:pt x="836" y="459"/>
                </a:cubicBezTo>
                <a:cubicBezTo>
                  <a:pt x="835" y="459"/>
                  <a:pt x="835" y="459"/>
                  <a:pt x="835" y="459"/>
                </a:cubicBezTo>
                <a:cubicBezTo>
                  <a:pt x="834" y="460"/>
                  <a:pt x="834" y="460"/>
                  <a:pt x="834" y="460"/>
                </a:cubicBezTo>
                <a:cubicBezTo>
                  <a:pt x="832" y="461"/>
                  <a:pt x="832" y="461"/>
                  <a:pt x="832" y="461"/>
                </a:cubicBezTo>
                <a:cubicBezTo>
                  <a:pt x="832" y="462"/>
                  <a:pt x="832" y="462"/>
                  <a:pt x="832" y="462"/>
                </a:cubicBezTo>
                <a:cubicBezTo>
                  <a:pt x="832" y="463"/>
                  <a:pt x="832" y="463"/>
                  <a:pt x="832" y="463"/>
                </a:cubicBezTo>
                <a:cubicBezTo>
                  <a:pt x="831" y="463"/>
                  <a:pt x="831" y="463"/>
                  <a:pt x="831" y="463"/>
                </a:cubicBezTo>
                <a:cubicBezTo>
                  <a:pt x="832" y="463"/>
                  <a:pt x="832" y="463"/>
                  <a:pt x="832" y="463"/>
                </a:cubicBezTo>
                <a:cubicBezTo>
                  <a:pt x="832" y="463"/>
                  <a:pt x="832" y="463"/>
                  <a:pt x="832" y="463"/>
                </a:cubicBezTo>
                <a:cubicBezTo>
                  <a:pt x="833" y="462"/>
                  <a:pt x="833" y="462"/>
                  <a:pt x="833" y="462"/>
                </a:cubicBezTo>
                <a:cubicBezTo>
                  <a:pt x="835" y="463"/>
                  <a:pt x="835" y="463"/>
                  <a:pt x="835" y="463"/>
                </a:cubicBezTo>
                <a:cubicBezTo>
                  <a:pt x="835" y="463"/>
                  <a:pt x="835" y="463"/>
                  <a:pt x="835" y="463"/>
                </a:cubicBezTo>
                <a:cubicBezTo>
                  <a:pt x="836" y="465"/>
                  <a:pt x="836" y="465"/>
                  <a:pt x="836" y="465"/>
                </a:cubicBezTo>
                <a:cubicBezTo>
                  <a:pt x="837" y="466"/>
                  <a:pt x="837" y="466"/>
                  <a:pt x="837" y="466"/>
                </a:cubicBezTo>
                <a:cubicBezTo>
                  <a:pt x="837" y="466"/>
                  <a:pt x="837" y="466"/>
                  <a:pt x="837" y="466"/>
                </a:cubicBezTo>
                <a:cubicBezTo>
                  <a:pt x="839" y="466"/>
                  <a:pt x="839" y="466"/>
                  <a:pt x="839" y="466"/>
                </a:cubicBezTo>
                <a:cubicBezTo>
                  <a:pt x="840" y="467"/>
                  <a:pt x="840" y="467"/>
                  <a:pt x="840" y="467"/>
                </a:cubicBezTo>
                <a:cubicBezTo>
                  <a:pt x="841" y="467"/>
                  <a:pt x="841" y="467"/>
                  <a:pt x="841" y="467"/>
                </a:cubicBezTo>
                <a:cubicBezTo>
                  <a:pt x="842" y="466"/>
                  <a:pt x="842" y="466"/>
                  <a:pt x="842" y="466"/>
                </a:cubicBezTo>
                <a:cubicBezTo>
                  <a:pt x="843" y="466"/>
                  <a:pt x="843" y="466"/>
                  <a:pt x="843" y="466"/>
                </a:cubicBezTo>
                <a:cubicBezTo>
                  <a:pt x="843" y="466"/>
                  <a:pt x="843" y="466"/>
                  <a:pt x="843" y="466"/>
                </a:cubicBezTo>
                <a:cubicBezTo>
                  <a:pt x="844" y="465"/>
                  <a:pt x="844" y="465"/>
                  <a:pt x="844" y="465"/>
                </a:cubicBezTo>
                <a:cubicBezTo>
                  <a:pt x="844" y="466"/>
                  <a:pt x="844" y="466"/>
                  <a:pt x="844" y="466"/>
                </a:cubicBezTo>
                <a:cubicBezTo>
                  <a:pt x="845" y="465"/>
                  <a:pt x="845" y="465"/>
                  <a:pt x="845" y="465"/>
                </a:cubicBezTo>
                <a:cubicBezTo>
                  <a:pt x="846" y="466"/>
                  <a:pt x="846" y="466"/>
                  <a:pt x="846" y="466"/>
                </a:cubicBezTo>
                <a:cubicBezTo>
                  <a:pt x="847" y="466"/>
                  <a:pt x="847" y="466"/>
                  <a:pt x="847" y="466"/>
                </a:cubicBezTo>
                <a:cubicBezTo>
                  <a:pt x="848" y="466"/>
                  <a:pt x="848" y="466"/>
                  <a:pt x="848" y="466"/>
                </a:cubicBezTo>
                <a:cubicBezTo>
                  <a:pt x="849" y="465"/>
                  <a:pt x="849" y="465"/>
                  <a:pt x="849" y="465"/>
                </a:cubicBezTo>
                <a:cubicBezTo>
                  <a:pt x="850" y="465"/>
                  <a:pt x="850" y="465"/>
                  <a:pt x="850" y="465"/>
                </a:cubicBezTo>
                <a:cubicBezTo>
                  <a:pt x="850" y="465"/>
                  <a:pt x="850" y="465"/>
                  <a:pt x="850" y="465"/>
                </a:cubicBezTo>
                <a:cubicBezTo>
                  <a:pt x="851" y="466"/>
                  <a:pt x="851" y="466"/>
                  <a:pt x="851" y="466"/>
                </a:cubicBezTo>
                <a:cubicBezTo>
                  <a:pt x="850" y="467"/>
                  <a:pt x="850" y="467"/>
                  <a:pt x="850" y="467"/>
                </a:cubicBezTo>
                <a:cubicBezTo>
                  <a:pt x="851" y="468"/>
                  <a:pt x="851" y="468"/>
                  <a:pt x="851" y="468"/>
                </a:cubicBezTo>
                <a:cubicBezTo>
                  <a:pt x="852" y="468"/>
                  <a:pt x="852" y="468"/>
                  <a:pt x="852" y="468"/>
                </a:cubicBezTo>
                <a:cubicBezTo>
                  <a:pt x="852" y="468"/>
                  <a:pt x="852" y="468"/>
                  <a:pt x="852" y="468"/>
                </a:cubicBezTo>
                <a:cubicBezTo>
                  <a:pt x="853" y="468"/>
                  <a:pt x="853" y="468"/>
                  <a:pt x="853" y="468"/>
                </a:cubicBezTo>
                <a:cubicBezTo>
                  <a:pt x="854" y="469"/>
                  <a:pt x="854" y="469"/>
                  <a:pt x="854" y="469"/>
                </a:cubicBezTo>
                <a:cubicBezTo>
                  <a:pt x="855" y="470"/>
                  <a:pt x="855" y="470"/>
                  <a:pt x="855" y="470"/>
                </a:cubicBezTo>
                <a:cubicBezTo>
                  <a:pt x="855" y="471"/>
                  <a:pt x="855" y="471"/>
                  <a:pt x="855" y="471"/>
                </a:cubicBezTo>
                <a:cubicBezTo>
                  <a:pt x="856" y="471"/>
                  <a:pt x="856" y="471"/>
                  <a:pt x="856" y="471"/>
                </a:cubicBezTo>
                <a:cubicBezTo>
                  <a:pt x="856" y="472"/>
                  <a:pt x="856" y="472"/>
                  <a:pt x="856" y="472"/>
                </a:cubicBezTo>
                <a:cubicBezTo>
                  <a:pt x="856" y="472"/>
                  <a:pt x="856" y="472"/>
                  <a:pt x="856" y="472"/>
                </a:cubicBezTo>
                <a:cubicBezTo>
                  <a:pt x="855" y="472"/>
                  <a:pt x="855" y="472"/>
                  <a:pt x="855" y="472"/>
                </a:cubicBezTo>
                <a:cubicBezTo>
                  <a:pt x="854" y="472"/>
                  <a:pt x="854" y="472"/>
                  <a:pt x="854" y="472"/>
                </a:cubicBezTo>
                <a:cubicBezTo>
                  <a:pt x="853" y="471"/>
                  <a:pt x="853" y="471"/>
                  <a:pt x="853" y="471"/>
                </a:cubicBezTo>
                <a:cubicBezTo>
                  <a:pt x="852" y="471"/>
                  <a:pt x="852" y="471"/>
                  <a:pt x="852" y="471"/>
                </a:cubicBezTo>
                <a:cubicBezTo>
                  <a:pt x="852" y="471"/>
                  <a:pt x="852" y="471"/>
                  <a:pt x="852" y="471"/>
                </a:cubicBezTo>
                <a:cubicBezTo>
                  <a:pt x="852" y="472"/>
                  <a:pt x="852" y="472"/>
                  <a:pt x="852" y="472"/>
                </a:cubicBezTo>
                <a:cubicBezTo>
                  <a:pt x="851" y="473"/>
                  <a:pt x="851" y="473"/>
                  <a:pt x="851" y="473"/>
                </a:cubicBezTo>
                <a:cubicBezTo>
                  <a:pt x="851" y="473"/>
                  <a:pt x="851" y="473"/>
                  <a:pt x="851" y="473"/>
                </a:cubicBezTo>
                <a:cubicBezTo>
                  <a:pt x="851" y="474"/>
                  <a:pt x="851" y="474"/>
                  <a:pt x="851" y="474"/>
                </a:cubicBezTo>
                <a:cubicBezTo>
                  <a:pt x="850" y="473"/>
                  <a:pt x="850" y="473"/>
                  <a:pt x="850" y="473"/>
                </a:cubicBezTo>
                <a:cubicBezTo>
                  <a:pt x="850" y="472"/>
                  <a:pt x="850" y="472"/>
                  <a:pt x="850" y="472"/>
                </a:cubicBezTo>
                <a:cubicBezTo>
                  <a:pt x="849" y="471"/>
                  <a:pt x="849" y="471"/>
                  <a:pt x="849" y="471"/>
                </a:cubicBezTo>
                <a:cubicBezTo>
                  <a:pt x="848" y="471"/>
                  <a:pt x="848" y="471"/>
                  <a:pt x="848" y="471"/>
                </a:cubicBezTo>
                <a:cubicBezTo>
                  <a:pt x="847" y="471"/>
                  <a:pt x="847" y="471"/>
                  <a:pt x="847" y="471"/>
                </a:cubicBezTo>
                <a:cubicBezTo>
                  <a:pt x="846" y="471"/>
                  <a:pt x="846" y="471"/>
                  <a:pt x="846" y="471"/>
                </a:cubicBezTo>
                <a:cubicBezTo>
                  <a:pt x="845" y="471"/>
                  <a:pt x="845" y="471"/>
                  <a:pt x="845" y="471"/>
                </a:cubicBezTo>
                <a:cubicBezTo>
                  <a:pt x="844" y="471"/>
                  <a:pt x="844" y="471"/>
                  <a:pt x="844" y="471"/>
                </a:cubicBezTo>
                <a:cubicBezTo>
                  <a:pt x="842" y="471"/>
                  <a:pt x="842" y="471"/>
                  <a:pt x="842" y="471"/>
                </a:cubicBezTo>
                <a:cubicBezTo>
                  <a:pt x="841" y="471"/>
                  <a:pt x="841" y="471"/>
                  <a:pt x="841" y="471"/>
                </a:cubicBezTo>
                <a:cubicBezTo>
                  <a:pt x="841" y="472"/>
                  <a:pt x="841" y="472"/>
                  <a:pt x="841" y="472"/>
                </a:cubicBezTo>
                <a:cubicBezTo>
                  <a:pt x="840" y="472"/>
                  <a:pt x="840" y="472"/>
                  <a:pt x="840" y="472"/>
                </a:cubicBezTo>
                <a:cubicBezTo>
                  <a:pt x="840" y="472"/>
                  <a:pt x="840" y="472"/>
                  <a:pt x="840" y="472"/>
                </a:cubicBezTo>
                <a:cubicBezTo>
                  <a:pt x="840" y="472"/>
                  <a:pt x="840" y="472"/>
                  <a:pt x="840" y="472"/>
                </a:cubicBezTo>
                <a:cubicBezTo>
                  <a:pt x="839" y="471"/>
                  <a:pt x="839" y="471"/>
                  <a:pt x="839" y="471"/>
                </a:cubicBezTo>
                <a:cubicBezTo>
                  <a:pt x="839" y="472"/>
                  <a:pt x="839" y="472"/>
                  <a:pt x="839" y="472"/>
                </a:cubicBezTo>
                <a:cubicBezTo>
                  <a:pt x="838" y="472"/>
                  <a:pt x="838" y="472"/>
                  <a:pt x="838" y="472"/>
                </a:cubicBezTo>
                <a:cubicBezTo>
                  <a:pt x="837" y="473"/>
                  <a:pt x="837" y="473"/>
                  <a:pt x="837" y="473"/>
                </a:cubicBezTo>
                <a:cubicBezTo>
                  <a:pt x="836" y="474"/>
                  <a:pt x="836" y="474"/>
                  <a:pt x="836" y="474"/>
                </a:cubicBezTo>
                <a:cubicBezTo>
                  <a:pt x="836" y="474"/>
                  <a:pt x="836" y="474"/>
                  <a:pt x="836" y="474"/>
                </a:cubicBezTo>
                <a:cubicBezTo>
                  <a:pt x="834" y="477"/>
                  <a:pt x="834" y="477"/>
                  <a:pt x="834" y="477"/>
                </a:cubicBezTo>
                <a:cubicBezTo>
                  <a:pt x="832" y="478"/>
                  <a:pt x="832" y="478"/>
                  <a:pt x="832" y="478"/>
                </a:cubicBezTo>
                <a:cubicBezTo>
                  <a:pt x="831" y="479"/>
                  <a:pt x="831" y="479"/>
                  <a:pt x="831" y="479"/>
                </a:cubicBezTo>
                <a:cubicBezTo>
                  <a:pt x="830" y="480"/>
                  <a:pt x="830" y="480"/>
                  <a:pt x="830" y="480"/>
                </a:cubicBezTo>
                <a:cubicBezTo>
                  <a:pt x="830" y="482"/>
                  <a:pt x="830" y="482"/>
                  <a:pt x="830" y="482"/>
                </a:cubicBezTo>
                <a:cubicBezTo>
                  <a:pt x="829" y="482"/>
                  <a:pt x="829" y="482"/>
                  <a:pt x="829" y="482"/>
                </a:cubicBezTo>
                <a:cubicBezTo>
                  <a:pt x="829" y="483"/>
                  <a:pt x="829" y="483"/>
                  <a:pt x="829" y="483"/>
                </a:cubicBezTo>
                <a:cubicBezTo>
                  <a:pt x="830" y="483"/>
                  <a:pt x="830" y="483"/>
                  <a:pt x="830" y="483"/>
                </a:cubicBezTo>
                <a:cubicBezTo>
                  <a:pt x="831" y="482"/>
                  <a:pt x="831" y="482"/>
                  <a:pt x="831" y="482"/>
                </a:cubicBezTo>
                <a:cubicBezTo>
                  <a:pt x="831" y="481"/>
                  <a:pt x="831" y="481"/>
                  <a:pt x="831" y="481"/>
                </a:cubicBezTo>
                <a:cubicBezTo>
                  <a:pt x="832" y="481"/>
                  <a:pt x="832" y="481"/>
                  <a:pt x="832" y="481"/>
                </a:cubicBezTo>
                <a:cubicBezTo>
                  <a:pt x="832" y="481"/>
                  <a:pt x="832" y="481"/>
                  <a:pt x="832" y="481"/>
                </a:cubicBezTo>
                <a:cubicBezTo>
                  <a:pt x="833" y="481"/>
                  <a:pt x="833" y="481"/>
                  <a:pt x="833" y="481"/>
                </a:cubicBezTo>
                <a:cubicBezTo>
                  <a:pt x="832" y="483"/>
                  <a:pt x="832" y="483"/>
                  <a:pt x="832" y="483"/>
                </a:cubicBezTo>
                <a:cubicBezTo>
                  <a:pt x="832" y="485"/>
                  <a:pt x="832" y="485"/>
                  <a:pt x="832" y="485"/>
                </a:cubicBezTo>
                <a:cubicBezTo>
                  <a:pt x="832" y="485"/>
                  <a:pt x="832" y="485"/>
                  <a:pt x="832" y="485"/>
                </a:cubicBezTo>
                <a:cubicBezTo>
                  <a:pt x="831" y="487"/>
                  <a:pt x="831" y="487"/>
                  <a:pt x="831" y="487"/>
                </a:cubicBezTo>
                <a:cubicBezTo>
                  <a:pt x="830" y="488"/>
                  <a:pt x="830" y="488"/>
                  <a:pt x="830" y="488"/>
                </a:cubicBezTo>
                <a:cubicBezTo>
                  <a:pt x="830" y="489"/>
                  <a:pt x="830" y="489"/>
                  <a:pt x="830" y="489"/>
                </a:cubicBezTo>
                <a:cubicBezTo>
                  <a:pt x="830" y="490"/>
                  <a:pt x="830" y="490"/>
                  <a:pt x="830" y="490"/>
                </a:cubicBezTo>
                <a:cubicBezTo>
                  <a:pt x="830" y="491"/>
                  <a:pt x="830" y="491"/>
                  <a:pt x="830" y="491"/>
                </a:cubicBezTo>
                <a:cubicBezTo>
                  <a:pt x="828" y="493"/>
                  <a:pt x="828" y="493"/>
                  <a:pt x="828" y="493"/>
                </a:cubicBezTo>
                <a:cubicBezTo>
                  <a:pt x="828" y="494"/>
                  <a:pt x="828" y="494"/>
                  <a:pt x="828" y="494"/>
                </a:cubicBezTo>
                <a:cubicBezTo>
                  <a:pt x="827" y="496"/>
                  <a:pt x="827" y="496"/>
                  <a:pt x="827" y="496"/>
                </a:cubicBezTo>
                <a:cubicBezTo>
                  <a:pt x="827" y="498"/>
                  <a:pt x="827" y="498"/>
                  <a:pt x="827" y="498"/>
                </a:cubicBezTo>
                <a:cubicBezTo>
                  <a:pt x="827" y="498"/>
                  <a:pt x="827" y="498"/>
                  <a:pt x="827" y="498"/>
                </a:cubicBezTo>
                <a:cubicBezTo>
                  <a:pt x="827" y="500"/>
                  <a:pt x="827" y="500"/>
                  <a:pt x="827" y="500"/>
                </a:cubicBezTo>
                <a:cubicBezTo>
                  <a:pt x="826" y="502"/>
                  <a:pt x="826" y="502"/>
                  <a:pt x="826" y="502"/>
                </a:cubicBezTo>
                <a:cubicBezTo>
                  <a:pt x="827" y="502"/>
                  <a:pt x="827" y="502"/>
                  <a:pt x="827" y="502"/>
                </a:cubicBezTo>
                <a:cubicBezTo>
                  <a:pt x="827" y="505"/>
                  <a:pt x="827" y="505"/>
                  <a:pt x="827" y="505"/>
                </a:cubicBezTo>
                <a:cubicBezTo>
                  <a:pt x="827" y="505"/>
                  <a:pt x="827" y="505"/>
                  <a:pt x="827" y="505"/>
                </a:cubicBezTo>
                <a:cubicBezTo>
                  <a:pt x="827" y="506"/>
                  <a:pt x="827" y="506"/>
                  <a:pt x="827" y="506"/>
                </a:cubicBezTo>
                <a:cubicBezTo>
                  <a:pt x="828" y="507"/>
                  <a:pt x="828" y="507"/>
                  <a:pt x="828" y="507"/>
                </a:cubicBezTo>
                <a:cubicBezTo>
                  <a:pt x="828" y="507"/>
                  <a:pt x="828" y="507"/>
                  <a:pt x="828" y="507"/>
                </a:cubicBezTo>
                <a:cubicBezTo>
                  <a:pt x="829" y="508"/>
                  <a:pt x="829" y="508"/>
                  <a:pt x="829" y="508"/>
                </a:cubicBezTo>
                <a:cubicBezTo>
                  <a:pt x="830" y="507"/>
                  <a:pt x="830" y="507"/>
                  <a:pt x="830" y="507"/>
                </a:cubicBezTo>
                <a:cubicBezTo>
                  <a:pt x="830" y="507"/>
                  <a:pt x="830" y="507"/>
                  <a:pt x="830" y="507"/>
                </a:cubicBezTo>
                <a:cubicBezTo>
                  <a:pt x="831" y="507"/>
                  <a:pt x="831" y="507"/>
                  <a:pt x="831" y="507"/>
                </a:cubicBezTo>
                <a:cubicBezTo>
                  <a:pt x="832" y="507"/>
                  <a:pt x="832" y="507"/>
                  <a:pt x="832" y="507"/>
                </a:cubicBezTo>
                <a:cubicBezTo>
                  <a:pt x="833" y="506"/>
                  <a:pt x="833" y="506"/>
                  <a:pt x="833" y="506"/>
                </a:cubicBezTo>
                <a:cubicBezTo>
                  <a:pt x="833" y="505"/>
                  <a:pt x="833" y="505"/>
                  <a:pt x="833" y="505"/>
                </a:cubicBezTo>
                <a:cubicBezTo>
                  <a:pt x="833" y="505"/>
                  <a:pt x="833" y="505"/>
                  <a:pt x="833" y="505"/>
                </a:cubicBezTo>
                <a:cubicBezTo>
                  <a:pt x="834" y="504"/>
                  <a:pt x="834" y="504"/>
                  <a:pt x="834" y="504"/>
                </a:cubicBezTo>
                <a:cubicBezTo>
                  <a:pt x="835" y="502"/>
                  <a:pt x="835" y="502"/>
                  <a:pt x="835" y="502"/>
                </a:cubicBezTo>
                <a:cubicBezTo>
                  <a:pt x="837" y="500"/>
                  <a:pt x="837" y="500"/>
                  <a:pt x="837" y="500"/>
                </a:cubicBezTo>
                <a:cubicBezTo>
                  <a:pt x="837" y="499"/>
                  <a:pt x="837" y="499"/>
                  <a:pt x="837" y="499"/>
                </a:cubicBezTo>
                <a:cubicBezTo>
                  <a:pt x="837" y="498"/>
                  <a:pt x="837" y="498"/>
                  <a:pt x="837" y="498"/>
                </a:cubicBezTo>
                <a:cubicBezTo>
                  <a:pt x="837" y="497"/>
                  <a:pt x="837" y="497"/>
                  <a:pt x="837" y="497"/>
                </a:cubicBezTo>
                <a:cubicBezTo>
                  <a:pt x="837" y="495"/>
                  <a:pt x="837" y="495"/>
                  <a:pt x="837" y="495"/>
                </a:cubicBezTo>
                <a:cubicBezTo>
                  <a:pt x="837" y="494"/>
                  <a:pt x="837" y="494"/>
                  <a:pt x="837" y="494"/>
                </a:cubicBezTo>
                <a:cubicBezTo>
                  <a:pt x="837" y="492"/>
                  <a:pt x="837" y="492"/>
                  <a:pt x="837" y="492"/>
                </a:cubicBezTo>
                <a:cubicBezTo>
                  <a:pt x="837" y="491"/>
                  <a:pt x="837" y="491"/>
                  <a:pt x="837" y="491"/>
                </a:cubicBezTo>
                <a:cubicBezTo>
                  <a:pt x="838" y="490"/>
                  <a:pt x="838" y="490"/>
                  <a:pt x="838" y="490"/>
                </a:cubicBezTo>
                <a:cubicBezTo>
                  <a:pt x="839" y="489"/>
                  <a:pt x="839" y="489"/>
                  <a:pt x="839" y="489"/>
                </a:cubicBezTo>
                <a:cubicBezTo>
                  <a:pt x="838" y="489"/>
                  <a:pt x="838" y="489"/>
                  <a:pt x="838" y="489"/>
                </a:cubicBezTo>
                <a:cubicBezTo>
                  <a:pt x="838" y="488"/>
                  <a:pt x="838" y="488"/>
                  <a:pt x="838" y="488"/>
                </a:cubicBezTo>
                <a:cubicBezTo>
                  <a:pt x="838" y="487"/>
                  <a:pt x="838" y="487"/>
                  <a:pt x="838" y="487"/>
                </a:cubicBezTo>
                <a:cubicBezTo>
                  <a:pt x="839" y="485"/>
                  <a:pt x="839" y="485"/>
                  <a:pt x="839" y="485"/>
                </a:cubicBezTo>
                <a:cubicBezTo>
                  <a:pt x="840" y="483"/>
                  <a:pt x="840" y="483"/>
                  <a:pt x="840" y="483"/>
                </a:cubicBezTo>
                <a:cubicBezTo>
                  <a:pt x="840" y="482"/>
                  <a:pt x="840" y="482"/>
                  <a:pt x="840" y="482"/>
                </a:cubicBezTo>
                <a:cubicBezTo>
                  <a:pt x="841" y="482"/>
                  <a:pt x="841" y="482"/>
                  <a:pt x="841" y="482"/>
                </a:cubicBezTo>
                <a:cubicBezTo>
                  <a:pt x="842" y="481"/>
                  <a:pt x="842" y="481"/>
                  <a:pt x="842" y="481"/>
                </a:cubicBezTo>
                <a:cubicBezTo>
                  <a:pt x="842" y="480"/>
                  <a:pt x="842" y="480"/>
                  <a:pt x="842" y="480"/>
                </a:cubicBezTo>
                <a:cubicBezTo>
                  <a:pt x="842" y="480"/>
                  <a:pt x="842" y="480"/>
                  <a:pt x="842" y="480"/>
                </a:cubicBezTo>
                <a:cubicBezTo>
                  <a:pt x="842" y="480"/>
                  <a:pt x="842" y="480"/>
                  <a:pt x="842" y="480"/>
                </a:cubicBezTo>
                <a:cubicBezTo>
                  <a:pt x="843" y="480"/>
                  <a:pt x="843" y="480"/>
                  <a:pt x="843" y="480"/>
                </a:cubicBezTo>
                <a:cubicBezTo>
                  <a:pt x="844" y="479"/>
                  <a:pt x="844" y="479"/>
                  <a:pt x="844" y="479"/>
                </a:cubicBezTo>
                <a:cubicBezTo>
                  <a:pt x="844" y="479"/>
                  <a:pt x="844" y="479"/>
                  <a:pt x="844" y="479"/>
                </a:cubicBezTo>
                <a:cubicBezTo>
                  <a:pt x="845" y="480"/>
                  <a:pt x="845" y="480"/>
                  <a:pt x="845" y="480"/>
                </a:cubicBezTo>
                <a:cubicBezTo>
                  <a:pt x="844" y="480"/>
                  <a:pt x="844" y="480"/>
                  <a:pt x="844" y="480"/>
                </a:cubicBezTo>
                <a:cubicBezTo>
                  <a:pt x="845" y="481"/>
                  <a:pt x="845" y="481"/>
                  <a:pt x="845" y="481"/>
                </a:cubicBezTo>
                <a:cubicBezTo>
                  <a:pt x="845" y="480"/>
                  <a:pt x="845" y="480"/>
                  <a:pt x="845" y="480"/>
                </a:cubicBezTo>
                <a:cubicBezTo>
                  <a:pt x="845" y="480"/>
                  <a:pt x="845" y="480"/>
                  <a:pt x="845" y="480"/>
                </a:cubicBezTo>
                <a:cubicBezTo>
                  <a:pt x="845" y="480"/>
                  <a:pt x="845" y="480"/>
                  <a:pt x="845" y="480"/>
                </a:cubicBezTo>
                <a:cubicBezTo>
                  <a:pt x="845" y="480"/>
                  <a:pt x="845" y="480"/>
                  <a:pt x="845" y="480"/>
                </a:cubicBezTo>
                <a:cubicBezTo>
                  <a:pt x="845" y="481"/>
                  <a:pt x="845" y="481"/>
                  <a:pt x="845" y="481"/>
                </a:cubicBezTo>
                <a:cubicBezTo>
                  <a:pt x="845" y="481"/>
                  <a:pt x="845" y="481"/>
                  <a:pt x="845" y="481"/>
                </a:cubicBezTo>
                <a:cubicBezTo>
                  <a:pt x="846" y="481"/>
                  <a:pt x="846" y="481"/>
                  <a:pt x="846" y="481"/>
                </a:cubicBezTo>
                <a:cubicBezTo>
                  <a:pt x="846" y="480"/>
                  <a:pt x="846" y="480"/>
                  <a:pt x="846" y="480"/>
                </a:cubicBezTo>
                <a:cubicBezTo>
                  <a:pt x="846" y="479"/>
                  <a:pt x="846" y="479"/>
                  <a:pt x="846" y="479"/>
                </a:cubicBezTo>
                <a:cubicBezTo>
                  <a:pt x="846" y="478"/>
                  <a:pt x="846" y="478"/>
                  <a:pt x="846" y="478"/>
                </a:cubicBezTo>
                <a:cubicBezTo>
                  <a:pt x="847" y="477"/>
                  <a:pt x="847" y="477"/>
                  <a:pt x="847" y="477"/>
                </a:cubicBezTo>
                <a:cubicBezTo>
                  <a:pt x="848" y="477"/>
                  <a:pt x="848" y="477"/>
                  <a:pt x="848" y="477"/>
                </a:cubicBezTo>
                <a:cubicBezTo>
                  <a:pt x="849" y="477"/>
                  <a:pt x="849" y="477"/>
                  <a:pt x="849" y="477"/>
                </a:cubicBezTo>
                <a:cubicBezTo>
                  <a:pt x="849" y="477"/>
                  <a:pt x="849" y="477"/>
                  <a:pt x="849" y="477"/>
                </a:cubicBezTo>
                <a:cubicBezTo>
                  <a:pt x="848" y="476"/>
                  <a:pt x="848" y="476"/>
                  <a:pt x="848" y="476"/>
                </a:cubicBezTo>
                <a:cubicBezTo>
                  <a:pt x="848" y="476"/>
                  <a:pt x="848" y="476"/>
                  <a:pt x="848" y="476"/>
                </a:cubicBezTo>
                <a:cubicBezTo>
                  <a:pt x="849" y="475"/>
                  <a:pt x="849" y="475"/>
                  <a:pt x="849" y="475"/>
                </a:cubicBezTo>
                <a:cubicBezTo>
                  <a:pt x="849" y="475"/>
                  <a:pt x="849" y="475"/>
                  <a:pt x="849" y="475"/>
                </a:cubicBezTo>
                <a:cubicBezTo>
                  <a:pt x="850" y="474"/>
                  <a:pt x="850" y="474"/>
                  <a:pt x="850" y="474"/>
                </a:cubicBezTo>
                <a:cubicBezTo>
                  <a:pt x="850" y="474"/>
                  <a:pt x="850" y="474"/>
                  <a:pt x="850" y="474"/>
                </a:cubicBezTo>
                <a:cubicBezTo>
                  <a:pt x="850" y="475"/>
                  <a:pt x="850" y="475"/>
                  <a:pt x="850" y="475"/>
                </a:cubicBezTo>
                <a:cubicBezTo>
                  <a:pt x="851" y="475"/>
                  <a:pt x="851" y="475"/>
                  <a:pt x="851" y="475"/>
                </a:cubicBezTo>
                <a:cubicBezTo>
                  <a:pt x="852" y="476"/>
                  <a:pt x="852" y="476"/>
                  <a:pt x="852" y="476"/>
                </a:cubicBezTo>
                <a:cubicBezTo>
                  <a:pt x="853" y="476"/>
                  <a:pt x="853" y="476"/>
                  <a:pt x="853" y="476"/>
                </a:cubicBezTo>
                <a:cubicBezTo>
                  <a:pt x="854" y="477"/>
                  <a:pt x="854" y="477"/>
                  <a:pt x="854" y="477"/>
                </a:cubicBezTo>
                <a:cubicBezTo>
                  <a:pt x="854" y="477"/>
                  <a:pt x="854" y="477"/>
                  <a:pt x="854" y="477"/>
                </a:cubicBezTo>
                <a:cubicBezTo>
                  <a:pt x="855" y="478"/>
                  <a:pt x="855" y="478"/>
                  <a:pt x="855" y="478"/>
                </a:cubicBezTo>
                <a:cubicBezTo>
                  <a:pt x="856" y="478"/>
                  <a:pt x="856" y="478"/>
                  <a:pt x="856" y="478"/>
                </a:cubicBezTo>
                <a:cubicBezTo>
                  <a:pt x="857" y="479"/>
                  <a:pt x="857" y="479"/>
                  <a:pt x="857" y="479"/>
                </a:cubicBezTo>
                <a:cubicBezTo>
                  <a:pt x="857" y="480"/>
                  <a:pt x="857" y="480"/>
                  <a:pt x="857" y="480"/>
                </a:cubicBezTo>
                <a:cubicBezTo>
                  <a:pt x="857" y="480"/>
                  <a:pt x="857" y="480"/>
                  <a:pt x="857" y="480"/>
                </a:cubicBezTo>
                <a:cubicBezTo>
                  <a:pt x="857" y="481"/>
                  <a:pt x="857" y="481"/>
                  <a:pt x="857" y="481"/>
                </a:cubicBezTo>
                <a:cubicBezTo>
                  <a:pt x="858" y="482"/>
                  <a:pt x="858" y="482"/>
                  <a:pt x="858" y="482"/>
                </a:cubicBezTo>
                <a:cubicBezTo>
                  <a:pt x="858" y="484"/>
                  <a:pt x="858" y="484"/>
                  <a:pt x="858" y="484"/>
                </a:cubicBezTo>
                <a:cubicBezTo>
                  <a:pt x="857" y="486"/>
                  <a:pt x="857" y="486"/>
                  <a:pt x="857" y="486"/>
                </a:cubicBezTo>
                <a:cubicBezTo>
                  <a:pt x="856" y="487"/>
                  <a:pt x="856" y="487"/>
                  <a:pt x="856" y="487"/>
                </a:cubicBezTo>
                <a:cubicBezTo>
                  <a:pt x="855" y="487"/>
                  <a:pt x="855" y="487"/>
                  <a:pt x="855" y="487"/>
                </a:cubicBezTo>
                <a:cubicBezTo>
                  <a:pt x="855" y="488"/>
                  <a:pt x="855" y="488"/>
                  <a:pt x="855" y="488"/>
                </a:cubicBezTo>
                <a:cubicBezTo>
                  <a:pt x="855" y="489"/>
                  <a:pt x="855" y="489"/>
                  <a:pt x="855" y="489"/>
                </a:cubicBezTo>
                <a:cubicBezTo>
                  <a:pt x="853" y="489"/>
                  <a:pt x="853" y="489"/>
                  <a:pt x="853" y="489"/>
                </a:cubicBezTo>
                <a:cubicBezTo>
                  <a:pt x="853" y="490"/>
                  <a:pt x="853" y="490"/>
                  <a:pt x="853" y="490"/>
                </a:cubicBezTo>
                <a:cubicBezTo>
                  <a:pt x="853" y="491"/>
                  <a:pt x="853" y="491"/>
                  <a:pt x="853" y="491"/>
                </a:cubicBezTo>
                <a:cubicBezTo>
                  <a:pt x="853" y="492"/>
                  <a:pt x="853" y="492"/>
                  <a:pt x="853" y="492"/>
                </a:cubicBezTo>
                <a:cubicBezTo>
                  <a:pt x="854" y="493"/>
                  <a:pt x="854" y="493"/>
                  <a:pt x="854" y="493"/>
                </a:cubicBezTo>
                <a:cubicBezTo>
                  <a:pt x="855" y="492"/>
                  <a:pt x="855" y="492"/>
                  <a:pt x="855" y="492"/>
                </a:cubicBezTo>
                <a:cubicBezTo>
                  <a:pt x="855" y="492"/>
                  <a:pt x="855" y="492"/>
                  <a:pt x="855" y="492"/>
                </a:cubicBezTo>
                <a:cubicBezTo>
                  <a:pt x="856" y="491"/>
                  <a:pt x="856" y="491"/>
                  <a:pt x="856" y="491"/>
                </a:cubicBezTo>
                <a:cubicBezTo>
                  <a:pt x="856" y="490"/>
                  <a:pt x="856" y="490"/>
                  <a:pt x="856" y="490"/>
                </a:cubicBezTo>
                <a:cubicBezTo>
                  <a:pt x="856" y="490"/>
                  <a:pt x="856" y="490"/>
                  <a:pt x="856" y="490"/>
                </a:cubicBezTo>
                <a:cubicBezTo>
                  <a:pt x="857" y="490"/>
                  <a:pt x="857" y="490"/>
                  <a:pt x="857" y="490"/>
                </a:cubicBezTo>
                <a:cubicBezTo>
                  <a:pt x="858" y="489"/>
                  <a:pt x="858" y="489"/>
                  <a:pt x="858" y="489"/>
                </a:cubicBezTo>
                <a:cubicBezTo>
                  <a:pt x="859" y="489"/>
                  <a:pt x="859" y="489"/>
                  <a:pt x="859" y="489"/>
                </a:cubicBezTo>
                <a:cubicBezTo>
                  <a:pt x="859" y="489"/>
                  <a:pt x="859" y="489"/>
                  <a:pt x="859" y="489"/>
                </a:cubicBezTo>
                <a:cubicBezTo>
                  <a:pt x="860" y="489"/>
                  <a:pt x="860" y="489"/>
                  <a:pt x="860" y="489"/>
                </a:cubicBezTo>
                <a:cubicBezTo>
                  <a:pt x="861" y="490"/>
                  <a:pt x="861" y="490"/>
                  <a:pt x="861" y="490"/>
                </a:cubicBezTo>
                <a:cubicBezTo>
                  <a:pt x="861" y="492"/>
                  <a:pt x="861" y="492"/>
                  <a:pt x="861" y="492"/>
                </a:cubicBezTo>
                <a:cubicBezTo>
                  <a:pt x="860" y="495"/>
                  <a:pt x="860" y="495"/>
                  <a:pt x="860" y="495"/>
                </a:cubicBezTo>
                <a:cubicBezTo>
                  <a:pt x="860" y="497"/>
                  <a:pt x="860" y="497"/>
                  <a:pt x="860" y="497"/>
                </a:cubicBezTo>
                <a:cubicBezTo>
                  <a:pt x="860" y="498"/>
                  <a:pt x="860" y="498"/>
                  <a:pt x="860" y="498"/>
                </a:cubicBezTo>
                <a:cubicBezTo>
                  <a:pt x="860" y="500"/>
                  <a:pt x="860" y="500"/>
                  <a:pt x="860" y="500"/>
                </a:cubicBezTo>
                <a:cubicBezTo>
                  <a:pt x="861" y="498"/>
                  <a:pt x="861" y="498"/>
                  <a:pt x="861" y="498"/>
                </a:cubicBezTo>
                <a:cubicBezTo>
                  <a:pt x="861" y="497"/>
                  <a:pt x="861" y="497"/>
                  <a:pt x="861" y="497"/>
                </a:cubicBezTo>
                <a:cubicBezTo>
                  <a:pt x="864" y="496"/>
                  <a:pt x="864" y="496"/>
                  <a:pt x="864" y="496"/>
                </a:cubicBezTo>
                <a:cubicBezTo>
                  <a:pt x="865" y="496"/>
                  <a:pt x="865" y="496"/>
                  <a:pt x="865" y="496"/>
                </a:cubicBezTo>
                <a:cubicBezTo>
                  <a:pt x="865" y="495"/>
                  <a:pt x="865" y="495"/>
                  <a:pt x="865" y="495"/>
                </a:cubicBezTo>
                <a:cubicBezTo>
                  <a:pt x="865" y="494"/>
                  <a:pt x="865" y="494"/>
                  <a:pt x="865" y="494"/>
                </a:cubicBezTo>
                <a:cubicBezTo>
                  <a:pt x="866" y="493"/>
                  <a:pt x="866" y="493"/>
                  <a:pt x="866" y="493"/>
                </a:cubicBezTo>
                <a:cubicBezTo>
                  <a:pt x="866" y="493"/>
                  <a:pt x="866" y="493"/>
                  <a:pt x="866" y="493"/>
                </a:cubicBezTo>
                <a:cubicBezTo>
                  <a:pt x="866" y="491"/>
                  <a:pt x="866" y="491"/>
                  <a:pt x="866" y="491"/>
                </a:cubicBezTo>
                <a:cubicBezTo>
                  <a:pt x="866" y="491"/>
                  <a:pt x="866" y="491"/>
                  <a:pt x="866" y="491"/>
                </a:cubicBezTo>
                <a:cubicBezTo>
                  <a:pt x="866" y="490"/>
                  <a:pt x="866" y="490"/>
                  <a:pt x="866" y="490"/>
                </a:cubicBezTo>
                <a:cubicBezTo>
                  <a:pt x="866" y="489"/>
                  <a:pt x="866" y="489"/>
                  <a:pt x="866" y="489"/>
                </a:cubicBezTo>
                <a:cubicBezTo>
                  <a:pt x="867" y="488"/>
                  <a:pt x="867" y="488"/>
                  <a:pt x="867" y="488"/>
                </a:cubicBezTo>
                <a:cubicBezTo>
                  <a:pt x="867" y="487"/>
                  <a:pt x="867" y="487"/>
                  <a:pt x="867" y="487"/>
                </a:cubicBezTo>
                <a:cubicBezTo>
                  <a:pt x="868" y="486"/>
                  <a:pt x="868" y="486"/>
                  <a:pt x="868" y="486"/>
                </a:cubicBezTo>
                <a:cubicBezTo>
                  <a:pt x="869" y="485"/>
                  <a:pt x="869" y="485"/>
                  <a:pt x="869" y="485"/>
                </a:cubicBezTo>
                <a:cubicBezTo>
                  <a:pt x="870" y="484"/>
                  <a:pt x="870" y="484"/>
                  <a:pt x="870" y="484"/>
                </a:cubicBezTo>
                <a:cubicBezTo>
                  <a:pt x="870" y="483"/>
                  <a:pt x="870" y="483"/>
                  <a:pt x="870" y="483"/>
                </a:cubicBezTo>
                <a:cubicBezTo>
                  <a:pt x="869" y="480"/>
                  <a:pt x="869" y="480"/>
                  <a:pt x="869" y="480"/>
                </a:cubicBezTo>
                <a:cubicBezTo>
                  <a:pt x="868" y="480"/>
                  <a:pt x="868" y="480"/>
                  <a:pt x="868" y="480"/>
                </a:cubicBezTo>
                <a:cubicBezTo>
                  <a:pt x="869" y="479"/>
                  <a:pt x="869" y="479"/>
                  <a:pt x="869" y="479"/>
                </a:cubicBezTo>
                <a:cubicBezTo>
                  <a:pt x="870" y="480"/>
                  <a:pt x="870" y="480"/>
                  <a:pt x="870" y="480"/>
                </a:cubicBezTo>
                <a:cubicBezTo>
                  <a:pt x="870" y="480"/>
                  <a:pt x="870" y="480"/>
                  <a:pt x="870" y="480"/>
                </a:cubicBezTo>
                <a:cubicBezTo>
                  <a:pt x="870" y="481"/>
                  <a:pt x="870" y="481"/>
                  <a:pt x="870" y="481"/>
                </a:cubicBezTo>
                <a:cubicBezTo>
                  <a:pt x="871" y="481"/>
                  <a:pt x="871" y="481"/>
                  <a:pt x="871" y="481"/>
                </a:cubicBezTo>
                <a:cubicBezTo>
                  <a:pt x="871" y="482"/>
                  <a:pt x="871" y="482"/>
                  <a:pt x="871" y="482"/>
                </a:cubicBezTo>
                <a:cubicBezTo>
                  <a:pt x="871" y="483"/>
                  <a:pt x="871" y="483"/>
                  <a:pt x="871" y="483"/>
                </a:cubicBezTo>
                <a:cubicBezTo>
                  <a:pt x="872" y="484"/>
                  <a:pt x="872" y="484"/>
                  <a:pt x="872" y="484"/>
                </a:cubicBezTo>
                <a:cubicBezTo>
                  <a:pt x="872" y="485"/>
                  <a:pt x="872" y="485"/>
                  <a:pt x="872" y="485"/>
                </a:cubicBezTo>
                <a:cubicBezTo>
                  <a:pt x="873" y="484"/>
                  <a:pt x="873" y="484"/>
                  <a:pt x="873" y="484"/>
                </a:cubicBezTo>
                <a:cubicBezTo>
                  <a:pt x="873" y="484"/>
                  <a:pt x="873" y="484"/>
                  <a:pt x="873" y="484"/>
                </a:cubicBezTo>
                <a:cubicBezTo>
                  <a:pt x="874" y="484"/>
                  <a:pt x="874" y="484"/>
                  <a:pt x="874" y="484"/>
                </a:cubicBezTo>
                <a:cubicBezTo>
                  <a:pt x="874" y="485"/>
                  <a:pt x="874" y="485"/>
                  <a:pt x="874" y="485"/>
                </a:cubicBezTo>
                <a:cubicBezTo>
                  <a:pt x="874" y="485"/>
                  <a:pt x="874" y="485"/>
                  <a:pt x="874" y="485"/>
                </a:cubicBezTo>
                <a:cubicBezTo>
                  <a:pt x="875" y="486"/>
                  <a:pt x="875" y="486"/>
                  <a:pt x="875" y="486"/>
                </a:cubicBezTo>
                <a:cubicBezTo>
                  <a:pt x="876" y="486"/>
                  <a:pt x="876" y="486"/>
                  <a:pt x="876" y="486"/>
                </a:cubicBezTo>
                <a:cubicBezTo>
                  <a:pt x="877" y="487"/>
                  <a:pt x="877" y="487"/>
                  <a:pt x="877" y="487"/>
                </a:cubicBezTo>
                <a:cubicBezTo>
                  <a:pt x="877" y="486"/>
                  <a:pt x="877" y="486"/>
                  <a:pt x="877" y="486"/>
                </a:cubicBezTo>
                <a:cubicBezTo>
                  <a:pt x="877" y="485"/>
                  <a:pt x="877" y="485"/>
                  <a:pt x="877" y="485"/>
                </a:cubicBezTo>
                <a:cubicBezTo>
                  <a:pt x="877" y="484"/>
                  <a:pt x="877" y="484"/>
                  <a:pt x="877" y="484"/>
                </a:cubicBezTo>
                <a:cubicBezTo>
                  <a:pt x="877" y="484"/>
                  <a:pt x="877" y="484"/>
                  <a:pt x="877" y="484"/>
                </a:cubicBezTo>
                <a:cubicBezTo>
                  <a:pt x="877" y="483"/>
                  <a:pt x="877" y="483"/>
                  <a:pt x="877" y="483"/>
                </a:cubicBezTo>
                <a:lnTo>
                  <a:pt x="878" y="483"/>
                </a:lnTo>
                <a:close/>
                <a:moveTo>
                  <a:pt x="180" y="447"/>
                </a:moveTo>
                <a:cubicBezTo>
                  <a:pt x="179" y="448"/>
                  <a:pt x="179" y="448"/>
                  <a:pt x="179" y="448"/>
                </a:cubicBezTo>
                <a:cubicBezTo>
                  <a:pt x="180" y="448"/>
                  <a:pt x="180" y="448"/>
                  <a:pt x="180" y="448"/>
                </a:cubicBezTo>
                <a:cubicBezTo>
                  <a:pt x="181" y="448"/>
                  <a:pt x="181" y="448"/>
                  <a:pt x="181" y="448"/>
                </a:cubicBezTo>
                <a:cubicBezTo>
                  <a:pt x="182" y="448"/>
                  <a:pt x="182" y="448"/>
                  <a:pt x="182" y="448"/>
                </a:cubicBezTo>
                <a:cubicBezTo>
                  <a:pt x="181" y="447"/>
                  <a:pt x="181" y="447"/>
                  <a:pt x="181" y="447"/>
                </a:cubicBezTo>
                <a:cubicBezTo>
                  <a:pt x="180" y="447"/>
                  <a:pt x="180" y="447"/>
                  <a:pt x="180" y="447"/>
                </a:cubicBezTo>
                <a:close/>
                <a:moveTo>
                  <a:pt x="170" y="451"/>
                </a:moveTo>
                <a:cubicBezTo>
                  <a:pt x="171" y="451"/>
                  <a:pt x="171" y="451"/>
                  <a:pt x="171" y="451"/>
                </a:cubicBezTo>
                <a:cubicBezTo>
                  <a:pt x="170" y="450"/>
                  <a:pt x="170" y="450"/>
                  <a:pt x="170" y="450"/>
                </a:cubicBezTo>
                <a:cubicBezTo>
                  <a:pt x="169" y="451"/>
                  <a:pt x="169" y="451"/>
                  <a:pt x="169" y="451"/>
                </a:cubicBezTo>
                <a:cubicBezTo>
                  <a:pt x="170" y="451"/>
                  <a:pt x="170" y="451"/>
                  <a:pt x="170" y="451"/>
                </a:cubicBezTo>
                <a:close/>
                <a:moveTo>
                  <a:pt x="136" y="500"/>
                </a:moveTo>
                <a:cubicBezTo>
                  <a:pt x="136" y="500"/>
                  <a:pt x="136" y="500"/>
                  <a:pt x="137" y="500"/>
                </a:cubicBezTo>
                <a:cubicBezTo>
                  <a:pt x="137" y="500"/>
                  <a:pt x="137" y="500"/>
                  <a:pt x="138" y="498"/>
                </a:cubicBezTo>
                <a:cubicBezTo>
                  <a:pt x="138" y="498"/>
                  <a:pt x="138" y="498"/>
                  <a:pt x="136" y="499"/>
                </a:cubicBezTo>
                <a:cubicBezTo>
                  <a:pt x="136" y="499"/>
                  <a:pt x="136" y="499"/>
                  <a:pt x="136" y="500"/>
                </a:cubicBezTo>
                <a:close/>
                <a:moveTo>
                  <a:pt x="2" y="549"/>
                </a:moveTo>
                <a:cubicBezTo>
                  <a:pt x="4" y="547"/>
                  <a:pt x="4" y="547"/>
                  <a:pt x="4" y="547"/>
                </a:cubicBezTo>
                <a:cubicBezTo>
                  <a:pt x="4" y="546"/>
                  <a:pt x="4" y="546"/>
                  <a:pt x="4" y="546"/>
                </a:cubicBezTo>
                <a:cubicBezTo>
                  <a:pt x="3" y="547"/>
                  <a:pt x="3" y="547"/>
                  <a:pt x="3" y="547"/>
                </a:cubicBezTo>
                <a:cubicBezTo>
                  <a:pt x="2" y="549"/>
                  <a:pt x="2" y="549"/>
                  <a:pt x="2" y="549"/>
                </a:cubicBezTo>
                <a:close/>
                <a:moveTo>
                  <a:pt x="140" y="482"/>
                </a:moveTo>
                <a:cubicBezTo>
                  <a:pt x="140" y="482"/>
                  <a:pt x="140" y="482"/>
                  <a:pt x="141" y="481"/>
                </a:cubicBezTo>
                <a:cubicBezTo>
                  <a:pt x="141" y="481"/>
                  <a:pt x="141" y="481"/>
                  <a:pt x="139" y="480"/>
                </a:cubicBezTo>
                <a:cubicBezTo>
                  <a:pt x="139" y="480"/>
                  <a:pt x="139" y="480"/>
                  <a:pt x="139" y="481"/>
                </a:cubicBezTo>
                <a:cubicBezTo>
                  <a:pt x="139" y="481"/>
                  <a:pt x="139" y="481"/>
                  <a:pt x="140" y="482"/>
                </a:cubicBezTo>
                <a:close/>
                <a:moveTo>
                  <a:pt x="51" y="541"/>
                </a:moveTo>
                <a:cubicBezTo>
                  <a:pt x="51" y="541"/>
                  <a:pt x="51" y="541"/>
                  <a:pt x="52" y="541"/>
                </a:cubicBezTo>
                <a:cubicBezTo>
                  <a:pt x="52" y="541"/>
                  <a:pt x="52" y="541"/>
                  <a:pt x="53" y="540"/>
                </a:cubicBezTo>
                <a:cubicBezTo>
                  <a:pt x="53" y="540"/>
                  <a:pt x="53" y="540"/>
                  <a:pt x="51" y="539"/>
                </a:cubicBezTo>
                <a:cubicBezTo>
                  <a:pt x="51" y="539"/>
                  <a:pt x="51" y="539"/>
                  <a:pt x="49" y="539"/>
                </a:cubicBezTo>
                <a:cubicBezTo>
                  <a:pt x="49" y="539"/>
                  <a:pt x="49" y="539"/>
                  <a:pt x="50" y="540"/>
                </a:cubicBezTo>
                <a:cubicBezTo>
                  <a:pt x="50" y="540"/>
                  <a:pt x="50" y="540"/>
                  <a:pt x="51" y="541"/>
                </a:cubicBezTo>
                <a:close/>
                <a:moveTo>
                  <a:pt x="208" y="420"/>
                </a:moveTo>
                <a:cubicBezTo>
                  <a:pt x="208" y="420"/>
                  <a:pt x="208" y="420"/>
                  <a:pt x="207" y="421"/>
                </a:cubicBezTo>
                <a:cubicBezTo>
                  <a:pt x="207" y="421"/>
                  <a:pt x="207" y="421"/>
                  <a:pt x="207" y="422"/>
                </a:cubicBezTo>
                <a:cubicBezTo>
                  <a:pt x="207" y="422"/>
                  <a:pt x="207" y="422"/>
                  <a:pt x="208" y="421"/>
                </a:cubicBezTo>
                <a:cubicBezTo>
                  <a:pt x="208" y="421"/>
                  <a:pt x="208" y="421"/>
                  <a:pt x="209" y="420"/>
                </a:cubicBezTo>
                <a:cubicBezTo>
                  <a:pt x="209" y="420"/>
                  <a:pt x="209" y="420"/>
                  <a:pt x="208" y="420"/>
                </a:cubicBezTo>
                <a:close/>
                <a:moveTo>
                  <a:pt x="1" y="550"/>
                </a:moveTo>
                <a:cubicBezTo>
                  <a:pt x="0" y="552"/>
                  <a:pt x="0" y="552"/>
                  <a:pt x="0" y="552"/>
                </a:cubicBezTo>
                <a:cubicBezTo>
                  <a:pt x="1" y="552"/>
                  <a:pt x="1" y="552"/>
                  <a:pt x="1" y="552"/>
                </a:cubicBezTo>
                <a:cubicBezTo>
                  <a:pt x="1" y="550"/>
                  <a:pt x="1" y="550"/>
                  <a:pt x="1" y="550"/>
                </a:cubicBezTo>
                <a:close/>
              </a:path>
            </a:pathLst>
          </a:custGeom>
          <a:solidFill>
            <a:srgbClr val="00BCF2"/>
          </a:solidFill>
          <a:ln>
            <a:noFill/>
          </a:ln>
        </p:spPr>
        <p:txBody>
          <a:bodyPr vert="horz" wrap="square" lIns="87880" tIns="43940" rIns="87880" bIns="43940" numCol="1" anchor="t" anchorCtr="0" compatLnSpc="1">
            <a:prstTxWarp prst="textNoShape">
              <a:avLst/>
            </a:prstTxWarp>
          </a:bodyPr>
          <a:lstStyle/>
          <a:p>
            <a:pPr defTabSz="896354"/>
            <a:endParaRPr lang="en-US" sz="1730">
              <a:solidFill>
                <a:srgbClr val="FFFFFF"/>
              </a:solidFill>
            </a:endParaRPr>
          </a:p>
        </p:txBody>
      </p:sp>
      <p:sp>
        <p:nvSpPr>
          <p:cNvPr id="65" name="Oval 64"/>
          <p:cNvSpPr/>
          <p:nvPr/>
        </p:nvSpPr>
        <p:spPr bwMode="auto">
          <a:xfrm>
            <a:off x="8806443" y="4645414"/>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66" name="Oval 65"/>
          <p:cNvSpPr/>
          <p:nvPr/>
        </p:nvSpPr>
        <p:spPr bwMode="auto">
          <a:xfrm>
            <a:off x="3249487" y="3704447"/>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67" name="Oval 66"/>
          <p:cNvSpPr/>
          <p:nvPr/>
        </p:nvSpPr>
        <p:spPr bwMode="auto">
          <a:xfrm>
            <a:off x="3691231" y="3889152"/>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68" name="Oval 67"/>
          <p:cNvSpPr/>
          <p:nvPr/>
        </p:nvSpPr>
        <p:spPr bwMode="auto">
          <a:xfrm>
            <a:off x="3989179" y="3462544"/>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69" name="Oval 68"/>
          <p:cNvSpPr/>
          <p:nvPr/>
        </p:nvSpPr>
        <p:spPr bwMode="auto">
          <a:xfrm>
            <a:off x="4181162" y="3731635"/>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70" name="Oval 69"/>
          <p:cNvSpPr/>
          <p:nvPr/>
        </p:nvSpPr>
        <p:spPr bwMode="auto">
          <a:xfrm>
            <a:off x="6232229" y="3153443"/>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71" name="Oval 70"/>
          <p:cNvSpPr/>
          <p:nvPr/>
        </p:nvSpPr>
        <p:spPr bwMode="auto">
          <a:xfrm>
            <a:off x="5946238" y="3152865"/>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72" name="Oval 71"/>
          <p:cNvSpPr/>
          <p:nvPr/>
        </p:nvSpPr>
        <p:spPr bwMode="auto">
          <a:xfrm>
            <a:off x="8392850" y="3733843"/>
            <a:ext cx="154629" cy="154629"/>
          </a:xfrm>
          <a:prstGeom prst="ellipse">
            <a:avLst/>
          </a:prstGeom>
          <a:solidFill>
            <a:srgbClr val="68217A"/>
          </a:solidFill>
          <a:ln w="38100" cmpd="sng">
            <a:solidFill>
              <a:srgbClr val="F2F2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73" name="Rectangle 72"/>
          <p:cNvSpPr/>
          <p:nvPr/>
        </p:nvSpPr>
        <p:spPr>
          <a:xfrm>
            <a:off x="664662" y="4459943"/>
            <a:ext cx="6094444" cy="633625"/>
          </a:xfrm>
          <a:prstGeom prst="rect">
            <a:avLst/>
          </a:prstGeom>
        </p:spPr>
        <p:txBody>
          <a:bodyPr>
            <a:spAutoFit/>
          </a:bodyPr>
          <a:lstStyle/>
          <a:p>
            <a:pPr defTabSz="914367"/>
            <a:r>
              <a:rPr lang="en-US" sz="882" dirty="0">
                <a:solidFill>
                  <a:srgbClr val="FFFFFF"/>
                </a:solidFill>
                <a:ea typeface="Calibri" panose="020F0502020204030204" pitchFamily="34" charset="0"/>
                <a:cs typeface="Segoe UI"/>
              </a:rPr>
              <a:t>Operated by 21Vianet</a:t>
            </a:r>
          </a:p>
          <a:p>
            <a:pPr defTabSz="914367"/>
            <a:endParaRPr lang="en-US" sz="882" dirty="0">
              <a:solidFill>
                <a:srgbClr val="FFFFFF"/>
              </a:solidFill>
              <a:ea typeface="Calibri" panose="020F0502020204030204" pitchFamily="34" charset="0"/>
              <a:cs typeface="Segoe UI"/>
            </a:endParaRPr>
          </a:p>
          <a:p>
            <a:pPr defTabSz="914367"/>
            <a:r>
              <a:rPr lang="en-US" sz="882" dirty="0">
                <a:solidFill>
                  <a:srgbClr val="FFFFFF"/>
                </a:solidFill>
                <a:ea typeface="Calibri" panose="020F0502020204030204" pitchFamily="34" charset="0"/>
                <a:cs typeface="Segoe UI"/>
              </a:rPr>
              <a:t>Azure in China is operated and sold by </a:t>
            </a:r>
          </a:p>
          <a:p>
            <a:pPr defTabSz="914367"/>
            <a:r>
              <a:rPr lang="en-US" sz="882" dirty="0">
                <a:solidFill>
                  <a:srgbClr val="FFFFFF"/>
                </a:solidFill>
                <a:ea typeface="Calibri" panose="020F0502020204030204" pitchFamily="34" charset="0"/>
                <a:cs typeface="Segoe UI"/>
              </a:rPr>
              <a:t>21Vianet </a:t>
            </a:r>
            <a:r>
              <a:rPr lang="en-US" sz="882" u="sng" dirty="0">
                <a:solidFill>
                  <a:srgbClr val="FFFFFF"/>
                </a:solidFill>
                <a:ea typeface="Calibri" panose="020F0502020204030204" pitchFamily="34" charset="0"/>
                <a:cs typeface="Segoe UI"/>
              </a:rPr>
              <a:t>www.windowsazure.cn</a:t>
            </a:r>
            <a:endParaRPr lang="en-US" sz="882" dirty="0">
              <a:solidFill>
                <a:srgbClr val="FFFFFF"/>
              </a:solidFill>
              <a:ea typeface="Calibri" panose="020F0502020204030204" pitchFamily="34" charset="0"/>
              <a:cs typeface="Segoe UI"/>
            </a:endParaRPr>
          </a:p>
        </p:txBody>
      </p:sp>
      <p:sp>
        <p:nvSpPr>
          <p:cNvPr id="75" name="Oval 74"/>
          <p:cNvSpPr/>
          <p:nvPr/>
        </p:nvSpPr>
        <p:spPr bwMode="auto">
          <a:xfrm>
            <a:off x="4900169" y="5029583"/>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76" name="Oval 75"/>
          <p:cNvSpPr/>
          <p:nvPr/>
        </p:nvSpPr>
        <p:spPr bwMode="auto">
          <a:xfrm>
            <a:off x="8850400" y="3976625"/>
            <a:ext cx="154629" cy="154629"/>
          </a:xfrm>
          <a:prstGeom prst="ellipse">
            <a:avLst/>
          </a:prstGeom>
          <a:solidFill>
            <a:srgbClr val="68217A"/>
          </a:solidFill>
          <a:ln w="38100" cmpd="sng">
            <a:solidFill>
              <a:srgbClr val="F2F2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77" name="Oval 76"/>
          <p:cNvSpPr/>
          <p:nvPr/>
        </p:nvSpPr>
        <p:spPr bwMode="auto">
          <a:xfrm>
            <a:off x="9273331" y="5373759"/>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78" name="Oval 77"/>
          <p:cNvSpPr/>
          <p:nvPr/>
        </p:nvSpPr>
        <p:spPr bwMode="auto">
          <a:xfrm>
            <a:off x="9282669" y="3636936"/>
            <a:ext cx="154629" cy="154629"/>
          </a:xfrm>
          <a:prstGeom prst="ellipse">
            <a:avLst/>
          </a:prstGeom>
          <a:solidFill>
            <a:schemeClr val="bg1"/>
          </a:solidFill>
          <a:ln w="38100" cmpd="sng">
            <a:solidFill>
              <a:srgbClr val="68217A"/>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sp>
        <p:nvSpPr>
          <p:cNvPr id="79" name="Oval 78"/>
          <p:cNvSpPr/>
          <p:nvPr/>
        </p:nvSpPr>
        <p:spPr bwMode="auto">
          <a:xfrm>
            <a:off x="462585" y="4487589"/>
            <a:ext cx="154629" cy="154629"/>
          </a:xfrm>
          <a:prstGeom prst="ellipse">
            <a:avLst/>
          </a:prstGeom>
          <a:solidFill>
            <a:srgbClr val="68217A"/>
          </a:solidFill>
          <a:ln w="38100" cmpd="sng">
            <a:solidFill>
              <a:srgbClr val="F2F2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spc="-48" dirty="0">
              <a:gradFill>
                <a:gsLst>
                  <a:gs pos="1250">
                    <a:srgbClr val="EFEFEF"/>
                  </a:gs>
                  <a:gs pos="10417">
                    <a:srgbClr val="EFEFEF"/>
                  </a:gs>
                </a:gsLst>
                <a:lin ang="5400000" scaled="0"/>
              </a:gradFill>
            </a:endParaRPr>
          </a:p>
        </p:txBody>
      </p:sp>
      <p:grpSp>
        <p:nvGrpSpPr>
          <p:cNvPr id="5" name="Group 4"/>
          <p:cNvGrpSpPr/>
          <p:nvPr/>
        </p:nvGrpSpPr>
        <p:grpSpPr>
          <a:xfrm>
            <a:off x="269240" y="291514"/>
            <a:ext cx="6274974" cy="6274974"/>
            <a:chOff x="274638" y="296863"/>
            <a:chExt cx="6400800" cy="6400800"/>
          </a:xfrm>
        </p:grpSpPr>
        <p:sp>
          <p:nvSpPr>
            <p:cNvPr id="51" name="Rectangle 50"/>
            <p:cNvSpPr/>
            <p:nvPr/>
          </p:nvSpPr>
          <p:spPr bwMode="auto">
            <a:xfrm>
              <a:off x="274638" y="296863"/>
              <a:ext cx="6400800" cy="6400800"/>
            </a:xfrm>
            <a:prstGeom prst="rect">
              <a:avLst/>
            </a:prstGeom>
            <a:solidFill>
              <a:srgbClr val="00205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endParaRPr lang="en-US" sz="1765" dirty="0" err="1">
                <a:solidFill>
                  <a:srgbClr val="FFFFFF"/>
                </a:solidFill>
              </a:endParaRPr>
            </a:p>
          </p:txBody>
        </p:sp>
        <p:sp>
          <p:nvSpPr>
            <p:cNvPr id="52" name="Title 1"/>
            <p:cNvSpPr txBox="1">
              <a:spLocks/>
            </p:cNvSpPr>
            <p:nvPr/>
          </p:nvSpPr>
          <p:spPr>
            <a:xfrm>
              <a:off x="274638" y="296863"/>
              <a:ext cx="6400800" cy="1720381"/>
            </a:xfrm>
            <a:prstGeom prst="rect">
              <a:avLst/>
            </a:prstGeom>
          </p:spPr>
          <p:txBody>
            <a:bodyPr lIns="268927" tIns="179285" rIns="179285" bIns="143428"/>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pPr>
                <a:lnSpc>
                  <a:spcPct val="90000"/>
                </a:lnSpc>
              </a:pPr>
              <a:r>
                <a:rPr lang="en-US" sz="4705" dirty="0"/>
                <a:t>Microsoft Azure Infrastructure </a:t>
              </a:r>
            </a:p>
            <a:p>
              <a:pPr>
                <a:lnSpc>
                  <a:spcPct val="90000"/>
                </a:lnSpc>
              </a:pPr>
              <a:r>
                <a:rPr lang="en-US" sz="4705" dirty="0"/>
                <a:t>as a Service</a:t>
              </a:r>
            </a:p>
          </p:txBody>
        </p:sp>
        <p:sp>
          <p:nvSpPr>
            <p:cNvPr id="53" name="Title 1"/>
            <p:cNvSpPr txBox="1">
              <a:spLocks/>
            </p:cNvSpPr>
            <p:nvPr/>
          </p:nvSpPr>
          <p:spPr>
            <a:xfrm>
              <a:off x="1188838" y="2677597"/>
              <a:ext cx="5486600" cy="1720381"/>
            </a:xfrm>
            <a:prstGeom prst="rect">
              <a:avLst/>
            </a:prstGeom>
          </p:spPr>
          <p:txBody>
            <a:bodyPr lIns="268927" tIns="179285" rIns="179285" bIns="143428"/>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pPr>
                <a:lnSpc>
                  <a:spcPct val="114000"/>
                </a:lnSpc>
              </a:pPr>
              <a:r>
                <a:rPr lang="en-US" sz="2745" dirty="0"/>
                <a:t>Consistency across clouds</a:t>
              </a:r>
              <a:br>
                <a:rPr lang="en-US" sz="2745" dirty="0"/>
              </a:br>
              <a:endParaRPr lang="en-US" sz="2745" dirty="0"/>
            </a:p>
            <a:p>
              <a:pPr>
                <a:lnSpc>
                  <a:spcPct val="114000"/>
                </a:lnSpc>
              </a:pPr>
              <a:r>
                <a:rPr lang="en-US" sz="2745" dirty="0"/>
                <a:t>Scalable on demand</a:t>
              </a:r>
            </a:p>
            <a:p>
              <a:pPr>
                <a:lnSpc>
                  <a:spcPct val="114000"/>
                </a:lnSpc>
              </a:pPr>
              <a:r>
                <a:rPr lang="en-US" sz="2745" dirty="0"/>
                <a:t/>
              </a:r>
              <a:br>
                <a:rPr lang="en-US" sz="2745" dirty="0"/>
              </a:br>
              <a:r>
                <a:rPr lang="en-US" sz="2745" dirty="0"/>
                <a:t>Enterprise ready</a:t>
              </a:r>
            </a:p>
          </p:txBody>
        </p:sp>
        <p:grpSp>
          <p:nvGrpSpPr>
            <p:cNvPr id="3" name="Group 2"/>
            <p:cNvGrpSpPr/>
            <p:nvPr/>
          </p:nvGrpSpPr>
          <p:grpSpPr>
            <a:xfrm>
              <a:off x="604925" y="2820473"/>
              <a:ext cx="545960" cy="545960"/>
              <a:chOff x="604925" y="2820473"/>
              <a:chExt cx="545960" cy="545960"/>
            </a:xfrm>
          </p:grpSpPr>
          <p:sp>
            <p:nvSpPr>
              <p:cNvPr id="54" name="Oval 53"/>
              <p:cNvSpPr/>
              <p:nvPr/>
            </p:nvSpPr>
            <p:spPr bwMode="auto">
              <a:xfrm>
                <a:off x="604925" y="2820473"/>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55" name="Isosceles Triangle 54"/>
              <p:cNvSpPr/>
              <p:nvPr/>
            </p:nvSpPr>
            <p:spPr bwMode="auto">
              <a:xfrm rot="5400000">
                <a:off x="795757" y="3016307"/>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59" name="Group 58"/>
            <p:cNvGrpSpPr/>
            <p:nvPr/>
          </p:nvGrpSpPr>
          <p:grpSpPr>
            <a:xfrm>
              <a:off x="604925" y="3814440"/>
              <a:ext cx="545960" cy="545960"/>
              <a:chOff x="604925" y="2820473"/>
              <a:chExt cx="545960" cy="545960"/>
            </a:xfrm>
          </p:grpSpPr>
          <p:sp>
            <p:nvSpPr>
              <p:cNvPr id="60" name="Oval 59"/>
              <p:cNvSpPr/>
              <p:nvPr/>
            </p:nvSpPr>
            <p:spPr bwMode="auto">
              <a:xfrm>
                <a:off x="604925" y="2820473"/>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61" name="Isosceles Triangle 60"/>
              <p:cNvSpPr/>
              <p:nvPr/>
            </p:nvSpPr>
            <p:spPr bwMode="auto">
              <a:xfrm rot="5400000">
                <a:off x="795757" y="3016307"/>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62" name="Group 61"/>
            <p:cNvGrpSpPr/>
            <p:nvPr/>
          </p:nvGrpSpPr>
          <p:grpSpPr>
            <a:xfrm>
              <a:off x="604925" y="4759997"/>
              <a:ext cx="545960" cy="545960"/>
              <a:chOff x="604925" y="2820473"/>
              <a:chExt cx="545960" cy="545960"/>
            </a:xfrm>
          </p:grpSpPr>
          <p:sp>
            <p:nvSpPr>
              <p:cNvPr id="63" name="Oval 62"/>
              <p:cNvSpPr/>
              <p:nvPr/>
            </p:nvSpPr>
            <p:spPr bwMode="auto">
              <a:xfrm>
                <a:off x="604925" y="2820473"/>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64" name="Isosceles Triangle 63"/>
              <p:cNvSpPr/>
              <p:nvPr/>
            </p:nvSpPr>
            <p:spPr bwMode="auto">
              <a:xfrm rot="5400000">
                <a:off x="795757" y="3016307"/>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spTree>
    <p:extLst>
      <p:ext uri="{BB962C8B-B14F-4D97-AF65-F5344CB8AC3E}">
        <p14:creationId xmlns:p14="http://schemas.microsoft.com/office/powerpoint/2010/main" val="618224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extBox 134"/>
          <p:cNvSpPr txBox="1"/>
          <p:nvPr/>
        </p:nvSpPr>
        <p:spPr>
          <a:xfrm>
            <a:off x="269240" y="291515"/>
            <a:ext cx="11653522" cy="6205103"/>
          </a:xfrm>
          <a:prstGeom prst="rect">
            <a:avLst/>
          </a:prstGeom>
          <a:solidFill>
            <a:srgbClr val="F2F2F2"/>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grpSp>
        <p:nvGrpSpPr>
          <p:cNvPr id="5" name="Group 4"/>
          <p:cNvGrpSpPr/>
          <p:nvPr/>
        </p:nvGrpSpPr>
        <p:grpSpPr>
          <a:xfrm>
            <a:off x="269240" y="291514"/>
            <a:ext cx="6274974" cy="6208053"/>
            <a:chOff x="274638" y="296863"/>
            <a:chExt cx="6400800" cy="6332537"/>
          </a:xfrm>
        </p:grpSpPr>
        <p:sp>
          <p:nvSpPr>
            <p:cNvPr id="51" name="Rectangle 50"/>
            <p:cNvSpPr/>
            <p:nvPr/>
          </p:nvSpPr>
          <p:spPr bwMode="auto">
            <a:xfrm>
              <a:off x="274638" y="296863"/>
              <a:ext cx="6400800" cy="6332537"/>
            </a:xfrm>
            <a:prstGeom prst="rect">
              <a:avLst/>
            </a:prstGeom>
            <a:solidFill>
              <a:srgbClr val="00205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endParaRPr lang="en-US" sz="1765" dirty="0" err="1">
                <a:solidFill>
                  <a:srgbClr val="FFFFFF"/>
                </a:solidFill>
              </a:endParaRPr>
            </a:p>
          </p:txBody>
        </p:sp>
        <p:sp>
          <p:nvSpPr>
            <p:cNvPr id="52" name="Title 1"/>
            <p:cNvSpPr txBox="1">
              <a:spLocks/>
            </p:cNvSpPr>
            <p:nvPr/>
          </p:nvSpPr>
          <p:spPr>
            <a:xfrm>
              <a:off x="274638" y="296863"/>
              <a:ext cx="6400800" cy="1720381"/>
            </a:xfrm>
            <a:prstGeom prst="rect">
              <a:avLst/>
            </a:prstGeom>
          </p:spPr>
          <p:txBody>
            <a:bodyPr lIns="268927" tIns="179285" rIns="179285" bIns="143428"/>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pPr>
                <a:lnSpc>
                  <a:spcPct val="90000"/>
                </a:lnSpc>
              </a:pPr>
              <a:r>
                <a:rPr lang="en-US" sz="4705" dirty="0"/>
                <a:t>Service provider </a:t>
              </a:r>
              <a:br>
                <a:rPr lang="en-US" sz="4705" dirty="0"/>
              </a:br>
              <a:r>
                <a:rPr lang="en-US" sz="4705" dirty="0"/>
                <a:t>cloud options</a:t>
              </a:r>
            </a:p>
          </p:txBody>
        </p:sp>
        <p:sp>
          <p:nvSpPr>
            <p:cNvPr id="53" name="Title 1"/>
            <p:cNvSpPr txBox="1">
              <a:spLocks/>
            </p:cNvSpPr>
            <p:nvPr/>
          </p:nvSpPr>
          <p:spPr>
            <a:xfrm>
              <a:off x="1188838" y="2259478"/>
              <a:ext cx="5486600" cy="1720381"/>
            </a:xfrm>
            <a:prstGeom prst="rect">
              <a:avLst/>
            </a:prstGeom>
          </p:spPr>
          <p:txBody>
            <a:bodyPr lIns="268927" tIns="179285" rIns="179285" bIns="143428"/>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pPr>
                <a:lnSpc>
                  <a:spcPct val="114000"/>
                </a:lnSpc>
              </a:pPr>
              <a:r>
                <a:rPr lang="en-US" sz="2745" dirty="0"/>
                <a:t>Local datacenter and</a:t>
              </a:r>
              <a:br>
                <a:rPr lang="en-US" sz="2745" dirty="0"/>
              </a:br>
              <a:r>
                <a:rPr lang="en-US" sz="2745" dirty="0"/>
                <a:t>data recovery</a:t>
              </a:r>
              <a:br>
                <a:rPr lang="en-US" sz="2745" dirty="0"/>
              </a:br>
              <a:endParaRPr lang="en-US" sz="2745" dirty="0"/>
            </a:p>
            <a:p>
              <a:pPr>
                <a:lnSpc>
                  <a:spcPct val="114000"/>
                </a:lnSpc>
              </a:pPr>
              <a:r>
                <a:rPr lang="en-US" sz="2745" dirty="0"/>
                <a:t>Meet local compliance requirements</a:t>
              </a:r>
              <a:br>
                <a:rPr lang="en-US" sz="2745" dirty="0"/>
              </a:br>
              <a:endParaRPr lang="en-US" sz="2745" dirty="0"/>
            </a:p>
            <a:p>
              <a:pPr>
                <a:lnSpc>
                  <a:spcPct val="114000"/>
                </a:lnSpc>
              </a:pPr>
              <a:r>
                <a:rPr lang="en-US" sz="2745" dirty="0"/>
                <a:t>Work with a local partner</a:t>
              </a:r>
            </a:p>
          </p:txBody>
        </p:sp>
        <p:grpSp>
          <p:nvGrpSpPr>
            <p:cNvPr id="3" name="Group 2"/>
            <p:cNvGrpSpPr/>
            <p:nvPr/>
          </p:nvGrpSpPr>
          <p:grpSpPr>
            <a:xfrm>
              <a:off x="604925" y="2582518"/>
              <a:ext cx="545960" cy="545960"/>
              <a:chOff x="604925" y="2582518"/>
              <a:chExt cx="545960" cy="545960"/>
            </a:xfrm>
          </p:grpSpPr>
          <p:sp>
            <p:nvSpPr>
              <p:cNvPr id="54" name="Oval 53"/>
              <p:cNvSpPr/>
              <p:nvPr/>
            </p:nvSpPr>
            <p:spPr bwMode="auto">
              <a:xfrm>
                <a:off x="604925" y="2582518"/>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55" name="Isosceles Triangle 54"/>
              <p:cNvSpPr/>
              <p:nvPr/>
            </p:nvSpPr>
            <p:spPr bwMode="auto">
              <a:xfrm rot="5400000">
                <a:off x="795757" y="2778352"/>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59" name="Group 58"/>
            <p:cNvGrpSpPr/>
            <p:nvPr/>
          </p:nvGrpSpPr>
          <p:grpSpPr>
            <a:xfrm>
              <a:off x="604925" y="4039908"/>
              <a:ext cx="545960" cy="545960"/>
              <a:chOff x="604925" y="3045941"/>
              <a:chExt cx="545960" cy="545960"/>
            </a:xfrm>
          </p:grpSpPr>
          <p:sp>
            <p:nvSpPr>
              <p:cNvPr id="60" name="Oval 59"/>
              <p:cNvSpPr/>
              <p:nvPr/>
            </p:nvSpPr>
            <p:spPr bwMode="auto">
              <a:xfrm>
                <a:off x="604925" y="3045941"/>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61" name="Isosceles Triangle 60"/>
              <p:cNvSpPr/>
              <p:nvPr/>
            </p:nvSpPr>
            <p:spPr bwMode="auto">
              <a:xfrm rot="5400000">
                <a:off x="795757" y="3241775"/>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62" name="Group 61"/>
            <p:cNvGrpSpPr/>
            <p:nvPr/>
          </p:nvGrpSpPr>
          <p:grpSpPr>
            <a:xfrm>
              <a:off x="604925" y="5391832"/>
              <a:ext cx="545960" cy="545960"/>
              <a:chOff x="604925" y="3452308"/>
              <a:chExt cx="545960" cy="545960"/>
            </a:xfrm>
          </p:grpSpPr>
          <p:sp>
            <p:nvSpPr>
              <p:cNvPr id="63" name="Oval 62"/>
              <p:cNvSpPr/>
              <p:nvPr/>
            </p:nvSpPr>
            <p:spPr bwMode="auto">
              <a:xfrm>
                <a:off x="604925" y="3452308"/>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64" name="Isosceles Triangle 63"/>
              <p:cNvSpPr/>
              <p:nvPr/>
            </p:nvSpPr>
            <p:spPr bwMode="auto">
              <a:xfrm rot="5400000">
                <a:off x="795757" y="3648142"/>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50" name="Group 49"/>
          <p:cNvGrpSpPr/>
          <p:nvPr/>
        </p:nvGrpSpPr>
        <p:grpSpPr>
          <a:xfrm flipH="1">
            <a:off x="4450322" y="3180952"/>
            <a:ext cx="7753161" cy="3676561"/>
            <a:chOff x="3365" y="3079956"/>
            <a:chExt cx="8255073" cy="3914569"/>
          </a:xfrm>
        </p:grpSpPr>
        <p:sp>
          <p:nvSpPr>
            <p:cNvPr id="56" name="Rectangle 5"/>
            <p:cNvSpPr>
              <a:spLocks noChangeArrowheads="1"/>
            </p:cNvSpPr>
            <p:nvPr/>
          </p:nvSpPr>
          <p:spPr bwMode="auto">
            <a:xfrm>
              <a:off x="1264950" y="5445735"/>
              <a:ext cx="297751" cy="1467659"/>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7" name="Rectangle 6"/>
            <p:cNvSpPr>
              <a:spLocks noChangeArrowheads="1"/>
            </p:cNvSpPr>
            <p:nvPr/>
          </p:nvSpPr>
          <p:spPr bwMode="auto">
            <a:xfrm>
              <a:off x="1079161" y="4812914"/>
              <a:ext cx="297751" cy="2100481"/>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8" name="Rectangle 7"/>
            <p:cNvSpPr>
              <a:spLocks noChangeArrowheads="1"/>
            </p:cNvSpPr>
            <p:nvPr/>
          </p:nvSpPr>
          <p:spPr bwMode="auto">
            <a:xfrm>
              <a:off x="1905885" y="5760523"/>
              <a:ext cx="575219" cy="1152871"/>
            </a:xfrm>
            <a:prstGeom prst="rect">
              <a:avLst/>
            </a:pr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5" name="Rectangle 8"/>
            <p:cNvSpPr>
              <a:spLocks noChangeArrowheads="1"/>
            </p:cNvSpPr>
            <p:nvPr/>
          </p:nvSpPr>
          <p:spPr bwMode="auto">
            <a:xfrm>
              <a:off x="2137919" y="5221002"/>
              <a:ext cx="575219" cy="1692392"/>
            </a:xfrm>
            <a:prstGeom prst="rect">
              <a:avLst/>
            </a:pr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6" name="Rectangle 9"/>
            <p:cNvSpPr>
              <a:spLocks noChangeArrowheads="1"/>
            </p:cNvSpPr>
            <p:nvPr/>
          </p:nvSpPr>
          <p:spPr bwMode="auto">
            <a:xfrm>
              <a:off x="5805849" y="5445735"/>
              <a:ext cx="297751" cy="1467659"/>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7" name="Rectangle 10"/>
            <p:cNvSpPr>
              <a:spLocks noChangeArrowheads="1"/>
            </p:cNvSpPr>
            <p:nvPr/>
          </p:nvSpPr>
          <p:spPr bwMode="auto">
            <a:xfrm>
              <a:off x="5620060" y="4812914"/>
              <a:ext cx="296939" cy="2100481"/>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8" name="Rectangle 11"/>
            <p:cNvSpPr>
              <a:spLocks noChangeArrowheads="1"/>
            </p:cNvSpPr>
            <p:nvPr/>
          </p:nvSpPr>
          <p:spPr bwMode="auto">
            <a:xfrm>
              <a:off x="6448406" y="5760523"/>
              <a:ext cx="575219" cy="1152871"/>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9" name="Rectangle 12"/>
            <p:cNvSpPr>
              <a:spLocks noChangeArrowheads="1"/>
            </p:cNvSpPr>
            <p:nvPr/>
          </p:nvSpPr>
          <p:spPr bwMode="auto">
            <a:xfrm>
              <a:off x="4816864" y="4991402"/>
              <a:ext cx="939496" cy="2003123"/>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0" name="Rectangle 13"/>
            <p:cNvSpPr>
              <a:spLocks noChangeArrowheads="1"/>
            </p:cNvSpPr>
            <p:nvPr/>
          </p:nvSpPr>
          <p:spPr bwMode="auto">
            <a:xfrm>
              <a:off x="5334479" y="6755999"/>
              <a:ext cx="122508" cy="23852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1" name="Rectangle 14"/>
            <p:cNvSpPr>
              <a:spLocks noChangeArrowheads="1"/>
            </p:cNvSpPr>
            <p:nvPr/>
          </p:nvSpPr>
          <p:spPr bwMode="auto">
            <a:xfrm>
              <a:off x="5121916" y="6755999"/>
              <a:ext cx="122508" cy="23852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2" name="Rectangle 15"/>
            <p:cNvSpPr>
              <a:spLocks noChangeArrowheads="1"/>
            </p:cNvSpPr>
            <p:nvPr/>
          </p:nvSpPr>
          <p:spPr bwMode="auto">
            <a:xfrm>
              <a:off x="4910975" y="5927653"/>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3" name="Rectangle 16"/>
            <p:cNvSpPr>
              <a:spLocks noChangeArrowheads="1"/>
            </p:cNvSpPr>
            <p:nvPr/>
          </p:nvSpPr>
          <p:spPr bwMode="auto">
            <a:xfrm>
              <a:off x="4910975" y="6138593"/>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4" name="Rectangle 17"/>
            <p:cNvSpPr>
              <a:spLocks noChangeArrowheads="1"/>
            </p:cNvSpPr>
            <p:nvPr/>
          </p:nvSpPr>
          <p:spPr bwMode="auto">
            <a:xfrm>
              <a:off x="4910975" y="6349534"/>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5" name="Rectangle 18"/>
            <p:cNvSpPr>
              <a:spLocks noChangeArrowheads="1"/>
            </p:cNvSpPr>
            <p:nvPr/>
          </p:nvSpPr>
          <p:spPr bwMode="auto">
            <a:xfrm>
              <a:off x="4910975" y="6560474"/>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6" name="Rectangle 19"/>
            <p:cNvSpPr>
              <a:spLocks noChangeArrowheads="1"/>
            </p:cNvSpPr>
            <p:nvPr/>
          </p:nvSpPr>
          <p:spPr bwMode="auto">
            <a:xfrm>
              <a:off x="4910975" y="5504960"/>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7" name="Rectangle 20"/>
            <p:cNvSpPr>
              <a:spLocks noChangeArrowheads="1"/>
            </p:cNvSpPr>
            <p:nvPr/>
          </p:nvSpPr>
          <p:spPr bwMode="auto">
            <a:xfrm>
              <a:off x="4910975" y="5716712"/>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8" name="Rectangle 21"/>
            <p:cNvSpPr>
              <a:spLocks noChangeArrowheads="1"/>
            </p:cNvSpPr>
            <p:nvPr/>
          </p:nvSpPr>
          <p:spPr bwMode="auto">
            <a:xfrm>
              <a:off x="4910975" y="5084702"/>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79" name="Rectangle 22"/>
            <p:cNvSpPr>
              <a:spLocks noChangeArrowheads="1"/>
            </p:cNvSpPr>
            <p:nvPr/>
          </p:nvSpPr>
          <p:spPr bwMode="auto">
            <a:xfrm>
              <a:off x="4910975" y="5296454"/>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0" name="Freeform 35"/>
            <p:cNvSpPr>
              <a:spLocks/>
            </p:cNvSpPr>
            <p:nvPr/>
          </p:nvSpPr>
          <p:spPr bwMode="auto">
            <a:xfrm>
              <a:off x="2902984" y="5814069"/>
              <a:ext cx="1403565" cy="1180456"/>
            </a:xfrm>
            <a:custGeom>
              <a:avLst/>
              <a:gdLst>
                <a:gd name="T0" fmla="*/ 952 w 1730"/>
                <a:gd name="T1" fmla="*/ 244 h 1455"/>
                <a:gd name="T2" fmla="*/ 952 w 1730"/>
                <a:gd name="T3" fmla="*/ 0 h 1455"/>
                <a:gd name="T4" fmla="*/ 1142 w 1730"/>
                <a:gd name="T5" fmla="*/ 0 h 1455"/>
                <a:gd name="T6" fmla="*/ 1142 w 1730"/>
                <a:gd name="T7" fmla="*/ 244 h 1455"/>
                <a:gd name="T8" fmla="*/ 1205 w 1730"/>
                <a:gd name="T9" fmla="*/ 244 h 1455"/>
                <a:gd name="T10" fmla="*/ 1205 w 1730"/>
                <a:gd name="T11" fmla="*/ 0 h 1455"/>
                <a:gd name="T12" fmla="*/ 1394 w 1730"/>
                <a:gd name="T13" fmla="*/ 0 h 1455"/>
                <a:gd name="T14" fmla="*/ 1394 w 1730"/>
                <a:gd name="T15" fmla="*/ 244 h 1455"/>
                <a:gd name="T16" fmla="*/ 1730 w 1730"/>
                <a:gd name="T17" fmla="*/ 244 h 1455"/>
                <a:gd name="T18" fmla="*/ 1730 w 1730"/>
                <a:gd name="T19" fmla="*/ 305 h 1455"/>
                <a:gd name="T20" fmla="*/ 1652 w 1730"/>
                <a:gd name="T21" fmla="*/ 305 h 1455"/>
                <a:gd name="T22" fmla="*/ 1652 w 1730"/>
                <a:gd name="T23" fmla="*/ 1455 h 1455"/>
                <a:gd name="T24" fmla="*/ 78 w 1730"/>
                <a:gd name="T25" fmla="*/ 1455 h 1455"/>
                <a:gd name="T26" fmla="*/ 78 w 1730"/>
                <a:gd name="T27" fmla="*/ 305 h 1455"/>
                <a:gd name="T28" fmla="*/ 0 w 1730"/>
                <a:gd name="T29" fmla="*/ 305 h 1455"/>
                <a:gd name="T30" fmla="*/ 0 w 1730"/>
                <a:gd name="T31" fmla="*/ 244 h 1455"/>
                <a:gd name="T32" fmla="*/ 952 w 1730"/>
                <a:gd name="T33" fmla="*/ 244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30" h="1455">
                  <a:moveTo>
                    <a:pt x="952" y="244"/>
                  </a:moveTo>
                  <a:lnTo>
                    <a:pt x="952" y="0"/>
                  </a:lnTo>
                  <a:lnTo>
                    <a:pt x="1142" y="0"/>
                  </a:lnTo>
                  <a:lnTo>
                    <a:pt x="1142" y="244"/>
                  </a:lnTo>
                  <a:lnTo>
                    <a:pt x="1205" y="244"/>
                  </a:lnTo>
                  <a:lnTo>
                    <a:pt x="1205" y="0"/>
                  </a:lnTo>
                  <a:lnTo>
                    <a:pt x="1394" y="0"/>
                  </a:lnTo>
                  <a:lnTo>
                    <a:pt x="1394" y="244"/>
                  </a:lnTo>
                  <a:lnTo>
                    <a:pt x="1730" y="244"/>
                  </a:lnTo>
                  <a:lnTo>
                    <a:pt x="1730" y="305"/>
                  </a:lnTo>
                  <a:lnTo>
                    <a:pt x="1652" y="305"/>
                  </a:lnTo>
                  <a:lnTo>
                    <a:pt x="1652" y="1455"/>
                  </a:lnTo>
                  <a:lnTo>
                    <a:pt x="78" y="1455"/>
                  </a:lnTo>
                  <a:lnTo>
                    <a:pt x="78" y="305"/>
                  </a:lnTo>
                  <a:lnTo>
                    <a:pt x="0" y="305"/>
                  </a:lnTo>
                  <a:lnTo>
                    <a:pt x="0" y="244"/>
                  </a:lnTo>
                  <a:lnTo>
                    <a:pt x="952" y="244"/>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1" name="Freeform 36"/>
            <p:cNvSpPr>
              <a:spLocks/>
            </p:cNvSpPr>
            <p:nvPr/>
          </p:nvSpPr>
          <p:spPr bwMode="auto">
            <a:xfrm>
              <a:off x="2163070" y="5814069"/>
              <a:ext cx="1403565" cy="1180456"/>
            </a:xfrm>
            <a:custGeom>
              <a:avLst/>
              <a:gdLst>
                <a:gd name="T0" fmla="*/ 952 w 1730"/>
                <a:gd name="T1" fmla="*/ 244 h 1455"/>
                <a:gd name="T2" fmla="*/ 952 w 1730"/>
                <a:gd name="T3" fmla="*/ 0 h 1455"/>
                <a:gd name="T4" fmla="*/ 1141 w 1730"/>
                <a:gd name="T5" fmla="*/ 0 h 1455"/>
                <a:gd name="T6" fmla="*/ 1141 w 1730"/>
                <a:gd name="T7" fmla="*/ 244 h 1455"/>
                <a:gd name="T8" fmla="*/ 1205 w 1730"/>
                <a:gd name="T9" fmla="*/ 244 h 1455"/>
                <a:gd name="T10" fmla="*/ 1205 w 1730"/>
                <a:gd name="T11" fmla="*/ 0 h 1455"/>
                <a:gd name="T12" fmla="*/ 1394 w 1730"/>
                <a:gd name="T13" fmla="*/ 0 h 1455"/>
                <a:gd name="T14" fmla="*/ 1394 w 1730"/>
                <a:gd name="T15" fmla="*/ 244 h 1455"/>
                <a:gd name="T16" fmla="*/ 1730 w 1730"/>
                <a:gd name="T17" fmla="*/ 244 h 1455"/>
                <a:gd name="T18" fmla="*/ 1730 w 1730"/>
                <a:gd name="T19" fmla="*/ 305 h 1455"/>
                <a:gd name="T20" fmla="*/ 1652 w 1730"/>
                <a:gd name="T21" fmla="*/ 305 h 1455"/>
                <a:gd name="T22" fmla="*/ 1652 w 1730"/>
                <a:gd name="T23" fmla="*/ 1455 h 1455"/>
                <a:gd name="T24" fmla="*/ 78 w 1730"/>
                <a:gd name="T25" fmla="*/ 1455 h 1455"/>
                <a:gd name="T26" fmla="*/ 78 w 1730"/>
                <a:gd name="T27" fmla="*/ 305 h 1455"/>
                <a:gd name="T28" fmla="*/ 0 w 1730"/>
                <a:gd name="T29" fmla="*/ 305 h 1455"/>
                <a:gd name="T30" fmla="*/ 0 w 1730"/>
                <a:gd name="T31" fmla="*/ 244 h 1455"/>
                <a:gd name="T32" fmla="*/ 952 w 1730"/>
                <a:gd name="T33" fmla="*/ 244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30" h="1455">
                  <a:moveTo>
                    <a:pt x="952" y="244"/>
                  </a:moveTo>
                  <a:lnTo>
                    <a:pt x="952" y="0"/>
                  </a:lnTo>
                  <a:lnTo>
                    <a:pt x="1141" y="0"/>
                  </a:lnTo>
                  <a:lnTo>
                    <a:pt x="1141" y="244"/>
                  </a:lnTo>
                  <a:lnTo>
                    <a:pt x="1205" y="244"/>
                  </a:lnTo>
                  <a:lnTo>
                    <a:pt x="1205" y="0"/>
                  </a:lnTo>
                  <a:lnTo>
                    <a:pt x="1394" y="0"/>
                  </a:lnTo>
                  <a:lnTo>
                    <a:pt x="1394" y="244"/>
                  </a:lnTo>
                  <a:lnTo>
                    <a:pt x="1730" y="244"/>
                  </a:lnTo>
                  <a:lnTo>
                    <a:pt x="1730" y="305"/>
                  </a:lnTo>
                  <a:lnTo>
                    <a:pt x="1652" y="305"/>
                  </a:lnTo>
                  <a:lnTo>
                    <a:pt x="1652" y="1455"/>
                  </a:lnTo>
                  <a:lnTo>
                    <a:pt x="78" y="1455"/>
                  </a:lnTo>
                  <a:lnTo>
                    <a:pt x="78" y="305"/>
                  </a:lnTo>
                  <a:lnTo>
                    <a:pt x="0" y="305"/>
                  </a:lnTo>
                  <a:lnTo>
                    <a:pt x="0" y="244"/>
                  </a:lnTo>
                  <a:lnTo>
                    <a:pt x="952" y="244"/>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2" name="Rectangle 37"/>
            <p:cNvSpPr>
              <a:spLocks noChangeArrowheads="1"/>
            </p:cNvSpPr>
            <p:nvPr/>
          </p:nvSpPr>
          <p:spPr bwMode="auto">
            <a:xfrm>
              <a:off x="3926857" y="5399490"/>
              <a:ext cx="1277001" cy="1595034"/>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3" name="Rectangle 38"/>
            <p:cNvSpPr>
              <a:spLocks noChangeArrowheads="1"/>
            </p:cNvSpPr>
            <p:nvPr/>
          </p:nvSpPr>
          <p:spPr bwMode="auto">
            <a:xfrm>
              <a:off x="3863575" y="5350000"/>
              <a:ext cx="1403565" cy="4949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4" name="Rectangle 39"/>
            <p:cNvSpPr>
              <a:spLocks noChangeArrowheads="1"/>
            </p:cNvSpPr>
            <p:nvPr/>
          </p:nvSpPr>
          <p:spPr bwMode="auto">
            <a:xfrm>
              <a:off x="4628640" y="6671623"/>
              <a:ext cx="167130" cy="322901"/>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5" name="Rectangle 40"/>
            <p:cNvSpPr>
              <a:spLocks noChangeArrowheads="1"/>
            </p:cNvSpPr>
            <p:nvPr/>
          </p:nvSpPr>
          <p:spPr bwMode="auto">
            <a:xfrm>
              <a:off x="4341436" y="6671623"/>
              <a:ext cx="166319" cy="322901"/>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6" name="Rectangle 41"/>
            <p:cNvSpPr>
              <a:spLocks noChangeArrowheads="1"/>
            </p:cNvSpPr>
            <p:nvPr/>
          </p:nvSpPr>
          <p:spPr bwMode="auto">
            <a:xfrm>
              <a:off x="4053421" y="5543903"/>
              <a:ext cx="1029552" cy="164696"/>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7" name="Rectangle 42"/>
            <p:cNvSpPr>
              <a:spLocks noChangeArrowheads="1"/>
            </p:cNvSpPr>
            <p:nvPr/>
          </p:nvSpPr>
          <p:spPr bwMode="auto">
            <a:xfrm>
              <a:off x="4053421" y="5829484"/>
              <a:ext cx="1029552" cy="16713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8" name="Rectangle 43"/>
            <p:cNvSpPr>
              <a:spLocks noChangeArrowheads="1"/>
            </p:cNvSpPr>
            <p:nvPr/>
          </p:nvSpPr>
          <p:spPr bwMode="auto">
            <a:xfrm>
              <a:off x="4053421" y="6117499"/>
              <a:ext cx="1029552" cy="164696"/>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89" name="Rectangle 44"/>
            <p:cNvSpPr>
              <a:spLocks noChangeArrowheads="1"/>
            </p:cNvSpPr>
            <p:nvPr/>
          </p:nvSpPr>
          <p:spPr bwMode="auto">
            <a:xfrm>
              <a:off x="4053421" y="6403080"/>
              <a:ext cx="1029552" cy="16713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0" name="Rectangle 45"/>
            <p:cNvSpPr>
              <a:spLocks noChangeArrowheads="1"/>
            </p:cNvSpPr>
            <p:nvPr/>
          </p:nvSpPr>
          <p:spPr bwMode="auto">
            <a:xfrm>
              <a:off x="5203858" y="6911771"/>
              <a:ext cx="3054580" cy="8275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1" name="Rectangle 46"/>
            <p:cNvSpPr>
              <a:spLocks noChangeArrowheads="1"/>
            </p:cNvSpPr>
            <p:nvPr/>
          </p:nvSpPr>
          <p:spPr bwMode="auto">
            <a:xfrm>
              <a:off x="4136175" y="5152041"/>
              <a:ext cx="492465" cy="1979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2" name="Rectangle 47"/>
            <p:cNvSpPr>
              <a:spLocks noChangeArrowheads="1"/>
            </p:cNvSpPr>
            <p:nvPr/>
          </p:nvSpPr>
          <p:spPr bwMode="auto">
            <a:xfrm>
              <a:off x="2367520" y="3127823"/>
              <a:ext cx="1277813" cy="3866701"/>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3" name="Rectangle 48"/>
            <p:cNvSpPr>
              <a:spLocks noChangeArrowheads="1"/>
            </p:cNvSpPr>
            <p:nvPr/>
          </p:nvSpPr>
          <p:spPr bwMode="auto">
            <a:xfrm>
              <a:off x="2304238" y="3079956"/>
              <a:ext cx="1404377" cy="4786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4" name="Rectangle 49"/>
            <p:cNvSpPr>
              <a:spLocks noChangeArrowheads="1"/>
            </p:cNvSpPr>
            <p:nvPr/>
          </p:nvSpPr>
          <p:spPr bwMode="auto">
            <a:xfrm>
              <a:off x="3070114" y="6671623"/>
              <a:ext cx="166319" cy="322901"/>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5" name="Rectangle 50"/>
            <p:cNvSpPr>
              <a:spLocks noChangeArrowheads="1"/>
            </p:cNvSpPr>
            <p:nvPr/>
          </p:nvSpPr>
          <p:spPr bwMode="auto">
            <a:xfrm>
              <a:off x="2782099" y="6671623"/>
              <a:ext cx="167130" cy="322901"/>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6" name="Rectangle 51"/>
            <p:cNvSpPr>
              <a:spLocks noChangeArrowheads="1"/>
            </p:cNvSpPr>
            <p:nvPr/>
          </p:nvSpPr>
          <p:spPr bwMode="auto">
            <a:xfrm>
              <a:off x="2494084" y="5543903"/>
              <a:ext cx="1030363" cy="16469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7" name="Rectangle 52"/>
            <p:cNvSpPr>
              <a:spLocks noChangeArrowheads="1"/>
            </p:cNvSpPr>
            <p:nvPr/>
          </p:nvSpPr>
          <p:spPr bwMode="auto">
            <a:xfrm>
              <a:off x="2494084" y="5829484"/>
              <a:ext cx="1030363" cy="16713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8" name="Rectangle 53"/>
            <p:cNvSpPr>
              <a:spLocks noChangeArrowheads="1"/>
            </p:cNvSpPr>
            <p:nvPr/>
          </p:nvSpPr>
          <p:spPr bwMode="auto">
            <a:xfrm>
              <a:off x="2494084" y="6117499"/>
              <a:ext cx="1030363" cy="16469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99" name="Rectangle 54"/>
            <p:cNvSpPr>
              <a:spLocks noChangeArrowheads="1"/>
            </p:cNvSpPr>
            <p:nvPr/>
          </p:nvSpPr>
          <p:spPr bwMode="auto">
            <a:xfrm>
              <a:off x="2494084" y="6403080"/>
              <a:ext cx="1030363" cy="16713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0" name="Rectangle 55"/>
            <p:cNvSpPr>
              <a:spLocks noChangeArrowheads="1"/>
            </p:cNvSpPr>
            <p:nvPr/>
          </p:nvSpPr>
          <p:spPr bwMode="auto">
            <a:xfrm>
              <a:off x="2494084" y="4970308"/>
              <a:ext cx="1030363" cy="16469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1" name="Rectangle 56"/>
            <p:cNvSpPr>
              <a:spLocks noChangeArrowheads="1"/>
            </p:cNvSpPr>
            <p:nvPr/>
          </p:nvSpPr>
          <p:spPr bwMode="auto">
            <a:xfrm>
              <a:off x="2494084" y="5255889"/>
              <a:ext cx="1030363" cy="16713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2" name="Rectangle 57"/>
            <p:cNvSpPr>
              <a:spLocks noChangeArrowheads="1"/>
            </p:cNvSpPr>
            <p:nvPr/>
          </p:nvSpPr>
          <p:spPr bwMode="auto">
            <a:xfrm>
              <a:off x="2494084" y="4111942"/>
              <a:ext cx="1030363" cy="16550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3" name="Rectangle 58"/>
            <p:cNvSpPr>
              <a:spLocks noChangeArrowheads="1"/>
            </p:cNvSpPr>
            <p:nvPr/>
          </p:nvSpPr>
          <p:spPr bwMode="auto">
            <a:xfrm>
              <a:off x="2494084" y="4398334"/>
              <a:ext cx="1030363" cy="16631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4" name="Rectangle 59"/>
            <p:cNvSpPr>
              <a:spLocks noChangeArrowheads="1"/>
            </p:cNvSpPr>
            <p:nvPr/>
          </p:nvSpPr>
          <p:spPr bwMode="auto">
            <a:xfrm>
              <a:off x="2494084" y="4685538"/>
              <a:ext cx="1030363" cy="16550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5" name="Rectangle 60"/>
            <p:cNvSpPr>
              <a:spLocks noChangeArrowheads="1"/>
            </p:cNvSpPr>
            <p:nvPr/>
          </p:nvSpPr>
          <p:spPr bwMode="auto">
            <a:xfrm>
              <a:off x="2494084" y="3538346"/>
              <a:ext cx="1030363" cy="16550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6" name="Rectangle 61"/>
            <p:cNvSpPr>
              <a:spLocks noChangeArrowheads="1"/>
            </p:cNvSpPr>
            <p:nvPr/>
          </p:nvSpPr>
          <p:spPr bwMode="auto">
            <a:xfrm>
              <a:off x="2494084" y="3824739"/>
              <a:ext cx="1030363" cy="16631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7" name="Rectangle 62"/>
            <p:cNvSpPr>
              <a:spLocks noChangeArrowheads="1"/>
            </p:cNvSpPr>
            <p:nvPr/>
          </p:nvSpPr>
          <p:spPr bwMode="auto">
            <a:xfrm>
              <a:off x="2494084" y="3244652"/>
              <a:ext cx="1030363" cy="16713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8" name="Rectangle 63"/>
            <p:cNvSpPr>
              <a:spLocks noChangeArrowheads="1"/>
            </p:cNvSpPr>
            <p:nvPr/>
          </p:nvSpPr>
          <p:spPr bwMode="auto">
            <a:xfrm>
              <a:off x="3365" y="4271770"/>
              <a:ext cx="1277001" cy="2722755"/>
            </a:xfrm>
            <a:prstGeom prst="rect">
              <a:avLst/>
            </a:prstGeom>
            <a:solidFill>
              <a:srgbClr val="00B29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09" name="Rectangle 64"/>
            <p:cNvSpPr>
              <a:spLocks noChangeArrowheads="1"/>
            </p:cNvSpPr>
            <p:nvPr/>
          </p:nvSpPr>
          <p:spPr bwMode="auto">
            <a:xfrm>
              <a:off x="705147" y="6671623"/>
              <a:ext cx="167130" cy="322901"/>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0" name="Rectangle 65"/>
            <p:cNvSpPr>
              <a:spLocks noChangeArrowheads="1"/>
            </p:cNvSpPr>
            <p:nvPr/>
          </p:nvSpPr>
          <p:spPr bwMode="auto">
            <a:xfrm>
              <a:off x="417943" y="6671623"/>
              <a:ext cx="166319" cy="322901"/>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1" name="Rectangle 66"/>
            <p:cNvSpPr>
              <a:spLocks noChangeArrowheads="1"/>
            </p:cNvSpPr>
            <p:nvPr/>
          </p:nvSpPr>
          <p:spPr bwMode="auto">
            <a:xfrm>
              <a:off x="129929" y="5543903"/>
              <a:ext cx="1029552" cy="164696"/>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2" name="Rectangle 67"/>
            <p:cNvSpPr>
              <a:spLocks noChangeArrowheads="1"/>
            </p:cNvSpPr>
            <p:nvPr/>
          </p:nvSpPr>
          <p:spPr bwMode="auto">
            <a:xfrm>
              <a:off x="129929" y="5829484"/>
              <a:ext cx="1029552" cy="16713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3" name="Rectangle 68"/>
            <p:cNvSpPr>
              <a:spLocks noChangeArrowheads="1"/>
            </p:cNvSpPr>
            <p:nvPr/>
          </p:nvSpPr>
          <p:spPr bwMode="auto">
            <a:xfrm>
              <a:off x="129929" y="6117499"/>
              <a:ext cx="1029552" cy="164696"/>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4" name="Rectangle 69"/>
            <p:cNvSpPr>
              <a:spLocks noChangeArrowheads="1"/>
            </p:cNvSpPr>
            <p:nvPr/>
          </p:nvSpPr>
          <p:spPr bwMode="auto">
            <a:xfrm>
              <a:off x="129929" y="6403080"/>
              <a:ext cx="1029552" cy="16713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5" name="Rectangle 70"/>
            <p:cNvSpPr>
              <a:spLocks noChangeArrowheads="1"/>
            </p:cNvSpPr>
            <p:nvPr/>
          </p:nvSpPr>
          <p:spPr bwMode="auto">
            <a:xfrm>
              <a:off x="129929" y="4970308"/>
              <a:ext cx="1029552" cy="164696"/>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6" name="Rectangle 71"/>
            <p:cNvSpPr>
              <a:spLocks noChangeArrowheads="1"/>
            </p:cNvSpPr>
            <p:nvPr/>
          </p:nvSpPr>
          <p:spPr bwMode="auto">
            <a:xfrm>
              <a:off x="129929" y="5255889"/>
              <a:ext cx="1029552" cy="16713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7" name="Rectangle 72"/>
            <p:cNvSpPr>
              <a:spLocks noChangeArrowheads="1"/>
            </p:cNvSpPr>
            <p:nvPr/>
          </p:nvSpPr>
          <p:spPr bwMode="auto">
            <a:xfrm>
              <a:off x="129929" y="4398334"/>
              <a:ext cx="1029552" cy="166319"/>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8" name="Rectangle 73"/>
            <p:cNvSpPr>
              <a:spLocks noChangeArrowheads="1"/>
            </p:cNvSpPr>
            <p:nvPr/>
          </p:nvSpPr>
          <p:spPr bwMode="auto">
            <a:xfrm>
              <a:off x="129929" y="4685538"/>
              <a:ext cx="1029552" cy="165507"/>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19" name="Rectangle 74"/>
            <p:cNvSpPr>
              <a:spLocks noChangeArrowheads="1"/>
            </p:cNvSpPr>
            <p:nvPr/>
          </p:nvSpPr>
          <p:spPr bwMode="auto">
            <a:xfrm>
              <a:off x="3547164" y="6911771"/>
              <a:ext cx="477861" cy="8275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0" name="Rectangle 75"/>
            <p:cNvSpPr>
              <a:spLocks noChangeArrowheads="1"/>
            </p:cNvSpPr>
            <p:nvPr/>
          </p:nvSpPr>
          <p:spPr bwMode="auto">
            <a:xfrm>
              <a:off x="1282799" y="6911771"/>
              <a:ext cx="1376792" cy="8275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sp>
        <p:nvSpPr>
          <p:cNvPr id="132" name="Oval 60"/>
          <p:cNvSpPr/>
          <p:nvPr/>
        </p:nvSpPr>
        <p:spPr bwMode="auto">
          <a:xfrm>
            <a:off x="10357017" y="2818398"/>
            <a:ext cx="1232637" cy="793074"/>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0072C6"/>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Oval 60"/>
          <p:cNvSpPr/>
          <p:nvPr/>
        </p:nvSpPr>
        <p:spPr bwMode="auto">
          <a:xfrm>
            <a:off x="8214963" y="2035787"/>
            <a:ext cx="848598" cy="545985"/>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0072C6"/>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Oval 60"/>
          <p:cNvSpPr/>
          <p:nvPr/>
        </p:nvSpPr>
        <p:spPr bwMode="auto">
          <a:xfrm>
            <a:off x="7301854" y="3395540"/>
            <a:ext cx="848598" cy="545985"/>
          </a:xfrm>
          <a:custGeom>
            <a:avLst/>
            <a:gdLst/>
            <a:ahLst/>
            <a:cxnLst/>
            <a:rect l="l" t="t" r="r" b="b"/>
            <a:pathLst>
              <a:path w="3355441" h="2158878">
                <a:moveTo>
                  <a:pt x="1423523" y="0"/>
                </a:moveTo>
                <a:cubicBezTo>
                  <a:pt x="1756617" y="0"/>
                  <a:pt x="2047757" y="172547"/>
                  <a:pt x="2204543" y="430169"/>
                </a:cubicBezTo>
                <a:cubicBezTo>
                  <a:pt x="2279366" y="398122"/>
                  <a:pt x="2362257" y="380662"/>
                  <a:pt x="2449394" y="380662"/>
                </a:cubicBezTo>
                <a:cubicBezTo>
                  <a:pt x="2777811" y="380662"/>
                  <a:pt x="3045924" y="628679"/>
                  <a:pt x="3059505" y="940483"/>
                </a:cubicBezTo>
                <a:cubicBezTo>
                  <a:pt x="3238038" y="1062440"/>
                  <a:pt x="3355440" y="1269512"/>
                  <a:pt x="3355440" y="1504427"/>
                </a:cubicBezTo>
                <a:lnTo>
                  <a:pt x="3354224" y="1522353"/>
                </a:lnTo>
                <a:cubicBezTo>
                  <a:pt x="3355405" y="1526354"/>
                  <a:pt x="3355441" y="1530384"/>
                  <a:pt x="3355441" y="1534422"/>
                </a:cubicBezTo>
                <a:lnTo>
                  <a:pt x="3349222" y="1596112"/>
                </a:lnTo>
                <a:cubicBezTo>
                  <a:pt x="3349243" y="1597270"/>
                  <a:pt x="3349089" y="1598404"/>
                  <a:pt x="3348878" y="1599529"/>
                </a:cubicBezTo>
                <a:cubicBezTo>
                  <a:pt x="3326726" y="1855117"/>
                  <a:pt x="3159511" y="2068637"/>
                  <a:pt x="2929866" y="2158878"/>
                </a:cubicBezTo>
                <a:lnTo>
                  <a:pt x="564329" y="2158878"/>
                </a:lnTo>
                <a:cubicBezTo>
                  <a:pt x="248404" y="2137740"/>
                  <a:pt x="0" y="1884036"/>
                  <a:pt x="0" y="1574599"/>
                </a:cubicBezTo>
                <a:cubicBezTo>
                  <a:pt x="0" y="1277524"/>
                  <a:pt x="228953" y="1031817"/>
                  <a:pt x="526951" y="993940"/>
                </a:cubicBezTo>
                <a:cubicBezTo>
                  <a:pt x="519940" y="953859"/>
                  <a:pt x="516872" y="912734"/>
                  <a:pt x="516872" y="870921"/>
                </a:cubicBezTo>
                <a:cubicBezTo>
                  <a:pt x="516872" y="389925"/>
                  <a:pt x="922793" y="0"/>
                  <a:pt x="1423523" y="0"/>
                </a:cubicBezTo>
                <a:close/>
              </a:path>
            </a:pathLst>
          </a:custGeom>
          <a:solidFill>
            <a:srgbClr val="00BCF2"/>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3" name="Group 222"/>
          <p:cNvGrpSpPr/>
          <p:nvPr/>
        </p:nvGrpSpPr>
        <p:grpSpPr>
          <a:xfrm>
            <a:off x="4920870" y="6125150"/>
            <a:ext cx="535329" cy="668422"/>
            <a:chOff x="3487336" y="6247475"/>
            <a:chExt cx="546063" cy="681825"/>
          </a:xfrm>
        </p:grpSpPr>
        <p:sp>
          <p:nvSpPr>
            <p:cNvPr id="224"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25"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26"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27"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28"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29"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nvGrpSpPr>
          <p:cNvPr id="230" name="Group 229"/>
          <p:cNvGrpSpPr/>
          <p:nvPr/>
        </p:nvGrpSpPr>
        <p:grpSpPr>
          <a:xfrm>
            <a:off x="10363180" y="6125150"/>
            <a:ext cx="535329" cy="668422"/>
            <a:chOff x="3487336" y="6247475"/>
            <a:chExt cx="546063" cy="681825"/>
          </a:xfrm>
        </p:grpSpPr>
        <p:sp>
          <p:nvSpPr>
            <p:cNvPr id="231"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32" name="Oval 44"/>
            <p:cNvSpPr>
              <a:spLocks noChangeArrowheads="1"/>
            </p:cNvSpPr>
            <p:nvPr/>
          </p:nvSpPr>
          <p:spPr bwMode="auto">
            <a:xfrm flipH="1">
              <a:off x="3680419" y="6429999"/>
              <a:ext cx="352980" cy="352980"/>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33" name="Oval 45"/>
            <p:cNvSpPr>
              <a:spLocks noChangeArrowheads="1"/>
            </p:cNvSpPr>
            <p:nvPr/>
          </p:nvSpPr>
          <p:spPr bwMode="auto">
            <a:xfrm flipH="1">
              <a:off x="3724919" y="6247475"/>
              <a:ext cx="258701" cy="259455"/>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34"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35"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236"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Tree>
    <p:extLst>
      <p:ext uri="{BB962C8B-B14F-4D97-AF65-F5344CB8AC3E}">
        <p14:creationId xmlns:p14="http://schemas.microsoft.com/office/powerpoint/2010/main" val="7339637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269240" y="2807504"/>
            <a:ext cx="8964248" cy="129981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9" defTabSz="913924" fontAlgn="base">
              <a:lnSpc>
                <a:spcPct val="90000"/>
              </a:lnSpc>
              <a:spcBef>
                <a:spcPct val="0"/>
              </a:spcBef>
              <a:spcAft>
                <a:spcPct val="0"/>
              </a:spcAft>
            </a:pPr>
            <a:r>
              <a:rPr lang="en-US" sz="2549" spc="-49" dirty="0">
                <a:gradFill>
                  <a:gsLst>
                    <a:gs pos="0">
                      <a:srgbClr val="005695"/>
                    </a:gs>
                    <a:gs pos="100000">
                      <a:srgbClr val="005695"/>
                    </a:gs>
                  </a:gsLst>
                  <a:lin ang="5400000" scaled="0"/>
                </a:gradFill>
                <a:latin typeface="Segoe UI Light"/>
              </a:rPr>
              <a:t>           Improve data protection and recovery</a:t>
            </a:r>
          </a:p>
        </p:txBody>
      </p:sp>
      <p:sp>
        <p:nvSpPr>
          <p:cNvPr id="40" name="Rectangle 39"/>
          <p:cNvSpPr/>
          <p:nvPr/>
        </p:nvSpPr>
        <p:spPr bwMode="auto">
          <a:xfrm>
            <a:off x="269240" y="4150436"/>
            <a:ext cx="8964248" cy="129981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9" defTabSz="913924" fontAlgn="base">
              <a:lnSpc>
                <a:spcPct val="90000"/>
              </a:lnSpc>
              <a:spcBef>
                <a:spcPct val="0"/>
              </a:spcBef>
              <a:spcAft>
                <a:spcPct val="0"/>
              </a:spcAft>
            </a:pPr>
            <a:r>
              <a:rPr lang="en-US" sz="2549" spc="-49" dirty="0">
                <a:solidFill>
                  <a:srgbClr val="0072C6"/>
                </a:solidFill>
                <a:latin typeface="Segoe UI Light"/>
              </a:rPr>
              <a:t>           </a:t>
            </a:r>
            <a:r>
              <a:rPr lang="en-US" sz="2549" spc="-49" dirty="0">
                <a:gradFill>
                  <a:gsLst>
                    <a:gs pos="0">
                      <a:srgbClr val="003963"/>
                    </a:gs>
                    <a:gs pos="100000">
                      <a:srgbClr val="003963"/>
                    </a:gs>
                  </a:gsLst>
                  <a:lin ang="5400000" scaled="0"/>
                </a:gradFill>
                <a:latin typeface="Segoe UI Light"/>
              </a:rPr>
              <a:t>Increase agility and shift resources to business drivers</a:t>
            </a:r>
          </a:p>
        </p:txBody>
      </p:sp>
      <p:sp>
        <p:nvSpPr>
          <p:cNvPr id="44" name="Rectangle 43"/>
          <p:cNvSpPr/>
          <p:nvPr/>
        </p:nvSpPr>
        <p:spPr bwMode="auto">
          <a:xfrm>
            <a:off x="269240" y="1464574"/>
            <a:ext cx="8964248" cy="129981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3112" defTabSz="913924" fontAlgn="base">
              <a:lnSpc>
                <a:spcPct val="90000"/>
              </a:lnSpc>
              <a:spcBef>
                <a:spcPct val="0"/>
              </a:spcBef>
              <a:spcAft>
                <a:spcPct val="0"/>
              </a:spcAft>
            </a:pPr>
            <a:r>
              <a:rPr lang="en-US" sz="2549" spc="-49" dirty="0">
                <a:solidFill>
                  <a:srgbClr val="0072C6"/>
                </a:solidFill>
                <a:latin typeface="Segoe UI Light"/>
              </a:rPr>
              <a:t>	 Reduce storage costs and manage data growth</a:t>
            </a:r>
          </a:p>
        </p:txBody>
      </p:sp>
      <p:sp>
        <p:nvSpPr>
          <p:cNvPr id="2" name="Text Placeholder 1"/>
          <p:cNvSpPr>
            <a:spLocks noGrp="1"/>
          </p:cNvSpPr>
          <p:nvPr>
            <p:ph type="body" sz="quarter" idx="13"/>
          </p:nvPr>
        </p:nvSpPr>
        <p:spPr/>
        <p:txBody>
          <a:bodyPr/>
          <a:lstStyle/>
          <a:p>
            <a:r>
              <a:rPr lang="en-US" dirty="0" smtClean="0"/>
              <a:t>Hybrid cloud </a:t>
            </a:r>
            <a:r>
              <a:rPr lang="en-US" dirty="0"/>
              <a:t>s</a:t>
            </a:r>
            <a:r>
              <a:rPr lang="en-US" dirty="0" smtClean="0"/>
              <a:t>torage</a:t>
            </a:r>
            <a:endParaRPr lang="en-US" dirty="0"/>
          </a:p>
        </p:txBody>
      </p:sp>
      <p:sp>
        <p:nvSpPr>
          <p:cNvPr id="4" name="Rectangle 3" hidden="1"/>
          <p:cNvSpPr/>
          <p:nvPr/>
        </p:nvSpPr>
        <p:spPr bwMode="auto">
          <a:xfrm>
            <a:off x="382187" y="3737932"/>
            <a:ext cx="2605301" cy="2482447"/>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28" tIns="228535" rIns="91410" bIns="91414" numCol="1" rtlCol="0" anchor="t" anchorCtr="0" compatLnSpc="1">
            <a:prstTxWarp prst="textNoShape">
              <a:avLst/>
            </a:prstTxWarp>
            <a:noAutofit/>
          </a:bodyPr>
          <a:lstStyle/>
          <a:p>
            <a:pPr defTabSz="914012">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7" name="Rectangle 6" hidden="1"/>
          <p:cNvSpPr/>
          <p:nvPr/>
        </p:nvSpPr>
        <p:spPr bwMode="auto">
          <a:xfrm>
            <a:off x="2987489" y="3733917"/>
            <a:ext cx="2605301" cy="248646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28" tIns="228535" rIns="91410" bIns="91414" numCol="1" rtlCol="0" anchor="t" anchorCtr="0" compatLnSpc="1">
            <a:prstTxWarp prst="textNoShape">
              <a:avLst/>
            </a:prstTxWarp>
            <a:noAutofit/>
          </a:bodyPr>
          <a:lstStyle/>
          <a:p>
            <a:pPr defTabSz="914012">
              <a:lnSpc>
                <a:spcPct val="90000"/>
              </a:lnSpc>
              <a:spcBef>
                <a:spcPts val="600"/>
              </a:spcBef>
              <a:defRPr/>
            </a:pPr>
            <a:r>
              <a:rPr lang="en-US" sz="1400" spc="-70" dirty="0">
                <a:gradFill>
                  <a:gsLst>
                    <a:gs pos="0">
                      <a:srgbClr val="00188F"/>
                    </a:gs>
                    <a:gs pos="100000">
                      <a:srgbClr val="00188F"/>
                    </a:gs>
                  </a:gsLst>
                  <a:lin ang="5400000" scaled="0"/>
                </a:gradFill>
              </a:rPr>
              <a:t>TBD</a:t>
            </a:r>
          </a:p>
        </p:txBody>
      </p:sp>
      <p:sp>
        <p:nvSpPr>
          <p:cNvPr id="10" name="Rectangle 9" hidden="1"/>
          <p:cNvSpPr/>
          <p:nvPr/>
        </p:nvSpPr>
        <p:spPr bwMode="auto">
          <a:xfrm>
            <a:off x="5592790" y="3737932"/>
            <a:ext cx="2605301" cy="2486462"/>
          </a:xfrm>
          <a:prstGeom prst="rect">
            <a:avLst/>
          </a:prstGeom>
          <a:solidFill>
            <a:srgbClr val="0014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28" tIns="179259" rIns="91410" bIns="91414" numCol="1" rtlCol="0" anchor="t" anchorCtr="0" compatLnSpc="1">
            <a:prstTxWarp prst="textNoShape">
              <a:avLst/>
            </a:prstTxWarp>
            <a:noAutofit/>
          </a:bodyPr>
          <a:lstStyle/>
          <a:p>
            <a:pPr defTabSz="914012">
              <a:lnSpc>
                <a:spcPct val="90000"/>
              </a:lnSpc>
              <a:spcBef>
                <a:spcPts val="600"/>
              </a:spcBef>
              <a:defRPr/>
            </a:pPr>
            <a:r>
              <a:rPr lang="en-US" sz="1400" spc="-70" dirty="0">
                <a:gradFill>
                  <a:gsLst>
                    <a:gs pos="0">
                      <a:srgbClr val="00188F"/>
                    </a:gs>
                    <a:gs pos="100000">
                      <a:srgbClr val="00188F"/>
                    </a:gs>
                  </a:gsLst>
                  <a:lin ang="5400000" scaled="0"/>
                </a:gradFill>
              </a:rPr>
              <a:t>TBD</a:t>
            </a:r>
          </a:p>
        </p:txBody>
      </p:sp>
      <p:grpSp>
        <p:nvGrpSpPr>
          <p:cNvPr id="47" name="Group 46"/>
          <p:cNvGrpSpPr/>
          <p:nvPr/>
        </p:nvGrpSpPr>
        <p:grpSpPr>
          <a:xfrm>
            <a:off x="515615" y="1734753"/>
            <a:ext cx="674610" cy="678183"/>
            <a:chOff x="5557290" y="1766438"/>
            <a:chExt cx="691782" cy="691782"/>
          </a:xfrm>
        </p:grpSpPr>
        <p:sp>
          <p:nvSpPr>
            <p:cNvPr id="48" name="Oval 47"/>
            <p:cNvSpPr/>
            <p:nvPr/>
          </p:nvSpPr>
          <p:spPr bwMode="auto">
            <a:xfrm>
              <a:off x="5557290" y="1766438"/>
              <a:ext cx="691782" cy="691782"/>
            </a:xfrm>
            <a:prstGeom prst="ellipse">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FF8C00"/>
                </a:solidFill>
                <a:ea typeface="Segoe UI" pitchFamily="34" charset="0"/>
                <a:cs typeface="Segoe UI" pitchFamily="34" charset="0"/>
              </a:endParaRPr>
            </a:p>
          </p:txBody>
        </p:sp>
        <p:sp>
          <p:nvSpPr>
            <p:cNvPr id="49" name="Isosceles Triangle 48"/>
            <p:cNvSpPr/>
            <p:nvPr/>
          </p:nvSpPr>
          <p:spPr bwMode="auto">
            <a:xfrm rot="5400000">
              <a:off x="5799098" y="2014578"/>
              <a:ext cx="288628" cy="195503"/>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b="1" dirty="0">
                <a:solidFill>
                  <a:srgbClr val="FFFFFF"/>
                </a:solidFill>
                <a:latin typeface="Segoe UI Light"/>
                <a:ea typeface="Segoe UI" pitchFamily="34" charset="0"/>
                <a:cs typeface="Segoe UI" pitchFamily="34" charset="0"/>
              </a:endParaRPr>
            </a:p>
          </p:txBody>
        </p:sp>
      </p:grpSp>
      <p:grpSp>
        <p:nvGrpSpPr>
          <p:cNvPr id="50" name="Group 49"/>
          <p:cNvGrpSpPr/>
          <p:nvPr/>
        </p:nvGrpSpPr>
        <p:grpSpPr>
          <a:xfrm>
            <a:off x="515615" y="3077684"/>
            <a:ext cx="674610" cy="678183"/>
            <a:chOff x="5557290" y="1766438"/>
            <a:chExt cx="691782" cy="691782"/>
          </a:xfrm>
        </p:grpSpPr>
        <p:sp>
          <p:nvSpPr>
            <p:cNvPr id="51" name="Oval 50"/>
            <p:cNvSpPr/>
            <p:nvPr/>
          </p:nvSpPr>
          <p:spPr bwMode="auto">
            <a:xfrm>
              <a:off x="5557290" y="1766438"/>
              <a:ext cx="691782" cy="691782"/>
            </a:xfrm>
            <a:prstGeom prst="ellipse">
              <a:avLst/>
            </a:prstGeom>
            <a:solidFill>
              <a:schemeClr val="bg1"/>
            </a:solidFill>
            <a:ln w="381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FF8C00"/>
                </a:solidFill>
                <a:ea typeface="Segoe UI" pitchFamily="34" charset="0"/>
                <a:cs typeface="Segoe UI" pitchFamily="34" charset="0"/>
              </a:endParaRPr>
            </a:p>
          </p:txBody>
        </p:sp>
        <p:sp>
          <p:nvSpPr>
            <p:cNvPr id="52" name="Isosceles Triangle 51"/>
            <p:cNvSpPr/>
            <p:nvPr/>
          </p:nvSpPr>
          <p:spPr bwMode="auto">
            <a:xfrm rot="5400000">
              <a:off x="5799098" y="2014578"/>
              <a:ext cx="288628" cy="195503"/>
            </a:xfrm>
            <a:prstGeom prst="triangle">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b="1" dirty="0">
                <a:solidFill>
                  <a:srgbClr val="FFFFFF"/>
                </a:solidFill>
                <a:latin typeface="Segoe UI Light"/>
                <a:ea typeface="Segoe UI" pitchFamily="34" charset="0"/>
                <a:cs typeface="Segoe UI" pitchFamily="34" charset="0"/>
              </a:endParaRPr>
            </a:p>
          </p:txBody>
        </p:sp>
      </p:grpSp>
      <p:grpSp>
        <p:nvGrpSpPr>
          <p:cNvPr id="53" name="Group 52"/>
          <p:cNvGrpSpPr/>
          <p:nvPr/>
        </p:nvGrpSpPr>
        <p:grpSpPr>
          <a:xfrm>
            <a:off x="515615" y="4420615"/>
            <a:ext cx="674610" cy="678183"/>
            <a:chOff x="3299992" y="4748992"/>
            <a:chExt cx="688137" cy="691782"/>
          </a:xfrm>
        </p:grpSpPr>
        <p:sp>
          <p:nvSpPr>
            <p:cNvPr id="54" name="Oval 53"/>
            <p:cNvSpPr/>
            <p:nvPr/>
          </p:nvSpPr>
          <p:spPr bwMode="auto">
            <a:xfrm>
              <a:off x="3299992" y="4748992"/>
              <a:ext cx="688137" cy="691782"/>
            </a:xfrm>
            <a:prstGeom prst="ellipse">
              <a:avLst/>
            </a:prstGeom>
            <a:solidFill>
              <a:schemeClr val="bg1"/>
            </a:solidFill>
            <a:ln w="38100">
              <a:solidFill>
                <a:srgbClr val="00396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FF8C00"/>
                </a:solidFill>
                <a:ea typeface="Segoe UI" pitchFamily="34" charset="0"/>
                <a:cs typeface="Segoe UI" pitchFamily="34" charset="0"/>
              </a:endParaRPr>
            </a:p>
          </p:txBody>
        </p:sp>
        <p:sp>
          <p:nvSpPr>
            <p:cNvPr id="55" name="Isosceles Triangle 54"/>
            <p:cNvSpPr/>
            <p:nvPr/>
          </p:nvSpPr>
          <p:spPr bwMode="auto">
            <a:xfrm rot="5400000">
              <a:off x="3539766" y="4997647"/>
              <a:ext cx="288628" cy="194473"/>
            </a:xfrm>
            <a:prstGeom prst="triangle">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b="1" dirty="0">
                <a:solidFill>
                  <a:srgbClr val="FFFFFF"/>
                </a:solidFill>
                <a:latin typeface="Segoe UI Light"/>
                <a:ea typeface="Segoe UI" pitchFamily="34" charset="0"/>
                <a:cs typeface="Segoe UI" pitchFamily="34" charset="0"/>
              </a:endParaRPr>
            </a:p>
          </p:txBody>
        </p:sp>
      </p:grpSp>
      <p:grpSp>
        <p:nvGrpSpPr>
          <p:cNvPr id="21" name="Group 20"/>
          <p:cNvGrpSpPr/>
          <p:nvPr/>
        </p:nvGrpSpPr>
        <p:grpSpPr>
          <a:xfrm>
            <a:off x="7656514" y="3600535"/>
            <a:ext cx="4376250" cy="3070379"/>
            <a:chOff x="7035710" y="3190572"/>
            <a:chExt cx="5153958" cy="3616019"/>
          </a:xfrm>
        </p:grpSpPr>
        <p:pic>
          <p:nvPicPr>
            <p:cNvPr id="25" name="Picture 2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035710" y="3190572"/>
              <a:ext cx="5153958" cy="3333146"/>
            </a:xfrm>
            <a:prstGeom prst="rect">
              <a:avLst/>
            </a:prstGeom>
          </p:spPr>
        </p:pic>
        <p:sp>
          <p:nvSpPr>
            <p:cNvPr id="26" name="TextBox 25"/>
            <p:cNvSpPr txBox="1"/>
            <p:nvPr/>
          </p:nvSpPr>
          <p:spPr>
            <a:xfrm>
              <a:off x="8888380" y="5110114"/>
              <a:ext cx="2474698" cy="852772"/>
            </a:xfrm>
            <a:prstGeom prst="rect">
              <a:avLst/>
            </a:prstGeom>
            <a:noFill/>
          </p:spPr>
          <p:txBody>
            <a:bodyPr wrap="none" lIns="179259" tIns="143407" rIns="179259" bIns="143407" rtlCol="0">
              <a:spAutoFit/>
            </a:bodyPr>
            <a:lstStyle/>
            <a:p>
              <a:pPr defTabSz="914012">
                <a:lnSpc>
                  <a:spcPct val="90000"/>
                </a:lnSpc>
              </a:pPr>
              <a:r>
                <a:rPr lang="en-US" sz="3137" spc="-50" dirty="0" err="1">
                  <a:gradFill>
                    <a:gsLst>
                      <a:gs pos="0">
                        <a:srgbClr val="505050"/>
                      </a:gs>
                      <a:gs pos="100000">
                        <a:srgbClr val="505050"/>
                      </a:gs>
                    </a:gsLst>
                    <a:lin ang="5400000" scaled="0"/>
                  </a:gradFill>
                  <a:latin typeface="Segoe UI Light"/>
                </a:rPr>
                <a:t>StorSimple</a:t>
              </a:r>
              <a:endParaRPr lang="en-US" sz="3137" spc="-50" dirty="0">
                <a:gradFill>
                  <a:gsLst>
                    <a:gs pos="0">
                      <a:srgbClr val="505050"/>
                    </a:gs>
                    <a:gs pos="100000">
                      <a:srgbClr val="505050"/>
                    </a:gs>
                  </a:gsLst>
                  <a:lin ang="5400000" scaled="0"/>
                </a:gradFill>
                <a:latin typeface="Segoe UI Light"/>
              </a:endParaRPr>
            </a:p>
          </p:txBody>
        </p:sp>
        <p:sp>
          <p:nvSpPr>
            <p:cNvPr id="27" name="Freeform 26"/>
            <p:cNvSpPr/>
            <p:nvPr/>
          </p:nvSpPr>
          <p:spPr>
            <a:xfrm>
              <a:off x="9269710" y="6164823"/>
              <a:ext cx="787926" cy="444980"/>
            </a:xfrm>
            <a:custGeom>
              <a:avLst/>
              <a:gdLst>
                <a:gd name="connsiteX0" fmla="*/ 0 w 787926"/>
                <a:gd name="connsiteY0" fmla="*/ 0 h 444980"/>
                <a:gd name="connsiteX1" fmla="*/ 0 w 787926"/>
                <a:gd name="connsiteY1" fmla="*/ 0 h 444980"/>
                <a:gd name="connsiteX2" fmla="*/ 92697 w 787926"/>
                <a:gd name="connsiteY2" fmla="*/ 278113 h 444980"/>
                <a:gd name="connsiteX3" fmla="*/ 148316 w 787926"/>
                <a:gd name="connsiteY3" fmla="*/ 287383 h 444980"/>
                <a:gd name="connsiteX4" fmla="*/ 185394 w 787926"/>
                <a:gd name="connsiteY4" fmla="*/ 305924 h 444980"/>
                <a:gd name="connsiteX5" fmla="*/ 213204 w 787926"/>
                <a:gd name="connsiteY5" fmla="*/ 315194 h 444980"/>
                <a:gd name="connsiteX6" fmla="*/ 296631 w 787926"/>
                <a:gd name="connsiteY6" fmla="*/ 370817 h 444980"/>
                <a:gd name="connsiteX7" fmla="*/ 324440 w 787926"/>
                <a:gd name="connsiteY7" fmla="*/ 389357 h 444980"/>
                <a:gd name="connsiteX8" fmla="*/ 370789 w 787926"/>
                <a:gd name="connsiteY8" fmla="*/ 407898 h 444980"/>
                <a:gd name="connsiteX9" fmla="*/ 398598 w 787926"/>
                <a:gd name="connsiteY9" fmla="*/ 417169 h 444980"/>
                <a:gd name="connsiteX10" fmla="*/ 454216 w 787926"/>
                <a:gd name="connsiteY10" fmla="*/ 444980 h 444980"/>
                <a:gd name="connsiteX11" fmla="*/ 630341 w 787926"/>
                <a:gd name="connsiteY11" fmla="*/ 407898 h 444980"/>
                <a:gd name="connsiteX12" fmla="*/ 658150 w 787926"/>
                <a:gd name="connsiteY12" fmla="*/ 389357 h 444980"/>
                <a:gd name="connsiteX13" fmla="*/ 685959 w 787926"/>
                <a:gd name="connsiteY13" fmla="*/ 361546 h 444980"/>
                <a:gd name="connsiteX14" fmla="*/ 713768 w 787926"/>
                <a:gd name="connsiteY14" fmla="*/ 352276 h 444980"/>
                <a:gd name="connsiteX15" fmla="*/ 778656 w 787926"/>
                <a:gd name="connsiteY15" fmla="*/ 287383 h 444980"/>
                <a:gd name="connsiteX16" fmla="*/ 787926 w 787926"/>
                <a:gd name="connsiteY16" fmla="*/ 259572 h 444980"/>
                <a:gd name="connsiteX17" fmla="*/ 769386 w 787926"/>
                <a:gd name="connsiteY17" fmla="*/ 111245 h 444980"/>
                <a:gd name="connsiteX18" fmla="*/ 732307 w 787926"/>
                <a:gd name="connsiteY18" fmla="*/ 101975 h 444980"/>
                <a:gd name="connsiteX19" fmla="*/ 574722 w 787926"/>
                <a:gd name="connsiteY19" fmla="*/ 74164 h 444980"/>
                <a:gd name="connsiteX20" fmla="*/ 519104 w 787926"/>
                <a:gd name="connsiteY20" fmla="*/ 64893 h 444980"/>
                <a:gd name="connsiteX21" fmla="*/ 472755 w 787926"/>
                <a:gd name="connsiteY21" fmla="*/ 46352 h 444980"/>
                <a:gd name="connsiteX22" fmla="*/ 398598 w 787926"/>
                <a:gd name="connsiteY22" fmla="*/ 37082 h 444980"/>
                <a:gd name="connsiteX23" fmla="*/ 241013 w 787926"/>
                <a:gd name="connsiteY23" fmla="*/ 18541 h 444980"/>
                <a:gd name="connsiteX24" fmla="*/ 64888 w 787926"/>
                <a:gd name="connsiteY24" fmla="*/ 9271 h 444980"/>
                <a:gd name="connsiteX25" fmla="*/ 0 w 787926"/>
                <a:gd name="connsiteY25" fmla="*/ 0 h 44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7926" h="444980">
                  <a:moveTo>
                    <a:pt x="0" y="0"/>
                  </a:moveTo>
                  <a:lnTo>
                    <a:pt x="0" y="0"/>
                  </a:lnTo>
                  <a:cubicBezTo>
                    <a:pt x="24423" y="113982"/>
                    <a:pt x="-18202" y="244841"/>
                    <a:pt x="92697" y="278113"/>
                  </a:cubicBezTo>
                  <a:cubicBezTo>
                    <a:pt x="110700" y="283514"/>
                    <a:pt x="129776" y="284293"/>
                    <a:pt x="148316" y="287383"/>
                  </a:cubicBezTo>
                  <a:cubicBezTo>
                    <a:pt x="160675" y="293563"/>
                    <a:pt x="172693" y="300480"/>
                    <a:pt x="185394" y="305924"/>
                  </a:cubicBezTo>
                  <a:cubicBezTo>
                    <a:pt x="194375" y="309773"/>
                    <a:pt x="204662" y="310448"/>
                    <a:pt x="213204" y="315194"/>
                  </a:cubicBezTo>
                  <a:cubicBezTo>
                    <a:pt x="213208" y="315197"/>
                    <a:pt x="282724" y="361545"/>
                    <a:pt x="296631" y="370817"/>
                  </a:cubicBezTo>
                  <a:cubicBezTo>
                    <a:pt x="305901" y="376997"/>
                    <a:pt x="314096" y="385219"/>
                    <a:pt x="324440" y="389357"/>
                  </a:cubicBezTo>
                  <a:cubicBezTo>
                    <a:pt x="339890" y="395537"/>
                    <a:pt x="355209" y="402055"/>
                    <a:pt x="370789" y="407898"/>
                  </a:cubicBezTo>
                  <a:cubicBezTo>
                    <a:pt x="379938" y="411329"/>
                    <a:pt x="389859" y="412799"/>
                    <a:pt x="398598" y="417169"/>
                  </a:cubicBezTo>
                  <a:cubicBezTo>
                    <a:pt x="470468" y="453108"/>
                    <a:pt x="384325" y="421682"/>
                    <a:pt x="454216" y="444980"/>
                  </a:cubicBezTo>
                  <a:cubicBezTo>
                    <a:pt x="466734" y="443054"/>
                    <a:pt x="597381" y="429873"/>
                    <a:pt x="630341" y="407898"/>
                  </a:cubicBezTo>
                  <a:cubicBezTo>
                    <a:pt x="639611" y="401718"/>
                    <a:pt x="649591" y="396490"/>
                    <a:pt x="658150" y="389357"/>
                  </a:cubicBezTo>
                  <a:cubicBezTo>
                    <a:pt x="668221" y="380964"/>
                    <a:pt x="675051" y="368818"/>
                    <a:pt x="685959" y="361546"/>
                  </a:cubicBezTo>
                  <a:cubicBezTo>
                    <a:pt x="694089" y="356126"/>
                    <a:pt x="704498" y="355366"/>
                    <a:pt x="713768" y="352276"/>
                  </a:cubicBezTo>
                  <a:cubicBezTo>
                    <a:pt x="747759" y="326781"/>
                    <a:pt x="757026" y="325238"/>
                    <a:pt x="778656" y="287383"/>
                  </a:cubicBezTo>
                  <a:cubicBezTo>
                    <a:pt x="783504" y="278899"/>
                    <a:pt x="784836" y="268842"/>
                    <a:pt x="787926" y="259572"/>
                  </a:cubicBezTo>
                  <a:cubicBezTo>
                    <a:pt x="781746" y="210130"/>
                    <a:pt x="785969" y="158232"/>
                    <a:pt x="769386" y="111245"/>
                  </a:cubicBezTo>
                  <a:cubicBezTo>
                    <a:pt x="765146" y="99231"/>
                    <a:pt x="744393" y="106004"/>
                    <a:pt x="732307" y="101975"/>
                  </a:cubicBezTo>
                  <a:cubicBezTo>
                    <a:pt x="629839" y="67816"/>
                    <a:pt x="750784" y="88836"/>
                    <a:pt x="574722" y="74164"/>
                  </a:cubicBezTo>
                  <a:cubicBezTo>
                    <a:pt x="556183" y="71074"/>
                    <a:pt x="537237" y="69839"/>
                    <a:pt x="519104" y="64893"/>
                  </a:cubicBezTo>
                  <a:cubicBezTo>
                    <a:pt x="503050" y="60514"/>
                    <a:pt x="488969" y="50094"/>
                    <a:pt x="472755" y="46352"/>
                  </a:cubicBezTo>
                  <a:cubicBezTo>
                    <a:pt x="448482" y="40750"/>
                    <a:pt x="423317" y="40172"/>
                    <a:pt x="398598" y="37082"/>
                  </a:cubicBezTo>
                  <a:cubicBezTo>
                    <a:pt x="325675" y="18849"/>
                    <a:pt x="363976" y="26226"/>
                    <a:pt x="241013" y="18541"/>
                  </a:cubicBezTo>
                  <a:lnTo>
                    <a:pt x="64888" y="9271"/>
                  </a:lnTo>
                  <a:lnTo>
                    <a:pt x="0" y="0"/>
                  </a:lnTo>
                  <a:close/>
                </a:path>
              </a:pathLst>
            </a:custGeom>
            <a:solidFill>
              <a:schemeClr val="bg1"/>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4"/>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9261665" y="5804539"/>
              <a:ext cx="1342884" cy="1002052"/>
            </a:xfrm>
            <a:prstGeom prst="rect">
              <a:avLst/>
            </a:prstGeom>
            <a:noFill/>
            <a:ln>
              <a:noFill/>
            </a:ln>
            <a:extLst>
              <a:ext uri="{909E8E84-426E-40dd-AFC4-6F175D3DCCD1}">
                <a14:hiddenFill xmlns="" xmlns:a14="http://schemas.microsoft.com/office/drawing/2010/main">
                  <a:solidFill>
                    <a:srgbClr val="FFFFFF"/>
                  </a:solidFill>
                </a14:hiddenFill>
              </a:ext>
            </a:extLst>
          </p:spPr>
        </p:pic>
      </p:grpSp>
      <p:sp>
        <p:nvSpPr>
          <p:cNvPr id="3" name="TextBox 2"/>
          <p:cNvSpPr txBox="1"/>
          <p:nvPr/>
        </p:nvSpPr>
        <p:spPr>
          <a:xfrm>
            <a:off x="7547897" y="735555"/>
            <a:ext cx="277892" cy="475105"/>
          </a:xfrm>
          <a:prstGeom prst="rect">
            <a:avLst/>
          </a:prstGeom>
          <a:noFill/>
        </p:spPr>
        <p:txBody>
          <a:bodyPr wrap="square" lIns="179285" tIns="143428" rIns="179285" bIns="143428" rtlCol="0">
            <a:noAutofit/>
          </a:bodyPr>
          <a:lstStyle/>
          <a:p>
            <a:pPr defTabSz="914367">
              <a:lnSpc>
                <a:spcPct val="90000"/>
              </a:lnSpc>
              <a:spcAft>
                <a:spcPts val="588"/>
              </a:spcAft>
            </a:pPr>
            <a:endParaRPr lang="en-US" sz="2353"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21039597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Text Placeholder 35"/>
          <p:cNvSpPr txBox="1">
            <a:spLocks/>
          </p:cNvSpPr>
          <p:nvPr/>
        </p:nvSpPr>
        <p:spPr>
          <a:xfrm>
            <a:off x="269240" y="590321"/>
            <a:ext cx="11806130" cy="878606"/>
          </a:xfrm>
          <a:prstGeom prst="rect">
            <a:avLst/>
          </a:prstGeom>
        </p:spPr>
        <p:txBody>
          <a:bodyPr vert="horz" wrap="square" lIns="188249" tIns="143428" rIns="179285" bIns="143428"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3170" kern="1200" spc="0" baseline="0" smtClean="0">
                <a:solidFill>
                  <a:schemeClr val="tx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3170" kern="1200" spc="0" baseline="0" smtClean="0">
                <a:solidFill>
                  <a:schemeClr val="bg1"/>
                </a:solidFill>
                <a:latin typeface="+mj-lt"/>
                <a:ea typeface="+mn-ea"/>
                <a:cs typeface="+mn-cs"/>
              </a:defRPr>
            </a:lvl2pPr>
            <a:lvl3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3170" kern="1200" spc="0" baseline="0" smtClean="0">
                <a:solidFill>
                  <a:schemeClr val="bg1"/>
                </a:solidFill>
                <a:latin typeface="+mj-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3170" kern="1200" spc="0" baseline="0" smtClean="0">
                <a:solidFill>
                  <a:schemeClr val="bg1"/>
                </a:solidFill>
                <a:latin typeface="+mj-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3170" kern="1200" spc="0" baseline="0">
                <a:solidFill>
                  <a:schemeClr val="bg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sz="3108" dirty="0">
              <a:solidFill>
                <a:srgbClr val="0072C6"/>
              </a:solidFill>
            </a:endParaRPr>
          </a:p>
        </p:txBody>
      </p:sp>
      <p:sp>
        <p:nvSpPr>
          <p:cNvPr id="5" name="Title 4"/>
          <p:cNvSpPr>
            <a:spLocks noGrp="1"/>
          </p:cNvSpPr>
          <p:nvPr>
            <p:ph type="title"/>
          </p:nvPr>
        </p:nvSpPr>
        <p:spPr>
          <a:xfrm>
            <a:off x="269256" y="383140"/>
            <a:ext cx="11055889" cy="1075731"/>
          </a:xfrm>
        </p:spPr>
        <p:txBody>
          <a:bodyPr/>
          <a:lstStyle/>
          <a:p>
            <a:pPr>
              <a:lnSpc>
                <a:spcPct val="90000"/>
              </a:lnSpc>
              <a:spcBef>
                <a:spcPts val="1176"/>
              </a:spcBef>
              <a:spcAft>
                <a:spcPts val="2353"/>
              </a:spcAft>
              <a:buSzPct val="90000"/>
            </a:pPr>
            <a:r>
              <a:rPr lang="en-US" sz="5098" spc="0" dirty="0">
                <a:cs typeface="+mn-cs"/>
              </a:rPr>
              <a:t>Business continuity</a:t>
            </a:r>
            <a:endParaRPr lang="en-US" sz="5098" spc="0" dirty="0">
              <a:cs typeface="+mn-cs"/>
            </a:endParaRPr>
          </a:p>
        </p:txBody>
      </p:sp>
      <p:grpSp>
        <p:nvGrpSpPr>
          <p:cNvPr id="2" name="Group 1"/>
          <p:cNvGrpSpPr/>
          <p:nvPr/>
        </p:nvGrpSpPr>
        <p:grpSpPr>
          <a:xfrm>
            <a:off x="269240" y="1324610"/>
            <a:ext cx="5555345" cy="5174957"/>
            <a:chOff x="274638" y="1350674"/>
            <a:chExt cx="5666741" cy="5278726"/>
          </a:xfrm>
        </p:grpSpPr>
        <p:sp>
          <p:nvSpPr>
            <p:cNvPr id="108" name="TextBox 107"/>
            <p:cNvSpPr txBox="1"/>
            <p:nvPr/>
          </p:nvSpPr>
          <p:spPr>
            <a:xfrm>
              <a:off x="274638" y="1350674"/>
              <a:ext cx="5666741" cy="5203278"/>
            </a:xfrm>
            <a:prstGeom prst="rect">
              <a:avLst/>
            </a:prstGeom>
            <a:solidFill>
              <a:srgbClr val="F2F2F2"/>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sp>
          <p:nvSpPr>
            <p:cNvPr id="134" name="Freeform 133"/>
            <p:cNvSpPr>
              <a:spLocks/>
            </p:cNvSpPr>
            <p:nvPr/>
          </p:nvSpPr>
          <p:spPr bwMode="auto">
            <a:xfrm>
              <a:off x="4755361" y="5316125"/>
              <a:ext cx="1005677" cy="110038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35" name="Rectangle 5"/>
            <p:cNvSpPr>
              <a:spLocks noChangeArrowheads="1"/>
            </p:cNvSpPr>
            <p:nvPr/>
          </p:nvSpPr>
          <p:spPr bwMode="auto">
            <a:xfrm>
              <a:off x="3851123" y="5174661"/>
              <a:ext cx="958331" cy="1244529"/>
            </a:xfrm>
            <a:prstGeom prst="rect">
              <a:avLst/>
            </a:prstGeom>
            <a:solidFill>
              <a:schemeClr val="bg1">
                <a:lumMod val="6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136" name="Rectangle 5"/>
            <p:cNvSpPr>
              <a:spLocks noChangeArrowheads="1"/>
            </p:cNvSpPr>
            <p:nvPr/>
          </p:nvSpPr>
          <p:spPr bwMode="auto">
            <a:xfrm>
              <a:off x="373754" y="5525194"/>
              <a:ext cx="772454" cy="916442"/>
            </a:xfrm>
            <a:prstGeom prst="rect">
              <a:avLst/>
            </a:prstGeom>
            <a:solidFill>
              <a:schemeClr val="bg2"/>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cxnSp>
          <p:nvCxnSpPr>
            <p:cNvPr id="143" name="Straight Arrow Connector 142"/>
            <p:cNvCxnSpPr/>
            <p:nvPr/>
          </p:nvCxnSpPr>
          <p:spPr>
            <a:xfrm>
              <a:off x="1543034" y="3620086"/>
              <a:ext cx="0" cy="739018"/>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a:off x="4133458" y="3430154"/>
              <a:ext cx="0" cy="965184"/>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6" name="Group 225"/>
            <p:cNvGrpSpPr/>
            <p:nvPr/>
          </p:nvGrpSpPr>
          <p:grpSpPr>
            <a:xfrm>
              <a:off x="590524" y="1866378"/>
              <a:ext cx="4440114" cy="1786371"/>
              <a:chOff x="373115" y="1630760"/>
              <a:chExt cx="4477790" cy="1801531"/>
            </a:xfrm>
          </p:grpSpPr>
          <p:sp>
            <p:nvSpPr>
              <p:cNvPr id="273" name="Freeform 95"/>
              <p:cNvSpPr>
                <a:spLocks/>
              </p:cNvSpPr>
              <p:nvPr/>
            </p:nvSpPr>
            <p:spPr bwMode="auto">
              <a:xfrm flipH="1">
                <a:off x="373115" y="2188792"/>
                <a:ext cx="1914779" cy="124349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91414" tIns="45706" rIns="91414" bIns="45706" numCol="1" anchor="t" anchorCtr="0" compatLnSpc="1">
                <a:prstTxWarp prst="textNoShape">
                  <a:avLst/>
                </a:prstTxWarp>
              </a:bodyPr>
              <a:lstStyle/>
              <a:p>
                <a:pPr defTabSz="914049"/>
                <a:endParaRPr lang="en-US" sz="2745">
                  <a:solidFill>
                    <a:srgbClr val="000000"/>
                  </a:solidFill>
                </a:endParaRPr>
              </a:p>
            </p:txBody>
          </p:sp>
          <p:sp>
            <p:nvSpPr>
              <p:cNvPr id="274" name="Freeform 95"/>
              <p:cNvSpPr>
                <a:spLocks/>
              </p:cNvSpPr>
              <p:nvPr/>
            </p:nvSpPr>
            <p:spPr bwMode="auto">
              <a:xfrm flipH="1">
                <a:off x="3260591" y="2242369"/>
                <a:ext cx="1590314" cy="103278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6"/>
              </a:solidFill>
              <a:ln>
                <a:noFill/>
              </a:ln>
              <a:extLst/>
            </p:spPr>
            <p:txBody>
              <a:bodyPr vert="horz" wrap="square" lIns="91414" tIns="45706" rIns="91414" bIns="45706" numCol="1" anchor="t" anchorCtr="0" compatLnSpc="1">
                <a:prstTxWarp prst="textNoShape">
                  <a:avLst/>
                </a:prstTxWarp>
              </a:bodyPr>
              <a:lstStyle/>
              <a:p>
                <a:pPr defTabSz="914049"/>
                <a:endParaRPr lang="en-US" sz="2745">
                  <a:solidFill>
                    <a:srgbClr val="000000"/>
                  </a:solidFill>
                </a:endParaRPr>
              </a:p>
            </p:txBody>
          </p:sp>
          <p:sp>
            <p:nvSpPr>
              <p:cNvPr id="275"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2745" kern="0">
                  <a:solidFill>
                    <a:srgbClr val="505050"/>
                  </a:solidFill>
                </a:endParaRPr>
              </a:p>
            </p:txBody>
          </p:sp>
          <p:sp>
            <p:nvSpPr>
              <p:cNvPr id="276" name="TextBox 275"/>
              <p:cNvSpPr txBox="1"/>
              <p:nvPr/>
            </p:nvSpPr>
            <p:spPr>
              <a:xfrm>
                <a:off x="1565144" y="2418609"/>
                <a:ext cx="2258885" cy="856544"/>
              </a:xfrm>
              <a:prstGeom prst="rect">
                <a:avLst/>
              </a:prstGeom>
              <a:noFill/>
              <a:ln>
                <a:noFill/>
              </a:ln>
            </p:spPr>
            <p:txBody>
              <a:bodyPr wrap="none" lIns="179208" tIns="143366" rIns="179208" bIns="143366" rtlCol="0">
                <a:spAutoFit/>
              </a:bodyPr>
              <a:lstStyle/>
              <a:p>
                <a:pPr algn="ctr" defTabSz="913187">
                  <a:lnSpc>
                    <a:spcPct val="90000"/>
                  </a:lnSpc>
                  <a:spcAft>
                    <a:spcPts val="588"/>
                  </a:spcAft>
                </a:pPr>
                <a:r>
                  <a:rPr lang="en-US" sz="1961" kern="0" dirty="0">
                    <a:solidFill>
                      <a:srgbClr val="FFFFFF"/>
                    </a:solidFill>
                  </a:rPr>
                  <a:t>Microsoft Azure </a:t>
                </a:r>
                <a:br>
                  <a:rPr lang="en-US" sz="1961" kern="0" dirty="0">
                    <a:solidFill>
                      <a:srgbClr val="FFFFFF"/>
                    </a:solidFill>
                  </a:rPr>
                </a:br>
                <a:r>
                  <a:rPr lang="en-US" sz="1961" kern="0" dirty="0">
                    <a:solidFill>
                      <a:srgbClr val="FFFFFF"/>
                    </a:solidFill>
                  </a:rPr>
                  <a:t>Site Recovery</a:t>
                </a:r>
              </a:p>
            </p:txBody>
          </p:sp>
        </p:grpSp>
        <p:sp>
          <p:nvSpPr>
            <p:cNvPr id="227" name="Left-Right Arrow 226"/>
            <p:cNvSpPr/>
            <p:nvPr/>
          </p:nvSpPr>
          <p:spPr bwMode="auto">
            <a:xfrm>
              <a:off x="2010400" y="5489128"/>
              <a:ext cx="1621263" cy="209006"/>
            </a:xfrm>
            <a:prstGeom prst="leftRightArrow">
              <a:avLst>
                <a:gd name="adj1" fmla="val 54971"/>
                <a:gd name="adj2" fmla="val 5021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029" dirty="0">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27"/>
            <p:cNvSpPr txBox="1"/>
            <p:nvPr/>
          </p:nvSpPr>
          <p:spPr>
            <a:xfrm>
              <a:off x="1626809" y="3782116"/>
              <a:ext cx="2484658" cy="193899"/>
            </a:xfrm>
            <a:prstGeom prst="rect">
              <a:avLst/>
            </a:prstGeom>
            <a:noFill/>
          </p:spPr>
          <p:txBody>
            <a:bodyPr wrap="square" lIns="179073" tIns="0" rIns="179073" bIns="0" rtlCol="0">
              <a:spAutoFit/>
            </a:bodyPr>
            <a:lstStyle>
              <a:defPPr>
                <a:defRPr lang="en-US"/>
              </a:defPPr>
              <a:lvl1pPr defTabSz="913538">
                <a:lnSpc>
                  <a:spcPct val="90000"/>
                </a:lnSpc>
                <a:spcAft>
                  <a:spcPts val="588"/>
                </a:spcAft>
                <a:defRPr sz="1100">
                  <a:solidFill>
                    <a:srgbClr val="505050"/>
                  </a:solidFill>
                </a:defRPr>
              </a:lvl1pPr>
            </a:lstStyle>
            <a:p>
              <a:pPr algn="ctr"/>
              <a:r>
                <a:rPr lang="en-US" sz="1372" dirty="0"/>
                <a:t>Communication channel</a:t>
              </a:r>
            </a:p>
          </p:txBody>
        </p:sp>
        <p:sp>
          <p:nvSpPr>
            <p:cNvPr id="229" name="Rectangle 228"/>
            <p:cNvSpPr/>
            <p:nvPr/>
          </p:nvSpPr>
          <p:spPr>
            <a:xfrm>
              <a:off x="1895401" y="4885345"/>
              <a:ext cx="1840182" cy="581698"/>
            </a:xfrm>
            <a:prstGeom prst="rect">
              <a:avLst/>
            </a:prstGeom>
            <a:noFill/>
          </p:spPr>
          <p:txBody>
            <a:bodyPr wrap="square" lIns="179073" tIns="0" rIns="179073" bIns="0" rtlCol="0">
              <a:spAutoFit/>
            </a:bodyPr>
            <a:lstStyle/>
            <a:p>
              <a:pPr algn="ctr" defTabSz="913187">
                <a:lnSpc>
                  <a:spcPct val="90000"/>
                </a:lnSpc>
                <a:spcAft>
                  <a:spcPts val="588"/>
                </a:spcAft>
              </a:pPr>
              <a:r>
                <a:rPr lang="en-US" sz="1372" dirty="0">
                  <a:solidFill>
                    <a:srgbClr val="505050"/>
                  </a:solidFill>
                </a:rPr>
                <a:t>Replication channel: </a:t>
              </a:r>
              <a:br>
                <a:rPr lang="en-US" sz="1372" dirty="0">
                  <a:solidFill>
                    <a:srgbClr val="505050"/>
                  </a:solidFill>
                </a:rPr>
              </a:br>
              <a:r>
                <a:rPr lang="en-US" sz="1372" dirty="0">
                  <a:solidFill>
                    <a:srgbClr val="505050"/>
                  </a:solidFill>
                </a:rPr>
                <a:t>Hyper-V Replica</a:t>
              </a:r>
            </a:p>
          </p:txBody>
        </p:sp>
        <p:grpSp>
          <p:nvGrpSpPr>
            <p:cNvPr id="230" name="Group 229"/>
            <p:cNvGrpSpPr/>
            <p:nvPr/>
          </p:nvGrpSpPr>
          <p:grpSpPr>
            <a:xfrm>
              <a:off x="1042847" y="4397519"/>
              <a:ext cx="1813467" cy="2038738"/>
              <a:chOff x="1047576" y="3696507"/>
              <a:chExt cx="1543372" cy="1735091"/>
            </a:xfrm>
          </p:grpSpPr>
          <p:sp>
            <p:nvSpPr>
              <p:cNvPr id="259" name="TextBox 258"/>
              <p:cNvSpPr txBox="1"/>
              <p:nvPr/>
            </p:nvSpPr>
            <p:spPr>
              <a:xfrm>
                <a:off x="1966059" y="4845128"/>
                <a:ext cx="624889" cy="586470"/>
              </a:xfrm>
              <a:prstGeom prst="rect">
                <a:avLst/>
              </a:prstGeom>
              <a:noFill/>
            </p:spPr>
            <p:txBody>
              <a:bodyPr wrap="square" lIns="0" tIns="146263" rIns="0" bIns="146263" rtlCol="0">
                <a:spAutoFit/>
              </a:bodyPr>
              <a:lstStyle/>
              <a:p>
                <a:pPr defTabSz="914049">
                  <a:lnSpc>
                    <a:spcPct val="90000"/>
                  </a:lnSpc>
                  <a:spcAft>
                    <a:spcPts val="600"/>
                  </a:spcAft>
                </a:pPr>
                <a:r>
                  <a:rPr lang="en-US" sz="1372" kern="0" dirty="0">
                    <a:solidFill>
                      <a:srgbClr val="505050"/>
                    </a:solidFill>
                  </a:rPr>
                  <a:t>Primary site</a:t>
                </a:r>
              </a:p>
            </p:txBody>
          </p:sp>
          <p:grpSp>
            <p:nvGrpSpPr>
              <p:cNvPr id="260" name="Group 259"/>
              <p:cNvGrpSpPr/>
              <p:nvPr/>
            </p:nvGrpSpPr>
            <p:grpSpPr>
              <a:xfrm>
                <a:off x="1055947" y="4121329"/>
                <a:ext cx="815599" cy="1297016"/>
                <a:chOff x="13103226" y="2775830"/>
                <a:chExt cx="1039812" cy="1616572"/>
              </a:xfrm>
            </p:grpSpPr>
            <p:sp>
              <p:nvSpPr>
                <p:cNvPr id="264"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6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6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6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6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6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7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7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7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grpSp>
          <p:sp>
            <p:nvSpPr>
              <p:cNvPr id="261" name="TextBox 260"/>
              <p:cNvSpPr txBox="1"/>
              <p:nvPr/>
            </p:nvSpPr>
            <p:spPr>
              <a:xfrm>
                <a:off x="1121483" y="5046509"/>
                <a:ext cx="684527" cy="330040"/>
              </a:xfrm>
              <a:prstGeom prst="rect">
                <a:avLst/>
              </a:prstGeom>
              <a:noFill/>
            </p:spPr>
            <p:txBody>
              <a:bodyPr wrap="square" lIns="0" tIns="0" rIns="0" bIns="0" rtlCol="0">
                <a:spAutoFit/>
              </a:bodyPr>
              <a:lstStyle/>
              <a:p>
                <a:pPr algn="ctr" defTabSz="914049">
                  <a:lnSpc>
                    <a:spcPct val="90000"/>
                  </a:lnSpc>
                </a:pPr>
                <a:r>
                  <a:rPr lang="en-US" sz="1372" dirty="0">
                    <a:solidFill>
                      <a:srgbClr val="FFFFFF"/>
                    </a:solidFill>
                  </a:rPr>
                  <a:t>Windows Server</a:t>
                </a:r>
              </a:p>
            </p:txBody>
          </p:sp>
          <p:sp>
            <p:nvSpPr>
              <p:cNvPr id="262" name="Rectangle 261"/>
              <p:cNvSpPr/>
              <p:nvPr/>
            </p:nvSpPr>
            <p:spPr bwMode="auto">
              <a:xfrm>
                <a:off x="1055947" y="3696507"/>
                <a:ext cx="815076" cy="430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3" name="Picture 26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231" name="Group 230"/>
            <p:cNvGrpSpPr/>
            <p:nvPr/>
          </p:nvGrpSpPr>
          <p:grpSpPr>
            <a:xfrm>
              <a:off x="2721890" y="4394209"/>
              <a:ext cx="1908582" cy="2042048"/>
              <a:chOff x="2476544" y="3693687"/>
              <a:chExt cx="1624320" cy="1737908"/>
            </a:xfrm>
          </p:grpSpPr>
          <p:sp>
            <p:nvSpPr>
              <p:cNvPr id="244" name="TextBox 243"/>
              <p:cNvSpPr txBox="1"/>
              <p:nvPr/>
            </p:nvSpPr>
            <p:spPr>
              <a:xfrm>
                <a:off x="2476544" y="4845125"/>
                <a:ext cx="662502" cy="586470"/>
              </a:xfrm>
              <a:prstGeom prst="rect">
                <a:avLst/>
              </a:prstGeom>
              <a:noFill/>
            </p:spPr>
            <p:txBody>
              <a:bodyPr wrap="square" lIns="0" tIns="146263" rIns="0" bIns="14626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049"/>
                <a:r>
                  <a:rPr lang="en-US" sz="1372" dirty="0">
                    <a:solidFill>
                      <a:srgbClr val="505050"/>
                    </a:solidFill>
                  </a:rPr>
                  <a:t>Recovery site</a:t>
                </a:r>
              </a:p>
            </p:txBody>
          </p:sp>
          <p:grpSp>
            <p:nvGrpSpPr>
              <p:cNvPr id="245" name="Group 244"/>
              <p:cNvGrpSpPr/>
              <p:nvPr/>
            </p:nvGrpSpPr>
            <p:grpSpPr>
              <a:xfrm>
                <a:off x="3251903" y="4125870"/>
                <a:ext cx="815599" cy="1291203"/>
                <a:chOff x="13103226" y="2775830"/>
                <a:chExt cx="1039812" cy="1616572"/>
              </a:xfrm>
            </p:grpSpPr>
            <p:sp>
              <p:nvSpPr>
                <p:cNvPr id="2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55"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56"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57"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58"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grpSp>
          <p:sp>
            <p:nvSpPr>
              <p:cNvPr id="246" name="TextBox 245"/>
              <p:cNvSpPr txBox="1"/>
              <p:nvPr/>
            </p:nvSpPr>
            <p:spPr>
              <a:xfrm>
                <a:off x="3317439" y="5046202"/>
                <a:ext cx="684527" cy="330040"/>
              </a:xfrm>
              <a:prstGeom prst="rect">
                <a:avLst/>
              </a:prstGeom>
              <a:noFill/>
            </p:spPr>
            <p:txBody>
              <a:bodyPr wrap="square" lIns="0" tIns="0" rIns="0" bIns="0" rtlCol="0">
                <a:spAutoFit/>
              </a:bodyPr>
              <a:lstStyle/>
              <a:p>
                <a:pPr algn="ctr" defTabSz="914049">
                  <a:lnSpc>
                    <a:spcPct val="90000"/>
                  </a:lnSpc>
                </a:pPr>
                <a:r>
                  <a:rPr lang="en-US" sz="1372" dirty="0">
                    <a:solidFill>
                      <a:srgbClr val="FFFFFF"/>
                    </a:solidFill>
                  </a:rPr>
                  <a:t>Windows Server</a:t>
                </a:r>
              </a:p>
            </p:txBody>
          </p:sp>
          <p:grpSp>
            <p:nvGrpSpPr>
              <p:cNvPr id="247" name="Group 246"/>
              <p:cNvGrpSpPr/>
              <p:nvPr/>
            </p:nvGrpSpPr>
            <p:grpSpPr>
              <a:xfrm>
                <a:off x="3250818" y="3693687"/>
                <a:ext cx="850046" cy="430383"/>
                <a:chOff x="3510283" y="4155823"/>
                <a:chExt cx="984977" cy="498699"/>
              </a:xfrm>
            </p:grpSpPr>
            <p:sp>
              <p:nvSpPr>
                <p:cNvPr id="248" name="Rectangle 247"/>
                <p:cNvSpPr/>
                <p:nvPr/>
              </p:nvSpPr>
              <p:spPr bwMode="auto">
                <a:xfrm>
                  <a:off x="3510283" y="4155823"/>
                  <a:ext cx="946319" cy="4986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49" name="Picture 24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232" name="Group 231"/>
            <p:cNvGrpSpPr/>
            <p:nvPr/>
          </p:nvGrpSpPr>
          <p:grpSpPr>
            <a:xfrm>
              <a:off x="5356825" y="5975771"/>
              <a:ext cx="226676" cy="435185"/>
              <a:chOff x="7791149" y="4987730"/>
              <a:chExt cx="192916" cy="370370"/>
            </a:xfrm>
          </p:grpSpPr>
          <p:sp>
            <p:nvSpPr>
              <p:cNvPr id="24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4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4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234" name="Group 233"/>
            <p:cNvGrpSpPr/>
            <p:nvPr/>
          </p:nvGrpSpPr>
          <p:grpSpPr>
            <a:xfrm>
              <a:off x="5147725" y="5966466"/>
              <a:ext cx="226676" cy="435185"/>
              <a:chOff x="7791149" y="4987730"/>
              <a:chExt cx="192916" cy="370370"/>
            </a:xfrm>
          </p:grpSpPr>
          <p:sp>
            <p:nvSpPr>
              <p:cNvPr id="23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3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3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113" name="Group 112"/>
            <p:cNvGrpSpPr/>
            <p:nvPr/>
          </p:nvGrpSpPr>
          <p:grpSpPr>
            <a:xfrm>
              <a:off x="477186" y="5975771"/>
              <a:ext cx="226676" cy="435185"/>
              <a:chOff x="7791149" y="4987730"/>
              <a:chExt cx="192916" cy="370370"/>
            </a:xfrm>
          </p:grpSpPr>
          <p:sp>
            <p:nvSpPr>
              <p:cNvPr id="11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1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1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118" name="Group 117"/>
            <p:cNvGrpSpPr/>
            <p:nvPr/>
          </p:nvGrpSpPr>
          <p:grpSpPr>
            <a:xfrm>
              <a:off x="4816094" y="5865745"/>
              <a:ext cx="273473" cy="525028"/>
              <a:chOff x="7791149" y="4987730"/>
              <a:chExt cx="192916" cy="370370"/>
            </a:xfrm>
          </p:grpSpPr>
          <p:sp>
            <p:nvSpPr>
              <p:cNvPr id="11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20" name="Oval 39"/>
              <p:cNvSpPr>
                <a:spLocks noChangeArrowheads="1"/>
              </p:cNvSpPr>
              <p:nvPr/>
            </p:nvSpPr>
            <p:spPr bwMode="auto">
              <a:xfrm>
                <a:off x="7791149" y="5086397"/>
                <a:ext cx="192916" cy="191444"/>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21" name="Oval 40"/>
              <p:cNvSpPr>
                <a:spLocks noChangeArrowheads="1"/>
              </p:cNvSpPr>
              <p:nvPr/>
            </p:nvSpPr>
            <p:spPr bwMode="auto">
              <a:xfrm>
                <a:off x="7817656" y="4987730"/>
                <a:ext cx="140637" cy="140637"/>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128" name="Group 127"/>
            <p:cNvGrpSpPr/>
            <p:nvPr/>
          </p:nvGrpSpPr>
          <p:grpSpPr>
            <a:xfrm>
              <a:off x="759981" y="5763562"/>
              <a:ext cx="326697" cy="627211"/>
              <a:chOff x="7791149" y="4987730"/>
              <a:chExt cx="192916" cy="370370"/>
            </a:xfrm>
          </p:grpSpPr>
          <p:sp>
            <p:nvSpPr>
              <p:cNvPr id="12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31"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32"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sp>
          <p:nvSpPr>
            <p:cNvPr id="117" name="Rectangle 116"/>
            <p:cNvSpPr/>
            <p:nvPr/>
          </p:nvSpPr>
          <p:spPr bwMode="auto">
            <a:xfrm>
              <a:off x="274638" y="6399564"/>
              <a:ext cx="5660830" cy="229836"/>
            </a:xfrm>
            <a:prstGeom prst="rect">
              <a:avLst/>
            </a:prstGeom>
            <a:solidFill>
              <a:srgbClr val="A6A6A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745"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a:off x="5933741" y="1324610"/>
            <a:ext cx="5555345" cy="5174957"/>
            <a:chOff x="6501008" y="1350674"/>
            <a:chExt cx="5666741" cy="5278726"/>
          </a:xfrm>
        </p:grpSpPr>
        <p:sp>
          <p:nvSpPr>
            <p:cNvPr id="107" name="TextBox 106"/>
            <p:cNvSpPr txBox="1"/>
            <p:nvPr/>
          </p:nvSpPr>
          <p:spPr>
            <a:xfrm>
              <a:off x="6501008" y="1350674"/>
              <a:ext cx="5666741" cy="5203278"/>
            </a:xfrm>
            <a:prstGeom prst="rect">
              <a:avLst/>
            </a:prstGeom>
            <a:solidFill>
              <a:srgbClr val="F2F2F2"/>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sp>
          <p:nvSpPr>
            <p:cNvPr id="124" name="Freeform 123"/>
            <p:cNvSpPr>
              <a:spLocks/>
            </p:cNvSpPr>
            <p:nvPr/>
          </p:nvSpPr>
          <p:spPr bwMode="auto">
            <a:xfrm>
              <a:off x="7930942" y="5315553"/>
              <a:ext cx="1300575" cy="110038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37" name="Rectangle 5"/>
            <p:cNvSpPr>
              <a:spLocks noChangeArrowheads="1"/>
            </p:cNvSpPr>
            <p:nvPr/>
          </p:nvSpPr>
          <p:spPr bwMode="auto">
            <a:xfrm>
              <a:off x="10017377" y="5528611"/>
              <a:ext cx="772454" cy="916442"/>
            </a:xfrm>
            <a:prstGeom prst="rect">
              <a:avLst/>
            </a:prstGeom>
            <a:solidFill>
              <a:schemeClr val="bg2"/>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138" name="Rectangle 5"/>
            <p:cNvSpPr>
              <a:spLocks noChangeArrowheads="1"/>
            </p:cNvSpPr>
            <p:nvPr/>
          </p:nvSpPr>
          <p:spPr bwMode="auto">
            <a:xfrm>
              <a:off x="9460921" y="5174661"/>
              <a:ext cx="958331" cy="1244529"/>
            </a:xfrm>
            <a:prstGeom prst="rect">
              <a:avLst/>
            </a:prstGeom>
            <a:solidFill>
              <a:schemeClr val="bg1">
                <a:lumMod val="6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141" name="Left-Right Arrow 140"/>
            <p:cNvSpPr/>
            <p:nvPr/>
          </p:nvSpPr>
          <p:spPr bwMode="auto">
            <a:xfrm rot="16200000">
              <a:off x="9120312" y="3861365"/>
              <a:ext cx="681217" cy="369795"/>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73" tIns="143260" rIns="179073" bIns="143260" numCol="1" spcCol="0" rtlCol="0" fromWordArt="0" anchor="t" anchorCtr="0" forceAA="0" compatLnSpc="1">
              <a:prstTxWarp prst="textNoShape">
                <a:avLst/>
              </a:prstTxWarp>
              <a:noAutofit/>
            </a:bodyPr>
            <a:lstStyle/>
            <a:p>
              <a:pPr algn="ctr" defTabSz="912890"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42" name="TextBox 141"/>
            <p:cNvSpPr txBox="1"/>
            <p:nvPr/>
          </p:nvSpPr>
          <p:spPr>
            <a:xfrm>
              <a:off x="6797593" y="3867252"/>
              <a:ext cx="2433924" cy="443198"/>
            </a:xfrm>
            <a:prstGeom prst="rect">
              <a:avLst/>
            </a:prstGeom>
            <a:noFill/>
          </p:spPr>
          <p:txBody>
            <a:bodyPr wrap="square" lIns="179073" tIns="0" rIns="179073" bIns="0" rtlCol="0">
              <a:spAutoFit/>
            </a:bodyPr>
            <a:lstStyle/>
            <a:p>
              <a:pPr algn="r" defTabSz="913187">
                <a:lnSpc>
                  <a:spcPct val="90000"/>
                </a:lnSpc>
                <a:spcAft>
                  <a:spcPts val="588"/>
                </a:spcAft>
              </a:pPr>
              <a:r>
                <a:rPr lang="en-US" sz="1568" dirty="0">
                  <a:solidFill>
                    <a:srgbClr val="505050"/>
                  </a:solidFill>
                </a:rPr>
                <a:t>Communication</a:t>
              </a:r>
              <a:br>
                <a:rPr lang="en-US" sz="1568" dirty="0">
                  <a:solidFill>
                    <a:srgbClr val="505050"/>
                  </a:solidFill>
                </a:rPr>
              </a:br>
              <a:r>
                <a:rPr lang="en-US" sz="1568" dirty="0">
                  <a:solidFill>
                    <a:srgbClr val="505050"/>
                  </a:solidFill>
                </a:rPr>
                <a:t>and replication</a:t>
              </a:r>
            </a:p>
          </p:txBody>
        </p:sp>
        <p:grpSp>
          <p:nvGrpSpPr>
            <p:cNvPr id="185" name="Group 184"/>
            <p:cNvGrpSpPr/>
            <p:nvPr/>
          </p:nvGrpSpPr>
          <p:grpSpPr>
            <a:xfrm>
              <a:off x="7395225" y="1849634"/>
              <a:ext cx="3647239" cy="1814608"/>
              <a:chOff x="596059" y="1602283"/>
              <a:chExt cx="3678187" cy="1830008"/>
            </a:xfrm>
          </p:grpSpPr>
          <p:sp>
            <p:nvSpPr>
              <p:cNvPr id="186" name="Freeform 95"/>
              <p:cNvSpPr>
                <a:spLocks/>
              </p:cNvSpPr>
              <p:nvPr/>
            </p:nvSpPr>
            <p:spPr bwMode="auto">
              <a:xfrm flipH="1">
                <a:off x="596059" y="1967389"/>
                <a:ext cx="1850360" cy="120166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91414" tIns="45706" rIns="91414" bIns="45706" numCol="1" anchor="t" anchorCtr="0" compatLnSpc="1">
                <a:prstTxWarp prst="textNoShape">
                  <a:avLst/>
                </a:prstTxWarp>
              </a:bodyPr>
              <a:lstStyle/>
              <a:p>
                <a:pPr defTabSz="914049"/>
                <a:endParaRPr lang="en-US" sz="2745">
                  <a:solidFill>
                    <a:srgbClr val="000000"/>
                  </a:solidFill>
                </a:endParaRPr>
              </a:p>
            </p:txBody>
          </p:sp>
          <p:sp>
            <p:nvSpPr>
              <p:cNvPr id="187" name="Freeform 95"/>
              <p:cNvSpPr>
                <a:spLocks/>
              </p:cNvSpPr>
              <p:nvPr/>
            </p:nvSpPr>
            <p:spPr bwMode="auto">
              <a:xfrm flipH="1">
                <a:off x="3017243" y="1602283"/>
                <a:ext cx="1257003" cy="81632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6"/>
              </a:solidFill>
              <a:ln>
                <a:noFill/>
              </a:ln>
              <a:extLst/>
            </p:spPr>
            <p:txBody>
              <a:bodyPr vert="horz" wrap="square" lIns="91414" tIns="45706" rIns="91414" bIns="45706" numCol="1" anchor="t" anchorCtr="0" compatLnSpc="1">
                <a:prstTxWarp prst="textNoShape">
                  <a:avLst/>
                </a:prstTxWarp>
              </a:bodyPr>
              <a:lstStyle/>
              <a:p>
                <a:pPr defTabSz="914049"/>
                <a:endParaRPr lang="en-US" sz="2745">
                  <a:solidFill>
                    <a:srgbClr val="000000"/>
                  </a:solidFill>
                </a:endParaRPr>
              </a:p>
            </p:txBody>
          </p:sp>
          <p:sp>
            <p:nvSpPr>
              <p:cNvPr id="188"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2745" kern="0">
                  <a:solidFill>
                    <a:srgbClr val="505050"/>
                  </a:solidFill>
                </a:endParaRPr>
              </a:p>
            </p:txBody>
          </p:sp>
          <p:sp>
            <p:nvSpPr>
              <p:cNvPr id="189" name="TextBox 188"/>
              <p:cNvSpPr txBox="1"/>
              <p:nvPr/>
            </p:nvSpPr>
            <p:spPr>
              <a:xfrm>
                <a:off x="1576431" y="2418609"/>
                <a:ext cx="2258885" cy="856544"/>
              </a:xfrm>
              <a:prstGeom prst="rect">
                <a:avLst/>
              </a:prstGeom>
              <a:noFill/>
              <a:ln>
                <a:noFill/>
              </a:ln>
            </p:spPr>
            <p:txBody>
              <a:bodyPr wrap="none" lIns="179208" tIns="143366" rIns="179208" bIns="143366" rtlCol="0">
                <a:spAutoFit/>
              </a:bodyPr>
              <a:lstStyle/>
              <a:p>
                <a:pPr algn="ctr" defTabSz="913187">
                  <a:lnSpc>
                    <a:spcPct val="90000"/>
                  </a:lnSpc>
                  <a:spcAft>
                    <a:spcPts val="588"/>
                  </a:spcAft>
                </a:pPr>
                <a:r>
                  <a:rPr lang="en-US" sz="1961" kern="0" dirty="0">
                    <a:solidFill>
                      <a:srgbClr val="FFFFFF"/>
                    </a:solidFill>
                  </a:rPr>
                  <a:t>Microsoft Azure </a:t>
                </a:r>
                <a:br>
                  <a:rPr lang="en-US" sz="1961" kern="0" dirty="0">
                    <a:solidFill>
                      <a:srgbClr val="FFFFFF"/>
                    </a:solidFill>
                  </a:rPr>
                </a:br>
                <a:r>
                  <a:rPr lang="en-US" sz="1961" kern="0" dirty="0">
                    <a:solidFill>
                      <a:srgbClr val="FFFFFF"/>
                    </a:solidFill>
                  </a:rPr>
                  <a:t>Site Recovery</a:t>
                </a:r>
              </a:p>
            </p:txBody>
          </p:sp>
        </p:grpSp>
        <p:grpSp>
          <p:nvGrpSpPr>
            <p:cNvPr id="190" name="Group 189"/>
            <p:cNvGrpSpPr/>
            <p:nvPr/>
          </p:nvGrpSpPr>
          <p:grpSpPr>
            <a:xfrm>
              <a:off x="8204680" y="4395072"/>
              <a:ext cx="1761877" cy="2028010"/>
              <a:chOff x="394085" y="3682859"/>
              <a:chExt cx="1499465" cy="1725961"/>
            </a:xfrm>
          </p:grpSpPr>
          <p:sp>
            <p:nvSpPr>
              <p:cNvPr id="191" name="TextBox 190"/>
              <p:cNvSpPr txBox="1"/>
              <p:nvPr/>
            </p:nvSpPr>
            <p:spPr>
              <a:xfrm>
                <a:off x="394085" y="4802335"/>
                <a:ext cx="579926" cy="586470"/>
              </a:xfrm>
              <a:prstGeom prst="rect">
                <a:avLst/>
              </a:prstGeom>
              <a:noFill/>
            </p:spPr>
            <p:txBody>
              <a:bodyPr wrap="square" lIns="0" tIns="146263" rIns="0" bIns="146263" rtlCol="0">
                <a:spAutoFit/>
              </a:bodyPr>
              <a:lstStyle/>
              <a:p>
                <a:pPr algn="r" defTabSz="914049">
                  <a:lnSpc>
                    <a:spcPct val="90000"/>
                  </a:lnSpc>
                  <a:spcAft>
                    <a:spcPts val="600"/>
                  </a:spcAft>
                </a:pPr>
                <a:r>
                  <a:rPr lang="en-US" sz="1372" kern="0" dirty="0">
                    <a:solidFill>
                      <a:srgbClr val="505050"/>
                    </a:solidFill>
                  </a:rPr>
                  <a:t>Primary site</a:t>
                </a:r>
              </a:p>
            </p:txBody>
          </p:sp>
          <p:grpSp>
            <p:nvGrpSpPr>
              <p:cNvPr id="192" name="Group 191"/>
              <p:cNvGrpSpPr/>
              <p:nvPr/>
            </p:nvGrpSpPr>
            <p:grpSpPr>
              <a:xfrm>
                <a:off x="1055947" y="4111804"/>
                <a:ext cx="815599" cy="1297016"/>
                <a:chOff x="13103226" y="2763958"/>
                <a:chExt cx="1039812" cy="1616572"/>
              </a:xfrm>
            </p:grpSpPr>
            <p:sp>
              <p:nvSpPr>
                <p:cNvPr id="196" name="Rectangle 5"/>
                <p:cNvSpPr>
                  <a:spLocks noChangeArrowheads="1"/>
                </p:cNvSpPr>
                <p:nvPr/>
              </p:nvSpPr>
              <p:spPr bwMode="auto">
                <a:xfrm>
                  <a:off x="13103226" y="2763958"/>
                  <a:ext cx="1039812" cy="1616572"/>
                </a:xfrm>
                <a:prstGeom prst="rect">
                  <a:avLst/>
                </a:prstGeom>
                <a:solidFill>
                  <a:srgbClr val="005695"/>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19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19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19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0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01"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02"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03"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sp>
              <p:nvSpPr>
                <p:cNvPr id="204"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14" tIns="45706" rIns="91414" bIns="45706" numCol="1" anchor="t" anchorCtr="0" compatLnSpc="1">
                  <a:prstTxWarp prst="textNoShape">
                    <a:avLst/>
                  </a:prstTxWarp>
                </a:bodyPr>
                <a:lstStyle/>
                <a:p>
                  <a:pPr defTabSz="914049"/>
                  <a:endParaRPr lang="en-US" sz="1765">
                    <a:solidFill>
                      <a:srgbClr val="000000"/>
                    </a:solidFill>
                  </a:endParaRPr>
                </a:p>
              </p:txBody>
            </p:sp>
          </p:grpSp>
          <p:sp>
            <p:nvSpPr>
              <p:cNvPr id="193" name="TextBox 192"/>
              <p:cNvSpPr txBox="1"/>
              <p:nvPr/>
            </p:nvSpPr>
            <p:spPr>
              <a:xfrm>
                <a:off x="1121483" y="5046509"/>
                <a:ext cx="684527" cy="330040"/>
              </a:xfrm>
              <a:prstGeom prst="rect">
                <a:avLst/>
              </a:prstGeom>
              <a:noFill/>
            </p:spPr>
            <p:txBody>
              <a:bodyPr wrap="square" lIns="0" tIns="0" rIns="0" bIns="0" rtlCol="0">
                <a:spAutoFit/>
              </a:bodyPr>
              <a:lstStyle/>
              <a:p>
                <a:pPr algn="ctr" defTabSz="914049">
                  <a:lnSpc>
                    <a:spcPct val="90000"/>
                  </a:lnSpc>
                </a:pPr>
                <a:r>
                  <a:rPr lang="en-US" sz="1372" dirty="0">
                    <a:solidFill>
                      <a:srgbClr val="FFFFFF"/>
                    </a:solidFill>
                  </a:rPr>
                  <a:t>Windows Server</a:t>
                </a:r>
              </a:p>
            </p:txBody>
          </p:sp>
          <p:sp>
            <p:nvSpPr>
              <p:cNvPr id="194" name="Rectangle 193"/>
              <p:cNvSpPr/>
              <p:nvPr/>
            </p:nvSpPr>
            <p:spPr bwMode="auto">
              <a:xfrm>
                <a:off x="1055947" y="3682859"/>
                <a:ext cx="815076" cy="4303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5" name="Picture 19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205" name="Group 204"/>
            <p:cNvGrpSpPr/>
            <p:nvPr/>
          </p:nvGrpSpPr>
          <p:grpSpPr>
            <a:xfrm>
              <a:off x="10650715" y="5776088"/>
              <a:ext cx="326697" cy="627211"/>
              <a:chOff x="7791149" y="4987730"/>
              <a:chExt cx="192916" cy="370370"/>
            </a:xfrm>
          </p:grpSpPr>
          <p:sp>
            <p:nvSpPr>
              <p:cNvPr id="206"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07"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08"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221" name="Group 220"/>
            <p:cNvGrpSpPr/>
            <p:nvPr/>
          </p:nvGrpSpPr>
          <p:grpSpPr>
            <a:xfrm>
              <a:off x="7816537" y="5988297"/>
              <a:ext cx="226676" cy="435185"/>
              <a:chOff x="7791149" y="4987730"/>
              <a:chExt cx="192916" cy="370370"/>
            </a:xfrm>
          </p:grpSpPr>
          <p:sp>
            <p:nvSpPr>
              <p:cNvPr id="22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2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2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95" name="Group 94"/>
            <p:cNvGrpSpPr/>
            <p:nvPr/>
          </p:nvGrpSpPr>
          <p:grpSpPr>
            <a:xfrm>
              <a:off x="11042464" y="5878271"/>
              <a:ext cx="273473" cy="525028"/>
              <a:chOff x="7791149" y="4987730"/>
              <a:chExt cx="192916" cy="370370"/>
            </a:xfrm>
          </p:grpSpPr>
          <p:sp>
            <p:nvSpPr>
              <p:cNvPr id="96"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97" name="Oval 39"/>
              <p:cNvSpPr>
                <a:spLocks noChangeArrowheads="1"/>
              </p:cNvSpPr>
              <p:nvPr/>
            </p:nvSpPr>
            <p:spPr bwMode="auto">
              <a:xfrm>
                <a:off x="7791149" y="5086397"/>
                <a:ext cx="192916" cy="191444"/>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98" name="Oval 40"/>
              <p:cNvSpPr>
                <a:spLocks noChangeArrowheads="1"/>
              </p:cNvSpPr>
              <p:nvPr/>
            </p:nvSpPr>
            <p:spPr bwMode="auto">
              <a:xfrm>
                <a:off x="7817656" y="4987730"/>
                <a:ext cx="140637" cy="140637"/>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99" name="Group 98"/>
            <p:cNvGrpSpPr/>
            <p:nvPr/>
          </p:nvGrpSpPr>
          <p:grpSpPr>
            <a:xfrm>
              <a:off x="10333038" y="5948409"/>
              <a:ext cx="236940" cy="454890"/>
              <a:chOff x="7791149" y="4987730"/>
              <a:chExt cx="192916" cy="370370"/>
            </a:xfrm>
          </p:grpSpPr>
          <p:sp>
            <p:nvSpPr>
              <p:cNvPr id="100"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01" name="Oval 39"/>
              <p:cNvSpPr>
                <a:spLocks noChangeArrowheads="1"/>
              </p:cNvSpPr>
              <p:nvPr/>
            </p:nvSpPr>
            <p:spPr bwMode="auto">
              <a:xfrm>
                <a:off x="7791149" y="5086397"/>
                <a:ext cx="192916" cy="191444"/>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02" name="Oval 40"/>
              <p:cNvSpPr>
                <a:spLocks noChangeArrowheads="1"/>
              </p:cNvSpPr>
              <p:nvPr/>
            </p:nvSpPr>
            <p:spPr bwMode="auto">
              <a:xfrm>
                <a:off x="7817656" y="4987730"/>
                <a:ext cx="140637" cy="140637"/>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103" name="Group 102"/>
            <p:cNvGrpSpPr/>
            <p:nvPr/>
          </p:nvGrpSpPr>
          <p:grpSpPr>
            <a:xfrm>
              <a:off x="7386015" y="5776088"/>
              <a:ext cx="326697" cy="627211"/>
              <a:chOff x="7791149" y="4987730"/>
              <a:chExt cx="192916" cy="370370"/>
            </a:xfrm>
          </p:grpSpPr>
          <p:sp>
            <p:nvSpPr>
              <p:cNvPr id="10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0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0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122" name="Group 121"/>
            <p:cNvGrpSpPr/>
            <p:nvPr/>
          </p:nvGrpSpPr>
          <p:grpSpPr>
            <a:xfrm>
              <a:off x="7037759" y="5948409"/>
              <a:ext cx="236940" cy="454890"/>
              <a:chOff x="7791149" y="4987730"/>
              <a:chExt cx="192916" cy="370370"/>
            </a:xfrm>
          </p:grpSpPr>
          <p:sp>
            <p:nvSpPr>
              <p:cNvPr id="12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25" name="Oval 39"/>
              <p:cNvSpPr>
                <a:spLocks noChangeArrowheads="1"/>
              </p:cNvSpPr>
              <p:nvPr/>
            </p:nvSpPr>
            <p:spPr bwMode="auto">
              <a:xfrm>
                <a:off x="7791149" y="5086397"/>
                <a:ext cx="192916" cy="191444"/>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126" name="Oval 40"/>
              <p:cNvSpPr>
                <a:spLocks noChangeArrowheads="1"/>
              </p:cNvSpPr>
              <p:nvPr/>
            </p:nvSpPr>
            <p:spPr bwMode="auto">
              <a:xfrm>
                <a:off x="7817656" y="4987730"/>
                <a:ext cx="140637" cy="140637"/>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grpSp>
          <p:nvGrpSpPr>
            <p:cNvPr id="277" name="Group 276"/>
            <p:cNvGrpSpPr/>
            <p:nvPr/>
          </p:nvGrpSpPr>
          <p:grpSpPr>
            <a:xfrm>
              <a:off x="11301997" y="5911793"/>
              <a:ext cx="256012" cy="491505"/>
              <a:chOff x="7791149" y="4987730"/>
              <a:chExt cx="192916" cy="370370"/>
            </a:xfrm>
          </p:grpSpPr>
          <p:sp>
            <p:nvSpPr>
              <p:cNvPr id="278"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79" name="Oval 39"/>
              <p:cNvSpPr>
                <a:spLocks noChangeArrowheads="1"/>
              </p:cNvSpPr>
              <p:nvPr/>
            </p:nvSpPr>
            <p:spPr bwMode="auto">
              <a:xfrm>
                <a:off x="7791149" y="5086397"/>
                <a:ext cx="192916" cy="191444"/>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sp>
            <p:nvSpPr>
              <p:cNvPr id="280" name="Oval 40"/>
              <p:cNvSpPr>
                <a:spLocks noChangeArrowheads="1"/>
              </p:cNvSpPr>
              <p:nvPr/>
            </p:nvSpPr>
            <p:spPr bwMode="auto">
              <a:xfrm>
                <a:off x="7817656" y="4987730"/>
                <a:ext cx="140637" cy="140637"/>
              </a:xfrm>
              <a:prstGeom prst="ellipse">
                <a:avLst/>
              </a:prstGeom>
              <a:solidFill>
                <a:srgbClr val="6896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sz="1961">
                  <a:solidFill>
                    <a:srgbClr val="505050"/>
                  </a:solidFill>
                </a:endParaRPr>
              </a:p>
            </p:txBody>
          </p:sp>
        </p:grpSp>
        <p:sp>
          <p:nvSpPr>
            <p:cNvPr id="73" name="Rectangle 72"/>
            <p:cNvSpPr/>
            <p:nvPr/>
          </p:nvSpPr>
          <p:spPr bwMode="auto">
            <a:xfrm>
              <a:off x="6501008" y="6399564"/>
              <a:ext cx="5660830" cy="229836"/>
            </a:xfrm>
            <a:prstGeom prst="rect">
              <a:avLst/>
            </a:prstGeom>
            <a:solidFill>
              <a:srgbClr val="A6A6A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745"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66884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bwMode="auto">
          <a:xfrm>
            <a:off x="269240" y="2083326"/>
            <a:ext cx="5766688" cy="4416240"/>
          </a:xfrm>
          <a:prstGeom prst="rect">
            <a:avLst/>
          </a:prstGeom>
          <a:solidFill>
            <a:schemeClr val="accent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9" defTabSz="913924" fontAlgn="base">
              <a:lnSpc>
                <a:spcPct val="90000"/>
              </a:lnSpc>
              <a:spcBef>
                <a:spcPct val="0"/>
              </a:spcBef>
              <a:spcAft>
                <a:spcPct val="0"/>
              </a:spcAft>
            </a:pPr>
            <a:r>
              <a:rPr lang="en-US" sz="2745" spc="-49" dirty="0">
                <a:solidFill>
                  <a:srgbClr val="0072C6"/>
                </a:solidFill>
                <a:latin typeface="Segoe UI Light"/>
              </a:rPr>
              <a:t>	</a:t>
            </a:r>
          </a:p>
        </p:txBody>
      </p:sp>
      <p:grpSp>
        <p:nvGrpSpPr>
          <p:cNvPr id="57" name="Group 56"/>
          <p:cNvGrpSpPr/>
          <p:nvPr/>
        </p:nvGrpSpPr>
        <p:grpSpPr>
          <a:xfrm>
            <a:off x="738156" y="3897237"/>
            <a:ext cx="601789" cy="803635"/>
            <a:chOff x="508699" y="2685655"/>
            <a:chExt cx="974189" cy="1300943"/>
          </a:xfrm>
          <a:solidFill>
            <a:schemeClr val="bg1"/>
          </a:solidFill>
        </p:grpSpPr>
        <p:sp>
          <p:nvSpPr>
            <p:cNvPr id="58" name="Freeform 9"/>
            <p:cNvSpPr>
              <a:spLocks noEditPoints="1"/>
            </p:cNvSpPr>
            <p:nvPr/>
          </p:nvSpPr>
          <p:spPr bwMode="auto">
            <a:xfrm>
              <a:off x="508699" y="3234789"/>
              <a:ext cx="610546" cy="751809"/>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72C6"/>
                </a:solidFill>
              </a:endParaRPr>
            </a:p>
          </p:txBody>
        </p:sp>
        <p:sp>
          <p:nvSpPr>
            <p:cNvPr id="59" name="Freeform 10"/>
            <p:cNvSpPr>
              <a:spLocks noEditPoints="1"/>
            </p:cNvSpPr>
            <p:nvPr/>
          </p:nvSpPr>
          <p:spPr bwMode="auto">
            <a:xfrm>
              <a:off x="872342" y="2685655"/>
              <a:ext cx="610546"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72C6"/>
                </a:solidFill>
              </a:endParaRPr>
            </a:p>
          </p:txBody>
        </p:sp>
      </p:grpSp>
      <p:grpSp>
        <p:nvGrpSpPr>
          <p:cNvPr id="60" name="Group 59"/>
          <p:cNvGrpSpPr/>
          <p:nvPr/>
        </p:nvGrpSpPr>
        <p:grpSpPr>
          <a:xfrm>
            <a:off x="738156" y="5120478"/>
            <a:ext cx="1020242" cy="1070219"/>
            <a:chOff x="775401" y="3416290"/>
            <a:chExt cx="1651591" cy="1732495"/>
          </a:xfrm>
          <a:solidFill>
            <a:schemeClr val="bg1"/>
          </a:solidFill>
        </p:grpSpPr>
        <p:sp>
          <p:nvSpPr>
            <p:cNvPr id="61" name="Freeform 9"/>
            <p:cNvSpPr>
              <a:spLocks noEditPoints="1"/>
            </p:cNvSpPr>
            <p:nvPr/>
          </p:nvSpPr>
          <p:spPr bwMode="auto">
            <a:xfrm>
              <a:off x="775401" y="4396975"/>
              <a:ext cx="610544" cy="751810"/>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72C6"/>
                </a:solidFill>
              </a:endParaRPr>
            </a:p>
          </p:txBody>
        </p:sp>
        <p:sp>
          <p:nvSpPr>
            <p:cNvPr id="62" name="Freeform 10"/>
            <p:cNvSpPr>
              <a:spLocks noEditPoints="1"/>
            </p:cNvSpPr>
            <p:nvPr/>
          </p:nvSpPr>
          <p:spPr bwMode="auto">
            <a:xfrm>
              <a:off x="1139043" y="3847842"/>
              <a:ext cx="610545"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72C6"/>
                </a:solidFill>
              </a:endParaRPr>
            </a:p>
          </p:txBody>
        </p:sp>
        <p:sp>
          <p:nvSpPr>
            <p:cNvPr id="63" name="Freeform 11"/>
            <p:cNvSpPr>
              <a:spLocks/>
            </p:cNvSpPr>
            <p:nvPr/>
          </p:nvSpPr>
          <p:spPr bwMode="auto">
            <a:xfrm>
              <a:off x="1480470" y="3416290"/>
              <a:ext cx="946522" cy="636743"/>
            </a:xfrm>
            <a:custGeom>
              <a:avLst/>
              <a:gdLst>
                <a:gd name="T0" fmla="*/ 1716 w 1910"/>
                <a:gd name="T1" fmla="*/ 506 h 1285"/>
                <a:gd name="T2" fmla="*/ 1577 w 1910"/>
                <a:gd name="T3" fmla="*/ 253 h 1285"/>
                <a:gd name="T4" fmla="*/ 1403 w 1910"/>
                <a:gd name="T5" fmla="*/ 201 h 1285"/>
                <a:gd name="T6" fmla="*/ 1256 w 1910"/>
                <a:gd name="T7" fmla="*/ 241 h 1285"/>
                <a:gd name="T8" fmla="*/ 807 w 1910"/>
                <a:gd name="T9" fmla="*/ 0 h 1285"/>
                <a:gd name="T10" fmla="*/ 268 w 1910"/>
                <a:gd name="T11" fmla="*/ 539 h 1285"/>
                <a:gd name="T12" fmla="*/ 268 w 1910"/>
                <a:gd name="T13" fmla="*/ 564 h 1285"/>
                <a:gd name="T14" fmla="*/ 0 w 1910"/>
                <a:gd name="T15" fmla="*/ 750 h 1285"/>
                <a:gd name="T16" fmla="*/ 666 w 1910"/>
                <a:gd name="T17" fmla="*/ 750 h 1285"/>
                <a:gd name="T18" fmla="*/ 666 w 1910"/>
                <a:gd name="T19" fmla="*/ 1285 h 1285"/>
                <a:gd name="T20" fmla="*/ 1443 w 1910"/>
                <a:gd name="T21" fmla="*/ 1285 h 1285"/>
                <a:gd name="T22" fmla="*/ 1486 w 1910"/>
                <a:gd name="T23" fmla="*/ 1285 h 1285"/>
                <a:gd name="T24" fmla="*/ 1532 w 1910"/>
                <a:gd name="T25" fmla="*/ 1285 h 1285"/>
                <a:gd name="T26" fmla="*/ 1910 w 1910"/>
                <a:gd name="T27" fmla="*/ 862 h 1285"/>
                <a:gd name="T28" fmla="*/ 1716 w 1910"/>
                <a:gd name="T29" fmla="*/ 506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0" h="1285">
                  <a:moveTo>
                    <a:pt x="1716" y="506"/>
                  </a:moveTo>
                  <a:cubicBezTo>
                    <a:pt x="1713" y="401"/>
                    <a:pt x="1659" y="308"/>
                    <a:pt x="1577" y="253"/>
                  </a:cubicBezTo>
                  <a:cubicBezTo>
                    <a:pt x="1528" y="220"/>
                    <a:pt x="1468" y="201"/>
                    <a:pt x="1403" y="201"/>
                  </a:cubicBezTo>
                  <a:cubicBezTo>
                    <a:pt x="1349" y="201"/>
                    <a:pt x="1299" y="216"/>
                    <a:pt x="1256" y="241"/>
                  </a:cubicBezTo>
                  <a:cubicBezTo>
                    <a:pt x="1159" y="97"/>
                    <a:pt x="994" y="0"/>
                    <a:pt x="807" y="0"/>
                  </a:cubicBezTo>
                  <a:cubicBezTo>
                    <a:pt x="509" y="0"/>
                    <a:pt x="268" y="241"/>
                    <a:pt x="268" y="539"/>
                  </a:cubicBezTo>
                  <a:cubicBezTo>
                    <a:pt x="268" y="546"/>
                    <a:pt x="268" y="556"/>
                    <a:pt x="268" y="564"/>
                  </a:cubicBezTo>
                  <a:cubicBezTo>
                    <a:pt x="152" y="580"/>
                    <a:pt x="54" y="651"/>
                    <a:pt x="0" y="750"/>
                  </a:cubicBezTo>
                  <a:cubicBezTo>
                    <a:pt x="666" y="750"/>
                    <a:pt x="666" y="750"/>
                    <a:pt x="666" y="750"/>
                  </a:cubicBezTo>
                  <a:cubicBezTo>
                    <a:pt x="666" y="1285"/>
                    <a:pt x="666" y="1285"/>
                    <a:pt x="666" y="1285"/>
                  </a:cubicBezTo>
                  <a:cubicBezTo>
                    <a:pt x="905" y="1285"/>
                    <a:pt x="1272" y="1285"/>
                    <a:pt x="1443" y="1285"/>
                  </a:cubicBezTo>
                  <a:cubicBezTo>
                    <a:pt x="1457" y="1285"/>
                    <a:pt x="1471" y="1285"/>
                    <a:pt x="1486" y="1285"/>
                  </a:cubicBezTo>
                  <a:cubicBezTo>
                    <a:pt x="1500" y="1285"/>
                    <a:pt x="1518" y="1285"/>
                    <a:pt x="1532" y="1285"/>
                  </a:cubicBezTo>
                  <a:cubicBezTo>
                    <a:pt x="1744" y="1260"/>
                    <a:pt x="1910" y="1081"/>
                    <a:pt x="1910" y="862"/>
                  </a:cubicBezTo>
                  <a:cubicBezTo>
                    <a:pt x="1910" y="714"/>
                    <a:pt x="1831" y="582"/>
                    <a:pt x="1716" y="5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72C6"/>
                </a:solidFill>
              </a:endParaRPr>
            </a:p>
          </p:txBody>
        </p:sp>
      </p:grpSp>
      <p:grpSp>
        <p:nvGrpSpPr>
          <p:cNvPr id="64" name="Group 63"/>
          <p:cNvGrpSpPr/>
          <p:nvPr/>
        </p:nvGrpSpPr>
        <p:grpSpPr>
          <a:xfrm>
            <a:off x="738156" y="2407414"/>
            <a:ext cx="601789" cy="803635"/>
            <a:chOff x="508699" y="2957437"/>
            <a:chExt cx="974189" cy="1300942"/>
          </a:xfrm>
          <a:solidFill>
            <a:schemeClr val="bg1"/>
          </a:solidFill>
        </p:grpSpPr>
        <p:sp>
          <p:nvSpPr>
            <p:cNvPr id="65" name="Freeform 9"/>
            <p:cNvSpPr>
              <a:spLocks noEditPoints="1"/>
            </p:cNvSpPr>
            <p:nvPr/>
          </p:nvSpPr>
          <p:spPr bwMode="auto">
            <a:xfrm>
              <a:off x="508699" y="3506570"/>
              <a:ext cx="610546" cy="751809"/>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72C6"/>
                </a:solidFill>
              </a:endParaRPr>
            </a:p>
          </p:txBody>
        </p:sp>
        <p:sp>
          <p:nvSpPr>
            <p:cNvPr id="66" name="Freeform 10"/>
            <p:cNvSpPr>
              <a:spLocks noEditPoints="1"/>
            </p:cNvSpPr>
            <p:nvPr/>
          </p:nvSpPr>
          <p:spPr bwMode="auto">
            <a:xfrm>
              <a:off x="872342" y="2957437"/>
              <a:ext cx="610546" cy="1300942"/>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72C6"/>
                </a:solidFill>
              </a:endParaRPr>
            </a:p>
          </p:txBody>
        </p:sp>
      </p:grpSp>
      <p:sp>
        <p:nvSpPr>
          <p:cNvPr id="67" name="Oval 66"/>
          <p:cNvSpPr/>
          <p:nvPr/>
        </p:nvSpPr>
        <p:spPr bwMode="auto">
          <a:xfrm>
            <a:off x="2804227" y="3611201"/>
            <a:ext cx="1095091" cy="1095091"/>
          </a:xfrm>
          <a:prstGeom prst="ellipse">
            <a:avLst/>
          </a:prstGeom>
          <a:solidFill>
            <a:srgbClr val="005695"/>
          </a:solidFill>
          <a:ln w="762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spcBef>
                <a:spcPct val="0"/>
              </a:spcBef>
              <a:spcAft>
                <a:spcPct val="0"/>
              </a:spcAft>
            </a:pPr>
            <a:r>
              <a:rPr lang="en-US" sz="2353" b="1" spc="-49" dirty="0">
                <a:solidFill>
                  <a:srgbClr val="FFFFFF"/>
                </a:solidFill>
              </a:rPr>
              <a:t>WAN</a:t>
            </a:r>
          </a:p>
        </p:txBody>
      </p:sp>
      <p:cxnSp>
        <p:nvCxnSpPr>
          <p:cNvPr id="68" name="Straight Arrow Connector 67"/>
          <p:cNvCxnSpPr/>
          <p:nvPr/>
        </p:nvCxnSpPr>
        <p:spPr>
          <a:xfrm flipH="1" flipV="1">
            <a:off x="2026950" y="3185390"/>
            <a:ext cx="740438" cy="525813"/>
          </a:xfrm>
          <a:prstGeom prst="straightConnector1">
            <a:avLst/>
          </a:prstGeom>
          <a:ln w="57150">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a:off x="2102934" y="4644467"/>
            <a:ext cx="701294" cy="498013"/>
          </a:xfrm>
          <a:prstGeom prst="straightConnector1">
            <a:avLst/>
          </a:prstGeom>
          <a:ln w="57150">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H="1">
            <a:off x="1758399" y="4208704"/>
            <a:ext cx="876193" cy="0"/>
          </a:xfrm>
          <a:prstGeom prst="straightConnector1">
            <a:avLst/>
          </a:prstGeom>
          <a:ln w="57150">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Freeform 5"/>
          <p:cNvSpPr>
            <a:spLocks/>
          </p:cNvSpPr>
          <p:nvPr/>
        </p:nvSpPr>
        <p:spPr bwMode="auto">
          <a:xfrm>
            <a:off x="4359194" y="2274538"/>
            <a:ext cx="1395671" cy="858761"/>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a:extLst/>
        </p:spPr>
        <p:txBody>
          <a:bodyPr vert="horz" wrap="square" lIns="89630" tIns="44814" rIns="89630" bIns="44814" numCol="1" anchor="ctr" anchorCtr="0" compatLnSpc="1">
            <a:prstTxWarp prst="textNoShape">
              <a:avLst/>
            </a:prstTxWarp>
          </a:bodyPr>
          <a:lstStyle/>
          <a:p>
            <a:pPr algn="ctr" defTabSz="914367">
              <a:lnSpc>
                <a:spcPts val="1765"/>
              </a:lnSpc>
            </a:pPr>
            <a:r>
              <a:rPr lang="en-US" sz="1765" dirty="0">
                <a:solidFill>
                  <a:srgbClr val="0072C6"/>
                </a:solidFill>
              </a:rPr>
              <a:t>Azure</a:t>
            </a:r>
          </a:p>
        </p:txBody>
      </p:sp>
      <p:cxnSp>
        <p:nvCxnSpPr>
          <p:cNvPr id="74" name="Straight Arrow Connector 73"/>
          <p:cNvCxnSpPr/>
          <p:nvPr/>
        </p:nvCxnSpPr>
        <p:spPr>
          <a:xfrm flipV="1">
            <a:off x="3843925" y="3301063"/>
            <a:ext cx="504239" cy="358080"/>
          </a:xfrm>
          <a:prstGeom prst="straightConnector1">
            <a:avLst/>
          </a:prstGeom>
          <a:ln w="57150">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4359194" y="4825309"/>
            <a:ext cx="1417914" cy="14673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defTabSz="896091" fontAlgn="base">
              <a:lnSpc>
                <a:spcPts val="1765"/>
              </a:lnSpc>
              <a:spcBef>
                <a:spcPct val="0"/>
              </a:spcBef>
              <a:spcAft>
                <a:spcPct val="0"/>
              </a:spcAft>
            </a:pPr>
            <a:r>
              <a:rPr lang="en-US" sz="1765" spc="-49" dirty="0">
                <a:solidFill>
                  <a:srgbClr val="0072C6"/>
                </a:solidFill>
              </a:rPr>
              <a:t>Public Internet</a:t>
            </a:r>
          </a:p>
        </p:txBody>
      </p:sp>
      <p:sp>
        <p:nvSpPr>
          <p:cNvPr id="78" name="Rectangle 77"/>
          <p:cNvSpPr/>
          <p:nvPr/>
        </p:nvSpPr>
        <p:spPr bwMode="auto">
          <a:xfrm>
            <a:off x="6136934" y="2083326"/>
            <a:ext cx="5766688" cy="441624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79285" rIns="91427" bIns="179285" numCol="1" rtlCol="0" anchor="ctr" anchorCtr="0" compatLnSpc="1">
            <a:prstTxWarp prst="textNoShape">
              <a:avLst/>
            </a:prstTxWarp>
            <a:noAutofit/>
          </a:bodyPr>
          <a:lstStyle/>
          <a:p>
            <a:pPr marL="89639" defTabSz="913924" fontAlgn="base">
              <a:lnSpc>
                <a:spcPct val="90000"/>
              </a:lnSpc>
              <a:spcBef>
                <a:spcPct val="0"/>
              </a:spcBef>
              <a:spcAft>
                <a:spcPct val="0"/>
              </a:spcAft>
            </a:pPr>
            <a:r>
              <a:rPr lang="en-US" sz="2745" spc="-49" dirty="0">
                <a:solidFill>
                  <a:srgbClr val="0072C6"/>
                </a:solidFill>
                <a:latin typeface="Segoe UI Light"/>
              </a:rPr>
              <a:t>	</a:t>
            </a:r>
          </a:p>
        </p:txBody>
      </p:sp>
      <p:grpSp>
        <p:nvGrpSpPr>
          <p:cNvPr id="79" name="Group 78"/>
          <p:cNvGrpSpPr/>
          <p:nvPr/>
        </p:nvGrpSpPr>
        <p:grpSpPr>
          <a:xfrm>
            <a:off x="6605850" y="3897238"/>
            <a:ext cx="601789" cy="803635"/>
            <a:chOff x="508699" y="2685655"/>
            <a:chExt cx="974189" cy="1300943"/>
          </a:xfrm>
          <a:solidFill>
            <a:schemeClr val="bg1"/>
          </a:solidFill>
        </p:grpSpPr>
        <p:sp>
          <p:nvSpPr>
            <p:cNvPr id="96" name="Freeform 9"/>
            <p:cNvSpPr>
              <a:spLocks noEditPoints="1"/>
            </p:cNvSpPr>
            <p:nvPr/>
          </p:nvSpPr>
          <p:spPr bwMode="auto">
            <a:xfrm>
              <a:off x="508699" y="3234789"/>
              <a:ext cx="610546" cy="751809"/>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97" name="Freeform 10"/>
            <p:cNvSpPr>
              <a:spLocks noEditPoints="1"/>
            </p:cNvSpPr>
            <p:nvPr/>
          </p:nvSpPr>
          <p:spPr bwMode="auto">
            <a:xfrm>
              <a:off x="872342" y="2685655"/>
              <a:ext cx="610546"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80" name="Group 79"/>
          <p:cNvGrpSpPr/>
          <p:nvPr/>
        </p:nvGrpSpPr>
        <p:grpSpPr>
          <a:xfrm>
            <a:off x="6605850" y="5120478"/>
            <a:ext cx="1020243" cy="1070219"/>
            <a:chOff x="775399" y="3416290"/>
            <a:chExt cx="1651593" cy="1732495"/>
          </a:xfrm>
          <a:solidFill>
            <a:schemeClr val="bg1"/>
          </a:solidFill>
        </p:grpSpPr>
        <p:sp>
          <p:nvSpPr>
            <p:cNvPr id="93" name="Freeform 9"/>
            <p:cNvSpPr>
              <a:spLocks noEditPoints="1"/>
            </p:cNvSpPr>
            <p:nvPr/>
          </p:nvSpPr>
          <p:spPr bwMode="auto">
            <a:xfrm>
              <a:off x="775399" y="4396975"/>
              <a:ext cx="610545" cy="751810"/>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94" name="Freeform 10"/>
            <p:cNvSpPr>
              <a:spLocks noEditPoints="1"/>
            </p:cNvSpPr>
            <p:nvPr/>
          </p:nvSpPr>
          <p:spPr bwMode="auto">
            <a:xfrm>
              <a:off x="1139043" y="3847842"/>
              <a:ext cx="610545"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95" name="Freeform 11"/>
            <p:cNvSpPr>
              <a:spLocks/>
            </p:cNvSpPr>
            <p:nvPr/>
          </p:nvSpPr>
          <p:spPr bwMode="auto">
            <a:xfrm>
              <a:off x="1480470" y="3416290"/>
              <a:ext cx="946522" cy="636743"/>
            </a:xfrm>
            <a:custGeom>
              <a:avLst/>
              <a:gdLst>
                <a:gd name="T0" fmla="*/ 1716 w 1910"/>
                <a:gd name="T1" fmla="*/ 506 h 1285"/>
                <a:gd name="T2" fmla="*/ 1577 w 1910"/>
                <a:gd name="T3" fmla="*/ 253 h 1285"/>
                <a:gd name="T4" fmla="*/ 1403 w 1910"/>
                <a:gd name="T5" fmla="*/ 201 h 1285"/>
                <a:gd name="T6" fmla="*/ 1256 w 1910"/>
                <a:gd name="T7" fmla="*/ 241 h 1285"/>
                <a:gd name="T8" fmla="*/ 807 w 1910"/>
                <a:gd name="T9" fmla="*/ 0 h 1285"/>
                <a:gd name="T10" fmla="*/ 268 w 1910"/>
                <a:gd name="T11" fmla="*/ 539 h 1285"/>
                <a:gd name="T12" fmla="*/ 268 w 1910"/>
                <a:gd name="T13" fmla="*/ 564 h 1285"/>
                <a:gd name="T14" fmla="*/ 0 w 1910"/>
                <a:gd name="T15" fmla="*/ 750 h 1285"/>
                <a:gd name="T16" fmla="*/ 666 w 1910"/>
                <a:gd name="T17" fmla="*/ 750 h 1285"/>
                <a:gd name="T18" fmla="*/ 666 w 1910"/>
                <a:gd name="T19" fmla="*/ 1285 h 1285"/>
                <a:gd name="T20" fmla="*/ 1443 w 1910"/>
                <a:gd name="T21" fmla="*/ 1285 h 1285"/>
                <a:gd name="T22" fmla="*/ 1486 w 1910"/>
                <a:gd name="T23" fmla="*/ 1285 h 1285"/>
                <a:gd name="T24" fmla="*/ 1532 w 1910"/>
                <a:gd name="T25" fmla="*/ 1285 h 1285"/>
                <a:gd name="T26" fmla="*/ 1910 w 1910"/>
                <a:gd name="T27" fmla="*/ 862 h 1285"/>
                <a:gd name="T28" fmla="*/ 1716 w 1910"/>
                <a:gd name="T29" fmla="*/ 506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0" h="1285">
                  <a:moveTo>
                    <a:pt x="1716" y="506"/>
                  </a:moveTo>
                  <a:cubicBezTo>
                    <a:pt x="1713" y="401"/>
                    <a:pt x="1659" y="308"/>
                    <a:pt x="1577" y="253"/>
                  </a:cubicBezTo>
                  <a:cubicBezTo>
                    <a:pt x="1528" y="220"/>
                    <a:pt x="1468" y="201"/>
                    <a:pt x="1403" y="201"/>
                  </a:cubicBezTo>
                  <a:cubicBezTo>
                    <a:pt x="1349" y="201"/>
                    <a:pt x="1299" y="216"/>
                    <a:pt x="1256" y="241"/>
                  </a:cubicBezTo>
                  <a:cubicBezTo>
                    <a:pt x="1159" y="97"/>
                    <a:pt x="994" y="0"/>
                    <a:pt x="807" y="0"/>
                  </a:cubicBezTo>
                  <a:cubicBezTo>
                    <a:pt x="509" y="0"/>
                    <a:pt x="268" y="241"/>
                    <a:pt x="268" y="539"/>
                  </a:cubicBezTo>
                  <a:cubicBezTo>
                    <a:pt x="268" y="546"/>
                    <a:pt x="268" y="556"/>
                    <a:pt x="268" y="564"/>
                  </a:cubicBezTo>
                  <a:cubicBezTo>
                    <a:pt x="152" y="580"/>
                    <a:pt x="54" y="651"/>
                    <a:pt x="0" y="750"/>
                  </a:cubicBezTo>
                  <a:cubicBezTo>
                    <a:pt x="666" y="750"/>
                    <a:pt x="666" y="750"/>
                    <a:pt x="666" y="750"/>
                  </a:cubicBezTo>
                  <a:cubicBezTo>
                    <a:pt x="666" y="1285"/>
                    <a:pt x="666" y="1285"/>
                    <a:pt x="666" y="1285"/>
                  </a:cubicBezTo>
                  <a:cubicBezTo>
                    <a:pt x="905" y="1285"/>
                    <a:pt x="1272" y="1285"/>
                    <a:pt x="1443" y="1285"/>
                  </a:cubicBezTo>
                  <a:cubicBezTo>
                    <a:pt x="1457" y="1285"/>
                    <a:pt x="1471" y="1285"/>
                    <a:pt x="1486" y="1285"/>
                  </a:cubicBezTo>
                  <a:cubicBezTo>
                    <a:pt x="1500" y="1285"/>
                    <a:pt x="1518" y="1285"/>
                    <a:pt x="1532" y="1285"/>
                  </a:cubicBezTo>
                  <a:cubicBezTo>
                    <a:pt x="1744" y="1260"/>
                    <a:pt x="1910" y="1081"/>
                    <a:pt x="1910" y="862"/>
                  </a:cubicBezTo>
                  <a:cubicBezTo>
                    <a:pt x="1910" y="714"/>
                    <a:pt x="1831" y="582"/>
                    <a:pt x="1716" y="5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81" name="Group 80"/>
          <p:cNvGrpSpPr/>
          <p:nvPr/>
        </p:nvGrpSpPr>
        <p:grpSpPr>
          <a:xfrm>
            <a:off x="6605850" y="2407414"/>
            <a:ext cx="601789" cy="803635"/>
            <a:chOff x="508699" y="2957437"/>
            <a:chExt cx="974189" cy="1300942"/>
          </a:xfrm>
          <a:solidFill>
            <a:schemeClr val="bg1"/>
          </a:solidFill>
        </p:grpSpPr>
        <p:sp>
          <p:nvSpPr>
            <p:cNvPr id="90" name="Freeform 9"/>
            <p:cNvSpPr>
              <a:spLocks noEditPoints="1"/>
            </p:cNvSpPr>
            <p:nvPr/>
          </p:nvSpPr>
          <p:spPr bwMode="auto">
            <a:xfrm>
              <a:off x="508699" y="3506570"/>
              <a:ext cx="610546" cy="751809"/>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91" name="Freeform 10"/>
            <p:cNvSpPr>
              <a:spLocks noEditPoints="1"/>
            </p:cNvSpPr>
            <p:nvPr/>
          </p:nvSpPr>
          <p:spPr bwMode="auto">
            <a:xfrm>
              <a:off x="872342" y="2957437"/>
              <a:ext cx="610546" cy="1300942"/>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82" name="Oval 81"/>
          <p:cNvSpPr/>
          <p:nvPr/>
        </p:nvSpPr>
        <p:spPr bwMode="auto">
          <a:xfrm>
            <a:off x="8671921" y="3611201"/>
            <a:ext cx="1095091" cy="1095091"/>
          </a:xfrm>
          <a:prstGeom prst="ellipse">
            <a:avLst/>
          </a:prstGeom>
          <a:solidFill>
            <a:srgbClr val="68217A"/>
          </a:solidFill>
          <a:ln w="762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6091" fontAlgn="base">
              <a:spcBef>
                <a:spcPct val="0"/>
              </a:spcBef>
              <a:spcAft>
                <a:spcPct val="0"/>
              </a:spcAft>
            </a:pPr>
            <a:r>
              <a:rPr lang="en-US" sz="2353" b="1" spc="-49" dirty="0">
                <a:solidFill>
                  <a:srgbClr val="FFFFFF"/>
                </a:solidFill>
              </a:rPr>
              <a:t>WAN</a:t>
            </a:r>
          </a:p>
        </p:txBody>
      </p:sp>
      <p:cxnSp>
        <p:nvCxnSpPr>
          <p:cNvPr id="83" name="Straight Arrow Connector 82"/>
          <p:cNvCxnSpPr/>
          <p:nvPr/>
        </p:nvCxnSpPr>
        <p:spPr>
          <a:xfrm flipH="1" flipV="1">
            <a:off x="7894645" y="3185390"/>
            <a:ext cx="740438" cy="525813"/>
          </a:xfrm>
          <a:prstGeom prst="straightConnector1">
            <a:avLst/>
          </a:prstGeom>
          <a:ln w="57150">
            <a:solidFill>
              <a:schemeClr val="bg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7970629" y="4644467"/>
            <a:ext cx="701294" cy="498013"/>
          </a:xfrm>
          <a:prstGeom prst="straightConnector1">
            <a:avLst/>
          </a:prstGeom>
          <a:ln w="57150">
            <a:solidFill>
              <a:schemeClr val="bg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a:off x="7626093" y="4208704"/>
            <a:ext cx="876193" cy="0"/>
          </a:xfrm>
          <a:prstGeom prst="straightConnector1">
            <a:avLst/>
          </a:prstGeom>
          <a:ln w="57150">
            <a:solidFill>
              <a:schemeClr val="bg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87" name="Freeform 5"/>
          <p:cNvSpPr>
            <a:spLocks/>
          </p:cNvSpPr>
          <p:nvPr/>
        </p:nvSpPr>
        <p:spPr bwMode="auto">
          <a:xfrm>
            <a:off x="10226889" y="2274538"/>
            <a:ext cx="1395671" cy="858761"/>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a:extLst/>
        </p:spPr>
        <p:txBody>
          <a:bodyPr vert="horz" wrap="square" lIns="89630" tIns="44814" rIns="89630" bIns="44814" numCol="1" anchor="ctr" anchorCtr="0" compatLnSpc="1">
            <a:prstTxWarp prst="textNoShape">
              <a:avLst/>
            </a:prstTxWarp>
          </a:bodyPr>
          <a:lstStyle/>
          <a:p>
            <a:pPr algn="ctr" defTabSz="914367">
              <a:lnSpc>
                <a:spcPts val="1765"/>
              </a:lnSpc>
            </a:pPr>
            <a:r>
              <a:rPr lang="en-US" sz="1765" dirty="0">
                <a:solidFill>
                  <a:srgbClr val="68217A"/>
                </a:solidFill>
              </a:rPr>
              <a:t>Azure</a:t>
            </a:r>
          </a:p>
        </p:txBody>
      </p:sp>
      <p:cxnSp>
        <p:nvCxnSpPr>
          <p:cNvPr id="88" name="Straight Arrow Connector 87"/>
          <p:cNvCxnSpPr/>
          <p:nvPr/>
        </p:nvCxnSpPr>
        <p:spPr>
          <a:xfrm flipV="1">
            <a:off x="9711619" y="3301063"/>
            <a:ext cx="504239" cy="358080"/>
          </a:xfrm>
          <a:prstGeom prst="straightConnector1">
            <a:avLst/>
          </a:prstGeom>
          <a:ln w="57150">
            <a:solidFill>
              <a:schemeClr val="bg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0226888" y="4825309"/>
            <a:ext cx="1417914" cy="14673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defTabSz="896091" fontAlgn="base">
              <a:lnSpc>
                <a:spcPts val="1765"/>
              </a:lnSpc>
              <a:spcBef>
                <a:spcPct val="0"/>
              </a:spcBef>
              <a:spcAft>
                <a:spcPct val="0"/>
              </a:spcAft>
            </a:pPr>
            <a:r>
              <a:rPr lang="en-US" sz="1765" spc="-49" dirty="0">
                <a:solidFill>
                  <a:srgbClr val="68217A"/>
                </a:solidFill>
              </a:rPr>
              <a:t>Public Internet</a:t>
            </a:r>
          </a:p>
        </p:txBody>
      </p:sp>
      <p:cxnSp>
        <p:nvCxnSpPr>
          <p:cNvPr id="123" name="Straight Arrow Connector 122"/>
          <p:cNvCxnSpPr/>
          <p:nvPr/>
        </p:nvCxnSpPr>
        <p:spPr>
          <a:xfrm>
            <a:off x="5068151" y="3238103"/>
            <a:ext cx="1" cy="1434280"/>
          </a:xfrm>
          <a:prstGeom prst="straightConnector1">
            <a:avLst/>
          </a:prstGeom>
          <a:ln w="57150">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 Placeholder 1"/>
          <p:cNvSpPr>
            <a:spLocks noGrp="1"/>
          </p:cNvSpPr>
          <p:nvPr>
            <p:ph type="body" sz="quarter" idx="12"/>
          </p:nvPr>
        </p:nvSpPr>
        <p:spPr/>
        <p:txBody>
          <a:bodyPr/>
          <a:lstStyle/>
          <a:p>
            <a:r>
              <a:rPr lang="en-US" dirty="0" smtClean="0"/>
              <a:t>Hybrid networking</a:t>
            </a:r>
            <a:endParaRPr lang="en-US" dirty="0"/>
          </a:p>
        </p:txBody>
      </p:sp>
      <p:sp>
        <p:nvSpPr>
          <p:cNvPr id="4" name="Text Placeholder 3"/>
          <p:cNvSpPr>
            <a:spLocks noGrp="1"/>
          </p:cNvSpPr>
          <p:nvPr>
            <p:ph type="body" sz="quarter" idx="13"/>
          </p:nvPr>
        </p:nvSpPr>
        <p:spPr/>
        <p:txBody>
          <a:bodyPr/>
          <a:lstStyle/>
          <a:p>
            <a:r>
              <a:rPr lang="en-US" dirty="0" smtClean="0"/>
              <a:t>Microsoft Azure Express Route</a:t>
            </a:r>
            <a:endParaRPr lang="en-US" dirty="0"/>
          </a:p>
        </p:txBody>
      </p:sp>
      <p:grpSp>
        <p:nvGrpSpPr>
          <p:cNvPr id="98" name="Group 97"/>
          <p:cNvGrpSpPr/>
          <p:nvPr/>
        </p:nvGrpSpPr>
        <p:grpSpPr>
          <a:xfrm>
            <a:off x="5659435" y="3439004"/>
            <a:ext cx="829470" cy="832842"/>
            <a:chOff x="5476876" y="3667021"/>
            <a:chExt cx="568324" cy="570634"/>
          </a:xfrm>
        </p:grpSpPr>
        <p:sp>
          <p:nvSpPr>
            <p:cNvPr id="99" name="Oval 98"/>
            <p:cNvSpPr/>
            <p:nvPr/>
          </p:nvSpPr>
          <p:spPr bwMode="auto">
            <a:xfrm>
              <a:off x="5486604" y="3686477"/>
              <a:ext cx="545289" cy="54528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3963"/>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grpSp>
      <p:cxnSp>
        <p:nvCxnSpPr>
          <p:cNvPr id="101" name="Straight Arrow Connector 100"/>
          <p:cNvCxnSpPr/>
          <p:nvPr/>
        </p:nvCxnSpPr>
        <p:spPr>
          <a:xfrm flipH="1">
            <a:off x="1529421" y="5857691"/>
            <a:ext cx="2617127" cy="0"/>
          </a:xfrm>
          <a:prstGeom prst="straightConnector1">
            <a:avLst/>
          </a:prstGeom>
          <a:ln w="57150">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42824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p:cNvSpPr txBox="1"/>
          <p:nvPr/>
        </p:nvSpPr>
        <p:spPr>
          <a:xfrm>
            <a:off x="269240" y="291515"/>
            <a:ext cx="11653522" cy="6205103"/>
          </a:xfrm>
          <a:prstGeom prst="rect">
            <a:avLst/>
          </a:prstGeom>
          <a:solidFill>
            <a:srgbClr val="F2F2F2"/>
          </a:solidFill>
        </p:spPr>
        <p:txBody>
          <a:bodyPr wrap="square" lIns="179285" tIns="134464" rtlCol="0">
            <a:noAutofit/>
          </a:bodyPr>
          <a:lstStyle/>
          <a:p>
            <a:pPr defTabSz="914102" fontAlgn="base">
              <a:lnSpc>
                <a:spcPct val="90000"/>
              </a:lnSpc>
              <a:spcBef>
                <a:spcPct val="0"/>
              </a:spcBef>
              <a:spcAft>
                <a:spcPct val="0"/>
              </a:spcAft>
            </a:pPr>
            <a:endParaRPr lang="en-US" sz="2745" dirty="0">
              <a:solidFill>
                <a:srgbClr val="0072C6"/>
              </a:solidFill>
              <a:latin typeface="Segoe UI Light"/>
              <a:ea typeface="Segoe UI" pitchFamily="34" charset="0"/>
              <a:cs typeface="Segoe UI Light"/>
            </a:endParaRPr>
          </a:p>
        </p:txBody>
      </p:sp>
      <p:sp>
        <p:nvSpPr>
          <p:cNvPr id="9" name="Rectangle 8"/>
          <p:cNvSpPr/>
          <p:nvPr/>
        </p:nvSpPr>
        <p:spPr bwMode="auto">
          <a:xfrm>
            <a:off x="1670282" y="2133042"/>
            <a:ext cx="8521815" cy="3602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2"/>
          </p:nvPr>
        </p:nvSpPr>
        <p:spPr/>
        <p:txBody>
          <a:bodyPr/>
          <a:lstStyle/>
          <a:p>
            <a:r>
              <a:rPr lang="en-US" dirty="0"/>
              <a:t>H</a:t>
            </a:r>
            <a:r>
              <a:rPr lang="en-US" dirty="0" smtClean="0"/>
              <a:t>ybrid identity</a:t>
            </a:r>
            <a:endParaRPr lang="en-US" dirty="0"/>
          </a:p>
        </p:txBody>
      </p:sp>
      <p:sp>
        <p:nvSpPr>
          <p:cNvPr id="36" name="Text Placeholder 35"/>
          <p:cNvSpPr>
            <a:spLocks noGrp="1"/>
          </p:cNvSpPr>
          <p:nvPr>
            <p:ph type="body" sz="quarter" idx="13"/>
          </p:nvPr>
        </p:nvSpPr>
        <p:spPr/>
        <p:txBody>
          <a:bodyPr/>
          <a:lstStyle/>
          <a:p>
            <a:r>
              <a:rPr lang="en-US" dirty="0" smtClean="0"/>
              <a:t>Access across clouds</a:t>
            </a:r>
            <a:endParaRPr lang="en-US" dirty="0"/>
          </a:p>
        </p:txBody>
      </p:sp>
      <p:grpSp>
        <p:nvGrpSpPr>
          <p:cNvPr id="5" name="Group 4"/>
          <p:cNvGrpSpPr/>
          <p:nvPr/>
        </p:nvGrpSpPr>
        <p:grpSpPr>
          <a:xfrm>
            <a:off x="814210" y="1780138"/>
            <a:ext cx="10563581" cy="4762041"/>
            <a:chOff x="902156" y="2023185"/>
            <a:chExt cx="10405607" cy="4690829"/>
          </a:xfrm>
        </p:grpSpPr>
        <p:sp>
          <p:nvSpPr>
            <p:cNvPr id="95" name="TextBox 94"/>
            <p:cNvSpPr txBox="1"/>
            <p:nvPr/>
          </p:nvSpPr>
          <p:spPr>
            <a:xfrm>
              <a:off x="4189877" y="2023185"/>
              <a:ext cx="3564050" cy="385948"/>
            </a:xfrm>
            <a:prstGeom prst="rect">
              <a:avLst/>
            </a:prstGeom>
            <a:noFill/>
          </p:spPr>
          <p:txBody>
            <a:bodyPr wrap="square" lIns="0" rIns="0" rtlCol="0">
              <a:noAutofit/>
            </a:bodyPr>
            <a:lstStyle/>
            <a:p>
              <a:pPr algn="ctr" defTabSz="914367"/>
              <a:r>
                <a:rPr lang="en-US" sz="2353" dirty="0">
                  <a:solidFill>
                    <a:srgbClr val="505050"/>
                  </a:solidFill>
                </a:rPr>
                <a:t>Microsoft Azure</a:t>
              </a:r>
            </a:p>
          </p:txBody>
        </p:sp>
        <p:sp>
          <p:nvSpPr>
            <p:cNvPr id="123" name="TextBox 122"/>
            <p:cNvSpPr txBox="1"/>
            <p:nvPr/>
          </p:nvSpPr>
          <p:spPr>
            <a:xfrm>
              <a:off x="4600303" y="2370811"/>
              <a:ext cx="2743201" cy="439210"/>
            </a:xfrm>
            <a:prstGeom prst="rect">
              <a:avLst/>
            </a:prstGeom>
            <a:noFill/>
          </p:spPr>
          <p:txBody>
            <a:bodyPr wrap="square" rtlCol="0">
              <a:noAutofit/>
            </a:bodyPr>
            <a:lstStyle/>
            <a:p>
              <a:pPr algn="ctr" defTabSz="914367"/>
              <a:r>
                <a:rPr lang="en-US" sz="1961" dirty="0">
                  <a:solidFill>
                    <a:srgbClr val="505050"/>
                  </a:solidFill>
                </a:rPr>
                <a:t>Active Directory</a:t>
              </a:r>
            </a:p>
          </p:txBody>
        </p:sp>
        <p:sp>
          <p:nvSpPr>
            <p:cNvPr id="46" name="TextBox 45"/>
            <p:cNvSpPr txBox="1"/>
            <p:nvPr/>
          </p:nvSpPr>
          <p:spPr>
            <a:xfrm>
              <a:off x="4418449" y="4667315"/>
              <a:ext cx="3011039" cy="385948"/>
            </a:xfrm>
            <a:prstGeom prst="rect">
              <a:avLst/>
            </a:prstGeom>
            <a:noFill/>
          </p:spPr>
          <p:txBody>
            <a:bodyPr wrap="square" lIns="0" rIns="0" rtlCol="0">
              <a:noAutofit/>
            </a:bodyPr>
            <a:lstStyle/>
            <a:p>
              <a:pPr algn="ctr" defTabSz="914367"/>
              <a:r>
                <a:rPr lang="en-US" sz="1961" dirty="0">
                  <a:solidFill>
                    <a:srgbClr val="FFFFFF"/>
                  </a:solidFill>
                </a:rPr>
                <a:t> </a:t>
              </a:r>
              <a:r>
                <a:rPr lang="en-US" sz="2353" dirty="0">
                  <a:solidFill>
                    <a:srgbClr val="505050"/>
                  </a:solidFill>
                </a:rPr>
                <a:t>Microsoft Azure</a:t>
              </a:r>
            </a:p>
          </p:txBody>
        </p:sp>
        <p:sp>
          <p:nvSpPr>
            <p:cNvPr id="78" name="Freeform 5"/>
            <p:cNvSpPr>
              <a:spLocks noChangeAspect="1"/>
            </p:cNvSpPr>
            <p:nvPr/>
          </p:nvSpPr>
          <p:spPr bwMode="auto">
            <a:xfrm>
              <a:off x="5115276" y="3458660"/>
              <a:ext cx="1785830" cy="1159920"/>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defTabSz="914367"/>
              <a:endParaRPr lang="en-US" sz="1961" dirty="0">
                <a:solidFill>
                  <a:srgbClr val="FFFFFF"/>
                </a:solidFill>
              </a:endParaRPr>
            </a:p>
          </p:txBody>
        </p:sp>
        <p:sp>
          <p:nvSpPr>
            <p:cNvPr id="79" name="Freeform 5"/>
            <p:cNvSpPr>
              <a:spLocks noChangeAspect="1"/>
            </p:cNvSpPr>
            <p:nvPr/>
          </p:nvSpPr>
          <p:spPr bwMode="auto">
            <a:xfrm>
              <a:off x="9424239" y="3436492"/>
              <a:ext cx="1785830" cy="1159920"/>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defTabSz="914367"/>
              <a:endParaRPr lang="en-US" sz="1961" dirty="0">
                <a:solidFill>
                  <a:srgbClr val="FFFFFF"/>
                </a:solidFill>
              </a:endParaRPr>
            </a:p>
          </p:txBody>
        </p:sp>
        <p:sp>
          <p:nvSpPr>
            <p:cNvPr id="94" name="TextBox 93"/>
            <p:cNvSpPr txBox="1"/>
            <p:nvPr/>
          </p:nvSpPr>
          <p:spPr>
            <a:xfrm>
              <a:off x="9352893" y="4660388"/>
              <a:ext cx="1954870" cy="385948"/>
            </a:xfrm>
            <a:prstGeom prst="rect">
              <a:avLst/>
            </a:prstGeom>
            <a:noFill/>
          </p:spPr>
          <p:txBody>
            <a:bodyPr wrap="square" rtlCol="0">
              <a:noAutofit/>
            </a:bodyPr>
            <a:lstStyle/>
            <a:p>
              <a:pPr algn="ctr" defTabSz="914367"/>
              <a:r>
                <a:rPr lang="en-US" sz="1961" dirty="0">
                  <a:solidFill>
                    <a:srgbClr val="505050"/>
                  </a:solidFill>
                </a:rPr>
                <a:t>Service provider</a:t>
              </a:r>
            </a:p>
          </p:txBody>
        </p:sp>
        <p:sp>
          <p:nvSpPr>
            <p:cNvPr id="45" name="TextBox 44"/>
            <p:cNvSpPr txBox="1"/>
            <p:nvPr/>
          </p:nvSpPr>
          <p:spPr>
            <a:xfrm>
              <a:off x="902156" y="4667315"/>
              <a:ext cx="1745355" cy="385948"/>
            </a:xfrm>
            <a:prstGeom prst="rect">
              <a:avLst/>
            </a:prstGeom>
            <a:noFill/>
          </p:spPr>
          <p:txBody>
            <a:bodyPr wrap="square" rtlCol="0">
              <a:noAutofit/>
            </a:bodyPr>
            <a:lstStyle/>
            <a:p>
              <a:pPr algn="ctr" defTabSz="914367"/>
              <a:r>
                <a:rPr lang="en-US" sz="1961" dirty="0">
                  <a:solidFill>
                    <a:srgbClr val="505050"/>
                  </a:solidFill>
                </a:rPr>
                <a:t>On-premises</a:t>
              </a:r>
            </a:p>
            <a:p>
              <a:pPr algn="ctr" defTabSz="914367"/>
              <a:r>
                <a:rPr lang="en-US" sz="1961" dirty="0">
                  <a:solidFill>
                    <a:srgbClr val="505050"/>
                  </a:solidFill>
                </a:rPr>
                <a:t>infrastructure</a:t>
              </a:r>
            </a:p>
          </p:txBody>
        </p:sp>
        <p:grpSp>
          <p:nvGrpSpPr>
            <p:cNvPr id="38" name="Group 37"/>
            <p:cNvGrpSpPr/>
            <p:nvPr/>
          </p:nvGrpSpPr>
          <p:grpSpPr>
            <a:xfrm>
              <a:off x="1327410" y="3162829"/>
              <a:ext cx="1320101" cy="1384765"/>
              <a:chOff x="775399" y="3416290"/>
              <a:chExt cx="1651593" cy="1732495"/>
            </a:xfrm>
            <a:solidFill>
              <a:srgbClr val="0072C6"/>
            </a:solidFill>
          </p:grpSpPr>
          <p:sp>
            <p:nvSpPr>
              <p:cNvPr id="39" name="Freeform 9"/>
              <p:cNvSpPr>
                <a:spLocks noEditPoints="1"/>
              </p:cNvSpPr>
              <p:nvPr/>
            </p:nvSpPr>
            <p:spPr bwMode="auto">
              <a:xfrm>
                <a:off x="775399" y="4396975"/>
                <a:ext cx="610545" cy="751810"/>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sz="1961" dirty="0">
                  <a:solidFill>
                    <a:srgbClr val="000000"/>
                  </a:solidFill>
                </a:endParaRPr>
              </a:p>
            </p:txBody>
          </p:sp>
          <p:sp>
            <p:nvSpPr>
              <p:cNvPr id="40" name="Freeform 10"/>
              <p:cNvSpPr>
                <a:spLocks noEditPoints="1"/>
              </p:cNvSpPr>
              <p:nvPr/>
            </p:nvSpPr>
            <p:spPr bwMode="auto">
              <a:xfrm>
                <a:off x="1139043" y="3847842"/>
                <a:ext cx="610545" cy="1300943"/>
              </a:xfrm>
              <a:custGeom>
                <a:avLst/>
                <a:gdLst>
                  <a:gd name="T0" fmla="*/ 0 w 2913"/>
                  <a:gd name="T1" fmla="*/ 0 h 6207"/>
                  <a:gd name="T2" fmla="*/ 0 w 2913"/>
                  <a:gd name="T3" fmla="*/ 2424 h 6207"/>
                  <a:gd name="T4" fmla="*/ 289 w 2913"/>
                  <a:gd name="T5" fmla="*/ 2424 h 6207"/>
                  <a:gd name="T6" fmla="*/ 289 w 2913"/>
                  <a:gd name="T7" fmla="*/ 2244 h 6207"/>
                  <a:gd name="T8" fmla="*/ 2641 w 2913"/>
                  <a:gd name="T9" fmla="*/ 2244 h 6207"/>
                  <a:gd name="T10" fmla="*/ 2641 w 2913"/>
                  <a:gd name="T11" fmla="*/ 2622 h 6207"/>
                  <a:gd name="T12" fmla="*/ 1457 w 2913"/>
                  <a:gd name="T13" fmla="*/ 2622 h 6207"/>
                  <a:gd name="T14" fmla="*/ 1457 w 2913"/>
                  <a:gd name="T15" fmla="*/ 2899 h 6207"/>
                  <a:gd name="T16" fmla="*/ 2641 w 2913"/>
                  <a:gd name="T17" fmla="*/ 2899 h 6207"/>
                  <a:gd name="T18" fmla="*/ 2641 w 2913"/>
                  <a:gd name="T19" fmla="*/ 3275 h 6207"/>
                  <a:gd name="T20" fmla="*/ 1457 w 2913"/>
                  <a:gd name="T21" fmla="*/ 3275 h 6207"/>
                  <a:gd name="T22" fmla="*/ 1457 w 2913"/>
                  <a:gd name="T23" fmla="*/ 3552 h 6207"/>
                  <a:gd name="T24" fmla="*/ 2641 w 2913"/>
                  <a:gd name="T25" fmla="*/ 3552 h 6207"/>
                  <a:gd name="T26" fmla="*/ 2641 w 2913"/>
                  <a:gd name="T27" fmla="*/ 3930 h 6207"/>
                  <a:gd name="T28" fmla="*/ 1457 w 2913"/>
                  <a:gd name="T29" fmla="*/ 3930 h 6207"/>
                  <a:gd name="T30" fmla="*/ 1457 w 2913"/>
                  <a:gd name="T31" fmla="*/ 4206 h 6207"/>
                  <a:gd name="T32" fmla="*/ 2641 w 2913"/>
                  <a:gd name="T33" fmla="*/ 4206 h 6207"/>
                  <a:gd name="T34" fmla="*/ 2641 w 2913"/>
                  <a:gd name="T35" fmla="*/ 4582 h 6207"/>
                  <a:gd name="T36" fmla="*/ 1457 w 2913"/>
                  <a:gd name="T37" fmla="*/ 4582 h 6207"/>
                  <a:gd name="T38" fmla="*/ 1457 w 2913"/>
                  <a:gd name="T39" fmla="*/ 4859 h 6207"/>
                  <a:gd name="T40" fmla="*/ 2641 w 2913"/>
                  <a:gd name="T41" fmla="*/ 4859 h 6207"/>
                  <a:gd name="T42" fmla="*/ 2641 w 2913"/>
                  <a:gd name="T43" fmla="*/ 5237 h 6207"/>
                  <a:gd name="T44" fmla="*/ 1457 w 2913"/>
                  <a:gd name="T45" fmla="*/ 5237 h 6207"/>
                  <a:gd name="T46" fmla="*/ 1457 w 2913"/>
                  <a:gd name="T47" fmla="*/ 6207 h 6207"/>
                  <a:gd name="T48" fmla="*/ 1603 w 2913"/>
                  <a:gd name="T49" fmla="*/ 6207 h 6207"/>
                  <a:gd name="T50" fmla="*/ 1603 w 2913"/>
                  <a:gd name="T51" fmla="*/ 5471 h 6207"/>
                  <a:gd name="T52" fmla="*/ 1982 w 2913"/>
                  <a:gd name="T53" fmla="*/ 5471 h 6207"/>
                  <a:gd name="T54" fmla="*/ 1982 w 2913"/>
                  <a:gd name="T55" fmla="*/ 6207 h 6207"/>
                  <a:gd name="T56" fmla="*/ 2913 w 2913"/>
                  <a:gd name="T57" fmla="*/ 6207 h 6207"/>
                  <a:gd name="T58" fmla="*/ 2913 w 2913"/>
                  <a:gd name="T59" fmla="*/ 0 h 6207"/>
                  <a:gd name="T60" fmla="*/ 0 w 2913"/>
                  <a:gd name="T61" fmla="*/ 0 h 6207"/>
                  <a:gd name="T62" fmla="*/ 2641 w 2913"/>
                  <a:gd name="T63" fmla="*/ 1968 h 6207"/>
                  <a:gd name="T64" fmla="*/ 289 w 2913"/>
                  <a:gd name="T65" fmla="*/ 1968 h 6207"/>
                  <a:gd name="T66" fmla="*/ 289 w 2913"/>
                  <a:gd name="T67" fmla="*/ 1592 h 6207"/>
                  <a:gd name="T68" fmla="*/ 2641 w 2913"/>
                  <a:gd name="T69" fmla="*/ 1592 h 6207"/>
                  <a:gd name="T70" fmla="*/ 2641 w 2913"/>
                  <a:gd name="T71" fmla="*/ 1968 h 6207"/>
                  <a:gd name="T72" fmla="*/ 2641 w 2913"/>
                  <a:gd name="T73" fmla="*/ 1320 h 6207"/>
                  <a:gd name="T74" fmla="*/ 289 w 2913"/>
                  <a:gd name="T75" fmla="*/ 1320 h 6207"/>
                  <a:gd name="T76" fmla="*/ 289 w 2913"/>
                  <a:gd name="T77" fmla="*/ 944 h 6207"/>
                  <a:gd name="T78" fmla="*/ 2641 w 2913"/>
                  <a:gd name="T79" fmla="*/ 944 h 6207"/>
                  <a:gd name="T80" fmla="*/ 2641 w 2913"/>
                  <a:gd name="T81" fmla="*/ 1320 h 6207"/>
                  <a:gd name="T82" fmla="*/ 2641 w 2913"/>
                  <a:gd name="T83" fmla="*/ 667 h 6207"/>
                  <a:gd name="T84" fmla="*/ 289 w 2913"/>
                  <a:gd name="T85" fmla="*/ 667 h 6207"/>
                  <a:gd name="T86" fmla="*/ 289 w 2913"/>
                  <a:gd name="T87" fmla="*/ 289 h 6207"/>
                  <a:gd name="T88" fmla="*/ 2641 w 2913"/>
                  <a:gd name="T89" fmla="*/ 289 h 6207"/>
                  <a:gd name="T90" fmla="*/ 2641 w 2913"/>
                  <a:gd name="T91" fmla="*/ 667 h 6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3" h="6207">
                    <a:moveTo>
                      <a:pt x="0" y="0"/>
                    </a:moveTo>
                    <a:lnTo>
                      <a:pt x="0" y="2424"/>
                    </a:lnTo>
                    <a:lnTo>
                      <a:pt x="289" y="2424"/>
                    </a:lnTo>
                    <a:lnTo>
                      <a:pt x="289" y="2244"/>
                    </a:lnTo>
                    <a:lnTo>
                      <a:pt x="2641" y="2244"/>
                    </a:lnTo>
                    <a:lnTo>
                      <a:pt x="2641" y="2622"/>
                    </a:lnTo>
                    <a:lnTo>
                      <a:pt x="1457" y="2622"/>
                    </a:lnTo>
                    <a:lnTo>
                      <a:pt x="1457" y="2899"/>
                    </a:lnTo>
                    <a:lnTo>
                      <a:pt x="2641" y="2899"/>
                    </a:lnTo>
                    <a:lnTo>
                      <a:pt x="2641" y="3275"/>
                    </a:lnTo>
                    <a:lnTo>
                      <a:pt x="1457" y="3275"/>
                    </a:lnTo>
                    <a:lnTo>
                      <a:pt x="1457" y="3552"/>
                    </a:lnTo>
                    <a:lnTo>
                      <a:pt x="2641" y="3552"/>
                    </a:lnTo>
                    <a:lnTo>
                      <a:pt x="2641" y="3930"/>
                    </a:lnTo>
                    <a:lnTo>
                      <a:pt x="1457" y="3930"/>
                    </a:lnTo>
                    <a:lnTo>
                      <a:pt x="1457" y="4206"/>
                    </a:lnTo>
                    <a:lnTo>
                      <a:pt x="2641" y="4206"/>
                    </a:lnTo>
                    <a:lnTo>
                      <a:pt x="2641" y="4582"/>
                    </a:lnTo>
                    <a:lnTo>
                      <a:pt x="1457" y="4582"/>
                    </a:lnTo>
                    <a:lnTo>
                      <a:pt x="1457" y="4859"/>
                    </a:lnTo>
                    <a:lnTo>
                      <a:pt x="2641" y="4859"/>
                    </a:lnTo>
                    <a:lnTo>
                      <a:pt x="2641" y="5237"/>
                    </a:lnTo>
                    <a:lnTo>
                      <a:pt x="1457" y="5237"/>
                    </a:lnTo>
                    <a:lnTo>
                      <a:pt x="1457" y="6207"/>
                    </a:lnTo>
                    <a:lnTo>
                      <a:pt x="1603" y="6207"/>
                    </a:lnTo>
                    <a:lnTo>
                      <a:pt x="1603" y="5471"/>
                    </a:lnTo>
                    <a:lnTo>
                      <a:pt x="1982" y="5471"/>
                    </a:lnTo>
                    <a:lnTo>
                      <a:pt x="1982" y="6207"/>
                    </a:lnTo>
                    <a:lnTo>
                      <a:pt x="2913" y="6207"/>
                    </a:lnTo>
                    <a:lnTo>
                      <a:pt x="2913" y="0"/>
                    </a:lnTo>
                    <a:lnTo>
                      <a:pt x="0" y="0"/>
                    </a:lnTo>
                    <a:close/>
                    <a:moveTo>
                      <a:pt x="2641" y="1968"/>
                    </a:moveTo>
                    <a:lnTo>
                      <a:pt x="289" y="1968"/>
                    </a:lnTo>
                    <a:lnTo>
                      <a:pt x="289" y="1592"/>
                    </a:lnTo>
                    <a:lnTo>
                      <a:pt x="2641" y="1592"/>
                    </a:lnTo>
                    <a:lnTo>
                      <a:pt x="2641" y="1968"/>
                    </a:lnTo>
                    <a:close/>
                    <a:moveTo>
                      <a:pt x="2641" y="1320"/>
                    </a:moveTo>
                    <a:lnTo>
                      <a:pt x="289" y="1320"/>
                    </a:lnTo>
                    <a:lnTo>
                      <a:pt x="289" y="944"/>
                    </a:lnTo>
                    <a:lnTo>
                      <a:pt x="2641" y="944"/>
                    </a:lnTo>
                    <a:lnTo>
                      <a:pt x="2641" y="1320"/>
                    </a:lnTo>
                    <a:close/>
                    <a:moveTo>
                      <a:pt x="2641" y="667"/>
                    </a:moveTo>
                    <a:lnTo>
                      <a:pt x="289" y="667"/>
                    </a:lnTo>
                    <a:lnTo>
                      <a:pt x="289" y="289"/>
                    </a:lnTo>
                    <a:lnTo>
                      <a:pt x="2641" y="289"/>
                    </a:lnTo>
                    <a:lnTo>
                      <a:pt x="2641" y="6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sz="1961" dirty="0">
                  <a:solidFill>
                    <a:srgbClr val="000000"/>
                  </a:solidFill>
                </a:endParaRPr>
              </a:p>
            </p:txBody>
          </p:sp>
          <p:sp>
            <p:nvSpPr>
              <p:cNvPr id="41" name="Freeform 11"/>
              <p:cNvSpPr>
                <a:spLocks/>
              </p:cNvSpPr>
              <p:nvPr/>
            </p:nvSpPr>
            <p:spPr bwMode="auto">
              <a:xfrm>
                <a:off x="1480470" y="3416290"/>
                <a:ext cx="946522" cy="636743"/>
              </a:xfrm>
              <a:custGeom>
                <a:avLst/>
                <a:gdLst>
                  <a:gd name="T0" fmla="*/ 1716 w 1910"/>
                  <a:gd name="T1" fmla="*/ 506 h 1285"/>
                  <a:gd name="T2" fmla="*/ 1577 w 1910"/>
                  <a:gd name="T3" fmla="*/ 253 h 1285"/>
                  <a:gd name="T4" fmla="*/ 1403 w 1910"/>
                  <a:gd name="T5" fmla="*/ 201 h 1285"/>
                  <a:gd name="T6" fmla="*/ 1256 w 1910"/>
                  <a:gd name="T7" fmla="*/ 241 h 1285"/>
                  <a:gd name="T8" fmla="*/ 807 w 1910"/>
                  <a:gd name="T9" fmla="*/ 0 h 1285"/>
                  <a:gd name="T10" fmla="*/ 268 w 1910"/>
                  <a:gd name="T11" fmla="*/ 539 h 1285"/>
                  <a:gd name="T12" fmla="*/ 268 w 1910"/>
                  <a:gd name="T13" fmla="*/ 564 h 1285"/>
                  <a:gd name="T14" fmla="*/ 0 w 1910"/>
                  <a:gd name="T15" fmla="*/ 750 h 1285"/>
                  <a:gd name="T16" fmla="*/ 666 w 1910"/>
                  <a:gd name="T17" fmla="*/ 750 h 1285"/>
                  <a:gd name="T18" fmla="*/ 666 w 1910"/>
                  <a:gd name="T19" fmla="*/ 1285 h 1285"/>
                  <a:gd name="T20" fmla="*/ 1443 w 1910"/>
                  <a:gd name="T21" fmla="*/ 1285 h 1285"/>
                  <a:gd name="T22" fmla="*/ 1486 w 1910"/>
                  <a:gd name="T23" fmla="*/ 1285 h 1285"/>
                  <a:gd name="T24" fmla="*/ 1532 w 1910"/>
                  <a:gd name="T25" fmla="*/ 1285 h 1285"/>
                  <a:gd name="T26" fmla="*/ 1910 w 1910"/>
                  <a:gd name="T27" fmla="*/ 862 h 1285"/>
                  <a:gd name="T28" fmla="*/ 1716 w 1910"/>
                  <a:gd name="T29" fmla="*/ 506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0" h="1285">
                    <a:moveTo>
                      <a:pt x="1716" y="506"/>
                    </a:moveTo>
                    <a:cubicBezTo>
                      <a:pt x="1713" y="401"/>
                      <a:pt x="1659" y="308"/>
                      <a:pt x="1577" y="253"/>
                    </a:cubicBezTo>
                    <a:cubicBezTo>
                      <a:pt x="1528" y="220"/>
                      <a:pt x="1468" y="201"/>
                      <a:pt x="1403" y="201"/>
                    </a:cubicBezTo>
                    <a:cubicBezTo>
                      <a:pt x="1349" y="201"/>
                      <a:pt x="1299" y="216"/>
                      <a:pt x="1256" y="241"/>
                    </a:cubicBezTo>
                    <a:cubicBezTo>
                      <a:pt x="1159" y="97"/>
                      <a:pt x="994" y="0"/>
                      <a:pt x="807" y="0"/>
                    </a:cubicBezTo>
                    <a:cubicBezTo>
                      <a:pt x="509" y="0"/>
                      <a:pt x="268" y="241"/>
                      <a:pt x="268" y="539"/>
                    </a:cubicBezTo>
                    <a:cubicBezTo>
                      <a:pt x="268" y="546"/>
                      <a:pt x="268" y="556"/>
                      <a:pt x="268" y="564"/>
                    </a:cubicBezTo>
                    <a:cubicBezTo>
                      <a:pt x="152" y="580"/>
                      <a:pt x="54" y="651"/>
                      <a:pt x="0" y="750"/>
                    </a:cubicBezTo>
                    <a:cubicBezTo>
                      <a:pt x="666" y="750"/>
                      <a:pt x="666" y="750"/>
                      <a:pt x="666" y="750"/>
                    </a:cubicBezTo>
                    <a:cubicBezTo>
                      <a:pt x="666" y="1285"/>
                      <a:pt x="666" y="1285"/>
                      <a:pt x="666" y="1285"/>
                    </a:cubicBezTo>
                    <a:cubicBezTo>
                      <a:pt x="905" y="1285"/>
                      <a:pt x="1272" y="1285"/>
                      <a:pt x="1443" y="1285"/>
                    </a:cubicBezTo>
                    <a:cubicBezTo>
                      <a:pt x="1457" y="1285"/>
                      <a:pt x="1471" y="1285"/>
                      <a:pt x="1486" y="1285"/>
                    </a:cubicBezTo>
                    <a:cubicBezTo>
                      <a:pt x="1500" y="1285"/>
                      <a:pt x="1518" y="1285"/>
                      <a:pt x="1532" y="1285"/>
                    </a:cubicBezTo>
                    <a:cubicBezTo>
                      <a:pt x="1744" y="1260"/>
                      <a:pt x="1910" y="1081"/>
                      <a:pt x="1910" y="862"/>
                    </a:cubicBezTo>
                    <a:cubicBezTo>
                      <a:pt x="1910" y="714"/>
                      <a:pt x="1831" y="582"/>
                      <a:pt x="1716" y="5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314">
                  <a:defRPr/>
                </a:pPr>
                <a:endParaRPr lang="en-US" sz="1961" dirty="0">
                  <a:solidFill>
                    <a:srgbClr val="000000"/>
                  </a:solidFill>
                </a:endParaRPr>
              </a:p>
            </p:txBody>
          </p:sp>
        </p:grpSp>
        <p:cxnSp>
          <p:nvCxnSpPr>
            <p:cNvPr id="44" name="Straight Connector 43"/>
            <p:cNvCxnSpPr/>
            <p:nvPr/>
          </p:nvCxnSpPr>
          <p:spPr>
            <a:xfrm flipV="1">
              <a:off x="5971903" y="2836192"/>
              <a:ext cx="0" cy="487986"/>
            </a:xfrm>
            <a:prstGeom prst="line">
              <a:avLst/>
            </a:prstGeom>
            <a:ln w="50800">
              <a:solidFill>
                <a:srgbClr val="9B4F96"/>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935613" y="5164470"/>
              <a:ext cx="0" cy="509154"/>
            </a:xfrm>
            <a:prstGeom prst="line">
              <a:avLst/>
            </a:prstGeom>
            <a:ln w="50800">
              <a:solidFill>
                <a:srgbClr val="9B4F96"/>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V="1">
              <a:off x="1769618" y="2358550"/>
              <a:ext cx="0" cy="594411"/>
            </a:xfrm>
            <a:prstGeom prst="line">
              <a:avLst/>
            </a:prstGeom>
            <a:ln w="76200">
              <a:solidFill>
                <a:srgbClr val="9B4F96"/>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10127704" y="2358550"/>
              <a:ext cx="0" cy="594411"/>
            </a:xfrm>
            <a:prstGeom prst="line">
              <a:avLst/>
            </a:prstGeom>
            <a:ln w="76200">
              <a:solidFill>
                <a:srgbClr val="9B4F96"/>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769618" y="5358008"/>
              <a:ext cx="8358086" cy="561109"/>
              <a:chOff x="1769618" y="5257800"/>
              <a:chExt cx="8358086" cy="706051"/>
            </a:xfrm>
          </p:grpSpPr>
          <p:cxnSp>
            <p:nvCxnSpPr>
              <p:cNvPr id="58" name="Straight Connector 57"/>
              <p:cNvCxnSpPr/>
              <p:nvPr/>
            </p:nvCxnSpPr>
            <p:spPr>
              <a:xfrm>
                <a:off x="1769618" y="5257800"/>
                <a:ext cx="0" cy="706051"/>
              </a:xfrm>
              <a:prstGeom prst="line">
                <a:avLst/>
              </a:prstGeom>
              <a:ln w="76200">
                <a:solidFill>
                  <a:srgbClr val="9B4F96"/>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0127704" y="5257800"/>
                <a:ext cx="0" cy="706051"/>
              </a:xfrm>
              <a:prstGeom prst="line">
                <a:avLst/>
              </a:prstGeom>
              <a:ln w="76200">
                <a:solidFill>
                  <a:srgbClr val="9B4F96"/>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61" name="Straight Connector 60"/>
            <p:cNvCxnSpPr/>
            <p:nvPr/>
          </p:nvCxnSpPr>
          <p:spPr>
            <a:xfrm flipH="1">
              <a:off x="1730004" y="2346454"/>
              <a:ext cx="2899071" cy="0"/>
            </a:xfrm>
            <a:prstGeom prst="line">
              <a:avLst/>
            </a:prstGeom>
            <a:ln w="76200">
              <a:solidFill>
                <a:srgbClr val="9B4F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7266192" y="2346454"/>
              <a:ext cx="2896303" cy="0"/>
            </a:xfrm>
            <a:prstGeom prst="line">
              <a:avLst/>
            </a:prstGeom>
            <a:ln w="76200">
              <a:solidFill>
                <a:srgbClr val="9B4F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4363114" y="5771620"/>
              <a:ext cx="3145000" cy="661237"/>
            </a:xfrm>
            <a:prstGeom prst="rect">
              <a:avLst/>
            </a:prstGeom>
            <a:noFill/>
          </p:spPr>
          <p:txBody>
            <a:bodyPr wrap="square" lIns="0" rIns="0" rtlCol="0">
              <a:noAutofit/>
            </a:bodyPr>
            <a:lstStyle/>
            <a:p>
              <a:pPr algn="ctr" defTabSz="914367"/>
              <a:r>
                <a:rPr lang="en-US" sz="2353" dirty="0">
                  <a:solidFill>
                    <a:srgbClr val="505050"/>
                  </a:solidFill>
                </a:rPr>
                <a:t>Windows Server</a:t>
              </a:r>
            </a:p>
          </p:txBody>
        </p:sp>
        <p:sp>
          <p:nvSpPr>
            <p:cNvPr id="49" name="TextBox 48"/>
            <p:cNvSpPr txBox="1"/>
            <p:nvPr/>
          </p:nvSpPr>
          <p:spPr>
            <a:xfrm>
              <a:off x="3897412" y="6136499"/>
              <a:ext cx="4077305" cy="577515"/>
            </a:xfrm>
            <a:prstGeom prst="rect">
              <a:avLst/>
            </a:prstGeom>
            <a:noFill/>
          </p:spPr>
          <p:txBody>
            <a:bodyPr wrap="square" rtlCol="0">
              <a:noAutofit/>
            </a:bodyPr>
            <a:lstStyle/>
            <a:p>
              <a:pPr algn="ctr" defTabSz="914367"/>
              <a:r>
                <a:rPr lang="en-US" sz="1961" dirty="0">
                  <a:solidFill>
                    <a:srgbClr val="505050"/>
                  </a:solidFill>
                </a:rPr>
                <a:t>Active Directory</a:t>
              </a:r>
            </a:p>
          </p:txBody>
        </p:sp>
        <p:cxnSp>
          <p:nvCxnSpPr>
            <p:cNvPr id="43" name="Straight Connector 42"/>
            <p:cNvCxnSpPr/>
            <p:nvPr/>
          </p:nvCxnSpPr>
          <p:spPr>
            <a:xfrm flipH="1">
              <a:off x="1730004" y="5919117"/>
              <a:ext cx="2899071" cy="0"/>
            </a:xfrm>
            <a:prstGeom prst="line">
              <a:avLst/>
            </a:prstGeom>
            <a:ln w="76200">
              <a:solidFill>
                <a:srgbClr val="9B4F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7266192" y="5919117"/>
              <a:ext cx="2896303" cy="0"/>
            </a:xfrm>
            <a:prstGeom prst="line">
              <a:avLst/>
            </a:prstGeom>
            <a:ln w="76200">
              <a:solidFill>
                <a:srgbClr val="9B4F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98574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9213419" y="2092153"/>
            <a:ext cx="2241062" cy="2237945"/>
            <a:chOff x="8489182" y="2139438"/>
            <a:chExt cx="2746161" cy="2733425"/>
          </a:xfrm>
        </p:grpSpPr>
        <p:sp>
          <p:nvSpPr>
            <p:cNvPr id="23" name="Rectangle 22"/>
            <p:cNvSpPr>
              <a:spLocks/>
            </p:cNvSpPr>
            <p:nvPr/>
          </p:nvSpPr>
          <p:spPr bwMode="auto">
            <a:xfrm>
              <a:off x="8489182" y="2139438"/>
              <a:ext cx="2746161" cy="2733425"/>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defRPr/>
              </a:pPr>
              <a:endParaRPr lang="en-US" sz="1961" kern="0" dirty="0">
                <a:gradFill>
                  <a:gsLst>
                    <a:gs pos="0">
                      <a:srgbClr val="FFFFFF"/>
                    </a:gs>
                    <a:gs pos="100000">
                      <a:srgbClr val="FFFFFF"/>
                    </a:gs>
                  </a:gsLst>
                  <a:lin ang="5400000" scaled="0"/>
                </a:gradFill>
                <a:latin typeface="Segoe UI Light"/>
                <a:ea typeface="Segoe UI" pitchFamily="34" charset="0"/>
                <a:cs typeface="Segoe UI Light"/>
              </a:endParaRPr>
            </a:p>
          </p:txBody>
        </p:sp>
        <p:sp>
          <p:nvSpPr>
            <p:cNvPr id="24" name="TextBox 23"/>
            <p:cNvSpPr txBox="1"/>
            <p:nvPr/>
          </p:nvSpPr>
          <p:spPr>
            <a:xfrm>
              <a:off x="8650698" y="2262855"/>
              <a:ext cx="2408599" cy="2426212"/>
            </a:xfrm>
            <a:prstGeom prst="rect">
              <a:avLst/>
            </a:prstGeom>
            <a:noFill/>
          </p:spPr>
          <p:txBody>
            <a:bodyPr wrap="square" lIns="0" tIns="0" rIns="0" bIns="0" rtlCol="0" anchor="t">
              <a:noAutofit/>
            </a:bodyPr>
            <a:lstStyle/>
            <a:p>
              <a:pPr defTabSz="914367">
                <a:defRPr/>
              </a:pPr>
              <a:r>
                <a:rPr lang="en-US" sz="1961" kern="0" dirty="0">
                  <a:solidFill>
                    <a:srgbClr val="FFFFFF"/>
                  </a:solidFill>
                  <a:latin typeface="Segoe UI Light"/>
                  <a:cs typeface="Segoe UI Light"/>
                </a:rPr>
                <a:t>Oracle, SAP certified on Windows Server Hyper-V and Microsoft Azure</a:t>
              </a:r>
            </a:p>
          </p:txBody>
        </p:sp>
      </p:grpSp>
      <p:grpSp>
        <p:nvGrpSpPr>
          <p:cNvPr id="8" name="Group 7"/>
          <p:cNvGrpSpPr/>
          <p:nvPr/>
        </p:nvGrpSpPr>
        <p:grpSpPr>
          <a:xfrm>
            <a:off x="6972356" y="2092153"/>
            <a:ext cx="2241062" cy="2237945"/>
            <a:chOff x="8489180" y="2133727"/>
            <a:chExt cx="2746161" cy="2733425"/>
          </a:xfrm>
        </p:grpSpPr>
        <p:sp>
          <p:nvSpPr>
            <p:cNvPr id="47" name="Rectangle 46"/>
            <p:cNvSpPr>
              <a:spLocks/>
            </p:cNvSpPr>
            <p:nvPr/>
          </p:nvSpPr>
          <p:spPr bwMode="auto">
            <a:xfrm>
              <a:off x="8489180" y="2133727"/>
              <a:ext cx="2746161" cy="273342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defRPr/>
              </a:pPr>
              <a:endParaRPr lang="en-US" sz="1961" kern="0" dirty="0">
                <a:gradFill>
                  <a:gsLst>
                    <a:gs pos="0">
                      <a:srgbClr val="FFFFFF"/>
                    </a:gs>
                    <a:gs pos="100000">
                      <a:srgbClr val="FFFFFF"/>
                    </a:gs>
                  </a:gsLst>
                  <a:lin ang="5400000" scaled="0"/>
                </a:gradFill>
                <a:latin typeface="Segoe UI Light"/>
                <a:ea typeface="Segoe UI" pitchFamily="34" charset="0"/>
                <a:cs typeface="Segoe UI Light"/>
              </a:endParaRPr>
            </a:p>
          </p:txBody>
        </p:sp>
        <p:sp>
          <p:nvSpPr>
            <p:cNvPr id="49" name="TextBox 48"/>
            <p:cNvSpPr txBox="1"/>
            <p:nvPr/>
          </p:nvSpPr>
          <p:spPr>
            <a:xfrm>
              <a:off x="8650699" y="2262856"/>
              <a:ext cx="2408599" cy="2426212"/>
            </a:xfrm>
            <a:prstGeom prst="rect">
              <a:avLst/>
            </a:prstGeom>
            <a:noFill/>
          </p:spPr>
          <p:txBody>
            <a:bodyPr wrap="square" lIns="0" tIns="0" rIns="0" bIns="0" rtlCol="0" anchor="t">
              <a:noAutofit/>
            </a:bodyPr>
            <a:lstStyle/>
            <a:p>
              <a:pPr defTabSz="914367">
                <a:defRPr/>
              </a:pPr>
              <a:r>
                <a:rPr lang="en-US" sz="1961" kern="0" dirty="0">
                  <a:solidFill>
                    <a:srgbClr val="FFFFFF"/>
                  </a:solidFill>
                  <a:latin typeface="Segoe UI Light"/>
                  <a:cs typeface="Segoe UI Light"/>
                </a:rPr>
                <a:t>Double-digit quarterly growth for Microsoft</a:t>
              </a:r>
            </a:p>
            <a:p>
              <a:pPr defTabSz="914367">
                <a:defRPr/>
              </a:pPr>
              <a:r>
                <a:rPr lang="en-US" sz="1961" kern="0" dirty="0">
                  <a:solidFill>
                    <a:srgbClr val="FFFFFF"/>
                  </a:solidFill>
                  <a:latin typeface="Segoe UI Light"/>
                  <a:cs typeface="Segoe UI Light"/>
                </a:rPr>
                <a:t>System Center</a:t>
              </a:r>
            </a:p>
          </p:txBody>
        </p:sp>
      </p:grpSp>
      <p:grpSp>
        <p:nvGrpSpPr>
          <p:cNvPr id="7" name="Group 6"/>
          <p:cNvGrpSpPr/>
          <p:nvPr/>
        </p:nvGrpSpPr>
        <p:grpSpPr>
          <a:xfrm>
            <a:off x="4747257" y="2092153"/>
            <a:ext cx="2241062" cy="2237945"/>
            <a:chOff x="5760973" y="2133729"/>
            <a:chExt cx="2743265" cy="2733425"/>
          </a:xfrm>
        </p:grpSpPr>
        <p:sp>
          <p:nvSpPr>
            <p:cNvPr id="43" name="Rectangle 42"/>
            <p:cNvSpPr>
              <a:spLocks/>
            </p:cNvSpPr>
            <p:nvPr/>
          </p:nvSpPr>
          <p:spPr bwMode="auto">
            <a:xfrm>
              <a:off x="5760973" y="2133729"/>
              <a:ext cx="2728209" cy="2733425"/>
            </a:xfrm>
            <a:prstGeom prst="rect">
              <a:avLst/>
            </a:prstGeom>
            <a:solidFill>
              <a:srgbClr val="05214E"/>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defRPr/>
              </a:pPr>
              <a:endParaRPr lang="en-US" sz="1961" kern="0" dirty="0">
                <a:gradFill>
                  <a:gsLst>
                    <a:gs pos="0">
                      <a:srgbClr val="FFFFFF"/>
                    </a:gs>
                    <a:gs pos="100000">
                      <a:srgbClr val="FFFFFF"/>
                    </a:gs>
                  </a:gsLst>
                  <a:lin ang="5400000" scaled="0"/>
                </a:gradFill>
                <a:latin typeface="Segoe UI Light"/>
                <a:ea typeface="Segoe UI" pitchFamily="34" charset="0"/>
                <a:cs typeface="Segoe UI Light"/>
              </a:endParaRPr>
            </a:p>
          </p:txBody>
        </p:sp>
        <p:sp>
          <p:nvSpPr>
            <p:cNvPr id="51" name="TextBox 50"/>
            <p:cNvSpPr txBox="1"/>
            <p:nvPr/>
          </p:nvSpPr>
          <p:spPr>
            <a:xfrm>
              <a:off x="5936601" y="2262855"/>
              <a:ext cx="2567637" cy="2348061"/>
            </a:xfrm>
            <a:prstGeom prst="rect">
              <a:avLst/>
            </a:prstGeom>
            <a:noFill/>
          </p:spPr>
          <p:txBody>
            <a:bodyPr wrap="square" lIns="0" tIns="0" rIns="0" bIns="0" rtlCol="0" anchor="t">
              <a:noAutofit/>
            </a:bodyPr>
            <a:lstStyle/>
            <a:p>
              <a:pPr defTabSz="914367">
                <a:defRPr/>
              </a:pPr>
              <a:r>
                <a:rPr lang="en-US" sz="1961" kern="0" dirty="0">
                  <a:solidFill>
                    <a:srgbClr val="FFFFFF"/>
                  </a:solidFill>
                  <a:latin typeface="Segoe UI Light"/>
                  <a:cs typeface="Segoe UI Light"/>
                </a:rPr>
                <a:t>Microsoft Azure</a:t>
              </a:r>
            </a:p>
            <a:p>
              <a:pPr defTabSz="914367">
                <a:defRPr/>
              </a:pPr>
              <a:r>
                <a:rPr lang="en-US" sz="1961" kern="0" dirty="0">
                  <a:solidFill>
                    <a:srgbClr val="FFFFFF"/>
                  </a:solidFill>
                  <a:latin typeface="Segoe UI Light"/>
                  <a:cs typeface="Segoe UI Light"/>
                </a:rPr>
                <a:t>used by 57% of the Fortune 500</a:t>
              </a:r>
            </a:p>
          </p:txBody>
        </p:sp>
      </p:grpSp>
      <p:grpSp>
        <p:nvGrpSpPr>
          <p:cNvPr id="6" name="Group 5"/>
          <p:cNvGrpSpPr/>
          <p:nvPr/>
        </p:nvGrpSpPr>
        <p:grpSpPr>
          <a:xfrm>
            <a:off x="2518283" y="2092155"/>
            <a:ext cx="2241062" cy="2241062"/>
            <a:chOff x="2475439" y="2131827"/>
            <a:chExt cx="2746094" cy="2737232"/>
          </a:xfrm>
        </p:grpSpPr>
        <p:sp>
          <p:nvSpPr>
            <p:cNvPr id="45" name="Rectangle 44"/>
            <p:cNvSpPr>
              <a:spLocks/>
            </p:cNvSpPr>
            <p:nvPr/>
          </p:nvSpPr>
          <p:spPr bwMode="auto">
            <a:xfrm>
              <a:off x="2475439" y="2131827"/>
              <a:ext cx="2746094" cy="2737232"/>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defRPr/>
              </a:pPr>
              <a:endParaRPr lang="en-US" sz="1961" kern="0" dirty="0">
                <a:gradFill>
                  <a:gsLst>
                    <a:gs pos="0">
                      <a:srgbClr val="FFFFFF"/>
                    </a:gs>
                    <a:gs pos="100000">
                      <a:srgbClr val="FFFFFF"/>
                    </a:gs>
                  </a:gsLst>
                  <a:lin ang="5400000" scaled="0"/>
                </a:gradFill>
                <a:latin typeface="Segoe UI Light"/>
                <a:ea typeface="Segoe UI" pitchFamily="34" charset="0"/>
                <a:cs typeface="Segoe UI Light"/>
              </a:endParaRPr>
            </a:p>
          </p:txBody>
        </p:sp>
        <p:sp>
          <p:nvSpPr>
            <p:cNvPr id="54" name="TextBox 53"/>
            <p:cNvSpPr txBox="1"/>
            <p:nvPr/>
          </p:nvSpPr>
          <p:spPr>
            <a:xfrm>
              <a:off x="2602596" y="2261948"/>
              <a:ext cx="2465225" cy="2270817"/>
            </a:xfrm>
            <a:prstGeom prst="rect">
              <a:avLst/>
            </a:prstGeom>
            <a:noFill/>
          </p:spPr>
          <p:txBody>
            <a:bodyPr wrap="square" lIns="0" tIns="0" rIns="0" bIns="0" rtlCol="0" anchor="t">
              <a:noAutofit/>
            </a:bodyPr>
            <a:lstStyle/>
            <a:p>
              <a:pPr defTabSz="914367">
                <a:defRPr/>
              </a:pPr>
              <a:r>
                <a:rPr lang="en-US" sz="1961" kern="0" dirty="0">
                  <a:solidFill>
                    <a:srgbClr val="FFFFFF"/>
                  </a:solidFill>
                  <a:latin typeface="Segoe UI Light"/>
                  <a:cs typeface="Segoe UI Light"/>
                </a:rPr>
                <a:t>Windows Server</a:t>
              </a:r>
            </a:p>
            <a:p>
              <a:pPr defTabSz="914192"/>
              <a:r>
                <a:rPr lang="en-US" sz="1961" kern="0" dirty="0">
                  <a:solidFill>
                    <a:srgbClr val="FFFFFF"/>
                  </a:solidFill>
                  <a:latin typeface="Segoe UI Light"/>
                  <a:cs typeface="Segoe UI Light"/>
                </a:rPr>
                <a:t>Hyper-V a leader </a:t>
              </a:r>
              <a:br>
                <a:rPr lang="en-US" sz="1961" kern="0" dirty="0">
                  <a:solidFill>
                    <a:srgbClr val="FFFFFF"/>
                  </a:solidFill>
                  <a:latin typeface="Segoe UI Light"/>
                  <a:cs typeface="Segoe UI Light"/>
                </a:rPr>
              </a:br>
              <a:r>
                <a:rPr lang="en-US" sz="1961" kern="0" dirty="0">
                  <a:solidFill>
                    <a:srgbClr val="FFFFFF"/>
                  </a:solidFill>
                  <a:latin typeface="Segoe UI Light"/>
                  <a:cs typeface="Segoe UI Light"/>
                </a:rPr>
                <a:t>in the </a:t>
              </a:r>
              <a:r>
                <a:rPr lang="en-US" sz="1961" dirty="0">
                  <a:solidFill>
                    <a:srgbClr val="FFFFFF"/>
                  </a:solidFill>
                  <a:latin typeface="Segoe UI Light"/>
                  <a:cs typeface="Segoe UI Light"/>
                </a:rPr>
                <a:t>Gartner 2014 x86 </a:t>
              </a:r>
              <a:r>
                <a:rPr lang="en-US" sz="1961" kern="0" dirty="0">
                  <a:solidFill>
                    <a:srgbClr val="FFFFFF"/>
                  </a:solidFill>
                  <a:latin typeface="Segoe UI Light"/>
                  <a:cs typeface="Segoe UI Light"/>
                </a:rPr>
                <a:t>Virtualization Magic Quadrant</a:t>
              </a:r>
            </a:p>
            <a:p>
              <a:pPr defTabSz="914192"/>
              <a:endParaRPr lang="en-US" sz="1961" dirty="0">
                <a:solidFill>
                  <a:srgbClr val="FFFFFF"/>
                </a:solidFill>
                <a:latin typeface="Segoe UI Light"/>
                <a:cs typeface="Segoe UI Light"/>
              </a:endParaRPr>
            </a:p>
            <a:p>
              <a:pPr defTabSz="914367">
                <a:defRPr/>
              </a:pPr>
              <a:endParaRPr lang="en-US" sz="1961" kern="0" dirty="0">
                <a:solidFill>
                  <a:srgbClr val="FFFFFF"/>
                </a:solidFill>
                <a:latin typeface="Segoe UI Light"/>
                <a:cs typeface="Segoe UI Light"/>
              </a:endParaRPr>
            </a:p>
          </p:txBody>
        </p:sp>
      </p:grpSp>
      <p:sp>
        <p:nvSpPr>
          <p:cNvPr id="2" name="Text Placeholder 1"/>
          <p:cNvSpPr>
            <a:spLocks noGrp="1"/>
          </p:cNvSpPr>
          <p:nvPr>
            <p:ph type="body" sz="quarter" idx="12"/>
          </p:nvPr>
        </p:nvSpPr>
        <p:spPr/>
        <p:txBody>
          <a:bodyPr/>
          <a:lstStyle/>
          <a:p>
            <a:r>
              <a:rPr lang="en-US" dirty="0" smtClean="0"/>
              <a:t>Server and cloud momentum</a:t>
            </a:r>
            <a:endParaRPr lang="en-US" dirty="0"/>
          </a:p>
        </p:txBody>
      </p:sp>
      <p:grpSp>
        <p:nvGrpSpPr>
          <p:cNvPr id="5" name="Group 4"/>
          <p:cNvGrpSpPr/>
          <p:nvPr/>
        </p:nvGrpSpPr>
        <p:grpSpPr>
          <a:xfrm>
            <a:off x="281478" y="2092154"/>
            <a:ext cx="2241062" cy="2241062"/>
            <a:chOff x="283774" y="2131826"/>
            <a:chExt cx="2733610" cy="2737232"/>
          </a:xfrm>
        </p:grpSpPr>
        <p:sp>
          <p:nvSpPr>
            <p:cNvPr id="44" name="Rectangle 43"/>
            <p:cNvSpPr>
              <a:spLocks/>
            </p:cNvSpPr>
            <p:nvPr/>
          </p:nvSpPr>
          <p:spPr bwMode="auto">
            <a:xfrm>
              <a:off x="283774" y="2131826"/>
              <a:ext cx="2733610" cy="2737232"/>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defRPr/>
              </a:pPr>
              <a:endParaRPr lang="en-US" sz="1961" kern="0" dirty="0">
                <a:gradFill>
                  <a:gsLst>
                    <a:gs pos="0">
                      <a:srgbClr val="FFFFFF"/>
                    </a:gs>
                    <a:gs pos="100000">
                      <a:srgbClr val="FFFFFF"/>
                    </a:gs>
                  </a:gsLst>
                  <a:lin ang="5400000" scaled="0"/>
                </a:gradFill>
                <a:latin typeface="Segoe UI Light"/>
                <a:ea typeface="Segoe UI" pitchFamily="34" charset="0"/>
                <a:cs typeface="Segoe UI Light"/>
              </a:endParaRPr>
            </a:p>
          </p:txBody>
        </p:sp>
        <p:sp>
          <p:nvSpPr>
            <p:cNvPr id="48" name="TextBox 47"/>
            <p:cNvSpPr txBox="1"/>
            <p:nvPr/>
          </p:nvSpPr>
          <p:spPr>
            <a:xfrm>
              <a:off x="459337" y="2266617"/>
              <a:ext cx="2393610" cy="2461526"/>
            </a:xfrm>
            <a:prstGeom prst="rect">
              <a:avLst/>
            </a:prstGeom>
            <a:noFill/>
          </p:spPr>
          <p:txBody>
            <a:bodyPr wrap="square" lIns="0" tIns="0" rIns="0" bIns="0" rtlCol="0" anchor="t">
              <a:noAutofit/>
            </a:bodyPr>
            <a:lstStyle/>
            <a:p>
              <a:pPr defTabSz="914367">
                <a:defRPr/>
              </a:pPr>
              <a:r>
                <a:rPr lang="en-US" sz="1961" kern="0" dirty="0">
                  <a:solidFill>
                    <a:srgbClr val="FFFFFF"/>
                  </a:solidFill>
                  <a:latin typeface="Segoe UI Light"/>
                  <a:cs typeface="Segoe UI Light"/>
                </a:rPr>
                <a:t>Microsoft Azure</a:t>
              </a:r>
            </a:p>
            <a:p>
              <a:pPr defTabSz="914367">
                <a:defRPr/>
              </a:pPr>
              <a:r>
                <a:rPr lang="en-US" sz="1961" kern="0" dirty="0">
                  <a:solidFill>
                    <a:srgbClr val="FFFFFF"/>
                  </a:solidFill>
                  <a:latin typeface="Segoe UI Light"/>
                  <a:cs typeface="Segoe UI Light"/>
                </a:rPr>
                <a:t>global expansion </a:t>
              </a:r>
            </a:p>
            <a:p>
              <a:pPr defTabSz="914367">
                <a:defRPr/>
              </a:pPr>
              <a:r>
                <a:rPr lang="en-US" sz="1961" kern="0" dirty="0">
                  <a:solidFill>
                    <a:srgbClr val="FFFFFF"/>
                  </a:solidFill>
                  <a:latin typeface="Segoe UI Light"/>
                  <a:cs typeface="Segoe UI Light"/>
                </a:rPr>
                <a:t>to Australia, Japan, and China</a:t>
              </a:r>
            </a:p>
          </p:txBody>
        </p:sp>
      </p:grpSp>
      <p:grpSp>
        <p:nvGrpSpPr>
          <p:cNvPr id="18" name="Group 17"/>
          <p:cNvGrpSpPr/>
          <p:nvPr/>
        </p:nvGrpSpPr>
        <p:grpSpPr>
          <a:xfrm>
            <a:off x="269239" y="5147148"/>
            <a:ext cx="11285600" cy="663160"/>
            <a:chOff x="274637" y="5249862"/>
            <a:chExt cx="11511900" cy="676458"/>
          </a:xfrm>
        </p:grpSpPr>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74637" y="5249862"/>
              <a:ext cx="1213594" cy="676458"/>
            </a:xfrm>
            <a:prstGeom prst="rect">
              <a:avLst/>
            </a:prstGeom>
          </p:spPr>
        </p:pic>
        <p:pic>
          <p:nvPicPr>
            <p:cNvPr id="4" name="Picture 3"/>
            <p:cNvPicPr>
              <a:picLocks noChangeAspect="1"/>
            </p:cNvPicPr>
            <p:nvPr/>
          </p:nvPicPr>
          <p:blipFill>
            <a:blip r:embed="rId4"/>
            <a:stretch>
              <a:fillRect/>
            </a:stretch>
          </p:blipFill>
          <p:spPr>
            <a:xfrm>
              <a:off x="1850177" y="5391890"/>
              <a:ext cx="875900" cy="392402"/>
            </a:xfrm>
            <a:prstGeom prst="rect">
              <a:avLst/>
            </a:prstGeom>
          </p:spPr>
        </p:pic>
        <p:pic>
          <p:nvPicPr>
            <p:cNvPr id="9" name="Picture 8"/>
            <p:cNvPicPr>
              <a:picLocks noChangeAspect="1"/>
            </p:cNvPicPr>
            <p:nvPr/>
          </p:nvPicPr>
          <p:blipFill>
            <a:blip r:embed="rId5"/>
            <a:stretch>
              <a:fillRect/>
            </a:stretch>
          </p:blipFill>
          <p:spPr>
            <a:xfrm>
              <a:off x="3180347" y="5449413"/>
              <a:ext cx="1519580" cy="277356"/>
            </a:xfrm>
            <a:prstGeom prst="rect">
              <a:avLst/>
            </a:prstGeom>
          </p:spPr>
        </p:pic>
        <p:pic>
          <p:nvPicPr>
            <p:cNvPr id="10" name="Picture 9"/>
            <p:cNvPicPr>
              <a:picLocks noChangeAspect="1"/>
            </p:cNvPicPr>
            <p:nvPr/>
          </p:nvPicPr>
          <p:blipFill rotWithShape="1">
            <a:blip r:embed="rId6"/>
            <a:srcRect b="34060"/>
            <a:stretch/>
          </p:blipFill>
          <p:spPr>
            <a:xfrm>
              <a:off x="5151437" y="5432602"/>
              <a:ext cx="1573778" cy="310978"/>
            </a:xfrm>
            <a:prstGeom prst="rect">
              <a:avLst/>
            </a:prstGeom>
          </p:spPr>
        </p:pic>
        <p:pic>
          <p:nvPicPr>
            <p:cNvPr id="13" name="Picture 12"/>
            <p:cNvPicPr>
              <a:picLocks noChangeAspect="1"/>
            </p:cNvPicPr>
            <p:nvPr/>
          </p:nvPicPr>
          <p:blipFill rotWithShape="1">
            <a:blip r:embed="rId7"/>
            <a:srcRect l="-2062" t="35697" r="-943" b="35006"/>
            <a:stretch/>
          </p:blipFill>
          <p:spPr>
            <a:xfrm>
              <a:off x="8504237" y="5408625"/>
              <a:ext cx="1261988" cy="358932"/>
            </a:xfrm>
            <a:prstGeom prst="rect">
              <a:avLst/>
            </a:prstGeom>
          </p:spPr>
        </p:pic>
        <p:pic>
          <p:nvPicPr>
            <p:cNvPr id="14" name="Picture 13"/>
            <p:cNvPicPr>
              <a:picLocks noChangeAspect="1"/>
            </p:cNvPicPr>
            <p:nvPr/>
          </p:nvPicPr>
          <p:blipFill rotWithShape="1">
            <a:blip r:embed="rId8"/>
            <a:srcRect b="27190"/>
            <a:stretch/>
          </p:blipFill>
          <p:spPr>
            <a:xfrm>
              <a:off x="7144967" y="5395616"/>
              <a:ext cx="988274" cy="384950"/>
            </a:xfrm>
            <a:prstGeom prst="rect">
              <a:avLst/>
            </a:prstGeom>
          </p:spPr>
        </p:pic>
        <p:pic>
          <p:nvPicPr>
            <p:cNvPr id="16" name="Picture 15"/>
            <p:cNvPicPr>
              <a:picLocks noChangeAspect="1"/>
            </p:cNvPicPr>
            <p:nvPr/>
          </p:nvPicPr>
          <p:blipFill>
            <a:blip r:embed="rId9"/>
            <a:stretch>
              <a:fillRect/>
            </a:stretch>
          </p:blipFill>
          <p:spPr>
            <a:xfrm>
              <a:off x="10104437" y="5407369"/>
              <a:ext cx="1682100" cy="361444"/>
            </a:xfrm>
            <a:prstGeom prst="rect">
              <a:avLst/>
            </a:prstGeom>
          </p:spPr>
        </p:pic>
      </p:grpSp>
    </p:spTree>
    <p:extLst>
      <p:ext uri="{BB962C8B-B14F-4D97-AF65-F5344CB8AC3E}">
        <p14:creationId xmlns:p14="http://schemas.microsoft.com/office/powerpoint/2010/main" val="40083905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000" fill="hold"/>
                                        <p:tgtEl>
                                          <p:spTgt spid="8"/>
                                        </p:tgtEl>
                                        <p:attrNameLst>
                                          <p:attrName>ppt_x</p:attrName>
                                        </p:attrNameLst>
                                      </p:cBhvr>
                                      <p:tavLst>
                                        <p:tav tm="0">
                                          <p:val>
                                            <p:strVal val="0-#ppt_w/2"/>
                                          </p:val>
                                        </p:tav>
                                        <p:tav tm="100000">
                                          <p:val>
                                            <p:strVal val="#ppt_x"/>
                                          </p:val>
                                        </p:tav>
                                      </p:tavLst>
                                    </p:anim>
                                    <p:anim calcmode="lin" valueType="num">
                                      <p:cBhvr additive="base">
                                        <p:cTn id="20" dur="1000" fill="hold"/>
                                        <p:tgtEl>
                                          <p:spTgt spid="8"/>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1000" fill="hold"/>
                                        <p:tgtEl>
                                          <p:spTgt spid="22"/>
                                        </p:tgtEl>
                                        <p:attrNameLst>
                                          <p:attrName>ppt_x</p:attrName>
                                        </p:attrNameLst>
                                      </p:cBhvr>
                                      <p:tavLst>
                                        <p:tav tm="0">
                                          <p:val>
                                            <p:strVal val="0-#ppt_w/2"/>
                                          </p:val>
                                        </p:tav>
                                        <p:tav tm="100000">
                                          <p:val>
                                            <p:strVal val="#ppt_x"/>
                                          </p:val>
                                        </p:tav>
                                      </p:tavLst>
                                    </p:anim>
                                    <p:anim calcmode="lin" valueType="num">
                                      <p:cBhvr additive="base">
                                        <p:cTn id="24" dur="1000" fill="hold"/>
                                        <p:tgtEl>
                                          <p:spTgt spid="22"/>
                                        </p:tgtEl>
                                        <p:attrNameLst>
                                          <p:attrName>ppt_y</p:attrName>
                                        </p:attrNameLst>
                                      </p:cBhvr>
                                      <p:tavLst>
                                        <p:tav tm="0">
                                          <p:val>
                                            <p:strVal val="#ppt_y"/>
                                          </p:val>
                                        </p:tav>
                                        <p:tav tm="100000">
                                          <p:val>
                                            <p:strVal val="#ppt_y"/>
                                          </p:val>
                                        </p:tav>
                                      </p:tavLst>
                                    </p:anim>
                                  </p:childTnLst>
                                </p:cTn>
                              </p:par>
                              <p:par>
                                <p:cTn id="25" presetID="10" presetClass="entr" presetSubtype="0" fill="hold" nodeType="withEffect">
                                  <p:stCondLst>
                                    <p:cond delay="5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p:cNvSpPr/>
          <p:nvPr/>
        </p:nvSpPr>
        <p:spPr bwMode="auto">
          <a:xfrm>
            <a:off x="0" y="488"/>
            <a:ext cx="12192000" cy="4776405"/>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Text Placeholder 3"/>
          <p:cNvSpPr txBox="1">
            <a:spLocks/>
          </p:cNvSpPr>
          <p:nvPr/>
        </p:nvSpPr>
        <p:spPr>
          <a:xfrm>
            <a:off x="269240" y="362347"/>
            <a:ext cx="10757098" cy="100454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175"/>
              </a:spcBef>
              <a:spcAft>
                <a:spcPts val="2353"/>
              </a:spcAft>
              <a:buNone/>
            </a:pPr>
            <a:r>
              <a:rPr lang="en-US" sz="5097" dirty="0">
                <a:solidFill>
                  <a:srgbClr val="FFFFFF"/>
                </a:solidFill>
              </a:rPr>
              <a:t>Cloud is integral to everything you do</a:t>
            </a:r>
          </a:p>
        </p:txBody>
      </p:sp>
      <p:sp>
        <p:nvSpPr>
          <p:cNvPr id="80" name="Text Placeholder 12"/>
          <p:cNvSpPr txBox="1">
            <a:spLocks/>
          </p:cNvSpPr>
          <p:nvPr/>
        </p:nvSpPr>
        <p:spPr>
          <a:xfrm>
            <a:off x="269240" y="1117905"/>
            <a:ext cx="10816237" cy="80304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941" dirty="0">
                <a:solidFill>
                  <a:srgbClr val="FFFFFF"/>
                </a:solidFill>
              </a:rPr>
              <a:t>What is the value that it provides?</a:t>
            </a:r>
          </a:p>
        </p:txBody>
      </p:sp>
      <p:grpSp>
        <p:nvGrpSpPr>
          <p:cNvPr id="87" name="Group 86"/>
          <p:cNvGrpSpPr/>
          <p:nvPr/>
        </p:nvGrpSpPr>
        <p:grpSpPr>
          <a:xfrm>
            <a:off x="5527761" y="3873115"/>
            <a:ext cx="6664238" cy="3024489"/>
            <a:chOff x="4264076" y="3254703"/>
            <a:chExt cx="8301906" cy="3767725"/>
          </a:xfrm>
        </p:grpSpPr>
        <p:sp>
          <p:nvSpPr>
            <p:cNvPr id="81" name="Oval 80"/>
            <p:cNvSpPr/>
            <p:nvPr/>
          </p:nvSpPr>
          <p:spPr bwMode="auto">
            <a:xfrm>
              <a:off x="4963167" y="3822035"/>
              <a:ext cx="2089325" cy="21525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Oval 87"/>
            <p:cNvSpPr/>
            <p:nvPr/>
          </p:nvSpPr>
          <p:spPr bwMode="auto">
            <a:xfrm>
              <a:off x="5691517" y="4075658"/>
              <a:ext cx="2089325" cy="21525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flipH="1">
              <a:off x="6058078" y="3254703"/>
              <a:ext cx="6507904" cy="3750284"/>
              <a:chOff x="1465449" y="3079956"/>
              <a:chExt cx="6792989" cy="3914569"/>
            </a:xfrm>
          </p:grpSpPr>
          <p:sp>
            <p:nvSpPr>
              <p:cNvPr id="11" name="Rectangle 7"/>
              <p:cNvSpPr>
                <a:spLocks noChangeArrowheads="1"/>
              </p:cNvSpPr>
              <p:nvPr/>
            </p:nvSpPr>
            <p:spPr bwMode="auto">
              <a:xfrm>
                <a:off x="1905885" y="5760523"/>
                <a:ext cx="575219" cy="1152871"/>
              </a:xfrm>
              <a:prstGeom prst="rect">
                <a:avLst/>
              </a:pr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2" name="Rectangle 8"/>
              <p:cNvSpPr>
                <a:spLocks noChangeArrowheads="1"/>
              </p:cNvSpPr>
              <p:nvPr/>
            </p:nvSpPr>
            <p:spPr bwMode="auto">
              <a:xfrm>
                <a:off x="2137919" y="5221002"/>
                <a:ext cx="575219" cy="1692392"/>
              </a:xfrm>
              <a:prstGeom prst="rect">
                <a:avLst/>
              </a:prstGeom>
              <a:solidFill>
                <a:srgbClr val="002050"/>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3" name="Rectangle 9"/>
              <p:cNvSpPr>
                <a:spLocks noChangeArrowheads="1"/>
              </p:cNvSpPr>
              <p:nvPr/>
            </p:nvSpPr>
            <p:spPr bwMode="auto">
              <a:xfrm>
                <a:off x="5805849" y="5445735"/>
                <a:ext cx="297751" cy="1467659"/>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4" name="Rectangle 10"/>
              <p:cNvSpPr>
                <a:spLocks noChangeArrowheads="1"/>
              </p:cNvSpPr>
              <p:nvPr/>
            </p:nvSpPr>
            <p:spPr bwMode="auto">
              <a:xfrm>
                <a:off x="5620060" y="4812914"/>
                <a:ext cx="296939" cy="2100481"/>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5" name="Rectangle 11"/>
              <p:cNvSpPr>
                <a:spLocks noChangeArrowheads="1"/>
              </p:cNvSpPr>
              <p:nvPr/>
            </p:nvSpPr>
            <p:spPr bwMode="auto">
              <a:xfrm>
                <a:off x="6448406" y="5760523"/>
                <a:ext cx="575219" cy="1152871"/>
              </a:xfrm>
              <a:prstGeom prst="rect">
                <a:avLst/>
              </a:pr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6" name="Rectangle 12"/>
              <p:cNvSpPr>
                <a:spLocks noChangeArrowheads="1"/>
              </p:cNvSpPr>
              <p:nvPr/>
            </p:nvSpPr>
            <p:spPr bwMode="auto">
              <a:xfrm>
                <a:off x="4816864" y="4991402"/>
                <a:ext cx="939496" cy="2003123"/>
              </a:xfrm>
              <a:prstGeom prst="rect">
                <a:avLst/>
              </a:prstGeom>
              <a:solidFill>
                <a:srgbClr val="EB3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7" name="Rectangle 13"/>
              <p:cNvSpPr>
                <a:spLocks noChangeArrowheads="1"/>
              </p:cNvSpPr>
              <p:nvPr/>
            </p:nvSpPr>
            <p:spPr bwMode="auto">
              <a:xfrm>
                <a:off x="5334479" y="6755999"/>
                <a:ext cx="122508" cy="23852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8" name="Rectangle 14"/>
              <p:cNvSpPr>
                <a:spLocks noChangeArrowheads="1"/>
              </p:cNvSpPr>
              <p:nvPr/>
            </p:nvSpPr>
            <p:spPr bwMode="auto">
              <a:xfrm>
                <a:off x="5121916" y="6755999"/>
                <a:ext cx="122508" cy="23852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19" name="Rectangle 15"/>
              <p:cNvSpPr>
                <a:spLocks noChangeArrowheads="1"/>
              </p:cNvSpPr>
              <p:nvPr/>
            </p:nvSpPr>
            <p:spPr bwMode="auto">
              <a:xfrm>
                <a:off x="4910975" y="5927653"/>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0" name="Rectangle 16"/>
              <p:cNvSpPr>
                <a:spLocks noChangeArrowheads="1"/>
              </p:cNvSpPr>
              <p:nvPr/>
            </p:nvSpPr>
            <p:spPr bwMode="auto">
              <a:xfrm>
                <a:off x="4910975" y="6138593"/>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1" name="Rectangle 17"/>
              <p:cNvSpPr>
                <a:spLocks noChangeArrowheads="1"/>
              </p:cNvSpPr>
              <p:nvPr/>
            </p:nvSpPr>
            <p:spPr bwMode="auto">
              <a:xfrm>
                <a:off x="4910975" y="6349534"/>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2" name="Rectangle 18"/>
              <p:cNvSpPr>
                <a:spLocks noChangeArrowheads="1"/>
              </p:cNvSpPr>
              <p:nvPr/>
            </p:nvSpPr>
            <p:spPr bwMode="auto">
              <a:xfrm>
                <a:off x="4910975" y="6560474"/>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3" name="Rectangle 19"/>
              <p:cNvSpPr>
                <a:spLocks noChangeArrowheads="1"/>
              </p:cNvSpPr>
              <p:nvPr/>
            </p:nvSpPr>
            <p:spPr bwMode="auto">
              <a:xfrm>
                <a:off x="4910975" y="5504960"/>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4" name="Rectangle 20"/>
              <p:cNvSpPr>
                <a:spLocks noChangeArrowheads="1"/>
              </p:cNvSpPr>
              <p:nvPr/>
            </p:nvSpPr>
            <p:spPr bwMode="auto">
              <a:xfrm>
                <a:off x="4910975" y="5716712"/>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5" name="Rectangle 21"/>
              <p:cNvSpPr>
                <a:spLocks noChangeArrowheads="1"/>
              </p:cNvSpPr>
              <p:nvPr/>
            </p:nvSpPr>
            <p:spPr bwMode="auto">
              <a:xfrm>
                <a:off x="4910975" y="5084702"/>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6" name="Rectangle 22"/>
              <p:cNvSpPr>
                <a:spLocks noChangeArrowheads="1"/>
              </p:cNvSpPr>
              <p:nvPr/>
            </p:nvSpPr>
            <p:spPr bwMode="auto">
              <a:xfrm>
                <a:off x="4910975" y="5296454"/>
                <a:ext cx="756952" cy="120885"/>
              </a:xfrm>
              <a:prstGeom prst="rect">
                <a:avLst/>
              </a:prstGeom>
              <a:solidFill>
                <a:srgbClr val="BA141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7" name="Freeform 35"/>
              <p:cNvSpPr>
                <a:spLocks/>
              </p:cNvSpPr>
              <p:nvPr/>
            </p:nvSpPr>
            <p:spPr bwMode="auto">
              <a:xfrm>
                <a:off x="2902984" y="5814069"/>
                <a:ext cx="1403565" cy="1180456"/>
              </a:xfrm>
              <a:custGeom>
                <a:avLst/>
                <a:gdLst>
                  <a:gd name="T0" fmla="*/ 952 w 1730"/>
                  <a:gd name="T1" fmla="*/ 244 h 1455"/>
                  <a:gd name="T2" fmla="*/ 952 w 1730"/>
                  <a:gd name="T3" fmla="*/ 0 h 1455"/>
                  <a:gd name="T4" fmla="*/ 1142 w 1730"/>
                  <a:gd name="T5" fmla="*/ 0 h 1455"/>
                  <a:gd name="T6" fmla="*/ 1142 w 1730"/>
                  <a:gd name="T7" fmla="*/ 244 h 1455"/>
                  <a:gd name="T8" fmla="*/ 1205 w 1730"/>
                  <a:gd name="T9" fmla="*/ 244 h 1455"/>
                  <a:gd name="T10" fmla="*/ 1205 w 1730"/>
                  <a:gd name="T11" fmla="*/ 0 h 1455"/>
                  <a:gd name="T12" fmla="*/ 1394 w 1730"/>
                  <a:gd name="T13" fmla="*/ 0 h 1455"/>
                  <a:gd name="T14" fmla="*/ 1394 w 1730"/>
                  <a:gd name="T15" fmla="*/ 244 h 1455"/>
                  <a:gd name="T16" fmla="*/ 1730 w 1730"/>
                  <a:gd name="T17" fmla="*/ 244 h 1455"/>
                  <a:gd name="T18" fmla="*/ 1730 w 1730"/>
                  <a:gd name="T19" fmla="*/ 305 h 1455"/>
                  <a:gd name="T20" fmla="*/ 1652 w 1730"/>
                  <a:gd name="T21" fmla="*/ 305 h 1455"/>
                  <a:gd name="T22" fmla="*/ 1652 w 1730"/>
                  <a:gd name="T23" fmla="*/ 1455 h 1455"/>
                  <a:gd name="T24" fmla="*/ 78 w 1730"/>
                  <a:gd name="T25" fmla="*/ 1455 h 1455"/>
                  <a:gd name="T26" fmla="*/ 78 w 1730"/>
                  <a:gd name="T27" fmla="*/ 305 h 1455"/>
                  <a:gd name="T28" fmla="*/ 0 w 1730"/>
                  <a:gd name="T29" fmla="*/ 305 h 1455"/>
                  <a:gd name="T30" fmla="*/ 0 w 1730"/>
                  <a:gd name="T31" fmla="*/ 244 h 1455"/>
                  <a:gd name="T32" fmla="*/ 952 w 1730"/>
                  <a:gd name="T33" fmla="*/ 244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30" h="1455">
                    <a:moveTo>
                      <a:pt x="952" y="244"/>
                    </a:moveTo>
                    <a:lnTo>
                      <a:pt x="952" y="0"/>
                    </a:lnTo>
                    <a:lnTo>
                      <a:pt x="1142" y="0"/>
                    </a:lnTo>
                    <a:lnTo>
                      <a:pt x="1142" y="244"/>
                    </a:lnTo>
                    <a:lnTo>
                      <a:pt x="1205" y="244"/>
                    </a:lnTo>
                    <a:lnTo>
                      <a:pt x="1205" y="0"/>
                    </a:lnTo>
                    <a:lnTo>
                      <a:pt x="1394" y="0"/>
                    </a:lnTo>
                    <a:lnTo>
                      <a:pt x="1394" y="244"/>
                    </a:lnTo>
                    <a:lnTo>
                      <a:pt x="1730" y="244"/>
                    </a:lnTo>
                    <a:lnTo>
                      <a:pt x="1730" y="305"/>
                    </a:lnTo>
                    <a:lnTo>
                      <a:pt x="1652" y="305"/>
                    </a:lnTo>
                    <a:lnTo>
                      <a:pt x="1652" y="1455"/>
                    </a:lnTo>
                    <a:lnTo>
                      <a:pt x="78" y="1455"/>
                    </a:lnTo>
                    <a:lnTo>
                      <a:pt x="78" y="305"/>
                    </a:lnTo>
                    <a:lnTo>
                      <a:pt x="0" y="305"/>
                    </a:lnTo>
                    <a:lnTo>
                      <a:pt x="0" y="244"/>
                    </a:lnTo>
                    <a:lnTo>
                      <a:pt x="952" y="244"/>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8" name="Freeform 36"/>
              <p:cNvSpPr>
                <a:spLocks/>
              </p:cNvSpPr>
              <p:nvPr/>
            </p:nvSpPr>
            <p:spPr bwMode="auto">
              <a:xfrm>
                <a:off x="2163070" y="5814069"/>
                <a:ext cx="1403565" cy="1180456"/>
              </a:xfrm>
              <a:custGeom>
                <a:avLst/>
                <a:gdLst>
                  <a:gd name="T0" fmla="*/ 952 w 1730"/>
                  <a:gd name="T1" fmla="*/ 244 h 1455"/>
                  <a:gd name="T2" fmla="*/ 952 w 1730"/>
                  <a:gd name="T3" fmla="*/ 0 h 1455"/>
                  <a:gd name="T4" fmla="*/ 1141 w 1730"/>
                  <a:gd name="T5" fmla="*/ 0 h 1455"/>
                  <a:gd name="T6" fmla="*/ 1141 w 1730"/>
                  <a:gd name="T7" fmla="*/ 244 h 1455"/>
                  <a:gd name="T8" fmla="*/ 1205 w 1730"/>
                  <a:gd name="T9" fmla="*/ 244 h 1455"/>
                  <a:gd name="T10" fmla="*/ 1205 w 1730"/>
                  <a:gd name="T11" fmla="*/ 0 h 1455"/>
                  <a:gd name="T12" fmla="*/ 1394 w 1730"/>
                  <a:gd name="T13" fmla="*/ 0 h 1455"/>
                  <a:gd name="T14" fmla="*/ 1394 w 1730"/>
                  <a:gd name="T15" fmla="*/ 244 h 1455"/>
                  <a:gd name="T16" fmla="*/ 1730 w 1730"/>
                  <a:gd name="T17" fmla="*/ 244 h 1455"/>
                  <a:gd name="T18" fmla="*/ 1730 w 1730"/>
                  <a:gd name="T19" fmla="*/ 305 h 1455"/>
                  <a:gd name="T20" fmla="*/ 1652 w 1730"/>
                  <a:gd name="T21" fmla="*/ 305 h 1455"/>
                  <a:gd name="T22" fmla="*/ 1652 w 1730"/>
                  <a:gd name="T23" fmla="*/ 1455 h 1455"/>
                  <a:gd name="T24" fmla="*/ 78 w 1730"/>
                  <a:gd name="T25" fmla="*/ 1455 h 1455"/>
                  <a:gd name="T26" fmla="*/ 78 w 1730"/>
                  <a:gd name="T27" fmla="*/ 305 h 1455"/>
                  <a:gd name="T28" fmla="*/ 0 w 1730"/>
                  <a:gd name="T29" fmla="*/ 305 h 1455"/>
                  <a:gd name="T30" fmla="*/ 0 w 1730"/>
                  <a:gd name="T31" fmla="*/ 244 h 1455"/>
                  <a:gd name="T32" fmla="*/ 952 w 1730"/>
                  <a:gd name="T33" fmla="*/ 244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30" h="1455">
                    <a:moveTo>
                      <a:pt x="952" y="244"/>
                    </a:moveTo>
                    <a:lnTo>
                      <a:pt x="952" y="0"/>
                    </a:lnTo>
                    <a:lnTo>
                      <a:pt x="1141" y="0"/>
                    </a:lnTo>
                    <a:lnTo>
                      <a:pt x="1141" y="244"/>
                    </a:lnTo>
                    <a:lnTo>
                      <a:pt x="1205" y="244"/>
                    </a:lnTo>
                    <a:lnTo>
                      <a:pt x="1205" y="0"/>
                    </a:lnTo>
                    <a:lnTo>
                      <a:pt x="1394" y="0"/>
                    </a:lnTo>
                    <a:lnTo>
                      <a:pt x="1394" y="244"/>
                    </a:lnTo>
                    <a:lnTo>
                      <a:pt x="1730" y="244"/>
                    </a:lnTo>
                    <a:lnTo>
                      <a:pt x="1730" y="305"/>
                    </a:lnTo>
                    <a:lnTo>
                      <a:pt x="1652" y="305"/>
                    </a:lnTo>
                    <a:lnTo>
                      <a:pt x="1652" y="1455"/>
                    </a:lnTo>
                    <a:lnTo>
                      <a:pt x="78" y="1455"/>
                    </a:lnTo>
                    <a:lnTo>
                      <a:pt x="78" y="305"/>
                    </a:lnTo>
                    <a:lnTo>
                      <a:pt x="0" y="305"/>
                    </a:lnTo>
                    <a:lnTo>
                      <a:pt x="0" y="244"/>
                    </a:lnTo>
                    <a:lnTo>
                      <a:pt x="952" y="244"/>
                    </a:lnTo>
                    <a:close/>
                  </a:path>
                </a:pathLst>
              </a:custGeom>
              <a:solidFill>
                <a:schemeClr val="accent1">
                  <a:lumMod val="7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29" name="Rectangle 37"/>
              <p:cNvSpPr>
                <a:spLocks noChangeArrowheads="1"/>
              </p:cNvSpPr>
              <p:nvPr/>
            </p:nvSpPr>
            <p:spPr bwMode="auto">
              <a:xfrm>
                <a:off x="3926857" y="5399490"/>
                <a:ext cx="1277001" cy="1595034"/>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0" name="Rectangle 38"/>
              <p:cNvSpPr>
                <a:spLocks noChangeArrowheads="1"/>
              </p:cNvSpPr>
              <p:nvPr/>
            </p:nvSpPr>
            <p:spPr bwMode="auto">
              <a:xfrm>
                <a:off x="3863575" y="5350000"/>
                <a:ext cx="1403565" cy="4949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1" name="Rectangle 39"/>
              <p:cNvSpPr>
                <a:spLocks noChangeArrowheads="1"/>
              </p:cNvSpPr>
              <p:nvPr/>
            </p:nvSpPr>
            <p:spPr bwMode="auto">
              <a:xfrm>
                <a:off x="4628640" y="6671623"/>
                <a:ext cx="167130" cy="322901"/>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2" name="Rectangle 40"/>
              <p:cNvSpPr>
                <a:spLocks noChangeArrowheads="1"/>
              </p:cNvSpPr>
              <p:nvPr/>
            </p:nvSpPr>
            <p:spPr bwMode="auto">
              <a:xfrm>
                <a:off x="4341436" y="6671623"/>
                <a:ext cx="166319" cy="322901"/>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3" name="Rectangle 41"/>
              <p:cNvSpPr>
                <a:spLocks noChangeArrowheads="1"/>
              </p:cNvSpPr>
              <p:nvPr/>
            </p:nvSpPr>
            <p:spPr bwMode="auto">
              <a:xfrm>
                <a:off x="4053421" y="5543903"/>
                <a:ext cx="1029552" cy="164696"/>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4" name="Rectangle 42"/>
              <p:cNvSpPr>
                <a:spLocks noChangeArrowheads="1"/>
              </p:cNvSpPr>
              <p:nvPr/>
            </p:nvSpPr>
            <p:spPr bwMode="auto">
              <a:xfrm>
                <a:off x="4053421" y="5829484"/>
                <a:ext cx="1029552" cy="16713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5" name="Rectangle 43"/>
              <p:cNvSpPr>
                <a:spLocks noChangeArrowheads="1"/>
              </p:cNvSpPr>
              <p:nvPr/>
            </p:nvSpPr>
            <p:spPr bwMode="auto">
              <a:xfrm>
                <a:off x="4053421" y="6117499"/>
                <a:ext cx="1029552" cy="164696"/>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6" name="Rectangle 44"/>
              <p:cNvSpPr>
                <a:spLocks noChangeArrowheads="1"/>
              </p:cNvSpPr>
              <p:nvPr/>
            </p:nvSpPr>
            <p:spPr bwMode="auto">
              <a:xfrm>
                <a:off x="4053421" y="6403080"/>
                <a:ext cx="1029552" cy="167130"/>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7" name="Rectangle 45"/>
              <p:cNvSpPr>
                <a:spLocks noChangeArrowheads="1"/>
              </p:cNvSpPr>
              <p:nvPr/>
            </p:nvSpPr>
            <p:spPr bwMode="auto">
              <a:xfrm>
                <a:off x="5203858" y="6911771"/>
                <a:ext cx="3054580" cy="8275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8" name="Rectangle 46"/>
              <p:cNvSpPr>
                <a:spLocks noChangeArrowheads="1"/>
              </p:cNvSpPr>
              <p:nvPr/>
            </p:nvSpPr>
            <p:spPr bwMode="auto">
              <a:xfrm>
                <a:off x="4136175" y="5152041"/>
                <a:ext cx="492465" cy="19796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39" name="Rectangle 47"/>
              <p:cNvSpPr>
                <a:spLocks noChangeArrowheads="1"/>
              </p:cNvSpPr>
              <p:nvPr/>
            </p:nvSpPr>
            <p:spPr bwMode="auto">
              <a:xfrm>
                <a:off x="2367520" y="3127823"/>
                <a:ext cx="1277813" cy="3866701"/>
              </a:xfrm>
              <a:prstGeom prst="rect">
                <a:avLst/>
              </a:prstGeom>
              <a:solidFill>
                <a:srgbClr val="00BCF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0" name="Rectangle 48"/>
              <p:cNvSpPr>
                <a:spLocks noChangeArrowheads="1"/>
              </p:cNvSpPr>
              <p:nvPr/>
            </p:nvSpPr>
            <p:spPr bwMode="auto">
              <a:xfrm>
                <a:off x="2304238" y="3079956"/>
                <a:ext cx="1404377" cy="4786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1" name="Rectangle 49"/>
              <p:cNvSpPr>
                <a:spLocks noChangeArrowheads="1"/>
              </p:cNvSpPr>
              <p:nvPr/>
            </p:nvSpPr>
            <p:spPr bwMode="auto">
              <a:xfrm>
                <a:off x="3070114" y="6671623"/>
                <a:ext cx="166319" cy="322901"/>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2" name="Rectangle 50"/>
              <p:cNvSpPr>
                <a:spLocks noChangeArrowheads="1"/>
              </p:cNvSpPr>
              <p:nvPr/>
            </p:nvSpPr>
            <p:spPr bwMode="auto">
              <a:xfrm>
                <a:off x="2782099" y="6671623"/>
                <a:ext cx="167130" cy="322901"/>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3" name="Rectangle 51"/>
              <p:cNvSpPr>
                <a:spLocks noChangeArrowheads="1"/>
              </p:cNvSpPr>
              <p:nvPr/>
            </p:nvSpPr>
            <p:spPr bwMode="auto">
              <a:xfrm>
                <a:off x="2494084" y="5543903"/>
                <a:ext cx="1030363" cy="16469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4" name="Rectangle 52"/>
              <p:cNvSpPr>
                <a:spLocks noChangeArrowheads="1"/>
              </p:cNvSpPr>
              <p:nvPr/>
            </p:nvSpPr>
            <p:spPr bwMode="auto">
              <a:xfrm>
                <a:off x="2494084" y="5829484"/>
                <a:ext cx="1030363" cy="16713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5" name="Rectangle 53"/>
              <p:cNvSpPr>
                <a:spLocks noChangeArrowheads="1"/>
              </p:cNvSpPr>
              <p:nvPr/>
            </p:nvSpPr>
            <p:spPr bwMode="auto">
              <a:xfrm>
                <a:off x="2494084" y="6117499"/>
                <a:ext cx="1030363" cy="16469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6" name="Rectangle 54"/>
              <p:cNvSpPr>
                <a:spLocks noChangeArrowheads="1"/>
              </p:cNvSpPr>
              <p:nvPr/>
            </p:nvSpPr>
            <p:spPr bwMode="auto">
              <a:xfrm>
                <a:off x="2494084" y="6403080"/>
                <a:ext cx="1030363" cy="16713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7" name="Rectangle 55"/>
              <p:cNvSpPr>
                <a:spLocks noChangeArrowheads="1"/>
              </p:cNvSpPr>
              <p:nvPr/>
            </p:nvSpPr>
            <p:spPr bwMode="auto">
              <a:xfrm>
                <a:off x="2494084" y="4970308"/>
                <a:ext cx="1030363" cy="16469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8" name="Rectangle 56"/>
              <p:cNvSpPr>
                <a:spLocks noChangeArrowheads="1"/>
              </p:cNvSpPr>
              <p:nvPr/>
            </p:nvSpPr>
            <p:spPr bwMode="auto">
              <a:xfrm>
                <a:off x="2494084" y="5255889"/>
                <a:ext cx="1030363" cy="16713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49" name="Rectangle 57"/>
              <p:cNvSpPr>
                <a:spLocks noChangeArrowheads="1"/>
              </p:cNvSpPr>
              <p:nvPr/>
            </p:nvSpPr>
            <p:spPr bwMode="auto">
              <a:xfrm>
                <a:off x="2494084" y="4111942"/>
                <a:ext cx="1030363" cy="16550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0" name="Rectangle 58"/>
              <p:cNvSpPr>
                <a:spLocks noChangeArrowheads="1"/>
              </p:cNvSpPr>
              <p:nvPr/>
            </p:nvSpPr>
            <p:spPr bwMode="auto">
              <a:xfrm>
                <a:off x="2494084" y="4398334"/>
                <a:ext cx="1030363" cy="16631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1" name="Rectangle 59"/>
              <p:cNvSpPr>
                <a:spLocks noChangeArrowheads="1"/>
              </p:cNvSpPr>
              <p:nvPr/>
            </p:nvSpPr>
            <p:spPr bwMode="auto">
              <a:xfrm>
                <a:off x="2494084" y="4685538"/>
                <a:ext cx="1030363" cy="16550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2" name="Rectangle 60"/>
              <p:cNvSpPr>
                <a:spLocks noChangeArrowheads="1"/>
              </p:cNvSpPr>
              <p:nvPr/>
            </p:nvSpPr>
            <p:spPr bwMode="auto">
              <a:xfrm>
                <a:off x="2494084" y="3538346"/>
                <a:ext cx="1030363" cy="165507"/>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3" name="Rectangle 61"/>
              <p:cNvSpPr>
                <a:spLocks noChangeArrowheads="1"/>
              </p:cNvSpPr>
              <p:nvPr/>
            </p:nvSpPr>
            <p:spPr bwMode="auto">
              <a:xfrm>
                <a:off x="2494084" y="3824739"/>
                <a:ext cx="1030363" cy="16631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54" name="Rectangle 62"/>
              <p:cNvSpPr>
                <a:spLocks noChangeArrowheads="1"/>
              </p:cNvSpPr>
              <p:nvPr/>
            </p:nvSpPr>
            <p:spPr bwMode="auto">
              <a:xfrm>
                <a:off x="2494084" y="3244652"/>
                <a:ext cx="1030363" cy="16713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6" name="Rectangle 74"/>
              <p:cNvSpPr>
                <a:spLocks noChangeArrowheads="1"/>
              </p:cNvSpPr>
              <p:nvPr/>
            </p:nvSpPr>
            <p:spPr bwMode="auto">
              <a:xfrm>
                <a:off x="3547164" y="6911771"/>
                <a:ext cx="477861" cy="8275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sp>
            <p:nvSpPr>
              <p:cNvPr id="67" name="Rectangle 75"/>
              <p:cNvSpPr>
                <a:spLocks noChangeArrowheads="1"/>
              </p:cNvSpPr>
              <p:nvPr/>
            </p:nvSpPr>
            <p:spPr bwMode="auto">
              <a:xfrm>
                <a:off x="1465449" y="6911771"/>
                <a:ext cx="1052305" cy="82754"/>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000000"/>
                  </a:solidFill>
                </a:endParaRPr>
              </a:p>
            </p:txBody>
          </p:sp>
          <p:pic>
            <p:nvPicPr>
              <p:cNvPr id="69" name="Picture 68"/>
              <p:cNvPicPr>
                <a:picLocks noChangeAspect="1"/>
              </p:cNvPicPr>
              <p:nvPr/>
            </p:nvPicPr>
            <p:blipFill>
              <a:blip r:embed="rId3"/>
              <a:stretch>
                <a:fillRect/>
              </a:stretch>
            </p:blipFill>
            <p:spPr>
              <a:xfrm>
                <a:off x="7220464" y="6120742"/>
                <a:ext cx="444971" cy="816595"/>
              </a:xfrm>
              <a:prstGeom prst="rect">
                <a:avLst/>
              </a:prstGeom>
            </p:spPr>
          </p:pic>
        </p:grpSp>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64076" y="3750935"/>
              <a:ext cx="4288654" cy="3271493"/>
            </a:xfrm>
            <a:prstGeom prst="rect">
              <a:avLst/>
            </a:prstGeom>
          </p:spPr>
        </p:pic>
      </p:grpSp>
      <p:sp>
        <p:nvSpPr>
          <p:cNvPr id="84" name="Title 1"/>
          <p:cNvSpPr txBox="1">
            <a:spLocks/>
          </p:cNvSpPr>
          <p:nvPr/>
        </p:nvSpPr>
        <p:spPr>
          <a:xfrm>
            <a:off x="1683141" y="1853031"/>
            <a:ext cx="9811191" cy="1686562"/>
          </a:xfrm>
          <a:prstGeom prst="rect">
            <a:avLst/>
          </a:prstGeom>
        </p:spPr>
        <p:txBody>
          <a:bodyPr lIns="268927" tIns="179285" rIns="179285" bIns="143428"/>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pPr>
              <a:lnSpc>
                <a:spcPts val="2941"/>
              </a:lnSpc>
            </a:pPr>
            <a:r>
              <a:rPr lang="en-US" sz="2745" dirty="0"/>
              <a:t>Reduce cost and complexity</a:t>
            </a:r>
            <a:br>
              <a:rPr lang="en-US" sz="2745" dirty="0"/>
            </a:br>
            <a:endParaRPr lang="en-US" sz="2745" dirty="0"/>
          </a:p>
          <a:p>
            <a:pPr>
              <a:lnSpc>
                <a:spcPts val="2941"/>
              </a:lnSpc>
            </a:pPr>
            <a:r>
              <a:rPr lang="en-US" sz="2745" dirty="0"/>
              <a:t>Rapid response to the business</a:t>
            </a:r>
          </a:p>
          <a:p>
            <a:pPr>
              <a:lnSpc>
                <a:spcPts val="2941"/>
              </a:lnSpc>
            </a:pPr>
            <a:endParaRPr lang="en-US" sz="2745" dirty="0"/>
          </a:p>
          <a:p>
            <a:pPr>
              <a:lnSpc>
                <a:spcPts val="2941"/>
              </a:lnSpc>
            </a:pPr>
            <a:r>
              <a:rPr lang="en-US" sz="2745" dirty="0"/>
              <a:t>Cloud options on demand</a:t>
            </a:r>
          </a:p>
        </p:txBody>
      </p:sp>
      <p:grpSp>
        <p:nvGrpSpPr>
          <p:cNvPr id="92" name="Group 91"/>
          <p:cNvGrpSpPr/>
          <p:nvPr/>
        </p:nvGrpSpPr>
        <p:grpSpPr>
          <a:xfrm>
            <a:off x="1147546" y="1960964"/>
            <a:ext cx="535228" cy="535228"/>
            <a:chOff x="1170556" y="1999789"/>
            <a:chExt cx="545960" cy="545960"/>
          </a:xfrm>
        </p:grpSpPr>
        <p:sp>
          <p:nvSpPr>
            <p:cNvPr id="85" name="Oval 84"/>
            <p:cNvSpPr/>
            <p:nvPr/>
          </p:nvSpPr>
          <p:spPr bwMode="auto">
            <a:xfrm>
              <a:off x="1170556" y="1999789"/>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86" name="Isosceles Triangle 85"/>
            <p:cNvSpPr/>
            <p:nvPr/>
          </p:nvSpPr>
          <p:spPr bwMode="auto">
            <a:xfrm rot="5400000">
              <a:off x="1361388" y="2195623"/>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91" name="Group 90"/>
          <p:cNvGrpSpPr/>
          <p:nvPr/>
        </p:nvGrpSpPr>
        <p:grpSpPr>
          <a:xfrm>
            <a:off x="1147546" y="2706134"/>
            <a:ext cx="535228" cy="535228"/>
            <a:chOff x="1170556" y="2780492"/>
            <a:chExt cx="545960" cy="545960"/>
          </a:xfrm>
        </p:grpSpPr>
        <p:sp>
          <p:nvSpPr>
            <p:cNvPr id="89" name="Oval 88"/>
            <p:cNvSpPr/>
            <p:nvPr/>
          </p:nvSpPr>
          <p:spPr bwMode="auto">
            <a:xfrm>
              <a:off x="1170556" y="2780492"/>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90" name="Isosceles Triangle 89"/>
            <p:cNvSpPr/>
            <p:nvPr/>
          </p:nvSpPr>
          <p:spPr bwMode="auto">
            <a:xfrm rot="5400000">
              <a:off x="1361388" y="2976326"/>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93" name="Group 92"/>
          <p:cNvGrpSpPr/>
          <p:nvPr/>
        </p:nvGrpSpPr>
        <p:grpSpPr>
          <a:xfrm>
            <a:off x="1147546" y="3451304"/>
            <a:ext cx="535228" cy="535228"/>
            <a:chOff x="1170556" y="2780492"/>
            <a:chExt cx="545960" cy="545960"/>
          </a:xfrm>
        </p:grpSpPr>
        <p:sp>
          <p:nvSpPr>
            <p:cNvPr id="94" name="Oval 93"/>
            <p:cNvSpPr/>
            <p:nvPr/>
          </p:nvSpPr>
          <p:spPr bwMode="auto">
            <a:xfrm>
              <a:off x="1170556" y="2780492"/>
              <a:ext cx="545960" cy="54596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solidFill>
                  <a:srgbClr val="DC3C00"/>
                </a:solidFill>
                <a:ea typeface="Segoe UI" pitchFamily="34" charset="0"/>
                <a:cs typeface="Segoe UI" pitchFamily="34" charset="0"/>
              </a:endParaRPr>
            </a:p>
          </p:txBody>
        </p:sp>
        <p:sp>
          <p:nvSpPr>
            <p:cNvPr id="95" name="Isosceles Triangle 94"/>
            <p:cNvSpPr/>
            <p:nvPr/>
          </p:nvSpPr>
          <p:spPr bwMode="auto">
            <a:xfrm rot="5400000">
              <a:off x="1361388" y="2976326"/>
              <a:ext cx="227788" cy="15429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96" name="Group 95"/>
          <p:cNvGrpSpPr/>
          <p:nvPr/>
        </p:nvGrpSpPr>
        <p:grpSpPr>
          <a:xfrm>
            <a:off x="11519653" y="6172471"/>
            <a:ext cx="535329" cy="668422"/>
            <a:chOff x="3487336" y="6247475"/>
            <a:chExt cx="546063" cy="681825"/>
          </a:xfrm>
        </p:grpSpPr>
        <p:sp>
          <p:nvSpPr>
            <p:cNvPr id="97"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98"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99"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0"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1"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2"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grpSp>
        <p:nvGrpSpPr>
          <p:cNvPr id="103" name="Group 102"/>
          <p:cNvGrpSpPr/>
          <p:nvPr/>
        </p:nvGrpSpPr>
        <p:grpSpPr>
          <a:xfrm>
            <a:off x="5438070" y="6158800"/>
            <a:ext cx="535329" cy="668422"/>
            <a:chOff x="3487336" y="6247475"/>
            <a:chExt cx="546063" cy="681825"/>
          </a:xfrm>
        </p:grpSpPr>
        <p:sp>
          <p:nvSpPr>
            <p:cNvPr id="104" name="Freeform 43"/>
            <p:cNvSpPr>
              <a:spLocks/>
            </p:cNvSpPr>
            <p:nvPr/>
          </p:nvSpPr>
          <p:spPr bwMode="auto">
            <a:xfrm flipH="1">
              <a:off x="3817689" y="6665319"/>
              <a:ext cx="69389" cy="263981"/>
            </a:xfrm>
            <a:custGeom>
              <a:avLst/>
              <a:gdLst>
                <a:gd name="T0" fmla="*/ 0 w 92"/>
                <a:gd name="T1" fmla="*/ 0 h 350"/>
                <a:gd name="T2" fmla="*/ 92 w 92"/>
                <a:gd name="T3" fmla="*/ 0 h 350"/>
                <a:gd name="T4" fmla="*/ 92 w 92"/>
                <a:gd name="T5" fmla="*/ 350 h 350"/>
                <a:gd name="T6" fmla="*/ 0 w 92"/>
                <a:gd name="T7" fmla="*/ 350 h 350"/>
                <a:gd name="T8" fmla="*/ 0 w 92"/>
                <a:gd name="T9" fmla="*/ 0 h 350"/>
                <a:gd name="T10" fmla="*/ 0 w 92"/>
                <a:gd name="T11" fmla="*/ 0 h 350"/>
              </a:gdLst>
              <a:ahLst/>
              <a:cxnLst>
                <a:cxn ang="0">
                  <a:pos x="T0" y="T1"/>
                </a:cxn>
                <a:cxn ang="0">
                  <a:pos x="T2" y="T3"/>
                </a:cxn>
                <a:cxn ang="0">
                  <a:pos x="T4" y="T5"/>
                </a:cxn>
                <a:cxn ang="0">
                  <a:pos x="T6" y="T7"/>
                </a:cxn>
                <a:cxn ang="0">
                  <a:pos x="T8" y="T9"/>
                </a:cxn>
                <a:cxn ang="0">
                  <a:pos x="T10" y="T11"/>
                </a:cxn>
              </a:cxnLst>
              <a:rect l="0" t="0" r="r" b="b"/>
              <a:pathLst>
                <a:path w="92" h="350">
                  <a:moveTo>
                    <a:pt x="0" y="0"/>
                  </a:moveTo>
                  <a:lnTo>
                    <a:pt x="92" y="0"/>
                  </a:lnTo>
                  <a:lnTo>
                    <a:pt x="92" y="350"/>
                  </a:lnTo>
                  <a:lnTo>
                    <a:pt x="0" y="350"/>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5" name="Oval 44"/>
            <p:cNvSpPr>
              <a:spLocks noChangeArrowheads="1"/>
            </p:cNvSpPr>
            <p:nvPr/>
          </p:nvSpPr>
          <p:spPr bwMode="auto">
            <a:xfrm flipH="1">
              <a:off x="3680419" y="6429999"/>
              <a:ext cx="352980" cy="352980"/>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6" name="Oval 45"/>
            <p:cNvSpPr>
              <a:spLocks noChangeArrowheads="1"/>
            </p:cNvSpPr>
            <p:nvPr/>
          </p:nvSpPr>
          <p:spPr bwMode="auto">
            <a:xfrm flipH="1">
              <a:off x="3724919" y="6247475"/>
              <a:ext cx="258701" cy="25945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7" name="Freeform 46"/>
            <p:cNvSpPr>
              <a:spLocks/>
            </p:cNvSpPr>
            <p:nvPr/>
          </p:nvSpPr>
          <p:spPr bwMode="auto">
            <a:xfrm flipH="1">
              <a:off x="3585386" y="6743759"/>
              <a:ext cx="48271" cy="185541"/>
            </a:xfrm>
            <a:custGeom>
              <a:avLst/>
              <a:gdLst>
                <a:gd name="T0" fmla="*/ 0 w 64"/>
                <a:gd name="T1" fmla="*/ 0 h 246"/>
                <a:gd name="T2" fmla="*/ 64 w 64"/>
                <a:gd name="T3" fmla="*/ 0 h 246"/>
                <a:gd name="T4" fmla="*/ 64 w 64"/>
                <a:gd name="T5" fmla="*/ 246 h 246"/>
                <a:gd name="T6" fmla="*/ 0 w 64"/>
                <a:gd name="T7" fmla="*/ 246 h 246"/>
                <a:gd name="T8" fmla="*/ 0 w 64"/>
                <a:gd name="T9" fmla="*/ 0 h 246"/>
                <a:gd name="T10" fmla="*/ 0 w 64"/>
                <a:gd name="T11" fmla="*/ 0 h 246"/>
              </a:gdLst>
              <a:ahLst/>
              <a:cxnLst>
                <a:cxn ang="0">
                  <a:pos x="T0" y="T1"/>
                </a:cxn>
                <a:cxn ang="0">
                  <a:pos x="T2" y="T3"/>
                </a:cxn>
                <a:cxn ang="0">
                  <a:pos x="T4" y="T5"/>
                </a:cxn>
                <a:cxn ang="0">
                  <a:pos x="T6" y="T7"/>
                </a:cxn>
                <a:cxn ang="0">
                  <a:pos x="T8" y="T9"/>
                </a:cxn>
                <a:cxn ang="0">
                  <a:pos x="T10" y="T11"/>
                </a:cxn>
              </a:cxnLst>
              <a:rect l="0" t="0" r="r" b="b"/>
              <a:pathLst>
                <a:path w="64" h="246">
                  <a:moveTo>
                    <a:pt x="0" y="0"/>
                  </a:moveTo>
                  <a:lnTo>
                    <a:pt x="64" y="0"/>
                  </a:lnTo>
                  <a:lnTo>
                    <a:pt x="64" y="246"/>
                  </a:lnTo>
                  <a:lnTo>
                    <a:pt x="0" y="246"/>
                  </a:lnTo>
                  <a:lnTo>
                    <a:pt x="0" y="0"/>
                  </a:lnTo>
                  <a:lnTo>
                    <a:pt x="0" y="0"/>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8" name="Oval 47"/>
            <p:cNvSpPr>
              <a:spLocks noChangeArrowheads="1"/>
            </p:cNvSpPr>
            <p:nvPr/>
          </p:nvSpPr>
          <p:spPr bwMode="auto">
            <a:xfrm flipH="1">
              <a:off x="3487336" y="6580091"/>
              <a:ext cx="244371" cy="248142"/>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sp>
          <p:nvSpPr>
            <p:cNvPr id="109" name="Oval 48"/>
            <p:cNvSpPr>
              <a:spLocks noChangeArrowheads="1"/>
            </p:cNvSpPr>
            <p:nvPr/>
          </p:nvSpPr>
          <p:spPr bwMode="auto">
            <a:xfrm flipH="1">
              <a:off x="3519768" y="6453380"/>
              <a:ext cx="180261" cy="183278"/>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endParaRPr>
            </a:p>
          </p:txBody>
        </p:sp>
      </p:grpSp>
    </p:spTree>
    <p:extLst>
      <p:ext uri="{BB962C8B-B14F-4D97-AF65-F5344CB8AC3E}">
        <p14:creationId xmlns:p14="http://schemas.microsoft.com/office/powerpoint/2010/main" val="1500988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0">
                                            <p:txEl>
                                              <p:pRg st="0" end="0"/>
                                            </p:txEl>
                                          </p:spTgt>
                                        </p:tgtEl>
                                        <p:attrNameLst>
                                          <p:attrName>style.visibility</p:attrName>
                                        </p:attrNameLst>
                                      </p:cBhvr>
                                      <p:to>
                                        <p:strVal val="visible"/>
                                      </p:to>
                                    </p:set>
                                    <p:animEffect transition="in" filter="fade">
                                      <p:cBhvr>
                                        <p:cTn id="7" dur="500"/>
                                        <p:tgtEl>
                                          <p:spTgt spid="8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69240" y="2084364"/>
            <a:ext cx="10757098" cy="4482124"/>
          </a:xfrm>
          <a:prstGeom prst="rect">
            <a:avLst/>
          </a:prstGeom>
          <a:solidFill>
            <a:srgbClr val="00205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a:solidFill>
                <a:srgbClr val="FFFFFF"/>
              </a:solidFill>
            </a:endParaRPr>
          </a:p>
        </p:txBody>
      </p:sp>
      <p:pic>
        <p:nvPicPr>
          <p:cNvPr id="109570"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2221" y="2271119"/>
            <a:ext cx="1277716" cy="2801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Box 6"/>
          <p:cNvSpPr txBox="1"/>
          <p:nvPr/>
        </p:nvSpPr>
        <p:spPr>
          <a:xfrm>
            <a:off x="465333" y="2959370"/>
            <a:ext cx="5826761" cy="875006"/>
          </a:xfrm>
          <a:prstGeom prst="rect">
            <a:avLst/>
          </a:prstGeom>
          <a:noFill/>
        </p:spPr>
        <p:txBody>
          <a:bodyPr>
            <a:spAutoFit/>
          </a:bodyPr>
          <a:lstStyle/>
          <a:p>
            <a:pPr defTabSz="914367">
              <a:defRPr/>
            </a:pPr>
            <a:r>
              <a:rPr lang="en-US" sz="5098" dirty="0">
                <a:gradFill>
                  <a:gsLst>
                    <a:gs pos="2917">
                      <a:srgbClr val="FFFFFF"/>
                    </a:gs>
                    <a:gs pos="100000">
                      <a:srgbClr val="FFFFFF"/>
                    </a:gs>
                  </a:gsLst>
                  <a:lin ang="5400000" scaled="0"/>
                </a:gradFill>
                <a:latin typeface="Segoe UI Light"/>
              </a:rPr>
              <a:t>Get started today!</a:t>
            </a:r>
          </a:p>
        </p:txBody>
      </p:sp>
      <p:sp>
        <p:nvSpPr>
          <p:cNvPr id="15" name="TextBox 14"/>
          <p:cNvSpPr txBox="1"/>
          <p:nvPr/>
        </p:nvSpPr>
        <p:spPr>
          <a:xfrm>
            <a:off x="465333" y="3889664"/>
            <a:ext cx="10561005" cy="1846566"/>
          </a:xfrm>
          <a:prstGeom prst="rect">
            <a:avLst/>
          </a:prstGeom>
          <a:noFill/>
        </p:spPr>
        <p:txBody>
          <a:bodyPr>
            <a:spAutoFit/>
          </a:bodyPr>
          <a:lstStyle/>
          <a:p>
            <a:pPr marL="280121" lvl="1" indent="-280121" defTabSz="896091">
              <a:lnSpc>
                <a:spcPct val="90000"/>
              </a:lnSpc>
              <a:spcAft>
                <a:spcPts val="1176"/>
              </a:spcAft>
              <a:buFont typeface="Wingdings" pitchFamily="2" charset="2"/>
              <a:buChar char="§"/>
              <a:defRPr/>
            </a:pPr>
            <a:r>
              <a:rPr lang="en-US" sz="2353" dirty="0">
                <a:solidFill>
                  <a:srgbClr val="FFFFFF"/>
                </a:solidFill>
                <a:latin typeface="Segoe UI Light"/>
              </a:rPr>
              <a:t>Try Windows Server 2012</a:t>
            </a:r>
          </a:p>
          <a:p>
            <a:pPr marL="280121" lvl="1" indent="-280121" defTabSz="896091">
              <a:lnSpc>
                <a:spcPct val="90000"/>
              </a:lnSpc>
              <a:spcAft>
                <a:spcPts val="1176"/>
              </a:spcAft>
              <a:buFont typeface="Wingdings" pitchFamily="2" charset="2"/>
              <a:buChar char="§"/>
              <a:defRPr/>
            </a:pPr>
            <a:r>
              <a:rPr lang="en-US" sz="2353" dirty="0">
                <a:solidFill>
                  <a:srgbClr val="FFFFFF"/>
                </a:solidFill>
                <a:latin typeface="Segoe UI Light"/>
              </a:rPr>
              <a:t>Try Microsoft Azure</a:t>
            </a:r>
          </a:p>
          <a:p>
            <a:pPr marL="280121" lvl="1" indent="-280121" defTabSz="896091">
              <a:lnSpc>
                <a:spcPct val="90000"/>
              </a:lnSpc>
              <a:spcAft>
                <a:spcPts val="1176"/>
              </a:spcAft>
              <a:buFont typeface="Wingdings" pitchFamily="2" charset="2"/>
              <a:buChar char="§"/>
              <a:defRPr/>
            </a:pPr>
            <a:r>
              <a:rPr lang="en-US" sz="2353" dirty="0">
                <a:solidFill>
                  <a:srgbClr val="FFFFFF"/>
                </a:solidFill>
                <a:latin typeface="Segoe UI Light"/>
              </a:rPr>
              <a:t>Ask us about our Immersion Experience Program </a:t>
            </a:r>
          </a:p>
          <a:p>
            <a:pPr marL="280121" lvl="1" indent="-280121" defTabSz="896091">
              <a:lnSpc>
                <a:spcPct val="90000"/>
              </a:lnSpc>
              <a:spcAft>
                <a:spcPts val="1176"/>
              </a:spcAft>
              <a:buFont typeface="Wingdings" pitchFamily="2" charset="2"/>
              <a:buChar char="§"/>
              <a:defRPr/>
            </a:pPr>
            <a:r>
              <a:rPr lang="en-US" sz="2353" dirty="0">
                <a:solidFill>
                  <a:srgbClr val="FFFFFF"/>
                </a:solidFill>
                <a:latin typeface="Segoe UI Light"/>
              </a:rPr>
              <a:t>Visit www.Microsoft.com/transform to learn more</a:t>
            </a:r>
          </a:p>
        </p:txBody>
      </p:sp>
    </p:spTree>
    <p:extLst>
      <p:ext uri="{BB962C8B-B14F-4D97-AF65-F5344CB8AC3E}">
        <p14:creationId xmlns:p14="http://schemas.microsoft.com/office/powerpoint/2010/main" val="3055362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409" name="Rectangle 2"/>
          <p:cNvSpPr>
            <a:spLocks noChangeArrowheads="1"/>
          </p:cNvSpPr>
          <p:nvPr/>
        </p:nvSpPr>
        <p:spPr bwMode="white">
          <a:xfrm>
            <a:off x="273908" y="1187939"/>
            <a:ext cx="2687719" cy="5453251"/>
          </a:xfrm>
          <a:prstGeom prst="rect">
            <a:avLst/>
          </a:prstGeom>
          <a:solidFill>
            <a:srgbClr val="333333">
              <a:alpha val="50195"/>
            </a:srgbClr>
          </a:solidFill>
          <a:ln>
            <a:noFill/>
          </a:ln>
          <a:extLs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wrap="none" lIns="129352" tIns="64668" rIns="129352" bIns="64668" anchor="ctr"/>
          <a:lstStyle/>
          <a:p>
            <a:pPr algn="ctr" defTabSz="1293225" fontAlgn="base">
              <a:spcBef>
                <a:spcPct val="0"/>
              </a:spcBef>
              <a:spcAft>
                <a:spcPct val="0"/>
              </a:spcAft>
            </a:pPr>
            <a:endParaRPr lang="en-US" sz="3333">
              <a:solidFill>
                <a:srgbClr val="FFFFFF"/>
              </a:solidFill>
              <a:ea typeface="ＭＳ Ｐゴシック" charset="0"/>
            </a:endParaRPr>
          </a:p>
        </p:txBody>
      </p:sp>
      <p:sp>
        <p:nvSpPr>
          <p:cNvPr id="4" name="Line 3"/>
          <p:cNvSpPr>
            <a:spLocks noChangeShapeType="1"/>
          </p:cNvSpPr>
          <p:nvPr/>
        </p:nvSpPr>
        <p:spPr bwMode="white">
          <a:xfrm>
            <a:off x="345498" y="2084364"/>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5" name="Line 7"/>
          <p:cNvSpPr>
            <a:spLocks noChangeShapeType="1"/>
          </p:cNvSpPr>
          <p:nvPr/>
        </p:nvSpPr>
        <p:spPr bwMode="white">
          <a:xfrm>
            <a:off x="345498" y="2552807"/>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6" name="Line 9"/>
          <p:cNvSpPr>
            <a:spLocks noChangeShapeType="1"/>
          </p:cNvSpPr>
          <p:nvPr/>
        </p:nvSpPr>
        <p:spPr bwMode="white">
          <a:xfrm>
            <a:off x="5770735" y="686813"/>
            <a:ext cx="0" cy="5717821"/>
          </a:xfrm>
          <a:prstGeom prst="line">
            <a:avLst/>
          </a:prstGeom>
          <a:noFill/>
          <a:ln w="9525">
            <a:noFill/>
            <a:round/>
            <a:headEnd type="none" w="sm" len="sm"/>
            <a:tailEnd type="none" w="sm" len="sm"/>
          </a:ln>
        </p:spPr>
        <p:txBody>
          <a:bodyPr lIns="130255" tIns="65120" rIns="130255" bIns="65120" anchor="ctr">
            <a:spAutoFit/>
          </a:bodyPr>
          <a:lstStyle/>
          <a:p>
            <a:pPr defTabSz="1293384">
              <a:defRPr/>
            </a:pPr>
            <a:endParaRPr lang="en-US" sz="1667"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17413" name="Rectangle 14"/>
          <p:cNvSpPr>
            <a:spLocks noChangeArrowheads="1"/>
          </p:cNvSpPr>
          <p:nvPr/>
        </p:nvSpPr>
        <p:spPr bwMode="white">
          <a:xfrm>
            <a:off x="3053448" y="4373671"/>
            <a:ext cx="6808783" cy="3283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30243" tIns="65119" rIns="130243" bIns="65119" anchor="ctr">
            <a:spAutoFit/>
          </a:bodyPr>
          <a:lstStyle/>
          <a:p>
            <a:pPr defTabSz="1293225" fontAlgn="base">
              <a:spcBef>
                <a:spcPct val="0"/>
              </a:spcBef>
              <a:spcAft>
                <a:spcPct val="0"/>
              </a:spcAft>
            </a:pPr>
            <a:endParaRPr lang="en-US" sz="1274">
              <a:solidFill>
                <a:srgbClr val="FFFFFF"/>
              </a:solidFill>
              <a:ea typeface="ＭＳ Ｐゴシック" charset="0"/>
            </a:endParaRPr>
          </a:p>
        </p:txBody>
      </p:sp>
      <p:sp>
        <p:nvSpPr>
          <p:cNvPr id="17414" name="Rectangle 13"/>
          <p:cNvSpPr>
            <a:spLocks noChangeArrowheads="1"/>
          </p:cNvSpPr>
          <p:nvPr/>
        </p:nvSpPr>
        <p:spPr bwMode="white">
          <a:xfrm>
            <a:off x="3053448" y="2126879"/>
            <a:ext cx="8333950" cy="3662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ＭＳ Ｐゴシック" charset="0"/>
              </a:rPr>
              <a:t>Microsoft Cloud Platform Strategy</a:t>
            </a:r>
            <a:endParaRPr lang="en-US" altLang="ja-JP" sz="1863" dirty="0">
              <a:solidFill>
                <a:srgbClr val="FFFFFF"/>
              </a:solidFill>
              <a:ea typeface="ＭＳ Ｐゴシック" charset="0"/>
            </a:endParaRPr>
          </a:p>
        </p:txBody>
      </p:sp>
      <p:sp>
        <p:nvSpPr>
          <p:cNvPr id="17415" name="Rectangle 20"/>
          <p:cNvSpPr>
            <a:spLocks noChangeArrowheads="1"/>
          </p:cNvSpPr>
          <p:nvPr/>
        </p:nvSpPr>
        <p:spPr bwMode="white">
          <a:xfrm>
            <a:off x="-227219" y="2126383"/>
            <a:ext cx="3207521" cy="3672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a:solidFill>
                  <a:srgbClr val="FFFFFF"/>
                </a:solidFill>
                <a:ea typeface="ＭＳ Ｐゴシック" charset="0"/>
              </a:rPr>
              <a:t>Title:</a:t>
            </a:r>
          </a:p>
        </p:txBody>
      </p:sp>
      <p:sp>
        <p:nvSpPr>
          <p:cNvPr id="11" name="Line 25"/>
          <p:cNvSpPr>
            <a:spLocks noChangeShapeType="1"/>
          </p:cNvSpPr>
          <p:nvPr/>
        </p:nvSpPr>
        <p:spPr bwMode="white">
          <a:xfrm>
            <a:off x="345498" y="3491253"/>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17417" name="Rectangle 11"/>
          <p:cNvSpPr>
            <a:spLocks noChangeArrowheads="1"/>
          </p:cNvSpPr>
          <p:nvPr/>
        </p:nvSpPr>
        <p:spPr bwMode="white">
          <a:xfrm>
            <a:off x="3053448" y="1254859"/>
            <a:ext cx="8239016" cy="3797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defTabSz="911949" eaLnBrk="0" fontAlgn="base" hangingPunct="0">
              <a:lnSpc>
                <a:spcPct val="90000"/>
              </a:lnSpc>
              <a:spcBef>
                <a:spcPct val="30000"/>
              </a:spcBef>
              <a:spcAft>
                <a:spcPct val="0"/>
              </a:spcAft>
              <a:buClr>
                <a:srgbClr val="FFFF99"/>
              </a:buClr>
              <a:buSzPct val="75000"/>
            </a:pPr>
            <a:r>
              <a:rPr lang="en-US" sz="1961" dirty="0">
                <a:solidFill>
                  <a:srgbClr val="FFFFFF"/>
                </a:solidFill>
                <a:ea typeface="ＭＳ Ｐゴシック" charset="0"/>
                <a:cs typeface="Segoe UI" charset="0"/>
              </a:rPr>
              <a:t>Country Mgrs., Account Mgrs., BG leads, BG execs &amp; speakers</a:t>
            </a:r>
          </a:p>
        </p:txBody>
      </p:sp>
      <p:sp>
        <p:nvSpPr>
          <p:cNvPr id="17418" name="Rectangle 19"/>
          <p:cNvSpPr>
            <a:spLocks noChangeArrowheads="1"/>
          </p:cNvSpPr>
          <p:nvPr/>
        </p:nvSpPr>
        <p:spPr bwMode="white">
          <a:xfrm>
            <a:off x="-227219" y="1261085"/>
            <a:ext cx="3207521" cy="3657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a:solidFill>
                  <a:srgbClr val="FFFFFF"/>
                </a:solidFill>
                <a:ea typeface="ＭＳ Ｐゴシック" charset="0"/>
              </a:rPr>
              <a:t>Speaker:</a:t>
            </a:r>
          </a:p>
        </p:txBody>
      </p:sp>
      <p:sp>
        <p:nvSpPr>
          <p:cNvPr id="17419" name="Rectangle 11"/>
          <p:cNvSpPr>
            <a:spLocks noChangeArrowheads="1"/>
          </p:cNvSpPr>
          <p:nvPr/>
        </p:nvSpPr>
        <p:spPr bwMode="white">
          <a:xfrm>
            <a:off x="3053448" y="1675058"/>
            <a:ext cx="8239016" cy="3797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defTabSz="911949" eaLnBrk="0" fontAlgn="base" hangingPunct="0">
              <a:lnSpc>
                <a:spcPct val="90000"/>
              </a:lnSpc>
              <a:spcBef>
                <a:spcPct val="30000"/>
              </a:spcBef>
              <a:spcAft>
                <a:spcPct val="0"/>
              </a:spcAft>
              <a:buClr>
                <a:srgbClr val="FFFF99"/>
              </a:buClr>
              <a:buSzPct val="75000"/>
            </a:pPr>
            <a:r>
              <a:rPr lang="en-US" sz="1961">
                <a:solidFill>
                  <a:srgbClr val="FFFFFF"/>
                </a:solidFill>
                <a:ea typeface="ＭＳ Ｐゴシック" charset="0"/>
                <a:cs typeface="Segoe UI" charset="0"/>
              </a:rPr>
              <a:t>CIO, CIO-1</a:t>
            </a:r>
          </a:p>
        </p:txBody>
      </p:sp>
      <p:sp>
        <p:nvSpPr>
          <p:cNvPr id="17420" name="Rectangle 19"/>
          <p:cNvSpPr>
            <a:spLocks noChangeArrowheads="1"/>
          </p:cNvSpPr>
          <p:nvPr/>
        </p:nvSpPr>
        <p:spPr bwMode="white">
          <a:xfrm>
            <a:off x="-239668" y="1681284"/>
            <a:ext cx="3209076" cy="3657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a:solidFill>
                  <a:srgbClr val="FFFFFF"/>
                </a:solidFill>
                <a:ea typeface="ＭＳ Ｐゴシック" charset="0"/>
              </a:rPr>
              <a:t>Audience:</a:t>
            </a:r>
          </a:p>
        </p:txBody>
      </p:sp>
      <p:sp>
        <p:nvSpPr>
          <p:cNvPr id="17421" name="Rectangle 23"/>
          <p:cNvSpPr>
            <a:spLocks noChangeArrowheads="1"/>
          </p:cNvSpPr>
          <p:nvPr/>
        </p:nvSpPr>
        <p:spPr bwMode="white">
          <a:xfrm>
            <a:off x="-1523611" y="2594828"/>
            <a:ext cx="4503913" cy="3672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ＭＳ Ｐゴシック" charset="0"/>
              </a:rPr>
              <a:t>Length and version:</a:t>
            </a:r>
          </a:p>
        </p:txBody>
      </p:sp>
      <p:sp>
        <p:nvSpPr>
          <p:cNvPr id="17" name="Rectangle 13"/>
          <p:cNvSpPr>
            <a:spLocks noChangeArrowheads="1"/>
          </p:cNvSpPr>
          <p:nvPr/>
        </p:nvSpPr>
        <p:spPr bwMode="white">
          <a:xfrm>
            <a:off x="3053448" y="2594828"/>
            <a:ext cx="9219480" cy="36728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107273" tIns="53635" rIns="107273" bIns="53635" anchor="ctr">
            <a:spAutoFit/>
          </a:bodyPr>
          <a:lstStyle/>
          <a:p>
            <a:pPr defTabSz="1293760" eaLnBrk="0" fontAlgn="base" hangingPunct="0">
              <a:lnSpc>
                <a:spcPct val="90000"/>
              </a:lnSpc>
              <a:spcBef>
                <a:spcPct val="30000"/>
              </a:spcBef>
              <a:spcAft>
                <a:spcPct val="0"/>
              </a:spcAft>
              <a:buClr>
                <a:srgbClr val="FFFF99"/>
              </a:buClr>
              <a:buSzPct val="75000"/>
              <a:defRPr/>
            </a:pPr>
            <a:r>
              <a:rPr lang="en-US" sz="1865" dirty="0">
                <a:solidFill>
                  <a:srgbClr val="FFFFFF"/>
                </a:solidFill>
                <a:ea typeface="ＭＳ Ｐゴシック" charset="0"/>
                <a:cs typeface="Adobe Arabic" panose="02040503050201020203" pitchFamily="18" charset="-78"/>
              </a:rPr>
              <a:t>30-45 minutes, last </a:t>
            </a:r>
            <a:r>
              <a:rPr lang="en-US" sz="1865">
                <a:solidFill>
                  <a:srgbClr val="FFFFFF"/>
                </a:solidFill>
                <a:ea typeface="ＭＳ Ｐゴシック" charset="0"/>
                <a:cs typeface="Adobe Arabic" panose="02040503050201020203" pitchFamily="18" charset="-78"/>
              </a:rPr>
              <a:t>updated March 2015</a:t>
            </a:r>
            <a:endParaRPr lang="en-US" sz="1865" dirty="0">
              <a:solidFill>
                <a:srgbClr val="FFFFFF"/>
              </a:solidFill>
              <a:ea typeface="ＭＳ Ｐゴシック" charset="0"/>
              <a:cs typeface="Adobe Arabic" panose="02040503050201020203" pitchFamily="18" charset="-78"/>
            </a:endParaRPr>
          </a:p>
        </p:txBody>
      </p:sp>
      <p:sp>
        <p:nvSpPr>
          <p:cNvPr id="18" name="Line 25"/>
          <p:cNvSpPr>
            <a:spLocks noChangeShapeType="1"/>
          </p:cNvSpPr>
          <p:nvPr/>
        </p:nvSpPr>
        <p:spPr bwMode="white">
          <a:xfrm>
            <a:off x="345498" y="3021252"/>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19" name="Line 25"/>
          <p:cNvSpPr>
            <a:spLocks noChangeShapeType="1"/>
          </p:cNvSpPr>
          <p:nvPr/>
        </p:nvSpPr>
        <p:spPr bwMode="white">
          <a:xfrm>
            <a:off x="345498" y="3978372"/>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20" name="Title 1"/>
          <p:cNvSpPr txBox="1">
            <a:spLocks/>
          </p:cNvSpPr>
          <p:nvPr/>
        </p:nvSpPr>
        <p:spPr>
          <a:xfrm>
            <a:off x="692333" y="230073"/>
            <a:ext cx="10293418" cy="629594"/>
          </a:xfrm>
          <a:prstGeom prst="rect">
            <a:avLst/>
          </a:prstGeom>
        </p:spPr>
        <p:txBody>
          <a:bodyPr lIns="0" tIns="0" rIns="0" bIns="0"/>
          <a:lstStyle>
            <a:lvl1pPr algn="l" defTabSz="768113" rtl="0" eaLnBrk="1" latinLnBrk="0" hangingPunct="1">
              <a:lnSpc>
                <a:spcPct val="90000"/>
              </a:lnSpc>
              <a:spcBef>
                <a:spcPct val="0"/>
              </a:spcBef>
              <a:buNone/>
              <a:defRPr lang="en-US" sz="4900" b="0" kern="1200" cap="none" spc="-247" baseline="0" dirty="0">
                <a:ln w="3175">
                  <a:noFill/>
                </a:ln>
                <a:gradFill flip="none" rotWithShape="1">
                  <a:gsLst>
                    <a:gs pos="7500">
                      <a:srgbClr val="FFFFFF"/>
                    </a:gs>
                    <a:gs pos="15417">
                      <a:srgbClr val="FFFFFF"/>
                    </a:gs>
                  </a:gsLst>
                  <a:lin ang="5400000" scaled="0"/>
                  <a:tileRect/>
                </a:gradFill>
                <a:effectLst/>
                <a:latin typeface="Segoe UI Light" pitchFamily="34" charset="0"/>
                <a:ea typeface="+mn-ea"/>
                <a:cs typeface="Arial" charset="0"/>
              </a:defRPr>
            </a:lvl1pPr>
          </a:lstStyle>
          <a:p>
            <a:pPr>
              <a:spcBef>
                <a:spcPts val="0"/>
              </a:spcBef>
              <a:spcAft>
                <a:spcPts val="715"/>
              </a:spcAft>
              <a:defRPr/>
            </a:pPr>
            <a:r>
              <a:rPr sz="3333">
                <a:solidFill>
                  <a:srgbClr val="FFC000"/>
                </a:solidFill>
                <a:cs typeface="Adobe Arabic" panose="02040503050201020203" pitchFamily="18" charset="-78"/>
              </a:rPr>
              <a:t>(DO NOT SHOW)</a:t>
            </a:r>
            <a:r>
              <a:rPr sz="3333">
                <a:cs typeface="Adobe Arabic" panose="02040503050201020203" pitchFamily="18" charset="-78"/>
              </a:rPr>
              <a:t/>
            </a:r>
            <a:br>
              <a:rPr sz="3333">
                <a:cs typeface="Adobe Arabic" panose="02040503050201020203" pitchFamily="18" charset="-78"/>
              </a:rPr>
            </a:br>
            <a:r>
              <a:rPr sz="3333">
                <a:cs typeface="Adobe Arabic" panose="02040503050201020203" pitchFamily="18" charset="-78"/>
              </a:rPr>
              <a:t>Microsoft Cloud Platform Vision </a:t>
            </a:r>
            <a:endParaRPr sz="3333">
              <a:solidFill>
                <a:srgbClr val="FF6629"/>
              </a:solidFill>
              <a:cs typeface="Adobe Arabic" panose="02040503050201020203" pitchFamily="18" charset="-78"/>
            </a:endParaRPr>
          </a:p>
        </p:txBody>
      </p:sp>
      <p:sp>
        <p:nvSpPr>
          <p:cNvPr id="24" name="Line 25"/>
          <p:cNvSpPr>
            <a:spLocks noChangeShapeType="1"/>
          </p:cNvSpPr>
          <p:nvPr/>
        </p:nvSpPr>
        <p:spPr bwMode="white">
          <a:xfrm>
            <a:off x="345498" y="4896585"/>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17427" name="Rectangle 24"/>
          <p:cNvSpPr>
            <a:spLocks noChangeArrowheads="1"/>
          </p:cNvSpPr>
          <p:nvPr/>
        </p:nvSpPr>
        <p:spPr bwMode="white">
          <a:xfrm>
            <a:off x="-227219" y="3064829"/>
            <a:ext cx="3207521" cy="3657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ＭＳ Ｐゴシック" charset="0"/>
              </a:rPr>
              <a:t>Content level:</a:t>
            </a:r>
          </a:p>
        </p:txBody>
      </p:sp>
      <p:sp>
        <p:nvSpPr>
          <p:cNvPr id="17428" name="Rectangle 13"/>
          <p:cNvSpPr>
            <a:spLocks noChangeArrowheads="1"/>
          </p:cNvSpPr>
          <p:nvPr/>
        </p:nvSpPr>
        <p:spPr bwMode="white">
          <a:xfrm>
            <a:off x="3053447" y="3064829"/>
            <a:ext cx="9350209" cy="3657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ＭＳ Ｐゴシック" charset="0"/>
              </a:rPr>
              <a:t>Level 50 for external and internal use</a:t>
            </a:r>
            <a:endParaRPr lang="en-US" altLang="ja-JP" sz="1863" dirty="0">
              <a:solidFill>
                <a:srgbClr val="FFFFFF"/>
              </a:solidFill>
              <a:ea typeface="MS PGothic" charset="0"/>
            </a:endParaRPr>
          </a:p>
        </p:txBody>
      </p:sp>
      <p:sp>
        <p:nvSpPr>
          <p:cNvPr id="17429" name="Rectangle 27"/>
          <p:cNvSpPr>
            <a:spLocks noChangeArrowheads="1"/>
          </p:cNvSpPr>
          <p:nvPr/>
        </p:nvSpPr>
        <p:spPr bwMode="white">
          <a:xfrm>
            <a:off x="328379" y="4971288"/>
            <a:ext cx="2651923" cy="3657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ＭＳ Ｐゴシック" charset="0"/>
              </a:rPr>
              <a:t>Usage guide:</a:t>
            </a:r>
          </a:p>
        </p:txBody>
      </p:sp>
      <p:sp>
        <p:nvSpPr>
          <p:cNvPr id="29" name="Rectangle 13"/>
          <p:cNvSpPr>
            <a:spLocks noChangeArrowheads="1"/>
          </p:cNvSpPr>
          <p:nvPr/>
        </p:nvSpPr>
        <p:spPr bwMode="white">
          <a:xfrm>
            <a:off x="3014540" y="5007083"/>
            <a:ext cx="9149447" cy="166990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107273" tIns="53635" rIns="107273" bIns="53635">
            <a:spAutoFit/>
          </a:bodyPr>
          <a:lstStyle/>
          <a:p>
            <a:pPr defTabSz="1293542" eaLnBrk="0" fontAlgn="base" hangingPunct="0">
              <a:lnSpc>
                <a:spcPct val="90000"/>
              </a:lnSpc>
              <a:spcBef>
                <a:spcPct val="30000"/>
              </a:spcBef>
              <a:spcAft>
                <a:spcPct val="0"/>
              </a:spcAft>
              <a:buClr>
                <a:srgbClr val="FFFF99"/>
              </a:buClr>
              <a:buSzPct val="75000"/>
              <a:defRPr/>
            </a:pPr>
            <a:r>
              <a:rPr lang="en-US" sz="1863" dirty="0">
                <a:solidFill>
                  <a:srgbClr val="FF0000"/>
                </a:solidFill>
                <a:ea typeface="ＭＳ Ｐゴシック" charset="0"/>
                <a:cs typeface="Adobe Arabic" panose="02040503050201020203" pitchFamily="18" charset="-78"/>
              </a:rPr>
              <a:t>DO NOT edit slides or text</a:t>
            </a:r>
          </a:p>
          <a:p>
            <a:pPr marL="340102" indent="-340102" defTabSz="1293542" eaLnBrk="0" fontAlgn="base" hangingPunct="0">
              <a:lnSpc>
                <a:spcPct val="90000"/>
              </a:lnSpc>
              <a:spcAft>
                <a:spcPct val="0"/>
              </a:spcAft>
              <a:buClr>
                <a:srgbClr val="FFFF99"/>
              </a:buClr>
              <a:buSzPct val="75000"/>
              <a:buFont typeface="Arial" pitchFamily="34" charset="0"/>
              <a:buChar char="•"/>
              <a:defRPr/>
            </a:pPr>
            <a:r>
              <a:rPr lang="en-US" sz="1568" dirty="0">
                <a:solidFill>
                  <a:srgbClr val="FFFFFF"/>
                </a:solidFill>
                <a:ea typeface="ＭＳ Ｐゴシック" charset="0"/>
                <a:cs typeface="Adobe Arabic" panose="02040503050201020203" pitchFamily="18" charset="-78"/>
              </a:rPr>
              <a:t>This is a CORE BG story.  ALL messages and wording on slides have been reviewed and approved by marketing leaders.</a:t>
            </a:r>
          </a:p>
          <a:p>
            <a:pPr marL="340102" indent="-340102" defTabSz="1293542" eaLnBrk="0" fontAlgn="base" hangingPunct="0">
              <a:lnSpc>
                <a:spcPct val="90000"/>
              </a:lnSpc>
              <a:spcAft>
                <a:spcPct val="0"/>
              </a:spcAft>
              <a:buClr>
                <a:srgbClr val="FFFF99"/>
              </a:buClr>
              <a:buSzPct val="75000"/>
              <a:buFont typeface="Arial" pitchFamily="34" charset="0"/>
              <a:buChar char="•"/>
              <a:defRPr/>
            </a:pPr>
            <a:r>
              <a:rPr lang="en-US" sz="1568" dirty="0">
                <a:solidFill>
                  <a:srgbClr val="FFFFFF"/>
                </a:solidFill>
                <a:ea typeface="ＭＳ Ｐゴシック" charset="0"/>
                <a:cs typeface="Adobe Arabic" panose="02040503050201020203" pitchFamily="18" charset="-78"/>
              </a:rPr>
              <a:t>Send any suggested edits to deck contact</a:t>
            </a:r>
          </a:p>
          <a:p>
            <a:pPr marL="340102" indent="-340102" defTabSz="1293542" eaLnBrk="0" fontAlgn="base" hangingPunct="0">
              <a:lnSpc>
                <a:spcPct val="90000"/>
              </a:lnSpc>
              <a:spcAft>
                <a:spcPct val="0"/>
              </a:spcAft>
              <a:buClr>
                <a:srgbClr val="FFFF99"/>
              </a:buClr>
              <a:buSzPct val="75000"/>
              <a:buFont typeface="Arial" pitchFamily="34" charset="0"/>
              <a:buChar char="•"/>
              <a:defRPr/>
            </a:pPr>
            <a:r>
              <a:rPr lang="en-US" sz="1568" dirty="0">
                <a:solidFill>
                  <a:srgbClr val="FFFFFF"/>
                </a:solidFill>
                <a:ea typeface="ＭＳ Ｐゴシック" charset="0"/>
                <a:cs typeface="Adobe Arabic" panose="02040503050201020203" pitchFamily="18" charset="-78"/>
              </a:rPr>
              <a:t>Translation of content is allowed</a:t>
            </a:r>
          </a:p>
          <a:p>
            <a:pPr marL="340102" indent="-340102" defTabSz="1293542" eaLnBrk="0" fontAlgn="base" hangingPunct="0">
              <a:lnSpc>
                <a:spcPct val="90000"/>
              </a:lnSpc>
              <a:spcAft>
                <a:spcPct val="0"/>
              </a:spcAft>
              <a:buClr>
                <a:srgbClr val="FFFF99"/>
              </a:buClr>
              <a:buSzPct val="75000"/>
              <a:buFont typeface="Arial" pitchFamily="34" charset="0"/>
              <a:buChar char="•"/>
              <a:defRPr/>
            </a:pPr>
            <a:r>
              <a:rPr lang="en-US" sz="1568" dirty="0">
                <a:solidFill>
                  <a:srgbClr val="FFFFFF"/>
                </a:solidFill>
                <a:ea typeface="ＭＳ Ｐゴシック" charset="0"/>
                <a:cs typeface="Adobe Arabic" panose="02040503050201020203" pitchFamily="18" charset="-78"/>
              </a:rPr>
              <a:t>Augment content with local customer stories</a:t>
            </a:r>
          </a:p>
          <a:p>
            <a:pPr marL="340102" indent="-340102" defTabSz="1293542" eaLnBrk="0" fontAlgn="base" hangingPunct="0">
              <a:lnSpc>
                <a:spcPct val="90000"/>
              </a:lnSpc>
              <a:spcAft>
                <a:spcPct val="0"/>
              </a:spcAft>
              <a:buClr>
                <a:srgbClr val="FFFF99"/>
              </a:buClr>
              <a:buSzPct val="75000"/>
              <a:buFont typeface="Arial" pitchFamily="34" charset="0"/>
              <a:buChar char="•"/>
              <a:defRPr/>
            </a:pPr>
            <a:r>
              <a:rPr lang="en-US" sz="1568" dirty="0">
                <a:solidFill>
                  <a:srgbClr val="FFFFFF"/>
                </a:solidFill>
                <a:ea typeface="ＭＳ Ｐゴシック" charset="0"/>
                <a:cs typeface="Adobe Arabic" panose="02040503050201020203" pitchFamily="18" charset="-78"/>
              </a:rPr>
              <a:t>Content will be reviewed quarterly for updates</a:t>
            </a:r>
          </a:p>
        </p:txBody>
      </p:sp>
      <p:sp>
        <p:nvSpPr>
          <p:cNvPr id="17431" name="Rectangle 27"/>
          <p:cNvSpPr>
            <a:spLocks noChangeArrowheads="1"/>
          </p:cNvSpPr>
          <p:nvPr/>
        </p:nvSpPr>
        <p:spPr bwMode="white">
          <a:xfrm>
            <a:off x="-227219" y="3562842"/>
            <a:ext cx="3207521" cy="3657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ＭＳ Ｐゴシック" charset="0"/>
              </a:rPr>
              <a:t>Deck contacts:</a:t>
            </a:r>
          </a:p>
        </p:txBody>
      </p:sp>
      <p:sp>
        <p:nvSpPr>
          <p:cNvPr id="17432" name="Rectangle 13"/>
          <p:cNvSpPr>
            <a:spLocks noChangeArrowheads="1"/>
          </p:cNvSpPr>
          <p:nvPr/>
        </p:nvSpPr>
        <p:spPr bwMode="white">
          <a:xfrm>
            <a:off x="3053447" y="3579962"/>
            <a:ext cx="9207030" cy="3657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spAutoFit/>
          </a:bodyPr>
          <a:lstStyle/>
          <a:p>
            <a:pPr defTabSz="1293225" eaLnBrk="0" fontAlgn="base" hangingPunct="0">
              <a:lnSpc>
                <a:spcPct val="90000"/>
              </a:lnSpc>
              <a:spcBef>
                <a:spcPct val="30000"/>
              </a:spcBef>
              <a:spcAft>
                <a:spcPct val="0"/>
              </a:spcAft>
              <a:buClr>
                <a:srgbClr val="FFFF99"/>
              </a:buClr>
              <a:buSzPct val="75000"/>
            </a:pPr>
            <a:r>
              <a:rPr lang="en-US" altLang="ja-JP" sz="1863" dirty="0">
                <a:solidFill>
                  <a:srgbClr val="FFFFFF"/>
                </a:solidFill>
                <a:ea typeface="MS PGothic" charset="0"/>
              </a:rPr>
              <a:t>C+E Integrated Marketing (contact: </a:t>
            </a:r>
            <a:r>
              <a:rPr lang="en-US" altLang="ja-JP" sz="1863" dirty="0" err="1">
                <a:solidFill>
                  <a:srgbClr val="FFFFFF"/>
                </a:solidFill>
                <a:ea typeface="MS PGothic" charset="0"/>
              </a:rPr>
              <a:t>shlotito</a:t>
            </a:r>
            <a:r>
              <a:rPr lang="en-US" altLang="ja-JP" sz="1863" dirty="0">
                <a:solidFill>
                  <a:srgbClr val="FFFFFF"/>
                </a:solidFill>
                <a:ea typeface="MS PGothic" charset="0"/>
              </a:rPr>
              <a:t>)</a:t>
            </a:r>
          </a:p>
        </p:txBody>
      </p:sp>
      <p:sp>
        <p:nvSpPr>
          <p:cNvPr id="38" name="Line 25"/>
          <p:cNvSpPr>
            <a:spLocks noChangeShapeType="1"/>
          </p:cNvSpPr>
          <p:nvPr/>
        </p:nvSpPr>
        <p:spPr bwMode="white">
          <a:xfrm>
            <a:off x="359505" y="4435922"/>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17434" name="Rectangle 13"/>
          <p:cNvSpPr>
            <a:spLocks noChangeArrowheads="1"/>
          </p:cNvSpPr>
          <p:nvPr/>
        </p:nvSpPr>
        <p:spPr bwMode="white">
          <a:xfrm>
            <a:off x="3053448" y="4499731"/>
            <a:ext cx="8593850" cy="350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0135" tIns="45065" rIns="90135" bIns="45065" anchor="ctr">
            <a:spAutoFit/>
          </a:bodyPr>
          <a:lstStyle/>
          <a:p>
            <a:pPr defTabSz="1086246" eaLnBrk="0" fontAlgn="base" hangingPunct="0">
              <a:lnSpc>
                <a:spcPct val="90000"/>
              </a:lnSpc>
              <a:spcBef>
                <a:spcPct val="30000"/>
              </a:spcBef>
              <a:spcAft>
                <a:spcPct val="0"/>
              </a:spcAft>
              <a:buClr>
                <a:srgbClr val="FFFF99"/>
              </a:buClr>
              <a:buSzPct val="75000"/>
            </a:pPr>
            <a:r>
              <a:rPr lang="en-US" altLang="ja-JP" sz="1863" dirty="0">
                <a:solidFill>
                  <a:srgbClr val="FFFFFF"/>
                </a:solidFill>
                <a:ea typeface="MS PGothic" charset="0"/>
              </a:rPr>
              <a:t>Activity that leads to qualified sales prospect; r</a:t>
            </a:r>
            <a:r>
              <a:rPr lang="en-US" sz="1863" dirty="0">
                <a:solidFill>
                  <a:srgbClr val="FFFFFF"/>
                </a:solidFill>
                <a:ea typeface="MS PGothic" charset="0"/>
              </a:rPr>
              <a:t>equest for EBC briefing</a:t>
            </a:r>
          </a:p>
        </p:txBody>
      </p:sp>
      <p:sp>
        <p:nvSpPr>
          <p:cNvPr id="17435" name="Rectangle 27"/>
          <p:cNvSpPr>
            <a:spLocks noChangeArrowheads="1"/>
          </p:cNvSpPr>
          <p:nvPr/>
        </p:nvSpPr>
        <p:spPr bwMode="white">
          <a:xfrm>
            <a:off x="-239668" y="4491949"/>
            <a:ext cx="3209076" cy="3657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ＭＳ Ｐゴシック" charset="0"/>
              </a:rPr>
              <a:t>Desired outcomes:</a:t>
            </a:r>
          </a:p>
        </p:txBody>
      </p:sp>
      <p:sp>
        <p:nvSpPr>
          <p:cNvPr id="17436" name="Rectangle 13"/>
          <p:cNvSpPr>
            <a:spLocks noChangeArrowheads="1"/>
          </p:cNvSpPr>
          <p:nvPr/>
        </p:nvSpPr>
        <p:spPr bwMode="white">
          <a:xfrm>
            <a:off x="3053448" y="4031286"/>
            <a:ext cx="7686532" cy="348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0135" tIns="45065" rIns="90135" bIns="45065" anchor="ctr">
            <a:spAutoFit/>
          </a:bodyPr>
          <a:lstStyle/>
          <a:p>
            <a:pPr defTabSz="1086246" eaLnBrk="0" fontAlgn="base" hangingPunct="0">
              <a:lnSpc>
                <a:spcPct val="90000"/>
              </a:lnSpc>
              <a:spcBef>
                <a:spcPct val="30000"/>
              </a:spcBef>
              <a:spcAft>
                <a:spcPct val="0"/>
              </a:spcAft>
              <a:buClr>
                <a:srgbClr val="FFFF99"/>
              </a:buClr>
              <a:buSzPct val="75000"/>
            </a:pPr>
            <a:r>
              <a:rPr lang="en-US" altLang="ja-JP" sz="1863">
                <a:solidFill>
                  <a:srgbClr val="FFFFFF"/>
                </a:solidFill>
                <a:ea typeface="MS PGothic" charset="0"/>
              </a:rPr>
              <a:t>0-20%</a:t>
            </a:r>
            <a:endParaRPr lang="en-US" sz="1863">
              <a:solidFill>
                <a:srgbClr val="FFFFFF"/>
              </a:solidFill>
              <a:ea typeface="MS PGothic" charset="0"/>
            </a:endParaRPr>
          </a:p>
        </p:txBody>
      </p:sp>
      <p:sp>
        <p:nvSpPr>
          <p:cNvPr id="17437" name="Rectangle 27"/>
          <p:cNvSpPr>
            <a:spLocks noChangeArrowheads="1"/>
          </p:cNvSpPr>
          <p:nvPr/>
        </p:nvSpPr>
        <p:spPr bwMode="white">
          <a:xfrm>
            <a:off x="-241226" y="4023505"/>
            <a:ext cx="3207521" cy="3657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73" tIns="53635" rIns="107273" bIns="53635" anchor="ctr">
            <a:spAutoFit/>
          </a:bodyPr>
          <a:lstStyle/>
          <a:p>
            <a:pPr marL="477762" indent="-477762" algn="r" defTabSz="1293225" eaLnBrk="0" fontAlgn="base" hangingPunct="0">
              <a:lnSpc>
                <a:spcPct val="90000"/>
              </a:lnSpc>
              <a:spcBef>
                <a:spcPct val="30000"/>
              </a:spcBef>
              <a:spcAft>
                <a:spcPct val="0"/>
              </a:spcAft>
              <a:buClr>
                <a:srgbClr val="FFFF99"/>
              </a:buClr>
              <a:buSzPct val="75000"/>
            </a:pPr>
            <a:r>
              <a:rPr lang="en-US" sz="1863" dirty="0">
                <a:solidFill>
                  <a:srgbClr val="FFFFFF"/>
                </a:solidFill>
                <a:ea typeface="ＭＳ Ｐゴシック" charset="0"/>
              </a:rPr>
              <a:t>Sales cycle:</a:t>
            </a:r>
          </a:p>
        </p:txBody>
      </p:sp>
      <p:sp>
        <p:nvSpPr>
          <p:cNvPr id="51" name="Line 3"/>
          <p:cNvSpPr>
            <a:spLocks noChangeShapeType="1"/>
          </p:cNvSpPr>
          <p:nvPr/>
        </p:nvSpPr>
        <p:spPr bwMode="white">
          <a:xfrm>
            <a:off x="345498" y="1634595"/>
            <a:ext cx="10308885" cy="0"/>
          </a:xfrm>
          <a:prstGeom prst="line">
            <a:avLst/>
          </a:prstGeom>
          <a:noFill/>
          <a:ln w="12700">
            <a:solidFill>
              <a:srgbClr val="505050"/>
            </a:solidFill>
            <a:round/>
            <a:headEnd type="none" w="sm" len="sm"/>
            <a:tailEnd type="none" w="sm" len="sm"/>
          </a:ln>
        </p:spPr>
        <p:txBody>
          <a:bodyPr lIns="129354" tIns="64668" rIns="129354" bIns="64668"/>
          <a:lstStyle/>
          <a:p>
            <a:pPr defTabSz="1293384">
              <a:defRPr/>
            </a:pPr>
            <a:endParaRPr lang="en-US" sz="1470" dirty="0">
              <a:solidFill>
                <a:srgbClr val="FFFFFF"/>
              </a:solidFill>
              <a:effectLst>
                <a:outerShdw blurRad="38100" dist="38100" dir="2700000" algn="tl">
                  <a:srgbClr val="000000">
                    <a:alpha val="43137"/>
                  </a:srgbClr>
                </a:outerShdw>
              </a:effectLst>
              <a:ea typeface="ＭＳ Ｐゴシック" charset="0"/>
              <a:cs typeface="Adobe Arabic" panose="02040503050201020203" pitchFamily="18" charset="-78"/>
            </a:endParaRPr>
          </a:p>
        </p:txBody>
      </p:sp>
      <p:sp>
        <p:nvSpPr>
          <p:cNvPr id="8" name="TextBox 7"/>
          <p:cNvSpPr txBox="1"/>
          <p:nvPr/>
        </p:nvSpPr>
        <p:spPr>
          <a:xfrm>
            <a:off x="9233453" y="6405151"/>
            <a:ext cx="2958548" cy="724143"/>
          </a:xfrm>
          <a:prstGeom prst="rect">
            <a:avLst/>
          </a:prstGeom>
          <a:noFill/>
        </p:spPr>
        <p:txBody>
          <a:bodyPr lIns="179285" tIns="143428" rIns="179285" bIns="143428">
            <a:spAutoFit/>
          </a:bodyPr>
          <a:lstStyle/>
          <a:p>
            <a:pPr defTabSz="913949">
              <a:lnSpc>
                <a:spcPct val="90000"/>
              </a:lnSpc>
              <a:defRPr/>
            </a:pPr>
            <a:r>
              <a:rPr lang="en-US" sz="1568" dirty="0">
                <a:gradFill>
                  <a:gsLst>
                    <a:gs pos="2917">
                      <a:srgbClr val="FFFFFF"/>
                    </a:gs>
                    <a:gs pos="30000">
                      <a:srgbClr val="FFFFFF"/>
                    </a:gs>
                  </a:gsLst>
                  <a:lin ang="5400000" scaled="0"/>
                </a:gradFill>
                <a:ea typeface="ＭＳ Ｐゴシック" charset="0"/>
              </a:rPr>
              <a:t>Last update</a:t>
            </a:r>
            <a:r>
              <a:rPr lang="en-US" sz="1568">
                <a:gradFill>
                  <a:gsLst>
                    <a:gs pos="2917">
                      <a:srgbClr val="FFFFFF"/>
                    </a:gs>
                    <a:gs pos="30000">
                      <a:srgbClr val="FFFFFF"/>
                    </a:gs>
                  </a:gsLst>
                  <a:lin ang="5400000" scaled="0"/>
                </a:gradFill>
                <a:ea typeface="ＭＳ Ｐゴシック" charset="0"/>
              </a:rPr>
              <a:t>: June </a:t>
            </a:r>
            <a:r>
              <a:rPr lang="en-US" sz="1568" dirty="0">
                <a:gradFill>
                  <a:gsLst>
                    <a:gs pos="2917">
                      <a:srgbClr val="FFFFFF"/>
                    </a:gs>
                    <a:gs pos="30000">
                      <a:srgbClr val="FFFFFF"/>
                    </a:gs>
                  </a:gsLst>
                  <a:lin ang="5400000" scaled="0"/>
                </a:gradFill>
                <a:ea typeface="ＭＳ Ｐゴシック" charset="0"/>
              </a:rPr>
              <a:t>2015</a:t>
            </a:r>
          </a:p>
          <a:p>
            <a:pPr defTabSz="913949">
              <a:lnSpc>
                <a:spcPct val="90000"/>
              </a:lnSpc>
              <a:defRPr/>
            </a:pPr>
            <a:endParaRPr lang="en-US" sz="1568" dirty="0">
              <a:gradFill>
                <a:gsLst>
                  <a:gs pos="2917">
                    <a:srgbClr val="FFFFFF"/>
                  </a:gs>
                  <a:gs pos="30000">
                    <a:srgbClr val="FFFFFF"/>
                  </a:gs>
                </a:gsLst>
                <a:lin ang="5400000" scaled="0"/>
              </a:gradFill>
              <a:ea typeface="ＭＳ Ｐゴシック" charset="0"/>
            </a:endParaRPr>
          </a:p>
        </p:txBody>
      </p:sp>
    </p:spTree>
    <p:extLst>
      <p:ext uri="{BB962C8B-B14F-4D97-AF65-F5344CB8AC3E}">
        <p14:creationId xmlns:p14="http://schemas.microsoft.com/office/powerpoint/2010/main" val="1931251720"/>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84858" y="2763493"/>
            <a:ext cx="2376515" cy="506875"/>
          </a:xfrm>
          <a:prstGeom prst="rect">
            <a:avLst/>
          </a:prstGeom>
        </p:spPr>
      </p:pic>
      <p:sp>
        <p:nvSpPr>
          <p:cNvPr id="5" name="TextBox 4"/>
          <p:cNvSpPr txBox="1"/>
          <p:nvPr/>
        </p:nvSpPr>
        <p:spPr>
          <a:xfrm>
            <a:off x="266125" y="5819468"/>
            <a:ext cx="11659750" cy="888955"/>
          </a:xfrm>
          <a:prstGeom prst="rect">
            <a:avLst/>
          </a:prstGeom>
          <a:noFill/>
        </p:spPr>
        <p:txBody>
          <a:bodyPr wrap="square" lIns="179285" tIns="143430" rIns="179285" bIns="143430" rtlCol="0">
            <a:noAutofit/>
          </a:bodyPr>
          <a:lstStyle/>
          <a:p>
            <a:pPr defTabSz="914523">
              <a:lnSpc>
                <a:spcPts val="1175"/>
              </a:lnSpc>
            </a:pPr>
            <a:r>
              <a:rPr lang="en-US" sz="980" dirty="0">
                <a:solidFill>
                  <a:srgbClr val="FFFFFF"/>
                </a:solidFill>
              </a:rPr>
              <a:t>© 2014 Microsoft Corporation. All rights reserved. Microsoft, Windows, Windows Vista and other product names are or may be registered trademarks and/or trademarks in the U.S. and/or other countries.</a:t>
            </a:r>
          </a:p>
          <a:p>
            <a:pPr defTabSz="914523">
              <a:lnSpc>
                <a:spcPts val="1175"/>
              </a:lnSpc>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4523">
              <a:lnSpc>
                <a:spcPts val="1175"/>
              </a:lnSpc>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4523">
              <a:lnSpc>
                <a:spcPts val="1175"/>
              </a:lnSpc>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0549038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754880" y="692332"/>
            <a:ext cx="7654834" cy="3289380"/>
          </a:xfrm>
        </p:spPr>
        <p:txBody>
          <a:bodyPr/>
          <a:lstStyle/>
          <a:p>
            <a:r>
              <a:rPr lang="en-US" dirty="0" smtClean="0"/>
              <a:t>Cloud Platform Immersion </a:t>
            </a:r>
            <a:br>
              <a:rPr lang="en-US" dirty="0" smtClean="0"/>
            </a:br>
            <a:r>
              <a:rPr lang="en-US" dirty="0" smtClean="0"/>
              <a:t>Experience</a:t>
            </a:r>
            <a:r>
              <a:rPr lang="en-US" dirty="0" smtClean="0"/>
              <a:t/>
            </a:r>
            <a:br>
              <a:rPr lang="en-US" dirty="0" smtClean="0"/>
            </a:br>
            <a:r>
              <a:rPr lang="en-US" dirty="0" smtClean="0"/>
              <a:t>  </a:t>
            </a:r>
            <a:r>
              <a:rPr lang="en-US" sz="4902" dirty="0">
                <a:solidFill>
                  <a:schemeClr val="accent5"/>
                </a:solidFill>
              </a:rPr>
              <a:t>Transform the Datacenter</a:t>
            </a:r>
            <a:endParaRPr lang="en-US" sz="4902" dirty="0">
              <a:solidFill>
                <a:schemeClr val="accent5"/>
              </a:solidFill>
            </a:endParaRPr>
          </a:p>
        </p:txBody>
      </p:sp>
    </p:spTree>
    <p:extLst>
      <p:ext uri="{BB962C8B-B14F-4D97-AF65-F5344CB8AC3E}">
        <p14:creationId xmlns:p14="http://schemas.microsoft.com/office/powerpoint/2010/main" val="3866625845"/>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p:cNvSpPr/>
          <p:nvPr/>
        </p:nvSpPr>
        <p:spPr bwMode="auto">
          <a:xfrm>
            <a:off x="2061516" y="1189494"/>
            <a:ext cx="9863497" cy="1523922"/>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defTabSz="908592">
              <a:lnSpc>
                <a:spcPct val="90000"/>
              </a:lnSpc>
              <a:defRPr/>
            </a:pPr>
            <a:endParaRPr lang="en-US" sz="3529" kern="0" spc="-49" dirty="0">
              <a:gradFill>
                <a:gsLst>
                  <a:gs pos="78808">
                    <a:srgbClr val="505050"/>
                  </a:gs>
                  <a:gs pos="66225">
                    <a:srgbClr val="505050"/>
                  </a:gs>
                </a:gsLst>
                <a:lin ang="5400000" scaled="0"/>
              </a:gra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Where are you today?</a:t>
            </a:r>
            <a:endParaRPr lang="en-US" dirty="0"/>
          </a:p>
        </p:txBody>
      </p:sp>
      <p:sp>
        <p:nvSpPr>
          <p:cNvPr id="64" name="Rectangle 63"/>
          <p:cNvSpPr/>
          <p:nvPr/>
        </p:nvSpPr>
        <p:spPr bwMode="auto">
          <a:xfrm>
            <a:off x="8416053" y="1189494"/>
            <a:ext cx="3284965" cy="15239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08592">
              <a:lnSpc>
                <a:spcPct val="90000"/>
              </a:lnSpc>
              <a:defRPr/>
            </a:pPr>
            <a:r>
              <a:rPr lang="en-US" sz="3137" kern="0" spc="-49" dirty="0">
                <a:gradFill>
                  <a:gsLst>
                    <a:gs pos="84768">
                      <a:srgbClr val="00BCF2"/>
                    </a:gs>
                    <a:gs pos="78808">
                      <a:srgbClr val="00BCF2"/>
                    </a:gs>
                  </a:gsLst>
                  <a:lin ang="5400000" scaled="0"/>
                </a:gradFill>
                <a:latin typeface="Segoe UI Light"/>
                <a:ea typeface="Segoe UI" pitchFamily="34" charset="0"/>
                <a:cs typeface="Segoe UI" pitchFamily="34" charset="0"/>
              </a:rPr>
              <a:t>Public/Hoster</a:t>
            </a:r>
          </a:p>
          <a:p>
            <a:pPr defTabSz="908592">
              <a:lnSpc>
                <a:spcPct val="90000"/>
              </a:lnSpc>
              <a:defRPr/>
            </a:pPr>
            <a:r>
              <a:rPr lang="en-US" sz="1765" kern="0" dirty="0">
                <a:gradFill>
                  <a:gsLst>
                    <a:gs pos="78808">
                      <a:srgbClr val="505050"/>
                    </a:gs>
                    <a:gs pos="66225">
                      <a:srgbClr val="505050"/>
                    </a:gs>
                  </a:gsLst>
                  <a:lin ang="5400000" scaled="0"/>
                </a:gradFill>
                <a:ea typeface="Segoe UI" pitchFamily="34" charset="0"/>
                <a:cs typeface="Segoe UI" pitchFamily="34" charset="0"/>
              </a:rPr>
              <a:t>Cloud</a:t>
            </a:r>
          </a:p>
          <a:p>
            <a:pPr defTabSz="908592">
              <a:lnSpc>
                <a:spcPct val="90000"/>
              </a:lnSpc>
              <a:defRPr/>
            </a:pPr>
            <a:endParaRPr lang="fi-FI" sz="1765" kern="0" dirty="0">
              <a:gradFill>
                <a:gsLst>
                  <a:gs pos="78808">
                    <a:srgbClr val="505050"/>
                  </a:gs>
                  <a:gs pos="66225">
                    <a:srgbClr val="505050"/>
                  </a:gs>
                </a:gsLst>
                <a:lin ang="5400000" scaled="0"/>
              </a:gradFill>
              <a:ea typeface="Segoe UI" pitchFamily="34" charset="0"/>
              <a:cs typeface="Segoe UI" pitchFamily="34" charset="0"/>
            </a:endParaRPr>
          </a:p>
        </p:txBody>
      </p:sp>
      <p:sp>
        <p:nvSpPr>
          <p:cNvPr id="50" name="Freeform 5"/>
          <p:cNvSpPr>
            <a:spLocks noChangeAspect="1" noEditPoints="1"/>
          </p:cNvSpPr>
          <p:nvPr/>
        </p:nvSpPr>
        <p:spPr bwMode="auto">
          <a:xfrm>
            <a:off x="11019245" y="1311098"/>
            <a:ext cx="694946" cy="444327"/>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08762"/>
            <a:endParaRPr lang="en-US" sz="1765">
              <a:solidFill>
                <a:srgbClr val="505050"/>
              </a:solidFill>
            </a:endParaRPr>
          </a:p>
        </p:txBody>
      </p:sp>
      <p:sp>
        <p:nvSpPr>
          <p:cNvPr id="62" name="Rectangle 61"/>
          <p:cNvSpPr/>
          <p:nvPr/>
        </p:nvSpPr>
        <p:spPr bwMode="auto">
          <a:xfrm>
            <a:off x="2061513" y="1189494"/>
            <a:ext cx="3289163" cy="15239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08592">
              <a:lnSpc>
                <a:spcPct val="90000"/>
              </a:lnSpc>
              <a:defRPr/>
            </a:pPr>
            <a:r>
              <a:rPr lang="en-US" sz="3137" kern="0" spc="-49" dirty="0">
                <a:gradFill>
                  <a:gsLst>
                    <a:gs pos="84768">
                      <a:srgbClr val="00BCF2"/>
                    </a:gs>
                    <a:gs pos="78808">
                      <a:srgbClr val="00BCF2"/>
                    </a:gs>
                  </a:gsLst>
                  <a:lin ang="5400000" scaled="0"/>
                </a:gradFill>
                <a:latin typeface="Segoe UI Light"/>
                <a:ea typeface="Segoe UI" pitchFamily="34" charset="0"/>
                <a:cs typeface="Segoe UI" pitchFamily="34" charset="0"/>
              </a:rPr>
              <a:t>Traditional</a:t>
            </a:r>
            <a:r>
              <a:rPr lang="en-US" sz="3529" kern="0" spc="-49" dirty="0">
                <a:gradFill>
                  <a:gsLst>
                    <a:gs pos="78808">
                      <a:srgbClr val="505050"/>
                    </a:gs>
                    <a:gs pos="66225">
                      <a:srgbClr val="505050"/>
                    </a:gs>
                  </a:gsLst>
                  <a:lin ang="5400000" scaled="0"/>
                </a:gradFill>
                <a:latin typeface="Segoe UI Light"/>
                <a:ea typeface="Segoe UI" pitchFamily="34" charset="0"/>
                <a:cs typeface="Segoe UI" pitchFamily="34" charset="0"/>
              </a:rPr>
              <a:t/>
            </a:r>
            <a:br>
              <a:rPr lang="en-US" sz="3529" kern="0" spc="-49" dirty="0">
                <a:gradFill>
                  <a:gsLst>
                    <a:gs pos="78808">
                      <a:srgbClr val="505050"/>
                    </a:gs>
                    <a:gs pos="66225">
                      <a:srgbClr val="505050"/>
                    </a:gs>
                  </a:gsLst>
                  <a:lin ang="5400000" scaled="0"/>
                </a:gradFill>
                <a:latin typeface="Segoe UI Light"/>
                <a:ea typeface="Segoe UI" pitchFamily="34" charset="0"/>
                <a:cs typeface="Segoe UI" pitchFamily="34" charset="0"/>
              </a:rPr>
            </a:br>
            <a:r>
              <a:rPr lang="en-US" sz="1765" kern="0" dirty="0">
                <a:gradFill>
                  <a:gsLst>
                    <a:gs pos="78808">
                      <a:srgbClr val="505050"/>
                    </a:gs>
                    <a:gs pos="66225">
                      <a:srgbClr val="505050"/>
                    </a:gs>
                  </a:gsLst>
                  <a:lin ang="5400000" scaled="0"/>
                </a:gradFill>
                <a:ea typeface="Segoe UI" pitchFamily="34" charset="0"/>
                <a:cs typeface="Segoe UI" pitchFamily="34" charset="0"/>
              </a:rPr>
              <a:t>Virtualized/bare metal</a:t>
            </a:r>
          </a:p>
          <a:p>
            <a:pPr defTabSz="908592">
              <a:lnSpc>
                <a:spcPct val="90000"/>
              </a:lnSpc>
              <a:defRPr/>
            </a:pPr>
            <a:endParaRPr lang="en-US" sz="3529" kern="0" spc="-49" dirty="0">
              <a:gradFill>
                <a:gsLst>
                  <a:gs pos="78808">
                    <a:srgbClr val="505050"/>
                  </a:gs>
                  <a:gs pos="66225">
                    <a:srgbClr val="505050"/>
                  </a:gs>
                </a:gsLst>
                <a:lin ang="5400000" scaled="0"/>
              </a:gradFill>
              <a:latin typeface="Segoe UI Light"/>
              <a:ea typeface="Segoe UI" pitchFamily="34" charset="0"/>
              <a:cs typeface="Segoe UI" pitchFamily="34" charset="0"/>
            </a:endParaRPr>
          </a:p>
        </p:txBody>
      </p:sp>
      <p:sp>
        <p:nvSpPr>
          <p:cNvPr id="105" name="Freeform 143"/>
          <p:cNvSpPr>
            <a:spLocks noChangeAspect="1" noEditPoints="1"/>
          </p:cNvSpPr>
          <p:nvPr/>
        </p:nvSpPr>
        <p:spPr bwMode="auto">
          <a:xfrm>
            <a:off x="4794025" y="1324751"/>
            <a:ext cx="328147" cy="428583"/>
          </a:xfrm>
          <a:custGeom>
            <a:avLst/>
            <a:gdLst>
              <a:gd name="T0" fmla="*/ 702 w 709"/>
              <a:gd name="T1" fmla="*/ 208 h 926"/>
              <a:gd name="T2" fmla="*/ 702 w 709"/>
              <a:gd name="T3" fmla="*/ 158 h 926"/>
              <a:gd name="T4" fmla="*/ 428 w 709"/>
              <a:gd name="T5" fmla="*/ 0 h 926"/>
              <a:gd name="T6" fmla="*/ 19 w 709"/>
              <a:gd name="T7" fmla="*/ 130 h 926"/>
              <a:gd name="T8" fmla="*/ 19 w 709"/>
              <a:gd name="T9" fmla="*/ 175 h 926"/>
              <a:gd name="T10" fmla="*/ 0 w 709"/>
              <a:gd name="T11" fmla="*/ 180 h 926"/>
              <a:gd name="T12" fmla="*/ 0 w 709"/>
              <a:gd name="T13" fmla="*/ 789 h 926"/>
              <a:gd name="T14" fmla="*/ 412 w 709"/>
              <a:gd name="T15" fmla="*/ 926 h 926"/>
              <a:gd name="T16" fmla="*/ 709 w 709"/>
              <a:gd name="T17" fmla="*/ 754 h 926"/>
              <a:gd name="T18" fmla="*/ 709 w 709"/>
              <a:gd name="T19" fmla="*/ 210 h 926"/>
              <a:gd name="T20" fmla="*/ 702 w 709"/>
              <a:gd name="T21" fmla="*/ 208 h 926"/>
              <a:gd name="T22" fmla="*/ 442 w 709"/>
              <a:gd name="T23" fmla="*/ 31 h 926"/>
              <a:gd name="T24" fmla="*/ 695 w 709"/>
              <a:gd name="T25" fmla="*/ 170 h 926"/>
              <a:gd name="T26" fmla="*/ 695 w 709"/>
              <a:gd name="T27" fmla="*/ 189 h 926"/>
              <a:gd name="T28" fmla="*/ 442 w 709"/>
              <a:gd name="T29" fmla="*/ 59 h 926"/>
              <a:gd name="T30" fmla="*/ 442 w 709"/>
              <a:gd name="T31" fmla="*/ 31 h 926"/>
              <a:gd name="T32" fmla="*/ 702 w 709"/>
              <a:gd name="T33" fmla="*/ 730 h 926"/>
              <a:gd name="T34" fmla="*/ 430 w 709"/>
              <a:gd name="T35" fmla="*/ 872 h 926"/>
              <a:gd name="T36" fmla="*/ 430 w 709"/>
              <a:gd name="T37" fmla="*/ 817 h 926"/>
              <a:gd name="T38" fmla="*/ 702 w 709"/>
              <a:gd name="T39" fmla="*/ 692 h 926"/>
              <a:gd name="T40" fmla="*/ 702 w 709"/>
              <a:gd name="T41" fmla="*/ 730 h 926"/>
              <a:gd name="T42" fmla="*/ 702 w 709"/>
              <a:gd name="T43" fmla="*/ 652 h 926"/>
              <a:gd name="T44" fmla="*/ 430 w 709"/>
              <a:gd name="T45" fmla="*/ 756 h 926"/>
              <a:gd name="T46" fmla="*/ 430 w 709"/>
              <a:gd name="T47" fmla="*/ 699 h 926"/>
              <a:gd name="T48" fmla="*/ 702 w 709"/>
              <a:gd name="T49" fmla="*/ 617 h 926"/>
              <a:gd name="T50" fmla="*/ 702 w 709"/>
              <a:gd name="T51" fmla="*/ 652 h 926"/>
              <a:gd name="T52" fmla="*/ 702 w 709"/>
              <a:gd name="T53" fmla="*/ 576 h 926"/>
              <a:gd name="T54" fmla="*/ 430 w 709"/>
              <a:gd name="T55" fmla="*/ 638 h 926"/>
              <a:gd name="T56" fmla="*/ 430 w 709"/>
              <a:gd name="T57" fmla="*/ 584 h 926"/>
              <a:gd name="T58" fmla="*/ 702 w 709"/>
              <a:gd name="T59" fmla="*/ 541 h 926"/>
              <a:gd name="T60" fmla="*/ 702 w 709"/>
              <a:gd name="T61" fmla="*/ 576 h 926"/>
              <a:gd name="T62" fmla="*/ 702 w 709"/>
              <a:gd name="T63" fmla="*/ 501 h 926"/>
              <a:gd name="T64" fmla="*/ 430 w 709"/>
              <a:gd name="T65" fmla="*/ 522 h 926"/>
              <a:gd name="T66" fmla="*/ 430 w 709"/>
              <a:gd name="T67" fmla="*/ 468 h 926"/>
              <a:gd name="T68" fmla="*/ 702 w 709"/>
              <a:gd name="T69" fmla="*/ 463 h 926"/>
              <a:gd name="T70" fmla="*/ 702 w 709"/>
              <a:gd name="T71" fmla="*/ 501 h 926"/>
              <a:gd name="T72" fmla="*/ 702 w 709"/>
              <a:gd name="T73" fmla="*/ 423 h 926"/>
              <a:gd name="T74" fmla="*/ 430 w 709"/>
              <a:gd name="T75" fmla="*/ 406 h 926"/>
              <a:gd name="T76" fmla="*/ 430 w 709"/>
              <a:gd name="T77" fmla="*/ 350 h 926"/>
              <a:gd name="T78" fmla="*/ 702 w 709"/>
              <a:gd name="T79" fmla="*/ 388 h 926"/>
              <a:gd name="T80" fmla="*/ 702 w 709"/>
              <a:gd name="T81" fmla="*/ 423 h 926"/>
              <a:gd name="T82" fmla="*/ 702 w 709"/>
              <a:gd name="T83" fmla="*/ 347 h 926"/>
              <a:gd name="T84" fmla="*/ 430 w 709"/>
              <a:gd name="T85" fmla="*/ 291 h 926"/>
              <a:gd name="T86" fmla="*/ 430 w 709"/>
              <a:gd name="T87" fmla="*/ 234 h 926"/>
              <a:gd name="T88" fmla="*/ 702 w 709"/>
              <a:gd name="T89" fmla="*/ 312 h 926"/>
              <a:gd name="T90" fmla="*/ 702 w 709"/>
              <a:gd name="T91" fmla="*/ 347 h 926"/>
              <a:gd name="T92" fmla="*/ 702 w 709"/>
              <a:gd name="T93" fmla="*/ 272 h 926"/>
              <a:gd name="T94" fmla="*/ 430 w 709"/>
              <a:gd name="T95" fmla="*/ 173 h 926"/>
              <a:gd name="T96" fmla="*/ 430 w 709"/>
              <a:gd name="T97" fmla="*/ 118 h 926"/>
              <a:gd name="T98" fmla="*/ 702 w 709"/>
              <a:gd name="T99" fmla="*/ 234 h 926"/>
              <a:gd name="T100" fmla="*/ 702 w 709"/>
              <a:gd name="T101" fmla="*/ 27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9" h="926">
                <a:moveTo>
                  <a:pt x="702" y="208"/>
                </a:moveTo>
                <a:lnTo>
                  <a:pt x="702" y="158"/>
                </a:lnTo>
                <a:lnTo>
                  <a:pt x="428" y="0"/>
                </a:lnTo>
                <a:lnTo>
                  <a:pt x="19" y="130"/>
                </a:lnTo>
                <a:lnTo>
                  <a:pt x="19" y="175"/>
                </a:lnTo>
                <a:lnTo>
                  <a:pt x="0" y="180"/>
                </a:lnTo>
                <a:lnTo>
                  <a:pt x="0" y="789"/>
                </a:lnTo>
                <a:lnTo>
                  <a:pt x="412" y="926"/>
                </a:lnTo>
                <a:lnTo>
                  <a:pt x="709" y="754"/>
                </a:lnTo>
                <a:lnTo>
                  <a:pt x="709" y="210"/>
                </a:lnTo>
                <a:lnTo>
                  <a:pt x="702" y="208"/>
                </a:lnTo>
                <a:close/>
                <a:moveTo>
                  <a:pt x="442" y="31"/>
                </a:moveTo>
                <a:lnTo>
                  <a:pt x="695" y="170"/>
                </a:lnTo>
                <a:lnTo>
                  <a:pt x="695" y="189"/>
                </a:lnTo>
                <a:lnTo>
                  <a:pt x="442" y="59"/>
                </a:lnTo>
                <a:lnTo>
                  <a:pt x="442" y="31"/>
                </a:lnTo>
                <a:close/>
                <a:moveTo>
                  <a:pt x="702" y="730"/>
                </a:moveTo>
                <a:lnTo>
                  <a:pt x="430" y="872"/>
                </a:lnTo>
                <a:lnTo>
                  <a:pt x="430" y="817"/>
                </a:lnTo>
                <a:lnTo>
                  <a:pt x="702" y="692"/>
                </a:lnTo>
                <a:lnTo>
                  <a:pt x="702" y="730"/>
                </a:lnTo>
                <a:close/>
                <a:moveTo>
                  <a:pt x="702" y="652"/>
                </a:moveTo>
                <a:lnTo>
                  <a:pt x="430" y="756"/>
                </a:lnTo>
                <a:lnTo>
                  <a:pt x="430" y="699"/>
                </a:lnTo>
                <a:lnTo>
                  <a:pt x="702" y="617"/>
                </a:lnTo>
                <a:lnTo>
                  <a:pt x="702" y="652"/>
                </a:lnTo>
                <a:close/>
                <a:moveTo>
                  <a:pt x="702" y="576"/>
                </a:moveTo>
                <a:lnTo>
                  <a:pt x="430" y="638"/>
                </a:lnTo>
                <a:lnTo>
                  <a:pt x="430" y="584"/>
                </a:lnTo>
                <a:lnTo>
                  <a:pt x="702" y="541"/>
                </a:lnTo>
                <a:lnTo>
                  <a:pt x="702" y="576"/>
                </a:lnTo>
                <a:close/>
                <a:moveTo>
                  <a:pt x="702" y="501"/>
                </a:moveTo>
                <a:lnTo>
                  <a:pt x="430" y="522"/>
                </a:lnTo>
                <a:lnTo>
                  <a:pt x="430" y="468"/>
                </a:lnTo>
                <a:lnTo>
                  <a:pt x="702" y="463"/>
                </a:lnTo>
                <a:lnTo>
                  <a:pt x="702" y="501"/>
                </a:lnTo>
                <a:close/>
                <a:moveTo>
                  <a:pt x="702" y="423"/>
                </a:moveTo>
                <a:lnTo>
                  <a:pt x="430" y="406"/>
                </a:lnTo>
                <a:lnTo>
                  <a:pt x="430" y="350"/>
                </a:lnTo>
                <a:lnTo>
                  <a:pt x="702" y="388"/>
                </a:lnTo>
                <a:lnTo>
                  <a:pt x="702" y="423"/>
                </a:lnTo>
                <a:close/>
                <a:moveTo>
                  <a:pt x="702" y="347"/>
                </a:moveTo>
                <a:lnTo>
                  <a:pt x="430" y="291"/>
                </a:lnTo>
                <a:lnTo>
                  <a:pt x="430" y="234"/>
                </a:lnTo>
                <a:lnTo>
                  <a:pt x="702" y="312"/>
                </a:lnTo>
                <a:lnTo>
                  <a:pt x="702" y="347"/>
                </a:lnTo>
                <a:close/>
                <a:moveTo>
                  <a:pt x="702" y="272"/>
                </a:moveTo>
                <a:lnTo>
                  <a:pt x="430" y="173"/>
                </a:lnTo>
                <a:lnTo>
                  <a:pt x="430" y="118"/>
                </a:lnTo>
                <a:lnTo>
                  <a:pt x="702" y="234"/>
                </a:lnTo>
                <a:lnTo>
                  <a:pt x="702" y="272"/>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08762"/>
            <a:endParaRPr lang="en-US" sz="1765">
              <a:solidFill>
                <a:srgbClr val="505050"/>
              </a:solidFill>
            </a:endParaRPr>
          </a:p>
        </p:txBody>
      </p:sp>
      <p:sp>
        <p:nvSpPr>
          <p:cNvPr id="63" name="Rectangle 62"/>
          <p:cNvSpPr/>
          <p:nvPr/>
        </p:nvSpPr>
        <p:spPr bwMode="auto">
          <a:xfrm>
            <a:off x="5328692" y="1189494"/>
            <a:ext cx="3245058" cy="15239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08592">
              <a:lnSpc>
                <a:spcPct val="90000"/>
              </a:lnSpc>
              <a:defRPr/>
            </a:pPr>
            <a:r>
              <a:rPr lang="en-US" sz="3137" kern="0" spc="-49" dirty="0">
                <a:gradFill>
                  <a:gsLst>
                    <a:gs pos="84768">
                      <a:srgbClr val="00BCF2"/>
                    </a:gs>
                    <a:gs pos="78808">
                      <a:srgbClr val="00BCF2"/>
                    </a:gs>
                  </a:gsLst>
                  <a:lin ang="5400000" scaled="0"/>
                </a:gradFill>
                <a:latin typeface="Segoe UI Light"/>
                <a:ea typeface="Segoe UI" pitchFamily="34" charset="0"/>
                <a:cs typeface="Segoe UI" pitchFamily="34" charset="0"/>
              </a:rPr>
              <a:t>Private</a:t>
            </a:r>
          </a:p>
          <a:p>
            <a:pPr defTabSz="908592">
              <a:lnSpc>
                <a:spcPct val="90000"/>
              </a:lnSpc>
              <a:defRPr/>
            </a:pPr>
            <a:r>
              <a:rPr lang="en-US" sz="1765" kern="0" dirty="0">
                <a:gradFill>
                  <a:gsLst>
                    <a:gs pos="78808">
                      <a:srgbClr val="505050"/>
                    </a:gs>
                    <a:gs pos="66225">
                      <a:srgbClr val="505050"/>
                    </a:gs>
                  </a:gsLst>
                  <a:lin ang="5400000" scaled="0"/>
                </a:gradFill>
                <a:ea typeface="Segoe UI" pitchFamily="34" charset="0"/>
                <a:cs typeface="Segoe UI" pitchFamily="34" charset="0"/>
              </a:rPr>
              <a:t>Cloud</a:t>
            </a:r>
          </a:p>
          <a:p>
            <a:pPr defTabSz="908592">
              <a:lnSpc>
                <a:spcPct val="90000"/>
              </a:lnSpc>
              <a:defRPr/>
            </a:pPr>
            <a:endParaRPr lang="fi-FI" sz="1765" kern="0" dirty="0">
              <a:gradFill>
                <a:gsLst>
                  <a:gs pos="78808">
                    <a:srgbClr val="505050"/>
                  </a:gs>
                  <a:gs pos="66225">
                    <a:srgbClr val="505050"/>
                  </a:gs>
                </a:gsLst>
                <a:lin ang="5400000" scaled="0"/>
              </a:gradFill>
              <a:ea typeface="Segoe UI" pitchFamily="34" charset="0"/>
              <a:cs typeface="Segoe UI" pitchFamily="34" charset="0"/>
            </a:endParaRPr>
          </a:p>
        </p:txBody>
      </p:sp>
      <p:grpSp>
        <p:nvGrpSpPr>
          <p:cNvPr id="5" name="Group 4"/>
          <p:cNvGrpSpPr/>
          <p:nvPr/>
        </p:nvGrpSpPr>
        <p:grpSpPr>
          <a:xfrm>
            <a:off x="7504535" y="1344367"/>
            <a:ext cx="703636" cy="452489"/>
            <a:chOff x="7865168" y="1383294"/>
            <a:chExt cx="717745" cy="461562"/>
          </a:xfrm>
        </p:grpSpPr>
        <p:sp>
          <p:nvSpPr>
            <p:cNvPr id="106" name="Freeform 10"/>
            <p:cNvSpPr>
              <a:spLocks noChangeAspect="1"/>
            </p:cNvSpPr>
            <p:nvPr/>
          </p:nvSpPr>
          <p:spPr bwMode="auto">
            <a:xfrm>
              <a:off x="7920095" y="1383294"/>
              <a:ext cx="662818" cy="411405"/>
            </a:xfrm>
            <a:custGeom>
              <a:avLst/>
              <a:gdLst>
                <a:gd name="T0" fmla="*/ 290 w 341"/>
                <a:gd name="T1" fmla="*/ 208 h 210"/>
                <a:gd name="T2" fmla="*/ 341 w 341"/>
                <a:gd name="T3" fmla="*/ 139 h 210"/>
                <a:gd name="T4" fmla="*/ 275 w 341"/>
                <a:gd name="T5" fmla="*/ 75 h 210"/>
                <a:gd name="T6" fmla="*/ 205 w 341"/>
                <a:gd name="T7" fmla="*/ 0 h 210"/>
                <a:gd name="T8" fmla="*/ 142 w 341"/>
                <a:gd name="T9" fmla="*/ 37 h 210"/>
                <a:gd name="T10" fmla="*/ 75 w 341"/>
                <a:gd name="T11" fmla="*/ 37 h 210"/>
                <a:gd name="T12" fmla="*/ 39 w 341"/>
                <a:gd name="T13" fmla="*/ 103 h 210"/>
                <a:gd name="T14" fmla="*/ 0 w 341"/>
                <a:gd name="T15" fmla="*/ 157 h 210"/>
                <a:gd name="T16" fmla="*/ 34 w 341"/>
                <a:gd name="T17" fmla="*/ 208 h 210"/>
                <a:gd name="T18" fmla="*/ 290 w 341"/>
                <a:gd name="T19"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210">
                  <a:moveTo>
                    <a:pt x="290" y="208"/>
                  </a:moveTo>
                  <a:cubicBezTo>
                    <a:pt x="290" y="208"/>
                    <a:pt x="341" y="210"/>
                    <a:pt x="341" y="139"/>
                  </a:cubicBezTo>
                  <a:cubicBezTo>
                    <a:pt x="341" y="70"/>
                    <a:pt x="275" y="75"/>
                    <a:pt x="275" y="75"/>
                  </a:cubicBezTo>
                  <a:cubicBezTo>
                    <a:pt x="285" y="43"/>
                    <a:pt x="247" y="0"/>
                    <a:pt x="205" y="0"/>
                  </a:cubicBezTo>
                  <a:cubicBezTo>
                    <a:pt x="155" y="0"/>
                    <a:pt x="142" y="37"/>
                    <a:pt x="142" y="37"/>
                  </a:cubicBezTo>
                  <a:cubicBezTo>
                    <a:pt x="142" y="37"/>
                    <a:pt x="113" y="20"/>
                    <a:pt x="75" y="37"/>
                  </a:cubicBezTo>
                  <a:cubicBezTo>
                    <a:pt x="36" y="53"/>
                    <a:pt x="39" y="103"/>
                    <a:pt x="39" y="103"/>
                  </a:cubicBezTo>
                  <a:cubicBezTo>
                    <a:pt x="39" y="103"/>
                    <a:pt x="0" y="113"/>
                    <a:pt x="0" y="157"/>
                  </a:cubicBezTo>
                  <a:cubicBezTo>
                    <a:pt x="1" y="202"/>
                    <a:pt x="34" y="208"/>
                    <a:pt x="34" y="208"/>
                  </a:cubicBezTo>
                  <a:cubicBezTo>
                    <a:pt x="34" y="208"/>
                    <a:pt x="34" y="208"/>
                    <a:pt x="290" y="20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08762"/>
              <a:endParaRPr lang="en-US" sz="1765">
                <a:solidFill>
                  <a:srgbClr val="505050"/>
                </a:solidFill>
              </a:endParaRPr>
            </a:p>
          </p:txBody>
        </p:sp>
        <p:sp>
          <p:nvSpPr>
            <p:cNvPr id="108" name="Rectangle 32"/>
            <p:cNvSpPr/>
            <p:nvPr/>
          </p:nvSpPr>
          <p:spPr bwMode="auto">
            <a:xfrm>
              <a:off x="8040922" y="1416173"/>
              <a:ext cx="315132" cy="414026"/>
            </a:xfrm>
            <a:custGeom>
              <a:avLst/>
              <a:gdLst>
                <a:gd name="connsiteX0" fmla="*/ 0 w 135731"/>
                <a:gd name="connsiteY0" fmla="*/ 0 h 716756"/>
                <a:gd name="connsiteX1" fmla="*/ 135731 w 135731"/>
                <a:gd name="connsiteY1" fmla="*/ 0 h 716756"/>
                <a:gd name="connsiteX2" fmla="*/ 135731 w 135731"/>
                <a:gd name="connsiteY2" fmla="*/ 716756 h 716756"/>
                <a:gd name="connsiteX3" fmla="*/ 0 w 135731"/>
                <a:gd name="connsiteY3" fmla="*/ 716756 h 716756"/>
                <a:gd name="connsiteX4" fmla="*/ 0 w 135731"/>
                <a:gd name="connsiteY4" fmla="*/ 0 h 716756"/>
                <a:gd name="connsiteX0" fmla="*/ 0 w 250031"/>
                <a:gd name="connsiteY0" fmla="*/ 0 h 716756"/>
                <a:gd name="connsiteX1" fmla="*/ 250031 w 250031"/>
                <a:gd name="connsiteY1" fmla="*/ 119062 h 716756"/>
                <a:gd name="connsiteX2" fmla="*/ 135731 w 250031"/>
                <a:gd name="connsiteY2" fmla="*/ 716756 h 716756"/>
                <a:gd name="connsiteX3" fmla="*/ 0 w 250031"/>
                <a:gd name="connsiteY3" fmla="*/ 716756 h 716756"/>
                <a:gd name="connsiteX4" fmla="*/ 0 w 250031"/>
                <a:gd name="connsiteY4" fmla="*/ 0 h 716756"/>
                <a:gd name="connsiteX0" fmla="*/ 0 w 559594"/>
                <a:gd name="connsiteY0" fmla="*/ 0 h 716756"/>
                <a:gd name="connsiteX1" fmla="*/ 250031 w 559594"/>
                <a:gd name="connsiteY1" fmla="*/ 119062 h 716756"/>
                <a:gd name="connsiteX2" fmla="*/ 559594 w 559594"/>
                <a:gd name="connsiteY2" fmla="*/ 450056 h 716756"/>
                <a:gd name="connsiteX3" fmla="*/ 0 w 559594"/>
                <a:gd name="connsiteY3" fmla="*/ 716756 h 716756"/>
                <a:gd name="connsiteX4" fmla="*/ 0 w 559594"/>
                <a:gd name="connsiteY4" fmla="*/ 0 h 716756"/>
                <a:gd name="connsiteX0" fmla="*/ 0 w 559594"/>
                <a:gd name="connsiteY0" fmla="*/ 0 h 716756"/>
                <a:gd name="connsiteX1" fmla="*/ 554831 w 559594"/>
                <a:gd name="connsiteY1" fmla="*/ 226218 h 716756"/>
                <a:gd name="connsiteX2" fmla="*/ 559594 w 559594"/>
                <a:gd name="connsiteY2" fmla="*/ 450056 h 716756"/>
                <a:gd name="connsiteX3" fmla="*/ 0 w 559594"/>
                <a:gd name="connsiteY3" fmla="*/ 716756 h 716756"/>
                <a:gd name="connsiteX4" fmla="*/ 0 w 559594"/>
                <a:gd name="connsiteY4" fmla="*/ 0 h 716756"/>
                <a:gd name="connsiteX0" fmla="*/ 0 w 554831"/>
                <a:gd name="connsiteY0" fmla="*/ 0 h 716756"/>
                <a:gd name="connsiteX1" fmla="*/ 554831 w 554831"/>
                <a:gd name="connsiteY1" fmla="*/ 226218 h 716756"/>
                <a:gd name="connsiteX2" fmla="*/ 550069 w 554831"/>
                <a:gd name="connsiteY2" fmla="*/ 450056 h 716756"/>
                <a:gd name="connsiteX3" fmla="*/ 0 w 554831"/>
                <a:gd name="connsiteY3" fmla="*/ 716756 h 716756"/>
                <a:gd name="connsiteX4" fmla="*/ 0 w 554831"/>
                <a:gd name="connsiteY4" fmla="*/ 0 h 716756"/>
                <a:gd name="connsiteX0" fmla="*/ 0 w 557212"/>
                <a:gd name="connsiteY0" fmla="*/ 0 h 716756"/>
                <a:gd name="connsiteX1" fmla="*/ 557212 w 557212"/>
                <a:gd name="connsiteY1" fmla="*/ 207168 h 716756"/>
                <a:gd name="connsiteX2" fmla="*/ 550069 w 557212"/>
                <a:gd name="connsiteY2" fmla="*/ 450056 h 716756"/>
                <a:gd name="connsiteX3" fmla="*/ 0 w 557212"/>
                <a:gd name="connsiteY3" fmla="*/ 716756 h 716756"/>
                <a:gd name="connsiteX4" fmla="*/ 0 w 557212"/>
                <a:gd name="connsiteY4" fmla="*/ 0 h 716756"/>
                <a:gd name="connsiteX0" fmla="*/ 0 w 557212"/>
                <a:gd name="connsiteY0" fmla="*/ 0 h 716756"/>
                <a:gd name="connsiteX1" fmla="*/ 226217 w 557212"/>
                <a:gd name="connsiteY1" fmla="*/ 83344 h 716756"/>
                <a:gd name="connsiteX2" fmla="*/ 557212 w 557212"/>
                <a:gd name="connsiteY2" fmla="*/ 207168 h 716756"/>
                <a:gd name="connsiteX3" fmla="*/ 550069 w 557212"/>
                <a:gd name="connsiteY3" fmla="*/ 450056 h 716756"/>
                <a:gd name="connsiteX4" fmla="*/ 0 w 557212"/>
                <a:gd name="connsiteY4" fmla="*/ 716756 h 716756"/>
                <a:gd name="connsiteX5" fmla="*/ 0 w 557212"/>
                <a:gd name="connsiteY5" fmla="*/ 0 h 716756"/>
                <a:gd name="connsiteX0" fmla="*/ 0 w 557212"/>
                <a:gd name="connsiteY0" fmla="*/ 0 h 716756"/>
                <a:gd name="connsiteX1" fmla="*/ 230979 w 557212"/>
                <a:gd name="connsiteY1" fmla="*/ 114301 h 716756"/>
                <a:gd name="connsiteX2" fmla="*/ 557212 w 557212"/>
                <a:gd name="connsiteY2" fmla="*/ 207168 h 716756"/>
                <a:gd name="connsiteX3" fmla="*/ 550069 w 557212"/>
                <a:gd name="connsiteY3" fmla="*/ 450056 h 716756"/>
                <a:gd name="connsiteX4" fmla="*/ 0 w 557212"/>
                <a:gd name="connsiteY4" fmla="*/ 716756 h 716756"/>
                <a:gd name="connsiteX5" fmla="*/ 0 w 557212"/>
                <a:gd name="connsiteY5" fmla="*/ 0 h 716756"/>
                <a:gd name="connsiteX0" fmla="*/ 4762 w 557212"/>
                <a:gd name="connsiteY0" fmla="*/ 0 h 735806"/>
                <a:gd name="connsiteX1" fmla="*/ 230979 w 557212"/>
                <a:gd name="connsiteY1" fmla="*/ 133351 h 735806"/>
                <a:gd name="connsiteX2" fmla="*/ 557212 w 557212"/>
                <a:gd name="connsiteY2" fmla="*/ 226218 h 735806"/>
                <a:gd name="connsiteX3" fmla="*/ 550069 w 557212"/>
                <a:gd name="connsiteY3" fmla="*/ 469106 h 735806"/>
                <a:gd name="connsiteX4" fmla="*/ 0 w 557212"/>
                <a:gd name="connsiteY4" fmla="*/ 735806 h 735806"/>
                <a:gd name="connsiteX5" fmla="*/ 4762 w 557212"/>
                <a:gd name="connsiteY5" fmla="*/ 0 h 735806"/>
                <a:gd name="connsiteX0" fmla="*/ 4762 w 557212"/>
                <a:gd name="connsiteY0" fmla="*/ 0 h 735806"/>
                <a:gd name="connsiteX1" fmla="*/ 230979 w 557212"/>
                <a:gd name="connsiteY1" fmla="*/ 133351 h 735806"/>
                <a:gd name="connsiteX2" fmla="*/ 285749 w 557212"/>
                <a:gd name="connsiteY2" fmla="*/ 152400 h 735806"/>
                <a:gd name="connsiteX3" fmla="*/ 557212 w 557212"/>
                <a:gd name="connsiteY3" fmla="*/ 226218 h 735806"/>
                <a:gd name="connsiteX4" fmla="*/ 550069 w 557212"/>
                <a:gd name="connsiteY4" fmla="*/ 469106 h 735806"/>
                <a:gd name="connsiteX5" fmla="*/ 0 w 557212"/>
                <a:gd name="connsiteY5" fmla="*/ 735806 h 735806"/>
                <a:gd name="connsiteX6" fmla="*/ 4762 w 557212"/>
                <a:gd name="connsiteY6" fmla="*/ 0 h 735806"/>
                <a:gd name="connsiteX0" fmla="*/ 4762 w 557212"/>
                <a:gd name="connsiteY0" fmla="*/ 0 h 735806"/>
                <a:gd name="connsiteX1" fmla="*/ 230979 w 557212"/>
                <a:gd name="connsiteY1" fmla="*/ 133351 h 735806"/>
                <a:gd name="connsiteX2" fmla="*/ 276224 w 557212"/>
                <a:gd name="connsiteY2" fmla="*/ 114300 h 735806"/>
                <a:gd name="connsiteX3" fmla="*/ 557212 w 557212"/>
                <a:gd name="connsiteY3" fmla="*/ 226218 h 735806"/>
                <a:gd name="connsiteX4" fmla="*/ 550069 w 557212"/>
                <a:gd name="connsiteY4" fmla="*/ 469106 h 735806"/>
                <a:gd name="connsiteX5" fmla="*/ 0 w 557212"/>
                <a:gd name="connsiteY5" fmla="*/ 735806 h 735806"/>
                <a:gd name="connsiteX6" fmla="*/ 4762 w 557212"/>
                <a:gd name="connsiteY6" fmla="*/ 0 h 735806"/>
                <a:gd name="connsiteX0" fmla="*/ 4762 w 557212"/>
                <a:gd name="connsiteY0" fmla="*/ 0 h 735806"/>
                <a:gd name="connsiteX1" fmla="*/ 230979 w 557212"/>
                <a:gd name="connsiteY1" fmla="*/ 133351 h 735806"/>
                <a:gd name="connsiteX2" fmla="*/ 276224 w 557212"/>
                <a:gd name="connsiteY2" fmla="*/ 114300 h 735806"/>
                <a:gd name="connsiteX3" fmla="*/ 390524 w 557212"/>
                <a:gd name="connsiteY3" fmla="*/ 159544 h 735806"/>
                <a:gd name="connsiteX4" fmla="*/ 557212 w 557212"/>
                <a:gd name="connsiteY4" fmla="*/ 226218 h 735806"/>
                <a:gd name="connsiteX5" fmla="*/ 550069 w 557212"/>
                <a:gd name="connsiteY5" fmla="*/ 469106 h 735806"/>
                <a:gd name="connsiteX6" fmla="*/ 0 w 557212"/>
                <a:gd name="connsiteY6" fmla="*/ 735806 h 735806"/>
                <a:gd name="connsiteX7" fmla="*/ 4762 w 557212"/>
                <a:gd name="connsiteY7" fmla="*/ 0 h 735806"/>
                <a:gd name="connsiteX0" fmla="*/ 4762 w 557212"/>
                <a:gd name="connsiteY0" fmla="*/ 0 h 735806"/>
                <a:gd name="connsiteX1" fmla="*/ 230979 w 557212"/>
                <a:gd name="connsiteY1" fmla="*/ 133351 h 735806"/>
                <a:gd name="connsiteX2" fmla="*/ 276224 w 557212"/>
                <a:gd name="connsiteY2" fmla="*/ 114300 h 735806"/>
                <a:gd name="connsiteX3" fmla="*/ 431005 w 557212"/>
                <a:gd name="connsiteY3" fmla="*/ 204788 h 735806"/>
                <a:gd name="connsiteX4" fmla="*/ 557212 w 557212"/>
                <a:gd name="connsiteY4" fmla="*/ 226218 h 735806"/>
                <a:gd name="connsiteX5" fmla="*/ 550069 w 557212"/>
                <a:gd name="connsiteY5" fmla="*/ 469106 h 735806"/>
                <a:gd name="connsiteX6" fmla="*/ 0 w 557212"/>
                <a:gd name="connsiteY6" fmla="*/ 735806 h 735806"/>
                <a:gd name="connsiteX7" fmla="*/ 4762 w 557212"/>
                <a:gd name="connsiteY7" fmla="*/ 0 h 735806"/>
                <a:gd name="connsiteX0" fmla="*/ 4762 w 557212"/>
                <a:gd name="connsiteY0" fmla="*/ 0 h 735806"/>
                <a:gd name="connsiteX1" fmla="*/ 230979 w 557212"/>
                <a:gd name="connsiteY1" fmla="*/ 133351 h 735806"/>
                <a:gd name="connsiteX2" fmla="*/ 276224 w 557212"/>
                <a:gd name="connsiteY2" fmla="*/ 114300 h 735806"/>
                <a:gd name="connsiteX3" fmla="*/ 431005 w 557212"/>
                <a:gd name="connsiteY3" fmla="*/ 204788 h 735806"/>
                <a:gd name="connsiteX4" fmla="*/ 452436 w 557212"/>
                <a:gd name="connsiteY4" fmla="*/ 207169 h 735806"/>
                <a:gd name="connsiteX5" fmla="*/ 557212 w 557212"/>
                <a:gd name="connsiteY5" fmla="*/ 226218 h 735806"/>
                <a:gd name="connsiteX6" fmla="*/ 550069 w 557212"/>
                <a:gd name="connsiteY6" fmla="*/ 469106 h 735806"/>
                <a:gd name="connsiteX7" fmla="*/ 0 w 557212"/>
                <a:gd name="connsiteY7" fmla="*/ 735806 h 735806"/>
                <a:gd name="connsiteX8" fmla="*/ 4762 w 557212"/>
                <a:gd name="connsiteY8" fmla="*/ 0 h 735806"/>
                <a:gd name="connsiteX0" fmla="*/ 4762 w 557212"/>
                <a:gd name="connsiteY0" fmla="*/ 0 h 735806"/>
                <a:gd name="connsiteX1" fmla="*/ 230979 w 557212"/>
                <a:gd name="connsiteY1" fmla="*/ 133351 h 735806"/>
                <a:gd name="connsiteX2" fmla="*/ 276224 w 557212"/>
                <a:gd name="connsiteY2" fmla="*/ 114300 h 735806"/>
                <a:gd name="connsiteX3" fmla="*/ 431005 w 557212"/>
                <a:gd name="connsiteY3" fmla="*/ 204788 h 735806"/>
                <a:gd name="connsiteX4" fmla="*/ 454817 w 557212"/>
                <a:gd name="connsiteY4" fmla="*/ 185737 h 735806"/>
                <a:gd name="connsiteX5" fmla="*/ 557212 w 557212"/>
                <a:gd name="connsiteY5" fmla="*/ 226218 h 735806"/>
                <a:gd name="connsiteX6" fmla="*/ 550069 w 557212"/>
                <a:gd name="connsiteY6" fmla="*/ 469106 h 735806"/>
                <a:gd name="connsiteX7" fmla="*/ 0 w 557212"/>
                <a:gd name="connsiteY7" fmla="*/ 735806 h 735806"/>
                <a:gd name="connsiteX8" fmla="*/ 4762 w 557212"/>
                <a:gd name="connsiteY8" fmla="*/ 0 h 735806"/>
                <a:gd name="connsiteX0" fmla="*/ 4762 w 559594"/>
                <a:gd name="connsiteY0" fmla="*/ 0 h 735806"/>
                <a:gd name="connsiteX1" fmla="*/ 230979 w 559594"/>
                <a:gd name="connsiteY1" fmla="*/ 133351 h 735806"/>
                <a:gd name="connsiteX2" fmla="*/ 276224 w 559594"/>
                <a:gd name="connsiteY2" fmla="*/ 114300 h 735806"/>
                <a:gd name="connsiteX3" fmla="*/ 431005 w 559594"/>
                <a:gd name="connsiteY3" fmla="*/ 204788 h 735806"/>
                <a:gd name="connsiteX4" fmla="*/ 454817 w 559594"/>
                <a:gd name="connsiteY4" fmla="*/ 185737 h 735806"/>
                <a:gd name="connsiteX5" fmla="*/ 559594 w 559594"/>
                <a:gd name="connsiteY5" fmla="*/ 240506 h 735806"/>
                <a:gd name="connsiteX6" fmla="*/ 550069 w 559594"/>
                <a:gd name="connsiteY6" fmla="*/ 469106 h 735806"/>
                <a:gd name="connsiteX7" fmla="*/ 0 w 559594"/>
                <a:gd name="connsiteY7" fmla="*/ 735806 h 735806"/>
                <a:gd name="connsiteX8" fmla="*/ 4762 w 559594"/>
                <a:gd name="connsiteY8" fmla="*/ 0 h 735806"/>
                <a:gd name="connsiteX0" fmla="*/ 4762 w 560052"/>
                <a:gd name="connsiteY0" fmla="*/ 0 h 735806"/>
                <a:gd name="connsiteX1" fmla="*/ 230979 w 560052"/>
                <a:gd name="connsiteY1" fmla="*/ 133351 h 735806"/>
                <a:gd name="connsiteX2" fmla="*/ 276224 w 560052"/>
                <a:gd name="connsiteY2" fmla="*/ 114300 h 735806"/>
                <a:gd name="connsiteX3" fmla="*/ 431005 w 560052"/>
                <a:gd name="connsiteY3" fmla="*/ 204788 h 735806"/>
                <a:gd name="connsiteX4" fmla="*/ 454817 w 560052"/>
                <a:gd name="connsiteY4" fmla="*/ 185737 h 735806"/>
                <a:gd name="connsiteX5" fmla="*/ 559594 w 560052"/>
                <a:gd name="connsiteY5" fmla="*/ 240506 h 735806"/>
                <a:gd name="connsiteX6" fmla="*/ 559594 w 560052"/>
                <a:gd name="connsiteY6" fmla="*/ 473869 h 735806"/>
                <a:gd name="connsiteX7" fmla="*/ 0 w 560052"/>
                <a:gd name="connsiteY7" fmla="*/ 735806 h 735806"/>
                <a:gd name="connsiteX8" fmla="*/ 4762 w 560052"/>
                <a:gd name="connsiteY8" fmla="*/ 0 h 73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0052" h="735806">
                  <a:moveTo>
                    <a:pt x="4762" y="0"/>
                  </a:moveTo>
                  <a:lnTo>
                    <a:pt x="230979" y="133351"/>
                  </a:lnTo>
                  <a:lnTo>
                    <a:pt x="276224" y="114300"/>
                  </a:lnTo>
                  <a:lnTo>
                    <a:pt x="431005" y="204788"/>
                  </a:lnTo>
                  <a:lnTo>
                    <a:pt x="454817" y="185737"/>
                  </a:lnTo>
                  <a:lnTo>
                    <a:pt x="559594" y="240506"/>
                  </a:lnTo>
                  <a:cubicBezTo>
                    <a:pt x="558007" y="315119"/>
                    <a:pt x="561181" y="399256"/>
                    <a:pt x="559594" y="473869"/>
                  </a:cubicBezTo>
                  <a:lnTo>
                    <a:pt x="0" y="735806"/>
                  </a:lnTo>
                  <a:cubicBezTo>
                    <a:pt x="1587" y="490537"/>
                    <a:pt x="3175" y="245269"/>
                    <a:pt x="4762" y="0"/>
                  </a:cubicBezTo>
                  <a:close/>
                </a:path>
              </a:pathLst>
            </a:custGeom>
            <a:solidFill>
              <a:schemeClr val="bg1">
                <a:lumMod val="95000"/>
              </a:schemeClr>
            </a:solidFill>
            <a:ln w="25400" cap="flat" cmpd="sng" algn="ctr">
              <a:noFill/>
              <a:prstDash val="solid"/>
              <a:headEnd type="none" w="med" len="med"/>
              <a:tailEnd type="none" w="med" len="med"/>
            </a:ln>
            <a:effectLst/>
          </p:spPr>
          <p:txBody>
            <a:bodyPr rot="0" spcFirstLastPara="0" vertOverflow="overflow" horzOverflow="overflow" vert="horz" wrap="square" lIns="104852" tIns="104852" rIns="104852" bIns="104852" numCol="1" spcCol="0" rtlCol="0" fromWordArt="0" anchor="t" anchorCtr="0" forceAA="0" compatLnSpc="1">
              <a:prstTxWarp prst="textNoShape">
                <a:avLst/>
              </a:prstTxWarp>
              <a:noAutofit/>
            </a:bodyPr>
            <a:lstStyle/>
            <a:p>
              <a:pPr defTabSz="819588">
                <a:spcBef>
                  <a:spcPts val="702"/>
                </a:spcBef>
                <a:spcAft>
                  <a:spcPts val="702"/>
                </a:spcAft>
              </a:pPr>
              <a:endParaRPr lang="en-US" sz="1372" kern="0" dirty="0">
                <a:solidFill>
                  <a:srgbClr val="FFFFFF"/>
                </a:solidFill>
                <a:latin typeface="Segoe UI Light"/>
                <a:cs typeface="Segoe UI Light"/>
              </a:endParaRPr>
            </a:p>
          </p:txBody>
        </p:sp>
        <p:sp>
          <p:nvSpPr>
            <p:cNvPr id="109" name="Freeform 28"/>
            <p:cNvSpPr>
              <a:spLocks noChangeAspect="1" noEditPoints="1"/>
            </p:cNvSpPr>
            <p:nvPr/>
          </p:nvSpPr>
          <p:spPr bwMode="gray">
            <a:xfrm>
              <a:off x="7865168" y="1416173"/>
              <a:ext cx="508181" cy="428683"/>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08762"/>
              <a:endParaRPr lang="en-US" sz="1765">
                <a:solidFill>
                  <a:srgbClr val="0072C6"/>
                </a:solidFill>
              </a:endParaRPr>
            </a:p>
          </p:txBody>
        </p:sp>
      </p:grpSp>
      <p:cxnSp>
        <p:nvCxnSpPr>
          <p:cNvPr id="74" name="Straight Connector 73"/>
          <p:cNvCxnSpPr/>
          <p:nvPr/>
        </p:nvCxnSpPr>
        <p:spPr>
          <a:xfrm>
            <a:off x="5328692" y="1189494"/>
            <a:ext cx="0" cy="1523922"/>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8416053" y="1189494"/>
            <a:ext cx="0" cy="1523922"/>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auto">
          <a:xfrm>
            <a:off x="2061449" y="2758994"/>
            <a:ext cx="9863566" cy="2725131"/>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defTabSz="908289" fontAlgn="base">
              <a:lnSpc>
                <a:spcPct val="90000"/>
              </a:lnSpc>
              <a:spcBef>
                <a:spcPct val="0"/>
              </a:spcBef>
              <a:spcAft>
                <a:spcPct val="0"/>
              </a:spcAft>
            </a:pPr>
            <a:endParaRPr lang="en-US" sz="1765" kern="0" spc="-29" dirty="0">
              <a:gradFill>
                <a:gsLst>
                  <a:gs pos="17699">
                    <a:srgbClr val="505050"/>
                  </a:gs>
                  <a:gs pos="49000">
                    <a:srgbClr val="505050"/>
                  </a:gs>
                </a:gsLst>
                <a:lin ang="16200000" scaled="0"/>
              </a:gradFill>
              <a:ea typeface="Segoe UI" pitchFamily="34" charset="0"/>
              <a:cs typeface="Segoe UI" pitchFamily="34" charset="0"/>
            </a:endParaRPr>
          </a:p>
        </p:txBody>
      </p:sp>
      <p:grpSp>
        <p:nvGrpSpPr>
          <p:cNvPr id="52" name="Group 51"/>
          <p:cNvGrpSpPr/>
          <p:nvPr/>
        </p:nvGrpSpPr>
        <p:grpSpPr>
          <a:xfrm>
            <a:off x="4576073" y="2758994"/>
            <a:ext cx="4840093" cy="2725131"/>
            <a:chOff x="4667828" y="2813821"/>
            <a:chExt cx="4937147" cy="2779776"/>
          </a:xfrm>
        </p:grpSpPr>
        <p:cxnSp>
          <p:nvCxnSpPr>
            <p:cNvPr id="27" name="Straight Connector 26"/>
            <p:cNvCxnSpPr/>
            <p:nvPr/>
          </p:nvCxnSpPr>
          <p:spPr>
            <a:xfrm rot="16200000">
              <a:off x="3277940" y="4203709"/>
              <a:ext cx="2779776" cy="0"/>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rot="16200000">
              <a:off x="5743568" y="4203709"/>
              <a:ext cx="2779776" cy="0"/>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rot="16200000">
              <a:off x="8215087" y="4203709"/>
              <a:ext cx="2779776" cy="0"/>
            </a:xfrm>
            <a:prstGeom prst="line">
              <a:avLst/>
            </a:prstGeom>
            <a:ln w="63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6999002" y="3704726"/>
            <a:ext cx="2411383" cy="833675"/>
            <a:chOff x="7139346" y="3778513"/>
            <a:chExt cx="2459736" cy="850392"/>
          </a:xfrm>
        </p:grpSpPr>
        <p:sp>
          <p:nvSpPr>
            <p:cNvPr id="173" name="Rectangle 172"/>
            <p:cNvSpPr/>
            <p:nvPr/>
          </p:nvSpPr>
          <p:spPr bwMode="auto">
            <a:xfrm>
              <a:off x="7139346" y="3778513"/>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Connectivity</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constraints</a:t>
              </a:r>
            </a:p>
          </p:txBody>
        </p:sp>
        <p:sp>
          <p:nvSpPr>
            <p:cNvPr id="100" name="Freeform 78"/>
            <p:cNvSpPr>
              <a:spLocks noChangeAspect="1" noEditPoints="1"/>
            </p:cNvSpPr>
            <p:nvPr/>
          </p:nvSpPr>
          <p:spPr bwMode="black">
            <a:xfrm>
              <a:off x="7334215" y="3983340"/>
              <a:ext cx="460654" cy="440738"/>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grpSp>
      <p:grpSp>
        <p:nvGrpSpPr>
          <p:cNvPr id="37" name="Group 36"/>
          <p:cNvGrpSpPr/>
          <p:nvPr/>
        </p:nvGrpSpPr>
        <p:grpSpPr>
          <a:xfrm>
            <a:off x="2153134" y="2854536"/>
            <a:ext cx="2411383" cy="833675"/>
            <a:chOff x="2196308" y="2911279"/>
            <a:chExt cx="2459736" cy="850392"/>
          </a:xfrm>
        </p:grpSpPr>
        <p:sp>
          <p:nvSpPr>
            <p:cNvPr id="25" name="Rectangle 24"/>
            <p:cNvSpPr/>
            <p:nvPr/>
          </p:nvSpPr>
          <p:spPr bwMode="auto">
            <a:xfrm>
              <a:off x="2196308" y="2911279"/>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Usage-based </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tracking/billing</a:t>
              </a:r>
            </a:p>
          </p:txBody>
        </p:sp>
        <p:sp>
          <p:nvSpPr>
            <p:cNvPr id="158" name="Freeform 13"/>
            <p:cNvSpPr>
              <a:spLocks noChangeAspect="1" noEditPoints="1"/>
            </p:cNvSpPr>
            <p:nvPr/>
          </p:nvSpPr>
          <p:spPr bwMode="auto">
            <a:xfrm>
              <a:off x="2427791" y="3142762"/>
              <a:ext cx="387426" cy="387426"/>
            </a:xfrm>
            <a:custGeom>
              <a:avLst/>
              <a:gdLst>
                <a:gd name="T0" fmla="*/ 0 w 265"/>
                <a:gd name="T1" fmla="*/ 133 h 265"/>
                <a:gd name="T2" fmla="*/ 265 w 265"/>
                <a:gd name="T3" fmla="*/ 133 h 265"/>
                <a:gd name="T4" fmla="*/ 154 w 265"/>
                <a:gd name="T5" fmla="*/ 132 h 265"/>
                <a:gd name="T6" fmla="*/ 132 w 265"/>
                <a:gd name="T7" fmla="*/ 112 h 265"/>
                <a:gd name="T8" fmla="*/ 154 w 265"/>
                <a:gd name="T9" fmla="*/ 132 h 265"/>
                <a:gd name="T10" fmla="*/ 183 w 265"/>
                <a:gd name="T11" fmla="*/ 187 h 265"/>
                <a:gd name="T12" fmla="*/ 206 w 265"/>
                <a:gd name="T13" fmla="*/ 132 h 265"/>
                <a:gd name="T14" fmla="*/ 60 w 265"/>
                <a:gd name="T15" fmla="*/ 132 h 265"/>
                <a:gd name="T16" fmla="*/ 83 w 265"/>
                <a:gd name="T17" fmla="*/ 188 h 265"/>
                <a:gd name="T18" fmla="*/ 29 w 265"/>
                <a:gd name="T19" fmla="*/ 132 h 265"/>
                <a:gd name="T20" fmla="*/ 237 w 265"/>
                <a:gd name="T21" fmla="*/ 132 h 265"/>
                <a:gd name="T22" fmla="*/ 213 w 265"/>
                <a:gd name="T23" fmla="*/ 178 h 265"/>
                <a:gd name="T24" fmla="*/ 203 w 265"/>
                <a:gd name="T25" fmla="*/ 166 h 265"/>
                <a:gd name="T26" fmla="*/ 218 w 265"/>
                <a:gd name="T27" fmla="*/ 171 h 265"/>
                <a:gd name="T28" fmla="*/ 213 w 265"/>
                <a:gd name="T29" fmla="*/ 178 h 265"/>
                <a:gd name="T30" fmla="*/ 210 w 265"/>
                <a:gd name="T31" fmla="*/ 118 h 265"/>
                <a:gd name="T32" fmla="*/ 225 w 265"/>
                <a:gd name="T33" fmla="*/ 112 h 265"/>
                <a:gd name="T34" fmla="*/ 226 w 265"/>
                <a:gd name="T35" fmla="*/ 120 h 265"/>
                <a:gd name="T36" fmla="*/ 212 w 265"/>
                <a:gd name="T37" fmla="*/ 121 h 265"/>
                <a:gd name="T38" fmla="*/ 129 w 265"/>
                <a:gd name="T39" fmla="*/ 51 h 265"/>
                <a:gd name="T40" fmla="*/ 133 w 265"/>
                <a:gd name="T41" fmla="*/ 35 h 265"/>
                <a:gd name="T42" fmla="*/ 137 w 265"/>
                <a:gd name="T43" fmla="*/ 51 h 265"/>
                <a:gd name="T44" fmla="*/ 191 w 265"/>
                <a:gd name="T45" fmla="*/ 76 h 265"/>
                <a:gd name="T46" fmla="*/ 189 w 265"/>
                <a:gd name="T47" fmla="*/ 70 h 265"/>
                <a:gd name="T48" fmla="*/ 203 w 265"/>
                <a:gd name="T49" fmla="*/ 60 h 265"/>
                <a:gd name="T50" fmla="*/ 195 w 265"/>
                <a:gd name="T51" fmla="*/ 75 h 265"/>
                <a:gd name="T52" fmla="*/ 70 w 265"/>
                <a:gd name="T53" fmla="*/ 75 h 265"/>
                <a:gd name="T54" fmla="*/ 63 w 265"/>
                <a:gd name="T55" fmla="*/ 60 h 265"/>
                <a:gd name="T56" fmla="*/ 77 w 265"/>
                <a:gd name="T57" fmla="*/ 70 h 265"/>
                <a:gd name="T58" fmla="*/ 74 w 265"/>
                <a:gd name="T59" fmla="*/ 76 h 265"/>
                <a:gd name="T60" fmla="*/ 62 w 265"/>
                <a:gd name="T61" fmla="*/ 172 h 265"/>
                <a:gd name="T62" fmla="*/ 47 w 265"/>
                <a:gd name="T63" fmla="*/ 178 h 265"/>
                <a:gd name="T64" fmla="*/ 57 w 265"/>
                <a:gd name="T65" fmla="*/ 165 h 265"/>
                <a:gd name="T66" fmla="*/ 62 w 265"/>
                <a:gd name="T67" fmla="*/ 172 h 265"/>
                <a:gd name="T68" fmla="*/ 52 w 265"/>
                <a:gd name="T69" fmla="*/ 123 h 265"/>
                <a:gd name="T70" fmla="*/ 36 w 265"/>
                <a:gd name="T71" fmla="*/ 118 h 265"/>
                <a:gd name="T72" fmla="*/ 52 w 265"/>
                <a:gd name="T73" fmla="*/ 115 h 265"/>
                <a:gd name="T74" fmla="*/ 54 w 265"/>
                <a:gd name="T75" fmla="*/ 12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265">
                  <a:moveTo>
                    <a:pt x="133" y="0"/>
                  </a:moveTo>
                  <a:cubicBezTo>
                    <a:pt x="60" y="0"/>
                    <a:pt x="0" y="59"/>
                    <a:pt x="0" y="133"/>
                  </a:cubicBezTo>
                  <a:cubicBezTo>
                    <a:pt x="0" y="206"/>
                    <a:pt x="60" y="265"/>
                    <a:pt x="133" y="265"/>
                  </a:cubicBezTo>
                  <a:cubicBezTo>
                    <a:pt x="206" y="265"/>
                    <a:pt x="265" y="206"/>
                    <a:pt x="265" y="133"/>
                  </a:cubicBezTo>
                  <a:cubicBezTo>
                    <a:pt x="265" y="59"/>
                    <a:pt x="206" y="0"/>
                    <a:pt x="133" y="0"/>
                  </a:cubicBezTo>
                  <a:close/>
                  <a:moveTo>
                    <a:pt x="154" y="132"/>
                  </a:moveTo>
                  <a:cubicBezTo>
                    <a:pt x="148" y="138"/>
                    <a:pt x="99" y="173"/>
                    <a:pt x="98" y="172"/>
                  </a:cubicBezTo>
                  <a:cubicBezTo>
                    <a:pt x="97" y="171"/>
                    <a:pt x="126" y="118"/>
                    <a:pt x="132" y="112"/>
                  </a:cubicBezTo>
                  <a:cubicBezTo>
                    <a:pt x="137" y="106"/>
                    <a:pt x="146" y="105"/>
                    <a:pt x="153" y="111"/>
                  </a:cubicBezTo>
                  <a:cubicBezTo>
                    <a:pt x="159" y="116"/>
                    <a:pt x="159" y="126"/>
                    <a:pt x="154" y="132"/>
                  </a:cubicBezTo>
                  <a:close/>
                  <a:moveTo>
                    <a:pt x="203" y="208"/>
                  </a:moveTo>
                  <a:cubicBezTo>
                    <a:pt x="183" y="187"/>
                    <a:pt x="183" y="187"/>
                    <a:pt x="183" y="187"/>
                  </a:cubicBezTo>
                  <a:cubicBezTo>
                    <a:pt x="182" y="185"/>
                    <a:pt x="182" y="185"/>
                    <a:pt x="182" y="185"/>
                  </a:cubicBezTo>
                  <a:cubicBezTo>
                    <a:pt x="197" y="172"/>
                    <a:pt x="206" y="153"/>
                    <a:pt x="206" y="132"/>
                  </a:cubicBezTo>
                  <a:cubicBezTo>
                    <a:pt x="206" y="92"/>
                    <a:pt x="173" y="59"/>
                    <a:pt x="133" y="59"/>
                  </a:cubicBezTo>
                  <a:cubicBezTo>
                    <a:pt x="93" y="59"/>
                    <a:pt x="60" y="92"/>
                    <a:pt x="60" y="132"/>
                  </a:cubicBezTo>
                  <a:cubicBezTo>
                    <a:pt x="60" y="153"/>
                    <a:pt x="69" y="172"/>
                    <a:pt x="84" y="185"/>
                  </a:cubicBezTo>
                  <a:cubicBezTo>
                    <a:pt x="83" y="188"/>
                    <a:pt x="83" y="188"/>
                    <a:pt x="83" y="188"/>
                  </a:cubicBezTo>
                  <a:cubicBezTo>
                    <a:pt x="63" y="209"/>
                    <a:pt x="63" y="209"/>
                    <a:pt x="63" y="209"/>
                  </a:cubicBezTo>
                  <a:cubicBezTo>
                    <a:pt x="42" y="190"/>
                    <a:pt x="29" y="162"/>
                    <a:pt x="29" y="132"/>
                  </a:cubicBezTo>
                  <a:cubicBezTo>
                    <a:pt x="29" y="74"/>
                    <a:pt x="75" y="28"/>
                    <a:pt x="133" y="28"/>
                  </a:cubicBezTo>
                  <a:cubicBezTo>
                    <a:pt x="190" y="28"/>
                    <a:pt x="237" y="74"/>
                    <a:pt x="237" y="132"/>
                  </a:cubicBezTo>
                  <a:cubicBezTo>
                    <a:pt x="237" y="162"/>
                    <a:pt x="224" y="189"/>
                    <a:pt x="203" y="208"/>
                  </a:cubicBezTo>
                  <a:close/>
                  <a:moveTo>
                    <a:pt x="213" y="178"/>
                  </a:moveTo>
                  <a:cubicBezTo>
                    <a:pt x="204" y="172"/>
                    <a:pt x="204" y="172"/>
                    <a:pt x="204" y="172"/>
                  </a:cubicBezTo>
                  <a:cubicBezTo>
                    <a:pt x="202" y="170"/>
                    <a:pt x="201" y="168"/>
                    <a:pt x="203" y="166"/>
                  </a:cubicBezTo>
                  <a:cubicBezTo>
                    <a:pt x="204" y="164"/>
                    <a:pt x="207" y="163"/>
                    <a:pt x="208" y="165"/>
                  </a:cubicBezTo>
                  <a:cubicBezTo>
                    <a:pt x="218" y="171"/>
                    <a:pt x="218" y="171"/>
                    <a:pt x="218" y="171"/>
                  </a:cubicBezTo>
                  <a:cubicBezTo>
                    <a:pt x="220" y="173"/>
                    <a:pt x="221" y="175"/>
                    <a:pt x="219" y="177"/>
                  </a:cubicBezTo>
                  <a:cubicBezTo>
                    <a:pt x="218" y="179"/>
                    <a:pt x="215" y="180"/>
                    <a:pt x="213" y="178"/>
                  </a:cubicBezTo>
                  <a:close/>
                  <a:moveTo>
                    <a:pt x="212" y="121"/>
                  </a:moveTo>
                  <a:cubicBezTo>
                    <a:pt x="211" y="120"/>
                    <a:pt x="210" y="119"/>
                    <a:pt x="210" y="118"/>
                  </a:cubicBezTo>
                  <a:cubicBezTo>
                    <a:pt x="209" y="115"/>
                    <a:pt x="211" y="113"/>
                    <a:pt x="213" y="113"/>
                  </a:cubicBezTo>
                  <a:cubicBezTo>
                    <a:pt x="225" y="112"/>
                    <a:pt x="225" y="112"/>
                    <a:pt x="225" y="112"/>
                  </a:cubicBezTo>
                  <a:cubicBezTo>
                    <a:pt x="228" y="112"/>
                    <a:pt x="230" y="113"/>
                    <a:pt x="230" y="116"/>
                  </a:cubicBezTo>
                  <a:cubicBezTo>
                    <a:pt x="230" y="118"/>
                    <a:pt x="228" y="120"/>
                    <a:pt x="226" y="120"/>
                  </a:cubicBezTo>
                  <a:cubicBezTo>
                    <a:pt x="214" y="121"/>
                    <a:pt x="214" y="121"/>
                    <a:pt x="214" y="121"/>
                  </a:cubicBezTo>
                  <a:cubicBezTo>
                    <a:pt x="213" y="121"/>
                    <a:pt x="213" y="121"/>
                    <a:pt x="212" y="121"/>
                  </a:cubicBezTo>
                  <a:close/>
                  <a:moveTo>
                    <a:pt x="133" y="55"/>
                  </a:moveTo>
                  <a:cubicBezTo>
                    <a:pt x="131" y="55"/>
                    <a:pt x="129" y="53"/>
                    <a:pt x="129" y="51"/>
                  </a:cubicBezTo>
                  <a:cubicBezTo>
                    <a:pt x="129" y="39"/>
                    <a:pt x="129" y="39"/>
                    <a:pt x="129" y="39"/>
                  </a:cubicBezTo>
                  <a:cubicBezTo>
                    <a:pt x="129" y="37"/>
                    <a:pt x="131" y="35"/>
                    <a:pt x="133" y="35"/>
                  </a:cubicBezTo>
                  <a:cubicBezTo>
                    <a:pt x="136" y="35"/>
                    <a:pt x="137" y="37"/>
                    <a:pt x="137" y="39"/>
                  </a:cubicBezTo>
                  <a:cubicBezTo>
                    <a:pt x="137" y="51"/>
                    <a:pt x="137" y="51"/>
                    <a:pt x="137" y="51"/>
                  </a:cubicBezTo>
                  <a:cubicBezTo>
                    <a:pt x="137" y="53"/>
                    <a:pt x="136" y="55"/>
                    <a:pt x="133" y="55"/>
                  </a:cubicBezTo>
                  <a:close/>
                  <a:moveTo>
                    <a:pt x="191" y="76"/>
                  </a:moveTo>
                  <a:cubicBezTo>
                    <a:pt x="191" y="76"/>
                    <a:pt x="190" y="76"/>
                    <a:pt x="189" y="76"/>
                  </a:cubicBezTo>
                  <a:cubicBezTo>
                    <a:pt x="188" y="74"/>
                    <a:pt x="187" y="71"/>
                    <a:pt x="189" y="70"/>
                  </a:cubicBezTo>
                  <a:cubicBezTo>
                    <a:pt x="197" y="60"/>
                    <a:pt x="197" y="60"/>
                    <a:pt x="197" y="60"/>
                  </a:cubicBezTo>
                  <a:cubicBezTo>
                    <a:pt x="198" y="59"/>
                    <a:pt x="201" y="58"/>
                    <a:pt x="203" y="60"/>
                  </a:cubicBezTo>
                  <a:cubicBezTo>
                    <a:pt x="204" y="61"/>
                    <a:pt x="205" y="64"/>
                    <a:pt x="203" y="66"/>
                  </a:cubicBezTo>
                  <a:cubicBezTo>
                    <a:pt x="195" y="75"/>
                    <a:pt x="195" y="75"/>
                    <a:pt x="195" y="75"/>
                  </a:cubicBezTo>
                  <a:cubicBezTo>
                    <a:pt x="194" y="76"/>
                    <a:pt x="193" y="77"/>
                    <a:pt x="191" y="76"/>
                  </a:cubicBezTo>
                  <a:close/>
                  <a:moveTo>
                    <a:pt x="70" y="75"/>
                  </a:moveTo>
                  <a:cubicBezTo>
                    <a:pt x="63" y="66"/>
                    <a:pt x="63" y="66"/>
                    <a:pt x="63" y="66"/>
                  </a:cubicBezTo>
                  <a:cubicBezTo>
                    <a:pt x="61" y="64"/>
                    <a:pt x="62" y="61"/>
                    <a:pt x="63" y="60"/>
                  </a:cubicBezTo>
                  <a:cubicBezTo>
                    <a:pt x="65" y="58"/>
                    <a:pt x="68" y="59"/>
                    <a:pt x="69" y="60"/>
                  </a:cubicBezTo>
                  <a:cubicBezTo>
                    <a:pt x="77" y="70"/>
                    <a:pt x="77" y="70"/>
                    <a:pt x="77" y="70"/>
                  </a:cubicBezTo>
                  <a:cubicBezTo>
                    <a:pt x="78" y="71"/>
                    <a:pt x="78" y="74"/>
                    <a:pt x="76" y="76"/>
                  </a:cubicBezTo>
                  <a:cubicBezTo>
                    <a:pt x="76" y="76"/>
                    <a:pt x="75" y="76"/>
                    <a:pt x="74" y="76"/>
                  </a:cubicBezTo>
                  <a:cubicBezTo>
                    <a:pt x="73" y="77"/>
                    <a:pt x="71" y="76"/>
                    <a:pt x="70" y="75"/>
                  </a:cubicBezTo>
                  <a:close/>
                  <a:moveTo>
                    <a:pt x="62" y="172"/>
                  </a:moveTo>
                  <a:cubicBezTo>
                    <a:pt x="52" y="179"/>
                    <a:pt x="52" y="179"/>
                    <a:pt x="52" y="179"/>
                  </a:cubicBezTo>
                  <a:cubicBezTo>
                    <a:pt x="51" y="180"/>
                    <a:pt x="48" y="180"/>
                    <a:pt x="47" y="178"/>
                  </a:cubicBezTo>
                  <a:cubicBezTo>
                    <a:pt x="45" y="176"/>
                    <a:pt x="46" y="173"/>
                    <a:pt x="48" y="172"/>
                  </a:cubicBezTo>
                  <a:cubicBezTo>
                    <a:pt x="57" y="165"/>
                    <a:pt x="57" y="165"/>
                    <a:pt x="57" y="165"/>
                  </a:cubicBezTo>
                  <a:cubicBezTo>
                    <a:pt x="59" y="164"/>
                    <a:pt x="62" y="164"/>
                    <a:pt x="63" y="166"/>
                  </a:cubicBezTo>
                  <a:cubicBezTo>
                    <a:pt x="65" y="168"/>
                    <a:pt x="64" y="171"/>
                    <a:pt x="62" y="172"/>
                  </a:cubicBezTo>
                  <a:close/>
                  <a:moveTo>
                    <a:pt x="54" y="123"/>
                  </a:moveTo>
                  <a:cubicBezTo>
                    <a:pt x="53" y="123"/>
                    <a:pt x="52" y="123"/>
                    <a:pt x="52" y="123"/>
                  </a:cubicBezTo>
                  <a:cubicBezTo>
                    <a:pt x="40" y="122"/>
                    <a:pt x="40" y="122"/>
                    <a:pt x="40" y="122"/>
                  </a:cubicBezTo>
                  <a:cubicBezTo>
                    <a:pt x="37" y="122"/>
                    <a:pt x="36" y="120"/>
                    <a:pt x="36" y="118"/>
                  </a:cubicBezTo>
                  <a:cubicBezTo>
                    <a:pt x="36" y="115"/>
                    <a:pt x="38" y="114"/>
                    <a:pt x="40" y="114"/>
                  </a:cubicBezTo>
                  <a:cubicBezTo>
                    <a:pt x="52" y="115"/>
                    <a:pt x="52" y="115"/>
                    <a:pt x="52" y="115"/>
                  </a:cubicBezTo>
                  <a:cubicBezTo>
                    <a:pt x="55" y="115"/>
                    <a:pt x="56" y="117"/>
                    <a:pt x="56" y="120"/>
                  </a:cubicBezTo>
                  <a:cubicBezTo>
                    <a:pt x="56" y="121"/>
                    <a:pt x="55" y="122"/>
                    <a:pt x="54" y="12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49" name="Group 48"/>
          <p:cNvGrpSpPr/>
          <p:nvPr/>
        </p:nvGrpSpPr>
        <p:grpSpPr>
          <a:xfrm>
            <a:off x="9421941" y="2854536"/>
            <a:ext cx="2411383" cy="833675"/>
            <a:chOff x="9610866" y="2911279"/>
            <a:chExt cx="2459736" cy="850392"/>
          </a:xfrm>
        </p:grpSpPr>
        <p:sp>
          <p:nvSpPr>
            <p:cNvPr id="172" name="Rectangle 171"/>
            <p:cNvSpPr/>
            <p:nvPr/>
          </p:nvSpPr>
          <p:spPr bwMode="auto">
            <a:xfrm>
              <a:off x="9610866" y="2911279"/>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Complex, legacy </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applications</a:t>
              </a:r>
            </a:p>
          </p:txBody>
        </p:sp>
        <p:sp>
          <p:nvSpPr>
            <p:cNvPr id="161" name="Freeform 17"/>
            <p:cNvSpPr>
              <a:spLocks noChangeAspect="1" noEditPoints="1"/>
            </p:cNvSpPr>
            <p:nvPr/>
          </p:nvSpPr>
          <p:spPr bwMode="auto">
            <a:xfrm>
              <a:off x="9838668" y="3142063"/>
              <a:ext cx="394788" cy="388824"/>
            </a:xfrm>
            <a:custGeom>
              <a:avLst/>
              <a:gdLst>
                <a:gd name="T0" fmla="*/ 136 w 137"/>
                <a:gd name="T1" fmla="*/ 23 h 135"/>
                <a:gd name="T2" fmla="*/ 36 w 137"/>
                <a:gd name="T3" fmla="*/ 19 h 135"/>
                <a:gd name="T4" fmla="*/ 33 w 137"/>
                <a:gd name="T5" fmla="*/ 26 h 135"/>
                <a:gd name="T6" fmla="*/ 74 w 137"/>
                <a:gd name="T7" fmla="*/ 95 h 135"/>
                <a:gd name="T8" fmla="*/ 94 w 137"/>
                <a:gd name="T9" fmla="*/ 135 h 135"/>
                <a:gd name="T10" fmla="*/ 137 w 137"/>
                <a:gd name="T11" fmla="*/ 31 h 135"/>
                <a:gd name="T12" fmla="*/ 98 w 137"/>
                <a:gd name="T13" fmla="*/ 5 h 135"/>
                <a:gd name="T14" fmla="*/ 135 w 137"/>
                <a:gd name="T15" fmla="*/ 28 h 135"/>
                <a:gd name="T16" fmla="*/ 98 w 137"/>
                <a:gd name="T17" fmla="*/ 5 h 135"/>
                <a:gd name="T18" fmla="*/ 96 w 137"/>
                <a:gd name="T19" fmla="*/ 127 h 135"/>
                <a:gd name="T20" fmla="*/ 136 w 137"/>
                <a:gd name="T21" fmla="*/ 101 h 135"/>
                <a:gd name="T22" fmla="*/ 136 w 137"/>
                <a:gd name="T23" fmla="*/ 95 h 135"/>
                <a:gd name="T24" fmla="*/ 96 w 137"/>
                <a:gd name="T25" fmla="*/ 102 h 135"/>
                <a:gd name="T26" fmla="*/ 136 w 137"/>
                <a:gd name="T27" fmla="*/ 95 h 135"/>
                <a:gd name="T28" fmla="*/ 96 w 137"/>
                <a:gd name="T29" fmla="*/ 93 h 135"/>
                <a:gd name="T30" fmla="*/ 136 w 137"/>
                <a:gd name="T31" fmla="*/ 79 h 135"/>
                <a:gd name="T32" fmla="*/ 136 w 137"/>
                <a:gd name="T33" fmla="*/ 73 h 135"/>
                <a:gd name="T34" fmla="*/ 96 w 137"/>
                <a:gd name="T35" fmla="*/ 68 h 135"/>
                <a:gd name="T36" fmla="*/ 136 w 137"/>
                <a:gd name="T37" fmla="*/ 73 h 135"/>
                <a:gd name="T38" fmla="*/ 96 w 137"/>
                <a:gd name="T39" fmla="*/ 59 h 135"/>
                <a:gd name="T40" fmla="*/ 136 w 137"/>
                <a:gd name="T41" fmla="*/ 57 h 135"/>
                <a:gd name="T42" fmla="*/ 136 w 137"/>
                <a:gd name="T43" fmla="*/ 51 h 135"/>
                <a:gd name="T44" fmla="*/ 96 w 137"/>
                <a:gd name="T45" fmla="*/ 34 h 135"/>
                <a:gd name="T46" fmla="*/ 136 w 137"/>
                <a:gd name="T47" fmla="*/ 51 h 135"/>
                <a:gd name="T48" fmla="*/ 96 w 137"/>
                <a:gd name="T49" fmla="*/ 25 h 135"/>
                <a:gd name="T50" fmla="*/ 136 w 137"/>
                <a:gd name="T51" fmla="*/ 34 h 135"/>
                <a:gd name="T52" fmla="*/ 33 w 137"/>
                <a:gd name="T53" fmla="*/ 62 h 135"/>
                <a:gd name="T54" fmla="*/ 33 w 137"/>
                <a:gd name="T55" fmla="*/ 128 h 135"/>
                <a:gd name="T56" fmla="*/ 33 w 137"/>
                <a:gd name="T57" fmla="*/ 62 h 135"/>
                <a:gd name="T58" fmla="*/ 15 w 137"/>
                <a:gd name="T59" fmla="*/ 98 h 135"/>
                <a:gd name="T60" fmla="*/ 30 w 137"/>
                <a:gd name="T61" fmla="*/ 100 h 135"/>
                <a:gd name="T62" fmla="*/ 55 w 137"/>
                <a:gd name="T6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5">
                  <a:moveTo>
                    <a:pt x="136" y="31"/>
                  </a:moveTo>
                  <a:cubicBezTo>
                    <a:pt x="136" y="23"/>
                    <a:pt x="136" y="23"/>
                    <a:pt x="136" y="23"/>
                  </a:cubicBezTo>
                  <a:cubicBezTo>
                    <a:pt x="96" y="0"/>
                    <a:pt x="96" y="0"/>
                    <a:pt x="96" y="0"/>
                  </a:cubicBezTo>
                  <a:cubicBezTo>
                    <a:pt x="36" y="19"/>
                    <a:pt x="36" y="19"/>
                    <a:pt x="36" y="19"/>
                  </a:cubicBezTo>
                  <a:cubicBezTo>
                    <a:pt x="36" y="26"/>
                    <a:pt x="36" y="26"/>
                    <a:pt x="36" y="26"/>
                  </a:cubicBezTo>
                  <a:cubicBezTo>
                    <a:pt x="33" y="26"/>
                    <a:pt x="33" y="26"/>
                    <a:pt x="33" y="26"/>
                  </a:cubicBezTo>
                  <a:cubicBezTo>
                    <a:pt x="33" y="55"/>
                    <a:pt x="33" y="55"/>
                    <a:pt x="33" y="55"/>
                  </a:cubicBezTo>
                  <a:cubicBezTo>
                    <a:pt x="56" y="55"/>
                    <a:pt x="74" y="73"/>
                    <a:pt x="74" y="95"/>
                  </a:cubicBezTo>
                  <a:cubicBezTo>
                    <a:pt x="74" y="107"/>
                    <a:pt x="69" y="117"/>
                    <a:pt x="61" y="124"/>
                  </a:cubicBezTo>
                  <a:cubicBezTo>
                    <a:pt x="94" y="135"/>
                    <a:pt x="94" y="135"/>
                    <a:pt x="94" y="135"/>
                  </a:cubicBezTo>
                  <a:cubicBezTo>
                    <a:pt x="137" y="110"/>
                    <a:pt x="137" y="110"/>
                    <a:pt x="137" y="110"/>
                  </a:cubicBezTo>
                  <a:cubicBezTo>
                    <a:pt x="137" y="31"/>
                    <a:pt x="137" y="31"/>
                    <a:pt x="137" y="31"/>
                  </a:cubicBezTo>
                  <a:lnTo>
                    <a:pt x="136" y="31"/>
                  </a:lnTo>
                  <a:close/>
                  <a:moveTo>
                    <a:pt x="98" y="5"/>
                  </a:moveTo>
                  <a:cubicBezTo>
                    <a:pt x="135" y="25"/>
                    <a:pt x="135" y="25"/>
                    <a:pt x="135" y="25"/>
                  </a:cubicBezTo>
                  <a:cubicBezTo>
                    <a:pt x="135" y="28"/>
                    <a:pt x="135" y="28"/>
                    <a:pt x="135" y="28"/>
                  </a:cubicBezTo>
                  <a:cubicBezTo>
                    <a:pt x="98" y="9"/>
                    <a:pt x="98" y="9"/>
                    <a:pt x="98" y="9"/>
                  </a:cubicBezTo>
                  <a:lnTo>
                    <a:pt x="98" y="5"/>
                  </a:lnTo>
                  <a:close/>
                  <a:moveTo>
                    <a:pt x="136" y="107"/>
                  </a:moveTo>
                  <a:cubicBezTo>
                    <a:pt x="96" y="127"/>
                    <a:pt x="96" y="127"/>
                    <a:pt x="96" y="127"/>
                  </a:cubicBezTo>
                  <a:cubicBezTo>
                    <a:pt x="96" y="119"/>
                    <a:pt x="96" y="119"/>
                    <a:pt x="96" y="119"/>
                  </a:cubicBezTo>
                  <a:cubicBezTo>
                    <a:pt x="136" y="101"/>
                    <a:pt x="136" y="101"/>
                    <a:pt x="136" y="101"/>
                  </a:cubicBezTo>
                  <a:lnTo>
                    <a:pt x="136" y="107"/>
                  </a:lnTo>
                  <a:close/>
                  <a:moveTo>
                    <a:pt x="136" y="95"/>
                  </a:moveTo>
                  <a:cubicBezTo>
                    <a:pt x="96" y="110"/>
                    <a:pt x="96" y="110"/>
                    <a:pt x="96" y="110"/>
                  </a:cubicBezTo>
                  <a:cubicBezTo>
                    <a:pt x="96" y="102"/>
                    <a:pt x="96" y="102"/>
                    <a:pt x="96" y="102"/>
                  </a:cubicBezTo>
                  <a:cubicBezTo>
                    <a:pt x="136" y="90"/>
                    <a:pt x="136" y="90"/>
                    <a:pt x="136" y="90"/>
                  </a:cubicBezTo>
                  <a:lnTo>
                    <a:pt x="136" y="95"/>
                  </a:lnTo>
                  <a:close/>
                  <a:moveTo>
                    <a:pt x="136" y="84"/>
                  </a:moveTo>
                  <a:cubicBezTo>
                    <a:pt x="96" y="93"/>
                    <a:pt x="96" y="93"/>
                    <a:pt x="96" y="93"/>
                  </a:cubicBezTo>
                  <a:cubicBezTo>
                    <a:pt x="96" y="85"/>
                    <a:pt x="96" y="85"/>
                    <a:pt x="96" y="85"/>
                  </a:cubicBezTo>
                  <a:cubicBezTo>
                    <a:pt x="136" y="79"/>
                    <a:pt x="136" y="79"/>
                    <a:pt x="136" y="79"/>
                  </a:cubicBezTo>
                  <a:lnTo>
                    <a:pt x="136" y="84"/>
                  </a:lnTo>
                  <a:close/>
                  <a:moveTo>
                    <a:pt x="136" y="73"/>
                  </a:moveTo>
                  <a:cubicBezTo>
                    <a:pt x="96" y="76"/>
                    <a:pt x="96" y="76"/>
                    <a:pt x="96" y="76"/>
                  </a:cubicBezTo>
                  <a:cubicBezTo>
                    <a:pt x="96" y="68"/>
                    <a:pt x="96" y="68"/>
                    <a:pt x="96" y="68"/>
                  </a:cubicBezTo>
                  <a:cubicBezTo>
                    <a:pt x="136" y="68"/>
                    <a:pt x="136" y="68"/>
                    <a:pt x="136" y="68"/>
                  </a:cubicBezTo>
                  <a:lnTo>
                    <a:pt x="136" y="73"/>
                  </a:lnTo>
                  <a:close/>
                  <a:moveTo>
                    <a:pt x="136" y="62"/>
                  </a:moveTo>
                  <a:cubicBezTo>
                    <a:pt x="96" y="59"/>
                    <a:pt x="96" y="59"/>
                    <a:pt x="96" y="59"/>
                  </a:cubicBezTo>
                  <a:cubicBezTo>
                    <a:pt x="96" y="51"/>
                    <a:pt x="96" y="51"/>
                    <a:pt x="96" y="51"/>
                  </a:cubicBezTo>
                  <a:cubicBezTo>
                    <a:pt x="136" y="57"/>
                    <a:pt x="136" y="57"/>
                    <a:pt x="136" y="57"/>
                  </a:cubicBezTo>
                  <a:lnTo>
                    <a:pt x="136" y="62"/>
                  </a:lnTo>
                  <a:close/>
                  <a:moveTo>
                    <a:pt x="136" y="51"/>
                  </a:moveTo>
                  <a:cubicBezTo>
                    <a:pt x="96" y="43"/>
                    <a:pt x="96" y="43"/>
                    <a:pt x="96" y="43"/>
                  </a:cubicBezTo>
                  <a:cubicBezTo>
                    <a:pt x="96" y="34"/>
                    <a:pt x="96" y="34"/>
                    <a:pt x="96" y="34"/>
                  </a:cubicBezTo>
                  <a:cubicBezTo>
                    <a:pt x="136" y="46"/>
                    <a:pt x="136" y="46"/>
                    <a:pt x="136" y="46"/>
                  </a:cubicBezTo>
                  <a:lnTo>
                    <a:pt x="136" y="51"/>
                  </a:lnTo>
                  <a:close/>
                  <a:moveTo>
                    <a:pt x="136" y="40"/>
                  </a:moveTo>
                  <a:cubicBezTo>
                    <a:pt x="96" y="25"/>
                    <a:pt x="96" y="25"/>
                    <a:pt x="96" y="25"/>
                  </a:cubicBezTo>
                  <a:cubicBezTo>
                    <a:pt x="96" y="17"/>
                    <a:pt x="96" y="17"/>
                    <a:pt x="96" y="17"/>
                  </a:cubicBezTo>
                  <a:cubicBezTo>
                    <a:pt x="136" y="34"/>
                    <a:pt x="136" y="34"/>
                    <a:pt x="136" y="34"/>
                  </a:cubicBezTo>
                  <a:lnTo>
                    <a:pt x="136" y="40"/>
                  </a:lnTo>
                  <a:close/>
                  <a:moveTo>
                    <a:pt x="33" y="62"/>
                  </a:moveTo>
                  <a:cubicBezTo>
                    <a:pt x="15" y="62"/>
                    <a:pt x="0" y="77"/>
                    <a:pt x="0" y="95"/>
                  </a:cubicBezTo>
                  <a:cubicBezTo>
                    <a:pt x="0" y="113"/>
                    <a:pt x="15" y="128"/>
                    <a:pt x="33" y="128"/>
                  </a:cubicBezTo>
                  <a:cubicBezTo>
                    <a:pt x="52" y="128"/>
                    <a:pt x="66" y="113"/>
                    <a:pt x="66" y="95"/>
                  </a:cubicBezTo>
                  <a:cubicBezTo>
                    <a:pt x="66" y="77"/>
                    <a:pt x="52" y="62"/>
                    <a:pt x="33" y="62"/>
                  </a:cubicBezTo>
                  <a:close/>
                  <a:moveTo>
                    <a:pt x="30" y="112"/>
                  </a:moveTo>
                  <a:cubicBezTo>
                    <a:pt x="30" y="112"/>
                    <a:pt x="30" y="112"/>
                    <a:pt x="15" y="98"/>
                  </a:cubicBezTo>
                  <a:cubicBezTo>
                    <a:pt x="15" y="98"/>
                    <a:pt x="15" y="98"/>
                    <a:pt x="20" y="92"/>
                  </a:cubicBezTo>
                  <a:cubicBezTo>
                    <a:pt x="20" y="92"/>
                    <a:pt x="26" y="98"/>
                    <a:pt x="30" y="100"/>
                  </a:cubicBezTo>
                  <a:cubicBezTo>
                    <a:pt x="38" y="92"/>
                    <a:pt x="49" y="81"/>
                    <a:pt x="49" y="81"/>
                  </a:cubicBezTo>
                  <a:cubicBezTo>
                    <a:pt x="55" y="87"/>
                    <a:pt x="55" y="87"/>
                    <a:pt x="55" y="87"/>
                  </a:cubicBezTo>
                  <a:cubicBezTo>
                    <a:pt x="55" y="87"/>
                    <a:pt x="55" y="87"/>
                    <a:pt x="30" y="11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46" name="Group 45"/>
          <p:cNvGrpSpPr/>
          <p:nvPr/>
        </p:nvGrpSpPr>
        <p:grpSpPr>
          <a:xfrm>
            <a:off x="6999002" y="4554912"/>
            <a:ext cx="2411383" cy="833675"/>
            <a:chOff x="7139346" y="4645747"/>
            <a:chExt cx="2459736" cy="850392"/>
          </a:xfrm>
        </p:grpSpPr>
        <p:sp>
          <p:nvSpPr>
            <p:cNvPr id="178" name="Rectangle 177"/>
            <p:cNvSpPr/>
            <p:nvPr/>
          </p:nvSpPr>
          <p:spPr bwMode="auto">
            <a:xfrm>
              <a:off x="7139346" y="4645747"/>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Resiliency</a:t>
              </a:r>
              <a:br>
                <a:rPr lang="en-US" sz="1568" kern="0" spc="-51" dirty="0">
                  <a:gradFill>
                    <a:gsLst>
                      <a:gs pos="17699">
                        <a:srgbClr val="505050"/>
                      </a:gs>
                      <a:gs pos="49000">
                        <a:srgbClr val="505050"/>
                      </a:gs>
                    </a:gsLst>
                    <a:lin ang="16200000" scaled="0"/>
                  </a:gradFill>
                  <a:ea typeface="Segoe UI" pitchFamily="34" charset="0"/>
                  <a:cs typeface="Segoe UI" pitchFamily="34" charset="0"/>
                </a:rPr>
              </a:br>
              <a:endParaRPr lang="en-US" sz="1568" kern="0" spc="-51" dirty="0">
                <a:gradFill>
                  <a:gsLst>
                    <a:gs pos="17699">
                      <a:srgbClr val="505050"/>
                    </a:gs>
                    <a:gs pos="49000">
                      <a:srgbClr val="505050"/>
                    </a:gs>
                  </a:gsLst>
                  <a:lin ang="16200000" scaled="0"/>
                </a:gradFill>
                <a:ea typeface="Segoe UI" pitchFamily="34" charset="0"/>
                <a:cs typeface="Segoe UI" pitchFamily="34" charset="0"/>
              </a:endParaRPr>
            </a:p>
          </p:txBody>
        </p:sp>
        <p:sp>
          <p:nvSpPr>
            <p:cNvPr id="66" name="Freeform 94"/>
            <p:cNvSpPr>
              <a:spLocks noChangeAspect="1"/>
            </p:cNvSpPr>
            <p:nvPr/>
          </p:nvSpPr>
          <p:spPr bwMode="auto">
            <a:xfrm>
              <a:off x="7354923" y="4939153"/>
              <a:ext cx="419238" cy="263580"/>
            </a:xfrm>
            <a:custGeom>
              <a:avLst/>
              <a:gdLst>
                <a:gd name="T0" fmla="*/ 870 w 870"/>
                <a:gd name="T1" fmla="*/ 235 h 547"/>
                <a:gd name="T2" fmla="*/ 635 w 870"/>
                <a:gd name="T3" fmla="*/ 70 h 547"/>
                <a:gd name="T4" fmla="*/ 635 w 870"/>
                <a:gd name="T5" fmla="*/ 187 h 547"/>
                <a:gd name="T6" fmla="*/ 467 w 870"/>
                <a:gd name="T7" fmla="*/ 357 h 547"/>
                <a:gd name="T8" fmla="*/ 467 w 870"/>
                <a:gd name="T9" fmla="*/ 357 h 547"/>
                <a:gd name="T10" fmla="*/ 460 w 870"/>
                <a:gd name="T11" fmla="*/ 431 h 547"/>
                <a:gd name="T12" fmla="*/ 443 w 870"/>
                <a:gd name="T13" fmla="*/ 454 h 547"/>
                <a:gd name="T14" fmla="*/ 434 w 870"/>
                <a:gd name="T15" fmla="*/ 451 h 547"/>
                <a:gd name="T16" fmla="*/ 418 w 870"/>
                <a:gd name="T17" fmla="*/ 358 h 547"/>
                <a:gd name="T18" fmla="*/ 418 w 870"/>
                <a:gd name="T19" fmla="*/ 357 h 547"/>
                <a:gd name="T20" fmla="*/ 417 w 870"/>
                <a:gd name="T21" fmla="*/ 192 h 547"/>
                <a:gd name="T22" fmla="*/ 417 w 870"/>
                <a:gd name="T23" fmla="*/ 190 h 547"/>
                <a:gd name="T24" fmla="*/ 405 w 870"/>
                <a:gd name="T25" fmla="*/ 90 h 547"/>
                <a:gd name="T26" fmla="*/ 299 w 870"/>
                <a:gd name="T27" fmla="*/ 0 h 547"/>
                <a:gd name="T28" fmla="*/ 191 w 870"/>
                <a:gd name="T29" fmla="*/ 93 h 547"/>
                <a:gd name="T30" fmla="*/ 180 w 870"/>
                <a:gd name="T31" fmla="*/ 191 h 547"/>
                <a:gd name="T32" fmla="*/ 180 w 870"/>
                <a:gd name="T33" fmla="*/ 193 h 547"/>
                <a:gd name="T34" fmla="*/ 171 w 870"/>
                <a:gd name="T35" fmla="*/ 245 h 547"/>
                <a:gd name="T36" fmla="*/ 97 w 870"/>
                <a:gd name="T37" fmla="*/ 267 h 547"/>
                <a:gd name="T38" fmla="*/ 1 w 870"/>
                <a:gd name="T39" fmla="*/ 267 h 547"/>
                <a:gd name="T40" fmla="*/ 0 w 870"/>
                <a:gd name="T41" fmla="*/ 361 h 547"/>
                <a:gd name="T42" fmla="*/ 98 w 870"/>
                <a:gd name="T43" fmla="*/ 361 h 547"/>
                <a:gd name="T44" fmla="*/ 249 w 870"/>
                <a:gd name="T45" fmla="*/ 297 h 547"/>
                <a:gd name="T46" fmla="*/ 274 w 870"/>
                <a:gd name="T47" fmla="*/ 193 h 547"/>
                <a:gd name="T48" fmla="*/ 274 w 870"/>
                <a:gd name="T49" fmla="*/ 191 h 547"/>
                <a:gd name="T50" fmla="*/ 281 w 870"/>
                <a:gd name="T51" fmla="*/ 119 h 547"/>
                <a:gd name="T52" fmla="*/ 299 w 870"/>
                <a:gd name="T53" fmla="*/ 94 h 547"/>
                <a:gd name="T54" fmla="*/ 316 w 870"/>
                <a:gd name="T55" fmla="*/ 116 h 547"/>
                <a:gd name="T56" fmla="*/ 323 w 870"/>
                <a:gd name="T57" fmla="*/ 191 h 547"/>
                <a:gd name="T58" fmla="*/ 324 w 870"/>
                <a:gd name="T59" fmla="*/ 356 h 547"/>
                <a:gd name="T60" fmla="*/ 366 w 870"/>
                <a:gd name="T61" fmla="*/ 516 h 547"/>
                <a:gd name="T62" fmla="*/ 443 w 870"/>
                <a:gd name="T63" fmla="*/ 547 h 547"/>
                <a:gd name="T64" fmla="*/ 550 w 870"/>
                <a:gd name="T65" fmla="*/ 457 h 547"/>
                <a:gd name="T66" fmla="*/ 560 w 870"/>
                <a:gd name="T67" fmla="*/ 357 h 547"/>
                <a:gd name="T68" fmla="*/ 560 w 870"/>
                <a:gd name="T69" fmla="*/ 357 h 547"/>
                <a:gd name="T70" fmla="*/ 577 w 870"/>
                <a:gd name="T71" fmla="*/ 289 h 547"/>
                <a:gd name="T72" fmla="*/ 635 w 870"/>
                <a:gd name="T73" fmla="*/ 281 h 547"/>
                <a:gd name="T74" fmla="*/ 635 w 870"/>
                <a:gd name="T75" fmla="*/ 395 h 547"/>
                <a:gd name="T76" fmla="*/ 870 w 870"/>
                <a:gd name="T77" fmla="*/ 235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547">
                  <a:moveTo>
                    <a:pt x="870" y="235"/>
                  </a:moveTo>
                  <a:cubicBezTo>
                    <a:pt x="635" y="70"/>
                    <a:pt x="635" y="70"/>
                    <a:pt x="635" y="70"/>
                  </a:cubicBezTo>
                  <a:cubicBezTo>
                    <a:pt x="635" y="187"/>
                    <a:pt x="635" y="187"/>
                    <a:pt x="635" y="187"/>
                  </a:cubicBezTo>
                  <a:cubicBezTo>
                    <a:pt x="564" y="187"/>
                    <a:pt x="467" y="195"/>
                    <a:pt x="467" y="357"/>
                  </a:cubicBezTo>
                  <a:cubicBezTo>
                    <a:pt x="467" y="357"/>
                    <a:pt x="467" y="357"/>
                    <a:pt x="467" y="357"/>
                  </a:cubicBezTo>
                  <a:cubicBezTo>
                    <a:pt x="467" y="374"/>
                    <a:pt x="467" y="407"/>
                    <a:pt x="460" y="431"/>
                  </a:cubicBezTo>
                  <a:cubicBezTo>
                    <a:pt x="453" y="454"/>
                    <a:pt x="447" y="454"/>
                    <a:pt x="443" y="454"/>
                  </a:cubicBezTo>
                  <a:cubicBezTo>
                    <a:pt x="437" y="454"/>
                    <a:pt x="435" y="452"/>
                    <a:pt x="434" y="451"/>
                  </a:cubicBezTo>
                  <a:cubicBezTo>
                    <a:pt x="429" y="446"/>
                    <a:pt x="415" y="426"/>
                    <a:pt x="418" y="358"/>
                  </a:cubicBezTo>
                  <a:cubicBezTo>
                    <a:pt x="418" y="357"/>
                    <a:pt x="418" y="357"/>
                    <a:pt x="418" y="357"/>
                  </a:cubicBezTo>
                  <a:cubicBezTo>
                    <a:pt x="417" y="192"/>
                    <a:pt x="417" y="192"/>
                    <a:pt x="417" y="192"/>
                  </a:cubicBezTo>
                  <a:cubicBezTo>
                    <a:pt x="417" y="190"/>
                    <a:pt x="417" y="190"/>
                    <a:pt x="417" y="190"/>
                  </a:cubicBezTo>
                  <a:cubicBezTo>
                    <a:pt x="417" y="168"/>
                    <a:pt x="416" y="127"/>
                    <a:pt x="405" y="90"/>
                  </a:cubicBezTo>
                  <a:cubicBezTo>
                    <a:pt x="382" y="9"/>
                    <a:pt x="323" y="0"/>
                    <a:pt x="299" y="0"/>
                  </a:cubicBezTo>
                  <a:cubicBezTo>
                    <a:pt x="274" y="0"/>
                    <a:pt x="215" y="9"/>
                    <a:pt x="191" y="93"/>
                  </a:cubicBezTo>
                  <a:cubicBezTo>
                    <a:pt x="180" y="131"/>
                    <a:pt x="180" y="172"/>
                    <a:pt x="180" y="191"/>
                  </a:cubicBezTo>
                  <a:cubicBezTo>
                    <a:pt x="180" y="193"/>
                    <a:pt x="180" y="193"/>
                    <a:pt x="180" y="193"/>
                  </a:cubicBezTo>
                  <a:cubicBezTo>
                    <a:pt x="180" y="210"/>
                    <a:pt x="180" y="232"/>
                    <a:pt x="171" y="245"/>
                  </a:cubicBezTo>
                  <a:cubicBezTo>
                    <a:pt x="159" y="263"/>
                    <a:pt x="124" y="267"/>
                    <a:pt x="97" y="267"/>
                  </a:cubicBezTo>
                  <a:cubicBezTo>
                    <a:pt x="46" y="267"/>
                    <a:pt x="1" y="267"/>
                    <a:pt x="1" y="267"/>
                  </a:cubicBezTo>
                  <a:cubicBezTo>
                    <a:pt x="0" y="361"/>
                    <a:pt x="0" y="361"/>
                    <a:pt x="0" y="361"/>
                  </a:cubicBezTo>
                  <a:cubicBezTo>
                    <a:pt x="1" y="361"/>
                    <a:pt x="46" y="361"/>
                    <a:pt x="98" y="361"/>
                  </a:cubicBezTo>
                  <a:cubicBezTo>
                    <a:pt x="170" y="360"/>
                    <a:pt x="221" y="339"/>
                    <a:pt x="249" y="297"/>
                  </a:cubicBezTo>
                  <a:cubicBezTo>
                    <a:pt x="274" y="260"/>
                    <a:pt x="274" y="218"/>
                    <a:pt x="274" y="193"/>
                  </a:cubicBezTo>
                  <a:cubicBezTo>
                    <a:pt x="274" y="191"/>
                    <a:pt x="274" y="191"/>
                    <a:pt x="274" y="191"/>
                  </a:cubicBezTo>
                  <a:cubicBezTo>
                    <a:pt x="274" y="176"/>
                    <a:pt x="274" y="144"/>
                    <a:pt x="281" y="119"/>
                  </a:cubicBezTo>
                  <a:cubicBezTo>
                    <a:pt x="288" y="94"/>
                    <a:pt x="295" y="94"/>
                    <a:pt x="299" y="94"/>
                  </a:cubicBezTo>
                  <a:cubicBezTo>
                    <a:pt x="302" y="94"/>
                    <a:pt x="309" y="94"/>
                    <a:pt x="316" y="116"/>
                  </a:cubicBezTo>
                  <a:cubicBezTo>
                    <a:pt x="323" y="141"/>
                    <a:pt x="323" y="172"/>
                    <a:pt x="323" y="191"/>
                  </a:cubicBezTo>
                  <a:cubicBezTo>
                    <a:pt x="324" y="356"/>
                    <a:pt x="324" y="356"/>
                    <a:pt x="324" y="356"/>
                  </a:cubicBezTo>
                  <a:cubicBezTo>
                    <a:pt x="322" y="432"/>
                    <a:pt x="336" y="484"/>
                    <a:pt x="366" y="516"/>
                  </a:cubicBezTo>
                  <a:cubicBezTo>
                    <a:pt x="387" y="537"/>
                    <a:pt x="413" y="547"/>
                    <a:pt x="443" y="547"/>
                  </a:cubicBezTo>
                  <a:cubicBezTo>
                    <a:pt x="467" y="547"/>
                    <a:pt x="526" y="539"/>
                    <a:pt x="550" y="457"/>
                  </a:cubicBezTo>
                  <a:cubicBezTo>
                    <a:pt x="560" y="420"/>
                    <a:pt x="560" y="379"/>
                    <a:pt x="560" y="357"/>
                  </a:cubicBezTo>
                  <a:cubicBezTo>
                    <a:pt x="560" y="357"/>
                    <a:pt x="560" y="357"/>
                    <a:pt x="560" y="357"/>
                  </a:cubicBezTo>
                  <a:cubicBezTo>
                    <a:pt x="560" y="336"/>
                    <a:pt x="562" y="299"/>
                    <a:pt x="577" y="289"/>
                  </a:cubicBezTo>
                  <a:cubicBezTo>
                    <a:pt x="588" y="282"/>
                    <a:pt x="612" y="281"/>
                    <a:pt x="635" y="281"/>
                  </a:cubicBezTo>
                  <a:cubicBezTo>
                    <a:pt x="635" y="395"/>
                    <a:pt x="635" y="395"/>
                    <a:pt x="635" y="395"/>
                  </a:cubicBezTo>
                  <a:lnTo>
                    <a:pt x="870" y="235"/>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08762"/>
              <a:endParaRPr lang="en-US" sz="1765" dirty="0">
                <a:solidFill>
                  <a:srgbClr val="505050"/>
                </a:solidFill>
              </a:endParaRPr>
            </a:p>
          </p:txBody>
        </p:sp>
      </p:grpSp>
      <p:grpSp>
        <p:nvGrpSpPr>
          <p:cNvPr id="48" name="Group 47"/>
          <p:cNvGrpSpPr/>
          <p:nvPr/>
        </p:nvGrpSpPr>
        <p:grpSpPr>
          <a:xfrm>
            <a:off x="9421941" y="3704726"/>
            <a:ext cx="2411383" cy="833675"/>
            <a:chOff x="9610866" y="3778513"/>
            <a:chExt cx="2459736" cy="850392"/>
          </a:xfrm>
        </p:grpSpPr>
        <p:sp>
          <p:nvSpPr>
            <p:cNvPr id="177" name="Rectangle 176"/>
            <p:cNvSpPr/>
            <p:nvPr/>
          </p:nvSpPr>
          <p:spPr bwMode="auto">
            <a:xfrm>
              <a:off x="9610866" y="3778513"/>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Self-service</a:t>
              </a:r>
              <a:br>
                <a:rPr lang="en-US" sz="1568" kern="0" spc="-51" dirty="0">
                  <a:gradFill>
                    <a:gsLst>
                      <a:gs pos="17699">
                        <a:srgbClr val="505050"/>
                      </a:gs>
                      <a:gs pos="49000">
                        <a:srgbClr val="505050"/>
                      </a:gs>
                    </a:gsLst>
                    <a:lin ang="16200000" scaled="0"/>
                  </a:gradFill>
                  <a:ea typeface="Segoe UI" pitchFamily="34" charset="0"/>
                  <a:cs typeface="Segoe UI" pitchFamily="34" charset="0"/>
                </a:rPr>
              </a:br>
              <a:endParaRPr lang="en-US" sz="1568" kern="0" spc="-51" dirty="0">
                <a:gradFill>
                  <a:gsLst>
                    <a:gs pos="17699">
                      <a:srgbClr val="505050"/>
                    </a:gs>
                    <a:gs pos="49000">
                      <a:srgbClr val="505050"/>
                    </a:gs>
                  </a:gsLst>
                  <a:lin ang="16200000" scaled="0"/>
                </a:gradFill>
                <a:ea typeface="Segoe UI" pitchFamily="34" charset="0"/>
                <a:cs typeface="Segoe UI" pitchFamily="34" charset="0"/>
              </a:endParaRPr>
            </a:p>
          </p:txBody>
        </p:sp>
        <p:sp>
          <p:nvSpPr>
            <p:cNvPr id="95" name="Freeform 52"/>
            <p:cNvSpPr>
              <a:spLocks noChangeAspect="1" noEditPoints="1"/>
            </p:cNvSpPr>
            <p:nvPr/>
          </p:nvSpPr>
          <p:spPr bwMode="auto">
            <a:xfrm>
              <a:off x="9850134" y="4014779"/>
              <a:ext cx="371857" cy="377861"/>
            </a:xfrm>
            <a:custGeom>
              <a:avLst/>
              <a:gdLst>
                <a:gd name="T0" fmla="*/ 0 w 491"/>
                <a:gd name="T1" fmla="*/ 0 h 499"/>
                <a:gd name="T2" fmla="*/ 157 w 491"/>
                <a:gd name="T3" fmla="*/ 402 h 499"/>
                <a:gd name="T4" fmla="*/ 157 w 491"/>
                <a:gd name="T5" fmla="*/ 408 h 499"/>
                <a:gd name="T6" fmla="*/ 150 w 491"/>
                <a:gd name="T7" fmla="*/ 422 h 499"/>
                <a:gd name="T8" fmla="*/ 136 w 491"/>
                <a:gd name="T9" fmla="*/ 429 h 499"/>
                <a:gd name="T10" fmla="*/ 81 w 491"/>
                <a:gd name="T11" fmla="*/ 430 h 499"/>
                <a:gd name="T12" fmla="*/ 57 w 491"/>
                <a:gd name="T13" fmla="*/ 433 h 499"/>
                <a:gd name="T14" fmla="*/ 48 w 491"/>
                <a:gd name="T15" fmla="*/ 444 h 499"/>
                <a:gd name="T16" fmla="*/ 45 w 491"/>
                <a:gd name="T17" fmla="*/ 457 h 499"/>
                <a:gd name="T18" fmla="*/ 49 w 491"/>
                <a:gd name="T19" fmla="*/ 473 h 499"/>
                <a:gd name="T20" fmla="*/ 63 w 491"/>
                <a:gd name="T21" fmla="*/ 482 h 499"/>
                <a:gd name="T22" fmla="*/ 130 w 491"/>
                <a:gd name="T23" fmla="*/ 484 h 499"/>
                <a:gd name="T24" fmla="*/ 146 w 491"/>
                <a:gd name="T25" fmla="*/ 482 h 499"/>
                <a:gd name="T26" fmla="*/ 188 w 491"/>
                <a:gd name="T27" fmla="*/ 460 h 499"/>
                <a:gd name="T28" fmla="*/ 210 w 491"/>
                <a:gd name="T29" fmla="*/ 419 h 499"/>
                <a:gd name="T30" fmla="*/ 212 w 491"/>
                <a:gd name="T31" fmla="*/ 385 h 499"/>
                <a:gd name="T32" fmla="*/ 213 w 491"/>
                <a:gd name="T33" fmla="*/ 376 h 499"/>
                <a:gd name="T34" fmla="*/ 220 w 491"/>
                <a:gd name="T35" fmla="*/ 367 h 499"/>
                <a:gd name="T36" fmla="*/ 229 w 491"/>
                <a:gd name="T37" fmla="*/ 367 h 499"/>
                <a:gd name="T38" fmla="*/ 237 w 491"/>
                <a:gd name="T39" fmla="*/ 376 h 499"/>
                <a:gd name="T40" fmla="*/ 240 w 491"/>
                <a:gd name="T41" fmla="*/ 499 h 499"/>
                <a:gd name="T42" fmla="*/ 410 w 491"/>
                <a:gd name="T43" fmla="*/ 385 h 499"/>
                <a:gd name="T44" fmla="*/ 413 w 491"/>
                <a:gd name="T45" fmla="*/ 373 h 499"/>
                <a:gd name="T46" fmla="*/ 424 w 491"/>
                <a:gd name="T47" fmla="*/ 367 h 499"/>
                <a:gd name="T48" fmla="*/ 432 w 491"/>
                <a:gd name="T49" fmla="*/ 370 h 499"/>
                <a:gd name="T50" fmla="*/ 438 w 491"/>
                <a:gd name="T51" fmla="*/ 385 h 499"/>
                <a:gd name="T52" fmla="*/ 491 w 491"/>
                <a:gd name="T53" fmla="*/ 364 h 499"/>
                <a:gd name="T54" fmla="*/ 489 w 491"/>
                <a:gd name="T55" fmla="*/ 328 h 499"/>
                <a:gd name="T56" fmla="*/ 473 w 491"/>
                <a:gd name="T57" fmla="*/ 290 h 499"/>
                <a:gd name="T58" fmla="*/ 444 w 491"/>
                <a:gd name="T59" fmla="*/ 267 h 499"/>
                <a:gd name="T60" fmla="*/ 410 w 491"/>
                <a:gd name="T61" fmla="*/ 259 h 499"/>
                <a:gd name="T62" fmla="*/ 362 w 491"/>
                <a:gd name="T63" fmla="*/ 258 h 499"/>
                <a:gd name="T64" fmla="*/ 268 w 491"/>
                <a:gd name="T65" fmla="*/ 258 h 499"/>
                <a:gd name="T66" fmla="*/ 227 w 491"/>
                <a:gd name="T67" fmla="*/ 260 h 499"/>
                <a:gd name="T68" fmla="*/ 195 w 491"/>
                <a:gd name="T69" fmla="*/ 273 h 499"/>
                <a:gd name="T70" fmla="*/ 177 w 491"/>
                <a:gd name="T71" fmla="*/ 290 h 499"/>
                <a:gd name="T72" fmla="*/ 164 w 491"/>
                <a:gd name="T73" fmla="*/ 314 h 499"/>
                <a:gd name="T74" fmla="*/ 33 w 491"/>
                <a:gd name="T75" fmla="*/ 333 h 499"/>
                <a:gd name="T76" fmla="*/ 410 w 491"/>
                <a:gd name="T77" fmla="*/ 259 h 499"/>
                <a:gd name="T78" fmla="*/ 340 w 491"/>
                <a:gd name="T79" fmla="*/ 244 h 499"/>
                <a:gd name="T80" fmla="*/ 375 w 491"/>
                <a:gd name="T81" fmla="*/ 224 h 499"/>
                <a:gd name="T82" fmla="*/ 393 w 491"/>
                <a:gd name="T83" fmla="*/ 190 h 499"/>
                <a:gd name="T84" fmla="*/ 393 w 491"/>
                <a:gd name="T85" fmla="*/ 162 h 499"/>
                <a:gd name="T86" fmla="*/ 375 w 491"/>
                <a:gd name="T87" fmla="*/ 127 h 499"/>
                <a:gd name="T88" fmla="*/ 340 w 491"/>
                <a:gd name="T89" fmla="*/ 109 h 499"/>
                <a:gd name="T90" fmla="*/ 312 w 491"/>
                <a:gd name="T91" fmla="*/ 109 h 499"/>
                <a:gd name="T92" fmla="*/ 277 w 491"/>
                <a:gd name="T93" fmla="*/ 127 h 499"/>
                <a:gd name="T94" fmla="*/ 258 w 491"/>
                <a:gd name="T95" fmla="*/ 162 h 499"/>
                <a:gd name="T96" fmla="*/ 258 w 491"/>
                <a:gd name="T97" fmla="*/ 190 h 499"/>
                <a:gd name="T98" fmla="*/ 277 w 491"/>
                <a:gd name="T99" fmla="*/ 224 h 499"/>
                <a:gd name="T100" fmla="*/ 312 w 491"/>
                <a:gd name="T101" fmla="*/ 24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1" h="499">
                  <a:moveTo>
                    <a:pt x="444" y="267"/>
                  </a:moveTo>
                  <a:lnTo>
                    <a:pt x="444" y="0"/>
                  </a:lnTo>
                  <a:lnTo>
                    <a:pt x="0" y="0"/>
                  </a:lnTo>
                  <a:lnTo>
                    <a:pt x="0" y="367"/>
                  </a:lnTo>
                  <a:lnTo>
                    <a:pt x="157" y="367"/>
                  </a:lnTo>
                  <a:lnTo>
                    <a:pt x="157" y="402"/>
                  </a:lnTo>
                  <a:lnTo>
                    <a:pt x="157" y="402"/>
                  </a:lnTo>
                  <a:lnTo>
                    <a:pt x="157" y="402"/>
                  </a:lnTo>
                  <a:lnTo>
                    <a:pt x="157" y="408"/>
                  </a:lnTo>
                  <a:lnTo>
                    <a:pt x="156" y="414"/>
                  </a:lnTo>
                  <a:lnTo>
                    <a:pt x="153" y="418"/>
                  </a:lnTo>
                  <a:lnTo>
                    <a:pt x="150" y="422"/>
                  </a:lnTo>
                  <a:lnTo>
                    <a:pt x="146" y="425"/>
                  </a:lnTo>
                  <a:lnTo>
                    <a:pt x="140" y="428"/>
                  </a:lnTo>
                  <a:lnTo>
                    <a:pt x="136" y="429"/>
                  </a:lnTo>
                  <a:lnTo>
                    <a:pt x="130" y="430"/>
                  </a:lnTo>
                  <a:lnTo>
                    <a:pt x="81" y="430"/>
                  </a:lnTo>
                  <a:lnTo>
                    <a:pt x="81" y="430"/>
                  </a:lnTo>
                  <a:lnTo>
                    <a:pt x="71" y="430"/>
                  </a:lnTo>
                  <a:lnTo>
                    <a:pt x="63" y="432"/>
                  </a:lnTo>
                  <a:lnTo>
                    <a:pt x="57" y="433"/>
                  </a:lnTo>
                  <a:lnTo>
                    <a:pt x="53" y="436"/>
                  </a:lnTo>
                  <a:lnTo>
                    <a:pt x="49" y="440"/>
                  </a:lnTo>
                  <a:lnTo>
                    <a:pt x="48" y="444"/>
                  </a:lnTo>
                  <a:lnTo>
                    <a:pt x="46" y="450"/>
                  </a:lnTo>
                  <a:lnTo>
                    <a:pt x="45" y="457"/>
                  </a:lnTo>
                  <a:lnTo>
                    <a:pt x="45" y="457"/>
                  </a:lnTo>
                  <a:lnTo>
                    <a:pt x="46" y="463"/>
                  </a:lnTo>
                  <a:lnTo>
                    <a:pt x="46" y="467"/>
                  </a:lnTo>
                  <a:lnTo>
                    <a:pt x="49" y="473"/>
                  </a:lnTo>
                  <a:lnTo>
                    <a:pt x="52" y="477"/>
                  </a:lnTo>
                  <a:lnTo>
                    <a:pt x="57" y="480"/>
                  </a:lnTo>
                  <a:lnTo>
                    <a:pt x="63" y="482"/>
                  </a:lnTo>
                  <a:lnTo>
                    <a:pt x="71" y="484"/>
                  </a:lnTo>
                  <a:lnTo>
                    <a:pt x="81" y="484"/>
                  </a:lnTo>
                  <a:lnTo>
                    <a:pt x="130" y="484"/>
                  </a:lnTo>
                  <a:lnTo>
                    <a:pt x="130" y="484"/>
                  </a:lnTo>
                  <a:lnTo>
                    <a:pt x="139" y="484"/>
                  </a:lnTo>
                  <a:lnTo>
                    <a:pt x="146" y="482"/>
                  </a:lnTo>
                  <a:lnTo>
                    <a:pt x="161" y="478"/>
                  </a:lnTo>
                  <a:lnTo>
                    <a:pt x="175" y="470"/>
                  </a:lnTo>
                  <a:lnTo>
                    <a:pt x="188" y="460"/>
                  </a:lnTo>
                  <a:lnTo>
                    <a:pt x="198" y="449"/>
                  </a:lnTo>
                  <a:lnTo>
                    <a:pt x="205" y="435"/>
                  </a:lnTo>
                  <a:lnTo>
                    <a:pt x="210" y="419"/>
                  </a:lnTo>
                  <a:lnTo>
                    <a:pt x="212" y="411"/>
                  </a:lnTo>
                  <a:lnTo>
                    <a:pt x="212" y="402"/>
                  </a:lnTo>
                  <a:lnTo>
                    <a:pt x="212" y="385"/>
                  </a:lnTo>
                  <a:lnTo>
                    <a:pt x="212" y="385"/>
                  </a:lnTo>
                  <a:lnTo>
                    <a:pt x="212" y="380"/>
                  </a:lnTo>
                  <a:lnTo>
                    <a:pt x="213" y="376"/>
                  </a:lnTo>
                  <a:lnTo>
                    <a:pt x="215" y="373"/>
                  </a:lnTo>
                  <a:lnTo>
                    <a:pt x="216" y="370"/>
                  </a:lnTo>
                  <a:lnTo>
                    <a:pt x="220" y="367"/>
                  </a:lnTo>
                  <a:lnTo>
                    <a:pt x="225" y="367"/>
                  </a:lnTo>
                  <a:lnTo>
                    <a:pt x="225" y="367"/>
                  </a:lnTo>
                  <a:lnTo>
                    <a:pt x="229" y="367"/>
                  </a:lnTo>
                  <a:lnTo>
                    <a:pt x="234" y="370"/>
                  </a:lnTo>
                  <a:lnTo>
                    <a:pt x="236" y="371"/>
                  </a:lnTo>
                  <a:lnTo>
                    <a:pt x="237" y="376"/>
                  </a:lnTo>
                  <a:lnTo>
                    <a:pt x="239" y="380"/>
                  </a:lnTo>
                  <a:lnTo>
                    <a:pt x="240" y="385"/>
                  </a:lnTo>
                  <a:lnTo>
                    <a:pt x="240" y="499"/>
                  </a:lnTo>
                  <a:lnTo>
                    <a:pt x="410" y="499"/>
                  </a:lnTo>
                  <a:lnTo>
                    <a:pt x="410" y="385"/>
                  </a:lnTo>
                  <a:lnTo>
                    <a:pt x="410" y="385"/>
                  </a:lnTo>
                  <a:lnTo>
                    <a:pt x="410" y="381"/>
                  </a:lnTo>
                  <a:lnTo>
                    <a:pt x="411" y="376"/>
                  </a:lnTo>
                  <a:lnTo>
                    <a:pt x="413" y="373"/>
                  </a:lnTo>
                  <a:lnTo>
                    <a:pt x="416" y="370"/>
                  </a:lnTo>
                  <a:lnTo>
                    <a:pt x="420" y="367"/>
                  </a:lnTo>
                  <a:lnTo>
                    <a:pt x="424" y="367"/>
                  </a:lnTo>
                  <a:lnTo>
                    <a:pt x="424" y="367"/>
                  </a:lnTo>
                  <a:lnTo>
                    <a:pt x="428" y="367"/>
                  </a:lnTo>
                  <a:lnTo>
                    <a:pt x="432" y="370"/>
                  </a:lnTo>
                  <a:lnTo>
                    <a:pt x="437" y="376"/>
                  </a:lnTo>
                  <a:lnTo>
                    <a:pt x="437" y="381"/>
                  </a:lnTo>
                  <a:lnTo>
                    <a:pt x="438" y="385"/>
                  </a:lnTo>
                  <a:lnTo>
                    <a:pt x="438" y="499"/>
                  </a:lnTo>
                  <a:lnTo>
                    <a:pt x="491" y="499"/>
                  </a:lnTo>
                  <a:lnTo>
                    <a:pt x="491" y="364"/>
                  </a:lnTo>
                  <a:lnTo>
                    <a:pt x="491" y="364"/>
                  </a:lnTo>
                  <a:lnTo>
                    <a:pt x="491" y="345"/>
                  </a:lnTo>
                  <a:lnTo>
                    <a:pt x="489" y="328"/>
                  </a:lnTo>
                  <a:lnTo>
                    <a:pt x="484" y="314"/>
                  </a:lnTo>
                  <a:lnTo>
                    <a:pt x="479" y="301"/>
                  </a:lnTo>
                  <a:lnTo>
                    <a:pt x="473" y="290"/>
                  </a:lnTo>
                  <a:lnTo>
                    <a:pt x="465" y="281"/>
                  </a:lnTo>
                  <a:lnTo>
                    <a:pt x="455" y="273"/>
                  </a:lnTo>
                  <a:lnTo>
                    <a:pt x="444" y="267"/>
                  </a:lnTo>
                  <a:lnTo>
                    <a:pt x="444" y="267"/>
                  </a:lnTo>
                  <a:close/>
                  <a:moveTo>
                    <a:pt x="410" y="259"/>
                  </a:moveTo>
                  <a:lnTo>
                    <a:pt x="410" y="259"/>
                  </a:lnTo>
                  <a:lnTo>
                    <a:pt x="396" y="258"/>
                  </a:lnTo>
                  <a:lnTo>
                    <a:pt x="382" y="258"/>
                  </a:lnTo>
                  <a:lnTo>
                    <a:pt x="362" y="258"/>
                  </a:lnTo>
                  <a:lnTo>
                    <a:pt x="328" y="319"/>
                  </a:lnTo>
                  <a:lnTo>
                    <a:pt x="295" y="258"/>
                  </a:lnTo>
                  <a:lnTo>
                    <a:pt x="268" y="258"/>
                  </a:lnTo>
                  <a:lnTo>
                    <a:pt x="268" y="258"/>
                  </a:lnTo>
                  <a:lnTo>
                    <a:pt x="247" y="259"/>
                  </a:lnTo>
                  <a:lnTo>
                    <a:pt x="227" y="260"/>
                  </a:lnTo>
                  <a:lnTo>
                    <a:pt x="210" y="266"/>
                  </a:lnTo>
                  <a:lnTo>
                    <a:pt x="202" y="269"/>
                  </a:lnTo>
                  <a:lnTo>
                    <a:pt x="195" y="273"/>
                  </a:lnTo>
                  <a:lnTo>
                    <a:pt x="188" y="279"/>
                  </a:lnTo>
                  <a:lnTo>
                    <a:pt x="182" y="283"/>
                  </a:lnTo>
                  <a:lnTo>
                    <a:pt x="177" y="290"/>
                  </a:lnTo>
                  <a:lnTo>
                    <a:pt x="173" y="297"/>
                  </a:lnTo>
                  <a:lnTo>
                    <a:pt x="168" y="304"/>
                  </a:lnTo>
                  <a:lnTo>
                    <a:pt x="164" y="314"/>
                  </a:lnTo>
                  <a:lnTo>
                    <a:pt x="161" y="322"/>
                  </a:lnTo>
                  <a:lnTo>
                    <a:pt x="160" y="333"/>
                  </a:lnTo>
                  <a:lnTo>
                    <a:pt x="33" y="333"/>
                  </a:lnTo>
                  <a:lnTo>
                    <a:pt x="33" y="34"/>
                  </a:lnTo>
                  <a:lnTo>
                    <a:pt x="410" y="34"/>
                  </a:lnTo>
                  <a:lnTo>
                    <a:pt x="410" y="259"/>
                  </a:lnTo>
                  <a:close/>
                  <a:moveTo>
                    <a:pt x="326" y="245"/>
                  </a:moveTo>
                  <a:lnTo>
                    <a:pt x="326" y="245"/>
                  </a:lnTo>
                  <a:lnTo>
                    <a:pt x="340" y="244"/>
                  </a:lnTo>
                  <a:lnTo>
                    <a:pt x="352" y="239"/>
                  </a:lnTo>
                  <a:lnTo>
                    <a:pt x="365" y="232"/>
                  </a:lnTo>
                  <a:lnTo>
                    <a:pt x="375" y="224"/>
                  </a:lnTo>
                  <a:lnTo>
                    <a:pt x="383" y="214"/>
                  </a:lnTo>
                  <a:lnTo>
                    <a:pt x="389" y="203"/>
                  </a:lnTo>
                  <a:lnTo>
                    <a:pt x="393" y="190"/>
                  </a:lnTo>
                  <a:lnTo>
                    <a:pt x="395" y="176"/>
                  </a:lnTo>
                  <a:lnTo>
                    <a:pt x="395" y="176"/>
                  </a:lnTo>
                  <a:lnTo>
                    <a:pt x="393" y="162"/>
                  </a:lnTo>
                  <a:lnTo>
                    <a:pt x="389" y="149"/>
                  </a:lnTo>
                  <a:lnTo>
                    <a:pt x="383" y="137"/>
                  </a:lnTo>
                  <a:lnTo>
                    <a:pt x="375" y="127"/>
                  </a:lnTo>
                  <a:lnTo>
                    <a:pt x="365" y="118"/>
                  </a:lnTo>
                  <a:lnTo>
                    <a:pt x="352" y="113"/>
                  </a:lnTo>
                  <a:lnTo>
                    <a:pt x="340" y="109"/>
                  </a:lnTo>
                  <a:lnTo>
                    <a:pt x="326" y="107"/>
                  </a:lnTo>
                  <a:lnTo>
                    <a:pt x="326" y="107"/>
                  </a:lnTo>
                  <a:lnTo>
                    <a:pt x="312" y="109"/>
                  </a:lnTo>
                  <a:lnTo>
                    <a:pt x="299" y="113"/>
                  </a:lnTo>
                  <a:lnTo>
                    <a:pt x="288" y="118"/>
                  </a:lnTo>
                  <a:lnTo>
                    <a:pt x="277" y="127"/>
                  </a:lnTo>
                  <a:lnTo>
                    <a:pt x="268" y="137"/>
                  </a:lnTo>
                  <a:lnTo>
                    <a:pt x="262" y="149"/>
                  </a:lnTo>
                  <a:lnTo>
                    <a:pt x="258" y="162"/>
                  </a:lnTo>
                  <a:lnTo>
                    <a:pt x="257" y="176"/>
                  </a:lnTo>
                  <a:lnTo>
                    <a:pt x="257" y="176"/>
                  </a:lnTo>
                  <a:lnTo>
                    <a:pt x="258" y="190"/>
                  </a:lnTo>
                  <a:lnTo>
                    <a:pt x="262" y="203"/>
                  </a:lnTo>
                  <a:lnTo>
                    <a:pt x="268" y="214"/>
                  </a:lnTo>
                  <a:lnTo>
                    <a:pt x="277" y="224"/>
                  </a:lnTo>
                  <a:lnTo>
                    <a:pt x="288" y="232"/>
                  </a:lnTo>
                  <a:lnTo>
                    <a:pt x="299" y="239"/>
                  </a:lnTo>
                  <a:lnTo>
                    <a:pt x="312" y="244"/>
                  </a:lnTo>
                  <a:lnTo>
                    <a:pt x="326" y="245"/>
                  </a:lnTo>
                  <a:lnTo>
                    <a:pt x="326" y="245"/>
                  </a:lnTo>
                  <a:close/>
                </a:path>
              </a:pathLst>
            </a:custGeom>
            <a:solidFill>
              <a:schemeClr val="tx1"/>
            </a:solidFill>
            <a:ln>
              <a:noFill/>
            </a:ln>
          </p:spPr>
          <p:txBody>
            <a:bodyPr vert="horz" wrap="square" lIns="74681" tIns="37340" rIns="74681" bIns="37340" numCol="1" anchor="t" anchorCtr="0" compatLnSpc="1">
              <a:prstTxWarp prst="textNoShape">
                <a:avLst/>
              </a:prstTxWarp>
            </a:bodyPr>
            <a:lstStyle/>
            <a:p>
              <a:pPr defTabSz="1218537">
                <a:lnSpc>
                  <a:spcPct val="90000"/>
                </a:lnSpc>
              </a:pPr>
              <a:endParaRPr lang="en-US" sz="2353" dirty="0">
                <a:solidFill>
                  <a:srgbClr val="FFFFFF"/>
                </a:solidFill>
              </a:endParaRPr>
            </a:p>
          </p:txBody>
        </p:sp>
      </p:grpSp>
      <p:grpSp>
        <p:nvGrpSpPr>
          <p:cNvPr id="40" name="Group 39"/>
          <p:cNvGrpSpPr/>
          <p:nvPr/>
        </p:nvGrpSpPr>
        <p:grpSpPr>
          <a:xfrm>
            <a:off x="4576072" y="2854536"/>
            <a:ext cx="2411383" cy="833675"/>
            <a:chOff x="4667827" y="2911279"/>
            <a:chExt cx="2459736" cy="850392"/>
          </a:xfrm>
        </p:grpSpPr>
        <p:sp>
          <p:nvSpPr>
            <p:cNvPr id="175" name="Rectangle 174"/>
            <p:cNvSpPr/>
            <p:nvPr/>
          </p:nvSpPr>
          <p:spPr bwMode="auto">
            <a:xfrm>
              <a:off x="4667827" y="2911279"/>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Management </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automation</a:t>
              </a:r>
            </a:p>
          </p:txBody>
        </p:sp>
        <p:sp>
          <p:nvSpPr>
            <p:cNvPr id="156" name="Freeform 6"/>
            <p:cNvSpPr>
              <a:spLocks noChangeAspect="1"/>
            </p:cNvSpPr>
            <p:nvPr/>
          </p:nvSpPr>
          <p:spPr bwMode="auto">
            <a:xfrm>
              <a:off x="4892598" y="3136050"/>
              <a:ext cx="400851" cy="400851"/>
            </a:xfrm>
            <a:custGeom>
              <a:avLst/>
              <a:gdLst>
                <a:gd name="T0" fmla="*/ 1652 w 2261"/>
                <a:gd name="T1" fmla="*/ 822 h 2261"/>
                <a:gd name="T2" fmla="*/ 1652 w 2261"/>
                <a:gd name="T3" fmla="*/ 1075 h 2261"/>
                <a:gd name="T4" fmla="*/ 1432 w 2261"/>
                <a:gd name="T5" fmla="*/ 1075 h 2261"/>
                <a:gd name="T6" fmla="*/ 1432 w 2261"/>
                <a:gd name="T7" fmla="*/ 822 h 2261"/>
                <a:gd name="T8" fmla="*/ 1172 w 2261"/>
                <a:gd name="T9" fmla="*/ 822 h 2261"/>
                <a:gd name="T10" fmla="*/ 1172 w 2261"/>
                <a:gd name="T11" fmla="*/ 602 h 2261"/>
                <a:gd name="T12" fmla="*/ 1432 w 2261"/>
                <a:gd name="T13" fmla="*/ 602 h 2261"/>
                <a:gd name="T14" fmla="*/ 1432 w 2261"/>
                <a:gd name="T15" fmla="*/ 0 h 2261"/>
                <a:gd name="T16" fmla="*/ 830 w 2261"/>
                <a:gd name="T17" fmla="*/ 0 h 2261"/>
                <a:gd name="T18" fmla="*/ 830 w 2261"/>
                <a:gd name="T19" fmla="*/ 602 h 2261"/>
                <a:gd name="T20" fmla="*/ 1082 w 2261"/>
                <a:gd name="T21" fmla="*/ 602 h 2261"/>
                <a:gd name="T22" fmla="*/ 1082 w 2261"/>
                <a:gd name="T23" fmla="*/ 822 h 2261"/>
                <a:gd name="T24" fmla="*/ 830 w 2261"/>
                <a:gd name="T25" fmla="*/ 822 h 2261"/>
                <a:gd name="T26" fmla="*/ 830 w 2261"/>
                <a:gd name="T27" fmla="*/ 1075 h 2261"/>
                <a:gd name="T28" fmla="*/ 603 w 2261"/>
                <a:gd name="T29" fmla="*/ 1075 h 2261"/>
                <a:gd name="T30" fmla="*/ 603 w 2261"/>
                <a:gd name="T31" fmla="*/ 822 h 2261"/>
                <a:gd name="T32" fmla="*/ 0 w 2261"/>
                <a:gd name="T33" fmla="*/ 822 h 2261"/>
                <a:gd name="T34" fmla="*/ 0 w 2261"/>
                <a:gd name="T35" fmla="*/ 1424 h 2261"/>
                <a:gd name="T36" fmla="*/ 253 w 2261"/>
                <a:gd name="T37" fmla="*/ 1424 h 2261"/>
                <a:gd name="T38" fmla="*/ 253 w 2261"/>
                <a:gd name="T39" fmla="*/ 1658 h 2261"/>
                <a:gd name="T40" fmla="*/ 0 w 2261"/>
                <a:gd name="T41" fmla="*/ 1658 h 2261"/>
                <a:gd name="T42" fmla="*/ 0 w 2261"/>
                <a:gd name="T43" fmla="*/ 2261 h 2261"/>
                <a:gd name="T44" fmla="*/ 603 w 2261"/>
                <a:gd name="T45" fmla="*/ 2261 h 2261"/>
                <a:gd name="T46" fmla="*/ 603 w 2261"/>
                <a:gd name="T47" fmla="*/ 1658 h 2261"/>
                <a:gd name="T48" fmla="*/ 350 w 2261"/>
                <a:gd name="T49" fmla="*/ 1658 h 2261"/>
                <a:gd name="T50" fmla="*/ 350 w 2261"/>
                <a:gd name="T51" fmla="*/ 1424 h 2261"/>
                <a:gd name="T52" fmla="*/ 603 w 2261"/>
                <a:gd name="T53" fmla="*/ 1424 h 2261"/>
                <a:gd name="T54" fmla="*/ 603 w 2261"/>
                <a:gd name="T55" fmla="*/ 1172 h 2261"/>
                <a:gd name="T56" fmla="*/ 830 w 2261"/>
                <a:gd name="T57" fmla="*/ 1172 h 2261"/>
                <a:gd name="T58" fmla="*/ 830 w 2261"/>
                <a:gd name="T59" fmla="*/ 1424 h 2261"/>
                <a:gd name="T60" fmla="*/ 1082 w 2261"/>
                <a:gd name="T61" fmla="*/ 1424 h 2261"/>
                <a:gd name="T62" fmla="*/ 1082 w 2261"/>
                <a:gd name="T63" fmla="*/ 1658 h 2261"/>
                <a:gd name="T64" fmla="*/ 830 w 2261"/>
                <a:gd name="T65" fmla="*/ 1658 h 2261"/>
                <a:gd name="T66" fmla="*/ 830 w 2261"/>
                <a:gd name="T67" fmla="*/ 2261 h 2261"/>
                <a:gd name="T68" fmla="*/ 1432 w 2261"/>
                <a:gd name="T69" fmla="*/ 2261 h 2261"/>
                <a:gd name="T70" fmla="*/ 1432 w 2261"/>
                <a:gd name="T71" fmla="*/ 1658 h 2261"/>
                <a:gd name="T72" fmla="*/ 1172 w 2261"/>
                <a:gd name="T73" fmla="*/ 1658 h 2261"/>
                <a:gd name="T74" fmla="*/ 1172 w 2261"/>
                <a:gd name="T75" fmla="*/ 1424 h 2261"/>
                <a:gd name="T76" fmla="*/ 1432 w 2261"/>
                <a:gd name="T77" fmla="*/ 1424 h 2261"/>
                <a:gd name="T78" fmla="*/ 1432 w 2261"/>
                <a:gd name="T79" fmla="*/ 1172 h 2261"/>
                <a:gd name="T80" fmla="*/ 1652 w 2261"/>
                <a:gd name="T81" fmla="*/ 1172 h 2261"/>
                <a:gd name="T82" fmla="*/ 1652 w 2261"/>
                <a:gd name="T83" fmla="*/ 1424 h 2261"/>
                <a:gd name="T84" fmla="*/ 2261 w 2261"/>
                <a:gd name="T85" fmla="*/ 1424 h 2261"/>
                <a:gd name="T86" fmla="*/ 2261 w 2261"/>
                <a:gd name="T87" fmla="*/ 822 h 2261"/>
                <a:gd name="T88" fmla="*/ 1652 w 2261"/>
                <a:gd name="T89" fmla="*/ 822 h 2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1" h="2261">
                  <a:moveTo>
                    <a:pt x="1652" y="822"/>
                  </a:moveTo>
                  <a:lnTo>
                    <a:pt x="1652" y="1075"/>
                  </a:lnTo>
                  <a:lnTo>
                    <a:pt x="1432" y="1075"/>
                  </a:lnTo>
                  <a:lnTo>
                    <a:pt x="1432" y="822"/>
                  </a:lnTo>
                  <a:lnTo>
                    <a:pt x="1172" y="822"/>
                  </a:lnTo>
                  <a:lnTo>
                    <a:pt x="1172" y="602"/>
                  </a:lnTo>
                  <a:lnTo>
                    <a:pt x="1432" y="602"/>
                  </a:lnTo>
                  <a:lnTo>
                    <a:pt x="1432" y="0"/>
                  </a:lnTo>
                  <a:lnTo>
                    <a:pt x="830" y="0"/>
                  </a:lnTo>
                  <a:lnTo>
                    <a:pt x="830" y="602"/>
                  </a:lnTo>
                  <a:lnTo>
                    <a:pt x="1082" y="602"/>
                  </a:lnTo>
                  <a:lnTo>
                    <a:pt x="1082" y="822"/>
                  </a:lnTo>
                  <a:lnTo>
                    <a:pt x="830" y="822"/>
                  </a:lnTo>
                  <a:lnTo>
                    <a:pt x="830" y="1075"/>
                  </a:lnTo>
                  <a:lnTo>
                    <a:pt x="603" y="1075"/>
                  </a:lnTo>
                  <a:lnTo>
                    <a:pt x="603" y="822"/>
                  </a:lnTo>
                  <a:lnTo>
                    <a:pt x="0" y="822"/>
                  </a:lnTo>
                  <a:lnTo>
                    <a:pt x="0" y="1424"/>
                  </a:lnTo>
                  <a:lnTo>
                    <a:pt x="253" y="1424"/>
                  </a:lnTo>
                  <a:lnTo>
                    <a:pt x="253" y="1658"/>
                  </a:lnTo>
                  <a:lnTo>
                    <a:pt x="0" y="1658"/>
                  </a:lnTo>
                  <a:lnTo>
                    <a:pt x="0" y="2261"/>
                  </a:lnTo>
                  <a:lnTo>
                    <a:pt x="603" y="2261"/>
                  </a:lnTo>
                  <a:lnTo>
                    <a:pt x="603" y="1658"/>
                  </a:lnTo>
                  <a:lnTo>
                    <a:pt x="350" y="1658"/>
                  </a:lnTo>
                  <a:lnTo>
                    <a:pt x="350" y="1424"/>
                  </a:lnTo>
                  <a:lnTo>
                    <a:pt x="603" y="1424"/>
                  </a:lnTo>
                  <a:lnTo>
                    <a:pt x="603" y="1172"/>
                  </a:lnTo>
                  <a:lnTo>
                    <a:pt x="830" y="1172"/>
                  </a:lnTo>
                  <a:lnTo>
                    <a:pt x="830" y="1424"/>
                  </a:lnTo>
                  <a:lnTo>
                    <a:pt x="1082" y="1424"/>
                  </a:lnTo>
                  <a:lnTo>
                    <a:pt x="1082" y="1658"/>
                  </a:lnTo>
                  <a:lnTo>
                    <a:pt x="830" y="1658"/>
                  </a:lnTo>
                  <a:lnTo>
                    <a:pt x="830" y="2261"/>
                  </a:lnTo>
                  <a:lnTo>
                    <a:pt x="1432" y="2261"/>
                  </a:lnTo>
                  <a:lnTo>
                    <a:pt x="1432" y="1658"/>
                  </a:lnTo>
                  <a:lnTo>
                    <a:pt x="1172" y="1658"/>
                  </a:lnTo>
                  <a:lnTo>
                    <a:pt x="1172" y="1424"/>
                  </a:lnTo>
                  <a:lnTo>
                    <a:pt x="1432" y="1424"/>
                  </a:lnTo>
                  <a:lnTo>
                    <a:pt x="1432" y="1172"/>
                  </a:lnTo>
                  <a:lnTo>
                    <a:pt x="1652" y="1172"/>
                  </a:lnTo>
                  <a:lnTo>
                    <a:pt x="1652" y="1424"/>
                  </a:lnTo>
                  <a:lnTo>
                    <a:pt x="2261" y="1424"/>
                  </a:lnTo>
                  <a:lnTo>
                    <a:pt x="2261" y="822"/>
                  </a:lnTo>
                  <a:lnTo>
                    <a:pt x="1652" y="822"/>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38" name="Group 37"/>
          <p:cNvGrpSpPr/>
          <p:nvPr/>
        </p:nvGrpSpPr>
        <p:grpSpPr>
          <a:xfrm>
            <a:off x="2164685" y="3704726"/>
            <a:ext cx="2411383" cy="833675"/>
            <a:chOff x="2208091" y="3778513"/>
            <a:chExt cx="2459736" cy="850392"/>
          </a:xfrm>
        </p:grpSpPr>
        <p:sp>
          <p:nvSpPr>
            <p:cNvPr id="176" name="Rectangle 175"/>
            <p:cNvSpPr/>
            <p:nvPr/>
          </p:nvSpPr>
          <p:spPr bwMode="auto">
            <a:xfrm>
              <a:off x="2208091" y="3778513"/>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Economics</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limited budgets</a:t>
              </a:r>
            </a:p>
          </p:txBody>
        </p:sp>
        <p:sp>
          <p:nvSpPr>
            <p:cNvPr id="159" name="Freeform 5"/>
            <p:cNvSpPr>
              <a:spLocks noChangeAspect="1" noEditPoints="1"/>
            </p:cNvSpPr>
            <p:nvPr/>
          </p:nvSpPr>
          <p:spPr bwMode="auto">
            <a:xfrm>
              <a:off x="2416835" y="4010192"/>
              <a:ext cx="409339" cy="387035"/>
            </a:xfrm>
            <a:custGeom>
              <a:avLst/>
              <a:gdLst>
                <a:gd name="T0" fmla="*/ 64 w 129"/>
                <a:gd name="T1" fmla="*/ 90 h 122"/>
                <a:gd name="T2" fmla="*/ 64 w 129"/>
                <a:gd name="T3" fmla="*/ 90 h 122"/>
                <a:gd name="T4" fmla="*/ 64 w 129"/>
                <a:gd name="T5" fmla="*/ 83 h 122"/>
                <a:gd name="T6" fmla="*/ 64 w 129"/>
                <a:gd name="T7" fmla="*/ 83 h 122"/>
                <a:gd name="T8" fmla="*/ 53 w 129"/>
                <a:gd name="T9" fmla="*/ 81 h 122"/>
                <a:gd name="T10" fmla="*/ 52 w 129"/>
                <a:gd name="T11" fmla="*/ 80 h 122"/>
                <a:gd name="T12" fmla="*/ 52 w 129"/>
                <a:gd name="T13" fmla="*/ 80 h 122"/>
                <a:gd name="T14" fmla="*/ 55 w 129"/>
                <a:gd name="T15" fmla="*/ 69 h 122"/>
                <a:gd name="T16" fmla="*/ 57 w 129"/>
                <a:gd name="T17" fmla="*/ 70 h 122"/>
                <a:gd name="T18" fmla="*/ 57 w 129"/>
                <a:gd name="T19" fmla="*/ 70 h 122"/>
                <a:gd name="T20" fmla="*/ 67 w 129"/>
                <a:gd name="T21" fmla="*/ 73 h 122"/>
                <a:gd name="T22" fmla="*/ 67 w 129"/>
                <a:gd name="T23" fmla="*/ 73 h 122"/>
                <a:gd name="T24" fmla="*/ 72 w 129"/>
                <a:gd name="T25" fmla="*/ 70 h 122"/>
                <a:gd name="T26" fmla="*/ 72 w 129"/>
                <a:gd name="T27" fmla="*/ 70 h 122"/>
                <a:gd name="T28" fmla="*/ 66 w 129"/>
                <a:gd name="T29" fmla="*/ 66 h 122"/>
                <a:gd name="T30" fmla="*/ 66 w 129"/>
                <a:gd name="T31" fmla="*/ 66 h 122"/>
                <a:gd name="T32" fmla="*/ 52 w 129"/>
                <a:gd name="T33" fmla="*/ 52 h 122"/>
                <a:gd name="T34" fmla="*/ 52 w 129"/>
                <a:gd name="T35" fmla="*/ 52 h 122"/>
                <a:gd name="T36" fmla="*/ 64 w 129"/>
                <a:gd name="T37" fmla="*/ 39 h 122"/>
                <a:gd name="T38" fmla="*/ 64 w 129"/>
                <a:gd name="T39" fmla="*/ 32 h 122"/>
                <a:gd name="T40" fmla="*/ 74 w 129"/>
                <a:gd name="T41" fmla="*/ 32 h 122"/>
                <a:gd name="T42" fmla="*/ 74 w 129"/>
                <a:gd name="T43" fmla="*/ 38 h 122"/>
                <a:gd name="T44" fmla="*/ 74 w 129"/>
                <a:gd name="T45" fmla="*/ 38 h 122"/>
                <a:gd name="T46" fmla="*/ 82 w 129"/>
                <a:gd name="T47" fmla="*/ 40 h 122"/>
                <a:gd name="T48" fmla="*/ 84 w 129"/>
                <a:gd name="T49" fmla="*/ 41 h 122"/>
                <a:gd name="T50" fmla="*/ 81 w 129"/>
                <a:gd name="T51" fmla="*/ 50 h 122"/>
                <a:gd name="T52" fmla="*/ 80 w 129"/>
                <a:gd name="T53" fmla="*/ 52 h 122"/>
                <a:gd name="T54" fmla="*/ 79 w 129"/>
                <a:gd name="T55" fmla="*/ 51 h 122"/>
                <a:gd name="T56" fmla="*/ 79 w 129"/>
                <a:gd name="T57" fmla="*/ 51 h 122"/>
                <a:gd name="T58" fmla="*/ 70 w 129"/>
                <a:gd name="T59" fmla="*/ 49 h 122"/>
                <a:gd name="T60" fmla="*/ 70 w 129"/>
                <a:gd name="T61" fmla="*/ 49 h 122"/>
                <a:gd name="T62" fmla="*/ 66 w 129"/>
                <a:gd name="T63" fmla="*/ 51 h 122"/>
                <a:gd name="T64" fmla="*/ 66 w 129"/>
                <a:gd name="T65" fmla="*/ 51 h 122"/>
                <a:gd name="T66" fmla="*/ 73 w 129"/>
                <a:gd name="T67" fmla="*/ 55 h 122"/>
                <a:gd name="T68" fmla="*/ 73 w 129"/>
                <a:gd name="T69" fmla="*/ 55 h 122"/>
                <a:gd name="T70" fmla="*/ 85 w 129"/>
                <a:gd name="T71" fmla="*/ 69 h 122"/>
                <a:gd name="T72" fmla="*/ 85 w 129"/>
                <a:gd name="T73" fmla="*/ 69 h 122"/>
                <a:gd name="T74" fmla="*/ 74 w 129"/>
                <a:gd name="T75" fmla="*/ 83 h 122"/>
                <a:gd name="T76" fmla="*/ 74 w 129"/>
                <a:gd name="T77" fmla="*/ 90 h 122"/>
                <a:gd name="T78" fmla="*/ 64 w 129"/>
                <a:gd name="T79" fmla="*/ 90 h 122"/>
                <a:gd name="T80" fmla="*/ 68 w 129"/>
                <a:gd name="T81" fmla="*/ 1 h 122"/>
                <a:gd name="T82" fmla="*/ 9 w 129"/>
                <a:gd name="T83" fmla="*/ 53 h 122"/>
                <a:gd name="T84" fmla="*/ 0 w 129"/>
                <a:gd name="T85" fmla="*/ 53 h 122"/>
                <a:gd name="T86" fmla="*/ 14 w 129"/>
                <a:gd name="T87" fmla="*/ 67 h 122"/>
                <a:gd name="T88" fmla="*/ 28 w 129"/>
                <a:gd name="T89" fmla="*/ 53 h 122"/>
                <a:gd name="T90" fmla="*/ 19 w 129"/>
                <a:gd name="T91" fmla="*/ 53 h 122"/>
                <a:gd name="T92" fmla="*/ 51 w 129"/>
                <a:gd name="T93" fmla="*/ 14 h 122"/>
                <a:gd name="T94" fmla="*/ 116 w 129"/>
                <a:gd name="T95" fmla="*/ 44 h 122"/>
                <a:gd name="T96" fmla="*/ 85 w 129"/>
                <a:gd name="T97" fmla="*/ 109 h 122"/>
                <a:gd name="T98" fmla="*/ 21 w 129"/>
                <a:gd name="T99" fmla="*/ 78 h 122"/>
                <a:gd name="T100" fmla="*/ 12 w 129"/>
                <a:gd name="T101" fmla="*/ 82 h 122"/>
                <a:gd name="T102" fmla="*/ 69 w 129"/>
                <a:gd name="T103" fmla="*/ 122 h 122"/>
                <a:gd name="T104" fmla="*/ 129 w 129"/>
                <a:gd name="T105" fmla="*/ 61 h 122"/>
                <a:gd name="T106" fmla="*/ 68 w 129"/>
                <a:gd name="T107" fmla="*/ 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122">
                  <a:moveTo>
                    <a:pt x="64" y="90"/>
                  </a:moveTo>
                  <a:cubicBezTo>
                    <a:pt x="64" y="90"/>
                    <a:pt x="64" y="90"/>
                    <a:pt x="64" y="90"/>
                  </a:cubicBezTo>
                  <a:cubicBezTo>
                    <a:pt x="64" y="83"/>
                    <a:pt x="64" y="83"/>
                    <a:pt x="64" y="83"/>
                  </a:cubicBezTo>
                  <a:cubicBezTo>
                    <a:pt x="64" y="83"/>
                    <a:pt x="64" y="83"/>
                    <a:pt x="64" y="83"/>
                  </a:cubicBezTo>
                  <a:cubicBezTo>
                    <a:pt x="60" y="83"/>
                    <a:pt x="56" y="82"/>
                    <a:pt x="53" y="81"/>
                  </a:cubicBezTo>
                  <a:cubicBezTo>
                    <a:pt x="53" y="81"/>
                    <a:pt x="53" y="81"/>
                    <a:pt x="52" y="80"/>
                  </a:cubicBezTo>
                  <a:cubicBezTo>
                    <a:pt x="52" y="80"/>
                    <a:pt x="52" y="80"/>
                    <a:pt x="52" y="80"/>
                  </a:cubicBezTo>
                  <a:cubicBezTo>
                    <a:pt x="52" y="80"/>
                    <a:pt x="52" y="80"/>
                    <a:pt x="55" y="69"/>
                  </a:cubicBezTo>
                  <a:cubicBezTo>
                    <a:pt x="55" y="69"/>
                    <a:pt x="55" y="69"/>
                    <a:pt x="57" y="70"/>
                  </a:cubicBezTo>
                  <a:cubicBezTo>
                    <a:pt x="57" y="70"/>
                    <a:pt x="57" y="70"/>
                    <a:pt x="57" y="70"/>
                  </a:cubicBezTo>
                  <a:cubicBezTo>
                    <a:pt x="58" y="71"/>
                    <a:pt x="62" y="73"/>
                    <a:pt x="67" y="73"/>
                  </a:cubicBezTo>
                  <a:cubicBezTo>
                    <a:pt x="67" y="73"/>
                    <a:pt x="67" y="73"/>
                    <a:pt x="67" y="73"/>
                  </a:cubicBezTo>
                  <a:cubicBezTo>
                    <a:pt x="69" y="73"/>
                    <a:pt x="72" y="72"/>
                    <a:pt x="72" y="70"/>
                  </a:cubicBezTo>
                  <a:cubicBezTo>
                    <a:pt x="72" y="70"/>
                    <a:pt x="72" y="70"/>
                    <a:pt x="72" y="70"/>
                  </a:cubicBezTo>
                  <a:cubicBezTo>
                    <a:pt x="72" y="69"/>
                    <a:pt x="71" y="68"/>
                    <a:pt x="66" y="66"/>
                  </a:cubicBezTo>
                  <a:cubicBezTo>
                    <a:pt x="66" y="66"/>
                    <a:pt x="66" y="66"/>
                    <a:pt x="66" y="66"/>
                  </a:cubicBezTo>
                  <a:cubicBezTo>
                    <a:pt x="60" y="64"/>
                    <a:pt x="52" y="60"/>
                    <a:pt x="52" y="52"/>
                  </a:cubicBezTo>
                  <a:cubicBezTo>
                    <a:pt x="52" y="52"/>
                    <a:pt x="52" y="52"/>
                    <a:pt x="52" y="52"/>
                  </a:cubicBezTo>
                  <a:cubicBezTo>
                    <a:pt x="52" y="46"/>
                    <a:pt x="57" y="41"/>
                    <a:pt x="64" y="39"/>
                  </a:cubicBezTo>
                  <a:cubicBezTo>
                    <a:pt x="64" y="39"/>
                    <a:pt x="64" y="39"/>
                    <a:pt x="64" y="32"/>
                  </a:cubicBezTo>
                  <a:cubicBezTo>
                    <a:pt x="64" y="32"/>
                    <a:pt x="64" y="32"/>
                    <a:pt x="74" y="32"/>
                  </a:cubicBezTo>
                  <a:cubicBezTo>
                    <a:pt x="74" y="32"/>
                    <a:pt x="74" y="32"/>
                    <a:pt x="74" y="38"/>
                  </a:cubicBezTo>
                  <a:cubicBezTo>
                    <a:pt x="74" y="38"/>
                    <a:pt x="74" y="38"/>
                    <a:pt x="74" y="38"/>
                  </a:cubicBezTo>
                  <a:cubicBezTo>
                    <a:pt x="78" y="39"/>
                    <a:pt x="80" y="40"/>
                    <a:pt x="82" y="40"/>
                  </a:cubicBezTo>
                  <a:cubicBezTo>
                    <a:pt x="82" y="40"/>
                    <a:pt x="82" y="40"/>
                    <a:pt x="84" y="41"/>
                  </a:cubicBezTo>
                  <a:cubicBezTo>
                    <a:pt x="84" y="41"/>
                    <a:pt x="84" y="41"/>
                    <a:pt x="81" y="50"/>
                  </a:cubicBezTo>
                  <a:cubicBezTo>
                    <a:pt x="81" y="50"/>
                    <a:pt x="81" y="50"/>
                    <a:pt x="80" y="52"/>
                  </a:cubicBezTo>
                  <a:cubicBezTo>
                    <a:pt x="80" y="52"/>
                    <a:pt x="80" y="52"/>
                    <a:pt x="79" y="51"/>
                  </a:cubicBezTo>
                  <a:cubicBezTo>
                    <a:pt x="79" y="51"/>
                    <a:pt x="79" y="51"/>
                    <a:pt x="79" y="51"/>
                  </a:cubicBezTo>
                  <a:cubicBezTo>
                    <a:pt x="77" y="50"/>
                    <a:pt x="74" y="49"/>
                    <a:pt x="70" y="49"/>
                  </a:cubicBezTo>
                  <a:cubicBezTo>
                    <a:pt x="70" y="49"/>
                    <a:pt x="70" y="49"/>
                    <a:pt x="70" y="49"/>
                  </a:cubicBezTo>
                  <a:cubicBezTo>
                    <a:pt x="68" y="49"/>
                    <a:pt x="66" y="49"/>
                    <a:pt x="66" y="51"/>
                  </a:cubicBezTo>
                  <a:cubicBezTo>
                    <a:pt x="66" y="51"/>
                    <a:pt x="66" y="51"/>
                    <a:pt x="66" y="51"/>
                  </a:cubicBezTo>
                  <a:cubicBezTo>
                    <a:pt x="66" y="52"/>
                    <a:pt x="70" y="54"/>
                    <a:pt x="73" y="55"/>
                  </a:cubicBezTo>
                  <a:cubicBezTo>
                    <a:pt x="73" y="55"/>
                    <a:pt x="73" y="55"/>
                    <a:pt x="73" y="55"/>
                  </a:cubicBezTo>
                  <a:cubicBezTo>
                    <a:pt x="82" y="58"/>
                    <a:pt x="85" y="63"/>
                    <a:pt x="85" y="69"/>
                  </a:cubicBezTo>
                  <a:cubicBezTo>
                    <a:pt x="85" y="69"/>
                    <a:pt x="85" y="69"/>
                    <a:pt x="85" y="69"/>
                  </a:cubicBezTo>
                  <a:cubicBezTo>
                    <a:pt x="85" y="76"/>
                    <a:pt x="80" y="81"/>
                    <a:pt x="74" y="83"/>
                  </a:cubicBezTo>
                  <a:cubicBezTo>
                    <a:pt x="74" y="83"/>
                    <a:pt x="74" y="83"/>
                    <a:pt x="74" y="90"/>
                  </a:cubicBezTo>
                  <a:cubicBezTo>
                    <a:pt x="74" y="90"/>
                    <a:pt x="74" y="90"/>
                    <a:pt x="64" y="90"/>
                  </a:cubicBezTo>
                  <a:close/>
                  <a:moveTo>
                    <a:pt x="68" y="1"/>
                  </a:moveTo>
                  <a:cubicBezTo>
                    <a:pt x="38" y="1"/>
                    <a:pt x="13" y="23"/>
                    <a:pt x="9" y="53"/>
                  </a:cubicBezTo>
                  <a:cubicBezTo>
                    <a:pt x="0" y="53"/>
                    <a:pt x="0" y="53"/>
                    <a:pt x="0" y="53"/>
                  </a:cubicBezTo>
                  <a:cubicBezTo>
                    <a:pt x="14" y="67"/>
                    <a:pt x="14" y="67"/>
                    <a:pt x="14" y="67"/>
                  </a:cubicBezTo>
                  <a:cubicBezTo>
                    <a:pt x="28" y="53"/>
                    <a:pt x="28" y="53"/>
                    <a:pt x="28" y="53"/>
                  </a:cubicBezTo>
                  <a:cubicBezTo>
                    <a:pt x="19" y="53"/>
                    <a:pt x="19" y="53"/>
                    <a:pt x="19" y="53"/>
                  </a:cubicBezTo>
                  <a:cubicBezTo>
                    <a:pt x="22" y="35"/>
                    <a:pt x="34" y="20"/>
                    <a:pt x="51" y="14"/>
                  </a:cubicBezTo>
                  <a:cubicBezTo>
                    <a:pt x="77" y="4"/>
                    <a:pt x="106" y="18"/>
                    <a:pt x="116" y="44"/>
                  </a:cubicBezTo>
                  <a:cubicBezTo>
                    <a:pt x="125" y="70"/>
                    <a:pt x="112" y="99"/>
                    <a:pt x="85" y="109"/>
                  </a:cubicBezTo>
                  <a:cubicBezTo>
                    <a:pt x="59" y="118"/>
                    <a:pt x="30" y="105"/>
                    <a:pt x="21" y="78"/>
                  </a:cubicBezTo>
                  <a:cubicBezTo>
                    <a:pt x="12" y="82"/>
                    <a:pt x="12" y="82"/>
                    <a:pt x="12" y="82"/>
                  </a:cubicBezTo>
                  <a:cubicBezTo>
                    <a:pt x="20" y="106"/>
                    <a:pt x="43" y="122"/>
                    <a:pt x="69" y="122"/>
                  </a:cubicBezTo>
                  <a:cubicBezTo>
                    <a:pt x="102" y="121"/>
                    <a:pt x="129" y="94"/>
                    <a:pt x="129" y="61"/>
                  </a:cubicBezTo>
                  <a:cubicBezTo>
                    <a:pt x="128" y="27"/>
                    <a:pt x="101" y="0"/>
                    <a:pt x="68" y="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228"/>
              <a:endParaRPr lang="en-US" sz="1765">
                <a:solidFill>
                  <a:srgbClr val="505050"/>
                </a:solidFill>
              </a:endParaRPr>
            </a:p>
          </p:txBody>
        </p:sp>
      </p:grpSp>
      <p:grpSp>
        <p:nvGrpSpPr>
          <p:cNvPr id="41" name="Group 40"/>
          <p:cNvGrpSpPr/>
          <p:nvPr/>
        </p:nvGrpSpPr>
        <p:grpSpPr>
          <a:xfrm>
            <a:off x="4576072" y="3704726"/>
            <a:ext cx="2411383" cy="833675"/>
            <a:chOff x="4667827" y="3778513"/>
            <a:chExt cx="2459736" cy="850392"/>
          </a:xfrm>
        </p:grpSpPr>
        <p:sp>
          <p:nvSpPr>
            <p:cNvPr id="180" name="Rectangle 179"/>
            <p:cNvSpPr/>
            <p:nvPr/>
          </p:nvSpPr>
          <p:spPr bwMode="auto">
            <a:xfrm>
              <a:off x="4667827" y="3778513"/>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Economies </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of scale</a:t>
              </a:r>
            </a:p>
          </p:txBody>
        </p:sp>
        <p:sp>
          <p:nvSpPr>
            <p:cNvPr id="111" name="Freeform 139"/>
            <p:cNvSpPr>
              <a:spLocks noChangeAspect="1"/>
            </p:cNvSpPr>
            <p:nvPr/>
          </p:nvSpPr>
          <p:spPr bwMode="black">
            <a:xfrm>
              <a:off x="4863715" y="4011389"/>
              <a:ext cx="458616" cy="384641"/>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grpSp>
      <p:grpSp>
        <p:nvGrpSpPr>
          <p:cNvPr id="47" name="Group 46"/>
          <p:cNvGrpSpPr/>
          <p:nvPr/>
        </p:nvGrpSpPr>
        <p:grpSpPr>
          <a:xfrm>
            <a:off x="9421941" y="4554912"/>
            <a:ext cx="2411383" cy="833675"/>
            <a:chOff x="9610866" y="4645747"/>
            <a:chExt cx="2459736" cy="850392"/>
          </a:xfrm>
        </p:grpSpPr>
        <p:sp>
          <p:nvSpPr>
            <p:cNvPr id="182" name="Rectangle 181"/>
            <p:cNvSpPr/>
            <p:nvPr/>
          </p:nvSpPr>
          <p:spPr bwMode="auto">
            <a:xfrm>
              <a:off x="9610866" y="4645747"/>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Rapid </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development</a:t>
              </a:r>
            </a:p>
          </p:txBody>
        </p:sp>
        <p:sp>
          <p:nvSpPr>
            <p:cNvPr id="112" name="Freeform 205"/>
            <p:cNvSpPr>
              <a:spLocks noChangeAspect="1" noEditPoints="1"/>
            </p:cNvSpPr>
            <p:nvPr/>
          </p:nvSpPr>
          <p:spPr bwMode="auto">
            <a:xfrm>
              <a:off x="9868680" y="4905170"/>
              <a:ext cx="334765" cy="331547"/>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39" name="Group 38"/>
          <p:cNvGrpSpPr/>
          <p:nvPr/>
        </p:nvGrpSpPr>
        <p:grpSpPr>
          <a:xfrm>
            <a:off x="2153134" y="4554912"/>
            <a:ext cx="2411383" cy="833675"/>
            <a:chOff x="2196308" y="4645747"/>
            <a:chExt cx="2459736" cy="850392"/>
          </a:xfrm>
        </p:grpSpPr>
        <p:sp>
          <p:nvSpPr>
            <p:cNvPr id="181" name="Rectangle 180"/>
            <p:cNvSpPr/>
            <p:nvPr/>
          </p:nvSpPr>
          <p:spPr bwMode="auto">
            <a:xfrm>
              <a:off x="2196308" y="4645747"/>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Scalability </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and elasticity</a:t>
              </a:r>
            </a:p>
          </p:txBody>
        </p:sp>
        <p:sp>
          <p:nvSpPr>
            <p:cNvPr id="12" name="Freeform 5"/>
            <p:cNvSpPr>
              <a:spLocks noChangeAspect="1" noEditPoints="1"/>
            </p:cNvSpPr>
            <p:nvPr/>
          </p:nvSpPr>
          <p:spPr bwMode="auto">
            <a:xfrm>
              <a:off x="2411153" y="4944082"/>
              <a:ext cx="420703" cy="253723"/>
            </a:xfrm>
            <a:custGeom>
              <a:avLst/>
              <a:gdLst>
                <a:gd name="T0" fmla="*/ 40 w 161"/>
                <a:gd name="T1" fmla="*/ 9 h 96"/>
                <a:gd name="T2" fmla="*/ 81 w 161"/>
                <a:gd name="T3" fmla="*/ 12 h 96"/>
                <a:gd name="T4" fmla="*/ 121 w 161"/>
                <a:gd name="T5" fmla="*/ 9 h 96"/>
                <a:gd name="T6" fmla="*/ 121 w 161"/>
                <a:gd name="T7" fmla="*/ 87 h 96"/>
                <a:gd name="T8" fmla="*/ 81 w 161"/>
                <a:gd name="T9" fmla="*/ 84 h 96"/>
                <a:gd name="T10" fmla="*/ 40 w 161"/>
                <a:gd name="T11" fmla="*/ 87 h 96"/>
                <a:gd name="T12" fmla="*/ 40 w 161"/>
                <a:gd name="T13" fmla="*/ 9 h 96"/>
                <a:gd name="T14" fmla="*/ 40 w 161"/>
                <a:gd name="T15" fmla="*/ 9 h 96"/>
                <a:gd name="T16" fmla="*/ 142 w 161"/>
                <a:gd name="T17" fmla="*/ 91 h 96"/>
                <a:gd name="T18" fmla="*/ 142 w 161"/>
                <a:gd name="T19" fmla="*/ 5 h 96"/>
                <a:gd name="T20" fmla="*/ 130 w 161"/>
                <a:gd name="T21" fmla="*/ 7 h 96"/>
                <a:gd name="T22" fmla="*/ 130 w 161"/>
                <a:gd name="T23" fmla="*/ 88 h 96"/>
                <a:gd name="T24" fmla="*/ 142 w 161"/>
                <a:gd name="T25" fmla="*/ 91 h 96"/>
                <a:gd name="T26" fmla="*/ 11 w 161"/>
                <a:gd name="T27" fmla="*/ 3 h 96"/>
                <a:gd name="T28" fmla="*/ 0 w 161"/>
                <a:gd name="T29" fmla="*/ 0 h 96"/>
                <a:gd name="T30" fmla="*/ 0 w 161"/>
                <a:gd name="T31" fmla="*/ 96 h 96"/>
                <a:gd name="T32" fmla="*/ 11 w 161"/>
                <a:gd name="T33" fmla="*/ 93 h 96"/>
                <a:gd name="T34" fmla="*/ 11 w 161"/>
                <a:gd name="T35" fmla="*/ 3 h 96"/>
                <a:gd name="T36" fmla="*/ 11 w 161"/>
                <a:gd name="T37" fmla="*/ 3 h 96"/>
                <a:gd name="T38" fmla="*/ 31 w 161"/>
                <a:gd name="T39" fmla="*/ 88 h 96"/>
                <a:gd name="T40" fmla="*/ 31 w 161"/>
                <a:gd name="T41" fmla="*/ 7 h 96"/>
                <a:gd name="T42" fmla="*/ 20 w 161"/>
                <a:gd name="T43" fmla="*/ 5 h 96"/>
                <a:gd name="T44" fmla="*/ 20 w 161"/>
                <a:gd name="T45" fmla="*/ 91 h 96"/>
                <a:gd name="T46" fmla="*/ 31 w 161"/>
                <a:gd name="T47" fmla="*/ 88 h 96"/>
                <a:gd name="T48" fmla="*/ 151 w 161"/>
                <a:gd name="T49" fmla="*/ 3 h 96"/>
                <a:gd name="T50" fmla="*/ 151 w 161"/>
                <a:gd name="T51" fmla="*/ 93 h 96"/>
                <a:gd name="T52" fmla="*/ 161 w 161"/>
                <a:gd name="T53" fmla="*/ 96 h 96"/>
                <a:gd name="T54" fmla="*/ 161 w 161"/>
                <a:gd name="T55" fmla="*/ 0 h 96"/>
                <a:gd name="T56" fmla="*/ 151 w 161"/>
                <a:gd name="T57"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 h="96">
                  <a:moveTo>
                    <a:pt x="40" y="9"/>
                  </a:moveTo>
                  <a:cubicBezTo>
                    <a:pt x="54" y="11"/>
                    <a:pt x="67" y="12"/>
                    <a:pt x="81" y="12"/>
                  </a:cubicBezTo>
                  <a:cubicBezTo>
                    <a:pt x="95" y="12"/>
                    <a:pt x="108" y="11"/>
                    <a:pt x="121" y="9"/>
                  </a:cubicBezTo>
                  <a:cubicBezTo>
                    <a:pt x="121" y="87"/>
                    <a:pt x="121" y="87"/>
                    <a:pt x="121" y="87"/>
                  </a:cubicBezTo>
                  <a:cubicBezTo>
                    <a:pt x="108" y="85"/>
                    <a:pt x="95" y="84"/>
                    <a:pt x="81" y="84"/>
                  </a:cubicBezTo>
                  <a:cubicBezTo>
                    <a:pt x="67" y="84"/>
                    <a:pt x="54" y="85"/>
                    <a:pt x="40" y="87"/>
                  </a:cubicBezTo>
                  <a:cubicBezTo>
                    <a:pt x="40" y="9"/>
                    <a:pt x="40" y="9"/>
                    <a:pt x="40" y="9"/>
                  </a:cubicBezTo>
                  <a:cubicBezTo>
                    <a:pt x="40" y="9"/>
                    <a:pt x="40" y="9"/>
                    <a:pt x="40" y="9"/>
                  </a:cubicBezTo>
                  <a:close/>
                  <a:moveTo>
                    <a:pt x="142" y="91"/>
                  </a:moveTo>
                  <a:cubicBezTo>
                    <a:pt x="142" y="5"/>
                    <a:pt x="142" y="5"/>
                    <a:pt x="142" y="5"/>
                  </a:cubicBezTo>
                  <a:cubicBezTo>
                    <a:pt x="138" y="6"/>
                    <a:pt x="134" y="7"/>
                    <a:pt x="130" y="7"/>
                  </a:cubicBezTo>
                  <a:cubicBezTo>
                    <a:pt x="130" y="88"/>
                    <a:pt x="130" y="88"/>
                    <a:pt x="130" y="88"/>
                  </a:cubicBezTo>
                  <a:cubicBezTo>
                    <a:pt x="134" y="89"/>
                    <a:pt x="138" y="90"/>
                    <a:pt x="142" y="91"/>
                  </a:cubicBezTo>
                  <a:close/>
                  <a:moveTo>
                    <a:pt x="11" y="3"/>
                  </a:moveTo>
                  <a:cubicBezTo>
                    <a:pt x="8" y="2"/>
                    <a:pt x="4" y="1"/>
                    <a:pt x="0" y="0"/>
                  </a:cubicBezTo>
                  <a:cubicBezTo>
                    <a:pt x="0" y="96"/>
                    <a:pt x="0" y="96"/>
                    <a:pt x="0" y="96"/>
                  </a:cubicBezTo>
                  <a:cubicBezTo>
                    <a:pt x="4" y="95"/>
                    <a:pt x="8" y="94"/>
                    <a:pt x="11" y="93"/>
                  </a:cubicBezTo>
                  <a:cubicBezTo>
                    <a:pt x="11" y="3"/>
                    <a:pt x="11" y="3"/>
                    <a:pt x="11" y="3"/>
                  </a:cubicBezTo>
                  <a:cubicBezTo>
                    <a:pt x="11" y="3"/>
                    <a:pt x="11" y="3"/>
                    <a:pt x="11" y="3"/>
                  </a:cubicBezTo>
                  <a:close/>
                  <a:moveTo>
                    <a:pt x="31" y="88"/>
                  </a:moveTo>
                  <a:cubicBezTo>
                    <a:pt x="31" y="7"/>
                    <a:pt x="31" y="7"/>
                    <a:pt x="31" y="7"/>
                  </a:cubicBezTo>
                  <a:cubicBezTo>
                    <a:pt x="28" y="7"/>
                    <a:pt x="24" y="6"/>
                    <a:pt x="20" y="5"/>
                  </a:cubicBezTo>
                  <a:cubicBezTo>
                    <a:pt x="20" y="91"/>
                    <a:pt x="20" y="91"/>
                    <a:pt x="20" y="91"/>
                  </a:cubicBezTo>
                  <a:cubicBezTo>
                    <a:pt x="24" y="90"/>
                    <a:pt x="28" y="89"/>
                    <a:pt x="31" y="88"/>
                  </a:cubicBezTo>
                  <a:close/>
                  <a:moveTo>
                    <a:pt x="151" y="3"/>
                  </a:moveTo>
                  <a:cubicBezTo>
                    <a:pt x="151" y="93"/>
                    <a:pt x="151" y="93"/>
                    <a:pt x="151" y="93"/>
                  </a:cubicBezTo>
                  <a:cubicBezTo>
                    <a:pt x="154" y="94"/>
                    <a:pt x="158" y="95"/>
                    <a:pt x="161" y="96"/>
                  </a:cubicBezTo>
                  <a:cubicBezTo>
                    <a:pt x="161" y="0"/>
                    <a:pt x="161" y="0"/>
                    <a:pt x="161" y="0"/>
                  </a:cubicBezTo>
                  <a:cubicBezTo>
                    <a:pt x="158" y="1"/>
                    <a:pt x="154" y="2"/>
                    <a:pt x="151" y="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43" name="Group 42"/>
          <p:cNvGrpSpPr/>
          <p:nvPr/>
        </p:nvGrpSpPr>
        <p:grpSpPr>
          <a:xfrm>
            <a:off x="6999002" y="2854536"/>
            <a:ext cx="2411383" cy="833675"/>
            <a:chOff x="7139346" y="2911279"/>
            <a:chExt cx="2459736" cy="850392"/>
          </a:xfrm>
        </p:grpSpPr>
        <p:sp>
          <p:nvSpPr>
            <p:cNvPr id="179" name="Rectangle 178"/>
            <p:cNvSpPr/>
            <p:nvPr/>
          </p:nvSpPr>
          <p:spPr bwMode="auto">
            <a:xfrm>
              <a:off x="7139346" y="2911279"/>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Compliance and</a:t>
              </a:r>
              <a:br>
                <a:rPr lang="en-US" sz="1568" kern="0" spc="-51" dirty="0">
                  <a:gradFill>
                    <a:gsLst>
                      <a:gs pos="17699">
                        <a:srgbClr val="505050"/>
                      </a:gs>
                      <a:gs pos="49000">
                        <a:srgbClr val="505050"/>
                      </a:gs>
                    </a:gsLst>
                    <a:lin ang="16200000" scaled="0"/>
                  </a:gradFill>
                  <a:ea typeface="Segoe UI" pitchFamily="34" charset="0"/>
                  <a:cs typeface="Segoe UI" pitchFamily="34" charset="0"/>
                </a:rPr>
              </a:br>
              <a:r>
                <a:rPr lang="en-US" sz="1568" kern="0" spc="-51" dirty="0">
                  <a:gradFill>
                    <a:gsLst>
                      <a:gs pos="17699">
                        <a:srgbClr val="505050"/>
                      </a:gs>
                      <a:gs pos="49000">
                        <a:srgbClr val="505050"/>
                      </a:gs>
                    </a:gsLst>
                    <a:lin ang="16200000" scaled="0"/>
                  </a:gradFill>
                  <a:ea typeface="Segoe UI" pitchFamily="34" charset="0"/>
                  <a:cs typeface="Segoe UI" pitchFamily="34" charset="0"/>
                </a:rPr>
                <a:t>sensitive data</a:t>
              </a:r>
            </a:p>
          </p:txBody>
        </p:sp>
        <p:sp>
          <p:nvSpPr>
            <p:cNvPr id="160" name="Freeform 162"/>
            <p:cNvSpPr>
              <a:spLocks noChangeAspect="1" noEditPoints="1"/>
            </p:cNvSpPr>
            <p:nvPr/>
          </p:nvSpPr>
          <p:spPr bwMode="auto">
            <a:xfrm>
              <a:off x="7445040" y="3154145"/>
              <a:ext cx="239004" cy="364661"/>
            </a:xfrm>
            <a:custGeom>
              <a:avLst/>
              <a:gdLst>
                <a:gd name="T0" fmla="*/ 53 w 76"/>
                <a:gd name="T1" fmla="*/ 95 h 116"/>
                <a:gd name="T2" fmla="*/ 55 w 76"/>
                <a:gd name="T3" fmla="*/ 97 h 116"/>
                <a:gd name="T4" fmla="*/ 53 w 76"/>
                <a:gd name="T5" fmla="*/ 99 h 116"/>
                <a:gd name="T6" fmla="*/ 24 w 76"/>
                <a:gd name="T7" fmla="*/ 99 h 116"/>
                <a:gd name="T8" fmla="*/ 22 w 76"/>
                <a:gd name="T9" fmla="*/ 97 h 116"/>
                <a:gd name="T10" fmla="*/ 24 w 76"/>
                <a:gd name="T11" fmla="*/ 95 h 116"/>
                <a:gd name="T12" fmla="*/ 53 w 76"/>
                <a:gd name="T13" fmla="*/ 95 h 116"/>
                <a:gd name="T14" fmla="*/ 53 w 76"/>
                <a:gd name="T15" fmla="*/ 102 h 116"/>
                <a:gd name="T16" fmla="*/ 24 w 76"/>
                <a:gd name="T17" fmla="*/ 102 h 116"/>
                <a:gd name="T18" fmla="*/ 22 w 76"/>
                <a:gd name="T19" fmla="*/ 103 h 116"/>
                <a:gd name="T20" fmla="*/ 24 w 76"/>
                <a:gd name="T21" fmla="*/ 105 h 116"/>
                <a:gd name="T22" fmla="*/ 53 w 76"/>
                <a:gd name="T23" fmla="*/ 105 h 116"/>
                <a:gd name="T24" fmla="*/ 55 w 76"/>
                <a:gd name="T25" fmla="*/ 103 h 116"/>
                <a:gd name="T26" fmla="*/ 53 w 76"/>
                <a:gd name="T27" fmla="*/ 102 h 116"/>
                <a:gd name="T28" fmla="*/ 53 w 76"/>
                <a:gd name="T29" fmla="*/ 108 h 116"/>
                <a:gd name="T30" fmla="*/ 24 w 76"/>
                <a:gd name="T31" fmla="*/ 108 h 116"/>
                <a:gd name="T32" fmla="*/ 22 w 76"/>
                <a:gd name="T33" fmla="*/ 110 h 116"/>
                <a:gd name="T34" fmla="*/ 24 w 76"/>
                <a:gd name="T35" fmla="*/ 112 h 116"/>
                <a:gd name="T36" fmla="*/ 29 w 76"/>
                <a:gd name="T37" fmla="*/ 112 h 116"/>
                <a:gd name="T38" fmla="*/ 33 w 76"/>
                <a:gd name="T39" fmla="*/ 116 h 116"/>
                <a:gd name="T40" fmla="*/ 44 w 76"/>
                <a:gd name="T41" fmla="*/ 116 h 116"/>
                <a:gd name="T42" fmla="*/ 47 w 76"/>
                <a:gd name="T43" fmla="*/ 112 h 116"/>
                <a:gd name="T44" fmla="*/ 53 w 76"/>
                <a:gd name="T45" fmla="*/ 112 h 116"/>
                <a:gd name="T46" fmla="*/ 55 w 76"/>
                <a:gd name="T47" fmla="*/ 110 h 116"/>
                <a:gd name="T48" fmla="*/ 53 w 76"/>
                <a:gd name="T49" fmla="*/ 108 h 116"/>
                <a:gd name="T50" fmla="*/ 18 w 76"/>
                <a:gd name="T51" fmla="*/ 44 h 116"/>
                <a:gd name="T52" fmla="*/ 16 w 76"/>
                <a:gd name="T53" fmla="*/ 38 h 116"/>
                <a:gd name="T54" fmla="*/ 28 w 76"/>
                <a:gd name="T55" fmla="*/ 19 h 116"/>
                <a:gd name="T56" fmla="*/ 30 w 76"/>
                <a:gd name="T57" fmla="*/ 14 h 116"/>
                <a:gd name="T58" fmla="*/ 25 w 76"/>
                <a:gd name="T59" fmla="*/ 12 h 116"/>
                <a:gd name="T60" fmla="*/ 9 w 76"/>
                <a:gd name="T61" fmla="*/ 38 h 116"/>
                <a:gd name="T62" fmla="*/ 11 w 76"/>
                <a:gd name="T63" fmla="*/ 46 h 116"/>
                <a:gd name="T64" fmla="*/ 16 w 76"/>
                <a:gd name="T65" fmla="*/ 49 h 116"/>
                <a:gd name="T66" fmla="*/ 18 w 76"/>
                <a:gd name="T67" fmla="*/ 44 h 116"/>
                <a:gd name="T68" fmla="*/ 38 w 76"/>
                <a:gd name="T69" fmla="*/ 0 h 116"/>
                <a:gd name="T70" fmla="*/ 76 w 76"/>
                <a:gd name="T71" fmla="*/ 38 h 116"/>
                <a:gd name="T72" fmla="*/ 69 w 76"/>
                <a:gd name="T73" fmla="*/ 60 h 116"/>
                <a:gd name="T74" fmla="*/ 67 w 76"/>
                <a:gd name="T75" fmla="*/ 63 h 116"/>
                <a:gd name="T76" fmla="*/ 56 w 76"/>
                <a:gd name="T77" fmla="*/ 88 h 116"/>
                <a:gd name="T78" fmla="*/ 52 w 76"/>
                <a:gd name="T79" fmla="*/ 91 h 116"/>
                <a:gd name="T80" fmla="*/ 25 w 76"/>
                <a:gd name="T81" fmla="*/ 91 h 116"/>
                <a:gd name="T82" fmla="*/ 21 w 76"/>
                <a:gd name="T83" fmla="*/ 88 h 116"/>
                <a:gd name="T84" fmla="*/ 11 w 76"/>
                <a:gd name="T85" fmla="*/ 65 h 116"/>
                <a:gd name="T86" fmla="*/ 8 w 76"/>
                <a:gd name="T87" fmla="*/ 60 h 116"/>
                <a:gd name="T88" fmla="*/ 0 w 76"/>
                <a:gd name="T89" fmla="*/ 38 h 116"/>
                <a:gd name="T90" fmla="*/ 38 w 76"/>
                <a:gd name="T9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 h="116">
                  <a:moveTo>
                    <a:pt x="53" y="95"/>
                  </a:moveTo>
                  <a:cubicBezTo>
                    <a:pt x="54" y="95"/>
                    <a:pt x="55" y="96"/>
                    <a:pt x="55" y="97"/>
                  </a:cubicBezTo>
                  <a:cubicBezTo>
                    <a:pt x="55" y="98"/>
                    <a:pt x="54" y="99"/>
                    <a:pt x="53" y="99"/>
                  </a:cubicBezTo>
                  <a:cubicBezTo>
                    <a:pt x="24" y="99"/>
                    <a:pt x="24" y="99"/>
                    <a:pt x="24" y="99"/>
                  </a:cubicBezTo>
                  <a:cubicBezTo>
                    <a:pt x="23" y="99"/>
                    <a:pt x="22" y="98"/>
                    <a:pt x="22" y="97"/>
                  </a:cubicBezTo>
                  <a:cubicBezTo>
                    <a:pt x="22" y="96"/>
                    <a:pt x="23" y="95"/>
                    <a:pt x="24" y="95"/>
                  </a:cubicBezTo>
                  <a:cubicBezTo>
                    <a:pt x="53" y="95"/>
                    <a:pt x="53" y="95"/>
                    <a:pt x="53" y="95"/>
                  </a:cubicBezTo>
                  <a:moveTo>
                    <a:pt x="53" y="102"/>
                  </a:moveTo>
                  <a:cubicBezTo>
                    <a:pt x="24" y="102"/>
                    <a:pt x="24" y="102"/>
                    <a:pt x="24" y="102"/>
                  </a:cubicBezTo>
                  <a:cubicBezTo>
                    <a:pt x="23" y="102"/>
                    <a:pt x="22" y="102"/>
                    <a:pt x="22" y="103"/>
                  </a:cubicBezTo>
                  <a:cubicBezTo>
                    <a:pt x="22" y="104"/>
                    <a:pt x="23" y="105"/>
                    <a:pt x="24" y="105"/>
                  </a:cubicBezTo>
                  <a:cubicBezTo>
                    <a:pt x="53" y="105"/>
                    <a:pt x="53" y="105"/>
                    <a:pt x="53" y="105"/>
                  </a:cubicBezTo>
                  <a:cubicBezTo>
                    <a:pt x="54" y="105"/>
                    <a:pt x="55" y="104"/>
                    <a:pt x="55" y="103"/>
                  </a:cubicBezTo>
                  <a:cubicBezTo>
                    <a:pt x="55" y="102"/>
                    <a:pt x="54" y="102"/>
                    <a:pt x="53" y="102"/>
                  </a:cubicBezTo>
                  <a:moveTo>
                    <a:pt x="53" y="108"/>
                  </a:moveTo>
                  <a:cubicBezTo>
                    <a:pt x="24" y="108"/>
                    <a:pt x="24" y="108"/>
                    <a:pt x="24" y="108"/>
                  </a:cubicBezTo>
                  <a:cubicBezTo>
                    <a:pt x="23" y="108"/>
                    <a:pt x="22" y="109"/>
                    <a:pt x="22" y="110"/>
                  </a:cubicBezTo>
                  <a:cubicBezTo>
                    <a:pt x="22" y="111"/>
                    <a:pt x="23" y="112"/>
                    <a:pt x="24" y="112"/>
                  </a:cubicBezTo>
                  <a:cubicBezTo>
                    <a:pt x="29" y="112"/>
                    <a:pt x="29" y="112"/>
                    <a:pt x="29" y="112"/>
                  </a:cubicBezTo>
                  <a:cubicBezTo>
                    <a:pt x="29" y="114"/>
                    <a:pt x="31" y="116"/>
                    <a:pt x="33" y="116"/>
                  </a:cubicBezTo>
                  <a:cubicBezTo>
                    <a:pt x="44" y="116"/>
                    <a:pt x="44" y="116"/>
                    <a:pt x="44" y="116"/>
                  </a:cubicBezTo>
                  <a:cubicBezTo>
                    <a:pt x="45" y="116"/>
                    <a:pt x="47" y="114"/>
                    <a:pt x="47" y="112"/>
                  </a:cubicBezTo>
                  <a:cubicBezTo>
                    <a:pt x="53" y="112"/>
                    <a:pt x="53" y="112"/>
                    <a:pt x="53" y="112"/>
                  </a:cubicBezTo>
                  <a:cubicBezTo>
                    <a:pt x="54" y="112"/>
                    <a:pt x="55" y="111"/>
                    <a:pt x="55" y="110"/>
                  </a:cubicBezTo>
                  <a:cubicBezTo>
                    <a:pt x="55" y="109"/>
                    <a:pt x="54" y="108"/>
                    <a:pt x="53" y="108"/>
                  </a:cubicBezTo>
                  <a:moveTo>
                    <a:pt x="18" y="44"/>
                  </a:moveTo>
                  <a:cubicBezTo>
                    <a:pt x="17" y="41"/>
                    <a:pt x="16" y="39"/>
                    <a:pt x="16" y="38"/>
                  </a:cubicBezTo>
                  <a:cubicBezTo>
                    <a:pt x="16" y="30"/>
                    <a:pt x="21" y="23"/>
                    <a:pt x="28" y="19"/>
                  </a:cubicBezTo>
                  <a:cubicBezTo>
                    <a:pt x="30" y="18"/>
                    <a:pt x="31" y="16"/>
                    <a:pt x="30" y="14"/>
                  </a:cubicBezTo>
                  <a:cubicBezTo>
                    <a:pt x="29" y="12"/>
                    <a:pt x="27" y="11"/>
                    <a:pt x="25" y="12"/>
                  </a:cubicBezTo>
                  <a:cubicBezTo>
                    <a:pt x="15" y="17"/>
                    <a:pt x="9" y="27"/>
                    <a:pt x="9" y="38"/>
                  </a:cubicBezTo>
                  <a:cubicBezTo>
                    <a:pt x="9" y="41"/>
                    <a:pt x="10" y="44"/>
                    <a:pt x="11" y="46"/>
                  </a:cubicBezTo>
                  <a:cubicBezTo>
                    <a:pt x="12" y="48"/>
                    <a:pt x="14" y="49"/>
                    <a:pt x="16" y="49"/>
                  </a:cubicBezTo>
                  <a:cubicBezTo>
                    <a:pt x="17" y="48"/>
                    <a:pt x="18" y="46"/>
                    <a:pt x="18" y="44"/>
                  </a:cubicBezTo>
                  <a:moveTo>
                    <a:pt x="38" y="0"/>
                  </a:moveTo>
                  <a:cubicBezTo>
                    <a:pt x="59" y="0"/>
                    <a:pt x="76" y="17"/>
                    <a:pt x="76" y="38"/>
                  </a:cubicBezTo>
                  <a:cubicBezTo>
                    <a:pt x="76" y="48"/>
                    <a:pt x="70" y="58"/>
                    <a:pt x="69" y="60"/>
                  </a:cubicBezTo>
                  <a:cubicBezTo>
                    <a:pt x="67" y="63"/>
                    <a:pt x="67" y="63"/>
                    <a:pt x="67" y="63"/>
                  </a:cubicBezTo>
                  <a:cubicBezTo>
                    <a:pt x="62" y="71"/>
                    <a:pt x="57" y="79"/>
                    <a:pt x="56" y="88"/>
                  </a:cubicBezTo>
                  <a:cubicBezTo>
                    <a:pt x="56" y="90"/>
                    <a:pt x="54" y="91"/>
                    <a:pt x="52" y="91"/>
                  </a:cubicBezTo>
                  <a:cubicBezTo>
                    <a:pt x="25" y="91"/>
                    <a:pt x="25" y="91"/>
                    <a:pt x="25" y="91"/>
                  </a:cubicBezTo>
                  <a:cubicBezTo>
                    <a:pt x="23" y="91"/>
                    <a:pt x="21" y="90"/>
                    <a:pt x="21" y="88"/>
                  </a:cubicBezTo>
                  <a:cubicBezTo>
                    <a:pt x="20" y="79"/>
                    <a:pt x="15" y="72"/>
                    <a:pt x="11" y="65"/>
                  </a:cubicBezTo>
                  <a:cubicBezTo>
                    <a:pt x="8" y="60"/>
                    <a:pt x="8" y="60"/>
                    <a:pt x="8" y="60"/>
                  </a:cubicBezTo>
                  <a:cubicBezTo>
                    <a:pt x="6" y="58"/>
                    <a:pt x="0" y="48"/>
                    <a:pt x="0" y="38"/>
                  </a:cubicBezTo>
                  <a:cubicBezTo>
                    <a:pt x="0" y="17"/>
                    <a:pt x="17" y="0"/>
                    <a:pt x="38" y="0"/>
                  </a:cubicBezTo>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42" name="Group 41"/>
          <p:cNvGrpSpPr/>
          <p:nvPr/>
        </p:nvGrpSpPr>
        <p:grpSpPr>
          <a:xfrm>
            <a:off x="4576072" y="4554912"/>
            <a:ext cx="2411383" cy="833675"/>
            <a:chOff x="4667827" y="4645747"/>
            <a:chExt cx="2459736" cy="850392"/>
          </a:xfrm>
        </p:grpSpPr>
        <p:sp>
          <p:nvSpPr>
            <p:cNvPr id="67" name="Rectangle 66"/>
            <p:cNvSpPr/>
            <p:nvPr/>
          </p:nvSpPr>
          <p:spPr bwMode="auto">
            <a:xfrm>
              <a:off x="4667827" y="4645747"/>
              <a:ext cx="2459736" cy="85039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5" tIns="143428" rIns="89642"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568" kern="0" spc="-51" dirty="0">
                  <a:gradFill>
                    <a:gsLst>
                      <a:gs pos="17699">
                        <a:srgbClr val="505050"/>
                      </a:gs>
                      <a:gs pos="49000">
                        <a:srgbClr val="505050"/>
                      </a:gs>
                    </a:gsLst>
                    <a:lin ang="16200000" scaled="0"/>
                  </a:gradFill>
                  <a:ea typeface="Segoe UI" pitchFamily="34" charset="0"/>
                  <a:cs typeface="Segoe UI" pitchFamily="34" charset="0"/>
                </a:rPr>
                <a:t>Hardware</a:t>
              </a:r>
              <a:br>
                <a:rPr lang="en-US" sz="1568" kern="0" spc="-51" dirty="0">
                  <a:gradFill>
                    <a:gsLst>
                      <a:gs pos="17699">
                        <a:srgbClr val="505050"/>
                      </a:gs>
                      <a:gs pos="49000">
                        <a:srgbClr val="505050"/>
                      </a:gs>
                    </a:gsLst>
                    <a:lin ang="16200000" scaled="0"/>
                  </a:gradFill>
                  <a:ea typeface="Segoe UI" pitchFamily="34" charset="0"/>
                  <a:cs typeface="Segoe UI" pitchFamily="34" charset="0"/>
                </a:rPr>
              </a:br>
              <a:endParaRPr lang="en-US" sz="1568" kern="0" spc="-51" dirty="0">
                <a:gradFill>
                  <a:gsLst>
                    <a:gs pos="17699">
                      <a:srgbClr val="505050"/>
                    </a:gs>
                    <a:gs pos="49000">
                      <a:srgbClr val="505050"/>
                    </a:gs>
                  </a:gsLst>
                  <a:lin ang="16200000" scaled="0"/>
                </a:gradFill>
                <a:ea typeface="Segoe UI" pitchFamily="34" charset="0"/>
                <a:cs typeface="Segoe UI" pitchFamily="34" charset="0"/>
              </a:endParaRPr>
            </a:p>
          </p:txBody>
        </p:sp>
        <p:sp>
          <p:nvSpPr>
            <p:cNvPr id="68" name="Freeform 28"/>
            <p:cNvSpPr>
              <a:spLocks noChangeAspect="1" noEditPoints="1"/>
            </p:cNvSpPr>
            <p:nvPr/>
          </p:nvSpPr>
          <p:spPr bwMode="gray">
            <a:xfrm>
              <a:off x="4860134" y="4864439"/>
              <a:ext cx="465779" cy="392913"/>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08762"/>
              <a:endParaRPr lang="en-US" sz="1765">
                <a:solidFill>
                  <a:srgbClr val="505050"/>
                </a:solidFill>
              </a:endParaRPr>
            </a:p>
          </p:txBody>
        </p:sp>
      </p:grpSp>
      <p:sp>
        <p:nvSpPr>
          <p:cNvPr id="51" name="Rectangle 50"/>
          <p:cNvSpPr/>
          <p:nvPr/>
        </p:nvSpPr>
        <p:spPr bwMode="auto">
          <a:xfrm>
            <a:off x="269241" y="2758994"/>
            <a:ext cx="1792136" cy="272513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defTabSz="908289" fontAlgn="base">
              <a:lnSpc>
                <a:spcPct val="90000"/>
              </a:lnSpc>
              <a:spcBef>
                <a:spcPct val="0"/>
              </a:spcBef>
              <a:spcAft>
                <a:spcPct val="0"/>
              </a:spcAft>
            </a:pPr>
            <a:r>
              <a:rPr lang="en-US" sz="1765" kern="0" spc="-29" dirty="0">
                <a:gradFill>
                  <a:gsLst>
                    <a:gs pos="6623">
                      <a:srgbClr val="191919"/>
                    </a:gs>
                    <a:gs pos="17699">
                      <a:srgbClr val="191919"/>
                    </a:gs>
                  </a:gsLst>
                  <a:lin ang="16200000" scaled="0"/>
                </a:gradFill>
                <a:ea typeface="Segoe UI" pitchFamily="34" charset="0"/>
                <a:cs typeface="Segoe UI" pitchFamily="34" charset="0"/>
              </a:rPr>
              <a:t>Common </a:t>
            </a:r>
            <a:br>
              <a:rPr lang="en-US" sz="1765" kern="0" spc="-29" dirty="0">
                <a:gradFill>
                  <a:gsLst>
                    <a:gs pos="6623">
                      <a:srgbClr val="191919"/>
                    </a:gs>
                    <a:gs pos="17699">
                      <a:srgbClr val="191919"/>
                    </a:gs>
                  </a:gsLst>
                  <a:lin ang="16200000" scaled="0"/>
                </a:gradFill>
                <a:ea typeface="Segoe UI" pitchFamily="34" charset="0"/>
                <a:cs typeface="Segoe UI" pitchFamily="34" charset="0"/>
              </a:rPr>
            </a:br>
            <a:r>
              <a:rPr lang="en-US" sz="1765" kern="0" spc="-29" dirty="0">
                <a:gradFill>
                  <a:gsLst>
                    <a:gs pos="6623">
                      <a:srgbClr val="191919"/>
                    </a:gs>
                    <a:gs pos="17699">
                      <a:srgbClr val="191919"/>
                    </a:gs>
                  </a:gsLst>
                  <a:lin ang="16200000" scaled="0"/>
                </a:gradFill>
                <a:ea typeface="Segoe UI" pitchFamily="34" charset="0"/>
                <a:cs typeface="Segoe UI" pitchFamily="34" charset="0"/>
              </a:rPr>
              <a:t>topics that are </a:t>
            </a:r>
            <a:br>
              <a:rPr lang="en-US" sz="1765" kern="0" spc="-29" dirty="0">
                <a:gradFill>
                  <a:gsLst>
                    <a:gs pos="6623">
                      <a:srgbClr val="191919"/>
                    </a:gs>
                    <a:gs pos="17699">
                      <a:srgbClr val="191919"/>
                    </a:gs>
                  </a:gsLst>
                  <a:lin ang="16200000" scaled="0"/>
                </a:gradFill>
                <a:ea typeface="Segoe UI" pitchFamily="34" charset="0"/>
                <a:cs typeface="Segoe UI" pitchFamily="34" charset="0"/>
              </a:rPr>
            </a:br>
            <a:r>
              <a:rPr lang="en-US" sz="1765" kern="0" spc="-29" dirty="0">
                <a:gradFill>
                  <a:gsLst>
                    <a:gs pos="6623">
                      <a:srgbClr val="191919"/>
                    </a:gs>
                    <a:gs pos="17699">
                      <a:srgbClr val="191919"/>
                    </a:gs>
                  </a:gsLst>
                  <a:lin ang="16200000" scaled="0"/>
                </a:gradFill>
                <a:ea typeface="Segoe UI" pitchFamily="34" charset="0"/>
                <a:cs typeface="Segoe UI" pitchFamily="34" charset="0"/>
              </a:rPr>
              <a:t>‘Top of Mind’ </a:t>
            </a:r>
          </a:p>
        </p:txBody>
      </p:sp>
      <p:sp>
        <p:nvSpPr>
          <p:cNvPr id="56" name="Rectangle 55"/>
          <p:cNvSpPr/>
          <p:nvPr/>
        </p:nvSpPr>
        <p:spPr bwMode="auto">
          <a:xfrm>
            <a:off x="269245" y="5525325"/>
            <a:ext cx="11655839" cy="1043474"/>
          </a:xfrm>
          <a:prstGeom prst="rect">
            <a:avLst/>
          </a:prstGeom>
          <a:solidFill>
            <a:schemeClr val="accent5">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defTabSz="908289" fontAlgn="base">
              <a:lnSpc>
                <a:spcPct val="90000"/>
              </a:lnSpc>
              <a:spcBef>
                <a:spcPct val="0"/>
              </a:spcBef>
              <a:spcAft>
                <a:spcPct val="0"/>
              </a:spcAft>
            </a:pPr>
            <a:r>
              <a:rPr lang="en-US" sz="4705" kern="0" spc="-51" dirty="0">
                <a:gradFill>
                  <a:gsLst>
                    <a:gs pos="1987">
                      <a:srgbClr val="FFFFFF"/>
                    </a:gs>
                    <a:gs pos="17699">
                      <a:srgbClr val="FFFFFF"/>
                    </a:gs>
                  </a:gsLst>
                  <a:lin ang="16200000" scaled="0"/>
                </a:gradFill>
                <a:latin typeface="Segoe UI Light"/>
                <a:ea typeface="Segoe UI" pitchFamily="34" charset="0"/>
                <a:cs typeface="Segoe UI" pitchFamily="34" charset="0"/>
              </a:rPr>
              <a:t>What is ‘Top of Mind’ for you…</a:t>
            </a:r>
          </a:p>
        </p:txBody>
      </p:sp>
      <p:sp>
        <p:nvSpPr>
          <p:cNvPr id="90" name="Rectangle 89"/>
          <p:cNvSpPr/>
          <p:nvPr/>
        </p:nvSpPr>
        <p:spPr bwMode="auto">
          <a:xfrm>
            <a:off x="269241" y="1189494"/>
            <a:ext cx="1792136" cy="1523922"/>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79253" tIns="143402" rIns="89627" bIns="143402" numCol="1" spcCol="0" rtlCol="0" fromWordArt="0" anchor="t" anchorCtr="0" forceAA="0" compatLnSpc="1">
            <a:prstTxWarp prst="textNoShape">
              <a:avLst/>
            </a:prstTxWarp>
            <a:noAutofit/>
          </a:bodyPr>
          <a:lstStyle/>
          <a:p>
            <a:pPr defTabSz="908289" fontAlgn="base">
              <a:lnSpc>
                <a:spcPct val="90000"/>
              </a:lnSpc>
              <a:spcBef>
                <a:spcPct val="0"/>
              </a:spcBef>
              <a:spcAft>
                <a:spcPct val="0"/>
              </a:spcAft>
            </a:pPr>
            <a:r>
              <a:rPr lang="en-US" sz="1765" kern="0" spc="-29" dirty="0">
                <a:gradFill>
                  <a:gsLst>
                    <a:gs pos="66225">
                      <a:srgbClr val="FFFFFF"/>
                    </a:gs>
                    <a:gs pos="49000">
                      <a:srgbClr val="FFFFFF"/>
                    </a:gs>
                  </a:gsLst>
                  <a:lin ang="16200000" scaled="0"/>
                </a:gradFill>
                <a:ea typeface="Segoe UI" pitchFamily="34" charset="0"/>
                <a:cs typeface="Segoe UI" pitchFamily="34" charset="0"/>
              </a:rPr>
              <a:t>Datacenter</a:t>
            </a:r>
            <a:br>
              <a:rPr lang="en-US" sz="1765" kern="0" spc="-29" dirty="0">
                <a:gradFill>
                  <a:gsLst>
                    <a:gs pos="66225">
                      <a:srgbClr val="FFFFFF"/>
                    </a:gs>
                    <a:gs pos="49000">
                      <a:srgbClr val="FFFFFF"/>
                    </a:gs>
                  </a:gsLst>
                  <a:lin ang="16200000" scaled="0"/>
                </a:gradFill>
                <a:ea typeface="Segoe UI" pitchFamily="34" charset="0"/>
                <a:cs typeface="Segoe UI" pitchFamily="34" charset="0"/>
              </a:rPr>
            </a:br>
            <a:r>
              <a:rPr lang="en-US" sz="1765" kern="0" spc="-29" dirty="0">
                <a:gradFill>
                  <a:gsLst>
                    <a:gs pos="66225">
                      <a:srgbClr val="FFFFFF"/>
                    </a:gs>
                    <a:gs pos="49000">
                      <a:srgbClr val="FFFFFF"/>
                    </a:gs>
                  </a:gsLst>
                  <a:lin ang="16200000" scaled="0"/>
                </a:gradFill>
                <a:ea typeface="Segoe UI" pitchFamily="34" charset="0"/>
                <a:cs typeface="Segoe UI" pitchFamily="34" charset="0"/>
              </a:rPr>
              <a:t>footprint…</a:t>
            </a:r>
          </a:p>
        </p:txBody>
      </p:sp>
      <p:sp useBgFill="1">
        <p:nvSpPr>
          <p:cNvPr id="24" name="Rectangle 23"/>
          <p:cNvSpPr/>
          <p:nvPr/>
        </p:nvSpPr>
        <p:spPr bwMode="auto">
          <a:xfrm>
            <a:off x="5" y="487"/>
            <a:ext cx="272397" cy="685702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Tree>
    <p:extLst>
      <p:ext uri="{BB962C8B-B14F-4D97-AF65-F5344CB8AC3E}">
        <p14:creationId xmlns:p14="http://schemas.microsoft.com/office/powerpoint/2010/main" val="2642088217"/>
      </p:ext>
    </p:extLst>
  </p:cSld>
  <p:clrMapOvr>
    <a:masterClrMapping/>
  </p:clrMapOvr>
  <mc:AlternateContent xmlns:mc="http://schemas.openxmlformats.org/markup-compatibility/2006" xmlns:p14="http://schemas.microsoft.com/office/powerpoint/2010/main">
    <mc:Choice Requires="p14">
      <p:transition spd="slow" p14:dur="800">
        <p:wipe dir="r"/>
      </p:transition>
    </mc:Choice>
    <mc:Fallback xmlns="">
      <p:transition spd="slow">
        <p:wipe dir="r"/>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8720976" y="3825558"/>
            <a:ext cx="1626283" cy="2216175"/>
            <a:chOff x="8895849" y="3901772"/>
            <a:chExt cx="1658893" cy="2260614"/>
          </a:xfrm>
        </p:grpSpPr>
        <p:sp>
          <p:nvSpPr>
            <p:cNvPr id="130" name="Rectangle 129"/>
            <p:cNvSpPr/>
            <p:nvPr/>
          </p:nvSpPr>
          <p:spPr bwMode="auto">
            <a:xfrm>
              <a:off x="8899678" y="3901772"/>
              <a:ext cx="1655064" cy="226061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32" name="Rectangle 131"/>
            <p:cNvSpPr/>
            <p:nvPr/>
          </p:nvSpPr>
          <p:spPr bwMode="auto">
            <a:xfrm>
              <a:off x="8895849" y="3901772"/>
              <a:ext cx="1655064" cy="226061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38" name="Rectangle 137"/>
            <p:cNvSpPr/>
            <p:nvPr/>
          </p:nvSpPr>
          <p:spPr bwMode="auto">
            <a:xfrm>
              <a:off x="9545073" y="3975465"/>
              <a:ext cx="1005840"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3428" rIns="0"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Connectivity constraints</a:t>
              </a:r>
            </a:p>
          </p:txBody>
        </p:sp>
        <p:sp>
          <p:nvSpPr>
            <p:cNvPr id="157" name="Rectangle 156"/>
            <p:cNvSpPr/>
            <p:nvPr/>
          </p:nvSpPr>
          <p:spPr bwMode="auto">
            <a:xfrm>
              <a:off x="9545073" y="4689567"/>
              <a:ext cx="1005840"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3428" rIns="0"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Scalability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and elasticity</a:t>
              </a:r>
            </a:p>
          </p:txBody>
        </p:sp>
        <p:sp>
          <p:nvSpPr>
            <p:cNvPr id="167" name="Rectangle 166"/>
            <p:cNvSpPr/>
            <p:nvPr/>
          </p:nvSpPr>
          <p:spPr bwMode="auto">
            <a:xfrm>
              <a:off x="9545073" y="5439765"/>
              <a:ext cx="1005840"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3428" rIns="0"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Hardware</a:t>
              </a:r>
            </a:p>
          </p:txBody>
        </p:sp>
        <p:sp>
          <p:nvSpPr>
            <p:cNvPr id="168" name="Freeform 5"/>
            <p:cNvSpPr>
              <a:spLocks noChangeAspect="1" noEditPoints="1"/>
            </p:cNvSpPr>
            <p:nvPr/>
          </p:nvSpPr>
          <p:spPr bwMode="auto">
            <a:xfrm>
              <a:off x="9018535" y="4921711"/>
              <a:ext cx="382457" cy="230657"/>
            </a:xfrm>
            <a:custGeom>
              <a:avLst/>
              <a:gdLst>
                <a:gd name="T0" fmla="*/ 40 w 161"/>
                <a:gd name="T1" fmla="*/ 9 h 96"/>
                <a:gd name="T2" fmla="*/ 81 w 161"/>
                <a:gd name="T3" fmla="*/ 12 h 96"/>
                <a:gd name="T4" fmla="*/ 121 w 161"/>
                <a:gd name="T5" fmla="*/ 9 h 96"/>
                <a:gd name="T6" fmla="*/ 121 w 161"/>
                <a:gd name="T7" fmla="*/ 87 h 96"/>
                <a:gd name="T8" fmla="*/ 81 w 161"/>
                <a:gd name="T9" fmla="*/ 84 h 96"/>
                <a:gd name="T10" fmla="*/ 40 w 161"/>
                <a:gd name="T11" fmla="*/ 87 h 96"/>
                <a:gd name="T12" fmla="*/ 40 w 161"/>
                <a:gd name="T13" fmla="*/ 9 h 96"/>
                <a:gd name="T14" fmla="*/ 40 w 161"/>
                <a:gd name="T15" fmla="*/ 9 h 96"/>
                <a:gd name="T16" fmla="*/ 142 w 161"/>
                <a:gd name="T17" fmla="*/ 91 h 96"/>
                <a:gd name="T18" fmla="*/ 142 w 161"/>
                <a:gd name="T19" fmla="*/ 5 h 96"/>
                <a:gd name="T20" fmla="*/ 130 w 161"/>
                <a:gd name="T21" fmla="*/ 7 h 96"/>
                <a:gd name="T22" fmla="*/ 130 w 161"/>
                <a:gd name="T23" fmla="*/ 88 h 96"/>
                <a:gd name="T24" fmla="*/ 142 w 161"/>
                <a:gd name="T25" fmla="*/ 91 h 96"/>
                <a:gd name="T26" fmla="*/ 11 w 161"/>
                <a:gd name="T27" fmla="*/ 3 h 96"/>
                <a:gd name="T28" fmla="*/ 0 w 161"/>
                <a:gd name="T29" fmla="*/ 0 h 96"/>
                <a:gd name="T30" fmla="*/ 0 w 161"/>
                <a:gd name="T31" fmla="*/ 96 h 96"/>
                <a:gd name="T32" fmla="*/ 11 w 161"/>
                <a:gd name="T33" fmla="*/ 93 h 96"/>
                <a:gd name="T34" fmla="*/ 11 w 161"/>
                <a:gd name="T35" fmla="*/ 3 h 96"/>
                <a:gd name="T36" fmla="*/ 11 w 161"/>
                <a:gd name="T37" fmla="*/ 3 h 96"/>
                <a:gd name="T38" fmla="*/ 31 w 161"/>
                <a:gd name="T39" fmla="*/ 88 h 96"/>
                <a:gd name="T40" fmla="*/ 31 w 161"/>
                <a:gd name="T41" fmla="*/ 7 h 96"/>
                <a:gd name="T42" fmla="*/ 20 w 161"/>
                <a:gd name="T43" fmla="*/ 5 h 96"/>
                <a:gd name="T44" fmla="*/ 20 w 161"/>
                <a:gd name="T45" fmla="*/ 91 h 96"/>
                <a:gd name="T46" fmla="*/ 31 w 161"/>
                <a:gd name="T47" fmla="*/ 88 h 96"/>
                <a:gd name="T48" fmla="*/ 151 w 161"/>
                <a:gd name="T49" fmla="*/ 3 h 96"/>
                <a:gd name="T50" fmla="*/ 151 w 161"/>
                <a:gd name="T51" fmla="*/ 93 h 96"/>
                <a:gd name="T52" fmla="*/ 161 w 161"/>
                <a:gd name="T53" fmla="*/ 96 h 96"/>
                <a:gd name="T54" fmla="*/ 161 w 161"/>
                <a:gd name="T55" fmla="*/ 0 h 96"/>
                <a:gd name="T56" fmla="*/ 151 w 161"/>
                <a:gd name="T57"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 h="96">
                  <a:moveTo>
                    <a:pt x="40" y="9"/>
                  </a:moveTo>
                  <a:cubicBezTo>
                    <a:pt x="54" y="11"/>
                    <a:pt x="67" y="12"/>
                    <a:pt x="81" y="12"/>
                  </a:cubicBezTo>
                  <a:cubicBezTo>
                    <a:pt x="95" y="12"/>
                    <a:pt x="108" y="11"/>
                    <a:pt x="121" y="9"/>
                  </a:cubicBezTo>
                  <a:cubicBezTo>
                    <a:pt x="121" y="87"/>
                    <a:pt x="121" y="87"/>
                    <a:pt x="121" y="87"/>
                  </a:cubicBezTo>
                  <a:cubicBezTo>
                    <a:pt x="108" y="85"/>
                    <a:pt x="95" y="84"/>
                    <a:pt x="81" y="84"/>
                  </a:cubicBezTo>
                  <a:cubicBezTo>
                    <a:pt x="67" y="84"/>
                    <a:pt x="54" y="85"/>
                    <a:pt x="40" y="87"/>
                  </a:cubicBezTo>
                  <a:cubicBezTo>
                    <a:pt x="40" y="9"/>
                    <a:pt x="40" y="9"/>
                    <a:pt x="40" y="9"/>
                  </a:cubicBezTo>
                  <a:cubicBezTo>
                    <a:pt x="40" y="9"/>
                    <a:pt x="40" y="9"/>
                    <a:pt x="40" y="9"/>
                  </a:cubicBezTo>
                  <a:close/>
                  <a:moveTo>
                    <a:pt x="142" y="91"/>
                  </a:moveTo>
                  <a:cubicBezTo>
                    <a:pt x="142" y="5"/>
                    <a:pt x="142" y="5"/>
                    <a:pt x="142" y="5"/>
                  </a:cubicBezTo>
                  <a:cubicBezTo>
                    <a:pt x="138" y="6"/>
                    <a:pt x="134" y="7"/>
                    <a:pt x="130" y="7"/>
                  </a:cubicBezTo>
                  <a:cubicBezTo>
                    <a:pt x="130" y="88"/>
                    <a:pt x="130" y="88"/>
                    <a:pt x="130" y="88"/>
                  </a:cubicBezTo>
                  <a:cubicBezTo>
                    <a:pt x="134" y="89"/>
                    <a:pt x="138" y="90"/>
                    <a:pt x="142" y="91"/>
                  </a:cubicBezTo>
                  <a:close/>
                  <a:moveTo>
                    <a:pt x="11" y="3"/>
                  </a:moveTo>
                  <a:cubicBezTo>
                    <a:pt x="8" y="2"/>
                    <a:pt x="4" y="1"/>
                    <a:pt x="0" y="0"/>
                  </a:cubicBezTo>
                  <a:cubicBezTo>
                    <a:pt x="0" y="96"/>
                    <a:pt x="0" y="96"/>
                    <a:pt x="0" y="96"/>
                  </a:cubicBezTo>
                  <a:cubicBezTo>
                    <a:pt x="4" y="95"/>
                    <a:pt x="8" y="94"/>
                    <a:pt x="11" y="93"/>
                  </a:cubicBezTo>
                  <a:cubicBezTo>
                    <a:pt x="11" y="3"/>
                    <a:pt x="11" y="3"/>
                    <a:pt x="11" y="3"/>
                  </a:cubicBezTo>
                  <a:cubicBezTo>
                    <a:pt x="11" y="3"/>
                    <a:pt x="11" y="3"/>
                    <a:pt x="11" y="3"/>
                  </a:cubicBezTo>
                  <a:close/>
                  <a:moveTo>
                    <a:pt x="31" y="88"/>
                  </a:moveTo>
                  <a:cubicBezTo>
                    <a:pt x="31" y="7"/>
                    <a:pt x="31" y="7"/>
                    <a:pt x="31" y="7"/>
                  </a:cubicBezTo>
                  <a:cubicBezTo>
                    <a:pt x="28" y="7"/>
                    <a:pt x="24" y="6"/>
                    <a:pt x="20" y="5"/>
                  </a:cubicBezTo>
                  <a:cubicBezTo>
                    <a:pt x="20" y="91"/>
                    <a:pt x="20" y="91"/>
                    <a:pt x="20" y="91"/>
                  </a:cubicBezTo>
                  <a:cubicBezTo>
                    <a:pt x="24" y="90"/>
                    <a:pt x="28" y="89"/>
                    <a:pt x="31" y="88"/>
                  </a:cubicBezTo>
                  <a:close/>
                  <a:moveTo>
                    <a:pt x="151" y="3"/>
                  </a:moveTo>
                  <a:cubicBezTo>
                    <a:pt x="151" y="93"/>
                    <a:pt x="151" y="93"/>
                    <a:pt x="151" y="93"/>
                  </a:cubicBezTo>
                  <a:cubicBezTo>
                    <a:pt x="154" y="94"/>
                    <a:pt x="158" y="95"/>
                    <a:pt x="161" y="96"/>
                  </a:cubicBezTo>
                  <a:cubicBezTo>
                    <a:pt x="161" y="0"/>
                    <a:pt x="161" y="0"/>
                    <a:pt x="161" y="0"/>
                  </a:cubicBezTo>
                  <a:cubicBezTo>
                    <a:pt x="158" y="1"/>
                    <a:pt x="154" y="2"/>
                    <a:pt x="151" y="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70" name="Freeform 78"/>
            <p:cNvSpPr>
              <a:spLocks noChangeAspect="1" noEditPoints="1"/>
            </p:cNvSpPr>
            <p:nvPr/>
          </p:nvSpPr>
          <p:spPr bwMode="black">
            <a:xfrm>
              <a:off x="9000375" y="4120665"/>
              <a:ext cx="418776" cy="40067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171" name="Freeform 28"/>
            <p:cNvSpPr>
              <a:spLocks noChangeAspect="1" noEditPoints="1"/>
            </p:cNvSpPr>
            <p:nvPr/>
          </p:nvSpPr>
          <p:spPr bwMode="gray">
            <a:xfrm>
              <a:off x="9017614" y="5627893"/>
              <a:ext cx="384941" cy="324722"/>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08762"/>
              <a:endParaRPr lang="en-US" sz="1765">
                <a:solidFill>
                  <a:srgbClr val="505050"/>
                </a:solidFill>
              </a:endParaRPr>
            </a:p>
          </p:txBody>
        </p:sp>
      </p:grpSp>
      <p:grpSp>
        <p:nvGrpSpPr>
          <p:cNvPr id="10" name="Group 9"/>
          <p:cNvGrpSpPr/>
          <p:nvPr/>
        </p:nvGrpSpPr>
        <p:grpSpPr>
          <a:xfrm>
            <a:off x="3649935" y="3825558"/>
            <a:ext cx="1622529" cy="2216175"/>
            <a:chOff x="3723123" y="3901772"/>
            <a:chExt cx="1655064" cy="2260614"/>
          </a:xfrm>
        </p:grpSpPr>
        <p:sp>
          <p:nvSpPr>
            <p:cNvPr id="183" name="Rectangle 182"/>
            <p:cNvSpPr/>
            <p:nvPr/>
          </p:nvSpPr>
          <p:spPr bwMode="auto">
            <a:xfrm>
              <a:off x="3723123" y="3901772"/>
              <a:ext cx="1655064" cy="226061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84" name="Rectangle 183"/>
            <p:cNvSpPr/>
            <p:nvPr/>
          </p:nvSpPr>
          <p:spPr bwMode="auto">
            <a:xfrm>
              <a:off x="4372347" y="3975465"/>
              <a:ext cx="1005840"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3428" rIns="0"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Complex, legacy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applications</a:t>
              </a:r>
            </a:p>
          </p:txBody>
        </p:sp>
        <p:sp>
          <p:nvSpPr>
            <p:cNvPr id="185" name="Rectangle 184"/>
            <p:cNvSpPr/>
            <p:nvPr/>
          </p:nvSpPr>
          <p:spPr bwMode="auto">
            <a:xfrm>
              <a:off x="4372347" y="4689567"/>
              <a:ext cx="1005840"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3428" rIns="0" bIns="143428"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Rapid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development</a:t>
              </a:r>
            </a:p>
          </p:txBody>
        </p:sp>
        <p:sp>
          <p:nvSpPr>
            <p:cNvPr id="186" name="Freeform 17"/>
            <p:cNvSpPr>
              <a:spLocks noChangeAspect="1" noEditPoints="1"/>
            </p:cNvSpPr>
            <p:nvPr/>
          </p:nvSpPr>
          <p:spPr bwMode="auto">
            <a:xfrm>
              <a:off x="3823603" y="4143746"/>
              <a:ext cx="358898" cy="353476"/>
            </a:xfrm>
            <a:custGeom>
              <a:avLst/>
              <a:gdLst>
                <a:gd name="T0" fmla="*/ 136 w 137"/>
                <a:gd name="T1" fmla="*/ 23 h 135"/>
                <a:gd name="T2" fmla="*/ 36 w 137"/>
                <a:gd name="T3" fmla="*/ 19 h 135"/>
                <a:gd name="T4" fmla="*/ 33 w 137"/>
                <a:gd name="T5" fmla="*/ 26 h 135"/>
                <a:gd name="T6" fmla="*/ 74 w 137"/>
                <a:gd name="T7" fmla="*/ 95 h 135"/>
                <a:gd name="T8" fmla="*/ 94 w 137"/>
                <a:gd name="T9" fmla="*/ 135 h 135"/>
                <a:gd name="T10" fmla="*/ 137 w 137"/>
                <a:gd name="T11" fmla="*/ 31 h 135"/>
                <a:gd name="T12" fmla="*/ 98 w 137"/>
                <a:gd name="T13" fmla="*/ 5 h 135"/>
                <a:gd name="T14" fmla="*/ 135 w 137"/>
                <a:gd name="T15" fmla="*/ 28 h 135"/>
                <a:gd name="T16" fmla="*/ 98 w 137"/>
                <a:gd name="T17" fmla="*/ 5 h 135"/>
                <a:gd name="T18" fmla="*/ 96 w 137"/>
                <a:gd name="T19" fmla="*/ 127 h 135"/>
                <a:gd name="T20" fmla="*/ 136 w 137"/>
                <a:gd name="T21" fmla="*/ 101 h 135"/>
                <a:gd name="T22" fmla="*/ 136 w 137"/>
                <a:gd name="T23" fmla="*/ 95 h 135"/>
                <a:gd name="T24" fmla="*/ 96 w 137"/>
                <a:gd name="T25" fmla="*/ 102 h 135"/>
                <a:gd name="T26" fmla="*/ 136 w 137"/>
                <a:gd name="T27" fmla="*/ 95 h 135"/>
                <a:gd name="T28" fmla="*/ 96 w 137"/>
                <a:gd name="T29" fmla="*/ 93 h 135"/>
                <a:gd name="T30" fmla="*/ 136 w 137"/>
                <a:gd name="T31" fmla="*/ 79 h 135"/>
                <a:gd name="T32" fmla="*/ 136 w 137"/>
                <a:gd name="T33" fmla="*/ 73 h 135"/>
                <a:gd name="T34" fmla="*/ 96 w 137"/>
                <a:gd name="T35" fmla="*/ 68 h 135"/>
                <a:gd name="T36" fmla="*/ 136 w 137"/>
                <a:gd name="T37" fmla="*/ 73 h 135"/>
                <a:gd name="T38" fmla="*/ 96 w 137"/>
                <a:gd name="T39" fmla="*/ 59 h 135"/>
                <a:gd name="T40" fmla="*/ 136 w 137"/>
                <a:gd name="T41" fmla="*/ 57 h 135"/>
                <a:gd name="T42" fmla="*/ 136 w 137"/>
                <a:gd name="T43" fmla="*/ 51 h 135"/>
                <a:gd name="T44" fmla="*/ 96 w 137"/>
                <a:gd name="T45" fmla="*/ 34 h 135"/>
                <a:gd name="T46" fmla="*/ 136 w 137"/>
                <a:gd name="T47" fmla="*/ 51 h 135"/>
                <a:gd name="T48" fmla="*/ 96 w 137"/>
                <a:gd name="T49" fmla="*/ 25 h 135"/>
                <a:gd name="T50" fmla="*/ 136 w 137"/>
                <a:gd name="T51" fmla="*/ 34 h 135"/>
                <a:gd name="T52" fmla="*/ 33 w 137"/>
                <a:gd name="T53" fmla="*/ 62 h 135"/>
                <a:gd name="T54" fmla="*/ 33 w 137"/>
                <a:gd name="T55" fmla="*/ 128 h 135"/>
                <a:gd name="T56" fmla="*/ 33 w 137"/>
                <a:gd name="T57" fmla="*/ 62 h 135"/>
                <a:gd name="T58" fmla="*/ 15 w 137"/>
                <a:gd name="T59" fmla="*/ 98 h 135"/>
                <a:gd name="T60" fmla="*/ 30 w 137"/>
                <a:gd name="T61" fmla="*/ 100 h 135"/>
                <a:gd name="T62" fmla="*/ 55 w 137"/>
                <a:gd name="T6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5">
                  <a:moveTo>
                    <a:pt x="136" y="31"/>
                  </a:moveTo>
                  <a:cubicBezTo>
                    <a:pt x="136" y="23"/>
                    <a:pt x="136" y="23"/>
                    <a:pt x="136" y="23"/>
                  </a:cubicBezTo>
                  <a:cubicBezTo>
                    <a:pt x="96" y="0"/>
                    <a:pt x="96" y="0"/>
                    <a:pt x="96" y="0"/>
                  </a:cubicBezTo>
                  <a:cubicBezTo>
                    <a:pt x="36" y="19"/>
                    <a:pt x="36" y="19"/>
                    <a:pt x="36" y="19"/>
                  </a:cubicBezTo>
                  <a:cubicBezTo>
                    <a:pt x="36" y="26"/>
                    <a:pt x="36" y="26"/>
                    <a:pt x="36" y="26"/>
                  </a:cubicBezTo>
                  <a:cubicBezTo>
                    <a:pt x="33" y="26"/>
                    <a:pt x="33" y="26"/>
                    <a:pt x="33" y="26"/>
                  </a:cubicBezTo>
                  <a:cubicBezTo>
                    <a:pt x="33" y="55"/>
                    <a:pt x="33" y="55"/>
                    <a:pt x="33" y="55"/>
                  </a:cubicBezTo>
                  <a:cubicBezTo>
                    <a:pt x="56" y="55"/>
                    <a:pt x="74" y="73"/>
                    <a:pt x="74" y="95"/>
                  </a:cubicBezTo>
                  <a:cubicBezTo>
                    <a:pt x="74" y="107"/>
                    <a:pt x="69" y="117"/>
                    <a:pt x="61" y="124"/>
                  </a:cubicBezTo>
                  <a:cubicBezTo>
                    <a:pt x="94" y="135"/>
                    <a:pt x="94" y="135"/>
                    <a:pt x="94" y="135"/>
                  </a:cubicBezTo>
                  <a:cubicBezTo>
                    <a:pt x="137" y="110"/>
                    <a:pt x="137" y="110"/>
                    <a:pt x="137" y="110"/>
                  </a:cubicBezTo>
                  <a:cubicBezTo>
                    <a:pt x="137" y="31"/>
                    <a:pt x="137" y="31"/>
                    <a:pt x="137" y="31"/>
                  </a:cubicBezTo>
                  <a:lnTo>
                    <a:pt x="136" y="31"/>
                  </a:lnTo>
                  <a:close/>
                  <a:moveTo>
                    <a:pt x="98" y="5"/>
                  </a:moveTo>
                  <a:cubicBezTo>
                    <a:pt x="135" y="25"/>
                    <a:pt x="135" y="25"/>
                    <a:pt x="135" y="25"/>
                  </a:cubicBezTo>
                  <a:cubicBezTo>
                    <a:pt x="135" y="28"/>
                    <a:pt x="135" y="28"/>
                    <a:pt x="135" y="28"/>
                  </a:cubicBezTo>
                  <a:cubicBezTo>
                    <a:pt x="98" y="9"/>
                    <a:pt x="98" y="9"/>
                    <a:pt x="98" y="9"/>
                  </a:cubicBezTo>
                  <a:lnTo>
                    <a:pt x="98" y="5"/>
                  </a:lnTo>
                  <a:close/>
                  <a:moveTo>
                    <a:pt x="136" y="107"/>
                  </a:moveTo>
                  <a:cubicBezTo>
                    <a:pt x="96" y="127"/>
                    <a:pt x="96" y="127"/>
                    <a:pt x="96" y="127"/>
                  </a:cubicBezTo>
                  <a:cubicBezTo>
                    <a:pt x="96" y="119"/>
                    <a:pt x="96" y="119"/>
                    <a:pt x="96" y="119"/>
                  </a:cubicBezTo>
                  <a:cubicBezTo>
                    <a:pt x="136" y="101"/>
                    <a:pt x="136" y="101"/>
                    <a:pt x="136" y="101"/>
                  </a:cubicBezTo>
                  <a:lnTo>
                    <a:pt x="136" y="107"/>
                  </a:lnTo>
                  <a:close/>
                  <a:moveTo>
                    <a:pt x="136" y="95"/>
                  </a:moveTo>
                  <a:cubicBezTo>
                    <a:pt x="96" y="110"/>
                    <a:pt x="96" y="110"/>
                    <a:pt x="96" y="110"/>
                  </a:cubicBezTo>
                  <a:cubicBezTo>
                    <a:pt x="96" y="102"/>
                    <a:pt x="96" y="102"/>
                    <a:pt x="96" y="102"/>
                  </a:cubicBezTo>
                  <a:cubicBezTo>
                    <a:pt x="136" y="90"/>
                    <a:pt x="136" y="90"/>
                    <a:pt x="136" y="90"/>
                  </a:cubicBezTo>
                  <a:lnTo>
                    <a:pt x="136" y="95"/>
                  </a:lnTo>
                  <a:close/>
                  <a:moveTo>
                    <a:pt x="136" y="84"/>
                  </a:moveTo>
                  <a:cubicBezTo>
                    <a:pt x="96" y="93"/>
                    <a:pt x="96" y="93"/>
                    <a:pt x="96" y="93"/>
                  </a:cubicBezTo>
                  <a:cubicBezTo>
                    <a:pt x="96" y="85"/>
                    <a:pt x="96" y="85"/>
                    <a:pt x="96" y="85"/>
                  </a:cubicBezTo>
                  <a:cubicBezTo>
                    <a:pt x="136" y="79"/>
                    <a:pt x="136" y="79"/>
                    <a:pt x="136" y="79"/>
                  </a:cubicBezTo>
                  <a:lnTo>
                    <a:pt x="136" y="84"/>
                  </a:lnTo>
                  <a:close/>
                  <a:moveTo>
                    <a:pt x="136" y="73"/>
                  </a:moveTo>
                  <a:cubicBezTo>
                    <a:pt x="96" y="76"/>
                    <a:pt x="96" y="76"/>
                    <a:pt x="96" y="76"/>
                  </a:cubicBezTo>
                  <a:cubicBezTo>
                    <a:pt x="96" y="68"/>
                    <a:pt x="96" y="68"/>
                    <a:pt x="96" y="68"/>
                  </a:cubicBezTo>
                  <a:cubicBezTo>
                    <a:pt x="136" y="68"/>
                    <a:pt x="136" y="68"/>
                    <a:pt x="136" y="68"/>
                  </a:cubicBezTo>
                  <a:lnTo>
                    <a:pt x="136" y="73"/>
                  </a:lnTo>
                  <a:close/>
                  <a:moveTo>
                    <a:pt x="136" y="62"/>
                  </a:moveTo>
                  <a:cubicBezTo>
                    <a:pt x="96" y="59"/>
                    <a:pt x="96" y="59"/>
                    <a:pt x="96" y="59"/>
                  </a:cubicBezTo>
                  <a:cubicBezTo>
                    <a:pt x="96" y="51"/>
                    <a:pt x="96" y="51"/>
                    <a:pt x="96" y="51"/>
                  </a:cubicBezTo>
                  <a:cubicBezTo>
                    <a:pt x="136" y="57"/>
                    <a:pt x="136" y="57"/>
                    <a:pt x="136" y="57"/>
                  </a:cubicBezTo>
                  <a:lnTo>
                    <a:pt x="136" y="62"/>
                  </a:lnTo>
                  <a:close/>
                  <a:moveTo>
                    <a:pt x="136" y="51"/>
                  </a:moveTo>
                  <a:cubicBezTo>
                    <a:pt x="96" y="43"/>
                    <a:pt x="96" y="43"/>
                    <a:pt x="96" y="43"/>
                  </a:cubicBezTo>
                  <a:cubicBezTo>
                    <a:pt x="96" y="34"/>
                    <a:pt x="96" y="34"/>
                    <a:pt x="96" y="34"/>
                  </a:cubicBezTo>
                  <a:cubicBezTo>
                    <a:pt x="136" y="46"/>
                    <a:pt x="136" y="46"/>
                    <a:pt x="136" y="46"/>
                  </a:cubicBezTo>
                  <a:lnTo>
                    <a:pt x="136" y="51"/>
                  </a:lnTo>
                  <a:close/>
                  <a:moveTo>
                    <a:pt x="136" y="40"/>
                  </a:moveTo>
                  <a:cubicBezTo>
                    <a:pt x="96" y="25"/>
                    <a:pt x="96" y="25"/>
                    <a:pt x="96" y="25"/>
                  </a:cubicBezTo>
                  <a:cubicBezTo>
                    <a:pt x="96" y="17"/>
                    <a:pt x="96" y="17"/>
                    <a:pt x="96" y="17"/>
                  </a:cubicBezTo>
                  <a:cubicBezTo>
                    <a:pt x="136" y="34"/>
                    <a:pt x="136" y="34"/>
                    <a:pt x="136" y="34"/>
                  </a:cubicBezTo>
                  <a:lnTo>
                    <a:pt x="136" y="40"/>
                  </a:lnTo>
                  <a:close/>
                  <a:moveTo>
                    <a:pt x="33" y="62"/>
                  </a:moveTo>
                  <a:cubicBezTo>
                    <a:pt x="15" y="62"/>
                    <a:pt x="0" y="77"/>
                    <a:pt x="0" y="95"/>
                  </a:cubicBezTo>
                  <a:cubicBezTo>
                    <a:pt x="0" y="113"/>
                    <a:pt x="15" y="128"/>
                    <a:pt x="33" y="128"/>
                  </a:cubicBezTo>
                  <a:cubicBezTo>
                    <a:pt x="52" y="128"/>
                    <a:pt x="66" y="113"/>
                    <a:pt x="66" y="95"/>
                  </a:cubicBezTo>
                  <a:cubicBezTo>
                    <a:pt x="66" y="77"/>
                    <a:pt x="52" y="62"/>
                    <a:pt x="33" y="62"/>
                  </a:cubicBezTo>
                  <a:close/>
                  <a:moveTo>
                    <a:pt x="30" y="112"/>
                  </a:moveTo>
                  <a:cubicBezTo>
                    <a:pt x="30" y="112"/>
                    <a:pt x="30" y="112"/>
                    <a:pt x="15" y="98"/>
                  </a:cubicBezTo>
                  <a:cubicBezTo>
                    <a:pt x="15" y="98"/>
                    <a:pt x="15" y="98"/>
                    <a:pt x="20" y="92"/>
                  </a:cubicBezTo>
                  <a:cubicBezTo>
                    <a:pt x="20" y="92"/>
                    <a:pt x="26" y="98"/>
                    <a:pt x="30" y="100"/>
                  </a:cubicBezTo>
                  <a:cubicBezTo>
                    <a:pt x="38" y="92"/>
                    <a:pt x="49" y="81"/>
                    <a:pt x="49" y="81"/>
                  </a:cubicBezTo>
                  <a:cubicBezTo>
                    <a:pt x="55" y="87"/>
                    <a:pt x="55" y="87"/>
                    <a:pt x="55" y="87"/>
                  </a:cubicBezTo>
                  <a:cubicBezTo>
                    <a:pt x="55" y="87"/>
                    <a:pt x="55" y="87"/>
                    <a:pt x="30" y="11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88" name="Freeform 205"/>
            <p:cNvSpPr>
              <a:spLocks noChangeAspect="1" noEditPoints="1"/>
            </p:cNvSpPr>
            <p:nvPr/>
          </p:nvSpPr>
          <p:spPr bwMode="auto">
            <a:xfrm>
              <a:off x="3881030" y="4883883"/>
              <a:ext cx="304332" cy="301406"/>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19" name="Group 18"/>
          <p:cNvGrpSpPr/>
          <p:nvPr/>
        </p:nvGrpSpPr>
        <p:grpSpPr>
          <a:xfrm>
            <a:off x="7030629" y="3825558"/>
            <a:ext cx="1622529" cy="2216175"/>
            <a:chOff x="7171607" y="3901772"/>
            <a:chExt cx="1655064" cy="2260614"/>
          </a:xfrm>
        </p:grpSpPr>
        <p:sp>
          <p:nvSpPr>
            <p:cNvPr id="177" name="Rectangle 176"/>
            <p:cNvSpPr/>
            <p:nvPr/>
          </p:nvSpPr>
          <p:spPr bwMode="auto">
            <a:xfrm>
              <a:off x="7171607" y="3901772"/>
              <a:ext cx="1655064" cy="226061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322" name="Rectangle 321"/>
            <p:cNvSpPr/>
            <p:nvPr/>
          </p:nvSpPr>
          <p:spPr bwMode="auto">
            <a:xfrm>
              <a:off x="7701372" y="4689567"/>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Management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automation</a:t>
              </a:r>
            </a:p>
          </p:txBody>
        </p:sp>
        <p:sp>
          <p:nvSpPr>
            <p:cNvPr id="338" name="Freeform 6"/>
            <p:cNvSpPr>
              <a:spLocks noChangeAspect="1"/>
            </p:cNvSpPr>
            <p:nvPr/>
          </p:nvSpPr>
          <p:spPr bwMode="auto">
            <a:xfrm>
              <a:off x="7309549" y="4845550"/>
              <a:ext cx="364410" cy="364410"/>
            </a:xfrm>
            <a:custGeom>
              <a:avLst/>
              <a:gdLst>
                <a:gd name="T0" fmla="*/ 1652 w 2261"/>
                <a:gd name="T1" fmla="*/ 822 h 2261"/>
                <a:gd name="T2" fmla="*/ 1652 w 2261"/>
                <a:gd name="T3" fmla="*/ 1075 h 2261"/>
                <a:gd name="T4" fmla="*/ 1432 w 2261"/>
                <a:gd name="T5" fmla="*/ 1075 h 2261"/>
                <a:gd name="T6" fmla="*/ 1432 w 2261"/>
                <a:gd name="T7" fmla="*/ 822 h 2261"/>
                <a:gd name="T8" fmla="*/ 1172 w 2261"/>
                <a:gd name="T9" fmla="*/ 822 h 2261"/>
                <a:gd name="T10" fmla="*/ 1172 w 2261"/>
                <a:gd name="T11" fmla="*/ 602 h 2261"/>
                <a:gd name="T12" fmla="*/ 1432 w 2261"/>
                <a:gd name="T13" fmla="*/ 602 h 2261"/>
                <a:gd name="T14" fmla="*/ 1432 w 2261"/>
                <a:gd name="T15" fmla="*/ 0 h 2261"/>
                <a:gd name="T16" fmla="*/ 830 w 2261"/>
                <a:gd name="T17" fmla="*/ 0 h 2261"/>
                <a:gd name="T18" fmla="*/ 830 w 2261"/>
                <a:gd name="T19" fmla="*/ 602 h 2261"/>
                <a:gd name="T20" fmla="*/ 1082 w 2261"/>
                <a:gd name="T21" fmla="*/ 602 h 2261"/>
                <a:gd name="T22" fmla="*/ 1082 w 2261"/>
                <a:gd name="T23" fmla="*/ 822 h 2261"/>
                <a:gd name="T24" fmla="*/ 830 w 2261"/>
                <a:gd name="T25" fmla="*/ 822 h 2261"/>
                <a:gd name="T26" fmla="*/ 830 w 2261"/>
                <a:gd name="T27" fmla="*/ 1075 h 2261"/>
                <a:gd name="T28" fmla="*/ 603 w 2261"/>
                <a:gd name="T29" fmla="*/ 1075 h 2261"/>
                <a:gd name="T30" fmla="*/ 603 w 2261"/>
                <a:gd name="T31" fmla="*/ 822 h 2261"/>
                <a:gd name="T32" fmla="*/ 0 w 2261"/>
                <a:gd name="T33" fmla="*/ 822 h 2261"/>
                <a:gd name="T34" fmla="*/ 0 w 2261"/>
                <a:gd name="T35" fmla="*/ 1424 h 2261"/>
                <a:gd name="T36" fmla="*/ 253 w 2261"/>
                <a:gd name="T37" fmla="*/ 1424 h 2261"/>
                <a:gd name="T38" fmla="*/ 253 w 2261"/>
                <a:gd name="T39" fmla="*/ 1658 h 2261"/>
                <a:gd name="T40" fmla="*/ 0 w 2261"/>
                <a:gd name="T41" fmla="*/ 1658 h 2261"/>
                <a:gd name="T42" fmla="*/ 0 w 2261"/>
                <a:gd name="T43" fmla="*/ 2261 h 2261"/>
                <a:gd name="T44" fmla="*/ 603 w 2261"/>
                <a:gd name="T45" fmla="*/ 2261 h 2261"/>
                <a:gd name="T46" fmla="*/ 603 w 2261"/>
                <a:gd name="T47" fmla="*/ 1658 h 2261"/>
                <a:gd name="T48" fmla="*/ 350 w 2261"/>
                <a:gd name="T49" fmla="*/ 1658 h 2261"/>
                <a:gd name="T50" fmla="*/ 350 w 2261"/>
                <a:gd name="T51" fmla="*/ 1424 h 2261"/>
                <a:gd name="T52" fmla="*/ 603 w 2261"/>
                <a:gd name="T53" fmla="*/ 1424 h 2261"/>
                <a:gd name="T54" fmla="*/ 603 w 2261"/>
                <a:gd name="T55" fmla="*/ 1172 h 2261"/>
                <a:gd name="T56" fmla="*/ 830 w 2261"/>
                <a:gd name="T57" fmla="*/ 1172 h 2261"/>
                <a:gd name="T58" fmla="*/ 830 w 2261"/>
                <a:gd name="T59" fmla="*/ 1424 h 2261"/>
                <a:gd name="T60" fmla="*/ 1082 w 2261"/>
                <a:gd name="T61" fmla="*/ 1424 h 2261"/>
                <a:gd name="T62" fmla="*/ 1082 w 2261"/>
                <a:gd name="T63" fmla="*/ 1658 h 2261"/>
                <a:gd name="T64" fmla="*/ 830 w 2261"/>
                <a:gd name="T65" fmla="*/ 1658 h 2261"/>
                <a:gd name="T66" fmla="*/ 830 w 2261"/>
                <a:gd name="T67" fmla="*/ 2261 h 2261"/>
                <a:gd name="T68" fmla="*/ 1432 w 2261"/>
                <a:gd name="T69" fmla="*/ 2261 h 2261"/>
                <a:gd name="T70" fmla="*/ 1432 w 2261"/>
                <a:gd name="T71" fmla="*/ 1658 h 2261"/>
                <a:gd name="T72" fmla="*/ 1172 w 2261"/>
                <a:gd name="T73" fmla="*/ 1658 h 2261"/>
                <a:gd name="T74" fmla="*/ 1172 w 2261"/>
                <a:gd name="T75" fmla="*/ 1424 h 2261"/>
                <a:gd name="T76" fmla="*/ 1432 w 2261"/>
                <a:gd name="T77" fmla="*/ 1424 h 2261"/>
                <a:gd name="T78" fmla="*/ 1432 w 2261"/>
                <a:gd name="T79" fmla="*/ 1172 h 2261"/>
                <a:gd name="T80" fmla="*/ 1652 w 2261"/>
                <a:gd name="T81" fmla="*/ 1172 h 2261"/>
                <a:gd name="T82" fmla="*/ 1652 w 2261"/>
                <a:gd name="T83" fmla="*/ 1424 h 2261"/>
                <a:gd name="T84" fmla="*/ 2261 w 2261"/>
                <a:gd name="T85" fmla="*/ 1424 h 2261"/>
                <a:gd name="T86" fmla="*/ 2261 w 2261"/>
                <a:gd name="T87" fmla="*/ 822 h 2261"/>
                <a:gd name="T88" fmla="*/ 1652 w 2261"/>
                <a:gd name="T89" fmla="*/ 822 h 2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1" h="2261">
                  <a:moveTo>
                    <a:pt x="1652" y="822"/>
                  </a:moveTo>
                  <a:lnTo>
                    <a:pt x="1652" y="1075"/>
                  </a:lnTo>
                  <a:lnTo>
                    <a:pt x="1432" y="1075"/>
                  </a:lnTo>
                  <a:lnTo>
                    <a:pt x="1432" y="822"/>
                  </a:lnTo>
                  <a:lnTo>
                    <a:pt x="1172" y="822"/>
                  </a:lnTo>
                  <a:lnTo>
                    <a:pt x="1172" y="602"/>
                  </a:lnTo>
                  <a:lnTo>
                    <a:pt x="1432" y="602"/>
                  </a:lnTo>
                  <a:lnTo>
                    <a:pt x="1432" y="0"/>
                  </a:lnTo>
                  <a:lnTo>
                    <a:pt x="830" y="0"/>
                  </a:lnTo>
                  <a:lnTo>
                    <a:pt x="830" y="602"/>
                  </a:lnTo>
                  <a:lnTo>
                    <a:pt x="1082" y="602"/>
                  </a:lnTo>
                  <a:lnTo>
                    <a:pt x="1082" y="822"/>
                  </a:lnTo>
                  <a:lnTo>
                    <a:pt x="830" y="822"/>
                  </a:lnTo>
                  <a:lnTo>
                    <a:pt x="830" y="1075"/>
                  </a:lnTo>
                  <a:lnTo>
                    <a:pt x="603" y="1075"/>
                  </a:lnTo>
                  <a:lnTo>
                    <a:pt x="603" y="822"/>
                  </a:lnTo>
                  <a:lnTo>
                    <a:pt x="0" y="822"/>
                  </a:lnTo>
                  <a:lnTo>
                    <a:pt x="0" y="1424"/>
                  </a:lnTo>
                  <a:lnTo>
                    <a:pt x="253" y="1424"/>
                  </a:lnTo>
                  <a:lnTo>
                    <a:pt x="253" y="1658"/>
                  </a:lnTo>
                  <a:lnTo>
                    <a:pt x="0" y="1658"/>
                  </a:lnTo>
                  <a:lnTo>
                    <a:pt x="0" y="2261"/>
                  </a:lnTo>
                  <a:lnTo>
                    <a:pt x="603" y="2261"/>
                  </a:lnTo>
                  <a:lnTo>
                    <a:pt x="603" y="1658"/>
                  </a:lnTo>
                  <a:lnTo>
                    <a:pt x="350" y="1658"/>
                  </a:lnTo>
                  <a:lnTo>
                    <a:pt x="350" y="1424"/>
                  </a:lnTo>
                  <a:lnTo>
                    <a:pt x="603" y="1424"/>
                  </a:lnTo>
                  <a:lnTo>
                    <a:pt x="603" y="1172"/>
                  </a:lnTo>
                  <a:lnTo>
                    <a:pt x="830" y="1172"/>
                  </a:lnTo>
                  <a:lnTo>
                    <a:pt x="830" y="1424"/>
                  </a:lnTo>
                  <a:lnTo>
                    <a:pt x="1082" y="1424"/>
                  </a:lnTo>
                  <a:lnTo>
                    <a:pt x="1082" y="1658"/>
                  </a:lnTo>
                  <a:lnTo>
                    <a:pt x="830" y="1658"/>
                  </a:lnTo>
                  <a:lnTo>
                    <a:pt x="830" y="2261"/>
                  </a:lnTo>
                  <a:lnTo>
                    <a:pt x="1432" y="2261"/>
                  </a:lnTo>
                  <a:lnTo>
                    <a:pt x="1432" y="1658"/>
                  </a:lnTo>
                  <a:lnTo>
                    <a:pt x="1172" y="1658"/>
                  </a:lnTo>
                  <a:lnTo>
                    <a:pt x="1172" y="1424"/>
                  </a:lnTo>
                  <a:lnTo>
                    <a:pt x="1432" y="1424"/>
                  </a:lnTo>
                  <a:lnTo>
                    <a:pt x="1432" y="1172"/>
                  </a:lnTo>
                  <a:lnTo>
                    <a:pt x="1652" y="1172"/>
                  </a:lnTo>
                  <a:lnTo>
                    <a:pt x="1652" y="1424"/>
                  </a:lnTo>
                  <a:lnTo>
                    <a:pt x="2261" y="1424"/>
                  </a:lnTo>
                  <a:lnTo>
                    <a:pt x="2261" y="822"/>
                  </a:lnTo>
                  <a:lnTo>
                    <a:pt x="1652" y="822"/>
                  </a:lnTo>
                  <a:close/>
                </a:path>
              </a:pathLst>
            </a:custGeom>
            <a:solidFill>
              <a:schemeClr val="tx1"/>
            </a:solidFill>
            <a:ln>
              <a:noFill/>
            </a:ln>
            <a:extLst/>
          </p:spPr>
          <p:txBody>
            <a:bodyPr vert="horz" wrap="square" lIns="89642" tIns="44821" rIns="89642" bIns="44821" numCol="1" anchor="ctr" anchorCtr="0" compatLnSpc="1">
              <a:prstTxWarp prst="textNoShape">
                <a:avLst/>
              </a:prstTxWarp>
            </a:bodyPr>
            <a:lstStyle/>
            <a:p>
              <a:pPr defTabSz="914206"/>
              <a:endParaRPr lang="en-US" sz="1765">
                <a:solidFill>
                  <a:srgbClr val="505050"/>
                </a:solidFill>
              </a:endParaRPr>
            </a:p>
          </p:txBody>
        </p:sp>
        <p:sp>
          <p:nvSpPr>
            <p:cNvPr id="321" name="Rectangle 320"/>
            <p:cNvSpPr/>
            <p:nvPr/>
          </p:nvSpPr>
          <p:spPr bwMode="auto">
            <a:xfrm>
              <a:off x="7701373" y="3975465"/>
              <a:ext cx="1125298"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a:gradFill>
                    <a:gsLst>
                      <a:gs pos="17699">
                        <a:srgbClr val="505050"/>
                      </a:gs>
                      <a:gs pos="49000">
                        <a:srgbClr val="505050"/>
                      </a:gs>
                    </a:gsLst>
                    <a:lin ang="16200000" scaled="0"/>
                  </a:gradFill>
                  <a:ea typeface="Segoe UI" pitchFamily="34" charset="0"/>
                  <a:cs typeface="Segoe UI" pitchFamily="34" charset="0"/>
                </a:rPr>
                <a:t>Resiliency</a:t>
              </a:r>
              <a:endParaRPr lang="en-US" sz="1176" kern="0" dirty="0">
                <a:gradFill>
                  <a:gsLst>
                    <a:gs pos="17699">
                      <a:srgbClr val="505050"/>
                    </a:gs>
                    <a:gs pos="49000">
                      <a:srgbClr val="505050"/>
                    </a:gs>
                  </a:gsLst>
                  <a:lin ang="16200000" scaled="0"/>
                </a:gradFill>
                <a:ea typeface="Segoe UI" pitchFamily="34" charset="0"/>
                <a:cs typeface="Segoe UI" pitchFamily="34" charset="0"/>
              </a:endParaRPr>
            </a:p>
          </p:txBody>
        </p:sp>
        <p:sp>
          <p:nvSpPr>
            <p:cNvPr id="100" name="Freeform 94"/>
            <p:cNvSpPr>
              <a:spLocks noChangeAspect="1"/>
            </p:cNvSpPr>
            <p:nvPr/>
          </p:nvSpPr>
          <p:spPr bwMode="auto">
            <a:xfrm>
              <a:off x="7277990" y="4184179"/>
              <a:ext cx="419238" cy="263580"/>
            </a:xfrm>
            <a:custGeom>
              <a:avLst/>
              <a:gdLst>
                <a:gd name="T0" fmla="*/ 870 w 870"/>
                <a:gd name="T1" fmla="*/ 235 h 547"/>
                <a:gd name="T2" fmla="*/ 635 w 870"/>
                <a:gd name="T3" fmla="*/ 70 h 547"/>
                <a:gd name="T4" fmla="*/ 635 w 870"/>
                <a:gd name="T5" fmla="*/ 187 h 547"/>
                <a:gd name="T6" fmla="*/ 467 w 870"/>
                <a:gd name="T7" fmla="*/ 357 h 547"/>
                <a:gd name="T8" fmla="*/ 467 w 870"/>
                <a:gd name="T9" fmla="*/ 357 h 547"/>
                <a:gd name="T10" fmla="*/ 460 w 870"/>
                <a:gd name="T11" fmla="*/ 431 h 547"/>
                <a:gd name="T12" fmla="*/ 443 w 870"/>
                <a:gd name="T13" fmla="*/ 454 h 547"/>
                <a:gd name="T14" fmla="*/ 434 w 870"/>
                <a:gd name="T15" fmla="*/ 451 h 547"/>
                <a:gd name="T16" fmla="*/ 418 w 870"/>
                <a:gd name="T17" fmla="*/ 358 h 547"/>
                <a:gd name="T18" fmla="*/ 418 w 870"/>
                <a:gd name="T19" fmla="*/ 357 h 547"/>
                <a:gd name="T20" fmla="*/ 417 w 870"/>
                <a:gd name="T21" fmla="*/ 192 h 547"/>
                <a:gd name="T22" fmla="*/ 417 w 870"/>
                <a:gd name="T23" fmla="*/ 190 h 547"/>
                <a:gd name="T24" fmla="*/ 405 w 870"/>
                <a:gd name="T25" fmla="*/ 90 h 547"/>
                <a:gd name="T26" fmla="*/ 299 w 870"/>
                <a:gd name="T27" fmla="*/ 0 h 547"/>
                <a:gd name="T28" fmla="*/ 191 w 870"/>
                <a:gd name="T29" fmla="*/ 93 h 547"/>
                <a:gd name="T30" fmla="*/ 180 w 870"/>
                <a:gd name="T31" fmla="*/ 191 h 547"/>
                <a:gd name="T32" fmla="*/ 180 w 870"/>
                <a:gd name="T33" fmla="*/ 193 h 547"/>
                <a:gd name="T34" fmla="*/ 171 w 870"/>
                <a:gd name="T35" fmla="*/ 245 h 547"/>
                <a:gd name="T36" fmla="*/ 97 w 870"/>
                <a:gd name="T37" fmla="*/ 267 h 547"/>
                <a:gd name="T38" fmla="*/ 1 w 870"/>
                <a:gd name="T39" fmla="*/ 267 h 547"/>
                <a:gd name="T40" fmla="*/ 0 w 870"/>
                <a:gd name="T41" fmla="*/ 361 h 547"/>
                <a:gd name="T42" fmla="*/ 98 w 870"/>
                <a:gd name="T43" fmla="*/ 361 h 547"/>
                <a:gd name="T44" fmla="*/ 249 w 870"/>
                <a:gd name="T45" fmla="*/ 297 h 547"/>
                <a:gd name="T46" fmla="*/ 274 w 870"/>
                <a:gd name="T47" fmla="*/ 193 h 547"/>
                <a:gd name="T48" fmla="*/ 274 w 870"/>
                <a:gd name="T49" fmla="*/ 191 h 547"/>
                <a:gd name="T50" fmla="*/ 281 w 870"/>
                <a:gd name="T51" fmla="*/ 119 h 547"/>
                <a:gd name="T52" fmla="*/ 299 w 870"/>
                <a:gd name="T53" fmla="*/ 94 h 547"/>
                <a:gd name="T54" fmla="*/ 316 w 870"/>
                <a:gd name="T55" fmla="*/ 116 h 547"/>
                <a:gd name="T56" fmla="*/ 323 w 870"/>
                <a:gd name="T57" fmla="*/ 191 h 547"/>
                <a:gd name="T58" fmla="*/ 324 w 870"/>
                <a:gd name="T59" fmla="*/ 356 h 547"/>
                <a:gd name="T60" fmla="*/ 366 w 870"/>
                <a:gd name="T61" fmla="*/ 516 h 547"/>
                <a:gd name="T62" fmla="*/ 443 w 870"/>
                <a:gd name="T63" fmla="*/ 547 h 547"/>
                <a:gd name="T64" fmla="*/ 550 w 870"/>
                <a:gd name="T65" fmla="*/ 457 h 547"/>
                <a:gd name="T66" fmla="*/ 560 w 870"/>
                <a:gd name="T67" fmla="*/ 357 h 547"/>
                <a:gd name="T68" fmla="*/ 560 w 870"/>
                <a:gd name="T69" fmla="*/ 357 h 547"/>
                <a:gd name="T70" fmla="*/ 577 w 870"/>
                <a:gd name="T71" fmla="*/ 289 h 547"/>
                <a:gd name="T72" fmla="*/ 635 w 870"/>
                <a:gd name="T73" fmla="*/ 281 h 547"/>
                <a:gd name="T74" fmla="*/ 635 w 870"/>
                <a:gd name="T75" fmla="*/ 395 h 547"/>
                <a:gd name="T76" fmla="*/ 870 w 870"/>
                <a:gd name="T77" fmla="*/ 235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547">
                  <a:moveTo>
                    <a:pt x="870" y="235"/>
                  </a:moveTo>
                  <a:cubicBezTo>
                    <a:pt x="635" y="70"/>
                    <a:pt x="635" y="70"/>
                    <a:pt x="635" y="70"/>
                  </a:cubicBezTo>
                  <a:cubicBezTo>
                    <a:pt x="635" y="187"/>
                    <a:pt x="635" y="187"/>
                    <a:pt x="635" y="187"/>
                  </a:cubicBezTo>
                  <a:cubicBezTo>
                    <a:pt x="564" y="187"/>
                    <a:pt x="467" y="195"/>
                    <a:pt x="467" y="357"/>
                  </a:cubicBezTo>
                  <a:cubicBezTo>
                    <a:pt x="467" y="357"/>
                    <a:pt x="467" y="357"/>
                    <a:pt x="467" y="357"/>
                  </a:cubicBezTo>
                  <a:cubicBezTo>
                    <a:pt x="467" y="374"/>
                    <a:pt x="467" y="407"/>
                    <a:pt x="460" y="431"/>
                  </a:cubicBezTo>
                  <a:cubicBezTo>
                    <a:pt x="453" y="454"/>
                    <a:pt x="447" y="454"/>
                    <a:pt x="443" y="454"/>
                  </a:cubicBezTo>
                  <a:cubicBezTo>
                    <a:pt x="437" y="454"/>
                    <a:pt x="435" y="452"/>
                    <a:pt x="434" y="451"/>
                  </a:cubicBezTo>
                  <a:cubicBezTo>
                    <a:pt x="429" y="446"/>
                    <a:pt x="415" y="426"/>
                    <a:pt x="418" y="358"/>
                  </a:cubicBezTo>
                  <a:cubicBezTo>
                    <a:pt x="418" y="357"/>
                    <a:pt x="418" y="357"/>
                    <a:pt x="418" y="357"/>
                  </a:cubicBezTo>
                  <a:cubicBezTo>
                    <a:pt x="417" y="192"/>
                    <a:pt x="417" y="192"/>
                    <a:pt x="417" y="192"/>
                  </a:cubicBezTo>
                  <a:cubicBezTo>
                    <a:pt x="417" y="190"/>
                    <a:pt x="417" y="190"/>
                    <a:pt x="417" y="190"/>
                  </a:cubicBezTo>
                  <a:cubicBezTo>
                    <a:pt x="417" y="168"/>
                    <a:pt x="416" y="127"/>
                    <a:pt x="405" y="90"/>
                  </a:cubicBezTo>
                  <a:cubicBezTo>
                    <a:pt x="382" y="9"/>
                    <a:pt x="323" y="0"/>
                    <a:pt x="299" y="0"/>
                  </a:cubicBezTo>
                  <a:cubicBezTo>
                    <a:pt x="274" y="0"/>
                    <a:pt x="215" y="9"/>
                    <a:pt x="191" y="93"/>
                  </a:cubicBezTo>
                  <a:cubicBezTo>
                    <a:pt x="180" y="131"/>
                    <a:pt x="180" y="172"/>
                    <a:pt x="180" y="191"/>
                  </a:cubicBezTo>
                  <a:cubicBezTo>
                    <a:pt x="180" y="193"/>
                    <a:pt x="180" y="193"/>
                    <a:pt x="180" y="193"/>
                  </a:cubicBezTo>
                  <a:cubicBezTo>
                    <a:pt x="180" y="210"/>
                    <a:pt x="180" y="232"/>
                    <a:pt x="171" y="245"/>
                  </a:cubicBezTo>
                  <a:cubicBezTo>
                    <a:pt x="159" y="263"/>
                    <a:pt x="124" y="267"/>
                    <a:pt x="97" y="267"/>
                  </a:cubicBezTo>
                  <a:cubicBezTo>
                    <a:pt x="46" y="267"/>
                    <a:pt x="1" y="267"/>
                    <a:pt x="1" y="267"/>
                  </a:cubicBezTo>
                  <a:cubicBezTo>
                    <a:pt x="0" y="361"/>
                    <a:pt x="0" y="361"/>
                    <a:pt x="0" y="361"/>
                  </a:cubicBezTo>
                  <a:cubicBezTo>
                    <a:pt x="1" y="361"/>
                    <a:pt x="46" y="361"/>
                    <a:pt x="98" y="361"/>
                  </a:cubicBezTo>
                  <a:cubicBezTo>
                    <a:pt x="170" y="360"/>
                    <a:pt x="221" y="339"/>
                    <a:pt x="249" y="297"/>
                  </a:cubicBezTo>
                  <a:cubicBezTo>
                    <a:pt x="274" y="260"/>
                    <a:pt x="274" y="218"/>
                    <a:pt x="274" y="193"/>
                  </a:cubicBezTo>
                  <a:cubicBezTo>
                    <a:pt x="274" y="191"/>
                    <a:pt x="274" y="191"/>
                    <a:pt x="274" y="191"/>
                  </a:cubicBezTo>
                  <a:cubicBezTo>
                    <a:pt x="274" y="176"/>
                    <a:pt x="274" y="144"/>
                    <a:pt x="281" y="119"/>
                  </a:cubicBezTo>
                  <a:cubicBezTo>
                    <a:pt x="288" y="94"/>
                    <a:pt x="295" y="94"/>
                    <a:pt x="299" y="94"/>
                  </a:cubicBezTo>
                  <a:cubicBezTo>
                    <a:pt x="302" y="94"/>
                    <a:pt x="309" y="94"/>
                    <a:pt x="316" y="116"/>
                  </a:cubicBezTo>
                  <a:cubicBezTo>
                    <a:pt x="323" y="141"/>
                    <a:pt x="323" y="172"/>
                    <a:pt x="323" y="191"/>
                  </a:cubicBezTo>
                  <a:cubicBezTo>
                    <a:pt x="324" y="356"/>
                    <a:pt x="324" y="356"/>
                    <a:pt x="324" y="356"/>
                  </a:cubicBezTo>
                  <a:cubicBezTo>
                    <a:pt x="322" y="432"/>
                    <a:pt x="336" y="484"/>
                    <a:pt x="366" y="516"/>
                  </a:cubicBezTo>
                  <a:cubicBezTo>
                    <a:pt x="387" y="537"/>
                    <a:pt x="413" y="547"/>
                    <a:pt x="443" y="547"/>
                  </a:cubicBezTo>
                  <a:cubicBezTo>
                    <a:pt x="467" y="547"/>
                    <a:pt x="526" y="539"/>
                    <a:pt x="550" y="457"/>
                  </a:cubicBezTo>
                  <a:cubicBezTo>
                    <a:pt x="560" y="420"/>
                    <a:pt x="560" y="379"/>
                    <a:pt x="560" y="357"/>
                  </a:cubicBezTo>
                  <a:cubicBezTo>
                    <a:pt x="560" y="357"/>
                    <a:pt x="560" y="357"/>
                    <a:pt x="560" y="357"/>
                  </a:cubicBezTo>
                  <a:cubicBezTo>
                    <a:pt x="560" y="336"/>
                    <a:pt x="562" y="299"/>
                    <a:pt x="577" y="289"/>
                  </a:cubicBezTo>
                  <a:cubicBezTo>
                    <a:pt x="588" y="282"/>
                    <a:pt x="612" y="281"/>
                    <a:pt x="635" y="281"/>
                  </a:cubicBezTo>
                  <a:cubicBezTo>
                    <a:pt x="635" y="395"/>
                    <a:pt x="635" y="395"/>
                    <a:pt x="635" y="395"/>
                  </a:cubicBezTo>
                  <a:lnTo>
                    <a:pt x="870" y="235"/>
                  </a:lnTo>
                  <a:close/>
                </a:path>
              </a:pathLst>
            </a:custGeom>
            <a:solidFill>
              <a:schemeClr val="tx1"/>
            </a:solidFill>
            <a:ln>
              <a:noFill/>
            </a:ln>
            <a:extLst/>
          </p:spPr>
          <p:txBody>
            <a:bodyPr vert="horz" wrap="square" lIns="89642" tIns="44821" rIns="89642" bIns="44821" numCol="1" anchor="ctr" anchorCtr="0" compatLnSpc="1">
              <a:prstTxWarp prst="textNoShape">
                <a:avLst/>
              </a:prstTxWarp>
            </a:bodyPr>
            <a:lstStyle/>
            <a:p>
              <a:pPr defTabSz="908762"/>
              <a:endParaRPr lang="en-US" sz="1765" dirty="0">
                <a:solidFill>
                  <a:srgbClr val="505050"/>
                </a:solidFill>
              </a:endParaRPr>
            </a:p>
          </p:txBody>
        </p:sp>
        <p:sp>
          <p:nvSpPr>
            <p:cNvPr id="323" name="Rectangle 322"/>
            <p:cNvSpPr/>
            <p:nvPr/>
          </p:nvSpPr>
          <p:spPr bwMode="auto">
            <a:xfrm>
              <a:off x="7701372" y="5439765"/>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Fabric</a:t>
              </a:r>
            </a:p>
          </p:txBody>
        </p:sp>
        <p:sp>
          <p:nvSpPr>
            <p:cNvPr id="140" name="Freeform 59"/>
            <p:cNvSpPr>
              <a:spLocks noEditPoints="1"/>
            </p:cNvSpPr>
            <p:nvPr/>
          </p:nvSpPr>
          <p:spPr bwMode="auto">
            <a:xfrm>
              <a:off x="7263476" y="5585424"/>
              <a:ext cx="405010" cy="393498"/>
            </a:xfrm>
            <a:custGeom>
              <a:avLst/>
              <a:gdLst>
                <a:gd name="T0" fmla="*/ 102 w 161"/>
                <a:gd name="T1" fmla="*/ 146 h 156"/>
                <a:gd name="T2" fmla="*/ 0 w 161"/>
                <a:gd name="T3" fmla="*/ 134 h 156"/>
                <a:gd name="T4" fmla="*/ 83 w 161"/>
                <a:gd name="T5" fmla="*/ 111 h 156"/>
                <a:gd name="T6" fmla="*/ 104 w 161"/>
                <a:gd name="T7" fmla="*/ 128 h 156"/>
                <a:gd name="T8" fmla="*/ 75 w 161"/>
                <a:gd name="T9" fmla="*/ 129 h 156"/>
                <a:gd name="T10" fmla="*/ 115 w 161"/>
                <a:gd name="T11" fmla="*/ 129 h 156"/>
                <a:gd name="T12" fmla="*/ 159 w 161"/>
                <a:gd name="T13" fmla="*/ 110 h 156"/>
                <a:gd name="T14" fmla="*/ 72 w 161"/>
                <a:gd name="T15" fmla="*/ 39 h 156"/>
                <a:gd name="T16" fmla="*/ 82 w 161"/>
                <a:gd name="T17" fmla="*/ 29 h 156"/>
                <a:gd name="T18" fmla="*/ 95 w 161"/>
                <a:gd name="T19" fmla="*/ 30 h 156"/>
                <a:gd name="T20" fmla="*/ 99 w 161"/>
                <a:gd name="T21" fmla="*/ 24 h 156"/>
                <a:gd name="T22" fmla="*/ 115 w 161"/>
                <a:gd name="T23" fmla="*/ 29 h 156"/>
                <a:gd name="T24" fmla="*/ 121 w 161"/>
                <a:gd name="T25" fmla="*/ 32 h 156"/>
                <a:gd name="T26" fmla="*/ 138 w 161"/>
                <a:gd name="T27" fmla="*/ 38 h 156"/>
                <a:gd name="T28" fmla="*/ 135 w 161"/>
                <a:gd name="T29" fmla="*/ 47 h 156"/>
                <a:gd name="T30" fmla="*/ 144 w 161"/>
                <a:gd name="T31" fmla="*/ 55 h 156"/>
                <a:gd name="T32" fmla="*/ 144 w 161"/>
                <a:gd name="T33" fmla="*/ 69 h 156"/>
                <a:gd name="T34" fmla="*/ 135 w 161"/>
                <a:gd name="T35" fmla="*/ 77 h 156"/>
                <a:gd name="T36" fmla="*/ 138 w 161"/>
                <a:gd name="T37" fmla="*/ 85 h 156"/>
                <a:gd name="T38" fmla="*/ 122 w 161"/>
                <a:gd name="T39" fmla="*/ 92 h 156"/>
                <a:gd name="T40" fmla="*/ 115 w 161"/>
                <a:gd name="T41" fmla="*/ 95 h 156"/>
                <a:gd name="T42" fmla="*/ 99 w 161"/>
                <a:gd name="T43" fmla="*/ 103 h 156"/>
                <a:gd name="T44" fmla="*/ 95 w 161"/>
                <a:gd name="T45" fmla="*/ 93 h 156"/>
                <a:gd name="T46" fmla="*/ 82 w 161"/>
                <a:gd name="T47" fmla="*/ 94 h 156"/>
                <a:gd name="T48" fmla="*/ 72 w 161"/>
                <a:gd name="T49" fmla="*/ 84 h 156"/>
                <a:gd name="T50" fmla="*/ 73 w 161"/>
                <a:gd name="T51" fmla="*/ 72 h 156"/>
                <a:gd name="T52" fmla="*/ 65 w 161"/>
                <a:gd name="T53" fmla="*/ 68 h 156"/>
                <a:gd name="T54" fmla="*/ 72 w 161"/>
                <a:gd name="T55" fmla="*/ 52 h 156"/>
                <a:gd name="T56" fmla="*/ 75 w 161"/>
                <a:gd name="T57" fmla="*/ 45 h 156"/>
                <a:gd name="T58" fmla="*/ 105 w 161"/>
                <a:gd name="T59" fmla="*/ 83 h 156"/>
                <a:gd name="T60" fmla="*/ 85 w 161"/>
                <a:gd name="T61" fmla="*/ 63 h 156"/>
                <a:gd name="T62" fmla="*/ 105 w 161"/>
                <a:gd name="T63" fmla="*/ 56 h 156"/>
                <a:gd name="T64" fmla="*/ 16 w 161"/>
                <a:gd name="T65" fmla="*/ 31 h 156"/>
                <a:gd name="T66" fmla="*/ 21 w 161"/>
                <a:gd name="T67" fmla="*/ 20 h 156"/>
                <a:gd name="T68" fmla="*/ 23 w 161"/>
                <a:gd name="T69" fmla="*/ 15 h 156"/>
                <a:gd name="T70" fmla="*/ 27 w 161"/>
                <a:gd name="T71" fmla="*/ 3 h 156"/>
                <a:gd name="T72" fmla="*/ 34 w 161"/>
                <a:gd name="T73" fmla="*/ 5 h 156"/>
                <a:gd name="T74" fmla="*/ 39 w 161"/>
                <a:gd name="T75" fmla="*/ 0 h 156"/>
                <a:gd name="T76" fmla="*/ 49 w 161"/>
                <a:gd name="T77" fmla="*/ 0 h 156"/>
                <a:gd name="T78" fmla="*/ 55 w 161"/>
                <a:gd name="T79" fmla="*/ 5 h 156"/>
                <a:gd name="T80" fmla="*/ 61 w 161"/>
                <a:gd name="T81" fmla="*/ 3 h 156"/>
                <a:gd name="T82" fmla="*/ 65 w 161"/>
                <a:gd name="T83" fmla="*/ 15 h 156"/>
                <a:gd name="T84" fmla="*/ 67 w 161"/>
                <a:gd name="T85" fmla="*/ 20 h 156"/>
                <a:gd name="T86" fmla="*/ 72 w 161"/>
                <a:gd name="T87" fmla="*/ 31 h 156"/>
                <a:gd name="T88" fmla="*/ 66 w 161"/>
                <a:gd name="T89" fmla="*/ 34 h 156"/>
                <a:gd name="T90" fmla="*/ 67 w 161"/>
                <a:gd name="T91" fmla="*/ 42 h 156"/>
                <a:gd name="T92" fmla="*/ 60 w 161"/>
                <a:gd name="T93" fmla="*/ 49 h 156"/>
                <a:gd name="T94" fmla="*/ 51 w 161"/>
                <a:gd name="T95" fmla="*/ 49 h 156"/>
                <a:gd name="T96" fmla="*/ 48 w 161"/>
                <a:gd name="T97" fmla="*/ 56 h 156"/>
                <a:gd name="T98" fmla="*/ 37 w 161"/>
                <a:gd name="T99" fmla="*/ 49 h 156"/>
                <a:gd name="T100" fmla="*/ 32 w 161"/>
                <a:gd name="T101" fmla="*/ 47 h 156"/>
                <a:gd name="T102" fmla="*/ 21 w 161"/>
                <a:gd name="T103" fmla="*/ 43 h 156"/>
                <a:gd name="T104" fmla="*/ 23 w 161"/>
                <a:gd name="T105" fmla="*/ 37 h 156"/>
                <a:gd name="T106" fmla="*/ 16 w 161"/>
                <a:gd name="T107" fmla="*/ 31 h 156"/>
                <a:gd name="T108" fmla="*/ 44 w 161"/>
                <a:gd name="T109" fmla="*/ 41 h 156"/>
                <a:gd name="T110" fmla="*/ 30 w 161"/>
                <a:gd name="T111" fmla="*/ 27 h 156"/>
                <a:gd name="T112" fmla="*/ 44 w 161"/>
                <a:gd name="T113" fmla="*/ 2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 h="156">
                  <a:moveTo>
                    <a:pt x="154" y="120"/>
                  </a:moveTo>
                  <a:cubicBezTo>
                    <a:pt x="154" y="120"/>
                    <a:pt x="133" y="129"/>
                    <a:pt x="108" y="145"/>
                  </a:cubicBezTo>
                  <a:cubicBezTo>
                    <a:pt x="108" y="145"/>
                    <a:pt x="105" y="146"/>
                    <a:pt x="102" y="146"/>
                  </a:cubicBezTo>
                  <a:cubicBezTo>
                    <a:pt x="85" y="144"/>
                    <a:pt x="67" y="144"/>
                    <a:pt x="66" y="144"/>
                  </a:cubicBezTo>
                  <a:cubicBezTo>
                    <a:pt x="55" y="145"/>
                    <a:pt x="42" y="146"/>
                    <a:pt x="31" y="156"/>
                  </a:cubicBezTo>
                  <a:cubicBezTo>
                    <a:pt x="31" y="156"/>
                    <a:pt x="4" y="150"/>
                    <a:pt x="0" y="134"/>
                  </a:cubicBezTo>
                  <a:cubicBezTo>
                    <a:pt x="0" y="134"/>
                    <a:pt x="32" y="125"/>
                    <a:pt x="49" y="111"/>
                  </a:cubicBezTo>
                  <a:cubicBezTo>
                    <a:pt x="55" y="106"/>
                    <a:pt x="61" y="107"/>
                    <a:pt x="63" y="107"/>
                  </a:cubicBezTo>
                  <a:cubicBezTo>
                    <a:pt x="67" y="108"/>
                    <a:pt x="73" y="110"/>
                    <a:pt x="83" y="111"/>
                  </a:cubicBezTo>
                  <a:cubicBezTo>
                    <a:pt x="88" y="112"/>
                    <a:pt x="95" y="113"/>
                    <a:pt x="101" y="113"/>
                  </a:cubicBezTo>
                  <a:cubicBezTo>
                    <a:pt x="111" y="114"/>
                    <a:pt x="115" y="116"/>
                    <a:pt x="114" y="121"/>
                  </a:cubicBezTo>
                  <a:cubicBezTo>
                    <a:pt x="114" y="123"/>
                    <a:pt x="113" y="129"/>
                    <a:pt x="104" y="128"/>
                  </a:cubicBezTo>
                  <a:cubicBezTo>
                    <a:pt x="103" y="128"/>
                    <a:pt x="99" y="128"/>
                    <a:pt x="96" y="128"/>
                  </a:cubicBezTo>
                  <a:cubicBezTo>
                    <a:pt x="93" y="127"/>
                    <a:pt x="89" y="127"/>
                    <a:pt x="82" y="128"/>
                  </a:cubicBezTo>
                  <a:cubicBezTo>
                    <a:pt x="78" y="128"/>
                    <a:pt x="75" y="129"/>
                    <a:pt x="75" y="129"/>
                  </a:cubicBezTo>
                  <a:cubicBezTo>
                    <a:pt x="75" y="129"/>
                    <a:pt x="79" y="130"/>
                    <a:pt x="81" y="130"/>
                  </a:cubicBezTo>
                  <a:cubicBezTo>
                    <a:pt x="87" y="131"/>
                    <a:pt x="94" y="132"/>
                    <a:pt x="100" y="132"/>
                  </a:cubicBezTo>
                  <a:cubicBezTo>
                    <a:pt x="107" y="132"/>
                    <a:pt x="112" y="131"/>
                    <a:pt x="115" y="129"/>
                  </a:cubicBezTo>
                  <a:cubicBezTo>
                    <a:pt x="120" y="124"/>
                    <a:pt x="118" y="119"/>
                    <a:pt x="118" y="117"/>
                  </a:cubicBezTo>
                  <a:cubicBezTo>
                    <a:pt x="118" y="117"/>
                    <a:pt x="146" y="109"/>
                    <a:pt x="148" y="108"/>
                  </a:cubicBezTo>
                  <a:cubicBezTo>
                    <a:pt x="152" y="108"/>
                    <a:pt x="157" y="108"/>
                    <a:pt x="159" y="110"/>
                  </a:cubicBezTo>
                  <a:cubicBezTo>
                    <a:pt x="159" y="110"/>
                    <a:pt x="160" y="111"/>
                    <a:pt x="160" y="114"/>
                  </a:cubicBezTo>
                  <a:cubicBezTo>
                    <a:pt x="161" y="116"/>
                    <a:pt x="159" y="118"/>
                    <a:pt x="154" y="120"/>
                  </a:cubicBezTo>
                  <a:close/>
                  <a:moveTo>
                    <a:pt x="72" y="39"/>
                  </a:moveTo>
                  <a:cubicBezTo>
                    <a:pt x="72" y="39"/>
                    <a:pt x="72" y="38"/>
                    <a:pt x="72" y="38"/>
                  </a:cubicBezTo>
                  <a:cubicBezTo>
                    <a:pt x="72" y="38"/>
                    <a:pt x="72" y="38"/>
                    <a:pt x="81" y="29"/>
                  </a:cubicBezTo>
                  <a:cubicBezTo>
                    <a:pt x="81" y="29"/>
                    <a:pt x="82" y="29"/>
                    <a:pt x="82" y="29"/>
                  </a:cubicBezTo>
                  <a:cubicBezTo>
                    <a:pt x="82" y="29"/>
                    <a:pt x="82" y="29"/>
                    <a:pt x="89" y="32"/>
                  </a:cubicBezTo>
                  <a:cubicBezTo>
                    <a:pt x="89" y="32"/>
                    <a:pt x="90" y="32"/>
                    <a:pt x="90" y="32"/>
                  </a:cubicBezTo>
                  <a:cubicBezTo>
                    <a:pt x="90" y="32"/>
                    <a:pt x="90" y="32"/>
                    <a:pt x="95" y="30"/>
                  </a:cubicBezTo>
                  <a:cubicBezTo>
                    <a:pt x="95" y="30"/>
                    <a:pt x="96" y="30"/>
                    <a:pt x="96" y="29"/>
                  </a:cubicBezTo>
                  <a:cubicBezTo>
                    <a:pt x="96" y="29"/>
                    <a:pt x="96" y="29"/>
                    <a:pt x="98" y="24"/>
                  </a:cubicBezTo>
                  <a:cubicBezTo>
                    <a:pt x="98" y="23"/>
                    <a:pt x="98" y="24"/>
                    <a:pt x="99" y="24"/>
                  </a:cubicBezTo>
                  <a:cubicBezTo>
                    <a:pt x="99" y="24"/>
                    <a:pt x="99" y="24"/>
                    <a:pt x="111" y="24"/>
                  </a:cubicBezTo>
                  <a:cubicBezTo>
                    <a:pt x="112" y="24"/>
                    <a:pt x="112" y="23"/>
                    <a:pt x="112" y="24"/>
                  </a:cubicBezTo>
                  <a:cubicBezTo>
                    <a:pt x="112" y="24"/>
                    <a:pt x="112" y="24"/>
                    <a:pt x="115" y="29"/>
                  </a:cubicBezTo>
                  <a:cubicBezTo>
                    <a:pt x="115" y="29"/>
                    <a:pt x="115" y="30"/>
                    <a:pt x="116" y="30"/>
                  </a:cubicBezTo>
                  <a:cubicBezTo>
                    <a:pt x="116" y="30"/>
                    <a:pt x="116" y="30"/>
                    <a:pt x="120" y="32"/>
                  </a:cubicBezTo>
                  <a:cubicBezTo>
                    <a:pt x="120" y="32"/>
                    <a:pt x="121" y="32"/>
                    <a:pt x="121" y="32"/>
                  </a:cubicBezTo>
                  <a:cubicBezTo>
                    <a:pt x="121" y="32"/>
                    <a:pt x="121" y="32"/>
                    <a:pt x="128" y="29"/>
                  </a:cubicBezTo>
                  <a:cubicBezTo>
                    <a:pt x="128" y="29"/>
                    <a:pt x="129" y="29"/>
                    <a:pt x="129" y="29"/>
                  </a:cubicBezTo>
                  <a:cubicBezTo>
                    <a:pt x="129" y="29"/>
                    <a:pt x="129" y="29"/>
                    <a:pt x="138" y="38"/>
                  </a:cubicBezTo>
                  <a:cubicBezTo>
                    <a:pt x="138" y="38"/>
                    <a:pt x="138" y="39"/>
                    <a:pt x="138" y="39"/>
                  </a:cubicBezTo>
                  <a:cubicBezTo>
                    <a:pt x="138" y="39"/>
                    <a:pt x="138" y="39"/>
                    <a:pt x="135" y="45"/>
                  </a:cubicBezTo>
                  <a:cubicBezTo>
                    <a:pt x="135" y="46"/>
                    <a:pt x="135" y="46"/>
                    <a:pt x="135" y="47"/>
                  </a:cubicBezTo>
                  <a:cubicBezTo>
                    <a:pt x="135" y="47"/>
                    <a:pt x="135" y="47"/>
                    <a:pt x="137" y="51"/>
                  </a:cubicBezTo>
                  <a:cubicBezTo>
                    <a:pt x="137" y="52"/>
                    <a:pt x="137" y="52"/>
                    <a:pt x="138" y="52"/>
                  </a:cubicBezTo>
                  <a:cubicBezTo>
                    <a:pt x="138" y="52"/>
                    <a:pt x="138" y="52"/>
                    <a:pt x="144" y="55"/>
                  </a:cubicBezTo>
                  <a:cubicBezTo>
                    <a:pt x="144" y="55"/>
                    <a:pt x="144" y="55"/>
                    <a:pt x="144" y="56"/>
                  </a:cubicBezTo>
                  <a:cubicBezTo>
                    <a:pt x="144" y="56"/>
                    <a:pt x="144" y="56"/>
                    <a:pt x="144" y="68"/>
                  </a:cubicBezTo>
                  <a:cubicBezTo>
                    <a:pt x="144" y="68"/>
                    <a:pt x="144" y="69"/>
                    <a:pt x="144" y="69"/>
                  </a:cubicBezTo>
                  <a:cubicBezTo>
                    <a:pt x="144" y="69"/>
                    <a:pt x="144" y="69"/>
                    <a:pt x="138" y="71"/>
                  </a:cubicBezTo>
                  <a:cubicBezTo>
                    <a:pt x="138" y="71"/>
                    <a:pt x="137" y="72"/>
                    <a:pt x="137" y="72"/>
                  </a:cubicBezTo>
                  <a:cubicBezTo>
                    <a:pt x="137" y="72"/>
                    <a:pt x="137" y="72"/>
                    <a:pt x="135" y="77"/>
                  </a:cubicBezTo>
                  <a:cubicBezTo>
                    <a:pt x="135" y="77"/>
                    <a:pt x="135" y="78"/>
                    <a:pt x="135" y="78"/>
                  </a:cubicBezTo>
                  <a:cubicBezTo>
                    <a:pt x="135" y="78"/>
                    <a:pt x="135" y="78"/>
                    <a:pt x="138" y="84"/>
                  </a:cubicBezTo>
                  <a:cubicBezTo>
                    <a:pt x="138" y="84"/>
                    <a:pt x="138" y="85"/>
                    <a:pt x="138" y="85"/>
                  </a:cubicBezTo>
                  <a:cubicBezTo>
                    <a:pt x="138" y="85"/>
                    <a:pt x="138" y="85"/>
                    <a:pt x="129" y="94"/>
                  </a:cubicBezTo>
                  <a:cubicBezTo>
                    <a:pt x="129" y="94"/>
                    <a:pt x="128" y="95"/>
                    <a:pt x="128" y="94"/>
                  </a:cubicBezTo>
                  <a:cubicBezTo>
                    <a:pt x="128" y="94"/>
                    <a:pt x="128" y="94"/>
                    <a:pt x="122" y="92"/>
                  </a:cubicBezTo>
                  <a:cubicBezTo>
                    <a:pt x="122" y="91"/>
                    <a:pt x="121" y="91"/>
                    <a:pt x="120" y="92"/>
                  </a:cubicBezTo>
                  <a:cubicBezTo>
                    <a:pt x="120" y="92"/>
                    <a:pt x="120" y="92"/>
                    <a:pt x="116" y="94"/>
                  </a:cubicBezTo>
                  <a:cubicBezTo>
                    <a:pt x="115" y="94"/>
                    <a:pt x="115" y="95"/>
                    <a:pt x="115" y="95"/>
                  </a:cubicBezTo>
                  <a:cubicBezTo>
                    <a:pt x="115" y="95"/>
                    <a:pt x="115" y="95"/>
                    <a:pt x="112" y="102"/>
                  </a:cubicBezTo>
                  <a:cubicBezTo>
                    <a:pt x="112" y="102"/>
                    <a:pt x="112" y="103"/>
                    <a:pt x="111" y="103"/>
                  </a:cubicBezTo>
                  <a:cubicBezTo>
                    <a:pt x="111" y="103"/>
                    <a:pt x="111" y="103"/>
                    <a:pt x="99" y="103"/>
                  </a:cubicBezTo>
                  <a:cubicBezTo>
                    <a:pt x="98" y="103"/>
                    <a:pt x="98" y="102"/>
                    <a:pt x="98" y="102"/>
                  </a:cubicBezTo>
                  <a:cubicBezTo>
                    <a:pt x="98" y="102"/>
                    <a:pt x="98" y="102"/>
                    <a:pt x="96" y="95"/>
                  </a:cubicBezTo>
                  <a:cubicBezTo>
                    <a:pt x="96" y="94"/>
                    <a:pt x="95" y="94"/>
                    <a:pt x="95" y="93"/>
                  </a:cubicBezTo>
                  <a:cubicBezTo>
                    <a:pt x="95" y="93"/>
                    <a:pt x="95" y="93"/>
                    <a:pt x="90" y="91"/>
                  </a:cubicBezTo>
                  <a:cubicBezTo>
                    <a:pt x="89" y="91"/>
                    <a:pt x="89" y="91"/>
                    <a:pt x="88" y="91"/>
                  </a:cubicBezTo>
                  <a:cubicBezTo>
                    <a:pt x="88" y="91"/>
                    <a:pt x="88" y="91"/>
                    <a:pt x="82" y="94"/>
                  </a:cubicBezTo>
                  <a:cubicBezTo>
                    <a:pt x="82" y="95"/>
                    <a:pt x="81" y="94"/>
                    <a:pt x="81" y="94"/>
                  </a:cubicBezTo>
                  <a:cubicBezTo>
                    <a:pt x="81" y="94"/>
                    <a:pt x="81" y="94"/>
                    <a:pt x="72" y="85"/>
                  </a:cubicBezTo>
                  <a:cubicBezTo>
                    <a:pt x="72" y="85"/>
                    <a:pt x="72" y="84"/>
                    <a:pt x="72" y="84"/>
                  </a:cubicBezTo>
                  <a:cubicBezTo>
                    <a:pt x="72" y="84"/>
                    <a:pt x="72" y="84"/>
                    <a:pt x="75" y="78"/>
                  </a:cubicBezTo>
                  <a:cubicBezTo>
                    <a:pt x="75" y="77"/>
                    <a:pt x="75" y="77"/>
                    <a:pt x="75" y="76"/>
                  </a:cubicBezTo>
                  <a:cubicBezTo>
                    <a:pt x="75" y="76"/>
                    <a:pt x="75" y="76"/>
                    <a:pt x="73" y="72"/>
                  </a:cubicBezTo>
                  <a:cubicBezTo>
                    <a:pt x="73" y="72"/>
                    <a:pt x="72" y="71"/>
                    <a:pt x="72" y="71"/>
                  </a:cubicBezTo>
                  <a:cubicBezTo>
                    <a:pt x="72" y="71"/>
                    <a:pt x="72" y="71"/>
                    <a:pt x="66" y="69"/>
                  </a:cubicBezTo>
                  <a:cubicBezTo>
                    <a:pt x="65" y="69"/>
                    <a:pt x="65" y="68"/>
                    <a:pt x="65" y="68"/>
                  </a:cubicBezTo>
                  <a:cubicBezTo>
                    <a:pt x="65" y="68"/>
                    <a:pt x="65" y="68"/>
                    <a:pt x="65" y="56"/>
                  </a:cubicBezTo>
                  <a:cubicBezTo>
                    <a:pt x="65" y="55"/>
                    <a:pt x="65" y="55"/>
                    <a:pt x="66" y="55"/>
                  </a:cubicBezTo>
                  <a:cubicBezTo>
                    <a:pt x="66" y="55"/>
                    <a:pt x="66" y="55"/>
                    <a:pt x="72" y="52"/>
                  </a:cubicBezTo>
                  <a:cubicBezTo>
                    <a:pt x="73" y="52"/>
                    <a:pt x="73" y="52"/>
                    <a:pt x="73" y="51"/>
                  </a:cubicBezTo>
                  <a:cubicBezTo>
                    <a:pt x="73" y="51"/>
                    <a:pt x="73" y="51"/>
                    <a:pt x="75" y="47"/>
                  </a:cubicBezTo>
                  <a:cubicBezTo>
                    <a:pt x="75" y="47"/>
                    <a:pt x="75" y="46"/>
                    <a:pt x="75" y="45"/>
                  </a:cubicBezTo>
                  <a:cubicBezTo>
                    <a:pt x="75" y="45"/>
                    <a:pt x="75" y="45"/>
                    <a:pt x="72" y="39"/>
                  </a:cubicBezTo>
                  <a:close/>
                  <a:moveTo>
                    <a:pt x="85" y="63"/>
                  </a:moveTo>
                  <a:cubicBezTo>
                    <a:pt x="85" y="74"/>
                    <a:pt x="94" y="83"/>
                    <a:pt x="105" y="83"/>
                  </a:cubicBezTo>
                  <a:cubicBezTo>
                    <a:pt x="116" y="83"/>
                    <a:pt x="125" y="74"/>
                    <a:pt x="125" y="63"/>
                  </a:cubicBezTo>
                  <a:cubicBezTo>
                    <a:pt x="125" y="52"/>
                    <a:pt x="116" y="43"/>
                    <a:pt x="105" y="43"/>
                  </a:cubicBezTo>
                  <a:cubicBezTo>
                    <a:pt x="94" y="43"/>
                    <a:pt x="85" y="52"/>
                    <a:pt x="85" y="63"/>
                  </a:cubicBezTo>
                  <a:close/>
                  <a:moveTo>
                    <a:pt x="105" y="70"/>
                  </a:moveTo>
                  <a:cubicBezTo>
                    <a:pt x="109" y="70"/>
                    <a:pt x="112" y="67"/>
                    <a:pt x="112" y="63"/>
                  </a:cubicBezTo>
                  <a:cubicBezTo>
                    <a:pt x="112" y="59"/>
                    <a:pt x="109" y="56"/>
                    <a:pt x="105" y="56"/>
                  </a:cubicBezTo>
                  <a:cubicBezTo>
                    <a:pt x="101" y="56"/>
                    <a:pt x="98" y="59"/>
                    <a:pt x="98" y="63"/>
                  </a:cubicBezTo>
                  <a:cubicBezTo>
                    <a:pt x="98" y="67"/>
                    <a:pt x="101" y="70"/>
                    <a:pt x="105" y="70"/>
                  </a:cubicBezTo>
                  <a:close/>
                  <a:moveTo>
                    <a:pt x="16" y="31"/>
                  </a:moveTo>
                  <a:cubicBezTo>
                    <a:pt x="16" y="31"/>
                    <a:pt x="16" y="31"/>
                    <a:pt x="16" y="22"/>
                  </a:cubicBezTo>
                  <a:cubicBezTo>
                    <a:pt x="16" y="22"/>
                    <a:pt x="16" y="21"/>
                    <a:pt x="16" y="21"/>
                  </a:cubicBezTo>
                  <a:cubicBezTo>
                    <a:pt x="16" y="21"/>
                    <a:pt x="16" y="21"/>
                    <a:pt x="21" y="20"/>
                  </a:cubicBezTo>
                  <a:cubicBezTo>
                    <a:pt x="21" y="20"/>
                    <a:pt x="22" y="19"/>
                    <a:pt x="22" y="19"/>
                  </a:cubicBezTo>
                  <a:cubicBezTo>
                    <a:pt x="22" y="19"/>
                    <a:pt x="22" y="19"/>
                    <a:pt x="23" y="16"/>
                  </a:cubicBezTo>
                  <a:cubicBezTo>
                    <a:pt x="23" y="16"/>
                    <a:pt x="23" y="15"/>
                    <a:pt x="23" y="15"/>
                  </a:cubicBezTo>
                  <a:cubicBezTo>
                    <a:pt x="23" y="15"/>
                    <a:pt x="23" y="15"/>
                    <a:pt x="21" y="10"/>
                  </a:cubicBezTo>
                  <a:cubicBezTo>
                    <a:pt x="21" y="10"/>
                    <a:pt x="21" y="10"/>
                    <a:pt x="21" y="9"/>
                  </a:cubicBezTo>
                  <a:cubicBezTo>
                    <a:pt x="21" y="9"/>
                    <a:pt x="21" y="9"/>
                    <a:pt x="27" y="3"/>
                  </a:cubicBezTo>
                  <a:cubicBezTo>
                    <a:pt x="27" y="3"/>
                    <a:pt x="28" y="3"/>
                    <a:pt x="28" y="3"/>
                  </a:cubicBezTo>
                  <a:cubicBezTo>
                    <a:pt x="28" y="3"/>
                    <a:pt x="28" y="3"/>
                    <a:pt x="33" y="5"/>
                  </a:cubicBezTo>
                  <a:cubicBezTo>
                    <a:pt x="33" y="6"/>
                    <a:pt x="33" y="6"/>
                    <a:pt x="34" y="5"/>
                  </a:cubicBezTo>
                  <a:cubicBezTo>
                    <a:pt x="34" y="5"/>
                    <a:pt x="34" y="5"/>
                    <a:pt x="37" y="4"/>
                  </a:cubicBezTo>
                  <a:cubicBezTo>
                    <a:pt x="37" y="4"/>
                    <a:pt x="37" y="4"/>
                    <a:pt x="37" y="4"/>
                  </a:cubicBezTo>
                  <a:cubicBezTo>
                    <a:pt x="37" y="4"/>
                    <a:pt x="37" y="4"/>
                    <a:pt x="39" y="0"/>
                  </a:cubicBezTo>
                  <a:cubicBezTo>
                    <a:pt x="39" y="0"/>
                    <a:pt x="40" y="0"/>
                    <a:pt x="40" y="0"/>
                  </a:cubicBezTo>
                  <a:cubicBezTo>
                    <a:pt x="40" y="0"/>
                    <a:pt x="40" y="0"/>
                    <a:pt x="48" y="0"/>
                  </a:cubicBezTo>
                  <a:cubicBezTo>
                    <a:pt x="49" y="0"/>
                    <a:pt x="49" y="0"/>
                    <a:pt x="49" y="0"/>
                  </a:cubicBezTo>
                  <a:cubicBezTo>
                    <a:pt x="49" y="0"/>
                    <a:pt x="49" y="0"/>
                    <a:pt x="51" y="3"/>
                  </a:cubicBezTo>
                  <a:cubicBezTo>
                    <a:pt x="51" y="4"/>
                    <a:pt x="51" y="4"/>
                    <a:pt x="51" y="4"/>
                  </a:cubicBezTo>
                  <a:cubicBezTo>
                    <a:pt x="51" y="4"/>
                    <a:pt x="51" y="4"/>
                    <a:pt x="55" y="5"/>
                  </a:cubicBezTo>
                  <a:cubicBezTo>
                    <a:pt x="55" y="5"/>
                    <a:pt x="55" y="5"/>
                    <a:pt x="55" y="5"/>
                  </a:cubicBezTo>
                  <a:cubicBezTo>
                    <a:pt x="55" y="5"/>
                    <a:pt x="55" y="5"/>
                    <a:pt x="60" y="3"/>
                  </a:cubicBezTo>
                  <a:cubicBezTo>
                    <a:pt x="60" y="3"/>
                    <a:pt x="61" y="3"/>
                    <a:pt x="61" y="3"/>
                  </a:cubicBezTo>
                  <a:cubicBezTo>
                    <a:pt x="61" y="3"/>
                    <a:pt x="61" y="3"/>
                    <a:pt x="67" y="9"/>
                  </a:cubicBezTo>
                  <a:cubicBezTo>
                    <a:pt x="67" y="10"/>
                    <a:pt x="67" y="10"/>
                    <a:pt x="67" y="10"/>
                  </a:cubicBezTo>
                  <a:cubicBezTo>
                    <a:pt x="67" y="10"/>
                    <a:pt x="67" y="10"/>
                    <a:pt x="65" y="15"/>
                  </a:cubicBezTo>
                  <a:cubicBezTo>
                    <a:pt x="65" y="15"/>
                    <a:pt x="65" y="15"/>
                    <a:pt x="65" y="16"/>
                  </a:cubicBezTo>
                  <a:cubicBezTo>
                    <a:pt x="65" y="16"/>
                    <a:pt x="65" y="16"/>
                    <a:pt x="66" y="19"/>
                  </a:cubicBezTo>
                  <a:cubicBezTo>
                    <a:pt x="66" y="19"/>
                    <a:pt x="67" y="20"/>
                    <a:pt x="67" y="20"/>
                  </a:cubicBezTo>
                  <a:cubicBezTo>
                    <a:pt x="67" y="20"/>
                    <a:pt x="67" y="20"/>
                    <a:pt x="71" y="21"/>
                  </a:cubicBezTo>
                  <a:cubicBezTo>
                    <a:pt x="72" y="21"/>
                    <a:pt x="72" y="22"/>
                    <a:pt x="72" y="22"/>
                  </a:cubicBezTo>
                  <a:cubicBezTo>
                    <a:pt x="72" y="22"/>
                    <a:pt x="72" y="22"/>
                    <a:pt x="72" y="31"/>
                  </a:cubicBezTo>
                  <a:cubicBezTo>
                    <a:pt x="72" y="31"/>
                    <a:pt x="72" y="31"/>
                    <a:pt x="71" y="31"/>
                  </a:cubicBezTo>
                  <a:cubicBezTo>
                    <a:pt x="71" y="31"/>
                    <a:pt x="71" y="31"/>
                    <a:pt x="67" y="33"/>
                  </a:cubicBezTo>
                  <a:cubicBezTo>
                    <a:pt x="67" y="33"/>
                    <a:pt x="66" y="33"/>
                    <a:pt x="66" y="34"/>
                  </a:cubicBezTo>
                  <a:cubicBezTo>
                    <a:pt x="66" y="34"/>
                    <a:pt x="66" y="34"/>
                    <a:pt x="65" y="37"/>
                  </a:cubicBezTo>
                  <a:cubicBezTo>
                    <a:pt x="65" y="37"/>
                    <a:pt x="65" y="37"/>
                    <a:pt x="65" y="38"/>
                  </a:cubicBezTo>
                  <a:cubicBezTo>
                    <a:pt x="65" y="38"/>
                    <a:pt x="65" y="38"/>
                    <a:pt x="67" y="42"/>
                  </a:cubicBezTo>
                  <a:cubicBezTo>
                    <a:pt x="67" y="42"/>
                    <a:pt x="67" y="43"/>
                    <a:pt x="67" y="43"/>
                  </a:cubicBezTo>
                  <a:cubicBezTo>
                    <a:pt x="67" y="43"/>
                    <a:pt x="67" y="43"/>
                    <a:pt x="61" y="49"/>
                  </a:cubicBezTo>
                  <a:cubicBezTo>
                    <a:pt x="61" y="49"/>
                    <a:pt x="60" y="49"/>
                    <a:pt x="60" y="49"/>
                  </a:cubicBezTo>
                  <a:cubicBezTo>
                    <a:pt x="60" y="49"/>
                    <a:pt x="60" y="49"/>
                    <a:pt x="56" y="47"/>
                  </a:cubicBezTo>
                  <a:cubicBezTo>
                    <a:pt x="55" y="47"/>
                    <a:pt x="55" y="47"/>
                    <a:pt x="55" y="47"/>
                  </a:cubicBezTo>
                  <a:cubicBezTo>
                    <a:pt x="55" y="47"/>
                    <a:pt x="55" y="47"/>
                    <a:pt x="51" y="49"/>
                  </a:cubicBezTo>
                  <a:cubicBezTo>
                    <a:pt x="51" y="49"/>
                    <a:pt x="51" y="49"/>
                    <a:pt x="51" y="50"/>
                  </a:cubicBezTo>
                  <a:cubicBezTo>
                    <a:pt x="51" y="50"/>
                    <a:pt x="51" y="50"/>
                    <a:pt x="49" y="54"/>
                  </a:cubicBezTo>
                  <a:cubicBezTo>
                    <a:pt x="49" y="55"/>
                    <a:pt x="49" y="56"/>
                    <a:pt x="48" y="56"/>
                  </a:cubicBezTo>
                  <a:cubicBezTo>
                    <a:pt x="48" y="56"/>
                    <a:pt x="48" y="56"/>
                    <a:pt x="40" y="56"/>
                  </a:cubicBezTo>
                  <a:cubicBezTo>
                    <a:pt x="40" y="56"/>
                    <a:pt x="39" y="55"/>
                    <a:pt x="39" y="54"/>
                  </a:cubicBezTo>
                  <a:cubicBezTo>
                    <a:pt x="39" y="54"/>
                    <a:pt x="39" y="54"/>
                    <a:pt x="37" y="49"/>
                  </a:cubicBezTo>
                  <a:cubicBezTo>
                    <a:pt x="37" y="49"/>
                    <a:pt x="37" y="49"/>
                    <a:pt x="37" y="49"/>
                  </a:cubicBezTo>
                  <a:cubicBezTo>
                    <a:pt x="37" y="49"/>
                    <a:pt x="37" y="49"/>
                    <a:pt x="33" y="47"/>
                  </a:cubicBezTo>
                  <a:cubicBezTo>
                    <a:pt x="33" y="47"/>
                    <a:pt x="33" y="47"/>
                    <a:pt x="32" y="47"/>
                  </a:cubicBezTo>
                  <a:cubicBezTo>
                    <a:pt x="32" y="47"/>
                    <a:pt x="32" y="47"/>
                    <a:pt x="28" y="49"/>
                  </a:cubicBezTo>
                  <a:cubicBezTo>
                    <a:pt x="28" y="49"/>
                    <a:pt x="27" y="49"/>
                    <a:pt x="27" y="49"/>
                  </a:cubicBezTo>
                  <a:cubicBezTo>
                    <a:pt x="27" y="49"/>
                    <a:pt x="27" y="49"/>
                    <a:pt x="21" y="43"/>
                  </a:cubicBezTo>
                  <a:cubicBezTo>
                    <a:pt x="21" y="43"/>
                    <a:pt x="21" y="42"/>
                    <a:pt x="21" y="42"/>
                  </a:cubicBezTo>
                  <a:cubicBezTo>
                    <a:pt x="21" y="42"/>
                    <a:pt x="21" y="42"/>
                    <a:pt x="23" y="38"/>
                  </a:cubicBezTo>
                  <a:cubicBezTo>
                    <a:pt x="23" y="37"/>
                    <a:pt x="23" y="37"/>
                    <a:pt x="23" y="37"/>
                  </a:cubicBezTo>
                  <a:cubicBezTo>
                    <a:pt x="23" y="37"/>
                    <a:pt x="23" y="37"/>
                    <a:pt x="22" y="34"/>
                  </a:cubicBezTo>
                  <a:cubicBezTo>
                    <a:pt x="22" y="33"/>
                    <a:pt x="21" y="33"/>
                    <a:pt x="21" y="33"/>
                  </a:cubicBezTo>
                  <a:cubicBezTo>
                    <a:pt x="21" y="33"/>
                    <a:pt x="21" y="33"/>
                    <a:pt x="16" y="31"/>
                  </a:cubicBezTo>
                  <a:cubicBezTo>
                    <a:pt x="16" y="31"/>
                    <a:pt x="16" y="31"/>
                    <a:pt x="16" y="31"/>
                  </a:cubicBezTo>
                  <a:close/>
                  <a:moveTo>
                    <a:pt x="30" y="27"/>
                  </a:moveTo>
                  <a:cubicBezTo>
                    <a:pt x="30" y="35"/>
                    <a:pt x="36" y="41"/>
                    <a:pt x="44" y="41"/>
                  </a:cubicBezTo>
                  <a:cubicBezTo>
                    <a:pt x="52" y="41"/>
                    <a:pt x="58" y="35"/>
                    <a:pt x="58" y="27"/>
                  </a:cubicBezTo>
                  <a:cubicBezTo>
                    <a:pt x="58" y="20"/>
                    <a:pt x="52" y="13"/>
                    <a:pt x="44" y="13"/>
                  </a:cubicBezTo>
                  <a:cubicBezTo>
                    <a:pt x="36" y="13"/>
                    <a:pt x="30" y="20"/>
                    <a:pt x="30" y="27"/>
                  </a:cubicBezTo>
                  <a:close/>
                  <a:moveTo>
                    <a:pt x="44" y="32"/>
                  </a:moveTo>
                  <a:cubicBezTo>
                    <a:pt x="47" y="32"/>
                    <a:pt x="49" y="30"/>
                    <a:pt x="49" y="27"/>
                  </a:cubicBezTo>
                  <a:cubicBezTo>
                    <a:pt x="49" y="25"/>
                    <a:pt x="47" y="22"/>
                    <a:pt x="44" y="22"/>
                  </a:cubicBezTo>
                  <a:cubicBezTo>
                    <a:pt x="41" y="22"/>
                    <a:pt x="39" y="25"/>
                    <a:pt x="39" y="27"/>
                  </a:cubicBezTo>
                  <a:cubicBezTo>
                    <a:pt x="39" y="30"/>
                    <a:pt x="41" y="32"/>
                    <a:pt x="44" y="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26" name="Group 25"/>
          <p:cNvGrpSpPr/>
          <p:nvPr/>
        </p:nvGrpSpPr>
        <p:grpSpPr>
          <a:xfrm>
            <a:off x="10411323" y="3825558"/>
            <a:ext cx="1633268" cy="2216175"/>
            <a:chOff x="10620091" y="3901772"/>
            <a:chExt cx="1666018" cy="2260614"/>
          </a:xfrm>
        </p:grpSpPr>
        <p:sp>
          <p:nvSpPr>
            <p:cNvPr id="92" name="Rectangle 91"/>
            <p:cNvSpPr/>
            <p:nvPr/>
          </p:nvSpPr>
          <p:spPr bwMode="auto">
            <a:xfrm>
              <a:off x="10620091" y="3901772"/>
              <a:ext cx="1655064" cy="226061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93" name="Rectangle 92"/>
            <p:cNvSpPr/>
            <p:nvPr/>
          </p:nvSpPr>
          <p:spPr bwMode="auto">
            <a:xfrm>
              <a:off x="11149857" y="3975465"/>
              <a:ext cx="1125298"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Scalability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and elasticity</a:t>
              </a:r>
            </a:p>
          </p:txBody>
        </p:sp>
        <p:sp>
          <p:nvSpPr>
            <p:cNvPr id="94" name="Freeform 5"/>
            <p:cNvSpPr>
              <a:spLocks noChangeAspect="1" noEditPoints="1"/>
            </p:cNvSpPr>
            <p:nvPr/>
          </p:nvSpPr>
          <p:spPr bwMode="auto">
            <a:xfrm>
              <a:off x="10723153" y="4189108"/>
              <a:ext cx="420703" cy="253723"/>
            </a:xfrm>
            <a:custGeom>
              <a:avLst/>
              <a:gdLst>
                <a:gd name="T0" fmla="*/ 40 w 161"/>
                <a:gd name="T1" fmla="*/ 9 h 96"/>
                <a:gd name="T2" fmla="*/ 81 w 161"/>
                <a:gd name="T3" fmla="*/ 12 h 96"/>
                <a:gd name="T4" fmla="*/ 121 w 161"/>
                <a:gd name="T5" fmla="*/ 9 h 96"/>
                <a:gd name="T6" fmla="*/ 121 w 161"/>
                <a:gd name="T7" fmla="*/ 87 h 96"/>
                <a:gd name="T8" fmla="*/ 81 w 161"/>
                <a:gd name="T9" fmla="*/ 84 h 96"/>
                <a:gd name="T10" fmla="*/ 40 w 161"/>
                <a:gd name="T11" fmla="*/ 87 h 96"/>
                <a:gd name="T12" fmla="*/ 40 w 161"/>
                <a:gd name="T13" fmla="*/ 9 h 96"/>
                <a:gd name="T14" fmla="*/ 40 w 161"/>
                <a:gd name="T15" fmla="*/ 9 h 96"/>
                <a:gd name="T16" fmla="*/ 142 w 161"/>
                <a:gd name="T17" fmla="*/ 91 h 96"/>
                <a:gd name="T18" fmla="*/ 142 w 161"/>
                <a:gd name="T19" fmla="*/ 5 h 96"/>
                <a:gd name="T20" fmla="*/ 130 w 161"/>
                <a:gd name="T21" fmla="*/ 7 h 96"/>
                <a:gd name="T22" fmla="*/ 130 w 161"/>
                <a:gd name="T23" fmla="*/ 88 h 96"/>
                <a:gd name="T24" fmla="*/ 142 w 161"/>
                <a:gd name="T25" fmla="*/ 91 h 96"/>
                <a:gd name="T26" fmla="*/ 11 w 161"/>
                <a:gd name="T27" fmla="*/ 3 h 96"/>
                <a:gd name="T28" fmla="*/ 0 w 161"/>
                <a:gd name="T29" fmla="*/ 0 h 96"/>
                <a:gd name="T30" fmla="*/ 0 w 161"/>
                <a:gd name="T31" fmla="*/ 96 h 96"/>
                <a:gd name="T32" fmla="*/ 11 w 161"/>
                <a:gd name="T33" fmla="*/ 93 h 96"/>
                <a:gd name="T34" fmla="*/ 11 w 161"/>
                <a:gd name="T35" fmla="*/ 3 h 96"/>
                <a:gd name="T36" fmla="*/ 11 w 161"/>
                <a:gd name="T37" fmla="*/ 3 h 96"/>
                <a:gd name="T38" fmla="*/ 31 w 161"/>
                <a:gd name="T39" fmla="*/ 88 h 96"/>
                <a:gd name="T40" fmla="*/ 31 w 161"/>
                <a:gd name="T41" fmla="*/ 7 h 96"/>
                <a:gd name="T42" fmla="*/ 20 w 161"/>
                <a:gd name="T43" fmla="*/ 5 h 96"/>
                <a:gd name="T44" fmla="*/ 20 w 161"/>
                <a:gd name="T45" fmla="*/ 91 h 96"/>
                <a:gd name="T46" fmla="*/ 31 w 161"/>
                <a:gd name="T47" fmla="*/ 88 h 96"/>
                <a:gd name="T48" fmla="*/ 151 w 161"/>
                <a:gd name="T49" fmla="*/ 3 h 96"/>
                <a:gd name="T50" fmla="*/ 151 w 161"/>
                <a:gd name="T51" fmla="*/ 93 h 96"/>
                <a:gd name="T52" fmla="*/ 161 w 161"/>
                <a:gd name="T53" fmla="*/ 96 h 96"/>
                <a:gd name="T54" fmla="*/ 161 w 161"/>
                <a:gd name="T55" fmla="*/ 0 h 96"/>
                <a:gd name="T56" fmla="*/ 151 w 161"/>
                <a:gd name="T57"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 h="96">
                  <a:moveTo>
                    <a:pt x="40" y="9"/>
                  </a:moveTo>
                  <a:cubicBezTo>
                    <a:pt x="54" y="11"/>
                    <a:pt x="67" y="12"/>
                    <a:pt x="81" y="12"/>
                  </a:cubicBezTo>
                  <a:cubicBezTo>
                    <a:pt x="95" y="12"/>
                    <a:pt x="108" y="11"/>
                    <a:pt x="121" y="9"/>
                  </a:cubicBezTo>
                  <a:cubicBezTo>
                    <a:pt x="121" y="87"/>
                    <a:pt x="121" y="87"/>
                    <a:pt x="121" y="87"/>
                  </a:cubicBezTo>
                  <a:cubicBezTo>
                    <a:pt x="108" y="85"/>
                    <a:pt x="95" y="84"/>
                    <a:pt x="81" y="84"/>
                  </a:cubicBezTo>
                  <a:cubicBezTo>
                    <a:pt x="67" y="84"/>
                    <a:pt x="54" y="85"/>
                    <a:pt x="40" y="87"/>
                  </a:cubicBezTo>
                  <a:cubicBezTo>
                    <a:pt x="40" y="9"/>
                    <a:pt x="40" y="9"/>
                    <a:pt x="40" y="9"/>
                  </a:cubicBezTo>
                  <a:cubicBezTo>
                    <a:pt x="40" y="9"/>
                    <a:pt x="40" y="9"/>
                    <a:pt x="40" y="9"/>
                  </a:cubicBezTo>
                  <a:close/>
                  <a:moveTo>
                    <a:pt x="142" y="91"/>
                  </a:moveTo>
                  <a:cubicBezTo>
                    <a:pt x="142" y="5"/>
                    <a:pt x="142" y="5"/>
                    <a:pt x="142" y="5"/>
                  </a:cubicBezTo>
                  <a:cubicBezTo>
                    <a:pt x="138" y="6"/>
                    <a:pt x="134" y="7"/>
                    <a:pt x="130" y="7"/>
                  </a:cubicBezTo>
                  <a:cubicBezTo>
                    <a:pt x="130" y="88"/>
                    <a:pt x="130" y="88"/>
                    <a:pt x="130" y="88"/>
                  </a:cubicBezTo>
                  <a:cubicBezTo>
                    <a:pt x="134" y="89"/>
                    <a:pt x="138" y="90"/>
                    <a:pt x="142" y="91"/>
                  </a:cubicBezTo>
                  <a:close/>
                  <a:moveTo>
                    <a:pt x="11" y="3"/>
                  </a:moveTo>
                  <a:cubicBezTo>
                    <a:pt x="8" y="2"/>
                    <a:pt x="4" y="1"/>
                    <a:pt x="0" y="0"/>
                  </a:cubicBezTo>
                  <a:cubicBezTo>
                    <a:pt x="0" y="96"/>
                    <a:pt x="0" y="96"/>
                    <a:pt x="0" y="96"/>
                  </a:cubicBezTo>
                  <a:cubicBezTo>
                    <a:pt x="4" y="95"/>
                    <a:pt x="8" y="94"/>
                    <a:pt x="11" y="93"/>
                  </a:cubicBezTo>
                  <a:cubicBezTo>
                    <a:pt x="11" y="3"/>
                    <a:pt x="11" y="3"/>
                    <a:pt x="11" y="3"/>
                  </a:cubicBezTo>
                  <a:cubicBezTo>
                    <a:pt x="11" y="3"/>
                    <a:pt x="11" y="3"/>
                    <a:pt x="11" y="3"/>
                  </a:cubicBezTo>
                  <a:close/>
                  <a:moveTo>
                    <a:pt x="31" y="88"/>
                  </a:moveTo>
                  <a:cubicBezTo>
                    <a:pt x="31" y="7"/>
                    <a:pt x="31" y="7"/>
                    <a:pt x="31" y="7"/>
                  </a:cubicBezTo>
                  <a:cubicBezTo>
                    <a:pt x="28" y="7"/>
                    <a:pt x="24" y="6"/>
                    <a:pt x="20" y="5"/>
                  </a:cubicBezTo>
                  <a:cubicBezTo>
                    <a:pt x="20" y="91"/>
                    <a:pt x="20" y="91"/>
                    <a:pt x="20" y="91"/>
                  </a:cubicBezTo>
                  <a:cubicBezTo>
                    <a:pt x="24" y="90"/>
                    <a:pt x="28" y="89"/>
                    <a:pt x="31" y="88"/>
                  </a:cubicBezTo>
                  <a:close/>
                  <a:moveTo>
                    <a:pt x="151" y="3"/>
                  </a:moveTo>
                  <a:cubicBezTo>
                    <a:pt x="151" y="93"/>
                    <a:pt x="151" y="93"/>
                    <a:pt x="151" y="93"/>
                  </a:cubicBezTo>
                  <a:cubicBezTo>
                    <a:pt x="154" y="94"/>
                    <a:pt x="158" y="95"/>
                    <a:pt x="161" y="96"/>
                  </a:cubicBezTo>
                  <a:cubicBezTo>
                    <a:pt x="161" y="0"/>
                    <a:pt x="161" y="0"/>
                    <a:pt x="161" y="0"/>
                  </a:cubicBezTo>
                  <a:cubicBezTo>
                    <a:pt x="158" y="1"/>
                    <a:pt x="154" y="2"/>
                    <a:pt x="151" y="3"/>
                  </a:cubicBezTo>
                  <a:close/>
                </a:path>
              </a:pathLst>
            </a:custGeom>
            <a:solidFill>
              <a:schemeClr val="tx1"/>
            </a:solidFill>
            <a:ln>
              <a:noFill/>
            </a:ln>
          </p:spPr>
          <p:txBody>
            <a:bodyPr vert="horz" wrap="square" lIns="89642" tIns="44821" rIns="89642" bIns="44821" numCol="1" anchor="ctr" anchorCtr="0" compatLnSpc="1">
              <a:prstTxWarp prst="textNoShape">
                <a:avLst/>
              </a:prstTxWarp>
            </a:bodyPr>
            <a:lstStyle/>
            <a:p>
              <a:pPr defTabSz="914206"/>
              <a:endParaRPr lang="en-US" sz="1765">
                <a:solidFill>
                  <a:srgbClr val="505050"/>
                </a:solidFill>
              </a:endParaRPr>
            </a:p>
          </p:txBody>
        </p:sp>
        <p:sp>
          <p:nvSpPr>
            <p:cNvPr id="79" name="Rectangle 78"/>
            <p:cNvSpPr/>
            <p:nvPr/>
          </p:nvSpPr>
          <p:spPr bwMode="auto">
            <a:xfrm>
              <a:off x="11149856" y="4689567"/>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Large volume </a:t>
              </a:r>
            </a:p>
          </p:txBody>
        </p:sp>
        <p:sp>
          <p:nvSpPr>
            <p:cNvPr id="142" name="Freeform 20"/>
            <p:cNvSpPr>
              <a:spLocks noChangeAspect="1" noEditPoints="1"/>
            </p:cNvSpPr>
            <p:nvPr/>
          </p:nvSpPr>
          <p:spPr bwMode="black">
            <a:xfrm>
              <a:off x="10723153" y="4834734"/>
              <a:ext cx="445259" cy="386042"/>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solidFill>
            <a:ln>
              <a:noFill/>
            </a:ln>
            <a:extLst/>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81" name="Rectangle 80"/>
            <p:cNvSpPr/>
            <p:nvPr/>
          </p:nvSpPr>
          <p:spPr bwMode="auto">
            <a:xfrm>
              <a:off x="11160810" y="5439765"/>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Multiple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Data Types</a:t>
              </a:r>
            </a:p>
          </p:txBody>
        </p:sp>
        <p:grpSp>
          <p:nvGrpSpPr>
            <p:cNvPr id="158" name="Group 12"/>
            <p:cNvGrpSpPr>
              <a:grpSpLocks noChangeAspect="1"/>
            </p:cNvGrpSpPr>
            <p:nvPr/>
          </p:nvGrpSpPr>
          <p:grpSpPr bwMode="auto">
            <a:xfrm>
              <a:off x="10730205" y="5566681"/>
              <a:ext cx="438207" cy="430984"/>
              <a:chOff x="1495" y="3004"/>
              <a:chExt cx="364" cy="358"/>
            </a:xfrm>
          </p:grpSpPr>
          <p:sp>
            <p:nvSpPr>
              <p:cNvPr id="159" name="Freeform 13"/>
              <p:cNvSpPr>
                <a:spLocks/>
              </p:cNvSpPr>
              <p:nvPr/>
            </p:nvSpPr>
            <p:spPr bwMode="auto">
              <a:xfrm>
                <a:off x="1495" y="3004"/>
                <a:ext cx="143" cy="126"/>
              </a:xfrm>
              <a:custGeom>
                <a:avLst/>
                <a:gdLst>
                  <a:gd name="T0" fmla="*/ 138 w 143"/>
                  <a:gd name="T1" fmla="*/ 114 h 126"/>
                  <a:gd name="T2" fmla="*/ 78 w 143"/>
                  <a:gd name="T3" fmla="*/ 12 h 126"/>
                  <a:gd name="T4" fmla="*/ 70 w 143"/>
                  <a:gd name="T5" fmla="*/ 0 h 126"/>
                  <a:gd name="T6" fmla="*/ 64 w 143"/>
                  <a:gd name="T7" fmla="*/ 12 h 126"/>
                  <a:gd name="T8" fmla="*/ 6 w 143"/>
                  <a:gd name="T9" fmla="*/ 114 h 126"/>
                  <a:gd name="T10" fmla="*/ 0 w 143"/>
                  <a:gd name="T11" fmla="*/ 126 h 126"/>
                  <a:gd name="T12" fmla="*/ 14 w 143"/>
                  <a:gd name="T13" fmla="*/ 126 h 126"/>
                  <a:gd name="T14" fmla="*/ 130 w 143"/>
                  <a:gd name="T15" fmla="*/ 126 h 126"/>
                  <a:gd name="T16" fmla="*/ 143 w 143"/>
                  <a:gd name="T17" fmla="*/ 126 h 126"/>
                  <a:gd name="T18" fmla="*/ 138 w 143"/>
                  <a:gd name="T19" fmla="*/ 11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26">
                    <a:moveTo>
                      <a:pt x="138" y="114"/>
                    </a:moveTo>
                    <a:lnTo>
                      <a:pt x="78" y="12"/>
                    </a:lnTo>
                    <a:lnTo>
                      <a:pt x="70" y="0"/>
                    </a:lnTo>
                    <a:lnTo>
                      <a:pt x="64" y="12"/>
                    </a:lnTo>
                    <a:lnTo>
                      <a:pt x="6" y="114"/>
                    </a:lnTo>
                    <a:lnTo>
                      <a:pt x="0" y="126"/>
                    </a:lnTo>
                    <a:lnTo>
                      <a:pt x="14" y="126"/>
                    </a:lnTo>
                    <a:lnTo>
                      <a:pt x="130" y="126"/>
                    </a:lnTo>
                    <a:lnTo>
                      <a:pt x="143" y="126"/>
                    </a:lnTo>
                    <a:lnTo>
                      <a:pt x="138" y="11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60" name="Freeform 14"/>
              <p:cNvSpPr>
                <a:spLocks/>
              </p:cNvSpPr>
              <p:nvPr/>
            </p:nvSpPr>
            <p:spPr bwMode="auto">
              <a:xfrm>
                <a:off x="1509" y="3020"/>
                <a:ext cx="116" cy="102"/>
              </a:xfrm>
              <a:custGeom>
                <a:avLst/>
                <a:gdLst>
                  <a:gd name="T0" fmla="*/ 0 w 60"/>
                  <a:gd name="T1" fmla="*/ 53 h 53"/>
                  <a:gd name="T2" fmla="*/ 60 w 60"/>
                  <a:gd name="T3" fmla="*/ 53 h 53"/>
                  <a:gd name="T4" fmla="*/ 30 w 60"/>
                  <a:gd name="T5" fmla="*/ 0 h 53"/>
                  <a:gd name="T6" fmla="*/ 0 w 60"/>
                  <a:gd name="T7" fmla="*/ 53 h 53"/>
                  <a:gd name="T8" fmla="*/ 0 w 60"/>
                  <a:gd name="T9" fmla="*/ 53 h 53"/>
                </a:gdLst>
                <a:ahLst/>
                <a:cxnLst>
                  <a:cxn ang="0">
                    <a:pos x="T0" y="T1"/>
                  </a:cxn>
                  <a:cxn ang="0">
                    <a:pos x="T2" y="T3"/>
                  </a:cxn>
                  <a:cxn ang="0">
                    <a:pos x="T4" y="T5"/>
                  </a:cxn>
                  <a:cxn ang="0">
                    <a:pos x="T6" y="T7"/>
                  </a:cxn>
                  <a:cxn ang="0">
                    <a:pos x="T8" y="T9"/>
                  </a:cxn>
                </a:cxnLst>
                <a:rect l="0" t="0" r="r" b="b"/>
                <a:pathLst>
                  <a:path w="60" h="53">
                    <a:moveTo>
                      <a:pt x="0" y="53"/>
                    </a:moveTo>
                    <a:cubicBezTo>
                      <a:pt x="60" y="53"/>
                      <a:pt x="60" y="53"/>
                      <a:pt x="60" y="53"/>
                    </a:cubicBezTo>
                    <a:cubicBezTo>
                      <a:pt x="30" y="0"/>
                      <a:pt x="30" y="0"/>
                      <a:pt x="30" y="0"/>
                    </a:cubicBezTo>
                    <a:cubicBezTo>
                      <a:pt x="0" y="53"/>
                      <a:pt x="0" y="53"/>
                      <a:pt x="0" y="53"/>
                    </a:cubicBezTo>
                    <a:cubicBezTo>
                      <a:pt x="0" y="53"/>
                      <a:pt x="0" y="53"/>
                      <a:pt x="0" y="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61" name="Freeform 15"/>
              <p:cNvSpPr>
                <a:spLocks/>
              </p:cNvSpPr>
              <p:nvPr/>
            </p:nvSpPr>
            <p:spPr bwMode="auto">
              <a:xfrm>
                <a:off x="1544" y="3066"/>
                <a:ext cx="133" cy="133"/>
              </a:xfrm>
              <a:custGeom>
                <a:avLst/>
                <a:gdLst>
                  <a:gd name="T0" fmla="*/ 35 w 69"/>
                  <a:gd name="T1" fmla="*/ 0 h 69"/>
                  <a:gd name="T2" fmla="*/ 0 w 69"/>
                  <a:gd name="T3" fmla="*/ 35 h 69"/>
                  <a:gd name="T4" fmla="*/ 35 w 69"/>
                  <a:gd name="T5" fmla="*/ 69 h 69"/>
                  <a:gd name="T6" fmla="*/ 69 w 69"/>
                  <a:gd name="T7" fmla="*/ 35 h 69"/>
                  <a:gd name="T8" fmla="*/ 35 w 69"/>
                  <a:gd name="T9" fmla="*/ 0 h 69"/>
                </a:gdLst>
                <a:ahLst/>
                <a:cxnLst>
                  <a:cxn ang="0">
                    <a:pos x="T0" y="T1"/>
                  </a:cxn>
                  <a:cxn ang="0">
                    <a:pos x="T2" y="T3"/>
                  </a:cxn>
                  <a:cxn ang="0">
                    <a:pos x="T4" y="T5"/>
                  </a:cxn>
                  <a:cxn ang="0">
                    <a:pos x="T6" y="T7"/>
                  </a:cxn>
                  <a:cxn ang="0">
                    <a:pos x="T8" y="T9"/>
                  </a:cxn>
                </a:cxnLst>
                <a:rect l="0" t="0" r="r" b="b"/>
                <a:pathLst>
                  <a:path w="69" h="69">
                    <a:moveTo>
                      <a:pt x="35" y="0"/>
                    </a:moveTo>
                    <a:cubicBezTo>
                      <a:pt x="15" y="0"/>
                      <a:pt x="0" y="16"/>
                      <a:pt x="0" y="35"/>
                    </a:cubicBezTo>
                    <a:cubicBezTo>
                      <a:pt x="0" y="54"/>
                      <a:pt x="15" y="69"/>
                      <a:pt x="35" y="69"/>
                    </a:cubicBezTo>
                    <a:cubicBezTo>
                      <a:pt x="54" y="69"/>
                      <a:pt x="69" y="54"/>
                      <a:pt x="69" y="35"/>
                    </a:cubicBezTo>
                    <a:cubicBezTo>
                      <a:pt x="69" y="15"/>
                      <a:pt x="54" y="0"/>
                      <a:pt x="35" y="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62" name="Oval 16"/>
              <p:cNvSpPr>
                <a:spLocks noChangeArrowheads="1"/>
              </p:cNvSpPr>
              <p:nvPr/>
            </p:nvSpPr>
            <p:spPr bwMode="auto">
              <a:xfrm>
                <a:off x="1551" y="3074"/>
                <a:ext cx="118" cy="11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63" name="Freeform 17"/>
              <p:cNvSpPr>
                <a:spLocks/>
              </p:cNvSpPr>
              <p:nvPr/>
            </p:nvSpPr>
            <p:spPr bwMode="auto">
              <a:xfrm>
                <a:off x="1602" y="3126"/>
                <a:ext cx="141" cy="139"/>
              </a:xfrm>
              <a:custGeom>
                <a:avLst/>
                <a:gdLst>
                  <a:gd name="T0" fmla="*/ 133 w 141"/>
                  <a:gd name="T1" fmla="*/ 0 h 139"/>
                  <a:gd name="T2" fmla="*/ 7 w 141"/>
                  <a:gd name="T3" fmla="*/ 0 h 139"/>
                  <a:gd name="T4" fmla="*/ 0 w 141"/>
                  <a:gd name="T5" fmla="*/ 0 h 139"/>
                  <a:gd name="T6" fmla="*/ 0 w 141"/>
                  <a:gd name="T7" fmla="*/ 8 h 139"/>
                  <a:gd name="T8" fmla="*/ 0 w 141"/>
                  <a:gd name="T9" fmla="*/ 132 h 139"/>
                  <a:gd name="T10" fmla="*/ 0 w 141"/>
                  <a:gd name="T11" fmla="*/ 139 h 139"/>
                  <a:gd name="T12" fmla="*/ 7 w 141"/>
                  <a:gd name="T13" fmla="*/ 139 h 139"/>
                  <a:gd name="T14" fmla="*/ 133 w 141"/>
                  <a:gd name="T15" fmla="*/ 139 h 139"/>
                  <a:gd name="T16" fmla="*/ 141 w 141"/>
                  <a:gd name="T17" fmla="*/ 139 h 139"/>
                  <a:gd name="T18" fmla="*/ 141 w 141"/>
                  <a:gd name="T19" fmla="*/ 132 h 139"/>
                  <a:gd name="T20" fmla="*/ 141 w 141"/>
                  <a:gd name="T21" fmla="*/ 8 h 139"/>
                  <a:gd name="T22" fmla="*/ 141 w 141"/>
                  <a:gd name="T23" fmla="*/ 0 h 139"/>
                  <a:gd name="T24" fmla="*/ 133 w 141"/>
                  <a:gd name="T25"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39">
                    <a:moveTo>
                      <a:pt x="133" y="0"/>
                    </a:moveTo>
                    <a:lnTo>
                      <a:pt x="7" y="0"/>
                    </a:lnTo>
                    <a:lnTo>
                      <a:pt x="0" y="0"/>
                    </a:lnTo>
                    <a:lnTo>
                      <a:pt x="0" y="8"/>
                    </a:lnTo>
                    <a:lnTo>
                      <a:pt x="0" y="132"/>
                    </a:lnTo>
                    <a:lnTo>
                      <a:pt x="0" y="139"/>
                    </a:lnTo>
                    <a:lnTo>
                      <a:pt x="7" y="139"/>
                    </a:lnTo>
                    <a:lnTo>
                      <a:pt x="133" y="139"/>
                    </a:lnTo>
                    <a:lnTo>
                      <a:pt x="141" y="139"/>
                    </a:lnTo>
                    <a:lnTo>
                      <a:pt x="141" y="132"/>
                    </a:lnTo>
                    <a:lnTo>
                      <a:pt x="141" y="8"/>
                    </a:lnTo>
                    <a:lnTo>
                      <a:pt x="141" y="0"/>
                    </a:lnTo>
                    <a:lnTo>
                      <a:pt x="133"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64" name="Freeform 18"/>
              <p:cNvSpPr>
                <a:spLocks/>
              </p:cNvSpPr>
              <p:nvPr/>
            </p:nvSpPr>
            <p:spPr bwMode="auto">
              <a:xfrm>
                <a:off x="1609" y="3134"/>
                <a:ext cx="126" cy="124"/>
              </a:xfrm>
              <a:custGeom>
                <a:avLst/>
                <a:gdLst>
                  <a:gd name="T0" fmla="*/ 65 w 65"/>
                  <a:gd name="T1" fmla="*/ 64 h 64"/>
                  <a:gd name="T2" fmla="*/ 0 w 65"/>
                  <a:gd name="T3" fmla="*/ 64 h 64"/>
                  <a:gd name="T4" fmla="*/ 0 w 65"/>
                  <a:gd name="T5" fmla="*/ 0 h 64"/>
                  <a:gd name="T6" fmla="*/ 65 w 65"/>
                  <a:gd name="T7" fmla="*/ 0 h 64"/>
                  <a:gd name="T8" fmla="*/ 65 w 65"/>
                  <a:gd name="T9" fmla="*/ 64 h 64"/>
                  <a:gd name="T10" fmla="*/ 65 w 65"/>
                  <a:gd name="T11" fmla="*/ 64 h 64"/>
                </a:gdLst>
                <a:ahLst/>
                <a:cxnLst>
                  <a:cxn ang="0">
                    <a:pos x="T0" y="T1"/>
                  </a:cxn>
                  <a:cxn ang="0">
                    <a:pos x="T2" y="T3"/>
                  </a:cxn>
                  <a:cxn ang="0">
                    <a:pos x="T4" y="T5"/>
                  </a:cxn>
                  <a:cxn ang="0">
                    <a:pos x="T6" y="T7"/>
                  </a:cxn>
                  <a:cxn ang="0">
                    <a:pos x="T8" y="T9"/>
                  </a:cxn>
                  <a:cxn ang="0">
                    <a:pos x="T10" y="T11"/>
                  </a:cxn>
                </a:cxnLst>
                <a:rect l="0" t="0" r="r" b="b"/>
                <a:pathLst>
                  <a:path w="65" h="64">
                    <a:moveTo>
                      <a:pt x="65" y="64"/>
                    </a:moveTo>
                    <a:cubicBezTo>
                      <a:pt x="0" y="64"/>
                      <a:pt x="0" y="64"/>
                      <a:pt x="0" y="64"/>
                    </a:cubicBezTo>
                    <a:cubicBezTo>
                      <a:pt x="0" y="0"/>
                      <a:pt x="0" y="0"/>
                      <a:pt x="0" y="0"/>
                    </a:cubicBezTo>
                    <a:cubicBezTo>
                      <a:pt x="65" y="0"/>
                      <a:pt x="65" y="0"/>
                      <a:pt x="65" y="0"/>
                    </a:cubicBezTo>
                    <a:cubicBezTo>
                      <a:pt x="65" y="64"/>
                      <a:pt x="65" y="64"/>
                      <a:pt x="65" y="64"/>
                    </a:cubicBezTo>
                    <a:cubicBezTo>
                      <a:pt x="65" y="64"/>
                      <a:pt x="65" y="64"/>
                      <a:pt x="65" y="6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65" name="Freeform 19"/>
              <p:cNvSpPr>
                <a:spLocks/>
              </p:cNvSpPr>
              <p:nvPr/>
            </p:nvSpPr>
            <p:spPr bwMode="auto">
              <a:xfrm>
                <a:off x="1658" y="3190"/>
                <a:ext cx="201" cy="172"/>
              </a:xfrm>
              <a:custGeom>
                <a:avLst/>
                <a:gdLst>
                  <a:gd name="T0" fmla="*/ 197 w 201"/>
                  <a:gd name="T1" fmla="*/ 81 h 172"/>
                  <a:gd name="T2" fmla="*/ 153 w 201"/>
                  <a:gd name="T3" fmla="*/ 2 h 172"/>
                  <a:gd name="T4" fmla="*/ 149 w 201"/>
                  <a:gd name="T5" fmla="*/ 0 h 172"/>
                  <a:gd name="T6" fmla="*/ 145 w 201"/>
                  <a:gd name="T7" fmla="*/ 0 h 172"/>
                  <a:gd name="T8" fmla="*/ 56 w 201"/>
                  <a:gd name="T9" fmla="*/ 0 h 172"/>
                  <a:gd name="T10" fmla="*/ 52 w 201"/>
                  <a:gd name="T11" fmla="*/ 0 h 172"/>
                  <a:gd name="T12" fmla="*/ 48 w 201"/>
                  <a:gd name="T13" fmla="*/ 2 h 172"/>
                  <a:gd name="T14" fmla="*/ 4 w 201"/>
                  <a:gd name="T15" fmla="*/ 81 h 172"/>
                  <a:gd name="T16" fmla="*/ 0 w 201"/>
                  <a:gd name="T17" fmla="*/ 85 h 172"/>
                  <a:gd name="T18" fmla="*/ 4 w 201"/>
                  <a:gd name="T19" fmla="*/ 89 h 172"/>
                  <a:gd name="T20" fmla="*/ 48 w 201"/>
                  <a:gd name="T21" fmla="*/ 168 h 172"/>
                  <a:gd name="T22" fmla="*/ 52 w 201"/>
                  <a:gd name="T23" fmla="*/ 172 h 172"/>
                  <a:gd name="T24" fmla="*/ 56 w 201"/>
                  <a:gd name="T25" fmla="*/ 172 h 172"/>
                  <a:gd name="T26" fmla="*/ 145 w 201"/>
                  <a:gd name="T27" fmla="*/ 172 h 172"/>
                  <a:gd name="T28" fmla="*/ 151 w 201"/>
                  <a:gd name="T29" fmla="*/ 172 h 172"/>
                  <a:gd name="T30" fmla="*/ 153 w 201"/>
                  <a:gd name="T31" fmla="*/ 168 h 172"/>
                  <a:gd name="T32" fmla="*/ 197 w 201"/>
                  <a:gd name="T33" fmla="*/ 89 h 172"/>
                  <a:gd name="T34" fmla="*/ 201 w 201"/>
                  <a:gd name="T35" fmla="*/ 85 h 172"/>
                  <a:gd name="T36" fmla="*/ 197 w 201"/>
                  <a:gd name="T37" fmla="*/ 8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 h="172">
                    <a:moveTo>
                      <a:pt x="197" y="81"/>
                    </a:moveTo>
                    <a:lnTo>
                      <a:pt x="153" y="2"/>
                    </a:lnTo>
                    <a:lnTo>
                      <a:pt x="149" y="0"/>
                    </a:lnTo>
                    <a:lnTo>
                      <a:pt x="145" y="0"/>
                    </a:lnTo>
                    <a:lnTo>
                      <a:pt x="56" y="0"/>
                    </a:lnTo>
                    <a:lnTo>
                      <a:pt x="52" y="0"/>
                    </a:lnTo>
                    <a:lnTo>
                      <a:pt x="48" y="2"/>
                    </a:lnTo>
                    <a:lnTo>
                      <a:pt x="4" y="81"/>
                    </a:lnTo>
                    <a:lnTo>
                      <a:pt x="0" y="85"/>
                    </a:lnTo>
                    <a:lnTo>
                      <a:pt x="4" y="89"/>
                    </a:lnTo>
                    <a:lnTo>
                      <a:pt x="48" y="168"/>
                    </a:lnTo>
                    <a:lnTo>
                      <a:pt x="52" y="172"/>
                    </a:lnTo>
                    <a:lnTo>
                      <a:pt x="56" y="172"/>
                    </a:lnTo>
                    <a:lnTo>
                      <a:pt x="145" y="172"/>
                    </a:lnTo>
                    <a:lnTo>
                      <a:pt x="151" y="172"/>
                    </a:lnTo>
                    <a:lnTo>
                      <a:pt x="153" y="168"/>
                    </a:lnTo>
                    <a:lnTo>
                      <a:pt x="197" y="89"/>
                    </a:lnTo>
                    <a:lnTo>
                      <a:pt x="201" y="85"/>
                    </a:lnTo>
                    <a:lnTo>
                      <a:pt x="197" y="81"/>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166" name="Freeform 20"/>
              <p:cNvSpPr>
                <a:spLocks/>
              </p:cNvSpPr>
              <p:nvPr/>
            </p:nvSpPr>
            <p:spPr bwMode="auto">
              <a:xfrm>
                <a:off x="1667" y="3198"/>
                <a:ext cx="182" cy="156"/>
              </a:xfrm>
              <a:custGeom>
                <a:avLst/>
                <a:gdLst>
                  <a:gd name="T0" fmla="*/ 70 w 94"/>
                  <a:gd name="T1" fmla="*/ 81 h 81"/>
                  <a:gd name="T2" fmla="*/ 94 w 94"/>
                  <a:gd name="T3" fmla="*/ 40 h 81"/>
                  <a:gd name="T4" fmla="*/ 70 w 94"/>
                  <a:gd name="T5" fmla="*/ 0 h 81"/>
                  <a:gd name="T6" fmla="*/ 24 w 94"/>
                  <a:gd name="T7" fmla="*/ 0 h 81"/>
                  <a:gd name="T8" fmla="*/ 0 w 94"/>
                  <a:gd name="T9" fmla="*/ 40 h 81"/>
                  <a:gd name="T10" fmla="*/ 24 w 94"/>
                  <a:gd name="T11" fmla="*/ 81 h 81"/>
                  <a:gd name="T12" fmla="*/ 70 w 94"/>
                  <a:gd name="T13" fmla="*/ 81 h 81"/>
                  <a:gd name="T14" fmla="*/ 70 w 94"/>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81">
                    <a:moveTo>
                      <a:pt x="70" y="81"/>
                    </a:moveTo>
                    <a:cubicBezTo>
                      <a:pt x="94" y="40"/>
                      <a:pt x="94" y="40"/>
                      <a:pt x="94" y="40"/>
                    </a:cubicBezTo>
                    <a:cubicBezTo>
                      <a:pt x="70" y="0"/>
                      <a:pt x="70" y="0"/>
                      <a:pt x="70" y="0"/>
                    </a:cubicBezTo>
                    <a:cubicBezTo>
                      <a:pt x="24" y="0"/>
                      <a:pt x="24" y="0"/>
                      <a:pt x="24" y="0"/>
                    </a:cubicBezTo>
                    <a:cubicBezTo>
                      <a:pt x="0" y="40"/>
                      <a:pt x="0" y="40"/>
                      <a:pt x="0" y="40"/>
                    </a:cubicBezTo>
                    <a:cubicBezTo>
                      <a:pt x="24" y="81"/>
                      <a:pt x="24" y="81"/>
                      <a:pt x="24" y="81"/>
                    </a:cubicBezTo>
                    <a:cubicBezTo>
                      <a:pt x="70" y="81"/>
                      <a:pt x="70" y="81"/>
                      <a:pt x="70" y="81"/>
                    </a:cubicBezTo>
                    <a:cubicBezTo>
                      <a:pt x="70" y="81"/>
                      <a:pt x="70" y="81"/>
                      <a:pt x="70" y="8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grpSp>
        <p:nvGrpSpPr>
          <p:cNvPr id="8" name="Group 7"/>
          <p:cNvGrpSpPr/>
          <p:nvPr/>
        </p:nvGrpSpPr>
        <p:grpSpPr>
          <a:xfrm>
            <a:off x="269241" y="3825558"/>
            <a:ext cx="1622529" cy="2216175"/>
            <a:chOff x="274639" y="3901772"/>
            <a:chExt cx="1655064" cy="2260614"/>
          </a:xfrm>
        </p:grpSpPr>
        <p:sp>
          <p:nvSpPr>
            <p:cNvPr id="174" name="Rectangle 173"/>
            <p:cNvSpPr/>
            <p:nvPr/>
          </p:nvSpPr>
          <p:spPr bwMode="auto">
            <a:xfrm>
              <a:off x="274639" y="3901772"/>
              <a:ext cx="1655064" cy="226061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91" name="Freeform 139"/>
            <p:cNvSpPr>
              <a:spLocks noChangeAspect="1"/>
            </p:cNvSpPr>
            <p:nvPr/>
          </p:nvSpPr>
          <p:spPr bwMode="black">
            <a:xfrm>
              <a:off x="386324" y="4852918"/>
              <a:ext cx="416924" cy="349674"/>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chemeClr val="tx1"/>
            </a:solidFill>
            <a:ln>
              <a:noFill/>
            </a:ln>
          </p:spPr>
          <p:txBody>
            <a:bodyPr vert="horz" wrap="square" lIns="80687" tIns="40344" rIns="80687" bIns="40344" numCol="1" anchor="ctr" anchorCtr="0" compatLnSpc="1">
              <a:prstTxWarp prst="textNoShape">
                <a:avLst/>
              </a:prstTxWarp>
            </a:bodyPr>
            <a:lstStyle/>
            <a:p>
              <a:pPr defTabSz="914206"/>
              <a:endParaRPr lang="en-US" sz="1568">
                <a:solidFill>
                  <a:srgbClr val="505050"/>
                </a:solidFill>
              </a:endParaRPr>
            </a:p>
          </p:txBody>
        </p:sp>
        <p:sp>
          <p:nvSpPr>
            <p:cNvPr id="195" name="Rectangle 194"/>
            <p:cNvSpPr/>
            <p:nvPr/>
          </p:nvSpPr>
          <p:spPr bwMode="auto">
            <a:xfrm>
              <a:off x="804404" y="4689567"/>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Economies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of scale</a:t>
              </a:r>
            </a:p>
          </p:txBody>
        </p:sp>
        <p:sp>
          <p:nvSpPr>
            <p:cNvPr id="202" name="Freeform 94"/>
            <p:cNvSpPr>
              <a:spLocks noChangeAspect="1"/>
            </p:cNvSpPr>
            <p:nvPr/>
          </p:nvSpPr>
          <p:spPr bwMode="auto">
            <a:xfrm>
              <a:off x="385167" y="5650383"/>
              <a:ext cx="419238" cy="263580"/>
            </a:xfrm>
            <a:custGeom>
              <a:avLst/>
              <a:gdLst>
                <a:gd name="T0" fmla="*/ 870 w 870"/>
                <a:gd name="T1" fmla="*/ 235 h 547"/>
                <a:gd name="T2" fmla="*/ 635 w 870"/>
                <a:gd name="T3" fmla="*/ 70 h 547"/>
                <a:gd name="T4" fmla="*/ 635 w 870"/>
                <a:gd name="T5" fmla="*/ 187 h 547"/>
                <a:gd name="T6" fmla="*/ 467 w 870"/>
                <a:gd name="T7" fmla="*/ 357 h 547"/>
                <a:gd name="T8" fmla="*/ 467 w 870"/>
                <a:gd name="T9" fmla="*/ 357 h 547"/>
                <a:gd name="T10" fmla="*/ 460 w 870"/>
                <a:gd name="T11" fmla="*/ 431 h 547"/>
                <a:gd name="T12" fmla="*/ 443 w 870"/>
                <a:gd name="T13" fmla="*/ 454 h 547"/>
                <a:gd name="T14" fmla="*/ 434 w 870"/>
                <a:gd name="T15" fmla="*/ 451 h 547"/>
                <a:gd name="T16" fmla="*/ 418 w 870"/>
                <a:gd name="T17" fmla="*/ 358 h 547"/>
                <a:gd name="T18" fmla="*/ 418 w 870"/>
                <a:gd name="T19" fmla="*/ 357 h 547"/>
                <a:gd name="T20" fmla="*/ 417 w 870"/>
                <a:gd name="T21" fmla="*/ 192 h 547"/>
                <a:gd name="T22" fmla="*/ 417 w 870"/>
                <a:gd name="T23" fmla="*/ 190 h 547"/>
                <a:gd name="T24" fmla="*/ 405 w 870"/>
                <a:gd name="T25" fmla="*/ 90 h 547"/>
                <a:gd name="T26" fmla="*/ 299 w 870"/>
                <a:gd name="T27" fmla="*/ 0 h 547"/>
                <a:gd name="T28" fmla="*/ 191 w 870"/>
                <a:gd name="T29" fmla="*/ 93 h 547"/>
                <a:gd name="T30" fmla="*/ 180 w 870"/>
                <a:gd name="T31" fmla="*/ 191 h 547"/>
                <a:gd name="T32" fmla="*/ 180 w 870"/>
                <a:gd name="T33" fmla="*/ 193 h 547"/>
                <a:gd name="T34" fmla="*/ 171 w 870"/>
                <a:gd name="T35" fmla="*/ 245 h 547"/>
                <a:gd name="T36" fmla="*/ 97 w 870"/>
                <a:gd name="T37" fmla="*/ 267 h 547"/>
                <a:gd name="T38" fmla="*/ 1 w 870"/>
                <a:gd name="T39" fmla="*/ 267 h 547"/>
                <a:gd name="T40" fmla="*/ 0 w 870"/>
                <a:gd name="T41" fmla="*/ 361 h 547"/>
                <a:gd name="T42" fmla="*/ 98 w 870"/>
                <a:gd name="T43" fmla="*/ 361 h 547"/>
                <a:gd name="T44" fmla="*/ 249 w 870"/>
                <a:gd name="T45" fmla="*/ 297 h 547"/>
                <a:gd name="T46" fmla="*/ 274 w 870"/>
                <a:gd name="T47" fmla="*/ 193 h 547"/>
                <a:gd name="T48" fmla="*/ 274 w 870"/>
                <a:gd name="T49" fmla="*/ 191 h 547"/>
                <a:gd name="T50" fmla="*/ 281 w 870"/>
                <a:gd name="T51" fmla="*/ 119 h 547"/>
                <a:gd name="T52" fmla="*/ 299 w 870"/>
                <a:gd name="T53" fmla="*/ 94 h 547"/>
                <a:gd name="T54" fmla="*/ 316 w 870"/>
                <a:gd name="T55" fmla="*/ 116 h 547"/>
                <a:gd name="T56" fmla="*/ 323 w 870"/>
                <a:gd name="T57" fmla="*/ 191 h 547"/>
                <a:gd name="T58" fmla="*/ 324 w 870"/>
                <a:gd name="T59" fmla="*/ 356 h 547"/>
                <a:gd name="T60" fmla="*/ 366 w 870"/>
                <a:gd name="T61" fmla="*/ 516 h 547"/>
                <a:gd name="T62" fmla="*/ 443 w 870"/>
                <a:gd name="T63" fmla="*/ 547 h 547"/>
                <a:gd name="T64" fmla="*/ 550 w 870"/>
                <a:gd name="T65" fmla="*/ 457 h 547"/>
                <a:gd name="T66" fmla="*/ 560 w 870"/>
                <a:gd name="T67" fmla="*/ 357 h 547"/>
                <a:gd name="T68" fmla="*/ 560 w 870"/>
                <a:gd name="T69" fmla="*/ 357 h 547"/>
                <a:gd name="T70" fmla="*/ 577 w 870"/>
                <a:gd name="T71" fmla="*/ 289 h 547"/>
                <a:gd name="T72" fmla="*/ 635 w 870"/>
                <a:gd name="T73" fmla="*/ 281 h 547"/>
                <a:gd name="T74" fmla="*/ 635 w 870"/>
                <a:gd name="T75" fmla="*/ 395 h 547"/>
                <a:gd name="T76" fmla="*/ 870 w 870"/>
                <a:gd name="T77" fmla="*/ 235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547">
                  <a:moveTo>
                    <a:pt x="870" y="235"/>
                  </a:moveTo>
                  <a:cubicBezTo>
                    <a:pt x="635" y="70"/>
                    <a:pt x="635" y="70"/>
                    <a:pt x="635" y="70"/>
                  </a:cubicBezTo>
                  <a:cubicBezTo>
                    <a:pt x="635" y="187"/>
                    <a:pt x="635" y="187"/>
                    <a:pt x="635" y="187"/>
                  </a:cubicBezTo>
                  <a:cubicBezTo>
                    <a:pt x="564" y="187"/>
                    <a:pt x="467" y="195"/>
                    <a:pt x="467" y="357"/>
                  </a:cubicBezTo>
                  <a:cubicBezTo>
                    <a:pt x="467" y="357"/>
                    <a:pt x="467" y="357"/>
                    <a:pt x="467" y="357"/>
                  </a:cubicBezTo>
                  <a:cubicBezTo>
                    <a:pt x="467" y="374"/>
                    <a:pt x="467" y="407"/>
                    <a:pt x="460" y="431"/>
                  </a:cubicBezTo>
                  <a:cubicBezTo>
                    <a:pt x="453" y="454"/>
                    <a:pt x="447" y="454"/>
                    <a:pt x="443" y="454"/>
                  </a:cubicBezTo>
                  <a:cubicBezTo>
                    <a:pt x="437" y="454"/>
                    <a:pt x="435" y="452"/>
                    <a:pt x="434" y="451"/>
                  </a:cubicBezTo>
                  <a:cubicBezTo>
                    <a:pt x="429" y="446"/>
                    <a:pt x="415" y="426"/>
                    <a:pt x="418" y="358"/>
                  </a:cubicBezTo>
                  <a:cubicBezTo>
                    <a:pt x="418" y="357"/>
                    <a:pt x="418" y="357"/>
                    <a:pt x="418" y="357"/>
                  </a:cubicBezTo>
                  <a:cubicBezTo>
                    <a:pt x="417" y="192"/>
                    <a:pt x="417" y="192"/>
                    <a:pt x="417" y="192"/>
                  </a:cubicBezTo>
                  <a:cubicBezTo>
                    <a:pt x="417" y="190"/>
                    <a:pt x="417" y="190"/>
                    <a:pt x="417" y="190"/>
                  </a:cubicBezTo>
                  <a:cubicBezTo>
                    <a:pt x="417" y="168"/>
                    <a:pt x="416" y="127"/>
                    <a:pt x="405" y="90"/>
                  </a:cubicBezTo>
                  <a:cubicBezTo>
                    <a:pt x="382" y="9"/>
                    <a:pt x="323" y="0"/>
                    <a:pt x="299" y="0"/>
                  </a:cubicBezTo>
                  <a:cubicBezTo>
                    <a:pt x="274" y="0"/>
                    <a:pt x="215" y="9"/>
                    <a:pt x="191" y="93"/>
                  </a:cubicBezTo>
                  <a:cubicBezTo>
                    <a:pt x="180" y="131"/>
                    <a:pt x="180" y="172"/>
                    <a:pt x="180" y="191"/>
                  </a:cubicBezTo>
                  <a:cubicBezTo>
                    <a:pt x="180" y="193"/>
                    <a:pt x="180" y="193"/>
                    <a:pt x="180" y="193"/>
                  </a:cubicBezTo>
                  <a:cubicBezTo>
                    <a:pt x="180" y="210"/>
                    <a:pt x="180" y="232"/>
                    <a:pt x="171" y="245"/>
                  </a:cubicBezTo>
                  <a:cubicBezTo>
                    <a:pt x="159" y="263"/>
                    <a:pt x="124" y="267"/>
                    <a:pt x="97" y="267"/>
                  </a:cubicBezTo>
                  <a:cubicBezTo>
                    <a:pt x="46" y="267"/>
                    <a:pt x="1" y="267"/>
                    <a:pt x="1" y="267"/>
                  </a:cubicBezTo>
                  <a:cubicBezTo>
                    <a:pt x="0" y="361"/>
                    <a:pt x="0" y="361"/>
                    <a:pt x="0" y="361"/>
                  </a:cubicBezTo>
                  <a:cubicBezTo>
                    <a:pt x="1" y="361"/>
                    <a:pt x="46" y="361"/>
                    <a:pt x="98" y="361"/>
                  </a:cubicBezTo>
                  <a:cubicBezTo>
                    <a:pt x="170" y="360"/>
                    <a:pt x="221" y="339"/>
                    <a:pt x="249" y="297"/>
                  </a:cubicBezTo>
                  <a:cubicBezTo>
                    <a:pt x="274" y="260"/>
                    <a:pt x="274" y="218"/>
                    <a:pt x="274" y="193"/>
                  </a:cubicBezTo>
                  <a:cubicBezTo>
                    <a:pt x="274" y="191"/>
                    <a:pt x="274" y="191"/>
                    <a:pt x="274" y="191"/>
                  </a:cubicBezTo>
                  <a:cubicBezTo>
                    <a:pt x="274" y="176"/>
                    <a:pt x="274" y="144"/>
                    <a:pt x="281" y="119"/>
                  </a:cubicBezTo>
                  <a:cubicBezTo>
                    <a:pt x="288" y="94"/>
                    <a:pt x="295" y="94"/>
                    <a:pt x="299" y="94"/>
                  </a:cubicBezTo>
                  <a:cubicBezTo>
                    <a:pt x="302" y="94"/>
                    <a:pt x="309" y="94"/>
                    <a:pt x="316" y="116"/>
                  </a:cubicBezTo>
                  <a:cubicBezTo>
                    <a:pt x="323" y="141"/>
                    <a:pt x="323" y="172"/>
                    <a:pt x="323" y="191"/>
                  </a:cubicBezTo>
                  <a:cubicBezTo>
                    <a:pt x="324" y="356"/>
                    <a:pt x="324" y="356"/>
                    <a:pt x="324" y="356"/>
                  </a:cubicBezTo>
                  <a:cubicBezTo>
                    <a:pt x="322" y="432"/>
                    <a:pt x="336" y="484"/>
                    <a:pt x="366" y="516"/>
                  </a:cubicBezTo>
                  <a:cubicBezTo>
                    <a:pt x="387" y="537"/>
                    <a:pt x="413" y="547"/>
                    <a:pt x="443" y="547"/>
                  </a:cubicBezTo>
                  <a:cubicBezTo>
                    <a:pt x="467" y="547"/>
                    <a:pt x="526" y="539"/>
                    <a:pt x="550" y="457"/>
                  </a:cubicBezTo>
                  <a:cubicBezTo>
                    <a:pt x="560" y="420"/>
                    <a:pt x="560" y="379"/>
                    <a:pt x="560" y="357"/>
                  </a:cubicBezTo>
                  <a:cubicBezTo>
                    <a:pt x="560" y="357"/>
                    <a:pt x="560" y="357"/>
                    <a:pt x="560" y="357"/>
                  </a:cubicBezTo>
                  <a:cubicBezTo>
                    <a:pt x="560" y="336"/>
                    <a:pt x="562" y="299"/>
                    <a:pt x="577" y="289"/>
                  </a:cubicBezTo>
                  <a:cubicBezTo>
                    <a:pt x="588" y="282"/>
                    <a:pt x="612" y="281"/>
                    <a:pt x="635" y="281"/>
                  </a:cubicBezTo>
                  <a:cubicBezTo>
                    <a:pt x="635" y="395"/>
                    <a:pt x="635" y="395"/>
                    <a:pt x="635" y="395"/>
                  </a:cubicBezTo>
                  <a:lnTo>
                    <a:pt x="870" y="235"/>
                  </a:lnTo>
                  <a:close/>
                </a:path>
              </a:pathLst>
            </a:custGeom>
            <a:solidFill>
              <a:schemeClr val="tx1"/>
            </a:solidFill>
            <a:ln>
              <a:noFill/>
            </a:ln>
            <a:extLst/>
          </p:spPr>
          <p:txBody>
            <a:bodyPr vert="horz" wrap="square" lIns="89642" tIns="44821" rIns="89642" bIns="44821" numCol="1" anchor="ctr" anchorCtr="0" compatLnSpc="1">
              <a:prstTxWarp prst="textNoShape">
                <a:avLst/>
              </a:prstTxWarp>
            </a:bodyPr>
            <a:lstStyle/>
            <a:p>
              <a:pPr defTabSz="908762"/>
              <a:endParaRPr lang="en-US" sz="1765" dirty="0">
                <a:solidFill>
                  <a:srgbClr val="505050"/>
                </a:solidFill>
              </a:endParaRPr>
            </a:p>
          </p:txBody>
        </p:sp>
        <p:sp>
          <p:nvSpPr>
            <p:cNvPr id="205" name="Rectangle 204"/>
            <p:cNvSpPr/>
            <p:nvPr/>
          </p:nvSpPr>
          <p:spPr bwMode="auto">
            <a:xfrm>
              <a:off x="804404" y="5439765"/>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Resiliency</a:t>
              </a:r>
            </a:p>
          </p:txBody>
        </p:sp>
        <p:sp>
          <p:nvSpPr>
            <p:cNvPr id="187" name="Rectangle 186"/>
            <p:cNvSpPr/>
            <p:nvPr/>
          </p:nvSpPr>
          <p:spPr bwMode="auto">
            <a:xfrm>
              <a:off x="804405" y="3975465"/>
              <a:ext cx="1125298"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Economics</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limited budgets</a:t>
              </a:r>
            </a:p>
          </p:txBody>
        </p:sp>
        <p:sp>
          <p:nvSpPr>
            <p:cNvPr id="169" name="Freeform 9"/>
            <p:cNvSpPr>
              <a:spLocks noEditPoints="1"/>
            </p:cNvSpPr>
            <p:nvPr/>
          </p:nvSpPr>
          <p:spPr bwMode="auto">
            <a:xfrm>
              <a:off x="426868" y="4121998"/>
              <a:ext cx="356557" cy="387942"/>
            </a:xfrm>
            <a:custGeom>
              <a:avLst/>
              <a:gdLst>
                <a:gd name="T0" fmla="*/ 1697 w 1863"/>
                <a:gd name="T1" fmla="*/ 848 h 2028"/>
                <a:gd name="T2" fmla="*/ 1611 w 1863"/>
                <a:gd name="T3" fmla="*/ 655 h 2028"/>
                <a:gd name="T4" fmla="*/ 1648 w 1863"/>
                <a:gd name="T5" fmla="*/ 333 h 2028"/>
                <a:gd name="T6" fmla="*/ 1181 w 1863"/>
                <a:gd name="T7" fmla="*/ 354 h 2028"/>
                <a:gd name="T8" fmla="*/ 746 w 1863"/>
                <a:gd name="T9" fmla="*/ 27 h 2028"/>
                <a:gd name="T10" fmla="*/ 252 w 1863"/>
                <a:gd name="T11" fmla="*/ 461 h 2028"/>
                <a:gd name="T12" fmla="*/ 258 w 1863"/>
                <a:gd name="T13" fmla="*/ 1642 h 2028"/>
                <a:gd name="T14" fmla="*/ 558 w 1863"/>
                <a:gd name="T15" fmla="*/ 1798 h 2028"/>
                <a:gd name="T16" fmla="*/ 623 w 1863"/>
                <a:gd name="T17" fmla="*/ 1787 h 2028"/>
                <a:gd name="T18" fmla="*/ 923 w 1863"/>
                <a:gd name="T19" fmla="*/ 2028 h 2028"/>
                <a:gd name="T20" fmla="*/ 1176 w 1863"/>
                <a:gd name="T21" fmla="*/ 1841 h 2028"/>
                <a:gd name="T22" fmla="*/ 1552 w 1863"/>
                <a:gd name="T23" fmla="*/ 1723 h 2028"/>
                <a:gd name="T24" fmla="*/ 1723 w 1863"/>
                <a:gd name="T25" fmla="*/ 1513 h 2028"/>
                <a:gd name="T26" fmla="*/ 795 w 1863"/>
                <a:gd name="T27" fmla="*/ 1379 h 2028"/>
                <a:gd name="T28" fmla="*/ 655 w 1863"/>
                <a:gd name="T29" fmla="*/ 1535 h 2028"/>
                <a:gd name="T30" fmla="*/ 548 w 1863"/>
                <a:gd name="T31" fmla="*/ 1578 h 2028"/>
                <a:gd name="T32" fmla="*/ 451 w 1863"/>
                <a:gd name="T33" fmla="*/ 1470 h 2028"/>
                <a:gd name="T34" fmla="*/ 392 w 1863"/>
                <a:gd name="T35" fmla="*/ 1207 h 2028"/>
                <a:gd name="T36" fmla="*/ 558 w 1863"/>
                <a:gd name="T37" fmla="*/ 1368 h 2028"/>
                <a:gd name="T38" fmla="*/ 612 w 1863"/>
                <a:gd name="T39" fmla="*/ 1342 h 2028"/>
                <a:gd name="T40" fmla="*/ 596 w 1863"/>
                <a:gd name="T41" fmla="*/ 1272 h 2028"/>
                <a:gd name="T42" fmla="*/ 446 w 1863"/>
                <a:gd name="T43" fmla="*/ 1121 h 2028"/>
                <a:gd name="T44" fmla="*/ 392 w 1863"/>
                <a:gd name="T45" fmla="*/ 928 h 2028"/>
                <a:gd name="T46" fmla="*/ 478 w 1863"/>
                <a:gd name="T47" fmla="*/ 724 h 2028"/>
                <a:gd name="T48" fmla="*/ 607 w 1863"/>
                <a:gd name="T49" fmla="*/ 681 h 2028"/>
                <a:gd name="T50" fmla="*/ 725 w 1863"/>
                <a:gd name="T51" fmla="*/ 767 h 2028"/>
                <a:gd name="T52" fmla="*/ 752 w 1863"/>
                <a:gd name="T53" fmla="*/ 966 h 2028"/>
                <a:gd name="T54" fmla="*/ 623 w 1863"/>
                <a:gd name="T55" fmla="*/ 875 h 2028"/>
                <a:gd name="T56" fmla="*/ 580 w 1863"/>
                <a:gd name="T57" fmla="*/ 880 h 2028"/>
                <a:gd name="T58" fmla="*/ 564 w 1863"/>
                <a:gd name="T59" fmla="*/ 934 h 2028"/>
                <a:gd name="T60" fmla="*/ 650 w 1863"/>
                <a:gd name="T61" fmla="*/ 1030 h 2028"/>
                <a:gd name="T62" fmla="*/ 795 w 1863"/>
                <a:gd name="T63" fmla="*/ 1256 h 2028"/>
                <a:gd name="T64" fmla="*/ 1090 w 1863"/>
                <a:gd name="T65" fmla="*/ 359 h 2028"/>
                <a:gd name="T66" fmla="*/ 827 w 1863"/>
                <a:gd name="T67" fmla="*/ 499 h 2028"/>
                <a:gd name="T68" fmla="*/ 542 w 1863"/>
                <a:gd name="T69" fmla="*/ 440 h 2028"/>
                <a:gd name="T70" fmla="*/ 1063 w 1863"/>
                <a:gd name="T71" fmla="*/ 343 h 2028"/>
                <a:gd name="T72" fmla="*/ 644 w 1863"/>
                <a:gd name="T73" fmla="*/ 107 h 2028"/>
                <a:gd name="T74" fmla="*/ 913 w 1863"/>
                <a:gd name="T75" fmla="*/ 80 h 2028"/>
                <a:gd name="T76" fmla="*/ 1326 w 1863"/>
                <a:gd name="T77" fmla="*/ 853 h 2028"/>
                <a:gd name="T78" fmla="*/ 1305 w 1863"/>
                <a:gd name="T79" fmla="*/ 939 h 2028"/>
                <a:gd name="T80" fmla="*/ 1573 w 1863"/>
                <a:gd name="T81" fmla="*/ 896 h 2028"/>
                <a:gd name="T82" fmla="*/ 1616 w 1863"/>
                <a:gd name="T83" fmla="*/ 955 h 2028"/>
                <a:gd name="T84" fmla="*/ 1654 w 1863"/>
                <a:gd name="T85" fmla="*/ 1234 h 2028"/>
                <a:gd name="T86" fmla="*/ 1675 w 1863"/>
                <a:gd name="T87" fmla="*/ 1320 h 2028"/>
                <a:gd name="T88" fmla="*/ 1766 w 1863"/>
                <a:gd name="T89" fmla="*/ 1272 h 2028"/>
                <a:gd name="T90" fmla="*/ 1772 w 1863"/>
                <a:gd name="T91" fmla="*/ 1191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3" h="2028">
                  <a:moveTo>
                    <a:pt x="1842" y="1148"/>
                  </a:moveTo>
                  <a:cubicBezTo>
                    <a:pt x="1831" y="1138"/>
                    <a:pt x="1788" y="1095"/>
                    <a:pt x="1777" y="1079"/>
                  </a:cubicBezTo>
                  <a:cubicBezTo>
                    <a:pt x="1766" y="1062"/>
                    <a:pt x="1739" y="939"/>
                    <a:pt x="1697" y="848"/>
                  </a:cubicBezTo>
                  <a:cubicBezTo>
                    <a:pt x="1680" y="816"/>
                    <a:pt x="1664" y="757"/>
                    <a:pt x="1632" y="714"/>
                  </a:cubicBezTo>
                  <a:cubicBezTo>
                    <a:pt x="1568" y="633"/>
                    <a:pt x="1482" y="585"/>
                    <a:pt x="1487" y="574"/>
                  </a:cubicBezTo>
                  <a:cubicBezTo>
                    <a:pt x="1487" y="563"/>
                    <a:pt x="1605" y="655"/>
                    <a:pt x="1611" y="655"/>
                  </a:cubicBezTo>
                  <a:cubicBezTo>
                    <a:pt x="1611" y="655"/>
                    <a:pt x="1643" y="601"/>
                    <a:pt x="1675" y="553"/>
                  </a:cubicBezTo>
                  <a:cubicBezTo>
                    <a:pt x="1691" y="520"/>
                    <a:pt x="1718" y="488"/>
                    <a:pt x="1723" y="456"/>
                  </a:cubicBezTo>
                  <a:cubicBezTo>
                    <a:pt x="1729" y="413"/>
                    <a:pt x="1718" y="359"/>
                    <a:pt x="1648" y="333"/>
                  </a:cubicBezTo>
                  <a:cubicBezTo>
                    <a:pt x="1621" y="322"/>
                    <a:pt x="1546" y="311"/>
                    <a:pt x="1471" y="317"/>
                  </a:cubicBezTo>
                  <a:cubicBezTo>
                    <a:pt x="1353" y="327"/>
                    <a:pt x="1267" y="376"/>
                    <a:pt x="1240" y="365"/>
                  </a:cubicBezTo>
                  <a:cubicBezTo>
                    <a:pt x="1229" y="365"/>
                    <a:pt x="1203" y="354"/>
                    <a:pt x="1181" y="354"/>
                  </a:cubicBezTo>
                  <a:cubicBezTo>
                    <a:pt x="1160" y="349"/>
                    <a:pt x="1138" y="354"/>
                    <a:pt x="1133" y="349"/>
                  </a:cubicBezTo>
                  <a:cubicBezTo>
                    <a:pt x="1127" y="349"/>
                    <a:pt x="1106" y="215"/>
                    <a:pt x="1036" y="139"/>
                  </a:cubicBezTo>
                  <a:cubicBezTo>
                    <a:pt x="993" y="102"/>
                    <a:pt x="891" y="0"/>
                    <a:pt x="746" y="27"/>
                  </a:cubicBezTo>
                  <a:cubicBezTo>
                    <a:pt x="671" y="37"/>
                    <a:pt x="585" y="118"/>
                    <a:pt x="548" y="204"/>
                  </a:cubicBezTo>
                  <a:cubicBezTo>
                    <a:pt x="515" y="290"/>
                    <a:pt x="542" y="381"/>
                    <a:pt x="537" y="381"/>
                  </a:cubicBezTo>
                  <a:cubicBezTo>
                    <a:pt x="537" y="386"/>
                    <a:pt x="354" y="354"/>
                    <a:pt x="252" y="461"/>
                  </a:cubicBezTo>
                  <a:cubicBezTo>
                    <a:pt x="188" y="542"/>
                    <a:pt x="0" y="837"/>
                    <a:pt x="21" y="1111"/>
                  </a:cubicBezTo>
                  <a:cubicBezTo>
                    <a:pt x="27" y="1202"/>
                    <a:pt x="54" y="1304"/>
                    <a:pt x="102" y="1395"/>
                  </a:cubicBezTo>
                  <a:cubicBezTo>
                    <a:pt x="150" y="1492"/>
                    <a:pt x="220" y="1572"/>
                    <a:pt x="258" y="1642"/>
                  </a:cubicBezTo>
                  <a:cubicBezTo>
                    <a:pt x="306" y="1717"/>
                    <a:pt x="306" y="1760"/>
                    <a:pt x="311" y="1771"/>
                  </a:cubicBezTo>
                  <a:cubicBezTo>
                    <a:pt x="311" y="1776"/>
                    <a:pt x="376" y="1825"/>
                    <a:pt x="435" y="1825"/>
                  </a:cubicBezTo>
                  <a:cubicBezTo>
                    <a:pt x="483" y="1825"/>
                    <a:pt x="537" y="1808"/>
                    <a:pt x="558" y="1798"/>
                  </a:cubicBezTo>
                  <a:cubicBezTo>
                    <a:pt x="569" y="1792"/>
                    <a:pt x="564" y="1782"/>
                    <a:pt x="564" y="1776"/>
                  </a:cubicBezTo>
                  <a:cubicBezTo>
                    <a:pt x="558" y="1771"/>
                    <a:pt x="451" y="1717"/>
                    <a:pt x="451" y="1707"/>
                  </a:cubicBezTo>
                  <a:cubicBezTo>
                    <a:pt x="451" y="1701"/>
                    <a:pt x="542" y="1739"/>
                    <a:pt x="623" y="1787"/>
                  </a:cubicBezTo>
                  <a:cubicBezTo>
                    <a:pt x="709" y="1835"/>
                    <a:pt x="784" y="1894"/>
                    <a:pt x="784" y="1894"/>
                  </a:cubicBezTo>
                  <a:cubicBezTo>
                    <a:pt x="784" y="1894"/>
                    <a:pt x="778" y="1937"/>
                    <a:pt x="778" y="1953"/>
                  </a:cubicBezTo>
                  <a:cubicBezTo>
                    <a:pt x="778" y="1975"/>
                    <a:pt x="848" y="2028"/>
                    <a:pt x="923" y="2028"/>
                  </a:cubicBezTo>
                  <a:cubicBezTo>
                    <a:pt x="1004" y="2028"/>
                    <a:pt x="1068" y="1991"/>
                    <a:pt x="1068" y="1975"/>
                  </a:cubicBezTo>
                  <a:cubicBezTo>
                    <a:pt x="1068" y="1964"/>
                    <a:pt x="1074" y="1916"/>
                    <a:pt x="1085" y="1894"/>
                  </a:cubicBezTo>
                  <a:cubicBezTo>
                    <a:pt x="1085" y="1894"/>
                    <a:pt x="1122" y="1862"/>
                    <a:pt x="1176" y="1841"/>
                  </a:cubicBezTo>
                  <a:cubicBezTo>
                    <a:pt x="1219" y="1819"/>
                    <a:pt x="1267" y="1803"/>
                    <a:pt x="1321" y="1782"/>
                  </a:cubicBezTo>
                  <a:cubicBezTo>
                    <a:pt x="1342" y="1787"/>
                    <a:pt x="1374" y="1792"/>
                    <a:pt x="1407" y="1792"/>
                  </a:cubicBezTo>
                  <a:cubicBezTo>
                    <a:pt x="1482" y="1792"/>
                    <a:pt x="1552" y="1739"/>
                    <a:pt x="1552" y="1723"/>
                  </a:cubicBezTo>
                  <a:cubicBezTo>
                    <a:pt x="1552" y="1712"/>
                    <a:pt x="1552" y="1674"/>
                    <a:pt x="1552" y="1647"/>
                  </a:cubicBezTo>
                  <a:cubicBezTo>
                    <a:pt x="1627" y="1583"/>
                    <a:pt x="1659" y="1540"/>
                    <a:pt x="1675" y="1529"/>
                  </a:cubicBezTo>
                  <a:cubicBezTo>
                    <a:pt x="1702" y="1519"/>
                    <a:pt x="1713" y="1519"/>
                    <a:pt x="1723" y="1513"/>
                  </a:cubicBezTo>
                  <a:cubicBezTo>
                    <a:pt x="1729" y="1513"/>
                    <a:pt x="1804" y="1454"/>
                    <a:pt x="1831" y="1368"/>
                  </a:cubicBezTo>
                  <a:cubicBezTo>
                    <a:pt x="1863" y="1277"/>
                    <a:pt x="1852" y="1164"/>
                    <a:pt x="1842" y="1148"/>
                  </a:cubicBezTo>
                  <a:close/>
                  <a:moveTo>
                    <a:pt x="795" y="1379"/>
                  </a:moveTo>
                  <a:cubicBezTo>
                    <a:pt x="789" y="1401"/>
                    <a:pt x="784" y="1422"/>
                    <a:pt x="773" y="1449"/>
                  </a:cubicBezTo>
                  <a:cubicBezTo>
                    <a:pt x="762" y="1470"/>
                    <a:pt x="752" y="1486"/>
                    <a:pt x="730" y="1503"/>
                  </a:cubicBezTo>
                  <a:cubicBezTo>
                    <a:pt x="714" y="1524"/>
                    <a:pt x="687" y="1535"/>
                    <a:pt x="655" y="1535"/>
                  </a:cubicBezTo>
                  <a:cubicBezTo>
                    <a:pt x="655" y="1562"/>
                    <a:pt x="655" y="1583"/>
                    <a:pt x="650" y="1604"/>
                  </a:cubicBezTo>
                  <a:cubicBezTo>
                    <a:pt x="634" y="1610"/>
                    <a:pt x="617" y="1615"/>
                    <a:pt x="596" y="1621"/>
                  </a:cubicBezTo>
                  <a:cubicBezTo>
                    <a:pt x="580" y="1604"/>
                    <a:pt x="564" y="1594"/>
                    <a:pt x="548" y="1578"/>
                  </a:cubicBezTo>
                  <a:cubicBezTo>
                    <a:pt x="548" y="1562"/>
                    <a:pt x="548" y="1540"/>
                    <a:pt x="548" y="1524"/>
                  </a:cubicBezTo>
                  <a:cubicBezTo>
                    <a:pt x="532" y="1519"/>
                    <a:pt x="515" y="1508"/>
                    <a:pt x="499" y="1503"/>
                  </a:cubicBezTo>
                  <a:cubicBezTo>
                    <a:pt x="483" y="1492"/>
                    <a:pt x="467" y="1481"/>
                    <a:pt x="451" y="1470"/>
                  </a:cubicBezTo>
                  <a:cubicBezTo>
                    <a:pt x="440" y="1460"/>
                    <a:pt x="424" y="1449"/>
                    <a:pt x="413" y="1438"/>
                  </a:cubicBezTo>
                  <a:cubicBezTo>
                    <a:pt x="408" y="1427"/>
                    <a:pt x="397" y="1417"/>
                    <a:pt x="397" y="1411"/>
                  </a:cubicBezTo>
                  <a:cubicBezTo>
                    <a:pt x="397" y="1342"/>
                    <a:pt x="392" y="1277"/>
                    <a:pt x="392" y="1207"/>
                  </a:cubicBezTo>
                  <a:cubicBezTo>
                    <a:pt x="408" y="1245"/>
                    <a:pt x="435" y="1277"/>
                    <a:pt x="462" y="1304"/>
                  </a:cubicBezTo>
                  <a:cubicBezTo>
                    <a:pt x="494" y="1336"/>
                    <a:pt x="526" y="1358"/>
                    <a:pt x="558" y="1363"/>
                  </a:cubicBezTo>
                  <a:cubicBezTo>
                    <a:pt x="558" y="1368"/>
                    <a:pt x="558" y="1368"/>
                    <a:pt x="558" y="1368"/>
                  </a:cubicBezTo>
                  <a:cubicBezTo>
                    <a:pt x="569" y="1368"/>
                    <a:pt x="574" y="1368"/>
                    <a:pt x="585" y="1368"/>
                  </a:cubicBezTo>
                  <a:cubicBezTo>
                    <a:pt x="591" y="1368"/>
                    <a:pt x="596" y="1363"/>
                    <a:pt x="601" y="1358"/>
                  </a:cubicBezTo>
                  <a:cubicBezTo>
                    <a:pt x="607" y="1352"/>
                    <a:pt x="607" y="1347"/>
                    <a:pt x="612" y="1342"/>
                  </a:cubicBezTo>
                  <a:cubicBezTo>
                    <a:pt x="612" y="1336"/>
                    <a:pt x="612" y="1331"/>
                    <a:pt x="612" y="1320"/>
                  </a:cubicBezTo>
                  <a:cubicBezTo>
                    <a:pt x="612" y="1315"/>
                    <a:pt x="612" y="1304"/>
                    <a:pt x="612" y="1299"/>
                  </a:cubicBezTo>
                  <a:cubicBezTo>
                    <a:pt x="612" y="1288"/>
                    <a:pt x="607" y="1283"/>
                    <a:pt x="596" y="1272"/>
                  </a:cubicBezTo>
                  <a:cubicBezTo>
                    <a:pt x="591" y="1261"/>
                    <a:pt x="580" y="1250"/>
                    <a:pt x="564" y="1234"/>
                  </a:cubicBezTo>
                  <a:cubicBezTo>
                    <a:pt x="553" y="1224"/>
                    <a:pt x="532" y="1207"/>
                    <a:pt x="510" y="1191"/>
                  </a:cubicBezTo>
                  <a:cubicBezTo>
                    <a:pt x="483" y="1164"/>
                    <a:pt x="462" y="1143"/>
                    <a:pt x="446" y="1121"/>
                  </a:cubicBezTo>
                  <a:cubicBezTo>
                    <a:pt x="429" y="1095"/>
                    <a:pt x="419" y="1073"/>
                    <a:pt x="408" y="1052"/>
                  </a:cubicBezTo>
                  <a:cubicBezTo>
                    <a:pt x="403" y="1036"/>
                    <a:pt x="397" y="1014"/>
                    <a:pt x="397" y="993"/>
                  </a:cubicBezTo>
                  <a:cubicBezTo>
                    <a:pt x="392" y="971"/>
                    <a:pt x="392" y="950"/>
                    <a:pt x="392" y="928"/>
                  </a:cubicBezTo>
                  <a:cubicBezTo>
                    <a:pt x="392" y="896"/>
                    <a:pt x="392" y="869"/>
                    <a:pt x="397" y="842"/>
                  </a:cubicBezTo>
                  <a:cubicBezTo>
                    <a:pt x="403" y="816"/>
                    <a:pt x="413" y="789"/>
                    <a:pt x="424" y="773"/>
                  </a:cubicBezTo>
                  <a:cubicBezTo>
                    <a:pt x="440" y="751"/>
                    <a:pt x="456" y="735"/>
                    <a:pt x="478" y="724"/>
                  </a:cubicBezTo>
                  <a:cubicBezTo>
                    <a:pt x="499" y="714"/>
                    <a:pt x="521" y="708"/>
                    <a:pt x="548" y="708"/>
                  </a:cubicBezTo>
                  <a:cubicBezTo>
                    <a:pt x="553" y="681"/>
                    <a:pt x="553" y="655"/>
                    <a:pt x="553" y="639"/>
                  </a:cubicBezTo>
                  <a:cubicBezTo>
                    <a:pt x="569" y="649"/>
                    <a:pt x="591" y="665"/>
                    <a:pt x="607" y="681"/>
                  </a:cubicBezTo>
                  <a:cubicBezTo>
                    <a:pt x="623" y="671"/>
                    <a:pt x="639" y="665"/>
                    <a:pt x="650" y="660"/>
                  </a:cubicBezTo>
                  <a:cubicBezTo>
                    <a:pt x="655" y="681"/>
                    <a:pt x="655" y="703"/>
                    <a:pt x="655" y="735"/>
                  </a:cubicBezTo>
                  <a:cubicBezTo>
                    <a:pt x="682" y="740"/>
                    <a:pt x="703" y="757"/>
                    <a:pt x="725" y="767"/>
                  </a:cubicBezTo>
                  <a:cubicBezTo>
                    <a:pt x="746" y="778"/>
                    <a:pt x="762" y="794"/>
                    <a:pt x="773" y="805"/>
                  </a:cubicBezTo>
                  <a:cubicBezTo>
                    <a:pt x="773" y="869"/>
                    <a:pt x="778" y="934"/>
                    <a:pt x="778" y="1003"/>
                  </a:cubicBezTo>
                  <a:cubicBezTo>
                    <a:pt x="773" y="993"/>
                    <a:pt x="762" y="982"/>
                    <a:pt x="752" y="966"/>
                  </a:cubicBezTo>
                  <a:cubicBezTo>
                    <a:pt x="741" y="955"/>
                    <a:pt x="730" y="944"/>
                    <a:pt x="719" y="934"/>
                  </a:cubicBezTo>
                  <a:cubicBezTo>
                    <a:pt x="703" y="918"/>
                    <a:pt x="693" y="907"/>
                    <a:pt x="677" y="901"/>
                  </a:cubicBezTo>
                  <a:cubicBezTo>
                    <a:pt x="660" y="891"/>
                    <a:pt x="639" y="880"/>
                    <a:pt x="623" y="875"/>
                  </a:cubicBezTo>
                  <a:cubicBezTo>
                    <a:pt x="623" y="875"/>
                    <a:pt x="623" y="875"/>
                    <a:pt x="623" y="875"/>
                  </a:cubicBezTo>
                  <a:cubicBezTo>
                    <a:pt x="612" y="875"/>
                    <a:pt x="607" y="875"/>
                    <a:pt x="601" y="875"/>
                  </a:cubicBezTo>
                  <a:cubicBezTo>
                    <a:pt x="591" y="875"/>
                    <a:pt x="585" y="880"/>
                    <a:pt x="580" y="880"/>
                  </a:cubicBezTo>
                  <a:cubicBezTo>
                    <a:pt x="574" y="885"/>
                    <a:pt x="569" y="891"/>
                    <a:pt x="569" y="896"/>
                  </a:cubicBezTo>
                  <a:cubicBezTo>
                    <a:pt x="564" y="901"/>
                    <a:pt x="564" y="907"/>
                    <a:pt x="564" y="918"/>
                  </a:cubicBezTo>
                  <a:cubicBezTo>
                    <a:pt x="564" y="923"/>
                    <a:pt x="564" y="928"/>
                    <a:pt x="564" y="934"/>
                  </a:cubicBezTo>
                  <a:cubicBezTo>
                    <a:pt x="569" y="944"/>
                    <a:pt x="569" y="950"/>
                    <a:pt x="574" y="961"/>
                  </a:cubicBezTo>
                  <a:cubicBezTo>
                    <a:pt x="580" y="971"/>
                    <a:pt x="591" y="977"/>
                    <a:pt x="601" y="993"/>
                  </a:cubicBezTo>
                  <a:cubicBezTo>
                    <a:pt x="612" y="1003"/>
                    <a:pt x="628" y="1014"/>
                    <a:pt x="650" y="1030"/>
                  </a:cubicBezTo>
                  <a:cubicBezTo>
                    <a:pt x="682" y="1062"/>
                    <a:pt x="714" y="1089"/>
                    <a:pt x="730" y="1116"/>
                  </a:cubicBezTo>
                  <a:cubicBezTo>
                    <a:pt x="752" y="1143"/>
                    <a:pt x="768" y="1164"/>
                    <a:pt x="773" y="1186"/>
                  </a:cubicBezTo>
                  <a:cubicBezTo>
                    <a:pt x="784" y="1213"/>
                    <a:pt x="789" y="1234"/>
                    <a:pt x="795" y="1256"/>
                  </a:cubicBezTo>
                  <a:cubicBezTo>
                    <a:pt x="795" y="1277"/>
                    <a:pt x="795" y="1299"/>
                    <a:pt x="795" y="1320"/>
                  </a:cubicBezTo>
                  <a:cubicBezTo>
                    <a:pt x="795" y="1336"/>
                    <a:pt x="795" y="1358"/>
                    <a:pt x="795" y="1379"/>
                  </a:cubicBezTo>
                  <a:close/>
                  <a:moveTo>
                    <a:pt x="1090" y="359"/>
                  </a:moveTo>
                  <a:cubicBezTo>
                    <a:pt x="1079" y="370"/>
                    <a:pt x="1015" y="376"/>
                    <a:pt x="961" y="413"/>
                  </a:cubicBezTo>
                  <a:cubicBezTo>
                    <a:pt x="886" y="467"/>
                    <a:pt x="811" y="553"/>
                    <a:pt x="805" y="547"/>
                  </a:cubicBezTo>
                  <a:cubicBezTo>
                    <a:pt x="795" y="547"/>
                    <a:pt x="827" y="499"/>
                    <a:pt x="827" y="499"/>
                  </a:cubicBezTo>
                  <a:cubicBezTo>
                    <a:pt x="827" y="499"/>
                    <a:pt x="483" y="456"/>
                    <a:pt x="472" y="440"/>
                  </a:cubicBezTo>
                  <a:cubicBezTo>
                    <a:pt x="467" y="424"/>
                    <a:pt x="542" y="424"/>
                    <a:pt x="542" y="424"/>
                  </a:cubicBezTo>
                  <a:cubicBezTo>
                    <a:pt x="542" y="440"/>
                    <a:pt x="542" y="440"/>
                    <a:pt x="542" y="440"/>
                  </a:cubicBezTo>
                  <a:cubicBezTo>
                    <a:pt x="854" y="472"/>
                    <a:pt x="854" y="472"/>
                    <a:pt x="854" y="472"/>
                  </a:cubicBezTo>
                  <a:cubicBezTo>
                    <a:pt x="854" y="472"/>
                    <a:pt x="897" y="418"/>
                    <a:pt x="956" y="386"/>
                  </a:cubicBezTo>
                  <a:cubicBezTo>
                    <a:pt x="1009" y="349"/>
                    <a:pt x="1063" y="343"/>
                    <a:pt x="1063" y="343"/>
                  </a:cubicBezTo>
                  <a:cubicBezTo>
                    <a:pt x="1063" y="343"/>
                    <a:pt x="1042" y="263"/>
                    <a:pt x="993" y="204"/>
                  </a:cubicBezTo>
                  <a:cubicBezTo>
                    <a:pt x="950" y="150"/>
                    <a:pt x="907" y="107"/>
                    <a:pt x="821" y="70"/>
                  </a:cubicBezTo>
                  <a:cubicBezTo>
                    <a:pt x="741" y="37"/>
                    <a:pt x="655" y="118"/>
                    <a:pt x="644" y="107"/>
                  </a:cubicBezTo>
                  <a:cubicBezTo>
                    <a:pt x="639" y="102"/>
                    <a:pt x="677" y="75"/>
                    <a:pt x="709" y="59"/>
                  </a:cubicBezTo>
                  <a:cubicBezTo>
                    <a:pt x="719" y="54"/>
                    <a:pt x="757" y="37"/>
                    <a:pt x="800" y="43"/>
                  </a:cubicBezTo>
                  <a:cubicBezTo>
                    <a:pt x="832" y="43"/>
                    <a:pt x="875" y="59"/>
                    <a:pt x="913" y="80"/>
                  </a:cubicBezTo>
                  <a:cubicBezTo>
                    <a:pt x="1009" y="134"/>
                    <a:pt x="1090" y="306"/>
                    <a:pt x="1095" y="322"/>
                  </a:cubicBezTo>
                  <a:cubicBezTo>
                    <a:pt x="1095" y="322"/>
                    <a:pt x="1106" y="349"/>
                    <a:pt x="1090" y="359"/>
                  </a:cubicBezTo>
                  <a:close/>
                  <a:moveTo>
                    <a:pt x="1326" y="853"/>
                  </a:moveTo>
                  <a:cubicBezTo>
                    <a:pt x="1342" y="848"/>
                    <a:pt x="1369" y="880"/>
                    <a:pt x="1380" y="923"/>
                  </a:cubicBezTo>
                  <a:cubicBezTo>
                    <a:pt x="1385" y="966"/>
                    <a:pt x="1380" y="1003"/>
                    <a:pt x="1358" y="1009"/>
                  </a:cubicBezTo>
                  <a:cubicBezTo>
                    <a:pt x="1337" y="1009"/>
                    <a:pt x="1315" y="982"/>
                    <a:pt x="1305" y="939"/>
                  </a:cubicBezTo>
                  <a:cubicBezTo>
                    <a:pt x="1299" y="896"/>
                    <a:pt x="1305" y="859"/>
                    <a:pt x="1326" y="853"/>
                  </a:cubicBezTo>
                  <a:close/>
                  <a:moveTo>
                    <a:pt x="1616" y="955"/>
                  </a:moveTo>
                  <a:cubicBezTo>
                    <a:pt x="1600" y="961"/>
                    <a:pt x="1578" y="934"/>
                    <a:pt x="1573" y="896"/>
                  </a:cubicBezTo>
                  <a:cubicBezTo>
                    <a:pt x="1562" y="864"/>
                    <a:pt x="1573" y="832"/>
                    <a:pt x="1589" y="826"/>
                  </a:cubicBezTo>
                  <a:cubicBezTo>
                    <a:pt x="1605" y="821"/>
                    <a:pt x="1627" y="848"/>
                    <a:pt x="1632" y="885"/>
                  </a:cubicBezTo>
                  <a:cubicBezTo>
                    <a:pt x="1643" y="918"/>
                    <a:pt x="1632" y="950"/>
                    <a:pt x="1616" y="955"/>
                  </a:cubicBezTo>
                  <a:close/>
                  <a:moveTo>
                    <a:pt x="1659" y="1331"/>
                  </a:moveTo>
                  <a:cubicBezTo>
                    <a:pt x="1648" y="1331"/>
                    <a:pt x="1632" y="1309"/>
                    <a:pt x="1632" y="1283"/>
                  </a:cubicBezTo>
                  <a:cubicBezTo>
                    <a:pt x="1632" y="1256"/>
                    <a:pt x="1643" y="1234"/>
                    <a:pt x="1654" y="1234"/>
                  </a:cubicBezTo>
                  <a:cubicBezTo>
                    <a:pt x="1659" y="1234"/>
                    <a:pt x="1659" y="1234"/>
                    <a:pt x="1664" y="1234"/>
                  </a:cubicBezTo>
                  <a:cubicBezTo>
                    <a:pt x="1659" y="1245"/>
                    <a:pt x="1654" y="1256"/>
                    <a:pt x="1654" y="1272"/>
                  </a:cubicBezTo>
                  <a:cubicBezTo>
                    <a:pt x="1654" y="1293"/>
                    <a:pt x="1664" y="1315"/>
                    <a:pt x="1675" y="1320"/>
                  </a:cubicBezTo>
                  <a:cubicBezTo>
                    <a:pt x="1670" y="1325"/>
                    <a:pt x="1664" y="1325"/>
                    <a:pt x="1659" y="1331"/>
                  </a:cubicBezTo>
                  <a:close/>
                  <a:moveTo>
                    <a:pt x="1772" y="1272"/>
                  </a:moveTo>
                  <a:cubicBezTo>
                    <a:pt x="1772" y="1272"/>
                    <a:pt x="1772" y="1272"/>
                    <a:pt x="1766" y="1272"/>
                  </a:cubicBezTo>
                  <a:cubicBezTo>
                    <a:pt x="1772" y="1266"/>
                    <a:pt x="1777" y="1250"/>
                    <a:pt x="1777" y="1240"/>
                  </a:cubicBezTo>
                  <a:cubicBezTo>
                    <a:pt x="1772" y="1218"/>
                    <a:pt x="1766" y="1207"/>
                    <a:pt x="1756" y="1202"/>
                  </a:cubicBezTo>
                  <a:cubicBezTo>
                    <a:pt x="1761" y="1197"/>
                    <a:pt x="1766" y="1191"/>
                    <a:pt x="1772" y="1191"/>
                  </a:cubicBezTo>
                  <a:cubicBezTo>
                    <a:pt x="1782" y="1191"/>
                    <a:pt x="1793" y="1207"/>
                    <a:pt x="1793" y="1234"/>
                  </a:cubicBezTo>
                  <a:cubicBezTo>
                    <a:pt x="1793" y="1256"/>
                    <a:pt x="1788" y="1272"/>
                    <a:pt x="1772" y="127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9" name="Group 8"/>
          <p:cNvGrpSpPr/>
          <p:nvPr/>
        </p:nvGrpSpPr>
        <p:grpSpPr>
          <a:xfrm>
            <a:off x="1959588" y="3825558"/>
            <a:ext cx="1622529" cy="2216175"/>
            <a:chOff x="1998881" y="3901772"/>
            <a:chExt cx="1655064" cy="2260614"/>
          </a:xfrm>
        </p:grpSpPr>
        <p:sp>
          <p:nvSpPr>
            <p:cNvPr id="175" name="Rectangle 174"/>
            <p:cNvSpPr/>
            <p:nvPr/>
          </p:nvSpPr>
          <p:spPr bwMode="auto">
            <a:xfrm>
              <a:off x="1998881" y="3901772"/>
              <a:ext cx="1655064" cy="226061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310" name="Rectangle 309"/>
            <p:cNvSpPr/>
            <p:nvPr/>
          </p:nvSpPr>
          <p:spPr bwMode="auto">
            <a:xfrm>
              <a:off x="2528646" y="4689567"/>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Complex, legacy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applications</a:t>
              </a:r>
            </a:p>
          </p:txBody>
        </p:sp>
        <p:sp>
          <p:nvSpPr>
            <p:cNvPr id="331" name="Freeform 17"/>
            <p:cNvSpPr>
              <a:spLocks noChangeAspect="1" noEditPoints="1"/>
            </p:cNvSpPr>
            <p:nvPr/>
          </p:nvSpPr>
          <p:spPr bwMode="auto">
            <a:xfrm>
              <a:off x="2116017" y="4851017"/>
              <a:ext cx="358898" cy="353476"/>
            </a:xfrm>
            <a:custGeom>
              <a:avLst/>
              <a:gdLst>
                <a:gd name="T0" fmla="*/ 136 w 137"/>
                <a:gd name="T1" fmla="*/ 23 h 135"/>
                <a:gd name="T2" fmla="*/ 36 w 137"/>
                <a:gd name="T3" fmla="*/ 19 h 135"/>
                <a:gd name="T4" fmla="*/ 33 w 137"/>
                <a:gd name="T5" fmla="*/ 26 h 135"/>
                <a:gd name="T6" fmla="*/ 74 w 137"/>
                <a:gd name="T7" fmla="*/ 95 h 135"/>
                <a:gd name="T8" fmla="*/ 94 w 137"/>
                <a:gd name="T9" fmla="*/ 135 h 135"/>
                <a:gd name="T10" fmla="*/ 137 w 137"/>
                <a:gd name="T11" fmla="*/ 31 h 135"/>
                <a:gd name="T12" fmla="*/ 98 w 137"/>
                <a:gd name="T13" fmla="*/ 5 h 135"/>
                <a:gd name="T14" fmla="*/ 135 w 137"/>
                <a:gd name="T15" fmla="*/ 28 h 135"/>
                <a:gd name="T16" fmla="*/ 98 w 137"/>
                <a:gd name="T17" fmla="*/ 5 h 135"/>
                <a:gd name="T18" fmla="*/ 96 w 137"/>
                <a:gd name="T19" fmla="*/ 127 h 135"/>
                <a:gd name="T20" fmla="*/ 136 w 137"/>
                <a:gd name="T21" fmla="*/ 101 h 135"/>
                <a:gd name="T22" fmla="*/ 136 w 137"/>
                <a:gd name="T23" fmla="*/ 95 h 135"/>
                <a:gd name="T24" fmla="*/ 96 w 137"/>
                <a:gd name="T25" fmla="*/ 102 h 135"/>
                <a:gd name="T26" fmla="*/ 136 w 137"/>
                <a:gd name="T27" fmla="*/ 95 h 135"/>
                <a:gd name="T28" fmla="*/ 96 w 137"/>
                <a:gd name="T29" fmla="*/ 93 h 135"/>
                <a:gd name="T30" fmla="*/ 136 w 137"/>
                <a:gd name="T31" fmla="*/ 79 h 135"/>
                <a:gd name="T32" fmla="*/ 136 w 137"/>
                <a:gd name="T33" fmla="*/ 73 h 135"/>
                <a:gd name="T34" fmla="*/ 96 w 137"/>
                <a:gd name="T35" fmla="*/ 68 h 135"/>
                <a:gd name="T36" fmla="*/ 136 w 137"/>
                <a:gd name="T37" fmla="*/ 73 h 135"/>
                <a:gd name="T38" fmla="*/ 96 w 137"/>
                <a:gd name="T39" fmla="*/ 59 h 135"/>
                <a:gd name="T40" fmla="*/ 136 w 137"/>
                <a:gd name="T41" fmla="*/ 57 h 135"/>
                <a:gd name="T42" fmla="*/ 136 w 137"/>
                <a:gd name="T43" fmla="*/ 51 h 135"/>
                <a:gd name="T44" fmla="*/ 96 w 137"/>
                <a:gd name="T45" fmla="*/ 34 h 135"/>
                <a:gd name="T46" fmla="*/ 136 w 137"/>
                <a:gd name="T47" fmla="*/ 51 h 135"/>
                <a:gd name="T48" fmla="*/ 96 w 137"/>
                <a:gd name="T49" fmla="*/ 25 h 135"/>
                <a:gd name="T50" fmla="*/ 136 w 137"/>
                <a:gd name="T51" fmla="*/ 34 h 135"/>
                <a:gd name="T52" fmla="*/ 33 w 137"/>
                <a:gd name="T53" fmla="*/ 62 h 135"/>
                <a:gd name="T54" fmla="*/ 33 w 137"/>
                <a:gd name="T55" fmla="*/ 128 h 135"/>
                <a:gd name="T56" fmla="*/ 33 w 137"/>
                <a:gd name="T57" fmla="*/ 62 h 135"/>
                <a:gd name="T58" fmla="*/ 15 w 137"/>
                <a:gd name="T59" fmla="*/ 98 h 135"/>
                <a:gd name="T60" fmla="*/ 30 w 137"/>
                <a:gd name="T61" fmla="*/ 100 h 135"/>
                <a:gd name="T62" fmla="*/ 55 w 137"/>
                <a:gd name="T63" fmla="*/ 8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5">
                  <a:moveTo>
                    <a:pt x="136" y="31"/>
                  </a:moveTo>
                  <a:cubicBezTo>
                    <a:pt x="136" y="23"/>
                    <a:pt x="136" y="23"/>
                    <a:pt x="136" y="23"/>
                  </a:cubicBezTo>
                  <a:cubicBezTo>
                    <a:pt x="96" y="0"/>
                    <a:pt x="96" y="0"/>
                    <a:pt x="96" y="0"/>
                  </a:cubicBezTo>
                  <a:cubicBezTo>
                    <a:pt x="36" y="19"/>
                    <a:pt x="36" y="19"/>
                    <a:pt x="36" y="19"/>
                  </a:cubicBezTo>
                  <a:cubicBezTo>
                    <a:pt x="36" y="26"/>
                    <a:pt x="36" y="26"/>
                    <a:pt x="36" y="26"/>
                  </a:cubicBezTo>
                  <a:cubicBezTo>
                    <a:pt x="33" y="26"/>
                    <a:pt x="33" y="26"/>
                    <a:pt x="33" y="26"/>
                  </a:cubicBezTo>
                  <a:cubicBezTo>
                    <a:pt x="33" y="55"/>
                    <a:pt x="33" y="55"/>
                    <a:pt x="33" y="55"/>
                  </a:cubicBezTo>
                  <a:cubicBezTo>
                    <a:pt x="56" y="55"/>
                    <a:pt x="74" y="73"/>
                    <a:pt x="74" y="95"/>
                  </a:cubicBezTo>
                  <a:cubicBezTo>
                    <a:pt x="74" y="107"/>
                    <a:pt x="69" y="117"/>
                    <a:pt x="61" y="124"/>
                  </a:cubicBezTo>
                  <a:cubicBezTo>
                    <a:pt x="94" y="135"/>
                    <a:pt x="94" y="135"/>
                    <a:pt x="94" y="135"/>
                  </a:cubicBezTo>
                  <a:cubicBezTo>
                    <a:pt x="137" y="110"/>
                    <a:pt x="137" y="110"/>
                    <a:pt x="137" y="110"/>
                  </a:cubicBezTo>
                  <a:cubicBezTo>
                    <a:pt x="137" y="31"/>
                    <a:pt x="137" y="31"/>
                    <a:pt x="137" y="31"/>
                  </a:cubicBezTo>
                  <a:lnTo>
                    <a:pt x="136" y="31"/>
                  </a:lnTo>
                  <a:close/>
                  <a:moveTo>
                    <a:pt x="98" y="5"/>
                  </a:moveTo>
                  <a:cubicBezTo>
                    <a:pt x="135" y="25"/>
                    <a:pt x="135" y="25"/>
                    <a:pt x="135" y="25"/>
                  </a:cubicBezTo>
                  <a:cubicBezTo>
                    <a:pt x="135" y="28"/>
                    <a:pt x="135" y="28"/>
                    <a:pt x="135" y="28"/>
                  </a:cubicBezTo>
                  <a:cubicBezTo>
                    <a:pt x="98" y="9"/>
                    <a:pt x="98" y="9"/>
                    <a:pt x="98" y="9"/>
                  </a:cubicBezTo>
                  <a:lnTo>
                    <a:pt x="98" y="5"/>
                  </a:lnTo>
                  <a:close/>
                  <a:moveTo>
                    <a:pt x="136" y="107"/>
                  </a:moveTo>
                  <a:cubicBezTo>
                    <a:pt x="96" y="127"/>
                    <a:pt x="96" y="127"/>
                    <a:pt x="96" y="127"/>
                  </a:cubicBezTo>
                  <a:cubicBezTo>
                    <a:pt x="96" y="119"/>
                    <a:pt x="96" y="119"/>
                    <a:pt x="96" y="119"/>
                  </a:cubicBezTo>
                  <a:cubicBezTo>
                    <a:pt x="136" y="101"/>
                    <a:pt x="136" y="101"/>
                    <a:pt x="136" y="101"/>
                  </a:cubicBezTo>
                  <a:lnTo>
                    <a:pt x="136" y="107"/>
                  </a:lnTo>
                  <a:close/>
                  <a:moveTo>
                    <a:pt x="136" y="95"/>
                  </a:moveTo>
                  <a:cubicBezTo>
                    <a:pt x="96" y="110"/>
                    <a:pt x="96" y="110"/>
                    <a:pt x="96" y="110"/>
                  </a:cubicBezTo>
                  <a:cubicBezTo>
                    <a:pt x="96" y="102"/>
                    <a:pt x="96" y="102"/>
                    <a:pt x="96" y="102"/>
                  </a:cubicBezTo>
                  <a:cubicBezTo>
                    <a:pt x="136" y="90"/>
                    <a:pt x="136" y="90"/>
                    <a:pt x="136" y="90"/>
                  </a:cubicBezTo>
                  <a:lnTo>
                    <a:pt x="136" y="95"/>
                  </a:lnTo>
                  <a:close/>
                  <a:moveTo>
                    <a:pt x="136" y="84"/>
                  </a:moveTo>
                  <a:cubicBezTo>
                    <a:pt x="96" y="93"/>
                    <a:pt x="96" y="93"/>
                    <a:pt x="96" y="93"/>
                  </a:cubicBezTo>
                  <a:cubicBezTo>
                    <a:pt x="96" y="85"/>
                    <a:pt x="96" y="85"/>
                    <a:pt x="96" y="85"/>
                  </a:cubicBezTo>
                  <a:cubicBezTo>
                    <a:pt x="136" y="79"/>
                    <a:pt x="136" y="79"/>
                    <a:pt x="136" y="79"/>
                  </a:cubicBezTo>
                  <a:lnTo>
                    <a:pt x="136" y="84"/>
                  </a:lnTo>
                  <a:close/>
                  <a:moveTo>
                    <a:pt x="136" y="73"/>
                  </a:moveTo>
                  <a:cubicBezTo>
                    <a:pt x="96" y="76"/>
                    <a:pt x="96" y="76"/>
                    <a:pt x="96" y="76"/>
                  </a:cubicBezTo>
                  <a:cubicBezTo>
                    <a:pt x="96" y="68"/>
                    <a:pt x="96" y="68"/>
                    <a:pt x="96" y="68"/>
                  </a:cubicBezTo>
                  <a:cubicBezTo>
                    <a:pt x="136" y="68"/>
                    <a:pt x="136" y="68"/>
                    <a:pt x="136" y="68"/>
                  </a:cubicBezTo>
                  <a:lnTo>
                    <a:pt x="136" y="73"/>
                  </a:lnTo>
                  <a:close/>
                  <a:moveTo>
                    <a:pt x="136" y="62"/>
                  </a:moveTo>
                  <a:cubicBezTo>
                    <a:pt x="96" y="59"/>
                    <a:pt x="96" y="59"/>
                    <a:pt x="96" y="59"/>
                  </a:cubicBezTo>
                  <a:cubicBezTo>
                    <a:pt x="96" y="51"/>
                    <a:pt x="96" y="51"/>
                    <a:pt x="96" y="51"/>
                  </a:cubicBezTo>
                  <a:cubicBezTo>
                    <a:pt x="136" y="57"/>
                    <a:pt x="136" y="57"/>
                    <a:pt x="136" y="57"/>
                  </a:cubicBezTo>
                  <a:lnTo>
                    <a:pt x="136" y="62"/>
                  </a:lnTo>
                  <a:close/>
                  <a:moveTo>
                    <a:pt x="136" y="51"/>
                  </a:moveTo>
                  <a:cubicBezTo>
                    <a:pt x="96" y="43"/>
                    <a:pt x="96" y="43"/>
                    <a:pt x="96" y="43"/>
                  </a:cubicBezTo>
                  <a:cubicBezTo>
                    <a:pt x="96" y="34"/>
                    <a:pt x="96" y="34"/>
                    <a:pt x="96" y="34"/>
                  </a:cubicBezTo>
                  <a:cubicBezTo>
                    <a:pt x="136" y="46"/>
                    <a:pt x="136" y="46"/>
                    <a:pt x="136" y="46"/>
                  </a:cubicBezTo>
                  <a:lnTo>
                    <a:pt x="136" y="51"/>
                  </a:lnTo>
                  <a:close/>
                  <a:moveTo>
                    <a:pt x="136" y="40"/>
                  </a:moveTo>
                  <a:cubicBezTo>
                    <a:pt x="96" y="25"/>
                    <a:pt x="96" y="25"/>
                    <a:pt x="96" y="25"/>
                  </a:cubicBezTo>
                  <a:cubicBezTo>
                    <a:pt x="96" y="17"/>
                    <a:pt x="96" y="17"/>
                    <a:pt x="96" y="17"/>
                  </a:cubicBezTo>
                  <a:cubicBezTo>
                    <a:pt x="136" y="34"/>
                    <a:pt x="136" y="34"/>
                    <a:pt x="136" y="34"/>
                  </a:cubicBezTo>
                  <a:lnTo>
                    <a:pt x="136" y="40"/>
                  </a:lnTo>
                  <a:close/>
                  <a:moveTo>
                    <a:pt x="33" y="62"/>
                  </a:moveTo>
                  <a:cubicBezTo>
                    <a:pt x="15" y="62"/>
                    <a:pt x="0" y="77"/>
                    <a:pt x="0" y="95"/>
                  </a:cubicBezTo>
                  <a:cubicBezTo>
                    <a:pt x="0" y="113"/>
                    <a:pt x="15" y="128"/>
                    <a:pt x="33" y="128"/>
                  </a:cubicBezTo>
                  <a:cubicBezTo>
                    <a:pt x="52" y="128"/>
                    <a:pt x="66" y="113"/>
                    <a:pt x="66" y="95"/>
                  </a:cubicBezTo>
                  <a:cubicBezTo>
                    <a:pt x="66" y="77"/>
                    <a:pt x="52" y="62"/>
                    <a:pt x="33" y="62"/>
                  </a:cubicBezTo>
                  <a:close/>
                  <a:moveTo>
                    <a:pt x="30" y="112"/>
                  </a:moveTo>
                  <a:cubicBezTo>
                    <a:pt x="30" y="112"/>
                    <a:pt x="30" y="112"/>
                    <a:pt x="15" y="98"/>
                  </a:cubicBezTo>
                  <a:cubicBezTo>
                    <a:pt x="15" y="98"/>
                    <a:pt x="15" y="98"/>
                    <a:pt x="20" y="92"/>
                  </a:cubicBezTo>
                  <a:cubicBezTo>
                    <a:pt x="20" y="92"/>
                    <a:pt x="26" y="98"/>
                    <a:pt x="30" y="100"/>
                  </a:cubicBezTo>
                  <a:cubicBezTo>
                    <a:pt x="38" y="92"/>
                    <a:pt x="49" y="81"/>
                    <a:pt x="49" y="81"/>
                  </a:cubicBezTo>
                  <a:cubicBezTo>
                    <a:pt x="55" y="87"/>
                    <a:pt x="55" y="87"/>
                    <a:pt x="55" y="87"/>
                  </a:cubicBezTo>
                  <a:cubicBezTo>
                    <a:pt x="55" y="87"/>
                    <a:pt x="55" y="87"/>
                    <a:pt x="30" y="112"/>
                  </a:cubicBezTo>
                  <a:close/>
                </a:path>
              </a:pathLst>
            </a:custGeom>
            <a:solidFill>
              <a:schemeClr val="tx1"/>
            </a:solidFill>
            <a:ln>
              <a:noFill/>
            </a:ln>
          </p:spPr>
          <p:txBody>
            <a:bodyPr vert="horz" wrap="square" lIns="89642" tIns="44821" rIns="89642" bIns="44821" numCol="1" anchor="ctr" anchorCtr="0" compatLnSpc="1">
              <a:prstTxWarp prst="textNoShape">
                <a:avLst/>
              </a:prstTxWarp>
            </a:bodyPr>
            <a:lstStyle/>
            <a:p>
              <a:pPr defTabSz="914206"/>
              <a:endParaRPr lang="en-US" sz="1765">
                <a:solidFill>
                  <a:srgbClr val="505050"/>
                </a:solidFill>
              </a:endParaRPr>
            </a:p>
          </p:txBody>
        </p:sp>
        <p:sp>
          <p:nvSpPr>
            <p:cNvPr id="311" name="Rectangle 310"/>
            <p:cNvSpPr/>
            <p:nvPr/>
          </p:nvSpPr>
          <p:spPr bwMode="auto">
            <a:xfrm>
              <a:off x="2528646" y="5439765"/>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Rapid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development</a:t>
              </a:r>
            </a:p>
          </p:txBody>
        </p:sp>
        <p:sp>
          <p:nvSpPr>
            <p:cNvPr id="332" name="Freeform 205"/>
            <p:cNvSpPr>
              <a:spLocks noChangeAspect="1" noEditPoints="1"/>
            </p:cNvSpPr>
            <p:nvPr/>
          </p:nvSpPr>
          <p:spPr bwMode="auto">
            <a:xfrm>
              <a:off x="2141031" y="5612426"/>
              <a:ext cx="342791" cy="339495"/>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chemeClr val="tx1"/>
            </a:solidFill>
            <a:ln>
              <a:noFill/>
            </a:ln>
            <a:extLst/>
          </p:spPr>
          <p:txBody>
            <a:bodyPr vert="horz" wrap="square" lIns="89642" tIns="44821" rIns="89642" bIns="44821" numCol="1" anchor="ctr" anchorCtr="0" compatLnSpc="1">
              <a:prstTxWarp prst="textNoShape">
                <a:avLst/>
              </a:prstTxWarp>
            </a:bodyPr>
            <a:lstStyle/>
            <a:p>
              <a:pPr defTabSz="914206"/>
              <a:endParaRPr lang="en-US" sz="1765">
                <a:solidFill>
                  <a:srgbClr val="505050"/>
                </a:solidFill>
              </a:endParaRPr>
            </a:p>
          </p:txBody>
        </p:sp>
        <p:sp>
          <p:nvSpPr>
            <p:cNvPr id="308" name="Rectangle 307"/>
            <p:cNvSpPr/>
            <p:nvPr/>
          </p:nvSpPr>
          <p:spPr bwMode="auto">
            <a:xfrm>
              <a:off x="2528647" y="3975465"/>
              <a:ext cx="1125298"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Economics</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limited budgets</a:t>
              </a:r>
            </a:p>
          </p:txBody>
        </p:sp>
        <p:sp>
          <p:nvSpPr>
            <p:cNvPr id="178" name="Freeform 9"/>
            <p:cNvSpPr>
              <a:spLocks noEditPoints="1"/>
            </p:cNvSpPr>
            <p:nvPr/>
          </p:nvSpPr>
          <p:spPr bwMode="auto">
            <a:xfrm>
              <a:off x="2133866" y="4121998"/>
              <a:ext cx="356557" cy="387942"/>
            </a:xfrm>
            <a:custGeom>
              <a:avLst/>
              <a:gdLst>
                <a:gd name="T0" fmla="*/ 1697 w 1863"/>
                <a:gd name="T1" fmla="*/ 848 h 2028"/>
                <a:gd name="T2" fmla="*/ 1611 w 1863"/>
                <a:gd name="T3" fmla="*/ 655 h 2028"/>
                <a:gd name="T4" fmla="*/ 1648 w 1863"/>
                <a:gd name="T5" fmla="*/ 333 h 2028"/>
                <a:gd name="T6" fmla="*/ 1181 w 1863"/>
                <a:gd name="T7" fmla="*/ 354 h 2028"/>
                <a:gd name="T8" fmla="*/ 746 w 1863"/>
                <a:gd name="T9" fmla="*/ 27 h 2028"/>
                <a:gd name="T10" fmla="*/ 252 w 1863"/>
                <a:gd name="T11" fmla="*/ 461 h 2028"/>
                <a:gd name="T12" fmla="*/ 258 w 1863"/>
                <a:gd name="T13" fmla="*/ 1642 h 2028"/>
                <a:gd name="T14" fmla="*/ 558 w 1863"/>
                <a:gd name="T15" fmla="*/ 1798 h 2028"/>
                <a:gd name="T16" fmla="*/ 623 w 1863"/>
                <a:gd name="T17" fmla="*/ 1787 h 2028"/>
                <a:gd name="T18" fmla="*/ 923 w 1863"/>
                <a:gd name="T19" fmla="*/ 2028 h 2028"/>
                <a:gd name="T20" fmla="*/ 1176 w 1863"/>
                <a:gd name="T21" fmla="*/ 1841 h 2028"/>
                <a:gd name="T22" fmla="*/ 1552 w 1863"/>
                <a:gd name="T23" fmla="*/ 1723 h 2028"/>
                <a:gd name="T24" fmla="*/ 1723 w 1863"/>
                <a:gd name="T25" fmla="*/ 1513 h 2028"/>
                <a:gd name="T26" fmla="*/ 795 w 1863"/>
                <a:gd name="T27" fmla="*/ 1379 h 2028"/>
                <a:gd name="T28" fmla="*/ 655 w 1863"/>
                <a:gd name="T29" fmla="*/ 1535 h 2028"/>
                <a:gd name="T30" fmla="*/ 548 w 1863"/>
                <a:gd name="T31" fmla="*/ 1578 h 2028"/>
                <a:gd name="T32" fmla="*/ 451 w 1863"/>
                <a:gd name="T33" fmla="*/ 1470 h 2028"/>
                <a:gd name="T34" fmla="*/ 392 w 1863"/>
                <a:gd name="T35" fmla="*/ 1207 h 2028"/>
                <a:gd name="T36" fmla="*/ 558 w 1863"/>
                <a:gd name="T37" fmla="*/ 1368 h 2028"/>
                <a:gd name="T38" fmla="*/ 612 w 1863"/>
                <a:gd name="T39" fmla="*/ 1342 h 2028"/>
                <a:gd name="T40" fmla="*/ 596 w 1863"/>
                <a:gd name="T41" fmla="*/ 1272 h 2028"/>
                <a:gd name="T42" fmla="*/ 446 w 1863"/>
                <a:gd name="T43" fmla="*/ 1121 h 2028"/>
                <a:gd name="T44" fmla="*/ 392 w 1863"/>
                <a:gd name="T45" fmla="*/ 928 h 2028"/>
                <a:gd name="T46" fmla="*/ 478 w 1863"/>
                <a:gd name="T47" fmla="*/ 724 h 2028"/>
                <a:gd name="T48" fmla="*/ 607 w 1863"/>
                <a:gd name="T49" fmla="*/ 681 h 2028"/>
                <a:gd name="T50" fmla="*/ 725 w 1863"/>
                <a:gd name="T51" fmla="*/ 767 h 2028"/>
                <a:gd name="T52" fmla="*/ 752 w 1863"/>
                <a:gd name="T53" fmla="*/ 966 h 2028"/>
                <a:gd name="T54" fmla="*/ 623 w 1863"/>
                <a:gd name="T55" fmla="*/ 875 h 2028"/>
                <a:gd name="T56" fmla="*/ 580 w 1863"/>
                <a:gd name="T57" fmla="*/ 880 h 2028"/>
                <a:gd name="T58" fmla="*/ 564 w 1863"/>
                <a:gd name="T59" fmla="*/ 934 h 2028"/>
                <a:gd name="T60" fmla="*/ 650 w 1863"/>
                <a:gd name="T61" fmla="*/ 1030 h 2028"/>
                <a:gd name="T62" fmla="*/ 795 w 1863"/>
                <a:gd name="T63" fmla="*/ 1256 h 2028"/>
                <a:gd name="T64" fmla="*/ 1090 w 1863"/>
                <a:gd name="T65" fmla="*/ 359 h 2028"/>
                <a:gd name="T66" fmla="*/ 827 w 1863"/>
                <a:gd name="T67" fmla="*/ 499 h 2028"/>
                <a:gd name="T68" fmla="*/ 542 w 1863"/>
                <a:gd name="T69" fmla="*/ 440 h 2028"/>
                <a:gd name="T70" fmla="*/ 1063 w 1863"/>
                <a:gd name="T71" fmla="*/ 343 h 2028"/>
                <a:gd name="T72" fmla="*/ 644 w 1863"/>
                <a:gd name="T73" fmla="*/ 107 h 2028"/>
                <a:gd name="T74" fmla="*/ 913 w 1863"/>
                <a:gd name="T75" fmla="*/ 80 h 2028"/>
                <a:gd name="T76" fmla="*/ 1326 w 1863"/>
                <a:gd name="T77" fmla="*/ 853 h 2028"/>
                <a:gd name="T78" fmla="*/ 1305 w 1863"/>
                <a:gd name="T79" fmla="*/ 939 h 2028"/>
                <a:gd name="T80" fmla="*/ 1573 w 1863"/>
                <a:gd name="T81" fmla="*/ 896 h 2028"/>
                <a:gd name="T82" fmla="*/ 1616 w 1863"/>
                <a:gd name="T83" fmla="*/ 955 h 2028"/>
                <a:gd name="T84" fmla="*/ 1654 w 1863"/>
                <a:gd name="T85" fmla="*/ 1234 h 2028"/>
                <a:gd name="T86" fmla="*/ 1675 w 1863"/>
                <a:gd name="T87" fmla="*/ 1320 h 2028"/>
                <a:gd name="T88" fmla="*/ 1766 w 1863"/>
                <a:gd name="T89" fmla="*/ 1272 h 2028"/>
                <a:gd name="T90" fmla="*/ 1772 w 1863"/>
                <a:gd name="T91" fmla="*/ 1191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3" h="2028">
                  <a:moveTo>
                    <a:pt x="1842" y="1148"/>
                  </a:moveTo>
                  <a:cubicBezTo>
                    <a:pt x="1831" y="1138"/>
                    <a:pt x="1788" y="1095"/>
                    <a:pt x="1777" y="1079"/>
                  </a:cubicBezTo>
                  <a:cubicBezTo>
                    <a:pt x="1766" y="1062"/>
                    <a:pt x="1739" y="939"/>
                    <a:pt x="1697" y="848"/>
                  </a:cubicBezTo>
                  <a:cubicBezTo>
                    <a:pt x="1680" y="816"/>
                    <a:pt x="1664" y="757"/>
                    <a:pt x="1632" y="714"/>
                  </a:cubicBezTo>
                  <a:cubicBezTo>
                    <a:pt x="1568" y="633"/>
                    <a:pt x="1482" y="585"/>
                    <a:pt x="1487" y="574"/>
                  </a:cubicBezTo>
                  <a:cubicBezTo>
                    <a:pt x="1487" y="563"/>
                    <a:pt x="1605" y="655"/>
                    <a:pt x="1611" y="655"/>
                  </a:cubicBezTo>
                  <a:cubicBezTo>
                    <a:pt x="1611" y="655"/>
                    <a:pt x="1643" y="601"/>
                    <a:pt x="1675" y="553"/>
                  </a:cubicBezTo>
                  <a:cubicBezTo>
                    <a:pt x="1691" y="520"/>
                    <a:pt x="1718" y="488"/>
                    <a:pt x="1723" y="456"/>
                  </a:cubicBezTo>
                  <a:cubicBezTo>
                    <a:pt x="1729" y="413"/>
                    <a:pt x="1718" y="359"/>
                    <a:pt x="1648" y="333"/>
                  </a:cubicBezTo>
                  <a:cubicBezTo>
                    <a:pt x="1621" y="322"/>
                    <a:pt x="1546" y="311"/>
                    <a:pt x="1471" y="317"/>
                  </a:cubicBezTo>
                  <a:cubicBezTo>
                    <a:pt x="1353" y="327"/>
                    <a:pt x="1267" y="376"/>
                    <a:pt x="1240" y="365"/>
                  </a:cubicBezTo>
                  <a:cubicBezTo>
                    <a:pt x="1229" y="365"/>
                    <a:pt x="1203" y="354"/>
                    <a:pt x="1181" y="354"/>
                  </a:cubicBezTo>
                  <a:cubicBezTo>
                    <a:pt x="1160" y="349"/>
                    <a:pt x="1138" y="354"/>
                    <a:pt x="1133" y="349"/>
                  </a:cubicBezTo>
                  <a:cubicBezTo>
                    <a:pt x="1127" y="349"/>
                    <a:pt x="1106" y="215"/>
                    <a:pt x="1036" y="139"/>
                  </a:cubicBezTo>
                  <a:cubicBezTo>
                    <a:pt x="993" y="102"/>
                    <a:pt x="891" y="0"/>
                    <a:pt x="746" y="27"/>
                  </a:cubicBezTo>
                  <a:cubicBezTo>
                    <a:pt x="671" y="37"/>
                    <a:pt x="585" y="118"/>
                    <a:pt x="548" y="204"/>
                  </a:cubicBezTo>
                  <a:cubicBezTo>
                    <a:pt x="515" y="290"/>
                    <a:pt x="542" y="381"/>
                    <a:pt x="537" y="381"/>
                  </a:cubicBezTo>
                  <a:cubicBezTo>
                    <a:pt x="537" y="386"/>
                    <a:pt x="354" y="354"/>
                    <a:pt x="252" y="461"/>
                  </a:cubicBezTo>
                  <a:cubicBezTo>
                    <a:pt x="188" y="542"/>
                    <a:pt x="0" y="837"/>
                    <a:pt x="21" y="1111"/>
                  </a:cubicBezTo>
                  <a:cubicBezTo>
                    <a:pt x="27" y="1202"/>
                    <a:pt x="54" y="1304"/>
                    <a:pt x="102" y="1395"/>
                  </a:cubicBezTo>
                  <a:cubicBezTo>
                    <a:pt x="150" y="1492"/>
                    <a:pt x="220" y="1572"/>
                    <a:pt x="258" y="1642"/>
                  </a:cubicBezTo>
                  <a:cubicBezTo>
                    <a:pt x="306" y="1717"/>
                    <a:pt x="306" y="1760"/>
                    <a:pt x="311" y="1771"/>
                  </a:cubicBezTo>
                  <a:cubicBezTo>
                    <a:pt x="311" y="1776"/>
                    <a:pt x="376" y="1825"/>
                    <a:pt x="435" y="1825"/>
                  </a:cubicBezTo>
                  <a:cubicBezTo>
                    <a:pt x="483" y="1825"/>
                    <a:pt x="537" y="1808"/>
                    <a:pt x="558" y="1798"/>
                  </a:cubicBezTo>
                  <a:cubicBezTo>
                    <a:pt x="569" y="1792"/>
                    <a:pt x="564" y="1782"/>
                    <a:pt x="564" y="1776"/>
                  </a:cubicBezTo>
                  <a:cubicBezTo>
                    <a:pt x="558" y="1771"/>
                    <a:pt x="451" y="1717"/>
                    <a:pt x="451" y="1707"/>
                  </a:cubicBezTo>
                  <a:cubicBezTo>
                    <a:pt x="451" y="1701"/>
                    <a:pt x="542" y="1739"/>
                    <a:pt x="623" y="1787"/>
                  </a:cubicBezTo>
                  <a:cubicBezTo>
                    <a:pt x="709" y="1835"/>
                    <a:pt x="784" y="1894"/>
                    <a:pt x="784" y="1894"/>
                  </a:cubicBezTo>
                  <a:cubicBezTo>
                    <a:pt x="784" y="1894"/>
                    <a:pt x="778" y="1937"/>
                    <a:pt x="778" y="1953"/>
                  </a:cubicBezTo>
                  <a:cubicBezTo>
                    <a:pt x="778" y="1975"/>
                    <a:pt x="848" y="2028"/>
                    <a:pt x="923" y="2028"/>
                  </a:cubicBezTo>
                  <a:cubicBezTo>
                    <a:pt x="1004" y="2028"/>
                    <a:pt x="1068" y="1991"/>
                    <a:pt x="1068" y="1975"/>
                  </a:cubicBezTo>
                  <a:cubicBezTo>
                    <a:pt x="1068" y="1964"/>
                    <a:pt x="1074" y="1916"/>
                    <a:pt x="1085" y="1894"/>
                  </a:cubicBezTo>
                  <a:cubicBezTo>
                    <a:pt x="1085" y="1894"/>
                    <a:pt x="1122" y="1862"/>
                    <a:pt x="1176" y="1841"/>
                  </a:cubicBezTo>
                  <a:cubicBezTo>
                    <a:pt x="1219" y="1819"/>
                    <a:pt x="1267" y="1803"/>
                    <a:pt x="1321" y="1782"/>
                  </a:cubicBezTo>
                  <a:cubicBezTo>
                    <a:pt x="1342" y="1787"/>
                    <a:pt x="1374" y="1792"/>
                    <a:pt x="1407" y="1792"/>
                  </a:cubicBezTo>
                  <a:cubicBezTo>
                    <a:pt x="1482" y="1792"/>
                    <a:pt x="1552" y="1739"/>
                    <a:pt x="1552" y="1723"/>
                  </a:cubicBezTo>
                  <a:cubicBezTo>
                    <a:pt x="1552" y="1712"/>
                    <a:pt x="1552" y="1674"/>
                    <a:pt x="1552" y="1647"/>
                  </a:cubicBezTo>
                  <a:cubicBezTo>
                    <a:pt x="1627" y="1583"/>
                    <a:pt x="1659" y="1540"/>
                    <a:pt x="1675" y="1529"/>
                  </a:cubicBezTo>
                  <a:cubicBezTo>
                    <a:pt x="1702" y="1519"/>
                    <a:pt x="1713" y="1519"/>
                    <a:pt x="1723" y="1513"/>
                  </a:cubicBezTo>
                  <a:cubicBezTo>
                    <a:pt x="1729" y="1513"/>
                    <a:pt x="1804" y="1454"/>
                    <a:pt x="1831" y="1368"/>
                  </a:cubicBezTo>
                  <a:cubicBezTo>
                    <a:pt x="1863" y="1277"/>
                    <a:pt x="1852" y="1164"/>
                    <a:pt x="1842" y="1148"/>
                  </a:cubicBezTo>
                  <a:close/>
                  <a:moveTo>
                    <a:pt x="795" y="1379"/>
                  </a:moveTo>
                  <a:cubicBezTo>
                    <a:pt x="789" y="1401"/>
                    <a:pt x="784" y="1422"/>
                    <a:pt x="773" y="1449"/>
                  </a:cubicBezTo>
                  <a:cubicBezTo>
                    <a:pt x="762" y="1470"/>
                    <a:pt x="752" y="1486"/>
                    <a:pt x="730" y="1503"/>
                  </a:cubicBezTo>
                  <a:cubicBezTo>
                    <a:pt x="714" y="1524"/>
                    <a:pt x="687" y="1535"/>
                    <a:pt x="655" y="1535"/>
                  </a:cubicBezTo>
                  <a:cubicBezTo>
                    <a:pt x="655" y="1562"/>
                    <a:pt x="655" y="1583"/>
                    <a:pt x="650" y="1604"/>
                  </a:cubicBezTo>
                  <a:cubicBezTo>
                    <a:pt x="634" y="1610"/>
                    <a:pt x="617" y="1615"/>
                    <a:pt x="596" y="1621"/>
                  </a:cubicBezTo>
                  <a:cubicBezTo>
                    <a:pt x="580" y="1604"/>
                    <a:pt x="564" y="1594"/>
                    <a:pt x="548" y="1578"/>
                  </a:cubicBezTo>
                  <a:cubicBezTo>
                    <a:pt x="548" y="1562"/>
                    <a:pt x="548" y="1540"/>
                    <a:pt x="548" y="1524"/>
                  </a:cubicBezTo>
                  <a:cubicBezTo>
                    <a:pt x="532" y="1519"/>
                    <a:pt x="515" y="1508"/>
                    <a:pt x="499" y="1503"/>
                  </a:cubicBezTo>
                  <a:cubicBezTo>
                    <a:pt x="483" y="1492"/>
                    <a:pt x="467" y="1481"/>
                    <a:pt x="451" y="1470"/>
                  </a:cubicBezTo>
                  <a:cubicBezTo>
                    <a:pt x="440" y="1460"/>
                    <a:pt x="424" y="1449"/>
                    <a:pt x="413" y="1438"/>
                  </a:cubicBezTo>
                  <a:cubicBezTo>
                    <a:pt x="408" y="1427"/>
                    <a:pt x="397" y="1417"/>
                    <a:pt x="397" y="1411"/>
                  </a:cubicBezTo>
                  <a:cubicBezTo>
                    <a:pt x="397" y="1342"/>
                    <a:pt x="392" y="1277"/>
                    <a:pt x="392" y="1207"/>
                  </a:cubicBezTo>
                  <a:cubicBezTo>
                    <a:pt x="408" y="1245"/>
                    <a:pt x="435" y="1277"/>
                    <a:pt x="462" y="1304"/>
                  </a:cubicBezTo>
                  <a:cubicBezTo>
                    <a:pt x="494" y="1336"/>
                    <a:pt x="526" y="1358"/>
                    <a:pt x="558" y="1363"/>
                  </a:cubicBezTo>
                  <a:cubicBezTo>
                    <a:pt x="558" y="1368"/>
                    <a:pt x="558" y="1368"/>
                    <a:pt x="558" y="1368"/>
                  </a:cubicBezTo>
                  <a:cubicBezTo>
                    <a:pt x="569" y="1368"/>
                    <a:pt x="574" y="1368"/>
                    <a:pt x="585" y="1368"/>
                  </a:cubicBezTo>
                  <a:cubicBezTo>
                    <a:pt x="591" y="1368"/>
                    <a:pt x="596" y="1363"/>
                    <a:pt x="601" y="1358"/>
                  </a:cubicBezTo>
                  <a:cubicBezTo>
                    <a:pt x="607" y="1352"/>
                    <a:pt x="607" y="1347"/>
                    <a:pt x="612" y="1342"/>
                  </a:cubicBezTo>
                  <a:cubicBezTo>
                    <a:pt x="612" y="1336"/>
                    <a:pt x="612" y="1331"/>
                    <a:pt x="612" y="1320"/>
                  </a:cubicBezTo>
                  <a:cubicBezTo>
                    <a:pt x="612" y="1315"/>
                    <a:pt x="612" y="1304"/>
                    <a:pt x="612" y="1299"/>
                  </a:cubicBezTo>
                  <a:cubicBezTo>
                    <a:pt x="612" y="1288"/>
                    <a:pt x="607" y="1283"/>
                    <a:pt x="596" y="1272"/>
                  </a:cubicBezTo>
                  <a:cubicBezTo>
                    <a:pt x="591" y="1261"/>
                    <a:pt x="580" y="1250"/>
                    <a:pt x="564" y="1234"/>
                  </a:cubicBezTo>
                  <a:cubicBezTo>
                    <a:pt x="553" y="1224"/>
                    <a:pt x="532" y="1207"/>
                    <a:pt x="510" y="1191"/>
                  </a:cubicBezTo>
                  <a:cubicBezTo>
                    <a:pt x="483" y="1164"/>
                    <a:pt x="462" y="1143"/>
                    <a:pt x="446" y="1121"/>
                  </a:cubicBezTo>
                  <a:cubicBezTo>
                    <a:pt x="429" y="1095"/>
                    <a:pt x="419" y="1073"/>
                    <a:pt x="408" y="1052"/>
                  </a:cubicBezTo>
                  <a:cubicBezTo>
                    <a:pt x="403" y="1036"/>
                    <a:pt x="397" y="1014"/>
                    <a:pt x="397" y="993"/>
                  </a:cubicBezTo>
                  <a:cubicBezTo>
                    <a:pt x="392" y="971"/>
                    <a:pt x="392" y="950"/>
                    <a:pt x="392" y="928"/>
                  </a:cubicBezTo>
                  <a:cubicBezTo>
                    <a:pt x="392" y="896"/>
                    <a:pt x="392" y="869"/>
                    <a:pt x="397" y="842"/>
                  </a:cubicBezTo>
                  <a:cubicBezTo>
                    <a:pt x="403" y="816"/>
                    <a:pt x="413" y="789"/>
                    <a:pt x="424" y="773"/>
                  </a:cubicBezTo>
                  <a:cubicBezTo>
                    <a:pt x="440" y="751"/>
                    <a:pt x="456" y="735"/>
                    <a:pt x="478" y="724"/>
                  </a:cubicBezTo>
                  <a:cubicBezTo>
                    <a:pt x="499" y="714"/>
                    <a:pt x="521" y="708"/>
                    <a:pt x="548" y="708"/>
                  </a:cubicBezTo>
                  <a:cubicBezTo>
                    <a:pt x="553" y="681"/>
                    <a:pt x="553" y="655"/>
                    <a:pt x="553" y="639"/>
                  </a:cubicBezTo>
                  <a:cubicBezTo>
                    <a:pt x="569" y="649"/>
                    <a:pt x="591" y="665"/>
                    <a:pt x="607" y="681"/>
                  </a:cubicBezTo>
                  <a:cubicBezTo>
                    <a:pt x="623" y="671"/>
                    <a:pt x="639" y="665"/>
                    <a:pt x="650" y="660"/>
                  </a:cubicBezTo>
                  <a:cubicBezTo>
                    <a:pt x="655" y="681"/>
                    <a:pt x="655" y="703"/>
                    <a:pt x="655" y="735"/>
                  </a:cubicBezTo>
                  <a:cubicBezTo>
                    <a:pt x="682" y="740"/>
                    <a:pt x="703" y="757"/>
                    <a:pt x="725" y="767"/>
                  </a:cubicBezTo>
                  <a:cubicBezTo>
                    <a:pt x="746" y="778"/>
                    <a:pt x="762" y="794"/>
                    <a:pt x="773" y="805"/>
                  </a:cubicBezTo>
                  <a:cubicBezTo>
                    <a:pt x="773" y="869"/>
                    <a:pt x="778" y="934"/>
                    <a:pt x="778" y="1003"/>
                  </a:cubicBezTo>
                  <a:cubicBezTo>
                    <a:pt x="773" y="993"/>
                    <a:pt x="762" y="982"/>
                    <a:pt x="752" y="966"/>
                  </a:cubicBezTo>
                  <a:cubicBezTo>
                    <a:pt x="741" y="955"/>
                    <a:pt x="730" y="944"/>
                    <a:pt x="719" y="934"/>
                  </a:cubicBezTo>
                  <a:cubicBezTo>
                    <a:pt x="703" y="918"/>
                    <a:pt x="693" y="907"/>
                    <a:pt x="677" y="901"/>
                  </a:cubicBezTo>
                  <a:cubicBezTo>
                    <a:pt x="660" y="891"/>
                    <a:pt x="639" y="880"/>
                    <a:pt x="623" y="875"/>
                  </a:cubicBezTo>
                  <a:cubicBezTo>
                    <a:pt x="623" y="875"/>
                    <a:pt x="623" y="875"/>
                    <a:pt x="623" y="875"/>
                  </a:cubicBezTo>
                  <a:cubicBezTo>
                    <a:pt x="612" y="875"/>
                    <a:pt x="607" y="875"/>
                    <a:pt x="601" y="875"/>
                  </a:cubicBezTo>
                  <a:cubicBezTo>
                    <a:pt x="591" y="875"/>
                    <a:pt x="585" y="880"/>
                    <a:pt x="580" y="880"/>
                  </a:cubicBezTo>
                  <a:cubicBezTo>
                    <a:pt x="574" y="885"/>
                    <a:pt x="569" y="891"/>
                    <a:pt x="569" y="896"/>
                  </a:cubicBezTo>
                  <a:cubicBezTo>
                    <a:pt x="564" y="901"/>
                    <a:pt x="564" y="907"/>
                    <a:pt x="564" y="918"/>
                  </a:cubicBezTo>
                  <a:cubicBezTo>
                    <a:pt x="564" y="923"/>
                    <a:pt x="564" y="928"/>
                    <a:pt x="564" y="934"/>
                  </a:cubicBezTo>
                  <a:cubicBezTo>
                    <a:pt x="569" y="944"/>
                    <a:pt x="569" y="950"/>
                    <a:pt x="574" y="961"/>
                  </a:cubicBezTo>
                  <a:cubicBezTo>
                    <a:pt x="580" y="971"/>
                    <a:pt x="591" y="977"/>
                    <a:pt x="601" y="993"/>
                  </a:cubicBezTo>
                  <a:cubicBezTo>
                    <a:pt x="612" y="1003"/>
                    <a:pt x="628" y="1014"/>
                    <a:pt x="650" y="1030"/>
                  </a:cubicBezTo>
                  <a:cubicBezTo>
                    <a:pt x="682" y="1062"/>
                    <a:pt x="714" y="1089"/>
                    <a:pt x="730" y="1116"/>
                  </a:cubicBezTo>
                  <a:cubicBezTo>
                    <a:pt x="752" y="1143"/>
                    <a:pt x="768" y="1164"/>
                    <a:pt x="773" y="1186"/>
                  </a:cubicBezTo>
                  <a:cubicBezTo>
                    <a:pt x="784" y="1213"/>
                    <a:pt x="789" y="1234"/>
                    <a:pt x="795" y="1256"/>
                  </a:cubicBezTo>
                  <a:cubicBezTo>
                    <a:pt x="795" y="1277"/>
                    <a:pt x="795" y="1299"/>
                    <a:pt x="795" y="1320"/>
                  </a:cubicBezTo>
                  <a:cubicBezTo>
                    <a:pt x="795" y="1336"/>
                    <a:pt x="795" y="1358"/>
                    <a:pt x="795" y="1379"/>
                  </a:cubicBezTo>
                  <a:close/>
                  <a:moveTo>
                    <a:pt x="1090" y="359"/>
                  </a:moveTo>
                  <a:cubicBezTo>
                    <a:pt x="1079" y="370"/>
                    <a:pt x="1015" y="376"/>
                    <a:pt x="961" y="413"/>
                  </a:cubicBezTo>
                  <a:cubicBezTo>
                    <a:pt x="886" y="467"/>
                    <a:pt x="811" y="553"/>
                    <a:pt x="805" y="547"/>
                  </a:cubicBezTo>
                  <a:cubicBezTo>
                    <a:pt x="795" y="547"/>
                    <a:pt x="827" y="499"/>
                    <a:pt x="827" y="499"/>
                  </a:cubicBezTo>
                  <a:cubicBezTo>
                    <a:pt x="827" y="499"/>
                    <a:pt x="483" y="456"/>
                    <a:pt x="472" y="440"/>
                  </a:cubicBezTo>
                  <a:cubicBezTo>
                    <a:pt x="467" y="424"/>
                    <a:pt x="542" y="424"/>
                    <a:pt x="542" y="424"/>
                  </a:cubicBezTo>
                  <a:cubicBezTo>
                    <a:pt x="542" y="440"/>
                    <a:pt x="542" y="440"/>
                    <a:pt x="542" y="440"/>
                  </a:cubicBezTo>
                  <a:cubicBezTo>
                    <a:pt x="854" y="472"/>
                    <a:pt x="854" y="472"/>
                    <a:pt x="854" y="472"/>
                  </a:cubicBezTo>
                  <a:cubicBezTo>
                    <a:pt x="854" y="472"/>
                    <a:pt x="897" y="418"/>
                    <a:pt x="956" y="386"/>
                  </a:cubicBezTo>
                  <a:cubicBezTo>
                    <a:pt x="1009" y="349"/>
                    <a:pt x="1063" y="343"/>
                    <a:pt x="1063" y="343"/>
                  </a:cubicBezTo>
                  <a:cubicBezTo>
                    <a:pt x="1063" y="343"/>
                    <a:pt x="1042" y="263"/>
                    <a:pt x="993" y="204"/>
                  </a:cubicBezTo>
                  <a:cubicBezTo>
                    <a:pt x="950" y="150"/>
                    <a:pt x="907" y="107"/>
                    <a:pt x="821" y="70"/>
                  </a:cubicBezTo>
                  <a:cubicBezTo>
                    <a:pt x="741" y="37"/>
                    <a:pt x="655" y="118"/>
                    <a:pt x="644" y="107"/>
                  </a:cubicBezTo>
                  <a:cubicBezTo>
                    <a:pt x="639" y="102"/>
                    <a:pt x="677" y="75"/>
                    <a:pt x="709" y="59"/>
                  </a:cubicBezTo>
                  <a:cubicBezTo>
                    <a:pt x="719" y="54"/>
                    <a:pt x="757" y="37"/>
                    <a:pt x="800" y="43"/>
                  </a:cubicBezTo>
                  <a:cubicBezTo>
                    <a:pt x="832" y="43"/>
                    <a:pt x="875" y="59"/>
                    <a:pt x="913" y="80"/>
                  </a:cubicBezTo>
                  <a:cubicBezTo>
                    <a:pt x="1009" y="134"/>
                    <a:pt x="1090" y="306"/>
                    <a:pt x="1095" y="322"/>
                  </a:cubicBezTo>
                  <a:cubicBezTo>
                    <a:pt x="1095" y="322"/>
                    <a:pt x="1106" y="349"/>
                    <a:pt x="1090" y="359"/>
                  </a:cubicBezTo>
                  <a:close/>
                  <a:moveTo>
                    <a:pt x="1326" y="853"/>
                  </a:moveTo>
                  <a:cubicBezTo>
                    <a:pt x="1342" y="848"/>
                    <a:pt x="1369" y="880"/>
                    <a:pt x="1380" y="923"/>
                  </a:cubicBezTo>
                  <a:cubicBezTo>
                    <a:pt x="1385" y="966"/>
                    <a:pt x="1380" y="1003"/>
                    <a:pt x="1358" y="1009"/>
                  </a:cubicBezTo>
                  <a:cubicBezTo>
                    <a:pt x="1337" y="1009"/>
                    <a:pt x="1315" y="982"/>
                    <a:pt x="1305" y="939"/>
                  </a:cubicBezTo>
                  <a:cubicBezTo>
                    <a:pt x="1299" y="896"/>
                    <a:pt x="1305" y="859"/>
                    <a:pt x="1326" y="853"/>
                  </a:cubicBezTo>
                  <a:close/>
                  <a:moveTo>
                    <a:pt x="1616" y="955"/>
                  </a:moveTo>
                  <a:cubicBezTo>
                    <a:pt x="1600" y="961"/>
                    <a:pt x="1578" y="934"/>
                    <a:pt x="1573" y="896"/>
                  </a:cubicBezTo>
                  <a:cubicBezTo>
                    <a:pt x="1562" y="864"/>
                    <a:pt x="1573" y="832"/>
                    <a:pt x="1589" y="826"/>
                  </a:cubicBezTo>
                  <a:cubicBezTo>
                    <a:pt x="1605" y="821"/>
                    <a:pt x="1627" y="848"/>
                    <a:pt x="1632" y="885"/>
                  </a:cubicBezTo>
                  <a:cubicBezTo>
                    <a:pt x="1643" y="918"/>
                    <a:pt x="1632" y="950"/>
                    <a:pt x="1616" y="955"/>
                  </a:cubicBezTo>
                  <a:close/>
                  <a:moveTo>
                    <a:pt x="1659" y="1331"/>
                  </a:moveTo>
                  <a:cubicBezTo>
                    <a:pt x="1648" y="1331"/>
                    <a:pt x="1632" y="1309"/>
                    <a:pt x="1632" y="1283"/>
                  </a:cubicBezTo>
                  <a:cubicBezTo>
                    <a:pt x="1632" y="1256"/>
                    <a:pt x="1643" y="1234"/>
                    <a:pt x="1654" y="1234"/>
                  </a:cubicBezTo>
                  <a:cubicBezTo>
                    <a:pt x="1659" y="1234"/>
                    <a:pt x="1659" y="1234"/>
                    <a:pt x="1664" y="1234"/>
                  </a:cubicBezTo>
                  <a:cubicBezTo>
                    <a:pt x="1659" y="1245"/>
                    <a:pt x="1654" y="1256"/>
                    <a:pt x="1654" y="1272"/>
                  </a:cubicBezTo>
                  <a:cubicBezTo>
                    <a:pt x="1654" y="1293"/>
                    <a:pt x="1664" y="1315"/>
                    <a:pt x="1675" y="1320"/>
                  </a:cubicBezTo>
                  <a:cubicBezTo>
                    <a:pt x="1670" y="1325"/>
                    <a:pt x="1664" y="1325"/>
                    <a:pt x="1659" y="1331"/>
                  </a:cubicBezTo>
                  <a:close/>
                  <a:moveTo>
                    <a:pt x="1772" y="1272"/>
                  </a:moveTo>
                  <a:cubicBezTo>
                    <a:pt x="1772" y="1272"/>
                    <a:pt x="1772" y="1272"/>
                    <a:pt x="1766" y="1272"/>
                  </a:cubicBezTo>
                  <a:cubicBezTo>
                    <a:pt x="1772" y="1266"/>
                    <a:pt x="1777" y="1250"/>
                    <a:pt x="1777" y="1240"/>
                  </a:cubicBezTo>
                  <a:cubicBezTo>
                    <a:pt x="1772" y="1218"/>
                    <a:pt x="1766" y="1207"/>
                    <a:pt x="1756" y="1202"/>
                  </a:cubicBezTo>
                  <a:cubicBezTo>
                    <a:pt x="1761" y="1197"/>
                    <a:pt x="1766" y="1191"/>
                    <a:pt x="1772" y="1191"/>
                  </a:cubicBezTo>
                  <a:cubicBezTo>
                    <a:pt x="1782" y="1191"/>
                    <a:pt x="1793" y="1207"/>
                    <a:pt x="1793" y="1234"/>
                  </a:cubicBezTo>
                  <a:cubicBezTo>
                    <a:pt x="1793" y="1256"/>
                    <a:pt x="1788" y="1272"/>
                    <a:pt x="1772" y="127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18" name="Group 17"/>
          <p:cNvGrpSpPr/>
          <p:nvPr/>
        </p:nvGrpSpPr>
        <p:grpSpPr>
          <a:xfrm>
            <a:off x="5340282" y="3825558"/>
            <a:ext cx="1622529" cy="2216175"/>
            <a:chOff x="5447365" y="3901772"/>
            <a:chExt cx="1655064" cy="2260614"/>
          </a:xfrm>
        </p:grpSpPr>
        <p:sp>
          <p:nvSpPr>
            <p:cNvPr id="176" name="Rectangle 175"/>
            <p:cNvSpPr/>
            <p:nvPr/>
          </p:nvSpPr>
          <p:spPr bwMode="auto">
            <a:xfrm>
              <a:off x="5447365" y="3901772"/>
              <a:ext cx="1655064" cy="226061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319" name="Rectangle 318"/>
            <p:cNvSpPr/>
            <p:nvPr/>
          </p:nvSpPr>
          <p:spPr bwMode="auto">
            <a:xfrm>
              <a:off x="5977130" y="4689567"/>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Management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automation</a:t>
              </a:r>
            </a:p>
          </p:txBody>
        </p:sp>
        <p:sp>
          <p:nvSpPr>
            <p:cNvPr id="334" name="Freeform 6"/>
            <p:cNvSpPr>
              <a:spLocks noChangeAspect="1"/>
            </p:cNvSpPr>
            <p:nvPr/>
          </p:nvSpPr>
          <p:spPr bwMode="auto">
            <a:xfrm>
              <a:off x="5580357" y="4845550"/>
              <a:ext cx="364410" cy="364410"/>
            </a:xfrm>
            <a:custGeom>
              <a:avLst/>
              <a:gdLst>
                <a:gd name="T0" fmla="*/ 1652 w 2261"/>
                <a:gd name="T1" fmla="*/ 822 h 2261"/>
                <a:gd name="T2" fmla="*/ 1652 w 2261"/>
                <a:gd name="T3" fmla="*/ 1075 h 2261"/>
                <a:gd name="T4" fmla="*/ 1432 w 2261"/>
                <a:gd name="T5" fmla="*/ 1075 h 2261"/>
                <a:gd name="T6" fmla="*/ 1432 w 2261"/>
                <a:gd name="T7" fmla="*/ 822 h 2261"/>
                <a:gd name="T8" fmla="*/ 1172 w 2261"/>
                <a:gd name="T9" fmla="*/ 822 h 2261"/>
                <a:gd name="T10" fmla="*/ 1172 w 2261"/>
                <a:gd name="T11" fmla="*/ 602 h 2261"/>
                <a:gd name="T12" fmla="*/ 1432 w 2261"/>
                <a:gd name="T13" fmla="*/ 602 h 2261"/>
                <a:gd name="T14" fmla="*/ 1432 w 2261"/>
                <a:gd name="T15" fmla="*/ 0 h 2261"/>
                <a:gd name="T16" fmla="*/ 830 w 2261"/>
                <a:gd name="T17" fmla="*/ 0 h 2261"/>
                <a:gd name="T18" fmla="*/ 830 w 2261"/>
                <a:gd name="T19" fmla="*/ 602 h 2261"/>
                <a:gd name="T20" fmla="*/ 1082 w 2261"/>
                <a:gd name="T21" fmla="*/ 602 h 2261"/>
                <a:gd name="T22" fmla="*/ 1082 w 2261"/>
                <a:gd name="T23" fmla="*/ 822 h 2261"/>
                <a:gd name="T24" fmla="*/ 830 w 2261"/>
                <a:gd name="T25" fmla="*/ 822 h 2261"/>
                <a:gd name="T26" fmla="*/ 830 w 2261"/>
                <a:gd name="T27" fmla="*/ 1075 h 2261"/>
                <a:gd name="T28" fmla="*/ 603 w 2261"/>
                <a:gd name="T29" fmla="*/ 1075 h 2261"/>
                <a:gd name="T30" fmla="*/ 603 w 2261"/>
                <a:gd name="T31" fmla="*/ 822 h 2261"/>
                <a:gd name="T32" fmla="*/ 0 w 2261"/>
                <a:gd name="T33" fmla="*/ 822 h 2261"/>
                <a:gd name="T34" fmla="*/ 0 w 2261"/>
                <a:gd name="T35" fmla="*/ 1424 h 2261"/>
                <a:gd name="T36" fmla="*/ 253 w 2261"/>
                <a:gd name="T37" fmla="*/ 1424 h 2261"/>
                <a:gd name="T38" fmla="*/ 253 w 2261"/>
                <a:gd name="T39" fmla="*/ 1658 h 2261"/>
                <a:gd name="T40" fmla="*/ 0 w 2261"/>
                <a:gd name="T41" fmla="*/ 1658 h 2261"/>
                <a:gd name="T42" fmla="*/ 0 w 2261"/>
                <a:gd name="T43" fmla="*/ 2261 h 2261"/>
                <a:gd name="T44" fmla="*/ 603 w 2261"/>
                <a:gd name="T45" fmla="*/ 2261 h 2261"/>
                <a:gd name="T46" fmla="*/ 603 w 2261"/>
                <a:gd name="T47" fmla="*/ 1658 h 2261"/>
                <a:gd name="T48" fmla="*/ 350 w 2261"/>
                <a:gd name="T49" fmla="*/ 1658 h 2261"/>
                <a:gd name="T50" fmla="*/ 350 w 2261"/>
                <a:gd name="T51" fmla="*/ 1424 h 2261"/>
                <a:gd name="T52" fmla="*/ 603 w 2261"/>
                <a:gd name="T53" fmla="*/ 1424 h 2261"/>
                <a:gd name="T54" fmla="*/ 603 w 2261"/>
                <a:gd name="T55" fmla="*/ 1172 h 2261"/>
                <a:gd name="T56" fmla="*/ 830 w 2261"/>
                <a:gd name="T57" fmla="*/ 1172 h 2261"/>
                <a:gd name="T58" fmla="*/ 830 w 2261"/>
                <a:gd name="T59" fmla="*/ 1424 h 2261"/>
                <a:gd name="T60" fmla="*/ 1082 w 2261"/>
                <a:gd name="T61" fmla="*/ 1424 h 2261"/>
                <a:gd name="T62" fmla="*/ 1082 w 2261"/>
                <a:gd name="T63" fmla="*/ 1658 h 2261"/>
                <a:gd name="T64" fmla="*/ 830 w 2261"/>
                <a:gd name="T65" fmla="*/ 1658 h 2261"/>
                <a:gd name="T66" fmla="*/ 830 w 2261"/>
                <a:gd name="T67" fmla="*/ 2261 h 2261"/>
                <a:gd name="T68" fmla="*/ 1432 w 2261"/>
                <a:gd name="T69" fmla="*/ 2261 h 2261"/>
                <a:gd name="T70" fmla="*/ 1432 w 2261"/>
                <a:gd name="T71" fmla="*/ 1658 h 2261"/>
                <a:gd name="T72" fmla="*/ 1172 w 2261"/>
                <a:gd name="T73" fmla="*/ 1658 h 2261"/>
                <a:gd name="T74" fmla="*/ 1172 w 2261"/>
                <a:gd name="T75" fmla="*/ 1424 h 2261"/>
                <a:gd name="T76" fmla="*/ 1432 w 2261"/>
                <a:gd name="T77" fmla="*/ 1424 h 2261"/>
                <a:gd name="T78" fmla="*/ 1432 w 2261"/>
                <a:gd name="T79" fmla="*/ 1172 h 2261"/>
                <a:gd name="T80" fmla="*/ 1652 w 2261"/>
                <a:gd name="T81" fmla="*/ 1172 h 2261"/>
                <a:gd name="T82" fmla="*/ 1652 w 2261"/>
                <a:gd name="T83" fmla="*/ 1424 h 2261"/>
                <a:gd name="T84" fmla="*/ 2261 w 2261"/>
                <a:gd name="T85" fmla="*/ 1424 h 2261"/>
                <a:gd name="T86" fmla="*/ 2261 w 2261"/>
                <a:gd name="T87" fmla="*/ 822 h 2261"/>
                <a:gd name="T88" fmla="*/ 1652 w 2261"/>
                <a:gd name="T89" fmla="*/ 822 h 2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1" h="2261">
                  <a:moveTo>
                    <a:pt x="1652" y="822"/>
                  </a:moveTo>
                  <a:lnTo>
                    <a:pt x="1652" y="1075"/>
                  </a:lnTo>
                  <a:lnTo>
                    <a:pt x="1432" y="1075"/>
                  </a:lnTo>
                  <a:lnTo>
                    <a:pt x="1432" y="822"/>
                  </a:lnTo>
                  <a:lnTo>
                    <a:pt x="1172" y="822"/>
                  </a:lnTo>
                  <a:lnTo>
                    <a:pt x="1172" y="602"/>
                  </a:lnTo>
                  <a:lnTo>
                    <a:pt x="1432" y="602"/>
                  </a:lnTo>
                  <a:lnTo>
                    <a:pt x="1432" y="0"/>
                  </a:lnTo>
                  <a:lnTo>
                    <a:pt x="830" y="0"/>
                  </a:lnTo>
                  <a:lnTo>
                    <a:pt x="830" y="602"/>
                  </a:lnTo>
                  <a:lnTo>
                    <a:pt x="1082" y="602"/>
                  </a:lnTo>
                  <a:lnTo>
                    <a:pt x="1082" y="822"/>
                  </a:lnTo>
                  <a:lnTo>
                    <a:pt x="830" y="822"/>
                  </a:lnTo>
                  <a:lnTo>
                    <a:pt x="830" y="1075"/>
                  </a:lnTo>
                  <a:lnTo>
                    <a:pt x="603" y="1075"/>
                  </a:lnTo>
                  <a:lnTo>
                    <a:pt x="603" y="822"/>
                  </a:lnTo>
                  <a:lnTo>
                    <a:pt x="0" y="822"/>
                  </a:lnTo>
                  <a:lnTo>
                    <a:pt x="0" y="1424"/>
                  </a:lnTo>
                  <a:lnTo>
                    <a:pt x="253" y="1424"/>
                  </a:lnTo>
                  <a:lnTo>
                    <a:pt x="253" y="1658"/>
                  </a:lnTo>
                  <a:lnTo>
                    <a:pt x="0" y="1658"/>
                  </a:lnTo>
                  <a:lnTo>
                    <a:pt x="0" y="2261"/>
                  </a:lnTo>
                  <a:lnTo>
                    <a:pt x="603" y="2261"/>
                  </a:lnTo>
                  <a:lnTo>
                    <a:pt x="603" y="1658"/>
                  </a:lnTo>
                  <a:lnTo>
                    <a:pt x="350" y="1658"/>
                  </a:lnTo>
                  <a:lnTo>
                    <a:pt x="350" y="1424"/>
                  </a:lnTo>
                  <a:lnTo>
                    <a:pt x="603" y="1424"/>
                  </a:lnTo>
                  <a:lnTo>
                    <a:pt x="603" y="1172"/>
                  </a:lnTo>
                  <a:lnTo>
                    <a:pt x="830" y="1172"/>
                  </a:lnTo>
                  <a:lnTo>
                    <a:pt x="830" y="1424"/>
                  </a:lnTo>
                  <a:lnTo>
                    <a:pt x="1082" y="1424"/>
                  </a:lnTo>
                  <a:lnTo>
                    <a:pt x="1082" y="1658"/>
                  </a:lnTo>
                  <a:lnTo>
                    <a:pt x="830" y="1658"/>
                  </a:lnTo>
                  <a:lnTo>
                    <a:pt x="830" y="2261"/>
                  </a:lnTo>
                  <a:lnTo>
                    <a:pt x="1432" y="2261"/>
                  </a:lnTo>
                  <a:lnTo>
                    <a:pt x="1432" y="1658"/>
                  </a:lnTo>
                  <a:lnTo>
                    <a:pt x="1172" y="1658"/>
                  </a:lnTo>
                  <a:lnTo>
                    <a:pt x="1172" y="1424"/>
                  </a:lnTo>
                  <a:lnTo>
                    <a:pt x="1432" y="1424"/>
                  </a:lnTo>
                  <a:lnTo>
                    <a:pt x="1432" y="1172"/>
                  </a:lnTo>
                  <a:lnTo>
                    <a:pt x="1652" y="1172"/>
                  </a:lnTo>
                  <a:lnTo>
                    <a:pt x="1652" y="1424"/>
                  </a:lnTo>
                  <a:lnTo>
                    <a:pt x="2261" y="1424"/>
                  </a:lnTo>
                  <a:lnTo>
                    <a:pt x="2261" y="822"/>
                  </a:lnTo>
                  <a:lnTo>
                    <a:pt x="1652" y="822"/>
                  </a:lnTo>
                  <a:close/>
                </a:path>
              </a:pathLst>
            </a:custGeom>
            <a:solidFill>
              <a:schemeClr val="tx1"/>
            </a:solidFill>
            <a:ln>
              <a:noFill/>
            </a:ln>
            <a:extLst/>
          </p:spPr>
          <p:txBody>
            <a:bodyPr vert="horz" wrap="square" lIns="89642" tIns="44821" rIns="89642" bIns="44821" numCol="1" anchor="ctr" anchorCtr="0" compatLnSpc="1">
              <a:prstTxWarp prst="textNoShape">
                <a:avLst/>
              </a:prstTxWarp>
            </a:bodyPr>
            <a:lstStyle/>
            <a:p>
              <a:pPr defTabSz="914206"/>
              <a:endParaRPr lang="en-US" sz="1765">
                <a:solidFill>
                  <a:srgbClr val="505050"/>
                </a:solidFill>
              </a:endParaRPr>
            </a:p>
          </p:txBody>
        </p:sp>
        <p:sp>
          <p:nvSpPr>
            <p:cNvPr id="320" name="Rectangle 319"/>
            <p:cNvSpPr/>
            <p:nvPr/>
          </p:nvSpPr>
          <p:spPr bwMode="auto">
            <a:xfrm>
              <a:off x="5977130" y="5439765"/>
              <a:ext cx="1125299"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Usage-based </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tracking/</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billing</a:t>
              </a:r>
            </a:p>
          </p:txBody>
        </p:sp>
        <p:sp>
          <p:nvSpPr>
            <p:cNvPr id="335" name="Freeform 13"/>
            <p:cNvSpPr>
              <a:spLocks noChangeAspect="1" noEditPoints="1"/>
            </p:cNvSpPr>
            <p:nvPr/>
          </p:nvSpPr>
          <p:spPr bwMode="auto">
            <a:xfrm>
              <a:off x="5556360" y="5588460"/>
              <a:ext cx="387426" cy="387426"/>
            </a:xfrm>
            <a:custGeom>
              <a:avLst/>
              <a:gdLst>
                <a:gd name="T0" fmla="*/ 0 w 265"/>
                <a:gd name="T1" fmla="*/ 133 h 265"/>
                <a:gd name="T2" fmla="*/ 265 w 265"/>
                <a:gd name="T3" fmla="*/ 133 h 265"/>
                <a:gd name="T4" fmla="*/ 154 w 265"/>
                <a:gd name="T5" fmla="*/ 132 h 265"/>
                <a:gd name="T6" fmla="*/ 132 w 265"/>
                <a:gd name="T7" fmla="*/ 112 h 265"/>
                <a:gd name="T8" fmla="*/ 154 w 265"/>
                <a:gd name="T9" fmla="*/ 132 h 265"/>
                <a:gd name="T10" fmla="*/ 183 w 265"/>
                <a:gd name="T11" fmla="*/ 187 h 265"/>
                <a:gd name="T12" fmla="*/ 206 w 265"/>
                <a:gd name="T13" fmla="*/ 132 h 265"/>
                <a:gd name="T14" fmla="*/ 60 w 265"/>
                <a:gd name="T15" fmla="*/ 132 h 265"/>
                <a:gd name="T16" fmla="*/ 83 w 265"/>
                <a:gd name="T17" fmla="*/ 188 h 265"/>
                <a:gd name="T18" fmla="*/ 29 w 265"/>
                <a:gd name="T19" fmla="*/ 132 h 265"/>
                <a:gd name="T20" fmla="*/ 237 w 265"/>
                <a:gd name="T21" fmla="*/ 132 h 265"/>
                <a:gd name="T22" fmla="*/ 213 w 265"/>
                <a:gd name="T23" fmla="*/ 178 h 265"/>
                <a:gd name="T24" fmla="*/ 203 w 265"/>
                <a:gd name="T25" fmla="*/ 166 h 265"/>
                <a:gd name="T26" fmla="*/ 218 w 265"/>
                <a:gd name="T27" fmla="*/ 171 h 265"/>
                <a:gd name="T28" fmla="*/ 213 w 265"/>
                <a:gd name="T29" fmla="*/ 178 h 265"/>
                <a:gd name="T30" fmla="*/ 210 w 265"/>
                <a:gd name="T31" fmla="*/ 118 h 265"/>
                <a:gd name="T32" fmla="*/ 225 w 265"/>
                <a:gd name="T33" fmla="*/ 112 h 265"/>
                <a:gd name="T34" fmla="*/ 226 w 265"/>
                <a:gd name="T35" fmla="*/ 120 h 265"/>
                <a:gd name="T36" fmla="*/ 212 w 265"/>
                <a:gd name="T37" fmla="*/ 121 h 265"/>
                <a:gd name="T38" fmla="*/ 129 w 265"/>
                <a:gd name="T39" fmla="*/ 51 h 265"/>
                <a:gd name="T40" fmla="*/ 133 w 265"/>
                <a:gd name="T41" fmla="*/ 35 h 265"/>
                <a:gd name="T42" fmla="*/ 137 w 265"/>
                <a:gd name="T43" fmla="*/ 51 h 265"/>
                <a:gd name="T44" fmla="*/ 191 w 265"/>
                <a:gd name="T45" fmla="*/ 76 h 265"/>
                <a:gd name="T46" fmla="*/ 189 w 265"/>
                <a:gd name="T47" fmla="*/ 70 h 265"/>
                <a:gd name="T48" fmla="*/ 203 w 265"/>
                <a:gd name="T49" fmla="*/ 60 h 265"/>
                <a:gd name="T50" fmla="*/ 195 w 265"/>
                <a:gd name="T51" fmla="*/ 75 h 265"/>
                <a:gd name="T52" fmla="*/ 70 w 265"/>
                <a:gd name="T53" fmla="*/ 75 h 265"/>
                <a:gd name="T54" fmla="*/ 63 w 265"/>
                <a:gd name="T55" fmla="*/ 60 h 265"/>
                <a:gd name="T56" fmla="*/ 77 w 265"/>
                <a:gd name="T57" fmla="*/ 70 h 265"/>
                <a:gd name="T58" fmla="*/ 74 w 265"/>
                <a:gd name="T59" fmla="*/ 76 h 265"/>
                <a:gd name="T60" fmla="*/ 62 w 265"/>
                <a:gd name="T61" fmla="*/ 172 h 265"/>
                <a:gd name="T62" fmla="*/ 47 w 265"/>
                <a:gd name="T63" fmla="*/ 178 h 265"/>
                <a:gd name="T64" fmla="*/ 57 w 265"/>
                <a:gd name="T65" fmla="*/ 165 h 265"/>
                <a:gd name="T66" fmla="*/ 62 w 265"/>
                <a:gd name="T67" fmla="*/ 172 h 265"/>
                <a:gd name="T68" fmla="*/ 52 w 265"/>
                <a:gd name="T69" fmla="*/ 123 h 265"/>
                <a:gd name="T70" fmla="*/ 36 w 265"/>
                <a:gd name="T71" fmla="*/ 118 h 265"/>
                <a:gd name="T72" fmla="*/ 52 w 265"/>
                <a:gd name="T73" fmla="*/ 115 h 265"/>
                <a:gd name="T74" fmla="*/ 54 w 265"/>
                <a:gd name="T75" fmla="*/ 12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265">
                  <a:moveTo>
                    <a:pt x="133" y="0"/>
                  </a:moveTo>
                  <a:cubicBezTo>
                    <a:pt x="60" y="0"/>
                    <a:pt x="0" y="59"/>
                    <a:pt x="0" y="133"/>
                  </a:cubicBezTo>
                  <a:cubicBezTo>
                    <a:pt x="0" y="206"/>
                    <a:pt x="60" y="265"/>
                    <a:pt x="133" y="265"/>
                  </a:cubicBezTo>
                  <a:cubicBezTo>
                    <a:pt x="206" y="265"/>
                    <a:pt x="265" y="206"/>
                    <a:pt x="265" y="133"/>
                  </a:cubicBezTo>
                  <a:cubicBezTo>
                    <a:pt x="265" y="59"/>
                    <a:pt x="206" y="0"/>
                    <a:pt x="133" y="0"/>
                  </a:cubicBezTo>
                  <a:close/>
                  <a:moveTo>
                    <a:pt x="154" y="132"/>
                  </a:moveTo>
                  <a:cubicBezTo>
                    <a:pt x="148" y="138"/>
                    <a:pt x="99" y="173"/>
                    <a:pt x="98" y="172"/>
                  </a:cubicBezTo>
                  <a:cubicBezTo>
                    <a:pt x="97" y="171"/>
                    <a:pt x="126" y="118"/>
                    <a:pt x="132" y="112"/>
                  </a:cubicBezTo>
                  <a:cubicBezTo>
                    <a:pt x="137" y="106"/>
                    <a:pt x="146" y="105"/>
                    <a:pt x="153" y="111"/>
                  </a:cubicBezTo>
                  <a:cubicBezTo>
                    <a:pt x="159" y="116"/>
                    <a:pt x="159" y="126"/>
                    <a:pt x="154" y="132"/>
                  </a:cubicBezTo>
                  <a:close/>
                  <a:moveTo>
                    <a:pt x="203" y="208"/>
                  </a:moveTo>
                  <a:cubicBezTo>
                    <a:pt x="183" y="187"/>
                    <a:pt x="183" y="187"/>
                    <a:pt x="183" y="187"/>
                  </a:cubicBezTo>
                  <a:cubicBezTo>
                    <a:pt x="182" y="185"/>
                    <a:pt x="182" y="185"/>
                    <a:pt x="182" y="185"/>
                  </a:cubicBezTo>
                  <a:cubicBezTo>
                    <a:pt x="197" y="172"/>
                    <a:pt x="206" y="153"/>
                    <a:pt x="206" y="132"/>
                  </a:cubicBezTo>
                  <a:cubicBezTo>
                    <a:pt x="206" y="92"/>
                    <a:pt x="173" y="59"/>
                    <a:pt x="133" y="59"/>
                  </a:cubicBezTo>
                  <a:cubicBezTo>
                    <a:pt x="93" y="59"/>
                    <a:pt x="60" y="92"/>
                    <a:pt x="60" y="132"/>
                  </a:cubicBezTo>
                  <a:cubicBezTo>
                    <a:pt x="60" y="153"/>
                    <a:pt x="69" y="172"/>
                    <a:pt x="84" y="185"/>
                  </a:cubicBezTo>
                  <a:cubicBezTo>
                    <a:pt x="83" y="188"/>
                    <a:pt x="83" y="188"/>
                    <a:pt x="83" y="188"/>
                  </a:cubicBezTo>
                  <a:cubicBezTo>
                    <a:pt x="63" y="209"/>
                    <a:pt x="63" y="209"/>
                    <a:pt x="63" y="209"/>
                  </a:cubicBezTo>
                  <a:cubicBezTo>
                    <a:pt x="42" y="190"/>
                    <a:pt x="29" y="162"/>
                    <a:pt x="29" y="132"/>
                  </a:cubicBezTo>
                  <a:cubicBezTo>
                    <a:pt x="29" y="74"/>
                    <a:pt x="75" y="28"/>
                    <a:pt x="133" y="28"/>
                  </a:cubicBezTo>
                  <a:cubicBezTo>
                    <a:pt x="190" y="28"/>
                    <a:pt x="237" y="74"/>
                    <a:pt x="237" y="132"/>
                  </a:cubicBezTo>
                  <a:cubicBezTo>
                    <a:pt x="237" y="162"/>
                    <a:pt x="224" y="189"/>
                    <a:pt x="203" y="208"/>
                  </a:cubicBezTo>
                  <a:close/>
                  <a:moveTo>
                    <a:pt x="213" y="178"/>
                  </a:moveTo>
                  <a:cubicBezTo>
                    <a:pt x="204" y="172"/>
                    <a:pt x="204" y="172"/>
                    <a:pt x="204" y="172"/>
                  </a:cubicBezTo>
                  <a:cubicBezTo>
                    <a:pt x="202" y="170"/>
                    <a:pt x="201" y="168"/>
                    <a:pt x="203" y="166"/>
                  </a:cubicBezTo>
                  <a:cubicBezTo>
                    <a:pt x="204" y="164"/>
                    <a:pt x="207" y="163"/>
                    <a:pt x="208" y="165"/>
                  </a:cubicBezTo>
                  <a:cubicBezTo>
                    <a:pt x="218" y="171"/>
                    <a:pt x="218" y="171"/>
                    <a:pt x="218" y="171"/>
                  </a:cubicBezTo>
                  <a:cubicBezTo>
                    <a:pt x="220" y="173"/>
                    <a:pt x="221" y="175"/>
                    <a:pt x="219" y="177"/>
                  </a:cubicBezTo>
                  <a:cubicBezTo>
                    <a:pt x="218" y="179"/>
                    <a:pt x="215" y="180"/>
                    <a:pt x="213" y="178"/>
                  </a:cubicBezTo>
                  <a:close/>
                  <a:moveTo>
                    <a:pt x="212" y="121"/>
                  </a:moveTo>
                  <a:cubicBezTo>
                    <a:pt x="211" y="120"/>
                    <a:pt x="210" y="119"/>
                    <a:pt x="210" y="118"/>
                  </a:cubicBezTo>
                  <a:cubicBezTo>
                    <a:pt x="209" y="115"/>
                    <a:pt x="211" y="113"/>
                    <a:pt x="213" y="113"/>
                  </a:cubicBezTo>
                  <a:cubicBezTo>
                    <a:pt x="225" y="112"/>
                    <a:pt x="225" y="112"/>
                    <a:pt x="225" y="112"/>
                  </a:cubicBezTo>
                  <a:cubicBezTo>
                    <a:pt x="228" y="112"/>
                    <a:pt x="230" y="113"/>
                    <a:pt x="230" y="116"/>
                  </a:cubicBezTo>
                  <a:cubicBezTo>
                    <a:pt x="230" y="118"/>
                    <a:pt x="228" y="120"/>
                    <a:pt x="226" y="120"/>
                  </a:cubicBezTo>
                  <a:cubicBezTo>
                    <a:pt x="214" y="121"/>
                    <a:pt x="214" y="121"/>
                    <a:pt x="214" y="121"/>
                  </a:cubicBezTo>
                  <a:cubicBezTo>
                    <a:pt x="213" y="121"/>
                    <a:pt x="213" y="121"/>
                    <a:pt x="212" y="121"/>
                  </a:cubicBezTo>
                  <a:close/>
                  <a:moveTo>
                    <a:pt x="133" y="55"/>
                  </a:moveTo>
                  <a:cubicBezTo>
                    <a:pt x="131" y="55"/>
                    <a:pt x="129" y="53"/>
                    <a:pt x="129" y="51"/>
                  </a:cubicBezTo>
                  <a:cubicBezTo>
                    <a:pt x="129" y="39"/>
                    <a:pt x="129" y="39"/>
                    <a:pt x="129" y="39"/>
                  </a:cubicBezTo>
                  <a:cubicBezTo>
                    <a:pt x="129" y="37"/>
                    <a:pt x="131" y="35"/>
                    <a:pt x="133" y="35"/>
                  </a:cubicBezTo>
                  <a:cubicBezTo>
                    <a:pt x="136" y="35"/>
                    <a:pt x="137" y="37"/>
                    <a:pt x="137" y="39"/>
                  </a:cubicBezTo>
                  <a:cubicBezTo>
                    <a:pt x="137" y="51"/>
                    <a:pt x="137" y="51"/>
                    <a:pt x="137" y="51"/>
                  </a:cubicBezTo>
                  <a:cubicBezTo>
                    <a:pt x="137" y="53"/>
                    <a:pt x="136" y="55"/>
                    <a:pt x="133" y="55"/>
                  </a:cubicBezTo>
                  <a:close/>
                  <a:moveTo>
                    <a:pt x="191" y="76"/>
                  </a:moveTo>
                  <a:cubicBezTo>
                    <a:pt x="191" y="76"/>
                    <a:pt x="190" y="76"/>
                    <a:pt x="189" y="76"/>
                  </a:cubicBezTo>
                  <a:cubicBezTo>
                    <a:pt x="188" y="74"/>
                    <a:pt x="187" y="71"/>
                    <a:pt x="189" y="70"/>
                  </a:cubicBezTo>
                  <a:cubicBezTo>
                    <a:pt x="197" y="60"/>
                    <a:pt x="197" y="60"/>
                    <a:pt x="197" y="60"/>
                  </a:cubicBezTo>
                  <a:cubicBezTo>
                    <a:pt x="198" y="59"/>
                    <a:pt x="201" y="58"/>
                    <a:pt x="203" y="60"/>
                  </a:cubicBezTo>
                  <a:cubicBezTo>
                    <a:pt x="204" y="61"/>
                    <a:pt x="205" y="64"/>
                    <a:pt x="203" y="66"/>
                  </a:cubicBezTo>
                  <a:cubicBezTo>
                    <a:pt x="195" y="75"/>
                    <a:pt x="195" y="75"/>
                    <a:pt x="195" y="75"/>
                  </a:cubicBezTo>
                  <a:cubicBezTo>
                    <a:pt x="194" y="76"/>
                    <a:pt x="193" y="77"/>
                    <a:pt x="191" y="76"/>
                  </a:cubicBezTo>
                  <a:close/>
                  <a:moveTo>
                    <a:pt x="70" y="75"/>
                  </a:moveTo>
                  <a:cubicBezTo>
                    <a:pt x="63" y="66"/>
                    <a:pt x="63" y="66"/>
                    <a:pt x="63" y="66"/>
                  </a:cubicBezTo>
                  <a:cubicBezTo>
                    <a:pt x="61" y="64"/>
                    <a:pt x="62" y="61"/>
                    <a:pt x="63" y="60"/>
                  </a:cubicBezTo>
                  <a:cubicBezTo>
                    <a:pt x="65" y="58"/>
                    <a:pt x="68" y="59"/>
                    <a:pt x="69" y="60"/>
                  </a:cubicBezTo>
                  <a:cubicBezTo>
                    <a:pt x="77" y="70"/>
                    <a:pt x="77" y="70"/>
                    <a:pt x="77" y="70"/>
                  </a:cubicBezTo>
                  <a:cubicBezTo>
                    <a:pt x="78" y="71"/>
                    <a:pt x="78" y="74"/>
                    <a:pt x="76" y="76"/>
                  </a:cubicBezTo>
                  <a:cubicBezTo>
                    <a:pt x="76" y="76"/>
                    <a:pt x="75" y="76"/>
                    <a:pt x="74" y="76"/>
                  </a:cubicBezTo>
                  <a:cubicBezTo>
                    <a:pt x="73" y="77"/>
                    <a:pt x="71" y="76"/>
                    <a:pt x="70" y="75"/>
                  </a:cubicBezTo>
                  <a:close/>
                  <a:moveTo>
                    <a:pt x="62" y="172"/>
                  </a:moveTo>
                  <a:cubicBezTo>
                    <a:pt x="52" y="179"/>
                    <a:pt x="52" y="179"/>
                    <a:pt x="52" y="179"/>
                  </a:cubicBezTo>
                  <a:cubicBezTo>
                    <a:pt x="51" y="180"/>
                    <a:pt x="48" y="180"/>
                    <a:pt x="47" y="178"/>
                  </a:cubicBezTo>
                  <a:cubicBezTo>
                    <a:pt x="45" y="176"/>
                    <a:pt x="46" y="173"/>
                    <a:pt x="48" y="172"/>
                  </a:cubicBezTo>
                  <a:cubicBezTo>
                    <a:pt x="57" y="165"/>
                    <a:pt x="57" y="165"/>
                    <a:pt x="57" y="165"/>
                  </a:cubicBezTo>
                  <a:cubicBezTo>
                    <a:pt x="59" y="164"/>
                    <a:pt x="62" y="164"/>
                    <a:pt x="63" y="166"/>
                  </a:cubicBezTo>
                  <a:cubicBezTo>
                    <a:pt x="65" y="168"/>
                    <a:pt x="64" y="171"/>
                    <a:pt x="62" y="172"/>
                  </a:cubicBezTo>
                  <a:close/>
                  <a:moveTo>
                    <a:pt x="54" y="123"/>
                  </a:moveTo>
                  <a:cubicBezTo>
                    <a:pt x="53" y="123"/>
                    <a:pt x="52" y="123"/>
                    <a:pt x="52" y="123"/>
                  </a:cubicBezTo>
                  <a:cubicBezTo>
                    <a:pt x="40" y="122"/>
                    <a:pt x="40" y="122"/>
                    <a:pt x="40" y="122"/>
                  </a:cubicBezTo>
                  <a:cubicBezTo>
                    <a:pt x="37" y="122"/>
                    <a:pt x="36" y="120"/>
                    <a:pt x="36" y="118"/>
                  </a:cubicBezTo>
                  <a:cubicBezTo>
                    <a:pt x="36" y="115"/>
                    <a:pt x="38" y="114"/>
                    <a:pt x="40" y="114"/>
                  </a:cubicBezTo>
                  <a:cubicBezTo>
                    <a:pt x="52" y="115"/>
                    <a:pt x="52" y="115"/>
                    <a:pt x="52" y="115"/>
                  </a:cubicBezTo>
                  <a:cubicBezTo>
                    <a:pt x="55" y="115"/>
                    <a:pt x="56" y="117"/>
                    <a:pt x="56" y="120"/>
                  </a:cubicBezTo>
                  <a:cubicBezTo>
                    <a:pt x="56" y="121"/>
                    <a:pt x="55" y="122"/>
                    <a:pt x="54" y="123"/>
                  </a:cubicBezTo>
                  <a:close/>
                </a:path>
              </a:pathLst>
            </a:custGeom>
            <a:solidFill>
              <a:schemeClr val="tx1"/>
            </a:solidFill>
            <a:ln>
              <a:noFill/>
            </a:ln>
          </p:spPr>
          <p:txBody>
            <a:bodyPr vert="horz" wrap="square" lIns="89642" tIns="44821" rIns="89642" bIns="44821" numCol="1" anchor="ctr" anchorCtr="0" compatLnSpc="1">
              <a:prstTxWarp prst="textNoShape">
                <a:avLst/>
              </a:prstTxWarp>
            </a:bodyPr>
            <a:lstStyle/>
            <a:p>
              <a:pPr defTabSz="914206"/>
              <a:endParaRPr lang="en-US" sz="1765">
                <a:solidFill>
                  <a:srgbClr val="505050"/>
                </a:solidFill>
              </a:endParaRPr>
            </a:p>
          </p:txBody>
        </p:sp>
        <p:sp>
          <p:nvSpPr>
            <p:cNvPr id="318" name="Rectangle 317"/>
            <p:cNvSpPr/>
            <p:nvPr/>
          </p:nvSpPr>
          <p:spPr bwMode="auto">
            <a:xfrm>
              <a:off x="5977131" y="3975465"/>
              <a:ext cx="1125298" cy="6900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42" tIns="89642" rIns="89642" bIns="89642" numCol="1" rtlCol="0" anchor="ctr" anchorCtr="0" compatLnSpc="1">
              <a:prstTxWarp prst="textNoShape">
                <a:avLst/>
              </a:prstTxWarp>
            </a:bodyPr>
            <a:lstStyle/>
            <a:p>
              <a:pPr defTabSz="908289" fontAlgn="base">
                <a:lnSpc>
                  <a:spcPct val="90000"/>
                </a:lnSpc>
                <a:spcBef>
                  <a:spcPts val="1765"/>
                </a:spcBef>
                <a:spcAft>
                  <a:spcPct val="0"/>
                </a:spcAft>
                <a:defRPr/>
              </a:pPr>
              <a:r>
                <a:rPr lang="en-US" sz="1176" kern="0" dirty="0">
                  <a:gradFill>
                    <a:gsLst>
                      <a:gs pos="17699">
                        <a:srgbClr val="505050"/>
                      </a:gs>
                      <a:gs pos="49000">
                        <a:srgbClr val="505050"/>
                      </a:gs>
                    </a:gsLst>
                    <a:lin ang="16200000" scaled="0"/>
                  </a:gradFill>
                  <a:ea typeface="Segoe UI" pitchFamily="34" charset="0"/>
                  <a:cs typeface="Segoe UI" pitchFamily="34" charset="0"/>
                </a:rPr>
                <a:t>Economics</a:t>
              </a:r>
              <a:br>
                <a:rPr lang="en-US" sz="1176" kern="0" dirty="0">
                  <a:gradFill>
                    <a:gsLst>
                      <a:gs pos="17699">
                        <a:srgbClr val="505050"/>
                      </a:gs>
                      <a:gs pos="49000">
                        <a:srgbClr val="505050"/>
                      </a:gs>
                    </a:gsLst>
                    <a:lin ang="16200000" scaled="0"/>
                  </a:gradFill>
                  <a:ea typeface="Segoe UI" pitchFamily="34" charset="0"/>
                  <a:cs typeface="Segoe UI" pitchFamily="34" charset="0"/>
                </a:rPr>
              </a:br>
              <a:r>
                <a:rPr lang="en-US" sz="1176" kern="0" dirty="0">
                  <a:gradFill>
                    <a:gsLst>
                      <a:gs pos="17699">
                        <a:srgbClr val="505050"/>
                      </a:gs>
                      <a:gs pos="49000">
                        <a:srgbClr val="505050"/>
                      </a:gs>
                    </a:gsLst>
                    <a:lin ang="16200000" scaled="0"/>
                  </a:gradFill>
                  <a:ea typeface="Segoe UI" pitchFamily="34" charset="0"/>
                  <a:cs typeface="Segoe UI" pitchFamily="34" charset="0"/>
                </a:rPr>
                <a:t>limited budgets</a:t>
              </a:r>
            </a:p>
          </p:txBody>
        </p:sp>
        <p:sp>
          <p:nvSpPr>
            <p:cNvPr id="179" name="Freeform 9"/>
            <p:cNvSpPr>
              <a:spLocks noEditPoints="1"/>
            </p:cNvSpPr>
            <p:nvPr/>
          </p:nvSpPr>
          <p:spPr bwMode="auto">
            <a:xfrm>
              <a:off x="5589580" y="4121998"/>
              <a:ext cx="356557" cy="387942"/>
            </a:xfrm>
            <a:custGeom>
              <a:avLst/>
              <a:gdLst>
                <a:gd name="T0" fmla="*/ 1697 w 1863"/>
                <a:gd name="T1" fmla="*/ 848 h 2028"/>
                <a:gd name="T2" fmla="*/ 1611 w 1863"/>
                <a:gd name="T3" fmla="*/ 655 h 2028"/>
                <a:gd name="T4" fmla="*/ 1648 w 1863"/>
                <a:gd name="T5" fmla="*/ 333 h 2028"/>
                <a:gd name="T6" fmla="*/ 1181 w 1863"/>
                <a:gd name="T7" fmla="*/ 354 h 2028"/>
                <a:gd name="T8" fmla="*/ 746 w 1863"/>
                <a:gd name="T9" fmla="*/ 27 h 2028"/>
                <a:gd name="T10" fmla="*/ 252 w 1863"/>
                <a:gd name="T11" fmla="*/ 461 h 2028"/>
                <a:gd name="T12" fmla="*/ 258 w 1863"/>
                <a:gd name="T13" fmla="*/ 1642 h 2028"/>
                <a:gd name="T14" fmla="*/ 558 w 1863"/>
                <a:gd name="T15" fmla="*/ 1798 h 2028"/>
                <a:gd name="T16" fmla="*/ 623 w 1863"/>
                <a:gd name="T17" fmla="*/ 1787 h 2028"/>
                <a:gd name="T18" fmla="*/ 923 w 1863"/>
                <a:gd name="T19" fmla="*/ 2028 h 2028"/>
                <a:gd name="T20" fmla="*/ 1176 w 1863"/>
                <a:gd name="T21" fmla="*/ 1841 h 2028"/>
                <a:gd name="T22" fmla="*/ 1552 w 1863"/>
                <a:gd name="T23" fmla="*/ 1723 h 2028"/>
                <a:gd name="T24" fmla="*/ 1723 w 1863"/>
                <a:gd name="T25" fmla="*/ 1513 h 2028"/>
                <a:gd name="T26" fmla="*/ 795 w 1863"/>
                <a:gd name="T27" fmla="*/ 1379 h 2028"/>
                <a:gd name="T28" fmla="*/ 655 w 1863"/>
                <a:gd name="T29" fmla="*/ 1535 h 2028"/>
                <a:gd name="T30" fmla="*/ 548 w 1863"/>
                <a:gd name="T31" fmla="*/ 1578 h 2028"/>
                <a:gd name="T32" fmla="*/ 451 w 1863"/>
                <a:gd name="T33" fmla="*/ 1470 h 2028"/>
                <a:gd name="T34" fmla="*/ 392 w 1863"/>
                <a:gd name="T35" fmla="*/ 1207 h 2028"/>
                <a:gd name="T36" fmla="*/ 558 w 1863"/>
                <a:gd name="T37" fmla="*/ 1368 h 2028"/>
                <a:gd name="T38" fmla="*/ 612 w 1863"/>
                <a:gd name="T39" fmla="*/ 1342 h 2028"/>
                <a:gd name="T40" fmla="*/ 596 w 1863"/>
                <a:gd name="T41" fmla="*/ 1272 h 2028"/>
                <a:gd name="T42" fmla="*/ 446 w 1863"/>
                <a:gd name="T43" fmla="*/ 1121 h 2028"/>
                <a:gd name="T44" fmla="*/ 392 w 1863"/>
                <a:gd name="T45" fmla="*/ 928 h 2028"/>
                <a:gd name="T46" fmla="*/ 478 w 1863"/>
                <a:gd name="T47" fmla="*/ 724 h 2028"/>
                <a:gd name="T48" fmla="*/ 607 w 1863"/>
                <a:gd name="T49" fmla="*/ 681 h 2028"/>
                <a:gd name="T50" fmla="*/ 725 w 1863"/>
                <a:gd name="T51" fmla="*/ 767 h 2028"/>
                <a:gd name="T52" fmla="*/ 752 w 1863"/>
                <a:gd name="T53" fmla="*/ 966 h 2028"/>
                <a:gd name="T54" fmla="*/ 623 w 1863"/>
                <a:gd name="T55" fmla="*/ 875 h 2028"/>
                <a:gd name="T56" fmla="*/ 580 w 1863"/>
                <a:gd name="T57" fmla="*/ 880 h 2028"/>
                <a:gd name="T58" fmla="*/ 564 w 1863"/>
                <a:gd name="T59" fmla="*/ 934 h 2028"/>
                <a:gd name="T60" fmla="*/ 650 w 1863"/>
                <a:gd name="T61" fmla="*/ 1030 h 2028"/>
                <a:gd name="T62" fmla="*/ 795 w 1863"/>
                <a:gd name="T63" fmla="*/ 1256 h 2028"/>
                <a:gd name="T64" fmla="*/ 1090 w 1863"/>
                <a:gd name="T65" fmla="*/ 359 h 2028"/>
                <a:gd name="T66" fmla="*/ 827 w 1863"/>
                <a:gd name="T67" fmla="*/ 499 h 2028"/>
                <a:gd name="T68" fmla="*/ 542 w 1863"/>
                <a:gd name="T69" fmla="*/ 440 h 2028"/>
                <a:gd name="T70" fmla="*/ 1063 w 1863"/>
                <a:gd name="T71" fmla="*/ 343 h 2028"/>
                <a:gd name="T72" fmla="*/ 644 w 1863"/>
                <a:gd name="T73" fmla="*/ 107 h 2028"/>
                <a:gd name="T74" fmla="*/ 913 w 1863"/>
                <a:gd name="T75" fmla="*/ 80 h 2028"/>
                <a:gd name="T76" fmla="*/ 1326 w 1863"/>
                <a:gd name="T77" fmla="*/ 853 h 2028"/>
                <a:gd name="T78" fmla="*/ 1305 w 1863"/>
                <a:gd name="T79" fmla="*/ 939 h 2028"/>
                <a:gd name="T80" fmla="*/ 1573 w 1863"/>
                <a:gd name="T81" fmla="*/ 896 h 2028"/>
                <a:gd name="T82" fmla="*/ 1616 w 1863"/>
                <a:gd name="T83" fmla="*/ 955 h 2028"/>
                <a:gd name="T84" fmla="*/ 1654 w 1863"/>
                <a:gd name="T85" fmla="*/ 1234 h 2028"/>
                <a:gd name="T86" fmla="*/ 1675 w 1863"/>
                <a:gd name="T87" fmla="*/ 1320 h 2028"/>
                <a:gd name="T88" fmla="*/ 1766 w 1863"/>
                <a:gd name="T89" fmla="*/ 1272 h 2028"/>
                <a:gd name="T90" fmla="*/ 1772 w 1863"/>
                <a:gd name="T91" fmla="*/ 1191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3" h="2028">
                  <a:moveTo>
                    <a:pt x="1842" y="1148"/>
                  </a:moveTo>
                  <a:cubicBezTo>
                    <a:pt x="1831" y="1138"/>
                    <a:pt x="1788" y="1095"/>
                    <a:pt x="1777" y="1079"/>
                  </a:cubicBezTo>
                  <a:cubicBezTo>
                    <a:pt x="1766" y="1062"/>
                    <a:pt x="1739" y="939"/>
                    <a:pt x="1697" y="848"/>
                  </a:cubicBezTo>
                  <a:cubicBezTo>
                    <a:pt x="1680" y="816"/>
                    <a:pt x="1664" y="757"/>
                    <a:pt x="1632" y="714"/>
                  </a:cubicBezTo>
                  <a:cubicBezTo>
                    <a:pt x="1568" y="633"/>
                    <a:pt x="1482" y="585"/>
                    <a:pt x="1487" y="574"/>
                  </a:cubicBezTo>
                  <a:cubicBezTo>
                    <a:pt x="1487" y="563"/>
                    <a:pt x="1605" y="655"/>
                    <a:pt x="1611" y="655"/>
                  </a:cubicBezTo>
                  <a:cubicBezTo>
                    <a:pt x="1611" y="655"/>
                    <a:pt x="1643" y="601"/>
                    <a:pt x="1675" y="553"/>
                  </a:cubicBezTo>
                  <a:cubicBezTo>
                    <a:pt x="1691" y="520"/>
                    <a:pt x="1718" y="488"/>
                    <a:pt x="1723" y="456"/>
                  </a:cubicBezTo>
                  <a:cubicBezTo>
                    <a:pt x="1729" y="413"/>
                    <a:pt x="1718" y="359"/>
                    <a:pt x="1648" y="333"/>
                  </a:cubicBezTo>
                  <a:cubicBezTo>
                    <a:pt x="1621" y="322"/>
                    <a:pt x="1546" y="311"/>
                    <a:pt x="1471" y="317"/>
                  </a:cubicBezTo>
                  <a:cubicBezTo>
                    <a:pt x="1353" y="327"/>
                    <a:pt x="1267" y="376"/>
                    <a:pt x="1240" y="365"/>
                  </a:cubicBezTo>
                  <a:cubicBezTo>
                    <a:pt x="1229" y="365"/>
                    <a:pt x="1203" y="354"/>
                    <a:pt x="1181" y="354"/>
                  </a:cubicBezTo>
                  <a:cubicBezTo>
                    <a:pt x="1160" y="349"/>
                    <a:pt x="1138" y="354"/>
                    <a:pt x="1133" y="349"/>
                  </a:cubicBezTo>
                  <a:cubicBezTo>
                    <a:pt x="1127" y="349"/>
                    <a:pt x="1106" y="215"/>
                    <a:pt x="1036" y="139"/>
                  </a:cubicBezTo>
                  <a:cubicBezTo>
                    <a:pt x="993" y="102"/>
                    <a:pt x="891" y="0"/>
                    <a:pt x="746" y="27"/>
                  </a:cubicBezTo>
                  <a:cubicBezTo>
                    <a:pt x="671" y="37"/>
                    <a:pt x="585" y="118"/>
                    <a:pt x="548" y="204"/>
                  </a:cubicBezTo>
                  <a:cubicBezTo>
                    <a:pt x="515" y="290"/>
                    <a:pt x="542" y="381"/>
                    <a:pt x="537" y="381"/>
                  </a:cubicBezTo>
                  <a:cubicBezTo>
                    <a:pt x="537" y="386"/>
                    <a:pt x="354" y="354"/>
                    <a:pt x="252" y="461"/>
                  </a:cubicBezTo>
                  <a:cubicBezTo>
                    <a:pt x="188" y="542"/>
                    <a:pt x="0" y="837"/>
                    <a:pt x="21" y="1111"/>
                  </a:cubicBezTo>
                  <a:cubicBezTo>
                    <a:pt x="27" y="1202"/>
                    <a:pt x="54" y="1304"/>
                    <a:pt x="102" y="1395"/>
                  </a:cubicBezTo>
                  <a:cubicBezTo>
                    <a:pt x="150" y="1492"/>
                    <a:pt x="220" y="1572"/>
                    <a:pt x="258" y="1642"/>
                  </a:cubicBezTo>
                  <a:cubicBezTo>
                    <a:pt x="306" y="1717"/>
                    <a:pt x="306" y="1760"/>
                    <a:pt x="311" y="1771"/>
                  </a:cubicBezTo>
                  <a:cubicBezTo>
                    <a:pt x="311" y="1776"/>
                    <a:pt x="376" y="1825"/>
                    <a:pt x="435" y="1825"/>
                  </a:cubicBezTo>
                  <a:cubicBezTo>
                    <a:pt x="483" y="1825"/>
                    <a:pt x="537" y="1808"/>
                    <a:pt x="558" y="1798"/>
                  </a:cubicBezTo>
                  <a:cubicBezTo>
                    <a:pt x="569" y="1792"/>
                    <a:pt x="564" y="1782"/>
                    <a:pt x="564" y="1776"/>
                  </a:cubicBezTo>
                  <a:cubicBezTo>
                    <a:pt x="558" y="1771"/>
                    <a:pt x="451" y="1717"/>
                    <a:pt x="451" y="1707"/>
                  </a:cubicBezTo>
                  <a:cubicBezTo>
                    <a:pt x="451" y="1701"/>
                    <a:pt x="542" y="1739"/>
                    <a:pt x="623" y="1787"/>
                  </a:cubicBezTo>
                  <a:cubicBezTo>
                    <a:pt x="709" y="1835"/>
                    <a:pt x="784" y="1894"/>
                    <a:pt x="784" y="1894"/>
                  </a:cubicBezTo>
                  <a:cubicBezTo>
                    <a:pt x="784" y="1894"/>
                    <a:pt x="778" y="1937"/>
                    <a:pt x="778" y="1953"/>
                  </a:cubicBezTo>
                  <a:cubicBezTo>
                    <a:pt x="778" y="1975"/>
                    <a:pt x="848" y="2028"/>
                    <a:pt x="923" y="2028"/>
                  </a:cubicBezTo>
                  <a:cubicBezTo>
                    <a:pt x="1004" y="2028"/>
                    <a:pt x="1068" y="1991"/>
                    <a:pt x="1068" y="1975"/>
                  </a:cubicBezTo>
                  <a:cubicBezTo>
                    <a:pt x="1068" y="1964"/>
                    <a:pt x="1074" y="1916"/>
                    <a:pt x="1085" y="1894"/>
                  </a:cubicBezTo>
                  <a:cubicBezTo>
                    <a:pt x="1085" y="1894"/>
                    <a:pt x="1122" y="1862"/>
                    <a:pt x="1176" y="1841"/>
                  </a:cubicBezTo>
                  <a:cubicBezTo>
                    <a:pt x="1219" y="1819"/>
                    <a:pt x="1267" y="1803"/>
                    <a:pt x="1321" y="1782"/>
                  </a:cubicBezTo>
                  <a:cubicBezTo>
                    <a:pt x="1342" y="1787"/>
                    <a:pt x="1374" y="1792"/>
                    <a:pt x="1407" y="1792"/>
                  </a:cubicBezTo>
                  <a:cubicBezTo>
                    <a:pt x="1482" y="1792"/>
                    <a:pt x="1552" y="1739"/>
                    <a:pt x="1552" y="1723"/>
                  </a:cubicBezTo>
                  <a:cubicBezTo>
                    <a:pt x="1552" y="1712"/>
                    <a:pt x="1552" y="1674"/>
                    <a:pt x="1552" y="1647"/>
                  </a:cubicBezTo>
                  <a:cubicBezTo>
                    <a:pt x="1627" y="1583"/>
                    <a:pt x="1659" y="1540"/>
                    <a:pt x="1675" y="1529"/>
                  </a:cubicBezTo>
                  <a:cubicBezTo>
                    <a:pt x="1702" y="1519"/>
                    <a:pt x="1713" y="1519"/>
                    <a:pt x="1723" y="1513"/>
                  </a:cubicBezTo>
                  <a:cubicBezTo>
                    <a:pt x="1729" y="1513"/>
                    <a:pt x="1804" y="1454"/>
                    <a:pt x="1831" y="1368"/>
                  </a:cubicBezTo>
                  <a:cubicBezTo>
                    <a:pt x="1863" y="1277"/>
                    <a:pt x="1852" y="1164"/>
                    <a:pt x="1842" y="1148"/>
                  </a:cubicBezTo>
                  <a:close/>
                  <a:moveTo>
                    <a:pt x="795" y="1379"/>
                  </a:moveTo>
                  <a:cubicBezTo>
                    <a:pt x="789" y="1401"/>
                    <a:pt x="784" y="1422"/>
                    <a:pt x="773" y="1449"/>
                  </a:cubicBezTo>
                  <a:cubicBezTo>
                    <a:pt x="762" y="1470"/>
                    <a:pt x="752" y="1486"/>
                    <a:pt x="730" y="1503"/>
                  </a:cubicBezTo>
                  <a:cubicBezTo>
                    <a:pt x="714" y="1524"/>
                    <a:pt x="687" y="1535"/>
                    <a:pt x="655" y="1535"/>
                  </a:cubicBezTo>
                  <a:cubicBezTo>
                    <a:pt x="655" y="1562"/>
                    <a:pt x="655" y="1583"/>
                    <a:pt x="650" y="1604"/>
                  </a:cubicBezTo>
                  <a:cubicBezTo>
                    <a:pt x="634" y="1610"/>
                    <a:pt x="617" y="1615"/>
                    <a:pt x="596" y="1621"/>
                  </a:cubicBezTo>
                  <a:cubicBezTo>
                    <a:pt x="580" y="1604"/>
                    <a:pt x="564" y="1594"/>
                    <a:pt x="548" y="1578"/>
                  </a:cubicBezTo>
                  <a:cubicBezTo>
                    <a:pt x="548" y="1562"/>
                    <a:pt x="548" y="1540"/>
                    <a:pt x="548" y="1524"/>
                  </a:cubicBezTo>
                  <a:cubicBezTo>
                    <a:pt x="532" y="1519"/>
                    <a:pt x="515" y="1508"/>
                    <a:pt x="499" y="1503"/>
                  </a:cubicBezTo>
                  <a:cubicBezTo>
                    <a:pt x="483" y="1492"/>
                    <a:pt x="467" y="1481"/>
                    <a:pt x="451" y="1470"/>
                  </a:cubicBezTo>
                  <a:cubicBezTo>
                    <a:pt x="440" y="1460"/>
                    <a:pt x="424" y="1449"/>
                    <a:pt x="413" y="1438"/>
                  </a:cubicBezTo>
                  <a:cubicBezTo>
                    <a:pt x="408" y="1427"/>
                    <a:pt x="397" y="1417"/>
                    <a:pt x="397" y="1411"/>
                  </a:cubicBezTo>
                  <a:cubicBezTo>
                    <a:pt x="397" y="1342"/>
                    <a:pt x="392" y="1277"/>
                    <a:pt x="392" y="1207"/>
                  </a:cubicBezTo>
                  <a:cubicBezTo>
                    <a:pt x="408" y="1245"/>
                    <a:pt x="435" y="1277"/>
                    <a:pt x="462" y="1304"/>
                  </a:cubicBezTo>
                  <a:cubicBezTo>
                    <a:pt x="494" y="1336"/>
                    <a:pt x="526" y="1358"/>
                    <a:pt x="558" y="1363"/>
                  </a:cubicBezTo>
                  <a:cubicBezTo>
                    <a:pt x="558" y="1368"/>
                    <a:pt x="558" y="1368"/>
                    <a:pt x="558" y="1368"/>
                  </a:cubicBezTo>
                  <a:cubicBezTo>
                    <a:pt x="569" y="1368"/>
                    <a:pt x="574" y="1368"/>
                    <a:pt x="585" y="1368"/>
                  </a:cubicBezTo>
                  <a:cubicBezTo>
                    <a:pt x="591" y="1368"/>
                    <a:pt x="596" y="1363"/>
                    <a:pt x="601" y="1358"/>
                  </a:cubicBezTo>
                  <a:cubicBezTo>
                    <a:pt x="607" y="1352"/>
                    <a:pt x="607" y="1347"/>
                    <a:pt x="612" y="1342"/>
                  </a:cubicBezTo>
                  <a:cubicBezTo>
                    <a:pt x="612" y="1336"/>
                    <a:pt x="612" y="1331"/>
                    <a:pt x="612" y="1320"/>
                  </a:cubicBezTo>
                  <a:cubicBezTo>
                    <a:pt x="612" y="1315"/>
                    <a:pt x="612" y="1304"/>
                    <a:pt x="612" y="1299"/>
                  </a:cubicBezTo>
                  <a:cubicBezTo>
                    <a:pt x="612" y="1288"/>
                    <a:pt x="607" y="1283"/>
                    <a:pt x="596" y="1272"/>
                  </a:cubicBezTo>
                  <a:cubicBezTo>
                    <a:pt x="591" y="1261"/>
                    <a:pt x="580" y="1250"/>
                    <a:pt x="564" y="1234"/>
                  </a:cubicBezTo>
                  <a:cubicBezTo>
                    <a:pt x="553" y="1224"/>
                    <a:pt x="532" y="1207"/>
                    <a:pt x="510" y="1191"/>
                  </a:cubicBezTo>
                  <a:cubicBezTo>
                    <a:pt x="483" y="1164"/>
                    <a:pt x="462" y="1143"/>
                    <a:pt x="446" y="1121"/>
                  </a:cubicBezTo>
                  <a:cubicBezTo>
                    <a:pt x="429" y="1095"/>
                    <a:pt x="419" y="1073"/>
                    <a:pt x="408" y="1052"/>
                  </a:cubicBezTo>
                  <a:cubicBezTo>
                    <a:pt x="403" y="1036"/>
                    <a:pt x="397" y="1014"/>
                    <a:pt x="397" y="993"/>
                  </a:cubicBezTo>
                  <a:cubicBezTo>
                    <a:pt x="392" y="971"/>
                    <a:pt x="392" y="950"/>
                    <a:pt x="392" y="928"/>
                  </a:cubicBezTo>
                  <a:cubicBezTo>
                    <a:pt x="392" y="896"/>
                    <a:pt x="392" y="869"/>
                    <a:pt x="397" y="842"/>
                  </a:cubicBezTo>
                  <a:cubicBezTo>
                    <a:pt x="403" y="816"/>
                    <a:pt x="413" y="789"/>
                    <a:pt x="424" y="773"/>
                  </a:cubicBezTo>
                  <a:cubicBezTo>
                    <a:pt x="440" y="751"/>
                    <a:pt x="456" y="735"/>
                    <a:pt x="478" y="724"/>
                  </a:cubicBezTo>
                  <a:cubicBezTo>
                    <a:pt x="499" y="714"/>
                    <a:pt x="521" y="708"/>
                    <a:pt x="548" y="708"/>
                  </a:cubicBezTo>
                  <a:cubicBezTo>
                    <a:pt x="553" y="681"/>
                    <a:pt x="553" y="655"/>
                    <a:pt x="553" y="639"/>
                  </a:cubicBezTo>
                  <a:cubicBezTo>
                    <a:pt x="569" y="649"/>
                    <a:pt x="591" y="665"/>
                    <a:pt x="607" y="681"/>
                  </a:cubicBezTo>
                  <a:cubicBezTo>
                    <a:pt x="623" y="671"/>
                    <a:pt x="639" y="665"/>
                    <a:pt x="650" y="660"/>
                  </a:cubicBezTo>
                  <a:cubicBezTo>
                    <a:pt x="655" y="681"/>
                    <a:pt x="655" y="703"/>
                    <a:pt x="655" y="735"/>
                  </a:cubicBezTo>
                  <a:cubicBezTo>
                    <a:pt x="682" y="740"/>
                    <a:pt x="703" y="757"/>
                    <a:pt x="725" y="767"/>
                  </a:cubicBezTo>
                  <a:cubicBezTo>
                    <a:pt x="746" y="778"/>
                    <a:pt x="762" y="794"/>
                    <a:pt x="773" y="805"/>
                  </a:cubicBezTo>
                  <a:cubicBezTo>
                    <a:pt x="773" y="869"/>
                    <a:pt x="778" y="934"/>
                    <a:pt x="778" y="1003"/>
                  </a:cubicBezTo>
                  <a:cubicBezTo>
                    <a:pt x="773" y="993"/>
                    <a:pt x="762" y="982"/>
                    <a:pt x="752" y="966"/>
                  </a:cubicBezTo>
                  <a:cubicBezTo>
                    <a:pt x="741" y="955"/>
                    <a:pt x="730" y="944"/>
                    <a:pt x="719" y="934"/>
                  </a:cubicBezTo>
                  <a:cubicBezTo>
                    <a:pt x="703" y="918"/>
                    <a:pt x="693" y="907"/>
                    <a:pt x="677" y="901"/>
                  </a:cubicBezTo>
                  <a:cubicBezTo>
                    <a:pt x="660" y="891"/>
                    <a:pt x="639" y="880"/>
                    <a:pt x="623" y="875"/>
                  </a:cubicBezTo>
                  <a:cubicBezTo>
                    <a:pt x="623" y="875"/>
                    <a:pt x="623" y="875"/>
                    <a:pt x="623" y="875"/>
                  </a:cubicBezTo>
                  <a:cubicBezTo>
                    <a:pt x="612" y="875"/>
                    <a:pt x="607" y="875"/>
                    <a:pt x="601" y="875"/>
                  </a:cubicBezTo>
                  <a:cubicBezTo>
                    <a:pt x="591" y="875"/>
                    <a:pt x="585" y="880"/>
                    <a:pt x="580" y="880"/>
                  </a:cubicBezTo>
                  <a:cubicBezTo>
                    <a:pt x="574" y="885"/>
                    <a:pt x="569" y="891"/>
                    <a:pt x="569" y="896"/>
                  </a:cubicBezTo>
                  <a:cubicBezTo>
                    <a:pt x="564" y="901"/>
                    <a:pt x="564" y="907"/>
                    <a:pt x="564" y="918"/>
                  </a:cubicBezTo>
                  <a:cubicBezTo>
                    <a:pt x="564" y="923"/>
                    <a:pt x="564" y="928"/>
                    <a:pt x="564" y="934"/>
                  </a:cubicBezTo>
                  <a:cubicBezTo>
                    <a:pt x="569" y="944"/>
                    <a:pt x="569" y="950"/>
                    <a:pt x="574" y="961"/>
                  </a:cubicBezTo>
                  <a:cubicBezTo>
                    <a:pt x="580" y="971"/>
                    <a:pt x="591" y="977"/>
                    <a:pt x="601" y="993"/>
                  </a:cubicBezTo>
                  <a:cubicBezTo>
                    <a:pt x="612" y="1003"/>
                    <a:pt x="628" y="1014"/>
                    <a:pt x="650" y="1030"/>
                  </a:cubicBezTo>
                  <a:cubicBezTo>
                    <a:pt x="682" y="1062"/>
                    <a:pt x="714" y="1089"/>
                    <a:pt x="730" y="1116"/>
                  </a:cubicBezTo>
                  <a:cubicBezTo>
                    <a:pt x="752" y="1143"/>
                    <a:pt x="768" y="1164"/>
                    <a:pt x="773" y="1186"/>
                  </a:cubicBezTo>
                  <a:cubicBezTo>
                    <a:pt x="784" y="1213"/>
                    <a:pt x="789" y="1234"/>
                    <a:pt x="795" y="1256"/>
                  </a:cubicBezTo>
                  <a:cubicBezTo>
                    <a:pt x="795" y="1277"/>
                    <a:pt x="795" y="1299"/>
                    <a:pt x="795" y="1320"/>
                  </a:cubicBezTo>
                  <a:cubicBezTo>
                    <a:pt x="795" y="1336"/>
                    <a:pt x="795" y="1358"/>
                    <a:pt x="795" y="1379"/>
                  </a:cubicBezTo>
                  <a:close/>
                  <a:moveTo>
                    <a:pt x="1090" y="359"/>
                  </a:moveTo>
                  <a:cubicBezTo>
                    <a:pt x="1079" y="370"/>
                    <a:pt x="1015" y="376"/>
                    <a:pt x="961" y="413"/>
                  </a:cubicBezTo>
                  <a:cubicBezTo>
                    <a:pt x="886" y="467"/>
                    <a:pt x="811" y="553"/>
                    <a:pt x="805" y="547"/>
                  </a:cubicBezTo>
                  <a:cubicBezTo>
                    <a:pt x="795" y="547"/>
                    <a:pt x="827" y="499"/>
                    <a:pt x="827" y="499"/>
                  </a:cubicBezTo>
                  <a:cubicBezTo>
                    <a:pt x="827" y="499"/>
                    <a:pt x="483" y="456"/>
                    <a:pt x="472" y="440"/>
                  </a:cubicBezTo>
                  <a:cubicBezTo>
                    <a:pt x="467" y="424"/>
                    <a:pt x="542" y="424"/>
                    <a:pt x="542" y="424"/>
                  </a:cubicBezTo>
                  <a:cubicBezTo>
                    <a:pt x="542" y="440"/>
                    <a:pt x="542" y="440"/>
                    <a:pt x="542" y="440"/>
                  </a:cubicBezTo>
                  <a:cubicBezTo>
                    <a:pt x="854" y="472"/>
                    <a:pt x="854" y="472"/>
                    <a:pt x="854" y="472"/>
                  </a:cubicBezTo>
                  <a:cubicBezTo>
                    <a:pt x="854" y="472"/>
                    <a:pt x="897" y="418"/>
                    <a:pt x="956" y="386"/>
                  </a:cubicBezTo>
                  <a:cubicBezTo>
                    <a:pt x="1009" y="349"/>
                    <a:pt x="1063" y="343"/>
                    <a:pt x="1063" y="343"/>
                  </a:cubicBezTo>
                  <a:cubicBezTo>
                    <a:pt x="1063" y="343"/>
                    <a:pt x="1042" y="263"/>
                    <a:pt x="993" y="204"/>
                  </a:cubicBezTo>
                  <a:cubicBezTo>
                    <a:pt x="950" y="150"/>
                    <a:pt x="907" y="107"/>
                    <a:pt x="821" y="70"/>
                  </a:cubicBezTo>
                  <a:cubicBezTo>
                    <a:pt x="741" y="37"/>
                    <a:pt x="655" y="118"/>
                    <a:pt x="644" y="107"/>
                  </a:cubicBezTo>
                  <a:cubicBezTo>
                    <a:pt x="639" y="102"/>
                    <a:pt x="677" y="75"/>
                    <a:pt x="709" y="59"/>
                  </a:cubicBezTo>
                  <a:cubicBezTo>
                    <a:pt x="719" y="54"/>
                    <a:pt x="757" y="37"/>
                    <a:pt x="800" y="43"/>
                  </a:cubicBezTo>
                  <a:cubicBezTo>
                    <a:pt x="832" y="43"/>
                    <a:pt x="875" y="59"/>
                    <a:pt x="913" y="80"/>
                  </a:cubicBezTo>
                  <a:cubicBezTo>
                    <a:pt x="1009" y="134"/>
                    <a:pt x="1090" y="306"/>
                    <a:pt x="1095" y="322"/>
                  </a:cubicBezTo>
                  <a:cubicBezTo>
                    <a:pt x="1095" y="322"/>
                    <a:pt x="1106" y="349"/>
                    <a:pt x="1090" y="359"/>
                  </a:cubicBezTo>
                  <a:close/>
                  <a:moveTo>
                    <a:pt x="1326" y="853"/>
                  </a:moveTo>
                  <a:cubicBezTo>
                    <a:pt x="1342" y="848"/>
                    <a:pt x="1369" y="880"/>
                    <a:pt x="1380" y="923"/>
                  </a:cubicBezTo>
                  <a:cubicBezTo>
                    <a:pt x="1385" y="966"/>
                    <a:pt x="1380" y="1003"/>
                    <a:pt x="1358" y="1009"/>
                  </a:cubicBezTo>
                  <a:cubicBezTo>
                    <a:pt x="1337" y="1009"/>
                    <a:pt x="1315" y="982"/>
                    <a:pt x="1305" y="939"/>
                  </a:cubicBezTo>
                  <a:cubicBezTo>
                    <a:pt x="1299" y="896"/>
                    <a:pt x="1305" y="859"/>
                    <a:pt x="1326" y="853"/>
                  </a:cubicBezTo>
                  <a:close/>
                  <a:moveTo>
                    <a:pt x="1616" y="955"/>
                  </a:moveTo>
                  <a:cubicBezTo>
                    <a:pt x="1600" y="961"/>
                    <a:pt x="1578" y="934"/>
                    <a:pt x="1573" y="896"/>
                  </a:cubicBezTo>
                  <a:cubicBezTo>
                    <a:pt x="1562" y="864"/>
                    <a:pt x="1573" y="832"/>
                    <a:pt x="1589" y="826"/>
                  </a:cubicBezTo>
                  <a:cubicBezTo>
                    <a:pt x="1605" y="821"/>
                    <a:pt x="1627" y="848"/>
                    <a:pt x="1632" y="885"/>
                  </a:cubicBezTo>
                  <a:cubicBezTo>
                    <a:pt x="1643" y="918"/>
                    <a:pt x="1632" y="950"/>
                    <a:pt x="1616" y="955"/>
                  </a:cubicBezTo>
                  <a:close/>
                  <a:moveTo>
                    <a:pt x="1659" y="1331"/>
                  </a:moveTo>
                  <a:cubicBezTo>
                    <a:pt x="1648" y="1331"/>
                    <a:pt x="1632" y="1309"/>
                    <a:pt x="1632" y="1283"/>
                  </a:cubicBezTo>
                  <a:cubicBezTo>
                    <a:pt x="1632" y="1256"/>
                    <a:pt x="1643" y="1234"/>
                    <a:pt x="1654" y="1234"/>
                  </a:cubicBezTo>
                  <a:cubicBezTo>
                    <a:pt x="1659" y="1234"/>
                    <a:pt x="1659" y="1234"/>
                    <a:pt x="1664" y="1234"/>
                  </a:cubicBezTo>
                  <a:cubicBezTo>
                    <a:pt x="1659" y="1245"/>
                    <a:pt x="1654" y="1256"/>
                    <a:pt x="1654" y="1272"/>
                  </a:cubicBezTo>
                  <a:cubicBezTo>
                    <a:pt x="1654" y="1293"/>
                    <a:pt x="1664" y="1315"/>
                    <a:pt x="1675" y="1320"/>
                  </a:cubicBezTo>
                  <a:cubicBezTo>
                    <a:pt x="1670" y="1325"/>
                    <a:pt x="1664" y="1325"/>
                    <a:pt x="1659" y="1331"/>
                  </a:cubicBezTo>
                  <a:close/>
                  <a:moveTo>
                    <a:pt x="1772" y="1272"/>
                  </a:moveTo>
                  <a:cubicBezTo>
                    <a:pt x="1772" y="1272"/>
                    <a:pt x="1772" y="1272"/>
                    <a:pt x="1766" y="1272"/>
                  </a:cubicBezTo>
                  <a:cubicBezTo>
                    <a:pt x="1772" y="1266"/>
                    <a:pt x="1777" y="1250"/>
                    <a:pt x="1777" y="1240"/>
                  </a:cubicBezTo>
                  <a:cubicBezTo>
                    <a:pt x="1772" y="1218"/>
                    <a:pt x="1766" y="1207"/>
                    <a:pt x="1756" y="1202"/>
                  </a:cubicBezTo>
                  <a:cubicBezTo>
                    <a:pt x="1761" y="1197"/>
                    <a:pt x="1766" y="1191"/>
                    <a:pt x="1772" y="1191"/>
                  </a:cubicBezTo>
                  <a:cubicBezTo>
                    <a:pt x="1782" y="1191"/>
                    <a:pt x="1793" y="1207"/>
                    <a:pt x="1793" y="1234"/>
                  </a:cubicBezTo>
                  <a:cubicBezTo>
                    <a:pt x="1793" y="1256"/>
                    <a:pt x="1788" y="1272"/>
                    <a:pt x="1772" y="127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sp>
        <p:nvSpPr>
          <p:cNvPr id="270" name="Rectangle 269"/>
          <p:cNvSpPr/>
          <p:nvPr/>
        </p:nvSpPr>
        <p:spPr bwMode="auto">
          <a:xfrm>
            <a:off x="75893" y="486"/>
            <a:ext cx="12192000" cy="380962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3" name="Title 2"/>
          <p:cNvSpPr>
            <a:spLocks noGrp="1"/>
          </p:cNvSpPr>
          <p:nvPr>
            <p:ph type="title"/>
          </p:nvPr>
        </p:nvSpPr>
        <p:spPr>
          <a:noFill/>
        </p:spPr>
        <p:txBody>
          <a:bodyPr/>
          <a:lstStyle/>
          <a:p>
            <a:r>
              <a:rPr lang="en-US" dirty="0" smtClean="0"/>
              <a:t>Contos</a:t>
            </a:r>
            <a:r>
              <a:rPr lang="en-US" spc="292" dirty="0"/>
              <a:t>o’</a:t>
            </a:r>
            <a:r>
              <a:rPr lang="en-US" dirty="0" smtClean="0"/>
              <a:t>s employees</a:t>
            </a:r>
            <a:endParaRPr lang="en-US" dirty="0"/>
          </a:p>
        </p:txBody>
      </p:sp>
      <p:grpSp>
        <p:nvGrpSpPr>
          <p:cNvPr id="28" name="Group 27"/>
          <p:cNvGrpSpPr/>
          <p:nvPr/>
        </p:nvGrpSpPr>
        <p:grpSpPr>
          <a:xfrm>
            <a:off x="269241" y="6086955"/>
            <a:ext cx="5005602" cy="598707"/>
            <a:chOff x="274639" y="6211768"/>
            <a:chExt cx="6744240" cy="610712"/>
          </a:xfrm>
        </p:grpSpPr>
        <p:sp>
          <p:nvSpPr>
            <p:cNvPr id="2" name="Rectangle 1"/>
            <p:cNvSpPr/>
            <p:nvPr/>
          </p:nvSpPr>
          <p:spPr bwMode="auto">
            <a:xfrm>
              <a:off x="2216652" y="6288977"/>
              <a:ext cx="2860215" cy="533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961" spc="-49" dirty="0">
                  <a:gradFill>
                    <a:gsLst>
                      <a:gs pos="6838">
                        <a:srgbClr val="00BCF2"/>
                      </a:gs>
                      <a:gs pos="18803">
                        <a:srgbClr val="00BCF2"/>
                      </a:gs>
                    </a:gsLst>
                    <a:lin ang="5400000" scaled="0"/>
                  </a:gradFill>
                  <a:cs typeface="Segoe UI Semilight" panose="020B0402040204020203" pitchFamily="34" charset="0"/>
                </a:rPr>
                <a:t>IT Consumers</a:t>
              </a:r>
            </a:p>
          </p:txBody>
        </p:sp>
        <p:sp>
          <p:nvSpPr>
            <p:cNvPr id="27" name="Freeform 5"/>
            <p:cNvSpPr>
              <a:spLocks/>
            </p:cNvSpPr>
            <p:nvPr/>
          </p:nvSpPr>
          <p:spPr bwMode="auto">
            <a:xfrm>
              <a:off x="274639" y="6211768"/>
              <a:ext cx="6744240" cy="84484"/>
            </a:xfrm>
            <a:prstGeom prst="rect">
              <a:avLst/>
            </a:prstGeom>
            <a:solidFill>
              <a:schemeClr val="tx2"/>
            </a:solidFill>
            <a:ln w="22225" cap="flat">
              <a:noFill/>
              <a:prstDash val="solid"/>
              <a:miter lim="800000"/>
              <a:headEnd/>
              <a:tailEnd/>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30" name="Group 29"/>
          <p:cNvGrpSpPr/>
          <p:nvPr/>
        </p:nvGrpSpPr>
        <p:grpSpPr>
          <a:xfrm>
            <a:off x="5340278" y="6086955"/>
            <a:ext cx="6693572" cy="598707"/>
            <a:chOff x="7123265" y="6211768"/>
            <a:chExt cx="5135222" cy="610712"/>
          </a:xfrm>
        </p:grpSpPr>
        <p:sp>
          <p:nvSpPr>
            <p:cNvPr id="134" name="Rectangle 133"/>
            <p:cNvSpPr/>
            <p:nvPr/>
          </p:nvSpPr>
          <p:spPr bwMode="auto">
            <a:xfrm>
              <a:off x="8217085" y="6288977"/>
              <a:ext cx="2860215" cy="533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961" spc="-49" dirty="0">
                  <a:solidFill>
                    <a:srgbClr val="0072C6"/>
                  </a:solidFill>
                  <a:cs typeface="Segoe UI Semilight" panose="020B0402040204020203" pitchFamily="34" charset="0"/>
                </a:rPr>
                <a:t>IT Administrators</a:t>
              </a:r>
            </a:p>
          </p:txBody>
        </p:sp>
        <p:sp>
          <p:nvSpPr>
            <p:cNvPr id="137" name="Freeform 5"/>
            <p:cNvSpPr>
              <a:spLocks/>
            </p:cNvSpPr>
            <p:nvPr/>
          </p:nvSpPr>
          <p:spPr bwMode="auto">
            <a:xfrm>
              <a:off x="7123265" y="6211768"/>
              <a:ext cx="5135222" cy="84484"/>
            </a:xfrm>
            <a:prstGeom prst="rect">
              <a:avLst/>
            </a:prstGeom>
            <a:solidFill>
              <a:schemeClr val="accent5"/>
            </a:solidFill>
            <a:ln w="22225" cap="flat">
              <a:noFill/>
              <a:prstDash val="solid"/>
              <a:miter lim="800000"/>
              <a:headEnd/>
              <a:tailEnd/>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cxnSp>
        <p:nvCxnSpPr>
          <p:cNvPr id="262" name="Straight Connector 261"/>
          <p:cNvCxnSpPr/>
          <p:nvPr/>
        </p:nvCxnSpPr>
        <p:spPr>
          <a:xfrm>
            <a:off x="269241" y="5293536"/>
            <a:ext cx="11615573"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300757" y="4576283"/>
            <a:ext cx="12995089"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300757" y="5281611"/>
            <a:ext cx="12995089"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0411323" y="1256008"/>
            <a:ext cx="1622529" cy="2572739"/>
            <a:chOff x="8769159" y="-2619282"/>
            <a:chExt cx="1655064" cy="2624328"/>
          </a:xfrm>
          <a:solidFill>
            <a:schemeClr val="accent5"/>
          </a:solidFill>
        </p:grpSpPr>
        <p:sp>
          <p:nvSpPr>
            <p:cNvPr id="139" name="Rectangle 138"/>
            <p:cNvSpPr/>
            <p:nvPr/>
          </p:nvSpPr>
          <p:spPr bwMode="auto">
            <a:xfrm>
              <a:off x="8769159" y="-2619282"/>
              <a:ext cx="1655064" cy="262432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703207" rIns="179285" bIns="143428" numCol="1" spcCol="0" rtlCol="0" fromWordArt="0" anchor="t" anchorCtr="0" forceAA="0" compatLnSpc="1">
              <a:prstTxWarp prst="textNoShape">
                <a:avLst/>
              </a:prstTxWarp>
              <a:noAutofit/>
            </a:bodyPr>
            <a:lstStyle/>
            <a:p>
              <a:pPr defTabSz="913942" fontAlgn="base">
                <a:lnSpc>
                  <a:spcPct val="90000"/>
                </a:lnSpc>
                <a:spcAft>
                  <a:spcPct val="0"/>
                </a:spcAft>
              </a:pPr>
              <a:r>
                <a:rPr lang="en-US" sz="1961" spc="-20" dirty="0">
                  <a:solidFill>
                    <a:srgbClr val="FFFFFF"/>
                  </a:solidFill>
                  <a:latin typeface="Segoe UI Semibold" panose="020B0702040204020203" pitchFamily="34" charset="0"/>
                </a:rPr>
                <a:t>Terry</a:t>
              </a:r>
            </a:p>
            <a:p>
              <a:pPr defTabSz="913942" fontAlgn="base">
                <a:lnSpc>
                  <a:spcPct val="90000"/>
                </a:lnSpc>
                <a:spcAft>
                  <a:spcPct val="0"/>
                </a:spcAft>
              </a:pPr>
              <a:r>
                <a:rPr lang="en-US" sz="1568" spc="-20" dirty="0">
                  <a:solidFill>
                    <a:srgbClr val="FFFFFF"/>
                  </a:solidFill>
                </a:rPr>
                <a:t>DBA – Data Steward</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51065" t="50476" r="33935" b="15412"/>
            <a:stretch/>
          </p:blipFill>
          <p:spPr>
            <a:xfrm>
              <a:off x="8814879" y="-2574677"/>
              <a:ext cx="1560711" cy="1560650"/>
            </a:xfrm>
            <a:prstGeom prst="rect">
              <a:avLst/>
            </a:prstGeom>
            <a:grpFill/>
          </p:spPr>
        </p:pic>
      </p:grpSp>
      <p:grpSp>
        <p:nvGrpSpPr>
          <p:cNvPr id="269" name="Group 268"/>
          <p:cNvGrpSpPr/>
          <p:nvPr/>
        </p:nvGrpSpPr>
        <p:grpSpPr>
          <a:xfrm>
            <a:off x="269241" y="1256008"/>
            <a:ext cx="1622529" cy="2572739"/>
            <a:chOff x="274639" y="-2619282"/>
            <a:chExt cx="1655064" cy="2624328"/>
          </a:xfrm>
        </p:grpSpPr>
        <p:sp>
          <p:nvSpPr>
            <p:cNvPr id="125" name="Rectangle 124"/>
            <p:cNvSpPr/>
            <p:nvPr/>
          </p:nvSpPr>
          <p:spPr bwMode="auto">
            <a:xfrm>
              <a:off x="274639" y="-2619282"/>
              <a:ext cx="1655064" cy="262432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703207" rIns="179285" bIns="143428" numCol="1" rtlCol="0" anchor="t" anchorCtr="0" compatLnSpc="1">
              <a:prstTxWarp prst="textNoShape">
                <a:avLst/>
              </a:prstTxWarp>
            </a:bodyPr>
            <a:lstStyle/>
            <a:p>
              <a:pPr defTabSz="913942" fontAlgn="base">
                <a:lnSpc>
                  <a:spcPct val="90000"/>
                </a:lnSpc>
                <a:spcAft>
                  <a:spcPct val="0"/>
                </a:spcAft>
              </a:pPr>
              <a:r>
                <a:rPr lang="en-US" sz="1961" spc="-20" dirty="0">
                  <a:gradFill>
                    <a:gsLst>
                      <a:gs pos="99107">
                        <a:srgbClr val="FFFFFF"/>
                      </a:gs>
                      <a:gs pos="84071">
                        <a:srgbClr val="FFFFFF"/>
                      </a:gs>
                    </a:gsLst>
                    <a:lin ang="5400000" scaled="0"/>
                  </a:gradFill>
                  <a:latin typeface="Segoe UI Semibold" panose="020B0702040204020203" pitchFamily="34" charset="0"/>
                </a:rPr>
                <a:t>Kathy </a:t>
              </a:r>
            </a:p>
            <a:p>
              <a:pPr defTabSz="913942" fontAlgn="base">
                <a:lnSpc>
                  <a:spcPct val="90000"/>
                </a:lnSpc>
                <a:spcAft>
                  <a:spcPct val="0"/>
                </a:spcAft>
              </a:pPr>
              <a:r>
                <a:rPr lang="en-US" sz="1568" dirty="0">
                  <a:gradFill>
                    <a:gsLst>
                      <a:gs pos="99107">
                        <a:srgbClr val="FFFFFF"/>
                      </a:gs>
                      <a:gs pos="84071">
                        <a:srgbClr val="FFFFFF"/>
                      </a:gs>
                    </a:gsLst>
                    <a:lin ang="5400000" scaled="0"/>
                  </a:gradFill>
                </a:rPr>
                <a:t>CIO</a:t>
              </a:r>
            </a:p>
          </p:txBody>
        </p:sp>
        <p:pic>
          <p:nvPicPr>
            <p:cNvPr id="5" name="Picture 4"/>
            <p:cNvPicPr>
              <a:picLocks noChangeAspect="1"/>
            </p:cNvPicPr>
            <p:nvPr/>
          </p:nvPicPr>
          <p:blipFill>
            <a:blip r:embed="rId4"/>
            <a:stretch>
              <a:fillRect/>
            </a:stretch>
          </p:blipFill>
          <p:spPr>
            <a:xfrm>
              <a:off x="320359" y="-2574677"/>
              <a:ext cx="1560711" cy="1560711"/>
            </a:xfrm>
            <a:prstGeom prst="rect">
              <a:avLst/>
            </a:prstGeom>
          </p:spPr>
        </p:pic>
      </p:grpSp>
      <p:grpSp>
        <p:nvGrpSpPr>
          <p:cNvPr id="23" name="Group 22"/>
          <p:cNvGrpSpPr/>
          <p:nvPr/>
        </p:nvGrpSpPr>
        <p:grpSpPr>
          <a:xfrm>
            <a:off x="7030629" y="1256008"/>
            <a:ext cx="1622529" cy="2572739"/>
            <a:chOff x="5371351" y="-2619282"/>
            <a:chExt cx="1655064" cy="2624328"/>
          </a:xfrm>
          <a:solidFill>
            <a:schemeClr val="accent5"/>
          </a:solidFill>
        </p:grpSpPr>
        <p:sp>
          <p:nvSpPr>
            <p:cNvPr id="135" name="Rectangle 134"/>
            <p:cNvSpPr/>
            <p:nvPr/>
          </p:nvSpPr>
          <p:spPr bwMode="auto">
            <a:xfrm>
              <a:off x="5371351" y="-2619282"/>
              <a:ext cx="1655064" cy="262432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703207" rIns="179285" bIns="143428" numCol="1" spcCol="0" rtlCol="0" fromWordArt="0" anchor="t" anchorCtr="0" forceAA="0" compatLnSpc="1">
              <a:prstTxWarp prst="textNoShape">
                <a:avLst/>
              </a:prstTxWarp>
              <a:spAutoFit/>
            </a:bodyPr>
            <a:lstStyle/>
            <a:p>
              <a:pPr defTabSz="913942" fontAlgn="base">
                <a:lnSpc>
                  <a:spcPct val="90000"/>
                </a:lnSpc>
                <a:spcAft>
                  <a:spcPct val="0"/>
                </a:spcAft>
              </a:pPr>
              <a:r>
                <a:rPr lang="en-US" sz="1961" spc="-20" dirty="0">
                  <a:solidFill>
                    <a:srgbClr val="FFFFFF"/>
                  </a:solidFill>
                  <a:latin typeface="Segoe UI Semibold" panose="020B0702040204020203" pitchFamily="34" charset="0"/>
                </a:rPr>
                <a:t>Richard</a:t>
              </a:r>
            </a:p>
            <a:p>
              <a:pPr defTabSz="913942" fontAlgn="base">
                <a:lnSpc>
                  <a:spcPct val="90000"/>
                </a:lnSpc>
                <a:spcAft>
                  <a:spcPct val="0"/>
                </a:spcAft>
              </a:pPr>
              <a:r>
                <a:rPr lang="en-US" sz="1568" spc="-20" dirty="0">
                  <a:solidFill>
                    <a:srgbClr val="FFFFFF"/>
                  </a:solidFill>
                </a:rPr>
                <a:t>Datacenter Admin</a:t>
              </a:r>
            </a:p>
          </p:txBody>
        </p:sp>
        <p:pic>
          <p:nvPicPr>
            <p:cNvPr id="6" name="Picture 5"/>
            <p:cNvPicPr>
              <a:picLocks noChangeAspect="1"/>
            </p:cNvPicPr>
            <p:nvPr/>
          </p:nvPicPr>
          <p:blipFill>
            <a:blip r:embed="rId5"/>
            <a:stretch>
              <a:fillRect/>
            </a:stretch>
          </p:blipFill>
          <p:spPr>
            <a:xfrm>
              <a:off x="5417071" y="-2574677"/>
              <a:ext cx="1560711" cy="1560650"/>
            </a:xfrm>
            <a:prstGeom prst="rect">
              <a:avLst/>
            </a:prstGeom>
            <a:grpFill/>
          </p:spPr>
        </p:pic>
      </p:grpSp>
      <p:grpSp>
        <p:nvGrpSpPr>
          <p:cNvPr id="25" name="Group 24"/>
          <p:cNvGrpSpPr/>
          <p:nvPr/>
        </p:nvGrpSpPr>
        <p:grpSpPr>
          <a:xfrm>
            <a:off x="5340282" y="1256008"/>
            <a:ext cx="1622529" cy="2572739"/>
            <a:chOff x="3672447" y="-2619282"/>
            <a:chExt cx="1655064" cy="2624328"/>
          </a:xfrm>
          <a:solidFill>
            <a:schemeClr val="accent5"/>
          </a:solidFill>
        </p:grpSpPr>
        <p:sp>
          <p:nvSpPr>
            <p:cNvPr id="131" name="Rectangle 130"/>
            <p:cNvSpPr/>
            <p:nvPr/>
          </p:nvSpPr>
          <p:spPr bwMode="auto">
            <a:xfrm>
              <a:off x="3672447" y="-2619282"/>
              <a:ext cx="1655064" cy="262432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703207" rIns="179285" bIns="143428" numCol="1" spcCol="0" rtlCol="0" fromWordArt="0" anchor="t" anchorCtr="0" forceAA="0" compatLnSpc="1">
              <a:prstTxWarp prst="textNoShape">
                <a:avLst/>
              </a:prstTxWarp>
              <a:noAutofit/>
            </a:bodyPr>
            <a:lstStyle/>
            <a:p>
              <a:pPr defTabSz="913942" fontAlgn="base">
                <a:lnSpc>
                  <a:spcPct val="90000"/>
                </a:lnSpc>
                <a:spcAft>
                  <a:spcPct val="0"/>
                </a:spcAft>
              </a:pPr>
              <a:r>
                <a:rPr lang="en-US" sz="1961" spc="-20" dirty="0">
                  <a:solidFill>
                    <a:srgbClr val="FFFFFF"/>
                  </a:solidFill>
                  <a:latin typeface="Segoe UI Semibold" panose="020B0702040204020203" pitchFamily="34" charset="0"/>
                </a:rPr>
                <a:t>Brad</a:t>
              </a:r>
            </a:p>
            <a:p>
              <a:pPr defTabSz="913942" fontAlgn="base">
                <a:lnSpc>
                  <a:spcPct val="90000"/>
                </a:lnSpc>
                <a:spcAft>
                  <a:spcPct val="0"/>
                </a:spcAft>
              </a:pPr>
              <a:r>
                <a:rPr lang="en-US" sz="1568" spc="-20" dirty="0">
                  <a:solidFill>
                    <a:srgbClr val="FFFFFF"/>
                  </a:solidFill>
                </a:rPr>
                <a:t>IT Manager</a:t>
              </a:r>
            </a:p>
          </p:txBody>
        </p:sp>
        <p:pic>
          <p:nvPicPr>
            <p:cNvPr id="7" name="Picture 6"/>
            <p:cNvPicPr>
              <a:picLocks noChangeAspect="1"/>
            </p:cNvPicPr>
            <p:nvPr/>
          </p:nvPicPr>
          <p:blipFill>
            <a:blip r:embed="rId6"/>
            <a:stretch>
              <a:fillRect/>
            </a:stretch>
          </p:blipFill>
          <p:spPr>
            <a:xfrm>
              <a:off x="3718167" y="-2574677"/>
              <a:ext cx="1560711" cy="1560711"/>
            </a:xfrm>
            <a:prstGeom prst="rect">
              <a:avLst/>
            </a:prstGeom>
            <a:grpFill/>
          </p:spPr>
        </p:pic>
      </p:grpSp>
      <p:grpSp>
        <p:nvGrpSpPr>
          <p:cNvPr id="268" name="Group 267"/>
          <p:cNvGrpSpPr/>
          <p:nvPr/>
        </p:nvGrpSpPr>
        <p:grpSpPr>
          <a:xfrm>
            <a:off x="1959588" y="1256008"/>
            <a:ext cx="1622529" cy="2572739"/>
            <a:chOff x="1973543" y="-2619282"/>
            <a:chExt cx="1655064" cy="2624328"/>
          </a:xfrm>
        </p:grpSpPr>
        <p:sp>
          <p:nvSpPr>
            <p:cNvPr id="128" name="Rectangle 127"/>
            <p:cNvSpPr/>
            <p:nvPr/>
          </p:nvSpPr>
          <p:spPr bwMode="auto">
            <a:xfrm>
              <a:off x="1973543" y="-2619282"/>
              <a:ext cx="1655064" cy="26243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703207" rIns="0" bIns="143428" numCol="1" spcCol="0" rtlCol="0" fromWordArt="0" anchor="t" anchorCtr="0" forceAA="0" compatLnSpc="1">
              <a:prstTxWarp prst="textNoShape">
                <a:avLst/>
              </a:prstTxWarp>
              <a:noAutofit/>
            </a:bodyPr>
            <a:lstStyle/>
            <a:p>
              <a:pPr defTabSz="913942" fontAlgn="base">
                <a:lnSpc>
                  <a:spcPct val="90000"/>
                </a:lnSpc>
                <a:spcBef>
                  <a:spcPct val="0"/>
                </a:spcBef>
                <a:spcAft>
                  <a:spcPct val="0"/>
                </a:spcAft>
              </a:pPr>
              <a:r>
                <a:rPr lang="en-US" sz="1961" spc="-20" dirty="0">
                  <a:gradFill>
                    <a:gsLst>
                      <a:gs pos="99107">
                        <a:srgbClr val="FFFFFF"/>
                      </a:gs>
                      <a:gs pos="84071">
                        <a:srgbClr val="FFFFFF"/>
                      </a:gs>
                    </a:gsLst>
                    <a:lin ang="5400000" scaled="0"/>
                  </a:gradFill>
                  <a:latin typeface="Segoe UI Semibold" panose="020B0702040204020203" pitchFamily="34" charset="0"/>
                </a:rPr>
                <a:t>Luis</a:t>
              </a:r>
            </a:p>
            <a:p>
              <a:pPr defTabSz="913942" fontAlgn="base">
                <a:lnSpc>
                  <a:spcPct val="90000"/>
                </a:lnSpc>
                <a:spcAft>
                  <a:spcPct val="0"/>
                </a:spcAft>
              </a:pPr>
              <a:r>
                <a:rPr lang="en-US" sz="1568" spc="-20" dirty="0">
                  <a:gradFill>
                    <a:gsLst>
                      <a:gs pos="99107">
                        <a:srgbClr val="FFFFFF"/>
                      </a:gs>
                      <a:gs pos="84071">
                        <a:srgbClr val="FFFFFF"/>
                      </a:gs>
                    </a:gsLst>
                    <a:lin ang="5400000" scaled="0"/>
                  </a:gradFill>
                </a:rPr>
                <a:t>App Team </a:t>
              </a:r>
              <a:br>
                <a:rPr lang="en-US" sz="1568" spc="-20" dirty="0">
                  <a:gradFill>
                    <a:gsLst>
                      <a:gs pos="99107">
                        <a:srgbClr val="FFFFFF"/>
                      </a:gs>
                      <a:gs pos="84071">
                        <a:srgbClr val="FFFFFF"/>
                      </a:gs>
                    </a:gsLst>
                    <a:lin ang="5400000" scaled="0"/>
                  </a:gradFill>
                </a:rPr>
              </a:br>
              <a:r>
                <a:rPr lang="en-US" sz="1568" spc="-20" dirty="0">
                  <a:gradFill>
                    <a:gsLst>
                      <a:gs pos="99107">
                        <a:srgbClr val="FFFFFF"/>
                      </a:gs>
                      <a:gs pos="84071">
                        <a:srgbClr val="FFFFFF"/>
                      </a:gs>
                    </a:gsLst>
                    <a:lin ang="5400000" scaled="0"/>
                  </a:gradFill>
                </a:rPr>
                <a:t>Lead</a:t>
              </a:r>
            </a:p>
          </p:txBody>
        </p:sp>
        <p:pic>
          <p:nvPicPr>
            <p:cNvPr id="11" name="Picture 10"/>
            <p:cNvPicPr>
              <a:picLocks noChangeAspect="1"/>
            </p:cNvPicPr>
            <p:nvPr/>
          </p:nvPicPr>
          <p:blipFill>
            <a:blip r:embed="rId7"/>
            <a:stretch>
              <a:fillRect/>
            </a:stretch>
          </p:blipFill>
          <p:spPr>
            <a:xfrm>
              <a:off x="2019263" y="-2574677"/>
              <a:ext cx="1560711" cy="1560711"/>
            </a:xfrm>
            <a:prstGeom prst="rect">
              <a:avLst/>
            </a:prstGeom>
          </p:spPr>
        </p:pic>
      </p:grpSp>
      <p:grpSp>
        <p:nvGrpSpPr>
          <p:cNvPr id="172" name="Group 171"/>
          <p:cNvGrpSpPr/>
          <p:nvPr/>
        </p:nvGrpSpPr>
        <p:grpSpPr>
          <a:xfrm>
            <a:off x="8720976" y="1256008"/>
            <a:ext cx="1622529" cy="2572739"/>
            <a:chOff x="7070255" y="1227049"/>
            <a:chExt cx="1655064" cy="2624328"/>
          </a:xfrm>
          <a:solidFill>
            <a:schemeClr val="accent5"/>
          </a:solidFill>
        </p:grpSpPr>
        <p:sp>
          <p:nvSpPr>
            <p:cNvPr id="173" name="Rectangle 172"/>
            <p:cNvSpPr/>
            <p:nvPr/>
          </p:nvSpPr>
          <p:spPr bwMode="auto">
            <a:xfrm>
              <a:off x="7070255" y="1227049"/>
              <a:ext cx="1655064" cy="262432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703207" rIns="179285" bIns="143428" numCol="1" spcCol="0" rtlCol="0" fromWordArt="0" anchor="t" anchorCtr="0" forceAA="0" compatLnSpc="1">
              <a:prstTxWarp prst="textNoShape">
                <a:avLst/>
              </a:prstTxWarp>
              <a:noAutofit/>
            </a:bodyPr>
            <a:lstStyle/>
            <a:p>
              <a:pPr defTabSz="913942" fontAlgn="base">
                <a:lnSpc>
                  <a:spcPct val="90000"/>
                </a:lnSpc>
                <a:spcAft>
                  <a:spcPct val="0"/>
                </a:spcAft>
              </a:pPr>
              <a:r>
                <a:rPr lang="en-US" sz="1961" spc="-20" dirty="0" err="1">
                  <a:solidFill>
                    <a:srgbClr val="FFFFFF"/>
                  </a:solidFill>
                  <a:latin typeface="Segoe UI Semibold" panose="020B0702040204020203" pitchFamily="34" charset="0"/>
                </a:rPr>
                <a:t>Sarani</a:t>
              </a:r>
              <a:endParaRPr lang="en-US" sz="1961" spc="-20" dirty="0">
                <a:solidFill>
                  <a:srgbClr val="FFFFFF"/>
                </a:solidFill>
                <a:latin typeface="Segoe UI Semibold" panose="020B0702040204020203" pitchFamily="34" charset="0"/>
              </a:endParaRPr>
            </a:p>
            <a:p>
              <a:pPr defTabSz="913942" fontAlgn="base">
                <a:lnSpc>
                  <a:spcPct val="90000"/>
                </a:lnSpc>
                <a:spcAft>
                  <a:spcPct val="0"/>
                </a:spcAft>
              </a:pPr>
              <a:r>
                <a:rPr lang="en-US" sz="1568" spc="-20" dirty="0">
                  <a:solidFill>
                    <a:srgbClr val="FFFFFF"/>
                  </a:solidFill>
                </a:rPr>
                <a:t>IT Admin</a:t>
              </a:r>
            </a:p>
          </p:txBody>
        </p:sp>
        <p:pic>
          <p:nvPicPr>
            <p:cNvPr id="181" name="Picture 2"/>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l="52714" t="54043" r="32096" b="21584"/>
            <a:stretch/>
          </p:blipFill>
          <p:spPr bwMode="auto">
            <a:xfrm>
              <a:off x="7115975" y="1271654"/>
              <a:ext cx="1563624" cy="1563624"/>
            </a:xfrm>
            <a:prstGeom prst="rect">
              <a:avLst/>
            </a:prstGeom>
            <a:grpFill/>
            <a:ln w="349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9" name="Group 188"/>
          <p:cNvGrpSpPr/>
          <p:nvPr/>
        </p:nvGrpSpPr>
        <p:grpSpPr>
          <a:xfrm>
            <a:off x="3649935" y="1256008"/>
            <a:ext cx="1622529" cy="2572739"/>
            <a:chOff x="10468063" y="1227049"/>
            <a:chExt cx="1655064" cy="2624328"/>
          </a:xfrm>
        </p:grpSpPr>
        <p:sp>
          <p:nvSpPr>
            <p:cNvPr id="192" name="Rectangle 191"/>
            <p:cNvSpPr/>
            <p:nvPr/>
          </p:nvSpPr>
          <p:spPr bwMode="auto">
            <a:xfrm>
              <a:off x="10468063" y="1227049"/>
              <a:ext cx="1655064" cy="262432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703207" rIns="179285" bIns="143428" numCol="1" spcCol="0" rtlCol="0" fromWordArt="0" anchor="t" anchorCtr="0" forceAA="0" compatLnSpc="1">
              <a:prstTxWarp prst="textNoShape">
                <a:avLst/>
              </a:prstTxWarp>
              <a:noAutofit/>
            </a:bodyPr>
            <a:lstStyle/>
            <a:p>
              <a:pPr defTabSz="913942" fontAlgn="base">
                <a:lnSpc>
                  <a:spcPct val="90000"/>
                </a:lnSpc>
                <a:spcAft>
                  <a:spcPct val="0"/>
                </a:spcAft>
              </a:pPr>
              <a:r>
                <a:rPr lang="en-US" sz="1961" spc="-20" dirty="0">
                  <a:gradFill>
                    <a:gsLst>
                      <a:gs pos="99107">
                        <a:srgbClr val="FFFFFF"/>
                      </a:gs>
                      <a:gs pos="84071">
                        <a:srgbClr val="FFFFFF"/>
                      </a:gs>
                    </a:gsLst>
                    <a:lin ang="5400000" scaled="0"/>
                  </a:gradFill>
                  <a:latin typeface="Segoe UI Semibold" panose="020B0702040204020203" pitchFamily="34" charset="0"/>
                </a:rPr>
                <a:t>Rebecca</a:t>
              </a:r>
            </a:p>
            <a:p>
              <a:pPr defTabSz="913942" fontAlgn="base">
                <a:lnSpc>
                  <a:spcPct val="90000"/>
                </a:lnSpc>
                <a:spcAft>
                  <a:spcPct val="0"/>
                </a:spcAft>
              </a:pPr>
              <a:r>
                <a:rPr lang="en-US" sz="1568" spc="-20" dirty="0">
                  <a:gradFill>
                    <a:gsLst>
                      <a:gs pos="99107">
                        <a:srgbClr val="FFFFFF"/>
                      </a:gs>
                      <a:gs pos="84071">
                        <a:srgbClr val="FFFFFF"/>
                      </a:gs>
                    </a:gsLst>
                    <a:lin ang="5400000" scaled="0"/>
                  </a:gradFill>
                </a:rPr>
                <a:t>Developer</a:t>
              </a:r>
            </a:p>
          </p:txBody>
        </p:sp>
        <p:pic>
          <p:nvPicPr>
            <p:cNvPr id="193" name="Picture 2"/>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l="34061" t="53474" r="50749" b="22153"/>
            <a:stretch/>
          </p:blipFill>
          <p:spPr bwMode="auto">
            <a:xfrm>
              <a:off x="10513783" y="1271654"/>
              <a:ext cx="1563624" cy="1563624"/>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615860211"/>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69"/>
                                        </p:tgtEl>
                                        <p:attrNameLst>
                                          <p:attrName>style.visibility</p:attrName>
                                        </p:attrNameLst>
                                      </p:cBhvr>
                                      <p:to>
                                        <p:strVal val="visible"/>
                                      </p:to>
                                    </p:set>
                                  </p:childTnLst>
                                </p:cTn>
                              </p:par>
                              <p:par>
                                <p:cTn id="7" presetID="63" presetClass="path" presetSubtype="0" decel="100000" fill="hold" nodeType="withEffect">
                                  <p:stCondLst>
                                    <p:cond delay="0"/>
                                  </p:stCondLst>
                                  <p:childTnLst>
                                    <p:animMotion origin="layout" path="M 1.79474E-6 -9.57785E-7 L 0.98213 -9.57785E-7 " pathEditMode="relative" rAng="0" ptsTypes="AA">
                                      <p:cBhvr>
                                        <p:cTn id="8" dur="1000" spd="-100000" fill="hold"/>
                                        <p:tgtEl>
                                          <p:spTgt spid="269"/>
                                        </p:tgtEl>
                                        <p:attrNameLst>
                                          <p:attrName>ppt_x</p:attrName>
                                          <p:attrName>ppt_y</p:attrName>
                                        </p:attrNameLst>
                                      </p:cBhvr>
                                      <p:rCtr x="49106" y="0"/>
                                    </p:animMotion>
                                  </p:childTnLst>
                                </p:cTn>
                              </p:par>
                              <p:par>
                                <p:cTn id="9" presetID="1" presetClass="entr" presetSubtype="0" fill="hold" nodeType="withEffect">
                                  <p:stCondLst>
                                    <p:cond delay="200"/>
                                  </p:stCondLst>
                                  <p:childTnLst>
                                    <p:set>
                                      <p:cBhvr>
                                        <p:cTn id="10" dur="1" fill="hold">
                                          <p:stCondLst>
                                            <p:cond delay="0"/>
                                          </p:stCondLst>
                                        </p:cTn>
                                        <p:tgtEl>
                                          <p:spTgt spid="268"/>
                                        </p:tgtEl>
                                        <p:attrNameLst>
                                          <p:attrName>style.visibility</p:attrName>
                                        </p:attrNameLst>
                                      </p:cBhvr>
                                      <p:to>
                                        <p:strVal val="visible"/>
                                      </p:to>
                                    </p:set>
                                  </p:childTnLst>
                                </p:cTn>
                              </p:par>
                              <p:par>
                                <p:cTn id="11" presetID="63" presetClass="path" presetSubtype="0" decel="100000" fill="hold" nodeType="withEffect">
                                  <p:stCondLst>
                                    <p:cond delay="200"/>
                                  </p:stCondLst>
                                  <p:childTnLst>
                                    <p:animMotion origin="layout" path="M -4.70513E-6 -9.57785E-7 L 0.98213 -9.57785E-7 " pathEditMode="relative" rAng="0" ptsTypes="AA">
                                      <p:cBhvr>
                                        <p:cTn id="12" dur="1000" spd="-100000" fill="hold"/>
                                        <p:tgtEl>
                                          <p:spTgt spid="268"/>
                                        </p:tgtEl>
                                        <p:attrNameLst>
                                          <p:attrName>ppt_x</p:attrName>
                                          <p:attrName>ppt_y</p:attrName>
                                        </p:attrNameLst>
                                      </p:cBhvr>
                                      <p:rCtr x="49106" y="0"/>
                                    </p:animMotion>
                                  </p:childTnLst>
                                </p:cTn>
                              </p:par>
                              <p:par>
                                <p:cTn id="13" presetID="1" presetClass="entr" presetSubtype="0" fill="hold" nodeType="withEffect">
                                  <p:stCondLst>
                                    <p:cond delay="300"/>
                                  </p:stCondLst>
                                  <p:childTnLst>
                                    <p:set>
                                      <p:cBhvr>
                                        <p:cTn id="14" dur="1" fill="hold">
                                          <p:stCondLst>
                                            <p:cond delay="0"/>
                                          </p:stCondLst>
                                        </p:cTn>
                                        <p:tgtEl>
                                          <p:spTgt spid="189"/>
                                        </p:tgtEl>
                                        <p:attrNameLst>
                                          <p:attrName>style.visibility</p:attrName>
                                        </p:attrNameLst>
                                      </p:cBhvr>
                                      <p:to>
                                        <p:strVal val="visible"/>
                                      </p:to>
                                    </p:set>
                                  </p:childTnLst>
                                </p:cTn>
                              </p:par>
                              <p:par>
                                <p:cTn id="15" presetID="63" presetClass="path" presetSubtype="0" decel="100000" fill="hold" nodeType="withEffect">
                                  <p:stCondLst>
                                    <p:cond delay="300"/>
                                  </p:stCondLst>
                                  <p:childTnLst>
                                    <p:animMotion origin="layout" path="M -1.205E-6 -9.57785E-7 L 0.98213 -9.57785E-7 " pathEditMode="relative" rAng="0" ptsTypes="AA">
                                      <p:cBhvr>
                                        <p:cTn id="16" dur="1000" spd="-100000" fill="hold"/>
                                        <p:tgtEl>
                                          <p:spTgt spid="189"/>
                                        </p:tgtEl>
                                        <p:attrNameLst>
                                          <p:attrName>ppt_x</p:attrName>
                                          <p:attrName>ppt_y</p:attrName>
                                        </p:attrNameLst>
                                      </p:cBhvr>
                                      <p:rCtr x="49106" y="0"/>
                                    </p:animMotion>
                                  </p:childTnLst>
                                </p:cTn>
                              </p:par>
                              <p:par>
                                <p:cTn id="17" presetID="1" presetClass="entr" presetSubtype="0" fill="hold" nodeType="withEffect">
                                  <p:stCondLst>
                                    <p:cond delay="400"/>
                                  </p:stCondLst>
                                  <p:childTnLst>
                                    <p:set>
                                      <p:cBhvr>
                                        <p:cTn id="18" dur="1" fill="hold">
                                          <p:stCondLst>
                                            <p:cond delay="0"/>
                                          </p:stCondLst>
                                        </p:cTn>
                                        <p:tgtEl>
                                          <p:spTgt spid="25"/>
                                        </p:tgtEl>
                                        <p:attrNameLst>
                                          <p:attrName>style.visibility</p:attrName>
                                        </p:attrNameLst>
                                      </p:cBhvr>
                                      <p:to>
                                        <p:strVal val="visible"/>
                                      </p:to>
                                    </p:set>
                                  </p:childTnLst>
                                </p:cTn>
                              </p:par>
                              <p:par>
                                <p:cTn id="19" presetID="63" presetClass="path" presetSubtype="0" decel="100000" fill="hold" nodeType="withEffect">
                                  <p:stCondLst>
                                    <p:cond delay="400"/>
                                  </p:stCondLst>
                                  <p:childTnLst>
                                    <p:animMotion origin="layout" path="M 2.29512E-6 -9.57785E-7 L 0.98213 -9.57785E-7 " pathEditMode="relative" rAng="0" ptsTypes="AA">
                                      <p:cBhvr>
                                        <p:cTn id="20" dur="1000" spd="-100000" fill="hold"/>
                                        <p:tgtEl>
                                          <p:spTgt spid="25"/>
                                        </p:tgtEl>
                                        <p:attrNameLst>
                                          <p:attrName>ppt_x</p:attrName>
                                          <p:attrName>ppt_y</p:attrName>
                                        </p:attrNameLst>
                                      </p:cBhvr>
                                      <p:rCtr x="49106" y="0"/>
                                    </p:animMotion>
                                  </p:childTnLst>
                                </p:cTn>
                              </p:par>
                              <p:par>
                                <p:cTn id="21" presetID="1" presetClass="entr" presetSubtype="0" fill="hold" nodeType="withEffect">
                                  <p:stCondLst>
                                    <p:cond delay="500"/>
                                  </p:stCondLst>
                                  <p:childTnLst>
                                    <p:set>
                                      <p:cBhvr>
                                        <p:cTn id="22" dur="1" fill="hold">
                                          <p:stCondLst>
                                            <p:cond delay="0"/>
                                          </p:stCondLst>
                                        </p:cTn>
                                        <p:tgtEl>
                                          <p:spTgt spid="23"/>
                                        </p:tgtEl>
                                        <p:attrNameLst>
                                          <p:attrName>style.visibility</p:attrName>
                                        </p:attrNameLst>
                                      </p:cBhvr>
                                      <p:to>
                                        <p:strVal val="visible"/>
                                      </p:to>
                                    </p:set>
                                  </p:childTnLst>
                                </p:cTn>
                              </p:par>
                              <p:par>
                                <p:cTn id="23" presetID="63" presetClass="path" presetSubtype="0" decel="100000" fill="hold" nodeType="withEffect">
                                  <p:stCondLst>
                                    <p:cond delay="500"/>
                                  </p:stCondLst>
                                  <p:childTnLst>
                                    <p:animMotion origin="layout" path="M -1.85346E-6 -9.57785E-7 L 0.98213 -9.57785E-7 " pathEditMode="relative" rAng="0" ptsTypes="AA">
                                      <p:cBhvr>
                                        <p:cTn id="24" dur="1000" spd="-100000" fill="hold"/>
                                        <p:tgtEl>
                                          <p:spTgt spid="23"/>
                                        </p:tgtEl>
                                        <p:attrNameLst>
                                          <p:attrName>ppt_x</p:attrName>
                                          <p:attrName>ppt_y</p:attrName>
                                        </p:attrNameLst>
                                      </p:cBhvr>
                                      <p:rCtr x="49106" y="0"/>
                                    </p:animMotion>
                                  </p:childTnLst>
                                </p:cTn>
                              </p:par>
                              <p:par>
                                <p:cTn id="25" presetID="1" presetClass="entr" presetSubtype="0" fill="hold" nodeType="withEffect">
                                  <p:stCondLst>
                                    <p:cond delay="600"/>
                                  </p:stCondLst>
                                  <p:childTnLst>
                                    <p:set>
                                      <p:cBhvr>
                                        <p:cTn id="26" dur="1" fill="hold">
                                          <p:stCondLst>
                                            <p:cond delay="0"/>
                                          </p:stCondLst>
                                        </p:cTn>
                                        <p:tgtEl>
                                          <p:spTgt spid="172"/>
                                        </p:tgtEl>
                                        <p:attrNameLst>
                                          <p:attrName>style.visibility</p:attrName>
                                        </p:attrNameLst>
                                      </p:cBhvr>
                                      <p:to>
                                        <p:strVal val="visible"/>
                                      </p:to>
                                    </p:set>
                                  </p:childTnLst>
                                </p:cTn>
                              </p:par>
                              <p:par>
                                <p:cTn id="27" presetID="63" presetClass="path" presetSubtype="0" decel="100000" fill="hold" nodeType="withEffect">
                                  <p:stCondLst>
                                    <p:cond delay="600"/>
                                  </p:stCondLst>
                                  <p:childTnLst>
                                    <p:animMotion origin="layout" path="M 1.64667E-6 -9.57785E-7 L 0.98213 -9.57785E-7 " pathEditMode="relative" rAng="0" ptsTypes="AA">
                                      <p:cBhvr>
                                        <p:cTn id="28" dur="1000" spd="-100000" fill="hold"/>
                                        <p:tgtEl>
                                          <p:spTgt spid="172"/>
                                        </p:tgtEl>
                                        <p:attrNameLst>
                                          <p:attrName>ppt_x</p:attrName>
                                          <p:attrName>ppt_y</p:attrName>
                                        </p:attrNameLst>
                                      </p:cBhvr>
                                      <p:rCtr x="49106" y="0"/>
                                    </p:animMotion>
                                  </p:childTnLst>
                                </p:cTn>
                              </p:par>
                              <p:par>
                                <p:cTn id="29" presetID="1" presetClass="entr" presetSubtype="0" fill="hold" nodeType="withEffect">
                                  <p:stCondLst>
                                    <p:cond delay="700"/>
                                  </p:stCondLst>
                                  <p:childTnLst>
                                    <p:set>
                                      <p:cBhvr>
                                        <p:cTn id="30" dur="1" fill="hold">
                                          <p:stCondLst>
                                            <p:cond delay="0"/>
                                          </p:stCondLst>
                                        </p:cTn>
                                        <p:tgtEl>
                                          <p:spTgt spid="20"/>
                                        </p:tgtEl>
                                        <p:attrNameLst>
                                          <p:attrName>style.visibility</p:attrName>
                                        </p:attrNameLst>
                                      </p:cBhvr>
                                      <p:to>
                                        <p:strVal val="visible"/>
                                      </p:to>
                                    </p:set>
                                  </p:childTnLst>
                                </p:cTn>
                              </p:par>
                              <p:par>
                                <p:cTn id="31" presetID="63" presetClass="path" presetSubtype="0" decel="100000" fill="hold" nodeType="withEffect">
                                  <p:stCondLst>
                                    <p:cond delay="700"/>
                                  </p:stCondLst>
                                  <p:childTnLst>
                                    <p:animMotion origin="layout" path="M -4.8532E-6 -9.57785E-7 L 0.98213 -9.57785E-7 " pathEditMode="relative" rAng="0" ptsTypes="AA">
                                      <p:cBhvr>
                                        <p:cTn id="32" dur="1000" spd="-100000" fill="hold"/>
                                        <p:tgtEl>
                                          <p:spTgt spid="20"/>
                                        </p:tgtEl>
                                        <p:attrNameLst>
                                          <p:attrName>ppt_x</p:attrName>
                                          <p:attrName>ppt_y</p:attrName>
                                        </p:attrNameLst>
                                      </p:cBhvr>
                                      <p:rCtr x="49106" y="0"/>
                                    </p:animMotion>
                                  </p:childTnLst>
                                </p:cTn>
                              </p:par>
                              <p:par>
                                <p:cTn id="33" presetID="2" presetClass="entr" presetSubtype="1" decel="100000" fill="hold" nodeType="withEffect">
                                  <p:stCondLst>
                                    <p:cond delay="140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1000" fill="hold"/>
                                        <p:tgtEl>
                                          <p:spTgt spid="8"/>
                                        </p:tgtEl>
                                        <p:attrNameLst>
                                          <p:attrName>ppt_x</p:attrName>
                                        </p:attrNameLst>
                                      </p:cBhvr>
                                      <p:tavLst>
                                        <p:tav tm="0">
                                          <p:val>
                                            <p:strVal val="#ppt_x"/>
                                          </p:val>
                                        </p:tav>
                                        <p:tav tm="100000">
                                          <p:val>
                                            <p:strVal val="#ppt_x"/>
                                          </p:val>
                                        </p:tav>
                                      </p:tavLst>
                                    </p:anim>
                                    <p:anim calcmode="lin" valueType="num">
                                      <p:cBhvr additive="base">
                                        <p:cTn id="36" dur="1000" fill="hold"/>
                                        <p:tgtEl>
                                          <p:spTgt spid="8"/>
                                        </p:tgtEl>
                                        <p:attrNameLst>
                                          <p:attrName>ppt_y</p:attrName>
                                        </p:attrNameLst>
                                      </p:cBhvr>
                                      <p:tavLst>
                                        <p:tav tm="0">
                                          <p:val>
                                            <p:strVal val="0-#ppt_h/2"/>
                                          </p:val>
                                        </p:tav>
                                        <p:tav tm="100000">
                                          <p:val>
                                            <p:strVal val="#ppt_y"/>
                                          </p:val>
                                        </p:tav>
                                      </p:tavLst>
                                    </p:anim>
                                  </p:childTnLst>
                                </p:cTn>
                              </p:par>
                              <p:par>
                                <p:cTn id="37" presetID="2" presetClass="entr" presetSubtype="1" decel="100000" fill="hold" nodeType="withEffect">
                                  <p:stCondLst>
                                    <p:cond delay="1600"/>
                                  </p:stCondLst>
                                  <p:childTnLst>
                                    <p:set>
                                      <p:cBhvr>
                                        <p:cTn id="38" dur="1" fill="hold">
                                          <p:stCondLst>
                                            <p:cond delay="0"/>
                                          </p:stCondLst>
                                        </p:cTn>
                                        <p:tgtEl>
                                          <p:spTgt spid="9"/>
                                        </p:tgtEl>
                                        <p:attrNameLst>
                                          <p:attrName>style.visibility</p:attrName>
                                        </p:attrNameLst>
                                      </p:cBhvr>
                                      <p:to>
                                        <p:strVal val="visible"/>
                                      </p:to>
                                    </p:set>
                                    <p:anim calcmode="lin" valueType="num">
                                      <p:cBhvr additive="base">
                                        <p:cTn id="39" dur="1000" fill="hold"/>
                                        <p:tgtEl>
                                          <p:spTgt spid="9"/>
                                        </p:tgtEl>
                                        <p:attrNameLst>
                                          <p:attrName>ppt_x</p:attrName>
                                        </p:attrNameLst>
                                      </p:cBhvr>
                                      <p:tavLst>
                                        <p:tav tm="0">
                                          <p:val>
                                            <p:strVal val="#ppt_x"/>
                                          </p:val>
                                        </p:tav>
                                        <p:tav tm="100000">
                                          <p:val>
                                            <p:strVal val="#ppt_x"/>
                                          </p:val>
                                        </p:tav>
                                      </p:tavLst>
                                    </p:anim>
                                    <p:anim calcmode="lin" valueType="num">
                                      <p:cBhvr additive="base">
                                        <p:cTn id="40" dur="1000" fill="hold"/>
                                        <p:tgtEl>
                                          <p:spTgt spid="9"/>
                                        </p:tgtEl>
                                        <p:attrNameLst>
                                          <p:attrName>ppt_y</p:attrName>
                                        </p:attrNameLst>
                                      </p:cBhvr>
                                      <p:tavLst>
                                        <p:tav tm="0">
                                          <p:val>
                                            <p:strVal val="0-#ppt_h/2"/>
                                          </p:val>
                                        </p:tav>
                                        <p:tav tm="100000">
                                          <p:val>
                                            <p:strVal val="#ppt_y"/>
                                          </p:val>
                                        </p:tav>
                                      </p:tavLst>
                                    </p:anim>
                                  </p:childTnLst>
                                </p:cTn>
                              </p:par>
                              <p:par>
                                <p:cTn id="41" presetID="2" presetClass="entr" presetSubtype="1" decel="100000" fill="hold" nodeType="withEffect">
                                  <p:stCondLst>
                                    <p:cond delay="1800"/>
                                  </p:stCondLst>
                                  <p:childTnLst>
                                    <p:set>
                                      <p:cBhvr>
                                        <p:cTn id="42" dur="1" fill="hold">
                                          <p:stCondLst>
                                            <p:cond delay="0"/>
                                          </p:stCondLst>
                                        </p:cTn>
                                        <p:tgtEl>
                                          <p:spTgt spid="10"/>
                                        </p:tgtEl>
                                        <p:attrNameLst>
                                          <p:attrName>style.visibility</p:attrName>
                                        </p:attrNameLst>
                                      </p:cBhvr>
                                      <p:to>
                                        <p:strVal val="visible"/>
                                      </p:to>
                                    </p:set>
                                    <p:anim calcmode="lin" valueType="num">
                                      <p:cBhvr additive="base">
                                        <p:cTn id="43" dur="1000" fill="hold"/>
                                        <p:tgtEl>
                                          <p:spTgt spid="10"/>
                                        </p:tgtEl>
                                        <p:attrNameLst>
                                          <p:attrName>ppt_x</p:attrName>
                                        </p:attrNameLst>
                                      </p:cBhvr>
                                      <p:tavLst>
                                        <p:tav tm="0">
                                          <p:val>
                                            <p:strVal val="#ppt_x"/>
                                          </p:val>
                                        </p:tav>
                                        <p:tav tm="100000">
                                          <p:val>
                                            <p:strVal val="#ppt_x"/>
                                          </p:val>
                                        </p:tav>
                                      </p:tavLst>
                                    </p:anim>
                                    <p:anim calcmode="lin" valueType="num">
                                      <p:cBhvr additive="base">
                                        <p:cTn id="44" dur="1000" fill="hold"/>
                                        <p:tgtEl>
                                          <p:spTgt spid="10"/>
                                        </p:tgtEl>
                                        <p:attrNameLst>
                                          <p:attrName>ppt_y</p:attrName>
                                        </p:attrNameLst>
                                      </p:cBhvr>
                                      <p:tavLst>
                                        <p:tav tm="0">
                                          <p:val>
                                            <p:strVal val="0-#ppt_h/2"/>
                                          </p:val>
                                        </p:tav>
                                        <p:tav tm="100000">
                                          <p:val>
                                            <p:strVal val="#ppt_y"/>
                                          </p:val>
                                        </p:tav>
                                      </p:tavLst>
                                    </p:anim>
                                  </p:childTnLst>
                                </p:cTn>
                              </p:par>
                              <p:par>
                                <p:cTn id="45" presetID="2" presetClass="entr" presetSubtype="1" decel="100000" fill="hold" nodeType="withEffect">
                                  <p:stCondLst>
                                    <p:cond delay="2000"/>
                                  </p:stCondLst>
                                  <p:childTnLst>
                                    <p:set>
                                      <p:cBhvr>
                                        <p:cTn id="46" dur="1" fill="hold">
                                          <p:stCondLst>
                                            <p:cond delay="0"/>
                                          </p:stCondLst>
                                        </p:cTn>
                                        <p:tgtEl>
                                          <p:spTgt spid="18"/>
                                        </p:tgtEl>
                                        <p:attrNameLst>
                                          <p:attrName>style.visibility</p:attrName>
                                        </p:attrNameLst>
                                      </p:cBhvr>
                                      <p:to>
                                        <p:strVal val="visible"/>
                                      </p:to>
                                    </p:set>
                                    <p:anim calcmode="lin" valueType="num">
                                      <p:cBhvr additive="base">
                                        <p:cTn id="47" dur="1000" fill="hold"/>
                                        <p:tgtEl>
                                          <p:spTgt spid="18"/>
                                        </p:tgtEl>
                                        <p:attrNameLst>
                                          <p:attrName>ppt_x</p:attrName>
                                        </p:attrNameLst>
                                      </p:cBhvr>
                                      <p:tavLst>
                                        <p:tav tm="0">
                                          <p:val>
                                            <p:strVal val="#ppt_x"/>
                                          </p:val>
                                        </p:tav>
                                        <p:tav tm="100000">
                                          <p:val>
                                            <p:strVal val="#ppt_x"/>
                                          </p:val>
                                        </p:tav>
                                      </p:tavLst>
                                    </p:anim>
                                    <p:anim calcmode="lin" valueType="num">
                                      <p:cBhvr additive="base">
                                        <p:cTn id="48" dur="1000" fill="hold"/>
                                        <p:tgtEl>
                                          <p:spTgt spid="18"/>
                                        </p:tgtEl>
                                        <p:attrNameLst>
                                          <p:attrName>ppt_y</p:attrName>
                                        </p:attrNameLst>
                                      </p:cBhvr>
                                      <p:tavLst>
                                        <p:tav tm="0">
                                          <p:val>
                                            <p:strVal val="0-#ppt_h/2"/>
                                          </p:val>
                                        </p:tav>
                                        <p:tav tm="100000">
                                          <p:val>
                                            <p:strVal val="#ppt_y"/>
                                          </p:val>
                                        </p:tav>
                                      </p:tavLst>
                                    </p:anim>
                                  </p:childTnLst>
                                </p:cTn>
                              </p:par>
                              <p:par>
                                <p:cTn id="49" presetID="2" presetClass="entr" presetSubtype="1" decel="100000" fill="hold" nodeType="withEffect">
                                  <p:stCondLst>
                                    <p:cond delay="2200"/>
                                  </p:stCondLst>
                                  <p:childTnLst>
                                    <p:set>
                                      <p:cBhvr>
                                        <p:cTn id="50" dur="1" fill="hold">
                                          <p:stCondLst>
                                            <p:cond delay="0"/>
                                          </p:stCondLst>
                                        </p:cTn>
                                        <p:tgtEl>
                                          <p:spTgt spid="19"/>
                                        </p:tgtEl>
                                        <p:attrNameLst>
                                          <p:attrName>style.visibility</p:attrName>
                                        </p:attrNameLst>
                                      </p:cBhvr>
                                      <p:to>
                                        <p:strVal val="visible"/>
                                      </p:to>
                                    </p:set>
                                    <p:anim calcmode="lin" valueType="num">
                                      <p:cBhvr additive="base">
                                        <p:cTn id="51" dur="1000" fill="hold"/>
                                        <p:tgtEl>
                                          <p:spTgt spid="19"/>
                                        </p:tgtEl>
                                        <p:attrNameLst>
                                          <p:attrName>ppt_x</p:attrName>
                                        </p:attrNameLst>
                                      </p:cBhvr>
                                      <p:tavLst>
                                        <p:tav tm="0">
                                          <p:val>
                                            <p:strVal val="#ppt_x"/>
                                          </p:val>
                                        </p:tav>
                                        <p:tav tm="100000">
                                          <p:val>
                                            <p:strVal val="#ppt_x"/>
                                          </p:val>
                                        </p:tav>
                                      </p:tavLst>
                                    </p:anim>
                                    <p:anim calcmode="lin" valueType="num">
                                      <p:cBhvr additive="base">
                                        <p:cTn id="52" dur="1000" fill="hold"/>
                                        <p:tgtEl>
                                          <p:spTgt spid="19"/>
                                        </p:tgtEl>
                                        <p:attrNameLst>
                                          <p:attrName>ppt_y</p:attrName>
                                        </p:attrNameLst>
                                      </p:cBhvr>
                                      <p:tavLst>
                                        <p:tav tm="0">
                                          <p:val>
                                            <p:strVal val="0-#ppt_h/2"/>
                                          </p:val>
                                        </p:tav>
                                        <p:tav tm="100000">
                                          <p:val>
                                            <p:strVal val="#ppt_y"/>
                                          </p:val>
                                        </p:tav>
                                      </p:tavLst>
                                    </p:anim>
                                  </p:childTnLst>
                                </p:cTn>
                              </p:par>
                              <p:par>
                                <p:cTn id="53" presetID="2" presetClass="entr" presetSubtype="1" decel="100000" fill="hold" nodeType="withEffect">
                                  <p:stCondLst>
                                    <p:cond delay="2400"/>
                                  </p:stCondLst>
                                  <p:childTnLst>
                                    <p:set>
                                      <p:cBhvr>
                                        <p:cTn id="54" dur="1" fill="hold">
                                          <p:stCondLst>
                                            <p:cond delay="0"/>
                                          </p:stCondLst>
                                        </p:cTn>
                                        <p:tgtEl>
                                          <p:spTgt spid="21"/>
                                        </p:tgtEl>
                                        <p:attrNameLst>
                                          <p:attrName>style.visibility</p:attrName>
                                        </p:attrNameLst>
                                      </p:cBhvr>
                                      <p:to>
                                        <p:strVal val="visible"/>
                                      </p:to>
                                    </p:set>
                                    <p:anim calcmode="lin" valueType="num">
                                      <p:cBhvr additive="base">
                                        <p:cTn id="55" dur="1000" fill="hold"/>
                                        <p:tgtEl>
                                          <p:spTgt spid="21"/>
                                        </p:tgtEl>
                                        <p:attrNameLst>
                                          <p:attrName>ppt_x</p:attrName>
                                        </p:attrNameLst>
                                      </p:cBhvr>
                                      <p:tavLst>
                                        <p:tav tm="0">
                                          <p:val>
                                            <p:strVal val="#ppt_x"/>
                                          </p:val>
                                        </p:tav>
                                        <p:tav tm="100000">
                                          <p:val>
                                            <p:strVal val="#ppt_x"/>
                                          </p:val>
                                        </p:tav>
                                      </p:tavLst>
                                    </p:anim>
                                    <p:anim calcmode="lin" valueType="num">
                                      <p:cBhvr additive="base">
                                        <p:cTn id="56" dur="1000" fill="hold"/>
                                        <p:tgtEl>
                                          <p:spTgt spid="21"/>
                                        </p:tgtEl>
                                        <p:attrNameLst>
                                          <p:attrName>ppt_y</p:attrName>
                                        </p:attrNameLst>
                                      </p:cBhvr>
                                      <p:tavLst>
                                        <p:tav tm="0">
                                          <p:val>
                                            <p:strVal val="0-#ppt_h/2"/>
                                          </p:val>
                                        </p:tav>
                                        <p:tav tm="100000">
                                          <p:val>
                                            <p:strVal val="#ppt_y"/>
                                          </p:val>
                                        </p:tav>
                                      </p:tavLst>
                                    </p:anim>
                                  </p:childTnLst>
                                </p:cTn>
                              </p:par>
                              <p:par>
                                <p:cTn id="57" presetID="2" presetClass="entr" presetSubtype="1" decel="100000" fill="hold" nodeType="withEffect">
                                  <p:stCondLst>
                                    <p:cond delay="2600"/>
                                  </p:stCondLst>
                                  <p:childTnLst>
                                    <p:set>
                                      <p:cBhvr>
                                        <p:cTn id="58" dur="1" fill="hold">
                                          <p:stCondLst>
                                            <p:cond delay="0"/>
                                          </p:stCondLst>
                                        </p:cTn>
                                        <p:tgtEl>
                                          <p:spTgt spid="26"/>
                                        </p:tgtEl>
                                        <p:attrNameLst>
                                          <p:attrName>style.visibility</p:attrName>
                                        </p:attrNameLst>
                                      </p:cBhvr>
                                      <p:to>
                                        <p:strVal val="visible"/>
                                      </p:to>
                                    </p:set>
                                    <p:anim calcmode="lin" valueType="num">
                                      <p:cBhvr additive="base">
                                        <p:cTn id="59" dur="1000" fill="hold"/>
                                        <p:tgtEl>
                                          <p:spTgt spid="26"/>
                                        </p:tgtEl>
                                        <p:attrNameLst>
                                          <p:attrName>ppt_x</p:attrName>
                                        </p:attrNameLst>
                                      </p:cBhvr>
                                      <p:tavLst>
                                        <p:tav tm="0">
                                          <p:val>
                                            <p:strVal val="#ppt_x"/>
                                          </p:val>
                                        </p:tav>
                                        <p:tav tm="100000">
                                          <p:val>
                                            <p:strVal val="#ppt_x"/>
                                          </p:val>
                                        </p:tav>
                                      </p:tavLst>
                                    </p:anim>
                                    <p:anim calcmode="lin" valueType="num">
                                      <p:cBhvr additive="base">
                                        <p:cTn id="60" dur="1000" fill="hold"/>
                                        <p:tgtEl>
                                          <p:spTgt spid="26"/>
                                        </p:tgtEl>
                                        <p:attrNameLst>
                                          <p:attrName>ppt_y</p:attrName>
                                        </p:attrNameLst>
                                      </p:cBhvr>
                                      <p:tavLst>
                                        <p:tav tm="0">
                                          <p:val>
                                            <p:strVal val="0-#ppt_h/2"/>
                                          </p:val>
                                        </p:tav>
                                        <p:tav tm="100000">
                                          <p:val>
                                            <p:strVal val="#ppt_y"/>
                                          </p:val>
                                        </p:tav>
                                      </p:tavLst>
                                    </p:anim>
                                  </p:childTnLst>
                                </p:cTn>
                              </p:par>
                              <p:par>
                                <p:cTn id="61" presetID="10" presetClass="entr" presetSubtype="0" fill="hold" nodeType="withEffect">
                                  <p:stCondLst>
                                    <p:cond delay="2500"/>
                                  </p:stCondLst>
                                  <p:childTnLst>
                                    <p:set>
                                      <p:cBhvr>
                                        <p:cTn id="62" dur="1" fill="hold">
                                          <p:stCondLst>
                                            <p:cond delay="0"/>
                                          </p:stCondLst>
                                        </p:cTn>
                                        <p:tgtEl>
                                          <p:spTgt spid="190"/>
                                        </p:tgtEl>
                                        <p:attrNameLst>
                                          <p:attrName>style.visibility</p:attrName>
                                        </p:attrNameLst>
                                      </p:cBhvr>
                                      <p:to>
                                        <p:strVal val="visible"/>
                                      </p:to>
                                    </p:set>
                                    <p:animEffect transition="in" filter="fade">
                                      <p:cBhvr>
                                        <p:cTn id="63" dur="500"/>
                                        <p:tgtEl>
                                          <p:spTgt spid="190"/>
                                        </p:tgtEl>
                                      </p:cBhvr>
                                    </p:animEffect>
                                  </p:childTnLst>
                                </p:cTn>
                              </p:par>
                              <p:par>
                                <p:cTn id="64" presetID="2" presetClass="entr" presetSubtype="4" decel="100000" fill="hold" nodeType="withEffect">
                                  <p:stCondLst>
                                    <p:cond delay="2800"/>
                                  </p:stCondLst>
                                  <p:childTnLst>
                                    <p:set>
                                      <p:cBhvr>
                                        <p:cTn id="65" dur="1" fill="hold">
                                          <p:stCondLst>
                                            <p:cond delay="0"/>
                                          </p:stCondLst>
                                        </p:cTn>
                                        <p:tgtEl>
                                          <p:spTgt spid="28"/>
                                        </p:tgtEl>
                                        <p:attrNameLst>
                                          <p:attrName>style.visibility</p:attrName>
                                        </p:attrNameLst>
                                      </p:cBhvr>
                                      <p:to>
                                        <p:strVal val="visible"/>
                                      </p:to>
                                    </p:set>
                                    <p:anim calcmode="lin" valueType="num">
                                      <p:cBhvr additive="base">
                                        <p:cTn id="66" dur="500" fill="hold"/>
                                        <p:tgtEl>
                                          <p:spTgt spid="28"/>
                                        </p:tgtEl>
                                        <p:attrNameLst>
                                          <p:attrName>ppt_x</p:attrName>
                                        </p:attrNameLst>
                                      </p:cBhvr>
                                      <p:tavLst>
                                        <p:tav tm="0">
                                          <p:val>
                                            <p:strVal val="#ppt_x"/>
                                          </p:val>
                                        </p:tav>
                                        <p:tav tm="100000">
                                          <p:val>
                                            <p:strVal val="#ppt_x"/>
                                          </p:val>
                                        </p:tav>
                                      </p:tavLst>
                                    </p:anim>
                                    <p:anim calcmode="lin" valueType="num">
                                      <p:cBhvr additive="base">
                                        <p:cTn id="67" dur="500" fill="hold"/>
                                        <p:tgtEl>
                                          <p:spTgt spid="28"/>
                                        </p:tgtEl>
                                        <p:attrNameLst>
                                          <p:attrName>ppt_y</p:attrName>
                                        </p:attrNameLst>
                                      </p:cBhvr>
                                      <p:tavLst>
                                        <p:tav tm="0">
                                          <p:val>
                                            <p:strVal val="1+#ppt_h/2"/>
                                          </p:val>
                                        </p:tav>
                                        <p:tav tm="100000">
                                          <p:val>
                                            <p:strVal val="#ppt_y"/>
                                          </p:val>
                                        </p:tav>
                                      </p:tavLst>
                                    </p:anim>
                                  </p:childTnLst>
                                </p:cTn>
                              </p:par>
                              <p:par>
                                <p:cTn id="68" presetID="2" presetClass="entr" presetSubtype="4" decel="100000" fill="hold" nodeType="withEffect">
                                  <p:stCondLst>
                                    <p:cond delay="2900"/>
                                  </p:stCondLst>
                                  <p:childTnLst>
                                    <p:set>
                                      <p:cBhvr>
                                        <p:cTn id="69" dur="1" fill="hold">
                                          <p:stCondLst>
                                            <p:cond delay="0"/>
                                          </p:stCondLst>
                                        </p:cTn>
                                        <p:tgtEl>
                                          <p:spTgt spid="30"/>
                                        </p:tgtEl>
                                        <p:attrNameLst>
                                          <p:attrName>style.visibility</p:attrName>
                                        </p:attrNameLst>
                                      </p:cBhvr>
                                      <p:to>
                                        <p:strVal val="visible"/>
                                      </p:to>
                                    </p:set>
                                    <p:anim calcmode="lin" valueType="num">
                                      <p:cBhvr additive="base">
                                        <p:cTn id="70" dur="500" fill="hold"/>
                                        <p:tgtEl>
                                          <p:spTgt spid="30"/>
                                        </p:tgtEl>
                                        <p:attrNameLst>
                                          <p:attrName>ppt_x</p:attrName>
                                        </p:attrNameLst>
                                      </p:cBhvr>
                                      <p:tavLst>
                                        <p:tav tm="0">
                                          <p:val>
                                            <p:strVal val="#ppt_x"/>
                                          </p:val>
                                        </p:tav>
                                        <p:tav tm="100000">
                                          <p:val>
                                            <p:strVal val="#ppt_x"/>
                                          </p:val>
                                        </p:tav>
                                      </p:tavLst>
                                    </p:anim>
                                    <p:anim calcmode="lin" valueType="num">
                                      <p:cBhvr additive="base">
                                        <p:cTn id="71"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 name="2 right"/>
          <p:cNvSpPr/>
          <p:nvPr/>
        </p:nvSpPr>
        <p:spPr bwMode="auto">
          <a:xfrm>
            <a:off x="1613886" y="3337780"/>
            <a:ext cx="10308884" cy="842639"/>
          </a:xfrm>
          <a:prstGeom prst="rect">
            <a:avLst/>
          </a:prstGeom>
          <a:solidFill>
            <a:srgbClr val="FFFFFF">
              <a:lumMod val="95000"/>
              <a:alpha val="90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577" name="4 right"/>
          <p:cNvSpPr/>
          <p:nvPr/>
        </p:nvSpPr>
        <p:spPr bwMode="auto">
          <a:xfrm>
            <a:off x="1612727" y="1187938"/>
            <a:ext cx="10308884" cy="1425315"/>
          </a:xfrm>
          <a:prstGeom prst="rect">
            <a:avLst/>
          </a:prstGeom>
          <a:solidFill>
            <a:srgbClr val="FFFFFF">
              <a:lumMod val="95000"/>
              <a:alpha val="90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578" name="3 right"/>
          <p:cNvSpPr/>
          <p:nvPr/>
        </p:nvSpPr>
        <p:spPr bwMode="auto">
          <a:xfrm>
            <a:off x="1613886" y="2654899"/>
            <a:ext cx="10308884" cy="636462"/>
          </a:xfrm>
          <a:prstGeom prst="rect">
            <a:avLst/>
          </a:prstGeom>
          <a:solidFill>
            <a:srgbClr val="FFFFFF">
              <a:lumMod val="95000"/>
              <a:alpha val="90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585" name="1 right"/>
          <p:cNvSpPr/>
          <p:nvPr/>
        </p:nvSpPr>
        <p:spPr bwMode="auto">
          <a:xfrm>
            <a:off x="1613887" y="4226823"/>
            <a:ext cx="10308884" cy="2339669"/>
          </a:xfrm>
          <a:prstGeom prst="rect">
            <a:avLst/>
          </a:prstGeom>
          <a:solidFill>
            <a:srgbClr val="FFFFFF">
              <a:lumMod val="95000"/>
              <a:alpha val="90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824" name="Rectangle 823"/>
          <p:cNvSpPr/>
          <p:nvPr/>
        </p:nvSpPr>
        <p:spPr bwMode="auto">
          <a:xfrm>
            <a:off x="1" y="487"/>
            <a:ext cx="1597681" cy="68570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1" name="Rectangle 62"/>
          <p:cNvSpPr/>
          <p:nvPr/>
        </p:nvSpPr>
        <p:spPr>
          <a:xfrm>
            <a:off x="1705860" y="3454315"/>
            <a:ext cx="10127268" cy="609569"/>
          </a:xfrm>
          <a:prstGeom prst="rect">
            <a:avLst/>
          </a:prstGeom>
          <a:solidFill>
            <a:srgbClr val="282828"/>
          </a:solidFill>
          <a:ln w="10795" cap="flat" cmpd="sng" algn="ctr">
            <a:noFill/>
            <a:prstDash val="solid"/>
          </a:ln>
          <a:effectLst/>
        </p:spPr>
        <p:txBody>
          <a:bodyPr vert="horz" wrap="square" lIns="179285" tIns="143428" rIns="179285" bIns="143428" rtlCol="0" anchor="ctr" anchorCtr="0">
            <a:noAutofit/>
          </a:bodyPr>
          <a:lstStyle/>
          <a:p>
            <a:pPr algn="ctr" defTabSz="897109">
              <a:lnSpc>
                <a:spcPct val="90000"/>
              </a:lnSpc>
              <a:defRPr/>
            </a:pPr>
            <a:r>
              <a:rPr lang="en-US" sz="1765" kern="0" dirty="0" smtClean="0">
                <a:gradFill>
                  <a:gsLst>
                    <a:gs pos="95575">
                      <a:srgbClr val="FFFFFF"/>
                    </a:gs>
                    <a:gs pos="79646">
                      <a:srgbClr val="FFFFFF"/>
                    </a:gs>
                  </a:gsLst>
                  <a:lin ang="5400000" scaled="0"/>
                </a:gradFill>
                <a:latin typeface="Segoe UI"/>
                <a:cs typeface="Segoe UI" pitchFamily="34" charset="0"/>
              </a:rPr>
              <a:t>Azure Pack</a:t>
            </a:r>
            <a:endParaRPr lang="en-US" sz="1765" kern="0" dirty="0">
              <a:gradFill>
                <a:gsLst>
                  <a:gs pos="95575">
                    <a:srgbClr val="FFFFFF"/>
                  </a:gs>
                  <a:gs pos="79646">
                    <a:srgbClr val="FFFFFF"/>
                  </a:gs>
                </a:gsLst>
                <a:lin ang="5400000" scaled="0"/>
              </a:gradFill>
              <a:latin typeface="Segoe UI"/>
              <a:cs typeface="Segoe UI" pitchFamily="34" charset="0"/>
            </a:endParaRPr>
          </a:p>
        </p:txBody>
      </p:sp>
      <p:grpSp>
        <p:nvGrpSpPr>
          <p:cNvPr id="579" name="Group 578"/>
          <p:cNvGrpSpPr/>
          <p:nvPr/>
        </p:nvGrpSpPr>
        <p:grpSpPr>
          <a:xfrm>
            <a:off x="2105578" y="2481790"/>
            <a:ext cx="9771030" cy="402388"/>
            <a:chOff x="2147798" y="2569147"/>
            <a:chExt cx="9966960" cy="410457"/>
          </a:xfrm>
        </p:grpSpPr>
        <p:cxnSp>
          <p:nvCxnSpPr>
            <p:cNvPr id="580" name="Straight Connector 579"/>
            <p:cNvCxnSpPr/>
            <p:nvPr/>
          </p:nvCxnSpPr>
          <p:spPr>
            <a:xfrm>
              <a:off x="7328162" y="2569147"/>
              <a:ext cx="0" cy="224222"/>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81" name="Freeform 5"/>
            <p:cNvSpPr>
              <a:spLocks/>
            </p:cNvSpPr>
            <p:nvPr/>
          </p:nvSpPr>
          <p:spPr bwMode="auto">
            <a:xfrm>
              <a:off x="2147798" y="2793369"/>
              <a:ext cx="9966960" cy="186235"/>
            </a:xfrm>
            <a:custGeom>
              <a:avLst/>
              <a:gdLst>
                <a:gd name="T0" fmla="*/ 0 w 3610"/>
                <a:gd name="T1" fmla="*/ 405 h 405"/>
                <a:gd name="T2" fmla="*/ 0 w 3610"/>
                <a:gd name="T3" fmla="*/ 0 h 405"/>
                <a:gd name="T4" fmla="*/ 3610 w 3610"/>
                <a:gd name="T5" fmla="*/ 0 h 405"/>
                <a:gd name="T6" fmla="*/ 3610 w 3610"/>
                <a:gd name="T7" fmla="*/ 405 h 405"/>
              </a:gdLst>
              <a:ahLst/>
              <a:cxnLst>
                <a:cxn ang="0">
                  <a:pos x="T0" y="T1"/>
                </a:cxn>
                <a:cxn ang="0">
                  <a:pos x="T2" y="T3"/>
                </a:cxn>
                <a:cxn ang="0">
                  <a:pos x="T4" y="T5"/>
                </a:cxn>
                <a:cxn ang="0">
                  <a:pos x="T6" y="T7"/>
                </a:cxn>
              </a:cxnLst>
              <a:rect l="0" t="0" r="r" b="b"/>
              <a:pathLst>
                <a:path w="3610" h="405">
                  <a:moveTo>
                    <a:pt x="0" y="405"/>
                  </a:moveTo>
                  <a:lnTo>
                    <a:pt x="0" y="0"/>
                  </a:lnTo>
                  <a:lnTo>
                    <a:pt x="3610" y="0"/>
                  </a:lnTo>
                  <a:lnTo>
                    <a:pt x="3610" y="405"/>
                  </a:lnTo>
                </a:path>
              </a:pathLst>
            </a:custGeom>
            <a:noFill/>
            <a:ln w="12700" cap="flat">
              <a:solidFill>
                <a:srgbClr val="28282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grpSp>
      <p:grpSp>
        <p:nvGrpSpPr>
          <p:cNvPr id="582" name="Group 581"/>
          <p:cNvGrpSpPr/>
          <p:nvPr/>
        </p:nvGrpSpPr>
        <p:grpSpPr>
          <a:xfrm>
            <a:off x="6165673" y="1282064"/>
            <a:ext cx="2034374" cy="1237066"/>
            <a:chOff x="5435704" y="1307275"/>
            <a:chExt cx="2075167" cy="1261872"/>
          </a:xfrm>
        </p:grpSpPr>
        <p:sp>
          <p:nvSpPr>
            <p:cNvPr id="583" name="Rectangle 582"/>
            <p:cNvSpPr/>
            <p:nvPr/>
          </p:nvSpPr>
          <p:spPr bwMode="auto">
            <a:xfrm>
              <a:off x="5435704" y="1307275"/>
              <a:ext cx="2075166" cy="1261872"/>
            </a:xfrm>
            <a:prstGeom prst="rect">
              <a:avLst/>
            </a:prstGeom>
            <a:solidFill>
              <a:srgbClr val="0072C6"/>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584" name="TextBox 583"/>
            <p:cNvSpPr txBox="1"/>
            <p:nvPr/>
          </p:nvSpPr>
          <p:spPr>
            <a:xfrm>
              <a:off x="5435705" y="1307275"/>
              <a:ext cx="2075166" cy="329598"/>
            </a:xfrm>
            <a:prstGeom prst="rect">
              <a:avLst/>
            </a:prstGeom>
            <a:solidFill>
              <a:srgbClr val="0072C6"/>
            </a:solidFill>
          </p:spPr>
          <p:txBody>
            <a:bodyPr wrap="square" lIns="89642" tIns="89642" rIns="0" bIns="89642" rtlCol="0">
              <a:spAutoFit/>
            </a:bodyPr>
            <a:lstStyle/>
            <a:p>
              <a:pPr defTabSz="913965">
                <a:lnSpc>
                  <a:spcPct val="90000"/>
                </a:lnSpc>
                <a:spcAft>
                  <a:spcPts val="588"/>
                </a:spcAft>
                <a:defRPr/>
              </a:pPr>
              <a:r>
                <a:rPr lang="en-US" sz="980" kern="0" dirty="0">
                  <a:gradFill>
                    <a:gsLst>
                      <a:gs pos="71681">
                        <a:srgbClr val="FFFFFF"/>
                      </a:gs>
                      <a:gs pos="51000">
                        <a:srgbClr val="FFFFFF"/>
                      </a:gs>
                    </a:gsLst>
                    <a:lin ang="5400000" scaled="0"/>
                  </a:gradFill>
                  <a:latin typeface="Segoe UI Semibold" panose="020B0702040204020203" pitchFamily="34" charset="0"/>
                </a:rPr>
                <a:t>App, Infrastructure, SLA(s)</a:t>
              </a:r>
            </a:p>
          </p:txBody>
        </p:sp>
      </p:grpSp>
      <p:sp>
        <p:nvSpPr>
          <p:cNvPr id="586" name="Title 1"/>
          <p:cNvSpPr txBox="1">
            <a:spLocks/>
          </p:cNvSpPr>
          <p:nvPr/>
        </p:nvSpPr>
        <p:spPr>
          <a:xfrm>
            <a:off x="241906" y="222500"/>
            <a:ext cx="8089082" cy="8429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294">
                <a:gradFill>
                  <a:gsLst>
                    <a:gs pos="1250">
                      <a:srgbClr val="282828"/>
                    </a:gs>
                    <a:gs pos="100000">
                      <a:srgbClr val="282828"/>
                    </a:gs>
                  </a:gsLst>
                  <a:lin ang="5400000" scaled="0"/>
                </a:gradFill>
                <a:latin typeface="Segoe UI Light"/>
              </a:rPr>
              <a:t>The evolving datacenter…</a:t>
            </a:r>
          </a:p>
        </p:txBody>
      </p:sp>
      <p:sp>
        <p:nvSpPr>
          <p:cNvPr id="587" name="Right Arrow 586"/>
          <p:cNvSpPr/>
          <p:nvPr/>
        </p:nvSpPr>
        <p:spPr bwMode="auto">
          <a:xfrm rot="16200000">
            <a:off x="10482506" y="5534977"/>
            <a:ext cx="1147170" cy="479848"/>
          </a:xfrm>
          <a:prstGeom prst="rightArrow">
            <a:avLst/>
          </a:prstGeom>
          <a:solidFill>
            <a:srgbClr val="FF8C00"/>
          </a:solidFill>
          <a:ln w="10795" cap="flat" cmpd="sng" algn="ctr">
            <a:noFill/>
            <a:prstDash val="solid"/>
            <a:headEnd type="none" w="med" len="med"/>
            <a:tailEnd type="none" w="med" len="med"/>
          </a:ln>
          <a:effectLst/>
        </p:spPr>
        <p:txBody>
          <a:bodyPr vert="horz" wrap="square" lIns="175901" tIns="140721" rIns="175901" bIns="140721" numCol="1" spcCol="0" rtlCol="0" anchor="t" anchorCtr="0" compatLnSpc="1">
            <a:prstTxWarp prst="textNoShape">
              <a:avLst/>
            </a:prstTxWarp>
          </a:bodyPr>
          <a:lstStyle/>
          <a:p>
            <a:pPr algn="ctr" defTabSz="896847" fontAlgn="base">
              <a:lnSpc>
                <a:spcPct val="90000"/>
              </a:lnSpc>
              <a:spcBef>
                <a:spcPct val="0"/>
              </a:spcBef>
              <a:spcAft>
                <a:spcPct val="0"/>
              </a:spcAft>
              <a:defRPr/>
            </a:pPr>
            <a:endParaRPr lang="en-US" sz="1961" kern="0" dirty="0">
              <a:gradFill>
                <a:gsLst>
                  <a:gs pos="95575">
                    <a:srgbClr val="FFFFFF"/>
                  </a:gs>
                  <a:gs pos="79646">
                    <a:srgbClr val="FFFFFF"/>
                  </a:gs>
                </a:gsLst>
                <a:lin ang="5400000" scaled="0"/>
              </a:gradFill>
              <a:latin typeface="Segoe UI"/>
            </a:endParaRPr>
          </a:p>
        </p:txBody>
      </p:sp>
      <p:sp>
        <p:nvSpPr>
          <p:cNvPr id="569" name="Rectangle 568"/>
          <p:cNvSpPr/>
          <p:nvPr/>
        </p:nvSpPr>
        <p:spPr bwMode="auto">
          <a:xfrm>
            <a:off x="911489" y="3337780"/>
            <a:ext cx="658368" cy="842639"/>
          </a:xfrm>
          <a:prstGeom prst="rect">
            <a:avLst/>
          </a:prstGeom>
          <a:solidFill>
            <a:srgbClr val="FFFFFF">
              <a:lumMod val="85000"/>
            </a:srgbClr>
          </a:solidFill>
          <a:ln w="10795" cap="flat" cmpd="sng" algn="ctr">
            <a:noFill/>
            <a:prstDash val="solid"/>
            <a:headEnd type="none" w="med" len="med"/>
            <a:tailEnd type="none" w="med" len="med"/>
          </a:ln>
          <a:effectLst/>
        </p:spPr>
        <p:txBody>
          <a:bodyPr vert="vert270" wrap="square" lIns="179206" tIns="143365" rIns="182880" bIns="143365" numCol="1" rtlCol="0" anchor="ctr" anchorCtr="0" compatLnSpc="1">
            <a:prstTxWarp prst="textNoShape">
              <a:avLst/>
            </a:prstTxWarp>
          </a:bodyPr>
          <a:lstStyle/>
          <a:p>
            <a:pPr indent="-169554" algn="ctr" defTabSz="896847" fontAlgn="base">
              <a:lnSpc>
                <a:spcPct val="90000"/>
              </a:lnSpc>
              <a:spcBef>
                <a:spcPct val="0"/>
              </a:spcBef>
              <a:spcAft>
                <a:spcPct val="0"/>
              </a:spcAft>
              <a:defRPr/>
            </a:pPr>
            <a:r>
              <a:rPr lang="en-US" sz="1176" kern="0" dirty="0">
                <a:gradFill>
                  <a:gsLst>
                    <a:gs pos="93805">
                      <a:srgbClr val="191919"/>
                    </a:gs>
                    <a:gs pos="82000">
                      <a:srgbClr val="191919"/>
                    </a:gs>
                  </a:gsLst>
                  <a:lin ang="5400000" scaled="0"/>
                </a:gradFill>
                <a:latin typeface="Segoe UI"/>
              </a:rPr>
              <a:t>Service Delivery</a:t>
            </a:r>
          </a:p>
        </p:txBody>
      </p:sp>
      <p:sp>
        <p:nvSpPr>
          <p:cNvPr id="588" name="Rectangle 587"/>
          <p:cNvSpPr/>
          <p:nvPr/>
        </p:nvSpPr>
        <p:spPr bwMode="auto">
          <a:xfrm>
            <a:off x="911489" y="4226823"/>
            <a:ext cx="658368" cy="2335820"/>
          </a:xfrm>
          <a:prstGeom prst="rect">
            <a:avLst/>
          </a:prstGeom>
          <a:solidFill>
            <a:srgbClr val="FFFFFF">
              <a:lumMod val="85000"/>
            </a:srgbClr>
          </a:solidFill>
          <a:ln w="10795" cap="flat" cmpd="sng" algn="ctr">
            <a:noFill/>
            <a:prstDash val="solid"/>
            <a:headEnd type="none" w="med" len="med"/>
            <a:tailEnd type="none" w="med" len="med"/>
          </a:ln>
          <a:effectLst/>
        </p:spPr>
        <p:txBody>
          <a:bodyPr vert="vert270" wrap="square" lIns="179206" tIns="143365" rIns="182880" bIns="143365" numCol="1" rtlCol="0" anchor="ctr" anchorCtr="0" compatLnSpc="1">
            <a:prstTxWarp prst="textNoShape">
              <a:avLst/>
            </a:prstTxWarp>
          </a:bodyPr>
          <a:lstStyle/>
          <a:p>
            <a:pPr indent="-169554" algn="ctr" defTabSz="896847" fontAlgn="base">
              <a:lnSpc>
                <a:spcPct val="90000"/>
              </a:lnSpc>
              <a:spcBef>
                <a:spcPct val="0"/>
              </a:spcBef>
              <a:spcAft>
                <a:spcPct val="0"/>
              </a:spcAft>
              <a:defRPr/>
            </a:pPr>
            <a:r>
              <a:rPr lang="en-US" sz="1176" kern="0" dirty="0" smtClean="0">
                <a:gradFill>
                  <a:gsLst>
                    <a:gs pos="93805">
                      <a:srgbClr val="191919"/>
                    </a:gs>
                    <a:gs pos="82000">
                      <a:srgbClr val="191919"/>
                    </a:gs>
                  </a:gsLst>
                  <a:lin ang="5400000" scaled="0"/>
                </a:gradFill>
                <a:latin typeface="Segoe UI"/>
              </a:rPr>
              <a:t>Cloud and Datacenter Infrastructure</a:t>
            </a:r>
            <a:endParaRPr lang="en-US" sz="1176" kern="0" dirty="0">
              <a:gradFill>
                <a:gsLst>
                  <a:gs pos="93805">
                    <a:srgbClr val="191919"/>
                  </a:gs>
                  <a:gs pos="82000">
                    <a:srgbClr val="191919"/>
                  </a:gs>
                </a:gsLst>
                <a:lin ang="5400000" scaled="0"/>
              </a:gradFill>
              <a:latin typeface="Segoe UI"/>
            </a:endParaRPr>
          </a:p>
        </p:txBody>
      </p:sp>
      <p:sp>
        <p:nvSpPr>
          <p:cNvPr id="589" name="Rectangle 588"/>
          <p:cNvSpPr/>
          <p:nvPr/>
        </p:nvSpPr>
        <p:spPr bwMode="auto">
          <a:xfrm>
            <a:off x="911489" y="1187938"/>
            <a:ext cx="658368" cy="2103423"/>
          </a:xfrm>
          <a:prstGeom prst="rect">
            <a:avLst/>
          </a:prstGeom>
          <a:solidFill>
            <a:srgbClr val="FFFFFF">
              <a:lumMod val="85000"/>
            </a:srgbClr>
          </a:solidFill>
          <a:ln w="10795" cap="flat" cmpd="sng" algn="ctr">
            <a:noFill/>
            <a:prstDash val="solid"/>
            <a:headEnd type="none" w="med" len="med"/>
            <a:tailEnd type="none" w="med" len="med"/>
          </a:ln>
          <a:effectLst/>
        </p:spPr>
        <p:txBody>
          <a:bodyPr vert="vert270" wrap="square" lIns="179206" tIns="143365" rIns="182880" bIns="143365" numCol="1" rtlCol="0" anchor="ctr" anchorCtr="0" compatLnSpc="1">
            <a:prstTxWarp prst="textNoShape">
              <a:avLst/>
            </a:prstTxWarp>
          </a:bodyPr>
          <a:lstStyle/>
          <a:p>
            <a:pPr indent="-169554" algn="ctr" defTabSz="896847" fontAlgn="base">
              <a:lnSpc>
                <a:spcPct val="90000"/>
              </a:lnSpc>
              <a:spcBef>
                <a:spcPct val="0"/>
              </a:spcBef>
              <a:spcAft>
                <a:spcPct val="0"/>
              </a:spcAft>
              <a:defRPr/>
            </a:pPr>
            <a:r>
              <a:rPr lang="en-US" sz="1176" kern="0" dirty="0">
                <a:gradFill>
                  <a:gsLst>
                    <a:gs pos="93805">
                      <a:srgbClr val="191919"/>
                    </a:gs>
                    <a:gs pos="82000">
                      <a:srgbClr val="191919"/>
                    </a:gs>
                  </a:gsLst>
                  <a:lin ang="5400000" scaled="0"/>
                </a:gradFill>
                <a:latin typeface="Segoe UI"/>
              </a:rPr>
              <a:t>Application </a:t>
            </a:r>
            <a:br>
              <a:rPr lang="en-US" sz="1176" kern="0" dirty="0">
                <a:gradFill>
                  <a:gsLst>
                    <a:gs pos="93805">
                      <a:srgbClr val="191919"/>
                    </a:gs>
                    <a:gs pos="82000">
                      <a:srgbClr val="191919"/>
                    </a:gs>
                  </a:gsLst>
                  <a:lin ang="5400000" scaled="0"/>
                </a:gradFill>
                <a:latin typeface="Segoe UI"/>
              </a:rPr>
            </a:br>
            <a:r>
              <a:rPr lang="en-US" sz="1176" kern="0" dirty="0" smtClean="0">
                <a:gradFill>
                  <a:gsLst>
                    <a:gs pos="93805">
                      <a:srgbClr val="191919"/>
                    </a:gs>
                    <a:gs pos="82000">
                      <a:srgbClr val="191919"/>
                    </a:gs>
                  </a:gsLst>
                  <a:lin ang="5400000" scaled="0"/>
                </a:gradFill>
                <a:latin typeface="Segoe UI"/>
              </a:rPr>
              <a:t>Platform</a:t>
            </a:r>
            <a:endParaRPr lang="en-US" sz="1176" kern="0" dirty="0">
              <a:gradFill>
                <a:gsLst>
                  <a:gs pos="93805">
                    <a:srgbClr val="191919"/>
                  </a:gs>
                  <a:gs pos="82000">
                    <a:srgbClr val="191919"/>
                  </a:gs>
                </a:gsLst>
                <a:lin ang="5400000" scaled="0"/>
              </a:gradFill>
              <a:latin typeface="Segoe UI"/>
            </a:endParaRPr>
          </a:p>
        </p:txBody>
      </p:sp>
      <p:sp>
        <p:nvSpPr>
          <p:cNvPr id="590" name="Rectangle 589"/>
          <p:cNvSpPr/>
          <p:nvPr/>
        </p:nvSpPr>
        <p:spPr bwMode="auto">
          <a:xfrm>
            <a:off x="209917" y="1187939"/>
            <a:ext cx="658368" cy="5373344"/>
          </a:xfrm>
          <a:prstGeom prst="rect">
            <a:avLst/>
          </a:prstGeom>
          <a:solidFill>
            <a:srgbClr val="FFFFFF">
              <a:lumMod val="85000"/>
            </a:srgbClr>
          </a:solidFill>
          <a:ln w="10795" cap="flat" cmpd="sng" algn="ctr">
            <a:noFill/>
            <a:prstDash val="solid"/>
            <a:headEnd type="none" w="med" len="med"/>
            <a:tailEnd type="none" w="med" len="med"/>
          </a:ln>
          <a:effectLst/>
        </p:spPr>
        <p:txBody>
          <a:bodyPr vert="vert270" wrap="square" lIns="179206" tIns="143365" rIns="182880" bIns="143365" numCol="1" rtlCol="0" anchor="ctr" anchorCtr="0" compatLnSpc="1">
            <a:prstTxWarp prst="textNoShape">
              <a:avLst/>
            </a:prstTxWarp>
          </a:bodyPr>
          <a:lstStyle/>
          <a:p>
            <a:pPr algn="ctr" defTabSz="896847" fontAlgn="base">
              <a:lnSpc>
                <a:spcPct val="90000"/>
              </a:lnSpc>
              <a:spcBef>
                <a:spcPct val="0"/>
              </a:spcBef>
              <a:spcAft>
                <a:spcPct val="0"/>
              </a:spcAft>
              <a:defRPr/>
            </a:pPr>
            <a:r>
              <a:rPr lang="en-US" sz="1176" kern="0" dirty="0" smtClean="0">
                <a:gradFill>
                  <a:gsLst>
                    <a:gs pos="93805">
                      <a:srgbClr val="191919"/>
                    </a:gs>
                    <a:gs pos="82000">
                      <a:srgbClr val="191919"/>
                    </a:gs>
                  </a:gsLst>
                  <a:lin ang="5400000" scaled="0"/>
                </a:gradFill>
                <a:latin typeface="Segoe UI"/>
              </a:rPr>
              <a:t>IT Management</a:t>
            </a:r>
          </a:p>
          <a:p>
            <a:pPr algn="ctr" defTabSz="896847" fontAlgn="base">
              <a:lnSpc>
                <a:spcPct val="90000"/>
              </a:lnSpc>
              <a:spcBef>
                <a:spcPct val="0"/>
              </a:spcBef>
              <a:spcAft>
                <a:spcPct val="0"/>
              </a:spcAft>
              <a:defRPr/>
            </a:pPr>
            <a:r>
              <a:rPr lang="en-US" sz="1176" kern="0" dirty="0" smtClean="0">
                <a:gradFill>
                  <a:gsLst>
                    <a:gs pos="93805">
                      <a:srgbClr val="191919"/>
                    </a:gs>
                    <a:gs pos="82000">
                      <a:srgbClr val="191919"/>
                    </a:gs>
                  </a:gsLst>
                  <a:lin ang="5400000" scaled="0"/>
                </a:gradFill>
                <a:latin typeface="Segoe UI"/>
              </a:rPr>
              <a:t> [SC, OMS (including BCDR), App Insights]</a:t>
            </a:r>
            <a:endParaRPr lang="en-US" sz="1176" kern="0" dirty="0">
              <a:gradFill>
                <a:gsLst>
                  <a:gs pos="93805">
                    <a:srgbClr val="191919"/>
                  </a:gs>
                  <a:gs pos="82000">
                    <a:srgbClr val="191919"/>
                  </a:gs>
                </a:gsLst>
                <a:lin ang="5400000" scaled="0"/>
              </a:gradFill>
              <a:latin typeface="Segoe UI"/>
            </a:endParaRPr>
          </a:p>
        </p:txBody>
      </p:sp>
      <p:sp>
        <p:nvSpPr>
          <p:cNvPr id="591" name="Freeform 109"/>
          <p:cNvSpPr>
            <a:spLocks noChangeAspect="1" noEditPoints="1"/>
          </p:cNvSpPr>
          <p:nvPr/>
        </p:nvSpPr>
        <p:spPr bwMode="auto">
          <a:xfrm>
            <a:off x="7017279" y="2102582"/>
            <a:ext cx="330225" cy="271414"/>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895954">
              <a:defRPr/>
            </a:pPr>
            <a:endParaRPr lang="en-US" sz="1765" kern="0">
              <a:solidFill>
                <a:srgbClr val="FFFFFF"/>
              </a:solidFill>
              <a:latin typeface="Segoe UI"/>
            </a:endParaRPr>
          </a:p>
        </p:txBody>
      </p:sp>
      <p:sp>
        <p:nvSpPr>
          <p:cNvPr id="592" name="Freeform 6"/>
          <p:cNvSpPr>
            <a:spLocks noChangeAspect="1" noEditPoints="1"/>
          </p:cNvSpPr>
          <p:nvPr/>
        </p:nvSpPr>
        <p:spPr bwMode="auto">
          <a:xfrm>
            <a:off x="6392606" y="2096825"/>
            <a:ext cx="347232" cy="282929"/>
          </a:xfrm>
          <a:custGeom>
            <a:avLst/>
            <a:gdLst>
              <a:gd name="T0" fmla="*/ 6 w 103"/>
              <a:gd name="T1" fmla="*/ 13 h 84"/>
              <a:gd name="T2" fmla="*/ 6 w 103"/>
              <a:gd name="T3" fmla="*/ 78 h 84"/>
              <a:gd name="T4" fmla="*/ 96 w 103"/>
              <a:gd name="T5" fmla="*/ 78 h 84"/>
              <a:gd name="T6" fmla="*/ 96 w 103"/>
              <a:gd name="T7" fmla="*/ 13 h 84"/>
              <a:gd name="T8" fmla="*/ 6 w 103"/>
              <a:gd name="T9" fmla="*/ 13 h 84"/>
              <a:gd name="T10" fmla="*/ 103 w 103"/>
              <a:gd name="T11" fmla="*/ 0 h 84"/>
              <a:gd name="T12" fmla="*/ 103 w 103"/>
              <a:gd name="T13" fmla="*/ 84 h 84"/>
              <a:gd name="T14" fmla="*/ 0 w 103"/>
              <a:gd name="T15" fmla="*/ 84 h 84"/>
              <a:gd name="T16" fmla="*/ 0 w 103"/>
              <a:gd name="T17" fmla="*/ 0 h 84"/>
              <a:gd name="T18" fmla="*/ 103 w 103"/>
              <a:gd name="T19" fmla="*/ 0 h 84"/>
              <a:gd name="T20" fmla="*/ 14 w 103"/>
              <a:gd name="T21" fmla="*/ 26 h 84"/>
              <a:gd name="T22" fmla="*/ 89 w 103"/>
              <a:gd name="T23" fmla="*/ 26 h 84"/>
              <a:gd name="T24" fmla="*/ 89 w 103"/>
              <a:gd name="T25" fmla="*/ 35 h 84"/>
              <a:gd name="T26" fmla="*/ 14 w 103"/>
              <a:gd name="T27" fmla="*/ 35 h 84"/>
              <a:gd name="T28" fmla="*/ 14 w 103"/>
              <a:gd name="T29" fmla="*/ 26 h 84"/>
              <a:gd name="T30" fmla="*/ 14 w 103"/>
              <a:gd name="T31" fmla="*/ 26 h 84"/>
              <a:gd name="T32" fmla="*/ 14 w 103"/>
              <a:gd name="T33" fmla="*/ 44 h 84"/>
              <a:gd name="T34" fmla="*/ 89 w 103"/>
              <a:gd name="T35" fmla="*/ 44 h 84"/>
              <a:gd name="T36" fmla="*/ 89 w 103"/>
              <a:gd name="T37" fmla="*/ 53 h 84"/>
              <a:gd name="T38" fmla="*/ 14 w 103"/>
              <a:gd name="T39" fmla="*/ 53 h 84"/>
              <a:gd name="T40" fmla="*/ 14 w 103"/>
              <a:gd name="T41" fmla="*/ 44 h 84"/>
              <a:gd name="T42" fmla="*/ 14 w 103"/>
              <a:gd name="T43" fmla="*/ 44 h 84"/>
              <a:gd name="T44" fmla="*/ 14 w 103"/>
              <a:gd name="T45" fmla="*/ 62 h 84"/>
              <a:gd name="T46" fmla="*/ 89 w 103"/>
              <a:gd name="T47" fmla="*/ 62 h 84"/>
              <a:gd name="T48" fmla="*/ 89 w 103"/>
              <a:gd name="T49" fmla="*/ 71 h 84"/>
              <a:gd name="T50" fmla="*/ 14 w 103"/>
              <a:gd name="T51" fmla="*/ 71 h 84"/>
              <a:gd name="T52" fmla="*/ 14 w 103"/>
              <a:gd name="T53" fmla="*/ 62 h 84"/>
              <a:gd name="T54" fmla="*/ 14 w 103"/>
              <a:gd name="T55"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84">
                <a:moveTo>
                  <a:pt x="6" y="13"/>
                </a:moveTo>
                <a:cubicBezTo>
                  <a:pt x="6" y="78"/>
                  <a:pt x="6" y="78"/>
                  <a:pt x="6" y="78"/>
                </a:cubicBezTo>
                <a:cubicBezTo>
                  <a:pt x="96" y="78"/>
                  <a:pt x="96" y="78"/>
                  <a:pt x="96" y="78"/>
                </a:cubicBezTo>
                <a:cubicBezTo>
                  <a:pt x="96" y="13"/>
                  <a:pt x="96" y="13"/>
                  <a:pt x="96" y="13"/>
                </a:cubicBezTo>
                <a:cubicBezTo>
                  <a:pt x="64" y="13"/>
                  <a:pt x="25" y="13"/>
                  <a:pt x="6" y="13"/>
                </a:cubicBezTo>
                <a:close/>
                <a:moveTo>
                  <a:pt x="103" y="0"/>
                </a:moveTo>
                <a:cubicBezTo>
                  <a:pt x="103" y="84"/>
                  <a:pt x="103" y="84"/>
                  <a:pt x="103" y="84"/>
                </a:cubicBezTo>
                <a:cubicBezTo>
                  <a:pt x="0" y="84"/>
                  <a:pt x="0" y="84"/>
                  <a:pt x="0" y="84"/>
                </a:cubicBezTo>
                <a:cubicBezTo>
                  <a:pt x="0" y="0"/>
                  <a:pt x="0" y="0"/>
                  <a:pt x="0" y="0"/>
                </a:cubicBezTo>
                <a:cubicBezTo>
                  <a:pt x="42" y="0"/>
                  <a:pt x="77" y="0"/>
                  <a:pt x="103" y="0"/>
                </a:cubicBezTo>
                <a:close/>
                <a:moveTo>
                  <a:pt x="14" y="26"/>
                </a:moveTo>
                <a:cubicBezTo>
                  <a:pt x="89" y="26"/>
                  <a:pt x="89" y="26"/>
                  <a:pt x="89" y="26"/>
                </a:cubicBezTo>
                <a:cubicBezTo>
                  <a:pt x="89" y="35"/>
                  <a:pt x="89" y="35"/>
                  <a:pt x="89" y="35"/>
                </a:cubicBezTo>
                <a:cubicBezTo>
                  <a:pt x="14" y="35"/>
                  <a:pt x="14" y="35"/>
                  <a:pt x="14" y="35"/>
                </a:cubicBezTo>
                <a:cubicBezTo>
                  <a:pt x="14" y="26"/>
                  <a:pt x="14" y="26"/>
                  <a:pt x="14" y="26"/>
                </a:cubicBezTo>
                <a:cubicBezTo>
                  <a:pt x="14" y="26"/>
                  <a:pt x="14" y="26"/>
                  <a:pt x="14" y="26"/>
                </a:cubicBezTo>
                <a:close/>
                <a:moveTo>
                  <a:pt x="14" y="44"/>
                </a:moveTo>
                <a:cubicBezTo>
                  <a:pt x="89" y="44"/>
                  <a:pt x="89" y="44"/>
                  <a:pt x="89" y="44"/>
                </a:cubicBezTo>
                <a:cubicBezTo>
                  <a:pt x="89" y="53"/>
                  <a:pt x="89" y="53"/>
                  <a:pt x="89" y="53"/>
                </a:cubicBezTo>
                <a:cubicBezTo>
                  <a:pt x="14" y="53"/>
                  <a:pt x="14" y="53"/>
                  <a:pt x="14" y="53"/>
                </a:cubicBezTo>
                <a:cubicBezTo>
                  <a:pt x="14" y="44"/>
                  <a:pt x="14" y="44"/>
                  <a:pt x="14" y="44"/>
                </a:cubicBezTo>
                <a:cubicBezTo>
                  <a:pt x="14" y="44"/>
                  <a:pt x="14" y="44"/>
                  <a:pt x="14" y="44"/>
                </a:cubicBezTo>
                <a:close/>
                <a:moveTo>
                  <a:pt x="14" y="62"/>
                </a:moveTo>
                <a:cubicBezTo>
                  <a:pt x="89" y="62"/>
                  <a:pt x="89" y="62"/>
                  <a:pt x="89" y="62"/>
                </a:cubicBezTo>
                <a:cubicBezTo>
                  <a:pt x="89" y="71"/>
                  <a:pt x="89" y="71"/>
                  <a:pt x="89" y="71"/>
                </a:cubicBezTo>
                <a:cubicBezTo>
                  <a:pt x="14" y="71"/>
                  <a:pt x="14" y="71"/>
                  <a:pt x="14" y="71"/>
                </a:cubicBezTo>
                <a:cubicBezTo>
                  <a:pt x="14" y="62"/>
                  <a:pt x="14" y="62"/>
                  <a:pt x="14" y="62"/>
                </a:cubicBezTo>
                <a:cubicBezTo>
                  <a:pt x="14" y="62"/>
                  <a:pt x="14" y="62"/>
                  <a:pt x="14" y="62"/>
                </a:cubicBezTo>
                <a:close/>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cxnSp>
        <p:nvCxnSpPr>
          <p:cNvPr id="593" name="Straight Connector 592"/>
          <p:cNvCxnSpPr/>
          <p:nvPr/>
        </p:nvCxnSpPr>
        <p:spPr>
          <a:xfrm>
            <a:off x="6258135" y="1975299"/>
            <a:ext cx="1849430" cy="0"/>
          </a:xfrm>
          <a:prstGeom prst="line">
            <a:avLst/>
          </a:prstGeom>
          <a:noFill/>
          <a:ln w="9525" cap="flat" cmpd="sng" algn="ctr">
            <a:solidFill>
              <a:srgbClr val="FFFFFF"/>
            </a:solidFill>
            <a:prstDash val="solid"/>
            <a:headEnd type="none"/>
            <a:tailEnd type="none"/>
          </a:ln>
          <a:effectLst/>
        </p:spPr>
      </p:cxnSp>
      <p:sp>
        <p:nvSpPr>
          <p:cNvPr id="594" name="Rectangle 62"/>
          <p:cNvSpPr/>
          <p:nvPr/>
        </p:nvSpPr>
        <p:spPr>
          <a:xfrm>
            <a:off x="1702380" y="4686691"/>
            <a:ext cx="10129650" cy="479745"/>
          </a:xfrm>
          <a:prstGeom prst="rect">
            <a:avLst/>
          </a:prstGeom>
          <a:solidFill>
            <a:srgbClr val="FFFFFF">
              <a:lumMod val="85000"/>
            </a:srgbClr>
          </a:solidFill>
          <a:ln w="6350" cap="flat" cmpd="sng" algn="ctr">
            <a:noFill/>
            <a:prstDash val="solid"/>
          </a:ln>
          <a:effectLst/>
        </p:spPr>
        <p:txBody>
          <a:bodyPr vert="horz" wrap="square" lIns="179065" tIns="89532" rIns="179065" bIns="89532" rtlCol="0" anchor="t">
            <a:noAutofit/>
          </a:bodyPr>
          <a:lstStyle/>
          <a:p>
            <a:pPr defTabSz="896403">
              <a:lnSpc>
                <a:spcPct val="90000"/>
              </a:lnSpc>
              <a:defRPr/>
            </a:pPr>
            <a:endParaRPr lang="en-US" sz="1078" kern="0" dirty="0">
              <a:gradFill>
                <a:gsLst>
                  <a:gs pos="56637">
                    <a:srgbClr val="191919"/>
                  </a:gs>
                  <a:gs pos="71000">
                    <a:srgbClr val="191919"/>
                  </a:gs>
                </a:gsLst>
                <a:lin ang="5400000" scaled="0"/>
              </a:gradFill>
              <a:latin typeface="Segoe UI Semibold" panose="020B0702040204020203" pitchFamily="34" charset="0"/>
              <a:cs typeface="Segoe UI" pitchFamily="34" charset="0"/>
            </a:endParaRPr>
          </a:p>
        </p:txBody>
      </p:sp>
      <p:sp>
        <p:nvSpPr>
          <p:cNvPr id="595" name="Check mark"/>
          <p:cNvSpPr>
            <a:spLocks noChangeAspect="1" noEditPoints="1"/>
          </p:cNvSpPr>
          <p:nvPr/>
        </p:nvSpPr>
        <p:spPr bwMode="auto">
          <a:xfrm>
            <a:off x="7910190" y="1237511"/>
            <a:ext cx="344623" cy="344623"/>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0072C6"/>
          </a:solidFill>
          <a:ln w="12700">
            <a:solidFill>
              <a:srgbClr val="FFFFFF"/>
            </a:solid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596" name="Group 595"/>
          <p:cNvGrpSpPr/>
          <p:nvPr/>
        </p:nvGrpSpPr>
        <p:grpSpPr>
          <a:xfrm>
            <a:off x="2098934" y="4823948"/>
            <a:ext cx="3134093" cy="1318342"/>
            <a:chOff x="2141022" y="4920181"/>
            <a:chExt cx="3196938" cy="1344777"/>
          </a:xfrm>
        </p:grpSpPr>
        <p:sp>
          <p:nvSpPr>
            <p:cNvPr id="597" name="TextBox 596"/>
            <p:cNvSpPr txBox="1"/>
            <p:nvPr/>
          </p:nvSpPr>
          <p:spPr>
            <a:xfrm>
              <a:off x="2141022" y="4976110"/>
              <a:ext cx="665020" cy="124598"/>
            </a:xfrm>
            <a:prstGeom prst="rect">
              <a:avLst/>
            </a:prstGeom>
            <a:noFill/>
          </p:spPr>
          <p:txBody>
            <a:bodyPr wrap="square" lIns="179285" tIns="0" rIns="0" bIns="0" rtlCol="0">
              <a:spAutoFit/>
            </a:bodyPr>
            <a:lstStyle/>
            <a:p>
              <a:pPr defTabSz="897109">
                <a:lnSpc>
                  <a:spcPct val="90000"/>
                </a:lnSpc>
                <a:spcAft>
                  <a:spcPts val="577"/>
                </a:spcAft>
                <a:defRPr/>
              </a:pPr>
              <a:r>
                <a:rPr lang="en-US" sz="882" kern="0" dirty="0">
                  <a:gradFill>
                    <a:gsLst>
                      <a:gs pos="24779">
                        <a:srgbClr val="505050"/>
                      </a:gs>
                      <a:gs pos="35398">
                        <a:srgbClr val="505050"/>
                      </a:gs>
                    </a:gsLst>
                    <a:lin ang="5400000" scaled="0"/>
                  </a:gradFill>
                  <a:latin typeface="Segoe UI"/>
                </a:rPr>
                <a:t>Compute</a:t>
              </a:r>
            </a:p>
          </p:txBody>
        </p:sp>
        <p:sp>
          <p:nvSpPr>
            <p:cNvPr id="598" name="TextBox 597"/>
            <p:cNvSpPr txBox="1"/>
            <p:nvPr/>
          </p:nvSpPr>
          <p:spPr>
            <a:xfrm>
              <a:off x="2188524" y="5714960"/>
              <a:ext cx="665020" cy="124598"/>
            </a:xfrm>
            <a:prstGeom prst="rect">
              <a:avLst/>
            </a:prstGeom>
            <a:noFill/>
          </p:spPr>
          <p:txBody>
            <a:bodyPr wrap="square" lIns="179285" tIns="0" rIns="0" bIns="0" rtlCol="0">
              <a:spAutoFit/>
            </a:bodyPr>
            <a:lstStyle/>
            <a:p>
              <a:pPr defTabSz="897109">
                <a:lnSpc>
                  <a:spcPct val="90000"/>
                </a:lnSpc>
                <a:spcAft>
                  <a:spcPts val="577"/>
                </a:spcAft>
                <a:defRPr/>
              </a:pPr>
              <a:r>
                <a:rPr lang="en-US" sz="882" kern="0" dirty="0">
                  <a:gradFill>
                    <a:gsLst>
                      <a:gs pos="24779">
                        <a:srgbClr val="505050"/>
                      </a:gs>
                      <a:gs pos="35398">
                        <a:srgbClr val="505050"/>
                      </a:gs>
                    </a:gsLst>
                    <a:lin ang="5400000" scaled="0"/>
                  </a:gradFill>
                  <a:latin typeface="Segoe UI"/>
                </a:rPr>
                <a:t>Storage</a:t>
              </a:r>
            </a:p>
          </p:txBody>
        </p:sp>
        <p:sp>
          <p:nvSpPr>
            <p:cNvPr id="599" name="TextBox 598"/>
            <p:cNvSpPr txBox="1"/>
            <p:nvPr/>
          </p:nvSpPr>
          <p:spPr>
            <a:xfrm>
              <a:off x="2188524" y="5920265"/>
              <a:ext cx="665020" cy="124598"/>
            </a:xfrm>
            <a:prstGeom prst="rect">
              <a:avLst/>
            </a:prstGeom>
            <a:noFill/>
          </p:spPr>
          <p:txBody>
            <a:bodyPr wrap="square" lIns="179285" tIns="0" rIns="0" bIns="0" rtlCol="0">
              <a:spAutoFit/>
            </a:bodyPr>
            <a:lstStyle/>
            <a:p>
              <a:pPr defTabSz="897109">
                <a:lnSpc>
                  <a:spcPct val="90000"/>
                </a:lnSpc>
                <a:spcAft>
                  <a:spcPts val="577"/>
                </a:spcAft>
                <a:defRPr/>
              </a:pPr>
              <a:r>
                <a:rPr lang="en-US" sz="882" kern="0" dirty="0">
                  <a:gradFill>
                    <a:gsLst>
                      <a:gs pos="24779">
                        <a:srgbClr val="505050"/>
                      </a:gs>
                      <a:gs pos="35398">
                        <a:srgbClr val="505050"/>
                      </a:gs>
                    </a:gsLst>
                    <a:lin ang="5400000" scaled="0"/>
                  </a:gradFill>
                  <a:latin typeface="Segoe UI"/>
                </a:rPr>
                <a:t>Network</a:t>
              </a:r>
            </a:p>
          </p:txBody>
        </p:sp>
        <p:grpSp>
          <p:nvGrpSpPr>
            <p:cNvPr id="600" name="Group 599"/>
            <p:cNvGrpSpPr/>
            <p:nvPr/>
          </p:nvGrpSpPr>
          <p:grpSpPr>
            <a:xfrm>
              <a:off x="2865999" y="4920181"/>
              <a:ext cx="2471961" cy="1344777"/>
              <a:chOff x="2865999" y="4920181"/>
              <a:chExt cx="2471961" cy="1344777"/>
            </a:xfrm>
          </p:grpSpPr>
          <p:sp>
            <p:nvSpPr>
              <p:cNvPr id="601" name="Rectangle 600"/>
              <p:cNvSpPr/>
              <p:nvPr/>
            </p:nvSpPr>
            <p:spPr bwMode="auto">
              <a:xfrm>
                <a:off x="2889250" y="5328558"/>
                <a:ext cx="1235592" cy="786903"/>
              </a:xfrm>
              <a:prstGeom prst="rect">
                <a:avLst/>
              </a:prstGeom>
              <a:noFill/>
              <a:ln w="12700" cap="sq" cmpd="sng" algn="ctr">
                <a:solidFill>
                  <a:srgbClr val="00BCF2"/>
                </a:solidFill>
                <a:prstDash val="sysDot"/>
                <a:miter lim="800000"/>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grpSp>
            <p:nvGrpSpPr>
              <p:cNvPr id="602" name="Group 601"/>
              <p:cNvGrpSpPr/>
              <p:nvPr/>
            </p:nvGrpSpPr>
            <p:grpSpPr>
              <a:xfrm>
                <a:off x="2865999" y="4920181"/>
                <a:ext cx="2471961" cy="1174117"/>
                <a:chOff x="2865999" y="4920181"/>
                <a:chExt cx="2471961" cy="1174117"/>
              </a:xfrm>
            </p:grpSpPr>
            <p:sp>
              <p:nvSpPr>
                <p:cNvPr id="606" name="Freeform 605"/>
                <p:cNvSpPr>
                  <a:spLocks noChangeAspect="1" noEditPoints="1"/>
                </p:cNvSpPr>
                <p:nvPr/>
              </p:nvSpPr>
              <p:spPr bwMode="auto">
                <a:xfrm>
                  <a:off x="3047484" y="5875594"/>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07" name="Freeform 606"/>
                <p:cNvSpPr>
                  <a:spLocks noChangeAspect="1" noEditPoints="1"/>
                </p:cNvSpPr>
                <p:nvPr/>
              </p:nvSpPr>
              <p:spPr bwMode="auto">
                <a:xfrm>
                  <a:off x="3673351" y="5875594"/>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08" name="Freeform 607"/>
                <p:cNvSpPr>
                  <a:spLocks noChangeAspect="1" noEditPoints="1"/>
                </p:cNvSpPr>
                <p:nvPr/>
              </p:nvSpPr>
              <p:spPr bwMode="auto">
                <a:xfrm>
                  <a:off x="4299218" y="5875594"/>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09" name="Freeform 608"/>
                <p:cNvSpPr>
                  <a:spLocks noChangeAspect="1" noEditPoints="1"/>
                </p:cNvSpPr>
                <p:nvPr/>
              </p:nvSpPr>
              <p:spPr bwMode="auto">
                <a:xfrm>
                  <a:off x="4925085" y="5875594"/>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10" name="Straight Connector 609"/>
                <p:cNvCxnSpPr/>
                <p:nvPr/>
              </p:nvCxnSpPr>
              <p:spPr>
                <a:xfrm>
                  <a:off x="3323811" y="5984946"/>
                  <a:ext cx="347472" cy="0"/>
                </a:xfrm>
                <a:prstGeom prst="line">
                  <a:avLst/>
                </a:prstGeom>
                <a:noFill/>
                <a:ln w="6350" cap="flat" cmpd="sng" algn="ctr">
                  <a:solidFill>
                    <a:srgbClr val="282828"/>
                  </a:solidFill>
                  <a:prstDash val="solid"/>
                  <a:headEnd type="none"/>
                  <a:tailEnd type="none"/>
                </a:ln>
                <a:effectLst/>
              </p:spPr>
            </p:cxnSp>
            <p:cxnSp>
              <p:nvCxnSpPr>
                <p:cNvPr id="611" name="Straight Connector 610"/>
                <p:cNvCxnSpPr/>
                <p:nvPr/>
              </p:nvCxnSpPr>
              <p:spPr>
                <a:xfrm>
                  <a:off x="3949678" y="5984946"/>
                  <a:ext cx="347472" cy="0"/>
                </a:xfrm>
                <a:prstGeom prst="line">
                  <a:avLst/>
                </a:prstGeom>
                <a:noFill/>
                <a:ln w="6350" cap="flat" cmpd="sng" algn="ctr">
                  <a:solidFill>
                    <a:srgbClr val="282828"/>
                  </a:solidFill>
                  <a:prstDash val="solid"/>
                  <a:headEnd type="none"/>
                  <a:tailEnd type="none"/>
                </a:ln>
                <a:effectLst/>
              </p:spPr>
            </p:cxnSp>
            <p:cxnSp>
              <p:nvCxnSpPr>
                <p:cNvPr id="612" name="Straight Connector 611"/>
                <p:cNvCxnSpPr/>
                <p:nvPr/>
              </p:nvCxnSpPr>
              <p:spPr>
                <a:xfrm>
                  <a:off x="4577926" y="5984946"/>
                  <a:ext cx="347472" cy="0"/>
                </a:xfrm>
                <a:prstGeom prst="line">
                  <a:avLst/>
                </a:prstGeom>
                <a:noFill/>
                <a:ln w="6350" cap="flat" cmpd="sng" algn="ctr">
                  <a:solidFill>
                    <a:srgbClr val="282828"/>
                  </a:solidFill>
                  <a:prstDash val="solid"/>
                  <a:headEnd type="none"/>
                  <a:tailEnd type="none"/>
                </a:ln>
                <a:effectLst/>
              </p:spPr>
            </p:cxnSp>
            <p:cxnSp>
              <p:nvCxnSpPr>
                <p:cNvPr id="613" name="Straight Connector 612"/>
                <p:cNvCxnSpPr/>
                <p:nvPr/>
              </p:nvCxnSpPr>
              <p:spPr>
                <a:xfrm>
                  <a:off x="5064595" y="5577283"/>
                  <a:ext cx="0" cy="301752"/>
                </a:xfrm>
                <a:prstGeom prst="line">
                  <a:avLst/>
                </a:prstGeom>
                <a:noFill/>
                <a:ln w="6350" cap="flat" cmpd="sng" algn="ctr">
                  <a:solidFill>
                    <a:srgbClr val="282828"/>
                  </a:solidFill>
                  <a:prstDash val="solid"/>
                  <a:headEnd type="none"/>
                  <a:tailEnd type="none"/>
                </a:ln>
                <a:effectLst/>
              </p:spPr>
            </p:cxnSp>
            <p:cxnSp>
              <p:nvCxnSpPr>
                <p:cNvPr id="614" name="Straight Connector 613"/>
                <p:cNvCxnSpPr/>
                <p:nvPr/>
              </p:nvCxnSpPr>
              <p:spPr>
                <a:xfrm>
                  <a:off x="4438728" y="5574871"/>
                  <a:ext cx="0" cy="304164"/>
                </a:xfrm>
                <a:prstGeom prst="line">
                  <a:avLst/>
                </a:prstGeom>
                <a:noFill/>
                <a:ln w="6350" cap="flat" cmpd="sng" algn="ctr">
                  <a:solidFill>
                    <a:srgbClr val="282828"/>
                  </a:solidFill>
                  <a:prstDash val="solid"/>
                  <a:headEnd type="none"/>
                  <a:tailEnd type="none"/>
                </a:ln>
                <a:effectLst/>
              </p:spPr>
            </p:cxnSp>
            <p:cxnSp>
              <p:nvCxnSpPr>
                <p:cNvPr id="615" name="Straight Connector 614"/>
                <p:cNvCxnSpPr/>
                <p:nvPr/>
              </p:nvCxnSpPr>
              <p:spPr>
                <a:xfrm>
                  <a:off x="3812861" y="5574871"/>
                  <a:ext cx="0" cy="304164"/>
                </a:xfrm>
                <a:prstGeom prst="line">
                  <a:avLst/>
                </a:prstGeom>
                <a:noFill/>
                <a:ln w="6350" cap="flat" cmpd="sng" algn="ctr">
                  <a:solidFill>
                    <a:srgbClr val="282828"/>
                  </a:solidFill>
                  <a:prstDash val="solid"/>
                  <a:headEnd type="none"/>
                  <a:tailEnd type="none"/>
                </a:ln>
                <a:effectLst/>
              </p:spPr>
            </p:cxnSp>
            <p:cxnSp>
              <p:nvCxnSpPr>
                <p:cNvPr id="616" name="Straight Connector 615"/>
                <p:cNvCxnSpPr/>
                <p:nvPr/>
              </p:nvCxnSpPr>
              <p:spPr>
                <a:xfrm>
                  <a:off x="3186994" y="5574871"/>
                  <a:ext cx="0" cy="304164"/>
                </a:xfrm>
                <a:prstGeom prst="line">
                  <a:avLst/>
                </a:prstGeom>
                <a:noFill/>
                <a:ln w="6350" cap="flat" cmpd="sng" algn="ctr">
                  <a:solidFill>
                    <a:srgbClr val="282828"/>
                  </a:solidFill>
                  <a:prstDash val="solid"/>
                  <a:headEnd type="none"/>
                  <a:tailEnd type="none"/>
                </a:ln>
                <a:effectLst/>
              </p:spPr>
            </p:cxnSp>
            <p:grpSp>
              <p:nvGrpSpPr>
                <p:cNvPr id="617" name="Group 616"/>
                <p:cNvGrpSpPr/>
                <p:nvPr/>
              </p:nvGrpSpPr>
              <p:grpSpPr>
                <a:xfrm>
                  <a:off x="3367728" y="5578675"/>
                  <a:ext cx="265193" cy="282832"/>
                  <a:chOff x="3850047" y="5668784"/>
                  <a:chExt cx="265193" cy="282832"/>
                </a:xfrm>
              </p:grpSpPr>
              <p:sp>
                <p:nvSpPr>
                  <p:cNvPr id="638" name="Freeform 11"/>
                  <p:cNvSpPr>
                    <a:spLocks noChangeAspect="1" noEditPoints="1"/>
                  </p:cNvSpPr>
                  <p:nvPr/>
                </p:nvSpPr>
                <p:spPr bwMode="auto">
                  <a:xfrm>
                    <a:off x="3891619" y="5790337"/>
                    <a:ext cx="184293" cy="16127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39" name="Straight Connector 293"/>
                  <p:cNvCxnSpPr/>
                  <p:nvPr/>
                </p:nvCxnSpPr>
                <p:spPr>
                  <a:xfrm rot="5400000">
                    <a:off x="4006537" y="5738160"/>
                    <a:ext cx="178079" cy="39327"/>
                  </a:xfrm>
                  <a:prstGeom prst="bentConnector2">
                    <a:avLst/>
                  </a:prstGeom>
                  <a:noFill/>
                  <a:ln w="6350" cap="flat" cmpd="sng" algn="ctr">
                    <a:solidFill>
                      <a:srgbClr val="FFFFFF">
                        <a:lumMod val="65000"/>
                      </a:srgbClr>
                    </a:solidFill>
                    <a:prstDash val="solid"/>
                    <a:headEnd type="none"/>
                    <a:tailEnd type="none"/>
                  </a:ln>
                  <a:effectLst/>
                </p:spPr>
              </p:cxnSp>
              <p:cxnSp>
                <p:nvCxnSpPr>
                  <p:cNvPr id="640" name="Straight Connector 293"/>
                  <p:cNvCxnSpPr/>
                  <p:nvPr/>
                </p:nvCxnSpPr>
                <p:spPr>
                  <a:xfrm rot="16200000" flipH="1">
                    <a:off x="3780671" y="5738160"/>
                    <a:ext cx="178079" cy="39327"/>
                  </a:xfrm>
                  <a:prstGeom prst="bentConnector2">
                    <a:avLst/>
                  </a:prstGeom>
                  <a:noFill/>
                  <a:ln w="6350" cap="flat" cmpd="sng" algn="ctr">
                    <a:solidFill>
                      <a:srgbClr val="FFFFFF">
                        <a:lumMod val="65000"/>
                      </a:srgbClr>
                    </a:solidFill>
                    <a:prstDash val="solid"/>
                    <a:headEnd type="none"/>
                    <a:tailEnd type="none"/>
                  </a:ln>
                  <a:effectLst/>
                </p:spPr>
              </p:cxnSp>
            </p:grpSp>
            <p:grpSp>
              <p:nvGrpSpPr>
                <p:cNvPr id="618" name="Group 617"/>
                <p:cNvGrpSpPr/>
                <p:nvPr/>
              </p:nvGrpSpPr>
              <p:grpSpPr>
                <a:xfrm>
                  <a:off x="3994389" y="5578397"/>
                  <a:ext cx="265193" cy="283389"/>
                  <a:chOff x="4322083" y="5668784"/>
                  <a:chExt cx="265193" cy="283389"/>
                </a:xfrm>
              </p:grpSpPr>
              <p:sp>
                <p:nvSpPr>
                  <p:cNvPr id="635" name="Freeform 11"/>
                  <p:cNvSpPr>
                    <a:spLocks noChangeAspect="1" noEditPoints="1"/>
                  </p:cNvSpPr>
                  <p:nvPr/>
                </p:nvSpPr>
                <p:spPr bwMode="auto">
                  <a:xfrm>
                    <a:off x="4363192" y="5790894"/>
                    <a:ext cx="184293" cy="16127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36" name="Straight Connector 293"/>
                  <p:cNvCxnSpPr/>
                  <p:nvPr/>
                </p:nvCxnSpPr>
                <p:spPr>
                  <a:xfrm rot="5400000">
                    <a:off x="4478573" y="5738160"/>
                    <a:ext cx="178079" cy="39327"/>
                  </a:xfrm>
                  <a:prstGeom prst="bentConnector2">
                    <a:avLst/>
                  </a:prstGeom>
                  <a:noFill/>
                  <a:ln w="6350" cap="flat" cmpd="sng" algn="ctr">
                    <a:solidFill>
                      <a:srgbClr val="FFFFFF">
                        <a:lumMod val="65000"/>
                      </a:srgbClr>
                    </a:solidFill>
                    <a:prstDash val="solid"/>
                    <a:headEnd type="none"/>
                    <a:tailEnd type="none"/>
                  </a:ln>
                  <a:effectLst/>
                </p:spPr>
              </p:cxnSp>
              <p:cxnSp>
                <p:nvCxnSpPr>
                  <p:cNvPr id="637" name="Straight Connector 293"/>
                  <p:cNvCxnSpPr/>
                  <p:nvPr/>
                </p:nvCxnSpPr>
                <p:spPr>
                  <a:xfrm rot="16200000" flipH="1">
                    <a:off x="4252707" y="5738160"/>
                    <a:ext cx="178079" cy="39327"/>
                  </a:xfrm>
                  <a:prstGeom prst="bentConnector2">
                    <a:avLst/>
                  </a:prstGeom>
                  <a:noFill/>
                  <a:ln w="6350" cap="flat" cmpd="sng" algn="ctr">
                    <a:solidFill>
                      <a:srgbClr val="FFFFFF">
                        <a:lumMod val="65000"/>
                      </a:srgbClr>
                    </a:solidFill>
                    <a:prstDash val="solid"/>
                    <a:headEnd type="none"/>
                    <a:tailEnd type="none"/>
                  </a:ln>
                  <a:effectLst/>
                </p:spPr>
              </p:cxnSp>
            </p:grpSp>
            <p:grpSp>
              <p:nvGrpSpPr>
                <p:cNvPr id="619" name="Group 618"/>
                <p:cNvGrpSpPr/>
                <p:nvPr/>
              </p:nvGrpSpPr>
              <p:grpSpPr>
                <a:xfrm>
                  <a:off x="4621050" y="5578397"/>
                  <a:ext cx="262812" cy="283389"/>
                  <a:chOff x="4793940" y="5668784"/>
                  <a:chExt cx="262812" cy="283389"/>
                </a:xfrm>
              </p:grpSpPr>
              <p:sp>
                <p:nvSpPr>
                  <p:cNvPr id="632" name="Freeform 11"/>
                  <p:cNvSpPr>
                    <a:spLocks noChangeAspect="1" noEditPoints="1"/>
                  </p:cNvSpPr>
                  <p:nvPr/>
                </p:nvSpPr>
                <p:spPr bwMode="auto">
                  <a:xfrm>
                    <a:off x="4834765" y="5790894"/>
                    <a:ext cx="184293" cy="16127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33" name="Straight Connector 293"/>
                  <p:cNvCxnSpPr/>
                  <p:nvPr/>
                </p:nvCxnSpPr>
                <p:spPr>
                  <a:xfrm rot="5400000">
                    <a:off x="4948049" y="5738160"/>
                    <a:ext cx="178079" cy="39327"/>
                  </a:xfrm>
                  <a:prstGeom prst="bentConnector2">
                    <a:avLst/>
                  </a:prstGeom>
                  <a:noFill/>
                  <a:ln w="6350" cap="flat" cmpd="sng" algn="ctr">
                    <a:solidFill>
                      <a:srgbClr val="FFFFFF">
                        <a:lumMod val="65000"/>
                      </a:srgbClr>
                    </a:solidFill>
                    <a:prstDash val="solid"/>
                    <a:headEnd type="none"/>
                    <a:tailEnd type="none"/>
                  </a:ln>
                  <a:effectLst/>
                </p:spPr>
              </p:cxnSp>
              <p:cxnSp>
                <p:nvCxnSpPr>
                  <p:cNvPr id="634" name="Straight Connector 293"/>
                  <p:cNvCxnSpPr/>
                  <p:nvPr/>
                </p:nvCxnSpPr>
                <p:spPr>
                  <a:xfrm rot="16200000" flipH="1">
                    <a:off x="4724564" y="5738160"/>
                    <a:ext cx="178079" cy="39327"/>
                  </a:xfrm>
                  <a:prstGeom prst="bentConnector2">
                    <a:avLst/>
                  </a:prstGeom>
                  <a:noFill/>
                  <a:ln w="6350" cap="flat" cmpd="sng" algn="ctr">
                    <a:solidFill>
                      <a:srgbClr val="FFFFFF">
                        <a:lumMod val="65000"/>
                      </a:srgbClr>
                    </a:solidFill>
                    <a:prstDash val="solid"/>
                    <a:headEnd type="none"/>
                    <a:tailEnd type="none"/>
                  </a:ln>
                  <a:effectLst/>
                </p:spPr>
              </p:cxnSp>
            </p:grpSp>
            <p:grpSp>
              <p:nvGrpSpPr>
                <p:cNvPr id="620" name="Group 619"/>
                <p:cNvGrpSpPr/>
                <p:nvPr/>
              </p:nvGrpSpPr>
              <p:grpSpPr>
                <a:xfrm>
                  <a:off x="2865999" y="4920181"/>
                  <a:ext cx="594360" cy="228600"/>
                  <a:chOff x="2865999" y="4888431"/>
                  <a:chExt cx="594360" cy="228600"/>
                </a:xfrm>
              </p:grpSpPr>
              <p:sp>
                <p:nvSpPr>
                  <p:cNvPr id="630" name="Rectangle 58"/>
                  <p:cNvSpPr/>
                  <p:nvPr/>
                </p:nvSpPr>
                <p:spPr>
                  <a:xfrm>
                    <a:off x="2865999" y="4888431"/>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31" name="Freeform 127"/>
                  <p:cNvSpPr>
                    <a:spLocks noChangeAspect="1" noEditPoints="1"/>
                  </p:cNvSpPr>
                  <p:nvPr/>
                </p:nvSpPr>
                <p:spPr bwMode="auto">
                  <a:xfrm>
                    <a:off x="3236589" y="4934599"/>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621" name="Group 620"/>
                <p:cNvGrpSpPr/>
                <p:nvPr/>
              </p:nvGrpSpPr>
              <p:grpSpPr>
                <a:xfrm>
                  <a:off x="3492660" y="4920181"/>
                  <a:ext cx="594360" cy="228600"/>
                  <a:chOff x="3491866" y="4888431"/>
                  <a:chExt cx="594360" cy="228600"/>
                </a:xfrm>
              </p:grpSpPr>
              <p:sp>
                <p:nvSpPr>
                  <p:cNvPr id="628" name="Rectangle 58"/>
                  <p:cNvSpPr/>
                  <p:nvPr/>
                </p:nvSpPr>
                <p:spPr>
                  <a:xfrm>
                    <a:off x="3491866" y="4888431"/>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29" name="Freeform 127"/>
                  <p:cNvSpPr>
                    <a:spLocks noChangeAspect="1" noEditPoints="1"/>
                  </p:cNvSpPr>
                  <p:nvPr/>
                </p:nvSpPr>
                <p:spPr bwMode="auto">
                  <a:xfrm>
                    <a:off x="3862456" y="4934599"/>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dirty="0">
                      <a:solidFill>
                        <a:srgbClr val="505050"/>
                      </a:solidFill>
                      <a:latin typeface="Segoe UI"/>
                      <a:cs typeface="Segoe UI" pitchFamily="34" charset="0"/>
                    </a:endParaRPr>
                  </a:p>
                </p:txBody>
              </p:sp>
            </p:grpSp>
            <p:grpSp>
              <p:nvGrpSpPr>
                <p:cNvPr id="622" name="Group 621"/>
                <p:cNvGrpSpPr/>
                <p:nvPr/>
              </p:nvGrpSpPr>
              <p:grpSpPr>
                <a:xfrm>
                  <a:off x="4119320" y="4920181"/>
                  <a:ext cx="594360" cy="228600"/>
                  <a:chOff x="4117733" y="4888431"/>
                  <a:chExt cx="594360" cy="228600"/>
                </a:xfrm>
              </p:grpSpPr>
              <p:sp>
                <p:nvSpPr>
                  <p:cNvPr id="626" name="Rectangle 60"/>
                  <p:cNvSpPr/>
                  <p:nvPr/>
                </p:nvSpPr>
                <p:spPr>
                  <a:xfrm>
                    <a:off x="4117733" y="4888431"/>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27" name="Freeform 127"/>
                  <p:cNvSpPr>
                    <a:spLocks noChangeAspect="1" noEditPoints="1"/>
                  </p:cNvSpPr>
                  <p:nvPr/>
                </p:nvSpPr>
                <p:spPr bwMode="auto">
                  <a:xfrm>
                    <a:off x="4488323" y="4934599"/>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623" name="Group 622"/>
                <p:cNvGrpSpPr/>
                <p:nvPr/>
              </p:nvGrpSpPr>
              <p:grpSpPr>
                <a:xfrm>
                  <a:off x="4743600" y="4920181"/>
                  <a:ext cx="594360" cy="228600"/>
                  <a:chOff x="4743600" y="4888431"/>
                  <a:chExt cx="594360" cy="228600"/>
                </a:xfrm>
              </p:grpSpPr>
              <p:sp>
                <p:nvSpPr>
                  <p:cNvPr id="624" name="Rectangle 61"/>
                  <p:cNvSpPr/>
                  <p:nvPr/>
                </p:nvSpPr>
                <p:spPr>
                  <a:xfrm>
                    <a:off x="4743600" y="4888431"/>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LINUX</a:t>
                    </a:r>
                  </a:p>
                </p:txBody>
              </p:sp>
              <p:sp>
                <p:nvSpPr>
                  <p:cNvPr id="625" name="Freeform 127"/>
                  <p:cNvSpPr>
                    <a:spLocks noChangeAspect="1" noEditPoints="1"/>
                  </p:cNvSpPr>
                  <p:nvPr/>
                </p:nvSpPr>
                <p:spPr bwMode="auto">
                  <a:xfrm>
                    <a:off x="5114190" y="4934599"/>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a:solidFill>
                        <a:srgbClr val="505050"/>
                      </a:solidFill>
                      <a:latin typeface="Segoe UI"/>
                      <a:cs typeface="Segoe UI" pitchFamily="34" charset="0"/>
                    </a:endParaRPr>
                  </a:p>
                </p:txBody>
              </p:sp>
            </p:grpSp>
          </p:grpSp>
          <p:grpSp>
            <p:nvGrpSpPr>
              <p:cNvPr id="603" name="Group 602"/>
              <p:cNvGrpSpPr/>
              <p:nvPr/>
            </p:nvGrpSpPr>
            <p:grpSpPr>
              <a:xfrm>
                <a:off x="3872171" y="5984946"/>
                <a:ext cx="509628" cy="280012"/>
                <a:chOff x="3872171" y="5984946"/>
                <a:chExt cx="509628" cy="280012"/>
              </a:xfrm>
            </p:grpSpPr>
            <p:sp>
              <p:nvSpPr>
                <p:cNvPr id="604" name="Freeform 603"/>
                <p:cNvSpPr/>
                <p:nvPr/>
              </p:nvSpPr>
              <p:spPr bwMode="auto">
                <a:xfrm>
                  <a:off x="3872171" y="6159765"/>
                  <a:ext cx="509628" cy="105193"/>
                </a:xfrm>
                <a:custGeom>
                  <a:avLst/>
                  <a:gdLst>
                    <a:gd name="connsiteX0" fmla="*/ 443700 w 509628"/>
                    <a:gd name="connsiteY0" fmla="*/ 27715 h 105193"/>
                    <a:gd name="connsiteX1" fmla="*/ 443700 w 509628"/>
                    <a:gd name="connsiteY1" fmla="*/ 78669 h 105193"/>
                    <a:gd name="connsiteX2" fmla="*/ 478050 w 509628"/>
                    <a:gd name="connsiteY2" fmla="*/ 78669 h 105193"/>
                    <a:gd name="connsiteX3" fmla="*/ 478050 w 509628"/>
                    <a:gd name="connsiteY3" fmla="*/ 27715 h 105193"/>
                    <a:gd name="connsiteX4" fmla="*/ 384826 w 509628"/>
                    <a:gd name="connsiteY4" fmla="*/ 27715 h 105193"/>
                    <a:gd name="connsiteX5" fmla="*/ 384826 w 509628"/>
                    <a:gd name="connsiteY5" fmla="*/ 78669 h 105193"/>
                    <a:gd name="connsiteX6" fmla="*/ 419176 w 509628"/>
                    <a:gd name="connsiteY6" fmla="*/ 78669 h 105193"/>
                    <a:gd name="connsiteX7" fmla="*/ 419176 w 509628"/>
                    <a:gd name="connsiteY7" fmla="*/ 27715 h 105193"/>
                    <a:gd name="connsiteX8" fmla="*/ 325951 w 509628"/>
                    <a:gd name="connsiteY8" fmla="*/ 27715 h 105193"/>
                    <a:gd name="connsiteX9" fmla="*/ 325951 w 509628"/>
                    <a:gd name="connsiteY9" fmla="*/ 78669 h 105193"/>
                    <a:gd name="connsiteX10" fmla="*/ 360301 w 509628"/>
                    <a:gd name="connsiteY10" fmla="*/ 78669 h 105193"/>
                    <a:gd name="connsiteX11" fmla="*/ 360301 w 509628"/>
                    <a:gd name="connsiteY11" fmla="*/ 27715 h 105193"/>
                    <a:gd name="connsiteX12" fmla="*/ 267076 w 509628"/>
                    <a:gd name="connsiteY12" fmla="*/ 27715 h 105193"/>
                    <a:gd name="connsiteX13" fmla="*/ 267076 w 509628"/>
                    <a:gd name="connsiteY13" fmla="*/ 78669 h 105193"/>
                    <a:gd name="connsiteX14" fmla="*/ 301426 w 509628"/>
                    <a:gd name="connsiteY14" fmla="*/ 78669 h 105193"/>
                    <a:gd name="connsiteX15" fmla="*/ 301426 w 509628"/>
                    <a:gd name="connsiteY15" fmla="*/ 27715 h 105193"/>
                    <a:gd name="connsiteX16" fmla="*/ 208201 w 509628"/>
                    <a:gd name="connsiteY16" fmla="*/ 27715 h 105193"/>
                    <a:gd name="connsiteX17" fmla="*/ 208201 w 509628"/>
                    <a:gd name="connsiteY17" fmla="*/ 78669 h 105193"/>
                    <a:gd name="connsiteX18" fmla="*/ 242551 w 509628"/>
                    <a:gd name="connsiteY18" fmla="*/ 78669 h 105193"/>
                    <a:gd name="connsiteX19" fmla="*/ 242551 w 509628"/>
                    <a:gd name="connsiteY19" fmla="*/ 27715 h 105193"/>
                    <a:gd name="connsiteX20" fmla="*/ 149326 w 509628"/>
                    <a:gd name="connsiteY20" fmla="*/ 27715 h 105193"/>
                    <a:gd name="connsiteX21" fmla="*/ 149326 w 509628"/>
                    <a:gd name="connsiteY21" fmla="*/ 78669 h 105193"/>
                    <a:gd name="connsiteX22" fmla="*/ 183676 w 509628"/>
                    <a:gd name="connsiteY22" fmla="*/ 78669 h 105193"/>
                    <a:gd name="connsiteX23" fmla="*/ 183676 w 509628"/>
                    <a:gd name="connsiteY23" fmla="*/ 27715 h 105193"/>
                    <a:gd name="connsiteX24" fmla="*/ 90451 w 509628"/>
                    <a:gd name="connsiteY24" fmla="*/ 27715 h 105193"/>
                    <a:gd name="connsiteX25" fmla="*/ 90451 w 509628"/>
                    <a:gd name="connsiteY25" fmla="*/ 78669 h 105193"/>
                    <a:gd name="connsiteX26" fmla="*/ 124801 w 509628"/>
                    <a:gd name="connsiteY26" fmla="*/ 78669 h 105193"/>
                    <a:gd name="connsiteX27" fmla="*/ 124801 w 509628"/>
                    <a:gd name="connsiteY27" fmla="*/ 27715 h 105193"/>
                    <a:gd name="connsiteX28" fmla="*/ 31576 w 509628"/>
                    <a:gd name="connsiteY28" fmla="*/ 27715 h 105193"/>
                    <a:gd name="connsiteX29" fmla="*/ 31576 w 509628"/>
                    <a:gd name="connsiteY29" fmla="*/ 78669 h 105193"/>
                    <a:gd name="connsiteX30" fmla="*/ 65926 w 509628"/>
                    <a:gd name="connsiteY30" fmla="*/ 78669 h 105193"/>
                    <a:gd name="connsiteX31" fmla="*/ 65926 w 509628"/>
                    <a:gd name="connsiteY31" fmla="*/ 27715 h 105193"/>
                    <a:gd name="connsiteX32" fmla="*/ 0 w 509628"/>
                    <a:gd name="connsiteY32" fmla="*/ 0 h 105193"/>
                    <a:gd name="connsiteX33" fmla="*/ 509628 w 509628"/>
                    <a:gd name="connsiteY33" fmla="*/ 0 h 105193"/>
                    <a:gd name="connsiteX34" fmla="*/ 509628 w 509628"/>
                    <a:gd name="connsiteY34" fmla="*/ 105193 h 105193"/>
                    <a:gd name="connsiteX35" fmla="*/ 0 w 509628"/>
                    <a:gd name="connsiteY35" fmla="*/ 105193 h 10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628" h="105193">
                      <a:moveTo>
                        <a:pt x="443700" y="27715"/>
                      </a:moveTo>
                      <a:lnTo>
                        <a:pt x="443700" y="78669"/>
                      </a:lnTo>
                      <a:lnTo>
                        <a:pt x="478050" y="78669"/>
                      </a:lnTo>
                      <a:lnTo>
                        <a:pt x="478050" y="27715"/>
                      </a:lnTo>
                      <a:close/>
                      <a:moveTo>
                        <a:pt x="384826" y="27715"/>
                      </a:moveTo>
                      <a:lnTo>
                        <a:pt x="384826" y="78669"/>
                      </a:lnTo>
                      <a:lnTo>
                        <a:pt x="419176" y="78669"/>
                      </a:lnTo>
                      <a:lnTo>
                        <a:pt x="419176" y="27715"/>
                      </a:lnTo>
                      <a:close/>
                      <a:moveTo>
                        <a:pt x="325951" y="27715"/>
                      </a:moveTo>
                      <a:lnTo>
                        <a:pt x="325951" y="78669"/>
                      </a:lnTo>
                      <a:lnTo>
                        <a:pt x="360301" y="78669"/>
                      </a:lnTo>
                      <a:lnTo>
                        <a:pt x="360301" y="27715"/>
                      </a:lnTo>
                      <a:close/>
                      <a:moveTo>
                        <a:pt x="267076" y="27715"/>
                      </a:moveTo>
                      <a:lnTo>
                        <a:pt x="267076" y="78669"/>
                      </a:lnTo>
                      <a:lnTo>
                        <a:pt x="301426" y="78669"/>
                      </a:lnTo>
                      <a:lnTo>
                        <a:pt x="301426" y="27715"/>
                      </a:lnTo>
                      <a:close/>
                      <a:moveTo>
                        <a:pt x="208201" y="27715"/>
                      </a:moveTo>
                      <a:lnTo>
                        <a:pt x="208201" y="78669"/>
                      </a:lnTo>
                      <a:lnTo>
                        <a:pt x="242551" y="78669"/>
                      </a:lnTo>
                      <a:lnTo>
                        <a:pt x="242551" y="27715"/>
                      </a:lnTo>
                      <a:close/>
                      <a:moveTo>
                        <a:pt x="149326" y="27715"/>
                      </a:moveTo>
                      <a:lnTo>
                        <a:pt x="149326" y="78669"/>
                      </a:lnTo>
                      <a:lnTo>
                        <a:pt x="183676" y="78669"/>
                      </a:lnTo>
                      <a:lnTo>
                        <a:pt x="183676" y="27715"/>
                      </a:lnTo>
                      <a:close/>
                      <a:moveTo>
                        <a:pt x="90451" y="27715"/>
                      </a:moveTo>
                      <a:lnTo>
                        <a:pt x="90451" y="78669"/>
                      </a:lnTo>
                      <a:lnTo>
                        <a:pt x="124801" y="78669"/>
                      </a:lnTo>
                      <a:lnTo>
                        <a:pt x="124801" y="27715"/>
                      </a:lnTo>
                      <a:close/>
                      <a:moveTo>
                        <a:pt x="31576" y="27715"/>
                      </a:moveTo>
                      <a:lnTo>
                        <a:pt x="31576" y="78669"/>
                      </a:lnTo>
                      <a:lnTo>
                        <a:pt x="65926" y="78669"/>
                      </a:lnTo>
                      <a:lnTo>
                        <a:pt x="65926" y="27715"/>
                      </a:lnTo>
                      <a:close/>
                      <a:moveTo>
                        <a:pt x="0" y="0"/>
                      </a:moveTo>
                      <a:lnTo>
                        <a:pt x="509628" y="0"/>
                      </a:lnTo>
                      <a:lnTo>
                        <a:pt x="509628" y="105193"/>
                      </a:lnTo>
                      <a:lnTo>
                        <a:pt x="0" y="105193"/>
                      </a:lnTo>
                      <a:close/>
                    </a:path>
                  </a:pathLst>
                </a:custGeom>
                <a:solidFill>
                  <a:srgbClr val="282828"/>
                </a:solidFill>
                <a:ln>
                  <a:noFill/>
                </a:ln>
              </p:spPr>
              <p:txBody>
                <a:bodyPr vert="horz" wrap="square" lIns="89642" tIns="44821" rIns="89642" bIns="44821" numCol="1" anchor="t" anchorCtr="0" compatLnSpc="1">
                  <a:prstTxWarp prst="textNoShape">
                    <a:avLst/>
                  </a:prstTxWarp>
                  <a:noAutofit/>
                </a:bodyPr>
                <a:lstStyle/>
                <a:p>
                  <a:pPr defTabSz="913965">
                    <a:defRPr/>
                  </a:pPr>
                  <a:endParaRPr lang="en-US" sz="1765" kern="0" dirty="0">
                    <a:solidFill>
                      <a:srgbClr val="505050"/>
                    </a:solidFill>
                    <a:latin typeface="Segoe UI"/>
                  </a:endParaRPr>
                </a:p>
              </p:txBody>
            </p:sp>
            <p:cxnSp>
              <p:nvCxnSpPr>
                <p:cNvPr id="605" name="Straight Connector 604"/>
                <p:cNvCxnSpPr/>
                <p:nvPr/>
              </p:nvCxnSpPr>
              <p:spPr>
                <a:xfrm>
                  <a:off x="4123414" y="5984946"/>
                  <a:ext cx="0" cy="182880"/>
                </a:xfrm>
                <a:prstGeom prst="line">
                  <a:avLst/>
                </a:prstGeom>
                <a:noFill/>
                <a:ln w="6350" cap="flat" cmpd="sng" algn="ctr">
                  <a:solidFill>
                    <a:srgbClr val="282828"/>
                  </a:solidFill>
                  <a:prstDash val="solid"/>
                  <a:headEnd type="none"/>
                  <a:tailEnd type="none"/>
                </a:ln>
                <a:effectLst/>
              </p:spPr>
            </p:cxnSp>
          </p:grpSp>
        </p:grpSp>
      </p:grpSp>
      <p:sp>
        <p:nvSpPr>
          <p:cNvPr id="641" name="network 1"/>
          <p:cNvSpPr/>
          <p:nvPr/>
        </p:nvSpPr>
        <p:spPr bwMode="auto">
          <a:xfrm>
            <a:off x="4000465"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grpSp>
        <p:nvGrpSpPr>
          <p:cNvPr id="642" name="Group 641"/>
          <p:cNvGrpSpPr/>
          <p:nvPr/>
        </p:nvGrpSpPr>
        <p:grpSpPr>
          <a:xfrm>
            <a:off x="7245691" y="5249582"/>
            <a:ext cx="1197018" cy="892707"/>
            <a:chOff x="7390973" y="5354350"/>
            <a:chExt cx="1221021" cy="910608"/>
          </a:xfrm>
        </p:grpSpPr>
        <p:grpSp>
          <p:nvGrpSpPr>
            <p:cNvPr id="643" name="Group 642"/>
            <p:cNvGrpSpPr/>
            <p:nvPr/>
          </p:nvGrpSpPr>
          <p:grpSpPr>
            <a:xfrm>
              <a:off x="7390973" y="5354350"/>
              <a:ext cx="1221021" cy="739948"/>
              <a:chOff x="6680172" y="7602108"/>
              <a:chExt cx="1221021" cy="739948"/>
            </a:xfrm>
          </p:grpSpPr>
          <p:sp>
            <p:nvSpPr>
              <p:cNvPr id="647" name="Freeform 646"/>
              <p:cNvSpPr>
                <a:spLocks noChangeAspect="1" noEditPoints="1"/>
              </p:cNvSpPr>
              <p:nvPr/>
            </p:nvSpPr>
            <p:spPr bwMode="auto">
              <a:xfrm>
                <a:off x="6837842" y="8123352"/>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48" name="Freeform 647"/>
              <p:cNvSpPr>
                <a:spLocks noChangeAspect="1" noEditPoints="1"/>
              </p:cNvSpPr>
              <p:nvPr/>
            </p:nvSpPr>
            <p:spPr bwMode="auto">
              <a:xfrm>
                <a:off x="7463709" y="8123352"/>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49" name="Straight Connector 648"/>
              <p:cNvCxnSpPr/>
              <p:nvPr/>
            </p:nvCxnSpPr>
            <p:spPr>
              <a:xfrm>
                <a:off x="7114169" y="8232704"/>
                <a:ext cx="347472" cy="0"/>
              </a:xfrm>
              <a:prstGeom prst="line">
                <a:avLst/>
              </a:prstGeom>
              <a:noFill/>
              <a:ln w="6350" cap="flat" cmpd="sng" algn="ctr">
                <a:solidFill>
                  <a:srgbClr val="282828"/>
                </a:solidFill>
                <a:prstDash val="solid"/>
                <a:headEnd type="none"/>
                <a:tailEnd type="none"/>
              </a:ln>
              <a:effectLst/>
            </p:spPr>
          </p:cxnSp>
          <p:cxnSp>
            <p:nvCxnSpPr>
              <p:cNvPr id="650" name="Straight Connector 649"/>
              <p:cNvCxnSpPr/>
              <p:nvPr/>
            </p:nvCxnSpPr>
            <p:spPr>
              <a:xfrm>
                <a:off x="7603219" y="7822629"/>
                <a:ext cx="0" cy="304164"/>
              </a:xfrm>
              <a:prstGeom prst="line">
                <a:avLst/>
              </a:prstGeom>
              <a:noFill/>
              <a:ln w="6350" cap="flat" cmpd="sng" algn="ctr">
                <a:solidFill>
                  <a:srgbClr val="282828"/>
                </a:solidFill>
                <a:prstDash val="solid"/>
                <a:headEnd type="none"/>
                <a:tailEnd type="none"/>
              </a:ln>
              <a:effectLst/>
            </p:spPr>
          </p:cxnSp>
          <p:cxnSp>
            <p:nvCxnSpPr>
              <p:cNvPr id="651" name="Straight Connector 650"/>
              <p:cNvCxnSpPr/>
              <p:nvPr/>
            </p:nvCxnSpPr>
            <p:spPr>
              <a:xfrm>
                <a:off x="6977352" y="7822629"/>
                <a:ext cx="0" cy="304164"/>
              </a:xfrm>
              <a:prstGeom prst="line">
                <a:avLst/>
              </a:prstGeom>
              <a:noFill/>
              <a:ln w="6350" cap="flat" cmpd="sng" algn="ctr">
                <a:solidFill>
                  <a:srgbClr val="282828"/>
                </a:solidFill>
                <a:prstDash val="solid"/>
                <a:headEnd type="none"/>
                <a:tailEnd type="none"/>
              </a:ln>
              <a:effectLst/>
            </p:spPr>
          </p:cxnSp>
          <p:grpSp>
            <p:nvGrpSpPr>
              <p:cNvPr id="652" name="Group 651"/>
              <p:cNvGrpSpPr/>
              <p:nvPr/>
            </p:nvGrpSpPr>
            <p:grpSpPr>
              <a:xfrm>
                <a:off x="7158086" y="7826433"/>
                <a:ext cx="265193" cy="282832"/>
                <a:chOff x="3850047" y="5668784"/>
                <a:chExt cx="265193" cy="282832"/>
              </a:xfrm>
            </p:grpSpPr>
            <p:sp>
              <p:nvSpPr>
                <p:cNvPr id="659" name="Freeform 11"/>
                <p:cNvSpPr>
                  <a:spLocks noChangeAspect="1" noEditPoints="1"/>
                </p:cNvSpPr>
                <p:nvPr/>
              </p:nvSpPr>
              <p:spPr bwMode="auto">
                <a:xfrm>
                  <a:off x="3891619" y="5790337"/>
                  <a:ext cx="184293" cy="16127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60" name="Straight Connector 293"/>
                <p:cNvCxnSpPr/>
                <p:nvPr/>
              </p:nvCxnSpPr>
              <p:spPr>
                <a:xfrm rot="5400000">
                  <a:off x="4006537" y="5738160"/>
                  <a:ext cx="178079" cy="39327"/>
                </a:xfrm>
                <a:prstGeom prst="bentConnector2">
                  <a:avLst/>
                </a:prstGeom>
                <a:noFill/>
                <a:ln w="6350" cap="flat" cmpd="sng" algn="ctr">
                  <a:solidFill>
                    <a:srgbClr val="FFFFFF">
                      <a:lumMod val="65000"/>
                    </a:srgbClr>
                  </a:solidFill>
                  <a:prstDash val="solid"/>
                  <a:headEnd type="none"/>
                  <a:tailEnd type="none"/>
                </a:ln>
                <a:effectLst/>
              </p:spPr>
            </p:cxnSp>
            <p:cxnSp>
              <p:nvCxnSpPr>
                <p:cNvPr id="661" name="Straight Connector 293"/>
                <p:cNvCxnSpPr/>
                <p:nvPr/>
              </p:nvCxnSpPr>
              <p:spPr>
                <a:xfrm rot="16200000" flipH="1">
                  <a:off x="3780671" y="5738160"/>
                  <a:ext cx="178079" cy="39327"/>
                </a:xfrm>
                <a:prstGeom prst="bentConnector2">
                  <a:avLst/>
                </a:prstGeom>
                <a:noFill/>
                <a:ln w="6350" cap="flat" cmpd="sng" algn="ctr">
                  <a:solidFill>
                    <a:srgbClr val="FFFFFF">
                      <a:lumMod val="65000"/>
                    </a:srgbClr>
                  </a:solidFill>
                  <a:prstDash val="solid"/>
                  <a:headEnd type="none"/>
                  <a:tailEnd type="none"/>
                </a:ln>
                <a:effectLst/>
              </p:spPr>
            </p:cxnSp>
          </p:grpSp>
          <p:grpSp>
            <p:nvGrpSpPr>
              <p:cNvPr id="653" name="Group 652"/>
              <p:cNvGrpSpPr/>
              <p:nvPr/>
            </p:nvGrpSpPr>
            <p:grpSpPr>
              <a:xfrm>
                <a:off x="6680172" y="7602108"/>
                <a:ext cx="594360" cy="228600"/>
                <a:chOff x="2889814" y="5322600"/>
                <a:chExt cx="594360" cy="228600"/>
              </a:xfrm>
            </p:grpSpPr>
            <p:sp>
              <p:nvSpPr>
                <p:cNvPr id="657" name="Rectangle 58"/>
                <p:cNvSpPr/>
                <p:nvPr/>
              </p:nvSpPr>
              <p:spPr>
                <a:xfrm>
                  <a:off x="2889814" y="5322600"/>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58" name="Freeform 127"/>
                <p:cNvSpPr>
                  <a:spLocks noChangeAspect="1" noEditPoints="1"/>
                </p:cNvSpPr>
                <p:nvPr/>
              </p:nvSpPr>
              <p:spPr bwMode="auto">
                <a:xfrm>
                  <a:off x="3260404" y="5368768"/>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654" name="Group 653"/>
              <p:cNvGrpSpPr/>
              <p:nvPr/>
            </p:nvGrpSpPr>
            <p:grpSpPr>
              <a:xfrm>
                <a:off x="7306833" y="7602108"/>
                <a:ext cx="594360" cy="228600"/>
                <a:chOff x="3515681" y="5322600"/>
                <a:chExt cx="594360" cy="228600"/>
              </a:xfrm>
            </p:grpSpPr>
            <p:sp>
              <p:nvSpPr>
                <p:cNvPr id="655" name="Rectangle 58"/>
                <p:cNvSpPr/>
                <p:nvPr/>
              </p:nvSpPr>
              <p:spPr>
                <a:xfrm>
                  <a:off x="3515681" y="5322600"/>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56" name="Freeform 127"/>
                <p:cNvSpPr>
                  <a:spLocks noChangeAspect="1" noEditPoints="1"/>
                </p:cNvSpPr>
                <p:nvPr/>
              </p:nvSpPr>
              <p:spPr bwMode="auto">
                <a:xfrm>
                  <a:off x="3886271" y="5368768"/>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dirty="0">
                    <a:solidFill>
                      <a:srgbClr val="505050"/>
                    </a:solidFill>
                    <a:latin typeface="Segoe UI"/>
                    <a:cs typeface="Segoe UI" pitchFamily="34" charset="0"/>
                  </a:endParaRPr>
                </a:p>
              </p:txBody>
            </p:sp>
          </p:grpSp>
        </p:grpSp>
        <p:grpSp>
          <p:nvGrpSpPr>
            <p:cNvPr id="644" name="Group 643"/>
            <p:cNvGrpSpPr/>
            <p:nvPr/>
          </p:nvGrpSpPr>
          <p:grpSpPr>
            <a:xfrm>
              <a:off x="7746669" y="5984946"/>
              <a:ext cx="509628" cy="280012"/>
              <a:chOff x="3872171" y="5984946"/>
              <a:chExt cx="509628" cy="280012"/>
            </a:xfrm>
          </p:grpSpPr>
          <p:sp>
            <p:nvSpPr>
              <p:cNvPr id="645" name="Freeform 644"/>
              <p:cNvSpPr/>
              <p:nvPr/>
            </p:nvSpPr>
            <p:spPr bwMode="auto">
              <a:xfrm>
                <a:off x="3872171" y="6159765"/>
                <a:ext cx="509628" cy="105193"/>
              </a:xfrm>
              <a:custGeom>
                <a:avLst/>
                <a:gdLst>
                  <a:gd name="connsiteX0" fmla="*/ 443700 w 509628"/>
                  <a:gd name="connsiteY0" fmla="*/ 27715 h 105193"/>
                  <a:gd name="connsiteX1" fmla="*/ 443700 w 509628"/>
                  <a:gd name="connsiteY1" fmla="*/ 78669 h 105193"/>
                  <a:gd name="connsiteX2" fmla="*/ 478050 w 509628"/>
                  <a:gd name="connsiteY2" fmla="*/ 78669 h 105193"/>
                  <a:gd name="connsiteX3" fmla="*/ 478050 w 509628"/>
                  <a:gd name="connsiteY3" fmla="*/ 27715 h 105193"/>
                  <a:gd name="connsiteX4" fmla="*/ 384826 w 509628"/>
                  <a:gd name="connsiteY4" fmla="*/ 27715 h 105193"/>
                  <a:gd name="connsiteX5" fmla="*/ 384826 w 509628"/>
                  <a:gd name="connsiteY5" fmla="*/ 78669 h 105193"/>
                  <a:gd name="connsiteX6" fmla="*/ 419176 w 509628"/>
                  <a:gd name="connsiteY6" fmla="*/ 78669 h 105193"/>
                  <a:gd name="connsiteX7" fmla="*/ 419176 w 509628"/>
                  <a:gd name="connsiteY7" fmla="*/ 27715 h 105193"/>
                  <a:gd name="connsiteX8" fmla="*/ 325951 w 509628"/>
                  <a:gd name="connsiteY8" fmla="*/ 27715 h 105193"/>
                  <a:gd name="connsiteX9" fmla="*/ 325951 w 509628"/>
                  <a:gd name="connsiteY9" fmla="*/ 78669 h 105193"/>
                  <a:gd name="connsiteX10" fmla="*/ 360301 w 509628"/>
                  <a:gd name="connsiteY10" fmla="*/ 78669 h 105193"/>
                  <a:gd name="connsiteX11" fmla="*/ 360301 w 509628"/>
                  <a:gd name="connsiteY11" fmla="*/ 27715 h 105193"/>
                  <a:gd name="connsiteX12" fmla="*/ 267076 w 509628"/>
                  <a:gd name="connsiteY12" fmla="*/ 27715 h 105193"/>
                  <a:gd name="connsiteX13" fmla="*/ 267076 w 509628"/>
                  <a:gd name="connsiteY13" fmla="*/ 78669 h 105193"/>
                  <a:gd name="connsiteX14" fmla="*/ 301426 w 509628"/>
                  <a:gd name="connsiteY14" fmla="*/ 78669 h 105193"/>
                  <a:gd name="connsiteX15" fmla="*/ 301426 w 509628"/>
                  <a:gd name="connsiteY15" fmla="*/ 27715 h 105193"/>
                  <a:gd name="connsiteX16" fmla="*/ 208201 w 509628"/>
                  <a:gd name="connsiteY16" fmla="*/ 27715 h 105193"/>
                  <a:gd name="connsiteX17" fmla="*/ 208201 w 509628"/>
                  <a:gd name="connsiteY17" fmla="*/ 78669 h 105193"/>
                  <a:gd name="connsiteX18" fmla="*/ 242551 w 509628"/>
                  <a:gd name="connsiteY18" fmla="*/ 78669 h 105193"/>
                  <a:gd name="connsiteX19" fmla="*/ 242551 w 509628"/>
                  <a:gd name="connsiteY19" fmla="*/ 27715 h 105193"/>
                  <a:gd name="connsiteX20" fmla="*/ 149326 w 509628"/>
                  <a:gd name="connsiteY20" fmla="*/ 27715 h 105193"/>
                  <a:gd name="connsiteX21" fmla="*/ 149326 w 509628"/>
                  <a:gd name="connsiteY21" fmla="*/ 78669 h 105193"/>
                  <a:gd name="connsiteX22" fmla="*/ 183676 w 509628"/>
                  <a:gd name="connsiteY22" fmla="*/ 78669 h 105193"/>
                  <a:gd name="connsiteX23" fmla="*/ 183676 w 509628"/>
                  <a:gd name="connsiteY23" fmla="*/ 27715 h 105193"/>
                  <a:gd name="connsiteX24" fmla="*/ 90451 w 509628"/>
                  <a:gd name="connsiteY24" fmla="*/ 27715 h 105193"/>
                  <a:gd name="connsiteX25" fmla="*/ 90451 w 509628"/>
                  <a:gd name="connsiteY25" fmla="*/ 78669 h 105193"/>
                  <a:gd name="connsiteX26" fmla="*/ 124801 w 509628"/>
                  <a:gd name="connsiteY26" fmla="*/ 78669 h 105193"/>
                  <a:gd name="connsiteX27" fmla="*/ 124801 w 509628"/>
                  <a:gd name="connsiteY27" fmla="*/ 27715 h 105193"/>
                  <a:gd name="connsiteX28" fmla="*/ 31576 w 509628"/>
                  <a:gd name="connsiteY28" fmla="*/ 27715 h 105193"/>
                  <a:gd name="connsiteX29" fmla="*/ 31576 w 509628"/>
                  <a:gd name="connsiteY29" fmla="*/ 78669 h 105193"/>
                  <a:gd name="connsiteX30" fmla="*/ 65926 w 509628"/>
                  <a:gd name="connsiteY30" fmla="*/ 78669 h 105193"/>
                  <a:gd name="connsiteX31" fmla="*/ 65926 w 509628"/>
                  <a:gd name="connsiteY31" fmla="*/ 27715 h 105193"/>
                  <a:gd name="connsiteX32" fmla="*/ 0 w 509628"/>
                  <a:gd name="connsiteY32" fmla="*/ 0 h 105193"/>
                  <a:gd name="connsiteX33" fmla="*/ 509628 w 509628"/>
                  <a:gd name="connsiteY33" fmla="*/ 0 h 105193"/>
                  <a:gd name="connsiteX34" fmla="*/ 509628 w 509628"/>
                  <a:gd name="connsiteY34" fmla="*/ 105193 h 105193"/>
                  <a:gd name="connsiteX35" fmla="*/ 0 w 509628"/>
                  <a:gd name="connsiteY35" fmla="*/ 105193 h 10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628" h="105193">
                    <a:moveTo>
                      <a:pt x="443700" y="27715"/>
                    </a:moveTo>
                    <a:lnTo>
                      <a:pt x="443700" y="78669"/>
                    </a:lnTo>
                    <a:lnTo>
                      <a:pt x="478050" y="78669"/>
                    </a:lnTo>
                    <a:lnTo>
                      <a:pt x="478050" y="27715"/>
                    </a:lnTo>
                    <a:close/>
                    <a:moveTo>
                      <a:pt x="384826" y="27715"/>
                    </a:moveTo>
                    <a:lnTo>
                      <a:pt x="384826" y="78669"/>
                    </a:lnTo>
                    <a:lnTo>
                      <a:pt x="419176" y="78669"/>
                    </a:lnTo>
                    <a:lnTo>
                      <a:pt x="419176" y="27715"/>
                    </a:lnTo>
                    <a:close/>
                    <a:moveTo>
                      <a:pt x="325951" y="27715"/>
                    </a:moveTo>
                    <a:lnTo>
                      <a:pt x="325951" y="78669"/>
                    </a:lnTo>
                    <a:lnTo>
                      <a:pt x="360301" y="78669"/>
                    </a:lnTo>
                    <a:lnTo>
                      <a:pt x="360301" y="27715"/>
                    </a:lnTo>
                    <a:close/>
                    <a:moveTo>
                      <a:pt x="267076" y="27715"/>
                    </a:moveTo>
                    <a:lnTo>
                      <a:pt x="267076" y="78669"/>
                    </a:lnTo>
                    <a:lnTo>
                      <a:pt x="301426" y="78669"/>
                    </a:lnTo>
                    <a:lnTo>
                      <a:pt x="301426" y="27715"/>
                    </a:lnTo>
                    <a:close/>
                    <a:moveTo>
                      <a:pt x="208201" y="27715"/>
                    </a:moveTo>
                    <a:lnTo>
                      <a:pt x="208201" y="78669"/>
                    </a:lnTo>
                    <a:lnTo>
                      <a:pt x="242551" y="78669"/>
                    </a:lnTo>
                    <a:lnTo>
                      <a:pt x="242551" y="27715"/>
                    </a:lnTo>
                    <a:close/>
                    <a:moveTo>
                      <a:pt x="149326" y="27715"/>
                    </a:moveTo>
                    <a:lnTo>
                      <a:pt x="149326" y="78669"/>
                    </a:lnTo>
                    <a:lnTo>
                      <a:pt x="183676" y="78669"/>
                    </a:lnTo>
                    <a:lnTo>
                      <a:pt x="183676" y="27715"/>
                    </a:lnTo>
                    <a:close/>
                    <a:moveTo>
                      <a:pt x="90451" y="27715"/>
                    </a:moveTo>
                    <a:lnTo>
                      <a:pt x="90451" y="78669"/>
                    </a:lnTo>
                    <a:lnTo>
                      <a:pt x="124801" y="78669"/>
                    </a:lnTo>
                    <a:lnTo>
                      <a:pt x="124801" y="27715"/>
                    </a:lnTo>
                    <a:close/>
                    <a:moveTo>
                      <a:pt x="31576" y="27715"/>
                    </a:moveTo>
                    <a:lnTo>
                      <a:pt x="31576" y="78669"/>
                    </a:lnTo>
                    <a:lnTo>
                      <a:pt x="65926" y="78669"/>
                    </a:lnTo>
                    <a:lnTo>
                      <a:pt x="65926" y="27715"/>
                    </a:lnTo>
                    <a:close/>
                    <a:moveTo>
                      <a:pt x="0" y="0"/>
                    </a:moveTo>
                    <a:lnTo>
                      <a:pt x="509628" y="0"/>
                    </a:lnTo>
                    <a:lnTo>
                      <a:pt x="509628" y="105193"/>
                    </a:lnTo>
                    <a:lnTo>
                      <a:pt x="0" y="105193"/>
                    </a:lnTo>
                    <a:close/>
                  </a:path>
                </a:pathLst>
              </a:custGeom>
              <a:solidFill>
                <a:srgbClr val="282828"/>
              </a:solidFill>
              <a:ln>
                <a:noFill/>
              </a:ln>
            </p:spPr>
            <p:txBody>
              <a:bodyPr vert="horz" wrap="square" lIns="89642" tIns="44821" rIns="89642" bIns="44821" numCol="1" anchor="t" anchorCtr="0" compatLnSpc="1">
                <a:prstTxWarp prst="textNoShape">
                  <a:avLst/>
                </a:prstTxWarp>
                <a:noAutofit/>
              </a:bodyPr>
              <a:lstStyle/>
              <a:p>
                <a:pPr defTabSz="913965">
                  <a:defRPr/>
                </a:pPr>
                <a:endParaRPr lang="en-US" sz="1765" kern="0" dirty="0">
                  <a:solidFill>
                    <a:srgbClr val="505050"/>
                  </a:solidFill>
                  <a:latin typeface="Segoe UI"/>
                </a:endParaRPr>
              </a:p>
            </p:txBody>
          </p:sp>
          <p:cxnSp>
            <p:nvCxnSpPr>
              <p:cNvPr id="646" name="Straight Connector 645"/>
              <p:cNvCxnSpPr/>
              <p:nvPr/>
            </p:nvCxnSpPr>
            <p:spPr>
              <a:xfrm>
                <a:off x="4123414" y="5984946"/>
                <a:ext cx="0" cy="182880"/>
              </a:xfrm>
              <a:prstGeom prst="line">
                <a:avLst/>
              </a:prstGeom>
              <a:noFill/>
              <a:ln w="6350" cap="flat" cmpd="sng" algn="ctr">
                <a:solidFill>
                  <a:srgbClr val="282828"/>
                </a:solidFill>
                <a:prstDash val="solid"/>
                <a:headEnd type="none"/>
                <a:tailEnd type="none"/>
              </a:ln>
              <a:effectLst/>
            </p:spPr>
          </p:cxnSp>
        </p:grpSp>
      </p:grpSp>
      <p:sp>
        <p:nvSpPr>
          <p:cNvPr id="662" name="network 2"/>
          <p:cNvSpPr/>
          <p:nvPr/>
        </p:nvSpPr>
        <p:spPr bwMode="auto">
          <a:xfrm>
            <a:off x="4000465"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3" name="network 3"/>
          <p:cNvSpPr/>
          <p:nvPr/>
        </p:nvSpPr>
        <p:spPr bwMode="auto">
          <a:xfrm>
            <a:off x="4000465"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4" name="network 4"/>
          <p:cNvSpPr/>
          <p:nvPr/>
        </p:nvSpPr>
        <p:spPr bwMode="auto">
          <a:xfrm>
            <a:off x="4000465"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5" name="network 5"/>
          <p:cNvSpPr/>
          <p:nvPr/>
        </p:nvSpPr>
        <p:spPr bwMode="auto">
          <a:xfrm>
            <a:off x="7801909"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6" name="network 6"/>
          <p:cNvSpPr/>
          <p:nvPr/>
        </p:nvSpPr>
        <p:spPr bwMode="auto">
          <a:xfrm>
            <a:off x="7801909"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7" name="Freeform 9"/>
          <p:cNvSpPr>
            <a:spLocks/>
          </p:cNvSpPr>
          <p:nvPr/>
        </p:nvSpPr>
        <p:spPr bwMode="auto">
          <a:xfrm>
            <a:off x="6343235" y="1749738"/>
            <a:ext cx="85596" cy="129173"/>
          </a:xfrm>
          <a:custGeom>
            <a:avLst/>
            <a:gdLst>
              <a:gd name="T0" fmla="*/ 0 w 55"/>
              <a:gd name="T1" fmla="*/ 0 h 83"/>
              <a:gd name="T2" fmla="*/ 55 w 55"/>
              <a:gd name="T3" fmla="*/ 0 h 83"/>
              <a:gd name="T4" fmla="*/ 55 w 55"/>
              <a:gd name="T5" fmla="*/ 83 h 83"/>
              <a:gd name="T6" fmla="*/ 0 w 55"/>
              <a:gd name="T7" fmla="*/ 83 h 83"/>
              <a:gd name="T8" fmla="*/ 0 w 55"/>
              <a:gd name="T9" fmla="*/ 0 h 83"/>
              <a:gd name="T10" fmla="*/ 0 w 55"/>
              <a:gd name="T11" fmla="*/ 0 h 83"/>
              <a:gd name="T12" fmla="*/ 0 w 5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5" h="83">
                <a:moveTo>
                  <a:pt x="0" y="0"/>
                </a:moveTo>
                <a:lnTo>
                  <a:pt x="55" y="0"/>
                </a:lnTo>
                <a:lnTo>
                  <a:pt x="55" y="83"/>
                </a:lnTo>
                <a:lnTo>
                  <a:pt x="0" y="83"/>
                </a:lnTo>
                <a:lnTo>
                  <a:pt x="0" y="0"/>
                </a:lnTo>
                <a:lnTo>
                  <a:pt x="0" y="0"/>
                </a:lnTo>
                <a:lnTo>
                  <a:pt x="0" y="0"/>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68" name="Freeform 10"/>
          <p:cNvSpPr>
            <a:spLocks/>
          </p:cNvSpPr>
          <p:nvPr/>
        </p:nvSpPr>
        <p:spPr bwMode="auto">
          <a:xfrm>
            <a:off x="6459957" y="1589429"/>
            <a:ext cx="82483" cy="289471"/>
          </a:xfrm>
          <a:custGeom>
            <a:avLst/>
            <a:gdLst>
              <a:gd name="T0" fmla="*/ 0 w 53"/>
              <a:gd name="T1" fmla="*/ 186 h 186"/>
              <a:gd name="T2" fmla="*/ 53 w 53"/>
              <a:gd name="T3" fmla="*/ 186 h 186"/>
              <a:gd name="T4" fmla="*/ 53 w 53"/>
              <a:gd name="T5" fmla="*/ 0 h 186"/>
              <a:gd name="T6" fmla="*/ 0 w 53"/>
              <a:gd name="T7" fmla="*/ 0 h 186"/>
              <a:gd name="T8" fmla="*/ 0 w 53"/>
              <a:gd name="T9" fmla="*/ 186 h 186"/>
              <a:gd name="T10" fmla="*/ 0 w 53"/>
              <a:gd name="T11" fmla="*/ 186 h 186"/>
              <a:gd name="T12" fmla="*/ 0 w 53"/>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53" h="186">
                <a:moveTo>
                  <a:pt x="0" y="186"/>
                </a:moveTo>
                <a:lnTo>
                  <a:pt x="53" y="186"/>
                </a:lnTo>
                <a:lnTo>
                  <a:pt x="53" y="0"/>
                </a:lnTo>
                <a:lnTo>
                  <a:pt x="0" y="0"/>
                </a:lnTo>
                <a:lnTo>
                  <a:pt x="0" y="186"/>
                </a:lnTo>
                <a:lnTo>
                  <a:pt x="0" y="186"/>
                </a:lnTo>
                <a:lnTo>
                  <a:pt x="0" y="186"/>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69" name="Freeform 11"/>
          <p:cNvSpPr>
            <a:spLocks/>
          </p:cNvSpPr>
          <p:nvPr/>
        </p:nvSpPr>
        <p:spPr bwMode="auto">
          <a:xfrm>
            <a:off x="6572011" y="1642343"/>
            <a:ext cx="82483" cy="236557"/>
          </a:xfrm>
          <a:custGeom>
            <a:avLst/>
            <a:gdLst>
              <a:gd name="T0" fmla="*/ 0 w 53"/>
              <a:gd name="T1" fmla="*/ 152 h 152"/>
              <a:gd name="T2" fmla="*/ 53 w 53"/>
              <a:gd name="T3" fmla="*/ 152 h 152"/>
              <a:gd name="T4" fmla="*/ 53 w 53"/>
              <a:gd name="T5" fmla="*/ 0 h 152"/>
              <a:gd name="T6" fmla="*/ 0 w 53"/>
              <a:gd name="T7" fmla="*/ 0 h 152"/>
              <a:gd name="T8" fmla="*/ 0 w 53"/>
              <a:gd name="T9" fmla="*/ 152 h 152"/>
              <a:gd name="T10" fmla="*/ 0 w 53"/>
              <a:gd name="T11" fmla="*/ 152 h 152"/>
              <a:gd name="T12" fmla="*/ 0 w 53"/>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53" h="152">
                <a:moveTo>
                  <a:pt x="0" y="152"/>
                </a:moveTo>
                <a:lnTo>
                  <a:pt x="53" y="152"/>
                </a:lnTo>
                <a:lnTo>
                  <a:pt x="53" y="0"/>
                </a:lnTo>
                <a:lnTo>
                  <a:pt x="0" y="0"/>
                </a:lnTo>
                <a:lnTo>
                  <a:pt x="0" y="152"/>
                </a:lnTo>
                <a:lnTo>
                  <a:pt x="0" y="152"/>
                </a:lnTo>
                <a:lnTo>
                  <a:pt x="0" y="152"/>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0" name="Freeform 12"/>
          <p:cNvSpPr>
            <a:spLocks/>
          </p:cNvSpPr>
          <p:nvPr/>
        </p:nvSpPr>
        <p:spPr bwMode="auto">
          <a:xfrm>
            <a:off x="6680960" y="1799540"/>
            <a:ext cx="85596" cy="79371"/>
          </a:xfrm>
          <a:custGeom>
            <a:avLst/>
            <a:gdLst>
              <a:gd name="T0" fmla="*/ 0 w 55"/>
              <a:gd name="T1" fmla="*/ 51 h 51"/>
              <a:gd name="T2" fmla="*/ 55 w 55"/>
              <a:gd name="T3" fmla="*/ 51 h 51"/>
              <a:gd name="T4" fmla="*/ 55 w 55"/>
              <a:gd name="T5" fmla="*/ 0 h 51"/>
              <a:gd name="T6" fmla="*/ 0 w 55"/>
              <a:gd name="T7" fmla="*/ 0 h 51"/>
              <a:gd name="T8" fmla="*/ 0 w 55"/>
              <a:gd name="T9" fmla="*/ 51 h 51"/>
              <a:gd name="T10" fmla="*/ 0 w 55"/>
              <a:gd name="T11" fmla="*/ 51 h 51"/>
              <a:gd name="T12" fmla="*/ 0 w 5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5" h="51">
                <a:moveTo>
                  <a:pt x="0" y="51"/>
                </a:moveTo>
                <a:lnTo>
                  <a:pt x="55" y="51"/>
                </a:lnTo>
                <a:lnTo>
                  <a:pt x="55" y="0"/>
                </a:lnTo>
                <a:lnTo>
                  <a:pt x="0" y="0"/>
                </a:lnTo>
                <a:lnTo>
                  <a:pt x="0" y="51"/>
                </a:lnTo>
                <a:lnTo>
                  <a:pt x="0" y="51"/>
                </a:lnTo>
                <a:lnTo>
                  <a:pt x="0" y="51"/>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1" name="Freeform 13"/>
          <p:cNvSpPr>
            <a:spLocks/>
          </p:cNvSpPr>
          <p:nvPr/>
        </p:nvSpPr>
        <p:spPr bwMode="auto">
          <a:xfrm>
            <a:off x="6797674" y="1539638"/>
            <a:ext cx="82483" cy="339272"/>
          </a:xfrm>
          <a:custGeom>
            <a:avLst/>
            <a:gdLst>
              <a:gd name="T0" fmla="*/ 0 w 53"/>
              <a:gd name="T1" fmla="*/ 218 h 218"/>
              <a:gd name="T2" fmla="*/ 53 w 53"/>
              <a:gd name="T3" fmla="*/ 218 h 218"/>
              <a:gd name="T4" fmla="*/ 53 w 53"/>
              <a:gd name="T5" fmla="*/ 0 h 218"/>
              <a:gd name="T6" fmla="*/ 0 w 53"/>
              <a:gd name="T7" fmla="*/ 0 h 218"/>
              <a:gd name="T8" fmla="*/ 0 w 53"/>
              <a:gd name="T9" fmla="*/ 218 h 218"/>
              <a:gd name="T10" fmla="*/ 0 w 53"/>
              <a:gd name="T11" fmla="*/ 218 h 218"/>
              <a:gd name="T12" fmla="*/ 0 w 53"/>
              <a:gd name="T13" fmla="*/ 218 h 218"/>
            </a:gdLst>
            <a:ahLst/>
            <a:cxnLst>
              <a:cxn ang="0">
                <a:pos x="T0" y="T1"/>
              </a:cxn>
              <a:cxn ang="0">
                <a:pos x="T2" y="T3"/>
              </a:cxn>
              <a:cxn ang="0">
                <a:pos x="T4" y="T5"/>
              </a:cxn>
              <a:cxn ang="0">
                <a:pos x="T6" y="T7"/>
              </a:cxn>
              <a:cxn ang="0">
                <a:pos x="T8" y="T9"/>
              </a:cxn>
              <a:cxn ang="0">
                <a:pos x="T10" y="T11"/>
              </a:cxn>
              <a:cxn ang="0">
                <a:pos x="T12" y="T13"/>
              </a:cxn>
            </a:cxnLst>
            <a:rect l="0" t="0" r="r" b="b"/>
            <a:pathLst>
              <a:path w="53" h="218">
                <a:moveTo>
                  <a:pt x="0" y="218"/>
                </a:moveTo>
                <a:lnTo>
                  <a:pt x="53" y="218"/>
                </a:lnTo>
                <a:lnTo>
                  <a:pt x="53" y="0"/>
                </a:lnTo>
                <a:lnTo>
                  <a:pt x="0" y="0"/>
                </a:lnTo>
                <a:lnTo>
                  <a:pt x="0" y="218"/>
                </a:lnTo>
                <a:lnTo>
                  <a:pt x="0" y="218"/>
                </a:lnTo>
                <a:lnTo>
                  <a:pt x="0" y="218"/>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672" name="Group 671"/>
          <p:cNvGrpSpPr/>
          <p:nvPr/>
        </p:nvGrpSpPr>
        <p:grpSpPr>
          <a:xfrm>
            <a:off x="7053916" y="1579288"/>
            <a:ext cx="295820" cy="286856"/>
            <a:chOff x="6341768" y="1610449"/>
            <a:chExt cx="301752" cy="292608"/>
          </a:xfrm>
          <a:solidFill>
            <a:srgbClr val="FFFFFF"/>
          </a:solidFill>
        </p:grpSpPr>
        <p:sp>
          <p:nvSpPr>
            <p:cNvPr id="673" name="Freeform 17"/>
            <p:cNvSpPr>
              <a:spLocks/>
            </p:cNvSpPr>
            <p:nvPr/>
          </p:nvSpPr>
          <p:spPr bwMode="auto">
            <a:xfrm>
              <a:off x="6341768" y="1636229"/>
              <a:ext cx="270265" cy="266828"/>
            </a:xfrm>
            <a:custGeom>
              <a:avLst/>
              <a:gdLst>
                <a:gd name="T0" fmla="*/ 42 w 85"/>
                <a:gd name="T1" fmla="*/ 42 h 85"/>
                <a:gd name="T2" fmla="*/ 85 w 85"/>
                <a:gd name="T3" fmla="*/ 42 h 85"/>
                <a:gd name="T4" fmla="*/ 42 w 85"/>
                <a:gd name="T5" fmla="*/ 85 h 85"/>
                <a:gd name="T6" fmla="*/ 0 w 85"/>
                <a:gd name="T7" fmla="*/ 42 h 85"/>
                <a:gd name="T8" fmla="*/ 42 w 85"/>
                <a:gd name="T9" fmla="*/ 0 h 85"/>
                <a:gd name="T10" fmla="*/ 42 w 85"/>
                <a:gd name="T11" fmla="*/ 42 h 85"/>
                <a:gd name="T12" fmla="*/ 42 w 85"/>
                <a:gd name="T13" fmla="*/ 42 h 85"/>
              </a:gdLst>
              <a:ahLst/>
              <a:cxnLst>
                <a:cxn ang="0">
                  <a:pos x="T0" y="T1"/>
                </a:cxn>
                <a:cxn ang="0">
                  <a:pos x="T2" y="T3"/>
                </a:cxn>
                <a:cxn ang="0">
                  <a:pos x="T4" y="T5"/>
                </a:cxn>
                <a:cxn ang="0">
                  <a:pos x="T6" y="T7"/>
                </a:cxn>
                <a:cxn ang="0">
                  <a:pos x="T8" y="T9"/>
                </a:cxn>
                <a:cxn ang="0">
                  <a:pos x="T10" y="T11"/>
                </a:cxn>
                <a:cxn ang="0">
                  <a:pos x="T12" y="T13"/>
                </a:cxn>
              </a:cxnLst>
              <a:rect l="0" t="0" r="r" b="b"/>
              <a:pathLst>
                <a:path w="85" h="85">
                  <a:moveTo>
                    <a:pt x="42" y="42"/>
                  </a:moveTo>
                  <a:cubicBezTo>
                    <a:pt x="85" y="42"/>
                    <a:pt x="85" y="42"/>
                    <a:pt x="85" y="42"/>
                  </a:cubicBezTo>
                  <a:cubicBezTo>
                    <a:pt x="85" y="66"/>
                    <a:pt x="66" y="85"/>
                    <a:pt x="42" y="85"/>
                  </a:cubicBezTo>
                  <a:cubicBezTo>
                    <a:pt x="20" y="85"/>
                    <a:pt x="0" y="66"/>
                    <a:pt x="0" y="42"/>
                  </a:cubicBezTo>
                  <a:cubicBezTo>
                    <a:pt x="0" y="19"/>
                    <a:pt x="20" y="0"/>
                    <a:pt x="42" y="0"/>
                  </a:cubicBezTo>
                  <a:cubicBezTo>
                    <a:pt x="42" y="42"/>
                    <a:pt x="42" y="42"/>
                    <a:pt x="42" y="42"/>
                  </a:cubicBezTo>
                  <a:cubicBezTo>
                    <a:pt x="42" y="42"/>
                    <a:pt x="42" y="42"/>
                    <a:pt x="4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4" name="Freeform 18"/>
            <p:cNvSpPr>
              <a:spLocks/>
            </p:cNvSpPr>
            <p:nvPr/>
          </p:nvSpPr>
          <p:spPr bwMode="auto">
            <a:xfrm>
              <a:off x="6507076" y="1610449"/>
              <a:ext cx="136444" cy="135348"/>
            </a:xfrm>
            <a:custGeom>
              <a:avLst/>
              <a:gdLst>
                <a:gd name="T0" fmla="*/ 0 w 43"/>
                <a:gd name="T1" fmla="*/ 43 h 43"/>
                <a:gd name="T2" fmla="*/ 43 w 43"/>
                <a:gd name="T3" fmla="*/ 43 h 43"/>
                <a:gd name="T4" fmla="*/ 0 w 43"/>
                <a:gd name="T5" fmla="*/ 0 h 43"/>
                <a:gd name="T6" fmla="*/ 0 w 43"/>
                <a:gd name="T7" fmla="*/ 43 h 43"/>
                <a:gd name="T8" fmla="*/ 0 w 43"/>
                <a:gd name="T9" fmla="*/ 43 h 43"/>
              </a:gdLst>
              <a:ahLst/>
              <a:cxnLst>
                <a:cxn ang="0">
                  <a:pos x="T0" y="T1"/>
                </a:cxn>
                <a:cxn ang="0">
                  <a:pos x="T2" y="T3"/>
                </a:cxn>
                <a:cxn ang="0">
                  <a:pos x="T4" y="T5"/>
                </a:cxn>
                <a:cxn ang="0">
                  <a:pos x="T6" y="T7"/>
                </a:cxn>
                <a:cxn ang="0">
                  <a:pos x="T8" y="T9"/>
                </a:cxn>
              </a:cxnLst>
              <a:rect l="0" t="0" r="r" b="b"/>
              <a:pathLst>
                <a:path w="43" h="43">
                  <a:moveTo>
                    <a:pt x="0" y="43"/>
                  </a:moveTo>
                  <a:cubicBezTo>
                    <a:pt x="43" y="43"/>
                    <a:pt x="43" y="43"/>
                    <a:pt x="43" y="43"/>
                  </a:cubicBezTo>
                  <a:cubicBezTo>
                    <a:pt x="43" y="20"/>
                    <a:pt x="24" y="0"/>
                    <a:pt x="0" y="0"/>
                  </a:cubicBezTo>
                  <a:cubicBezTo>
                    <a:pt x="0" y="43"/>
                    <a:pt x="0" y="43"/>
                    <a:pt x="0" y="43"/>
                  </a:cubicBezTo>
                  <a:cubicBezTo>
                    <a:pt x="0" y="43"/>
                    <a:pt x="0" y="43"/>
                    <a:pt x="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grpSp>
      <p:sp>
        <p:nvSpPr>
          <p:cNvPr id="675" name="Freeform 22"/>
          <p:cNvSpPr>
            <a:spLocks/>
          </p:cNvSpPr>
          <p:nvPr/>
        </p:nvSpPr>
        <p:spPr bwMode="auto">
          <a:xfrm>
            <a:off x="7679845" y="1804231"/>
            <a:ext cx="233444" cy="43576"/>
          </a:xfrm>
          <a:custGeom>
            <a:avLst/>
            <a:gdLst>
              <a:gd name="T0" fmla="*/ 76 w 76"/>
              <a:gd name="T1" fmla="*/ 14 h 14"/>
              <a:gd name="T2" fmla="*/ 0 w 76"/>
              <a:gd name="T3" fmla="*/ 14 h 14"/>
              <a:gd name="T4" fmla="*/ 0 w 76"/>
              <a:gd name="T5" fmla="*/ 0 h 14"/>
              <a:gd name="T6" fmla="*/ 76 w 76"/>
              <a:gd name="T7" fmla="*/ 0 h 14"/>
              <a:gd name="T8" fmla="*/ 76 w 76"/>
              <a:gd name="T9" fmla="*/ 14 h 14"/>
              <a:gd name="T10" fmla="*/ 76 w 76"/>
              <a:gd name="T11" fmla="*/ 14 h 14"/>
            </a:gdLst>
            <a:ahLst/>
            <a:cxnLst>
              <a:cxn ang="0">
                <a:pos x="T0" y="T1"/>
              </a:cxn>
              <a:cxn ang="0">
                <a:pos x="T2" y="T3"/>
              </a:cxn>
              <a:cxn ang="0">
                <a:pos x="T4" y="T5"/>
              </a:cxn>
              <a:cxn ang="0">
                <a:pos x="T6" y="T7"/>
              </a:cxn>
              <a:cxn ang="0">
                <a:pos x="T8" y="T9"/>
              </a:cxn>
              <a:cxn ang="0">
                <a:pos x="T10" y="T11"/>
              </a:cxn>
            </a:cxnLst>
            <a:rect l="0" t="0" r="r" b="b"/>
            <a:pathLst>
              <a:path w="76" h="14">
                <a:moveTo>
                  <a:pt x="76" y="14"/>
                </a:moveTo>
                <a:cubicBezTo>
                  <a:pt x="0" y="14"/>
                  <a:pt x="0" y="14"/>
                  <a:pt x="0" y="14"/>
                </a:cubicBezTo>
                <a:cubicBezTo>
                  <a:pt x="0" y="0"/>
                  <a:pt x="0" y="0"/>
                  <a:pt x="0" y="0"/>
                </a:cubicBezTo>
                <a:cubicBezTo>
                  <a:pt x="76" y="0"/>
                  <a:pt x="76" y="0"/>
                  <a:pt x="76" y="0"/>
                </a:cubicBezTo>
                <a:cubicBezTo>
                  <a:pt x="76" y="14"/>
                  <a:pt x="76" y="14"/>
                  <a:pt x="76" y="14"/>
                </a:cubicBezTo>
                <a:cubicBezTo>
                  <a:pt x="76" y="14"/>
                  <a:pt x="76" y="14"/>
                  <a:pt x="76" y="14"/>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6" name="Freeform 23"/>
          <p:cNvSpPr>
            <a:spLocks/>
          </p:cNvSpPr>
          <p:nvPr/>
        </p:nvSpPr>
        <p:spPr bwMode="auto">
          <a:xfrm>
            <a:off x="7679835" y="1623701"/>
            <a:ext cx="266127" cy="43576"/>
          </a:xfrm>
          <a:custGeom>
            <a:avLst/>
            <a:gdLst>
              <a:gd name="T0" fmla="*/ 87 w 87"/>
              <a:gd name="T1" fmla="*/ 0 h 14"/>
              <a:gd name="T2" fmla="*/ 0 w 87"/>
              <a:gd name="T3" fmla="*/ 0 h 14"/>
              <a:gd name="T4" fmla="*/ 0 w 87"/>
              <a:gd name="T5" fmla="*/ 14 h 14"/>
              <a:gd name="T6" fmla="*/ 87 w 87"/>
              <a:gd name="T7" fmla="*/ 14 h 14"/>
              <a:gd name="T8" fmla="*/ 87 w 87"/>
              <a:gd name="T9" fmla="*/ 0 h 14"/>
              <a:gd name="T10" fmla="*/ 87 w 87"/>
              <a:gd name="T11" fmla="*/ 0 h 14"/>
            </a:gdLst>
            <a:ahLst/>
            <a:cxnLst>
              <a:cxn ang="0">
                <a:pos x="T0" y="T1"/>
              </a:cxn>
              <a:cxn ang="0">
                <a:pos x="T2" y="T3"/>
              </a:cxn>
              <a:cxn ang="0">
                <a:pos x="T4" y="T5"/>
              </a:cxn>
              <a:cxn ang="0">
                <a:pos x="T6" y="T7"/>
              </a:cxn>
              <a:cxn ang="0">
                <a:pos x="T8" y="T9"/>
              </a:cxn>
              <a:cxn ang="0">
                <a:pos x="T10" y="T11"/>
              </a:cxn>
            </a:cxnLst>
            <a:rect l="0" t="0" r="r" b="b"/>
            <a:pathLst>
              <a:path w="87" h="14">
                <a:moveTo>
                  <a:pt x="87" y="0"/>
                </a:moveTo>
                <a:cubicBezTo>
                  <a:pt x="0" y="0"/>
                  <a:pt x="0" y="0"/>
                  <a:pt x="0" y="0"/>
                </a:cubicBezTo>
                <a:cubicBezTo>
                  <a:pt x="0" y="14"/>
                  <a:pt x="0" y="14"/>
                  <a:pt x="0" y="14"/>
                </a:cubicBezTo>
                <a:cubicBezTo>
                  <a:pt x="87" y="14"/>
                  <a:pt x="87" y="14"/>
                  <a:pt x="87" y="14"/>
                </a:cubicBezTo>
                <a:cubicBezTo>
                  <a:pt x="87" y="0"/>
                  <a:pt x="87" y="0"/>
                  <a:pt x="87" y="0"/>
                </a:cubicBezTo>
                <a:cubicBezTo>
                  <a:pt x="87" y="0"/>
                  <a:pt x="87" y="0"/>
                  <a:pt x="87" y="0"/>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7" name="Freeform 24"/>
          <p:cNvSpPr>
            <a:spLocks/>
          </p:cNvSpPr>
          <p:nvPr/>
        </p:nvSpPr>
        <p:spPr bwMode="auto">
          <a:xfrm>
            <a:off x="7679835" y="1710854"/>
            <a:ext cx="306590" cy="49801"/>
          </a:xfrm>
          <a:custGeom>
            <a:avLst/>
            <a:gdLst>
              <a:gd name="T0" fmla="*/ 100 w 100"/>
              <a:gd name="T1" fmla="*/ 0 h 16"/>
              <a:gd name="T2" fmla="*/ 0 w 100"/>
              <a:gd name="T3" fmla="*/ 0 h 16"/>
              <a:gd name="T4" fmla="*/ 0 w 100"/>
              <a:gd name="T5" fmla="*/ 16 h 16"/>
              <a:gd name="T6" fmla="*/ 100 w 100"/>
              <a:gd name="T7" fmla="*/ 16 h 16"/>
              <a:gd name="T8" fmla="*/ 100 w 100"/>
              <a:gd name="T9" fmla="*/ 0 h 16"/>
              <a:gd name="T10" fmla="*/ 100 w 100"/>
              <a:gd name="T11" fmla="*/ 0 h 16"/>
            </a:gdLst>
            <a:ahLst/>
            <a:cxnLst>
              <a:cxn ang="0">
                <a:pos x="T0" y="T1"/>
              </a:cxn>
              <a:cxn ang="0">
                <a:pos x="T2" y="T3"/>
              </a:cxn>
              <a:cxn ang="0">
                <a:pos x="T4" y="T5"/>
              </a:cxn>
              <a:cxn ang="0">
                <a:pos x="T6" y="T7"/>
              </a:cxn>
              <a:cxn ang="0">
                <a:pos x="T8" y="T9"/>
              </a:cxn>
              <a:cxn ang="0">
                <a:pos x="T10" y="T11"/>
              </a:cxn>
            </a:cxnLst>
            <a:rect l="0" t="0" r="r" b="b"/>
            <a:pathLst>
              <a:path w="100" h="16">
                <a:moveTo>
                  <a:pt x="100" y="0"/>
                </a:moveTo>
                <a:cubicBezTo>
                  <a:pt x="0" y="0"/>
                  <a:pt x="0" y="0"/>
                  <a:pt x="0" y="0"/>
                </a:cubicBezTo>
                <a:cubicBezTo>
                  <a:pt x="0" y="16"/>
                  <a:pt x="0" y="16"/>
                  <a:pt x="0" y="16"/>
                </a:cubicBezTo>
                <a:cubicBezTo>
                  <a:pt x="100" y="16"/>
                  <a:pt x="100" y="16"/>
                  <a:pt x="100" y="16"/>
                </a:cubicBezTo>
                <a:cubicBezTo>
                  <a:pt x="100" y="0"/>
                  <a:pt x="100" y="0"/>
                  <a:pt x="100" y="0"/>
                </a:cubicBezTo>
                <a:cubicBezTo>
                  <a:pt x="100" y="0"/>
                  <a:pt x="100" y="0"/>
                  <a:pt x="100" y="0"/>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8" name="Freeform 25"/>
          <p:cNvSpPr>
            <a:spLocks/>
          </p:cNvSpPr>
          <p:nvPr/>
        </p:nvSpPr>
        <p:spPr bwMode="auto">
          <a:xfrm>
            <a:off x="7606699" y="1623701"/>
            <a:ext cx="46689" cy="43576"/>
          </a:xfrm>
          <a:custGeom>
            <a:avLst/>
            <a:gdLst>
              <a:gd name="T0" fmla="*/ 7 w 15"/>
              <a:gd name="T1" fmla="*/ 14 h 14"/>
              <a:gd name="T2" fmla="*/ 15 w 15"/>
              <a:gd name="T3" fmla="*/ 6 h 14"/>
              <a:gd name="T4" fmla="*/ 7 w 15"/>
              <a:gd name="T5" fmla="*/ 0 h 14"/>
              <a:gd name="T6" fmla="*/ 0 w 15"/>
              <a:gd name="T7" fmla="*/ 6 h 14"/>
              <a:gd name="T8" fmla="*/ 7 w 15"/>
              <a:gd name="T9" fmla="*/ 14 h 14"/>
            </a:gdLst>
            <a:ahLst/>
            <a:cxnLst>
              <a:cxn ang="0">
                <a:pos x="T0" y="T1"/>
              </a:cxn>
              <a:cxn ang="0">
                <a:pos x="T2" y="T3"/>
              </a:cxn>
              <a:cxn ang="0">
                <a:pos x="T4" y="T5"/>
              </a:cxn>
              <a:cxn ang="0">
                <a:pos x="T6" y="T7"/>
              </a:cxn>
              <a:cxn ang="0">
                <a:pos x="T8" y="T9"/>
              </a:cxn>
            </a:cxnLst>
            <a:rect l="0" t="0" r="r" b="b"/>
            <a:pathLst>
              <a:path w="15" h="14">
                <a:moveTo>
                  <a:pt x="7" y="14"/>
                </a:moveTo>
                <a:cubicBezTo>
                  <a:pt x="12" y="14"/>
                  <a:pt x="15" y="11"/>
                  <a:pt x="15" y="6"/>
                </a:cubicBezTo>
                <a:cubicBezTo>
                  <a:pt x="15" y="3"/>
                  <a:pt x="12" y="0"/>
                  <a:pt x="7" y="0"/>
                </a:cubicBezTo>
                <a:cubicBezTo>
                  <a:pt x="4" y="0"/>
                  <a:pt x="0" y="3"/>
                  <a:pt x="0" y="6"/>
                </a:cubicBezTo>
                <a:cubicBezTo>
                  <a:pt x="0" y="11"/>
                  <a:pt x="4" y="14"/>
                  <a:pt x="7" y="14"/>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9" name="Freeform 26"/>
          <p:cNvSpPr>
            <a:spLocks/>
          </p:cNvSpPr>
          <p:nvPr/>
        </p:nvSpPr>
        <p:spPr bwMode="auto">
          <a:xfrm>
            <a:off x="7606699" y="1710854"/>
            <a:ext cx="46689" cy="49801"/>
          </a:xfrm>
          <a:custGeom>
            <a:avLst/>
            <a:gdLst>
              <a:gd name="T0" fmla="*/ 7 w 15"/>
              <a:gd name="T1" fmla="*/ 0 h 16"/>
              <a:gd name="T2" fmla="*/ 0 w 15"/>
              <a:gd name="T3" fmla="*/ 8 h 16"/>
              <a:gd name="T4" fmla="*/ 7 w 15"/>
              <a:gd name="T5" fmla="*/ 16 h 16"/>
              <a:gd name="T6" fmla="*/ 15 w 15"/>
              <a:gd name="T7" fmla="*/ 8 h 16"/>
              <a:gd name="T8" fmla="*/ 7 w 15"/>
              <a:gd name="T9" fmla="*/ 0 h 16"/>
            </a:gdLst>
            <a:ahLst/>
            <a:cxnLst>
              <a:cxn ang="0">
                <a:pos x="T0" y="T1"/>
              </a:cxn>
              <a:cxn ang="0">
                <a:pos x="T2" y="T3"/>
              </a:cxn>
              <a:cxn ang="0">
                <a:pos x="T4" y="T5"/>
              </a:cxn>
              <a:cxn ang="0">
                <a:pos x="T6" y="T7"/>
              </a:cxn>
              <a:cxn ang="0">
                <a:pos x="T8" y="T9"/>
              </a:cxn>
            </a:cxnLst>
            <a:rect l="0" t="0" r="r" b="b"/>
            <a:pathLst>
              <a:path w="15" h="16">
                <a:moveTo>
                  <a:pt x="7" y="0"/>
                </a:moveTo>
                <a:cubicBezTo>
                  <a:pt x="4" y="0"/>
                  <a:pt x="0" y="3"/>
                  <a:pt x="0" y="8"/>
                </a:cubicBezTo>
                <a:cubicBezTo>
                  <a:pt x="0" y="13"/>
                  <a:pt x="4" y="16"/>
                  <a:pt x="7" y="16"/>
                </a:cubicBezTo>
                <a:cubicBezTo>
                  <a:pt x="12" y="16"/>
                  <a:pt x="15" y="13"/>
                  <a:pt x="15" y="8"/>
                </a:cubicBezTo>
                <a:cubicBezTo>
                  <a:pt x="15" y="3"/>
                  <a:pt x="12" y="0"/>
                  <a:pt x="7"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80" name="Freeform 27"/>
          <p:cNvSpPr>
            <a:spLocks/>
          </p:cNvSpPr>
          <p:nvPr/>
        </p:nvSpPr>
        <p:spPr bwMode="auto">
          <a:xfrm>
            <a:off x="7606699" y="1804231"/>
            <a:ext cx="46689" cy="43576"/>
          </a:xfrm>
          <a:custGeom>
            <a:avLst/>
            <a:gdLst>
              <a:gd name="T0" fmla="*/ 7 w 15"/>
              <a:gd name="T1" fmla="*/ 0 h 14"/>
              <a:gd name="T2" fmla="*/ 0 w 15"/>
              <a:gd name="T3" fmla="*/ 7 h 14"/>
              <a:gd name="T4" fmla="*/ 7 w 15"/>
              <a:gd name="T5" fmla="*/ 14 h 14"/>
              <a:gd name="T6" fmla="*/ 15 w 15"/>
              <a:gd name="T7" fmla="*/ 7 h 14"/>
              <a:gd name="T8" fmla="*/ 7 w 15"/>
              <a:gd name="T9" fmla="*/ 0 h 14"/>
            </a:gdLst>
            <a:ahLst/>
            <a:cxnLst>
              <a:cxn ang="0">
                <a:pos x="T0" y="T1"/>
              </a:cxn>
              <a:cxn ang="0">
                <a:pos x="T2" y="T3"/>
              </a:cxn>
              <a:cxn ang="0">
                <a:pos x="T4" y="T5"/>
              </a:cxn>
              <a:cxn ang="0">
                <a:pos x="T6" y="T7"/>
              </a:cxn>
              <a:cxn ang="0">
                <a:pos x="T8" y="T9"/>
              </a:cxn>
            </a:cxnLst>
            <a:rect l="0" t="0" r="r" b="b"/>
            <a:pathLst>
              <a:path w="15" h="14">
                <a:moveTo>
                  <a:pt x="7" y="0"/>
                </a:moveTo>
                <a:cubicBezTo>
                  <a:pt x="4" y="0"/>
                  <a:pt x="0" y="3"/>
                  <a:pt x="0" y="7"/>
                </a:cubicBezTo>
                <a:cubicBezTo>
                  <a:pt x="0" y="11"/>
                  <a:pt x="4" y="14"/>
                  <a:pt x="7" y="14"/>
                </a:cubicBezTo>
                <a:cubicBezTo>
                  <a:pt x="12" y="14"/>
                  <a:pt x="15" y="11"/>
                  <a:pt x="15" y="7"/>
                </a:cubicBezTo>
                <a:cubicBezTo>
                  <a:pt x="15" y="3"/>
                  <a:pt x="12" y="0"/>
                  <a:pt x="7"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81" name="Rectangle 680"/>
          <p:cNvSpPr/>
          <p:nvPr/>
        </p:nvSpPr>
        <p:spPr bwMode="auto">
          <a:xfrm>
            <a:off x="2151739" y="4328582"/>
            <a:ext cx="3182309" cy="2136150"/>
          </a:xfrm>
          <a:prstGeom prst="rect">
            <a:avLst/>
          </a:prstGeom>
          <a:noFill/>
          <a:ln w="25400" cap="sq" cmpd="sng" algn="ctr">
            <a:solidFill>
              <a:srgbClr val="00BCF2"/>
            </a:solidFill>
            <a:prstDash val="solid"/>
            <a:miter lim="800000"/>
            <a:headEnd type="none" w="med" len="med"/>
            <a:tailEnd type="none" w="med" len="med"/>
          </a:ln>
          <a:effectLst/>
        </p:spPr>
        <p:txBody>
          <a:bodyPr vert="horz" wrap="square" lIns="175901" tIns="140721" rIns="175901" bIns="140721" numCol="1" rtlCol="0" anchor="b" anchorCtr="0" compatLnSpc="1">
            <a:prstTxWarp prst="textNoShape">
              <a:avLst/>
            </a:prstTxWarp>
          </a:bodyPr>
          <a:lstStyle/>
          <a:p>
            <a:pPr defTabSz="897109" fontAlgn="base">
              <a:lnSpc>
                <a:spcPct val="90000"/>
              </a:lnSpc>
              <a:spcBef>
                <a:spcPct val="0"/>
              </a:spcBef>
              <a:spcAft>
                <a:spcPts val="577"/>
              </a:spcAft>
              <a:defRPr/>
            </a:pPr>
            <a:r>
              <a:rPr lang="en-US" sz="1176" b="1" kern="0" dirty="0">
                <a:gradFill>
                  <a:gsLst>
                    <a:gs pos="35398">
                      <a:srgbClr val="191919"/>
                    </a:gs>
                    <a:gs pos="58000">
                      <a:srgbClr val="191919"/>
                    </a:gs>
                  </a:gsLst>
                  <a:lin ang="5400000" scaled="0"/>
                </a:gradFill>
                <a:latin typeface="Segoe UI Semibold" panose="020B0702040204020203" pitchFamily="34" charset="0"/>
              </a:rPr>
              <a:t>On-premises</a:t>
            </a:r>
          </a:p>
        </p:txBody>
      </p:sp>
      <p:grpSp>
        <p:nvGrpSpPr>
          <p:cNvPr id="682" name="Group 681"/>
          <p:cNvGrpSpPr/>
          <p:nvPr/>
        </p:nvGrpSpPr>
        <p:grpSpPr>
          <a:xfrm>
            <a:off x="5421360" y="4328582"/>
            <a:ext cx="3182309" cy="2136150"/>
            <a:chOff x="5530059" y="4414879"/>
            <a:chExt cx="3246121" cy="2178984"/>
          </a:xfrm>
        </p:grpSpPr>
        <p:sp>
          <p:nvSpPr>
            <p:cNvPr id="683" name="Rectangle 682"/>
            <p:cNvSpPr/>
            <p:nvPr/>
          </p:nvSpPr>
          <p:spPr bwMode="auto">
            <a:xfrm>
              <a:off x="5530059" y="4414879"/>
              <a:ext cx="3246121" cy="2178984"/>
            </a:xfrm>
            <a:prstGeom prst="rect">
              <a:avLst/>
            </a:prstGeom>
            <a:noFill/>
            <a:ln w="25400" cap="sq" cmpd="sng" algn="ctr">
              <a:solidFill>
                <a:srgbClr val="BAD80A"/>
              </a:solidFill>
              <a:prstDash val="solid"/>
              <a:miter lim="800000"/>
              <a:headEnd type="none" w="med" len="med"/>
              <a:tailEnd type="none" w="med" len="med"/>
            </a:ln>
            <a:effectLst/>
          </p:spPr>
          <p:txBody>
            <a:bodyPr vert="horz" wrap="square" lIns="179285" tIns="143428" rIns="179285" bIns="143428" numCol="1" rtlCol="0" anchor="b" anchorCtr="0" compatLnSpc="1">
              <a:prstTxWarp prst="textNoShape">
                <a:avLst/>
              </a:prstTxWarp>
            </a:bodyPr>
            <a:lstStyle/>
            <a:p>
              <a:pPr defTabSz="897109" fontAlgn="base">
                <a:lnSpc>
                  <a:spcPct val="90000"/>
                </a:lnSpc>
                <a:spcBef>
                  <a:spcPct val="0"/>
                </a:spcBef>
                <a:spcAft>
                  <a:spcPts val="577"/>
                </a:spcAft>
                <a:defRPr/>
              </a:pPr>
              <a:r>
                <a:rPr lang="en-US" sz="1176" b="1" kern="0" dirty="0">
                  <a:gradFill>
                    <a:gsLst>
                      <a:gs pos="35398">
                        <a:srgbClr val="191919"/>
                      </a:gs>
                      <a:gs pos="58000">
                        <a:srgbClr val="191919"/>
                      </a:gs>
                    </a:gsLst>
                    <a:lin ang="5400000" scaled="0"/>
                  </a:gradFill>
                  <a:latin typeface="Segoe UI Semibold" panose="020B0702040204020203" pitchFamily="34" charset="0"/>
                </a:rPr>
                <a:t>Service Provider</a:t>
              </a:r>
            </a:p>
          </p:txBody>
        </p:sp>
        <p:cxnSp>
          <p:nvCxnSpPr>
            <p:cNvPr id="684" name="Straight Connector 683"/>
            <p:cNvCxnSpPr/>
            <p:nvPr/>
          </p:nvCxnSpPr>
          <p:spPr>
            <a:xfrm>
              <a:off x="7153127" y="4531761"/>
              <a:ext cx="0" cy="1940474"/>
            </a:xfrm>
            <a:prstGeom prst="line">
              <a:avLst/>
            </a:prstGeom>
            <a:noFill/>
            <a:ln w="25400" cap="sq" cmpd="sng" algn="ctr">
              <a:solidFill>
                <a:srgbClr val="FFFFFF">
                  <a:lumMod val="75000"/>
                </a:srgbClr>
              </a:solidFill>
              <a:prstDash val="sysDot"/>
              <a:miter lim="800000"/>
              <a:headEnd type="none" w="med" len="med"/>
              <a:tailEnd type="none" w="med" len="med"/>
            </a:ln>
            <a:effectLst/>
          </p:spPr>
        </p:cxnSp>
      </p:grpSp>
      <p:grpSp>
        <p:nvGrpSpPr>
          <p:cNvPr id="685" name="Group 684"/>
          <p:cNvGrpSpPr/>
          <p:nvPr/>
        </p:nvGrpSpPr>
        <p:grpSpPr>
          <a:xfrm>
            <a:off x="8695640" y="4328582"/>
            <a:ext cx="3137488" cy="2136150"/>
            <a:chOff x="8869995" y="4414879"/>
            <a:chExt cx="3200401" cy="2178984"/>
          </a:xfrm>
        </p:grpSpPr>
        <p:sp>
          <p:nvSpPr>
            <p:cNvPr id="686" name="Rectangle 685"/>
            <p:cNvSpPr/>
            <p:nvPr/>
          </p:nvSpPr>
          <p:spPr bwMode="auto">
            <a:xfrm>
              <a:off x="8869995" y="4414879"/>
              <a:ext cx="3200401" cy="2178984"/>
            </a:xfrm>
            <a:prstGeom prst="rect">
              <a:avLst/>
            </a:prstGeom>
            <a:noFill/>
            <a:ln w="25400" cap="sq" cmpd="sng" algn="ctr">
              <a:solidFill>
                <a:srgbClr val="FF8C00"/>
              </a:solidFill>
              <a:prstDash val="solid"/>
              <a:miter lim="800000"/>
              <a:headEnd type="none" w="med" len="med"/>
              <a:tailEnd type="none" w="med" len="med"/>
            </a:ln>
            <a:effectLst/>
          </p:spPr>
          <p:txBody>
            <a:bodyPr vert="horz" wrap="square" lIns="175978" tIns="140783" rIns="175978" bIns="140783" numCol="1" rtlCol="0" anchor="b" anchorCtr="0" compatLnSpc="1">
              <a:prstTxWarp prst="textNoShape">
                <a:avLst/>
              </a:prstTxWarp>
            </a:bodyPr>
            <a:lstStyle/>
            <a:p>
              <a:pPr defTabSz="897109">
                <a:lnSpc>
                  <a:spcPct val="90000"/>
                </a:lnSpc>
                <a:spcAft>
                  <a:spcPts val="577"/>
                </a:spcAft>
                <a:defRPr/>
              </a:pPr>
              <a:r>
                <a:rPr lang="en-US" sz="1176" b="1" kern="0" dirty="0">
                  <a:gradFill>
                    <a:gsLst>
                      <a:gs pos="35398">
                        <a:srgbClr val="191919"/>
                      </a:gs>
                      <a:gs pos="58000">
                        <a:srgbClr val="191919"/>
                      </a:gs>
                    </a:gsLst>
                    <a:lin ang="5400000" scaled="0"/>
                  </a:gradFill>
                  <a:latin typeface="Segoe UI Semibold" panose="020B0702040204020203" pitchFamily="34" charset="0"/>
                </a:rPr>
                <a:t>Microsoft Azure</a:t>
              </a:r>
            </a:p>
          </p:txBody>
        </p:sp>
        <p:cxnSp>
          <p:nvCxnSpPr>
            <p:cNvPr id="687" name="Straight Connector 686"/>
            <p:cNvCxnSpPr/>
            <p:nvPr/>
          </p:nvCxnSpPr>
          <p:spPr>
            <a:xfrm flipH="1">
              <a:off x="10470195" y="4531761"/>
              <a:ext cx="1" cy="1680596"/>
            </a:xfrm>
            <a:prstGeom prst="line">
              <a:avLst/>
            </a:prstGeom>
            <a:noFill/>
            <a:ln w="25400" cap="sq" cmpd="sng" algn="ctr">
              <a:solidFill>
                <a:srgbClr val="FFFFFF">
                  <a:lumMod val="75000"/>
                </a:srgbClr>
              </a:solidFill>
              <a:prstDash val="sysDot"/>
              <a:miter lim="800000"/>
              <a:headEnd type="none" w="med" len="med"/>
              <a:tailEnd type="none" w="med" len="med"/>
            </a:ln>
            <a:effectLst/>
          </p:spPr>
        </p:cxnSp>
      </p:grpSp>
      <p:grpSp>
        <p:nvGrpSpPr>
          <p:cNvPr id="688" name="Group 687"/>
          <p:cNvGrpSpPr/>
          <p:nvPr/>
        </p:nvGrpSpPr>
        <p:grpSpPr>
          <a:xfrm>
            <a:off x="8305321" y="1322399"/>
            <a:ext cx="3527797" cy="1162048"/>
            <a:chOff x="7602524" y="7129405"/>
            <a:chExt cx="3598537" cy="1185349"/>
          </a:xfrm>
        </p:grpSpPr>
        <p:sp>
          <p:nvSpPr>
            <p:cNvPr id="689" name="Rectangle 688"/>
            <p:cNvSpPr/>
            <p:nvPr/>
          </p:nvSpPr>
          <p:spPr bwMode="auto">
            <a:xfrm>
              <a:off x="7753773" y="7129405"/>
              <a:ext cx="3447288" cy="1179576"/>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493034" tIns="143428" rIns="179285" bIns="143428" numCol="1" rtlCol="0" anchor="t" anchorCtr="0" compatLnSpc="1">
              <a:prstTxWarp prst="textNoShape">
                <a:avLst/>
              </a:prstTxWarp>
            </a:bodyPr>
            <a:lstStyle/>
            <a:p>
              <a:pPr defTabSz="896847" fontAlgn="base">
                <a:lnSpc>
                  <a:spcPct val="90000"/>
                </a:lnSpc>
                <a:spcBef>
                  <a:spcPct val="0"/>
                </a:spcBef>
                <a:spcAft>
                  <a:spcPct val="0"/>
                </a:spcAft>
                <a:defRPr/>
              </a:pPr>
              <a:endParaRPr lang="en-US" sz="1372" kern="0" dirty="0">
                <a:gradFill>
                  <a:gsLst>
                    <a:gs pos="93805">
                      <a:srgbClr val="191919"/>
                    </a:gs>
                    <a:gs pos="84071">
                      <a:srgbClr val="191919"/>
                    </a:gs>
                  </a:gsLst>
                  <a:lin ang="5400000" scaled="0"/>
                </a:gradFill>
                <a:latin typeface="Segoe UI"/>
              </a:endParaRPr>
            </a:p>
          </p:txBody>
        </p:sp>
        <p:sp>
          <p:nvSpPr>
            <p:cNvPr id="690" name="TextBox 9"/>
            <p:cNvSpPr txBox="1"/>
            <p:nvPr/>
          </p:nvSpPr>
          <p:spPr>
            <a:xfrm>
              <a:off x="7753772" y="8018983"/>
              <a:ext cx="822960" cy="295771"/>
            </a:xfrm>
            <a:prstGeom prst="rect">
              <a:avLst/>
            </a:prstGeom>
            <a:noFill/>
          </p:spPr>
          <p:txBody>
            <a:bodyPr wrap="square" lIns="89642" tIns="43995" rIns="89642" bIns="89642" rtlCol="0">
              <a:spAutoFit/>
            </a:bodyPr>
            <a:lstStyle/>
            <a:p>
              <a:pPr defTabSz="913700" fontAlgn="base">
                <a:lnSpc>
                  <a:spcPct val="90000"/>
                </a:lnSpc>
                <a:spcAft>
                  <a:spcPct val="0"/>
                </a:spcAft>
                <a:defRPr/>
              </a:pPr>
              <a:r>
                <a:rPr lang="en-US" sz="1078" kern="0" spc="-20" dirty="0">
                  <a:gradFill>
                    <a:gsLst>
                      <a:gs pos="14159">
                        <a:srgbClr val="505050"/>
                      </a:gs>
                      <a:gs pos="46018">
                        <a:srgbClr val="505050"/>
                      </a:gs>
                    </a:gsLst>
                    <a:lin ang="5400000" scaled="0"/>
                  </a:gradFill>
                  <a:latin typeface="Segoe UI Semibold" panose="020B0702040204020203" pitchFamily="34" charset="0"/>
                </a:rPr>
                <a:t>Providers</a:t>
              </a:r>
            </a:p>
          </p:txBody>
        </p:sp>
        <p:sp>
          <p:nvSpPr>
            <p:cNvPr id="691" name="Freeform 113"/>
            <p:cNvSpPr>
              <a:spLocks noChangeAspect="1" noEditPoints="1"/>
            </p:cNvSpPr>
            <p:nvPr/>
          </p:nvSpPr>
          <p:spPr bwMode="auto">
            <a:xfrm>
              <a:off x="7875984" y="7211436"/>
              <a:ext cx="358932" cy="358930"/>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282828"/>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700" fontAlgn="base">
                <a:lnSpc>
                  <a:spcPct val="90000"/>
                </a:lnSpc>
                <a:spcBef>
                  <a:spcPct val="0"/>
                </a:spcBef>
                <a:spcAft>
                  <a:spcPct val="0"/>
                </a:spcAft>
                <a:defRPr/>
              </a:pPr>
              <a:endParaRPr lang="en-US" sz="1961" kern="0">
                <a:gradFill>
                  <a:gsLst>
                    <a:gs pos="84071">
                      <a:srgbClr val="191919"/>
                    </a:gs>
                    <a:gs pos="57000">
                      <a:srgbClr val="191919"/>
                    </a:gs>
                  </a:gsLst>
                  <a:lin ang="5400000" scaled="0"/>
                </a:gradFill>
                <a:latin typeface="Segoe UI"/>
              </a:endParaRPr>
            </a:p>
          </p:txBody>
        </p:sp>
        <p:sp>
          <p:nvSpPr>
            <p:cNvPr id="692" name="Isosceles Triangle 691"/>
            <p:cNvSpPr/>
            <p:nvPr/>
          </p:nvSpPr>
          <p:spPr bwMode="auto">
            <a:xfrm rot="16200000">
              <a:off x="7507012" y="7971209"/>
              <a:ext cx="343486" cy="152462"/>
            </a:xfrm>
            <a:prstGeom prst="triangle">
              <a:avLst/>
            </a:prstGeom>
            <a:solidFill>
              <a:srgbClr val="FFFFFF">
                <a:lumMod val="85000"/>
              </a:srgbClr>
            </a:solidFill>
            <a:ln w="10795" cap="flat" cmpd="sng" algn="ctr">
              <a:noFill/>
              <a:prstDash val="solid"/>
              <a:headEnd type="none" w="med" len="med"/>
              <a:tailEnd type="none" w="med" len="med"/>
            </a:ln>
            <a:effectLst/>
          </p:spPr>
          <p:txBody>
            <a:bodyPr vert="horz" wrap="square" lIns="493034" tIns="143428" rIns="179285" bIns="143428" numCol="1" rtlCol="0" anchor="t" anchorCtr="0" compatLnSpc="1">
              <a:prstTxWarp prst="textNoShape">
                <a:avLst/>
              </a:prstTxWarp>
            </a:bodyPr>
            <a:lstStyle/>
            <a:p>
              <a:pPr defTabSz="896847" fontAlgn="base">
                <a:lnSpc>
                  <a:spcPct val="90000"/>
                </a:lnSpc>
                <a:spcBef>
                  <a:spcPct val="0"/>
                </a:spcBef>
                <a:spcAft>
                  <a:spcPct val="0"/>
                </a:spcAft>
                <a:defRPr/>
              </a:pPr>
              <a:endParaRPr lang="en-US" sz="1372" kern="0" dirty="0">
                <a:gradFill>
                  <a:gsLst>
                    <a:gs pos="93805">
                      <a:srgbClr val="191919"/>
                    </a:gs>
                    <a:gs pos="84071">
                      <a:srgbClr val="191919"/>
                    </a:gs>
                  </a:gsLst>
                  <a:lin ang="5400000" scaled="0"/>
                </a:gradFill>
                <a:latin typeface="Segoe UI"/>
              </a:endParaRPr>
            </a:p>
          </p:txBody>
        </p:sp>
        <p:grpSp>
          <p:nvGrpSpPr>
            <p:cNvPr id="693" name="Group 692"/>
            <p:cNvGrpSpPr/>
            <p:nvPr/>
          </p:nvGrpSpPr>
          <p:grpSpPr>
            <a:xfrm>
              <a:off x="8577668" y="7193414"/>
              <a:ext cx="822960" cy="1051560"/>
              <a:chOff x="4036484" y="-1533276"/>
              <a:chExt cx="822960" cy="1051560"/>
            </a:xfrm>
          </p:grpSpPr>
          <p:sp>
            <p:nvSpPr>
              <p:cNvPr id="700" name="Rectangle 699"/>
              <p:cNvSpPr/>
              <p:nvPr/>
            </p:nvSpPr>
            <p:spPr bwMode="auto">
              <a:xfrm>
                <a:off x="4036484"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Brad</a:t>
                </a:r>
              </a:p>
            </p:txBody>
          </p:sp>
          <p:pic>
            <p:nvPicPr>
              <p:cNvPr id="701" name="Picture 4"/>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53980" t="26521" r="28993" b="46301"/>
              <a:stretch/>
            </p:blipFill>
            <p:spPr bwMode="auto">
              <a:xfrm>
                <a:off x="4059344"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4" name="Group 693"/>
            <p:cNvGrpSpPr/>
            <p:nvPr/>
          </p:nvGrpSpPr>
          <p:grpSpPr>
            <a:xfrm>
              <a:off x="10316487" y="7193414"/>
              <a:ext cx="822960" cy="1051560"/>
              <a:chOff x="5735388" y="-1533276"/>
              <a:chExt cx="822960" cy="1051560"/>
            </a:xfrm>
          </p:grpSpPr>
          <p:sp>
            <p:nvSpPr>
              <p:cNvPr id="698" name="Rectangle 697"/>
              <p:cNvSpPr/>
              <p:nvPr/>
            </p:nvSpPr>
            <p:spPr bwMode="auto">
              <a:xfrm>
                <a:off x="5735388"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699"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75748" t="27538" r="7225" b="45284"/>
              <a:stretch/>
            </p:blipFill>
            <p:spPr bwMode="auto">
              <a:xfrm>
                <a:off x="5758248"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5" name="Group 694"/>
            <p:cNvGrpSpPr/>
            <p:nvPr/>
          </p:nvGrpSpPr>
          <p:grpSpPr>
            <a:xfrm>
              <a:off x="9447077" y="7193414"/>
              <a:ext cx="822960" cy="1051560"/>
              <a:chOff x="7434292" y="-1533276"/>
              <a:chExt cx="822960" cy="1051560"/>
            </a:xfrm>
          </p:grpSpPr>
          <p:sp>
            <p:nvSpPr>
              <p:cNvPr id="696" name="Rectangle 695"/>
              <p:cNvSpPr/>
              <p:nvPr/>
            </p:nvSpPr>
            <p:spPr bwMode="auto">
              <a:xfrm>
                <a:off x="7434292"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err="1">
                    <a:gradFill>
                      <a:gsLst>
                        <a:gs pos="99107">
                          <a:srgbClr val="FFFFFF"/>
                        </a:gs>
                        <a:gs pos="84071">
                          <a:srgbClr val="FFFFFF"/>
                        </a:gs>
                      </a:gsLst>
                      <a:lin ang="5400000" scaled="0"/>
                    </a:gradFill>
                    <a:latin typeface="Segoe UI Semibold" panose="020B0702040204020203" pitchFamily="34" charset="0"/>
                  </a:rPr>
                  <a:t>Sarani</a:t>
                </a:r>
                <a:endParaRPr lang="en-US" sz="1078" kern="0" spc="-20" dirty="0">
                  <a:gradFill>
                    <a:gsLst>
                      <a:gs pos="99107">
                        <a:srgbClr val="FFFFFF"/>
                      </a:gs>
                      <a:gs pos="84071">
                        <a:srgbClr val="FFFFFF"/>
                      </a:gs>
                    </a:gsLst>
                    <a:lin ang="5400000" scaled="0"/>
                  </a:gradFill>
                  <a:latin typeface="Segoe UI Semibold" panose="020B0702040204020203" pitchFamily="34" charset="0"/>
                </a:endParaRPr>
              </a:p>
            </p:txBody>
          </p:sp>
          <p:pic>
            <p:nvPicPr>
              <p:cNvPr id="697"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52714" t="54043" r="32096" b="21584"/>
              <a:stretch/>
            </p:blipFill>
            <p:spPr bwMode="auto">
              <a:xfrm>
                <a:off x="7457152"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702" name="Group 701"/>
          <p:cNvGrpSpPr/>
          <p:nvPr/>
        </p:nvGrpSpPr>
        <p:grpSpPr>
          <a:xfrm>
            <a:off x="1705850" y="1322399"/>
            <a:ext cx="4375557" cy="1162048"/>
            <a:chOff x="1740055" y="7129405"/>
            <a:chExt cx="4463296" cy="1185349"/>
          </a:xfrm>
        </p:grpSpPr>
        <p:sp>
          <p:nvSpPr>
            <p:cNvPr id="703" name="Isosceles Triangle 702"/>
            <p:cNvSpPr/>
            <p:nvPr/>
          </p:nvSpPr>
          <p:spPr bwMode="auto">
            <a:xfrm rot="5400000" flipH="1">
              <a:off x="5955377" y="7319368"/>
              <a:ext cx="343486" cy="152462"/>
            </a:xfrm>
            <a:prstGeom prst="triangle">
              <a:avLst/>
            </a:prstGeom>
            <a:solidFill>
              <a:srgbClr val="FFFFFF">
                <a:lumMod val="85000"/>
              </a:srgbClr>
            </a:solidFill>
            <a:ln w="10795" cap="flat" cmpd="sng" algn="ctr">
              <a:noFill/>
              <a:prstDash val="solid"/>
              <a:headEnd type="none" w="med" len="med"/>
              <a:tailEnd type="none" w="med" len="med"/>
            </a:ln>
            <a:effectLst/>
          </p:spPr>
          <p:txBody>
            <a:bodyPr vert="horz" wrap="square" lIns="493034" tIns="143428" rIns="179285" bIns="143428" numCol="1" rtlCol="0" anchor="t" anchorCtr="0" compatLnSpc="1">
              <a:prstTxWarp prst="textNoShape">
                <a:avLst/>
              </a:prstTxWarp>
            </a:bodyPr>
            <a:lstStyle/>
            <a:p>
              <a:pPr defTabSz="896847" fontAlgn="base">
                <a:lnSpc>
                  <a:spcPct val="90000"/>
                </a:lnSpc>
                <a:spcBef>
                  <a:spcPct val="0"/>
                </a:spcBef>
                <a:spcAft>
                  <a:spcPct val="0"/>
                </a:spcAft>
                <a:defRPr/>
              </a:pPr>
              <a:endParaRPr lang="en-US" sz="1372" kern="0" dirty="0">
                <a:gradFill>
                  <a:gsLst>
                    <a:gs pos="93805">
                      <a:srgbClr val="191919"/>
                    </a:gs>
                    <a:gs pos="84071">
                      <a:srgbClr val="191919"/>
                    </a:gs>
                  </a:gsLst>
                  <a:lin ang="5400000" scaled="0"/>
                </a:gradFill>
                <a:latin typeface="Segoe UI"/>
              </a:endParaRPr>
            </a:p>
          </p:txBody>
        </p:sp>
        <p:sp>
          <p:nvSpPr>
            <p:cNvPr id="704" name="Rectangle 703"/>
            <p:cNvSpPr/>
            <p:nvPr/>
          </p:nvSpPr>
          <p:spPr bwMode="auto">
            <a:xfrm>
              <a:off x="1740055" y="7129405"/>
              <a:ext cx="4315968" cy="1179576"/>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493034" tIns="143428" rIns="179285" bIns="143428" numCol="1" rtlCol="0" anchor="t" anchorCtr="0" compatLnSpc="1">
              <a:prstTxWarp prst="textNoShape">
                <a:avLst/>
              </a:prstTxWarp>
            </a:bodyPr>
            <a:lstStyle/>
            <a:p>
              <a:pPr defTabSz="896847" fontAlgn="base">
                <a:lnSpc>
                  <a:spcPct val="90000"/>
                </a:lnSpc>
                <a:spcBef>
                  <a:spcPct val="0"/>
                </a:spcBef>
                <a:spcAft>
                  <a:spcPct val="0"/>
                </a:spcAft>
                <a:defRPr/>
              </a:pPr>
              <a:endParaRPr lang="en-US" sz="1372" kern="0" dirty="0">
                <a:gradFill>
                  <a:gsLst>
                    <a:gs pos="93805">
                      <a:srgbClr val="191919"/>
                    </a:gs>
                    <a:gs pos="84071">
                      <a:srgbClr val="191919"/>
                    </a:gs>
                  </a:gsLst>
                  <a:lin ang="5400000" scaled="0"/>
                </a:gradFill>
                <a:latin typeface="Segoe UI"/>
              </a:endParaRPr>
            </a:p>
          </p:txBody>
        </p:sp>
        <p:sp>
          <p:nvSpPr>
            <p:cNvPr id="705" name="TextBox 9"/>
            <p:cNvSpPr txBox="1"/>
            <p:nvPr/>
          </p:nvSpPr>
          <p:spPr>
            <a:xfrm>
              <a:off x="5227930" y="8018983"/>
              <a:ext cx="822960" cy="295771"/>
            </a:xfrm>
            <a:prstGeom prst="rect">
              <a:avLst/>
            </a:prstGeom>
            <a:noFill/>
          </p:spPr>
          <p:txBody>
            <a:bodyPr wrap="square" lIns="0" tIns="43995" rIns="89642" bIns="89642" rtlCol="0">
              <a:spAutoFit/>
            </a:bodyPr>
            <a:lstStyle/>
            <a:p>
              <a:pPr algn="r" defTabSz="913700" fontAlgn="base">
                <a:lnSpc>
                  <a:spcPct val="90000"/>
                </a:lnSpc>
                <a:spcAft>
                  <a:spcPct val="0"/>
                </a:spcAft>
                <a:defRPr/>
              </a:pPr>
              <a:r>
                <a:rPr lang="en-US" sz="1078" kern="0" spc="-20" dirty="0">
                  <a:gradFill>
                    <a:gsLst>
                      <a:gs pos="14159">
                        <a:srgbClr val="505050"/>
                      </a:gs>
                      <a:gs pos="46018">
                        <a:srgbClr val="505050"/>
                      </a:gs>
                    </a:gsLst>
                    <a:lin ang="5400000" scaled="0"/>
                  </a:gradFill>
                  <a:latin typeface="Segoe UI Semibold" panose="020B0702040204020203" pitchFamily="34" charset="0"/>
                </a:rPr>
                <a:t>Consumers</a:t>
              </a:r>
            </a:p>
          </p:txBody>
        </p:sp>
        <p:sp>
          <p:nvSpPr>
            <p:cNvPr id="706" name="Freeform 131"/>
            <p:cNvSpPr>
              <a:spLocks noChangeAspect="1" noEditPoints="1"/>
            </p:cNvSpPr>
            <p:nvPr/>
          </p:nvSpPr>
          <p:spPr bwMode="auto">
            <a:xfrm>
              <a:off x="5508867" y="7284663"/>
              <a:ext cx="392460" cy="231217"/>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282828"/>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700" fontAlgn="base">
                <a:lnSpc>
                  <a:spcPct val="90000"/>
                </a:lnSpc>
                <a:spcBef>
                  <a:spcPct val="0"/>
                </a:spcBef>
                <a:spcAft>
                  <a:spcPct val="0"/>
                </a:spcAft>
                <a:defRPr/>
              </a:pPr>
              <a:endParaRPr lang="en-US" sz="1961" kern="0">
                <a:gradFill>
                  <a:gsLst>
                    <a:gs pos="84071">
                      <a:srgbClr val="191919"/>
                    </a:gs>
                    <a:gs pos="57000">
                      <a:srgbClr val="191919"/>
                    </a:gs>
                  </a:gsLst>
                  <a:lin ang="5400000" scaled="0"/>
                </a:gradFill>
                <a:latin typeface="Segoe UI"/>
              </a:endParaRPr>
            </a:p>
          </p:txBody>
        </p:sp>
        <p:grpSp>
          <p:nvGrpSpPr>
            <p:cNvPr id="707" name="Group 706"/>
            <p:cNvGrpSpPr/>
            <p:nvPr/>
          </p:nvGrpSpPr>
          <p:grpSpPr>
            <a:xfrm>
              <a:off x="2667296" y="7193414"/>
              <a:ext cx="822960" cy="1051560"/>
              <a:chOff x="2337580" y="-1533276"/>
              <a:chExt cx="822960" cy="1051560"/>
            </a:xfrm>
          </p:grpSpPr>
          <p:sp>
            <p:nvSpPr>
              <p:cNvPr id="717" name="Rectangle 716"/>
              <p:cNvSpPr/>
              <p:nvPr/>
            </p:nvSpPr>
            <p:spPr bwMode="auto">
              <a:xfrm>
                <a:off x="2337580"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Luis</a:t>
                </a:r>
              </a:p>
            </p:txBody>
          </p:sp>
          <p:pic>
            <p:nvPicPr>
              <p:cNvPr id="718" name="Picture 2"/>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l="15119" t="52728" r="69691" b="22899"/>
              <a:stretch/>
            </p:blipFill>
            <p:spPr bwMode="auto">
              <a:xfrm>
                <a:off x="2360440"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8" name="Group 707"/>
            <p:cNvGrpSpPr/>
            <p:nvPr/>
          </p:nvGrpSpPr>
          <p:grpSpPr>
            <a:xfrm>
              <a:off x="1799967" y="7193414"/>
              <a:ext cx="822960" cy="1051560"/>
              <a:chOff x="638676" y="-1533276"/>
              <a:chExt cx="822960" cy="1051560"/>
            </a:xfrm>
          </p:grpSpPr>
          <p:sp>
            <p:nvSpPr>
              <p:cNvPr id="715" name="Rectangle 714"/>
              <p:cNvSpPr/>
              <p:nvPr/>
            </p:nvSpPr>
            <p:spPr bwMode="auto">
              <a:xfrm>
                <a:off x="638676"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Kathy </a:t>
                </a:r>
              </a:p>
            </p:txBody>
          </p:sp>
          <p:pic>
            <p:nvPicPr>
              <p:cNvPr id="716" name="Picture 4"/>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11101" t="28573" r="71872" b="44249"/>
              <a:stretch/>
            </p:blipFill>
            <p:spPr bwMode="auto">
              <a:xfrm>
                <a:off x="661536"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9" name="Group 708"/>
            <p:cNvGrpSpPr/>
            <p:nvPr/>
          </p:nvGrpSpPr>
          <p:grpSpPr>
            <a:xfrm>
              <a:off x="3534625" y="7193414"/>
              <a:ext cx="822960" cy="1051560"/>
              <a:chOff x="10832100" y="-1533276"/>
              <a:chExt cx="822960" cy="1051560"/>
            </a:xfrm>
          </p:grpSpPr>
          <p:sp>
            <p:nvSpPr>
              <p:cNvPr id="713" name="Rectangle 712"/>
              <p:cNvSpPr/>
              <p:nvPr/>
            </p:nvSpPr>
            <p:spPr bwMode="auto">
              <a:xfrm>
                <a:off x="10832100"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Rebecca</a:t>
                </a:r>
              </a:p>
            </p:txBody>
          </p:sp>
          <p:pic>
            <p:nvPicPr>
              <p:cNvPr id="714"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34061" t="53474" r="50749" b="22153"/>
              <a:stretch/>
            </p:blipFill>
            <p:spPr bwMode="auto">
              <a:xfrm>
                <a:off x="10854960"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10" name="Group 709"/>
            <p:cNvGrpSpPr/>
            <p:nvPr/>
          </p:nvGrpSpPr>
          <p:grpSpPr>
            <a:xfrm>
              <a:off x="4404034" y="7193414"/>
              <a:ext cx="822960" cy="1051560"/>
              <a:chOff x="9133196" y="-1533276"/>
              <a:chExt cx="822960" cy="1051560"/>
            </a:xfrm>
          </p:grpSpPr>
          <p:sp>
            <p:nvSpPr>
              <p:cNvPr id="711" name="Rectangle 710"/>
              <p:cNvSpPr/>
              <p:nvPr/>
            </p:nvSpPr>
            <p:spPr bwMode="auto">
              <a:xfrm>
                <a:off x="9133196"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Terry</a:t>
                </a:r>
              </a:p>
            </p:txBody>
          </p:sp>
          <p:pic>
            <p:nvPicPr>
              <p:cNvPr id="712" name="Picture 2"/>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l="72442" t="52722" r="12368" b="22905"/>
              <a:stretch/>
            </p:blipFill>
            <p:spPr bwMode="auto">
              <a:xfrm>
                <a:off x="9156056"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719" name="Group 718"/>
          <p:cNvGrpSpPr/>
          <p:nvPr/>
        </p:nvGrpSpPr>
        <p:grpSpPr>
          <a:xfrm>
            <a:off x="2294467" y="4406788"/>
            <a:ext cx="2896832" cy="209371"/>
            <a:chOff x="2363760" y="4494656"/>
            <a:chExt cx="2954920" cy="213569"/>
          </a:xfrm>
          <a:solidFill>
            <a:srgbClr val="7F7F7F"/>
          </a:solidFill>
        </p:grpSpPr>
        <p:sp>
          <p:nvSpPr>
            <p:cNvPr id="720" name="Freeform 6"/>
            <p:cNvSpPr>
              <a:spLocks noChangeAspect="1" noEditPoints="1"/>
            </p:cNvSpPr>
            <p:nvPr/>
          </p:nvSpPr>
          <p:spPr bwMode="auto">
            <a:xfrm>
              <a:off x="2363760"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1" name="Freeform 6"/>
            <p:cNvSpPr>
              <a:spLocks noChangeAspect="1" noEditPoints="1"/>
            </p:cNvSpPr>
            <p:nvPr/>
          </p:nvSpPr>
          <p:spPr bwMode="auto">
            <a:xfrm>
              <a:off x="2702414"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2" name="Freeform 6"/>
            <p:cNvSpPr>
              <a:spLocks noChangeAspect="1" noEditPoints="1"/>
            </p:cNvSpPr>
            <p:nvPr/>
          </p:nvSpPr>
          <p:spPr bwMode="auto">
            <a:xfrm>
              <a:off x="3041068"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3" name="Freeform 6"/>
            <p:cNvSpPr>
              <a:spLocks noChangeAspect="1" noEditPoints="1"/>
            </p:cNvSpPr>
            <p:nvPr/>
          </p:nvSpPr>
          <p:spPr bwMode="auto">
            <a:xfrm>
              <a:off x="3379722"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4" name="Freeform 6"/>
            <p:cNvSpPr>
              <a:spLocks noChangeAspect="1" noEditPoints="1"/>
            </p:cNvSpPr>
            <p:nvPr/>
          </p:nvSpPr>
          <p:spPr bwMode="auto">
            <a:xfrm>
              <a:off x="3718376"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5" name="Freeform 6"/>
            <p:cNvSpPr>
              <a:spLocks noChangeAspect="1" noEditPoints="1"/>
            </p:cNvSpPr>
            <p:nvPr/>
          </p:nvSpPr>
          <p:spPr bwMode="auto">
            <a:xfrm>
              <a:off x="4395684"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6" name="Freeform 6"/>
            <p:cNvSpPr>
              <a:spLocks noChangeAspect="1" noEditPoints="1"/>
            </p:cNvSpPr>
            <p:nvPr/>
          </p:nvSpPr>
          <p:spPr bwMode="auto">
            <a:xfrm>
              <a:off x="4057030"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7" name="Freeform 6"/>
            <p:cNvSpPr>
              <a:spLocks noChangeAspect="1" noEditPoints="1"/>
            </p:cNvSpPr>
            <p:nvPr/>
          </p:nvSpPr>
          <p:spPr bwMode="auto">
            <a:xfrm>
              <a:off x="4734338"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8" name="Freeform 6"/>
            <p:cNvSpPr>
              <a:spLocks noChangeAspect="1" noEditPoints="1"/>
            </p:cNvSpPr>
            <p:nvPr/>
          </p:nvSpPr>
          <p:spPr bwMode="auto">
            <a:xfrm>
              <a:off x="5072991"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729" name="Group 728"/>
          <p:cNvGrpSpPr/>
          <p:nvPr/>
        </p:nvGrpSpPr>
        <p:grpSpPr>
          <a:xfrm>
            <a:off x="8991142" y="4406788"/>
            <a:ext cx="909681" cy="209371"/>
            <a:chOff x="9171432" y="4580103"/>
            <a:chExt cx="927922" cy="213569"/>
          </a:xfrm>
          <a:solidFill>
            <a:srgbClr val="7F7F7F"/>
          </a:solidFill>
        </p:grpSpPr>
        <p:sp>
          <p:nvSpPr>
            <p:cNvPr id="730" name="Freeform 6"/>
            <p:cNvSpPr>
              <a:spLocks noChangeAspect="1" noEditPoints="1"/>
            </p:cNvSpPr>
            <p:nvPr/>
          </p:nvSpPr>
          <p:spPr bwMode="auto">
            <a:xfrm>
              <a:off x="9171432"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1" name="Freeform 6"/>
            <p:cNvSpPr>
              <a:spLocks noChangeAspect="1" noEditPoints="1"/>
            </p:cNvSpPr>
            <p:nvPr/>
          </p:nvSpPr>
          <p:spPr bwMode="auto">
            <a:xfrm>
              <a:off x="9512550"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2" name="Freeform 6"/>
            <p:cNvSpPr>
              <a:spLocks noChangeAspect="1" noEditPoints="1"/>
            </p:cNvSpPr>
            <p:nvPr/>
          </p:nvSpPr>
          <p:spPr bwMode="auto">
            <a:xfrm>
              <a:off x="9853665"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733" name="Group 732"/>
          <p:cNvGrpSpPr/>
          <p:nvPr/>
        </p:nvGrpSpPr>
        <p:grpSpPr>
          <a:xfrm>
            <a:off x="5762221" y="4406788"/>
            <a:ext cx="909681" cy="209371"/>
            <a:chOff x="5877765" y="4580103"/>
            <a:chExt cx="927922" cy="213569"/>
          </a:xfrm>
          <a:solidFill>
            <a:srgbClr val="7F7F7F"/>
          </a:solidFill>
        </p:grpSpPr>
        <p:sp>
          <p:nvSpPr>
            <p:cNvPr id="734" name="Freeform 6"/>
            <p:cNvSpPr>
              <a:spLocks noChangeAspect="1" noEditPoints="1"/>
            </p:cNvSpPr>
            <p:nvPr/>
          </p:nvSpPr>
          <p:spPr bwMode="auto">
            <a:xfrm>
              <a:off x="5877765"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5" name="Freeform 6"/>
            <p:cNvSpPr>
              <a:spLocks noChangeAspect="1" noEditPoints="1"/>
            </p:cNvSpPr>
            <p:nvPr/>
          </p:nvSpPr>
          <p:spPr bwMode="auto">
            <a:xfrm>
              <a:off x="6218883"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6" name="Freeform 6"/>
            <p:cNvSpPr>
              <a:spLocks noChangeAspect="1" noEditPoints="1"/>
            </p:cNvSpPr>
            <p:nvPr/>
          </p:nvSpPr>
          <p:spPr bwMode="auto">
            <a:xfrm>
              <a:off x="6559998"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737" name="Group 736"/>
          <p:cNvGrpSpPr/>
          <p:nvPr/>
        </p:nvGrpSpPr>
        <p:grpSpPr>
          <a:xfrm>
            <a:off x="7353645" y="4406788"/>
            <a:ext cx="909681" cy="209371"/>
            <a:chOff x="7501100" y="4580103"/>
            <a:chExt cx="927922" cy="213569"/>
          </a:xfrm>
          <a:solidFill>
            <a:srgbClr val="7F7F7F"/>
          </a:solidFill>
        </p:grpSpPr>
        <p:sp>
          <p:nvSpPr>
            <p:cNvPr id="738" name="Freeform 6"/>
            <p:cNvSpPr>
              <a:spLocks noChangeAspect="1" noEditPoints="1"/>
            </p:cNvSpPr>
            <p:nvPr/>
          </p:nvSpPr>
          <p:spPr bwMode="auto">
            <a:xfrm>
              <a:off x="7501100"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9" name="Freeform 6"/>
            <p:cNvSpPr>
              <a:spLocks noChangeAspect="1" noEditPoints="1"/>
            </p:cNvSpPr>
            <p:nvPr/>
          </p:nvSpPr>
          <p:spPr bwMode="auto">
            <a:xfrm>
              <a:off x="7842218"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0" name="Freeform 6"/>
            <p:cNvSpPr>
              <a:spLocks noChangeAspect="1" noEditPoints="1"/>
            </p:cNvSpPr>
            <p:nvPr/>
          </p:nvSpPr>
          <p:spPr bwMode="auto">
            <a:xfrm>
              <a:off x="8183333"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sp>
        <p:nvSpPr>
          <p:cNvPr id="741" name="Rectangle 740"/>
          <p:cNvSpPr/>
          <p:nvPr/>
        </p:nvSpPr>
        <p:spPr bwMode="auto">
          <a:xfrm>
            <a:off x="2621088" y="4406798"/>
            <a:ext cx="250048" cy="233203"/>
          </a:xfrm>
          <a:prstGeom prst="rect">
            <a:avLst/>
          </a:prstGeom>
          <a:no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42" name="Freeform 6"/>
          <p:cNvSpPr>
            <a:spLocks noChangeAspect="1" noEditPoints="1"/>
          </p:cNvSpPr>
          <p:nvPr/>
        </p:nvSpPr>
        <p:spPr bwMode="auto">
          <a:xfrm>
            <a:off x="2626464"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BAD80A"/>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3" name="Rectangle 742"/>
          <p:cNvSpPr/>
          <p:nvPr/>
        </p:nvSpPr>
        <p:spPr bwMode="auto">
          <a:xfrm>
            <a:off x="2948186" y="4406798"/>
            <a:ext cx="250048" cy="233203"/>
          </a:xfrm>
          <a:prstGeom prst="rect">
            <a:avLst/>
          </a:prstGeom>
          <a:no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44" name="Freeform 6"/>
          <p:cNvSpPr>
            <a:spLocks noChangeAspect="1" noEditPoints="1"/>
          </p:cNvSpPr>
          <p:nvPr/>
        </p:nvSpPr>
        <p:spPr bwMode="auto">
          <a:xfrm>
            <a:off x="2958461"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BAD80A"/>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5" name="Rectangle 744"/>
          <p:cNvSpPr/>
          <p:nvPr/>
        </p:nvSpPr>
        <p:spPr bwMode="auto">
          <a:xfrm>
            <a:off x="3622454" y="4406798"/>
            <a:ext cx="250048" cy="233203"/>
          </a:xfrm>
          <a:prstGeom prst="rect">
            <a:avLst/>
          </a:prstGeom>
          <a:no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46" name="Freeform 6"/>
          <p:cNvSpPr>
            <a:spLocks noChangeAspect="1" noEditPoints="1"/>
          </p:cNvSpPr>
          <p:nvPr/>
        </p:nvSpPr>
        <p:spPr bwMode="auto">
          <a:xfrm>
            <a:off x="3622464"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7" name="Rectangle 746"/>
          <p:cNvSpPr/>
          <p:nvPr/>
        </p:nvSpPr>
        <p:spPr bwMode="auto">
          <a:xfrm>
            <a:off x="3949552" y="4406798"/>
            <a:ext cx="250048" cy="233203"/>
          </a:xfrm>
          <a:prstGeom prst="rect">
            <a:avLst/>
          </a:prstGeom>
          <a:no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48" name="Freeform 6"/>
          <p:cNvSpPr>
            <a:spLocks noChangeAspect="1" noEditPoints="1"/>
          </p:cNvSpPr>
          <p:nvPr/>
        </p:nvSpPr>
        <p:spPr bwMode="auto">
          <a:xfrm>
            <a:off x="3954451"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9" name="Rectangle 748"/>
          <p:cNvSpPr/>
          <p:nvPr/>
        </p:nvSpPr>
        <p:spPr bwMode="auto">
          <a:xfrm>
            <a:off x="9318700"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0" name="Freeform 6"/>
          <p:cNvSpPr>
            <a:spLocks noChangeAspect="1" noEditPoints="1"/>
          </p:cNvSpPr>
          <p:nvPr/>
        </p:nvSpPr>
        <p:spPr bwMode="auto">
          <a:xfrm>
            <a:off x="9325565"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51" name="Rectangle 750"/>
          <p:cNvSpPr/>
          <p:nvPr/>
        </p:nvSpPr>
        <p:spPr bwMode="auto">
          <a:xfrm>
            <a:off x="9651913"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2" name="Freeform 6"/>
          <p:cNvSpPr>
            <a:spLocks noChangeAspect="1" noEditPoints="1"/>
          </p:cNvSpPr>
          <p:nvPr/>
        </p:nvSpPr>
        <p:spPr bwMode="auto">
          <a:xfrm>
            <a:off x="9659965"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53" name="Rectangle 752"/>
          <p:cNvSpPr/>
          <p:nvPr/>
        </p:nvSpPr>
        <p:spPr bwMode="auto">
          <a:xfrm>
            <a:off x="6092080"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4" name="Rectangle 753"/>
          <p:cNvSpPr/>
          <p:nvPr/>
        </p:nvSpPr>
        <p:spPr bwMode="auto">
          <a:xfrm>
            <a:off x="6426690"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5" name="Freeform 6"/>
          <p:cNvSpPr>
            <a:spLocks noChangeAspect="1" noEditPoints="1"/>
          </p:cNvSpPr>
          <p:nvPr/>
        </p:nvSpPr>
        <p:spPr bwMode="auto">
          <a:xfrm>
            <a:off x="6431043"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56" name="Rectangle 755"/>
          <p:cNvSpPr/>
          <p:nvPr/>
        </p:nvSpPr>
        <p:spPr bwMode="auto">
          <a:xfrm>
            <a:off x="7678868"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7" name="Freeform 9"/>
          <p:cNvSpPr>
            <a:spLocks noChangeAspect="1" noEditPoints="1"/>
          </p:cNvSpPr>
          <p:nvPr/>
        </p:nvSpPr>
        <p:spPr bwMode="auto">
          <a:xfrm>
            <a:off x="2151729"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Expense </a:t>
            </a:r>
            <a:r>
              <a:rPr lang="en-US" sz="1176" kern="0" dirty="0" err="1">
                <a:gradFill>
                  <a:gsLst>
                    <a:gs pos="40397">
                      <a:srgbClr val="505050"/>
                    </a:gs>
                    <a:gs pos="59000">
                      <a:srgbClr val="505050"/>
                    </a:gs>
                  </a:gsLst>
                  <a:lin ang="5400000" scaled="0"/>
                </a:gradFill>
                <a:latin typeface="Segoe UI"/>
              </a:rPr>
              <a:t>Mgr</a:t>
            </a:r>
            <a:endParaRPr lang="en-US" sz="1176" kern="0" dirty="0">
              <a:gradFill>
                <a:gsLst>
                  <a:gs pos="40397">
                    <a:srgbClr val="505050"/>
                  </a:gs>
                  <a:gs pos="59000">
                    <a:srgbClr val="505050"/>
                  </a:gs>
                </a:gsLst>
                <a:lin ang="5400000" scaled="0"/>
              </a:gradFill>
              <a:latin typeface="Segoe UI"/>
            </a:endParaRPr>
          </a:p>
        </p:txBody>
      </p:sp>
      <p:sp>
        <p:nvSpPr>
          <p:cNvPr id="758" name="Freeform 9"/>
          <p:cNvSpPr>
            <a:spLocks noChangeAspect="1" noEditPoints="1"/>
          </p:cNvSpPr>
          <p:nvPr/>
        </p:nvSpPr>
        <p:spPr bwMode="auto">
          <a:xfrm>
            <a:off x="3367538"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QL</a:t>
            </a:r>
          </a:p>
        </p:txBody>
      </p:sp>
      <p:sp>
        <p:nvSpPr>
          <p:cNvPr id="759" name="Freeform 9"/>
          <p:cNvSpPr>
            <a:spLocks noChangeAspect="1" noEditPoints="1"/>
          </p:cNvSpPr>
          <p:nvPr/>
        </p:nvSpPr>
        <p:spPr bwMode="auto">
          <a:xfrm>
            <a:off x="4583350"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Finance</a:t>
            </a:r>
          </a:p>
        </p:txBody>
      </p:sp>
      <p:sp>
        <p:nvSpPr>
          <p:cNvPr id="760" name="Freeform 9"/>
          <p:cNvSpPr>
            <a:spLocks noChangeAspect="1" noEditPoints="1"/>
          </p:cNvSpPr>
          <p:nvPr/>
        </p:nvSpPr>
        <p:spPr bwMode="auto">
          <a:xfrm>
            <a:off x="5799146"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Oracle</a:t>
            </a:r>
          </a:p>
        </p:txBody>
      </p:sp>
      <p:sp>
        <p:nvSpPr>
          <p:cNvPr id="761" name="Freeform 9"/>
          <p:cNvSpPr>
            <a:spLocks noChangeAspect="1" noEditPoints="1"/>
          </p:cNvSpPr>
          <p:nvPr/>
        </p:nvSpPr>
        <p:spPr bwMode="auto">
          <a:xfrm>
            <a:off x="7014952"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ales App</a:t>
            </a:r>
          </a:p>
        </p:txBody>
      </p:sp>
      <p:sp>
        <p:nvSpPr>
          <p:cNvPr id="762" name="Freeform 9"/>
          <p:cNvSpPr>
            <a:spLocks noChangeAspect="1" noEditPoints="1"/>
          </p:cNvSpPr>
          <p:nvPr/>
        </p:nvSpPr>
        <p:spPr bwMode="auto">
          <a:xfrm>
            <a:off x="8230757"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PS</a:t>
            </a:r>
          </a:p>
        </p:txBody>
      </p:sp>
      <p:sp>
        <p:nvSpPr>
          <p:cNvPr id="763" name="Freeform 9"/>
          <p:cNvSpPr>
            <a:spLocks noChangeAspect="1" noEditPoints="1"/>
          </p:cNvSpPr>
          <p:nvPr/>
        </p:nvSpPr>
        <p:spPr bwMode="auto">
          <a:xfrm>
            <a:off x="9446573"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err="1">
                <a:gradFill>
                  <a:gsLst>
                    <a:gs pos="40397">
                      <a:srgbClr val="505050"/>
                    </a:gs>
                    <a:gs pos="59000">
                      <a:srgbClr val="505050"/>
                    </a:gs>
                  </a:gsLst>
                  <a:lin ang="5400000" scaled="0"/>
                </a:gradFill>
                <a:latin typeface="Segoe UI"/>
              </a:rPr>
              <a:t>Cust</a:t>
            </a:r>
            <a:r>
              <a:rPr lang="en-US" sz="1176" kern="0" dirty="0">
                <a:gradFill>
                  <a:gsLst>
                    <a:gs pos="40397">
                      <a:srgbClr val="505050"/>
                    </a:gs>
                    <a:gs pos="59000">
                      <a:srgbClr val="505050"/>
                    </a:gs>
                  </a:gsLst>
                  <a:lin ang="5400000" scaled="0"/>
                </a:gradFill>
                <a:latin typeface="Segoe UI"/>
              </a:rPr>
              <a:t> Demo</a:t>
            </a:r>
          </a:p>
        </p:txBody>
      </p:sp>
      <p:sp>
        <p:nvSpPr>
          <p:cNvPr id="764" name="Freeform 9"/>
          <p:cNvSpPr>
            <a:spLocks noChangeAspect="1" noEditPoints="1"/>
          </p:cNvSpPr>
          <p:nvPr/>
        </p:nvSpPr>
        <p:spPr bwMode="auto">
          <a:xfrm>
            <a:off x="10662377"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CRM</a:t>
            </a:r>
          </a:p>
        </p:txBody>
      </p:sp>
      <p:grpSp>
        <p:nvGrpSpPr>
          <p:cNvPr id="765" name="finance"/>
          <p:cNvGrpSpPr/>
          <p:nvPr/>
        </p:nvGrpSpPr>
        <p:grpSpPr>
          <a:xfrm>
            <a:off x="4582311" y="2789374"/>
            <a:ext cx="1170692" cy="443169"/>
            <a:chOff x="4674185" y="7822633"/>
            <a:chExt cx="1194167" cy="452055"/>
          </a:xfrm>
        </p:grpSpPr>
        <p:sp>
          <p:nvSpPr>
            <p:cNvPr id="766" name="Rectangle 765"/>
            <p:cNvSpPr/>
            <p:nvPr/>
          </p:nvSpPr>
          <p:spPr bwMode="auto">
            <a:xfrm>
              <a:off x="4674185" y="7822633"/>
              <a:ext cx="1194167" cy="452055"/>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67" name="Freeform 9"/>
            <p:cNvSpPr>
              <a:spLocks noChangeAspect="1" noEditPoints="1"/>
            </p:cNvSpPr>
            <p:nvPr/>
          </p:nvSpPr>
          <p:spPr bwMode="auto">
            <a:xfrm>
              <a:off x="4675245" y="7822633"/>
              <a:ext cx="1193107" cy="452055"/>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BAD80A"/>
            </a:solidFill>
            <a:ln>
              <a:noFill/>
            </a:ln>
          </p:spPr>
          <p:txBody>
            <a:bodyPr vert="horz" wrap="square" lIns="89642" tIns="44821" rIns="89642" bIns="107571"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Finance</a:t>
              </a:r>
            </a:p>
          </p:txBody>
        </p:sp>
      </p:grpSp>
      <p:grpSp>
        <p:nvGrpSpPr>
          <p:cNvPr id="768" name="sales app"/>
          <p:cNvGrpSpPr/>
          <p:nvPr/>
        </p:nvGrpSpPr>
        <p:grpSpPr>
          <a:xfrm>
            <a:off x="7013922" y="2789374"/>
            <a:ext cx="1170692" cy="443169"/>
            <a:chOff x="7154555" y="7822633"/>
            <a:chExt cx="1194167" cy="452055"/>
          </a:xfrm>
        </p:grpSpPr>
        <p:sp>
          <p:nvSpPr>
            <p:cNvPr id="769" name="Rectangle 768"/>
            <p:cNvSpPr/>
            <p:nvPr/>
          </p:nvSpPr>
          <p:spPr bwMode="auto">
            <a:xfrm>
              <a:off x="7154555" y="7822633"/>
              <a:ext cx="1194167" cy="452055"/>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70" name="Freeform 9"/>
            <p:cNvSpPr>
              <a:spLocks noChangeAspect="1" noEditPoints="1"/>
            </p:cNvSpPr>
            <p:nvPr/>
          </p:nvSpPr>
          <p:spPr bwMode="auto">
            <a:xfrm>
              <a:off x="7155615" y="7822633"/>
              <a:ext cx="1193107" cy="452055"/>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FF8C00"/>
            </a:solidFill>
            <a:ln>
              <a:noFill/>
            </a:ln>
          </p:spPr>
          <p:txBody>
            <a:bodyPr vert="horz" wrap="square" lIns="89642" tIns="44821" rIns="89642" bIns="107571"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ales App</a:t>
              </a:r>
            </a:p>
          </p:txBody>
        </p:sp>
      </p:grpSp>
      <p:grpSp>
        <p:nvGrpSpPr>
          <p:cNvPr id="771" name="sps"/>
          <p:cNvGrpSpPr/>
          <p:nvPr/>
        </p:nvGrpSpPr>
        <p:grpSpPr>
          <a:xfrm>
            <a:off x="8230768" y="2789374"/>
            <a:ext cx="1170692" cy="443169"/>
            <a:chOff x="8395800" y="7822633"/>
            <a:chExt cx="1194167" cy="452055"/>
          </a:xfrm>
        </p:grpSpPr>
        <p:sp>
          <p:nvSpPr>
            <p:cNvPr id="772" name="Rectangle 771"/>
            <p:cNvSpPr/>
            <p:nvPr/>
          </p:nvSpPr>
          <p:spPr bwMode="auto">
            <a:xfrm>
              <a:off x="8395800" y="7822633"/>
              <a:ext cx="1194167" cy="452055"/>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73" name="Freeform 9"/>
            <p:cNvSpPr>
              <a:spLocks noChangeAspect="1" noEditPoints="1"/>
            </p:cNvSpPr>
            <p:nvPr/>
          </p:nvSpPr>
          <p:spPr bwMode="auto">
            <a:xfrm>
              <a:off x="8395800" y="7822633"/>
              <a:ext cx="1193107" cy="452055"/>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00BCF2"/>
            </a:solidFill>
            <a:ln>
              <a:noFill/>
            </a:ln>
          </p:spPr>
          <p:txBody>
            <a:bodyPr vert="horz" wrap="square" lIns="89642" tIns="44821" rIns="89642" bIns="107571"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PS</a:t>
              </a:r>
            </a:p>
          </p:txBody>
        </p:sp>
      </p:grpSp>
      <p:sp>
        <p:nvSpPr>
          <p:cNvPr id="774" name="Freeform 6"/>
          <p:cNvSpPr>
            <a:spLocks noChangeAspect="1" noEditPoints="1"/>
          </p:cNvSpPr>
          <p:nvPr/>
        </p:nvSpPr>
        <p:spPr bwMode="auto">
          <a:xfrm>
            <a:off x="6096644"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00BCF2"/>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75" name="Freeform 6"/>
          <p:cNvSpPr>
            <a:spLocks noChangeAspect="1" noEditPoints="1"/>
          </p:cNvSpPr>
          <p:nvPr/>
        </p:nvSpPr>
        <p:spPr bwMode="auto">
          <a:xfrm>
            <a:off x="7688067"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00BCF2"/>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76" name="Rectangle 58"/>
          <p:cNvSpPr/>
          <p:nvPr/>
        </p:nvSpPr>
        <p:spPr>
          <a:xfrm>
            <a:off x="2833008" y="5185425"/>
            <a:ext cx="2375240" cy="304784"/>
          </a:xfrm>
          <a:prstGeom prst="rect">
            <a:avLst/>
          </a:prstGeom>
          <a:solidFill>
            <a:srgbClr val="00BCF2"/>
          </a:solidFill>
          <a:ln w="10795" cap="flat" cmpd="sng" algn="ctr">
            <a:noFill/>
            <a:prstDash val="solid"/>
          </a:ln>
          <a:effectLst/>
        </p:spPr>
        <p:txBody>
          <a:bodyPr vert="horz" lIns="44802" tIns="17928" rIns="0" bIns="0" rtlCol="0" anchor="t" anchorCtr="0"/>
          <a:lstStyle/>
          <a:p>
            <a:pPr defTabSz="897109">
              <a:defRPr/>
            </a:pPr>
            <a:r>
              <a:rPr lang="en-US" sz="980" kern="0" dirty="0">
                <a:gradFill>
                  <a:gsLst>
                    <a:gs pos="95575">
                      <a:srgbClr val="FFFFFF"/>
                    </a:gs>
                    <a:gs pos="79646">
                      <a:srgbClr val="FFFFFF"/>
                    </a:gs>
                  </a:gsLst>
                  <a:lin ang="5400000" scaled="0"/>
                </a:gradFill>
                <a:latin typeface="Segoe UI Semibold" panose="020B0702040204020203" pitchFamily="34" charset="0"/>
                <a:cs typeface="Segoe UI" pitchFamily="34" charset="0"/>
              </a:rPr>
              <a:t>Hyper-V</a:t>
            </a:r>
          </a:p>
        </p:txBody>
      </p:sp>
      <p:sp>
        <p:nvSpPr>
          <p:cNvPr id="777" name="Rectangle 58"/>
          <p:cNvSpPr/>
          <p:nvPr/>
        </p:nvSpPr>
        <p:spPr>
          <a:xfrm>
            <a:off x="7245684" y="4774161"/>
            <a:ext cx="1197017" cy="304784"/>
          </a:xfrm>
          <a:prstGeom prst="rect">
            <a:avLst/>
          </a:prstGeom>
          <a:solidFill>
            <a:srgbClr val="BAD80A"/>
          </a:solidFill>
          <a:ln w="10795" cap="flat" cmpd="sng" algn="ctr">
            <a:noFill/>
            <a:prstDash val="solid"/>
          </a:ln>
          <a:effectLst/>
        </p:spPr>
        <p:txBody>
          <a:bodyPr vert="horz" lIns="44802" tIns="17928" rIns="0" bIns="0" rtlCol="0" anchor="t" anchorCtr="0"/>
          <a:lstStyle/>
          <a:p>
            <a:pPr defTabSz="897109">
              <a:defRPr/>
            </a:pPr>
            <a:r>
              <a:rPr lang="en-US" sz="980" kern="0" dirty="0">
                <a:gradFill>
                  <a:gsLst>
                    <a:gs pos="40708">
                      <a:srgbClr val="191919"/>
                    </a:gs>
                    <a:gs pos="68000">
                      <a:srgbClr val="191919"/>
                    </a:gs>
                  </a:gsLst>
                  <a:lin ang="5400000" scaled="0"/>
                </a:gradFill>
                <a:latin typeface="Segoe UI Semibold" panose="020B0702040204020203" pitchFamily="34" charset="0"/>
                <a:cs typeface="Segoe UI" pitchFamily="34" charset="0"/>
              </a:rPr>
              <a:t>Hyper-V</a:t>
            </a:r>
          </a:p>
        </p:txBody>
      </p:sp>
      <p:grpSp>
        <p:nvGrpSpPr>
          <p:cNvPr id="778" name="Group 777"/>
          <p:cNvGrpSpPr/>
          <p:nvPr/>
        </p:nvGrpSpPr>
        <p:grpSpPr>
          <a:xfrm>
            <a:off x="5553021" y="4857775"/>
            <a:ext cx="1323748" cy="954548"/>
            <a:chOff x="5664370" y="5040993"/>
            <a:chExt cx="1350292" cy="973689"/>
          </a:xfrm>
        </p:grpSpPr>
        <p:sp>
          <p:nvSpPr>
            <p:cNvPr id="779" name="Cloud 778"/>
            <p:cNvSpPr>
              <a:spLocks noChangeAspect="1"/>
            </p:cNvSpPr>
            <p:nvPr/>
          </p:nvSpPr>
          <p:spPr bwMode="auto">
            <a:xfrm rot="21010997" flipV="1">
              <a:off x="5664370" y="5040993"/>
              <a:ext cx="1350292" cy="973689"/>
            </a:xfrm>
            <a:prstGeom prst="cloud">
              <a:avLst/>
            </a:prstGeom>
            <a:solidFill>
              <a:srgbClr val="282828"/>
            </a:solidFill>
            <a:ln>
              <a:noFill/>
            </a:ln>
          </p:spPr>
          <p:txBody>
            <a:bodyPr vert="horz" wrap="square" lIns="89642" tIns="44821" rIns="89642" bIns="44821" numCol="1" anchor="t" anchorCtr="0" compatLnSpc="1">
              <a:prstTxWarp prst="textNoShape">
                <a:avLst/>
              </a:prstTxWarp>
            </a:bodyPr>
            <a:lstStyle/>
            <a:p>
              <a:pPr defTabSz="913965">
                <a:defRPr/>
              </a:pPr>
              <a:endParaRPr lang="en-US" sz="1765" kern="0" dirty="0">
                <a:solidFill>
                  <a:srgbClr val="505050"/>
                </a:solidFill>
                <a:latin typeface="Segoe UI"/>
              </a:endParaRPr>
            </a:p>
          </p:txBody>
        </p:sp>
        <p:grpSp>
          <p:nvGrpSpPr>
            <p:cNvPr id="780" name="Group 779"/>
            <p:cNvGrpSpPr/>
            <p:nvPr/>
          </p:nvGrpSpPr>
          <p:grpSpPr>
            <a:xfrm>
              <a:off x="5875555" y="5421053"/>
              <a:ext cx="927922" cy="213569"/>
              <a:chOff x="9171432" y="4580103"/>
              <a:chExt cx="927922" cy="213569"/>
            </a:xfrm>
            <a:solidFill>
              <a:srgbClr val="FFFFFF"/>
            </a:solidFill>
          </p:grpSpPr>
          <p:sp>
            <p:nvSpPr>
              <p:cNvPr id="781" name="Freeform 6"/>
              <p:cNvSpPr>
                <a:spLocks noChangeAspect="1" noEditPoints="1"/>
              </p:cNvSpPr>
              <p:nvPr/>
            </p:nvSpPr>
            <p:spPr bwMode="auto">
              <a:xfrm>
                <a:off x="9171432"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82" name="Freeform 6"/>
              <p:cNvSpPr>
                <a:spLocks noChangeAspect="1" noEditPoints="1"/>
              </p:cNvSpPr>
              <p:nvPr/>
            </p:nvSpPr>
            <p:spPr bwMode="auto">
              <a:xfrm>
                <a:off x="9512550"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83" name="Freeform 6"/>
              <p:cNvSpPr>
                <a:spLocks noChangeAspect="1" noEditPoints="1"/>
              </p:cNvSpPr>
              <p:nvPr/>
            </p:nvSpPr>
            <p:spPr bwMode="auto">
              <a:xfrm>
                <a:off x="9853665"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grpSp>
        <p:nvGrpSpPr>
          <p:cNvPr id="784" name="Group 783"/>
          <p:cNvGrpSpPr/>
          <p:nvPr/>
        </p:nvGrpSpPr>
        <p:grpSpPr>
          <a:xfrm>
            <a:off x="8822111" y="4864302"/>
            <a:ext cx="1329309" cy="954548"/>
            <a:chOff x="8999012" y="5047651"/>
            <a:chExt cx="1355964" cy="973689"/>
          </a:xfrm>
        </p:grpSpPr>
        <p:sp>
          <p:nvSpPr>
            <p:cNvPr id="785" name="Cloud 784"/>
            <p:cNvSpPr>
              <a:spLocks noChangeAspect="1"/>
            </p:cNvSpPr>
            <p:nvPr/>
          </p:nvSpPr>
          <p:spPr bwMode="auto">
            <a:xfrm rot="21010997" flipV="1">
              <a:off x="8999012" y="5047651"/>
              <a:ext cx="1350292" cy="973689"/>
            </a:xfrm>
            <a:prstGeom prst="cloud">
              <a:avLst/>
            </a:prstGeom>
            <a:solidFill>
              <a:srgbClr val="282828"/>
            </a:solidFill>
            <a:ln>
              <a:noFill/>
            </a:ln>
          </p:spPr>
          <p:txBody>
            <a:bodyPr vert="horz" wrap="square" lIns="89642" tIns="44821" rIns="89642" bIns="44821" numCol="1" anchor="t" anchorCtr="0" compatLnSpc="1">
              <a:prstTxWarp prst="textNoShape">
                <a:avLst/>
              </a:prstTxWarp>
            </a:bodyPr>
            <a:lstStyle/>
            <a:p>
              <a:pPr defTabSz="913965">
                <a:defRPr/>
              </a:pPr>
              <a:endParaRPr lang="en-US" sz="1765" kern="0" dirty="0">
                <a:solidFill>
                  <a:srgbClr val="505050"/>
                </a:solidFill>
                <a:latin typeface="Segoe UI"/>
              </a:endParaRPr>
            </a:p>
          </p:txBody>
        </p:sp>
        <p:sp>
          <p:nvSpPr>
            <p:cNvPr id="786" name="Freeform 11"/>
            <p:cNvSpPr>
              <a:spLocks noChangeAspect="1" noEditPoints="1"/>
            </p:cNvSpPr>
            <p:nvPr/>
          </p:nvSpPr>
          <p:spPr bwMode="auto">
            <a:xfrm>
              <a:off x="9322630" y="5620842"/>
              <a:ext cx="238848" cy="209021"/>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787" name="Group 786"/>
            <p:cNvGrpSpPr>
              <a:grpSpLocks noChangeAspect="1"/>
            </p:cNvGrpSpPr>
            <p:nvPr/>
          </p:nvGrpSpPr>
          <p:grpSpPr>
            <a:xfrm>
              <a:off x="9711140" y="5590362"/>
              <a:ext cx="643836" cy="391505"/>
              <a:chOff x="10012126" y="-6740"/>
              <a:chExt cx="2075166" cy="1261872"/>
            </a:xfrm>
          </p:grpSpPr>
          <p:sp>
            <p:nvSpPr>
              <p:cNvPr id="792" name="Rectangle 791"/>
              <p:cNvSpPr/>
              <p:nvPr/>
            </p:nvSpPr>
            <p:spPr bwMode="auto">
              <a:xfrm>
                <a:off x="10012126" y="-6740"/>
                <a:ext cx="2075166" cy="1261872"/>
              </a:xfrm>
              <a:prstGeom prst="rect">
                <a:avLst/>
              </a:prstGeom>
              <a:solidFill>
                <a:srgbClr val="0072C6"/>
              </a:solidFill>
              <a:ln w="9525" cap="flat" cmpd="sng" algn="ctr">
                <a:solidFill>
                  <a:srgbClr val="FFFFFF">
                    <a:lumMod val="95000"/>
                  </a:srgbClr>
                </a:solid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793" name="Freeform 346"/>
              <p:cNvSpPr>
                <a:spLocks noChangeAspect="1" noEditPoints="1"/>
              </p:cNvSpPr>
              <p:nvPr/>
            </p:nvSpPr>
            <p:spPr bwMode="auto">
              <a:xfrm>
                <a:off x="10193259" y="167458"/>
                <a:ext cx="454905" cy="282355"/>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794" name="Freeform 109"/>
              <p:cNvSpPr>
                <a:spLocks noChangeAspect="1" noEditPoints="1"/>
              </p:cNvSpPr>
              <p:nvPr/>
            </p:nvSpPr>
            <p:spPr bwMode="auto">
              <a:xfrm>
                <a:off x="10880808" y="801805"/>
                <a:ext cx="336847" cy="276856"/>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895954">
                  <a:defRPr/>
                </a:pPr>
                <a:endParaRPr lang="en-US" sz="1765" kern="0">
                  <a:solidFill>
                    <a:srgbClr val="FFFFFF"/>
                  </a:solidFill>
                  <a:latin typeface="Segoe UI"/>
                </a:endParaRPr>
              </a:p>
            </p:txBody>
          </p:sp>
          <p:sp>
            <p:nvSpPr>
              <p:cNvPr id="795" name="Freeform 131"/>
              <p:cNvSpPr>
                <a:spLocks noChangeAspect="1" noEditPoints="1"/>
              </p:cNvSpPr>
              <p:nvPr/>
            </p:nvSpPr>
            <p:spPr bwMode="auto">
              <a:xfrm>
                <a:off x="11482478" y="193027"/>
                <a:ext cx="392459" cy="231217"/>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sp>
            <p:nvSpPr>
              <p:cNvPr id="796" name="Freeform 128"/>
              <p:cNvSpPr>
                <a:spLocks noChangeAspect="1" noEditPoints="1"/>
              </p:cNvSpPr>
              <p:nvPr/>
            </p:nvSpPr>
            <p:spPr bwMode="auto">
              <a:xfrm>
                <a:off x="11529141" y="808565"/>
                <a:ext cx="299133" cy="263337"/>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sp>
            <p:nvSpPr>
              <p:cNvPr id="797" name="Freeform 6"/>
              <p:cNvSpPr>
                <a:spLocks noChangeAspect="1" noEditPoints="1"/>
              </p:cNvSpPr>
              <p:nvPr/>
            </p:nvSpPr>
            <p:spPr bwMode="auto">
              <a:xfrm>
                <a:off x="10243614" y="795932"/>
                <a:ext cx="354195" cy="288602"/>
              </a:xfrm>
              <a:custGeom>
                <a:avLst/>
                <a:gdLst>
                  <a:gd name="T0" fmla="*/ 6 w 103"/>
                  <a:gd name="T1" fmla="*/ 13 h 84"/>
                  <a:gd name="T2" fmla="*/ 6 w 103"/>
                  <a:gd name="T3" fmla="*/ 78 h 84"/>
                  <a:gd name="T4" fmla="*/ 96 w 103"/>
                  <a:gd name="T5" fmla="*/ 78 h 84"/>
                  <a:gd name="T6" fmla="*/ 96 w 103"/>
                  <a:gd name="T7" fmla="*/ 13 h 84"/>
                  <a:gd name="T8" fmla="*/ 6 w 103"/>
                  <a:gd name="T9" fmla="*/ 13 h 84"/>
                  <a:gd name="T10" fmla="*/ 103 w 103"/>
                  <a:gd name="T11" fmla="*/ 0 h 84"/>
                  <a:gd name="T12" fmla="*/ 103 w 103"/>
                  <a:gd name="T13" fmla="*/ 84 h 84"/>
                  <a:gd name="T14" fmla="*/ 0 w 103"/>
                  <a:gd name="T15" fmla="*/ 84 h 84"/>
                  <a:gd name="T16" fmla="*/ 0 w 103"/>
                  <a:gd name="T17" fmla="*/ 0 h 84"/>
                  <a:gd name="T18" fmla="*/ 103 w 103"/>
                  <a:gd name="T19" fmla="*/ 0 h 84"/>
                  <a:gd name="T20" fmla="*/ 14 w 103"/>
                  <a:gd name="T21" fmla="*/ 26 h 84"/>
                  <a:gd name="T22" fmla="*/ 89 w 103"/>
                  <a:gd name="T23" fmla="*/ 26 h 84"/>
                  <a:gd name="T24" fmla="*/ 89 w 103"/>
                  <a:gd name="T25" fmla="*/ 35 h 84"/>
                  <a:gd name="T26" fmla="*/ 14 w 103"/>
                  <a:gd name="T27" fmla="*/ 35 h 84"/>
                  <a:gd name="T28" fmla="*/ 14 w 103"/>
                  <a:gd name="T29" fmla="*/ 26 h 84"/>
                  <a:gd name="T30" fmla="*/ 14 w 103"/>
                  <a:gd name="T31" fmla="*/ 26 h 84"/>
                  <a:gd name="T32" fmla="*/ 14 w 103"/>
                  <a:gd name="T33" fmla="*/ 44 h 84"/>
                  <a:gd name="T34" fmla="*/ 89 w 103"/>
                  <a:gd name="T35" fmla="*/ 44 h 84"/>
                  <a:gd name="T36" fmla="*/ 89 w 103"/>
                  <a:gd name="T37" fmla="*/ 53 h 84"/>
                  <a:gd name="T38" fmla="*/ 14 w 103"/>
                  <a:gd name="T39" fmla="*/ 53 h 84"/>
                  <a:gd name="T40" fmla="*/ 14 w 103"/>
                  <a:gd name="T41" fmla="*/ 44 h 84"/>
                  <a:gd name="T42" fmla="*/ 14 w 103"/>
                  <a:gd name="T43" fmla="*/ 44 h 84"/>
                  <a:gd name="T44" fmla="*/ 14 w 103"/>
                  <a:gd name="T45" fmla="*/ 62 h 84"/>
                  <a:gd name="T46" fmla="*/ 89 w 103"/>
                  <a:gd name="T47" fmla="*/ 62 h 84"/>
                  <a:gd name="T48" fmla="*/ 89 w 103"/>
                  <a:gd name="T49" fmla="*/ 71 h 84"/>
                  <a:gd name="T50" fmla="*/ 14 w 103"/>
                  <a:gd name="T51" fmla="*/ 71 h 84"/>
                  <a:gd name="T52" fmla="*/ 14 w 103"/>
                  <a:gd name="T53" fmla="*/ 62 h 84"/>
                  <a:gd name="T54" fmla="*/ 14 w 103"/>
                  <a:gd name="T55"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84">
                    <a:moveTo>
                      <a:pt x="6" y="13"/>
                    </a:moveTo>
                    <a:cubicBezTo>
                      <a:pt x="6" y="78"/>
                      <a:pt x="6" y="78"/>
                      <a:pt x="6" y="78"/>
                    </a:cubicBezTo>
                    <a:cubicBezTo>
                      <a:pt x="96" y="78"/>
                      <a:pt x="96" y="78"/>
                      <a:pt x="96" y="78"/>
                    </a:cubicBezTo>
                    <a:cubicBezTo>
                      <a:pt x="96" y="13"/>
                      <a:pt x="96" y="13"/>
                      <a:pt x="96" y="13"/>
                    </a:cubicBezTo>
                    <a:cubicBezTo>
                      <a:pt x="64" y="13"/>
                      <a:pt x="25" y="13"/>
                      <a:pt x="6" y="13"/>
                    </a:cubicBezTo>
                    <a:close/>
                    <a:moveTo>
                      <a:pt x="103" y="0"/>
                    </a:moveTo>
                    <a:cubicBezTo>
                      <a:pt x="103" y="84"/>
                      <a:pt x="103" y="84"/>
                      <a:pt x="103" y="84"/>
                    </a:cubicBezTo>
                    <a:cubicBezTo>
                      <a:pt x="0" y="84"/>
                      <a:pt x="0" y="84"/>
                      <a:pt x="0" y="84"/>
                    </a:cubicBezTo>
                    <a:cubicBezTo>
                      <a:pt x="0" y="0"/>
                      <a:pt x="0" y="0"/>
                      <a:pt x="0" y="0"/>
                    </a:cubicBezTo>
                    <a:cubicBezTo>
                      <a:pt x="42" y="0"/>
                      <a:pt x="77" y="0"/>
                      <a:pt x="103" y="0"/>
                    </a:cubicBezTo>
                    <a:close/>
                    <a:moveTo>
                      <a:pt x="14" y="26"/>
                    </a:moveTo>
                    <a:cubicBezTo>
                      <a:pt x="89" y="26"/>
                      <a:pt x="89" y="26"/>
                      <a:pt x="89" y="26"/>
                    </a:cubicBezTo>
                    <a:cubicBezTo>
                      <a:pt x="89" y="35"/>
                      <a:pt x="89" y="35"/>
                      <a:pt x="89" y="35"/>
                    </a:cubicBezTo>
                    <a:cubicBezTo>
                      <a:pt x="14" y="35"/>
                      <a:pt x="14" y="35"/>
                      <a:pt x="14" y="35"/>
                    </a:cubicBezTo>
                    <a:cubicBezTo>
                      <a:pt x="14" y="26"/>
                      <a:pt x="14" y="26"/>
                      <a:pt x="14" y="26"/>
                    </a:cubicBezTo>
                    <a:cubicBezTo>
                      <a:pt x="14" y="26"/>
                      <a:pt x="14" y="26"/>
                      <a:pt x="14" y="26"/>
                    </a:cubicBezTo>
                    <a:close/>
                    <a:moveTo>
                      <a:pt x="14" y="44"/>
                    </a:moveTo>
                    <a:cubicBezTo>
                      <a:pt x="89" y="44"/>
                      <a:pt x="89" y="44"/>
                      <a:pt x="89" y="44"/>
                    </a:cubicBezTo>
                    <a:cubicBezTo>
                      <a:pt x="89" y="53"/>
                      <a:pt x="89" y="53"/>
                      <a:pt x="89" y="53"/>
                    </a:cubicBezTo>
                    <a:cubicBezTo>
                      <a:pt x="14" y="53"/>
                      <a:pt x="14" y="53"/>
                      <a:pt x="14" y="53"/>
                    </a:cubicBezTo>
                    <a:cubicBezTo>
                      <a:pt x="14" y="44"/>
                      <a:pt x="14" y="44"/>
                      <a:pt x="14" y="44"/>
                    </a:cubicBezTo>
                    <a:cubicBezTo>
                      <a:pt x="14" y="44"/>
                      <a:pt x="14" y="44"/>
                      <a:pt x="14" y="44"/>
                    </a:cubicBezTo>
                    <a:close/>
                    <a:moveTo>
                      <a:pt x="14" y="62"/>
                    </a:moveTo>
                    <a:cubicBezTo>
                      <a:pt x="89" y="62"/>
                      <a:pt x="89" y="62"/>
                      <a:pt x="89" y="62"/>
                    </a:cubicBezTo>
                    <a:cubicBezTo>
                      <a:pt x="89" y="71"/>
                      <a:pt x="89" y="71"/>
                      <a:pt x="89" y="71"/>
                    </a:cubicBezTo>
                    <a:cubicBezTo>
                      <a:pt x="14" y="71"/>
                      <a:pt x="14" y="71"/>
                      <a:pt x="14" y="71"/>
                    </a:cubicBezTo>
                    <a:cubicBezTo>
                      <a:pt x="14" y="62"/>
                      <a:pt x="14" y="62"/>
                      <a:pt x="14" y="62"/>
                    </a:cubicBezTo>
                    <a:cubicBezTo>
                      <a:pt x="14" y="62"/>
                      <a:pt x="14" y="62"/>
                      <a:pt x="14" y="62"/>
                    </a:cubicBezTo>
                    <a:close/>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sp>
            <p:nvSpPr>
              <p:cNvPr id="798" name="Freeform 331"/>
              <p:cNvSpPr>
                <a:spLocks noChangeAspect="1" noEditPoints="1"/>
              </p:cNvSpPr>
              <p:nvPr/>
            </p:nvSpPr>
            <p:spPr bwMode="auto">
              <a:xfrm>
                <a:off x="10899140" y="161430"/>
                <a:ext cx="300182" cy="294410"/>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cxnSp>
            <p:nvCxnSpPr>
              <p:cNvPr id="799" name="Straight Connector 798"/>
              <p:cNvCxnSpPr/>
              <p:nvPr/>
            </p:nvCxnSpPr>
            <p:spPr>
              <a:xfrm>
                <a:off x="10106452" y="624344"/>
                <a:ext cx="1886515" cy="0"/>
              </a:xfrm>
              <a:prstGeom prst="line">
                <a:avLst/>
              </a:prstGeom>
              <a:noFill/>
              <a:ln w="3175" cap="flat" cmpd="sng" algn="ctr">
                <a:solidFill>
                  <a:srgbClr val="FFFFFF"/>
                </a:solidFill>
                <a:prstDash val="solid"/>
                <a:headEnd type="none"/>
                <a:tailEnd type="none"/>
              </a:ln>
              <a:effectLst/>
            </p:spPr>
          </p:cxnSp>
        </p:grpSp>
        <p:grpSp>
          <p:nvGrpSpPr>
            <p:cNvPr id="788" name="Group 787"/>
            <p:cNvGrpSpPr/>
            <p:nvPr/>
          </p:nvGrpSpPr>
          <p:grpSpPr>
            <a:xfrm>
              <a:off x="9192623" y="5298762"/>
              <a:ext cx="927922" cy="213569"/>
              <a:chOff x="9171432" y="4580103"/>
              <a:chExt cx="927922" cy="213569"/>
            </a:xfrm>
            <a:solidFill>
              <a:srgbClr val="FFFFFF"/>
            </a:solidFill>
          </p:grpSpPr>
          <p:sp>
            <p:nvSpPr>
              <p:cNvPr id="789" name="Freeform 6"/>
              <p:cNvSpPr>
                <a:spLocks noChangeAspect="1" noEditPoints="1"/>
              </p:cNvSpPr>
              <p:nvPr/>
            </p:nvSpPr>
            <p:spPr bwMode="auto">
              <a:xfrm>
                <a:off x="9171432"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90" name="Freeform 6"/>
              <p:cNvSpPr>
                <a:spLocks noChangeAspect="1" noEditPoints="1"/>
              </p:cNvSpPr>
              <p:nvPr/>
            </p:nvSpPr>
            <p:spPr bwMode="auto">
              <a:xfrm>
                <a:off x="9512550"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91" name="Freeform 6"/>
              <p:cNvSpPr>
                <a:spLocks noChangeAspect="1" noEditPoints="1"/>
              </p:cNvSpPr>
              <p:nvPr/>
            </p:nvSpPr>
            <p:spPr bwMode="auto">
              <a:xfrm>
                <a:off x="9853665"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sp>
        <p:nvSpPr>
          <p:cNvPr id="800" name="Rectangle 62"/>
          <p:cNvSpPr/>
          <p:nvPr/>
        </p:nvSpPr>
        <p:spPr>
          <a:xfrm>
            <a:off x="1718007" y="5170218"/>
            <a:ext cx="1102739" cy="342713"/>
          </a:xfrm>
          <a:prstGeom prst="rect">
            <a:avLst/>
          </a:prstGeom>
          <a:solidFill>
            <a:srgbClr val="FFFFFF">
              <a:lumMod val="95000"/>
            </a:srgbClr>
          </a:solidFill>
          <a:ln w="6350" cap="flat" cmpd="sng" algn="ctr">
            <a:noFill/>
            <a:prstDash val="solid"/>
          </a:ln>
          <a:effectLst/>
        </p:spPr>
        <p:txBody>
          <a:bodyPr vert="horz" wrap="square" lIns="179065" tIns="89532" rIns="0" bIns="89532" rtlCol="0" anchor="ctr">
            <a:noAutofit/>
          </a:bodyPr>
          <a:lstStyle/>
          <a:p>
            <a:pPr defTabSz="896403">
              <a:lnSpc>
                <a:spcPct val="90000"/>
              </a:lnSpc>
              <a:defRPr/>
            </a:pPr>
            <a:r>
              <a:rPr lang="en-US" sz="1078" kern="0" dirty="0">
                <a:gradFill>
                  <a:gsLst>
                    <a:gs pos="56637">
                      <a:srgbClr val="191919"/>
                    </a:gs>
                    <a:gs pos="71000">
                      <a:srgbClr val="191919"/>
                    </a:gs>
                  </a:gsLst>
                  <a:lin ang="5400000" scaled="0"/>
                </a:gradFill>
                <a:latin typeface="Segoe UI Semibold" panose="020B0702040204020203" pitchFamily="34" charset="0"/>
                <a:cs typeface="Segoe UI" pitchFamily="34" charset="0"/>
              </a:rPr>
              <a:t>Virtualization </a:t>
            </a:r>
            <a:br>
              <a:rPr lang="en-US" sz="1078" kern="0" dirty="0">
                <a:gradFill>
                  <a:gsLst>
                    <a:gs pos="56637">
                      <a:srgbClr val="191919"/>
                    </a:gs>
                    <a:gs pos="71000">
                      <a:srgbClr val="191919"/>
                    </a:gs>
                  </a:gsLst>
                  <a:lin ang="5400000" scaled="0"/>
                </a:gradFill>
                <a:latin typeface="Segoe UI Semibold" panose="020B0702040204020203" pitchFamily="34" charset="0"/>
                <a:cs typeface="Segoe UI" pitchFamily="34" charset="0"/>
              </a:rPr>
            </a:br>
            <a:r>
              <a:rPr lang="en-US" sz="1078" kern="0" dirty="0">
                <a:gradFill>
                  <a:gsLst>
                    <a:gs pos="56637">
                      <a:srgbClr val="191919"/>
                    </a:gs>
                    <a:gs pos="71000">
                      <a:srgbClr val="191919"/>
                    </a:gs>
                  </a:gsLst>
                  <a:lin ang="5400000" scaled="0"/>
                </a:gradFill>
                <a:latin typeface="Segoe UI Semibold" panose="020B0702040204020203" pitchFamily="34" charset="0"/>
                <a:cs typeface="Segoe UI" pitchFamily="34" charset="0"/>
              </a:rPr>
              <a:t>platform</a:t>
            </a:r>
          </a:p>
        </p:txBody>
      </p:sp>
      <p:grpSp>
        <p:nvGrpSpPr>
          <p:cNvPr id="821" name="Group 820"/>
          <p:cNvGrpSpPr/>
          <p:nvPr/>
        </p:nvGrpSpPr>
        <p:grpSpPr>
          <a:xfrm>
            <a:off x="7661400" y="2086611"/>
            <a:ext cx="357168" cy="316886"/>
            <a:chOff x="2195513" y="-1231900"/>
            <a:chExt cx="1055688" cy="936625"/>
          </a:xfrm>
          <a:solidFill>
            <a:srgbClr val="FFFFFF"/>
          </a:solidFill>
        </p:grpSpPr>
        <p:sp>
          <p:nvSpPr>
            <p:cNvPr id="822" name="Freeform 5"/>
            <p:cNvSpPr>
              <a:spLocks noEditPoints="1"/>
            </p:cNvSpPr>
            <p:nvPr/>
          </p:nvSpPr>
          <p:spPr bwMode="auto">
            <a:xfrm>
              <a:off x="2578101" y="-938213"/>
              <a:ext cx="673100" cy="642938"/>
            </a:xfrm>
            <a:custGeom>
              <a:avLst/>
              <a:gdLst>
                <a:gd name="T0" fmla="*/ 1400 w 1451"/>
                <a:gd name="T1" fmla="*/ 622 h 1384"/>
                <a:gd name="T2" fmla="*/ 639 w 1451"/>
                <a:gd name="T3" fmla="*/ 0 h 1384"/>
                <a:gd name="T4" fmla="*/ 611 w 1451"/>
                <a:gd name="T5" fmla="*/ 6 h 1384"/>
                <a:gd name="T6" fmla="*/ 252 w 1451"/>
                <a:gd name="T7" fmla="*/ 157 h 1384"/>
                <a:gd name="T8" fmla="*/ 252 w 1451"/>
                <a:gd name="T9" fmla="*/ 157 h 1384"/>
                <a:gd name="T10" fmla="*/ 174 w 1451"/>
                <a:gd name="T11" fmla="*/ 235 h 1384"/>
                <a:gd name="T12" fmla="*/ 51 w 1451"/>
                <a:gd name="T13" fmla="*/ 762 h 1384"/>
                <a:gd name="T14" fmla="*/ 807 w 1451"/>
                <a:gd name="T15" fmla="*/ 1384 h 1384"/>
                <a:gd name="T16" fmla="*/ 840 w 1451"/>
                <a:gd name="T17" fmla="*/ 1384 h 1384"/>
                <a:gd name="T18" fmla="*/ 1199 w 1451"/>
                <a:gd name="T19" fmla="*/ 1227 h 1384"/>
                <a:gd name="T20" fmla="*/ 1271 w 1451"/>
                <a:gd name="T21" fmla="*/ 1154 h 1384"/>
                <a:gd name="T22" fmla="*/ 1271 w 1451"/>
                <a:gd name="T23" fmla="*/ 1154 h 1384"/>
                <a:gd name="T24" fmla="*/ 1400 w 1451"/>
                <a:gd name="T25" fmla="*/ 622 h 1384"/>
                <a:gd name="T26" fmla="*/ 902 w 1451"/>
                <a:gd name="T27" fmla="*/ 818 h 1384"/>
                <a:gd name="T28" fmla="*/ 818 w 1451"/>
                <a:gd name="T29" fmla="*/ 852 h 1384"/>
                <a:gd name="T30" fmla="*/ 745 w 1451"/>
                <a:gd name="T31" fmla="*/ 728 h 1384"/>
                <a:gd name="T32" fmla="*/ 527 w 1451"/>
                <a:gd name="T33" fmla="*/ 863 h 1384"/>
                <a:gd name="T34" fmla="*/ 465 w 1451"/>
                <a:gd name="T35" fmla="*/ 784 h 1384"/>
                <a:gd name="T36" fmla="*/ 695 w 1451"/>
                <a:gd name="T37" fmla="*/ 639 h 1384"/>
                <a:gd name="T38" fmla="*/ 471 w 1451"/>
                <a:gd name="T39" fmla="*/ 235 h 1384"/>
                <a:gd name="T40" fmla="*/ 555 w 1451"/>
                <a:gd name="T41" fmla="*/ 202 h 1384"/>
                <a:gd name="T42" fmla="*/ 773 w 1451"/>
                <a:gd name="T43" fmla="*/ 588 h 1384"/>
                <a:gd name="T44" fmla="*/ 874 w 1451"/>
                <a:gd name="T45" fmla="*/ 521 h 1384"/>
                <a:gd name="T46" fmla="*/ 936 w 1451"/>
                <a:gd name="T47" fmla="*/ 605 h 1384"/>
                <a:gd name="T48" fmla="*/ 824 w 1451"/>
                <a:gd name="T49" fmla="*/ 678 h 1384"/>
                <a:gd name="T50" fmla="*/ 902 w 1451"/>
                <a:gd name="T51" fmla="*/ 818 h 1384"/>
                <a:gd name="T52" fmla="*/ 902 w 1451"/>
                <a:gd name="T53" fmla="*/ 818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1" h="1384">
                  <a:moveTo>
                    <a:pt x="1400" y="622"/>
                  </a:moveTo>
                  <a:cubicBezTo>
                    <a:pt x="1316" y="275"/>
                    <a:pt x="980" y="0"/>
                    <a:pt x="639" y="0"/>
                  </a:cubicBezTo>
                  <a:cubicBezTo>
                    <a:pt x="628" y="0"/>
                    <a:pt x="622" y="0"/>
                    <a:pt x="611" y="6"/>
                  </a:cubicBezTo>
                  <a:cubicBezTo>
                    <a:pt x="460" y="11"/>
                    <a:pt x="336" y="67"/>
                    <a:pt x="252" y="157"/>
                  </a:cubicBezTo>
                  <a:cubicBezTo>
                    <a:pt x="252" y="157"/>
                    <a:pt x="252" y="157"/>
                    <a:pt x="252" y="157"/>
                  </a:cubicBezTo>
                  <a:cubicBezTo>
                    <a:pt x="174" y="235"/>
                    <a:pt x="174" y="235"/>
                    <a:pt x="174" y="235"/>
                  </a:cubicBezTo>
                  <a:cubicBezTo>
                    <a:pt x="51" y="364"/>
                    <a:pt x="0" y="555"/>
                    <a:pt x="51" y="762"/>
                  </a:cubicBezTo>
                  <a:cubicBezTo>
                    <a:pt x="129" y="1115"/>
                    <a:pt x="465" y="1384"/>
                    <a:pt x="807" y="1384"/>
                  </a:cubicBezTo>
                  <a:cubicBezTo>
                    <a:pt x="818" y="1384"/>
                    <a:pt x="829" y="1384"/>
                    <a:pt x="840" y="1384"/>
                  </a:cubicBezTo>
                  <a:cubicBezTo>
                    <a:pt x="986" y="1378"/>
                    <a:pt x="1109" y="1322"/>
                    <a:pt x="1199" y="1227"/>
                  </a:cubicBezTo>
                  <a:cubicBezTo>
                    <a:pt x="1271" y="1154"/>
                    <a:pt x="1271" y="1154"/>
                    <a:pt x="1271" y="1154"/>
                  </a:cubicBezTo>
                  <a:cubicBezTo>
                    <a:pt x="1271" y="1154"/>
                    <a:pt x="1271" y="1154"/>
                    <a:pt x="1271" y="1154"/>
                  </a:cubicBezTo>
                  <a:cubicBezTo>
                    <a:pt x="1395" y="1025"/>
                    <a:pt x="1451" y="835"/>
                    <a:pt x="1400" y="622"/>
                  </a:cubicBezTo>
                  <a:close/>
                  <a:moveTo>
                    <a:pt x="902" y="818"/>
                  </a:moveTo>
                  <a:cubicBezTo>
                    <a:pt x="818" y="852"/>
                    <a:pt x="818" y="852"/>
                    <a:pt x="818" y="852"/>
                  </a:cubicBezTo>
                  <a:cubicBezTo>
                    <a:pt x="745" y="728"/>
                    <a:pt x="745" y="728"/>
                    <a:pt x="745" y="728"/>
                  </a:cubicBezTo>
                  <a:cubicBezTo>
                    <a:pt x="527" y="863"/>
                    <a:pt x="527" y="863"/>
                    <a:pt x="527" y="863"/>
                  </a:cubicBezTo>
                  <a:cubicBezTo>
                    <a:pt x="465" y="784"/>
                    <a:pt x="465" y="784"/>
                    <a:pt x="465" y="784"/>
                  </a:cubicBezTo>
                  <a:cubicBezTo>
                    <a:pt x="695" y="639"/>
                    <a:pt x="695" y="639"/>
                    <a:pt x="695" y="639"/>
                  </a:cubicBezTo>
                  <a:cubicBezTo>
                    <a:pt x="471" y="235"/>
                    <a:pt x="471" y="235"/>
                    <a:pt x="471" y="235"/>
                  </a:cubicBezTo>
                  <a:cubicBezTo>
                    <a:pt x="555" y="202"/>
                    <a:pt x="555" y="202"/>
                    <a:pt x="555" y="202"/>
                  </a:cubicBezTo>
                  <a:cubicBezTo>
                    <a:pt x="773" y="588"/>
                    <a:pt x="773" y="588"/>
                    <a:pt x="773" y="588"/>
                  </a:cubicBezTo>
                  <a:cubicBezTo>
                    <a:pt x="874" y="521"/>
                    <a:pt x="874" y="521"/>
                    <a:pt x="874" y="521"/>
                  </a:cubicBezTo>
                  <a:cubicBezTo>
                    <a:pt x="936" y="605"/>
                    <a:pt x="936" y="605"/>
                    <a:pt x="936" y="605"/>
                  </a:cubicBezTo>
                  <a:cubicBezTo>
                    <a:pt x="824" y="678"/>
                    <a:pt x="824" y="678"/>
                    <a:pt x="824" y="678"/>
                  </a:cubicBezTo>
                  <a:cubicBezTo>
                    <a:pt x="902" y="818"/>
                    <a:pt x="902" y="818"/>
                    <a:pt x="902" y="818"/>
                  </a:cubicBezTo>
                  <a:cubicBezTo>
                    <a:pt x="902" y="818"/>
                    <a:pt x="902" y="818"/>
                    <a:pt x="902"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282828"/>
                </a:solidFill>
                <a:latin typeface="Segoe UI"/>
              </a:endParaRPr>
            </a:p>
          </p:txBody>
        </p:sp>
        <p:sp>
          <p:nvSpPr>
            <p:cNvPr id="823" name="Freeform 6"/>
            <p:cNvSpPr>
              <a:spLocks noEditPoints="1"/>
            </p:cNvSpPr>
            <p:nvPr/>
          </p:nvSpPr>
          <p:spPr bwMode="auto">
            <a:xfrm>
              <a:off x="2195513" y="-1231900"/>
              <a:ext cx="692150" cy="762000"/>
            </a:xfrm>
            <a:custGeom>
              <a:avLst/>
              <a:gdLst>
                <a:gd name="T0" fmla="*/ 1313 w 1492"/>
                <a:gd name="T1" fmla="*/ 185 h 1642"/>
                <a:gd name="T2" fmla="*/ 1034 w 1492"/>
                <a:gd name="T3" fmla="*/ 67 h 1642"/>
                <a:gd name="T4" fmla="*/ 1151 w 1492"/>
                <a:gd name="T5" fmla="*/ 84 h 1642"/>
                <a:gd name="T6" fmla="*/ 1224 w 1492"/>
                <a:gd name="T7" fmla="*/ 185 h 1642"/>
                <a:gd name="T8" fmla="*/ 1151 w 1492"/>
                <a:gd name="T9" fmla="*/ 274 h 1642"/>
                <a:gd name="T10" fmla="*/ 498 w 1492"/>
                <a:gd name="T11" fmla="*/ 185 h 1642"/>
                <a:gd name="T12" fmla="*/ 218 w 1492"/>
                <a:gd name="T13" fmla="*/ 67 h 1642"/>
                <a:gd name="T14" fmla="*/ 341 w 1492"/>
                <a:gd name="T15" fmla="*/ 84 h 1642"/>
                <a:gd name="T16" fmla="*/ 408 w 1492"/>
                <a:gd name="T17" fmla="*/ 185 h 1642"/>
                <a:gd name="T18" fmla="*/ 341 w 1492"/>
                <a:gd name="T19" fmla="*/ 274 h 1642"/>
                <a:gd name="T20" fmla="*/ 73 w 1492"/>
                <a:gd name="T21" fmla="*/ 185 h 1642"/>
                <a:gd name="T22" fmla="*/ 0 w 1492"/>
                <a:gd name="T23" fmla="*/ 1574 h 1642"/>
                <a:gd name="T24" fmla="*/ 866 w 1492"/>
                <a:gd name="T25" fmla="*/ 1642 h 1642"/>
                <a:gd name="T26" fmla="*/ 554 w 1492"/>
                <a:gd name="T27" fmla="*/ 1535 h 1642"/>
                <a:gd name="T28" fmla="*/ 760 w 1492"/>
                <a:gd name="T29" fmla="*/ 1266 h 1642"/>
                <a:gd name="T30" fmla="*/ 554 w 1492"/>
                <a:gd name="T31" fmla="*/ 1188 h 1642"/>
                <a:gd name="T32" fmla="*/ 855 w 1492"/>
                <a:gd name="T33" fmla="*/ 896 h 1642"/>
                <a:gd name="T34" fmla="*/ 554 w 1492"/>
                <a:gd name="T35" fmla="*/ 818 h 1642"/>
                <a:gd name="T36" fmla="*/ 939 w 1492"/>
                <a:gd name="T37" fmla="*/ 549 h 1642"/>
                <a:gd name="T38" fmla="*/ 1006 w 1492"/>
                <a:gd name="T39" fmla="*/ 728 h 1642"/>
                <a:gd name="T40" fmla="*/ 1017 w 1492"/>
                <a:gd name="T41" fmla="*/ 549 h 1642"/>
                <a:gd name="T42" fmla="*/ 1425 w 1492"/>
                <a:gd name="T43" fmla="*/ 543 h 1642"/>
                <a:gd name="T44" fmla="*/ 1492 w 1492"/>
                <a:gd name="T45" fmla="*/ 543 h 1642"/>
                <a:gd name="T46" fmla="*/ 1420 w 1492"/>
                <a:gd name="T47" fmla="*/ 185 h 1642"/>
                <a:gd name="T48" fmla="*/ 107 w 1492"/>
                <a:gd name="T49" fmla="*/ 1535 h 1642"/>
                <a:gd name="T50" fmla="*/ 475 w 1492"/>
                <a:gd name="T51" fmla="*/ 1266 h 1642"/>
                <a:gd name="T52" fmla="*/ 475 w 1492"/>
                <a:gd name="T53" fmla="*/ 1535 h 1642"/>
                <a:gd name="T54" fmla="*/ 107 w 1492"/>
                <a:gd name="T55" fmla="*/ 1188 h 1642"/>
                <a:gd name="T56" fmla="*/ 475 w 1492"/>
                <a:gd name="T57" fmla="*/ 896 h 1642"/>
                <a:gd name="T58" fmla="*/ 475 w 1492"/>
                <a:gd name="T59" fmla="*/ 1188 h 1642"/>
                <a:gd name="T60" fmla="*/ 107 w 1492"/>
                <a:gd name="T61" fmla="*/ 818 h 1642"/>
                <a:gd name="T62" fmla="*/ 475 w 1492"/>
                <a:gd name="T63" fmla="*/ 549 h 1642"/>
                <a:gd name="T64" fmla="*/ 475 w 1492"/>
                <a:gd name="T65" fmla="*/ 818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2" h="1642">
                  <a:moveTo>
                    <a:pt x="1420" y="185"/>
                  </a:moveTo>
                  <a:cubicBezTo>
                    <a:pt x="1313" y="185"/>
                    <a:pt x="1313" y="185"/>
                    <a:pt x="1313" y="185"/>
                  </a:cubicBezTo>
                  <a:cubicBezTo>
                    <a:pt x="1308" y="84"/>
                    <a:pt x="1241" y="0"/>
                    <a:pt x="1151" y="0"/>
                  </a:cubicBezTo>
                  <a:cubicBezTo>
                    <a:pt x="1107" y="0"/>
                    <a:pt x="1062" y="28"/>
                    <a:pt x="1034" y="67"/>
                  </a:cubicBezTo>
                  <a:cubicBezTo>
                    <a:pt x="1107" y="112"/>
                    <a:pt x="1107" y="112"/>
                    <a:pt x="1107" y="112"/>
                  </a:cubicBezTo>
                  <a:cubicBezTo>
                    <a:pt x="1118" y="95"/>
                    <a:pt x="1135" y="84"/>
                    <a:pt x="1151" y="84"/>
                  </a:cubicBezTo>
                  <a:cubicBezTo>
                    <a:pt x="1190" y="84"/>
                    <a:pt x="1224" y="129"/>
                    <a:pt x="1224" y="179"/>
                  </a:cubicBezTo>
                  <a:cubicBezTo>
                    <a:pt x="1224" y="185"/>
                    <a:pt x="1224" y="185"/>
                    <a:pt x="1224" y="185"/>
                  </a:cubicBezTo>
                  <a:cubicBezTo>
                    <a:pt x="1224" y="185"/>
                    <a:pt x="1224" y="185"/>
                    <a:pt x="1224" y="185"/>
                  </a:cubicBezTo>
                  <a:cubicBezTo>
                    <a:pt x="1218" y="235"/>
                    <a:pt x="1190" y="274"/>
                    <a:pt x="1151" y="274"/>
                  </a:cubicBezTo>
                  <a:cubicBezTo>
                    <a:pt x="1118" y="274"/>
                    <a:pt x="1084" y="235"/>
                    <a:pt x="1084" y="185"/>
                  </a:cubicBezTo>
                  <a:cubicBezTo>
                    <a:pt x="498" y="185"/>
                    <a:pt x="498" y="185"/>
                    <a:pt x="498" y="185"/>
                  </a:cubicBezTo>
                  <a:cubicBezTo>
                    <a:pt x="498" y="84"/>
                    <a:pt x="425" y="0"/>
                    <a:pt x="341" y="0"/>
                  </a:cubicBezTo>
                  <a:cubicBezTo>
                    <a:pt x="291" y="0"/>
                    <a:pt x="246" y="28"/>
                    <a:pt x="218" y="67"/>
                  </a:cubicBezTo>
                  <a:cubicBezTo>
                    <a:pt x="291" y="112"/>
                    <a:pt x="291" y="112"/>
                    <a:pt x="291" y="112"/>
                  </a:cubicBezTo>
                  <a:cubicBezTo>
                    <a:pt x="302" y="95"/>
                    <a:pt x="319" y="84"/>
                    <a:pt x="341" y="84"/>
                  </a:cubicBezTo>
                  <a:cubicBezTo>
                    <a:pt x="380" y="84"/>
                    <a:pt x="408" y="129"/>
                    <a:pt x="408" y="179"/>
                  </a:cubicBezTo>
                  <a:cubicBezTo>
                    <a:pt x="408" y="185"/>
                    <a:pt x="408" y="185"/>
                    <a:pt x="408" y="185"/>
                  </a:cubicBezTo>
                  <a:cubicBezTo>
                    <a:pt x="408" y="185"/>
                    <a:pt x="408" y="185"/>
                    <a:pt x="408" y="185"/>
                  </a:cubicBezTo>
                  <a:cubicBezTo>
                    <a:pt x="408" y="235"/>
                    <a:pt x="375" y="274"/>
                    <a:pt x="341" y="274"/>
                  </a:cubicBezTo>
                  <a:cubicBezTo>
                    <a:pt x="302" y="274"/>
                    <a:pt x="274" y="235"/>
                    <a:pt x="269" y="185"/>
                  </a:cubicBezTo>
                  <a:cubicBezTo>
                    <a:pt x="73" y="185"/>
                    <a:pt x="73" y="185"/>
                    <a:pt x="73" y="185"/>
                  </a:cubicBezTo>
                  <a:cubicBezTo>
                    <a:pt x="34" y="185"/>
                    <a:pt x="0" y="218"/>
                    <a:pt x="0" y="258"/>
                  </a:cubicBezTo>
                  <a:cubicBezTo>
                    <a:pt x="0" y="1574"/>
                    <a:pt x="0" y="1574"/>
                    <a:pt x="0" y="1574"/>
                  </a:cubicBezTo>
                  <a:cubicBezTo>
                    <a:pt x="0" y="1614"/>
                    <a:pt x="34" y="1642"/>
                    <a:pt x="73" y="1642"/>
                  </a:cubicBezTo>
                  <a:cubicBezTo>
                    <a:pt x="866" y="1642"/>
                    <a:pt x="866" y="1642"/>
                    <a:pt x="866" y="1642"/>
                  </a:cubicBezTo>
                  <a:cubicBezTo>
                    <a:pt x="850" y="1608"/>
                    <a:pt x="833" y="1574"/>
                    <a:pt x="816" y="1535"/>
                  </a:cubicBezTo>
                  <a:cubicBezTo>
                    <a:pt x="554" y="1535"/>
                    <a:pt x="554" y="1535"/>
                    <a:pt x="554" y="1535"/>
                  </a:cubicBezTo>
                  <a:cubicBezTo>
                    <a:pt x="554" y="1266"/>
                    <a:pt x="554" y="1266"/>
                    <a:pt x="554" y="1266"/>
                  </a:cubicBezTo>
                  <a:cubicBezTo>
                    <a:pt x="760" y="1266"/>
                    <a:pt x="760" y="1266"/>
                    <a:pt x="760" y="1266"/>
                  </a:cubicBezTo>
                  <a:cubicBezTo>
                    <a:pt x="760" y="1238"/>
                    <a:pt x="760" y="1216"/>
                    <a:pt x="760" y="1188"/>
                  </a:cubicBezTo>
                  <a:cubicBezTo>
                    <a:pt x="554" y="1188"/>
                    <a:pt x="554" y="1188"/>
                    <a:pt x="554" y="1188"/>
                  </a:cubicBezTo>
                  <a:cubicBezTo>
                    <a:pt x="554" y="896"/>
                    <a:pt x="554" y="896"/>
                    <a:pt x="554" y="896"/>
                  </a:cubicBezTo>
                  <a:cubicBezTo>
                    <a:pt x="855" y="896"/>
                    <a:pt x="855" y="896"/>
                    <a:pt x="855" y="896"/>
                  </a:cubicBezTo>
                  <a:cubicBezTo>
                    <a:pt x="872" y="868"/>
                    <a:pt x="894" y="846"/>
                    <a:pt x="917" y="818"/>
                  </a:cubicBezTo>
                  <a:cubicBezTo>
                    <a:pt x="554" y="818"/>
                    <a:pt x="554" y="818"/>
                    <a:pt x="554" y="818"/>
                  </a:cubicBezTo>
                  <a:cubicBezTo>
                    <a:pt x="554" y="549"/>
                    <a:pt x="554" y="549"/>
                    <a:pt x="554" y="549"/>
                  </a:cubicBezTo>
                  <a:cubicBezTo>
                    <a:pt x="939" y="549"/>
                    <a:pt x="939" y="549"/>
                    <a:pt x="939" y="549"/>
                  </a:cubicBezTo>
                  <a:cubicBezTo>
                    <a:pt x="939" y="795"/>
                    <a:pt x="939" y="795"/>
                    <a:pt x="939" y="795"/>
                  </a:cubicBezTo>
                  <a:cubicBezTo>
                    <a:pt x="1006" y="728"/>
                    <a:pt x="1006" y="728"/>
                    <a:pt x="1006" y="728"/>
                  </a:cubicBezTo>
                  <a:cubicBezTo>
                    <a:pt x="1012" y="723"/>
                    <a:pt x="1012" y="717"/>
                    <a:pt x="1017" y="717"/>
                  </a:cubicBezTo>
                  <a:cubicBezTo>
                    <a:pt x="1017" y="549"/>
                    <a:pt x="1017" y="549"/>
                    <a:pt x="1017" y="549"/>
                  </a:cubicBezTo>
                  <a:cubicBezTo>
                    <a:pt x="1375" y="549"/>
                    <a:pt x="1375" y="549"/>
                    <a:pt x="1375" y="549"/>
                  </a:cubicBezTo>
                  <a:cubicBezTo>
                    <a:pt x="1392" y="549"/>
                    <a:pt x="1408" y="543"/>
                    <a:pt x="1425" y="543"/>
                  </a:cubicBezTo>
                  <a:cubicBezTo>
                    <a:pt x="1436" y="543"/>
                    <a:pt x="1448" y="543"/>
                    <a:pt x="1459" y="543"/>
                  </a:cubicBezTo>
                  <a:cubicBezTo>
                    <a:pt x="1470" y="543"/>
                    <a:pt x="1481" y="543"/>
                    <a:pt x="1492" y="543"/>
                  </a:cubicBezTo>
                  <a:cubicBezTo>
                    <a:pt x="1492" y="258"/>
                    <a:pt x="1492" y="258"/>
                    <a:pt x="1492" y="258"/>
                  </a:cubicBezTo>
                  <a:cubicBezTo>
                    <a:pt x="1492" y="218"/>
                    <a:pt x="1459" y="185"/>
                    <a:pt x="1420" y="185"/>
                  </a:cubicBezTo>
                  <a:close/>
                  <a:moveTo>
                    <a:pt x="475" y="1535"/>
                  </a:moveTo>
                  <a:cubicBezTo>
                    <a:pt x="107" y="1535"/>
                    <a:pt x="107" y="1535"/>
                    <a:pt x="107" y="1535"/>
                  </a:cubicBezTo>
                  <a:cubicBezTo>
                    <a:pt x="107" y="1266"/>
                    <a:pt x="107" y="1266"/>
                    <a:pt x="107" y="1266"/>
                  </a:cubicBezTo>
                  <a:cubicBezTo>
                    <a:pt x="475" y="1266"/>
                    <a:pt x="475" y="1266"/>
                    <a:pt x="475" y="1266"/>
                  </a:cubicBezTo>
                  <a:cubicBezTo>
                    <a:pt x="475" y="1535"/>
                    <a:pt x="475" y="1535"/>
                    <a:pt x="475" y="1535"/>
                  </a:cubicBezTo>
                  <a:cubicBezTo>
                    <a:pt x="475" y="1535"/>
                    <a:pt x="475" y="1535"/>
                    <a:pt x="475" y="1535"/>
                  </a:cubicBezTo>
                  <a:close/>
                  <a:moveTo>
                    <a:pt x="475" y="1188"/>
                  </a:moveTo>
                  <a:cubicBezTo>
                    <a:pt x="107" y="1188"/>
                    <a:pt x="107" y="1188"/>
                    <a:pt x="107" y="1188"/>
                  </a:cubicBezTo>
                  <a:cubicBezTo>
                    <a:pt x="107" y="896"/>
                    <a:pt x="107" y="896"/>
                    <a:pt x="107" y="896"/>
                  </a:cubicBezTo>
                  <a:cubicBezTo>
                    <a:pt x="475" y="896"/>
                    <a:pt x="475" y="896"/>
                    <a:pt x="475" y="896"/>
                  </a:cubicBezTo>
                  <a:cubicBezTo>
                    <a:pt x="475" y="1188"/>
                    <a:pt x="475" y="1188"/>
                    <a:pt x="475" y="1188"/>
                  </a:cubicBezTo>
                  <a:cubicBezTo>
                    <a:pt x="475" y="1188"/>
                    <a:pt x="475" y="1188"/>
                    <a:pt x="475" y="1188"/>
                  </a:cubicBezTo>
                  <a:close/>
                  <a:moveTo>
                    <a:pt x="475" y="818"/>
                  </a:moveTo>
                  <a:cubicBezTo>
                    <a:pt x="107" y="818"/>
                    <a:pt x="107" y="818"/>
                    <a:pt x="107" y="818"/>
                  </a:cubicBezTo>
                  <a:cubicBezTo>
                    <a:pt x="107" y="549"/>
                    <a:pt x="107" y="549"/>
                    <a:pt x="107" y="549"/>
                  </a:cubicBezTo>
                  <a:cubicBezTo>
                    <a:pt x="475" y="549"/>
                    <a:pt x="475" y="549"/>
                    <a:pt x="475" y="549"/>
                  </a:cubicBezTo>
                  <a:cubicBezTo>
                    <a:pt x="475" y="818"/>
                    <a:pt x="475" y="818"/>
                    <a:pt x="475" y="818"/>
                  </a:cubicBezTo>
                  <a:cubicBezTo>
                    <a:pt x="475" y="818"/>
                    <a:pt x="475" y="818"/>
                    <a:pt x="475"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282828"/>
                </a:solidFill>
                <a:latin typeface="Segoe UI"/>
              </a:endParaRPr>
            </a:p>
          </p:txBody>
        </p:sp>
      </p:grpSp>
      <p:grpSp>
        <p:nvGrpSpPr>
          <p:cNvPr id="826" name="Group 825"/>
          <p:cNvGrpSpPr/>
          <p:nvPr/>
        </p:nvGrpSpPr>
        <p:grpSpPr>
          <a:xfrm>
            <a:off x="10436309" y="4464650"/>
            <a:ext cx="1275566" cy="727211"/>
            <a:chOff x="10645578" y="4553678"/>
            <a:chExt cx="1301144" cy="741793"/>
          </a:xfrm>
        </p:grpSpPr>
        <p:sp>
          <p:nvSpPr>
            <p:cNvPr id="827" name="Cloud 826"/>
            <p:cNvSpPr>
              <a:spLocks noChangeAspect="1"/>
            </p:cNvSpPr>
            <p:nvPr/>
          </p:nvSpPr>
          <p:spPr bwMode="auto">
            <a:xfrm rot="10800000" flipV="1">
              <a:off x="10645578" y="4612480"/>
              <a:ext cx="1125772" cy="682991"/>
            </a:xfrm>
            <a:prstGeom prst="cloud">
              <a:avLst/>
            </a:prstGeom>
            <a:solidFill>
              <a:srgbClr val="7F7F7F"/>
            </a:solidFill>
            <a:ln>
              <a:noFill/>
            </a:ln>
          </p:spPr>
          <p:txBody>
            <a:bodyPr vert="horz" wrap="square" lIns="89642" tIns="44821" rIns="89642" bIns="44821" numCol="1" anchor="ctr" anchorCtr="0" compatLnSpc="1">
              <a:prstTxWarp prst="textNoShape">
                <a:avLst/>
              </a:prstTxWarp>
            </a:bodyPr>
            <a:lstStyle/>
            <a:p>
              <a:pPr defTabSz="913965">
                <a:defRPr/>
              </a:pPr>
              <a:r>
                <a:rPr lang="en-US" sz="1765" kern="0" dirty="0" err="1">
                  <a:solidFill>
                    <a:srgbClr val="FFFFFF"/>
                  </a:solidFill>
                  <a:latin typeface="Segoe UI"/>
                </a:rPr>
                <a:t>PaaS</a:t>
              </a:r>
              <a:endParaRPr lang="en-US" sz="1765" kern="0" dirty="0">
                <a:solidFill>
                  <a:srgbClr val="FFFFFF"/>
                </a:solidFill>
                <a:latin typeface="Segoe UI"/>
              </a:endParaRPr>
            </a:p>
          </p:txBody>
        </p:sp>
        <p:grpSp>
          <p:nvGrpSpPr>
            <p:cNvPr id="828" name="Group 827"/>
            <p:cNvGrpSpPr/>
            <p:nvPr/>
          </p:nvGrpSpPr>
          <p:grpSpPr>
            <a:xfrm>
              <a:off x="11409098" y="4553678"/>
              <a:ext cx="537624" cy="277465"/>
              <a:chOff x="9356157" y="-657922"/>
              <a:chExt cx="2075166" cy="1070979"/>
            </a:xfrm>
          </p:grpSpPr>
          <p:sp>
            <p:nvSpPr>
              <p:cNvPr id="829" name="Rectangle 828"/>
              <p:cNvSpPr/>
              <p:nvPr/>
            </p:nvSpPr>
            <p:spPr bwMode="auto">
              <a:xfrm>
                <a:off x="9356157" y="-657922"/>
                <a:ext cx="2075166" cy="1070979"/>
              </a:xfrm>
              <a:prstGeom prst="rect">
                <a:avLst/>
              </a:prstGeom>
              <a:solidFill>
                <a:srgbClr val="0072C6"/>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830" name="Freeform 109"/>
              <p:cNvSpPr>
                <a:spLocks noChangeAspect="1" noEditPoints="1"/>
              </p:cNvSpPr>
              <p:nvPr/>
            </p:nvSpPr>
            <p:spPr bwMode="auto">
              <a:xfrm>
                <a:off x="10224839" y="-11843"/>
                <a:ext cx="336847" cy="276856"/>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895954">
                  <a:defRPr/>
                </a:pPr>
                <a:endParaRPr lang="en-US" sz="1765" kern="0">
                  <a:solidFill>
                    <a:srgbClr val="FFFFFF"/>
                  </a:solidFill>
                  <a:latin typeface="Segoe UI"/>
                </a:endParaRPr>
              </a:p>
            </p:txBody>
          </p:sp>
          <p:sp>
            <p:nvSpPr>
              <p:cNvPr id="831" name="Freeform 6"/>
              <p:cNvSpPr>
                <a:spLocks noChangeAspect="1" noEditPoints="1"/>
              </p:cNvSpPr>
              <p:nvPr/>
            </p:nvSpPr>
            <p:spPr bwMode="auto">
              <a:xfrm>
                <a:off x="9587640" y="-17716"/>
                <a:ext cx="354195" cy="288602"/>
              </a:xfrm>
              <a:custGeom>
                <a:avLst/>
                <a:gdLst>
                  <a:gd name="T0" fmla="*/ 6 w 103"/>
                  <a:gd name="T1" fmla="*/ 13 h 84"/>
                  <a:gd name="T2" fmla="*/ 6 w 103"/>
                  <a:gd name="T3" fmla="*/ 78 h 84"/>
                  <a:gd name="T4" fmla="*/ 96 w 103"/>
                  <a:gd name="T5" fmla="*/ 78 h 84"/>
                  <a:gd name="T6" fmla="*/ 96 w 103"/>
                  <a:gd name="T7" fmla="*/ 13 h 84"/>
                  <a:gd name="T8" fmla="*/ 6 w 103"/>
                  <a:gd name="T9" fmla="*/ 13 h 84"/>
                  <a:gd name="T10" fmla="*/ 103 w 103"/>
                  <a:gd name="T11" fmla="*/ 0 h 84"/>
                  <a:gd name="T12" fmla="*/ 103 w 103"/>
                  <a:gd name="T13" fmla="*/ 84 h 84"/>
                  <a:gd name="T14" fmla="*/ 0 w 103"/>
                  <a:gd name="T15" fmla="*/ 84 h 84"/>
                  <a:gd name="T16" fmla="*/ 0 w 103"/>
                  <a:gd name="T17" fmla="*/ 0 h 84"/>
                  <a:gd name="T18" fmla="*/ 103 w 103"/>
                  <a:gd name="T19" fmla="*/ 0 h 84"/>
                  <a:gd name="T20" fmla="*/ 14 w 103"/>
                  <a:gd name="T21" fmla="*/ 26 h 84"/>
                  <a:gd name="T22" fmla="*/ 89 w 103"/>
                  <a:gd name="T23" fmla="*/ 26 h 84"/>
                  <a:gd name="T24" fmla="*/ 89 w 103"/>
                  <a:gd name="T25" fmla="*/ 35 h 84"/>
                  <a:gd name="T26" fmla="*/ 14 w 103"/>
                  <a:gd name="T27" fmla="*/ 35 h 84"/>
                  <a:gd name="T28" fmla="*/ 14 w 103"/>
                  <a:gd name="T29" fmla="*/ 26 h 84"/>
                  <a:gd name="T30" fmla="*/ 14 w 103"/>
                  <a:gd name="T31" fmla="*/ 26 h 84"/>
                  <a:gd name="T32" fmla="*/ 14 w 103"/>
                  <a:gd name="T33" fmla="*/ 44 h 84"/>
                  <a:gd name="T34" fmla="*/ 89 w 103"/>
                  <a:gd name="T35" fmla="*/ 44 h 84"/>
                  <a:gd name="T36" fmla="*/ 89 w 103"/>
                  <a:gd name="T37" fmla="*/ 53 h 84"/>
                  <a:gd name="T38" fmla="*/ 14 w 103"/>
                  <a:gd name="T39" fmla="*/ 53 h 84"/>
                  <a:gd name="T40" fmla="*/ 14 w 103"/>
                  <a:gd name="T41" fmla="*/ 44 h 84"/>
                  <a:gd name="T42" fmla="*/ 14 w 103"/>
                  <a:gd name="T43" fmla="*/ 44 h 84"/>
                  <a:gd name="T44" fmla="*/ 14 w 103"/>
                  <a:gd name="T45" fmla="*/ 62 h 84"/>
                  <a:gd name="T46" fmla="*/ 89 w 103"/>
                  <a:gd name="T47" fmla="*/ 62 h 84"/>
                  <a:gd name="T48" fmla="*/ 89 w 103"/>
                  <a:gd name="T49" fmla="*/ 71 h 84"/>
                  <a:gd name="T50" fmla="*/ 14 w 103"/>
                  <a:gd name="T51" fmla="*/ 71 h 84"/>
                  <a:gd name="T52" fmla="*/ 14 w 103"/>
                  <a:gd name="T53" fmla="*/ 62 h 84"/>
                  <a:gd name="T54" fmla="*/ 14 w 103"/>
                  <a:gd name="T55"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84">
                    <a:moveTo>
                      <a:pt x="6" y="13"/>
                    </a:moveTo>
                    <a:cubicBezTo>
                      <a:pt x="6" y="78"/>
                      <a:pt x="6" y="78"/>
                      <a:pt x="6" y="78"/>
                    </a:cubicBezTo>
                    <a:cubicBezTo>
                      <a:pt x="96" y="78"/>
                      <a:pt x="96" y="78"/>
                      <a:pt x="96" y="78"/>
                    </a:cubicBezTo>
                    <a:cubicBezTo>
                      <a:pt x="96" y="13"/>
                      <a:pt x="96" y="13"/>
                      <a:pt x="96" y="13"/>
                    </a:cubicBezTo>
                    <a:cubicBezTo>
                      <a:pt x="64" y="13"/>
                      <a:pt x="25" y="13"/>
                      <a:pt x="6" y="13"/>
                    </a:cubicBezTo>
                    <a:close/>
                    <a:moveTo>
                      <a:pt x="103" y="0"/>
                    </a:moveTo>
                    <a:cubicBezTo>
                      <a:pt x="103" y="84"/>
                      <a:pt x="103" y="84"/>
                      <a:pt x="103" y="84"/>
                    </a:cubicBezTo>
                    <a:cubicBezTo>
                      <a:pt x="0" y="84"/>
                      <a:pt x="0" y="84"/>
                      <a:pt x="0" y="84"/>
                    </a:cubicBezTo>
                    <a:cubicBezTo>
                      <a:pt x="0" y="0"/>
                      <a:pt x="0" y="0"/>
                      <a:pt x="0" y="0"/>
                    </a:cubicBezTo>
                    <a:cubicBezTo>
                      <a:pt x="42" y="0"/>
                      <a:pt x="77" y="0"/>
                      <a:pt x="103" y="0"/>
                    </a:cubicBezTo>
                    <a:close/>
                    <a:moveTo>
                      <a:pt x="14" y="26"/>
                    </a:moveTo>
                    <a:cubicBezTo>
                      <a:pt x="89" y="26"/>
                      <a:pt x="89" y="26"/>
                      <a:pt x="89" y="26"/>
                    </a:cubicBezTo>
                    <a:cubicBezTo>
                      <a:pt x="89" y="35"/>
                      <a:pt x="89" y="35"/>
                      <a:pt x="89" y="35"/>
                    </a:cubicBezTo>
                    <a:cubicBezTo>
                      <a:pt x="14" y="35"/>
                      <a:pt x="14" y="35"/>
                      <a:pt x="14" y="35"/>
                    </a:cubicBezTo>
                    <a:cubicBezTo>
                      <a:pt x="14" y="26"/>
                      <a:pt x="14" y="26"/>
                      <a:pt x="14" y="26"/>
                    </a:cubicBezTo>
                    <a:cubicBezTo>
                      <a:pt x="14" y="26"/>
                      <a:pt x="14" y="26"/>
                      <a:pt x="14" y="26"/>
                    </a:cubicBezTo>
                    <a:close/>
                    <a:moveTo>
                      <a:pt x="14" y="44"/>
                    </a:moveTo>
                    <a:cubicBezTo>
                      <a:pt x="89" y="44"/>
                      <a:pt x="89" y="44"/>
                      <a:pt x="89" y="44"/>
                    </a:cubicBezTo>
                    <a:cubicBezTo>
                      <a:pt x="89" y="53"/>
                      <a:pt x="89" y="53"/>
                      <a:pt x="89" y="53"/>
                    </a:cubicBezTo>
                    <a:cubicBezTo>
                      <a:pt x="14" y="53"/>
                      <a:pt x="14" y="53"/>
                      <a:pt x="14" y="53"/>
                    </a:cubicBezTo>
                    <a:cubicBezTo>
                      <a:pt x="14" y="44"/>
                      <a:pt x="14" y="44"/>
                      <a:pt x="14" y="44"/>
                    </a:cubicBezTo>
                    <a:cubicBezTo>
                      <a:pt x="14" y="44"/>
                      <a:pt x="14" y="44"/>
                      <a:pt x="14" y="44"/>
                    </a:cubicBezTo>
                    <a:close/>
                    <a:moveTo>
                      <a:pt x="14" y="62"/>
                    </a:moveTo>
                    <a:cubicBezTo>
                      <a:pt x="89" y="62"/>
                      <a:pt x="89" y="62"/>
                      <a:pt x="89" y="62"/>
                    </a:cubicBezTo>
                    <a:cubicBezTo>
                      <a:pt x="89" y="71"/>
                      <a:pt x="89" y="71"/>
                      <a:pt x="89" y="71"/>
                    </a:cubicBezTo>
                    <a:cubicBezTo>
                      <a:pt x="14" y="71"/>
                      <a:pt x="14" y="71"/>
                      <a:pt x="14" y="71"/>
                    </a:cubicBezTo>
                    <a:cubicBezTo>
                      <a:pt x="14" y="62"/>
                      <a:pt x="14" y="62"/>
                      <a:pt x="14" y="62"/>
                    </a:cubicBezTo>
                    <a:cubicBezTo>
                      <a:pt x="14" y="62"/>
                      <a:pt x="14" y="62"/>
                      <a:pt x="14" y="62"/>
                    </a:cubicBezTo>
                    <a:close/>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cxnSp>
            <p:nvCxnSpPr>
              <p:cNvPr id="832" name="Straight Connector 831"/>
              <p:cNvCxnSpPr/>
              <p:nvPr/>
            </p:nvCxnSpPr>
            <p:spPr>
              <a:xfrm>
                <a:off x="9450473" y="-141679"/>
                <a:ext cx="1886515" cy="0"/>
              </a:xfrm>
              <a:prstGeom prst="line">
                <a:avLst/>
              </a:prstGeom>
              <a:noFill/>
              <a:ln w="3175" cap="flat" cmpd="sng" algn="ctr">
                <a:solidFill>
                  <a:srgbClr val="FFFFFF"/>
                </a:solidFill>
                <a:prstDash val="solid"/>
                <a:headEnd type="none"/>
                <a:tailEnd type="none"/>
              </a:ln>
              <a:effectLst/>
            </p:spPr>
          </p:cxnSp>
          <p:sp>
            <p:nvSpPr>
              <p:cNvPr id="833" name="Freeform 9"/>
              <p:cNvSpPr>
                <a:spLocks/>
              </p:cNvSpPr>
              <p:nvPr/>
            </p:nvSpPr>
            <p:spPr bwMode="auto">
              <a:xfrm>
                <a:off x="9537280" y="-371763"/>
                <a:ext cx="87312" cy="131763"/>
              </a:xfrm>
              <a:custGeom>
                <a:avLst/>
                <a:gdLst>
                  <a:gd name="T0" fmla="*/ 0 w 55"/>
                  <a:gd name="T1" fmla="*/ 0 h 83"/>
                  <a:gd name="T2" fmla="*/ 55 w 55"/>
                  <a:gd name="T3" fmla="*/ 0 h 83"/>
                  <a:gd name="T4" fmla="*/ 55 w 55"/>
                  <a:gd name="T5" fmla="*/ 83 h 83"/>
                  <a:gd name="T6" fmla="*/ 0 w 55"/>
                  <a:gd name="T7" fmla="*/ 83 h 83"/>
                  <a:gd name="T8" fmla="*/ 0 w 55"/>
                  <a:gd name="T9" fmla="*/ 0 h 83"/>
                  <a:gd name="T10" fmla="*/ 0 w 55"/>
                  <a:gd name="T11" fmla="*/ 0 h 83"/>
                  <a:gd name="T12" fmla="*/ 0 w 5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5" h="83">
                    <a:moveTo>
                      <a:pt x="0" y="0"/>
                    </a:moveTo>
                    <a:lnTo>
                      <a:pt x="55" y="0"/>
                    </a:lnTo>
                    <a:lnTo>
                      <a:pt x="55" y="83"/>
                    </a:lnTo>
                    <a:lnTo>
                      <a:pt x="0" y="83"/>
                    </a:lnTo>
                    <a:lnTo>
                      <a:pt x="0" y="0"/>
                    </a:lnTo>
                    <a:lnTo>
                      <a:pt x="0" y="0"/>
                    </a:lnTo>
                    <a:lnTo>
                      <a:pt x="0" y="0"/>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34" name="Freeform 10"/>
              <p:cNvSpPr>
                <a:spLocks/>
              </p:cNvSpPr>
              <p:nvPr/>
            </p:nvSpPr>
            <p:spPr bwMode="auto">
              <a:xfrm>
                <a:off x="9656342" y="-535286"/>
                <a:ext cx="84137" cy="295275"/>
              </a:xfrm>
              <a:custGeom>
                <a:avLst/>
                <a:gdLst>
                  <a:gd name="T0" fmla="*/ 0 w 53"/>
                  <a:gd name="T1" fmla="*/ 186 h 186"/>
                  <a:gd name="T2" fmla="*/ 53 w 53"/>
                  <a:gd name="T3" fmla="*/ 186 h 186"/>
                  <a:gd name="T4" fmla="*/ 53 w 53"/>
                  <a:gd name="T5" fmla="*/ 0 h 186"/>
                  <a:gd name="T6" fmla="*/ 0 w 53"/>
                  <a:gd name="T7" fmla="*/ 0 h 186"/>
                  <a:gd name="T8" fmla="*/ 0 w 53"/>
                  <a:gd name="T9" fmla="*/ 186 h 186"/>
                  <a:gd name="T10" fmla="*/ 0 w 53"/>
                  <a:gd name="T11" fmla="*/ 186 h 186"/>
                  <a:gd name="T12" fmla="*/ 0 w 53"/>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53" h="186">
                    <a:moveTo>
                      <a:pt x="0" y="186"/>
                    </a:moveTo>
                    <a:lnTo>
                      <a:pt x="53" y="186"/>
                    </a:lnTo>
                    <a:lnTo>
                      <a:pt x="53" y="0"/>
                    </a:lnTo>
                    <a:lnTo>
                      <a:pt x="0" y="0"/>
                    </a:lnTo>
                    <a:lnTo>
                      <a:pt x="0" y="186"/>
                    </a:lnTo>
                    <a:lnTo>
                      <a:pt x="0" y="186"/>
                    </a:lnTo>
                    <a:lnTo>
                      <a:pt x="0" y="186"/>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35" name="Freeform 11"/>
              <p:cNvSpPr>
                <a:spLocks/>
              </p:cNvSpPr>
              <p:nvPr/>
            </p:nvSpPr>
            <p:spPr bwMode="auto">
              <a:xfrm>
                <a:off x="9770642" y="-481311"/>
                <a:ext cx="84137" cy="241300"/>
              </a:xfrm>
              <a:custGeom>
                <a:avLst/>
                <a:gdLst>
                  <a:gd name="T0" fmla="*/ 0 w 53"/>
                  <a:gd name="T1" fmla="*/ 152 h 152"/>
                  <a:gd name="T2" fmla="*/ 53 w 53"/>
                  <a:gd name="T3" fmla="*/ 152 h 152"/>
                  <a:gd name="T4" fmla="*/ 53 w 53"/>
                  <a:gd name="T5" fmla="*/ 0 h 152"/>
                  <a:gd name="T6" fmla="*/ 0 w 53"/>
                  <a:gd name="T7" fmla="*/ 0 h 152"/>
                  <a:gd name="T8" fmla="*/ 0 w 53"/>
                  <a:gd name="T9" fmla="*/ 152 h 152"/>
                  <a:gd name="T10" fmla="*/ 0 w 53"/>
                  <a:gd name="T11" fmla="*/ 152 h 152"/>
                  <a:gd name="T12" fmla="*/ 0 w 53"/>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53" h="152">
                    <a:moveTo>
                      <a:pt x="0" y="152"/>
                    </a:moveTo>
                    <a:lnTo>
                      <a:pt x="53" y="152"/>
                    </a:lnTo>
                    <a:lnTo>
                      <a:pt x="53" y="0"/>
                    </a:lnTo>
                    <a:lnTo>
                      <a:pt x="0" y="0"/>
                    </a:lnTo>
                    <a:lnTo>
                      <a:pt x="0" y="152"/>
                    </a:lnTo>
                    <a:lnTo>
                      <a:pt x="0" y="152"/>
                    </a:lnTo>
                    <a:lnTo>
                      <a:pt x="0" y="152"/>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36" name="Freeform 12"/>
              <p:cNvSpPr>
                <a:spLocks/>
              </p:cNvSpPr>
              <p:nvPr/>
            </p:nvSpPr>
            <p:spPr bwMode="auto">
              <a:xfrm>
                <a:off x="9881777" y="-320963"/>
                <a:ext cx="87312" cy="80963"/>
              </a:xfrm>
              <a:custGeom>
                <a:avLst/>
                <a:gdLst>
                  <a:gd name="T0" fmla="*/ 0 w 55"/>
                  <a:gd name="T1" fmla="*/ 51 h 51"/>
                  <a:gd name="T2" fmla="*/ 55 w 55"/>
                  <a:gd name="T3" fmla="*/ 51 h 51"/>
                  <a:gd name="T4" fmla="*/ 55 w 55"/>
                  <a:gd name="T5" fmla="*/ 0 h 51"/>
                  <a:gd name="T6" fmla="*/ 0 w 55"/>
                  <a:gd name="T7" fmla="*/ 0 h 51"/>
                  <a:gd name="T8" fmla="*/ 0 w 55"/>
                  <a:gd name="T9" fmla="*/ 51 h 51"/>
                  <a:gd name="T10" fmla="*/ 0 w 55"/>
                  <a:gd name="T11" fmla="*/ 51 h 51"/>
                  <a:gd name="T12" fmla="*/ 0 w 5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5" h="51">
                    <a:moveTo>
                      <a:pt x="0" y="51"/>
                    </a:moveTo>
                    <a:lnTo>
                      <a:pt x="55" y="51"/>
                    </a:lnTo>
                    <a:lnTo>
                      <a:pt x="55" y="0"/>
                    </a:lnTo>
                    <a:lnTo>
                      <a:pt x="0" y="0"/>
                    </a:lnTo>
                    <a:lnTo>
                      <a:pt x="0" y="51"/>
                    </a:lnTo>
                    <a:lnTo>
                      <a:pt x="0" y="51"/>
                    </a:lnTo>
                    <a:lnTo>
                      <a:pt x="0" y="51"/>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37" name="Freeform 13"/>
              <p:cNvSpPr>
                <a:spLocks/>
              </p:cNvSpPr>
              <p:nvPr/>
            </p:nvSpPr>
            <p:spPr bwMode="auto">
              <a:xfrm>
                <a:off x="10000830" y="-586076"/>
                <a:ext cx="84137" cy="346075"/>
              </a:xfrm>
              <a:custGeom>
                <a:avLst/>
                <a:gdLst>
                  <a:gd name="T0" fmla="*/ 0 w 53"/>
                  <a:gd name="T1" fmla="*/ 218 h 218"/>
                  <a:gd name="T2" fmla="*/ 53 w 53"/>
                  <a:gd name="T3" fmla="*/ 218 h 218"/>
                  <a:gd name="T4" fmla="*/ 53 w 53"/>
                  <a:gd name="T5" fmla="*/ 0 h 218"/>
                  <a:gd name="T6" fmla="*/ 0 w 53"/>
                  <a:gd name="T7" fmla="*/ 0 h 218"/>
                  <a:gd name="T8" fmla="*/ 0 w 53"/>
                  <a:gd name="T9" fmla="*/ 218 h 218"/>
                  <a:gd name="T10" fmla="*/ 0 w 53"/>
                  <a:gd name="T11" fmla="*/ 218 h 218"/>
                  <a:gd name="T12" fmla="*/ 0 w 53"/>
                  <a:gd name="T13" fmla="*/ 218 h 218"/>
                </a:gdLst>
                <a:ahLst/>
                <a:cxnLst>
                  <a:cxn ang="0">
                    <a:pos x="T0" y="T1"/>
                  </a:cxn>
                  <a:cxn ang="0">
                    <a:pos x="T2" y="T3"/>
                  </a:cxn>
                  <a:cxn ang="0">
                    <a:pos x="T4" y="T5"/>
                  </a:cxn>
                  <a:cxn ang="0">
                    <a:pos x="T6" y="T7"/>
                  </a:cxn>
                  <a:cxn ang="0">
                    <a:pos x="T8" y="T9"/>
                  </a:cxn>
                  <a:cxn ang="0">
                    <a:pos x="T10" y="T11"/>
                  </a:cxn>
                  <a:cxn ang="0">
                    <a:pos x="T12" y="T13"/>
                  </a:cxn>
                </a:cxnLst>
                <a:rect l="0" t="0" r="r" b="b"/>
                <a:pathLst>
                  <a:path w="53" h="218">
                    <a:moveTo>
                      <a:pt x="0" y="218"/>
                    </a:moveTo>
                    <a:lnTo>
                      <a:pt x="53" y="218"/>
                    </a:lnTo>
                    <a:lnTo>
                      <a:pt x="53" y="0"/>
                    </a:lnTo>
                    <a:lnTo>
                      <a:pt x="0" y="0"/>
                    </a:lnTo>
                    <a:lnTo>
                      <a:pt x="0" y="218"/>
                    </a:lnTo>
                    <a:lnTo>
                      <a:pt x="0" y="218"/>
                    </a:lnTo>
                    <a:lnTo>
                      <a:pt x="0" y="218"/>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838" name="Group 837"/>
              <p:cNvGrpSpPr/>
              <p:nvPr/>
            </p:nvGrpSpPr>
            <p:grpSpPr>
              <a:xfrm>
                <a:off x="10262211" y="-545631"/>
                <a:ext cx="301752" cy="292608"/>
                <a:chOff x="6341768" y="1610449"/>
                <a:chExt cx="301752" cy="292608"/>
              </a:xfrm>
              <a:solidFill>
                <a:srgbClr val="FFFFFF"/>
              </a:solidFill>
            </p:grpSpPr>
            <p:sp>
              <p:nvSpPr>
                <p:cNvPr id="848" name="Freeform 17"/>
                <p:cNvSpPr>
                  <a:spLocks/>
                </p:cNvSpPr>
                <p:nvPr/>
              </p:nvSpPr>
              <p:spPr bwMode="auto">
                <a:xfrm>
                  <a:off x="6341768" y="1636229"/>
                  <a:ext cx="270265" cy="266828"/>
                </a:xfrm>
                <a:custGeom>
                  <a:avLst/>
                  <a:gdLst>
                    <a:gd name="T0" fmla="*/ 42 w 85"/>
                    <a:gd name="T1" fmla="*/ 42 h 85"/>
                    <a:gd name="T2" fmla="*/ 85 w 85"/>
                    <a:gd name="T3" fmla="*/ 42 h 85"/>
                    <a:gd name="T4" fmla="*/ 42 w 85"/>
                    <a:gd name="T5" fmla="*/ 85 h 85"/>
                    <a:gd name="T6" fmla="*/ 0 w 85"/>
                    <a:gd name="T7" fmla="*/ 42 h 85"/>
                    <a:gd name="T8" fmla="*/ 42 w 85"/>
                    <a:gd name="T9" fmla="*/ 0 h 85"/>
                    <a:gd name="T10" fmla="*/ 42 w 85"/>
                    <a:gd name="T11" fmla="*/ 42 h 85"/>
                    <a:gd name="T12" fmla="*/ 42 w 85"/>
                    <a:gd name="T13" fmla="*/ 42 h 85"/>
                  </a:gdLst>
                  <a:ahLst/>
                  <a:cxnLst>
                    <a:cxn ang="0">
                      <a:pos x="T0" y="T1"/>
                    </a:cxn>
                    <a:cxn ang="0">
                      <a:pos x="T2" y="T3"/>
                    </a:cxn>
                    <a:cxn ang="0">
                      <a:pos x="T4" y="T5"/>
                    </a:cxn>
                    <a:cxn ang="0">
                      <a:pos x="T6" y="T7"/>
                    </a:cxn>
                    <a:cxn ang="0">
                      <a:pos x="T8" y="T9"/>
                    </a:cxn>
                    <a:cxn ang="0">
                      <a:pos x="T10" y="T11"/>
                    </a:cxn>
                    <a:cxn ang="0">
                      <a:pos x="T12" y="T13"/>
                    </a:cxn>
                  </a:cxnLst>
                  <a:rect l="0" t="0" r="r" b="b"/>
                  <a:pathLst>
                    <a:path w="85" h="85">
                      <a:moveTo>
                        <a:pt x="42" y="42"/>
                      </a:moveTo>
                      <a:cubicBezTo>
                        <a:pt x="85" y="42"/>
                        <a:pt x="85" y="42"/>
                        <a:pt x="85" y="42"/>
                      </a:cubicBezTo>
                      <a:cubicBezTo>
                        <a:pt x="85" y="66"/>
                        <a:pt x="66" y="85"/>
                        <a:pt x="42" y="85"/>
                      </a:cubicBezTo>
                      <a:cubicBezTo>
                        <a:pt x="20" y="85"/>
                        <a:pt x="0" y="66"/>
                        <a:pt x="0" y="42"/>
                      </a:cubicBezTo>
                      <a:cubicBezTo>
                        <a:pt x="0" y="19"/>
                        <a:pt x="20" y="0"/>
                        <a:pt x="42" y="0"/>
                      </a:cubicBezTo>
                      <a:cubicBezTo>
                        <a:pt x="42" y="42"/>
                        <a:pt x="42" y="42"/>
                        <a:pt x="42" y="42"/>
                      </a:cubicBezTo>
                      <a:cubicBezTo>
                        <a:pt x="42" y="42"/>
                        <a:pt x="42" y="42"/>
                        <a:pt x="4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9" name="Freeform 18"/>
                <p:cNvSpPr>
                  <a:spLocks/>
                </p:cNvSpPr>
                <p:nvPr/>
              </p:nvSpPr>
              <p:spPr bwMode="auto">
                <a:xfrm>
                  <a:off x="6507076" y="1610449"/>
                  <a:ext cx="136444" cy="135348"/>
                </a:xfrm>
                <a:custGeom>
                  <a:avLst/>
                  <a:gdLst>
                    <a:gd name="T0" fmla="*/ 0 w 43"/>
                    <a:gd name="T1" fmla="*/ 43 h 43"/>
                    <a:gd name="T2" fmla="*/ 43 w 43"/>
                    <a:gd name="T3" fmla="*/ 43 h 43"/>
                    <a:gd name="T4" fmla="*/ 0 w 43"/>
                    <a:gd name="T5" fmla="*/ 0 h 43"/>
                    <a:gd name="T6" fmla="*/ 0 w 43"/>
                    <a:gd name="T7" fmla="*/ 43 h 43"/>
                    <a:gd name="T8" fmla="*/ 0 w 43"/>
                    <a:gd name="T9" fmla="*/ 43 h 43"/>
                  </a:gdLst>
                  <a:ahLst/>
                  <a:cxnLst>
                    <a:cxn ang="0">
                      <a:pos x="T0" y="T1"/>
                    </a:cxn>
                    <a:cxn ang="0">
                      <a:pos x="T2" y="T3"/>
                    </a:cxn>
                    <a:cxn ang="0">
                      <a:pos x="T4" y="T5"/>
                    </a:cxn>
                    <a:cxn ang="0">
                      <a:pos x="T6" y="T7"/>
                    </a:cxn>
                    <a:cxn ang="0">
                      <a:pos x="T8" y="T9"/>
                    </a:cxn>
                  </a:cxnLst>
                  <a:rect l="0" t="0" r="r" b="b"/>
                  <a:pathLst>
                    <a:path w="43" h="43">
                      <a:moveTo>
                        <a:pt x="0" y="43"/>
                      </a:moveTo>
                      <a:cubicBezTo>
                        <a:pt x="43" y="43"/>
                        <a:pt x="43" y="43"/>
                        <a:pt x="43" y="43"/>
                      </a:cubicBezTo>
                      <a:cubicBezTo>
                        <a:pt x="43" y="20"/>
                        <a:pt x="24" y="0"/>
                        <a:pt x="0" y="0"/>
                      </a:cubicBezTo>
                      <a:cubicBezTo>
                        <a:pt x="0" y="43"/>
                        <a:pt x="0" y="43"/>
                        <a:pt x="0" y="43"/>
                      </a:cubicBezTo>
                      <a:cubicBezTo>
                        <a:pt x="0" y="43"/>
                        <a:pt x="0" y="43"/>
                        <a:pt x="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grpSp>
          <p:sp>
            <p:nvSpPr>
              <p:cNvPr id="839" name="Freeform 22"/>
              <p:cNvSpPr>
                <a:spLocks/>
              </p:cNvSpPr>
              <p:nvPr/>
            </p:nvSpPr>
            <p:spPr bwMode="auto">
              <a:xfrm>
                <a:off x="10900691" y="-316177"/>
                <a:ext cx="238125" cy="44450"/>
              </a:xfrm>
              <a:custGeom>
                <a:avLst/>
                <a:gdLst>
                  <a:gd name="T0" fmla="*/ 76 w 76"/>
                  <a:gd name="T1" fmla="*/ 14 h 14"/>
                  <a:gd name="T2" fmla="*/ 0 w 76"/>
                  <a:gd name="T3" fmla="*/ 14 h 14"/>
                  <a:gd name="T4" fmla="*/ 0 w 76"/>
                  <a:gd name="T5" fmla="*/ 0 h 14"/>
                  <a:gd name="T6" fmla="*/ 76 w 76"/>
                  <a:gd name="T7" fmla="*/ 0 h 14"/>
                  <a:gd name="T8" fmla="*/ 76 w 76"/>
                  <a:gd name="T9" fmla="*/ 14 h 14"/>
                  <a:gd name="T10" fmla="*/ 76 w 76"/>
                  <a:gd name="T11" fmla="*/ 14 h 14"/>
                </a:gdLst>
                <a:ahLst/>
                <a:cxnLst>
                  <a:cxn ang="0">
                    <a:pos x="T0" y="T1"/>
                  </a:cxn>
                  <a:cxn ang="0">
                    <a:pos x="T2" y="T3"/>
                  </a:cxn>
                  <a:cxn ang="0">
                    <a:pos x="T4" y="T5"/>
                  </a:cxn>
                  <a:cxn ang="0">
                    <a:pos x="T6" y="T7"/>
                  </a:cxn>
                  <a:cxn ang="0">
                    <a:pos x="T8" y="T9"/>
                  </a:cxn>
                  <a:cxn ang="0">
                    <a:pos x="T10" y="T11"/>
                  </a:cxn>
                </a:cxnLst>
                <a:rect l="0" t="0" r="r" b="b"/>
                <a:pathLst>
                  <a:path w="76" h="14">
                    <a:moveTo>
                      <a:pt x="76" y="14"/>
                    </a:moveTo>
                    <a:cubicBezTo>
                      <a:pt x="0" y="14"/>
                      <a:pt x="0" y="14"/>
                      <a:pt x="0" y="14"/>
                    </a:cubicBezTo>
                    <a:cubicBezTo>
                      <a:pt x="0" y="0"/>
                      <a:pt x="0" y="0"/>
                      <a:pt x="0" y="0"/>
                    </a:cubicBezTo>
                    <a:cubicBezTo>
                      <a:pt x="76" y="0"/>
                      <a:pt x="76" y="0"/>
                      <a:pt x="76" y="0"/>
                    </a:cubicBezTo>
                    <a:cubicBezTo>
                      <a:pt x="76" y="14"/>
                      <a:pt x="76" y="14"/>
                      <a:pt x="76" y="14"/>
                    </a:cubicBezTo>
                    <a:cubicBezTo>
                      <a:pt x="76" y="14"/>
                      <a:pt x="76" y="14"/>
                      <a:pt x="76" y="14"/>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0" name="Freeform 23"/>
              <p:cNvSpPr>
                <a:spLocks/>
              </p:cNvSpPr>
              <p:nvPr/>
            </p:nvSpPr>
            <p:spPr bwMode="auto">
              <a:xfrm>
                <a:off x="10900681" y="-500327"/>
                <a:ext cx="271463" cy="44450"/>
              </a:xfrm>
              <a:custGeom>
                <a:avLst/>
                <a:gdLst>
                  <a:gd name="T0" fmla="*/ 87 w 87"/>
                  <a:gd name="T1" fmla="*/ 0 h 14"/>
                  <a:gd name="T2" fmla="*/ 0 w 87"/>
                  <a:gd name="T3" fmla="*/ 0 h 14"/>
                  <a:gd name="T4" fmla="*/ 0 w 87"/>
                  <a:gd name="T5" fmla="*/ 14 h 14"/>
                  <a:gd name="T6" fmla="*/ 87 w 87"/>
                  <a:gd name="T7" fmla="*/ 14 h 14"/>
                  <a:gd name="T8" fmla="*/ 87 w 87"/>
                  <a:gd name="T9" fmla="*/ 0 h 14"/>
                  <a:gd name="T10" fmla="*/ 87 w 87"/>
                  <a:gd name="T11" fmla="*/ 0 h 14"/>
                </a:gdLst>
                <a:ahLst/>
                <a:cxnLst>
                  <a:cxn ang="0">
                    <a:pos x="T0" y="T1"/>
                  </a:cxn>
                  <a:cxn ang="0">
                    <a:pos x="T2" y="T3"/>
                  </a:cxn>
                  <a:cxn ang="0">
                    <a:pos x="T4" y="T5"/>
                  </a:cxn>
                  <a:cxn ang="0">
                    <a:pos x="T6" y="T7"/>
                  </a:cxn>
                  <a:cxn ang="0">
                    <a:pos x="T8" y="T9"/>
                  </a:cxn>
                  <a:cxn ang="0">
                    <a:pos x="T10" y="T11"/>
                  </a:cxn>
                </a:cxnLst>
                <a:rect l="0" t="0" r="r" b="b"/>
                <a:pathLst>
                  <a:path w="87" h="14">
                    <a:moveTo>
                      <a:pt x="87" y="0"/>
                    </a:moveTo>
                    <a:cubicBezTo>
                      <a:pt x="0" y="0"/>
                      <a:pt x="0" y="0"/>
                      <a:pt x="0" y="0"/>
                    </a:cubicBezTo>
                    <a:cubicBezTo>
                      <a:pt x="0" y="14"/>
                      <a:pt x="0" y="14"/>
                      <a:pt x="0" y="14"/>
                    </a:cubicBezTo>
                    <a:cubicBezTo>
                      <a:pt x="87" y="14"/>
                      <a:pt x="87" y="14"/>
                      <a:pt x="87" y="14"/>
                    </a:cubicBezTo>
                    <a:cubicBezTo>
                      <a:pt x="87" y="0"/>
                      <a:pt x="87" y="0"/>
                      <a:pt x="87" y="0"/>
                    </a:cubicBezTo>
                    <a:cubicBezTo>
                      <a:pt x="87" y="0"/>
                      <a:pt x="87" y="0"/>
                      <a:pt x="87" y="0"/>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1" name="Freeform 24"/>
              <p:cNvSpPr>
                <a:spLocks/>
              </p:cNvSpPr>
              <p:nvPr/>
            </p:nvSpPr>
            <p:spPr bwMode="auto">
              <a:xfrm>
                <a:off x="10900681" y="-411427"/>
                <a:ext cx="312738" cy="50800"/>
              </a:xfrm>
              <a:custGeom>
                <a:avLst/>
                <a:gdLst>
                  <a:gd name="T0" fmla="*/ 100 w 100"/>
                  <a:gd name="T1" fmla="*/ 0 h 16"/>
                  <a:gd name="T2" fmla="*/ 0 w 100"/>
                  <a:gd name="T3" fmla="*/ 0 h 16"/>
                  <a:gd name="T4" fmla="*/ 0 w 100"/>
                  <a:gd name="T5" fmla="*/ 16 h 16"/>
                  <a:gd name="T6" fmla="*/ 100 w 100"/>
                  <a:gd name="T7" fmla="*/ 16 h 16"/>
                  <a:gd name="T8" fmla="*/ 100 w 100"/>
                  <a:gd name="T9" fmla="*/ 0 h 16"/>
                  <a:gd name="T10" fmla="*/ 100 w 100"/>
                  <a:gd name="T11" fmla="*/ 0 h 16"/>
                </a:gdLst>
                <a:ahLst/>
                <a:cxnLst>
                  <a:cxn ang="0">
                    <a:pos x="T0" y="T1"/>
                  </a:cxn>
                  <a:cxn ang="0">
                    <a:pos x="T2" y="T3"/>
                  </a:cxn>
                  <a:cxn ang="0">
                    <a:pos x="T4" y="T5"/>
                  </a:cxn>
                  <a:cxn ang="0">
                    <a:pos x="T6" y="T7"/>
                  </a:cxn>
                  <a:cxn ang="0">
                    <a:pos x="T8" y="T9"/>
                  </a:cxn>
                  <a:cxn ang="0">
                    <a:pos x="T10" y="T11"/>
                  </a:cxn>
                </a:cxnLst>
                <a:rect l="0" t="0" r="r" b="b"/>
                <a:pathLst>
                  <a:path w="100" h="16">
                    <a:moveTo>
                      <a:pt x="100" y="0"/>
                    </a:moveTo>
                    <a:cubicBezTo>
                      <a:pt x="0" y="0"/>
                      <a:pt x="0" y="0"/>
                      <a:pt x="0" y="0"/>
                    </a:cubicBezTo>
                    <a:cubicBezTo>
                      <a:pt x="0" y="16"/>
                      <a:pt x="0" y="16"/>
                      <a:pt x="0" y="16"/>
                    </a:cubicBezTo>
                    <a:cubicBezTo>
                      <a:pt x="100" y="16"/>
                      <a:pt x="100" y="16"/>
                      <a:pt x="100" y="16"/>
                    </a:cubicBezTo>
                    <a:cubicBezTo>
                      <a:pt x="100" y="0"/>
                      <a:pt x="100" y="0"/>
                      <a:pt x="100" y="0"/>
                    </a:cubicBezTo>
                    <a:cubicBezTo>
                      <a:pt x="100" y="0"/>
                      <a:pt x="100" y="0"/>
                      <a:pt x="100" y="0"/>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2" name="Freeform 25"/>
              <p:cNvSpPr>
                <a:spLocks/>
              </p:cNvSpPr>
              <p:nvPr/>
            </p:nvSpPr>
            <p:spPr bwMode="auto">
              <a:xfrm>
                <a:off x="10826078" y="-500327"/>
                <a:ext cx="47625" cy="44450"/>
              </a:xfrm>
              <a:custGeom>
                <a:avLst/>
                <a:gdLst>
                  <a:gd name="T0" fmla="*/ 7 w 15"/>
                  <a:gd name="T1" fmla="*/ 14 h 14"/>
                  <a:gd name="T2" fmla="*/ 15 w 15"/>
                  <a:gd name="T3" fmla="*/ 6 h 14"/>
                  <a:gd name="T4" fmla="*/ 7 w 15"/>
                  <a:gd name="T5" fmla="*/ 0 h 14"/>
                  <a:gd name="T6" fmla="*/ 0 w 15"/>
                  <a:gd name="T7" fmla="*/ 6 h 14"/>
                  <a:gd name="T8" fmla="*/ 7 w 15"/>
                  <a:gd name="T9" fmla="*/ 14 h 14"/>
                </a:gdLst>
                <a:ahLst/>
                <a:cxnLst>
                  <a:cxn ang="0">
                    <a:pos x="T0" y="T1"/>
                  </a:cxn>
                  <a:cxn ang="0">
                    <a:pos x="T2" y="T3"/>
                  </a:cxn>
                  <a:cxn ang="0">
                    <a:pos x="T4" y="T5"/>
                  </a:cxn>
                  <a:cxn ang="0">
                    <a:pos x="T6" y="T7"/>
                  </a:cxn>
                  <a:cxn ang="0">
                    <a:pos x="T8" y="T9"/>
                  </a:cxn>
                </a:cxnLst>
                <a:rect l="0" t="0" r="r" b="b"/>
                <a:pathLst>
                  <a:path w="15" h="14">
                    <a:moveTo>
                      <a:pt x="7" y="14"/>
                    </a:moveTo>
                    <a:cubicBezTo>
                      <a:pt x="12" y="14"/>
                      <a:pt x="15" y="11"/>
                      <a:pt x="15" y="6"/>
                    </a:cubicBezTo>
                    <a:cubicBezTo>
                      <a:pt x="15" y="3"/>
                      <a:pt x="12" y="0"/>
                      <a:pt x="7" y="0"/>
                    </a:cubicBezTo>
                    <a:cubicBezTo>
                      <a:pt x="4" y="0"/>
                      <a:pt x="0" y="3"/>
                      <a:pt x="0" y="6"/>
                    </a:cubicBezTo>
                    <a:cubicBezTo>
                      <a:pt x="0" y="11"/>
                      <a:pt x="4" y="14"/>
                      <a:pt x="7" y="14"/>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3" name="Freeform 26"/>
              <p:cNvSpPr>
                <a:spLocks/>
              </p:cNvSpPr>
              <p:nvPr/>
            </p:nvSpPr>
            <p:spPr bwMode="auto">
              <a:xfrm>
                <a:off x="10826078" y="-411427"/>
                <a:ext cx="47625" cy="50800"/>
              </a:xfrm>
              <a:custGeom>
                <a:avLst/>
                <a:gdLst>
                  <a:gd name="T0" fmla="*/ 7 w 15"/>
                  <a:gd name="T1" fmla="*/ 0 h 16"/>
                  <a:gd name="T2" fmla="*/ 0 w 15"/>
                  <a:gd name="T3" fmla="*/ 8 h 16"/>
                  <a:gd name="T4" fmla="*/ 7 w 15"/>
                  <a:gd name="T5" fmla="*/ 16 h 16"/>
                  <a:gd name="T6" fmla="*/ 15 w 15"/>
                  <a:gd name="T7" fmla="*/ 8 h 16"/>
                  <a:gd name="T8" fmla="*/ 7 w 15"/>
                  <a:gd name="T9" fmla="*/ 0 h 16"/>
                </a:gdLst>
                <a:ahLst/>
                <a:cxnLst>
                  <a:cxn ang="0">
                    <a:pos x="T0" y="T1"/>
                  </a:cxn>
                  <a:cxn ang="0">
                    <a:pos x="T2" y="T3"/>
                  </a:cxn>
                  <a:cxn ang="0">
                    <a:pos x="T4" y="T5"/>
                  </a:cxn>
                  <a:cxn ang="0">
                    <a:pos x="T6" y="T7"/>
                  </a:cxn>
                  <a:cxn ang="0">
                    <a:pos x="T8" y="T9"/>
                  </a:cxn>
                </a:cxnLst>
                <a:rect l="0" t="0" r="r" b="b"/>
                <a:pathLst>
                  <a:path w="15" h="16">
                    <a:moveTo>
                      <a:pt x="7" y="0"/>
                    </a:moveTo>
                    <a:cubicBezTo>
                      <a:pt x="4" y="0"/>
                      <a:pt x="0" y="3"/>
                      <a:pt x="0" y="8"/>
                    </a:cubicBezTo>
                    <a:cubicBezTo>
                      <a:pt x="0" y="13"/>
                      <a:pt x="4" y="16"/>
                      <a:pt x="7" y="16"/>
                    </a:cubicBezTo>
                    <a:cubicBezTo>
                      <a:pt x="12" y="16"/>
                      <a:pt x="15" y="13"/>
                      <a:pt x="15" y="8"/>
                    </a:cubicBezTo>
                    <a:cubicBezTo>
                      <a:pt x="15" y="3"/>
                      <a:pt x="12" y="0"/>
                      <a:pt x="7"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4" name="Freeform 27"/>
              <p:cNvSpPr>
                <a:spLocks/>
              </p:cNvSpPr>
              <p:nvPr/>
            </p:nvSpPr>
            <p:spPr bwMode="auto">
              <a:xfrm>
                <a:off x="10826078" y="-316177"/>
                <a:ext cx="47625" cy="44450"/>
              </a:xfrm>
              <a:custGeom>
                <a:avLst/>
                <a:gdLst>
                  <a:gd name="T0" fmla="*/ 7 w 15"/>
                  <a:gd name="T1" fmla="*/ 0 h 14"/>
                  <a:gd name="T2" fmla="*/ 0 w 15"/>
                  <a:gd name="T3" fmla="*/ 7 h 14"/>
                  <a:gd name="T4" fmla="*/ 7 w 15"/>
                  <a:gd name="T5" fmla="*/ 14 h 14"/>
                  <a:gd name="T6" fmla="*/ 15 w 15"/>
                  <a:gd name="T7" fmla="*/ 7 h 14"/>
                  <a:gd name="T8" fmla="*/ 7 w 15"/>
                  <a:gd name="T9" fmla="*/ 0 h 14"/>
                </a:gdLst>
                <a:ahLst/>
                <a:cxnLst>
                  <a:cxn ang="0">
                    <a:pos x="T0" y="T1"/>
                  </a:cxn>
                  <a:cxn ang="0">
                    <a:pos x="T2" y="T3"/>
                  </a:cxn>
                  <a:cxn ang="0">
                    <a:pos x="T4" y="T5"/>
                  </a:cxn>
                  <a:cxn ang="0">
                    <a:pos x="T6" y="T7"/>
                  </a:cxn>
                  <a:cxn ang="0">
                    <a:pos x="T8" y="T9"/>
                  </a:cxn>
                </a:cxnLst>
                <a:rect l="0" t="0" r="r" b="b"/>
                <a:pathLst>
                  <a:path w="15" h="14">
                    <a:moveTo>
                      <a:pt x="7" y="0"/>
                    </a:moveTo>
                    <a:cubicBezTo>
                      <a:pt x="4" y="0"/>
                      <a:pt x="0" y="3"/>
                      <a:pt x="0" y="7"/>
                    </a:cubicBezTo>
                    <a:cubicBezTo>
                      <a:pt x="0" y="11"/>
                      <a:pt x="4" y="14"/>
                      <a:pt x="7" y="14"/>
                    </a:cubicBezTo>
                    <a:cubicBezTo>
                      <a:pt x="12" y="14"/>
                      <a:pt x="15" y="11"/>
                      <a:pt x="15" y="7"/>
                    </a:cubicBezTo>
                    <a:cubicBezTo>
                      <a:pt x="15" y="3"/>
                      <a:pt x="12" y="0"/>
                      <a:pt x="7"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845" name="Group 844"/>
              <p:cNvGrpSpPr/>
              <p:nvPr/>
            </p:nvGrpSpPr>
            <p:grpSpPr>
              <a:xfrm>
                <a:off x="10881877" y="-28135"/>
                <a:ext cx="364330" cy="323240"/>
                <a:chOff x="2195513" y="-1231900"/>
                <a:chExt cx="1055688" cy="936625"/>
              </a:xfrm>
              <a:solidFill>
                <a:srgbClr val="FFFFFF"/>
              </a:solidFill>
            </p:grpSpPr>
            <p:sp>
              <p:nvSpPr>
                <p:cNvPr id="846" name="Freeform 5"/>
                <p:cNvSpPr>
                  <a:spLocks noEditPoints="1"/>
                </p:cNvSpPr>
                <p:nvPr/>
              </p:nvSpPr>
              <p:spPr bwMode="auto">
                <a:xfrm>
                  <a:off x="2578101" y="-938213"/>
                  <a:ext cx="673100" cy="642938"/>
                </a:xfrm>
                <a:custGeom>
                  <a:avLst/>
                  <a:gdLst>
                    <a:gd name="T0" fmla="*/ 1400 w 1451"/>
                    <a:gd name="T1" fmla="*/ 622 h 1384"/>
                    <a:gd name="T2" fmla="*/ 639 w 1451"/>
                    <a:gd name="T3" fmla="*/ 0 h 1384"/>
                    <a:gd name="T4" fmla="*/ 611 w 1451"/>
                    <a:gd name="T5" fmla="*/ 6 h 1384"/>
                    <a:gd name="T6" fmla="*/ 252 w 1451"/>
                    <a:gd name="T7" fmla="*/ 157 h 1384"/>
                    <a:gd name="T8" fmla="*/ 252 w 1451"/>
                    <a:gd name="T9" fmla="*/ 157 h 1384"/>
                    <a:gd name="T10" fmla="*/ 174 w 1451"/>
                    <a:gd name="T11" fmla="*/ 235 h 1384"/>
                    <a:gd name="T12" fmla="*/ 51 w 1451"/>
                    <a:gd name="T13" fmla="*/ 762 h 1384"/>
                    <a:gd name="T14" fmla="*/ 807 w 1451"/>
                    <a:gd name="T15" fmla="*/ 1384 h 1384"/>
                    <a:gd name="T16" fmla="*/ 840 w 1451"/>
                    <a:gd name="T17" fmla="*/ 1384 h 1384"/>
                    <a:gd name="T18" fmla="*/ 1199 w 1451"/>
                    <a:gd name="T19" fmla="*/ 1227 h 1384"/>
                    <a:gd name="T20" fmla="*/ 1271 w 1451"/>
                    <a:gd name="T21" fmla="*/ 1154 h 1384"/>
                    <a:gd name="T22" fmla="*/ 1271 w 1451"/>
                    <a:gd name="T23" fmla="*/ 1154 h 1384"/>
                    <a:gd name="T24" fmla="*/ 1400 w 1451"/>
                    <a:gd name="T25" fmla="*/ 622 h 1384"/>
                    <a:gd name="T26" fmla="*/ 902 w 1451"/>
                    <a:gd name="T27" fmla="*/ 818 h 1384"/>
                    <a:gd name="T28" fmla="*/ 818 w 1451"/>
                    <a:gd name="T29" fmla="*/ 852 h 1384"/>
                    <a:gd name="T30" fmla="*/ 745 w 1451"/>
                    <a:gd name="T31" fmla="*/ 728 h 1384"/>
                    <a:gd name="T32" fmla="*/ 527 w 1451"/>
                    <a:gd name="T33" fmla="*/ 863 h 1384"/>
                    <a:gd name="T34" fmla="*/ 465 w 1451"/>
                    <a:gd name="T35" fmla="*/ 784 h 1384"/>
                    <a:gd name="T36" fmla="*/ 695 w 1451"/>
                    <a:gd name="T37" fmla="*/ 639 h 1384"/>
                    <a:gd name="T38" fmla="*/ 471 w 1451"/>
                    <a:gd name="T39" fmla="*/ 235 h 1384"/>
                    <a:gd name="T40" fmla="*/ 555 w 1451"/>
                    <a:gd name="T41" fmla="*/ 202 h 1384"/>
                    <a:gd name="T42" fmla="*/ 773 w 1451"/>
                    <a:gd name="T43" fmla="*/ 588 h 1384"/>
                    <a:gd name="T44" fmla="*/ 874 w 1451"/>
                    <a:gd name="T45" fmla="*/ 521 h 1384"/>
                    <a:gd name="T46" fmla="*/ 936 w 1451"/>
                    <a:gd name="T47" fmla="*/ 605 h 1384"/>
                    <a:gd name="T48" fmla="*/ 824 w 1451"/>
                    <a:gd name="T49" fmla="*/ 678 h 1384"/>
                    <a:gd name="T50" fmla="*/ 902 w 1451"/>
                    <a:gd name="T51" fmla="*/ 818 h 1384"/>
                    <a:gd name="T52" fmla="*/ 902 w 1451"/>
                    <a:gd name="T53" fmla="*/ 818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1" h="1384">
                      <a:moveTo>
                        <a:pt x="1400" y="622"/>
                      </a:moveTo>
                      <a:cubicBezTo>
                        <a:pt x="1316" y="275"/>
                        <a:pt x="980" y="0"/>
                        <a:pt x="639" y="0"/>
                      </a:cubicBezTo>
                      <a:cubicBezTo>
                        <a:pt x="628" y="0"/>
                        <a:pt x="622" y="0"/>
                        <a:pt x="611" y="6"/>
                      </a:cubicBezTo>
                      <a:cubicBezTo>
                        <a:pt x="460" y="11"/>
                        <a:pt x="336" y="67"/>
                        <a:pt x="252" y="157"/>
                      </a:cubicBezTo>
                      <a:cubicBezTo>
                        <a:pt x="252" y="157"/>
                        <a:pt x="252" y="157"/>
                        <a:pt x="252" y="157"/>
                      </a:cubicBezTo>
                      <a:cubicBezTo>
                        <a:pt x="174" y="235"/>
                        <a:pt x="174" y="235"/>
                        <a:pt x="174" y="235"/>
                      </a:cubicBezTo>
                      <a:cubicBezTo>
                        <a:pt x="51" y="364"/>
                        <a:pt x="0" y="555"/>
                        <a:pt x="51" y="762"/>
                      </a:cubicBezTo>
                      <a:cubicBezTo>
                        <a:pt x="129" y="1115"/>
                        <a:pt x="465" y="1384"/>
                        <a:pt x="807" y="1384"/>
                      </a:cubicBezTo>
                      <a:cubicBezTo>
                        <a:pt x="818" y="1384"/>
                        <a:pt x="829" y="1384"/>
                        <a:pt x="840" y="1384"/>
                      </a:cubicBezTo>
                      <a:cubicBezTo>
                        <a:pt x="986" y="1378"/>
                        <a:pt x="1109" y="1322"/>
                        <a:pt x="1199" y="1227"/>
                      </a:cubicBezTo>
                      <a:cubicBezTo>
                        <a:pt x="1271" y="1154"/>
                        <a:pt x="1271" y="1154"/>
                        <a:pt x="1271" y="1154"/>
                      </a:cubicBezTo>
                      <a:cubicBezTo>
                        <a:pt x="1271" y="1154"/>
                        <a:pt x="1271" y="1154"/>
                        <a:pt x="1271" y="1154"/>
                      </a:cubicBezTo>
                      <a:cubicBezTo>
                        <a:pt x="1395" y="1025"/>
                        <a:pt x="1451" y="835"/>
                        <a:pt x="1400" y="622"/>
                      </a:cubicBezTo>
                      <a:close/>
                      <a:moveTo>
                        <a:pt x="902" y="818"/>
                      </a:moveTo>
                      <a:cubicBezTo>
                        <a:pt x="818" y="852"/>
                        <a:pt x="818" y="852"/>
                        <a:pt x="818" y="852"/>
                      </a:cubicBezTo>
                      <a:cubicBezTo>
                        <a:pt x="745" y="728"/>
                        <a:pt x="745" y="728"/>
                        <a:pt x="745" y="728"/>
                      </a:cubicBezTo>
                      <a:cubicBezTo>
                        <a:pt x="527" y="863"/>
                        <a:pt x="527" y="863"/>
                        <a:pt x="527" y="863"/>
                      </a:cubicBezTo>
                      <a:cubicBezTo>
                        <a:pt x="465" y="784"/>
                        <a:pt x="465" y="784"/>
                        <a:pt x="465" y="784"/>
                      </a:cubicBezTo>
                      <a:cubicBezTo>
                        <a:pt x="695" y="639"/>
                        <a:pt x="695" y="639"/>
                        <a:pt x="695" y="639"/>
                      </a:cubicBezTo>
                      <a:cubicBezTo>
                        <a:pt x="471" y="235"/>
                        <a:pt x="471" y="235"/>
                        <a:pt x="471" y="235"/>
                      </a:cubicBezTo>
                      <a:cubicBezTo>
                        <a:pt x="555" y="202"/>
                        <a:pt x="555" y="202"/>
                        <a:pt x="555" y="202"/>
                      </a:cubicBezTo>
                      <a:cubicBezTo>
                        <a:pt x="773" y="588"/>
                        <a:pt x="773" y="588"/>
                        <a:pt x="773" y="588"/>
                      </a:cubicBezTo>
                      <a:cubicBezTo>
                        <a:pt x="874" y="521"/>
                        <a:pt x="874" y="521"/>
                        <a:pt x="874" y="521"/>
                      </a:cubicBezTo>
                      <a:cubicBezTo>
                        <a:pt x="936" y="605"/>
                        <a:pt x="936" y="605"/>
                        <a:pt x="936" y="605"/>
                      </a:cubicBezTo>
                      <a:cubicBezTo>
                        <a:pt x="824" y="678"/>
                        <a:pt x="824" y="678"/>
                        <a:pt x="824" y="678"/>
                      </a:cubicBezTo>
                      <a:cubicBezTo>
                        <a:pt x="902" y="818"/>
                        <a:pt x="902" y="818"/>
                        <a:pt x="902" y="818"/>
                      </a:cubicBezTo>
                      <a:cubicBezTo>
                        <a:pt x="902" y="818"/>
                        <a:pt x="902" y="818"/>
                        <a:pt x="902"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282828"/>
                    </a:solidFill>
                    <a:latin typeface="Segoe UI"/>
                  </a:endParaRPr>
                </a:p>
              </p:txBody>
            </p:sp>
            <p:sp>
              <p:nvSpPr>
                <p:cNvPr id="847" name="Freeform 6"/>
                <p:cNvSpPr>
                  <a:spLocks noEditPoints="1"/>
                </p:cNvSpPr>
                <p:nvPr/>
              </p:nvSpPr>
              <p:spPr bwMode="auto">
                <a:xfrm>
                  <a:off x="2195513" y="-1231900"/>
                  <a:ext cx="692150" cy="762000"/>
                </a:xfrm>
                <a:custGeom>
                  <a:avLst/>
                  <a:gdLst>
                    <a:gd name="T0" fmla="*/ 1313 w 1492"/>
                    <a:gd name="T1" fmla="*/ 185 h 1642"/>
                    <a:gd name="T2" fmla="*/ 1034 w 1492"/>
                    <a:gd name="T3" fmla="*/ 67 h 1642"/>
                    <a:gd name="T4" fmla="*/ 1151 w 1492"/>
                    <a:gd name="T5" fmla="*/ 84 h 1642"/>
                    <a:gd name="T6" fmla="*/ 1224 w 1492"/>
                    <a:gd name="T7" fmla="*/ 185 h 1642"/>
                    <a:gd name="T8" fmla="*/ 1151 w 1492"/>
                    <a:gd name="T9" fmla="*/ 274 h 1642"/>
                    <a:gd name="T10" fmla="*/ 498 w 1492"/>
                    <a:gd name="T11" fmla="*/ 185 h 1642"/>
                    <a:gd name="T12" fmla="*/ 218 w 1492"/>
                    <a:gd name="T13" fmla="*/ 67 h 1642"/>
                    <a:gd name="T14" fmla="*/ 341 w 1492"/>
                    <a:gd name="T15" fmla="*/ 84 h 1642"/>
                    <a:gd name="T16" fmla="*/ 408 w 1492"/>
                    <a:gd name="T17" fmla="*/ 185 h 1642"/>
                    <a:gd name="T18" fmla="*/ 341 w 1492"/>
                    <a:gd name="T19" fmla="*/ 274 h 1642"/>
                    <a:gd name="T20" fmla="*/ 73 w 1492"/>
                    <a:gd name="T21" fmla="*/ 185 h 1642"/>
                    <a:gd name="T22" fmla="*/ 0 w 1492"/>
                    <a:gd name="T23" fmla="*/ 1574 h 1642"/>
                    <a:gd name="T24" fmla="*/ 866 w 1492"/>
                    <a:gd name="T25" fmla="*/ 1642 h 1642"/>
                    <a:gd name="T26" fmla="*/ 554 w 1492"/>
                    <a:gd name="T27" fmla="*/ 1535 h 1642"/>
                    <a:gd name="T28" fmla="*/ 760 w 1492"/>
                    <a:gd name="T29" fmla="*/ 1266 h 1642"/>
                    <a:gd name="T30" fmla="*/ 554 w 1492"/>
                    <a:gd name="T31" fmla="*/ 1188 h 1642"/>
                    <a:gd name="T32" fmla="*/ 855 w 1492"/>
                    <a:gd name="T33" fmla="*/ 896 h 1642"/>
                    <a:gd name="T34" fmla="*/ 554 w 1492"/>
                    <a:gd name="T35" fmla="*/ 818 h 1642"/>
                    <a:gd name="T36" fmla="*/ 939 w 1492"/>
                    <a:gd name="T37" fmla="*/ 549 h 1642"/>
                    <a:gd name="T38" fmla="*/ 1006 w 1492"/>
                    <a:gd name="T39" fmla="*/ 728 h 1642"/>
                    <a:gd name="T40" fmla="*/ 1017 w 1492"/>
                    <a:gd name="T41" fmla="*/ 549 h 1642"/>
                    <a:gd name="T42" fmla="*/ 1425 w 1492"/>
                    <a:gd name="T43" fmla="*/ 543 h 1642"/>
                    <a:gd name="T44" fmla="*/ 1492 w 1492"/>
                    <a:gd name="T45" fmla="*/ 543 h 1642"/>
                    <a:gd name="T46" fmla="*/ 1420 w 1492"/>
                    <a:gd name="T47" fmla="*/ 185 h 1642"/>
                    <a:gd name="T48" fmla="*/ 107 w 1492"/>
                    <a:gd name="T49" fmla="*/ 1535 h 1642"/>
                    <a:gd name="T50" fmla="*/ 475 w 1492"/>
                    <a:gd name="T51" fmla="*/ 1266 h 1642"/>
                    <a:gd name="T52" fmla="*/ 475 w 1492"/>
                    <a:gd name="T53" fmla="*/ 1535 h 1642"/>
                    <a:gd name="T54" fmla="*/ 107 w 1492"/>
                    <a:gd name="T55" fmla="*/ 1188 h 1642"/>
                    <a:gd name="T56" fmla="*/ 475 w 1492"/>
                    <a:gd name="T57" fmla="*/ 896 h 1642"/>
                    <a:gd name="T58" fmla="*/ 475 w 1492"/>
                    <a:gd name="T59" fmla="*/ 1188 h 1642"/>
                    <a:gd name="T60" fmla="*/ 107 w 1492"/>
                    <a:gd name="T61" fmla="*/ 818 h 1642"/>
                    <a:gd name="T62" fmla="*/ 475 w 1492"/>
                    <a:gd name="T63" fmla="*/ 549 h 1642"/>
                    <a:gd name="T64" fmla="*/ 475 w 1492"/>
                    <a:gd name="T65" fmla="*/ 818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2" h="1642">
                      <a:moveTo>
                        <a:pt x="1420" y="185"/>
                      </a:moveTo>
                      <a:cubicBezTo>
                        <a:pt x="1313" y="185"/>
                        <a:pt x="1313" y="185"/>
                        <a:pt x="1313" y="185"/>
                      </a:cubicBezTo>
                      <a:cubicBezTo>
                        <a:pt x="1308" y="84"/>
                        <a:pt x="1241" y="0"/>
                        <a:pt x="1151" y="0"/>
                      </a:cubicBezTo>
                      <a:cubicBezTo>
                        <a:pt x="1107" y="0"/>
                        <a:pt x="1062" y="28"/>
                        <a:pt x="1034" y="67"/>
                      </a:cubicBezTo>
                      <a:cubicBezTo>
                        <a:pt x="1107" y="112"/>
                        <a:pt x="1107" y="112"/>
                        <a:pt x="1107" y="112"/>
                      </a:cubicBezTo>
                      <a:cubicBezTo>
                        <a:pt x="1118" y="95"/>
                        <a:pt x="1135" y="84"/>
                        <a:pt x="1151" y="84"/>
                      </a:cubicBezTo>
                      <a:cubicBezTo>
                        <a:pt x="1190" y="84"/>
                        <a:pt x="1224" y="129"/>
                        <a:pt x="1224" y="179"/>
                      </a:cubicBezTo>
                      <a:cubicBezTo>
                        <a:pt x="1224" y="185"/>
                        <a:pt x="1224" y="185"/>
                        <a:pt x="1224" y="185"/>
                      </a:cubicBezTo>
                      <a:cubicBezTo>
                        <a:pt x="1224" y="185"/>
                        <a:pt x="1224" y="185"/>
                        <a:pt x="1224" y="185"/>
                      </a:cubicBezTo>
                      <a:cubicBezTo>
                        <a:pt x="1218" y="235"/>
                        <a:pt x="1190" y="274"/>
                        <a:pt x="1151" y="274"/>
                      </a:cubicBezTo>
                      <a:cubicBezTo>
                        <a:pt x="1118" y="274"/>
                        <a:pt x="1084" y="235"/>
                        <a:pt x="1084" y="185"/>
                      </a:cubicBezTo>
                      <a:cubicBezTo>
                        <a:pt x="498" y="185"/>
                        <a:pt x="498" y="185"/>
                        <a:pt x="498" y="185"/>
                      </a:cubicBezTo>
                      <a:cubicBezTo>
                        <a:pt x="498" y="84"/>
                        <a:pt x="425" y="0"/>
                        <a:pt x="341" y="0"/>
                      </a:cubicBezTo>
                      <a:cubicBezTo>
                        <a:pt x="291" y="0"/>
                        <a:pt x="246" y="28"/>
                        <a:pt x="218" y="67"/>
                      </a:cubicBezTo>
                      <a:cubicBezTo>
                        <a:pt x="291" y="112"/>
                        <a:pt x="291" y="112"/>
                        <a:pt x="291" y="112"/>
                      </a:cubicBezTo>
                      <a:cubicBezTo>
                        <a:pt x="302" y="95"/>
                        <a:pt x="319" y="84"/>
                        <a:pt x="341" y="84"/>
                      </a:cubicBezTo>
                      <a:cubicBezTo>
                        <a:pt x="380" y="84"/>
                        <a:pt x="408" y="129"/>
                        <a:pt x="408" y="179"/>
                      </a:cubicBezTo>
                      <a:cubicBezTo>
                        <a:pt x="408" y="185"/>
                        <a:pt x="408" y="185"/>
                        <a:pt x="408" y="185"/>
                      </a:cubicBezTo>
                      <a:cubicBezTo>
                        <a:pt x="408" y="185"/>
                        <a:pt x="408" y="185"/>
                        <a:pt x="408" y="185"/>
                      </a:cubicBezTo>
                      <a:cubicBezTo>
                        <a:pt x="408" y="235"/>
                        <a:pt x="375" y="274"/>
                        <a:pt x="341" y="274"/>
                      </a:cubicBezTo>
                      <a:cubicBezTo>
                        <a:pt x="302" y="274"/>
                        <a:pt x="274" y="235"/>
                        <a:pt x="269" y="185"/>
                      </a:cubicBezTo>
                      <a:cubicBezTo>
                        <a:pt x="73" y="185"/>
                        <a:pt x="73" y="185"/>
                        <a:pt x="73" y="185"/>
                      </a:cubicBezTo>
                      <a:cubicBezTo>
                        <a:pt x="34" y="185"/>
                        <a:pt x="0" y="218"/>
                        <a:pt x="0" y="258"/>
                      </a:cubicBezTo>
                      <a:cubicBezTo>
                        <a:pt x="0" y="1574"/>
                        <a:pt x="0" y="1574"/>
                        <a:pt x="0" y="1574"/>
                      </a:cubicBezTo>
                      <a:cubicBezTo>
                        <a:pt x="0" y="1614"/>
                        <a:pt x="34" y="1642"/>
                        <a:pt x="73" y="1642"/>
                      </a:cubicBezTo>
                      <a:cubicBezTo>
                        <a:pt x="866" y="1642"/>
                        <a:pt x="866" y="1642"/>
                        <a:pt x="866" y="1642"/>
                      </a:cubicBezTo>
                      <a:cubicBezTo>
                        <a:pt x="850" y="1608"/>
                        <a:pt x="833" y="1574"/>
                        <a:pt x="816" y="1535"/>
                      </a:cubicBezTo>
                      <a:cubicBezTo>
                        <a:pt x="554" y="1535"/>
                        <a:pt x="554" y="1535"/>
                        <a:pt x="554" y="1535"/>
                      </a:cubicBezTo>
                      <a:cubicBezTo>
                        <a:pt x="554" y="1266"/>
                        <a:pt x="554" y="1266"/>
                        <a:pt x="554" y="1266"/>
                      </a:cubicBezTo>
                      <a:cubicBezTo>
                        <a:pt x="760" y="1266"/>
                        <a:pt x="760" y="1266"/>
                        <a:pt x="760" y="1266"/>
                      </a:cubicBezTo>
                      <a:cubicBezTo>
                        <a:pt x="760" y="1238"/>
                        <a:pt x="760" y="1216"/>
                        <a:pt x="760" y="1188"/>
                      </a:cubicBezTo>
                      <a:cubicBezTo>
                        <a:pt x="554" y="1188"/>
                        <a:pt x="554" y="1188"/>
                        <a:pt x="554" y="1188"/>
                      </a:cubicBezTo>
                      <a:cubicBezTo>
                        <a:pt x="554" y="896"/>
                        <a:pt x="554" y="896"/>
                        <a:pt x="554" y="896"/>
                      </a:cubicBezTo>
                      <a:cubicBezTo>
                        <a:pt x="855" y="896"/>
                        <a:pt x="855" y="896"/>
                        <a:pt x="855" y="896"/>
                      </a:cubicBezTo>
                      <a:cubicBezTo>
                        <a:pt x="872" y="868"/>
                        <a:pt x="894" y="846"/>
                        <a:pt x="917" y="818"/>
                      </a:cubicBezTo>
                      <a:cubicBezTo>
                        <a:pt x="554" y="818"/>
                        <a:pt x="554" y="818"/>
                        <a:pt x="554" y="818"/>
                      </a:cubicBezTo>
                      <a:cubicBezTo>
                        <a:pt x="554" y="549"/>
                        <a:pt x="554" y="549"/>
                        <a:pt x="554" y="549"/>
                      </a:cubicBezTo>
                      <a:cubicBezTo>
                        <a:pt x="939" y="549"/>
                        <a:pt x="939" y="549"/>
                        <a:pt x="939" y="549"/>
                      </a:cubicBezTo>
                      <a:cubicBezTo>
                        <a:pt x="939" y="795"/>
                        <a:pt x="939" y="795"/>
                        <a:pt x="939" y="795"/>
                      </a:cubicBezTo>
                      <a:cubicBezTo>
                        <a:pt x="1006" y="728"/>
                        <a:pt x="1006" y="728"/>
                        <a:pt x="1006" y="728"/>
                      </a:cubicBezTo>
                      <a:cubicBezTo>
                        <a:pt x="1012" y="723"/>
                        <a:pt x="1012" y="717"/>
                        <a:pt x="1017" y="717"/>
                      </a:cubicBezTo>
                      <a:cubicBezTo>
                        <a:pt x="1017" y="549"/>
                        <a:pt x="1017" y="549"/>
                        <a:pt x="1017" y="549"/>
                      </a:cubicBezTo>
                      <a:cubicBezTo>
                        <a:pt x="1375" y="549"/>
                        <a:pt x="1375" y="549"/>
                        <a:pt x="1375" y="549"/>
                      </a:cubicBezTo>
                      <a:cubicBezTo>
                        <a:pt x="1392" y="549"/>
                        <a:pt x="1408" y="543"/>
                        <a:pt x="1425" y="543"/>
                      </a:cubicBezTo>
                      <a:cubicBezTo>
                        <a:pt x="1436" y="543"/>
                        <a:pt x="1448" y="543"/>
                        <a:pt x="1459" y="543"/>
                      </a:cubicBezTo>
                      <a:cubicBezTo>
                        <a:pt x="1470" y="543"/>
                        <a:pt x="1481" y="543"/>
                        <a:pt x="1492" y="543"/>
                      </a:cubicBezTo>
                      <a:cubicBezTo>
                        <a:pt x="1492" y="258"/>
                        <a:pt x="1492" y="258"/>
                        <a:pt x="1492" y="258"/>
                      </a:cubicBezTo>
                      <a:cubicBezTo>
                        <a:pt x="1492" y="218"/>
                        <a:pt x="1459" y="185"/>
                        <a:pt x="1420" y="185"/>
                      </a:cubicBezTo>
                      <a:close/>
                      <a:moveTo>
                        <a:pt x="475" y="1535"/>
                      </a:moveTo>
                      <a:cubicBezTo>
                        <a:pt x="107" y="1535"/>
                        <a:pt x="107" y="1535"/>
                        <a:pt x="107" y="1535"/>
                      </a:cubicBezTo>
                      <a:cubicBezTo>
                        <a:pt x="107" y="1266"/>
                        <a:pt x="107" y="1266"/>
                        <a:pt x="107" y="1266"/>
                      </a:cubicBezTo>
                      <a:cubicBezTo>
                        <a:pt x="475" y="1266"/>
                        <a:pt x="475" y="1266"/>
                        <a:pt x="475" y="1266"/>
                      </a:cubicBezTo>
                      <a:cubicBezTo>
                        <a:pt x="475" y="1535"/>
                        <a:pt x="475" y="1535"/>
                        <a:pt x="475" y="1535"/>
                      </a:cubicBezTo>
                      <a:cubicBezTo>
                        <a:pt x="475" y="1535"/>
                        <a:pt x="475" y="1535"/>
                        <a:pt x="475" y="1535"/>
                      </a:cubicBezTo>
                      <a:close/>
                      <a:moveTo>
                        <a:pt x="475" y="1188"/>
                      </a:moveTo>
                      <a:cubicBezTo>
                        <a:pt x="107" y="1188"/>
                        <a:pt x="107" y="1188"/>
                        <a:pt x="107" y="1188"/>
                      </a:cubicBezTo>
                      <a:cubicBezTo>
                        <a:pt x="107" y="896"/>
                        <a:pt x="107" y="896"/>
                        <a:pt x="107" y="896"/>
                      </a:cubicBezTo>
                      <a:cubicBezTo>
                        <a:pt x="475" y="896"/>
                        <a:pt x="475" y="896"/>
                        <a:pt x="475" y="896"/>
                      </a:cubicBezTo>
                      <a:cubicBezTo>
                        <a:pt x="475" y="1188"/>
                        <a:pt x="475" y="1188"/>
                        <a:pt x="475" y="1188"/>
                      </a:cubicBezTo>
                      <a:cubicBezTo>
                        <a:pt x="475" y="1188"/>
                        <a:pt x="475" y="1188"/>
                        <a:pt x="475" y="1188"/>
                      </a:cubicBezTo>
                      <a:close/>
                      <a:moveTo>
                        <a:pt x="475" y="818"/>
                      </a:moveTo>
                      <a:cubicBezTo>
                        <a:pt x="107" y="818"/>
                        <a:pt x="107" y="818"/>
                        <a:pt x="107" y="818"/>
                      </a:cubicBezTo>
                      <a:cubicBezTo>
                        <a:pt x="107" y="549"/>
                        <a:pt x="107" y="549"/>
                        <a:pt x="107" y="549"/>
                      </a:cubicBezTo>
                      <a:cubicBezTo>
                        <a:pt x="475" y="549"/>
                        <a:pt x="475" y="549"/>
                        <a:pt x="475" y="549"/>
                      </a:cubicBezTo>
                      <a:cubicBezTo>
                        <a:pt x="475" y="818"/>
                        <a:pt x="475" y="818"/>
                        <a:pt x="475" y="818"/>
                      </a:cubicBezTo>
                      <a:cubicBezTo>
                        <a:pt x="475" y="818"/>
                        <a:pt x="475" y="818"/>
                        <a:pt x="475"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282828"/>
                    </a:solidFill>
                    <a:latin typeface="Segoe UI"/>
                  </a:endParaRPr>
                </a:p>
              </p:txBody>
            </p:sp>
          </p:grpSp>
        </p:grpSp>
      </p:grpSp>
    </p:spTree>
    <p:extLst>
      <p:ext uri="{BB962C8B-B14F-4D97-AF65-F5344CB8AC3E}">
        <p14:creationId xmlns:p14="http://schemas.microsoft.com/office/powerpoint/2010/main" val="1931912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8"/>
                                        </p:tgtEl>
                                        <p:attrNameLst>
                                          <p:attrName>style.visibility</p:attrName>
                                        </p:attrNameLst>
                                      </p:cBhvr>
                                      <p:to>
                                        <p:strVal val="visible"/>
                                      </p:to>
                                    </p:set>
                                    <p:animEffect transition="in" filter="fade">
                                      <p:cBhvr>
                                        <p:cTn id="7" dur="500"/>
                                        <p:tgtEl>
                                          <p:spTgt spid="58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69"/>
                                        </p:tgtEl>
                                        <p:attrNameLst>
                                          <p:attrName>style.visibility</p:attrName>
                                        </p:attrNameLst>
                                      </p:cBhvr>
                                      <p:to>
                                        <p:strVal val="visible"/>
                                      </p:to>
                                    </p:set>
                                    <p:animEffect transition="in" filter="fade">
                                      <p:cBhvr>
                                        <p:cTn id="10" dur="500"/>
                                        <p:tgtEl>
                                          <p:spTgt spid="5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9"/>
                                        </p:tgtEl>
                                        <p:attrNameLst>
                                          <p:attrName>style.visibility</p:attrName>
                                        </p:attrNameLst>
                                      </p:cBhvr>
                                      <p:to>
                                        <p:strVal val="visible"/>
                                      </p:to>
                                    </p:set>
                                    <p:animEffect transition="in" filter="fade">
                                      <p:cBhvr>
                                        <p:cTn id="13" dur="500"/>
                                        <p:tgtEl>
                                          <p:spTgt spid="589"/>
                                        </p:tgtEl>
                                      </p:cBhvr>
                                    </p:animEffect>
                                  </p:childTnLst>
                                </p:cTn>
                              </p:par>
                              <p:par>
                                <p:cTn id="14" presetID="2" presetClass="entr" presetSubtype="8" decel="100000" fill="hold" grpId="0" nodeType="withEffect">
                                  <p:stCondLst>
                                    <p:cond delay="0"/>
                                  </p:stCondLst>
                                  <p:childTnLst>
                                    <p:set>
                                      <p:cBhvr>
                                        <p:cTn id="15" dur="1" fill="hold">
                                          <p:stCondLst>
                                            <p:cond delay="0"/>
                                          </p:stCondLst>
                                        </p:cTn>
                                        <p:tgtEl>
                                          <p:spTgt spid="585"/>
                                        </p:tgtEl>
                                        <p:attrNameLst>
                                          <p:attrName>style.visibility</p:attrName>
                                        </p:attrNameLst>
                                      </p:cBhvr>
                                      <p:to>
                                        <p:strVal val="visible"/>
                                      </p:to>
                                    </p:set>
                                    <p:anim calcmode="lin" valueType="num">
                                      <p:cBhvr additive="base">
                                        <p:cTn id="16" dur="1250" fill="hold"/>
                                        <p:tgtEl>
                                          <p:spTgt spid="585"/>
                                        </p:tgtEl>
                                        <p:attrNameLst>
                                          <p:attrName>ppt_x</p:attrName>
                                        </p:attrNameLst>
                                      </p:cBhvr>
                                      <p:tavLst>
                                        <p:tav tm="0">
                                          <p:val>
                                            <p:strVal val="0-#ppt_w/2"/>
                                          </p:val>
                                        </p:tav>
                                        <p:tav tm="100000">
                                          <p:val>
                                            <p:strVal val="#ppt_x"/>
                                          </p:val>
                                        </p:tav>
                                      </p:tavLst>
                                    </p:anim>
                                    <p:anim calcmode="lin" valueType="num">
                                      <p:cBhvr additive="base">
                                        <p:cTn id="17" dur="1250" fill="hold"/>
                                        <p:tgtEl>
                                          <p:spTgt spid="585"/>
                                        </p:tgtEl>
                                        <p:attrNameLst>
                                          <p:attrName>ppt_y</p:attrName>
                                        </p:attrNameLst>
                                      </p:cBhvr>
                                      <p:tavLst>
                                        <p:tav tm="0">
                                          <p:val>
                                            <p:strVal val="#ppt_y"/>
                                          </p:val>
                                        </p:tav>
                                        <p:tav tm="100000">
                                          <p:val>
                                            <p:strVal val="#ppt_y"/>
                                          </p:val>
                                        </p:tav>
                                      </p:tavLst>
                                    </p:anim>
                                  </p:childTnLst>
                                </p:cTn>
                              </p:par>
                              <p:par>
                                <p:cTn id="18" presetID="2" presetClass="entr" presetSubtype="2" decel="100000" fill="hold" grpId="0" nodeType="withEffect">
                                  <p:stCondLst>
                                    <p:cond delay="1000"/>
                                  </p:stCondLst>
                                  <p:childTnLst>
                                    <p:set>
                                      <p:cBhvr>
                                        <p:cTn id="19" dur="1" fill="hold">
                                          <p:stCondLst>
                                            <p:cond delay="0"/>
                                          </p:stCondLst>
                                        </p:cTn>
                                        <p:tgtEl>
                                          <p:spTgt spid="681"/>
                                        </p:tgtEl>
                                        <p:attrNameLst>
                                          <p:attrName>style.visibility</p:attrName>
                                        </p:attrNameLst>
                                      </p:cBhvr>
                                      <p:to>
                                        <p:strVal val="visible"/>
                                      </p:to>
                                    </p:set>
                                    <p:anim calcmode="lin" valueType="num">
                                      <p:cBhvr additive="base">
                                        <p:cTn id="20" dur="1000" fill="hold"/>
                                        <p:tgtEl>
                                          <p:spTgt spid="681"/>
                                        </p:tgtEl>
                                        <p:attrNameLst>
                                          <p:attrName>ppt_x</p:attrName>
                                        </p:attrNameLst>
                                      </p:cBhvr>
                                      <p:tavLst>
                                        <p:tav tm="0">
                                          <p:val>
                                            <p:strVal val="1+#ppt_w/2"/>
                                          </p:val>
                                        </p:tav>
                                        <p:tav tm="100000">
                                          <p:val>
                                            <p:strVal val="#ppt_x"/>
                                          </p:val>
                                        </p:tav>
                                      </p:tavLst>
                                    </p:anim>
                                    <p:anim calcmode="lin" valueType="num">
                                      <p:cBhvr additive="base">
                                        <p:cTn id="21" dur="1000" fill="hold"/>
                                        <p:tgtEl>
                                          <p:spTgt spid="681"/>
                                        </p:tgtEl>
                                        <p:attrNameLst>
                                          <p:attrName>ppt_y</p:attrName>
                                        </p:attrNameLst>
                                      </p:cBhvr>
                                      <p:tavLst>
                                        <p:tav tm="0">
                                          <p:val>
                                            <p:strVal val="#ppt_y"/>
                                          </p:val>
                                        </p:tav>
                                        <p:tav tm="100000">
                                          <p:val>
                                            <p:strVal val="#ppt_y"/>
                                          </p:val>
                                        </p:tav>
                                      </p:tavLst>
                                    </p:anim>
                                  </p:childTnLst>
                                </p:cTn>
                              </p:par>
                              <p:par>
                                <p:cTn id="22" presetID="22" presetClass="entr" presetSubtype="8" fill="hold" grpId="0" nodeType="withEffect">
                                  <p:stCondLst>
                                    <p:cond delay="1750"/>
                                  </p:stCondLst>
                                  <p:childTnLst>
                                    <p:set>
                                      <p:cBhvr>
                                        <p:cTn id="23" dur="1" fill="hold">
                                          <p:stCondLst>
                                            <p:cond delay="0"/>
                                          </p:stCondLst>
                                        </p:cTn>
                                        <p:tgtEl>
                                          <p:spTgt spid="594"/>
                                        </p:tgtEl>
                                        <p:attrNameLst>
                                          <p:attrName>style.visibility</p:attrName>
                                        </p:attrNameLst>
                                      </p:cBhvr>
                                      <p:to>
                                        <p:strVal val="visible"/>
                                      </p:to>
                                    </p:set>
                                    <p:animEffect transition="in" filter="wipe(left)">
                                      <p:cBhvr>
                                        <p:cTn id="24" dur="800"/>
                                        <p:tgtEl>
                                          <p:spTgt spid="594"/>
                                        </p:tgtEl>
                                      </p:cBhvr>
                                    </p:animEffect>
                                  </p:childTnLst>
                                </p:cTn>
                              </p:par>
                              <p:par>
                                <p:cTn id="25" presetID="10" presetClass="entr" presetSubtype="0" fill="hold" nodeType="withEffect">
                                  <p:stCondLst>
                                    <p:cond delay="1950"/>
                                  </p:stCondLst>
                                  <p:childTnLst>
                                    <p:set>
                                      <p:cBhvr>
                                        <p:cTn id="26" dur="1" fill="hold">
                                          <p:stCondLst>
                                            <p:cond delay="0"/>
                                          </p:stCondLst>
                                        </p:cTn>
                                        <p:tgtEl>
                                          <p:spTgt spid="596"/>
                                        </p:tgtEl>
                                        <p:attrNameLst>
                                          <p:attrName>style.visibility</p:attrName>
                                        </p:attrNameLst>
                                      </p:cBhvr>
                                      <p:to>
                                        <p:strVal val="visible"/>
                                      </p:to>
                                    </p:set>
                                    <p:animEffect transition="in" filter="fade">
                                      <p:cBhvr>
                                        <p:cTn id="27" dur="500"/>
                                        <p:tgtEl>
                                          <p:spTgt spid="596"/>
                                        </p:tgtEl>
                                      </p:cBhvr>
                                    </p:animEffect>
                                  </p:childTnLst>
                                </p:cTn>
                              </p:par>
                              <p:par>
                                <p:cTn id="28" presetID="10" presetClass="entr" presetSubtype="0" fill="hold" grpId="0" nodeType="withEffect">
                                  <p:stCondLst>
                                    <p:cond delay="2250"/>
                                  </p:stCondLst>
                                  <p:childTnLst>
                                    <p:set>
                                      <p:cBhvr>
                                        <p:cTn id="29" dur="1" fill="hold">
                                          <p:stCondLst>
                                            <p:cond delay="0"/>
                                          </p:stCondLst>
                                        </p:cTn>
                                        <p:tgtEl>
                                          <p:spTgt spid="776"/>
                                        </p:tgtEl>
                                        <p:attrNameLst>
                                          <p:attrName>style.visibility</p:attrName>
                                        </p:attrNameLst>
                                      </p:cBhvr>
                                      <p:to>
                                        <p:strVal val="visible"/>
                                      </p:to>
                                    </p:set>
                                    <p:animEffect transition="in" filter="fade">
                                      <p:cBhvr>
                                        <p:cTn id="30" dur="300"/>
                                        <p:tgtEl>
                                          <p:spTgt spid="776"/>
                                        </p:tgtEl>
                                      </p:cBhvr>
                                    </p:animEffect>
                                  </p:childTnLst>
                                </p:cTn>
                              </p:par>
                              <p:par>
                                <p:cTn id="31" presetID="22" presetClass="entr" presetSubtype="8" fill="hold" grpId="0" nodeType="withEffect">
                                  <p:stCondLst>
                                    <p:cond delay="2250"/>
                                  </p:stCondLst>
                                  <p:childTnLst>
                                    <p:set>
                                      <p:cBhvr>
                                        <p:cTn id="32" dur="1" fill="hold">
                                          <p:stCondLst>
                                            <p:cond delay="0"/>
                                          </p:stCondLst>
                                        </p:cTn>
                                        <p:tgtEl>
                                          <p:spTgt spid="800"/>
                                        </p:tgtEl>
                                        <p:attrNameLst>
                                          <p:attrName>style.visibility</p:attrName>
                                        </p:attrNameLst>
                                      </p:cBhvr>
                                      <p:to>
                                        <p:strVal val="visible"/>
                                      </p:to>
                                    </p:set>
                                    <p:animEffect transition="in" filter="wipe(left)">
                                      <p:cBhvr>
                                        <p:cTn id="33" dur="250"/>
                                        <p:tgtEl>
                                          <p:spTgt spid="800"/>
                                        </p:tgtEl>
                                      </p:cBhvr>
                                    </p:animEffect>
                                  </p:childTnLst>
                                </p:cTn>
                              </p:par>
                              <p:par>
                                <p:cTn id="34" presetID="10" presetClass="entr" presetSubtype="0" fill="hold" nodeType="withEffect">
                                  <p:stCondLst>
                                    <p:cond delay="2550"/>
                                  </p:stCondLst>
                                  <p:childTnLst>
                                    <p:set>
                                      <p:cBhvr>
                                        <p:cTn id="35" dur="1" fill="hold">
                                          <p:stCondLst>
                                            <p:cond delay="0"/>
                                          </p:stCondLst>
                                        </p:cTn>
                                        <p:tgtEl>
                                          <p:spTgt spid="719"/>
                                        </p:tgtEl>
                                        <p:attrNameLst>
                                          <p:attrName>style.visibility</p:attrName>
                                        </p:attrNameLst>
                                      </p:cBhvr>
                                      <p:to>
                                        <p:strVal val="visible"/>
                                      </p:to>
                                    </p:set>
                                    <p:animEffect transition="in" filter="fade">
                                      <p:cBhvr>
                                        <p:cTn id="36" dur="300"/>
                                        <p:tgtEl>
                                          <p:spTgt spid="719"/>
                                        </p:tgtEl>
                                      </p:cBhvr>
                                    </p:animEffect>
                                  </p:childTnLst>
                                </p:cTn>
                              </p:par>
                              <p:par>
                                <p:cTn id="37" presetID="1" presetClass="entr" presetSubtype="0" fill="hold" grpId="0" nodeType="withEffect">
                                  <p:stCondLst>
                                    <p:cond delay="2750"/>
                                  </p:stCondLst>
                                  <p:childTnLst>
                                    <p:set>
                                      <p:cBhvr>
                                        <p:cTn id="38" dur="1" fill="hold">
                                          <p:stCondLst>
                                            <p:cond delay="0"/>
                                          </p:stCondLst>
                                        </p:cTn>
                                        <p:tgtEl>
                                          <p:spTgt spid="641"/>
                                        </p:tgtEl>
                                        <p:attrNameLst>
                                          <p:attrName>style.visibility</p:attrName>
                                        </p:attrNameLst>
                                      </p:cBhvr>
                                      <p:to>
                                        <p:strVal val="visible"/>
                                      </p:to>
                                    </p:set>
                                  </p:childTnLst>
                                </p:cTn>
                              </p:par>
                              <p:par>
                                <p:cTn id="39" presetID="50" presetClass="path" presetSubtype="0" fill="hold" grpId="1" nodeType="withEffect">
                                  <p:stCondLst>
                                    <p:cond delay="2750"/>
                                  </p:stCondLst>
                                  <p:childTnLst>
                                    <p:animMotion origin="layout" path="M 0.00038 -0.00113 C 0.00038 -0.00113 0.00013 -0.02202 0.00051 -0.02202 C 0.00051 -0.02247 -0.07557 -0.02224 -0.07557 -0.02179 C -0.07557 -0.04153 -0.07531 -0.07013 -0.07531 -0.0892 " pathEditMode="relative" rAng="0" ptsTypes="AAAA">
                                      <p:cBhvr>
                                        <p:cTn id="40" dur="1000" fill="hold"/>
                                        <p:tgtEl>
                                          <p:spTgt spid="641"/>
                                        </p:tgtEl>
                                        <p:attrNameLst>
                                          <p:attrName>ppt_x</p:attrName>
                                          <p:attrName>ppt_y</p:attrName>
                                        </p:attrNameLst>
                                      </p:cBhvr>
                                      <p:rCtr x="-3791" y="-4403"/>
                                    </p:animMotion>
                                  </p:childTnLst>
                                </p:cTn>
                              </p:par>
                              <p:par>
                                <p:cTn id="41" presetID="1" presetClass="exit" presetSubtype="0" fill="hold" grpId="2" nodeType="withEffect">
                                  <p:stCondLst>
                                    <p:cond delay="3750"/>
                                  </p:stCondLst>
                                  <p:childTnLst>
                                    <p:set>
                                      <p:cBhvr>
                                        <p:cTn id="42" dur="1" fill="hold">
                                          <p:stCondLst>
                                            <p:cond delay="0"/>
                                          </p:stCondLst>
                                        </p:cTn>
                                        <p:tgtEl>
                                          <p:spTgt spid="641"/>
                                        </p:tgtEl>
                                        <p:attrNameLst>
                                          <p:attrName>style.visibility</p:attrName>
                                        </p:attrNameLst>
                                      </p:cBhvr>
                                      <p:to>
                                        <p:strVal val="hidden"/>
                                      </p:to>
                                    </p:set>
                                  </p:childTnLst>
                                </p:cTn>
                              </p:par>
                              <p:par>
                                <p:cTn id="43" presetID="1" presetClass="entr" presetSubtype="0" fill="hold" grpId="0" nodeType="withEffect">
                                  <p:stCondLst>
                                    <p:cond delay="2950"/>
                                  </p:stCondLst>
                                  <p:childTnLst>
                                    <p:set>
                                      <p:cBhvr>
                                        <p:cTn id="44" dur="1" fill="hold">
                                          <p:stCondLst>
                                            <p:cond delay="0"/>
                                          </p:stCondLst>
                                        </p:cTn>
                                        <p:tgtEl>
                                          <p:spTgt spid="662"/>
                                        </p:tgtEl>
                                        <p:attrNameLst>
                                          <p:attrName>style.visibility</p:attrName>
                                        </p:attrNameLst>
                                      </p:cBhvr>
                                      <p:to>
                                        <p:strVal val="visible"/>
                                      </p:to>
                                    </p:set>
                                  </p:childTnLst>
                                </p:cTn>
                              </p:par>
                              <p:par>
                                <p:cTn id="45" presetID="50" presetClass="path" presetSubtype="0" fill="hold" grpId="1" nodeType="withEffect">
                                  <p:stCondLst>
                                    <p:cond delay="2950"/>
                                  </p:stCondLst>
                                  <p:childTnLst>
                                    <p:animMotion origin="layout" path="M -0.00025 1.45256E-7 C -0.00025 1.45256E-7 -0.00025 -0.02111 0.00026 -0.02111 C 0.00026 -0.02156 -0.02489 -0.0227 -0.02489 -0.02202 C -0.02489 -0.04199 -0.02502 -0.0724 -0.02502 -0.09079 " pathEditMode="relative" rAng="0" ptsTypes="AAAA">
                                      <p:cBhvr>
                                        <p:cTn id="46" dur="1000" fill="hold"/>
                                        <p:tgtEl>
                                          <p:spTgt spid="662"/>
                                        </p:tgtEl>
                                        <p:attrNameLst>
                                          <p:attrName>ppt_x</p:attrName>
                                          <p:attrName>ppt_y</p:attrName>
                                        </p:attrNameLst>
                                      </p:cBhvr>
                                      <p:rCtr x="-1213" y="-4539"/>
                                    </p:animMotion>
                                  </p:childTnLst>
                                </p:cTn>
                              </p:par>
                              <p:par>
                                <p:cTn id="47" presetID="1" presetClass="exit" presetSubtype="0" fill="hold" grpId="2" nodeType="withEffect">
                                  <p:stCondLst>
                                    <p:cond delay="3950"/>
                                  </p:stCondLst>
                                  <p:childTnLst>
                                    <p:set>
                                      <p:cBhvr>
                                        <p:cTn id="48" dur="1" fill="hold">
                                          <p:stCondLst>
                                            <p:cond delay="0"/>
                                          </p:stCondLst>
                                        </p:cTn>
                                        <p:tgtEl>
                                          <p:spTgt spid="662"/>
                                        </p:tgtEl>
                                        <p:attrNameLst>
                                          <p:attrName>style.visibility</p:attrName>
                                        </p:attrNameLst>
                                      </p:cBhvr>
                                      <p:to>
                                        <p:strVal val="hidden"/>
                                      </p:to>
                                    </p:set>
                                  </p:childTnLst>
                                </p:cTn>
                              </p:par>
                              <p:par>
                                <p:cTn id="49" presetID="1" presetClass="entr" presetSubtype="0" fill="hold" grpId="0" nodeType="withEffect">
                                  <p:stCondLst>
                                    <p:cond delay="3150"/>
                                  </p:stCondLst>
                                  <p:childTnLst>
                                    <p:set>
                                      <p:cBhvr>
                                        <p:cTn id="50" dur="1" fill="hold">
                                          <p:stCondLst>
                                            <p:cond delay="0"/>
                                          </p:stCondLst>
                                        </p:cTn>
                                        <p:tgtEl>
                                          <p:spTgt spid="663"/>
                                        </p:tgtEl>
                                        <p:attrNameLst>
                                          <p:attrName>style.visibility</p:attrName>
                                        </p:attrNameLst>
                                      </p:cBhvr>
                                      <p:to>
                                        <p:strVal val="visible"/>
                                      </p:to>
                                    </p:set>
                                  </p:childTnLst>
                                </p:cTn>
                              </p:par>
                              <p:par>
                                <p:cTn id="51" presetID="50" presetClass="path" presetSubtype="0" fill="hold" grpId="1" nodeType="withEffect">
                                  <p:stCondLst>
                                    <p:cond delay="3150"/>
                                  </p:stCondLst>
                                  <p:childTnLst>
                                    <p:animMotion origin="layout" path="M -0.00038 1.45256E-7 C -0.00038 1.45256E-7 0.00064 -0.02179 0.00013 -0.02179 C -0.00013 -0.02179 0.01685 -0.02156 0.0254 -0.02065 C 0.0254 -0.04085 0.02502 -0.07127 0.02502 -0.0901 " pathEditMode="relative" rAng="0" ptsTypes="AAAA">
                                      <p:cBhvr>
                                        <p:cTn id="52" dur="1000" fill="hold"/>
                                        <p:tgtEl>
                                          <p:spTgt spid="663"/>
                                        </p:tgtEl>
                                        <p:attrNameLst>
                                          <p:attrName>ppt_x</p:attrName>
                                          <p:attrName>ppt_y</p:attrName>
                                        </p:attrNameLst>
                                      </p:cBhvr>
                                      <p:rCtr x="1289" y="-4517"/>
                                    </p:animMotion>
                                  </p:childTnLst>
                                </p:cTn>
                              </p:par>
                              <p:par>
                                <p:cTn id="53" presetID="1" presetClass="exit" presetSubtype="0" fill="hold" grpId="2" nodeType="withEffect">
                                  <p:stCondLst>
                                    <p:cond delay="4150"/>
                                  </p:stCondLst>
                                  <p:childTnLst>
                                    <p:set>
                                      <p:cBhvr>
                                        <p:cTn id="54" dur="1" fill="hold">
                                          <p:stCondLst>
                                            <p:cond delay="0"/>
                                          </p:stCondLst>
                                        </p:cTn>
                                        <p:tgtEl>
                                          <p:spTgt spid="663"/>
                                        </p:tgtEl>
                                        <p:attrNameLst>
                                          <p:attrName>style.visibility</p:attrName>
                                        </p:attrNameLst>
                                      </p:cBhvr>
                                      <p:to>
                                        <p:strVal val="hidden"/>
                                      </p:to>
                                    </p:set>
                                  </p:childTnLst>
                                </p:cTn>
                              </p:par>
                              <p:par>
                                <p:cTn id="55" presetID="1" presetClass="entr" presetSubtype="0" fill="hold" grpId="0" nodeType="withEffect">
                                  <p:stCondLst>
                                    <p:cond delay="3350"/>
                                  </p:stCondLst>
                                  <p:childTnLst>
                                    <p:set>
                                      <p:cBhvr>
                                        <p:cTn id="56" dur="1" fill="hold">
                                          <p:stCondLst>
                                            <p:cond delay="0"/>
                                          </p:stCondLst>
                                        </p:cTn>
                                        <p:tgtEl>
                                          <p:spTgt spid="664"/>
                                        </p:tgtEl>
                                        <p:attrNameLst>
                                          <p:attrName>style.visibility</p:attrName>
                                        </p:attrNameLst>
                                      </p:cBhvr>
                                      <p:to>
                                        <p:strVal val="visible"/>
                                      </p:to>
                                    </p:set>
                                  </p:childTnLst>
                                </p:cTn>
                              </p:par>
                              <p:par>
                                <p:cTn id="57" presetID="50" presetClass="path" presetSubtype="0" fill="hold" grpId="1" nodeType="withEffect">
                                  <p:stCondLst>
                                    <p:cond delay="3350"/>
                                  </p:stCondLst>
                                  <p:childTnLst>
                                    <p:animMotion origin="layout" path="M -0.00025 1.45256E-7 C -0.00025 1.45256E-7 -0.00025 -0.0202 -0.00025 -0.02088 C -0.00025 -0.02156 0.07544 -0.02156 0.07544 -0.02088 C 0.07544 -0.04108 0.0757 -0.07104 0.0757 -0.08965 " pathEditMode="relative" rAng="0" ptsTypes="AAAA">
                                      <p:cBhvr>
                                        <p:cTn id="58" dur="1000" fill="hold"/>
                                        <p:tgtEl>
                                          <p:spTgt spid="664"/>
                                        </p:tgtEl>
                                        <p:attrNameLst>
                                          <p:attrName>ppt_x</p:attrName>
                                          <p:attrName>ppt_y</p:attrName>
                                        </p:attrNameLst>
                                      </p:cBhvr>
                                      <p:rCtr x="3791" y="-4494"/>
                                    </p:animMotion>
                                  </p:childTnLst>
                                </p:cTn>
                              </p:par>
                              <p:par>
                                <p:cTn id="59" presetID="1" presetClass="exit" presetSubtype="0" fill="hold" grpId="2" nodeType="withEffect">
                                  <p:stCondLst>
                                    <p:cond delay="4350"/>
                                  </p:stCondLst>
                                  <p:childTnLst>
                                    <p:set>
                                      <p:cBhvr>
                                        <p:cTn id="60" dur="1" fill="hold">
                                          <p:stCondLst>
                                            <p:cond delay="0"/>
                                          </p:stCondLst>
                                        </p:cTn>
                                        <p:tgtEl>
                                          <p:spTgt spid="664"/>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2" presetClass="entr" presetSubtype="2" decel="100000" fill="hold" nodeType="clickEffect">
                                  <p:stCondLst>
                                    <p:cond delay="0"/>
                                  </p:stCondLst>
                                  <p:childTnLst>
                                    <p:set>
                                      <p:cBhvr>
                                        <p:cTn id="64" dur="1" fill="hold">
                                          <p:stCondLst>
                                            <p:cond delay="0"/>
                                          </p:stCondLst>
                                        </p:cTn>
                                        <p:tgtEl>
                                          <p:spTgt spid="682"/>
                                        </p:tgtEl>
                                        <p:attrNameLst>
                                          <p:attrName>style.visibility</p:attrName>
                                        </p:attrNameLst>
                                      </p:cBhvr>
                                      <p:to>
                                        <p:strVal val="visible"/>
                                      </p:to>
                                    </p:set>
                                    <p:anim calcmode="lin" valueType="num">
                                      <p:cBhvr additive="base">
                                        <p:cTn id="65" dur="1000" fill="hold"/>
                                        <p:tgtEl>
                                          <p:spTgt spid="682"/>
                                        </p:tgtEl>
                                        <p:attrNameLst>
                                          <p:attrName>ppt_x</p:attrName>
                                        </p:attrNameLst>
                                      </p:cBhvr>
                                      <p:tavLst>
                                        <p:tav tm="0">
                                          <p:val>
                                            <p:strVal val="1+#ppt_w/2"/>
                                          </p:val>
                                        </p:tav>
                                        <p:tav tm="100000">
                                          <p:val>
                                            <p:strVal val="#ppt_x"/>
                                          </p:val>
                                        </p:tav>
                                      </p:tavLst>
                                    </p:anim>
                                    <p:anim calcmode="lin" valueType="num">
                                      <p:cBhvr additive="base">
                                        <p:cTn id="66" dur="1000" fill="hold"/>
                                        <p:tgtEl>
                                          <p:spTgt spid="682"/>
                                        </p:tgtEl>
                                        <p:attrNameLst>
                                          <p:attrName>ppt_y</p:attrName>
                                        </p:attrNameLst>
                                      </p:cBhvr>
                                      <p:tavLst>
                                        <p:tav tm="0">
                                          <p:val>
                                            <p:strVal val="#ppt_y"/>
                                          </p:val>
                                        </p:tav>
                                        <p:tav tm="100000">
                                          <p:val>
                                            <p:strVal val="#ppt_y"/>
                                          </p:val>
                                        </p:tav>
                                      </p:tavLst>
                                    </p:anim>
                                  </p:childTnLst>
                                </p:cTn>
                              </p:par>
                              <p:par>
                                <p:cTn id="67" presetID="10" presetClass="entr" presetSubtype="0" fill="hold" nodeType="withEffect">
                                  <p:stCondLst>
                                    <p:cond delay="1000"/>
                                  </p:stCondLst>
                                  <p:childTnLst>
                                    <p:set>
                                      <p:cBhvr>
                                        <p:cTn id="68" dur="1" fill="hold">
                                          <p:stCondLst>
                                            <p:cond delay="0"/>
                                          </p:stCondLst>
                                        </p:cTn>
                                        <p:tgtEl>
                                          <p:spTgt spid="778"/>
                                        </p:tgtEl>
                                        <p:attrNameLst>
                                          <p:attrName>style.visibility</p:attrName>
                                        </p:attrNameLst>
                                      </p:cBhvr>
                                      <p:to>
                                        <p:strVal val="visible"/>
                                      </p:to>
                                    </p:set>
                                    <p:animEffect transition="in" filter="fade">
                                      <p:cBhvr>
                                        <p:cTn id="69" dur="500"/>
                                        <p:tgtEl>
                                          <p:spTgt spid="778"/>
                                        </p:tgtEl>
                                      </p:cBhvr>
                                    </p:animEffect>
                                  </p:childTnLst>
                                </p:cTn>
                              </p:par>
                              <p:par>
                                <p:cTn id="70" presetID="10" presetClass="entr" presetSubtype="0" fill="hold" nodeType="withEffect">
                                  <p:stCondLst>
                                    <p:cond delay="1100"/>
                                  </p:stCondLst>
                                  <p:childTnLst>
                                    <p:set>
                                      <p:cBhvr>
                                        <p:cTn id="71" dur="1" fill="hold">
                                          <p:stCondLst>
                                            <p:cond delay="0"/>
                                          </p:stCondLst>
                                        </p:cTn>
                                        <p:tgtEl>
                                          <p:spTgt spid="642"/>
                                        </p:tgtEl>
                                        <p:attrNameLst>
                                          <p:attrName>style.visibility</p:attrName>
                                        </p:attrNameLst>
                                      </p:cBhvr>
                                      <p:to>
                                        <p:strVal val="visible"/>
                                      </p:to>
                                    </p:set>
                                    <p:animEffect transition="in" filter="fade">
                                      <p:cBhvr>
                                        <p:cTn id="72" dur="500"/>
                                        <p:tgtEl>
                                          <p:spTgt spid="642"/>
                                        </p:tgtEl>
                                      </p:cBhvr>
                                    </p:animEffect>
                                  </p:childTnLst>
                                </p:cTn>
                              </p:par>
                              <p:par>
                                <p:cTn id="73" presetID="10" presetClass="entr" presetSubtype="0" fill="hold" grpId="0" nodeType="withEffect">
                                  <p:stCondLst>
                                    <p:cond delay="1400"/>
                                  </p:stCondLst>
                                  <p:childTnLst>
                                    <p:set>
                                      <p:cBhvr>
                                        <p:cTn id="74" dur="1" fill="hold">
                                          <p:stCondLst>
                                            <p:cond delay="0"/>
                                          </p:stCondLst>
                                        </p:cTn>
                                        <p:tgtEl>
                                          <p:spTgt spid="777"/>
                                        </p:tgtEl>
                                        <p:attrNameLst>
                                          <p:attrName>style.visibility</p:attrName>
                                        </p:attrNameLst>
                                      </p:cBhvr>
                                      <p:to>
                                        <p:strVal val="visible"/>
                                      </p:to>
                                    </p:set>
                                    <p:animEffect transition="in" filter="fade">
                                      <p:cBhvr>
                                        <p:cTn id="75" dur="300"/>
                                        <p:tgtEl>
                                          <p:spTgt spid="777"/>
                                        </p:tgtEl>
                                      </p:cBhvr>
                                    </p:animEffect>
                                  </p:childTnLst>
                                </p:cTn>
                              </p:par>
                              <p:par>
                                <p:cTn id="76" presetID="10" presetClass="entr" presetSubtype="0" fill="hold" nodeType="withEffect">
                                  <p:stCondLst>
                                    <p:cond delay="1500"/>
                                  </p:stCondLst>
                                  <p:childTnLst>
                                    <p:set>
                                      <p:cBhvr>
                                        <p:cTn id="77" dur="1" fill="hold">
                                          <p:stCondLst>
                                            <p:cond delay="0"/>
                                          </p:stCondLst>
                                        </p:cTn>
                                        <p:tgtEl>
                                          <p:spTgt spid="737"/>
                                        </p:tgtEl>
                                        <p:attrNameLst>
                                          <p:attrName>style.visibility</p:attrName>
                                        </p:attrNameLst>
                                      </p:cBhvr>
                                      <p:to>
                                        <p:strVal val="visible"/>
                                      </p:to>
                                    </p:set>
                                    <p:animEffect transition="in" filter="fade">
                                      <p:cBhvr>
                                        <p:cTn id="78" dur="300"/>
                                        <p:tgtEl>
                                          <p:spTgt spid="737"/>
                                        </p:tgtEl>
                                      </p:cBhvr>
                                    </p:animEffect>
                                  </p:childTnLst>
                                </p:cTn>
                              </p:par>
                              <p:par>
                                <p:cTn id="79" presetID="10" presetClass="entr" presetSubtype="0" fill="hold" nodeType="withEffect">
                                  <p:stCondLst>
                                    <p:cond delay="1500"/>
                                  </p:stCondLst>
                                  <p:childTnLst>
                                    <p:set>
                                      <p:cBhvr>
                                        <p:cTn id="80" dur="1" fill="hold">
                                          <p:stCondLst>
                                            <p:cond delay="0"/>
                                          </p:stCondLst>
                                        </p:cTn>
                                        <p:tgtEl>
                                          <p:spTgt spid="733"/>
                                        </p:tgtEl>
                                        <p:attrNameLst>
                                          <p:attrName>style.visibility</p:attrName>
                                        </p:attrNameLst>
                                      </p:cBhvr>
                                      <p:to>
                                        <p:strVal val="visible"/>
                                      </p:to>
                                    </p:set>
                                    <p:animEffect transition="in" filter="fade">
                                      <p:cBhvr>
                                        <p:cTn id="81" dur="300"/>
                                        <p:tgtEl>
                                          <p:spTgt spid="733"/>
                                        </p:tgtEl>
                                      </p:cBhvr>
                                    </p:animEffect>
                                  </p:childTnLst>
                                </p:cTn>
                              </p:par>
                              <p:par>
                                <p:cTn id="82" presetID="1" presetClass="entr" presetSubtype="0" fill="hold" grpId="0" nodeType="withEffect">
                                  <p:stCondLst>
                                    <p:cond delay="1750"/>
                                  </p:stCondLst>
                                  <p:childTnLst>
                                    <p:set>
                                      <p:cBhvr>
                                        <p:cTn id="83" dur="1" fill="hold">
                                          <p:stCondLst>
                                            <p:cond delay="0"/>
                                          </p:stCondLst>
                                        </p:cTn>
                                        <p:tgtEl>
                                          <p:spTgt spid="665"/>
                                        </p:tgtEl>
                                        <p:attrNameLst>
                                          <p:attrName>style.visibility</p:attrName>
                                        </p:attrNameLst>
                                      </p:cBhvr>
                                      <p:to>
                                        <p:strVal val="visible"/>
                                      </p:to>
                                    </p:set>
                                  </p:childTnLst>
                                </p:cTn>
                              </p:par>
                              <p:par>
                                <p:cTn id="84" presetID="50" presetClass="path" presetSubtype="0" fill="hold" grpId="1" nodeType="withEffect">
                                  <p:stCondLst>
                                    <p:cond delay="1750"/>
                                  </p:stCondLst>
                                  <p:childTnLst>
                                    <p:animMotion origin="layout" path="M -0.00038 1.45256E-7 L -0.00038 -0.02111 C -0.00038 -0.02156 -0.02515 -0.02224 -0.02515 -0.02156 C -0.02515 -0.04199 -0.02527 -0.07104 -0.02527 -0.0892 " pathEditMode="relative" rAng="0" ptsTypes="AAAA">
                                      <p:cBhvr>
                                        <p:cTn id="85" dur="1000" fill="hold"/>
                                        <p:tgtEl>
                                          <p:spTgt spid="665"/>
                                        </p:tgtEl>
                                        <p:attrNameLst>
                                          <p:attrName>ppt_x</p:attrName>
                                          <p:attrName>ppt_y</p:attrName>
                                        </p:attrNameLst>
                                      </p:cBhvr>
                                      <p:rCtr x="-1251" y="-4471"/>
                                    </p:animMotion>
                                  </p:childTnLst>
                                </p:cTn>
                              </p:par>
                              <p:par>
                                <p:cTn id="86" presetID="1" presetClass="exit" presetSubtype="0" fill="hold" grpId="2" nodeType="withEffect">
                                  <p:stCondLst>
                                    <p:cond delay="2750"/>
                                  </p:stCondLst>
                                  <p:childTnLst>
                                    <p:set>
                                      <p:cBhvr>
                                        <p:cTn id="87" dur="1" fill="hold">
                                          <p:stCondLst>
                                            <p:cond delay="0"/>
                                          </p:stCondLst>
                                        </p:cTn>
                                        <p:tgtEl>
                                          <p:spTgt spid="665"/>
                                        </p:tgtEl>
                                        <p:attrNameLst>
                                          <p:attrName>style.visibility</p:attrName>
                                        </p:attrNameLst>
                                      </p:cBhvr>
                                      <p:to>
                                        <p:strVal val="hidden"/>
                                      </p:to>
                                    </p:set>
                                  </p:childTnLst>
                                </p:cTn>
                              </p:par>
                              <p:par>
                                <p:cTn id="88" presetID="1" presetClass="entr" presetSubtype="0" fill="hold" grpId="0" nodeType="withEffect">
                                  <p:stCondLst>
                                    <p:cond delay="1950"/>
                                  </p:stCondLst>
                                  <p:childTnLst>
                                    <p:set>
                                      <p:cBhvr>
                                        <p:cTn id="89" dur="1" fill="hold">
                                          <p:stCondLst>
                                            <p:cond delay="0"/>
                                          </p:stCondLst>
                                        </p:cTn>
                                        <p:tgtEl>
                                          <p:spTgt spid="666"/>
                                        </p:tgtEl>
                                        <p:attrNameLst>
                                          <p:attrName>style.visibility</p:attrName>
                                        </p:attrNameLst>
                                      </p:cBhvr>
                                      <p:to>
                                        <p:strVal val="visible"/>
                                      </p:to>
                                    </p:set>
                                  </p:childTnLst>
                                </p:cTn>
                              </p:par>
                              <p:par>
                                <p:cTn id="90" presetID="50" presetClass="path" presetSubtype="0" fill="hold" grpId="1" nodeType="withEffect">
                                  <p:stCondLst>
                                    <p:cond delay="1950"/>
                                  </p:stCondLst>
                                  <p:childTnLst>
                                    <p:animMotion origin="layout" path="M -0.00026 1.45256E-7 C -0.00026 0.00023 -0.00026 -0.0202 -0.00026 -0.02088 C -0.00026 -0.02156 0.02515 -0.02156 0.02515 -0.02088 C 0.02515 -0.04108 0.02527 -0.07104 0.02527 -0.08965 " pathEditMode="relative" rAng="0" ptsTypes="AAAA">
                                      <p:cBhvr>
                                        <p:cTn id="91" dur="1000" fill="hold"/>
                                        <p:tgtEl>
                                          <p:spTgt spid="666"/>
                                        </p:tgtEl>
                                        <p:attrNameLst>
                                          <p:attrName>ppt_x</p:attrName>
                                          <p:attrName>ppt_y</p:attrName>
                                        </p:attrNameLst>
                                      </p:cBhvr>
                                      <p:rCtr x="1276" y="-4494"/>
                                    </p:animMotion>
                                  </p:childTnLst>
                                </p:cTn>
                              </p:par>
                              <p:par>
                                <p:cTn id="92" presetID="1" presetClass="exit" presetSubtype="0" fill="hold" grpId="2" nodeType="withEffect">
                                  <p:stCondLst>
                                    <p:cond delay="2950"/>
                                  </p:stCondLst>
                                  <p:childTnLst>
                                    <p:set>
                                      <p:cBhvr>
                                        <p:cTn id="93" dur="1" fill="hold">
                                          <p:stCondLst>
                                            <p:cond delay="0"/>
                                          </p:stCondLst>
                                        </p:cTn>
                                        <p:tgtEl>
                                          <p:spTgt spid="666"/>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2" presetClass="entr" presetSubtype="2" decel="100000" fill="hold" nodeType="clickEffect">
                                  <p:stCondLst>
                                    <p:cond delay="0"/>
                                  </p:stCondLst>
                                  <p:childTnLst>
                                    <p:set>
                                      <p:cBhvr>
                                        <p:cTn id="97" dur="1" fill="hold">
                                          <p:stCondLst>
                                            <p:cond delay="0"/>
                                          </p:stCondLst>
                                        </p:cTn>
                                        <p:tgtEl>
                                          <p:spTgt spid="685"/>
                                        </p:tgtEl>
                                        <p:attrNameLst>
                                          <p:attrName>style.visibility</p:attrName>
                                        </p:attrNameLst>
                                      </p:cBhvr>
                                      <p:to>
                                        <p:strVal val="visible"/>
                                      </p:to>
                                    </p:set>
                                    <p:anim calcmode="lin" valueType="num">
                                      <p:cBhvr additive="base">
                                        <p:cTn id="98" dur="1000" fill="hold"/>
                                        <p:tgtEl>
                                          <p:spTgt spid="685"/>
                                        </p:tgtEl>
                                        <p:attrNameLst>
                                          <p:attrName>ppt_x</p:attrName>
                                        </p:attrNameLst>
                                      </p:cBhvr>
                                      <p:tavLst>
                                        <p:tav tm="0">
                                          <p:val>
                                            <p:strVal val="1+#ppt_w/2"/>
                                          </p:val>
                                        </p:tav>
                                        <p:tav tm="100000">
                                          <p:val>
                                            <p:strVal val="#ppt_x"/>
                                          </p:val>
                                        </p:tav>
                                      </p:tavLst>
                                    </p:anim>
                                    <p:anim calcmode="lin" valueType="num">
                                      <p:cBhvr additive="base">
                                        <p:cTn id="99" dur="1000" fill="hold"/>
                                        <p:tgtEl>
                                          <p:spTgt spid="685"/>
                                        </p:tgtEl>
                                        <p:attrNameLst>
                                          <p:attrName>ppt_y</p:attrName>
                                        </p:attrNameLst>
                                      </p:cBhvr>
                                      <p:tavLst>
                                        <p:tav tm="0">
                                          <p:val>
                                            <p:strVal val="#ppt_y"/>
                                          </p:val>
                                        </p:tav>
                                        <p:tav tm="100000">
                                          <p:val>
                                            <p:strVal val="#ppt_y"/>
                                          </p:val>
                                        </p:tav>
                                      </p:tavLst>
                                    </p:anim>
                                  </p:childTnLst>
                                </p:cTn>
                              </p:par>
                              <p:par>
                                <p:cTn id="100" presetID="10" presetClass="entr" presetSubtype="0" fill="hold" nodeType="withEffect">
                                  <p:stCondLst>
                                    <p:cond delay="1000"/>
                                  </p:stCondLst>
                                  <p:childTnLst>
                                    <p:set>
                                      <p:cBhvr>
                                        <p:cTn id="101" dur="1" fill="hold">
                                          <p:stCondLst>
                                            <p:cond delay="0"/>
                                          </p:stCondLst>
                                        </p:cTn>
                                        <p:tgtEl>
                                          <p:spTgt spid="784"/>
                                        </p:tgtEl>
                                        <p:attrNameLst>
                                          <p:attrName>style.visibility</p:attrName>
                                        </p:attrNameLst>
                                      </p:cBhvr>
                                      <p:to>
                                        <p:strVal val="visible"/>
                                      </p:to>
                                    </p:set>
                                    <p:animEffect transition="in" filter="fade">
                                      <p:cBhvr>
                                        <p:cTn id="102" dur="500"/>
                                        <p:tgtEl>
                                          <p:spTgt spid="784"/>
                                        </p:tgtEl>
                                      </p:cBhvr>
                                    </p:animEffect>
                                  </p:childTnLst>
                                </p:cTn>
                              </p:par>
                              <p:par>
                                <p:cTn id="103" presetID="22" presetClass="entr" presetSubtype="4" fill="hold" grpId="0" nodeType="withEffect">
                                  <p:stCondLst>
                                    <p:cond delay="1100"/>
                                  </p:stCondLst>
                                  <p:childTnLst>
                                    <p:set>
                                      <p:cBhvr>
                                        <p:cTn id="104" dur="1" fill="hold">
                                          <p:stCondLst>
                                            <p:cond delay="0"/>
                                          </p:stCondLst>
                                        </p:cTn>
                                        <p:tgtEl>
                                          <p:spTgt spid="587"/>
                                        </p:tgtEl>
                                        <p:attrNameLst>
                                          <p:attrName>style.visibility</p:attrName>
                                        </p:attrNameLst>
                                      </p:cBhvr>
                                      <p:to>
                                        <p:strVal val="visible"/>
                                      </p:to>
                                    </p:set>
                                    <p:animEffect transition="in" filter="wipe(down)">
                                      <p:cBhvr>
                                        <p:cTn id="105" dur="500"/>
                                        <p:tgtEl>
                                          <p:spTgt spid="587"/>
                                        </p:tgtEl>
                                      </p:cBhvr>
                                    </p:animEffect>
                                  </p:childTnLst>
                                </p:cTn>
                              </p:par>
                              <p:par>
                                <p:cTn id="106" presetID="10" presetClass="entr" presetSubtype="0" fill="hold" nodeType="withEffect">
                                  <p:stCondLst>
                                    <p:cond delay="1250"/>
                                  </p:stCondLst>
                                  <p:childTnLst>
                                    <p:set>
                                      <p:cBhvr>
                                        <p:cTn id="107" dur="1" fill="hold">
                                          <p:stCondLst>
                                            <p:cond delay="0"/>
                                          </p:stCondLst>
                                        </p:cTn>
                                        <p:tgtEl>
                                          <p:spTgt spid="826"/>
                                        </p:tgtEl>
                                        <p:attrNameLst>
                                          <p:attrName>style.visibility</p:attrName>
                                        </p:attrNameLst>
                                      </p:cBhvr>
                                      <p:to>
                                        <p:strVal val="visible"/>
                                      </p:to>
                                    </p:set>
                                    <p:animEffect transition="in" filter="fade">
                                      <p:cBhvr>
                                        <p:cTn id="108" dur="250"/>
                                        <p:tgtEl>
                                          <p:spTgt spid="826"/>
                                        </p:tgtEl>
                                      </p:cBhvr>
                                    </p:animEffect>
                                  </p:childTnLst>
                                </p:cTn>
                              </p:par>
                              <p:par>
                                <p:cTn id="109" presetID="10" presetClass="entr" presetSubtype="0" fill="hold" nodeType="withEffect">
                                  <p:stCondLst>
                                    <p:cond delay="1500"/>
                                  </p:stCondLst>
                                  <p:childTnLst>
                                    <p:set>
                                      <p:cBhvr>
                                        <p:cTn id="110" dur="1" fill="hold">
                                          <p:stCondLst>
                                            <p:cond delay="0"/>
                                          </p:stCondLst>
                                        </p:cTn>
                                        <p:tgtEl>
                                          <p:spTgt spid="729"/>
                                        </p:tgtEl>
                                        <p:attrNameLst>
                                          <p:attrName>style.visibility</p:attrName>
                                        </p:attrNameLst>
                                      </p:cBhvr>
                                      <p:to>
                                        <p:strVal val="visible"/>
                                      </p:to>
                                    </p:set>
                                    <p:animEffect transition="in" filter="fade">
                                      <p:cBhvr>
                                        <p:cTn id="111" dur="300"/>
                                        <p:tgtEl>
                                          <p:spTgt spid="729"/>
                                        </p:tgtEl>
                                      </p:cBhvr>
                                    </p:animEffect>
                                  </p:childTnLst>
                                </p:cTn>
                              </p:par>
                              <p:par>
                                <p:cTn id="112" presetID="2" presetClass="entr" presetSubtype="8" decel="100000" fill="hold" grpId="0" nodeType="withEffect">
                                  <p:stCondLst>
                                    <p:cond delay="0"/>
                                  </p:stCondLst>
                                  <p:childTnLst>
                                    <p:set>
                                      <p:cBhvr>
                                        <p:cTn id="113" dur="1" fill="hold">
                                          <p:stCondLst>
                                            <p:cond delay="0"/>
                                          </p:stCondLst>
                                        </p:cTn>
                                        <p:tgtEl>
                                          <p:spTgt spid="568"/>
                                        </p:tgtEl>
                                        <p:attrNameLst>
                                          <p:attrName>style.visibility</p:attrName>
                                        </p:attrNameLst>
                                      </p:cBhvr>
                                      <p:to>
                                        <p:strVal val="visible"/>
                                      </p:to>
                                    </p:set>
                                    <p:anim calcmode="lin" valueType="num">
                                      <p:cBhvr additive="base">
                                        <p:cTn id="114" dur="1250" fill="hold"/>
                                        <p:tgtEl>
                                          <p:spTgt spid="568"/>
                                        </p:tgtEl>
                                        <p:attrNameLst>
                                          <p:attrName>ppt_x</p:attrName>
                                        </p:attrNameLst>
                                      </p:cBhvr>
                                      <p:tavLst>
                                        <p:tav tm="0">
                                          <p:val>
                                            <p:strVal val="0-#ppt_w/2"/>
                                          </p:val>
                                        </p:tav>
                                        <p:tav tm="100000">
                                          <p:val>
                                            <p:strVal val="#ppt_x"/>
                                          </p:val>
                                        </p:tav>
                                      </p:tavLst>
                                    </p:anim>
                                    <p:anim calcmode="lin" valueType="num">
                                      <p:cBhvr additive="base">
                                        <p:cTn id="115" dur="1250" fill="hold"/>
                                        <p:tgtEl>
                                          <p:spTgt spid="568"/>
                                        </p:tgtEl>
                                        <p:attrNameLst>
                                          <p:attrName>ppt_y</p:attrName>
                                        </p:attrNameLst>
                                      </p:cBhvr>
                                      <p:tavLst>
                                        <p:tav tm="0">
                                          <p:val>
                                            <p:strVal val="#ppt_y"/>
                                          </p:val>
                                        </p:tav>
                                        <p:tav tm="100000">
                                          <p:val>
                                            <p:strVal val="#ppt_y"/>
                                          </p:val>
                                        </p:tav>
                                      </p:tavLst>
                                    </p:anim>
                                  </p:childTnLst>
                                </p:cTn>
                              </p:par>
                              <p:par>
                                <p:cTn id="116" presetID="10" presetClass="entr" presetSubtype="0" fill="hold" grpId="0" nodeType="withEffect">
                                  <p:stCondLst>
                                    <p:cond delay="750"/>
                                  </p:stCondLst>
                                  <p:childTnLst>
                                    <p:set>
                                      <p:cBhvr>
                                        <p:cTn id="117" dur="1" fill="hold">
                                          <p:stCondLst>
                                            <p:cond delay="0"/>
                                          </p:stCondLst>
                                        </p:cTn>
                                        <p:tgtEl>
                                          <p:spTgt spid="571"/>
                                        </p:tgtEl>
                                        <p:attrNameLst>
                                          <p:attrName>style.visibility</p:attrName>
                                        </p:attrNameLst>
                                      </p:cBhvr>
                                      <p:to>
                                        <p:strVal val="visible"/>
                                      </p:to>
                                    </p:set>
                                    <p:animEffect transition="in" filter="fade">
                                      <p:cBhvr>
                                        <p:cTn id="118" dur="500"/>
                                        <p:tgtEl>
                                          <p:spTgt spid="571"/>
                                        </p:tgtEl>
                                      </p:cBhvr>
                                    </p:animEffect>
                                  </p:childTnLst>
                                </p:cTn>
                              </p:par>
                            </p:childTnLst>
                          </p:cTn>
                        </p:par>
                        <p:par>
                          <p:cTn id="119" fill="hold">
                            <p:stCondLst>
                              <p:cond delay="1800"/>
                            </p:stCondLst>
                            <p:childTnLst>
                              <p:par>
                                <p:cTn id="120" presetID="2" presetClass="entr" presetSubtype="8" decel="100000" fill="hold" grpId="0" nodeType="afterEffect">
                                  <p:stCondLst>
                                    <p:cond delay="0"/>
                                  </p:stCondLst>
                                  <p:childTnLst>
                                    <p:set>
                                      <p:cBhvr>
                                        <p:cTn id="121" dur="1" fill="hold">
                                          <p:stCondLst>
                                            <p:cond delay="0"/>
                                          </p:stCondLst>
                                        </p:cTn>
                                        <p:tgtEl>
                                          <p:spTgt spid="578"/>
                                        </p:tgtEl>
                                        <p:attrNameLst>
                                          <p:attrName>style.visibility</p:attrName>
                                        </p:attrNameLst>
                                      </p:cBhvr>
                                      <p:to>
                                        <p:strVal val="visible"/>
                                      </p:to>
                                    </p:set>
                                    <p:anim calcmode="lin" valueType="num">
                                      <p:cBhvr additive="base">
                                        <p:cTn id="122" dur="1250" fill="hold"/>
                                        <p:tgtEl>
                                          <p:spTgt spid="578"/>
                                        </p:tgtEl>
                                        <p:attrNameLst>
                                          <p:attrName>ppt_x</p:attrName>
                                        </p:attrNameLst>
                                      </p:cBhvr>
                                      <p:tavLst>
                                        <p:tav tm="0">
                                          <p:val>
                                            <p:strVal val="0-#ppt_w/2"/>
                                          </p:val>
                                        </p:tav>
                                        <p:tav tm="100000">
                                          <p:val>
                                            <p:strVal val="#ppt_x"/>
                                          </p:val>
                                        </p:tav>
                                      </p:tavLst>
                                    </p:anim>
                                    <p:anim calcmode="lin" valueType="num">
                                      <p:cBhvr additive="base">
                                        <p:cTn id="123" dur="1250" fill="hold"/>
                                        <p:tgtEl>
                                          <p:spTgt spid="578"/>
                                        </p:tgtEl>
                                        <p:attrNameLst>
                                          <p:attrName>ppt_y</p:attrName>
                                        </p:attrNameLst>
                                      </p:cBhvr>
                                      <p:tavLst>
                                        <p:tav tm="0">
                                          <p:val>
                                            <p:strVal val="#ppt_y"/>
                                          </p:val>
                                        </p:tav>
                                        <p:tav tm="100000">
                                          <p:val>
                                            <p:strVal val="#ppt_y"/>
                                          </p:val>
                                        </p:tav>
                                      </p:tavLst>
                                    </p:anim>
                                  </p:childTnLst>
                                </p:cTn>
                              </p:par>
                              <p:par>
                                <p:cTn id="124" presetID="2" presetClass="entr" presetSubtype="2" decel="100000" fill="hold" grpId="0" nodeType="withEffect">
                                  <p:stCondLst>
                                    <p:cond delay="1000"/>
                                  </p:stCondLst>
                                  <p:childTnLst>
                                    <p:set>
                                      <p:cBhvr>
                                        <p:cTn id="125" dur="1" fill="hold">
                                          <p:stCondLst>
                                            <p:cond delay="0"/>
                                          </p:stCondLst>
                                        </p:cTn>
                                        <p:tgtEl>
                                          <p:spTgt spid="757"/>
                                        </p:tgtEl>
                                        <p:attrNameLst>
                                          <p:attrName>style.visibility</p:attrName>
                                        </p:attrNameLst>
                                      </p:cBhvr>
                                      <p:to>
                                        <p:strVal val="visible"/>
                                      </p:to>
                                    </p:set>
                                    <p:anim calcmode="lin" valueType="num">
                                      <p:cBhvr additive="base">
                                        <p:cTn id="126" dur="1000" fill="hold"/>
                                        <p:tgtEl>
                                          <p:spTgt spid="757"/>
                                        </p:tgtEl>
                                        <p:attrNameLst>
                                          <p:attrName>ppt_x</p:attrName>
                                        </p:attrNameLst>
                                      </p:cBhvr>
                                      <p:tavLst>
                                        <p:tav tm="0">
                                          <p:val>
                                            <p:strVal val="1+#ppt_w/2"/>
                                          </p:val>
                                        </p:tav>
                                        <p:tav tm="100000">
                                          <p:val>
                                            <p:strVal val="#ppt_x"/>
                                          </p:val>
                                        </p:tav>
                                      </p:tavLst>
                                    </p:anim>
                                    <p:anim calcmode="lin" valueType="num">
                                      <p:cBhvr additive="base">
                                        <p:cTn id="127" dur="1000" fill="hold"/>
                                        <p:tgtEl>
                                          <p:spTgt spid="757"/>
                                        </p:tgtEl>
                                        <p:attrNameLst>
                                          <p:attrName>ppt_y</p:attrName>
                                        </p:attrNameLst>
                                      </p:cBhvr>
                                      <p:tavLst>
                                        <p:tav tm="0">
                                          <p:val>
                                            <p:strVal val="#ppt_y"/>
                                          </p:val>
                                        </p:tav>
                                        <p:tav tm="100000">
                                          <p:val>
                                            <p:strVal val="#ppt_y"/>
                                          </p:val>
                                        </p:tav>
                                      </p:tavLst>
                                    </p:anim>
                                  </p:childTnLst>
                                </p:cTn>
                              </p:par>
                              <p:par>
                                <p:cTn id="128" presetID="2" presetClass="entr" presetSubtype="2" decel="100000" fill="hold" grpId="0" nodeType="withEffect">
                                  <p:stCondLst>
                                    <p:cond delay="1100"/>
                                  </p:stCondLst>
                                  <p:childTnLst>
                                    <p:set>
                                      <p:cBhvr>
                                        <p:cTn id="129" dur="1" fill="hold">
                                          <p:stCondLst>
                                            <p:cond delay="0"/>
                                          </p:stCondLst>
                                        </p:cTn>
                                        <p:tgtEl>
                                          <p:spTgt spid="758"/>
                                        </p:tgtEl>
                                        <p:attrNameLst>
                                          <p:attrName>style.visibility</p:attrName>
                                        </p:attrNameLst>
                                      </p:cBhvr>
                                      <p:to>
                                        <p:strVal val="visible"/>
                                      </p:to>
                                    </p:set>
                                    <p:anim calcmode="lin" valueType="num">
                                      <p:cBhvr additive="base">
                                        <p:cTn id="130" dur="1000" fill="hold"/>
                                        <p:tgtEl>
                                          <p:spTgt spid="758"/>
                                        </p:tgtEl>
                                        <p:attrNameLst>
                                          <p:attrName>ppt_x</p:attrName>
                                        </p:attrNameLst>
                                      </p:cBhvr>
                                      <p:tavLst>
                                        <p:tav tm="0">
                                          <p:val>
                                            <p:strVal val="1+#ppt_w/2"/>
                                          </p:val>
                                        </p:tav>
                                        <p:tav tm="100000">
                                          <p:val>
                                            <p:strVal val="#ppt_x"/>
                                          </p:val>
                                        </p:tav>
                                      </p:tavLst>
                                    </p:anim>
                                    <p:anim calcmode="lin" valueType="num">
                                      <p:cBhvr additive="base">
                                        <p:cTn id="131" dur="1000" fill="hold"/>
                                        <p:tgtEl>
                                          <p:spTgt spid="758"/>
                                        </p:tgtEl>
                                        <p:attrNameLst>
                                          <p:attrName>ppt_y</p:attrName>
                                        </p:attrNameLst>
                                      </p:cBhvr>
                                      <p:tavLst>
                                        <p:tav tm="0">
                                          <p:val>
                                            <p:strVal val="#ppt_y"/>
                                          </p:val>
                                        </p:tav>
                                        <p:tav tm="100000">
                                          <p:val>
                                            <p:strVal val="#ppt_y"/>
                                          </p:val>
                                        </p:tav>
                                      </p:tavLst>
                                    </p:anim>
                                  </p:childTnLst>
                                </p:cTn>
                              </p:par>
                              <p:par>
                                <p:cTn id="132" presetID="2" presetClass="entr" presetSubtype="2" decel="100000" fill="hold" grpId="0" nodeType="withEffect">
                                  <p:stCondLst>
                                    <p:cond delay="1200"/>
                                  </p:stCondLst>
                                  <p:childTnLst>
                                    <p:set>
                                      <p:cBhvr>
                                        <p:cTn id="133" dur="1" fill="hold">
                                          <p:stCondLst>
                                            <p:cond delay="0"/>
                                          </p:stCondLst>
                                        </p:cTn>
                                        <p:tgtEl>
                                          <p:spTgt spid="759"/>
                                        </p:tgtEl>
                                        <p:attrNameLst>
                                          <p:attrName>style.visibility</p:attrName>
                                        </p:attrNameLst>
                                      </p:cBhvr>
                                      <p:to>
                                        <p:strVal val="visible"/>
                                      </p:to>
                                    </p:set>
                                    <p:anim calcmode="lin" valueType="num">
                                      <p:cBhvr additive="base">
                                        <p:cTn id="134" dur="1000" fill="hold"/>
                                        <p:tgtEl>
                                          <p:spTgt spid="759"/>
                                        </p:tgtEl>
                                        <p:attrNameLst>
                                          <p:attrName>ppt_x</p:attrName>
                                        </p:attrNameLst>
                                      </p:cBhvr>
                                      <p:tavLst>
                                        <p:tav tm="0">
                                          <p:val>
                                            <p:strVal val="1+#ppt_w/2"/>
                                          </p:val>
                                        </p:tav>
                                        <p:tav tm="100000">
                                          <p:val>
                                            <p:strVal val="#ppt_x"/>
                                          </p:val>
                                        </p:tav>
                                      </p:tavLst>
                                    </p:anim>
                                    <p:anim calcmode="lin" valueType="num">
                                      <p:cBhvr additive="base">
                                        <p:cTn id="135" dur="1000" fill="hold"/>
                                        <p:tgtEl>
                                          <p:spTgt spid="759"/>
                                        </p:tgtEl>
                                        <p:attrNameLst>
                                          <p:attrName>ppt_y</p:attrName>
                                        </p:attrNameLst>
                                      </p:cBhvr>
                                      <p:tavLst>
                                        <p:tav tm="0">
                                          <p:val>
                                            <p:strVal val="#ppt_y"/>
                                          </p:val>
                                        </p:tav>
                                        <p:tav tm="100000">
                                          <p:val>
                                            <p:strVal val="#ppt_y"/>
                                          </p:val>
                                        </p:tav>
                                      </p:tavLst>
                                    </p:anim>
                                  </p:childTnLst>
                                </p:cTn>
                              </p:par>
                              <p:par>
                                <p:cTn id="136" presetID="2" presetClass="entr" presetSubtype="2" decel="100000" fill="hold" grpId="0" nodeType="withEffect">
                                  <p:stCondLst>
                                    <p:cond delay="1300"/>
                                  </p:stCondLst>
                                  <p:childTnLst>
                                    <p:set>
                                      <p:cBhvr>
                                        <p:cTn id="137" dur="1" fill="hold">
                                          <p:stCondLst>
                                            <p:cond delay="0"/>
                                          </p:stCondLst>
                                        </p:cTn>
                                        <p:tgtEl>
                                          <p:spTgt spid="760"/>
                                        </p:tgtEl>
                                        <p:attrNameLst>
                                          <p:attrName>style.visibility</p:attrName>
                                        </p:attrNameLst>
                                      </p:cBhvr>
                                      <p:to>
                                        <p:strVal val="visible"/>
                                      </p:to>
                                    </p:set>
                                    <p:anim calcmode="lin" valueType="num">
                                      <p:cBhvr additive="base">
                                        <p:cTn id="138" dur="1000" fill="hold"/>
                                        <p:tgtEl>
                                          <p:spTgt spid="760"/>
                                        </p:tgtEl>
                                        <p:attrNameLst>
                                          <p:attrName>ppt_x</p:attrName>
                                        </p:attrNameLst>
                                      </p:cBhvr>
                                      <p:tavLst>
                                        <p:tav tm="0">
                                          <p:val>
                                            <p:strVal val="1+#ppt_w/2"/>
                                          </p:val>
                                        </p:tav>
                                        <p:tav tm="100000">
                                          <p:val>
                                            <p:strVal val="#ppt_x"/>
                                          </p:val>
                                        </p:tav>
                                      </p:tavLst>
                                    </p:anim>
                                    <p:anim calcmode="lin" valueType="num">
                                      <p:cBhvr additive="base">
                                        <p:cTn id="139" dur="1000" fill="hold"/>
                                        <p:tgtEl>
                                          <p:spTgt spid="760"/>
                                        </p:tgtEl>
                                        <p:attrNameLst>
                                          <p:attrName>ppt_y</p:attrName>
                                        </p:attrNameLst>
                                      </p:cBhvr>
                                      <p:tavLst>
                                        <p:tav tm="0">
                                          <p:val>
                                            <p:strVal val="#ppt_y"/>
                                          </p:val>
                                        </p:tav>
                                        <p:tav tm="100000">
                                          <p:val>
                                            <p:strVal val="#ppt_y"/>
                                          </p:val>
                                        </p:tav>
                                      </p:tavLst>
                                    </p:anim>
                                  </p:childTnLst>
                                </p:cTn>
                              </p:par>
                              <p:par>
                                <p:cTn id="140" presetID="2" presetClass="entr" presetSubtype="2" decel="100000" fill="hold" grpId="0" nodeType="withEffect">
                                  <p:stCondLst>
                                    <p:cond delay="1400"/>
                                  </p:stCondLst>
                                  <p:childTnLst>
                                    <p:set>
                                      <p:cBhvr>
                                        <p:cTn id="141" dur="1" fill="hold">
                                          <p:stCondLst>
                                            <p:cond delay="0"/>
                                          </p:stCondLst>
                                        </p:cTn>
                                        <p:tgtEl>
                                          <p:spTgt spid="761"/>
                                        </p:tgtEl>
                                        <p:attrNameLst>
                                          <p:attrName>style.visibility</p:attrName>
                                        </p:attrNameLst>
                                      </p:cBhvr>
                                      <p:to>
                                        <p:strVal val="visible"/>
                                      </p:to>
                                    </p:set>
                                    <p:anim calcmode="lin" valueType="num">
                                      <p:cBhvr additive="base">
                                        <p:cTn id="142" dur="1000" fill="hold"/>
                                        <p:tgtEl>
                                          <p:spTgt spid="761"/>
                                        </p:tgtEl>
                                        <p:attrNameLst>
                                          <p:attrName>ppt_x</p:attrName>
                                        </p:attrNameLst>
                                      </p:cBhvr>
                                      <p:tavLst>
                                        <p:tav tm="0">
                                          <p:val>
                                            <p:strVal val="1+#ppt_w/2"/>
                                          </p:val>
                                        </p:tav>
                                        <p:tav tm="100000">
                                          <p:val>
                                            <p:strVal val="#ppt_x"/>
                                          </p:val>
                                        </p:tav>
                                      </p:tavLst>
                                    </p:anim>
                                    <p:anim calcmode="lin" valueType="num">
                                      <p:cBhvr additive="base">
                                        <p:cTn id="143" dur="1000" fill="hold"/>
                                        <p:tgtEl>
                                          <p:spTgt spid="761"/>
                                        </p:tgtEl>
                                        <p:attrNameLst>
                                          <p:attrName>ppt_y</p:attrName>
                                        </p:attrNameLst>
                                      </p:cBhvr>
                                      <p:tavLst>
                                        <p:tav tm="0">
                                          <p:val>
                                            <p:strVal val="#ppt_y"/>
                                          </p:val>
                                        </p:tav>
                                        <p:tav tm="100000">
                                          <p:val>
                                            <p:strVal val="#ppt_y"/>
                                          </p:val>
                                        </p:tav>
                                      </p:tavLst>
                                    </p:anim>
                                  </p:childTnLst>
                                </p:cTn>
                              </p:par>
                              <p:par>
                                <p:cTn id="144" presetID="2" presetClass="entr" presetSubtype="2" decel="100000" fill="hold" grpId="0" nodeType="withEffect">
                                  <p:stCondLst>
                                    <p:cond delay="1500"/>
                                  </p:stCondLst>
                                  <p:childTnLst>
                                    <p:set>
                                      <p:cBhvr>
                                        <p:cTn id="145" dur="1" fill="hold">
                                          <p:stCondLst>
                                            <p:cond delay="0"/>
                                          </p:stCondLst>
                                        </p:cTn>
                                        <p:tgtEl>
                                          <p:spTgt spid="762"/>
                                        </p:tgtEl>
                                        <p:attrNameLst>
                                          <p:attrName>style.visibility</p:attrName>
                                        </p:attrNameLst>
                                      </p:cBhvr>
                                      <p:to>
                                        <p:strVal val="visible"/>
                                      </p:to>
                                    </p:set>
                                    <p:anim calcmode="lin" valueType="num">
                                      <p:cBhvr additive="base">
                                        <p:cTn id="146" dur="1000" fill="hold"/>
                                        <p:tgtEl>
                                          <p:spTgt spid="762"/>
                                        </p:tgtEl>
                                        <p:attrNameLst>
                                          <p:attrName>ppt_x</p:attrName>
                                        </p:attrNameLst>
                                      </p:cBhvr>
                                      <p:tavLst>
                                        <p:tav tm="0">
                                          <p:val>
                                            <p:strVal val="1+#ppt_w/2"/>
                                          </p:val>
                                        </p:tav>
                                        <p:tav tm="100000">
                                          <p:val>
                                            <p:strVal val="#ppt_x"/>
                                          </p:val>
                                        </p:tav>
                                      </p:tavLst>
                                    </p:anim>
                                    <p:anim calcmode="lin" valueType="num">
                                      <p:cBhvr additive="base">
                                        <p:cTn id="147" dur="1000" fill="hold"/>
                                        <p:tgtEl>
                                          <p:spTgt spid="762"/>
                                        </p:tgtEl>
                                        <p:attrNameLst>
                                          <p:attrName>ppt_y</p:attrName>
                                        </p:attrNameLst>
                                      </p:cBhvr>
                                      <p:tavLst>
                                        <p:tav tm="0">
                                          <p:val>
                                            <p:strVal val="#ppt_y"/>
                                          </p:val>
                                        </p:tav>
                                        <p:tav tm="100000">
                                          <p:val>
                                            <p:strVal val="#ppt_y"/>
                                          </p:val>
                                        </p:tav>
                                      </p:tavLst>
                                    </p:anim>
                                  </p:childTnLst>
                                </p:cTn>
                              </p:par>
                              <p:par>
                                <p:cTn id="148" presetID="2" presetClass="entr" presetSubtype="2" decel="100000" fill="hold" grpId="0" nodeType="withEffect">
                                  <p:stCondLst>
                                    <p:cond delay="1600"/>
                                  </p:stCondLst>
                                  <p:childTnLst>
                                    <p:set>
                                      <p:cBhvr>
                                        <p:cTn id="149" dur="1" fill="hold">
                                          <p:stCondLst>
                                            <p:cond delay="0"/>
                                          </p:stCondLst>
                                        </p:cTn>
                                        <p:tgtEl>
                                          <p:spTgt spid="763"/>
                                        </p:tgtEl>
                                        <p:attrNameLst>
                                          <p:attrName>style.visibility</p:attrName>
                                        </p:attrNameLst>
                                      </p:cBhvr>
                                      <p:to>
                                        <p:strVal val="visible"/>
                                      </p:to>
                                    </p:set>
                                    <p:anim calcmode="lin" valueType="num">
                                      <p:cBhvr additive="base">
                                        <p:cTn id="150" dur="1000" fill="hold"/>
                                        <p:tgtEl>
                                          <p:spTgt spid="763"/>
                                        </p:tgtEl>
                                        <p:attrNameLst>
                                          <p:attrName>ppt_x</p:attrName>
                                        </p:attrNameLst>
                                      </p:cBhvr>
                                      <p:tavLst>
                                        <p:tav tm="0">
                                          <p:val>
                                            <p:strVal val="1+#ppt_w/2"/>
                                          </p:val>
                                        </p:tav>
                                        <p:tav tm="100000">
                                          <p:val>
                                            <p:strVal val="#ppt_x"/>
                                          </p:val>
                                        </p:tav>
                                      </p:tavLst>
                                    </p:anim>
                                    <p:anim calcmode="lin" valueType="num">
                                      <p:cBhvr additive="base">
                                        <p:cTn id="151" dur="1000" fill="hold"/>
                                        <p:tgtEl>
                                          <p:spTgt spid="763"/>
                                        </p:tgtEl>
                                        <p:attrNameLst>
                                          <p:attrName>ppt_y</p:attrName>
                                        </p:attrNameLst>
                                      </p:cBhvr>
                                      <p:tavLst>
                                        <p:tav tm="0">
                                          <p:val>
                                            <p:strVal val="#ppt_y"/>
                                          </p:val>
                                        </p:tav>
                                        <p:tav tm="100000">
                                          <p:val>
                                            <p:strVal val="#ppt_y"/>
                                          </p:val>
                                        </p:tav>
                                      </p:tavLst>
                                    </p:anim>
                                  </p:childTnLst>
                                </p:cTn>
                              </p:par>
                              <p:par>
                                <p:cTn id="152" presetID="2" presetClass="entr" presetSubtype="2" decel="100000" fill="hold" grpId="0" nodeType="withEffect">
                                  <p:stCondLst>
                                    <p:cond delay="1700"/>
                                  </p:stCondLst>
                                  <p:childTnLst>
                                    <p:set>
                                      <p:cBhvr>
                                        <p:cTn id="153" dur="1" fill="hold">
                                          <p:stCondLst>
                                            <p:cond delay="0"/>
                                          </p:stCondLst>
                                        </p:cTn>
                                        <p:tgtEl>
                                          <p:spTgt spid="764"/>
                                        </p:tgtEl>
                                        <p:attrNameLst>
                                          <p:attrName>style.visibility</p:attrName>
                                        </p:attrNameLst>
                                      </p:cBhvr>
                                      <p:to>
                                        <p:strVal val="visible"/>
                                      </p:to>
                                    </p:set>
                                    <p:anim calcmode="lin" valueType="num">
                                      <p:cBhvr additive="base">
                                        <p:cTn id="154" dur="1000" fill="hold"/>
                                        <p:tgtEl>
                                          <p:spTgt spid="764"/>
                                        </p:tgtEl>
                                        <p:attrNameLst>
                                          <p:attrName>ppt_x</p:attrName>
                                        </p:attrNameLst>
                                      </p:cBhvr>
                                      <p:tavLst>
                                        <p:tav tm="0">
                                          <p:val>
                                            <p:strVal val="1+#ppt_w/2"/>
                                          </p:val>
                                        </p:tav>
                                        <p:tav tm="100000">
                                          <p:val>
                                            <p:strVal val="#ppt_x"/>
                                          </p:val>
                                        </p:tav>
                                      </p:tavLst>
                                    </p:anim>
                                    <p:anim calcmode="lin" valueType="num">
                                      <p:cBhvr additive="base">
                                        <p:cTn id="155" dur="1000" fill="hold"/>
                                        <p:tgtEl>
                                          <p:spTgt spid="764"/>
                                        </p:tgtEl>
                                        <p:attrNameLst>
                                          <p:attrName>ppt_y</p:attrName>
                                        </p:attrNameLst>
                                      </p:cBhvr>
                                      <p:tavLst>
                                        <p:tav tm="0">
                                          <p:val>
                                            <p:strVal val="#ppt_y"/>
                                          </p:val>
                                        </p:tav>
                                        <p:tav tm="100000">
                                          <p:val>
                                            <p:strVal val="#ppt_y"/>
                                          </p:val>
                                        </p:tav>
                                      </p:tavLst>
                                    </p:anim>
                                  </p:childTnLst>
                                </p:cTn>
                              </p:par>
                            </p:childTnLst>
                          </p:cTn>
                        </p:par>
                      </p:childTnLst>
                    </p:cTn>
                  </p:par>
                  <p:par>
                    <p:cTn id="156" fill="hold">
                      <p:stCondLst>
                        <p:cond delay="indefinite"/>
                      </p:stCondLst>
                      <p:childTnLst>
                        <p:par>
                          <p:cTn id="157" fill="hold">
                            <p:stCondLst>
                              <p:cond delay="0"/>
                            </p:stCondLst>
                            <p:childTnLst>
                              <p:par>
                                <p:cTn id="158" presetID="22" presetClass="entr" presetSubtype="1" fill="hold" nodeType="clickEffect">
                                  <p:stCondLst>
                                    <p:cond delay="0"/>
                                  </p:stCondLst>
                                  <p:childTnLst>
                                    <p:set>
                                      <p:cBhvr>
                                        <p:cTn id="159" dur="1" fill="hold">
                                          <p:stCondLst>
                                            <p:cond delay="0"/>
                                          </p:stCondLst>
                                        </p:cTn>
                                        <p:tgtEl>
                                          <p:spTgt spid="765"/>
                                        </p:tgtEl>
                                        <p:attrNameLst>
                                          <p:attrName>style.visibility</p:attrName>
                                        </p:attrNameLst>
                                      </p:cBhvr>
                                      <p:to>
                                        <p:strVal val="visible"/>
                                      </p:to>
                                    </p:set>
                                    <p:animEffect transition="in" filter="wipe(up)">
                                      <p:cBhvr>
                                        <p:cTn id="160" dur="500"/>
                                        <p:tgtEl>
                                          <p:spTgt spid="765"/>
                                        </p:tgtEl>
                                      </p:cBhvr>
                                    </p:animEffect>
                                  </p:childTnLst>
                                </p:cTn>
                              </p:par>
                              <p:par>
                                <p:cTn id="161" presetID="10" presetClass="entr" presetSubtype="0" fill="hold" grpId="0" nodeType="withEffect">
                                  <p:stCondLst>
                                    <p:cond delay="500"/>
                                  </p:stCondLst>
                                  <p:childTnLst>
                                    <p:set>
                                      <p:cBhvr>
                                        <p:cTn id="162" dur="1" fill="hold">
                                          <p:stCondLst>
                                            <p:cond delay="0"/>
                                          </p:stCondLst>
                                        </p:cTn>
                                        <p:tgtEl>
                                          <p:spTgt spid="742"/>
                                        </p:tgtEl>
                                        <p:attrNameLst>
                                          <p:attrName>style.visibility</p:attrName>
                                        </p:attrNameLst>
                                      </p:cBhvr>
                                      <p:to>
                                        <p:strVal val="visible"/>
                                      </p:to>
                                    </p:set>
                                    <p:animEffect transition="in" filter="fade">
                                      <p:cBhvr>
                                        <p:cTn id="163" dur="250"/>
                                        <p:tgtEl>
                                          <p:spTgt spid="742"/>
                                        </p:tgtEl>
                                      </p:cBhvr>
                                    </p:animEffect>
                                  </p:childTnLst>
                                </p:cTn>
                              </p:par>
                              <p:par>
                                <p:cTn id="164" presetID="42" presetClass="path" presetSubtype="0" decel="100000" fill="hold" grpId="1" nodeType="withEffect">
                                  <p:stCondLst>
                                    <p:cond delay="500"/>
                                  </p:stCondLst>
                                  <p:childTnLst>
                                    <p:animMotion origin="layout" path="M 2.55297E-8 5.5379E-7 L 0.22964 -0.22447 " pathEditMode="relative" rAng="0" ptsTypes="AA">
                                      <p:cBhvr>
                                        <p:cTn id="165" dur="600" spd="-100000" fill="hold"/>
                                        <p:tgtEl>
                                          <p:spTgt spid="742"/>
                                        </p:tgtEl>
                                        <p:attrNameLst>
                                          <p:attrName>ppt_x</p:attrName>
                                          <p:attrName>ppt_y</p:attrName>
                                        </p:attrNameLst>
                                      </p:cBhvr>
                                      <p:rCtr x="11476" y="-11235"/>
                                    </p:animMotion>
                                  </p:childTnLst>
                                </p:cTn>
                              </p:par>
                              <p:par>
                                <p:cTn id="166" presetID="10" presetClass="entr" presetSubtype="0" fill="hold" grpId="0" nodeType="withEffect" nodePh="1">
                                  <p:stCondLst>
                                    <p:cond delay="1000"/>
                                  </p:stCondLst>
                                  <p:endCondLst>
                                    <p:cond evt="begin" delay="0">
                                      <p:tn val="166"/>
                                    </p:cond>
                                  </p:endCondLst>
                                  <p:childTnLst>
                                    <p:set>
                                      <p:cBhvr>
                                        <p:cTn id="167" dur="1" fill="hold">
                                          <p:stCondLst>
                                            <p:cond delay="0"/>
                                          </p:stCondLst>
                                        </p:cTn>
                                        <p:tgtEl>
                                          <p:spTgt spid="741"/>
                                        </p:tgtEl>
                                        <p:attrNameLst>
                                          <p:attrName>style.visibility</p:attrName>
                                        </p:attrNameLst>
                                      </p:cBhvr>
                                      <p:to>
                                        <p:strVal val="visible"/>
                                      </p:to>
                                    </p:set>
                                    <p:animEffect transition="in" filter="fade">
                                      <p:cBhvr>
                                        <p:cTn id="168" dur="300"/>
                                        <p:tgtEl>
                                          <p:spTgt spid="741"/>
                                        </p:tgtEl>
                                      </p:cBhvr>
                                    </p:animEffect>
                                  </p:childTnLst>
                                </p:cTn>
                              </p:par>
                              <p:par>
                                <p:cTn id="169" presetID="10" presetClass="entr" presetSubtype="0" fill="hold" grpId="0" nodeType="withEffect">
                                  <p:stCondLst>
                                    <p:cond delay="750"/>
                                  </p:stCondLst>
                                  <p:childTnLst>
                                    <p:set>
                                      <p:cBhvr>
                                        <p:cTn id="170" dur="1" fill="hold">
                                          <p:stCondLst>
                                            <p:cond delay="0"/>
                                          </p:stCondLst>
                                        </p:cTn>
                                        <p:tgtEl>
                                          <p:spTgt spid="744"/>
                                        </p:tgtEl>
                                        <p:attrNameLst>
                                          <p:attrName>style.visibility</p:attrName>
                                        </p:attrNameLst>
                                      </p:cBhvr>
                                      <p:to>
                                        <p:strVal val="visible"/>
                                      </p:to>
                                    </p:set>
                                    <p:animEffect transition="in" filter="fade">
                                      <p:cBhvr>
                                        <p:cTn id="171" dur="250"/>
                                        <p:tgtEl>
                                          <p:spTgt spid="744"/>
                                        </p:tgtEl>
                                      </p:cBhvr>
                                    </p:animEffect>
                                  </p:childTnLst>
                                </p:cTn>
                              </p:par>
                              <p:par>
                                <p:cTn id="172" presetID="42" presetClass="path" presetSubtype="0" decel="100000" fill="hold" grpId="1" nodeType="withEffect">
                                  <p:stCondLst>
                                    <p:cond delay="750"/>
                                  </p:stCondLst>
                                  <p:childTnLst>
                                    <p:animMotion origin="layout" path="M 8.5014E-7 5.5379E-7 L 0.20245 -0.22787 " pathEditMode="relative" rAng="0" ptsTypes="AA">
                                      <p:cBhvr>
                                        <p:cTn id="173" dur="600" spd="-100000" fill="hold"/>
                                        <p:tgtEl>
                                          <p:spTgt spid="744"/>
                                        </p:tgtEl>
                                        <p:attrNameLst>
                                          <p:attrName>ppt_x</p:attrName>
                                          <p:attrName>ppt_y</p:attrName>
                                        </p:attrNameLst>
                                      </p:cBhvr>
                                      <p:rCtr x="10123" y="-11394"/>
                                    </p:animMotion>
                                  </p:childTnLst>
                                </p:cTn>
                              </p:par>
                              <p:par>
                                <p:cTn id="174" presetID="10" presetClass="entr" presetSubtype="0" fill="hold" grpId="0" nodeType="withEffect" nodePh="1">
                                  <p:stCondLst>
                                    <p:cond delay="1250"/>
                                  </p:stCondLst>
                                  <p:endCondLst>
                                    <p:cond evt="begin" delay="0">
                                      <p:tn val="174"/>
                                    </p:cond>
                                  </p:endCondLst>
                                  <p:childTnLst>
                                    <p:set>
                                      <p:cBhvr>
                                        <p:cTn id="175" dur="1" fill="hold">
                                          <p:stCondLst>
                                            <p:cond delay="0"/>
                                          </p:stCondLst>
                                        </p:cTn>
                                        <p:tgtEl>
                                          <p:spTgt spid="743"/>
                                        </p:tgtEl>
                                        <p:attrNameLst>
                                          <p:attrName>style.visibility</p:attrName>
                                        </p:attrNameLst>
                                      </p:cBhvr>
                                      <p:to>
                                        <p:strVal val="visible"/>
                                      </p:to>
                                    </p:set>
                                    <p:animEffect transition="in" filter="fade">
                                      <p:cBhvr>
                                        <p:cTn id="176" dur="300"/>
                                        <p:tgtEl>
                                          <p:spTgt spid="743"/>
                                        </p:tgtEl>
                                      </p:cBhvr>
                                    </p:animEffect>
                                  </p:childTnLst>
                                </p:cTn>
                              </p:par>
                            </p:childTnLst>
                          </p:cTn>
                        </p:par>
                      </p:childTnLst>
                    </p:cTn>
                  </p:par>
                  <p:par>
                    <p:cTn id="177" fill="hold">
                      <p:stCondLst>
                        <p:cond delay="indefinite"/>
                      </p:stCondLst>
                      <p:childTnLst>
                        <p:par>
                          <p:cTn id="178" fill="hold">
                            <p:stCondLst>
                              <p:cond delay="0"/>
                            </p:stCondLst>
                            <p:childTnLst>
                              <p:par>
                                <p:cTn id="179" presetID="22" presetClass="entr" presetSubtype="1" fill="hold" nodeType="clickEffect">
                                  <p:stCondLst>
                                    <p:cond delay="0"/>
                                  </p:stCondLst>
                                  <p:childTnLst>
                                    <p:set>
                                      <p:cBhvr>
                                        <p:cTn id="180" dur="1" fill="hold">
                                          <p:stCondLst>
                                            <p:cond delay="0"/>
                                          </p:stCondLst>
                                        </p:cTn>
                                        <p:tgtEl>
                                          <p:spTgt spid="771"/>
                                        </p:tgtEl>
                                        <p:attrNameLst>
                                          <p:attrName>style.visibility</p:attrName>
                                        </p:attrNameLst>
                                      </p:cBhvr>
                                      <p:to>
                                        <p:strVal val="visible"/>
                                      </p:to>
                                    </p:set>
                                    <p:animEffect transition="in" filter="wipe(up)">
                                      <p:cBhvr>
                                        <p:cTn id="181" dur="500"/>
                                        <p:tgtEl>
                                          <p:spTgt spid="771"/>
                                        </p:tgtEl>
                                      </p:cBhvr>
                                    </p:animEffect>
                                  </p:childTnLst>
                                </p:cTn>
                              </p:par>
                              <p:par>
                                <p:cTn id="182" presetID="10" presetClass="entr" presetSubtype="0" fill="hold" grpId="0" nodeType="withEffect">
                                  <p:stCondLst>
                                    <p:cond delay="750"/>
                                  </p:stCondLst>
                                  <p:childTnLst>
                                    <p:set>
                                      <p:cBhvr>
                                        <p:cTn id="183" dur="1" fill="hold">
                                          <p:stCondLst>
                                            <p:cond delay="0"/>
                                          </p:stCondLst>
                                        </p:cTn>
                                        <p:tgtEl>
                                          <p:spTgt spid="774"/>
                                        </p:tgtEl>
                                        <p:attrNameLst>
                                          <p:attrName>style.visibility</p:attrName>
                                        </p:attrNameLst>
                                      </p:cBhvr>
                                      <p:to>
                                        <p:strVal val="visible"/>
                                      </p:to>
                                    </p:set>
                                    <p:animEffect transition="in" filter="fade">
                                      <p:cBhvr>
                                        <p:cTn id="184" dur="250"/>
                                        <p:tgtEl>
                                          <p:spTgt spid="774"/>
                                        </p:tgtEl>
                                      </p:cBhvr>
                                    </p:animEffect>
                                  </p:childTnLst>
                                </p:cTn>
                              </p:par>
                              <p:par>
                                <p:cTn id="185" presetID="42" presetClass="path" presetSubtype="0" decel="100000" fill="hold" grpId="1" nodeType="withEffect">
                                  <p:stCondLst>
                                    <p:cond delay="750"/>
                                  </p:stCondLst>
                                  <p:childTnLst>
                                    <p:animMotion origin="layout" path="M 1.04927E-6 5.5379E-7 L 0.24611 -0.22674 " pathEditMode="relative" rAng="0" ptsTypes="AA">
                                      <p:cBhvr>
                                        <p:cTn id="186" dur="600" spd="-100000" fill="hold"/>
                                        <p:tgtEl>
                                          <p:spTgt spid="774"/>
                                        </p:tgtEl>
                                        <p:attrNameLst>
                                          <p:attrName>ppt_x</p:attrName>
                                          <p:attrName>ppt_y</p:attrName>
                                        </p:attrNameLst>
                                      </p:cBhvr>
                                      <p:rCtr x="12305" y="-11348"/>
                                    </p:animMotion>
                                  </p:childTnLst>
                                </p:cTn>
                              </p:par>
                              <p:par>
                                <p:cTn id="187" presetID="10" presetClass="entr" presetSubtype="0" fill="hold" grpId="0" nodeType="withEffect">
                                  <p:stCondLst>
                                    <p:cond delay="1250"/>
                                  </p:stCondLst>
                                  <p:childTnLst>
                                    <p:set>
                                      <p:cBhvr>
                                        <p:cTn id="188" dur="1" fill="hold">
                                          <p:stCondLst>
                                            <p:cond delay="0"/>
                                          </p:stCondLst>
                                        </p:cTn>
                                        <p:tgtEl>
                                          <p:spTgt spid="753"/>
                                        </p:tgtEl>
                                        <p:attrNameLst>
                                          <p:attrName>style.visibility</p:attrName>
                                        </p:attrNameLst>
                                      </p:cBhvr>
                                      <p:to>
                                        <p:strVal val="visible"/>
                                      </p:to>
                                    </p:set>
                                    <p:animEffect transition="in" filter="fade">
                                      <p:cBhvr>
                                        <p:cTn id="189" dur="300"/>
                                        <p:tgtEl>
                                          <p:spTgt spid="753"/>
                                        </p:tgtEl>
                                      </p:cBhvr>
                                    </p:animEffect>
                                  </p:childTnLst>
                                </p:cTn>
                              </p:par>
                              <p:par>
                                <p:cTn id="190" presetID="10" presetClass="entr" presetSubtype="0" fill="hold" grpId="0" nodeType="withEffect">
                                  <p:stCondLst>
                                    <p:cond delay="1000"/>
                                  </p:stCondLst>
                                  <p:childTnLst>
                                    <p:set>
                                      <p:cBhvr>
                                        <p:cTn id="191" dur="1" fill="hold">
                                          <p:stCondLst>
                                            <p:cond delay="0"/>
                                          </p:stCondLst>
                                        </p:cTn>
                                        <p:tgtEl>
                                          <p:spTgt spid="775"/>
                                        </p:tgtEl>
                                        <p:attrNameLst>
                                          <p:attrName>style.visibility</p:attrName>
                                        </p:attrNameLst>
                                      </p:cBhvr>
                                      <p:to>
                                        <p:strVal val="visible"/>
                                      </p:to>
                                    </p:set>
                                    <p:animEffect transition="in" filter="fade">
                                      <p:cBhvr>
                                        <p:cTn id="192" dur="250"/>
                                        <p:tgtEl>
                                          <p:spTgt spid="775"/>
                                        </p:tgtEl>
                                      </p:cBhvr>
                                    </p:animEffect>
                                  </p:childTnLst>
                                </p:cTn>
                              </p:par>
                              <p:par>
                                <p:cTn id="193" presetID="42" presetClass="path" presetSubtype="0" decel="100000" fill="hold" grpId="1" nodeType="withEffect">
                                  <p:stCondLst>
                                    <p:cond delay="1000"/>
                                  </p:stCondLst>
                                  <p:childTnLst>
                                    <p:animMotion origin="layout" path="M -3.58182E-6 5.5379E-7 L 0.11553 -0.22538 " pathEditMode="relative" rAng="0" ptsTypes="AA">
                                      <p:cBhvr>
                                        <p:cTn id="194" dur="600" spd="-100000" fill="hold"/>
                                        <p:tgtEl>
                                          <p:spTgt spid="775"/>
                                        </p:tgtEl>
                                        <p:attrNameLst>
                                          <p:attrName>ppt_x</p:attrName>
                                          <p:attrName>ppt_y</p:attrName>
                                        </p:attrNameLst>
                                      </p:cBhvr>
                                      <p:rCtr x="5770" y="-11280"/>
                                    </p:animMotion>
                                  </p:childTnLst>
                                </p:cTn>
                              </p:par>
                              <p:par>
                                <p:cTn id="195" presetID="10" presetClass="entr" presetSubtype="0" fill="hold" grpId="0" nodeType="withEffect">
                                  <p:stCondLst>
                                    <p:cond delay="1500"/>
                                  </p:stCondLst>
                                  <p:childTnLst>
                                    <p:set>
                                      <p:cBhvr>
                                        <p:cTn id="196" dur="1" fill="hold">
                                          <p:stCondLst>
                                            <p:cond delay="0"/>
                                          </p:stCondLst>
                                        </p:cTn>
                                        <p:tgtEl>
                                          <p:spTgt spid="756"/>
                                        </p:tgtEl>
                                        <p:attrNameLst>
                                          <p:attrName>style.visibility</p:attrName>
                                        </p:attrNameLst>
                                      </p:cBhvr>
                                      <p:to>
                                        <p:strVal val="visible"/>
                                      </p:to>
                                    </p:set>
                                    <p:animEffect transition="in" filter="fade">
                                      <p:cBhvr>
                                        <p:cTn id="197" dur="300"/>
                                        <p:tgtEl>
                                          <p:spTgt spid="756"/>
                                        </p:tgtEl>
                                      </p:cBhvr>
                                    </p:animEffect>
                                  </p:childTnLst>
                                </p:cTn>
                              </p:par>
                            </p:childTnLst>
                          </p:cTn>
                        </p:par>
                      </p:childTnLst>
                    </p:cTn>
                  </p:par>
                  <p:par>
                    <p:cTn id="198" fill="hold">
                      <p:stCondLst>
                        <p:cond delay="indefinite"/>
                      </p:stCondLst>
                      <p:childTnLst>
                        <p:par>
                          <p:cTn id="199" fill="hold">
                            <p:stCondLst>
                              <p:cond delay="0"/>
                            </p:stCondLst>
                            <p:childTnLst>
                              <p:par>
                                <p:cTn id="200" presetID="22" presetClass="entr" presetSubtype="1" fill="hold" nodeType="clickEffect">
                                  <p:stCondLst>
                                    <p:cond delay="0"/>
                                  </p:stCondLst>
                                  <p:childTnLst>
                                    <p:set>
                                      <p:cBhvr>
                                        <p:cTn id="201" dur="1" fill="hold">
                                          <p:stCondLst>
                                            <p:cond delay="0"/>
                                          </p:stCondLst>
                                        </p:cTn>
                                        <p:tgtEl>
                                          <p:spTgt spid="768"/>
                                        </p:tgtEl>
                                        <p:attrNameLst>
                                          <p:attrName>style.visibility</p:attrName>
                                        </p:attrNameLst>
                                      </p:cBhvr>
                                      <p:to>
                                        <p:strVal val="visible"/>
                                      </p:to>
                                    </p:set>
                                    <p:animEffect transition="in" filter="wipe(up)">
                                      <p:cBhvr>
                                        <p:cTn id="202" dur="500"/>
                                        <p:tgtEl>
                                          <p:spTgt spid="768"/>
                                        </p:tgtEl>
                                      </p:cBhvr>
                                    </p:animEffect>
                                  </p:childTnLst>
                                </p:cTn>
                              </p:par>
                              <p:par>
                                <p:cTn id="203" presetID="10" presetClass="entr" presetSubtype="0" fill="hold" grpId="0" nodeType="withEffect">
                                  <p:stCondLst>
                                    <p:cond delay="750"/>
                                  </p:stCondLst>
                                  <p:childTnLst>
                                    <p:set>
                                      <p:cBhvr>
                                        <p:cTn id="204" dur="1" fill="hold">
                                          <p:stCondLst>
                                            <p:cond delay="0"/>
                                          </p:stCondLst>
                                        </p:cTn>
                                        <p:tgtEl>
                                          <p:spTgt spid="746"/>
                                        </p:tgtEl>
                                        <p:attrNameLst>
                                          <p:attrName>style.visibility</p:attrName>
                                        </p:attrNameLst>
                                      </p:cBhvr>
                                      <p:to>
                                        <p:strVal val="visible"/>
                                      </p:to>
                                    </p:set>
                                    <p:animEffect transition="in" filter="fade">
                                      <p:cBhvr>
                                        <p:cTn id="205" dur="250"/>
                                        <p:tgtEl>
                                          <p:spTgt spid="746"/>
                                        </p:tgtEl>
                                      </p:cBhvr>
                                    </p:animEffect>
                                  </p:childTnLst>
                                </p:cTn>
                              </p:par>
                              <p:par>
                                <p:cTn id="206" presetID="42" presetClass="path" presetSubtype="0" decel="100000" fill="hold" grpId="1" nodeType="withEffect">
                                  <p:stCondLst>
                                    <p:cond delay="750"/>
                                  </p:stCondLst>
                                  <p:childTnLst>
                                    <p:animMotion origin="layout" path="M 4.85065E-6 5.5379E-7 L 0.34809 -0.22583 " pathEditMode="relative" rAng="0" ptsTypes="AA">
                                      <p:cBhvr>
                                        <p:cTn id="207" dur="600" spd="-100000" fill="hold"/>
                                        <p:tgtEl>
                                          <p:spTgt spid="746"/>
                                        </p:tgtEl>
                                        <p:attrNameLst>
                                          <p:attrName>ppt_x</p:attrName>
                                          <p:attrName>ppt_y</p:attrName>
                                        </p:attrNameLst>
                                      </p:cBhvr>
                                      <p:rCtr x="17399" y="-11303"/>
                                    </p:animMotion>
                                  </p:childTnLst>
                                </p:cTn>
                              </p:par>
                              <p:par>
                                <p:cTn id="208" presetID="10" presetClass="entr" presetSubtype="0" fill="hold" grpId="0" nodeType="withEffect" nodePh="1">
                                  <p:stCondLst>
                                    <p:cond delay="1250"/>
                                  </p:stCondLst>
                                  <p:endCondLst>
                                    <p:cond evt="begin" delay="0">
                                      <p:tn val="208"/>
                                    </p:cond>
                                  </p:endCondLst>
                                  <p:childTnLst>
                                    <p:set>
                                      <p:cBhvr>
                                        <p:cTn id="209" dur="1" fill="hold">
                                          <p:stCondLst>
                                            <p:cond delay="0"/>
                                          </p:stCondLst>
                                        </p:cTn>
                                        <p:tgtEl>
                                          <p:spTgt spid="745"/>
                                        </p:tgtEl>
                                        <p:attrNameLst>
                                          <p:attrName>style.visibility</p:attrName>
                                        </p:attrNameLst>
                                      </p:cBhvr>
                                      <p:to>
                                        <p:strVal val="visible"/>
                                      </p:to>
                                    </p:set>
                                    <p:animEffect transition="in" filter="fade">
                                      <p:cBhvr>
                                        <p:cTn id="210" dur="300"/>
                                        <p:tgtEl>
                                          <p:spTgt spid="745"/>
                                        </p:tgtEl>
                                      </p:cBhvr>
                                    </p:animEffect>
                                  </p:childTnLst>
                                </p:cTn>
                              </p:par>
                              <p:par>
                                <p:cTn id="211" presetID="10" presetClass="entr" presetSubtype="0" fill="hold" grpId="0" nodeType="withEffect">
                                  <p:stCondLst>
                                    <p:cond delay="1000"/>
                                  </p:stCondLst>
                                  <p:childTnLst>
                                    <p:set>
                                      <p:cBhvr>
                                        <p:cTn id="212" dur="1" fill="hold">
                                          <p:stCondLst>
                                            <p:cond delay="0"/>
                                          </p:stCondLst>
                                        </p:cTn>
                                        <p:tgtEl>
                                          <p:spTgt spid="748"/>
                                        </p:tgtEl>
                                        <p:attrNameLst>
                                          <p:attrName>style.visibility</p:attrName>
                                        </p:attrNameLst>
                                      </p:cBhvr>
                                      <p:to>
                                        <p:strVal val="visible"/>
                                      </p:to>
                                    </p:set>
                                    <p:animEffect transition="in" filter="fade">
                                      <p:cBhvr>
                                        <p:cTn id="213" dur="250"/>
                                        <p:tgtEl>
                                          <p:spTgt spid="748"/>
                                        </p:tgtEl>
                                      </p:cBhvr>
                                    </p:animEffect>
                                  </p:childTnLst>
                                </p:cTn>
                              </p:par>
                              <p:par>
                                <p:cTn id="214" presetID="42" presetClass="path" presetSubtype="0" decel="100000" fill="hold" grpId="1" nodeType="withEffect">
                                  <p:stCondLst>
                                    <p:cond delay="1000"/>
                                  </p:stCondLst>
                                  <p:childTnLst>
                                    <p:animMotion origin="layout" path="M -4.32474E-6 5.5379E-7 L 0.32091 -0.22583 " pathEditMode="relative" rAng="0" ptsTypes="AA">
                                      <p:cBhvr>
                                        <p:cTn id="215" dur="600" spd="-100000" fill="hold"/>
                                        <p:tgtEl>
                                          <p:spTgt spid="748"/>
                                        </p:tgtEl>
                                        <p:attrNameLst>
                                          <p:attrName>ppt_x</p:attrName>
                                          <p:attrName>ppt_y</p:attrName>
                                        </p:attrNameLst>
                                      </p:cBhvr>
                                      <p:rCtr x="16045" y="-11303"/>
                                    </p:animMotion>
                                  </p:childTnLst>
                                </p:cTn>
                              </p:par>
                              <p:par>
                                <p:cTn id="216" presetID="10" presetClass="entr" presetSubtype="0" fill="hold" grpId="0" nodeType="withEffect" nodePh="1">
                                  <p:stCondLst>
                                    <p:cond delay="1500"/>
                                  </p:stCondLst>
                                  <p:endCondLst>
                                    <p:cond evt="begin" delay="0">
                                      <p:tn val="216"/>
                                    </p:cond>
                                  </p:endCondLst>
                                  <p:childTnLst>
                                    <p:set>
                                      <p:cBhvr>
                                        <p:cTn id="217" dur="1" fill="hold">
                                          <p:stCondLst>
                                            <p:cond delay="0"/>
                                          </p:stCondLst>
                                        </p:cTn>
                                        <p:tgtEl>
                                          <p:spTgt spid="747"/>
                                        </p:tgtEl>
                                        <p:attrNameLst>
                                          <p:attrName>style.visibility</p:attrName>
                                        </p:attrNameLst>
                                      </p:cBhvr>
                                      <p:to>
                                        <p:strVal val="visible"/>
                                      </p:to>
                                    </p:set>
                                    <p:animEffect transition="in" filter="fade">
                                      <p:cBhvr>
                                        <p:cTn id="218" dur="300"/>
                                        <p:tgtEl>
                                          <p:spTgt spid="747"/>
                                        </p:tgtEl>
                                      </p:cBhvr>
                                    </p:animEffect>
                                  </p:childTnLst>
                                </p:cTn>
                              </p:par>
                              <p:par>
                                <p:cTn id="219" presetID="10" presetClass="entr" presetSubtype="0" fill="hold" grpId="0" nodeType="withEffect">
                                  <p:stCondLst>
                                    <p:cond delay="1250"/>
                                  </p:stCondLst>
                                  <p:childTnLst>
                                    <p:set>
                                      <p:cBhvr>
                                        <p:cTn id="220" dur="1" fill="hold">
                                          <p:stCondLst>
                                            <p:cond delay="0"/>
                                          </p:stCondLst>
                                        </p:cTn>
                                        <p:tgtEl>
                                          <p:spTgt spid="755"/>
                                        </p:tgtEl>
                                        <p:attrNameLst>
                                          <p:attrName>style.visibility</p:attrName>
                                        </p:attrNameLst>
                                      </p:cBhvr>
                                      <p:to>
                                        <p:strVal val="visible"/>
                                      </p:to>
                                    </p:set>
                                    <p:animEffect transition="in" filter="fade">
                                      <p:cBhvr>
                                        <p:cTn id="221" dur="250"/>
                                        <p:tgtEl>
                                          <p:spTgt spid="755"/>
                                        </p:tgtEl>
                                      </p:cBhvr>
                                    </p:animEffect>
                                  </p:childTnLst>
                                </p:cTn>
                              </p:par>
                              <p:par>
                                <p:cTn id="222" presetID="42" presetClass="path" presetSubtype="0" decel="100000" fill="hold" grpId="1" nodeType="withEffect">
                                  <p:stCondLst>
                                    <p:cond delay="1250"/>
                                  </p:stCondLst>
                                  <p:childTnLst>
                                    <p:animMotion origin="layout" path="M -3.42354E-6 5.5379E-7 L 0.11987 -0.22583 " pathEditMode="relative" rAng="0" ptsTypes="AA">
                                      <p:cBhvr>
                                        <p:cTn id="223" dur="600" spd="-100000" fill="hold"/>
                                        <p:tgtEl>
                                          <p:spTgt spid="755"/>
                                        </p:tgtEl>
                                        <p:attrNameLst>
                                          <p:attrName>ppt_x</p:attrName>
                                          <p:attrName>ppt_y</p:attrName>
                                        </p:attrNameLst>
                                      </p:cBhvr>
                                      <p:rCtr x="5987" y="-11303"/>
                                    </p:animMotion>
                                  </p:childTnLst>
                                </p:cTn>
                              </p:par>
                              <p:par>
                                <p:cTn id="224" presetID="10" presetClass="entr" presetSubtype="0" fill="hold" grpId="0" nodeType="withEffect">
                                  <p:stCondLst>
                                    <p:cond delay="1750"/>
                                  </p:stCondLst>
                                  <p:childTnLst>
                                    <p:set>
                                      <p:cBhvr>
                                        <p:cTn id="225" dur="1" fill="hold">
                                          <p:stCondLst>
                                            <p:cond delay="0"/>
                                          </p:stCondLst>
                                        </p:cTn>
                                        <p:tgtEl>
                                          <p:spTgt spid="754"/>
                                        </p:tgtEl>
                                        <p:attrNameLst>
                                          <p:attrName>style.visibility</p:attrName>
                                        </p:attrNameLst>
                                      </p:cBhvr>
                                      <p:to>
                                        <p:strVal val="visible"/>
                                      </p:to>
                                    </p:set>
                                    <p:animEffect transition="in" filter="fade">
                                      <p:cBhvr>
                                        <p:cTn id="226" dur="300"/>
                                        <p:tgtEl>
                                          <p:spTgt spid="754"/>
                                        </p:tgtEl>
                                      </p:cBhvr>
                                    </p:animEffect>
                                  </p:childTnLst>
                                </p:cTn>
                              </p:par>
                              <p:par>
                                <p:cTn id="227" presetID="10" presetClass="entr" presetSubtype="0" fill="hold" grpId="0" nodeType="withEffect">
                                  <p:stCondLst>
                                    <p:cond delay="1500"/>
                                  </p:stCondLst>
                                  <p:childTnLst>
                                    <p:set>
                                      <p:cBhvr>
                                        <p:cTn id="228" dur="1" fill="hold">
                                          <p:stCondLst>
                                            <p:cond delay="0"/>
                                          </p:stCondLst>
                                        </p:cTn>
                                        <p:tgtEl>
                                          <p:spTgt spid="750"/>
                                        </p:tgtEl>
                                        <p:attrNameLst>
                                          <p:attrName>style.visibility</p:attrName>
                                        </p:attrNameLst>
                                      </p:cBhvr>
                                      <p:to>
                                        <p:strVal val="visible"/>
                                      </p:to>
                                    </p:set>
                                    <p:animEffect transition="in" filter="fade">
                                      <p:cBhvr>
                                        <p:cTn id="229" dur="250"/>
                                        <p:tgtEl>
                                          <p:spTgt spid="750"/>
                                        </p:tgtEl>
                                      </p:cBhvr>
                                    </p:animEffect>
                                  </p:childTnLst>
                                </p:cTn>
                              </p:par>
                              <p:par>
                                <p:cTn id="230" presetID="42" presetClass="path" presetSubtype="0" decel="100000" fill="hold" grpId="1" nodeType="withEffect">
                                  <p:stCondLst>
                                    <p:cond delay="1500"/>
                                  </p:stCondLst>
                                  <p:childTnLst>
                                    <p:animMotion origin="layout" path="M -2.55297E-8 5.5379E-7 L -0.1191 -0.22447 " pathEditMode="relative" rAng="0" ptsTypes="AA">
                                      <p:cBhvr>
                                        <p:cTn id="231" dur="600" spd="-100000" fill="hold"/>
                                        <p:tgtEl>
                                          <p:spTgt spid="750"/>
                                        </p:tgtEl>
                                        <p:attrNameLst>
                                          <p:attrName>ppt_x</p:attrName>
                                          <p:attrName>ppt_y</p:attrName>
                                        </p:attrNameLst>
                                      </p:cBhvr>
                                      <p:rCtr x="-5961" y="-11235"/>
                                    </p:animMotion>
                                  </p:childTnLst>
                                </p:cTn>
                              </p:par>
                              <p:par>
                                <p:cTn id="232" presetID="10" presetClass="entr" presetSubtype="0" fill="hold" grpId="0" nodeType="withEffect">
                                  <p:stCondLst>
                                    <p:cond delay="2000"/>
                                  </p:stCondLst>
                                  <p:childTnLst>
                                    <p:set>
                                      <p:cBhvr>
                                        <p:cTn id="233" dur="1" fill="hold">
                                          <p:stCondLst>
                                            <p:cond delay="0"/>
                                          </p:stCondLst>
                                        </p:cTn>
                                        <p:tgtEl>
                                          <p:spTgt spid="749"/>
                                        </p:tgtEl>
                                        <p:attrNameLst>
                                          <p:attrName>style.visibility</p:attrName>
                                        </p:attrNameLst>
                                      </p:cBhvr>
                                      <p:to>
                                        <p:strVal val="visible"/>
                                      </p:to>
                                    </p:set>
                                    <p:animEffect transition="in" filter="fade">
                                      <p:cBhvr>
                                        <p:cTn id="234" dur="300"/>
                                        <p:tgtEl>
                                          <p:spTgt spid="749"/>
                                        </p:tgtEl>
                                      </p:cBhvr>
                                    </p:animEffect>
                                  </p:childTnLst>
                                </p:cTn>
                              </p:par>
                              <p:par>
                                <p:cTn id="235" presetID="10" presetClass="entr" presetSubtype="0" fill="hold" grpId="0" nodeType="withEffect">
                                  <p:stCondLst>
                                    <p:cond delay="1750"/>
                                  </p:stCondLst>
                                  <p:childTnLst>
                                    <p:set>
                                      <p:cBhvr>
                                        <p:cTn id="236" dur="1" fill="hold">
                                          <p:stCondLst>
                                            <p:cond delay="0"/>
                                          </p:stCondLst>
                                        </p:cTn>
                                        <p:tgtEl>
                                          <p:spTgt spid="752"/>
                                        </p:tgtEl>
                                        <p:attrNameLst>
                                          <p:attrName>style.visibility</p:attrName>
                                        </p:attrNameLst>
                                      </p:cBhvr>
                                      <p:to>
                                        <p:strVal val="visible"/>
                                      </p:to>
                                    </p:set>
                                    <p:animEffect transition="in" filter="fade">
                                      <p:cBhvr>
                                        <p:cTn id="237" dur="250"/>
                                        <p:tgtEl>
                                          <p:spTgt spid="752"/>
                                        </p:tgtEl>
                                      </p:cBhvr>
                                    </p:animEffect>
                                  </p:childTnLst>
                                </p:cTn>
                              </p:par>
                              <p:par>
                                <p:cTn id="238" presetID="42" presetClass="path" presetSubtype="0" decel="100000" fill="hold" grpId="1" nodeType="withEffect">
                                  <p:stCondLst>
                                    <p:cond delay="1750"/>
                                  </p:stCondLst>
                                  <p:childTnLst>
                                    <p:animMotion origin="layout" path="M -4.49834E-6 5.5379E-7 L -0.14756 -0.22674 " pathEditMode="relative" rAng="0" ptsTypes="AA">
                                      <p:cBhvr>
                                        <p:cTn id="239" dur="600" spd="-100000" fill="hold"/>
                                        <p:tgtEl>
                                          <p:spTgt spid="752"/>
                                        </p:tgtEl>
                                        <p:attrNameLst>
                                          <p:attrName>ppt_x</p:attrName>
                                          <p:attrName>ppt_y</p:attrName>
                                        </p:attrNameLst>
                                      </p:cBhvr>
                                      <p:rCtr x="-7378" y="-11348"/>
                                    </p:animMotion>
                                  </p:childTnLst>
                                </p:cTn>
                              </p:par>
                              <p:par>
                                <p:cTn id="240" presetID="10" presetClass="entr" presetSubtype="0" fill="hold" grpId="0" nodeType="withEffect">
                                  <p:stCondLst>
                                    <p:cond delay="2250"/>
                                  </p:stCondLst>
                                  <p:childTnLst>
                                    <p:set>
                                      <p:cBhvr>
                                        <p:cTn id="241" dur="1" fill="hold">
                                          <p:stCondLst>
                                            <p:cond delay="0"/>
                                          </p:stCondLst>
                                        </p:cTn>
                                        <p:tgtEl>
                                          <p:spTgt spid="751"/>
                                        </p:tgtEl>
                                        <p:attrNameLst>
                                          <p:attrName>style.visibility</p:attrName>
                                        </p:attrNameLst>
                                      </p:cBhvr>
                                      <p:to>
                                        <p:strVal val="visible"/>
                                      </p:to>
                                    </p:set>
                                    <p:animEffect transition="in" filter="fade">
                                      <p:cBhvr>
                                        <p:cTn id="242" dur="300"/>
                                        <p:tgtEl>
                                          <p:spTgt spid="751"/>
                                        </p:tgtEl>
                                      </p:cBhvr>
                                    </p:animEffect>
                                  </p:childTnLst>
                                </p:cTn>
                              </p:par>
                            </p:childTnLst>
                          </p:cTn>
                        </p:par>
                      </p:childTnLst>
                    </p:cTn>
                  </p:par>
                  <p:par>
                    <p:cTn id="243" fill="hold">
                      <p:stCondLst>
                        <p:cond delay="indefinite"/>
                      </p:stCondLst>
                      <p:childTnLst>
                        <p:par>
                          <p:cTn id="244" fill="hold">
                            <p:stCondLst>
                              <p:cond delay="0"/>
                            </p:stCondLst>
                            <p:childTnLst>
                              <p:par>
                                <p:cTn id="245" presetID="2" presetClass="entr" presetSubtype="8" decel="100000" fill="hold" grpId="0" nodeType="clickEffect">
                                  <p:stCondLst>
                                    <p:cond delay="0"/>
                                  </p:stCondLst>
                                  <p:childTnLst>
                                    <p:set>
                                      <p:cBhvr>
                                        <p:cTn id="246" dur="1" fill="hold">
                                          <p:stCondLst>
                                            <p:cond delay="0"/>
                                          </p:stCondLst>
                                        </p:cTn>
                                        <p:tgtEl>
                                          <p:spTgt spid="590"/>
                                        </p:tgtEl>
                                        <p:attrNameLst>
                                          <p:attrName>style.visibility</p:attrName>
                                        </p:attrNameLst>
                                      </p:cBhvr>
                                      <p:to>
                                        <p:strVal val="visible"/>
                                      </p:to>
                                    </p:set>
                                    <p:anim calcmode="lin" valueType="num">
                                      <p:cBhvr additive="base">
                                        <p:cTn id="247" dur="400" fill="hold"/>
                                        <p:tgtEl>
                                          <p:spTgt spid="590"/>
                                        </p:tgtEl>
                                        <p:attrNameLst>
                                          <p:attrName>ppt_x</p:attrName>
                                        </p:attrNameLst>
                                      </p:cBhvr>
                                      <p:tavLst>
                                        <p:tav tm="0">
                                          <p:val>
                                            <p:strVal val="0-#ppt_w/2"/>
                                          </p:val>
                                        </p:tav>
                                        <p:tav tm="100000">
                                          <p:val>
                                            <p:strVal val="#ppt_x"/>
                                          </p:val>
                                        </p:tav>
                                      </p:tavLst>
                                    </p:anim>
                                    <p:anim calcmode="lin" valueType="num">
                                      <p:cBhvr additive="base">
                                        <p:cTn id="248" dur="400" fill="hold"/>
                                        <p:tgtEl>
                                          <p:spTgt spid="590"/>
                                        </p:tgtEl>
                                        <p:attrNameLst>
                                          <p:attrName>ppt_y</p:attrName>
                                        </p:attrNameLst>
                                      </p:cBhvr>
                                      <p:tavLst>
                                        <p:tav tm="0">
                                          <p:val>
                                            <p:strVal val="#ppt_y"/>
                                          </p:val>
                                        </p:tav>
                                        <p:tav tm="100000">
                                          <p:val>
                                            <p:strVal val="#ppt_y"/>
                                          </p:val>
                                        </p:tav>
                                      </p:tavLst>
                                    </p:anim>
                                  </p:childTnLst>
                                </p:cTn>
                              </p:par>
                              <p:par>
                                <p:cTn id="249" presetID="2" presetClass="entr" presetSubtype="8" decel="100000" fill="hold" grpId="0" nodeType="withEffect">
                                  <p:stCondLst>
                                    <p:cond delay="0"/>
                                  </p:stCondLst>
                                  <p:childTnLst>
                                    <p:set>
                                      <p:cBhvr>
                                        <p:cTn id="250" dur="1" fill="hold">
                                          <p:stCondLst>
                                            <p:cond delay="0"/>
                                          </p:stCondLst>
                                        </p:cTn>
                                        <p:tgtEl>
                                          <p:spTgt spid="577"/>
                                        </p:tgtEl>
                                        <p:attrNameLst>
                                          <p:attrName>style.visibility</p:attrName>
                                        </p:attrNameLst>
                                      </p:cBhvr>
                                      <p:to>
                                        <p:strVal val="visible"/>
                                      </p:to>
                                    </p:set>
                                    <p:anim calcmode="lin" valueType="num">
                                      <p:cBhvr additive="base">
                                        <p:cTn id="251" dur="1250" fill="hold"/>
                                        <p:tgtEl>
                                          <p:spTgt spid="577"/>
                                        </p:tgtEl>
                                        <p:attrNameLst>
                                          <p:attrName>ppt_x</p:attrName>
                                        </p:attrNameLst>
                                      </p:cBhvr>
                                      <p:tavLst>
                                        <p:tav tm="0">
                                          <p:val>
                                            <p:strVal val="0-#ppt_w/2"/>
                                          </p:val>
                                        </p:tav>
                                        <p:tav tm="100000">
                                          <p:val>
                                            <p:strVal val="#ppt_x"/>
                                          </p:val>
                                        </p:tav>
                                      </p:tavLst>
                                    </p:anim>
                                    <p:anim calcmode="lin" valueType="num">
                                      <p:cBhvr additive="base">
                                        <p:cTn id="252" dur="1250" fill="hold"/>
                                        <p:tgtEl>
                                          <p:spTgt spid="577"/>
                                        </p:tgtEl>
                                        <p:attrNameLst>
                                          <p:attrName>ppt_y</p:attrName>
                                        </p:attrNameLst>
                                      </p:cBhvr>
                                      <p:tavLst>
                                        <p:tav tm="0">
                                          <p:val>
                                            <p:strVal val="#ppt_y"/>
                                          </p:val>
                                        </p:tav>
                                        <p:tav tm="100000">
                                          <p:val>
                                            <p:strVal val="#ppt_y"/>
                                          </p:val>
                                        </p:tav>
                                      </p:tavLst>
                                    </p:anim>
                                  </p:childTnLst>
                                </p:cTn>
                              </p:par>
                              <p:par>
                                <p:cTn id="253" presetID="2" presetClass="entr" presetSubtype="2" decel="100000" fill="hold" nodeType="withEffect">
                                  <p:stCondLst>
                                    <p:cond delay="1000"/>
                                  </p:stCondLst>
                                  <p:childTnLst>
                                    <p:set>
                                      <p:cBhvr>
                                        <p:cTn id="254" dur="1" fill="hold">
                                          <p:stCondLst>
                                            <p:cond delay="0"/>
                                          </p:stCondLst>
                                        </p:cTn>
                                        <p:tgtEl>
                                          <p:spTgt spid="582"/>
                                        </p:tgtEl>
                                        <p:attrNameLst>
                                          <p:attrName>style.visibility</p:attrName>
                                        </p:attrNameLst>
                                      </p:cBhvr>
                                      <p:to>
                                        <p:strVal val="visible"/>
                                      </p:to>
                                    </p:set>
                                    <p:anim calcmode="lin" valueType="num">
                                      <p:cBhvr additive="base">
                                        <p:cTn id="255" dur="800" fill="hold"/>
                                        <p:tgtEl>
                                          <p:spTgt spid="582"/>
                                        </p:tgtEl>
                                        <p:attrNameLst>
                                          <p:attrName>ppt_x</p:attrName>
                                        </p:attrNameLst>
                                      </p:cBhvr>
                                      <p:tavLst>
                                        <p:tav tm="0">
                                          <p:val>
                                            <p:strVal val="1+#ppt_w/2"/>
                                          </p:val>
                                        </p:tav>
                                        <p:tav tm="100000">
                                          <p:val>
                                            <p:strVal val="#ppt_x"/>
                                          </p:val>
                                        </p:tav>
                                      </p:tavLst>
                                    </p:anim>
                                    <p:anim calcmode="lin" valueType="num">
                                      <p:cBhvr additive="base">
                                        <p:cTn id="256" dur="800" fill="hold"/>
                                        <p:tgtEl>
                                          <p:spTgt spid="582"/>
                                        </p:tgtEl>
                                        <p:attrNameLst>
                                          <p:attrName>ppt_y</p:attrName>
                                        </p:attrNameLst>
                                      </p:cBhvr>
                                      <p:tavLst>
                                        <p:tav tm="0">
                                          <p:val>
                                            <p:strVal val="#ppt_y"/>
                                          </p:val>
                                        </p:tav>
                                        <p:tav tm="100000">
                                          <p:val>
                                            <p:strVal val="#ppt_y"/>
                                          </p:val>
                                        </p:tav>
                                      </p:tavLst>
                                    </p:anim>
                                  </p:childTnLst>
                                </p:cTn>
                              </p:par>
                              <p:par>
                                <p:cTn id="257" presetID="22" presetClass="entr" presetSubtype="4" fill="hold" grpId="0" nodeType="withEffect">
                                  <p:stCondLst>
                                    <p:cond delay="1750"/>
                                  </p:stCondLst>
                                  <p:childTnLst>
                                    <p:set>
                                      <p:cBhvr>
                                        <p:cTn id="258" dur="1" fill="hold">
                                          <p:stCondLst>
                                            <p:cond delay="0"/>
                                          </p:stCondLst>
                                        </p:cTn>
                                        <p:tgtEl>
                                          <p:spTgt spid="667"/>
                                        </p:tgtEl>
                                        <p:attrNameLst>
                                          <p:attrName>style.visibility</p:attrName>
                                        </p:attrNameLst>
                                      </p:cBhvr>
                                      <p:to>
                                        <p:strVal val="visible"/>
                                      </p:to>
                                    </p:set>
                                    <p:animEffect transition="in" filter="wipe(down)">
                                      <p:cBhvr>
                                        <p:cTn id="259" dur="200"/>
                                        <p:tgtEl>
                                          <p:spTgt spid="667"/>
                                        </p:tgtEl>
                                      </p:cBhvr>
                                    </p:animEffect>
                                  </p:childTnLst>
                                </p:cTn>
                              </p:par>
                              <p:par>
                                <p:cTn id="260" presetID="22" presetClass="entr" presetSubtype="4" fill="hold" grpId="0" nodeType="withEffect">
                                  <p:stCondLst>
                                    <p:cond delay="1770"/>
                                  </p:stCondLst>
                                  <p:childTnLst>
                                    <p:set>
                                      <p:cBhvr>
                                        <p:cTn id="261" dur="1" fill="hold">
                                          <p:stCondLst>
                                            <p:cond delay="0"/>
                                          </p:stCondLst>
                                        </p:cTn>
                                        <p:tgtEl>
                                          <p:spTgt spid="668"/>
                                        </p:tgtEl>
                                        <p:attrNameLst>
                                          <p:attrName>style.visibility</p:attrName>
                                        </p:attrNameLst>
                                      </p:cBhvr>
                                      <p:to>
                                        <p:strVal val="visible"/>
                                      </p:to>
                                    </p:set>
                                    <p:animEffect transition="in" filter="wipe(down)">
                                      <p:cBhvr>
                                        <p:cTn id="262" dur="200"/>
                                        <p:tgtEl>
                                          <p:spTgt spid="668"/>
                                        </p:tgtEl>
                                      </p:cBhvr>
                                    </p:animEffect>
                                  </p:childTnLst>
                                </p:cTn>
                              </p:par>
                              <p:par>
                                <p:cTn id="263" presetID="22" presetClass="entr" presetSubtype="4" fill="hold" grpId="0" nodeType="withEffect">
                                  <p:stCondLst>
                                    <p:cond delay="1790"/>
                                  </p:stCondLst>
                                  <p:childTnLst>
                                    <p:set>
                                      <p:cBhvr>
                                        <p:cTn id="264" dur="1" fill="hold">
                                          <p:stCondLst>
                                            <p:cond delay="0"/>
                                          </p:stCondLst>
                                        </p:cTn>
                                        <p:tgtEl>
                                          <p:spTgt spid="669"/>
                                        </p:tgtEl>
                                        <p:attrNameLst>
                                          <p:attrName>style.visibility</p:attrName>
                                        </p:attrNameLst>
                                      </p:cBhvr>
                                      <p:to>
                                        <p:strVal val="visible"/>
                                      </p:to>
                                    </p:set>
                                    <p:animEffect transition="in" filter="wipe(down)">
                                      <p:cBhvr>
                                        <p:cTn id="265" dur="200"/>
                                        <p:tgtEl>
                                          <p:spTgt spid="669"/>
                                        </p:tgtEl>
                                      </p:cBhvr>
                                    </p:animEffect>
                                  </p:childTnLst>
                                </p:cTn>
                              </p:par>
                              <p:par>
                                <p:cTn id="266" presetID="22" presetClass="entr" presetSubtype="4" fill="hold" grpId="0" nodeType="withEffect">
                                  <p:stCondLst>
                                    <p:cond delay="1810"/>
                                  </p:stCondLst>
                                  <p:childTnLst>
                                    <p:set>
                                      <p:cBhvr>
                                        <p:cTn id="267" dur="1" fill="hold">
                                          <p:stCondLst>
                                            <p:cond delay="0"/>
                                          </p:stCondLst>
                                        </p:cTn>
                                        <p:tgtEl>
                                          <p:spTgt spid="670"/>
                                        </p:tgtEl>
                                        <p:attrNameLst>
                                          <p:attrName>style.visibility</p:attrName>
                                        </p:attrNameLst>
                                      </p:cBhvr>
                                      <p:to>
                                        <p:strVal val="visible"/>
                                      </p:to>
                                    </p:set>
                                    <p:animEffect transition="in" filter="wipe(down)">
                                      <p:cBhvr>
                                        <p:cTn id="268" dur="200"/>
                                        <p:tgtEl>
                                          <p:spTgt spid="670"/>
                                        </p:tgtEl>
                                      </p:cBhvr>
                                    </p:animEffect>
                                  </p:childTnLst>
                                </p:cTn>
                              </p:par>
                              <p:par>
                                <p:cTn id="269" presetID="22" presetClass="entr" presetSubtype="4" fill="hold" grpId="0" nodeType="withEffect">
                                  <p:stCondLst>
                                    <p:cond delay="1830"/>
                                  </p:stCondLst>
                                  <p:childTnLst>
                                    <p:set>
                                      <p:cBhvr>
                                        <p:cTn id="270" dur="1" fill="hold">
                                          <p:stCondLst>
                                            <p:cond delay="0"/>
                                          </p:stCondLst>
                                        </p:cTn>
                                        <p:tgtEl>
                                          <p:spTgt spid="671"/>
                                        </p:tgtEl>
                                        <p:attrNameLst>
                                          <p:attrName>style.visibility</p:attrName>
                                        </p:attrNameLst>
                                      </p:cBhvr>
                                      <p:to>
                                        <p:strVal val="visible"/>
                                      </p:to>
                                    </p:set>
                                    <p:animEffect transition="in" filter="wipe(down)">
                                      <p:cBhvr>
                                        <p:cTn id="271" dur="200"/>
                                        <p:tgtEl>
                                          <p:spTgt spid="671"/>
                                        </p:tgtEl>
                                      </p:cBhvr>
                                    </p:animEffect>
                                  </p:childTnLst>
                                </p:cTn>
                              </p:par>
                              <p:par>
                                <p:cTn id="272" presetID="53" presetClass="entr" presetSubtype="16" fill="hold" nodeType="withEffect">
                                  <p:stCondLst>
                                    <p:cond delay="1830"/>
                                  </p:stCondLst>
                                  <p:childTnLst>
                                    <p:set>
                                      <p:cBhvr>
                                        <p:cTn id="273" dur="1" fill="hold">
                                          <p:stCondLst>
                                            <p:cond delay="0"/>
                                          </p:stCondLst>
                                        </p:cTn>
                                        <p:tgtEl>
                                          <p:spTgt spid="672"/>
                                        </p:tgtEl>
                                        <p:attrNameLst>
                                          <p:attrName>style.visibility</p:attrName>
                                        </p:attrNameLst>
                                      </p:cBhvr>
                                      <p:to>
                                        <p:strVal val="visible"/>
                                      </p:to>
                                    </p:set>
                                    <p:anim calcmode="lin" valueType="num">
                                      <p:cBhvr>
                                        <p:cTn id="274" dur="300" fill="hold"/>
                                        <p:tgtEl>
                                          <p:spTgt spid="672"/>
                                        </p:tgtEl>
                                        <p:attrNameLst>
                                          <p:attrName>ppt_w</p:attrName>
                                        </p:attrNameLst>
                                      </p:cBhvr>
                                      <p:tavLst>
                                        <p:tav tm="0">
                                          <p:val>
                                            <p:fltVal val="0"/>
                                          </p:val>
                                        </p:tav>
                                        <p:tav tm="100000">
                                          <p:val>
                                            <p:strVal val="#ppt_w"/>
                                          </p:val>
                                        </p:tav>
                                      </p:tavLst>
                                    </p:anim>
                                    <p:anim calcmode="lin" valueType="num">
                                      <p:cBhvr>
                                        <p:cTn id="275" dur="300" fill="hold"/>
                                        <p:tgtEl>
                                          <p:spTgt spid="672"/>
                                        </p:tgtEl>
                                        <p:attrNameLst>
                                          <p:attrName>ppt_h</p:attrName>
                                        </p:attrNameLst>
                                      </p:cBhvr>
                                      <p:tavLst>
                                        <p:tav tm="0">
                                          <p:val>
                                            <p:fltVal val="0"/>
                                          </p:val>
                                        </p:tav>
                                        <p:tav tm="100000">
                                          <p:val>
                                            <p:strVal val="#ppt_h"/>
                                          </p:val>
                                        </p:tav>
                                      </p:tavLst>
                                    </p:anim>
                                    <p:animEffect transition="in" filter="fade">
                                      <p:cBhvr>
                                        <p:cTn id="276" dur="300"/>
                                        <p:tgtEl>
                                          <p:spTgt spid="672"/>
                                        </p:tgtEl>
                                      </p:cBhvr>
                                    </p:animEffect>
                                  </p:childTnLst>
                                </p:cTn>
                              </p:par>
                              <p:par>
                                <p:cTn id="277" presetID="53" presetClass="entr" presetSubtype="16" fill="hold" grpId="0" nodeType="withEffect">
                                  <p:stCondLst>
                                    <p:cond delay="1850"/>
                                  </p:stCondLst>
                                  <p:childTnLst>
                                    <p:set>
                                      <p:cBhvr>
                                        <p:cTn id="278" dur="1" fill="hold">
                                          <p:stCondLst>
                                            <p:cond delay="0"/>
                                          </p:stCondLst>
                                        </p:cTn>
                                        <p:tgtEl>
                                          <p:spTgt spid="678"/>
                                        </p:tgtEl>
                                        <p:attrNameLst>
                                          <p:attrName>style.visibility</p:attrName>
                                        </p:attrNameLst>
                                      </p:cBhvr>
                                      <p:to>
                                        <p:strVal val="visible"/>
                                      </p:to>
                                    </p:set>
                                    <p:anim calcmode="lin" valueType="num">
                                      <p:cBhvr>
                                        <p:cTn id="279" dur="300" fill="hold"/>
                                        <p:tgtEl>
                                          <p:spTgt spid="678"/>
                                        </p:tgtEl>
                                        <p:attrNameLst>
                                          <p:attrName>ppt_w</p:attrName>
                                        </p:attrNameLst>
                                      </p:cBhvr>
                                      <p:tavLst>
                                        <p:tav tm="0">
                                          <p:val>
                                            <p:fltVal val="0"/>
                                          </p:val>
                                        </p:tav>
                                        <p:tav tm="100000">
                                          <p:val>
                                            <p:strVal val="#ppt_w"/>
                                          </p:val>
                                        </p:tav>
                                      </p:tavLst>
                                    </p:anim>
                                    <p:anim calcmode="lin" valueType="num">
                                      <p:cBhvr>
                                        <p:cTn id="280" dur="300" fill="hold"/>
                                        <p:tgtEl>
                                          <p:spTgt spid="678"/>
                                        </p:tgtEl>
                                        <p:attrNameLst>
                                          <p:attrName>ppt_h</p:attrName>
                                        </p:attrNameLst>
                                      </p:cBhvr>
                                      <p:tavLst>
                                        <p:tav tm="0">
                                          <p:val>
                                            <p:fltVal val="0"/>
                                          </p:val>
                                        </p:tav>
                                        <p:tav tm="100000">
                                          <p:val>
                                            <p:strVal val="#ppt_h"/>
                                          </p:val>
                                        </p:tav>
                                      </p:tavLst>
                                    </p:anim>
                                    <p:animEffect transition="in" filter="fade">
                                      <p:cBhvr>
                                        <p:cTn id="281" dur="300"/>
                                        <p:tgtEl>
                                          <p:spTgt spid="678"/>
                                        </p:tgtEl>
                                      </p:cBhvr>
                                    </p:animEffect>
                                  </p:childTnLst>
                                </p:cTn>
                              </p:par>
                              <p:par>
                                <p:cTn id="282" presetID="22" presetClass="entr" presetSubtype="8" fill="hold" grpId="0" nodeType="withEffect">
                                  <p:stCondLst>
                                    <p:cond delay="1900"/>
                                  </p:stCondLst>
                                  <p:childTnLst>
                                    <p:set>
                                      <p:cBhvr>
                                        <p:cTn id="283" dur="1" fill="hold">
                                          <p:stCondLst>
                                            <p:cond delay="0"/>
                                          </p:stCondLst>
                                        </p:cTn>
                                        <p:tgtEl>
                                          <p:spTgt spid="676"/>
                                        </p:tgtEl>
                                        <p:attrNameLst>
                                          <p:attrName>style.visibility</p:attrName>
                                        </p:attrNameLst>
                                      </p:cBhvr>
                                      <p:to>
                                        <p:strVal val="visible"/>
                                      </p:to>
                                    </p:set>
                                    <p:animEffect transition="in" filter="wipe(left)">
                                      <p:cBhvr>
                                        <p:cTn id="284" dur="300"/>
                                        <p:tgtEl>
                                          <p:spTgt spid="676"/>
                                        </p:tgtEl>
                                      </p:cBhvr>
                                    </p:animEffect>
                                  </p:childTnLst>
                                </p:cTn>
                              </p:par>
                              <p:par>
                                <p:cTn id="285" presetID="53" presetClass="entr" presetSubtype="16" fill="hold" grpId="0" nodeType="withEffect">
                                  <p:stCondLst>
                                    <p:cond delay="1950"/>
                                  </p:stCondLst>
                                  <p:childTnLst>
                                    <p:set>
                                      <p:cBhvr>
                                        <p:cTn id="286" dur="1" fill="hold">
                                          <p:stCondLst>
                                            <p:cond delay="0"/>
                                          </p:stCondLst>
                                        </p:cTn>
                                        <p:tgtEl>
                                          <p:spTgt spid="679"/>
                                        </p:tgtEl>
                                        <p:attrNameLst>
                                          <p:attrName>style.visibility</p:attrName>
                                        </p:attrNameLst>
                                      </p:cBhvr>
                                      <p:to>
                                        <p:strVal val="visible"/>
                                      </p:to>
                                    </p:set>
                                    <p:anim calcmode="lin" valueType="num">
                                      <p:cBhvr>
                                        <p:cTn id="287" dur="300" fill="hold"/>
                                        <p:tgtEl>
                                          <p:spTgt spid="679"/>
                                        </p:tgtEl>
                                        <p:attrNameLst>
                                          <p:attrName>ppt_w</p:attrName>
                                        </p:attrNameLst>
                                      </p:cBhvr>
                                      <p:tavLst>
                                        <p:tav tm="0">
                                          <p:val>
                                            <p:fltVal val="0"/>
                                          </p:val>
                                        </p:tav>
                                        <p:tav tm="100000">
                                          <p:val>
                                            <p:strVal val="#ppt_w"/>
                                          </p:val>
                                        </p:tav>
                                      </p:tavLst>
                                    </p:anim>
                                    <p:anim calcmode="lin" valueType="num">
                                      <p:cBhvr>
                                        <p:cTn id="288" dur="300" fill="hold"/>
                                        <p:tgtEl>
                                          <p:spTgt spid="679"/>
                                        </p:tgtEl>
                                        <p:attrNameLst>
                                          <p:attrName>ppt_h</p:attrName>
                                        </p:attrNameLst>
                                      </p:cBhvr>
                                      <p:tavLst>
                                        <p:tav tm="0">
                                          <p:val>
                                            <p:fltVal val="0"/>
                                          </p:val>
                                        </p:tav>
                                        <p:tav tm="100000">
                                          <p:val>
                                            <p:strVal val="#ppt_h"/>
                                          </p:val>
                                        </p:tav>
                                      </p:tavLst>
                                    </p:anim>
                                    <p:animEffect transition="in" filter="fade">
                                      <p:cBhvr>
                                        <p:cTn id="289" dur="300"/>
                                        <p:tgtEl>
                                          <p:spTgt spid="679"/>
                                        </p:tgtEl>
                                      </p:cBhvr>
                                    </p:animEffect>
                                  </p:childTnLst>
                                </p:cTn>
                              </p:par>
                              <p:par>
                                <p:cTn id="290" presetID="22" presetClass="entr" presetSubtype="8" fill="hold" grpId="0" nodeType="withEffect">
                                  <p:stCondLst>
                                    <p:cond delay="2000"/>
                                  </p:stCondLst>
                                  <p:childTnLst>
                                    <p:set>
                                      <p:cBhvr>
                                        <p:cTn id="291" dur="1" fill="hold">
                                          <p:stCondLst>
                                            <p:cond delay="0"/>
                                          </p:stCondLst>
                                        </p:cTn>
                                        <p:tgtEl>
                                          <p:spTgt spid="677"/>
                                        </p:tgtEl>
                                        <p:attrNameLst>
                                          <p:attrName>style.visibility</p:attrName>
                                        </p:attrNameLst>
                                      </p:cBhvr>
                                      <p:to>
                                        <p:strVal val="visible"/>
                                      </p:to>
                                    </p:set>
                                    <p:animEffect transition="in" filter="wipe(left)">
                                      <p:cBhvr>
                                        <p:cTn id="292" dur="300"/>
                                        <p:tgtEl>
                                          <p:spTgt spid="677"/>
                                        </p:tgtEl>
                                      </p:cBhvr>
                                    </p:animEffect>
                                  </p:childTnLst>
                                </p:cTn>
                              </p:par>
                              <p:par>
                                <p:cTn id="293" presetID="53" presetClass="entr" presetSubtype="16" fill="hold" grpId="0" nodeType="withEffect">
                                  <p:stCondLst>
                                    <p:cond delay="2050"/>
                                  </p:stCondLst>
                                  <p:childTnLst>
                                    <p:set>
                                      <p:cBhvr>
                                        <p:cTn id="294" dur="1" fill="hold">
                                          <p:stCondLst>
                                            <p:cond delay="0"/>
                                          </p:stCondLst>
                                        </p:cTn>
                                        <p:tgtEl>
                                          <p:spTgt spid="680"/>
                                        </p:tgtEl>
                                        <p:attrNameLst>
                                          <p:attrName>style.visibility</p:attrName>
                                        </p:attrNameLst>
                                      </p:cBhvr>
                                      <p:to>
                                        <p:strVal val="visible"/>
                                      </p:to>
                                    </p:set>
                                    <p:anim calcmode="lin" valueType="num">
                                      <p:cBhvr>
                                        <p:cTn id="295" dur="300" fill="hold"/>
                                        <p:tgtEl>
                                          <p:spTgt spid="680"/>
                                        </p:tgtEl>
                                        <p:attrNameLst>
                                          <p:attrName>ppt_w</p:attrName>
                                        </p:attrNameLst>
                                      </p:cBhvr>
                                      <p:tavLst>
                                        <p:tav tm="0">
                                          <p:val>
                                            <p:fltVal val="0"/>
                                          </p:val>
                                        </p:tav>
                                        <p:tav tm="100000">
                                          <p:val>
                                            <p:strVal val="#ppt_w"/>
                                          </p:val>
                                        </p:tav>
                                      </p:tavLst>
                                    </p:anim>
                                    <p:anim calcmode="lin" valueType="num">
                                      <p:cBhvr>
                                        <p:cTn id="296" dur="300" fill="hold"/>
                                        <p:tgtEl>
                                          <p:spTgt spid="680"/>
                                        </p:tgtEl>
                                        <p:attrNameLst>
                                          <p:attrName>ppt_h</p:attrName>
                                        </p:attrNameLst>
                                      </p:cBhvr>
                                      <p:tavLst>
                                        <p:tav tm="0">
                                          <p:val>
                                            <p:fltVal val="0"/>
                                          </p:val>
                                        </p:tav>
                                        <p:tav tm="100000">
                                          <p:val>
                                            <p:strVal val="#ppt_h"/>
                                          </p:val>
                                        </p:tav>
                                      </p:tavLst>
                                    </p:anim>
                                    <p:animEffect transition="in" filter="fade">
                                      <p:cBhvr>
                                        <p:cTn id="297" dur="300"/>
                                        <p:tgtEl>
                                          <p:spTgt spid="680"/>
                                        </p:tgtEl>
                                      </p:cBhvr>
                                    </p:animEffect>
                                  </p:childTnLst>
                                </p:cTn>
                              </p:par>
                              <p:par>
                                <p:cTn id="298" presetID="22" presetClass="entr" presetSubtype="8" fill="hold" grpId="0" nodeType="withEffect">
                                  <p:stCondLst>
                                    <p:cond delay="2100"/>
                                  </p:stCondLst>
                                  <p:childTnLst>
                                    <p:set>
                                      <p:cBhvr>
                                        <p:cTn id="299" dur="1" fill="hold">
                                          <p:stCondLst>
                                            <p:cond delay="0"/>
                                          </p:stCondLst>
                                        </p:cTn>
                                        <p:tgtEl>
                                          <p:spTgt spid="675"/>
                                        </p:tgtEl>
                                        <p:attrNameLst>
                                          <p:attrName>style.visibility</p:attrName>
                                        </p:attrNameLst>
                                      </p:cBhvr>
                                      <p:to>
                                        <p:strVal val="visible"/>
                                      </p:to>
                                    </p:set>
                                    <p:animEffect transition="in" filter="wipe(left)">
                                      <p:cBhvr>
                                        <p:cTn id="300" dur="300"/>
                                        <p:tgtEl>
                                          <p:spTgt spid="675"/>
                                        </p:tgtEl>
                                      </p:cBhvr>
                                    </p:animEffect>
                                  </p:childTnLst>
                                </p:cTn>
                              </p:par>
                              <p:par>
                                <p:cTn id="301" presetID="10" presetClass="entr" presetSubtype="0" fill="hold" nodeType="withEffect">
                                  <p:stCondLst>
                                    <p:cond delay="2150"/>
                                  </p:stCondLst>
                                  <p:childTnLst>
                                    <p:set>
                                      <p:cBhvr>
                                        <p:cTn id="302" dur="1" fill="hold">
                                          <p:stCondLst>
                                            <p:cond delay="0"/>
                                          </p:stCondLst>
                                        </p:cTn>
                                        <p:tgtEl>
                                          <p:spTgt spid="593"/>
                                        </p:tgtEl>
                                        <p:attrNameLst>
                                          <p:attrName>style.visibility</p:attrName>
                                        </p:attrNameLst>
                                      </p:cBhvr>
                                      <p:to>
                                        <p:strVal val="visible"/>
                                      </p:to>
                                    </p:set>
                                    <p:animEffect transition="in" filter="fade">
                                      <p:cBhvr>
                                        <p:cTn id="303" dur="300"/>
                                        <p:tgtEl>
                                          <p:spTgt spid="593"/>
                                        </p:tgtEl>
                                      </p:cBhvr>
                                    </p:animEffect>
                                  </p:childTnLst>
                                </p:cTn>
                              </p:par>
                              <p:par>
                                <p:cTn id="304" presetID="53" presetClass="entr" presetSubtype="16" fill="hold" grpId="0" nodeType="withEffect">
                                  <p:stCondLst>
                                    <p:cond delay="2200"/>
                                  </p:stCondLst>
                                  <p:childTnLst>
                                    <p:set>
                                      <p:cBhvr>
                                        <p:cTn id="305" dur="1" fill="hold">
                                          <p:stCondLst>
                                            <p:cond delay="0"/>
                                          </p:stCondLst>
                                        </p:cTn>
                                        <p:tgtEl>
                                          <p:spTgt spid="591"/>
                                        </p:tgtEl>
                                        <p:attrNameLst>
                                          <p:attrName>style.visibility</p:attrName>
                                        </p:attrNameLst>
                                      </p:cBhvr>
                                      <p:to>
                                        <p:strVal val="visible"/>
                                      </p:to>
                                    </p:set>
                                    <p:anim calcmode="lin" valueType="num">
                                      <p:cBhvr>
                                        <p:cTn id="306" dur="300" fill="hold"/>
                                        <p:tgtEl>
                                          <p:spTgt spid="591"/>
                                        </p:tgtEl>
                                        <p:attrNameLst>
                                          <p:attrName>ppt_w</p:attrName>
                                        </p:attrNameLst>
                                      </p:cBhvr>
                                      <p:tavLst>
                                        <p:tav tm="0">
                                          <p:val>
                                            <p:fltVal val="0"/>
                                          </p:val>
                                        </p:tav>
                                        <p:tav tm="100000">
                                          <p:val>
                                            <p:strVal val="#ppt_w"/>
                                          </p:val>
                                        </p:tav>
                                      </p:tavLst>
                                    </p:anim>
                                    <p:anim calcmode="lin" valueType="num">
                                      <p:cBhvr>
                                        <p:cTn id="307" dur="300" fill="hold"/>
                                        <p:tgtEl>
                                          <p:spTgt spid="591"/>
                                        </p:tgtEl>
                                        <p:attrNameLst>
                                          <p:attrName>ppt_h</p:attrName>
                                        </p:attrNameLst>
                                      </p:cBhvr>
                                      <p:tavLst>
                                        <p:tav tm="0">
                                          <p:val>
                                            <p:fltVal val="0"/>
                                          </p:val>
                                        </p:tav>
                                        <p:tav tm="100000">
                                          <p:val>
                                            <p:strVal val="#ppt_h"/>
                                          </p:val>
                                        </p:tav>
                                      </p:tavLst>
                                    </p:anim>
                                    <p:animEffect transition="in" filter="fade">
                                      <p:cBhvr>
                                        <p:cTn id="308" dur="300"/>
                                        <p:tgtEl>
                                          <p:spTgt spid="591"/>
                                        </p:tgtEl>
                                      </p:cBhvr>
                                    </p:animEffect>
                                  </p:childTnLst>
                                </p:cTn>
                              </p:par>
                              <p:par>
                                <p:cTn id="309" presetID="53" presetClass="entr" presetSubtype="16" fill="hold" nodeType="withEffect">
                                  <p:stCondLst>
                                    <p:cond delay="2200"/>
                                  </p:stCondLst>
                                  <p:childTnLst>
                                    <p:set>
                                      <p:cBhvr>
                                        <p:cTn id="310" dur="1" fill="hold">
                                          <p:stCondLst>
                                            <p:cond delay="0"/>
                                          </p:stCondLst>
                                        </p:cTn>
                                        <p:tgtEl>
                                          <p:spTgt spid="821"/>
                                        </p:tgtEl>
                                        <p:attrNameLst>
                                          <p:attrName>style.visibility</p:attrName>
                                        </p:attrNameLst>
                                      </p:cBhvr>
                                      <p:to>
                                        <p:strVal val="visible"/>
                                      </p:to>
                                    </p:set>
                                    <p:anim calcmode="lin" valueType="num">
                                      <p:cBhvr>
                                        <p:cTn id="311" dur="300" fill="hold"/>
                                        <p:tgtEl>
                                          <p:spTgt spid="821"/>
                                        </p:tgtEl>
                                        <p:attrNameLst>
                                          <p:attrName>ppt_w</p:attrName>
                                        </p:attrNameLst>
                                      </p:cBhvr>
                                      <p:tavLst>
                                        <p:tav tm="0">
                                          <p:val>
                                            <p:fltVal val="0"/>
                                          </p:val>
                                        </p:tav>
                                        <p:tav tm="100000">
                                          <p:val>
                                            <p:strVal val="#ppt_w"/>
                                          </p:val>
                                        </p:tav>
                                      </p:tavLst>
                                    </p:anim>
                                    <p:anim calcmode="lin" valueType="num">
                                      <p:cBhvr>
                                        <p:cTn id="312" dur="300" fill="hold"/>
                                        <p:tgtEl>
                                          <p:spTgt spid="821"/>
                                        </p:tgtEl>
                                        <p:attrNameLst>
                                          <p:attrName>ppt_h</p:attrName>
                                        </p:attrNameLst>
                                      </p:cBhvr>
                                      <p:tavLst>
                                        <p:tav tm="0">
                                          <p:val>
                                            <p:fltVal val="0"/>
                                          </p:val>
                                        </p:tav>
                                        <p:tav tm="100000">
                                          <p:val>
                                            <p:strVal val="#ppt_h"/>
                                          </p:val>
                                        </p:tav>
                                      </p:tavLst>
                                    </p:anim>
                                    <p:animEffect transition="in" filter="fade">
                                      <p:cBhvr>
                                        <p:cTn id="313" dur="300"/>
                                        <p:tgtEl>
                                          <p:spTgt spid="821"/>
                                        </p:tgtEl>
                                      </p:cBhvr>
                                    </p:animEffect>
                                  </p:childTnLst>
                                </p:cTn>
                              </p:par>
                              <p:par>
                                <p:cTn id="314" presetID="53" presetClass="entr" presetSubtype="16" fill="hold" grpId="0" nodeType="withEffect">
                                  <p:stCondLst>
                                    <p:cond delay="2300"/>
                                  </p:stCondLst>
                                  <p:childTnLst>
                                    <p:set>
                                      <p:cBhvr>
                                        <p:cTn id="315" dur="1" fill="hold">
                                          <p:stCondLst>
                                            <p:cond delay="0"/>
                                          </p:stCondLst>
                                        </p:cTn>
                                        <p:tgtEl>
                                          <p:spTgt spid="592"/>
                                        </p:tgtEl>
                                        <p:attrNameLst>
                                          <p:attrName>style.visibility</p:attrName>
                                        </p:attrNameLst>
                                      </p:cBhvr>
                                      <p:to>
                                        <p:strVal val="visible"/>
                                      </p:to>
                                    </p:set>
                                    <p:anim calcmode="lin" valueType="num">
                                      <p:cBhvr>
                                        <p:cTn id="316" dur="300" fill="hold"/>
                                        <p:tgtEl>
                                          <p:spTgt spid="592"/>
                                        </p:tgtEl>
                                        <p:attrNameLst>
                                          <p:attrName>ppt_w</p:attrName>
                                        </p:attrNameLst>
                                      </p:cBhvr>
                                      <p:tavLst>
                                        <p:tav tm="0">
                                          <p:val>
                                            <p:fltVal val="0"/>
                                          </p:val>
                                        </p:tav>
                                        <p:tav tm="100000">
                                          <p:val>
                                            <p:strVal val="#ppt_w"/>
                                          </p:val>
                                        </p:tav>
                                      </p:tavLst>
                                    </p:anim>
                                    <p:anim calcmode="lin" valueType="num">
                                      <p:cBhvr>
                                        <p:cTn id="317" dur="300" fill="hold"/>
                                        <p:tgtEl>
                                          <p:spTgt spid="592"/>
                                        </p:tgtEl>
                                        <p:attrNameLst>
                                          <p:attrName>ppt_h</p:attrName>
                                        </p:attrNameLst>
                                      </p:cBhvr>
                                      <p:tavLst>
                                        <p:tav tm="0">
                                          <p:val>
                                            <p:fltVal val="0"/>
                                          </p:val>
                                        </p:tav>
                                        <p:tav tm="100000">
                                          <p:val>
                                            <p:strVal val="#ppt_h"/>
                                          </p:val>
                                        </p:tav>
                                      </p:tavLst>
                                    </p:anim>
                                    <p:animEffect transition="in" filter="fade">
                                      <p:cBhvr>
                                        <p:cTn id="318" dur="300"/>
                                        <p:tgtEl>
                                          <p:spTgt spid="592"/>
                                        </p:tgtEl>
                                      </p:cBhvr>
                                    </p:animEffect>
                                  </p:childTnLst>
                                </p:cTn>
                              </p:par>
                              <p:par>
                                <p:cTn id="319" presetID="53" presetClass="entr" presetSubtype="16" fill="hold" grpId="0" nodeType="withEffect">
                                  <p:stCondLst>
                                    <p:cond delay="2300"/>
                                  </p:stCondLst>
                                  <p:childTnLst>
                                    <p:set>
                                      <p:cBhvr>
                                        <p:cTn id="320" dur="1" fill="hold">
                                          <p:stCondLst>
                                            <p:cond delay="0"/>
                                          </p:stCondLst>
                                        </p:cTn>
                                        <p:tgtEl>
                                          <p:spTgt spid="595"/>
                                        </p:tgtEl>
                                        <p:attrNameLst>
                                          <p:attrName>style.visibility</p:attrName>
                                        </p:attrNameLst>
                                      </p:cBhvr>
                                      <p:to>
                                        <p:strVal val="visible"/>
                                      </p:to>
                                    </p:set>
                                    <p:anim calcmode="lin" valueType="num">
                                      <p:cBhvr>
                                        <p:cTn id="321" dur="400" fill="hold"/>
                                        <p:tgtEl>
                                          <p:spTgt spid="595"/>
                                        </p:tgtEl>
                                        <p:attrNameLst>
                                          <p:attrName>ppt_w</p:attrName>
                                        </p:attrNameLst>
                                      </p:cBhvr>
                                      <p:tavLst>
                                        <p:tav tm="0">
                                          <p:val>
                                            <p:fltVal val="0"/>
                                          </p:val>
                                        </p:tav>
                                        <p:tav tm="100000">
                                          <p:val>
                                            <p:strVal val="#ppt_w"/>
                                          </p:val>
                                        </p:tav>
                                      </p:tavLst>
                                    </p:anim>
                                    <p:anim calcmode="lin" valueType="num">
                                      <p:cBhvr>
                                        <p:cTn id="322" dur="400" fill="hold"/>
                                        <p:tgtEl>
                                          <p:spTgt spid="595"/>
                                        </p:tgtEl>
                                        <p:attrNameLst>
                                          <p:attrName>ppt_h</p:attrName>
                                        </p:attrNameLst>
                                      </p:cBhvr>
                                      <p:tavLst>
                                        <p:tav tm="0">
                                          <p:val>
                                            <p:fltVal val="0"/>
                                          </p:val>
                                        </p:tav>
                                        <p:tav tm="100000">
                                          <p:val>
                                            <p:strVal val="#ppt_h"/>
                                          </p:val>
                                        </p:tav>
                                      </p:tavLst>
                                    </p:anim>
                                    <p:animEffect transition="in" filter="fade">
                                      <p:cBhvr>
                                        <p:cTn id="323" dur="400"/>
                                        <p:tgtEl>
                                          <p:spTgt spid="595"/>
                                        </p:tgtEl>
                                      </p:cBhvr>
                                    </p:animEffect>
                                  </p:childTnLst>
                                </p:cTn>
                              </p:par>
                              <p:par>
                                <p:cTn id="324" presetID="22" presetClass="entr" presetSubtype="1" fill="hold" nodeType="withEffect">
                                  <p:stCondLst>
                                    <p:cond delay="2750"/>
                                  </p:stCondLst>
                                  <p:childTnLst>
                                    <p:set>
                                      <p:cBhvr>
                                        <p:cTn id="325" dur="1" fill="hold">
                                          <p:stCondLst>
                                            <p:cond delay="0"/>
                                          </p:stCondLst>
                                        </p:cTn>
                                        <p:tgtEl>
                                          <p:spTgt spid="579"/>
                                        </p:tgtEl>
                                        <p:attrNameLst>
                                          <p:attrName>style.visibility</p:attrName>
                                        </p:attrNameLst>
                                      </p:cBhvr>
                                      <p:to>
                                        <p:strVal val="visible"/>
                                      </p:to>
                                    </p:set>
                                    <p:animEffect transition="in" filter="wipe(up)">
                                      <p:cBhvr>
                                        <p:cTn id="326" dur="500"/>
                                        <p:tgtEl>
                                          <p:spTgt spid="579"/>
                                        </p:tgtEl>
                                      </p:cBhvr>
                                    </p:animEffect>
                                  </p:childTnLst>
                                </p:cTn>
                              </p:par>
                            </p:childTnLst>
                          </p:cTn>
                        </p:par>
                      </p:childTnLst>
                    </p:cTn>
                  </p:par>
                  <p:par>
                    <p:cTn id="327" fill="hold">
                      <p:stCondLst>
                        <p:cond delay="indefinite"/>
                      </p:stCondLst>
                      <p:childTnLst>
                        <p:par>
                          <p:cTn id="328" fill="hold">
                            <p:stCondLst>
                              <p:cond delay="0"/>
                            </p:stCondLst>
                            <p:childTnLst>
                              <p:par>
                                <p:cTn id="329" presetID="22" presetClass="entr" presetSubtype="2" fill="hold" nodeType="clickEffect">
                                  <p:stCondLst>
                                    <p:cond delay="0"/>
                                  </p:stCondLst>
                                  <p:childTnLst>
                                    <p:set>
                                      <p:cBhvr>
                                        <p:cTn id="330" dur="1" fill="hold">
                                          <p:stCondLst>
                                            <p:cond delay="0"/>
                                          </p:stCondLst>
                                        </p:cTn>
                                        <p:tgtEl>
                                          <p:spTgt spid="702"/>
                                        </p:tgtEl>
                                        <p:attrNameLst>
                                          <p:attrName>style.visibility</p:attrName>
                                        </p:attrNameLst>
                                      </p:cBhvr>
                                      <p:to>
                                        <p:strVal val="visible"/>
                                      </p:to>
                                    </p:set>
                                    <p:animEffect transition="in" filter="wipe(right)">
                                      <p:cBhvr>
                                        <p:cTn id="331" dur="800"/>
                                        <p:tgtEl>
                                          <p:spTgt spid="702"/>
                                        </p:tgtEl>
                                      </p:cBhvr>
                                    </p:animEffect>
                                  </p:childTnLst>
                                </p:cTn>
                              </p:par>
                              <p:par>
                                <p:cTn id="332" presetID="22" presetClass="entr" presetSubtype="8" fill="hold" nodeType="withEffect">
                                  <p:stCondLst>
                                    <p:cond delay="0"/>
                                  </p:stCondLst>
                                  <p:childTnLst>
                                    <p:set>
                                      <p:cBhvr>
                                        <p:cTn id="333" dur="1" fill="hold">
                                          <p:stCondLst>
                                            <p:cond delay="0"/>
                                          </p:stCondLst>
                                        </p:cTn>
                                        <p:tgtEl>
                                          <p:spTgt spid="688"/>
                                        </p:tgtEl>
                                        <p:attrNameLst>
                                          <p:attrName>style.visibility</p:attrName>
                                        </p:attrNameLst>
                                      </p:cBhvr>
                                      <p:to>
                                        <p:strVal val="visible"/>
                                      </p:to>
                                    </p:set>
                                    <p:animEffect transition="in" filter="wipe(left)">
                                      <p:cBhvr>
                                        <p:cTn id="334" dur="800"/>
                                        <p:tgtEl>
                                          <p:spTgt spid="6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8" grpId="0" animBg="1"/>
      <p:bldP spid="577" grpId="0" animBg="1"/>
      <p:bldP spid="578" grpId="0" animBg="1"/>
      <p:bldP spid="585" grpId="0" animBg="1"/>
      <p:bldP spid="571" grpId="0" animBg="1"/>
      <p:bldP spid="587" grpId="0" animBg="1"/>
      <p:bldP spid="569" grpId="0" animBg="1"/>
      <p:bldP spid="588" grpId="0" animBg="1"/>
      <p:bldP spid="589" grpId="0" animBg="1"/>
      <p:bldP spid="590" grpId="0" animBg="1"/>
      <p:bldP spid="591" grpId="0" animBg="1"/>
      <p:bldP spid="592" grpId="0" animBg="1"/>
      <p:bldP spid="594" grpId="0" animBg="1"/>
      <p:bldP spid="595" grpId="0" animBg="1"/>
      <p:bldP spid="641" grpId="0" animBg="1"/>
      <p:bldP spid="641" grpId="1" animBg="1"/>
      <p:bldP spid="641" grpId="2" animBg="1"/>
      <p:bldP spid="662" grpId="0" animBg="1"/>
      <p:bldP spid="662" grpId="1" animBg="1"/>
      <p:bldP spid="662" grpId="2" animBg="1"/>
      <p:bldP spid="663" grpId="0" animBg="1"/>
      <p:bldP spid="663" grpId="1" animBg="1"/>
      <p:bldP spid="663" grpId="2" animBg="1"/>
      <p:bldP spid="664" grpId="0" animBg="1"/>
      <p:bldP spid="664" grpId="1" animBg="1"/>
      <p:bldP spid="664" grpId="2" animBg="1"/>
      <p:bldP spid="665" grpId="0" animBg="1"/>
      <p:bldP spid="665" grpId="1" animBg="1"/>
      <p:bldP spid="665" grpId="2" animBg="1"/>
      <p:bldP spid="666" grpId="0" animBg="1"/>
      <p:bldP spid="666" grpId="1" animBg="1"/>
      <p:bldP spid="666" grpId="2" animBg="1"/>
      <p:bldP spid="667" grpId="0" animBg="1"/>
      <p:bldP spid="668" grpId="0" animBg="1"/>
      <p:bldP spid="669" grpId="0" animBg="1"/>
      <p:bldP spid="670" grpId="0" animBg="1"/>
      <p:bldP spid="671" grpId="0" animBg="1"/>
      <p:bldP spid="675" grpId="0" animBg="1"/>
      <p:bldP spid="676" grpId="0" animBg="1"/>
      <p:bldP spid="677" grpId="0" animBg="1"/>
      <p:bldP spid="678" grpId="0" animBg="1"/>
      <p:bldP spid="679" grpId="0" animBg="1"/>
      <p:bldP spid="680" grpId="0" animBg="1"/>
      <p:bldP spid="681" grpId="0" animBg="1"/>
      <p:bldP spid="741" grpId="0"/>
      <p:bldP spid="742" grpId="0" animBg="1"/>
      <p:bldP spid="742" grpId="1" animBg="1"/>
      <p:bldP spid="743" grpId="0"/>
      <p:bldP spid="744" grpId="0" animBg="1"/>
      <p:bldP spid="744" grpId="1" animBg="1"/>
      <p:bldP spid="745" grpId="0"/>
      <p:bldP spid="746" grpId="0" animBg="1"/>
      <p:bldP spid="746" grpId="1" animBg="1"/>
      <p:bldP spid="747" grpId="0"/>
      <p:bldP spid="748" grpId="0" animBg="1"/>
      <p:bldP spid="748" grpId="1" animBg="1"/>
      <p:bldP spid="749" grpId="0" animBg="1"/>
      <p:bldP spid="750" grpId="0" animBg="1"/>
      <p:bldP spid="750" grpId="1" animBg="1"/>
      <p:bldP spid="751" grpId="0" animBg="1"/>
      <p:bldP spid="752" grpId="0" animBg="1"/>
      <p:bldP spid="752" grpId="1" animBg="1"/>
      <p:bldP spid="753" grpId="0" animBg="1"/>
      <p:bldP spid="754" grpId="0" animBg="1"/>
      <p:bldP spid="755" grpId="0" animBg="1"/>
      <p:bldP spid="755" grpId="1" animBg="1"/>
      <p:bldP spid="756" grpId="0" animBg="1"/>
      <p:bldP spid="757" grpId="0" animBg="1"/>
      <p:bldP spid="758" grpId="0" animBg="1"/>
      <p:bldP spid="759" grpId="0" animBg="1"/>
      <p:bldP spid="760" grpId="0" animBg="1"/>
      <p:bldP spid="761" grpId="0" animBg="1"/>
      <p:bldP spid="762" grpId="0" animBg="1"/>
      <p:bldP spid="763" grpId="0" animBg="1"/>
      <p:bldP spid="764" grpId="0" animBg="1"/>
      <p:bldP spid="774" grpId="0" animBg="1"/>
      <p:bldP spid="774" grpId="1" animBg="1"/>
      <p:bldP spid="775" grpId="0" animBg="1"/>
      <p:bldP spid="775" grpId="1" animBg="1"/>
      <p:bldP spid="776" grpId="0" animBg="1"/>
      <p:bldP spid="777" grpId="0" animBg="1"/>
      <p:bldP spid="800"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5080414"/>
            <a:ext cx="12252960" cy="155448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kern="0" dirty="0">
              <a:gradFill>
                <a:gsLst>
                  <a:gs pos="84071">
                    <a:srgbClr val="191919"/>
                  </a:gs>
                  <a:gs pos="57000">
                    <a:srgbClr val="191919"/>
                  </a:gs>
                </a:gsLst>
                <a:lin ang="5400000" scaled="0"/>
              </a:gradFill>
            </a:endParaRPr>
          </a:p>
        </p:txBody>
      </p:sp>
      <p:sp>
        <p:nvSpPr>
          <p:cNvPr id="4" name="Rectangle 3"/>
          <p:cNvSpPr/>
          <p:nvPr/>
        </p:nvSpPr>
        <p:spPr bwMode="auto">
          <a:xfrm>
            <a:off x="1" y="3454320"/>
            <a:ext cx="12252960" cy="155448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kern="0" dirty="0">
              <a:gradFill>
                <a:gsLst>
                  <a:gs pos="84071">
                    <a:srgbClr val="191919"/>
                  </a:gs>
                  <a:gs pos="57000">
                    <a:srgbClr val="191919"/>
                  </a:gs>
                </a:gsLst>
                <a:lin ang="5400000" scaled="0"/>
              </a:gradFill>
            </a:endParaRPr>
          </a:p>
        </p:txBody>
      </p:sp>
      <p:sp>
        <p:nvSpPr>
          <p:cNvPr id="5" name="Rectangle 4"/>
          <p:cNvSpPr/>
          <p:nvPr/>
        </p:nvSpPr>
        <p:spPr bwMode="auto">
          <a:xfrm>
            <a:off x="1" y="1828227"/>
            <a:ext cx="12252960" cy="1554480"/>
          </a:xfrm>
          <a:prstGeom prst="rect">
            <a:avLst/>
          </a:prstGeom>
          <a:solidFill>
            <a:srgbClr val="F2F2F2"/>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kern="0" dirty="0">
              <a:gradFill>
                <a:gsLst>
                  <a:gs pos="84071">
                    <a:srgbClr val="191919"/>
                  </a:gs>
                  <a:gs pos="57000">
                    <a:srgbClr val="191919"/>
                  </a:gs>
                </a:gsLst>
                <a:lin ang="5400000" scaled="0"/>
              </a:gradFill>
            </a:endParaRPr>
          </a:p>
        </p:txBody>
      </p:sp>
      <p:sp>
        <p:nvSpPr>
          <p:cNvPr id="6" name="Rectangle 5"/>
          <p:cNvSpPr/>
          <p:nvPr/>
        </p:nvSpPr>
        <p:spPr bwMode="auto">
          <a:xfrm>
            <a:off x="0" y="205973"/>
            <a:ext cx="12252960" cy="155448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kern="0" dirty="0">
              <a:gradFill>
                <a:gsLst>
                  <a:gs pos="84071">
                    <a:srgbClr val="191919"/>
                  </a:gs>
                  <a:gs pos="57000">
                    <a:srgbClr val="191919"/>
                  </a:gs>
                </a:gsLst>
                <a:lin ang="5400000" scaled="0"/>
              </a:gradFill>
            </a:endParaRPr>
          </a:p>
        </p:txBody>
      </p:sp>
      <p:sp>
        <p:nvSpPr>
          <p:cNvPr id="7" name="Rectangle 6"/>
          <p:cNvSpPr/>
          <p:nvPr/>
        </p:nvSpPr>
        <p:spPr bwMode="auto">
          <a:xfrm>
            <a:off x="2062089" y="5080414"/>
            <a:ext cx="4213201" cy="1523922"/>
          </a:xfrm>
          <a:prstGeom prst="rect">
            <a:avLst/>
          </a:prstGeom>
          <a:no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Experience 1</a:t>
            </a:r>
          </a:p>
          <a:p>
            <a:pPr indent="-169599" defTabSz="897084" fontAlgn="base">
              <a:lnSpc>
                <a:spcPct val="90000"/>
              </a:lnSpc>
              <a:spcBef>
                <a:spcPct val="0"/>
              </a:spcBef>
              <a:spcAft>
                <a:spcPct val="0"/>
              </a:spcAft>
            </a:pPr>
            <a:r>
              <a:rPr lang="en-US" sz="2800" kern="0" spc="-49" dirty="0" smtClean="0">
                <a:gradFill>
                  <a:gsLst>
                    <a:gs pos="93805">
                      <a:srgbClr val="191919"/>
                    </a:gs>
                    <a:gs pos="84071">
                      <a:srgbClr val="191919"/>
                    </a:gs>
                  </a:gsLst>
                  <a:lin ang="5400000" scaled="0"/>
                </a:gradFill>
                <a:latin typeface="Segoe UI Light"/>
              </a:rPr>
              <a:t>Cloud and datacenter infrastructure</a:t>
            </a:r>
          </a:p>
        </p:txBody>
      </p:sp>
      <p:sp>
        <p:nvSpPr>
          <p:cNvPr id="8" name="Rectangle 7"/>
          <p:cNvSpPr/>
          <p:nvPr/>
        </p:nvSpPr>
        <p:spPr bwMode="auto">
          <a:xfrm>
            <a:off x="2062090" y="3454320"/>
            <a:ext cx="4302842" cy="1523922"/>
          </a:xfrm>
          <a:prstGeom prst="rect">
            <a:avLst/>
          </a:prstGeom>
          <a:no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Experience 2</a:t>
            </a:r>
          </a:p>
          <a:p>
            <a:pPr indent="-169599" defTabSz="897084" fontAlgn="base">
              <a:lnSpc>
                <a:spcPct val="90000"/>
              </a:lnSpc>
              <a:spcBef>
                <a:spcPct val="0"/>
              </a:spcBef>
              <a:spcAft>
                <a:spcPct val="0"/>
              </a:spcAft>
            </a:pPr>
            <a:r>
              <a:rPr lang="en-US" sz="2800" kern="0" spc="-49" dirty="0" smtClean="0">
                <a:gradFill>
                  <a:gsLst>
                    <a:gs pos="93805">
                      <a:srgbClr val="191919"/>
                    </a:gs>
                    <a:gs pos="84071">
                      <a:srgbClr val="191919"/>
                    </a:gs>
                  </a:gsLst>
                  <a:lin ang="5400000" scaled="0"/>
                </a:gradFill>
                <a:latin typeface="Segoe UI Light"/>
              </a:rPr>
              <a:t>Service delivery</a:t>
            </a:r>
          </a:p>
        </p:txBody>
      </p:sp>
      <p:sp>
        <p:nvSpPr>
          <p:cNvPr id="9" name="Rectangle 8"/>
          <p:cNvSpPr/>
          <p:nvPr/>
        </p:nvSpPr>
        <p:spPr bwMode="auto">
          <a:xfrm>
            <a:off x="2062090" y="1828227"/>
            <a:ext cx="4213201" cy="1523922"/>
          </a:xfrm>
          <a:prstGeom prst="rect">
            <a:avLst/>
          </a:prstGeom>
          <a:no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Experience 3</a:t>
            </a:r>
          </a:p>
          <a:p>
            <a:pPr indent="-169599" defTabSz="897084" fontAlgn="base">
              <a:lnSpc>
                <a:spcPct val="90000"/>
              </a:lnSpc>
              <a:spcBef>
                <a:spcPct val="0"/>
              </a:spcBef>
              <a:spcAft>
                <a:spcPct val="0"/>
              </a:spcAft>
            </a:pPr>
            <a:r>
              <a:rPr lang="en-US" sz="2549" kern="0" spc="-49" dirty="0" smtClean="0">
                <a:gradFill>
                  <a:gsLst>
                    <a:gs pos="93805">
                      <a:srgbClr val="191919"/>
                    </a:gs>
                    <a:gs pos="84071">
                      <a:srgbClr val="191919"/>
                    </a:gs>
                  </a:gsLst>
                  <a:lin ang="5400000" scaled="0"/>
                </a:gradFill>
                <a:latin typeface="Segoe UI Light"/>
              </a:rPr>
              <a:t>IT management</a:t>
            </a:r>
            <a:endParaRPr lang="en-US" sz="1961" kern="0" spc="-49" dirty="0">
              <a:gradFill>
                <a:gsLst>
                  <a:gs pos="93805">
                    <a:srgbClr val="191919"/>
                  </a:gs>
                  <a:gs pos="84071">
                    <a:srgbClr val="191919"/>
                  </a:gs>
                </a:gsLst>
                <a:lin ang="5400000" scaled="0"/>
              </a:gradFill>
              <a:latin typeface="Segoe UI Light"/>
            </a:endParaRPr>
          </a:p>
        </p:txBody>
      </p:sp>
      <p:sp>
        <p:nvSpPr>
          <p:cNvPr id="10" name="Rectangle 9"/>
          <p:cNvSpPr/>
          <p:nvPr/>
        </p:nvSpPr>
        <p:spPr bwMode="auto">
          <a:xfrm>
            <a:off x="2062090" y="214009"/>
            <a:ext cx="4087498" cy="1523922"/>
          </a:xfrm>
          <a:prstGeom prst="rect">
            <a:avLst/>
          </a:prstGeom>
          <a:no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Experience 4</a:t>
            </a:r>
          </a:p>
          <a:p>
            <a:pPr indent="-169599" defTabSz="897084" fontAlgn="base">
              <a:lnSpc>
                <a:spcPct val="90000"/>
              </a:lnSpc>
              <a:spcBef>
                <a:spcPct val="0"/>
              </a:spcBef>
              <a:spcAft>
                <a:spcPct val="0"/>
              </a:spcAft>
            </a:pPr>
            <a:r>
              <a:rPr lang="en-US" sz="2549" kern="0" spc="-49" dirty="0" smtClean="0">
                <a:gradFill>
                  <a:gsLst>
                    <a:gs pos="93805">
                      <a:srgbClr val="191919"/>
                    </a:gs>
                    <a:gs pos="84071">
                      <a:srgbClr val="191919"/>
                    </a:gs>
                  </a:gsLst>
                  <a:lin ang="5400000" scaled="0"/>
                </a:gradFill>
                <a:latin typeface="Segoe UI Light"/>
              </a:rPr>
              <a:t>Data protection</a:t>
            </a:r>
            <a:endParaRPr lang="en-US" sz="1961" kern="0" spc="-49" dirty="0">
              <a:gradFill>
                <a:gsLst>
                  <a:gs pos="93805">
                    <a:srgbClr val="191919"/>
                  </a:gs>
                  <a:gs pos="84071">
                    <a:srgbClr val="191919"/>
                  </a:gs>
                </a:gsLst>
                <a:lin ang="5400000" scaled="0"/>
              </a:gradFill>
              <a:latin typeface="Segoe UI Light"/>
            </a:endParaRPr>
          </a:p>
        </p:txBody>
      </p:sp>
      <p:sp>
        <p:nvSpPr>
          <p:cNvPr id="11" name="Rectangle 10"/>
          <p:cNvSpPr/>
          <p:nvPr/>
        </p:nvSpPr>
        <p:spPr bwMode="auto">
          <a:xfrm>
            <a:off x="2" y="492"/>
            <a:ext cx="1972446" cy="6857026"/>
          </a:xfrm>
          <a:prstGeom prst="rect">
            <a:avLst/>
          </a:prstGeom>
          <a:solidFill>
            <a:srgbClr val="0066CC"/>
          </a:solidFill>
          <a:ln w="10795" cap="flat" cmpd="sng" algn="ctr">
            <a:noFill/>
            <a:prstDash val="solid"/>
            <a:headEnd type="none" w="med" len="med"/>
            <a:tailEnd type="none" w="med" len="med"/>
          </a:ln>
          <a:effectLst/>
        </p:spPr>
        <p:txBody>
          <a:bodyPr vert="vert270" wrap="square" lIns="358507" tIns="179253" rIns="179253" bIns="412284" numCol="1" rtlCol="0" anchor="ctr" anchorCtr="0" compatLnSpc="1">
            <a:prstTxWarp prst="textNoShape">
              <a:avLst/>
            </a:prstTxWarp>
          </a:bodyPr>
          <a:lstStyle/>
          <a:p>
            <a:pPr defTabSz="895253" fontAlgn="base">
              <a:lnSpc>
                <a:spcPct val="90000"/>
              </a:lnSpc>
              <a:spcBef>
                <a:spcPct val="0"/>
              </a:spcBef>
              <a:spcAft>
                <a:spcPts val="1176"/>
              </a:spcAft>
              <a:defRPr/>
            </a:pPr>
            <a:r>
              <a:rPr lang="en-US" sz="4313" kern="0" spc="-50" dirty="0">
                <a:gradFill>
                  <a:gsLst>
                    <a:gs pos="18692">
                      <a:srgbClr val="FFFFFF"/>
                    </a:gs>
                    <a:gs pos="52000">
                      <a:srgbClr val="FFFFFF"/>
                    </a:gs>
                  </a:gsLst>
                  <a:lin ang="5400000" scaled="1"/>
                </a:gradFill>
                <a:latin typeface="Segoe UI Light"/>
              </a:rPr>
              <a:t>Immersion</a:t>
            </a:r>
            <a:r>
              <a:rPr lang="en-US" sz="3137" kern="0" spc="-50" dirty="0">
                <a:gradFill>
                  <a:gsLst>
                    <a:gs pos="18692">
                      <a:srgbClr val="FFFFFF"/>
                    </a:gs>
                    <a:gs pos="52000">
                      <a:srgbClr val="FFFFFF"/>
                    </a:gs>
                  </a:gsLst>
                  <a:lin ang="5400000" scaled="1"/>
                </a:gradFill>
                <a:latin typeface="Segoe UI Light"/>
              </a:rPr>
              <a:t> </a:t>
            </a:r>
            <a:r>
              <a:rPr lang="en-US" sz="4313" kern="0" spc="-50" dirty="0">
                <a:gradFill>
                  <a:gsLst>
                    <a:gs pos="18692">
                      <a:srgbClr val="FFFFFF"/>
                    </a:gs>
                    <a:gs pos="52000">
                      <a:srgbClr val="FFFFFF"/>
                    </a:gs>
                  </a:gsLst>
                  <a:lin ang="5400000" scaled="1"/>
                </a:gradFill>
                <a:latin typeface="Segoe UI Light"/>
              </a:rPr>
              <a:t>Experience</a:t>
            </a:r>
          </a:p>
          <a:p>
            <a:pPr defTabSz="895253" fontAlgn="base">
              <a:lnSpc>
                <a:spcPct val="90000"/>
              </a:lnSpc>
              <a:spcBef>
                <a:spcPct val="0"/>
              </a:spcBef>
              <a:spcAft>
                <a:spcPct val="0"/>
              </a:spcAft>
              <a:defRPr/>
            </a:pPr>
            <a:r>
              <a:rPr lang="en-US" sz="2745" kern="0" spc="-50" dirty="0">
                <a:gradFill>
                  <a:gsLst>
                    <a:gs pos="18692">
                      <a:srgbClr val="FFFFFF"/>
                    </a:gs>
                    <a:gs pos="52000">
                      <a:srgbClr val="FFFFFF"/>
                    </a:gs>
                  </a:gsLst>
                  <a:lin ang="5400000" scaled="1"/>
                </a:gradFill>
                <a:latin typeface="Segoe UI Light"/>
              </a:rPr>
              <a:t>Transforming the Datacenter </a:t>
            </a:r>
            <a:r>
              <a:rPr lang="en-US" sz="2745" kern="0" spc="-50" dirty="0" smtClean="0">
                <a:gradFill>
                  <a:gsLst>
                    <a:gs pos="18692">
                      <a:srgbClr val="FFFFFF"/>
                    </a:gs>
                    <a:gs pos="52000">
                      <a:srgbClr val="FFFFFF"/>
                    </a:gs>
                  </a:gsLst>
                  <a:lin ang="5400000" scaled="1"/>
                </a:gradFill>
                <a:latin typeface="Segoe UI Light"/>
              </a:rPr>
              <a:t>V3.3</a:t>
            </a:r>
            <a:endParaRPr lang="en-US" sz="2745" kern="0" spc="-50" dirty="0">
              <a:gradFill>
                <a:gsLst>
                  <a:gs pos="18692">
                    <a:srgbClr val="FFFFFF"/>
                  </a:gs>
                  <a:gs pos="52000">
                    <a:srgbClr val="FFFFFF"/>
                  </a:gs>
                </a:gsLst>
                <a:lin ang="5400000" scaled="1"/>
              </a:gradFill>
              <a:latin typeface="Segoe UI Light"/>
            </a:endParaRPr>
          </a:p>
        </p:txBody>
      </p:sp>
      <p:sp>
        <p:nvSpPr>
          <p:cNvPr id="12" name="Rectangle 11"/>
          <p:cNvSpPr/>
          <p:nvPr/>
        </p:nvSpPr>
        <p:spPr bwMode="auto">
          <a:xfrm>
            <a:off x="6019902" y="5177612"/>
            <a:ext cx="3017520" cy="1371600"/>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95253" fontAlgn="base">
              <a:lnSpc>
                <a:spcPct val="90000"/>
              </a:lnSpc>
              <a:spcBef>
                <a:spcPct val="0"/>
              </a:spcBef>
              <a:spcAft>
                <a:spcPct val="0"/>
              </a:spcAft>
              <a:defRPr/>
            </a:pPr>
            <a:r>
              <a:rPr lang="en-US" sz="1568" b="1" kern="0" dirty="0">
                <a:gradFill>
                  <a:gsLst>
                    <a:gs pos="83178">
                      <a:srgbClr val="505050"/>
                    </a:gs>
                    <a:gs pos="45000">
                      <a:srgbClr val="505050"/>
                    </a:gs>
                  </a:gsLst>
                  <a:lin ang="5400000" scaled="0"/>
                </a:gradFill>
              </a:rPr>
              <a:t>A. Transformed infrastructure design</a:t>
            </a:r>
          </a:p>
          <a:p>
            <a:pPr defTabSz="895253" fontAlgn="base">
              <a:lnSpc>
                <a:spcPct val="90000"/>
              </a:lnSpc>
              <a:spcBef>
                <a:spcPts val="300"/>
              </a:spcBef>
              <a:spcAft>
                <a:spcPct val="0"/>
              </a:spcAft>
            </a:pPr>
            <a:r>
              <a:rPr lang="en-US" sz="1372" kern="0" dirty="0">
                <a:gradFill>
                  <a:gsLst>
                    <a:gs pos="83178">
                      <a:srgbClr val="505050"/>
                    </a:gs>
                    <a:gs pos="45000">
                      <a:srgbClr val="505050"/>
                    </a:gs>
                  </a:gsLst>
                  <a:lin ang="5400000" scaled="0"/>
                </a:gradFill>
              </a:rPr>
              <a:t>Set up software defined compute, storage and networking for </a:t>
            </a:r>
            <a:r>
              <a:rPr lang="en-US" sz="1372" kern="0" dirty="0" smtClean="0">
                <a:gradFill>
                  <a:gsLst>
                    <a:gs pos="83178">
                      <a:srgbClr val="505050"/>
                    </a:gs>
                    <a:gs pos="45000">
                      <a:srgbClr val="505050"/>
                    </a:gs>
                  </a:gsLst>
                  <a:lin ang="5400000" scaled="0"/>
                </a:gradFill>
              </a:rPr>
              <a:t>private </a:t>
            </a:r>
            <a:r>
              <a:rPr lang="en-US" sz="1372" kern="0" dirty="0">
                <a:gradFill>
                  <a:gsLst>
                    <a:gs pos="83178">
                      <a:srgbClr val="505050"/>
                    </a:gs>
                    <a:gs pos="45000">
                      <a:srgbClr val="505050"/>
                    </a:gs>
                  </a:gsLst>
                  <a:lin ang="5400000" scaled="0"/>
                </a:gradFill>
              </a:rPr>
              <a:t>and public cloud consumption</a:t>
            </a:r>
          </a:p>
        </p:txBody>
      </p:sp>
      <p:sp>
        <p:nvSpPr>
          <p:cNvPr id="13" name="Rectangle 12"/>
          <p:cNvSpPr/>
          <p:nvPr/>
        </p:nvSpPr>
        <p:spPr bwMode="auto">
          <a:xfrm>
            <a:off x="9091527" y="5177612"/>
            <a:ext cx="3017520" cy="1371600"/>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95253" fontAlgn="base">
              <a:lnSpc>
                <a:spcPct val="90000"/>
              </a:lnSpc>
              <a:spcBef>
                <a:spcPct val="0"/>
              </a:spcBef>
              <a:spcAft>
                <a:spcPct val="0"/>
              </a:spcAft>
              <a:defRPr/>
            </a:pPr>
            <a:r>
              <a:rPr lang="en-US" sz="1568" b="1" kern="0" dirty="0">
                <a:gradFill>
                  <a:gsLst>
                    <a:gs pos="83178">
                      <a:srgbClr val="505050"/>
                    </a:gs>
                    <a:gs pos="45000">
                      <a:srgbClr val="505050"/>
                    </a:gs>
                  </a:gsLst>
                  <a:lin ang="5400000" scaled="0"/>
                </a:gradFill>
              </a:rPr>
              <a:t>B. VMs, clouds, </a:t>
            </a:r>
            <a:br>
              <a:rPr lang="en-US" sz="1568" b="1" kern="0" dirty="0">
                <a:gradFill>
                  <a:gsLst>
                    <a:gs pos="83178">
                      <a:srgbClr val="505050"/>
                    </a:gs>
                    <a:gs pos="45000">
                      <a:srgbClr val="505050"/>
                    </a:gs>
                  </a:gsLst>
                  <a:lin ang="5400000" scaled="0"/>
                </a:gradFill>
              </a:rPr>
            </a:br>
            <a:r>
              <a:rPr lang="en-US" sz="1568" b="1" kern="0" dirty="0">
                <a:gradFill>
                  <a:gsLst>
                    <a:gs pos="83178">
                      <a:srgbClr val="505050"/>
                    </a:gs>
                    <a:gs pos="45000">
                      <a:srgbClr val="505050"/>
                    </a:gs>
                  </a:gsLst>
                  <a:lin ang="5400000" scaled="0"/>
                </a:gradFill>
              </a:rPr>
              <a:t>and services</a:t>
            </a:r>
          </a:p>
          <a:p>
            <a:pPr defTabSz="895253" fontAlgn="base">
              <a:lnSpc>
                <a:spcPct val="90000"/>
              </a:lnSpc>
              <a:spcBef>
                <a:spcPts val="300"/>
              </a:spcBef>
              <a:spcAft>
                <a:spcPct val="0"/>
              </a:spcAft>
            </a:pPr>
            <a:r>
              <a:rPr lang="en-US" sz="1372" kern="0" dirty="0">
                <a:gradFill>
                  <a:gsLst>
                    <a:gs pos="83178">
                      <a:srgbClr val="505050"/>
                    </a:gs>
                    <a:gs pos="45000">
                      <a:srgbClr val="505050"/>
                    </a:gs>
                  </a:gsLst>
                  <a:lin ang="5400000" scaled="0"/>
                </a:gradFill>
              </a:rPr>
              <a:t>Ensuring VM adaptability across environments</a:t>
            </a:r>
          </a:p>
        </p:txBody>
      </p:sp>
      <p:sp>
        <p:nvSpPr>
          <p:cNvPr id="14" name="Rectangle 13"/>
          <p:cNvSpPr/>
          <p:nvPr/>
        </p:nvSpPr>
        <p:spPr bwMode="auto">
          <a:xfrm>
            <a:off x="6019902" y="3543961"/>
            <a:ext cx="3017520" cy="1371600"/>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95253" fontAlgn="base">
              <a:lnSpc>
                <a:spcPct val="90000"/>
              </a:lnSpc>
              <a:spcBef>
                <a:spcPct val="0"/>
              </a:spcBef>
              <a:spcAft>
                <a:spcPct val="0"/>
              </a:spcAft>
              <a:defRPr/>
            </a:pPr>
            <a:r>
              <a:rPr lang="en-US" sz="1568" b="1" kern="0" dirty="0">
                <a:gradFill>
                  <a:gsLst>
                    <a:gs pos="83178">
                      <a:srgbClr val="505050"/>
                    </a:gs>
                    <a:gs pos="45000">
                      <a:srgbClr val="505050"/>
                    </a:gs>
                  </a:gsLst>
                  <a:lin ang="5400000" scaled="0"/>
                </a:gradFill>
              </a:rPr>
              <a:t>A. Self-service</a:t>
            </a:r>
          </a:p>
          <a:p>
            <a:pPr defTabSz="895253" fontAlgn="base">
              <a:lnSpc>
                <a:spcPct val="90000"/>
              </a:lnSpc>
              <a:spcBef>
                <a:spcPts val="300"/>
              </a:spcBef>
              <a:spcAft>
                <a:spcPct val="0"/>
              </a:spcAft>
              <a:defRPr/>
            </a:pPr>
            <a:r>
              <a:rPr lang="en-US" sz="1372" kern="0" dirty="0">
                <a:gradFill>
                  <a:gsLst>
                    <a:gs pos="83178">
                      <a:srgbClr val="505050"/>
                    </a:gs>
                    <a:gs pos="45000">
                      <a:srgbClr val="505050"/>
                    </a:gs>
                  </a:gsLst>
                  <a:lin ang="5400000" scaled="0"/>
                </a:gradFill>
              </a:rPr>
              <a:t>Deliver Azure-like IaaS and PaaS services from your datacenter</a:t>
            </a:r>
          </a:p>
        </p:txBody>
      </p:sp>
      <p:sp>
        <p:nvSpPr>
          <p:cNvPr id="15" name="Rectangle 14"/>
          <p:cNvSpPr/>
          <p:nvPr/>
        </p:nvSpPr>
        <p:spPr bwMode="auto">
          <a:xfrm>
            <a:off x="9096346" y="3543961"/>
            <a:ext cx="3017520" cy="1371600"/>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95253" fontAlgn="base">
              <a:lnSpc>
                <a:spcPct val="90000"/>
              </a:lnSpc>
              <a:spcBef>
                <a:spcPct val="0"/>
              </a:spcBef>
              <a:spcAft>
                <a:spcPct val="0"/>
              </a:spcAft>
              <a:defRPr/>
            </a:pPr>
            <a:r>
              <a:rPr lang="en-US" sz="1568" b="1" kern="0" dirty="0">
                <a:gradFill>
                  <a:gsLst>
                    <a:gs pos="83178">
                      <a:srgbClr val="505050"/>
                    </a:gs>
                    <a:gs pos="45000">
                      <a:srgbClr val="505050"/>
                    </a:gs>
                  </a:gsLst>
                  <a:lin ang="5400000" scaled="0"/>
                </a:gradFill>
              </a:rPr>
              <a:t>B. Automation </a:t>
            </a:r>
          </a:p>
          <a:p>
            <a:pPr defTabSz="895253" fontAlgn="base">
              <a:lnSpc>
                <a:spcPct val="90000"/>
              </a:lnSpc>
              <a:spcBef>
                <a:spcPts val="300"/>
              </a:spcBef>
              <a:spcAft>
                <a:spcPct val="0"/>
              </a:spcAft>
              <a:defRPr/>
            </a:pPr>
            <a:r>
              <a:rPr lang="en-US" sz="1372" kern="0" dirty="0">
                <a:gradFill>
                  <a:gsLst>
                    <a:gs pos="83178">
                      <a:srgbClr val="505050"/>
                    </a:gs>
                    <a:gs pos="45000">
                      <a:srgbClr val="505050"/>
                    </a:gs>
                  </a:gsLst>
                  <a:lin ang="5400000" scaled="0"/>
                </a:gradFill>
              </a:rPr>
              <a:t>Provides a consistent approach to management across clouds with workflow automation </a:t>
            </a:r>
          </a:p>
        </p:txBody>
      </p:sp>
      <p:sp>
        <p:nvSpPr>
          <p:cNvPr id="16" name="Rectangle 15"/>
          <p:cNvSpPr/>
          <p:nvPr/>
        </p:nvSpPr>
        <p:spPr bwMode="auto">
          <a:xfrm>
            <a:off x="6019902" y="1917868"/>
            <a:ext cx="3017520" cy="1371600"/>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95253" fontAlgn="base">
              <a:lnSpc>
                <a:spcPct val="90000"/>
              </a:lnSpc>
              <a:spcBef>
                <a:spcPct val="0"/>
              </a:spcBef>
              <a:spcAft>
                <a:spcPct val="0"/>
              </a:spcAft>
              <a:defRPr/>
            </a:pPr>
            <a:r>
              <a:rPr lang="en-US" sz="1568" b="1" kern="0" dirty="0">
                <a:gradFill>
                  <a:gsLst>
                    <a:gs pos="83178">
                      <a:srgbClr val="505050"/>
                    </a:gs>
                    <a:gs pos="45000">
                      <a:srgbClr val="505050"/>
                    </a:gs>
                  </a:gsLst>
                  <a:lin ang="5400000" scaled="0"/>
                </a:gradFill>
              </a:rPr>
              <a:t>A. </a:t>
            </a:r>
            <a:r>
              <a:rPr lang="en-US" sz="1568" b="1" kern="0" dirty="0" smtClean="0">
                <a:gradFill>
                  <a:gsLst>
                    <a:gs pos="83178">
                      <a:srgbClr val="505050"/>
                    </a:gs>
                    <a:gs pos="45000">
                      <a:srgbClr val="505050"/>
                    </a:gs>
                  </a:gsLst>
                  <a:lin ang="5400000" scaled="0"/>
                </a:gradFill>
              </a:rPr>
              <a:t>App Insights</a:t>
            </a:r>
            <a:endParaRPr lang="en-US" sz="1568" b="1" kern="0" dirty="0">
              <a:gradFill>
                <a:gsLst>
                  <a:gs pos="83178">
                    <a:srgbClr val="505050"/>
                  </a:gs>
                  <a:gs pos="45000">
                    <a:srgbClr val="505050"/>
                  </a:gs>
                </a:gsLst>
                <a:lin ang="5400000" scaled="0"/>
              </a:gradFill>
            </a:endParaRPr>
          </a:p>
          <a:p>
            <a:pPr defTabSz="895253" fontAlgn="base">
              <a:lnSpc>
                <a:spcPct val="90000"/>
              </a:lnSpc>
              <a:spcBef>
                <a:spcPts val="300"/>
              </a:spcBef>
              <a:spcAft>
                <a:spcPct val="0"/>
              </a:spcAft>
              <a:defRPr/>
            </a:pPr>
            <a:r>
              <a:rPr lang="en-US" sz="1372" kern="0" dirty="0">
                <a:gradFill>
                  <a:gsLst>
                    <a:gs pos="83178">
                      <a:srgbClr val="505050"/>
                    </a:gs>
                    <a:gs pos="45000">
                      <a:srgbClr val="505050"/>
                    </a:gs>
                  </a:gsLst>
                  <a:lin ang="5400000" scaled="0"/>
                </a:gradFill>
              </a:rPr>
              <a:t>Ensure application health regardless of their location</a:t>
            </a:r>
          </a:p>
        </p:txBody>
      </p:sp>
      <p:sp>
        <p:nvSpPr>
          <p:cNvPr id="17" name="Rectangle 16"/>
          <p:cNvSpPr/>
          <p:nvPr/>
        </p:nvSpPr>
        <p:spPr bwMode="auto">
          <a:xfrm>
            <a:off x="9091527" y="1917868"/>
            <a:ext cx="3017520" cy="1371600"/>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95253" fontAlgn="base">
              <a:lnSpc>
                <a:spcPct val="90000"/>
              </a:lnSpc>
              <a:spcBef>
                <a:spcPct val="0"/>
              </a:spcBef>
              <a:spcAft>
                <a:spcPct val="0"/>
              </a:spcAft>
              <a:defRPr/>
            </a:pPr>
            <a:r>
              <a:rPr lang="en-US" sz="1568" b="1" kern="0" dirty="0">
                <a:gradFill>
                  <a:gsLst>
                    <a:gs pos="83178">
                      <a:srgbClr val="505050"/>
                    </a:gs>
                    <a:gs pos="45000">
                      <a:srgbClr val="505050"/>
                    </a:gs>
                  </a:gsLst>
                  <a:lin ang="5400000" scaled="0"/>
                </a:gradFill>
              </a:rPr>
              <a:t>B. </a:t>
            </a:r>
            <a:r>
              <a:rPr lang="en-US" sz="1568" b="1" kern="0" dirty="0" smtClean="0">
                <a:gradFill>
                  <a:gsLst>
                    <a:gs pos="83178">
                      <a:srgbClr val="505050"/>
                    </a:gs>
                    <a:gs pos="45000">
                      <a:srgbClr val="505050"/>
                    </a:gs>
                  </a:gsLst>
                  <a:lin ang="5400000" scaled="0"/>
                </a:gradFill>
              </a:rPr>
              <a:t>Log Analytics</a:t>
            </a:r>
            <a:endParaRPr lang="en-US" sz="1568" b="1" kern="0" dirty="0">
              <a:gradFill>
                <a:gsLst>
                  <a:gs pos="83178">
                    <a:srgbClr val="505050"/>
                  </a:gs>
                  <a:gs pos="45000">
                    <a:srgbClr val="505050"/>
                  </a:gs>
                </a:gsLst>
                <a:lin ang="5400000" scaled="0"/>
              </a:gradFill>
            </a:endParaRPr>
          </a:p>
          <a:p>
            <a:pPr defTabSz="895253" fontAlgn="base">
              <a:lnSpc>
                <a:spcPct val="90000"/>
              </a:lnSpc>
              <a:spcBef>
                <a:spcPts val="300"/>
              </a:spcBef>
              <a:spcAft>
                <a:spcPct val="0"/>
              </a:spcAft>
              <a:defRPr/>
            </a:pPr>
            <a:r>
              <a:rPr lang="en-US" sz="1372" kern="0" dirty="0">
                <a:gradFill>
                  <a:gsLst>
                    <a:gs pos="83178">
                      <a:srgbClr val="505050"/>
                    </a:gs>
                    <a:gs pos="45000">
                      <a:srgbClr val="505050"/>
                    </a:gs>
                  </a:gsLst>
                  <a:lin ang="5400000" scaled="0"/>
                </a:gradFill>
              </a:rPr>
              <a:t>Gain operational insight on workload and infrastructure across any OS and any Cloud</a:t>
            </a:r>
          </a:p>
        </p:txBody>
      </p:sp>
      <p:sp>
        <p:nvSpPr>
          <p:cNvPr id="18" name="Rectangle 17"/>
          <p:cNvSpPr/>
          <p:nvPr/>
        </p:nvSpPr>
        <p:spPr bwMode="auto">
          <a:xfrm>
            <a:off x="6019902" y="303650"/>
            <a:ext cx="3017520" cy="1371600"/>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95253" fontAlgn="base">
              <a:lnSpc>
                <a:spcPct val="90000"/>
              </a:lnSpc>
              <a:spcBef>
                <a:spcPct val="0"/>
              </a:spcBef>
              <a:spcAft>
                <a:spcPct val="0"/>
              </a:spcAft>
              <a:defRPr/>
            </a:pPr>
            <a:r>
              <a:rPr lang="en-US" sz="1568" b="1" kern="0" dirty="0">
                <a:gradFill>
                  <a:gsLst>
                    <a:gs pos="83178">
                      <a:srgbClr val="505050"/>
                    </a:gs>
                    <a:gs pos="45000">
                      <a:srgbClr val="505050"/>
                    </a:gs>
                  </a:gsLst>
                  <a:lin ang="5400000" scaled="0"/>
                </a:gradFill>
              </a:rPr>
              <a:t>A. </a:t>
            </a:r>
            <a:r>
              <a:rPr lang="en-US" sz="1568" b="1" kern="0" dirty="0" smtClean="0">
                <a:gradFill>
                  <a:gsLst>
                    <a:gs pos="83178">
                      <a:srgbClr val="505050"/>
                    </a:gs>
                    <a:gs pos="45000">
                      <a:srgbClr val="505050"/>
                    </a:gs>
                  </a:gsLst>
                  <a:lin ang="5400000" scaled="0"/>
                </a:gradFill>
              </a:rPr>
              <a:t>High availability and disaster recovery</a:t>
            </a:r>
            <a:endParaRPr lang="en-US" sz="1568" b="1" kern="0" dirty="0">
              <a:gradFill>
                <a:gsLst>
                  <a:gs pos="83178">
                    <a:srgbClr val="505050"/>
                  </a:gs>
                  <a:gs pos="45000">
                    <a:srgbClr val="505050"/>
                  </a:gs>
                </a:gsLst>
                <a:lin ang="5400000" scaled="0"/>
              </a:gradFill>
            </a:endParaRPr>
          </a:p>
          <a:p>
            <a:pPr defTabSz="895253" fontAlgn="base">
              <a:lnSpc>
                <a:spcPct val="90000"/>
              </a:lnSpc>
              <a:spcBef>
                <a:spcPts val="300"/>
              </a:spcBef>
              <a:spcAft>
                <a:spcPct val="0"/>
              </a:spcAft>
              <a:defRPr/>
            </a:pPr>
            <a:r>
              <a:rPr lang="en-US" sz="1372" kern="0" dirty="0">
                <a:gradFill>
                  <a:gsLst>
                    <a:gs pos="83178">
                      <a:srgbClr val="505050"/>
                    </a:gs>
                    <a:gs pos="45000">
                      <a:srgbClr val="505050"/>
                    </a:gs>
                  </a:gsLst>
                  <a:lin ang="5400000" scaled="0"/>
                </a:gradFill>
              </a:rPr>
              <a:t>Protect your applications and extend your </a:t>
            </a:r>
            <a:r>
              <a:rPr lang="en-US" sz="1372" kern="0" dirty="0" smtClean="0">
                <a:gradFill>
                  <a:gsLst>
                    <a:gs pos="83178">
                      <a:srgbClr val="505050"/>
                    </a:gs>
                    <a:gs pos="45000">
                      <a:srgbClr val="505050"/>
                    </a:gs>
                  </a:gsLst>
                  <a:lin ang="5400000" scaled="0"/>
                </a:gradFill>
              </a:rPr>
              <a:t>datacenter</a:t>
            </a:r>
            <a:endParaRPr lang="en-US" sz="1372" kern="0" dirty="0">
              <a:gradFill>
                <a:gsLst>
                  <a:gs pos="83178">
                    <a:srgbClr val="505050"/>
                  </a:gs>
                  <a:gs pos="45000">
                    <a:srgbClr val="505050"/>
                  </a:gs>
                </a:gsLst>
                <a:lin ang="5400000" scaled="0"/>
              </a:gradFill>
            </a:endParaRPr>
          </a:p>
        </p:txBody>
      </p:sp>
      <p:sp>
        <p:nvSpPr>
          <p:cNvPr id="19" name="Rectangle 18"/>
          <p:cNvSpPr/>
          <p:nvPr/>
        </p:nvSpPr>
        <p:spPr bwMode="auto">
          <a:xfrm>
            <a:off x="9091527" y="303650"/>
            <a:ext cx="3017520" cy="1371600"/>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95253" fontAlgn="base">
              <a:lnSpc>
                <a:spcPct val="90000"/>
              </a:lnSpc>
              <a:spcBef>
                <a:spcPct val="0"/>
              </a:spcBef>
              <a:spcAft>
                <a:spcPct val="0"/>
              </a:spcAft>
              <a:defRPr/>
            </a:pPr>
            <a:r>
              <a:rPr lang="en-US" sz="1568" b="1" kern="0" dirty="0">
                <a:gradFill>
                  <a:gsLst>
                    <a:gs pos="83178">
                      <a:srgbClr val="505050"/>
                    </a:gs>
                    <a:gs pos="45000">
                      <a:srgbClr val="505050"/>
                    </a:gs>
                  </a:gsLst>
                  <a:lin ang="5400000" scaled="0"/>
                </a:gradFill>
              </a:rPr>
              <a:t>B. </a:t>
            </a:r>
            <a:r>
              <a:rPr lang="en-US" sz="1568" b="1" kern="0" dirty="0" smtClean="0">
                <a:gradFill>
                  <a:gsLst>
                    <a:gs pos="83178">
                      <a:srgbClr val="505050"/>
                    </a:gs>
                    <a:gs pos="45000">
                      <a:srgbClr val="505050"/>
                    </a:gs>
                  </a:gsLst>
                  <a:lin ang="5400000" scaled="0"/>
                </a:gradFill>
              </a:rPr>
              <a:t>Bottomless storage</a:t>
            </a:r>
            <a:endParaRPr lang="en-US" sz="1568" b="1" kern="0" dirty="0">
              <a:gradFill>
                <a:gsLst>
                  <a:gs pos="83178">
                    <a:srgbClr val="505050"/>
                  </a:gs>
                  <a:gs pos="45000">
                    <a:srgbClr val="505050"/>
                  </a:gs>
                </a:gsLst>
                <a:lin ang="5400000" scaled="0"/>
              </a:gradFill>
            </a:endParaRPr>
          </a:p>
          <a:p>
            <a:pPr defTabSz="895253" fontAlgn="base">
              <a:lnSpc>
                <a:spcPct val="90000"/>
              </a:lnSpc>
              <a:spcBef>
                <a:spcPts val="300"/>
              </a:spcBef>
              <a:spcAft>
                <a:spcPct val="0"/>
              </a:spcAft>
              <a:defRPr/>
            </a:pPr>
            <a:r>
              <a:rPr lang="en-US" sz="1372" kern="0" dirty="0">
                <a:gradFill>
                  <a:gsLst>
                    <a:gs pos="83178">
                      <a:srgbClr val="505050"/>
                    </a:gs>
                    <a:gs pos="45000">
                      <a:srgbClr val="505050"/>
                    </a:gs>
                  </a:gsLst>
                  <a:lin ang="5400000" scaled="0"/>
                </a:gradFill>
              </a:rPr>
              <a:t>Ensure data accessibility regardless of failure</a:t>
            </a:r>
          </a:p>
        </p:txBody>
      </p:sp>
    </p:spTree>
    <p:extLst>
      <p:ext uri="{BB962C8B-B14F-4D97-AF65-F5344CB8AC3E}">
        <p14:creationId xmlns:p14="http://schemas.microsoft.com/office/powerpoint/2010/main" val="18184175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75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600" fill="hold"/>
                                        <p:tgtEl>
                                          <p:spTgt spid="11"/>
                                        </p:tgtEl>
                                        <p:attrNameLst>
                                          <p:attrName>ppt_x</p:attrName>
                                        </p:attrNameLst>
                                      </p:cBhvr>
                                      <p:tavLst>
                                        <p:tav tm="0">
                                          <p:val>
                                            <p:strVal val="0-#ppt_w/2"/>
                                          </p:val>
                                        </p:tav>
                                        <p:tav tm="100000">
                                          <p:val>
                                            <p:strVal val="#ppt_x"/>
                                          </p:val>
                                        </p:tav>
                                      </p:tavLst>
                                    </p:anim>
                                    <p:anim calcmode="lin" valueType="num">
                                      <p:cBhvr additive="base">
                                        <p:cTn id="8" dur="6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17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600" fill="hold"/>
                                        <p:tgtEl>
                                          <p:spTgt spid="12"/>
                                        </p:tgtEl>
                                        <p:attrNameLst>
                                          <p:attrName>ppt_x</p:attrName>
                                        </p:attrNameLst>
                                      </p:cBhvr>
                                      <p:tavLst>
                                        <p:tav tm="0">
                                          <p:val>
                                            <p:strVal val="1+#ppt_w/2"/>
                                          </p:val>
                                        </p:tav>
                                        <p:tav tm="100000">
                                          <p:val>
                                            <p:strVal val="#ppt_x"/>
                                          </p:val>
                                        </p:tav>
                                      </p:tavLst>
                                    </p:anim>
                                    <p:anim calcmode="lin" valueType="num">
                                      <p:cBhvr additive="base">
                                        <p:cTn id="12" dur="6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19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1+#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18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600" fill="hold"/>
                                        <p:tgtEl>
                                          <p:spTgt spid="14"/>
                                        </p:tgtEl>
                                        <p:attrNameLst>
                                          <p:attrName>ppt_x</p:attrName>
                                        </p:attrNameLst>
                                      </p:cBhvr>
                                      <p:tavLst>
                                        <p:tav tm="0">
                                          <p:val>
                                            <p:strVal val="1+#ppt_w/2"/>
                                          </p:val>
                                        </p:tav>
                                        <p:tav tm="100000">
                                          <p:val>
                                            <p:strVal val="#ppt_x"/>
                                          </p:val>
                                        </p:tav>
                                      </p:tavLst>
                                    </p:anim>
                                    <p:anim calcmode="lin" valueType="num">
                                      <p:cBhvr additive="base">
                                        <p:cTn id="20" dur="60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05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1+#ppt_w/2"/>
                                          </p:val>
                                        </p:tav>
                                        <p:tav tm="100000">
                                          <p:val>
                                            <p:strVal val="#ppt_x"/>
                                          </p:val>
                                        </p:tav>
                                      </p:tavLst>
                                    </p:anim>
                                    <p:anim calcmode="lin" valueType="num">
                                      <p:cBhvr additive="base">
                                        <p:cTn id="24" dur="500" fill="hold"/>
                                        <p:tgtEl>
                                          <p:spTgt spid="15"/>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195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600" fill="hold"/>
                                        <p:tgtEl>
                                          <p:spTgt spid="16"/>
                                        </p:tgtEl>
                                        <p:attrNameLst>
                                          <p:attrName>ppt_x</p:attrName>
                                        </p:attrNameLst>
                                      </p:cBhvr>
                                      <p:tavLst>
                                        <p:tav tm="0">
                                          <p:val>
                                            <p:strVal val="1+#ppt_w/2"/>
                                          </p:val>
                                        </p:tav>
                                        <p:tav tm="100000">
                                          <p:val>
                                            <p:strVal val="#ppt_x"/>
                                          </p:val>
                                        </p:tav>
                                      </p:tavLst>
                                    </p:anim>
                                    <p:anim calcmode="lin" valueType="num">
                                      <p:cBhvr additive="base">
                                        <p:cTn id="28" dur="60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215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500" fill="hold"/>
                                        <p:tgtEl>
                                          <p:spTgt spid="17"/>
                                        </p:tgtEl>
                                        <p:attrNameLst>
                                          <p:attrName>ppt_x</p:attrName>
                                        </p:attrNameLst>
                                      </p:cBhvr>
                                      <p:tavLst>
                                        <p:tav tm="0">
                                          <p:val>
                                            <p:strVal val="1+#ppt_w/2"/>
                                          </p:val>
                                        </p:tav>
                                        <p:tav tm="100000">
                                          <p:val>
                                            <p:strVal val="#ppt_x"/>
                                          </p:val>
                                        </p:tav>
                                      </p:tavLst>
                                    </p:anim>
                                    <p:anim calcmode="lin" valueType="num">
                                      <p:cBhvr additive="base">
                                        <p:cTn id="32" dur="500" fill="hold"/>
                                        <p:tgtEl>
                                          <p:spTgt spid="17"/>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205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600" fill="hold"/>
                                        <p:tgtEl>
                                          <p:spTgt spid="18"/>
                                        </p:tgtEl>
                                        <p:attrNameLst>
                                          <p:attrName>ppt_x</p:attrName>
                                        </p:attrNameLst>
                                      </p:cBhvr>
                                      <p:tavLst>
                                        <p:tav tm="0">
                                          <p:val>
                                            <p:strVal val="1+#ppt_w/2"/>
                                          </p:val>
                                        </p:tav>
                                        <p:tav tm="100000">
                                          <p:val>
                                            <p:strVal val="#ppt_x"/>
                                          </p:val>
                                        </p:tav>
                                      </p:tavLst>
                                    </p:anim>
                                    <p:anim calcmode="lin" valueType="num">
                                      <p:cBhvr additive="base">
                                        <p:cTn id="36" dur="600" fill="hold"/>
                                        <p:tgtEl>
                                          <p:spTgt spid="18"/>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2250"/>
                                  </p:stCondLst>
                                  <p:childTnLst>
                                    <p:set>
                                      <p:cBhvr>
                                        <p:cTn id="38" dur="1" fill="hold">
                                          <p:stCondLst>
                                            <p:cond delay="0"/>
                                          </p:stCondLst>
                                        </p:cTn>
                                        <p:tgtEl>
                                          <p:spTgt spid="19"/>
                                        </p:tgtEl>
                                        <p:attrNameLst>
                                          <p:attrName>style.visibility</p:attrName>
                                        </p:attrNameLst>
                                      </p:cBhvr>
                                      <p:to>
                                        <p:strVal val="visible"/>
                                      </p:to>
                                    </p:set>
                                    <p:anim calcmode="lin" valueType="num">
                                      <p:cBhvr additive="base">
                                        <p:cTn id="39" dur="500" fill="hold"/>
                                        <p:tgtEl>
                                          <p:spTgt spid="19"/>
                                        </p:tgtEl>
                                        <p:attrNameLst>
                                          <p:attrName>ppt_x</p:attrName>
                                        </p:attrNameLst>
                                      </p:cBhvr>
                                      <p:tavLst>
                                        <p:tav tm="0">
                                          <p:val>
                                            <p:strVal val="1+#ppt_w/2"/>
                                          </p:val>
                                        </p:tav>
                                        <p:tav tm="100000">
                                          <p:val>
                                            <p:strVal val="#ppt_x"/>
                                          </p:val>
                                        </p:tav>
                                      </p:tavLst>
                                    </p:anim>
                                    <p:anim calcmode="lin" valueType="num">
                                      <p:cBhvr additive="base">
                                        <p:cTn id="4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80435" y="4997289"/>
            <a:ext cx="5436383" cy="1523922"/>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kern="0" dirty="0">
              <a:gradFill>
                <a:gsLst>
                  <a:gs pos="84071">
                    <a:srgbClr val="191919"/>
                  </a:gs>
                  <a:gs pos="57000">
                    <a:srgbClr val="191919"/>
                  </a:gs>
                </a:gsLst>
                <a:lin ang="5400000" scaled="0"/>
              </a:gradFill>
            </a:endParaRPr>
          </a:p>
        </p:txBody>
      </p:sp>
      <p:sp>
        <p:nvSpPr>
          <p:cNvPr id="4" name="Rectangle 3"/>
          <p:cNvSpPr/>
          <p:nvPr/>
        </p:nvSpPr>
        <p:spPr bwMode="auto">
          <a:xfrm>
            <a:off x="880435" y="3430570"/>
            <a:ext cx="5436383" cy="1523922"/>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kern="0" dirty="0">
              <a:gradFill>
                <a:gsLst>
                  <a:gs pos="84071">
                    <a:srgbClr val="191919"/>
                  </a:gs>
                  <a:gs pos="57000">
                    <a:srgbClr val="191919"/>
                  </a:gs>
                </a:gsLst>
                <a:lin ang="5400000" scaled="0"/>
              </a:gradFill>
            </a:endParaRPr>
          </a:p>
        </p:txBody>
      </p:sp>
      <p:sp>
        <p:nvSpPr>
          <p:cNvPr id="5" name="Rectangle 4"/>
          <p:cNvSpPr/>
          <p:nvPr/>
        </p:nvSpPr>
        <p:spPr bwMode="auto">
          <a:xfrm>
            <a:off x="880435" y="1863852"/>
            <a:ext cx="5436383" cy="1523922"/>
          </a:xfrm>
          <a:prstGeom prst="rect">
            <a:avLst/>
          </a:prstGeom>
          <a:solidFill>
            <a:srgbClr val="F2F2F2"/>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kern="0" dirty="0">
              <a:gradFill>
                <a:gsLst>
                  <a:gs pos="84071">
                    <a:srgbClr val="191919"/>
                  </a:gs>
                  <a:gs pos="57000">
                    <a:srgbClr val="191919"/>
                  </a:gs>
                </a:gsLst>
                <a:lin ang="5400000" scaled="0"/>
              </a:gradFill>
            </a:endParaRPr>
          </a:p>
        </p:txBody>
      </p:sp>
      <p:sp>
        <p:nvSpPr>
          <p:cNvPr id="6" name="Rectangle 5"/>
          <p:cNvSpPr/>
          <p:nvPr/>
        </p:nvSpPr>
        <p:spPr bwMode="auto">
          <a:xfrm>
            <a:off x="880434" y="289098"/>
            <a:ext cx="5436383" cy="1523922"/>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kern="0" dirty="0">
              <a:gradFill>
                <a:gsLst>
                  <a:gs pos="84071">
                    <a:srgbClr val="191919"/>
                  </a:gs>
                  <a:gs pos="57000">
                    <a:srgbClr val="191919"/>
                  </a:gs>
                </a:gsLst>
                <a:lin ang="5400000" scaled="0"/>
              </a:gradFill>
            </a:endParaRPr>
          </a:p>
        </p:txBody>
      </p:sp>
      <p:sp>
        <p:nvSpPr>
          <p:cNvPr id="7" name="Rectangle 6"/>
          <p:cNvSpPr/>
          <p:nvPr/>
        </p:nvSpPr>
        <p:spPr bwMode="auto">
          <a:xfrm>
            <a:off x="880435" y="4997289"/>
            <a:ext cx="4213201" cy="1523922"/>
          </a:xfrm>
          <a:prstGeom prst="rect">
            <a:avLst/>
          </a:prstGeom>
          <a:no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Password:</a:t>
            </a:r>
          </a:p>
        </p:txBody>
      </p:sp>
      <p:sp>
        <p:nvSpPr>
          <p:cNvPr id="8" name="Rectangle 7"/>
          <p:cNvSpPr/>
          <p:nvPr/>
        </p:nvSpPr>
        <p:spPr bwMode="auto">
          <a:xfrm>
            <a:off x="880435" y="3430570"/>
            <a:ext cx="4302842" cy="1523922"/>
          </a:xfrm>
          <a:prstGeom prst="rect">
            <a:avLst/>
          </a:prstGeom>
          <a:no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Domain and User Name:  </a:t>
            </a:r>
          </a:p>
        </p:txBody>
      </p:sp>
      <p:sp>
        <p:nvSpPr>
          <p:cNvPr id="9" name="Rectangle 8"/>
          <p:cNvSpPr/>
          <p:nvPr/>
        </p:nvSpPr>
        <p:spPr bwMode="auto">
          <a:xfrm>
            <a:off x="880436" y="1863852"/>
            <a:ext cx="4213201" cy="1523922"/>
          </a:xfrm>
          <a:prstGeom prst="rect">
            <a:avLst/>
          </a:prstGeom>
          <a:no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POD Number:  </a:t>
            </a:r>
          </a:p>
        </p:txBody>
      </p:sp>
      <p:sp>
        <p:nvSpPr>
          <p:cNvPr id="10" name="Rectangle 9"/>
          <p:cNvSpPr/>
          <p:nvPr/>
        </p:nvSpPr>
        <p:spPr bwMode="auto">
          <a:xfrm>
            <a:off x="880436" y="297134"/>
            <a:ext cx="5436382" cy="1523922"/>
          </a:xfrm>
          <a:prstGeom prst="rect">
            <a:avLst/>
          </a:prstGeom>
          <a:no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Your Environment Credentials: </a:t>
            </a:r>
          </a:p>
          <a:p>
            <a:pPr indent="-169599" defTabSz="897084" fontAlgn="base">
              <a:lnSpc>
                <a:spcPct val="90000"/>
              </a:lnSpc>
              <a:spcBef>
                <a:spcPct val="0"/>
              </a:spcBef>
              <a:spcAft>
                <a:spcPct val="0"/>
              </a:spcAft>
            </a:pPr>
            <a:endParaRPr lang="en-US" sz="1961" kern="0" spc="-29" dirty="0">
              <a:gradFill>
                <a:gsLst>
                  <a:gs pos="84956">
                    <a:srgbClr val="0072C6"/>
                  </a:gs>
                  <a:gs pos="68000">
                    <a:srgbClr val="0072C6"/>
                  </a:gs>
                </a:gsLst>
              </a:gradFill>
            </a:endParaRPr>
          </a:p>
          <a:p>
            <a:pPr indent="-169599" defTabSz="897084" fontAlgn="base">
              <a:lnSpc>
                <a:spcPct val="90000"/>
              </a:lnSpc>
              <a:spcBef>
                <a:spcPct val="0"/>
              </a:spcBef>
              <a:spcAft>
                <a:spcPct val="0"/>
              </a:spcAft>
            </a:pPr>
            <a:r>
              <a:rPr lang="en-US" sz="1961" kern="0" spc="-29" dirty="0">
                <a:gradFill>
                  <a:gsLst>
                    <a:gs pos="84956">
                      <a:srgbClr val="0072C6"/>
                    </a:gs>
                    <a:gs pos="68000">
                      <a:srgbClr val="0072C6"/>
                    </a:gs>
                  </a:gsLst>
                </a:gradFill>
              </a:rPr>
              <a:t>	</a:t>
            </a:r>
          </a:p>
        </p:txBody>
      </p:sp>
      <p:sp>
        <p:nvSpPr>
          <p:cNvPr id="21" name="Rectangle 20"/>
          <p:cNvSpPr/>
          <p:nvPr/>
        </p:nvSpPr>
        <p:spPr bwMode="auto">
          <a:xfrm>
            <a:off x="1630284" y="830542"/>
            <a:ext cx="4480600" cy="786645"/>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ctr" anchorCtr="0" compatLnSpc="1">
            <a:prstTxWarp prst="textNoShape">
              <a:avLst/>
            </a:prstTxWarp>
            <a:noAutofit/>
          </a:bodyPr>
          <a:lstStyle/>
          <a:p>
            <a:pPr algn="ctr" defTabSz="895253" fontAlgn="base">
              <a:lnSpc>
                <a:spcPct val="90000"/>
              </a:lnSpc>
              <a:spcBef>
                <a:spcPct val="0"/>
              </a:spcBef>
              <a:spcAft>
                <a:spcPct val="0"/>
              </a:spcAft>
              <a:defRPr/>
            </a:pPr>
            <a:r>
              <a:rPr lang="en-US" sz="2353" b="1" kern="0" dirty="0">
                <a:gradFill>
                  <a:gsLst>
                    <a:gs pos="83178">
                      <a:srgbClr val="505050"/>
                    </a:gs>
                    <a:gs pos="45000">
                      <a:srgbClr val="505050"/>
                    </a:gs>
                  </a:gsLst>
                  <a:lin ang="5400000" scaled="0"/>
                </a:gradFill>
              </a:rPr>
              <a:t>http://aka.ms/immersion</a:t>
            </a:r>
            <a:r>
              <a:rPr lang="en-US" sz="2353" b="1" kern="0" dirty="0">
                <a:solidFill>
                  <a:srgbClr val="FF0000"/>
                </a:solidFill>
              </a:rPr>
              <a:t>##</a:t>
            </a:r>
            <a:endParaRPr lang="en-US" sz="1961" kern="0" dirty="0">
              <a:solidFill>
                <a:srgbClr val="FF0000"/>
              </a:solidFill>
            </a:endParaRPr>
          </a:p>
        </p:txBody>
      </p:sp>
      <p:sp>
        <p:nvSpPr>
          <p:cNvPr id="22" name="Rectangle 21"/>
          <p:cNvSpPr/>
          <p:nvPr/>
        </p:nvSpPr>
        <p:spPr bwMode="auto">
          <a:xfrm>
            <a:off x="1630284" y="2397260"/>
            <a:ext cx="4480600" cy="786645"/>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ctr" anchorCtr="0" compatLnSpc="1">
            <a:prstTxWarp prst="textNoShape">
              <a:avLst/>
            </a:prstTxWarp>
            <a:noAutofit/>
          </a:bodyPr>
          <a:lstStyle/>
          <a:p>
            <a:pPr algn="ctr" defTabSz="895253" fontAlgn="base">
              <a:lnSpc>
                <a:spcPct val="90000"/>
              </a:lnSpc>
              <a:spcBef>
                <a:spcPct val="0"/>
              </a:spcBef>
              <a:spcAft>
                <a:spcPct val="0"/>
              </a:spcAft>
              <a:defRPr/>
            </a:pPr>
            <a:r>
              <a:rPr lang="en-US" sz="2353" b="1" kern="0" dirty="0">
                <a:solidFill>
                  <a:srgbClr val="FF0000"/>
                </a:solidFill>
              </a:rPr>
              <a:t>##</a:t>
            </a:r>
            <a:endParaRPr lang="en-US" sz="1961" kern="0" dirty="0">
              <a:solidFill>
                <a:srgbClr val="FF0000"/>
              </a:solidFill>
            </a:endParaRPr>
          </a:p>
        </p:txBody>
      </p:sp>
      <p:sp>
        <p:nvSpPr>
          <p:cNvPr id="23" name="Rectangle 22"/>
          <p:cNvSpPr/>
          <p:nvPr/>
        </p:nvSpPr>
        <p:spPr bwMode="auto">
          <a:xfrm>
            <a:off x="1630284" y="3942678"/>
            <a:ext cx="4480600" cy="786645"/>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algn="ctr" defTabSz="895253" fontAlgn="base">
              <a:lnSpc>
                <a:spcPct val="90000"/>
              </a:lnSpc>
              <a:spcBef>
                <a:spcPct val="0"/>
              </a:spcBef>
              <a:spcAft>
                <a:spcPct val="0"/>
              </a:spcAft>
              <a:defRPr/>
            </a:pPr>
            <a:r>
              <a:rPr lang="en-US" sz="2353" b="1" kern="0" dirty="0">
                <a:solidFill>
                  <a:srgbClr val="282828"/>
                </a:solidFill>
              </a:rPr>
              <a:t>Contoso/Richard</a:t>
            </a:r>
            <a:r>
              <a:rPr lang="en-US" sz="2353" b="1" kern="0" dirty="0">
                <a:solidFill>
                  <a:srgbClr val="FF0000"/>
                </a:solidFill>
              </a:rPr>
              <a:t>##</a:t>
            </a:r>
            <a:endParaRPr lang="en-US" sz="1961" kern="0" dirty="0">
              <a:solidFill>
                <a:srgbClr val="FF0000"/>
              </a:solidFill>
            </a:endParaRPr>
          </a:p>
        </p:txBody>
      </p:sp>
      <p:sp>
        <p:nvSpPr>
          <p:cNvPr id="24" name="Rectangle 23"/>
          <p:cNvSpPr/>
          <p:nvPr/>
        </p:nvSpPr>
        <p:spPr bwMode="auto">
          <a:xfrm>
            <a:off x="1630284" y="5518826"/>
            <a:ext cx="4480600" cy="786645"/>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179253" tIns="143402" rIns="179253" bIns="143402" numCol="1" rtlCol="0" anchor="ctr" anchorCtr="0" compatLnSpc="1">
            <a:prstTxWarp prst="textNoShape">
              <a:avLst/>
            </a:prstTxWarp>
            <a:noAutofit/>
          </a:bodyPr>
          <a:lstStyle/>
          <a:p>
            <a:pPr algn="ctr" defTabSz="895253" fontAlgn="base">
              <a:lnSpc>
                <a:spcPct val="90000"/>
              </a:lnSpc>
              <a:spcBef>
                <a:spcPct val="0"/>
              </a:spcBef>
              <a:spcAft>
                <a:spcPct val="0"/>
              </a:spcAft>
              <a:defRPr/>
            </a:pPr>
            <a:r>
              <a:rPr lang="en-US" sz="2353" b="1" kern="0" dirty="0">
                <a:solidFill>
                  <a:srgbClr val="282828"/>
                </a:solidFill>
              </a:rPr>
              <a:t>Cl0ud4u</a:t>
            </a:r>
            <a:r>
              <a:rPr lang="en-US" sz="2353" b="1" kern="0" dirty="0">
                <a:solidFill>
                  <a:srgbClr val="FF0000"/>
                </a:solidFill>
              </a:rPr>
              <a:t>####</a:t>
            </a:r>
            <a:endParaRPr lang="en-US" sz="1961" kern="0" dirty="0">
              <a:solidFill>
                <a:srgbClr val="FF0000"/>
              </a:solidFill>
            </a:endParaRPr>
          </a:p>
        </p:txBody>
      </p:sp>
      <p:sp>
        <p:nvSpPr>
          <p:cNvPr id="2" name="TextBox 1"/>
          <p:cNvSpPr txBox="1"/>
          <p:nvPr/>
        </p:nvSpPr>
        <p:spPr>
          <a:xfrm>
            <a:off x="2321089" y="4260991"/>
            <a:ext cx="4134142"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dirty="0">
                <a:gradFill>
                  <a:gsLst>
                    <a:gs pos="2917">
                      <a:srgbClr val="282828"/>
                    </a:gs>
                    <a:gs pos="30000">
                      <a:srgbClr val="282828"/>
                    </a:gs>
                  </a:gsLst>
                  <a:lin ang="5400000" scaled="0"/>
                </a:gradFill>
              </a:rPr>
              <a:t>Unique number per person!!!</a:t>
            </a:r>
          </a:p>
        </p:txBody>
      </p:sp>
      <p:sp>
        <p:nvSpPr>
          <p:cNvPr id="25" name="Rectangle 24"/>
          <p:cNvSpPr/>
          <p:nvPr/>
        </p:nvSpPr>
        <p:spPr bwMode="auto">
          <a:xfrm>
            <a:off x="6646062" y="297135"/>
            <a:ext cx="5043168" cy="309064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defTabSz="913942" fontAlgn="base">
              <a:lnSpc>
                <a:spcPct val="90000"/>
              </a:lnSpc>
              <a:spcBef>
                <a:spcPct val="0"/>
              </a:spcBef>
              <a:spcAft>
                <a:spcPct val="0"/>
              </a:spcAft>
            </a:pPr>
            <a:r>
              <a:rPr lang="en-US" sz="1961" kern="0" spc="-29" dirty="0">
                <a:gradFill>
                  <a:gsLst>
                    <a:gs pos="84956">
                      <a:srgbClr val="0072C6"/>
                    </a:gs>
                    <a:gs pos="68000">
                      <a:srgbClr val="0072C6"/>
                    </a:gs>
                  </a:gsLst>
                </a:gradFill>
              </a:rPr>
              <a:t>From the start screen, click on the</a:t>
            </a:r>
            <a:br>
              <a:rPr lang="en-US" sz="1961" kern="0" spc="-29" dirty="0">
                <a:gradFill>
                  <a:gsLst>
                    <a:gs pos="84956">
                      <a:srgbClr val="0072C6"/>
                    </a:gs>
                    <a:gs pos="68000">
                      <a:srgbClr val="0072C6"/>
                    </a:gs>
                  </a:gsLst>
                </a:gradFill>
              </a:rPr>
            </a:br>
            <a:r>
              <a:rPr lang="en-US" sz="1961" kern="0" spc="-29" dirty="0">
                <a:gradFill>
                  <a:gsLst>
                    <a:gs pos="84956">
                      <a:srgbClr val="0072C6"/>
                    </a:gs>
                    <a:gs pos="68000">
                      <a:srgbClr val="0072C6"/>
                    </a:gs>
                  </a:gsLst>
                </a:gradFill>
              </a:rPr>
              <a:t>Immersion Application</a:t>
            </a:r>
          </a:p>
        </p:txBody>
      </p:sp>
      <p:sp>
        <p:nvSpPr>
          <p:cNvPr id="26" name="Oval 25"/>
          <p:cNvSpPr/>
          <p:nvPr/>
        </p:nvSpPr>
        <p:spPr bwMode="auto">
          <a:xfrm>
            <a:off x="497063" y="832083"/>
            <a:ext cx="598043" cy="5689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solidFill>
                  <a:sysClr val="windowText" lastClr="000000"/>
                </a:solidFill>
                <a:ea typeface="Segoe UI" pitchFamily="34" charset="0"/>
                <a:cs typeface="Segoe UI" pitchFamily="34" charset="0"/>
              </a:rPr>
              <a:t>1</a:t>
            </a:r>
          </a:p>
        </p:txBody>
      </p:sp>
      <p:sp>
        <p:nvSpPr>
          <p:cNvPr id="27" name="Oval 26"/>
          <p:cNvSpPr/>
          <p:nvPr/>
        </p:nvSpPr>
        <p:spPr bwMode="auto">
          <a:xfrm>
            <a:off x="497063" y="2430619"/>
            <a:ext cx="598043" cy="5689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solidFill>
                  <a:sysClr val="windowText" lastClr="000000"/>
                </a:solidFill>
                <a:ea typeface="Segoe UI" pitchFamily="34" charset="0"/>
                <a:cs typeface="Segoe UI" pitchFamily="34" charset="0"/>
              </a:rPr>
              <a:t>2</a:t>
            </a:r>
          </a:p>
        </p:txBody>
      </p:sp>
      <p:sp>
        <p:nvSpPr>
          <p:cNvPr id="28" name="Oval 27"/>
          <p:cNvSpPr/>
          <p:nvPr/>
        </p:nvSpPr>
        <p:spPr bwMode="auto">
          <a:xfrm>
            <a:off x="497063" y="4029155"/>
            <a:ext cx="598043" cy="5689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solidFill>
                  <a:sysClr val="windowText" lastClr="000000"/>
                </a:solidFill>
                <a:ea typeface="Segoe UI" pitchFamily="34" charset="0"/>
                <a:cs typeface="Segoe UI" pitchFamily="34" charset="0"/>
              </a:rPr>
              <a:t>3</a:t>
            </a:r>
          </a:p>
        </p:txBody>
      </p:sp>
      <p:sp>
        <p:nvSpPr>
          <p:cNvPr id="29" name="Oval 28"/>
          <p:cNvSpPr/>
          <p:nvPr/>
        </p:nvSpPr>
        <p:spPr bwMode="auto">
          <a:xfrm>
            <a:off x="497063" y="5627692"/>
            <a:ext cx="598043" cy="5689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solidFill>
                  <a:sysClr val="windowText" lastClr="000000"/>
                </a:solidFill>
                <a:ea typeface="Segoe UI" pitchFamily="34" charset="0"/>
                <a:cs typeface="Segoe UI" pitchFamily="34" charset="0"/>
              </a:rPr>
              <a:t>4</a:t>
            </a:r>
          </a:p>
        </p:txBody>
      </p:sp>
      <p:sp>
        <p:nvSpPr>
          <p:cNvPr id="30" name="Oval 29"/>
          <p:cNvSpPr/>
          <p:nvPr/>
        </p:nvSpPr>
        <p:spPr bwMode="auto">
          <a:xfrm>
            <a:off x="6401169" y="1649094"/>
            <a:ext cx="598043" cy="5689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solidFill>
                  <a:sysClr val="windowText" lastClr="000000"/>
                </a:solidFill>
                <a:ea typeface="Segoe UI" pitchFamily="34" charset="0"/>
                <a:cs typeface="Segoe UI" pitchFamily="34" charset="0"/>
              </a:rPr>
              <a:t>5</a:t>
            </a:r>
          </a:p>
        </p:txBody>
      </p:sp>
      <p:pic>
        <p:nvPicPr>
          <p:cNvPr id="31" name="Picture 30" descr="Screen Clipping"/>
          <p:cNvPicPr>
            <a:picLocks noChangeAspect="1"/>
          </p:cNvPicPr>
          <p:nvPr/>
        </p:nvPicPr>
        <p:blipFill rotWithShape="1">
          <a:blip r:embed="rId3">
            <a:extLst>
              <a:ext uri="{28A0092B-C50C-407E-A947-70E740481C1C}">
                <a14:useLocalDpi xmlns:a14="http://schemas.microsoft.com/office/drawing/2010/main" val="0"/>
              </a:ext>
            </a:extLst>
          </a:blip>
          <a:srcRect l="4084" t="8170" r="2261" b="8725"/>
          <a:stretch/>
        </p:blipFill>
        <p:spPr>
          <a:xfrm>
            <a:off x="7782591" y="1168556"/>
            <a:ext cx="2825097" cy="1195233"/>
          </a:xfrm>
          <a:prstGeom prst="rect">
            <a:avLst/>
          </a:prstGeom>
        </p:spPr>
      </p:pic>
      <p:sp>
        <p:nvSpPr>
          <p:cNvPr id="32" name="Rectangle 31"/>
          <p:cNvSpPr/>
          <p:nvPr/>
        </p:nvSpPr>
        <p:spPr bwMode="auto">
          <a:xfrm>
            <a:off x="6646062" y="3451969"/>
            <a:ext cx="5043168" cy="309064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bodyPr>
          <a:lstStyle/>
          <a:p>
            <a:pPr defTabSz="913942" fontAlgn="base">
              <a:lnSpc>
                <a:spcPct val="90000"/>
              </a:lnSpc>
              <a:spcBef>
                <a:spcPct val="0"/>
              </a:spcBef>
              <a:spcAft>
                <a:spcPct val="0"/>
              </a:spcAft>
            </a:pPr>
            <a:r>
              <a:rPr lang="en-US" sz="1961" kern="0" spc="-29" dirty="0">
                <a:gradFill>
                  <a:gsLst>
                    <a:gs pos="84956">
                      <a:srgbClr val="0072C6"/>
                    </a:gs>
                    <a:gs pos="68000">
                      <a:srgbClr val="0072C6"/>
                    </a:gs>
                  </a:gsLst>
                </a:gradFill>
              </a:rPr>
              <a:t>Enter Credentials into the Application</a:t>
            </a:r>
          </a:p>
        </p:txBody>
      </p:sp>
      <p:sp>
        <p:nvSpPr>
          <p:cNvPr id="33" name="Oval 32"/>
          <p:cNvSpPr/>
          <p:nvPr/>
        </p:nvSpPr>
        <p:spPr bwMode="auto">
          <a:xfrm>
            <a:off x="6401169" y="4762045"/>
            <a:ext cx="598043" cy="56891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solidFill>
                  <a:sysClr val="windowText" lastClr="000000"/>
                </a:solidFill>
                <a:ea typeface="Segoe UI" pitchFamily="34" charset="0"/>
                <a:cs typeface="Segoe UI" pitchFamily="34" charset="0"/>
              </a:rPr>
              <a:t>6</a:t>
            </a:r>
          </a:p>
        </p:txBody>
      </p:sp>
      <p:pic>
        <p:nvPicPr>
          <p:cNvPr id="35" name="Picture 34" descr="Screen Clipping"/>
          <p:cNvPicPr>
            <a:picLocks noChangeAspect="1"/>
          </p:cNvPicPr>
          <p:nvPr/>
        </p:nvPicPr>
        <p:blipFill rotWithShape="1">
          <a:blip r:embed="rId4">
            <a:extLst>
              <a:ext uri="{28A0092B-C50C-407E-A947-70E740481C1C}">
                <a14:useLocalDpi xmlns:a14="http://schemas.microsoft.com/office/drawing/2010/main" val="0"/>
              </a:ext>
            </a:extLst>
          </a:blip>
          <a:srcRect t="29869" r="63174"/>
          <a:stretch/>
        </p:blipFill>
        <p:spPr>
          <a:xfrm>
            <a:off x="7825385" y="4029154"/>
            <a:ext cx="2148975" cy="2372789"/>
          </a:xfrm>
          <a:prstGeom prst="rect">
            <a:avLst/>
          </a:prstGeom>
        </p:spPr>
      </p:pic>
    </p:spTree>
    <p:extLst>
      <p:ext uri="{BB962C8B-B14F-4D97-AF65-F5344CB8AC3E}">
        <p14:creationId xmlns:p14="http://schemas.microsoft.com/office/powerpoint/2010/main" val="139588600"/>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6099005" y="3788034"/>
            <a:ext cx="5769974" cy="2764223"/>
            <a:chOff x="6099005" y="3788034"/>
            <a:chExt cx="5769974" cy="2764223"/>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9005" y="3956180"/>
              <a:ext cx="5657212" cy="2596077"/>
            </a:xfrm>
            <a:prstGeom prst="rect">
              <a:avLst/>
            </a:prstGeom>
          </p:spPr>
        </p:pic>
        <p:sp>
          <p:nvSpPr>
            <p:cNvPr id="12" name="Rectangle 11"/>
            <p:cNvSpPr/>
            <p:nvPr/>
          </p:nvSpPr>
          <p:spPr bwMode="auto">
            <a:xfrm>
              <a:off x="6428299" y="3788034"/>
              <a:ext cx="5440680" cy="1618602"/>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useBgFill="1">
        <p:nvSpPr>
          <p:cNvPr id="5" name="Rectangle 4"/>
          <p:cNvSpPr/>
          <p:nvPr/>
        </p:nvSpPr>
        <p:spPr bwMode="auto">
          <a:xfrm>
            <a:off x="-673100" y="3670657"/>
            <a:ext cx="6434138" cy="318734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itle 1"/>
          <p:cNvSpPr txBox="1">
            <a:spLocks/>
          </p:cNvSpPr>
          <p:nvPr/>
        </p:nvSpPr>
        <p:spPr>
          <a:xfrm>
            <a:off x="980494" y="3670657"/>
            <a:ext cx="5733225" cy="3135918"/>
          </a:xfrm>
          <a:prstGeom prst="rect">
            <a:avLst/>
          </a:prstGeom>
        </p:spPr>
        <p:txBody>
          <a:bodyPr vert="horz" wrap="square" lIns="143402" tIns="89627" rIns="143402" bIns="89627" rtlCol="0" anchor="b" anchorCtr="0">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6470" dirty="0">
                <a:gradFill>
                  <a:gsLst>
                    <a:gs pos="30973">
                      <a:srgbClr val="282828">
                        <a:lumMod val="90000"/>
                        <a:lumOff val="10000"/>
                      </a:srgbClr>
                    </a:gs>
                    <a:gs pos="84071">
                      <a:srgbClr val="282828">
                        <a:lumMod val="90000"/>
                        <a:lumOff val="10000"/>
                      </a:srgbClr>
                    </a:gs>
                  </a:gsLst>
                  <a:lin ang="5400000" scaled="0"/>
                </a:gradFill>
              </a:rPr>
              <a:t>Cloud and </a:t>
            </a:r>
            <a:br>
              <a:rPr sz="6470" dirty="0">
                <a:gradFill>
                  <a:gsLst>
                    <a:gs pos="30973">
                      <a:srgbClr val="282828">
                        <a:lumMod val="90000"/>
                        <a:lumOff val="10000"/>
                      </a:srgbClr>
                    </a:gs>
                    <a:gs pos="84071">
                      <a:srgbClr val="282828">
                        <a:lumMod val="90000"/>
                        <a:lumOff val="10000"/>
                      </a:srgbClr>
                    </a:gs>
                  </a:gsLst>
                  <a:lin ang="5400000" scaled="0"/>
                </a:gradFill>
              </a:rPr>
            </a:br>
            <a:r>
              <a:rPr sz="6470" dirty="0">
                <a:gradFill>
                  <a:gsLst>
                    <a:gs pos="30973">
                      <a:srgbClr val="282828">
                        <a:lumMod val="90000"/>
                        <a:lumOff val="10000"/>
                      </a:srgbClr>
                    </a:gs>
                    <a:gs pos="84071">
                      <a:srgbClr val="282828">
                        <a:lumMod val="90000"/>
                        <a:lumOff val="10000"/>
                      </a:srgbClr>
                    </a:gs>
                  </a:gsLst>
                  <a:lin ang="5400000" scaled="0"/>
                </a:gradFill>
              </a:rPr>
              <a:t>Datacenter Infrastructure</a:t>
            </a:r>
          </a:p>
        </p:txBody>
      </p:sp>
      <p:sp>
        <p:nvSpPr>
          <p:cNvPr id="62" name="Rectangle 61"/>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63" name="Rectangle 62"/>
          <p:cNvSpPr/>
          <p:nvPr/>
        </p:nvSpPr>
        <p:spPr bwMode="auto">
          <a:xfrm>
            <a:off x="1" y="4997289"/>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4" name="Rectangle 63"/>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5" name="Rectangle 64"/>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Management </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6" name="Rectangle 65"/>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Tree>
    <p:extLst>
      <p:ext uri="{BB962C8B-B14F-4D97-AF65-F5344CB8AC3E}">
        <p14:creationId xmlns:p14="http://schemas.microsoft.com/office/powerpoint/2010/main" val="10019648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100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200" fill="hold"/>
                                        <p:tgtEl>
                                          <p:spTgt spid="63"/>
                                        </p:tgtEl>
                                        <p:attrNameLst>
                                          <p:attrName>ppt_x</p:attrName>
                                        </p:attrNameLst>
                                      </p:cBhvr>
                                      <p:tavLst>
                                        <p:tav tm="0">
                                          <p:val>
                                            <p:strVal val="0-#ppt_w/2"/>
                                          </p:val>
                                        </p:tav>
                                        <p:tav tm="100000">
                                          <p:val>
                                            <p:strVal val="#ppt_x"/>
                                          </p:val>
                                        </p:tav>
                                      </p:tavLst>
                                    </p:anim>
                                    <p:anim calcmode="lin" valueType="num">
                                      <p:cBhvr additive="base">
                                        <p:cTn id="8" dur="200" fill="hold"/>
                                        <p:tgtEl>
                                          <p:spTgt spid="6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62"/>
                                        </p:tgtEl>
                                        <p:attrNameLst>
                                          <p:attrName>style.visibility</p:attrName>
                                        </p:attrNameLst>
                                      </p:cBhvr>
                                      <p:to>
                                        <p:strVal val="visible"/>
                                      </p:to>
                                    </p:set>
                                    <p:anim calcmode="lin" valueType="num">
                                      <p:cBhvr additive="base">
                                        <p:cTn id="11" dur="200" fill="hold"/>
                                        <p:tgtEl>
                                          <p:spTgt spid="62"/>
                                        </p:tgtEl>
                                        <p:attrNameLst>
                                          <p:attrName>ppt_x</p:attrName>
                                        </p:attrNameLst>
                                      </p:cBhvr>
                                      <p:tavLst>
                                        <p:tav tm="0">
                                          <p:val>
                                            <p:strVal val="0-#ppt_w/2"/>
                                          </p:val>
                                        </p:tav>
                                        <p:tav tm="100000">
                                          <p:val>
                                            <p:strVal val="#ppt_x"/>
                                          </p:val>
                                        </p:tav>
                                      </p:tavLst>
                                    </p:anim>
                                    <p:anim calcmode="lin" valueType="num">
                                      <p:cBhvr additive="base">
                                        <p:cTn id="12" dur="200" fill="hold"/>
                                        <p:tgtEl>
                                          <p:spTgt spid="6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10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200" fill="hold"/>
                                        <p:tgtEl>
                                          <p:spTgt spid="64"/>
                                        </p:tgtEl>
                                        <p:attrNameLst>
                                          <p:attrName>ppt_x</p:attrName>
                                        </p:attrNameLst>
                                      </p:cBhvr>
                                      <p:tavLst>
                                        <p:tav tm="0">
                                          <p:val>
                                            <p:strVal val="0-#ppt_w/2"/>
                                          </p:val>
                                        </p:tav>
                                        <p:tav tm="100000">
                                          <p:val>
                                            <p:strVal val="#ppt_x"/>
                                          </p:val>
                                        </p:tav>
                                      </p:tavLst>
                                    </p:anim>
                                    <p:anim calcmode="lin" valueType="num">
                                      <p:cBhvr additive="base">
                                        <p:cTn id="16" dur="200" fill="hold"/>
                                        <p:tgtEl>
                                          <p:spTgt spid="64"/>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00"/>
                                  </p:stCondLst>
                                  <p:childTnLst>
                                    <p:set>
                                      <p:cBhvr>
                                        <p:cTn id="18" dur="1" fill="hold">
                                          <p:stCondLst>
                                            <p:cond delay="0"/>
                                          </p:stCondLst>
                                        </p:cTn>
                                        <p:tgtEl>
                                          <p:spTgt spid="65"/>
                                        </p:tgtEl>
                                        <p:attrNameLst>
                                          <p:attrName>style.visibility</p:attrName>
                                        </p:attrNameLst>
                                      </p:cBhvr>
                                      <p:to>
                                        <p:strVal val="visible"/>
                                      </p:to>
                                    </p:set>
                                    <p:anim calcmode="lin" valueType="num">
                                      <p:cBhvr additive="base">
                                        <p:cTn id="19" dur="200" fill="hold"/>
                                        <p:tgtEl>
                                          <p:spTgt spid="65"/>
                                        </p:tgtEl>
                                        <p:attrNameLst>
                                          <p:attrName>ppt_x</p:attrName>
                                        </p:attrNameLst>
                                      </p:cBhvr>
                                      <p:tavLst>
                                        <p:tav tm="0">
                                          <p:val>
                                            <p:strVal val="0-#ppt_w/2"/>
                                          </p:val>
                                        </p:tav>
                                        <p:tav tm="100000">
                                          <p:val>
                                            <p:strVal val="#ppt_x"/>
                                          </p:val>
                                        </p:tav>
                                      </p:tavLst>
                                    </p:anim>
                                    <p:anim calcmode="lin" valueType="num">
                                      <p:cBhvr additive="base">
                                        <p:cTn id="20" dur="200" fill="hold"/>
                                        <p:tgtEl>
                                          <p:spTgt spid="65"/>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200" fill="hold"/>
                                        <p:tgtEl>
                                          <p:spTgt spid="66"/>
                                        </p:tgtEl>
                                        <p:attrNameLst>
                                          <p:attrName>ppt_x</p:attrName>
                                        </p:attrNameLst>
                                      </p:cBhvr>
                                      <p:tavLst>
                                        <p:tav tm="0">
                                          <p:val>
                                            <p:strVal val="0-#ppt_w/2"/>
                                          </p:val>
                                        </p:tav>
                                        <p:tav tm="100000">
                                          <p:val>
                                            <p:strVal val="#ppt_x"/>
                                          </p:val>
                                        </p:tav>
                                      </p:tavLst>
                                    </p:anim>
                                    <p:anim calcmode="lin" valueType="num">
                                      <p:cBhvr additive="base">
                                        <p:cTn id="24" dur="200" fill="hold"/>
                                        <p:tgtEl>
                                          <p:spTgt spid="66"/>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750"/>
                                  </p:stCondLst>
                                  <p:childTnLst>
                                    <p:set>
                                      <p:cBhvr>
                                        <p:cTn id="26" dur="1" fill="hold">
                                          <p:stCondLst>
                                            <p:cond delay="0"/>
                                          </p:stCondLst>
                                        </p:cTn>
                                        <p:tgtEl>
                                          <p:spTgt spid="68"/>
                                        </p:tgtEl>
                                        <p:attrNameLst>
                                          <p:attrName>style.visibility</p:attrName>
                                        </p:attrNameLst>
                                      </p:cBhvr>
                                      <p:to>
                                        <p:strVal val="visible"/>
                                      </p:to>
                                    </p:set>
                                    <p:anim calcmode="lin" valueType="num">
                                      <p:cBhvr additive="base">
                                        <p:cTn id="27" dur="750" fill="hold"/>
                                        <p:tgtEl>
                                          <p:spTgt spid="68"/>
                                        </p:tgtEl>
                                        <p:attrNameLst>
                                          <p:attrName>ppt_x</p:attrName>
                                        </p:attrNameLst>
                                      </p:cBhvr>
                                      <p:tavLst>
                                        <p:tav tm="0">
                                          <p:val>
                                            <p:strVal val="0-#ppt_w/2"/>
                                          </p:val>
                                        </p:tav>
                                        <p:tav tm="100000">
                                          <p:val>
                                            <p:strVal val="#ppt_x"/>
                                          </p:val>
                                        </p:tav>
                                      </p:tavLst>
                                    </p:anim>
                                    <p:anim calcmode="lin" valueType="num">
                                      <p:cBhvr additive="base">
                                        <p:cTn id="28" dur="750" fill="hold"/>
                                        <p:tgtEl>
                                          <p:spTgt spid="68"/>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175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750" fill="hold"/>
                                        <p:tgtEl>
                                          <p:spTgt spid="6"/>
                                        </p:tgtEl>
                                        <p:attrNameLst>
                                          <p:attrName>ppt_x</p:attrName>
                                        </p:attrNameLst>
                                      </p:cBhvr>
                                      <p:tavLst>
                                        <p:tav tm="0">
                                          <p:val>
                                            <p:strVal val="0-#ppt_w/2"/>
                                          </p:val>
                                        </p:tav>
                                        <p:tav tm="100000">
                                          <p:val>
                                            <p:strVal val="#ppt_x"/>
                                          </p:val>
                                        </p:tav>
                                      </p:tavLst>
                                    </p:anim>
                                    <p:anim calcmode="lin" valueType="num">
                                      <p:cBhvr additive="base">
                                        <p:cTn id="32"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2" grpId="0" animBg="1"/>
      <p:bldP spid="63" grpId="0" animBg="1"/>
      <p:bldP spid="64" grpId="0" animBg="1"/>
      <p:bldP spid="65" grpId="0" animBg="1"/>
      <p:bldP spid="66"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Header"/>
          <p:cNvGrpSpPr/>
          <p:nvPr/>
        </p:nvGrpSpPr>
        <p:grpSpPr>
          <a:xfrm>
            <a:off x="1168707" y="297133"/>
            <a:ext cx="11023292" cy="1506478"/>
            <a:chOff x="1192142" y="302595"/>
            <a:chExt cx="11244332" cy="1536686"/>
          </a:xfrm>
        </p:grpSpPr>
        <p:grpSp>
          <p:nvGrpSpPr>
            <p:cNvPr id="21" name="Top"/>
            <p:cNvGrpSpPr/>
            <p:nvPr/>
          </p:nvGrpSpPr>
          <p:grpSpPr>
            <a:xfrm>
              <a:off x="1192142" y="302595"/>
              <a:ext cx="11244332" cy="1536686"/>
              <a:chOff x="1192142" y="302595"/>
              <a:chExt cx="11244332" cy="1536686"/>
            </a:xfrm>
          </p:grpSpPr>
          <p:sp>
            <p:nvSpPr>
              <p:cNvPr id="10" name="Rectangle 9"/>
              <p:cNvSpPr/>
              <p:nvPr/>
            </p:nvSpPr>
            <p:spPr bwMode="auto">
              <a:xfrm>
                <a:off x="1192142" y="1337306"/>
                <a:ext cx="11244331" cy="5019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1" name="Rectangle 10"/>
              <p:cNvSpPr/>
              <p:nvPr/>
            </p:nvSpPr>
            <p:spPr bwMode="auto">
              <a:xfrm>
                <a:off x="1204802" y="302595"/>
                <a:ext cx="7547312" cy="1006754"/>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2" name="3 quote"/>
              <p:cNvSpPr txBox="1"/>
              <p:nvPr/>
            </p:nvSpPr>
            <p:spPr>
              <a:xfrm>
                <a:off x="1987885" y="519740"/>
                <a:ext cx="6752894" cy="378565"/>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endParaRPr lang="en-NZ" sz="1372" dirty="0">
                  <a:gradFill>
                    <a:gsLst>
                      <a:gs pos="5310">
                        <a:srgbClr val="282828">
                          <a:lumMod val="90000"/>
                          <a:lumOff val="10000"/>
                        </a:srgbClr>
                      </a:gs>
                      <a:gs pos="27434">
                        <a:srgbClr val="282828">
                          <a:lumMod val="90000"/>
                          <a:lumOff val="10000"/>
                        </a:srgbClr>
                      </a:gs>
                    </a:gsLst>
                    <a:lin ang="16200000" scaled="1"/>
                  </a:gradFill>
                </a:endParaRPr>
              </a:p>
            </p:txBody>
          </p:sp>
          <p:grpSp>
            <p:nvGrpSpPr>
              <p:cNvPr id="13" name="Group 12"/>
              <p:cNvGrpSpPr>
                <a:grpSpLocks noChangeAspect="1"/>
              </p:cNvGrpSpPr>
              <p:nvPr/>
            </p:nvGrpSpPr>
            <p:grpSpPr>
              <a:xfrm>
                <a:off x="1206434" y="303543"/>
                <a:ext cx="787179" cy="1005840"/>
                <a:chOff x="1207084" y="1221871"/>
                <a:chExt cx="822960" cy="1051560"/>
              </a:xfrm>
            </p:grpSpPr>
            <p:grpSp>
              <p:nvGrpSpPr>
                <p:cNvPr id="14" name="Group 13"/>
                <p:cNvGrpSpPr/>
                <p:nvPr/>
              </p:nvGrpSpPr>
              <p:grpSpPr>
                <a:xfrm>
                  <a:off x="1207084" y="1221871"/>
                  <a:ext cx="822960" cy="1051560"/>
                  <a:chOff x="2272417" y="1518442"/>
                  <a:chExt cx="822960" cy="1051560"/>
                </a:xfrm>
              </p:grpSpPr>
              <p:sp>
                <p:nvSpPr>
                  <p:cNvPr id="16" name="Rectangle 15"/>
                  <p:cNvSpPr/>
                  <p:nvPr/>
                </p:nvSpPr>
                <p:spPr bwMode="auto">
                  <a:xfrm>
                    <a:off x="2272417" y="1518442"/>
                    <a:ext cx="822960" cy="105156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410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17"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75748" t="27538" r="7225" b="45284"/>
                  <a:stretch/>
                </p:blipFill>
                <p:spPr bwMode="auto">
                  <a:xfrm>
                    <a:off x="2295277"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5" name="Isosceles Triangle 14"/>
                <p:cNvSpPr/>
                <p:nvPr/>
              </p:nvSpPr>
              <p:spPr bwMode="auto">
                <a:xfrm rot="16200000">
                  <a:off x="190315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sp>
            <p:nvSpPr>
              <p:cNvPr id="19" name="Rectangle 18"/>
              <p:cNvSpPr/>
              <p:nvPr/>
            </p:nvSpPr>
            <p:spPr bwMode="auto">
              <a:xfrm>
                <a:off x="8794750" y="302844"/>
                <a:ext cx="3641724" cy="10065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568" dirty="0">
                    <a:gradFill>
                      <a:gsLst>
                        <a:gs pos="24779">
                          <a:srgbClr val="FFFFFF"/>
                        </a:gs>
                        <a:gs pos="57000">
                          <a:srgbClr val="FFFFFF"/>
                        </a:gs>
                      </a:gsLst>
                      <a:lin ang="5400000" scaled="0"/>
                    </a:gradFill>
                  </a:rPr>
                  <a:t>Virtualizing storage on industry standard hardware provides flexibility with minimum investment</a:t>
                </a:r>
              </a:p>
            </p:txBody>
          </p:sp>
        </p:grpSp>
        <p:grpSp>
          <p:nvGrpSpPr>
            <p:cNvPr id="6" name="Group 5"/>
            <p:cNvGrpSpPr/>
            <p:nvPr/>
          </p:nvGrpSpPr>
          <p:grpSpPr>
            <a:xfrm>
              <a:off x="1204801" y="1312126"/>
              <a:ext cx="11231673" cy="527155"/>
              <a:chOff x="1204801" y="1312126"/>
              <a:chExt cx="11231673" cy="527155"/>
            </a:xfrm>
          </p:grpSpPr>
          <p:sp>
            <p:nvSpPr>
              <p:cNvPr id="292" name="TextBox 291"/>
              <p:cNvSpPr txBox="1"/>
              <p:nvPr/>
            </p:nvSpPr>
            <p:spPr>
              <a:xfrm>
                <a:off x="6386420" y="1312126"/>
                <a:ext cx="6050054" cy="517065"/>
              </a:xfrm>
              <a:prstGeom prst="rect">
                <a:avLst/>
              </a:prstGeom>
              <a:noFill/>
            </p:spPr>
            <p:txBody>
              <a:bodyPr wrap="square" lIns="179285" tIns="143428" rIns="179285" bIns="143428" rtlCol="0">
                <a:spAutoFit/>
              </a:bodyPr>
              <a:lstStyle/>
              <a:p>
                <a:pPr defTabSz="914206">
                  <a:lnSpc>
                    <a:spcPct val="90000"/>
                  </a:lnSpc>
                  <a:spcAft>
                    <a:spcPts val="588"/>
                  </a:spcAft>
                </a:pPr>
                <a:r>
                  <a:rPr lang="en-US" sz="1568" dirty="0">
                    <a:gradFill>
                      <a:gsLst>
                        <a:gs pos="2917">
                          <a:srgbClr val="505050"/>
                        </a:gs>
                        <a:gs pos="30000">
                          <a:srgbClr val="505050"/>
                        </a:gs>
                      </a:gsLst>
                      <a:lin ang="5400000" scaled="0"/>
                    </a:gradFill>
                  </a:rPr>
                  <a:t>Storage Spaces | Data De-duplication | Storage Tiering | VMM</a:t>
                </a:r>
              </a:p>
            </p:txBody>
          </p:sp>
          <p:sp>
            <p:nvSpPr>
              <p:cNvPr id="293" name="Rectangle 292"/>
              <p:cNvSpPr/>
              <p:nvPr/>
            </p:nvSpPr>
            <p:spPr bwMode="auto">
              <a:xfrm>
                <a:off x="1204802" y="1337306"/>
                <a:ext cx="5263568" cy="501975"/>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4" name="TextBox 293"/>
              <p:cNvSpPr txBox="1"/>
              <p:nvPr/>
            </p:nvSpPr>
            <p:spPr>
              <a:xfrm>
                <a:off x="1204801" y="1322216"/>
                <a:ext cx="5263569" cy="517064"/>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gradFill>
                      <a:gsLst>
                        <a:gs pos="77876">
                          <a:srgbClr val="FFFFFF"/>
                        </a:gs>
                        <a:gs pos="30000">
                          <a:srgbClr val="FFFFFF"/>
                        </a:gs>
                      </a:gsLst>
                      <a:lin ang="5400000" scaled="0"/>
                    </a:gradFill>
                  </a:rPr>
                  <a:t>Windows Server 2012 </a:t>
                </a:r>
                <a:r>
                  <a:rPr lang="en-US" sz="1568" dirty="0" smtClean="0">
                    <a:gradFill>
                      <a:gsLst>
                        <a:gs pos="77876">
                          <a:srgbClr val="FFFFFF"/>
                        </a:gs>
                        <a:gs pos="30000">
                          <a:srgbClr val="FFFFFF"/>
                        </a:gs>
                      </a:gsLst>
                      <a:lin ang="5400000" scaled="0"/>
                    </a:gradFill>
                  </a:rPr>
                  <a:t>R2 | </a:t>
                </a:r>
                <a:r>
                  <a:rPr lang="en-US" sz="1568" dirty="0">
                    <a:gradFill>
                      <a:gsLst>
                        <a:gs pos="77876">
                          <a:srgbClr val="FFFFFF"/>
                        </a:gs>
                        <a:gs pos="30000">
                          <a:srgbClr val="FFFFFF"/>
                        </a:gs>
                      </a:gsLst>
                      <a:lin ang="5400000" scaled="0"/>
                    </a:gradFill>
                  </a:rPr>
                  <a:t>System Center 2012 R2</a:t>
                </a:r>
              </a:p>
            </p:txBody>
          </p:sp>
        </p:grpSp>
      </p:grpSp>
      <p:sp>
        <p:nvSpPr>
          <p:cNvPr id="157" name="1 quote"/>
          <p:cNvSpPr txBox="1"/>
          <p:nvPr/>
        </p:nvSpPr>
        <p:spPr>
          <a:xfrm>
            <a:off x="1943873" y="318691"/>
            <a:ext cx="6421424" cy="941386"/>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5310">
                      <a:srgbClr val="282828">
                        <a:lumMod val="90000"/>
                        <a:lumOff val="10000"/>
                      </a:srgbClr>
                    </a:gs>
                    <a:gs pos="27434">
                      <a:srgbClr val="282828">
                        <a:lumMod val="90000"/>
                        <a:lumOff val="10000"/>
                      </a:srgbClr>
                    </a:gs>
                  </a:gsLst>
                  <a:lin ang="16200000" scaled="1"/>
                </a:gradFill>
              </a:rPr>
              <a:t>“I’ve already made considerable storage investments, and my storage needs continue to grow exponentially.  I need to identify a way to provide an enterprise-class storage solution that allows me to manage and extend capacity with minimum additional investment.”</a:t>
            </a:r>
          </a:p>
        </p:txBody>
      </p:sp>
      <p:sp>
        <p:nvSpPr>
          <p:cNvPr id="314" name="2 quote"/>
          <p:cNvSpPr txBox="1"/>
          <p:nvPr/>
        </p:nvSpPr>
        <p:spPr>
          <a:xfrm>
            <a:off x="1943873" y="318691"/>
            <a:ext cx="6421424" cy="561211"/>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5310">
                      <a:srgbClr val="282828">
                        <a:lumMod val="90000"/>
                        <a:lumOff val="10000"/>
                      </a:srgbClr>
                    </a:gs>
                    <a:gs pos="27434">
                      <a:srgbClr val="282828">
                        <a:lumMod val="90000"/>
                        <a:lumOff val="10000"/>
                      </a:srgbClr>
                    </a:gs>
                  </a:gsLst>
                  <a:lin ang="16200000" scaled="1"/>
                </a:gradFill>
              </a:rPr>
              <a:t>“With storage spaces, I can use my existing hardware to get SAN-like performance and availability.”</a:t>
            </a:r>
          </a:p>
        </p:txBody>
      </p:sp>
      <p:sp>
        <p:nvSpPr>
          <p:cNvPr id="333" name="3 quote"/>
          <p:cNvSpPr txBox="1"/>
          <p:nvPr/>
        </p:nvSpPr>
        <p:spPr>
          <a:xfrm>
            <a:off x="1943873" y="318691"/>
            <a:ext cx="6421424" cy="561211"/>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5310">
                      <a:srgbClr val="282828">
                        <a:lumMod val="90000"/>
                        <a:lumOff val="10000"/>
                      </a:srgbClr>
                    </a:gs>
                    <a:gs pos="27434">
                      <a:srgbClr val="282828">
                        <a:lumMod val="90000"/>
                        <a:lumOff val="10000"/>
                      </a:srgbClr>
                    </a:gs>
                  </a:gsLst>
                  <a:lin ang="16200000" scaled="1"/>
                </a:gradFill>
              </a:rPr>
              <a:t>“With storage </a:t>
            </a:r>
            <a:r>
              <a:rPr lang="en-NZ" sz="1372" dirty="0" err="1">
                <a:gradFill>
                  <a:gsLst>
                    <a:gs pos="5310">
                      <a:srgbClr val="282828">
                        <a:lumMod val="90000"/>
                        <a:lumOff val="10000"/>
                      </a:srgbClr>
                    </a:gs>
                    <a:gs pos="27434">
                      <a:srgbClr val="282828">
                        <a:lumMod val="90000"/>
                        <a:lumOff val="10000"/>
                      </a:srgbClr>
                    </a:gs>
                  </a:gsLst>
                  <a:lin ang="16200000" scaled="1"/>
                </a:gradFill>
              </a:rPr>
              <a:t>tiering</a:t>
            </a:r>
            <a:r>
              <a:rPr lang="en-NZ" sz="1372" dirty="0">
                <a:gradFill>
                  <a:gsLst>
                    <a:gs pos="5310">
                      <a:srgbClr val="282828">
                        <a:lumMod val="90000"/>
                        <a:lumOff val="10000"/>
                      </a:srgbClr>
                    </a:gs>
                    <a:gs pos="27434">
                      <a:srgbClr val="282828">
                        <a:lumMod val="90000"/>
                        <a:lumOff val="10000"/>
                      </a:srgbClr>
                    </a:gs>
                  </a:gsLst>
                  <a:lin ang="16200000" scaled="1"/>
                </a:gradFill>
              </a:rPr>
              <a:t>, I can have a combination of SSD and regular spinning drives and get the performance of SSDs with the capacity of HDDs.”</a:t>
            </a:r>
          </a:p>
        </p:txBody>
      </p:sp>
      <p:sp>
        <p:nvSpPr>
          <p:cNvPr id="334" name="4 quote"/>
          <p:cNvSpPr txBox="1"/>
          <p:nvPr/>
        </p:nvSpPr>
        <p:spPr>
          <a:xfrm>
            <a:off x="1943873" y="318691"/>
            <a:ext cx="6421424" cy="561211"/>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5310">
                      <a:srgbClr val="282828">
                        <a:lumMod val="90000"/>
                        <a:lumOff val="10000"/>
                      </a:srgbClr>
                    </a:gs>
                    <a:gs pos="27434">
                      <a:srgbClr val="282828">
                        <a:lumMod val="90000"/>
                        <a:lumOff val="10000"/>
                      </a:srgbClr>
                    </a:gs>
                  </a:gsLst>
                  <a:lin ang="16200000" scaled="1"/>
                </a:gradFill>
              </a:rPr>
              <a:t>“I can continue to run my critical finance applications either on my existing SAN or storage spaces.”</a:t>
            </a:r>
          </a:p>
        </p:txBody>
      </p:sp>
      <p:sp>
        <p:nvSpPr>
          <p:cNvPr id="291" name="Blue banner"/>
          <p:cNvSpPr/>
          <p:nvPr/>
        </p:nvSpPr>
        <p:spPr bwMode="auto">
          <a:xfrm>
            <a:off x="1181119" y="291019"/>
            <a:ext cx="10999234" cy="98845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765" dirty="0">
                <a:solidFill>
                  <a:srgbClr val="FFFFFF"/>
                </a:solidFill>
              </a:rPr>
              <a:t>Virtualizing </a:t>
            </a:r>
            <a:r>
              <a:rPr lang="en-US" sz="1765" dirty="0">
                <a:gradFill>
                  <a:gsLst>
                    <a:gs pos="0">
                      <a:srgbClr val="FFFFFF"/>
                    </a:gs>
                    <a:gs pos="100000">
                      <a:srgbClr val="FFFFFF"/>
                    </a:gs>
                  </a:gsLst>
                  <a:lin ang="5400000" scaled="0"/>
                </a:gradFill>
              </a:rPr>
              <a:t>storage on industry standard hardware provides flexibility with minimum investment</a:t>
            </a:r>
          </a:p>
        </p:txBody>
      </p:sp>
      <p:grpSp>
        <p:nvGrpSpPr>
          <p:cNvPr id="23" name="LUNs"/>
          <p:cNvGrpSpPr/>
          <p:nvPr/>
        </p:nvGrpSpPr>
        <p:grpSpPr>
          <a:xfrm>
            <a:off x="1101160" y="4903980"/>
            <a:ext cx="1761115" cy="1635052"/>
            <a:chOff x="1172227" y="5001819"/>
            <a:chExt cx="1796429" cy="1667838"/>
          </a:xfrm>
        </p:grpSpPr>
        <p:sp>
          <p:nvSpPr>
            <p:cNvPr id="86" name="Rectangle 85"/>
            <p:cNvSpPr/>
            <p:nvPr/>
          </p:nvSpPr>
          <p:spPr bwMode="auto">
            <a:xfrm>
              <a:off x="1172227"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95" name="Rectangle 94"/>
            <p:cNvSpPr/>
            <p:nvPr/>
          </p:nvSpPr>
          <p:spPr bwMode="auto">
            <a:xfrm>
              <a:off x="1259361" y="5402580"/>
              <a:ext cx="1611986"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97" name="Straight Connector 96"/>
            <p:cNvCxnSpPr/>
            <p:nvPr/>
          </p:nvCxnSpPr>
          <p:spPr>
            <a:xfrm>
              <a:off x="2619238" y="5236011"/>
              <a:ext cx="0" cy="8504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flipV="1">
              <a:off x="1487992" y="6084407"/>
              <a:ext cx="1131247" cy="2096"/>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1393247" y="5310263"/>
              <a:ext cx="1325170" cy="650858"/>
              <a:chOff x="1393247" y="5310263"/>
              <a:chExt cx="1325170" cy="650858"/>
            </a:xfrm>
          </p:grpSpPr>
          <p:cxnSp>
            <p:nvCxnSpPr>
              <p:cNvPr id="98" name="Straight Connector 97"/>
              <p:cNvCxnSpPr/>
              <p:nvPr/>
            </p:nvCxnSpPr>
            <p:spPr>
              <a:xfrm>
                <a:off x="1794276" y="5322365"/>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2381223" y="5310263"/>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1393247" y="5573090"/>
                <a:ext cx="1325170" cy="388031"/>
                <a:chOff x="1393247" y="5573090"/>
                <a:chExt cx="1325170" cy="388031"/>
              </a:xfrm>
            </p:grpSpPr>
            <p:sp>
              <p:nvSpPr>
                <p:cNvPr id="100" name="Freeform 5"/>
                <p:cNvSpPr>
                  <a:spLocks noChangeAspect="1" noEditPoints="1"/>
                </p:cNvSpPr>
                <p:nvPr/>
              </p:nvSpPr>
              <p:spPr bwMode="auto">
                <a:xfrm>
                  <a:off x="1614191"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93" name="Freeform 5"/>
                <p:cNvSpPr>
                  <a:spLocks noChangeAspect="1" noEditPoints="1"/>
                </p:cNvSpPr>
                <p:nvPr/>
              </p:nvSpPr>
              <p:spPr bwMode="auto">
                <a:xfrm>
                  <a:off x="2207188"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89" name="TextBox 88"/>
                <p:cNvSpPr txBox="1"/>
                <p:nvPr/>
              </p:nvSpPr>
              <p:spPr>
                <a:xfrm>
                  <a:off x="1393247" y="58503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HDDs</a:t>
                  </a:r>
                </a:p>
              </p:txBody>
            </p:sp>
            <p:sp>
              <p:nvSpPr>
                <p:cNvPr id="90" name="TextBox 89"/>
                <p:cNvSpPr txBox="1"/>
                <p:nvPr/>
              </p:nvSpPr>
              <p:spPr>
                <a:xfrm>
                  <a:off x="2016501" y="585032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SD</a:t>
                  </a:r>
                </a:p>
              </p:txBody>
            </p:sp>
          </p:grpSp>
        </p:grpSp>
        <p:cxnSp>
          <p:nvCxnSpPr>
            <p:cNvPr id="96" name="Straight Connector 95"/>
            <p:cNvCxnSpPr/>
            <p:nvPr/>
          </p:nvCxnSpPr>
          <p:spPr>
            <a:xfrm>
              <a:off x="1489699" y="5236011"/>
              <a:ext cx="0" cy="8504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172227" y="5001819"/>
              <a:ext cx="1796429" cy="3262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95575">
                        <a:srgbClr val="FFFFFF"/>
                      </a:gs>
                      <a:gs pos="84071">
                        <a:srgbClr val="FFFFFF"/>
                      </a:gs>
                    </a:gsLst>
                    <a:lin ang="5400000" scaled="0"/>
                  </a:gradFill>
                  <a:latin typeface="Segoe UI Semibold" panose="020B0702040204020203" pitchFamily="34" charset="0"/>
                </a:rPr>
                <a:t>LUNs</a:t>
              </a:r>
            </a:p>
          </p:txBody>
        </p:sp>
      </p:grpSp>
      <p:grpSp>
        <p:nvGrpSpPr>
          <p:cNvPr id="155" name="Side bar"/>
          <p:cNvGrpSpPr/>
          <p:nvPr/>
        </p:nvGrpSpPr>
        <p:grpSpPr>
          <a:xfrm>
            <a:off x="1" y="487"/>
            <a:ext cx="986067" cy="6857027"/>
            <a:chOff x="0" y="0"/>
            <a:chExt cx="1005840" cy="6994525"/>
          </a:xfrm>
        </p:grpSpPr>
        <p:sp>
          <p:nvSpPr>
            <p:cNvPr id="150" name="Rectangle 149"/>
            <p:cNvSpPr/>
            <p:nvPr/>
          </p:nvSpPr>
          <p:spPr bwMode="auto">
            <a:xfrm>
              <a:off x="0" y="0"/>
              <a:ext cx="1005840" cy="6994525"/>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151" name="Rectangle 150"/>
            <p:cNvSpPr/>
            <p:nvPr/>
          </p:nvSpPr>
          <p:spPr bwMode="auto">
            <a:xfrm>
              <a:off x="0" y="5096998"/>
              <a:ext cx="1005840" cy="1554480"/>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52" name="Rectangle 151"/>
            <p:cNvSpPr/>
            <p:nvPr/>
          </p:nvSpPr>
          <p:spPr bwMode="auto">
            <a:xfrm>
              <a:off x="0" y="3498863"/>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53" name="Rectangle 152"/>
            <p:cNvSpPr/>
            <p:nvPr/>
          </p:nvSpPr>
          <p:spPr bwMode="auto">
            <a:xfrm>
              <a:off x="0" y="1900729"/>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629" defTabSz="897243"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a:t>
              </a:r>
              <a:r>
                <a:rPr lang="en-US" sz="1568" spc="-20" dirty="0" smtClean="0">
                  <a:gradFill>
                    <a:gsLst>
                      <a:gs pos="47788">
                        <a:srgbClr val="282828">
                          <a:lumMod val="90000"/>
                          <a:lumOff val="10000"/>
                        </a:srgbClr>
                      </a:gs>
                      <a:gs pos="84071">
                        <a:srgbClr val="282828">
                          <a:lumMod val="90000"/>
                          <a:lumOff val="10000"/>
                        </a:srgbClr>
                      </a:gs>
                    </a:gsLst>
                    <a:lin ang="5400000" scaled="0"/>
                  </a:gradFill>
                  <a:latin typeface="Segoe UI Semibold" panose="020B0702040204020203" pitchFamily="34" charset="0"/>
                </a:rPr>
                <a:t> </a:t>
              </a:r>
              <a:r>
                <a:rPr lang="en-US" sz="1568" spc="-20" dirty="0">
                  <a:gradFill>
                    <a:gsLst>
                      <a:gs pos="47788">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a:t>
              </a:r>
            </a:p>
          </p:txBody>
        </p:sp>
        <p:sp>
          <p:nvSpPr>
            <p:cNvPr id="154" name="Rectangle 153"/>
            <p:cNvSpPr/>
            <p:nvPr/>
          </p:nvSpPr>
          <p:spPr bwMode="auto">
            <a:xfrm>
              <a:off x="0" y="302595"/>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grpSp>
      <p:cxnSp>
        <p:nvCxnSpPr>
          <p:cNvPr id="167" name="Straight Connector 166"/>
          <p:cNvCxnSpPr/>
          <p:nvPr/>
        </p:nvCxnSpPr>
        <p:spPr>
          <a:xfrm>
            <a:off x="1582041" y="2980789"/>
            <a:ext cx="0" cy="1826776"/>
          </a:xfrm>
          <a:prstGeom prst="line">
            <a:avLst/>
          </a:prstGeom>
          <a:ln w="12700">
            <a:solidFill>
              <a:srgbClr val="7F7F7F"/>
            </a:solidFill>
            <a:tailEnd type="ova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582460" y="2980789"/>
            <a:ext cx="621252" cy="0"/>
          </a:xfrm>
          <a:prstGeom prst="line">
            <a:avLst/>
          </a:prstGeom>
          <a:ln w="12700">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9" name="SANs"/>
          <p:cNvGrpSpPr/>
          <p:nvPr/>
        </p:nvGrpSpPr>
        <p:grpSpPr>
          <a:xfrm>
            <a:off x="952348" y="2889251"/>
            <a:ext cx="799423" cy="335580"/>
            <a:chOff x="3409651" y="5318433"/>
            <a:chExt cx="815453" cy="342309"/>
          </a:xfrm>
        </p:grpSpPr>
        <p:sp>
          <p:nvSpPr>
            <p:cNvPr id="239" name="Freeform 5"/>
            <p:cNvSpPr>
              <a:spLocks noChangeAspect="1" noEditPoints="1"/>
            </p:cNvSpPr>
            <p:nvPr/>
          </p:nvSpPr>
          <p:spPr bwMode="auto">
            <a:xfrm>
              <a:off x="3872272" y="5318433"/>
              <a:ext cx="349833" cy="265924"/>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240" name="TextBox 239"/>
            <p:cNvSpPr txBox="1"/>
            <p:nvPr/>
          </p:nvSpPr>
          <p:spPr>
            <a:xfrm>
              <a:off x="3409651" y="5549942"/>
              <a:ext cx="815453"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Ns</a:t>
              </a:r>
            </a:p>
          </p:txBody>
        </p:sp>
      </p:grpSp>
      <p:cxnSp>
        <p:nvCxnSpPr>
          <p:cNvPr id="180" name="Gold straight 2"/>
          <p:cNvCxnSpPr/>
          <p:nvPr/>
        </p:nvCxnSpPr>
        <p:spPr>
          <a:xfrm>
            <a:off x="3734367" y="3069019"/>
            <a:ext cx="0" cy="17355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a:off x="6544213" y="3203443"/>
            <a:ext cx="0" cy="160412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244" name="Silver storage"/>
          <p:cNvGrpSpPr/>
          <p:nvPr/>
        </p:nvGrpSpPr>
        <p:grpSpPr>
          <a:xfrm>
            <a:off x="5672728" y="4903980"/>
            <a:ext cx="1761115" cy="1635052"/>
            <a:chOff x="5013661" y="5001819"/>
            <a:chExt cx="1796429" cy="1667838"/>
          </a:xfrm>
        </p:grpSpPr>
        <p:sp>
          <p:nvSpPr>
            <p:cNvPr id="245" name="Rectangle 244"/>
            <p:cNvSpPr/>
            <p:nvPr/>
          </p:nvSpPr>
          <p:spPr bwMode="auto">
            <a:xfrm>
              <a:off x="5013661"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246" name="Rectangle 245"/>
            <p:cNvSpPr/>
            <p:nvPr/>
          </p:nvSpPr>
          <p:spPr bwMode="auto">
            <a:xfrm>
              <a:off x="5101292" y="5402580"/>
              <a:ext cx="1621168"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247" name="Straight Connector 246"/>
            <p:cNvCxnSpPr/>
            <p:nvPr/>
          </p:nvCxnSpPr>
          <p:spPr>
            <a:xfrm>
              <a:off x="5332942" y="5241033"/>
              <a:ext cx="0" cy="1205487"/>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6468914" y="5241033"/>
              <a:ext cx="0" cy="1205487"/>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flipH="1" flipV="1">
              <a:off x="5331224" y="6446061"/>
              <a:ext cx="1137690" cy="20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250" name="Group 249"/>
            <p:cNvGrpSpPr/>
            <p:nvPr/>
          </p:nvGrpSpPr>
          <p:grpSpPr>
            <a:xfrm>
              <a:off x="5249290" y="5310263"/>
              <a:ext cx="1325170" cy="1100438"/>
              <a:chOff x="1393247" y="5310263"/>
              <a:chExt cx="1325170" cy="1100438"/>
            </a:xfrm>
          </p:grpSpPr>
          <p:cxnSp>
            <p:nvCxnSpPr>
              <p:cNvPr id="252" name="Straight Connector 251"/>
              <p:cNvCxnSpPr/>
              <p:nvPr/>
            </p:nvCxnSpPr>
            <p:spPr>
              <a:xfrm>
                <a:off x="2075153" y="5310263"/>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53" name="Group 252"/>
              <p:cNvGrpSpPr/>
              <p:nvPr/>
            </p:nvGrpSpPr>
            <p:grpSpPr>
              <a:xfrm>
                <a:off x="1393247" y="5558624"/>
                <a:ext cx="1325170" cy="852077"/>
                <a:chOff x="1393247" y="5558624"/>
                <a:chExt cx="1325170" cy="852077"/>
              </a:xfrm>
            </p:grpSpPr>
            <p:sp>
              <p:nvSpPr>
                <p:cNvPr id="254" name="Freeform 5"/>
                <p:cNvSpPr>
                  <a:spLocks noChangeAspect="1" noEditPoints="1"/>
                </p:cNvSpPr>
                <p:nvPr/>
              </p:nvSpPr>
              <p:spPr bwMode="auto">
                <a:xfrm>
                  <a:off x="1614191" y="602267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255" name="Freeform 5"/>
                <p:cNvSpPr>
                  <a:spLocks noChangeAspect="1" noEditPoints="1"/>
                </p:cNvSpPr>
                <p:nvPr/>
              </p:nvSpPr>
              <p:spPr bwMode="auto">
                <a:xfrm>
                  <a:off x="2207188" y="602267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256" name="TextBox 255"/>
                <p:cNvSpPr txBox="1"/>
                <p:nvPr/>
              </p:nvSpPr>
              <p:spPr>
                <a:xfrm>
                  <a:off x="1393247" y="629990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S</a:t>
                  </a:r>
                </a:p>
              </p:txBody>
            </p:sp>
            <p:sp>
              <p:nvSpPr>
                <p:cNvPr id="257" name="TextBox 256"/>
                <p:cNvSpPr txBox="1"/>
                <p:nvPr/>
              </p:nvSpPr>
              <p:spPr>
                <a:xfrm>
                  <a:off x="2016501" y="629990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S</a:t>
                  </a:r>
                </a:p>
              </p:txBody>
            </p:sp>
            <p:sp>
              <p:nvSpPr>
                <p:cNvPr id="258" name="Freeform 5"/>
                <p:cNvSpPr>
                  <a:spLocks noChangeAspect="1" noEditPoints="1"/>
                </p:cNvSpPr>
                <p:nvPr/>
              </p:nvSpPr>
              <p:spPr bwMode="auto">
                <a:xfrm>
                  <a:off x="1910690" y="5558624"/>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259" name="TextBox 258"/>
                <p:cNvSpPr txBox="1"/>
                <p:nvPr/>
              </p:nvSpPr>
              <p:spPr>
                <a:xfrm>
                  <a:off x="1759334" y="5834443"/>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grpSp>
        </p:grpSp>
        <p:sp>
          <p:nvSpPr>
            <p:cNvPr id="251" name="Rectangle 250"/>
            <p:cNvSpPr/>
            <p:nvPr/>
          </p:nvSpPr>
          <p:spPr bwMode="auto">
            <a:xfrm>
              <a:off x="5013661" y="5001819"/>
              <a:ext cx="1796429"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grpSp>
      <p:cxnSp>
        <p:nvCxnSpPr>
          <p:cNvPr id="267" name="Straight Connector 266"/>
          <p:cNvCxnSpPr/>
          <p:nvPr/>
        </p:nvCxnSpPr>
        <p:spPr>
          <a:xfrm>
            <a:off x="10032676" y="3213515"/>
            <a:ext cx="0" cy="1594049"/>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1964284" y="2087261"/>
            <a:ext cx="9173618" cy="1351858"/>
            <a:chOff x="2003672" y="2128618"/>
            <a:chExt cx="9357568" cy="1378966"/>
          </a:xfrm>
        </p:grpSpPr>
        <p:grpSp>
          <p:nvGrpSpPr>
            <p:cNvPr id="181" name="Gold"/>
            <p:cNvGrpSpPr/>
            <p:nvPr/>
          </p:nvGrpSpPr>
          <p:grpSpPr>
            <a:xfrm>
              <a:off x="2003672" y="2128618"/>
              <a:ext cx="2259247" cy="1378966"/>
              <a:chOff x="3648860" y="2575497"/>
              <a:chExt cx="2259247" cy="1378966"/>
            </a:xfrm>
          </p:grpSpPr>
          <p:grpSp>
            <p:nvGrpSpPr>
              <p:cNvPr id="233" name="Group 232"/>
              <p:cNvGrpSpPr/>
              <p:nvPr/>
            </p:nvGrpSpPr>
            <p:grpSpPr>
              <a:xfrm>
                <a:off x="3653622" y="2957112"/>
                <a:ext cx="2254485" cy="997351"/>
                <a:chOff x="5975576" y="2973304"/>
                <a:chExt cx="2254485" cy="997351"/>
              </a:xfrm>
            </p:grpSpPr>
            <p:cxnSp>
              <p:nvCxnSpPr>
                <p:cNvPr id="235" name="Elbow Connector 234"/>
                <p:cNvCxnSpPr/>
                <p:nvPr/>
              </p:nvCxnSpPr>
              <p:spPr>
                <a:xfrm rot="5400000">
                  <a:off x="7087940" y="3142816"/>
                  <a:ext cx="12086" cy="764482"/>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36" name="Freeform 207"/>
                <p:cNvSpPr>
                  <a:spLocks noEditPoints="1"/>
                </p:cNvSpPr>
                <p:nvPr/>
              </p:nvSpPr>
              <p:spPr bwMode="gray">
                <a:xfrm>
                  <a:off x="6198214"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237" name="Freeform 207"/>
                <p:cNvSpPr>
                  <a:spLocks noEditPoints="1"/>
                </p:cNvSpPr>
                <p:nvPr/>
              </p:nvSpPr>
              <p:spPr bwMode="gray">
                <a:xfrm>
                  <a:off x="738356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238" name="Rectangle 237"/>
                <p:cNvSpPr/>
                <p:nvPr/>
              </p:nvSpPr>
              <p:spPr bwMode="auto">
                <a:xfrm>
                  <a:off x="5975576" y="2973304"/>
                  <a:ext cx="2254485" cy="997351"/>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Finance</a:t>
                  </a:r>
                </a:p>
              </p:txBody>
            </p:sp>
          </p:grpSp>
          <p:sp>
            <p:nvSpPr>
              <p:cNvPr id="234" name="Rectangle 233"/>
              <p:cNvSpPr/>
              <p:nvPr/>
            </p:nvSpPr>
            <p:spPr bwMode="auto">
              <a:xfrm>
                <a:off x="3648860" y="2575497"/>
                <a:ext cx="2259247" cy="326275"/>
              </a:xfrm>
              <a:prstGeom prst="rect">
                <a:avLst/>
              </a:prstGeom>
              <a:solidFill>
                <a:srgbClr val="BFB5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Gold</a:t>
                </a:r>
              </a:p>
            </p:txBody>
          </p:sp>
        </p:grpSp>
        <p:grpSp>
          <p:nvGrpSpPr>
            <p:cNvPr id="243" name="Silver"/>
            <p:cNvGrpSpPr/>
            <p:nvPr/>
          </p:nvGrpSpPr>
          <p:grpSpPr>
            <a:xfrm>
              <a:off x="5555068" y="2128618"/>
              <a:ext cx="2259247" cy="1378966"/>
              <a:chOff x="5971897" y="2575497"/>
              <a:chExt cx="2259247" cy="1378966"/>
            </a:xfrm>
          </p:grpSpPr>
          <p:grpSp>
            <p:nvGrpSpPr>
              <p:cNvPr id="260" name="Group 259"/>
              <p:cNvGrpSpPr/>
              <p:nvPr/>
            </p:nvGrpSpPr>
            <p:grpSpPr>
              <a:xfrm>
                <a:off x="5974424" y="2957112"/>
                <a:ext cx="2254485" cy="997351"/>
                <a:chOff x="5975576" y="2973304"/>
                <a:chExt cx="2254485" cy="997351"/>
              </a:xfrm>
            </p:grpSpPr>
            <p:cxnSp>
              <p:nvCxnSpPr>
                <p:cNvPr id="262" name="Elbow Connector 261"/>
                <p:cNvCxnSpPr/>
                <p:nvPr/>
              </p:nvCxnSpPr>
              <p:spPr>
                <a:xfrm rot="5400000">
                  <a:off x="7087940" y="3142816"/>
                  <a:ext cx="12086" cy="764482"/>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63" name="Freeform 207"/>
                <p:cNvSpPr>
                  <a:spLocks noEditPoints="1"/>
                </p:cNvSpPr>
                <p:nvPr/>
              </p:nvSpPr>
              <p:spPr bwMode="gray">
                <a:xfrm>
                  <a:off x="6198214"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264" name="Freeform 207"/>
                <p:cNvSpPr>
                  <a:spLocks noEditPoints="1"/>
                </p:cNvSpPr>
                <p:nvPr/>
              </p:nvSpPr>
              <p:spPr bwMode="gray">
                <a:xfrm>
                  <a:off x="738356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265" name="Rectangle 264"/>
                <p:cNvSpPr/>
                <p:nvPr/>
              </p:nvSpPr>
              <p:spPr bwMode="auto">
                <a:xfrm>
                  <a:off x="5975576" y="2973304"/>
                  <a:ext cx="2254485" cy="997351"/>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HR</a:t>
                  </a:r>
                </a:p>
              </p:txBody>
            </p:sp>
          </p:grpSp>
          <p:sp>
            <p:nvSpPr>
              <p:cNvPr id="261" name="Rectangle 260"/>
              <p:cNvSpPr/>
              <p:nvPr/>
            </p:nvSpPr>
            <p:spPr bwMode="auto">
              <a:xfrm>
                <a:off x="5971897" y="2575497"/>
                <a:ext cx="2259247" cy="326275"/>
              </a:xfrm>
              <a:prstGeom prst="rect">
                <a:avLst/>
              </a:prstGeom>
              <a:solidFill>
                <a:schemeClr val="accent4">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Silver</a:t>
                </a:r>
              </a:p>
            </p:txBody>
          </p:sp>
        </p:grpSp>
        <p:grpSp>
          <p:nvGrpSpPr>
            <p:cNvPr id="268" name="Bronze"/>
            <p:cNvGrpSpPr/>
            <p:nvPr/>
          </p:nvGrpSpPr>
          <p:grpSpPr>
            <a:xfrm>
              <a:off x="9106464" y="2128618"/>
              <a:ext cx="2254776" cy="1378966"/>
              <a:chOff x="8294934" y="2575497"/>
              <a:chExt cx="2254776" cy="1378966"/>
            </a:xfrm>
          </p:grpSpPr>
          <p:grpSp>
            <p:nvGrpSpPr>
              <p:cNvPr id="285" name="Group 284"/>
              <p:cNvGrpSpPr/>
              <p:nvPr/>
            </p:nvGrpSpPr>
            <p:grpSpPr>
              <a:xfrm>
                <a:off x="8295225" y="2957112"/>
                <a:ext cx="2254485" cy="997351"/>
                <a:chOff x="8295225" y="2968542"/>
                <a:chExt cx="2254485" cy="997351"/>
              </a:xfrm>
            </p:grpSpPr>
            <p:cxnSp>
              <p:nvCxnSpPr>
                <p:cNvPr id="287" name="Elbow Connector 286"/>
                <p:cNvCxnSpPr/>
                <p:nvPr/>
              </p:nvCxnSpPr>
              <p:spPr>
                <a:xfrm rot="5400000">
                  <a:off x="9416425" y="3142816"/>
                  <a:ext cx="12086" cy="764482"/>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88" name="Freeform 207"/>
                <p:cNvSpPr>
                  <a:spLocks noEditPoints="1"/>
                </p:cNvSpPr>
                <p:nvPr/>
              </p:nvSpPr>
              <p:spPr bwMode="gray">
                <a:xfrm>
                  <a:off x="8540772"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289" name="Freeform 207"/>
                <p:cNvSpPr>
                  <a:spLocks noEditPoints="1"/>
                </p:cNvSpPr>
                <p:nvPr/>
              </p:nvSpPr>
              <p:spPr bwMode="gray">
                <a:xfrm>
                  <a:off x="969797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290" name="Rectangle 289"/>
                <p:cNvSpPr/>
                <p:nvPr/>
              </p:nvSpPr>
              <p:spPr bwMode="auto">
                <a:xfrm>
                  <a:off x="8295225" y="2968542"/>
                  <a:ext cx="2254485" cy="997351"/>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89642" rIns="179285" bIns="89642"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Marketing</a:t>
                  </a:r>
                </a:p>
              </p:txBody>
            </p:sp>
          </p:grpSp>
          <p:sp>
            <p:nvSpPr>
              <p:cNvPr id="286" name="Rectangle 285"/>
              <p:cNvSpPr/>
              <p:nvPr/>
            </p:nvSpPr>
            <p:spPr bwMode="auto">
              <a:xfrm>
                <a:off x="8294934" y="2575497"/>
                <a:ext cx="2254776" cy="32627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Bronze</a:t>
                </a:r>
              </a:p>
            </p:txBody>
          </p:sp>
        </p:grpSp>
      </p:grpSp>
      <p:grpSp>
        <p:nvGrpSpPr>
          <p:cNvPr id="269" name="Bronze storage"/>
          <p:cNvGrpSpPr/>
          <p:nvPr/>
        </p:nvGrpSpPr>
        <p:grpSpPr>
          <a:xfrm>
            <a:off x="9152120" y="4903980"/>
            <a:ext cx="1761115" cy="1635052"/>
            <a:chOff x="5013661" y="5001819"/>
            <a:chExt cx="1796429" cy="1667838"/>
          </a:xfrm>
        </p:grpSpPr>
        <p:sp>
          <p:nvSpPr>
            <p:cNvPr id="270" name="Rectangle 269"/>
            <p:cNvSpPr/>
            <p:nvPr/>
          </p:nvSpPr>
          <p:spPr bwMode="auto">
            <a:xfrm>
              <a:off x="5013661"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271" name="Rectangle 270"/>
            <p:cNvSpPr/>
            <p:nvPr/>
          </p:nvSpPr>
          <p:spPr bwMode="auto">
            <a:xfrm>
              <a:off x="5101292" y="5402580"/>
              <a:ext cx="1621168"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272" name="Straight Connector 271"/>
            <p:cNvCxnSpPr/>
            <p:nvPr/>
          </p:nvCxnSpPr>
          <p:spPr>
            <a:xfrm>
              <a:off x="5332942" y="5241033"/>
              <a:ext cx="0" cy="1207392"/>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a:off x="6468914" y="5241033"/>
              <a:ext cx="0" cy="1202630"/>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flipH="1" flipV="1">
              <a:off x="5331224" y="6444156"/>
              <a:ext cx="1137690" cy="20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275" name="Rectangle 274"/>
            <p:cNvSpPr/>
            <p:nvPr/>
          </p:nvSpPr>
          <p:spPr bwMode="auto">
            <a:xfrm>
              <a:off x="5013661" y="5001819"/>
              <a:ext cx="1796429"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grpSp>
          <p:nvGrpSpPr>
            <p:cNvPr id="276" name="Group 275"/>
            <p:cNvGrpSpPr/>
            <p:nvPr/>
          </p:nvGrpSpPr>
          <p:grpSpPr>
            <a:xfrm>
              <a:off x="5249290" y="5322365"/>
              <a:ext cx="1325170" cy="1057856"/>
              <a:chOff x="1393247" y="5322365"/>
              <a:chExt cx="1325170" cy="1057856"/>
            </a:xfrm>
          </p:grpSpPr>
          <p:cxnSp>
            <p:nvCxnSpPr>
              <p:cNvPr id="277" name="Straight Connector 276"/>
              <p:cNvCxnSpPr/>
              <p:nvPr/>
            </p:nvCxnSpPr>
            <p:spPr>
              <a:xfrm>
                <a:off x="2086376" y="5322365"/>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8" name="Group 277"/>
              <p:cNvGrpSpPr/>
              <p:nvPr/>
            </p:nvGrpSpPr>
            <p:grpSpPr>
              <a:xfrm>
                <a:off x="1393247" y="5555082"/>
                <a:ext cx="1325170" cy="825139"/>
                <a:chOff x="1393247" y="5555082"/>
                <a:chExt cx="1325170" cy="825139"/>
              </a:xfrm>
            </p:grpSpPr>
            <p:sp>
              <p:nvSpPr>
                <p:cNvPr id="279" name="Freeform 5"/>
                <p:cNvSpPr>
                  <a:spLocks noChangeAspect="1" noEditPoints="1"/>
                </p:cNvSpPr>
                <p:nvPr/>
              </p:nvSpPr>
              <p:spPr bwMode="auto">
                <a:xfrm>
                  <a:off x="1614191" y="59921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280" name="Freeform 5"/>
                <p:cNvSpPr>
                  <a:spLocks noChangeAspect="1" noEditPoints="1"/>
                </p:cNvSpPr>
                <p:nvPr/>
              </p:nvSpPr>
              <p:spPr bwMode="auto">
                <a:xfrm>
                  <a:off x="2207188" y="59921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281" name="TextBox 280"/>
                <p:cNvSpPr txBox="1"/>
                <p:nvPr/>
              </p:nvSpPr>
              <p:spPr>
                <a:xfrm>
                  <a:off x="1393247" y="62694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TA</a:t>
                  </a:r>
                </a:p>
              </p:txBody>
            </p:sp>
            <p:sp>
              <p:nvSpPr>
                <p:cNvPr id="282" name="TextBox 281"/>
                <p:cNvSpPr txBox="1"/>
                <p:nvPr/>
              </p:nvSpPr>
              <p:spPr>
                <a:xfrm>
                  <a:off x="2016501" y="626942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TA</a:t>
                  </a:r>
                </a:p>
              </p:txBody>
            </p:sp>
            <p:sp>
              <p:nvSpPr>
                <p:cNvPr id="283" name="Freeform 5"/>
                <p:cNvSpPr>
                  <a:spLocks noChangeAspect="1" noEditPoints="1"/>
                </p:cNvSpPr>
                <p:nvPr/>
              </p:nvSpPr>
              <p:spPr bwMode="auto">
                <a:xfrm>
                  <a:off x="1910690" y="5555082"/>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284" name="TextBox 283"/>
                <p:cNvSpPr txBox="1"/>
                <p:nvPr/>
              </p:nvSpPr>
              <p:spPr>
                <a:xfrm>
                  <a:off x="1704874" y="58250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grpSp>
        </p:grpSp>
      </p:grpSp>
      <p:grpSp>
        <p:nvGrpSpPr>
          <p:cNvPr id="295" name="Dotted lines"/>
          <p:cNvGrpSpPr/>
          <p:nvPr/>
        </p:nvGrpSpPr>
        <p:grpSpPr>
          <a:xfrm>
            <a:off x="4812493" y="2030460"/>
            <a:ext cx="3481583" cy="4490751"/>
            <a:chOff x="4908993" y="2070678"/>
            <a:chExt cx="3551396" cy="4580800"/>
          </a:xfrm>
        </p:grpSpPr>
        <p:cxnSp>
          <p:nvCxnSpPr>
            <p:cNvPr id="296" name="Straight Connector 295"/>
            <p:cNvCxnSpPr/>
            <p:nvPr/>
          </p:nvCxnSpPr>
          <p:spPr>
            <a:xfrm>
              <a:off x="4908993" y="2070678"/>
              <a:ext cx="0" cy="4580800"/>
            </a:xfrm>
            <a:prstGeom prst="line">
              <a:avLst/>
            </a:prstGeom>
            <a:ln w="57150">
              <a:solidFill>
                <a:schemeClr val="tx1">
                  <a:lumMod val="10000"/>
                  <a:lumOff val="9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a:off x="8460389" y="2070678"/>
              <a:ext cx="0" cy="4580800"/>
            </a:xfrm>
            <a:prstGeom prst="line">
              <a:avLst/>
            </a:prstGeom>
            <a:ln w="57150">
              <a:solidFill>
                <a:schemeClr val="tx1">
                  <a:lumMod val="10000"/>
                  <a:lumOff val="9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98" name="Straight Connector 297"/>
          <p:cNvCxnSpPr/>
          <p:nvPr/>
        </p:nvCxnSpPr>
        <p:spPr>
          <a:xfrm>
            <a:off x="3052305" y="3200479"/>
            <a:ext cx="0" cy="160412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299" name="Gold storage 1"/>
          <p:cNvGrpSpPr/>
          <p:nvPr/>
        </p:nvGrpSpPr>
        <p:grpSpPr>
          <a:xfrm>
            <a:off x="2170239" y="4903980"/>
            <a:ext cx="1761115" cy="1635052"/>
            <a:chOff x="3015601" y="5001819"/>
            <a:chExt cx="1796429" cy="1667838"/>
          </a:xfrm>
        </p:grpSpPr>
        <p:sp>
          <p:nvSpPr>
            <p:cNvPr id="300" name="Rectangle 299"/>
            <p:cNvSpPr/>
            <p:nvPr/>
          </p:nvSpPr>
          <p:spPr bwMode="auto">
            <a:xfrm>
              <a:off x="3015601"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301" name="Rectangle 300"/>
            <p:cNvSpPr/>
            <p:nvPr/>
          </p:nvSpPr>
          <p:spPr bwMode="auto">
            <a:xfrm>
              <a:off x="3103232" y="5402580"/>
              <a:ext cx="1621168"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grpSp>
          <p:nvGrpSpPr>
            <p:cNvPr id="302" name="Group 301"/>
            <p:cNvGrpSpPr/>
            <p:nvPr/>
          </p:nvGrpSpPr>
          <p:grpSpPr>
            <a:xfrm>
              <a:off x="3334882" y="5241033"/>
              <a:ext cx="1135972" cy="1224078"/>
              <a:chOff x="3334882" y="5241033"/>
              <a:chExt cx="1135972" cy="848981"/>
            </a:xfrm>
          </p:grpSpPr>
          <p:cxnSp>
            <p:nvCxnSpPr>
              <p:cNvPr id="313" name="Straight Connector 312"/>
              <p:cNvCxnSpPr/>
              <p:nvPr/>
            </p:nvCxnSpPr>
            <p:spPr>
              <a:xfrm>
                <a:off x="3334882" y="5241033"/>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a:off x="4470854" y="5241033"/>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cxnSp>
          <p:nvCxnSpPr>
            <p:cNvPr id="303" name="Straight Connector 302"/>
            <p:cNvCxnSpPr/>
            <p:nvPr/>
          </p:nvCxnSpPr>
          <p:spPr>
            <a:xfrm>
              <a:off x="3900983" y="5327234"/>
              <a:ext cx="0" cy="26093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flipH="1" flipV="1">
              <a:off x="3333164" y="6465111"/>
              <a:ext cx="1137690" cy="20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05" name="Freeform 5"/>
            <p:cNvSpPr>
              <a:spLocks noChangeAspect="1" noEditPoints="1"/>
            </p:cNvSpPr>
            <p:nvPr/>
          </p:nvSpPr>
          <p:spPr bwMode="auto">
            <a:xfrm>
              <a:off x="3719872" y="5577513"/>
              <a:ext cx="349833" cy="265924"/>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06" name="TextBox 305"/>
            <p:cNvSpPr txBox="1"/>
            <p:nvPr/>
          </p:nvSpPr>
          <p:spPr>
            <a:xfrm>
              <a:off x="3497670" y="5854251"/>
              <a:ext cx="815453"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sp>
          <p:nvSpPr>
            <p:cNvPr id="307" name="Rectangle 306"/>
            <p:cNvSpPr/>
            <p:nvPr/>
          </p:nvSpPr>
          <p:spPr bwMode="auto">
            <a:xfrm>
              <a:off x="3015601" y="5001819"/>
              <a:ext cx="1796429"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grpSp>
          <p:nvGrpSpPr>
            <p:cNvPr id="308" name="Group 307"/>
            <p:cNvGrpSpPr/>
            <p:nvPr/>
          </p:nvGrpSpPr>
          <p:grpSpPr>
            <a:xfrm>
              <a:off x="3235221" y="6044627"/>
              <a:ext cx="1325170" cy="388031"/>
              <a:chOff x="1393247" y="5573090"/>
              <a:chExt cx="1325170" cy="388031"/>
            </a:xfrm>
          </p:grpSpPr>
          <p:sp>
            <p:nvSpPr>
              <p:cNvPr id="309" name="Freeform 5"/>
              <p:cNvSpPr>
                <a:spLocks noChangeAspect="1" noEditPoints="1"/>
              </p:cNvSpPr>
              <p:nvPr/>
            </p:nvSpPr>
            <p:spPr bwMode="auto">
              <a:xfrm>
                <a:off x="1614191"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10" name="Freeform 5"/>
              <p:cNvSpPr>
                <a:spLocks noChangeAspect="1" noEditPoints="1"/>
              </p:cNvSpPr>
              <p:nvPr/>
            </p:nvSpPr>
            <p:spPr bwMode="auto">
              <a:xfrm>
                <a:off x="2207188"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311" name="TextBox 310"/>
              <p:cNvSpPr txBox="1"/>
              <p:nvPr/>
            </p:nvSpPr>
            <p:spPr>
              <a:xfrm>
                <a:off x="1393247" y="58503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HDD</a:t>
                </a:r>
              </a:p>
            </p:txBody>
          </p:sp>
          <p:sp>
            <p:nvSpPr>
              <p:cNvPr id="312" name="TextBox 311"/>
              <p:cNvSpPr txBox="1"/>
              <p:nvPr/>
            </p:nvSpPr>
            <p:spPr>
              <a:xfrm>
                <a:off x="2016501" y="585032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SDs</a:t>
                </a:r>
              </a:p>
            </p:txBody>
          </p:sp>
        </p:grpSp>
      </p:grpSp>
      <p:sp>
        <p:nvSpPr>
          <p:cNvPr id="322" name="Oval 321"/>
          <p:cNvSpPr/>
          <p:nvPr/>
        </p:nvSpPr>
        <p:spPr bwMode="auto">
          <a:xfrm>
            <a:off x="3337433" y="2848576"/>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3" name="Oval 322"/>
          <p:cNvSpPr/>
          <p:nvPr/>
        </p:nvSpPr>
        <p:spPr bwMode="auto">
          <a:xfrm>
            <a:off x="6826079" y="2848576"/>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7" name="Oval 326"/>
          <p:cNvSpPr/>
          <p:nvPr/>
        </p:nvSpPr>
        <p:spPr bwMode="auto">
          <a:xfrm>
            <a:off x="10308974" y="2848464"/>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8" name="Oval 327"/>
          <p:cNvSpPr/>
          <p:nvPr/>
        </p:nvSpPr>
        <p:spPr bwMode="auto">
          <a:xfrm>
            <a:off x="2581001" y="2854816"/>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9" name="Oval 328"/>
          <p:cNvSpPr/>
          <p:nvPr/>
        </p:nvSpPr>
        <p:spPr bwMode="auto">
          <a:xfrm>
            <a:off x="6064961" y="2854816"/>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30" name="Oval 329"/>
          <p:cNvSpPr/>
          <p:nvPr/>
        </p:nvSpPr>
        <p:spPr bwMode="auto">
          <a:xfrm>
            <a:off x="9542889" y="2854816"/>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p:nvPr/>
        </p:nvGrpSpPr>
        <p:grpSpPr>
          <a:xfrm>
            <a:off x="2537707" y="5469424"/>
            <a:ext cx="1014616" cy="721747"/>
            <a:chOff x="2588592" y="5578601"/>
            <a:chExt cx="1034961" cy="736220"/>
          </a:xfrm>
        </p:grpSpPr>
        <p:grpSp>
          <p:nvGrpSpPr>
            <p:cNvPr id="24" name="Group 23"/>
            <p:cNvGrpSpPr/>
            <p:nvPr/>
          </p:nvGrpSpPr>
          <p:grpSpPr>
            <a:xfrm>
              <a:off x="2588592" y="5578601"/>
              <a:ext cx="1034961" cy="728726"/>
              <a:chOff x="2588592" y="5578601"/>
              <a:chExt cx="1034961" cy="728726"/>
            </a:xfrm>
          </p:grpSpPr>
          <p:sp>
            <p:nvSpPr>
              <p:cNvPr id="22" name="Rectangle 21"/>
              <p:cNvSpPr/>
              <p:nvPr/>
            </p:nvSpPr>
            <p:spPr bwMode="auto">
              <a:xfrm>
                <a:off x="2817929" y="5578601"/>
                <a:ext cx="547656" cy="271720"/>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6" name="Rectangle 345"/>
              <p:cNvSpPr/>
              <p:nvPr/>
            </p:nvSpPr>
            <p:spPr bwMode="auto">
              <a:xfrm>
                <a:off x="2588592" y="6035607"/>
                <a:ext cx="1034961" cy="271720"/>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2654131" y="5581310"/>
              <a:ext cx="940848" cy="733511"/>
              <a:chOff x="3257666" y="7009094"/>
              <a:chExt cx="940848" cy="733511"/>
            </a:xfrm>
            <a:solidFill>
              <a:schemeClr val="accent2"/>
            </a:solidFill>
          </p:grpSpPr>
          <p:sp>
            <p:nvSpPr>
              <p:cNvPr id="343" name="Freeform 5"/>
              <p:cNvSpPr>
                <a:spLocks noChangeAspect="1" noEditPoints="1"/>
              </p:cNvSpPr>
              <p:nvPr/>
            </p:nvSpPr>
            <p:spPr bwMode="auto">
              <a:xfrm>
                <a:off x="3257666" y="7476208"/>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grp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44" name="Freeform 5"/>
              <p:cNvSpPr>
                <a:spLocks noChangeAspect="1" noEditPoints="1"/>
              </p:cNvSpPr>
              <p:nvPr/>
            </p:nvSpPr>
            <p:spPr bwMode="auto">
              <a:xfrm>
                <a:off x="3850663" y="7476208"/>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grp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345" name="Freeform 5"/>
              <p:cNvSpPr>
                <a:spLocks noChangeAspect="1" noEditPoints="1"/>
              </p:cNvSpPr>
              <p:nvPr/>
            </p:nvSpPr>
            <p:spPr bwMode="auto">
              <a:xfrm>
                <a:off x="3521373" y="7009094"/>
                <a:ext cx="349833" cy="265924"/>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grp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grpSp>
      </p:grpSp>
      <p:sp>
        <p:nvSpPr>
          <p:cNvPr id="348" name="Oval 347"/>
          <p:cNvSpPr/>
          <p:nvPr/>
        </p:nvSpPr>
        <p:spPr bwMode="auto">
          <a:xfrm>
            <a:off x="3635974" y="2876355"/>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9" name="Oval 348"/>
          <p:cNvSpPr/>
          <p:nvPr/>
        </p:nvSpPr>
        <p:spPr bwMode="auto">
          <a:xfrm>
            <a:off x="2276549" y="2876355"/>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0" name="Oval 349"/>
          <p:cNvSpPr/>
          <p:nvPr/>
        </p:nvSpPr>
        <p:spPr bwMode="auto">
          <a:xfrm>
            <a:off x="3635857" y="2876355"/>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1" name="Oval 350"/>
          <p:cNvSpPr/>
          <p:nvPr/>
        </p:nvSpPr>
        <p:spPr bwMode="auto">
          <a:xfrm>
            <a:off x="2276549" y="2876355"/>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6" name="Blue storage strip"/>
          <p:cNvGrpSpPr/>
          <p:nvPr/>
        </p:nvGrpSpPr>
        <p:grpSpPr>
          <a:xfrm>
            <a:off x="1964284" y="3680048"/>
            <a:ext cx="9173618" cy="443135"/>
            <a:chOff x="2003672" y="3753343"/>
            <a:chExt cx="9357568" cy="452021"/>
          </a:xfrm>
        </p:grpSpPr>
        <p:sp>
          <p:nvSpPr>
            <p:cNvPr id="317" name="Rectangle 316"/>
            <p:cNvSpPr/>
            <p:nvPr/>
          </p:nvSpPr>
          <p:spPr>
            <a:xfrm>
              <a:off x="2003672" y="3753343"/>
              <a:ext cx="9357568" cy="452021"/>
            </a:xfrm>
            <a:prstGeom prst="rect">
              <a:avLst/>
            </a:prstGeom>
            <a:solidFill>
              <a:schemeClr val="accent5"/>
            </a:solidFill>
            <a:ln w="3175">
              <a:noFill/>
              <a:tailEnd type="none" w="lg" len="lg"/>
            </a:ln>
            <a:effectLst/>
          </p:spPr>
          <p:style>
            <a:lnRef idx="1">
              <a:schemeClr val="accent1"/>
            </a:lnRef>
            <a:fillRef idx="0">
              <a:schemeClr val="accent1"/>
            </a:fillRef>
            <a:effectRef idx="0">
              <a:schemeClr val="accent1"/>
            </a:effectRef>
            <a:fontRef idx="minor">
              <a:schemeClr val="tx1"/>
            </a:fontRef>
          </p:style>
          <p:txBody>
            <a:bodyPr wrap="square" lIns="537855" tIns="134464" rIns="0" bIns="134464" anchor="t" anchorCtr="0">
              <a:spAutoFit/>
            </a:bodyPr>
            <a:lstStyle/>
            <a:p>
              <a:pPr algn="ctr" defTabSz="914206">
                <a:lnSpc>
                  <a:spcPct val="90000"/>
                </a:lnSpc>
                <a:defRPr/>
              </a:pPr>
              <a:r>
                <a:rPr lang="en-US" sz="1176" dirty="0">
                  <a:gradFill>
                    <a:gsLst>
                      <a:gs pos="6195">
                        <a:srgbClr val="FFFFFF"/>
                      </a:gs>
                      <a:gs pos="25664">
                        <a:srgbClr val="FFFFFF"/>
                      </a:gs>
                    </a:gsLst>
                    <a:lin ang="5400000" scaled="0"/>
                  </a:gradFill>
                  <a:latin typeface="Segoe UI Semibold" panose="020B0702040204020203" pitchFamily="34" charset="0"/>
                </a:rPr>
                <a:t>STORAGE POOLS</a:t>
              </a:r>
            </a:p>
          </p:txBody>
        </p:sp>
        <p:sp>
          <p:nvSpPr>
            <p:cNvPr id="318" name="Freeform 11"/>
            <p:cNvSpPr>
              <a:spLocks noChangeAspect="1" noEditPoints="1"/>
            </p:cNvSpPr>
            <p:nvPr/>
          </p:nvSpPr>
          <p:spPr bwMode="auto">
            <a:xfrm>
              <a:off x="5585902" y="3888752"/>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191919"/>
                </a:solidFill>
              </a:endParaRPr>
            </a:p>
          </p:txBody>
        </p:sp>
        <p:sp>
          <p:nvSpPr>
            <p:cNvPr id="319" name="Freeform 11"/>
            <p:cNvSpPr>
              <a:spLocks noChangeAspect="1" noEditPoints="1"/>
            </p:cNvSpPr>
            <p:nvPr/>
          </p:nvSpPr>
          <p:spPr bwMode="auto">
            <a:xfrm>
              <a:off x="5822593" y="3888752"/>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191919"/>
                </a:solidFill>
              </a:endParaRPr>
            </a:p>
          </p:txBody>
        </p:sp>
        <p:sp>
          <p:nvSpPr>
            <p:cNvPr id="320" name="Freeform 11"/>
            <p:cNvSpPr>
              <a:spLocks noChangeAspect="1" noEditPoints="1"/>
            </p:cNvSpPr>
            <p:nvPr/>
          </p:nvSpPr>
          <p:spPr bwMode="auto">
            <a:xfrm>
              <a:off x="6059283" y="3888752"/>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191919"/>
                </a:solidFill>
              </a:endParaRPr>
            </a:p>
          </p:txBody>
        </p:sp>
      </p:grpSp>
      <p:grpSp>
        <p:nvGrpSpPr>
          <p:cNvPr id="335" name="Orange storage strip"/>
          <p:cNvGrpSpPr/>
          <p:nvPr/>
        </p:nvGrpSpPr>
        <p:grpSpPr>
          <a:xfrm>
            <a:off x="1964284" y="3680048"/>
            <a:ext cx="9173618" cy="443135"/>
            <a:chOff x="2003672" y="3753343"/>
            <a:chExt cx="9357568" cy="452021"/>
          </a:xfrm>
        </p:grpSpPr>
        <p:sp>
          <p:nvSpPr>
            <p:cNvPr id="336" name="Rectangle 335"/>
            <p:cNvSpPr/>
            <p:nvPr/>
          </p:nvSpPr>
          <p:spPr>
            <a:xfrm>
              <a:off x="2003672" y="3753343"/>
              <a:ext cx="9357568" cy="452021"/>
            </a:xfrm>
            <a:prstGeom prst="rect">
              <a:avLst/>
            </a:prstGeom>
            <a:solidFill>
              <a:schemeClr val="accent5"/>
            </a:solidFill>
            <a:ln w="3175">
              <a:noFill/>
              <a:tailEnd type="none" w="lg" len="lg"/>
            </a:ln>
            <a:effectLst/>
          </p:spPr>
          <p:style>
            <a:lnRef idx="1">
              <a:schemeClr val="accent1"/>
            </a:lnRef>
            <a:fillRef idx="0">
              <a:schemeClr val="accent1"/>
            </a:fillRef>
            <a:effectRef idx="0">
              <a:schemeClr val="accent1"/>
            </a:effectRef>
            <a:fontRef idx="minor">
              <a:schemeClr val="tx1"/>
            </a:fontRef>
          </p:style>
          <p:txBody>
            <a:bodyPr wrap="square" lIns="537855" tIns="134464" rIns="0" bIns="134464" anchor="t" anchorCtr="0">
              <a:spAutoFit/>
            </a:bodyPr>
            <a:lstStyle/>
            <a:p>
              <a:pPr algn="ctr" defTabSz="914206">
                <a:lnSpc>
                  <a:spcPct val="90000"/>
                </a:lnSpc>
                <a:defRPr/>
              </a:pPr>
              <a:r>
                <a:rPr lang="en-US" sz="1176" dirty="0">
                  <a:gradFill>
                    <a:gsLst>
                      <a:gs pos="68142">
                        <a:srgbClr val="FF8C00"/>
                      </a:gs>
                      <a:gs pos="25664">
                        <a:srgbClr val="FF8C00"/>
                      </a:gs>
                    </a:gsLst>
                    <a:lin ang="5400000" scaled="0"/>
                  </a:gradFill>
                  <a:latin typeface="Segoe UI Semibold" panose="020B0702040204020203" pitchFamily="34" charset="0"/>
                </a:rPr>
                <a:t>STORAGE POOLS</a:t>
              </a:r>
            </a:p>
          </p:txBody>
        </p:sp>
        <p:sp>
          <p:nvSpPr>
            <p:cNvPr id="337" name="Freeform 11"/>
            <p:cNvSpPr>
              <a:spLocks noChangeAspect="1" noEditPoints="1"/>
            </p:cNvSpPr>
            <p:nvPr/>
          </p:nvSpPr>
          <p:spPr bwMode="auto">
            <a:xfrm>
              <a:off x="5585902" y="3888752"/>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191919"/>
                </a:solidFill>
              </a:endParaRPr>
            </a:p>
          </p:txBody>
        </p:sp>
        <p:sp>
          <p:nvSpPr>
            <p:cNvPr id="338" name="Freeform 11"/>
            <p:cNvSpPr>
              <a:spLocks noChangeAspect="1" noEditPoints="1"/>
            </p:cNvSpPr>
            <p:nvPr/>
          </p:nvSpPr>
          <p:spPr bwMode="auto">
            <a:xfrm>
              <a:off x="5822593" y="3888752"/>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191919"/>
                </a:solidFill>
              </a:endParaRPr>
            </a:p>
          </p:txBody>
        </p:sp>
        <p:sp>
          <p:nvSpPr>
            <p:cNvPr id="339" name="Freeform 11"/>
            <p:cNvSpPr>
              <a:spLocks noChangeAspect="1" noEditPoints="1"/>
            </p:cNvSpPr>
            <p:nvPr/>
          </p:nvSpPr>
          <p:spPr bwMode="auto">
            <a:xfrm>
              <a:off x="6059283" y="3888752"/>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206"/>
              <a:endParaRPr lang="en-US" sz="1765">
                <a:solidFill>
                  <a:srgbClr val="191919"/>
                </a:solidFill>
              </a:endParaRPr>
            </a:p>
          </p:txBody>
        </p:sp>
      </p:grpSp>
    </p:spTree>
    <p:extLst>
      <p:ext uri="{BB962C8B-B14F-4D97-AF65-F5344CB8AC3E}">
        <p14:creationId xmlns:p14="http://schemas.microsoft.com/office/powerpoint/2010/main" val="488317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00" fill="hold"/>
                                        <p:tgtEl>
                                          <p:spTgt spid="8"/>
                                        </p:tgtEl>
                                        <p:attrNameLst>
                                          <p:attrName>ppt_x</p:attrName>
                                        </p:attrNameLst>
                                      </p:cBhvr>
                                      <p:tavLst>
                                        <p:tav tm="0">
                                          <p:val>
                                            <p:strVal val="0-#ppt_w/2"/>
                                          </p:val>
                                        </p:tav>
                                        <p:tav tm="100000">
                                          <p:val>
                                            <p:strVal val="#ppt_x"/>
                                          </p:val>
                                        </p:tav>
                                      </p:tavLst>
                                    </p:anim>
                                    <p:anim calcmode="lin" valueType="num">
                                      <p:cBhvr additive="base">
                                        <p:cTn id="8" dur="7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anim calcmode="lin" valueType="num">
                                      <p:cBhvr additive="base">
                                        <p:cTn id="11" dur="700" fill="hold"/>
                                        <p:tgtEl>
                                          <p:spTgt spid="291"/>
                                        </p:tgtEl>
                                        <p:attrNameLst>
                                          <p:attrName>ppt_x</p:attrName>
                                        </p:attrNameLst>
                                      </p:cBhvr>
                                      <p:tavLst>
                                        <p:tav tm="0">
                                          <p:val>
                                            <p:strVal val="0-#ppt_w/2"/>
                                          </p:val>
                                        </p:tav>
                                        <p:tav tm="100000">
                                          <p:val>
                                            <p:strVal val="#ppt_x"/>
                                          </p:val>
                                        </p:tav>
                                      </p:tavLst>
                                    </p:anim>
                                    <p:anim calcmode="lin" valueType="num">
                                      <p:cBhvr additive="base">
                                        <p:cTn id="12" dur="700" fill="hold"/>
                                        <p:tgtEl>
                                          <p:spTgt spid="291"/>
                                        </p:tgtEl>
                                        <p:attrNameLst>
                                          <p:attrName>ppt_y</p:attrName>
                                        </p:attrNameLst>
                                      </p:cBhvr>
                                      <p:tavLst>
                                        <p:tav tm="0">
                                          <p:val>
                                            <p:strVal val="#ppt_y"/>
                                          </p:val>
                                        </p:tav>
                                        <p:tav tm="100000">
                                          <p:val>
                                            <p:strVal val="#ppt_y"/>
                                          </p:val>
                                        </p:tav>
                                      </p:tavLst>
                                    </p:anim>
                                  </p:childTnLst>
                                </p:cTn>
                              </p:par>
                            </p:childTnLst>
                          </p:cTn>
                        </p:par>
                        <p:par>
                          <p:cTn id="13" fill="hold">
                            <p:stCondLst>
                              <p:cond delay="700"/>
                            </p:stCondLst>
                            <p:childTnLst>
                              <p:par>
                                <p:cTn id="14" presetID="1" presetClass="entr" presetSubtype="0" fill="hold" grpId="0" nodeType="afterEffect">
                                  <p:stCondLst>
                                    <p:cond delay="0"/>
                                  </p:stCondLst>
                                  <p:childTnLst>
                                    <p:set>
                                      <p:cBhvr>
                                        <p:cTn id="15" dur="1" fill="hold">
                                          <p:stCondLst>
                                            <p:cond delay="0"/>
                                          </p:stCondLst>
                                        </p:cTn>
                                        <p:tgtEl>
                                          <p:spTgt spid="15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xit" presetSubtype="8" fill="hold" grpId="1" nodeType="clickEffect">
                                  <p:stCondLst>
                                    <p:cond delay="0"/>
                                  </p:stCondLst>
                                  <p:childTnLst>
                                    <p:animEffect transition="out" filter="wipe(left)">
                                      <p:cBhvr>
                                        <p:cTn id="19" dur="500"/>
                                        <p:tgtEl>
                                          <p:spTgt spid="291"/>
                                        </p:tgtEl>
                                      </p:cBhvr>
                                    </p:animEffect>
                                    <p:set>
                                      <p:cBhvr>
                                        <p:cTn id="20" dur="1" fill="hold">
                                          <p:stCondLst>
                                            <p:cond delay="499"/>
                                          </p:stCondLst>
                                        </p:cTn>
                                        <p:tgtEl>
                                          <p:spTgt spid="291"/>
                                        </p:tgtEl>
                                        <p:attrNameLst>
                                          <p:attrName>style.visibility</p:attrName>
                                        </p:attrNameLst>
                                      </p:cBhvr>
                                      <p:to>
                                        <p:strVal val="hidden"/>
                                      </p:to>
                                    </p:se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par>
                          <p:cTn id="25" fill="hold">
                            <p:stCondLst>
                              <p:cond delay="1000"/>
                            </p:stCondLst>
                            <p:childTnLst>
                              <p:par>
                                <p:cTn id="26" presetID="16" presetClass="entr" presetSubtype="42" fill="hold" nodeType="afterEffect">
                                  <p:stCondLst>
                                    <p:cond delay="0"/>
                                  </p:stCondLst>
                                  <p:childTnLst>
                                    <p:set>
                                      <p:cBhvr>
                                        <p:cTn id="27" dur="1" fill="hold">
                                          <p:stCondLst>
                                            <p:cond delay="0"/>
                                          </p:stCondLst>
                                        </p:cTn>
                                        <p:tgtEl>
                                          <p:spTgt spid="295"/>
                                        </p:tgtEl>
                                        <p:attrNameLst>
                                          <p:attrName>style.visibility</p:attrName>
                                        </p:attrNameLst>
                                      </p:cBhvr>
                                      <p:to>
                                        <p:strVal val="visible"/>
                                      </p:to>
                                    </p:set>
                                    <p:animEffect transition="in" filter="barn(outHorizontal)">
                                      <p:cBhvr>
                                        <p:cTn id="28" dur="500"/>
                                        <p:tgtEl>
                                          <p:spTgt spid="29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316"/>
                                        </p:tgtEl>
                                        <p:attrNameLst>
                                          <p:attrName>style.visibility</p:attrName>
                                        </p:attrNameLst>
                                      </p:cBhvr>
                                      <p:to>
                                        <p:strVal val="visible"/>
                                      </p:to>
                                    </p:set>
                                    <p:animEffect transition="in" filter="wipe(left)">
                                      <p:cBhvr>
                                        <p:cTn id="33" dur="500"/>
                                        <p:tgtEl>
                                          <p:spTgt spid="316"/>
                                        </p:tgtEl>
                                      </p:cBhvr>
                                    </p:animEffect>
                                  </p:childTnLst>
                                </p:cTn>
                              </p:par>
                              <p:par>
                                <p:cTn id="34" presetID="10" presetClass="exit" presetSubtype="0" fill="hold" grpId="1" nodeType="withEffect">
                                  <p:stCondLst>
                                    <p:cond delay="0"/>
                                  </p:stCondLst>
                                  <p:childTnLst>
                                    <p:animEffect transition="out" filter="fade">
                                      <p:cBhvr>
                                        <p:cTn id="35" dur="500"/>
                                        <p:tgtEl>
                                          <p:spTgt spid="157"/>
                                        </p:tgtEl>
                                      </p:cBhvr>
                                    </p:animEffect>
                                    <p:set>
                                      <p:cBhvr>
                                        <p:cTn id="36" dur="1" fill="hold">
                                          <p:stCondLst>
                                            <p:cond delay="499"/>
                                          </p:stCondLst>
                                        </p:cTn>
                                        <p:tgtEl>
                                          <p:spTgt spid="157"/>
                                        </p:tgtEl>
                                        <p:attrNameLst>
                                          <p:attrName>style.visibility</p:attrName>
                                        </p:attrNameLst>
                                      </p:cBhvr>
                                      <p:to>
                                        <p:strVal val="hidden"/>
                                      </p:to>
                                    </p:se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314"/>
                                        </p:tgtEl>
                                        <p:attrNameLst>
                                          <p:attrName>style.visibility</p:attrName>
                                        </p:attrNameLst>
                                      </p:cBhvr>
                                      <p:to>
                                        <p:strVal val="visible"/>
                                      </p:to>
                                    </p:set>
                                    <p:animEffect transition="in" filter="fade">
                                      <p:cBhvr>
                                        <p:cTn id="40" dur="500"/>
                                        <p:tgtEl>
                                          <p:spTgt spid="314"/>
                                        </p:tgtEl>
                                      </p:cBhvr>
                                    </p:animEffect>
                                  </p:childTnLst>
                                </p:cTn>
                              </p:par>
                            </p:childTnLst>
                          </p:cTn>
                        </p:par>
                        <p:par>
                          <p:cTn id="41" fill="hold">
                            <p:stCondLst>
                              <p:cond delay="1000"/>
                            </p:stCondLst>
                            <p:childTnLst>
                              <p:par>
                                <p:cTn id="42" presetID="22" presetClass="entr" presetSubtype="1" fill="hold" nodeType="afterEffect">
                                  <p:stCondLst>
                                    <p:cond delay="0"/>
                                  </p:stCondLst>
                                  <p:childTnLst>
                                    <p:set>
                                      <p:cBhvr>
                                        <p:cTn id="43" dur="1" fill="hold">
                                          <p:stCondLst>
                                            <p:cond delay="0"/>
                                          </p:stCondLst>
                                        </p:cTn>
                                        <p:tgtEl>
                                          <p:spTgt spid="298"/>
                                        </p:tgtEl>
                                        <p:attrNameLst>
                                          <p:attrName>style.visibility</p:attrName>
                                        </p:attrNameLst>
                                      </p:cBhvr>
                                      <p:to>
                                        <p:strVal val="visible"/>
                                      </p:to>
                                    </p:set>
                                    <p:animEffect transition="in" filter="wipe(up)">
                                      <p:cBhvr>
                                        <p:cTn id="44" dur="500"/>
                                        <p:tgtEl>
                                          <p:spTgt spid="298"/>
                                        </p:tgtEl>
                                      </p:cBhvr>
                                    </p:animEffect>
                                  </p:childTnLst>
                                </p:cTn>
                              </p:par>
                              <p:par>
                                <p:cTn id="45" presetID="22" presetClass="entr" presetSubtype="1" fill="hold" nodeType="withEffect">
                                  <p:stCondLst>
                                    <p:cond delay="100"/>
                                  </p:stCondLst>
                                  <p:childTnLst>
                                    <p:set>
                                      <p:cBhvr>
                                        <p:cTn id="46" dur="1" fill="hold">
                                          <p:stCondLst>
                                            <p:cond delay="0"/>
                                          </p:stCondLst>
                                        </p:cTn>
                                        <p:tgtEl>
                                          <p:spTgt spid="242"/>
                                        </p:tgtEl>
                                        <p:attrNameLst>
                                          <p:attrName>style.visibility</p:attrName>
                                        </p:attrNameLst>
                                      </p:cBhvr>
                                      <p:to>
                                        <p:strVal val="visible"/>
                                      </p:to>
                                    </p:set>
                                    <p:animEffect transition="in" filter="wipe(up)">
                                      <p:cBhvr>
                                        <p:cTn id="47" dur="500"/>
                                        <p:tgtEl>
                                          <p:spTgt spid="242"/>
                                        </p:tgtEl>
                                      </p:cBhvr>
                                    </p:animEffect>
                                  </p:childTnLst>
                                </p:cTn>
                              </p:par>
                              <p:par>
                                <p:cTn id="48" presetID="22" presetClass="entr" presetSubtype="1" fill="hold" nodeType="withEffect">
                                  <p:stCondLst>
                                    <p:cond delay="200"/>
                                  </p:stCondLst>
                                  <p:childTnLst>
                                    <p:set>
                                      <p:cBhvr>
                                        <p:cTn id="49" dur="1" fill="hold">
                                          <p:stCondLst>
                                            <p:cond delay="0"/>
                                          </p:stCondLst>
                                        </p:cTn>
                                        <p:tgtEl>
                                          <p:spTgt spid="267"/>
                                        </p:tgtEl>
                                        <p:attrNameLst>
                                          <p:attrName>style.visibility</p:attrName>
                                        </p:attrNameLst>
                                      </p:cBhvr>
                                      <p:to>
                                        <p:strVal val="visible"/>
                                      </p:to>
                                    </p:set>
                                    <p:animEffect transition="in" filter="wipe(up)">
                                      <p:cBhvr>
                                        <p:cTn id="50" dur="500"/>
                                        <p:tgtEl>
                                          <p:spTgt spid="267"/>
                                        </p:tgtEl>
                                      </p:cBhvr>
                                    </p:animEffect>
                                  </p:childTnLst>
                                </p:cTn>
                              </p:par>
                              <p:par>
                                <p:cTn id="51" presetID="10" presetClass="entr" presetSubtype="0" fill="hold" nodeType="withEffect">
                                  <p:stCondLst>
                                    <p:cond delay="300"/>
                                  </p:stCondLst>
                                  <p:childTnLst>
                                    <p:set>
                                      <p:cBhvr>
                                        <p:cTn id="52" dur="1" fill="hold">
                                          <p:stCondLst>
                                            <p:cond delay="0"/>
                                          </p:stCondLst>
                                        </p:cTn>
                                        <p:tgtEl>
                                          <p:spTgt spid="299"/>
                                        </p:tgtEl>
                                        <p:attrNameLst>
                                          <p:attrName>style.visibility</p:attrName>
                                        </p:attrNameLst>
                                      </p:cBhvr>
                                      <p:to>
                                        <p:strVal val="visible"/>
                                      </p:to>
                                    </p:set>
                                    <p:animEffect transition="in" filter="fade">
                                      <p:cBhvr>
                                        <p:cTn id="53" dur="500"/>
                                        <p:tgtEl>
                                          <p:spTgt spid="299"/>
                                        </p:tgtEl>
                                      </p:cBhvr>
                                    </p:animEffect>
                                  </p:childTnLst>
                                </p:cTn>
                              </p:par>
                              <p:par>
                                <p:cTn id="54" presetID="10" presetClass="entr" presetSubtype="0" fill="hold" nodeType="withEffect">
                                  <p:stCondLst>
                                    <p:cond delay="400"/>
                                  </p:stCondLst>
                                  <p:childTnLst>
                                    <p:set>
                                      <p:cBhvr>
                                        <p:cTn id="55" dur="1" fill="hold">
                                          <p:stCondLst>
                                            <p:cond delay="0"/>
                                          </p:stCondLst>
                                        </p:cTn>
                                        <p:tgtEl>
                                          <p:spTgt spid="244"/>
                                        </p:tgtEl>
                                        <p:attrNameLst>
                                          <p:attrName>style.visibility</p:attrName>
                                        </p:attrNameLst>
                                      </p:cBhvr>
                                      <p:to>
                                        <p:strVal val="visible"/>
                                      </p:to>
                                    </p:set>
                                    <p:animEffect transition="in" filter="fade">
                                      <p:cBhvr>
                                        <p:cTn id="56" dur="500"/>
                                        <p:tgtEl>
                                          <p:spTgt spid="244"/>
                                        </p:tgtEl>
                                      </p:cBhvr>
                                    </p:animEffect>
                                  </p:childTnLst>
                                </p:cTn>
                              </p:par>
                              <p:par>
                                <p:cTn id="57" presetID="10" presetClass="entr" presetSubtype="0" fill="hold" nodeType="withEffect">
                                  <p:stCondLst>
                                    <p:cond delay="500"/>
                                  </p:stCondLst>
                                  <p:childTnLst>
                                    <p:set>
                                      <p:cBhvr>
                                        <p:cTn id="58" dur="1" fill="hold">
                                          <p:stCondLst>
                                            <p:cond delay="0"/>
                                          </p:stCondLst>
                                        </p:cTn>
                                        <p:tgtEl>
                                          <p:spTgt spid="269"/>
                                        </p:tgtEl>
                                        <p:attrNameLst>
                                          <p:attrName>style.visibility</p:attrName>
                                        </p:attrNameLst>
                                      </p:cBhvr>
                                      <p:to>
                                        <p:strVal val="visible"/>
                                      </p:to>
                                    </p:set>
                                    <p:animEffect transition="in" filter="fade">
                                      <p:cBhvr>
                                        <p:cTn id="59" dur="500"/>
                                        <p:tgtEl>
                                          <p:spTgt spid="269"/>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xit" presetSubtype="0" fill="hold" grpId="1" nodeType="clickEffect">
                                  <p:stCondLst>
                                    <p:cond delay="0"/>
                                  </p:stCondLst>
                                  <p:childTnLst>
                                    <p:animEffect transition="out" filter="fade">
                                      <p:cBhvr>
                                        <p:cTn id="63" dur="500"/>
                                        <p:tgtEl>
                                          <p:spTgt spid="314"/>
                                        </p:tgtEl>
                                      </p:cBhvr>
                                    </p:animEffect>
                                    <p:set>
                                      <p:cBhvr>
                                        <p:cTn id="64" dur="1" fill="hold">
                                          <p:stCondLst>
                                            <p:cond delay="499"/>
                                          </p:stCondLst>
                                        </p:cTn>
                                        <p:tgtEl>
                                          <p:spTgt spid="314"/>
                                        </p:tgtEl>
                                        <p:attrNameLst>
                                          <p:attrName>style.visibility</p:attrName>
                                        </p:attrNameLst>
                                      </p:cBhvr>
                                      <p:to>
                                        <p:strVal val="hidden"/>
                                      </p:to>
                                    </p:set>
                                  </p:childTnLst>
                                </p:cTn>
                              </p:par>
                            </p:childTnLst>
                          </p:cTn>
                        </p:par>
                        <p:par>
                          <p:cTn id="65" fill="hold">
                            <p:stCondLst>
                              <p:cond delay="500"/>
                            </p:stCondLst>
                            <p:childTnLst>
                              <p:par>
                                <p:cTn id="66" presetID="10" presetClass="entr" presetSubtype="0" fill="hold" grpId="0" nodeType="afterEffect">
                                  <p:stCondLst>
                                    <p:cond delay="0"/>
                                  </p:stCondLst>
                                  <p:childTnLst>
                                    <p:set>
                                      <p:cBhvr>
                                        <p:cTn id="67" dur="1" fill="hold">
                                          <p:stCondLst>
                                            <p:cond delay="0"/>
                                          </p:stCondLst>
                                        </p:cTn>
                                        <p:tgtEl>
                                          <p:spTgt spid="333"/>
                                        </p:tgtEl>
                                        <p:attrNameLst>
                                          <p:attrName>style.visibility</p:attrName>
                                        </p:attrNameLst>
                                      </p:cBhvr>
                                      <p:to>
                                        <p:strVal val="visible"/>
                                      </p:to>
                                    </p:set>
                                    <p:animEffect transition="in" filter="fade">
                                      <p:cBhvr>
                                        <p:cTn id="68" dur="500"/>
                                        <p:tgtEl>
                                          <p:spTgt spid="333"/>
                                        </p:tgtEl>
                                      </p:cBhvr>
                                    </p:animEffect>
                                  </p:childTnLst>
                                </p:cTn>
                              </p:par>
                              <p:par>
                                <p:cTn id="69" presetID="10" presetClass="entr" presetSubtype="0" fill="hold"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500"/>
                                        <p:tgtEl>
                                          <p:spTgt spid="27"/>
                                        </p:tgtEl>
                                      </p:cBhvr>
                                    </p:animEffect>
                                  </p:childTnLst>
                                </p:cTn>
                              </p:par>
                            </p:childTnLst>
                          </p:cTn>
                        </p:par>
                        <p:par>
                          <p:cTn id="72" fill="hold">
                            <p:stCondLst>
                              <p:cond delay="1000"/>
                            </p:stCondLst>
                            <p:childTnLst>
                              <p:par>
                                <p:cTn id="73" presetID="10" presetClass="exit" presetSubtype="0" fill="hold" nodeType="afterEffect">
                                  <p:stCondLst>
                                    <p:cond delay="0"/>
                                  </p:stCondLst>
                                  <p:childTnLst>
                                    <p:animEffect transition="out" filter="fade">
                                      <p:cBhvr>
                                        <p:cTn id="74" dur="500"/>
                                        <p:tgtEl>
                                          <p:spTgt spid="27"/>
                                        </p:tgtEl>
                                      </p:cBhvr>
                                    </p:animEffect>
                                    <p:set>
                                      <p:cBhvr>
                                        <p:cTn id="75" dur="1" fill="hold">
                                          <p:stCondLst>
                                            <p:cond delay="499"/>
                                          </p:stCondLst>
                                        </p:cTn>
                                        <p:tgtEl>
                                          <p:spTgt spid="27"/>
                                        </p:tgtEl>
                                        <p:attrNameLst>
                                          <p:attrName>style.visibility</p:attrName>
                                        </p:attrNameLst>
                                      </p:cBhvr>
                                      <p:to>
                                        <p:strVal val="hidden"/>
                                      </p:to>
                                    </p:set>
                                  </p:childTnLst>
                                </p:cTn>
                              </p:par>
                            </p:childTnLst>
                          </p:cTn>
                        </p:par>
                        <p:par>
                          <p:cTn id="76" fill="hold">
                            <p:stCondLst>
                              <p:cond delay="1500"/>
                            </p:stCondLst>
                            <p:childTnLst>
                              <p:par>
                                <p:cTn id="77" presetID="10" presetClass="entr" presetSubtype="0" fill="hold" nodeType="after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fade">
                                      <p:cBhvr>
                                        <p:cTn id="79" dur="500"/>
                                        <p:tgtEl>
                                          <p:spTgt spid="27"/>
                                        </p:tgtEl>
                                      </p:cBhvr>
                                    </p:animEffect>
                                  </p:childTnLst>
                                </p:cTn>
                              </p:par>
                            </p:childTnLst>
                          </p:cTn>
                        </p:par>
                        <p:par>
                          <p:cTn id="80" fill="hold">
                            <p:stCondLst>
                              <p:cond delay="2000"/>
                            </p:stCondLst>
                            <p:childTnLst>
                              <p:par>
                                <p:cTn id="81" presetID="10" presetClass="exit" presetSubtype="0" fill="hold" nodeType="afterEffect">
                                  <p:stCondLst>
                                    <p:cond delay="0"/>
                                  </p:stCondLst>
                                  <p:childTnLst>
                                    <p:animEffect transition="out" filter="fade">
                                      <p:cBhvr>
                                        <p:cTn id="82" dur="500"/>
                                        <p:tgtEl>
                                          <p:spTgt spid="27"/>
                                        </p:tgtEl>
                                      </p:cBhvr>
                                    </p:animEffect>
                                    <p:set>
                                      <p:cBhvr>
                                        <p:cTn id="83" dur="1" fill="hold">
                                          <p:stCondLst>
                                            <p:cond delay="499"/>
                                          </p:stCondLst>
                                        </p:cTn>
                                        <p:tgtEl>
                                          <p:spTgt spid="27"/>
                                        </p:tgtEl>
                                        <p:attrNameLst>
                                          <p:attrName>style.visibility</p:attrName>
                                        </p:attrNameLst>
                                      </p:cBhvr>
                                      <p:to>
                                        <p:strVal val="hidden"/>
                                      </p:to>
                                    </p:set>
                                  </p:childTnLst>
                                </p:cTn>
                              </p:par>
                            </p:childTnLst>
                          </p:cTn>
                        </p:par>
                        <p:par>
                          <p:cTn id="84" fill="hold">
                            <p:stCondLst>
                              <p:cond delay="2500"/>
                            </p:stCondLst>
                            <p:childTnLst>
                              <p:par>
                                <p:cTn id="85" presetID="10" presetClass="entr" presetSubtype="0" fill="hold" nodeType="afterEffect">
                                  <p:stCondLst>
                                    <p:cond delay="0"/>
                                  </p:stCondLst>
                                  <p:childTnLst>
                                    <p:set>
                                      <p:cBhvr>
                                        <p:cTn id="86" dur="1" fill="hold">
                                          <p:stCondLst>
                                            <p:cond delay="0"/>
                                          </p:stCondLst>
                                        </p:cTn>
                                        <p:tgtEl>
                                          <p:spTgt spid="27"/>
                                        </p:tgtEl>
                                        <p:attrNameLst>
                                          <p:attrName>style.visibility</p:attrName>
                                        </p:attrNameLst>
                                      </p:cBhvr>
                                      <p:to>
                                        <p:strVal val="visible"/>
                                      </p:to>
                                    </p:set>
                                    <p:animEffect transition="in" filter="fade">
                                      <p:cBhvr>
                                        <p:cTn id="87" dur="500"/>
                                        <p:tgtEl>
                                          <p:spTgt spid="27"/>
                                        </p:tgtEl>
                                      </p:cBhvr>
                                    </p:animEffect>
                                  </p:childTnLst>
                                </p:cTn>
                              </p:par>
                            </p:childTnLst>
                          </p:cTn>
                        </p:par>
                        <p:par>
                          <p:cTn id="88" fill="hold">
                            <p:stCondLst>
                              <p:cond delay="3000"/>
                            </p:stCondLst>
                            <p:childTnLst>
                              <p:par>
                                <p:cTn id="89" presetID="10" presetClass="exit" presetSubtype="0" fill="hold" nodeType="afterEffect">
                                  <p:stCondLst>
                                    <p:cond delay="0"/>
                                  </p:stCondLst>
                                  <p:childTnLst>
                                    <p:animEffect transition="out" filter="fade">
                                      <p:cBhvr>
                                        <p:cTn id="90" dur="500"/>
                                        <p:tgtEl>
                                          <p:spTgt spid="27"/>
                                        </p:tgtEl>
                                      </p:cBhvr>
                                    </p:animEffect>
                                    <p:set>
                                      <p:cBhvr>
                                        <p:cTn id="91" dur="1" fill="hold">
                                          <p:stCondLst>
                                            <p:cond delay="499"/>
                                          </p:stCondLst>
                                        </p:cTn>
                                        <p:tgtEl>
                                          <p:spTgt spid="27"/>
                                        </p:tgtEl>
                                        <p:attrNameLst>
                                          <p:attrName>style.visibility</p:attrName>
                                        </p:attrNameLst>
                                      </p:cBhvr>
                                      <p:to>
                                        <p:strVal val="hidden"/>
                                      </p:to>
                                    </p:se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322"/>
                                        </p:tgtEl>
                                        <p:attrNameLst>
                                          <p:attrName>style.visibility</p:attrName>
                                        </p:attrNameLst>
                                      </p:cBhvr>
                                      <p:to>
                                        <p:strVal val="visible"/>
                                      </p:to>
                                    </p:set>
                                    <p:animEffect transition="in" filter="fade">
                                      <p:cBhvr>
                                        <p:cTn id="96" dur="500"/>
                                        <p:tgtEl>
                                          <p:spTgt spid="322"/>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27"/>
                                        </p:tgtEl>
                                        <p:attrNameLst>
                                          <p:attrName>style.visibility</p:attrName>
                                        </p:attrNameLst>
                                      </p:cBhvr>
                                      <p:to>
                                        <p:strVal val="visible"/>
                                      </p:to>
                                    </p:set>
                                    <p:animEffect transition="in" filter="fade">
                                      <p:cBhvr>
                                        <p:cTn id="99" dur="500"/>
                                        <p:tgtEl>
                                          <p:spTgt spid="327"/>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23"/>
                                        </p:tgtEl>
                                        <p:attrNameLst>
                                          <p:attrName>style.visibility</p:attrName>
                                        </p:attrNameLst>
                                      </p:cBhvr>
                                      <p:to>
                                        <p:strVal val="visible"/>
                                      </p:to>
                                    </p:set>
                                    <p:animEffect transition="in" filter="fade">
                                      <p:cBhvr>
                                        <p:cTn id="102" dur="500"/>
                                        <p:tgtEl>
                                          <p:spTgt spid="323"/>
                                        </p:tgtEl>
                                      </p:cBhvr>
                                    </p:animEffect>
                                  </p:childTnLst>
                                </p:cTn>
                              </p:par>
                            </p:childTnLst>
                          </p:cTn>
                        </p:par>
                        <p:par>
                          <p:cTn id="103" fill="hold">
                            <p:stCondLst>
                              <p:cond delay="500"/>
                            </p:stCondLst>
                            <p:childTnLst>
                              <p:par>
                                <p:cTn id="104" presetID="0" presetClass="path" presetSubtype="0" decel="100000" fill="hold" grpId="1" nodeType="afterEffect">
                                  <p:stCondLst>
                                    <p:cond delay="0"/>
                                  </p:stCondLst>
                                  <p:childTnLst>
                                    <p:animMotion origin="layout" path="M 0 0 L 0.00102 0.03813 L -0.03166 0.03813 C -0.03153 0.07377 -0.0314 0.1094 -0.03115 0.14526 " pathEditMode="relative" ptsTypes="AAAA">
                                      <p:cBhvr>
                                        <p:cTn id="105" dur="1000" fill="hold"/>
                                        <p:tgtEl>
                                          <p:spTgt spid="322"/>
                                        </p:tgtEl>
                                        <p:attrNameLst>
                                          <p:attrName>ppt_x</p:attrName>
                                          <p:attrName>ppt_y</p:attrName>
                                        </p:attrNameLst>
                                      </p:cBhvr>
                                    </p:animMotion>
                                  </p:childTnLst>
                                </p:cTn>
                              </p:par>
                              <p:par>
                                <p:cTn id="106" presetID="0" presetClass="path" presetSubtype="0" decel="100000" fill="hold" grpId="1" nodeType="withEffect">
                                  <p:stCondLst>
                                    <p:cond delay="100"/>
                                  </p:stCondLst>
                                  <p:childTnLst>
                                    <p:animMotion origin="layout" path="M 0 0 L 0.00102 0.03813 L -0.03166 0.03813 C -0.03153 0.07377 -0.0314 0.1094 -0.03115 0.14526 " pathEditMode="relative" ptsTypes="AAAA">
                                      <p:cBhvr>
                                        <p:cTn id="107" dur="1000" fill="hold"/>
                                        <p:tgtEl>
                                          <p:spTgt spid="323"/>
                                        </p:tgtEl>
                                        <p:attrNameLst>
                                          <p:attrName>ppt_x</p:attrName>
                                          <p:attrName>ppt_y</p:attrName>
                                        </p:attrNameLst>
                                      </p:cBhvr>
                                    </p:animMotion>
                                  </p:childTnLst>
                                </p:cTn>
                              </p:par>
                              <p:par>
                                <p:cTn id="108" presetID="0" presetClass="path" presetSubtype="0" decel="100000" fill="hold" grpId="1" nodeType="withEffect">
                                  <p:stCondLst>
                                    <p:cond delay="200"/>
                                  </p:stCondLst>
                                  <p:childTnLst>
                                    <p:animMotion origin="layout" path="M 0 0 L 0.00102 0.03813 L -0.03166 0.03813 C -0.03153 0.07377 -0.0314 0.1094 -0.03115 0.14526 " pathEditMode="relative" ptsTypes="AAAA">
                                      <p:cBhvr>
                                        <p:cTn id="109" dur="1000" fill="hold"/>
                                        <p:tgtEl>
                                          <p:spTgt spid="327"/>
                                        </p:tgtEl>
                                        <p:attrNameLst>
                                          <p:attrName>ppt_x</p:attrName>
                                          <p:attrName>ppt_y</p:attrName>
                                        </p:attrNameLst>
                                      </p:cBhvr>
                                    </p:animMotion>
                                  </p:childTnLst>
                                </p:cTn>
                              </p:par>
                            </p:childTnLst>
                          </p:cTn>
                        </p:par>
                        <p:par>
                          <p:cTn id="110" fill="hold">
                            <p:stCondLst>
                              <p:cond delay="1700"/>
                            </p:stCondLst>
                            <p:childTnLst>
                              <p:par>
                                <p:cTn id="111" presetID="10" presetClass="entr" presetSubtype="0" fill="hold" grpId="0" nodeType="afterEffect">
                                  <p:stCondLst>
                                    <p:cond delay="0"/>
                                  </p:stCondLst>
                                  <p:childTnLst>
                                    <p:set>
                                      <p:cBhvr>
                                        <p:cTn id="112" dur="1" fill="hold">
                                          <p:stCondLst>
                                            <p:cond delay="0"/>
                                          </p:stCondLst>
                                        </p:cTn>
                                        <p:tgtEl>
                                          <p:spTgt spid="328"/>
                                        </p:tgtEl>
                                        <p:attrNameLst>
                                          <p:attrName>style.visibility</p:attrName>
                                        </p:attrNameLst>
                                      </p:cBhvr>
                                      <p:to>
                                        <p:strVal val="visible"/>
                                      </p:to>
                                    </p:set>
                                    <p:animEffect transition="in" filter="fade">
                                      <p:cBhvr>
                                        <p:cTn id="113" dur="500"/>
                                        <p:tgtEl>
                                          <p:spTgt spid="328"/>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329"/>
                                        </p:tgtEl>
                                        <p:attrNameLst>
                                          <p:attrName>style.visibility</p:attrName>
                                        </p:attrNameLst>
                                      </p:cBhvr>
                                      <p:to>
                                        <p:strVal val="visible"/>
                                      </p:to>
                                    </p:set>
                                    <p:animEffect transition="in" filter="fade">
                                      <p:cBhvr>
                                        <p:cTn id="116" dur="500"/>
                                        <p:tgtEl>
                                          <p:spTgt spid="329"/>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330"/>
                                        </p:tgtEl>
                                        <p:attrNameLst>
                                          <p:attrName>style.visibility</p:attrName>
                                        </p:attrNameLst>
                                      </p:cBhvr>
                                      <p:to>
                                        <p:strVal val="visible"/>
                                      </p:to>
                                    </p:set>
                                    <p:animEffect transition="in" filter="fade">
                                      <p:cBhvr>
                                        <p:cTn id="119" dur="500"/>
                                        <p:tgtEl>
                                          <p:spTgt spid="330"/>
                                        </p:tgtEl>
                                      </p:cBhvr>
                                    </p:animEffect>
                                  </p:childTnLst>
                                </p:cTn>
                              </p:par>
                            </p:childTnLst>
                          </p:cTn>
                        </p:par>
                        <p:par>
                          <p:cTn id="120" fill="hold">
                            <p:stCondLst>
                              <p:cond delay="2200"/>
                            </p:stCondLst>
                            <p:childTnLst>
                              <p:par>
                                <p:cTn id="121" presetID="0" presetClass="path" presetSubtype="0" decel="100000" fill="hold" grpId="1" nodeType="afterEffect">
                                  <p:stCondLst>
                                    <p:cond delay="0"/>
                                  </p:stCondLst>
                                  <p:childTnLst>
                                    <p:animMotion origin="layout" path="M -2.24151E-6 1.11666E-6 C 0.00064 0.01089 0.00115 0.02542 0.00192 0.03631 L 0.03115 0.03836 C 0.03115 0.07376 0.03115 0.10554 0.03166 0.14162 " pathEditMode="relative" rAng="0" ptsTypes="AAAA">
                                      <p:cBhvr>
                                        <p:cTn id="122" dur="1000" fill="hold"/>
                                        <p:tgtEl>
                                          <p:spTgt spid="328"/>
                                        </p:tgtEl>
                                        <p:attrNameLst>
                                          <p:attrName>ppt_x</p:attrName>
                                          <p:attrName>ppt_y</p:attrName>
                                        </p:attrNameLst>
                                      </p:cBhvr>
                                      <p:rCtr x="1583" y="7081"/>
                                    </p:animMotion>
                                  </p:childTnLst>
                                </p:cTn>
                              </p:par>
                              <p:par>
                                <p:cTn id="123" presetID="0" presetClass="path" presetSubtype="0" decel="100000" fill="hold" grpId="1" nodeType="withEffect">
                                  <p:stCondLst>
                                    <p:cond delay="100"/>
                                  </p:stCondLst>
                                  <p:childTnLst>
                                    <p:animMotion origin="layout" path="M -2.24151E-6 1.11666E-6 C 0.00064 0.01089 0.00115 0.02542 0.00192 0.03631 L 0.03115 0.03836 C 0.03115 0.07376 0.03115 0.10554 0.03166 0.14162 " pathEditMode="relative" rAng="0" ptsTypes="AAAA">
                                      <p:cBhvr>
                                        <p:cTn id="124" dur="1000" fill="hold"/>
                                        <p:tgtEl>
                                          <p:spTgt spid="329"/>
                                        </p:tgtEl>
                                        <p:attrNameLst>
                                          <p:attrName>ppt_x</p:attrName>
                                          <p:attrName>ppt_y</p:attrName>
                                        </p:attrNameLst>
                                      </p:cBhvr>
                                      <p:rCtr x="1583" y="7081"/>
                                    </p:animMotion>
                                  </p:childTnLst>
                                </p:cTn>
                              </p:par>
                              <p:par>
                                <p:cTn id="125" presetID="0" presetClass="path" presetSubtype="0" decel="100000" fill="hold" grpId="1" nodeType="withEffect">
                                  <p:stCondLst>
                                    <p:cond delay="200"/>
                                  </p:stCondLst>
                                  <p:childTnLst>
                                    <p:animMotion origin="layout" path="M -2.24151E-6 1.11666E-6 C 0.00064 0.01089 0.00115 0.02542 0.00192 0.03631 L 0.03115 0.03836 C 0.03115 0.07376 0.03115 0.10554 0.03166 0.14162 " pathEditMode="relative" rAng="0" ptsTypes="AAAA">
                                      <p:cBhvr>
                                        <p:cTn id="126" dur="1000" fill="hold"/>
                                        <p:tgtEl>
                                          <p:spTgt spid="330"/>
                                        </p:tgtEl>
                                        <p:attrNameLst>
                                          <p:attrName>ppt_x</p:attrName>
                                          <p:attrName>ppt_y</p:attrName>
                                        </p:attrNameLst>
                                      </p:cBhvr>
                                      <p:rCtr x="1583" y="7081"/>
                                    </p:animMotion>
                                  </p:childTnLst>
                                </p:cTn>
                              </p:par>
                            </p:childTnLst>
                          </p:cTn>
                        </p:par>
                        <p:par>
                          <p:cTn id="127" fill="hold">
                            <p:stCondLst>
                              <p:cond delay="3400"/>
                            </p:stCondLst>
                            <p:childTnLst>
                              <p:par>
                                <p:cTn id="128" presetID="10" presetClass="entr" presetSubtype="0" fill="hold" nodeType="afterEffect">
                                  <p:stCondLst>
                                    <p:cond delay="0"/>
                                  </p:stCondLst>
                                  <p:childTnLst>
                                    <p:set>
                                      <p:cBhvr>
                                        <p:cTn id="129" dur="1" fill="hold">
                                          <p:stCondLst>
                                            <p:cond delay="0"/>
                                          </p:stCondLst>
                                        </p:cTn>
                                        <p:tgtEl>
                                          <p:spTgt spid="335"/>
                                        </p:tgtEl>
                                        <p:attrNameLst>
                                          <p:attrName>style.visibility</p:attrName>
                                        </p:attrNameLst>
                                      </p:cBhvr>
                                      <p:to>
                                        <p:strVal val="visible"/>
                                      </p:to>
                                    </p:set>
                                    <p:animEffect transition="in" filter="fade">
                                      <p:cBhvr>
                                        <p:cTn id="130" dur="500"/>
                                        <p:tgtEl>
                                          <p:spTgt spid="335"/>
                                        </p:tgtEl>
                                      </p:cBhvr>
                                    </p:animEffect>
                                  </p:childTnLst>
                                </p:cTn>
                              </p:par>
                            </p:childTnLst>
                          </p:cTn>
                        </p:par>
                        <p:par>
                          <p:cTn id="131" fill="hold">
                            <p:stCondLst>
                              <p:cond delay="3900"/>
                            </p:stCondLst>
                            <p:childTnLst>
                              <p:par>
                                <p:cTn id="132" presetID="10" presetClass="exit" presetSubtype="0" fill="hold" nodeType="afterEffect">
                                  <p:stCondLst>
                                    <p:cond delay="0"/>
                                  </p:stCondLst>
                                  <p:childTnLst>
                                    <p:animEffect transition="out" filter="fade">
                                      <p:cBhvr>
                                        <p:cTn id="133" dur="500"/>
                                        <p:tgtEl>
                                          <p:spTgt spid="335"/>
                                        </p:tgtEl>
                                      </p:cBhvr>
                                    </p:animEffect>
                                    <p:set>
                                      <p:cBhvr>
                                        <p:cTn id="134" dur="1" fill="hold">
                                          <p:stCondLst>
                                            <p:cond delay="499"/>
                                          </p:stCondLst>
                                        </p:cTn>
                                        <p:tgtEl>
                                          <p:spTgt spid="335"/>
                                        </p:tgtEl>
                                        <p:attrNameLst>
                                          <p:attrName>style.visibility</p:attrName>
                                        </p:attrNameLst>
                                      </p:cBhvr>
                                      <p:to>
                                        <p:strVal val="hidden"/>
                                      </p:to>
                                    </p:set>
                                  </p:childTnLst>
                                </p:cTn>
                              </p:par>
                              <p:par>
                                <p:cTn id="135" presetID="42" presetClass="path" presetSubtype="0" decel="100000" fill="hold" grpId="2" nodeType="withEffect">
                                  <p:stCondLst>
                                    <p:cond delay="0"/>
                                  </p:stCondLst>
                                  <p:childTnLst>
                                    <p:animMotion origin="layout" path="M -0.03115 0.14525 L -0.03153 0.26827 " pathEditMode="relative" rAng="0" ptsTypes="AA">
                                      <p:cBhvr>
                                        <p:cTn id="136" dur="600" fill="hold"/>
                                        <p:tgtEl>
                                          <p:spTgt spid="322"/>
                                        </p:tgtEl>
                                        <p:attrNameLst>
                                          <p:attrName>ppt_x</p:attrName>
                                          <p:attrName>ppt_y</p:attrName>
                                        </p:attrNameLst>
                                      </p:cBhvr>
                                      <p:rCtr x="-26" y="6151"/>
                                    </p:animMotion>
                                  </p:childTnLst>
                                </p:cTn>
                              </p:par>
                              <p:par>
                                <p:cTn id="137" presetID="42" presetClass="path" presetSubtype="0" decel="100000" fill="hold" grpId="2" nodeType="withEffect">
                                  <p:stCondLst>
                                    <p:cond delay="100"/>
                                  </p:stCondLst>
                                  <p:childTnLst>
                                    <p:animMotion origin="layout" path="M -0.03114 0.14525 L -0.03089 0.27326 " pathEditMode="relative" rAng="0" ptsTypes="AA">
                                      <p:cBhvr>
                                        <p:cTn id="138" dur="600" fill="hold"/>
                                        <p:tgtEl>
                                          <p:spTgt spid="323"/>
                                        </p:tgtEl>
                                        <p:attrNameLst>
                                          <p:attrName>ppt_x</p:attrName>
                                          <p:attrName>ppt_y</p:attrName>
                                        </p:attrNameLst>
                                      </p:cBhvr>
                                      <p:rCtr x="13" y="6400"/>
                                    </p:animMotion>
                                  </p:childTnLst>
                                </p:cTn>
                              </p:par>
                              <p:par>
                                <p:cTn id="139" presetID="42" presetClass="path" presetSubtype="0" decel="100000" fill="hold" grpId="2" nodeType="withEffect">
                                  <p:stCondLst>
                                    <p:cond delay="200"/>
                                  </p:stCondLst>
                                  <p:childTnLst>
                                    <p:animMotion origin="layout" path="M -0.03114 0.14525 L -0.02949 0.27145 " pathEditMode="relative" rAng="0" ptsTypes="AA">
                                      <p:cBhvr>
                                        <p:cTn id="140" dur="600" fill="hold"/>
                                        <p:tgtEl>
                                          <p:spTgt spid="327"/>
                                        </p:tgtEl>
                                        <p:attrNameLst>
                                          <p:attrName>ppt_x</p:attrName>
                                          <p:attrName>ppt_y</p:attrName>
                                        </p:attrNameLst>
                                      </p:cBhvr>
                                      <p:rCtr x="77" y="6310"/>
                                    </p:animMotion>
                                  </p:childTnLst>
                                </p:cTn>
                              </p:par>
                            </p:childTnLst>
                          </p:cTn>
                        </p:par>
                        <p:par>
                          <p:cTn id="141" fill="hold">
                            <p:stCondLst>
                              <p:cond delay="4700"/>
                            </p:stCondLst>
                            <p:childTnLst>
                              <p:par>
                                <p:cTn id="142" presetID="10" presetClass="exit" presetSubtype="0" fill="hold" grpId="3" nodeType="afterEffect">
                                  <p:stCondLst>
                                    <p:cond delay="0"/>
                                  </p:stCondLst>
                                  <p:childTnLst>
                                    <p:animEffect transition="out" filter="fade">
                                      <p:cBhvr>
                                        <p:cTn id="143" dur="600"/>
                                        <p:tgtEl>
                                          <p:spTgt spid="322"/>
                                        </p:tgtEl>
                                      </p:cBhvr>
                                    </p:animEffect>
                                    <p:set>
                                      <p:cBhvr>
                                        <p:cTn id="144" dur="1" fill="hold">
                                          <p:stCondLst>
                                            <p:cond delay="599"/>
                                          </p:stCondLst>
                                        </p:cTn>
                                        <p:tgtEl>
                                          <p:spTgt spid="322"/>
                                        </p:tgtEl>
                                        <p:attrNameLst>
                                          <p:attrName>style.visibility</p:attrName>
                                        </p:attrNameLst>
                                      </p:cBhvr>
                                      <p:to>
                                        <p:strVal val="hidden"/>
                                      </p:to>
                                    </p:set>
                                  </p:childTnLst>
                                </p:cTn>
                              </p:par>
                              <p:par>
                                <p:cTn id="145" presetID="10" presetClass="exit" presetSubtype="0" fill="hold" grpId="3" nodeType="withEffect">
                                  <p:stCondLst>
                                    <p:cond delay="100"/>
                                  </p:stCondLst>
                                  <p:childTnLst>
                                    <p:animEffect transition="out" filter="fade">
                                      <p:cBhvr>
                                        <p:cTn id="146" dur="600"/>
                                        <p:tgtEl>
                                          <p:spTgt spid="323"/>
                                        </p:tgtEl>
                                      </p:cBhvr>
                                    </p:animEffect>
                                    <p:set>
                                      <p:cBhvr>
                                        <p:cTn id="147" dur="1" fill="hold">
                                          <p:stCondLst>
                                            <p:cond delay="599"/>
                                          </p:stCondLst>
                                        </p:cTn>
                                        <p:tgtEl>
                                          <p:spTgt spid="323"/>
                                        </p:tgtEl>
                                        <p:attrNameLst>
                                          <p:attrName>style.visibility</p:attrName>
                                        </p:attrNameLst>
                                      </p:cBhvr>
                                      <p:to>
                                        <p:strVal val="hidden"/>
                                      </p:to>
                                    </p:set>
                                  </p:childTnLst>
                                </p:cTn>
                              </p:par>
                              <p:par>
                                <p:cTn id="148" presetID="10" presetClass="exit" presetSubtype="0" fill="hold" grpId="3" nodeType="withEffect">
                                  <p:stCondLst>
                                    <p:cond delay="200"/>
                                  </p:stCondLst>
                                  <p:childTnLst>
                                    <p:animEffect transition="out" filter="fade">
                                      <p:cBhvr>
                                        <p:cTn id="149" dur="600"/>
                                        <p:tgtEl>
                                          <p:spTgt spid="327"/>
                                        </p:tgtEl>
                                      </p:cBhvr>
                                    </p:animEffect>
                                    <p:set>
                                      <p:cBhvr>
                                        <p:cTn id="150" dur="1" fill="hold">
                                          <p:stCondLst>
                                            <p:cond delay="599"/>
                                          </p:stCondLst>
                                        </p:cTn>
                                        <p:tgtEl>
                                          <p:spTgt spid="327"/>
                                        </p:tgtEl>
                                        <p:attrNameLst>
                                          <p:attrName>style.visibility</p:attrName>
                                        </p:attrNameLst>
                                      </p:cBhvr>
                                      <p:to>
                                        <p:strVal val="hidden"/>
                                      </p:to>
                                    </p:set>
                                  </p:childTnLst>
                                </p:cTn>
                              </p:par>
                            </p:childTnLst>
                          </p:cTn>
                        </p:par>
                      </p:childTnLst>
                    </p:cTn>
                  </p:par>
                  <p:par>
                    <p:cTn id="151" fill="hold">
                      <p:stCondLst>
                        <p:cond delay="indefinite"/>
                      </p:stCondLst>
                      <p:childTnLst>
                        <p:par>
                          <p:cTn id="152" fill="hold">
                            <p:stCondLst>
                              <p:cond delay="0"/>
                            </p:stCondLst>
                            <p:childTnLst>
                              <p:par>
                                <p:cTn id="153" presetID="42" presetClass="path" presetSubtype="0" decel="100000" fill="hold" nodeType="clickEffect">
                                  <p:stCondLst>
                                    <p:cond delay="0"/>
                                  </p:stCondLst>
                                  <p:childTnLst>
                                    <p:animMotion origin="layout" path="M -1.47307E-6 3.15933E-6 L 0.06115 3.15933E-6 " pathEditMode="relative" rAng="0" ptsTypes="AA">
                                      <p:cBhvr>
                                        <p:cTn id="154" dur="700" fill="hold"/>
                                        <p:tgtEl>
                                          <p:spTgt spid="299"/>
                                        </p:tgtEl>
                                        <p:attrNameLst>
                                          <p:attrName>ppt_x</p:attrName>
                                          <p:attrName>ppt_y</p:attrName>
                                        </p:attrNameLst>
                                      </p:cBhvr>
                                      <p:rCtr x="3051" y="0"/>
                                    </p:animMotion>
                                  </p:childTnLst>
                                </p:cTn>
                              </p:par>
                              <p:par>
                                <p:cTn id="155" presetID="22" presetClass="exit" presetSubtype="4" fill="hold" nodeType="withEffect">
                                  <p:stCondLst>
                                    <p:cond delay="0"/>
                                  </p:stCondLst>
                                  <p:childTnLst>
                                    <p:animEffect transition="out" filter="wipe(down)">
                                      <p:cBhvr>
                                        <p:cTn id="156" dur="500"/>
                                        <p:tgtEl>
                                          <p:spTgt spid="298"/>
                                        </p:tgtEl>
                                      </p:cBhvr>
                                    </p:animEffect>
                                    <p:set>
                                      <p:cBhvr>
                                        <p:cTn id="157" dur="1" fill="hold">
                                          <p:stCondLst>
                                            <p:cond delay="499"/>
                                          </p:stCondLst>
                                        </p:cTn>
                                        <p:tgtEl>
                                          <p:spTgt spid="298"/>
                                        </p:tgtEl>
                                        <p:attrNameLst>
                                          <p:attrName>style.visibility</p:attrName>
                                        </p:attrNameLst>
                                      </p:cBhvr>
                                      <p:to>
                                        <p:strVal val="hidden"/>
                                      </p:to>
                                    </p:set>
                                  </p:childTnLst>
                                </p:cTn>
                              </p:par>
                              <p:par>
                                <p:cTn id="158" presetID="10" presetClass="exit" presetSubtype="0" fill="hold" grpId="1" nodeType="withEffect">
                                  <p:stCondLst>
                                    <p:cond delay="0"/>
                                  </p:stCondLst>
                                  <p:childTnLst>
                                    <p:animEffect transition="out" filter="fade">
                                      <p:cBhvr>
                                        <p:cTn id="159" dur="500"/>
                                        <p:tgtEl>
                                          <p:spTgt spid="333"/>
                                        </p:tgtEl>
                                      </p:cBhvr>
                                    </p:animEffect>
                                    <p:set>
                                      <p:cBhvr>
                                        <p:cTn id="160" dur="1" fill="hold">
                                          <p:stCondLst>
                                            <p:cond delay="499"/>
                                          </p:stCondLst>
                                        </p:cTn>
                                        <p:tgtEl>
                                          <p:spTgt spid="333"/>
                                        </p:tgtEl>
                                        <p:attrNameLst>
                                          <p:attrName>style.visibility</p:attrName>
                                        </p:attrNameLst>
                                      </p:cBhvr>
                                      <p:to>
                                        <p:strVal val="hidden"/>
                                      </p:to>
                                    </p:set>
                                  </p:childTnLst>
                                </p:cTn>
                              </p:par>
                            </p:childTnLst>
                          </p:cTn>
                        </p:par>
                        <p:par>
                          <p:cTn id="161" fill="hold">
                            <p:stCondLst>
                              <p:cond delay="700"/>
                            </p:stCondLst>
                            <p:childTnLst>
                              <p:par>
                                <p:cTn id="162" presetID="10" presetClass="entr" presetSubtype="0" fill="hold" grpId="0" nodeType="afterEffect">
                                  <p:stCondLst>
                                    <p:cond delay="0"/>
                                  </p:stCondLst>
                                  <p:childTnLst>
                                    <p:set>
                                      <p:cBhvr>
                                        <p:cTn id="163" dur="1" fill="hold">
                                          <p:stCondLst>
                                            <p:cond delay="0"/>
                                          </p:stCondLst>
                                        </p:cTn>
                                        <p:tgtEl>
                                          <p:spTgt spid="334"/>
                                        </p:tgtEl>
                                        <p:attrNameLst>
                                          <p:attrName>style.visibility</p:attrName>
                                        </p:attrNameLst>
                                      </p:cBhvr>
                                      <p:to>
                                        <p:strVal val="visible"/>
                                      </p:to>
                                    </p:set>
                                    <p:animEffect transition="in" filter="fade">
                                      <p:cBhvr>
                                        <p:cTn id="164" dur="500"/>
                                        <p:tgtEl>
                                          <p:spTgt spid="334"/>
                                        </p:tgtEl>
                                      </p:cBhvr>
                                    </p:animEffect>
                                  </p:childTnLst>
                                </p:cTn>
                              </p:par>
                            </p:childTnLst>
                          </p:cTn>
                        </p:par>
                        <p:par>
                          <p:cTn id="165" fill="hold">
                            <p:stCondLst>
                              <p:cond delay="1200"/>
                            </p:stCondLst>
                            <p:childTnLst>
                              <p:par>
                                <p:cTn id="166" presetID="22" presetClass="entr" presetSubtype="1" fill="hold" nodeType="afterEffect">
                                  <p:stCondLst>
                                    <p:cond delay="0"/>
                                  </p:stCondLst>
                                  <p:childTnLst>
                                    <p:set>
                                      <p:cBhvr>
                                        <p:cTn id="167" dur="1" fill="hold">
                                          <p:stCondLst>
                                            <p:cond delay="0"/>
                                          </p:stCondLst>
                                        </p:cTn>
                                        <p:tgtEl>
                                          <p:spTgt spid="180"/>
                                        </p:tgtEl>
                                        <p:attrNameLst>
                                          <p:attrName>style.visibility</p:attrName>
                                        </p:attrNameLst>
                                      </p:cBhvr>
                                      <p:to>
                                        <p:strVal val="visible"/>
                                      </p:to>
                                    </p:set>
                                    <p:animEffect transition="in" filter="wipe(up)">
                                      <p:cBhvr>
                                        <p:cTn id="168" dur="500"/>
                                        <p:tgtEl>
                                          <p:spTgt spid="180"/>
                                        </p:tgtEl>
                                      </p:cBhvr>
                                    </p:animEffect>
                                  </p:childTnLst>
                                </p:cTn>
                              </p:par>
                              <p:par>
                                <p:cTn id="169" presetID="10" presetClass="entr" presetSubtype="0" fill="hold" nodeType="withEffect">
                                  <p:stCondLst>
                                    <p:cond delay="0"/>
                                  </p:stCondLst>
                                  <p:childTnLst>
                                    <p:set>
                                      <p:cBhvr>
                                        <p:cTn id="170" dur="1" fill="hold">
                                          <p:stCondLst>
                                            <p:cond delay="0"/>
                                          </p:stCondLst>
                                        </p:cTn>
                                        <p:tgtEl>
                                          <p:spTgt spid="23"/>
                                        </p:tgtEl>
                                        <p:attrNameLst>
                                          <p:attrName>style.visibility</p:attrName>
                                        </p:attrNameLst>
                                      </p:cBhvr>
                                      <p:to>
                                        <p:strVal val="visible"/>
                                      </p:to>
                                    </p:set>
                                    <p:animEffect transition="in" filter="fade">
                                      <p:cBhvr>
                                        <p:cTn id="171" dur="500"/>
                                        <p:tgtEl>
                                          <p:spTgt spid="23"/>
                                        </p:tgtEl>
                                      </p:cBhvr>
                                    </p:animEffect>
                                  </p:childTnLst>
                                </p:cTn>
                              </p:par>
                            </p:childTnLst>
                          </p:cTn>
                        </p:par>
                        <p:par>
                          <p:cTn id="172" fill="hold">
                            <p:stCondLst>
                              <p:cond delay="1700"/>
                            </p:stCondLst>
                            <p:childTnLst>
                              <p:par>
                                <p:cTn id="173" presetID="22" presetClass="entr" presetSubtype="2" fill="hold" nodeType="afterEffect">
                                  <p:stCondLst>
                                    <p:cond delay="0"/>
                                  </p:stCondLst>
                                  <p:childTnLst>
                                    <p:set>
                                      <p:cBhvr>
                                        <p:cTn id="174" dur="1" fill="hold">
                                          <p:stCondLst>
                                            <p:cond delay="0"/>
                                          </p:stCondLst>
                                        </p:cTn>
                                        <p:tgtEl>
                                          <p:spTgt spid="178"/>
                                        </p:tgtEl>
                                        <p:attrNameLst>
                                          <p:attrName>style.visibility</p:attrName>
                                        </p:attrNameLst>
                                      </p:cBhvr>
                                      <p:to>
                                        <p:strVal val="visible"/>
                                      </p:to>
                                    </p:set>
                                    <p:animEffect transition="in" filter="wipe(right)">
                                      <p:cBhvr>
                                        <p:cTn id="175" dur="300"/>
                                        <p:tgtEl>
                                          <p:spTgt spid="178"/>
                                        </p:tgtEl>
                                      </p:cBhvr>
                                    </p:animEffect>
                                  </p:childTnLst>
                                </p:cTn>
                              </p:par>
                            </p:childTnLst>
                          </p:cTn>
                        </p:par>
                        <p:par>
                          <p:cTn id="176" fill="hold">
                            <p:stCondLst>
                              <p:cond delay="2000"/>
                            </p:stCondLst>
                            <p:childTnLst>
                              <p:par>
                                <p:cTn id="177" presetID="10" presetClass="entr" presetSubtype="0" fill="hold" nodeType="afterEffect">
                                  <p:stCondLst>
                                    <p:cond delay="0"/>
                                  </p:stCondLst>
                                  <p:childTnLst>
                                    <p:set>
                                      <p:cBhvr>
                                        <p:cTn id="178" dur="1" fill="hold">
                                          <p:stCondLst>
                                            <p:cond delay="0"/>
                                          </p:stCondLst>
                                        </p:cTn>
                                        <p:tgtEl>
                                          <p:spTgt spid="179"/>
                                        </p:tgtEl>
                                        <p:attrNameLst>
                                          <p:attrName>style.visibility</p:attrName>
                                        </p:attrNameLst>
                                      </p:cBhvr>
                                      <p:to>
                                        <p:strVal val="visible"/>
                                      </p:to>
                                    </p:set>
                                    <p:animEffect transition="in" filter="fade">
                                      <p:cBhvr>
                                        <p:cTn id="179" dur="500"/>
                                        <p:tgtEl>
                                          <p:spTgt spid="179"/>
                                        </p:tgtEl>
                                      </p:cBhvr>
                                    </p:animEffect>
                                  </p:childTnLst>
                                </p:cTn>
                              </p:par>
                            </p:childTnLst>
                          </p:cTn>
                        </p:par>
                        <p:par>
                          <p:cTn id="180" fill="hold">
                            <p:stCondLst>
                              <p:cond delay="2500"/>
                            </p:stCondLst>
                            <p:childTnLst>
                              <p:par>
                                <p:cTn id="181" presetID="22" presetClass="entr" presetSubtype="1" fill="hold" nodeType="afterEffect">
                                  <p:stCondLst>
                                    <p:cond delay="0"/>
                                  </p:stCondLst>
                                  <p:childTnLst>
                                    <p:set>
                                      <p:cBhvr>
                                        <p:cTn id="182" dur="1" fill="hold">
                                          <p:stCondLst>
                                            <p:cond delay="0"/>
                                          </p:stCondLst>
                                        </p:cTn>
                                        <p:tgtEl>
                                          <p:spTgt spid="167"/>
                                        </p:tgtEl>
                                        <p:attrNameLst>
                                          <p:attrName>style.visibility</p:attrName>
                                        </p:attrNameLst>
                                      </p:cBhvr>
                                      <p:to>
                                        <p:strVal val="visible"/>
                                      </p:to>
                                    </p:set>
                                    <p:animEffect transition="in" filter="wipe(up)">
                                      <p:cBhvr>
                                        <p:cTn id="183" dur="500"/>
                                        <p:tgtEl>
                                          <p:spTgt spid="167"/>
                                        </p:tgtEl>
                                      </p:cBhvr>
                                    </p:animEffect>
                                  </p:childTnLst>
                                </p:cTn>
                              </p:par>
                            </p:childTnLst>
                          </p:cTn>
                        </p:par>
                        <p:par>
                          <p:cTn id="184" fill="hold">
                            <p:stCondLst>
                              <p:cond delay="3000"/>
                            </p:stCondLst>
                            <p:childTnLst>
                              <p:par>
                                <p:cTn id="185" presetID="10" presetClass="entr" presetSubtype="0" fill="hold" grpId="0" nodeType="afterEffect">
                                  <p:stCondLst>
                                    <p:cond delay="0"/>
                                  </p:stCondLst>
                                  <p:childTnLst>
                                    <p:set>
                                      <p:cBhvr>
                                        <p:cTn id="186" dur="1" fill="hold">
                                          <p:stCondLst>
                                            <p:cond delay="0"/>
                                          </p:stCondLst>
                                        </p:cTn>
                                        <p:tgtEl>
                                          <p:spTgt spid="348"/>
                                        </p:tgtEl>
                                        <p:attrNameLst>
                                          <p:attrName>style.visibility</p:attrName>
                                        </p:attrNameLst>
                                      </p:cBhvr>
                                      <p:to>
                                        <p:strVal val="visible"/>
                                      </p:to>
                                    </p:set>
                                    <p:animEffect transition="in" filter="fade">
                                      <p:cBhvr>
                                        <p:cTn id="187" dur="500"/>
                                        <p:tgtEl>
                                          <p:spTgt spid="348"/>
                                        </p:tgtEl>
                                      </p:cBhvr>
                                    </p:animEffect>
                                  </p:childTnLst>
                                </p:cTn>
                              </p:par>
                            </p:childTnLst>
                          </p:cTn>
                        </p:par>
                        <p:par>
                          <p:cTn id="188" fill="hold">
                            <p:stCondLst>
                              <p:cond delay="3500"/>
                            </p:stCondLst>
                            <p:childTnLst>
                              <p:par>
                                <p:cTn id="189" presetID="42" presetClass="path" presetSubtype="0" decel="100000" fill="hold" grpId="1" nodeType="afterEffect">
                                  <p:stCondLst>
                                    <p:cond delay="0"/>
                                  </p:stCondLst>
                                  <p:childTnLst>
                                    <p:animMotion origin="layout" path="M -3.95966E-6 -2.8098E-6 L -3.95966E-6 0.26623 " pathEditMode="relative" rAng="0" ptsTypes="AA">
                                      <p:cBhvr>
                                        <p:cTn id="190" dur="1000" fill="hold"/>
                                        <p:tgtEl>
                                          <p:spTgt spid="348"/>
                                        </p:tgtEl>
                                        <p:attrNameLst>
                                          <p:attrName>ppt_x</p:attrName>
                                          <p:attrName>ppt_y</p:attrName>
                                        </p:attrNameLst>
                                      </p:cBhvr>
                                      <p:rCtr x="0" y="13300"/>
                                    </p:animMotion>
                                  </p:childTnLst>
                                </p:cTn>
                              </p:par>
                              <p:par>
                                <p:cTn id="191" presetID="10" presetClass="exit" presetSubtype="0" fill="hold" grpId="2" nodeType="withEffect">
                                  <p:stCondLst>
                                    <p:cond delay="500"/>
                                  </p:stCondLst>
                                  <p:childTnLst>
                                    <p:animEffect transition="out" filter="fade">
                                      <p:cBhvr>
                                        <p:cTn id="192" dur="500"/>
                                        <p:tgtEl>
                                          <p:spTgt spid="348"/>
                                        </p:tgtEl>
                                      </p:cBhvr>
                                    </p:animEffect>
                                    <p:set>
                                      <p:cBhvr>
                                        <p:cTn id="193" dur="1" fill="hold">
                                          <p:stCondLst>
                                            <p:cond delay="499"/>
                                          </p:stCondLst>
                                        </p:cTn>
                                        <p:tgtEl>
                                          <p:spTgt spid="348"/>
                                        </p:tgtEl>
                                        <p:attrNameLst>
                                          <p:attrName>style.visibility</p:attrName>
                                        </p:attrNameLst>
                                      </p:cBhvr>
                                      <p:to>
                                        <p:strVal val="hidden"/>
                                      </p:to>
                                    </p:set>
                                  </p:childTnLst>
                                </p:cTn>
                              </p:par>
                            </p:childTnLst>
                          </p:cTn>
                        </p:par>
                        <p:par>
                          <p:cTn id="194" fill="hold">
                            <p:stCondLst>
                              <p:cond delay="4500"/>
                            </p:stCondLst>
                            <p:childTnLst>
                              <p:par>
                                <p:cTn id="195" presetID="10" presetClass="entr" presetSubtype="0" fill="hold" grpId="0" nodeType="afterEffect">
                                  <p:stCondLst>
                                    <p:cond delay="0"/>
                                  </p:stCondLst>
                                  <p:childTnLst>
                                    <p:set>
                                      <p:cBhvr>
                                        <p:cTn id="196" dur="1" fill="hold">
                                          <p:stCondLst>
                                            <p:cond delay="0"/>
                                          </p:stCondLst>
                                        </p:cTn>
                                        <p:tgtEl>
                                          <p:spTgt spid="349"/>
                                        </p:tgtEl>
                                        <p:attrNameLst>
                                          <p:attrName>style.visibility</p:attrName>
                                        </p:attrNameLst>
                                      </p:cBhvr>
                                      <p:to>
                                        <p:strVal val="visible"/>
                                      </p:to>
                                    </p:set>
                                    <p:animEffect transition="in" filter="fade">
                                      <p:cBhvr>
                                        <p:cTn id="197" dur="500"/>
                                        <p:tgtEl>
                                          <p:spTgt spid="349"/>
                                        </p:tgtEl>
                                      </p:cBhvr>
                                    </p:animEffect>
                                  </p:childTnLst>
                                </p:cTn>
                              </p:par>
                            </p:childTnLst>
                          </p:cTn>
                        </p:par>
                        <p:par>
                          <p:cTn id="198" fill="hold">
                            <p:stCondLst>
                              <p:cond delay="5000"/>
                            </p:stCondLst>
                            <p:childTnLst>
                              <p:par>
                                <p:cTn id="199" presetID="0" presetClass="path" presetSubtype="0" decel="100000" fill="hold" grpId="1" nodeType="afterEffect">
                                  <p:stCondLst>
                                    <p:cond delay="0"/>
                                  </p:stCondLst>
                                  <p:childTnLst>
                                    <p:animMotion origin="layout" path="M 0 0 L -0.06242 0 L -0.06242 0.26691 " pathEditMode="relative" ptsTypes="AAA">
                                      <p:cBhvr>
                                        <p:cTn id="200" dur="1000" fill="hold"/>
                                        <p:tgtEl>
                                          <p:spTgt spid="349"/>
                                        </p:tgtEl>
                                        <p:attrNameLst>
                                          <p:attrName>ppt_x</p:attrName>
                                          <p:attrName>ppt_y</p:attrName>
                                        </p:attrNameLst>
                                      </p:cBhvr>
                                    </p:animMotion>
                                  </p:childTnLst>
                                </p:cTn>
                              </p:par>
                              <p:par>
                                <p:cTn id="201" presetID="10" presetClass="exit" presetSubtype="0" fill="hold" grpId="2" nodeType="withEffect">
                                  <p:stCondLst>
                                    <p:cond delay="500"/>
                                  </p:stCondLst>
                                  <p:childTnLst>
                                    <p:animEffect transition="out" filter="fade">
                                      <p:cBhvr>
                                        <p:cTn id="202" dur="500"/>
                                        <p:tgtEl>
                                          <p:spTgt spid="349"/>
                                        </p:tgtEl>
                                      </p:cBhvr>
                                    </p:animEffect>
                                    <p:set>
                                      <p:cBhvr>
                                        <p:cTn id="203" dur="1" fill="hold">
                                          <p:stCondLst>
                                            <p:cond delay="499"/>
                                          </p:stCondLst>
                                        </p:cTn>
                                        <p:tgtEl>
                                          <p:spTgt spid="349"/>
                                        </p:tgtEl>
                                        <p:attrNameLst>
                                          <p:attrName>style.visibility</p:attrName>
                                        </p:attrNameLst>
                                      </p:cBhvr>
                                      <p:to>
                                        <p:strVal val="hidden"/>
                                      </p:to>
                                    </p:set>
                                  </p:childTnLst>
                                </p:cTn>
                              </p:par>
                            </p:childTnLst>
                          </p:cTn>
                        </p:par>
                        <p:par>
                          <p:cTn id="204" fill="hold">
                            <p:stCondLst>
                              <p:cond delay="6000"/>
                            </p:stCondLst>
                            <p:childTnLst>
                              <p:par>
                                <p:cTn id="205" presetID="10" presetClass="entr" presetSubtype="0" fill="hold" grpId="0" nodeType="afterEffect">
                                  <p:stCondLst>
                                    <p:cond delay="0"/>
                                  </p:stCondLst>
                                  <p:childTnLst>
                                    <p:set>
                                      <p:cBhvr>
                                        <p:cTn id="206" dur="1" fill="hold">
                                          <p:stCondLst>
                                            <p:cond delay="0"/>
                                          </p:stCondLst>
                                        </p:cTn>
                                        <p:tgtEl>
                                          <p:spTgt spid="350"/>
                                        </p:tgtEl>
                                        <p:attrNameLst>
                                          <p:attrName>style.visibility</p:attrName>
                                        </p:attrNameLst>
                                      </p:cBhvr>
                                      <p:to>
                                        <p:strVal val="visible"/>
                                      </p:to>
                                    </p:set>
                                    <p:animEffect transition="in" filter="fade">
                                      <p:cBhvr>
                                        <p:cTn id="207" dur="500"/>
                                        <p:tgtEl>
                                          <p:spTgt spid="350"/>
                                        </p:tgtEl>
                                      </p:cBhvr>
                                    </p:animEffect>
                                  </p:childTnLst>
                                </p:cTn>
                              </p:par>
                            </p:childTnLst>
                          </p:cTn>
                        </p:par>
                        <p:par>
                          <p:cTn id="208" fill="hold">
                            <p:stCondLst>
                              <p:cond delay="6500"/>
                            </p:stCondLst>
                            <p:childTnLst>
                              <p:par>
                                <p:cTn id="209" presetID="42" presetClass="path" presetSubtype="0" decel="100000" fill="hold" grpId="1" nodeType="afterEffect">
                                  <p:stCondLst>
                                    <p:cond delay="0"/>
                                  </p:stCondLst>
                                  <p:childTnLst>
                                    <p:animMotion origin="layout" path="M -3.95966E-6 -2.8098E-6 L -3.95966E-6 0.26623 " pathEditMode="relative" rAng="0" ptsTypes="AA">
                                      <p:cBhvr>
                                        <p:cTn id="210" dur="1000" fill="hold"/>
                                        <p:tgtEl>
                                          <p:spTgt spid="350"/>
                                        </p:tgtEl>
                                        <p:attrNameLst>
                                          <p:attrName>ppt_x</p:attrName>
                                          <p:attrName>ppt_y</p:attrName>
                                        </p:attrNameLst>
                                      </p:cBhvr>
                                      <p:rCtr x="0" y="13300"/>
                                    </p:animMotion>
                                  </p:childTnLst>
                                </p:cTn>
                              </p:par>
                              <p:par>
                                <p:cTn id="211" presetID="10" presetClass="exit" presetSubtype="0" fill="hold" grpId="2" nodeType="withEffect">
                                  <p:stCondLst>
                                    <p:cond delay="500"/>
                                  </p:stCondLst>
                                  <p:childTnLst>
                                    <p:animEffect transition="out" filter="fade">
                                      <p:cBhvr>
                                        <p:cTn id="212" dur="500"/>
                                        <p:tgtEl>
                                          <p:spTgt spid="350"/>
                                        </p:tgtEl>
                                      </p:cBhvr>
                                    </p:animEffect>
                                    <p:set>
                                      <p:cBhvr>
                                        <p:cTn id="213" dur="1" fill="hold">
                                          <p:stCondLst>
                                            <p:cond delay="499"/>
                                          </p:stCondLst>
                                        </p:cTn>
                                        <p:tgtEl>
                                          <p:spTgt spid="350"/>
                                        </p:tgtEl>
                                        <p:attrNameLst>
                                          <p:attrName>style.visibility</p:attrName>
                                        </p:attrNameLst>
                                      </p:cBhvr>
                                      <p:to>
                                        <p:strVal val="hidden"/>
                                      </p:to>
                                    </p:set>
                                  </p:childTnLst>
                                </p:cTn>
                              </p:par>
                            </p:childTnLst>
                          </p:cTn>
                        </p:par>
                        <p:par>
                          <p:cTn id="214" fill="hold">
                            <p:stCondLst>
                              <p:cond delay="7500"/>
                            </p:stCondLst>
                            <p:childTnLst>
                              <p:par>
                                <p:cTn id="215" presetID="10" presetClass="entr" presetSubtype="0" fill="hold" grpId="0" nodeType="afterEffect">
                                  <p:stCondLst>
                                    <p:cond delay="0"/>
                                  </p:stCondLst>
                                  <p:childTnLst>
                                    <p:set>
                                      <p:cBhvr>
                                        <p:cTn id="216" dur="1" fill="hold">
                                          <p:stCondLst>
                                            <p:cond delay="0"/>
                                          </p:stCondLst>
                                        </p:cTn>
                                        <p:tgtEl>
                                          <p:spTgt spid="351"/>
                                        </p:tgtEl>
                                        <p:attrNameLst>
                                          <p:attrName>style.visibility</p:attrName>
                                        </p:attrNameLst>
                                      </p:cBhvr>
                                      <p:to>
                                        <p:strVal val="visible"/>
                                      </p:to>
                                    </p:set>
                                    <p:animEffect transition="in" filter="fade">
                                      <p:cBhvr>
                                        <p:cTn id="217" dur="500"/>
                                        <p:tgtEl>
                                          <p:spTgt spid="351"/>
                                        </p:tgtEl>
                                      </p:cBhvr>
                                    </p:animEffect>
                                  </p:childTnLst>
                                </p:cTn>
                              </p:par>
                            </p:childTnLst>
                          </p:cTn>
                        </p:par>
                        <p:par>
                          <p:cTn id="218" fill="hold">
                            <p:stCondLst>
                              <p:cond delay="8000"/>
                            </p:stCondLst>
                            <p:childTnLst>
                              <p:par>
                                <p:cTn id="219" presetID="0" presetClass="path" presetSubtype="0" decel="100000" fill="hold" grpId="1" nodeType="afterEffect">
                                  <p:stCondLst>
                                    <p:cond delay="0"/>
                                  </p:stCondLst>
                                  <p:childTnLst>
                                    <p:animMotion origin="layout" path="M 3.36482E-6 -2.8098E-6 L -0.06242 -2.8098E-6 L -0.06242 0.26691 " pathEditMode="relative" rAng="0" ptsTypes="AAA">
                                      <p:cBhvr>
                                        <p:cTn id="220" dur="1000" fill="hold"/>
                                        <p:tgtEl>
                                          <p:spTgt spid="351"/>
                                        </p:tgtEl>
                                        <p:attrNameLst>
                                          <p:attrName>ppt_x</p:attrName>
                                          <p:attrName>ppt_y</p:attrName>
                                        </p:attrNameLst>
                                      </p:cBhvr>
                                      <p:rCtr x="-3127" y="13345"/>
                                    </p:animMotion>
                                  </p:childTnLst>
                                </p:cTn>
                              </p:par>
                              <p:par>
                                <p:cTn id="221" presetID="10" presetClass="exit" presetSubtype="0" fill="hold" grpId="2" nodeType="withEffect">
                                  <p:stCondLst>
                                    <p:cond delay="500"/>
                                  </p:stCondLst>
                                  <p:childTnLst>
                                    <p:animEffect transition="out" filter="fade">
                                      <p:cBhvr>
                                        <p:cTn id="222" dur="500"/>
                                        <p:tgtEl>
                                          <p:spTgt spid="351"/>
                                        </p:tgtEl>
                                      </p:cBhvr>
                                    </p:animEffect>
                                    <p:set>
                                      <p:cBhvr>
                                        <p:cTn id="223" dur="1" fill="hold">
                                          <p:stCondLst>
                                            <p:cond delay="499"/>
                                          </p:stCondLst>
                                        </p:cTn>
                                        <p:tgtEl>
                                          <p:spTgt spid="35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p:bldP spid="157" grpId="1"/>
      <p:bldP spid="314" grpId="0"/>
      <p:bldP spid="314" grpId="1"/>
      <p:bldP spid="333" grpId="0"/>
      <p:bldP spid="333" grpId="1"/>
      <p:bldP spid="334" grpId="0"/>
      <p:bldP spid="291" grpId="0" animBg="1"/>
      <p:bldP spid="291" grpId="1" animBg="1"/>
      <p:bldP spid="322" grpId="0" animBg="1"/>
      <p:bldP spid="322" grpId="1" animBg="1"/>
      <p:bldP spid="322" grpId="2" animBg="1"/>
      <p:bldP spid="322" grpId="3" animBg="1"/>
      <p:bldP spid="323" grpId="0" animBg="1"/>
      <p:bldP spid="323" grpId="1" animBg="1"/>
      <p:bldP spid="323" grpId="2" animBg="1"/>
      <p:bldP spid="323" grpId="3" animBg="1"/>
      <p:bldP spid="327" grpId="0" animBg="1"/>
      <p:bldP spid="327" grpId="1" animBg="1"/>
      <p:bldP spid="327" grpId="2" animBg="1"/>
      <p:bldP spid="327" grpId="3" animBg="1"/>
      <p:bldP spid="328" grpId="0" animBg="1"/>
      <p:bldP spid="328" grpId="1" animBg="1"/>
      <p:bldP spid="329" grpId="0" animBg="1"/>
      <p:bldP spid="329" grpId="1" animBg="1"/>
      <p:bldP spid="330" grpId="0" animBg="1"/>
      <p:bldP spid="330" grpId="1" animBg="1"/>
      <p:bldP spid="348" grpId="0" animBg="1"/>
      <p:bldP spid="348" grpId="1" animBg="1"/>
      <p:bldP spid="348" grpId="2" animBg="1"/>
      <p:bldP spid="349" grpId="0" animBg="1"/>
      <p:bldP spid="349" grpId="1" animBg="1"/>
      <p:bldP spid="349" grpId="2" animBg="1"/>
      <p:bldP spid="350" grpId="0" animBg="1"/>
      <p:bldP spid="350" grpId="1" animBg="1"/>
      <p:bldP spid="350" grpId="2" animBg="1"/>
      <p:bldP spid="351" grpId="0" animBg="1"/>
      <p:bldP spid="351" grpId="1" animBg="1"/>
      <p:bldP spid="351" grpId="2"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ld 1"/>
          <p:cNvGrpSpPr/>
          <p:nvPr/>
        </p:nvGrpSpPr>
        <p:grpSpPr>
          <a:xfrm>
            <a:off x="952349" y="2087261"/>
            <a:ext cx="3723877" cy="4451772"/>
            <a:chOff x="971444" y="2128618"/>
            <a:chExt cx="3798549" cy="4541039"/>
          </a:xfrm>
        </p:grpSpPr>
        <p:cxnSp>
          <p:nvCxnSpPr>
            <p:cNvPr id="58" name="Straight Connector 57"/>
            <p:cNvCxnSpPr/>
            <p:nvPr/>
          </p:nvCxnSpPr>
          <p:spPr>
            <a:xfrm>
              <a:off x="1613764" y="3040063"/>
              <a:ext cx="0" cy="1863407"/>
            </a:xfrm>
            <a:prstGeom prst="line">
              <a:avLst/>
            </a:prstGeom>
            <a:ln w="12700">
              <a:solidFill>
                <a:srgbClr val="7F7F7F"/>
              </a:solidFill>
              <a:tailEnd type="ova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1614191" y="3040063"/>
              <a:ext cx="633709" cy="0"/>
            </a:xfrm>
            <a:prstGeom prst="line">
              <a:avLst/>
            </a:prstGeom>
            <a:ln w="12700">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SANs"/>
            <p:cNvGrpSpPr/>
            <p:nvPr/>
          </p:nvGrpSpPr>
          <p:grpSpPr>
            <a:xfrm>
              <a:off x="971444" y="2946689"/>
              <a:ext cx="815453" cy="342309"/>
              <a:chOff x="3409651" y="5318433"/>
              <a:chExt cx="815453" cy="342309"/>
            </a:xfrm>
          </p:grpSpPr>
          <p:sp>
            <p:nvSpPr>
              <p:cNvPr id="82" name="Freeform 5"/>
              <p:cNvSpPr>
                <a:spLocks noChangeAspect="1" noEditPoints="1"/>
              </p:cNvSpPr>
              <p:nvPr/>
            </p:nvSpPr>
            <p:spPr bwMode="auto">
              <a:xfrm>
                <a:off x="3872272" y="5318433"/>
                <a:ext cx="349833" cy="265924"/>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83" name="TextBox 82"/>
              <p:cNvSpPr txBox="1"/>
              <p:nvPr/>
            </p:nvSpPr>
            <p:spPr>
              <a:xfrm>
                <a:off x="3409651" y="5549942"/>
                <a:ext cx="815453"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Ns</a:t>
                </a:r>
              </a:p>
            </p:txBody>
          </p:sp>
        </p:grpSp>
        <p:cxnSp>
          <p:nvCxnSpPr>
            <p:cNvPr id="197" name="Straight Connector 196"/>
            <p:cNvCxnSpPr/>
            <p:nvPr/>
          </p:nvCxnSpPr>
          <p:spPr>
            <a:xfrm>
              <a:off x="3809248" y="3130062"/>
              <a:ext cx="0" cy="177038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47" name="Gold"/>
            <p:cNvGrpSpPr/>
            <p:nvPr/>
          </p:nvGrpSpPr>
          <p:grpSpPr>
            <a:xfrm>
              <a:off x="2003672" y="2128618"/>
              <a:ext cx="2259247" cy="1378966"/>
              <a:chOff x="3648860" y="2575497"/>
              <a:chExt cx="2259247" cy="1378966"/>
            </a:xfrm>
          </p:grpSpPr>
          <p:grpSp>
            <p:nvGrpSpPr>
              <p:cNvPr id="40" name="Group 39"/>
              <p:cNvGrpSpPr/>
              <p:nvPr/>
            </p:nvGrpSpPr>
            <p:grpSpPr>
              <a:xfrm>
                <a:off x="3653622" y="2957112"/>
                <a:ext cx="2254485" cy="997351"/>
                <a:chOff x="5975576" y="2973304"/>
                <a:chExt cx="2254485" cy="997351"/>
              </a:xfrm>
            </p:grpSpPr>
            <p:cxnSp>
              <p:nvCxnSpPr>
                <p:cNvPr id="41" name="Elbow Connector 40"/>
                <p:cNvCxnSpPr/>
                <p:nvPr/>
              </p:nvCxnSpPr>
              <p:spPr>
                <a:xfrm rot="5400000">
                  <a:off x="7087940" y="3142816"/>
                  <a:ext cx="12086" cy="764482"/>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2" name="Freeform 207"/>
                <p:cNvSpPr>
                  <a:spLocks noEditPoints="1"/>
                </p:cNvSpPr>
                <p:nvPr/>
              </p:nvSpPr>
              <p:spPr bwMode="gray">
                <a:xfrm>
                  <a:off x="6198214"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43" name="Freeform 207"/>
                <p:cNvSpPr>
                  <a:spLocks noEditPoints="1"/>
                </p:cNvSpPr>
                <p:nvPr/>
              </p:nvSpPr>
              <p:spPr bwMode="gray">
                <a:xfrm>
                  <a:off x="738356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44" name="Rectangle 43"/>
                <p:cNvSpPr/>
                <p:nvPr/>
              </p:nvSpPr>
              <p:spPr bwMode="auto">
                <a:xfrm>
                  <a:off x="5975576" y="2973304"/>
                  <a:ext cx="2254485" cy="997351"/>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Finance</a:t>
                  </a:r>
                </a:p>
              </p:txBody>
            </p:sp>
          </p:grpSp>
          <p:sp>
            <p:nvSpPr>
              <p:cNvPr id="45" name="Rectangle 44"/>
              <p:cNvSpPr/>
              <p:nvPr/>
            </p:nvSpPr>
            <p:spPr bwMode="auto">
              <a:xfrm>
                <a:off x="3648860" y="2575497"/>
                <a:ext cx="2259247" cy="326275"/>
              </a:xfrm>
              <a:prstGeom prst="rect">
                <a:avLst/>
              </a:prstGeom>
              <a:solidFill>
                <a:srgbClr val="BFB5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Gold</a:t>
                </a:r>
              </a:p>
            </p:txBody>
          </p:sp>
        </p:grpSp>
        <p:grpSp>
          <p:nvGrpSpPr>
            <p:cNvPr id="23" name="LUNs"/>
            <p:cNvGrpSpPr/>
            <p:nvPr/>
          </p:nvGrpSpPr>
          <p:grpSpPr>
            <a:xfrm>
              <a:off x="1123240" y="5001819"/>
              <a:ext cx="1796429" cy="1667838"/>
              <a:chOff x="1172227" y="5001819"/>
              <a:chExt cx="1796429" cy="1667838"/>
            </a:xfrm>
          </p:grpSpPr>
          <p:sp>
            <p:nvSpPr>
              <p:cNvPr id="86" name="Rectangle 85"/>
              <p:cNvSpPr/>
              <p:nvPr/>
            </p:nvSpPr>
            <p:spPr bwMode="auto">
              <a:xfrm>
                <a:off x="1172227"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95" name="Rectangle 94"/>
              <p:cNvSpPr/>
              <p:nvPr/>
            </p:nvSpPr>
            <p:spPr bwMode="auto">
              <a:xfrm>
                <a:off x="1259361" y="5402580"/>
                <a:ext cx="1611986"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97" name="Straight Connector 96"/>
              <p:cNvCxnSpPr/>
              <p:nvPr/>
            </p:nvCxnSpPr>
            <p:spPr>
              <a:xfrm>
                <a:off x="2619238" y="5236011"/>
                <a:ext cx="0" cy="8504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flipV="1">
                <a:off x="1487992" y="6084407"/>
                <a:ext cx="1131247" cy="2096"/>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1393247" y="5310263"/>
                <a:ext cx="1325170" cy="650858"/>
                <a:chOff x="1393247" y="5310263"/>
                <a:chExt cx="1325170" cy="650858"/>
              </a:xfrm>
            </p:grpSpPr>
            <p:cxnSp>
              <p:nvCxnSpPr>
                <p:cNvPr id="98" name="Straight Connector 97"/>
                <p:cNvCxnSpPr/>
                <p:nvPr/>
              </p:nvCxnSpPr>
              <p:spPr>
                <a:xfrm>
                  <a:off x="1794276" y="5322365"/>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2381223" y="5310263"/>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1393247" y="5573090"/>
                  <a:ext cx="1325170" cy="388031"/>
                  <a:chOff x="1393247" y="5573090"/>
                  <a:chExt cx="1325170" cy="388031"/>
                </a:xfrm>
              </p:grpSpPr>
              <p:sp>
                <p:nvSpPr>
                  <p:cNvPr id="100" name="Freeform 5"/>
                  <p:cNvSpPr>
                    <a:spLocks noChangeAspect="1" noEditPoints="1"/>
                  </p:cNvSpPr>
                  <p:nvPr/>
                </p:nvSpPr>
                <p:spPr bwMode="auto">
                  <a:xfrm>
                    <a:off x="1614191"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93" name="Freeform 5"/>
                  <p:cNvSpPr>
                    <a:spLocks noChangeAspect="1" noEditPoints="1"/>
                  </p:cNvSpPr>
                  <p:nvPr/>
                </p:nvSpPr>
                <p:spPr bwMode="auto">
                  <a:xfrm>
                    <a:off x="2207188"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89" name="TextBox 88"/>
                  <p:cNvSpPr txBox="1"/>
                  <p:nvPr/>
                </p:nvSpPr>
                <p:spPr>
                  <a:xfrm>
                    <a:off x="1393247" y="58503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HDDs</a:t>
                    </a:r>
                  </a:p>
                </p:txBody>
              </p:sp>
              <p:sp>
                <p:nvSpPr>
                  <p:cNvPr id="90" name="TextBox 89"/>
                  <p:cNvSpPr txBox="1"/>
                  <p:nvPr/>
                </p:nvSpPr>
                <p:spPr>
                  <a:xfrm>
                    <a:off x="2016501" y="585032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SD</a:t>
                    </a:r>
                  </a:p>
                </p:txBody>
              </p:sp>
            </p:grpSp>
          </p:grpSp>
          <p:cxnSp>
            <p:nvCxnSpPr>
              <p:cNvPr id="96" name="Straight Connector 95"/>
              <p:cNvCxnSpPr/>
              <p:nvPr/>
            </p:nvCxnSpPr>
            <p:spPr>
              <a:xfrm>
                <a:off x="1489699" y="5236011"/>
                <a:ext cx="0" cy="8504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1172227" y="5001819"/>
                <a:ext cx="1796429" cy="3262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95575">
                          <a:srgbClr val="FFFFFF"/>
                        </a:gs>
                        <a:gs pos="84071">
                          <a:srgbClr val="FFFFFF"/>
                        </a:gs>
                      </a:gsLst>
                      <a:lin ang="5400000" scaled="0"/>
                    </a:gradFill>
                    <a:latin typeface="Segoe UI Semibold" panose="020B0702040204020203" pitchFamily="34" charset="0"/>
                  </a:rPr>
                  <a:t>LUNs</a:t>
                </a:r>
              </a:p>
            </p:txBody>
          </p:sp>
        </p:grpSp>
        <p:grpSp>
          <p:nvGrpSpPr>
            <p:cNvPr id="216" name="Gold storage"/>
            <p:cNvGrpSpPr/>
            <p:nvPr/>
          </p:nvGrpSpPr>
          <p:grpSpPr>
            <a:xfrm>
              <a:off x="2973564" y="5001819"/>
              <a:ext cx="1796429" cy="1667838"/>
              <a:chOff x="3015601" y="5001819"/>
              <a:chExt cx="1796429" cy="1667838"/>
            </a:xfrm>
          </p:grpSpPr>
          <p:sp>
            <p:nvSpPr>
              <p:cNvPr id="217" name="Rectangle 216"/>
              <p:cNvSpPr/>
              <p:nvPr/>
            </p:nvSpPr>
            <p:spPr bwMode="auto">
              <a:xfrm>
                <a:off x="3015601"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218" name="Rectangle 217"/>
              <p:cNvSpPr/>
              <p:nvPr/>
            </p:nvSpPr>
            <p:spPr bwMode="auto">
              <a:xfrm>
                <a:off x="3103232" y="5402580"/>
                <a:ext cx="1621168"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grpSp>
            <p:nvGrpSpPr>
              <p:cNvPr id="219" name="Group 218"/>
              <p:cNvGrpSpPr/>
              <p:nvPr/>
            </p:nvGrpSpPr>
            <p:grpSpPr>
              <a:xfrm>
                <a:off x="3334882" y="5241033"/>
                <a:ext cx="1135972" cy="1224078"/>
                <a:chOff x="3334882" y="5241033"/>
                <a:chExt cx="1135972" cy="848981"/>
              </a:xfrm>
            </p:grpSpPr>
            <p:cxnSp>
              <p:nvCxnSpPr>
                <p:cNvPr id="230" name="Straight Connector 229"/>
                <p:cNvCxnSpPr/>
                <p:nvPr/>
              </p:nvCxnSpPr>
              <p:spPr>
                <a:xfrm>
                  <a:off x="3334882" y="5241033"/>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4470854" y="5241033"/>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cxnSp>
            <p:nvCxnSpPr>
              <p:cNvPr id="220" name="Straight Connector 219"/>
              <p:cNvCxnSpPr/>
              <p:nvPr/>
            </p:nvCxnSpPr>
            <p:spPr>
              <a:xfrm>
                <a:off x="3900983" y="5327234"/>
                <a:ext cx="0" cy="26093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flipH="1" flipV="1">
                <a:off x="3333164" y="6465111"/>
                <a:ext cx="1137690" cy="20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222" name="Freeform 5"/>
              <p:cNvSpPr>
                <a:spLocks noChangeAspect="1" noEditPoints="1"/>
              </p:cNvSpPr>
              <p:nvPr/>
            </p:nvSpPr>
            <p:spPr bwMode="auto">
              <a:xfrm>
                <a:off x="3719872" y="5577513"/>
                <a:ext cx="349833" cy="265924"/>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223" name="TextBox 222"/>
              <p:cNvSpPr txBox="1"/>
              <p:nvPr/>
            </p:nvSpPr>
            <p:spPr>
              <a:xfrm>
                <a:off x="3497670" y="5854251"/>
                <a:ext cx="815453"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sp>
            <p:nvSpPr>
              <p:cNvPr id="224" name="Rectangle 223"/>
              <p:cNvSpPr/>
              <p:nvPr/>
            </p:nvSpPr>
            <p:spPr bwMode="auto">
              <a:xfrm>
                <a:off x="3015601" y="5001819"/>
                <a:ext cx="1796429"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grpSp>
            <p:nvGrpSpPr>
              <p:cNvPr id="225" name="Group 224"/>
              <p:cNvGrpSpPr/>
              <p:nvPr/>
            </p:nvGrpSpPr>
            <p:grpSpPr>
              <a:xfrm>
                <a:off x="3235221" y="6044627"/>
                <a:ext cx="1325170" cy="388031"/>
                <a:chOff x="1393247" y="5573090"/>
                <a:chExt cx="1325170" cy="388031"/>
              </a:xfrm>
            </p:grpSpPr>
            <p:sp>
              <p:nvSpPr>
                <p:cNvPr id="226" name="Freeform 5"/>
                <p:cNvSpPr>
                  <a:spLocks noChangeAspect="1" noEditPoints="1"/>
                </p:cNvSpPr>
                <p:nvPr/>
              </p:nvSpPr>
              <p:spPr bwMode="auto">
                <a:xfrm>
                  <a:off x="1614191"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227" name="Freeform 5"/>
                <p:cNvSpPr>
                  <a:spLocks noChangeAspect="1" noEditPoints="1"/>
                </p:cNvSpPr>
                <p:nvPr/>
              </p:nvSpPr>
              <p:spPr bwMode="auto">
                <a:xfrm>
                  <a:off x="2207188"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228" name="TextBox 227"/>
                <p:cNvSpPr txBox="1"/>
                <p:nvPr/>
              </p:nvSpPr>
              <p:spPr>
                <a:xfrm>
                  <a:off x="1393247" y="58503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HDD</a:t>
                  </a:r>
                </a:p>
              </p:txBody>
            </p:sp>
            <p:sp>
              <p:nvSpPr>
                <p:cNvPr id="229" name="TextBox 228"/>
                <p:cNvSpPr txBox="1"/>
                <p:nvPr/>
              </p:nvSpPr>
              <p:spPr>
                <a:xfrm>
                  <a:off x="2016501" y="585032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SDs</a:t>
                  </a:r>
                </a:p>
              </p:txBody>
            </p:sp>
          </p:grpSp>
        </p:grpSp>
      </p:grpSp>
      <p:grpSp>
        <p:nvGrpSpPr>
          <p:cNvPr id="3" name="Silver 1"/>
          <p:cNvGrpSpPr/>
          <p:nvPr/>
        </p:nvGrpSpPr>
        <p:grpSpPr>
          <a:xfrm>
            <a:off x="5445868" y="2087261"/>
            <a:ext cx="2214835" cy="4451772"/>
            <a:chOff x="5555068" y="2128618"/>
            <a:chExt cx="2259247" cy="4541039"/>
          </a:xfrm>
        </p:grpSpPr>
        <p:cxnSp>
          <p:nvCxnSpPr>
            <p:cNvPr id="62" name="Straight Connector 61"/>
            <p:cNvCxnSpPr/>
            <p:nvPr/>
          </p:nvCxnSpPr>
          <p:spPr>
            <a:xfrm>
              <a:off x="6675438" y="3267182"/>
              <a:ext cx="0" cy="1636287"/>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48" name="Silver"/>
            <p:cNvGrpSpPr/>
            <p:nvPr/>
          </p:nvGrpSpPr>
          <p:grpSpPr>
            <a:xfrm>
              <a:off x="5555068" y="2128618"/>
              <a:ext cx="2259247" cy="1378966"/>
              <a:chOff x="5971897" y="2575497"/>
              <a:chExt cx="2259247" cy="1378966"/>
            </a:xfrm>
          </p:grpSpPr>
          <p:grpSp>
            <p:nvGrpSpPr>
              <p:cNvPr id="39" name="Group 38"/>
              <p:cNvGrpSpPr/>
              <p:nvPr/>
            </p:nvGrpSpPr>
            <p:grpSpPr>
              <a:xfrm>
                <a:off x="5974424" y="2957112"/>
                <a:ext cx="2254485" cy="997351"/>
                <a:chOff x="5975576" y="2973304"/>
                <a:chExt cx="2254485" cy="997351"/>
              </a:xfrm>
            </p:grpSpPr>
            <p:cxnSp>
              <p:nvCxnSpPr>
                <p:cNvPr id="31" name="Elbow Connector 30"/>
                <p:cNvCxnSpPr/>
                <p:nvPr/>
              </p:nvCxnSpPr>
              <p:spPr>
                <a:xfrm rot="5400000">
                  <a:off x="7087940" y="3142816"/>
                  <a:ext cx="12086" cy="764482"/>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6" name="Freeform 207"/>
                <p:cNvSpPr>
                  <a:spLocks noEditPoints="1"/>
                </p:cNvSpPr>
                <p:nvPr/>
              </p:nvSpPr>
              <p:spPr bwMode="gray">
                <a:xfrm>
                  <a:off x="6198214"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37" name="Freeform 207"/>
                <p:cNvSpPr>
                  <a:spLocks noEditPoints="1"/>
                </p:cNvSpPr>
                <p:nvPr/>
              </p:nvSpPr>
              <p:spPr bwMode="gray">
                <a:xfrm>
                  <a:off x="738356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28" name="Rectangle 27"/>
                <p:cNvSpPr/>
                <p:nvPr/>
              </p:nvSpPr>
              <p:spPr bwMode="auto">
                <a:xfrm>
                  <a:off x="5975576" y="2973304"/>
                  <a:ext cx="2254485" cy="997351"/>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HR</a:t>
                  </a:r>
                </a:p>
              </p:txBody>
            </p:sp>
          </p:grpSp>
          <p:sp>
            <p:nvSpPr>
              <p:cNvPr id="26" name="Rectangle 25"/>
              <p:cNvSpPr/>
              <p:nvPr/>
            </p:nvSpPr>
            <p:spPr bwMode="auto">
              <a:xfrm>
                <a:off x="5971897" y="2575497"/>
                <a:ext cx="2259247" cy="326275"/>
              </a:xfrm>
              <a:prstGeom prst="rect">
                <a:avLst/>
              </a:prstGeom>
              <a:solidFill>
                <a:schemeClr val="accent4">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Silver</a:t>
                </a:r>
              </a:p>
            </p:txBody>
          </p:sp>
        </p:grpSp>
        <p:grpSp>
          <p:nvGrpSpPr>
            <p:cNvPr id="133" name="Silver storage"/>
            <p:cNvGrpSpPr/>
            <p:nvPr/>
          </p:nvGrpSpPr>
          <p:grpSpPr>
            <a:xfrm>
              <a:off x="5786477" y="5001819"/>
              <a:ext cx="1796429" cy="1667838"/>
              <a:chOff x="5013661" y="5001819"/>
              <a:chExt cx="1796429" cy="1667838"/>
            </a:xfrm>
          </p:grpSpPr>
          <p:sp>
            <p:nvSpPr>
              <p:cNvPr id="108" name="Rectangle 107"/>
              <p:cNvSpPr/>
              <p:nvPr/>
            </p:nvSpPr>
            <p:spPr bwMode="auto">
              <a:xfrm>
                <a:off x="5013661"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109" name="Rectangle 108"/>
              <p:cNvSpPr/>
              <p:nvPr/>
            </p:nvSpPr>
            <p:spPr bwMode="auto">
              <a:xfrm>
                <a:off x="5101292" y="5402580"/>
                <a:ext cx="1621168"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110" name="Straight Connector 109"/>
              <p:cNvCxnSpPr/>
              <p:nvPr/>
            </p:nvCxnSpPr>
            <p:spPr>
              <a:xfrm>
                <a:off x="5332942" y="5241033"/>
                <a:ext cx="0" cy="1205487"/>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6468914" y="5241033"/>
                <a:ext cx="0" cy="1205487"/>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flipV="1">
                <a:off x="5331224" y="6446061"/>
                <a:ext cx="1137690" cy="20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5249290" y="5310263"/>
                <a:ext cx="1325170" cy="1100438"/>
                <a:chOff x="1393247" y="5310263"/>
                <a:chExt cx="1325170" cy="1100438"/>
              </a:xfrm>
            </p:grpSpPr>
            <p:cxnSp>
              <p:nvCxnSpPr>
                <p:cNvPr id="127" name="Straight Connector 126"/>
                <p:cNvCxnSpPr/>
                <p:nvPr/>
              </p:nvCxnSpPr>
              <p:spPr>
                <a:xfrm>
                  <a:off x="2075153" y="5310263"/>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1393247" y="5558624"/>
                  <a:ext cx="1325170" cy="852077"/>
                  <a:chOff x="1393247" y="5558624"/>
                  <a:chExt cx="1325170" cy="852077"/>
                </a:xfrm>
              </p:grpSpPr>
              <p:sp>
                <p:nvSpPr>
                  <p:cNvPr id="129" name="Freeform 5"/>
                  <p:cNvSpPr>
                    <a:spLocks noChangeAspect="1" noEditPoints="1"/>
                  </p:cNvSpPr>
                  <p:nvPr/>
                </p:nvSpPr>
                <p:spPr bwMode="auto">
                  <a:xfrm>
                    <a:off x="1614191" y="602267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130" name="Freeform 5"/>
                  <p:cNvSpPr>
                    <a:spLocks noChangeAspect="1" noEditPoints="1"/>
                  </p:cNvSpPr>
                  <p:nvPr/>
                </p:nvSpPr>
                <p:spPr bwMode="auto">
                  <a:xfrm>
                    <a:off x="2207188" y="602267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131" name="TextBox 130"/>
                  <p:cNvSpPr txBox="1"/>
                  <p:nvPr/>
                </p:nvSpPr>
                <p:spPr>
                  <a:xfrm>
                    <a:off x="1393247" y="629990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S</a:t>
                    </a:r>
                  </a:p>
                </p:txBody>
              </p:sp>
              <p:sp>
                <p:nvSpPr>
                  <p:cNvPr id="132" name="TextBox 131"/>
                  <p:cNvSpPr txBox="1"/>
                  <p:nvPr/>
                </p:nvSpPr>
                <p:spPr>
                  <a:xfrm>
                    <a:off x="2016501" y="629990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S</a:t>
                    </a:r>
                  </a:p>
                </p:txBody>
              </p:sp>
              <p:sp>
                <p:nvSpPr>
                  <p:cNvPr id="245" name="Freeform 5"/>
                  <p:cNvSpPr>
                    <a:spLocks noChangeAspect="1" noEditPoints="1"/>
                  </p:cNvSpPr>
                  <p:nvPr/>
                </p:nvSpPr>
                <p:spPr bwMode="auto">
                  <a:xfrm>
                    <a:off x="1910690" y="5558624"/>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252" name="TextBox 251"/>
                  <p:cNvSpPr txBox="1"/>
                  <p:nvPr/>
                </p:nvSpPr>
                <p:spPr>
                  <a:xfrm>
                    <a:off x="1759334" y="5834443"/>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grpSp>
          </p:grpSp>
          <p:sp>
            <p:nvSpPr>
              <p:cNvPr id="105" name="Rectangle 104"/>
              <p:cNvSpPr/>
              <p:nvPr/>
            </p:nvSpPr>
            <p:spPr bwMode="auto">
              <a:xfrm>
                <a:off x="5013661" y="5001819"/>
                <a:ext cx="1796429"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grpSp>
      </p:grpSp>
      <p:grpSp>
        <p:nvGrpSpPr>
          <p:cNvPr id="4" name="Bronze 1"/>
          <p:cNvGrpSpPr/>
          <p:nvPr/>
        </p:nvGrpSpPr>
        <p:grpSpPr>
          <a:xfrm>
            <a:off x="8927450" y="2087261"/>
            <a:ext cx="2210452" cy="4451772"/>
            <a:chOff x="9106464" y="2128618"/>
            <a:chExt cx="2254776" cy="4541039"/>
          </a:xfrm>
        </p:grpSpPr>
        <p:cxnSp>
          <p:nvCxnSpPr>
            <p:cNvPr id="63" name="Straight Connector 62"/>
            <p:cNvCxnSpPr/>
            <p:nvPr/>
          </p:nvCxnSpPr>
          <p:spPr>
            <a:xfrm>
              <a:off x="10233852" y="3277456"/>
              <a:ext cx="0" cy="162601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49" name="Bronze"/>
            <p:cNvGrpSpPr/>
            <p:nvPr/>
          </p:nvGrpSpPr>
          <p:grpSpPr>
            <a:xfrm>
              <a:off x="9106464" y="2128618"/>
              <a:ext cx="2254776" cy="1378966"/>
              <a:chOff x="8294934" y="2575497"/>
              <a:chExt cx="2254776" cy="1378966"/>
            </a:xfrm>
          </p:grpSpPr>
          <p:grpSp>
            <p:nvGrpSpPr>
              <p:cNvPr id="46" name="Group 45"/>
              <p:cNvGrpSpPr/>
              <p:nvPr/>
            </p:nvGrpSpPr>
            <p:grpSpPr>
              <a:xfrm>
                <a:off x="8295225" y="2957112"/>
                <a:ext cx="2254485" cy="997351"/>
                <a:chOff x="8295225" y="2968542"/>
                <a:chExt cx="2254485" cy="997351"/>
              </a:xfrm>
            </p:grpSpPr>
            <p:cxnSp>
              <p:nvCxnSpPr>
                <p:cNvPr id="33" name="Elbow Connector 32"/>
                <p:cNvCxnSpPr/>
                <p:nvPr/>
              </p:nvCxnSpPr>
              <p:spPr>
                <a:xfrm rot="5400000">
                  <a:off x="9416425" y="3142816"/>
                  <a:ext cx="12086" cy="764482"/>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Freeform 207"/>
                <p:cNvSpPr>
                  <a:spLocks noEditPoints="1"/>
                </p:cNvSpPr>
                <p:nvPr/>
              </p:nvSpPr>
              <p:spPr bwMode="gray">
                <a:xfrm>
                  <a:off x="8540772"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35" name="Freeform 207"/>
                <p:cNvSpPr>
                  <a:spLocks noEditPoints="1"/>
                </p:cNvSpPr>
                <p:nvPr/>
              </p:nvSpPr>
              <p:spPr bwMode="gray">
                <a:xfrm>
                  <a:off x="969797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29" name="Rectangle 28"/>
                <p:cNvSpPr/>
                <p:nvPr/>
              </p:nvSpPr>
              <p:spPr bwMode="auto">
                <a:xfrm>
                  <a:off x="8295225" y="2968542"/>
                  <a:ext cx="2254485" cy="997351"/>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89642" rIns="179285" bIns="89642"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Marketing</a:t>
                  </a:r>
                </a:p>
              </p:txBody>
            </p:sp>
          </p:grpSp>
          <p:sp>
            <p:nvSpPr>
              <p:cNvPr id="25" name="Rectangle 24"/>
              <p:cNvSpPr/>
              <p:nvPr/>
            </p:nvSpPr>
            <p:spPr bwMode="auto">
              <a:xfrm>
                <a:off x="8294934" y="2575497"/>
                <a:ext cx="2254776" cy="32627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Bronze</a:t>
                </a:r>
              </a:p>
            </p:txBody>
          </p:sp>
        </p:grpSp>
        <p:grpSp>
          <p:nvGrpSpPr>
            <p:cNvPr id="134" name="Bronze storage"/>
            <p:cNvGrpSpPr/>
            <p:nvPr/>
          </p:nvGrpSpPr>
          <p:grpSpPr>
            <a:xfrm>
              <a:off x="9335638" y="5001819"/>
              <a:ext cx="1796429" cy="1667838"/>
              <a:chOff x="5013661" y="5001819"/>
              <a:chExt cx="1796429" cy="1667838"/>
            </a:xfrm>
          </p:grpSpPr>
          <p:sp>
            <p:nvSpPr>
              <p:cNvPr id="135" name="Rectangle 134"/>
              <p:cNvSpPr/>
              <p:nvPr/>
            </p:nvSpPr>
            <p:spPr bwMode="auto">
              <a:xfrm>
                <a:off x="5013661"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136" name="Rectangle 135"/>
              <p:cNvSpPr/>
              <p:nvPr/>
            </p:nvSpPr>
            <p:spPr bwMode="auto">
              <a:xfrm>
                <a:off x="5101292" y="5402580"/>
                <a:ext cx="1621168"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137" name="Straight Connector 136"/>
              <p:cNvCxnSpPr/>
              <p:nvPr/>
            </p:nvCxnSpPr>
            <p:spPr>
              <a:xfrm>
                <a:off x="5332942" y="5241033"/>
                <a:ext cx="0" cy="1207392"/>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6468914" y="5241033"/>
                <a:ext cx="0" cy="1202630"/>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flipV="1">
                <a:off x="5331224" y="6444156"/>
                <a:ext cx="1137690" cy="20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140" name="Rectangle 139"/>
              <p:cNvSpPr/>
              <p:nvPr/>
            </p:nvSpPr>
            <p:spPr bwMode="auto">
              <a:xfrm>
                <a:off x="5013661" y="5001819"/>
                <a:ext cx="1796429"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grpSp>
            <p:nvGrpSpPr>
              <p:cNvPr id="141" name="Group 140"/>
              <p:cNvGrpSpPr/>
              <p:nvPr/>
            </p:nvGrpSpPr>
            <p:grpSpPr>
              <a:xfrm>
                <a:off x="5249290" y="5322365"/>
                <a:ext cx="1325170" cy="1057856"/>
                <a:chOff x="1393247" y="5322365"/>
                <a:chExt cx="1325170" cy="1057856"/>
              </a:xfrm>
            </p:grpSpPr>
            <p:cxnSp>
              <p:nvCxnSpPr>
                <p:cNvPr id="142" name="Straight Connector 141"/>
                <p:cNvCxnSpPr/>
                <p:nvPr/>
              </p:nvCxnSpPr>
              <p:spPr>
                <a:xfrm>
                  <a:off x="2086376" y="5322365"/>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4" name="Group 143"/>
                <p:cNvGrpSpPr/>
                <p:nvPr/>
              </p:nvGrpSpPr>
              <p:grpSpPr>
                <a:xfrm>
                  <a:off x="1393247" y="5555082"/>
                  <a:ext cx="1325170" cy="825139"/>
                  <a:chOff x="1393247" y="5555082"/>
                  <a:chExt cx="1325170" cy="825139"/>
                </a:xfrm>
              </p:grpSpPr>
              <p:sp>
                <p:nvSpPr>
                  <p:cNvPr id="145" name="Freeform 5"/>
                  <p:cNvSpPr>
                    <a:spLocks noChangeAspect="1" noEditPoints="1"/>
                  </p:cNvSpPr>
                  <p:nvPr/>
                </p:nvSpPr>
                <p:spPr bwMode="auto">
                  <a:xfrm>
                    <a:off x="1614191" y="59921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146" name="Freeform 5"/>
                  <p:cNvSpPr>
                    <a:spLocks noChangeAspect="1" noEditPoints="1"/>
                  </p:cNvSpPr>
                  <p:nvPr/>
                </p:nvSpPr>
                <p:spPr bwMode="auto">
                  <a:xfrm>
                    <a:off x="2207188" y="59921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147" name="TextBox 146"/>
                  <p:cNvSpPr txBox="1"/>
                  <p:nvPr/>
                </p:nvSpPr>
                <p:spPr>
                  <a:xfrm>
                    <a:off x="1393247" y="62694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TA</a:t>
                    </a:r>
                  </a:p>
                </p:txBody>
              </p:sp>
              <p:sp>
                <p:nvSpPr>
                  <p:cNvPr id="148" name="TextBox 147"/>
                  <p:cNvSpPr txBox="1"/>
                  <p:nvPr/>
                </p:nvSpPr>
                <p:spPr>
                  <a:xfrm>
                    <a:off x="2016501" y="626942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TA</a:t>
                    </a:r>
                  </a:p>
                </p:txBody>
              </p:sp>
              <p:sp>
                <p:nvSpPr>
                  <p:cNvPr id="253" name="Freeform 5"/>
                  <p:cNvSpPr>
                    <a:spLocks noChangeAspect="1" noEditPoints="1"/>
                  </p:cNvSpPr>
                  <p:nvPr/>
                </p:nvSpPr>
                <p:spPr bwMode="auto">
                  <a:xfrm>
                    <a:off x="1910690" y="5555082"/>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254" name="TextBox 253"/>
                  <p:cNvSpPr txBox="1"/>
                  <p:nvPr/>
                </p:nvSpPr>
                <p:spPr>
                  <a:xfrm>
                    <a:off x="1704874" y="58250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grpSp>
          </p:grpSp>
        </p:grpSp>
      </p:grpSp>
      <p:grpSp>
        <p:nvGrpSpPr>
          <p:cNvPr id="67" name="Dotted lines"/>
          <p:cNvGrpSpPr/>
          <p:nvPr/>
        </p:nvGrpSpPr>
        <p:grpSpPr>
          <a:xfrm>
            <a:off x="4812493" y="2030460"/>
            <a:ext cx="3481583" cy="4490751"/>
            <a:chOff x="4908993" y="2070678"/>
            <a:chExt cx="3551396" cy="4580800"/>
          </a:xfrm>
        </p:grpSpPr>
        <p:cxnSp>
          <p:nvCxnSpPr>
            <p:cNvPr id="65" name="Straight Connector 64"/>
            <p:cNvCxnSpPr/>
            <p:nvPr/>
          </p:nvCxnSpPr>
          <p:spPr>
            <a:xfrm>
              <a:off x="4908993" y="2070678"/>
              <a:ext cx="0" cy="4580800"/>
            </a:xfrm>
            <a:prstGeom prst="line">
              <a:avLst/>
            </a:prstGeom>
            <a:ln w="57150">
              <a:solidFill>
                <a:schemeClr val="tx1">
                  <a:lumMod val="10000"/>
                  <a:lumOff val="9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8460389" y="2070678"/>
              <a:ext cx="0" cy="4580800"/>
            </a:xfrm>
            <a:prstGeom prst="line">
              <a:avLst/>
            </a:prstGeom>
            <a:ln w="57150">
              <a:solidFill>
                <a:schemeClr val="tx1">
                  <a:lumMod val="10000"/>
                  <a:lumOff val="9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bwMode="auto">
          <a:xfrm>
            <a:off x="1168708" y="1311505"/>
            <a:ext cx="11023291" cy="49210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1" name="Rectangle 10"/>
          <p:cNvSpPr/>
          <p:nvPr/>
        </p:nvSpPr>
        <p:spPr bwMode="auto">
          <a:xfrm>
            <a:off x="1181118" y="297134"/>
            <a:ext cx="7398948" cy="986963"/>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2" name="3 quote"/>
          <p:cNvSpPr txBox="1"/>
          <p:nvPr/>
        </p:nvSpPr>
        <p:spPr>
          <a:xfrm>
            <a:off x="1941561" y="309779"/>
            <a:ext cx="6620146" cy="371123"/>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endParaRPr lang="en-NZ" sz="1372" dirty="0">
              <a:gradFill>
                <a:gsLst>
                  <a:gs pos="5310">
                    <a:srgbClr val="282828">
                      <a:lumMod val="90000"/>
                      <a:lumOff val="10000"/>
                    </a:srgbClr>
                  </a:gs>
                  <a:gs pos="27434">
                    <a:srgbClr val="282828">
                      <a:lumMod val="90000"/>
                      <a:lumOff val="10000"/>
                    </a:srgbClr>
                  </a:gs>
                </a:gsLst>
                <a:lin ang="16200000" scaled="1"/>
              </a:gradFill>
            </a:endParaRPr>
          </a:p>
        </p:txBody>
      </p:sp>
      <p:grpSp>
        <p:nvGrpSpPr>
          <p:cNvPr id="13" name="Group 12"/>
          <p:cNvGrpSpPr>
            <a:grpSpLocks noChangeAspect="1"/>
          </p:cNvGrpSpPr>
          <p:nvPr/>
        </p:nvGrpSpPr>
        <p:grpSpPr>
          <a:xfrm>
            <a:off x="1185521" y="298063"/>
            <a:ext cx="771705" cy="986067"/>
            <a:chOff x="1210072" y="1221871"/>
            <a:chExt cx="822960" cy="1051560"/>
          </a:xfrm>
        </p:grpSpPr>
        <p:grpSp>
          <p:nvGrpSpPr>
            <p:cNvPr id="14" name="Group 13"/>
            <p:cNvGrpSpPr/>
            <p:nvPr/>
          </p:nvGrpSpPr>
          <p:grpSpPr>
            <a:xfrm>
              <a:off x="1210072" y="1221871"/>
              <a:ext cx="822960" cy="1051560"/>
              <a:chOff x="2275405" y="1518442"/>
              <a:chExt cx="822960" cy="1051560"/>
            </a:xfrm>
          </p:grpSpPr>
          <p:sp>
            <p:nvSpPr>
              <p:cNvPr id="16" name="Rectangle 15"/>
              <p:cNvSpPr/>
              <p:nvPr/>
            </p:nvSpPr>
            <p:spPr bwMode="auto">
              <a:xfrm>
                <a:off x="2275405" y="1518442"/>
                <a:ext cx="822960" cy="1051560"/>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410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17"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75748" t="27538" r="7225" b="45284"/>
              <a:stretch/>
            </p:blipFill>
            <p:spPr bwMode="auto">
              <a:xfrm>
                <a:off x="2298265"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5" name="Isosceles Triangle 14"/>
            <p:cNvSpPr/>
            <p:nvPr/>
          </p:nvSpPr>
          <p:spPr bwMode="auto">
            <a:xfrm rot="16200000">
              <a:off x="1906140"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sp>
        <p:nvSpPr>
          <p:cNvPr id="19" name="Rectangle 18"/>
          <p:cNvSpPr/>
          <p:nvPr/>
        </p:nvSpPr>
        <p:spPr bwMode="auto">
          <a:xfrm>
            <a:off x="8621864" y="297378"/>
            <a:ext cx="3570135" cy="98671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568" dirty="0">
                <a:solidFill>
                  <a:srgbClr val="FFFFFF"/>
                </a:solidFill>
              </a:rPr>
              <a:t>Virtualizing storage on industry standard hardware provides flexibility with minimum investment</a:t>
            </a:r>
          </a:p>
        </p:txBody>
      </p:sp>
      <p:sp>
        <p:nvSpPr>
          <p:cNvPr id="157" name="1 quote"/>
          <p:cNvSpPr txBox="1"/>
          <p:nvPr/>
        </p:nvSpPr>
        <p:spPr>
          <a:xfrm>
            <a:off x="1941561" y="309779"/>
            <a:ext cx="6421424" cy="371123"/>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5310">
                      <a:srgbClr val="282828">
                        <a:lumMod val="90000"/>
                        <a:lumOff val="10000"/>
                      </a:srgbClr>
                    </a:gs>
                    <a:gs pos="27434">
                      <a:srgbClr val="282828">
                        <a:lumMod val="90000"/>
                        <a:lumOff val="10000"/>
                      </a:srgbClr>
                    </a:gs>
                  </a:gsLst>
                  <a:lin ang="16200000" scaled="1"/>
                </a:gradFill>
              </a:rPr>
              <a:t>“To optimize my storage utilization, I can turn on Data De-duplication.”</a:t>
            </a:r>
          </a:p>
        </p:txBody>
      </p:sp>
      <p:grpSp>
        <p:nvGrpSpPr>
          <p:cNvPr id="155" name="Side bar"/>
          <p:cNvGrpSpPr/>
          <p:nvPr/>
        </p:nvGrpSpPr>
        <p:grpSpPr>
          <a:xfrm>
            <a:off x="1" y="487"/>
            <a:ext cx="986067" cy="6857027"/>
            <a:chOff x="0" y="0"/>
            <a:chExt cx="1005840" cy="6994525"/>
          </a:xfrm>
        </p:grpSpPr>
        <p:sp>
          <p:nvSpPr>
            <p:cNvPr id="150" name="Rectangle 149"/>
            <p:cNvSpPr/>
            <p:nvPr/>
          </p:nvSpPr>
          <p:spPr bwMode="auto">
            <a:xfrm>
              <a:off x="0" y="0"/>
              <a:ext cx="1005840" cy="6994525"/>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151" name="Rectangle 150"/>
            <p:cNvSpPr/>
            <p:nvPr/>
          </p:nvSpPr>
          <p:spPr bwMode="auto">
            <a:xfrm>
              <a:off x="0" y="5096998"/>
              <a:ext cx="1005840" cy="1554480"/>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52" name="Rectangle 151"/>
            <p:cNvSpPr/>
            <p:nvPr/>
          </p:nvSpPr>
          <p:spPr bwMode="auto">
            <a:xfrm>
              <a:off x="0" y="3498863"/>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53" name="Rectangle 152"/>
            <p:cNvSpPr/>
            <p:nvPr/>
          </p:nvSpPr>
          <p:spPr bwMode="auto">
            <a:xfrm>
              <a:off x="0" y="1900729"/>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629" defTabSz="897243"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smtClean="0">
                  <a:gradFill>
                    <a:gsLst>
                      <a:gs pos="47788">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a:t>
              </a:r>
              <a:endParaRPr lang="en-US" sz="1568" spc="-20" dirty="0">
                <a:gradFill>
                  <a:gsLst>
                    <a:gs pos="47788">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54" name="Rectangle 153"/>
            <p:cNvSpPr/>
            <p:nvPr/>
          </p:nvSpPr>
          <p:spPr bwMode="auto">
            <a:xfrm>
              <a:off x="0" y="302595"/>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grpSp>
      <p:grpSp>
        <p:nvGrpSpPr>
          <p:cNvPr id="314" name="Gold top"/>
          <p:cNvGrpSpPr/>
          <p:nvPr/>
        </p:nvGrpSpPr>
        <p:grpSpPr>
          <a:xfrm>
            <a:off x="3688028" y="2076365"/>
            <a:ext cx="3723877" cy="4451772"/>
            <a:chOff x="971444" y="2128618"/>
            <a:chExt cx="3798549" cy="4541039"/>
          </a:xfrm>
        </p:grpSpPr>
        <p:cxnSp>
          <p:nvCxnSpPr>
            <p:cNvPr id="315" name="Straight Connector 314"/>
            <p:cNvCxnSpPr/>
            <p:nvPr/>
          </p:nvCxnSpPr>
          <p:spPr>
            <a:xfrm>
              <a:off x="1613764" y="3040063"/>
              <a:ext cx="0" cy="1863407"/>
            </a:xfrm>
            <a:prstGeom prst="line">
              <a:avLst/>
            </a:prstGeom>
            <a:ln w="12700">
              <a:solidFill>
                <a:srgbClr val="7F7F7F"/>
              </a:solidFill>
              <a:tailEnd type="ova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1614191" y="3040063"/>
              <a:ext cx="633709" cy="0"/>
            </a:xfrm>
            <a:prstGeom prst="line">
              <a:avLst/>
            </a:prstGeom>
            <a:ln>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7" name="SANs"/>
            <p:cNvGrpSpPr/>
            <p:nvPr/>
          </p:nvGrpSpPr>
          <p:grpSpPr>
            <a:xfrm>
              <a:off x="971444" y="2946689"/>
              <a:ext cx="815453" cy="342309"/>
              <a:chOff x="3409651" y="5318433"/>
              <a:chExt cx="815453" cy="342309"/>
            </a:xfrm>
          </p:grpSpPr>
          <p:sp>
            <p:nvSpPr>
              <p:cNvPr id="357" name="Freeform 5"/>
              <p:cNvSpPr>
                <a:spLocks noChangeAspect="1" noEditPoints="1"/>
              </p:cNvSpPr>
              <p:nvPr/>
            </p:nvSpPr>
            <p:spPr bwMode="auto">
              <a:xfrm>
                <a:off x="3872272" y="5318433"/>
                <a:ext cx="349833" cy="265924"/>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58" name="TextBox 357"/>
              <p:cNvSpPr txBox="1"/>
              <p:nvPr/>
            </p:nvSpPr>
            <p:spPr>
              <a:xfrm>
                <a:off x="3409651" y="5549942"/>
                <a:ext cx="815453"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Ns</a:t>
                </a:r>
              </a:p>
            </p:txBody>
          </p:sp>
        </p:grpSp>
        <p:cxnSp>
          <p:nvCxnSpPr>
            <p:cNvPr id="318" name="Straight Connector 317"/>
            <p:cNvCxnSpPr/>
            <p:nvPr/>
          </p:nvCxnSpPr>
          <p:spPr>
            <a:xfrm>
              <a:off x="3809248" y="3130062"/>
              <a:ext cx="0" cy="177038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319" name="Gold"/>
            <p:cNvGrpSpPr/>
            <p:nvPr/>
          </p:nvGrpSpPr>
          <p:grpSpPr>
            <a:xfrm>
              <a:off x="2003672" y="2128618"/>
              <a:ext cx="2259247" cy="1378966"/>
              <a:chOff x="3648860" y="2575497"/>
              <a:chExt cx="2259247" cy="1378966"/>
            </a:xfrm>
          </p:grpSpPr>
          <p:grpSp>
            <p:nvGrpSpPr>
              <p:cNvPr id="351" name="Group 350"/>
              <p:cNvGrpSpPr/>
              <p:nvPr/>
            </p:nvGrpSpPr>
            <p:grpSpPr>
              <a:xfrm>
                <a:off x="3653622" y="2957112"/>
                <a:ext cx="2254485" cy="997351"/>
                <a:chOff x="5975576" y="2973304"/>
                <a:chExt cx="2254485" cy="997351"/>
              </a:xfrm>
            </p:grpSpPr>
            <p:sp>
              <p:nvSpPr>
                <p:cNvPr id="356" name="Rectangle 355"/>
                <p:cNvSpPr/>
                <p:nvPr/>
              </p:nvSpPr>
              <p:spPr bwMode="auto">
                <a:xfrm>
                  <a:off x="5975576" y="2973304"/>
                  <a:ext cx="2254485" cy="997351"/>
                </a:xfrm>
                <a:prstGeom prst="rect">
                  <a:avLst/>
                </a:prstGeom>
                <a:solidFill>
                  <a:schemeClr val="bg1"/>
                </a:solid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Finance</a:t>
                  </a:r>
                </a:p>
              </p:txBody>
            </p:sp>
            <p:cxnSp>
              <p:nvCxnSpPr>
                <p:cNvPr id="353" name="Elbow Connector 352"/>
                <p:cNvCxnSpPr/>
                <p:nvPr/>
              </p:nvCxnSpPr>
              <p:spPr>
                <a:xfrm rot="5400000">
                  <a:off x="7087940" y="3142816"/>
                  <a:ext cx="12086" cy="764482"/>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54" name="Freeform 207"/>
                <p:cNvSpPr>
                  <a:spLocks noEditPoints="1"/>
                </p:cNvSpPr>
                <p:nvPr/>
              </p:nvSpPr>
              <p:spPr bwMode="gray">
                <a:xfrm>
                  <a:off x="6198214"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355" name="Freeform 207"/>
                <p:cNvSpPr>
                  <a:spLocks noEditPoints="1"/>
                </p:cNvSpPr>
                <p:nvPr/>
              </p:nvSpPr>
              <p:spPr bwMode="gray">
                <a:xfrm>
                  <a:off x="738356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grpSp>
          <p:sp>
            <p:nvSpPr>
              <p:cNvPr id="352" name="Rectangle 351"/>
              <p:cNvSpPr/>
              <p:nvPr/>
            </p:nvSpPr>
            <p:spPr bwMode="auto">
              <a:xfrm>
                <a:off x="3648860" y="2575497"/>
                <a:ext cx="2259247" cy="326275"/>
              </a:xfrm>
              <a:prstGeom prst="rect">
                <a:avLst/>
              </a:prstGeom>
              <a:solidFill>
                <a:srgbClr val="BFB5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Gold</a:t>
                </a:r>
              </a:p>
            </p:txBody>
          </p:sp>
        </p:grpSp>
        <p:grpSp>
          <p:nvGrpSpPr>
            <p:cNvPr id="320" name="LUNs"/>
            <p:cNvGrpSpPr/>
            <p:nvPr/>
          </p:nvGrpSpPr>
          <p:grpSpPr>
            <a:xfrm>
              <a:off x="1123240" y="5001819"/>
              <a:ext cx="1796429" cy="1667838"/>
              <a:chOff x="1172227" y="5001819"/>
              <a:chExt cx="1796429" cy="1667838"/>
            </a:xfrm>
          </p:grpSpPr>
          <p:sp>
            <p:nvSpPr>
              <p:cNvPr id="337" name="Rectangle 336"/>
              <p:cNvSpPr/>
              <p:nvPr/>
            </p:nvSpPr>
            <p:spPr bwMode="auto">
              <a:xfrm>
                <a:off x="1172227"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338" name="Rectangle 337"/>
              <p:cNvSpPr/>
              <p:nvPr/>
            </p:nvSpPr>
            <p:spPr bwMode="auto">
              <a:xfrm>
                <a:off x="1259361" y="5402580"/>
                <a:ext cx="1611986"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339" name="Straight Connector 338"/>
              <p:cNvCxnSpPr/>
              <p:nvPr/>
            </p:nvCxnSpPr>
            <p:spPr>
              <a:xfrm>
                <a:off x="2619238" y="5236011"/>
                <a:ext cx="0" cy="8504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H="1" flipV="1">
                <a:off x="1487992" y="6084407"/>
                <a:ext cx="1131247" cy="2096"/>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nvGrpSpPr>
              <p:cNvPr id="341" name="Group 340"/>
              <p:cNvGrpSpPr/>
              <p:nvPr/>
            </p:nvGrpSpPr>
            <p:grpSpPr>
              <a:xfrm>
                <a:off x="1393247" y="5310263"/>
                <a:ext cx="1325170" cy="650858"/>
                <a:chOff x="1393247" y="5310263"/>
                <a:chExt cx="1325170" cy="650858"/>
              </a:xfrm>
            </p:grpSpPr>
            <p:cxnSp>
              <p:nvCxnSpPr>
                <p:cNvPr id="344" name="Straight Connector 343"/>
                <p:cNvCxnSpPr/>
                <p:nvPr/>
              </p:nvCxnSpPr>
              <p:spPr>
                <a:xfrm>
                  <a:off x="1794276" y="5322365"/>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a:off x="2381223" y="5310263"/>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46" name="Group 345"/>
                <p:cNvGrpSpPr/>
                <p:nvPr/>
              </p:nvGrpSpPr>
              <p:grpSpPr>
                <a:xfrm>
                  <a:off x="1393247" y="5573090"/>
                  <a:ext cx="1325170" cy="388031"/>
                  <a:chOff x="1393247" y="5573090"/>
                  <a:chExt cx="1325170" cy="388031"/>
                </a:xfrm>
              </p:grpSpPr>
              <p:sp>
                <p:nvSpPr>
                  <p:cNvPr id="347" name="Freeform 5"/>
                  <p:cNvSpPr>
                    <a:spLocks noChangeAspect="1" noEditPoints="1"/>
                  </p:cNvSpPr>
                  <p:nvPr/>
                </p:nvSpPr>
                <p:spPr bwMode="auto">
                  <a:xfrm>
                    <a:off x="1614191"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48" name="Freeform 5"/>
                  <p:cNvSpPr>
                    <a:spLocks noChangeAspect="1" noEditPoints="1"/>
                  </p:cNvSpPr>
                  <p:nvPr/>
                </p:nvSpPr>
                <p:spPr bwMode="auto">
                  <a:xfrm>
                    <a:off x="2207188"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349" name="TextBox 348"/>
                  <p:cNvSpPr txBox="1"/>
                  <p:nvPr/>
                </p:nvSpPr>
                <p:spPr>
                  <a:xfrm>
                    <a:off x="1393247" y="58503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HDDs</a:t>
                    </a:r>
                  </a:p>
                </p:txBody>
              </p:sp>
              <p:sp>
                <p:nvSpPr>
                  <p:cNvPr id="350" name="TextBox 349"/>
                  <p:cNvSpPr txBox="1"/>
                  <p:nvPr/>
                </p:nvSpPr>
                <p:spPr>
                  <a:xfrm>
                    <a:off x="2016501" y="585032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SD</a:t>
                    </a:r>
                  </a:p>
                </p:txBody>
              </p:sp>
            </p:grpSp>
          </p:grpSp>
          <p:cxnSp>
            <p:nvCxnSpPr>
              <p:cNvPr id="343" name="Straight Connector 342"/>
              <p:cNvCxnSpPr/>
              <p:nvPr/>
            </p:nvCxnSpPr>
            <p:spPr>
              <a:xfrm>
                <a:off x="1489699" y="5236011"/>
                <a:ext cx="0" cy="8504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42" name="Rectangle 341"/>
              <p:cNvSpPr/>
              <p:nvPr/>
            </p:nvSpPr>
            <p:spPr bwMode="auto">
              <a:xfrm>
                <a:off x="1172227" y="5001819"/>
                <a:ext cx="1796429" cy="3262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95575">
                          <a:srgbClr val="FFFFFF"/>
                        </a:gs>
                        <a:gs pos="84071">
                          <a:srgbClr val="FFFFFF"/>
                        </a:gs>
                      </a:gsLst>
                      <a:lin ang="5400000" scaled="0"/>
                    </a:gradFill>
                    <a:latin typeface="Segoe UI Semibold" panose="020B0702040204020203" pitchFamily="34" charset="0"/>
                  </a:rPr>
                  <a:t>LUNs</a:t>
                </a:r>
              </a:p>
            </p:txBody>
          </p:sp>
        </p:grpSp>
        <p:grpSp>
          <p:nvGrpSpPr>
            <p:cNvPr id="321" name="Gold storage"/>
            <p:cNvGrpSpPr/>
            <p:nvPr/>
          </p:nvGrpSpPr>
          <p:grpSpPr>
            <a:xfrm>
              <a:off x="2973564" y="5001819"/>
              <a:ext cx="1796429" cy="1667838"/>
              <a:chOff x="3015601" y="5001819"/>
              <a:chExt cx="1796429" cy="1667838"/>
            </a:xfrm>
          </p:grpSpPr>
          <p:sp>
            <p:nvSpPr>
              <p:cNvPr id="322" name="Rectangle 321"/>
              <p:cNvSpPr/>
              <p:nvPr/>
            </p:nvSpPr>
            <p:spPr bwMode="auto">
              <a:xfrm>
                <a:off x="3015601" y="5320327"/>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323" name="Rectangle 322"/>
              <p:cNvSpPr/>
              <p:nvPr/>
            </p:nvSpPr>
            <p:spPr bwMode="auto">
              <a:xfrm>
                <a:off x="3103232" y="5402580"/>
                <a:ext cx="1621168"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grpSp>
            <p:nvGrpSpPr>
              <p:cNvPr id="324" name="Group 323"/>
              <p:cNvGrpSpPr/>
              <p:nvPr/>
            </p:nvGrpSpPr>
            <p:grpSpPr>
              <a:xfrm>
                <a:off x="3334882" y="5241033"/>
                <a:ext cx="1135972" cy="1224078"/>
                <a:chOff x="3334882" y="5241033"/>
                <a:chExt cx="1135972" cy="848981"/>
              </a:xfrm>
            </p:grpSpPr>
            <p:cxnSp>
              <p:nvCxnSpPr>
                <p:cNvPr id="335" name="Straight Connector 334"/>
                <p:cNvCxnSpPr/>
                <p:nvPr/>
              </p:nvCxnSpPr>
              <p:spPr>
                <a:xfrm>
                  <a:off x="3334882" y="5241033"/>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4470854" y="5241033"/>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cxnSp>
            <p:nvCxnSpPr>
              <p:cNvPr id="325" name="Straight Connector 324"/>
              <p:cNvCxnSpPr/>
              <p:nvPr/>
            </p:nvCxnSpPr>
            <p:spPr>
              <a:xfrm>
                <a:off x="3900983" y="5327234"/>
                <a:ext cx="0" cy="26093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flipV="1">
                <a:off x="3333164" y="6465111"/>
                <a:ext cx="1137690" cy="20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27" name="Freeform 5"/>
              <p:cNvSpPr>
                <a:spLocks noChangeAspect="1" noEditPoints="1"/>
              </p:cNvSpPr>
              <p:nvPr/>
            </p:nvSpPr>
            <p:spPr bwMode="auto">
              <a:xfrm>
                <a:off x="3719872" y="5577513"/>
                <a:ext cx="349833" cy="265924"/>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28" name="TextBox 327"/>
              <p:cNvSpPr txBox="1"/>
              <p:nvPr/>
            </p:nvSpPr>
            <p:spPr>
              <a:xfrm>
                <a:off x="3497670" y="5854251"/>
                <a:ext cx="815453"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sp>
            <p:nvSpPr>
              <p:cNvPr id="329" name="Rectangle 328"/>
              <p:cNvSpPr/>
              <p:nvPr/>
            </p:nvSpPr>
            <p:spPr bwMode="auto">
              <a:xfrm>
                <a:off x="3015601" y="5001819"/>
                <a:ext cx="1796429"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grpSp>
            <p:nvGrpSpPr>
              <p:cNvPr id="330" name="Group 329"/>
              <p:cNvGrpSpPr/>
              <p:nvPr/>
            </p:nvGrpSpPr>
            <p:grpSpPr>
              <a:xfrm>
                <a:off x="3235221" y="6044627"/>
                <a:ext cx="1325170" cy="388031"/>
                <a:chOff x="1393247" y="5573090"/>
                <a:chExt cx="1325170" cy="388031"/>
              </a:xfrm>
            </p:grpSpPr>
            <p:sp>
              <p:nvSpPr>
                <p:cNvPr id="331" name="Freeform 5"/>
                <p:cNvSpPr>
                  <a:spLocks noChangeAspect="1" noEditPoints="1"/>
                </p:cNvSpPr>
                <p:nvPr/>
              </p:nvSpPr>
              <p:spPr bwMode="auto">
                <a:xfrm>
                  <a:off x="1614191"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32" name="Freeform 5"/>
                <p:cNvSpPr>
                  <a:spLocks noChangeAspect="1" noEditPoints="1"/>
                </p:cNvSpPr>
                <p:nvPr/>
              </p:nvSpPr>
              <p:spPr bwMode="auto">
                <a:xfrm>
                  <a:off x="2207188" y="557309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333" name="TextBox 332"/>
                <p:cNvSpPr txBox="1"/>
                <p:nvPr/>
              </p:nvSpPr>
              <p:spPr>
                <a:xfrm>
                  <a:off x="1393247" y="5850321"/>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HDD</a:t>
                  </a:r>
                </a:p>
              </p:txBody>
            </p:sp>
            <p:sp>
              <p:nvSpPr>
                <p:cNvPr id="334" name="TextBox 333"/>
                <p:cNvSpPr txBox="1"/>
                <p:nvPr/>
              </p:nvSpPr>
              <p:spPr>
                <a:xfrm>
                  <a:off x="2016501" y="5850321"/>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SDs</a:t>
                  </a:r>
                </a:p>
              </p:txBody>
            </p:sp>
          </p:grpSp>
        </p:grpSp>
      </p:grpSp>
      <p:sp>
        <p:nvSpPr>
          <p:cNvPr id="382" name="silver HR outline"/>
          <p:cNvSpPr/>
          <p:nvPr/>
        </p:nvSpPr>
        <p:spPr bwMode="auto">
          <a:xfrm>
            <a:off x="7230048" y="2450478"/>
            <a:ext cx="2210167" cy="977745"/>
          </a:xfrm>
          <a:prstGeom prst="rect">
            <a:avLst/>
          </a:prstGeom>
          <a:solidFill>
            <a:schemeClr val="bg1"/>
          </a:solid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HR</a:t>
            </a:r>
          </a:p>
        </p:txBody>
      </p:sp>
      <p:cxnSp>
        <p:nvCxnSpPr>
          <p:cNvPr id="379" name="Elbow Connector 378"/>
          <p:cNvCxnSpPr/>
          <p:nvPr/>
        </p:nvCxnSpPr>
        <p:spPr>
          <a:xfrm rot="5400000">
            <a:off x="8320545" y="2616657"/>
            <a:ext cx="11848" cy="749454"/>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80" name="hard drive"/>
          <p:cNvSpPr>
            <a:spLocks noEditPoints="1"/>
          </p:cNvSpPr>
          <p:nvPr/>
        </p:nvSpPr>
        <p:spPr bwMode="gray">
          <a:xfrm>
            <a:off x="7448309" y="2691927"/>
            <a:ext cx="594270" cy="44224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381" name="hard drive"/>
          <p:cNvSpPr>
            <a:spLocks noEditPoints="1"/>
          </p:cNvSpPr>
          <p:nvPr/>
        </p:nvSpPr>
        <p:spPr bwMode="gray">
          <a:xfrm>
            <a:off x="8610361" y="2691927"/>
            <a:ext cx="594270" cy="44224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378" name="Grey silver header"/>
          <p:cNvSpPr/>
          <p:nvPr/>
        </p:nvSpPr>
        <p:spPr bwMode="auto">
          <a:xfrm>
            <a:off x="7227571" y="2085703"/>
            <a:ext cx="2214835" cy="319861"/>
          </a:xfrm>
          <a:prstGeom prst="rect">
            <a:avLst/>
          </a:prstGeom>
          <a:solidFill>
            <a:schemeClr val="accent4">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Silver</a:t>
            </a:r>
          </a:p>
        </p:txBody>
      </p:sp>
      <p:sp>
        <p:nvSpPr>
          <p:cNvPr id="363" name="Rectangle 362"/>
          <p:cNvSpPr/>
          <p:nvPr/>
        </p:nvSpPr>
        <p:spPr bwMode="auto">
          <a:xfrm>
            <a:off x="7454431" y="5214669"/>
            <a:ext cx="1761115" cy="132280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364" name="Rectangle 363"/>
          <p:cNvSpPr/>
          <p:nvPr/>
        </p:nvSpPr>
        <p:spPr bwMode="auto">
          <a:xfrm>
            <a:off x="7540339" y="5295305"/>
            <a:ext cx="1589299" cy="1165352"/>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365" name="Straight Connector 364"/>
          <p:cNvCxnSpPr/>
          <p:nvPr/>
        </p:nvCxnSpPr>
        <p:spPr>
          <a:xfrm>
            <a:off x="7767435" y="5136934"/>
            <a:ext cx="0" cy="118210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a:off x="8881076" y="5136934"/>
            <a:ext cx="0" cy="1175878"/>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flipH="1" flipV="1">
            <a:off x="7765751" y="6315783"/>
            <a:ext cx="1115325" cy="2052"/>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68" name="Grey storage topper"/>
          <p:cNvSpPr/>
          <p:nvPr/>
        </p:nvSpPr>
        <p:spPr bwMode="auto">
          <a:xfrm>
            <a:off x="7454431" y="4902422"/>
            <a:ext cx="1761115" cy="319861"/>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cxnSp>
        <p:nvCxnSpPr>
          <p:cNvPr id="370" name="Straight Connector 369"/>
          <p:cNvCxnSpPr/>
          <p:nvPr/>
        </p:nvCxnSpPr>
        <p:spPr>
          <a:xfrm>
            <a:off x="8358704" y="5220294"/>
            <a:ext cx="0" cy="252637"/>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73" name="Freeform 5"/>
          <p:cNvSpPr>
            <a:spLocks noChangeAspect="1" noEditPoints="1"/>
          </p:cNvSpPr>
          <p:nvPr/>
        </p:nvSpPr>
        <p:spPr bwMode="auto">
          <a:xfrm>
            <a:off x="7902029" y="5901338"/>
            <a:ext cx="341013" cy="261160"/>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74" name="Freeform 5"/>
          <p:cNvSpPr>
            <a:spLocks noChangeAspect="1" noEditPoints="1"/>
          </p:cNvSpPr>
          <p:nvPr/>
        </p:nvSpPr>
        <p:spPr bwMode="auto">
          <a:xfrm>
            <a:off x="8483369" y="5901338"/>
            <a:ext cx="341013" cy="261160"/>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375" name="TextBox 374"/>
          <p:cNvSpPr txBox="1"/>
          <p:nvPr/>
        </p:nvSpPr>
        <p:spPr>
          <a:xfrm>
            <a:off x="7685428" y="6173119"/>
            <a:ext cx="794896" cy="108622"/>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S</a:t>
            </a:r>
          </a:p>
        </p:txBody>
      </p:sp>
      <p:sp>
        <p:nvSpPr>
          <p:cNvPr id="376" name="TextBox 375"/>
          <p:cNvSpPr txBox="1"/>
          <p:nvPr/>
        </p:nvSpPr>
        <p:spPr>
          <a:xfrm>
            <a:off x="8296430" y="6173119"/>
            <a:ext cx="688118" cy="108622"/>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S</a:t>
            </a:r>
          </a:p>
        </p:txBody>
      </p:sp>
      <p:grpSp>
        <p:nvGrpSpPr>
          <p:cNvPr id="383" name="Bronze"/>
          <p:cNvGrpSpPr/>
          <p:nvPr/>
        </p:nvGrpSpPr>
        <p:grpSpPr>
          <a:xfrm>
            <a:off x="9708691" y="2083835"/>
            <a:ext cx="2210452" cy="4454884"/>
            <a:chOff x="9106464" y="2136238"/>
            <a:chExt cx="2254776" cy="4544214"/>
          </a:xfrm>
        </p:grpSpPr>
        <p:grpSp>
          <p:nvGrpSpPr>
            <p:cNvPr id="385" name="Bronze"/>
            <p:cNvGrpSpPr/>
            <p:nvPr/>
          </p:nvGrpSpPr>
          <p:grpSpPr>
            <a:xfrm>
              <a:off x="9106464" y="2136238"/>
              <a:ext cx="2254776" cy="1371346"/>
              <a:chOff x="8294934" y="2583117"/>
              <a:chExt cx="2254776" cy="1371346"/>
            </a:xfrm>
          </p:grpSpPr>
          <p:grpSp>
            <p:nvGrpSpPr>
              <p:cNvPr id="401" name="Group 400"/>
              <p:cNvGrpSpPr/>
              <p:nvPr/>
            </p:nvGrpSpPr>
            <p:grpSpPr>
              <a:xfrm>
                <a:off x="8295225" y="2957112"/>
                <a:ext cx="2254485" cy="997351"/>
                <a:chOff x="8295225" y="2968542"/>
                <a:chExt cx="2254485" cy="997351"/>
              </a:xfrm>
            </p:grpSpPr>
            <p:sp>
              <p:nvSpPr>
                <p:cNvPr id="406" name="Rectangle 405"/>
                <p:cNvSpPr/>
                <p:nvPr/>
              </p:nvSpPr>
              <p:spPr bwMode="auto">
                <a:xfrm>
                  <a:off x="8295225" y="2968542"/>
                  <a:ext cx="2254485" cy="997351"/>
                </a:xfrm>
                <a:prstGeom prst="rect">
                  <a:avLst/>
                </a:prstGeom>
                <a:solidFill>
                  <a:schemeClr val="bg1"/>
                </a:solid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89642" rIns="179285" bIns="89642"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Marketing</a:t>
                  </a:r>
                </a:p>
              </p:txBody>
            </p:sp>
            <p:cxnSp>
              <p:nvCxnSpPr>
                <p:cNvPr id="403" name="Elbow Connector 402"/>
                <p:cNvCxnSpPr/>
                <p:nvPr/>
              </p:nvCxnSpPr>
              <p:spPr>
                <a:xfrm rot="5400000">
                  <a:off x="9416425" y="3142816"/>
                  <a:ext cx="12086" cy="764482"/>
                </a:xfrm>
                <a:prstGeom prst="bentConnector3">
                  <a:avLst>
                    <a:gd name="adj1" fmla="val 1800000"/>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04" name="Freeform 207"/>
                <p:cNvSpPr>
                  <a:spLocks noEditPoints="1"/>
                </p:cNvSpPr>
                <p:nvPr/>
              </p:nvSpPr>
              <p:spPr bwMode="gray">
                <a:xfrm>
                  <a:off x="8540772"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405" name="Freeform 207"/>
                <p:cNvSpPr>
                  <a:spLocks noEditPoints="1"/>
                </p:cNvSpPr>
                <p:nvPr/>
              </p:nvSpPr>
              <p:spPr bwMode="gray">
                <a:xfrm>
                  <a:off x="969797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grpSp>
          <p:sp>
            <p:nvSpPr>
              <p:cNvPr id="402" name="Rectangle 401"/>
              <p:cNvSpPr/>
              <p:nvPr/>
            </p:nvSpPr>
            <p:spPr bwMode="auto">
              <a:xfrm>
                <a:off x="8294934" y="2583117"/>
                <a:ext cx="2254776" cy="32627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Bronze</a:t>
                </a:r>
              </a:p>
            </p:txBody>
          </p:sp>
        </p:grpSp>
        <p:grpSp>
          <p:nvGrpSpPr>
            <p:cNvPr id="386" name="Bronze storage"/>
            <p:cNvGrpSpPr/>
            <p:nvPr/>
          </p:nvGrpSpPr>
          <p:grpSpPr>
            <a:xfrm>
              <a:off x="9335638" y="5012614"/>
              <a:ext cx="1796429" cy="1667838"/>
              <a:chOff x="5013661" y="5012614"/>
              <a:chExt cx="1796429" cy="1667838"/>
            </a:xfrm>
          </p:grpSpPr>
          <p:sp>
            <p:nvSpPr>
              <p:cNvPr id="387" name="Rectangle 386"/>
              <p:cNvSpPr/>
              <p:nvPr/>
            </p:nvSpPr>
            <p:spPr bwMode="auto">
              <a:xfrm>
                <a:off x="5013661" y="5331122"/>
                <a:ext cx="1796429" cy="1349330"/>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388" name="Rectangle 387"/>
              <p:cNvSpPr/>
              <p:nvPr/>
            </p:nvSpPr>
            <p:spPr bwMode="auto">
              <a:xfrm>
                <a:off x="5101292" y="5413375"/>
                <a:ext cx="1621168" cy="1188720"/>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cxnSp>
            <p:nvCxnSpPr>
              <p:cNvPr id="389" name="Straight Connector 388"/>
              <p:cNvCxnSpPr/>
              <p:nvPr/>
            </p:nvCxnSpPr>
            <p:spPr>
              <a:xfrm>
                <a:off x="5332942" y="5251828"/>
                <a:ext cx="0" cy="1196600"/>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6468914" y="5251828"/>
                <a:ext cx="0" cy="1191837"/>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flipH="1" flipV="1">
                <a:off x="5331224" y="6443219"/>
                <a:ext cx="1137690" cy="209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392" name="Rectangle 391"/>
              <p:cNvSpPr/>
              <p:nvPr/>
            </p:nvSpPr>
            <p:spPr bwMode="auto">
              <a:xfrm>
                <a:off x="5013661" y="5012614"/>
                <a:ext cx="1796429"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TORAGE SPACE</a:t>
                </a:r>
              </a:p>
            </p:txBody>
          </p:sp>
          <p:grpSp>
            <p:nvGrpSpPr>
              <p:cNvPr id="393" name="Group 392"/>
              <p:cNvGrpSpPr/>
              <p:nvPr/>
            </p:nvGrpSpPr>
            <p:grpSpPr>
              <a:xfrm>
                <a:off x="5249290" y="5333160"/>
                <a:ext cx="1325170" cy="1057867"/>
                <a:chOff x="1393247" y="5333160"/>
                <a:chExt cx="1325170" cy="1057867"/>
              </a:xfrm>
            </p:grpSpPr>
            <p:cxnSp>
              <p:nvCxnSpPr>
                <p:cNvPr id="394" name="Straight Connector 393"/>
                <p:cNvCxnSpPr/>
                <p:nvPr/>
              </p:nvCxnSpPr>
              <p:spPr>
                <a:xfrm>
                  <a:off x="2080026" y="5333160"/>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96" name="Group 395"/>
                <p:cNvGrpSpPr/>
                <p:nvPr/>
              </p:nvGrpSpPr>
              <p:grpSpPr>
                <a:xfrm>
                  <a:off x="1393247" y="5569600"/>
                  <a:ext cx="1325170" cy="821427"/>
                  <a:chOff x="1393247" y="5569600"/>
                  <a:chExt cx="1325170" cy="821427"/>
                </a:xfrm>
              </p:grpSpPr>
              <p:sp>
                <p:nvSpPr>
                  <p:cNvPr id="397" name="Freeform 5"/>
                  <p:cNvSpPr>
                    <a:spLocks noChangeAspect="1" noEditPoints="1"/>
                  </p:cNvSpPr>
                  <p:nvPr/>
                </p:nvSpPr>
                <p:spPr bwMode="auto">
                  <a:xfrm>
                    <a:off x="1614191" y="6002996"/>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398" name="Freeform 5"/>
                  <p:cNvSpPr>
                    <a:spLocks noChangeAspect="1" noEditPoints="1"/>
                  </p:cNvSpPr>
                  <p:nvPr/>
                </p:nvSpPr>
                <p:spPr bwMode="auto">
                  <a:xfrm>
                    <a:off x="2207188" y="6002996"/>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sp>
                <p:nvSpPr>
                  <p:cNvPr id="399" name="TextBox 398"/>
                  <p:cNvSpPr txBox="1"/>
                  <p:nvPr/>
                </p:nvSpPr>
                <p:spPr>
                  <a:xfrm>
                    <a:off x="1393247" y="6280227"/>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TA</a:t>
                    </a:r>
                  </a:p>
                </p:txBody>
              </p:sp>
              <p:sp>
                <p:nvSpPr>
                  <p:cNvPr id="400" name="TextBox 399"/>
                  <p:cNvSpPr txBox="1"/>
                  <p:nvPr/>
                </p:nvSpPr>
                <p:spPr>
                  <a:xfrm>
                    <a:off x="2016501" y="6280227"/>
                    <a:ext cx="701916"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ATA</a:t>
                    </a:r>
                  </a:p>
                </p:txBody>
              </p:sp>
              <p:sp>
                <p:nvSpPr>
                  <p:cNvPr id="255" name="Freeform 5"/>
                  <p:cNvSpPr>
                    <a:spLocks noChangeAspect="1" noEditPoints="1"/>
                  </p:cNvSpPr>
                  <p:nvPr/>
                </p:nvSpPr>
                <p:spPr bwMode="auto">
                  <a:xfrm>
                    <a:off x="1910689" y="5569600"/>
                    <a:ext cx="347851" cy="266397"/>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algn="ctr" defTabSz="914206"/>
                    <a:endParaRPr lang="en-US" sz="1568">
                      <a:solidFill>
                        <a:srgbClr val="505050"/>
                      </a:solidFill>
                    </a:endParaRPr>
                  </a:p>
                </p:txBody>
              </p:sp>
              <p:sp>
                <p:nvSpPr>
                  <p:cNvPr id="256" name="TextBox 255"/>
                  <p:cNvSpPr txBox="1"/>
                  <p:nvPr/>
                </p:nvSpPr>
                <p:spPr>
                  <a:xfrm>
                    <a:off x="1704874" y="5847203"/>
                    <a:ext cx="810835" cy="110800"/>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grpSp>
          </p:grpSp>
        </p:grpSp>
        <p:cxnSp>
          <p:nvCxnSpPr>
            <p:cNvPr id="384" name="Straight Connector 383"/>
            <p:cNvCxnSpPr/>
            <p:nvPr/>
          </p:nvCxnSpPr>
          <p:spPr>
            <a:xfrm>
              <a:off x="10233852" y="3277456"/>
              <a:ext cx="0" cy="1626013"/>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sp>
        <p:nvSpPr>
          <p:cNvPr id="412" name="White mask"/>
          <p:cNvSpPr/>
          <p:nvPr/>
        </p:nvSpPr>
        <p:spPr bwMode="auto">
          <a:xfrm>
            <a:off x="3812907" y="1983930"/>
            <a:ext cx="3610022" cy="4582558"/>
          </a:xfrm>
          <a:custGeom>
            <a:avLst/>
            <a:gdLst>
              <a:gd name="connsiteX0" fmla="*/ 0 w 3602275"/>
              <a:gd name="connsiteY0" fmla="*/ 0 h 4674448"/>
              <a:gd name="connsiteX1" fmla="*/ 3362150 w 3602275"/>
              <a:gd name="connsiteY1" fmla="*/ 0 h 4674448"/>
              <a:gd name="connsiteX2" fmla="*/ 3362150 w 3602275"/>
              <a:gd name="connsiteY2" fmla="*/ 2845648 h 4674448"/>
              <a:gd name="connsiteX3" fmla="*/ 3602275 w 3602275"/>
              <a:gd name="connsiteY3" fmla="*/ 2845648 h 4674448"/>
              <a:gd name="connsiteX4" fmla="*/ 3602275 w 3602275"/>
              <a:gd name="connsiteY4" fmla="*/ 4674448 h 4674448"/>
              <a:gd name="connsiteX5" fmla="*/ 3362150 w 3602275"/>
              <a:gd name="connsiteY5" fmla="*/ 4674448 h 4674448"/>
              <a:gd name="connsiteX6" fmla="*/ 2863444 w 3602275"/>
              <a:gd name="connsiteY6" fmla="*/ 4674448 h 4674448"/>
              <a:gd name="connsiteX7" fmla="*/ 0 w 3602275"/>
              <a:gd name="connsiteY7" fmla="*/ 4674448 h 4674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275" h="4674448">
                <a:moveTo>
                  <a:pt x="0" y="0"/>
                </a:moveTo>
                <a:lnTo>
                  <a:pt x="3362150" y="0"/>
                </a:lnTo>
                <a:lnTo>
                  <a:pt x="3362150" y="2845648"/>
                </a:lnTo>
                <a:lnTo>
                  <a:pt x="3602275" y="2845648"/>
                </a:lnTo>
                <a:lnTo>
                  <a:pt x="3602275" y="4674448"/>
                </a:lnTo>
                <a:lnTo>
                  <a:pt x="3362150" y="4674448"/>
                </a:lnTo>
                <a:lnTo>
                  <a:pt x="2863444" y="4674448"/>
                </a:lnTo>
                <a:lnTo>
                  <a:pt x="0" y="4674448"/>
                </a:lnTo>
                <a:close/>
              </a:path>
            </a:pathLst>
          </a:custGeom>
          <a:solidFill>
            <a:srgbClr val="F9F9F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Red silver header"/>
          <p:cNvSpPr/>
          <p:nvPr/>
        </p:nvSpPr>
        <p:spPr bwMode="auto">
          <a:xfrm>
            <a:off x="7227571" y="2081034"/>
            <a:ext cx="2214835" cy="319861"/>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34513">
                      <a:srgbClr val="FFFFFF"/>
                    </a:gs>
                    <a:gs pos="57000">
                      <a:srgbClr val="FFFFFF"/>
                    </a:gs>
                  </a:gsLst>
                  <a:lin ang="5400000" scaled="0"/>
                </a:gradFill>
              </a:rPr>
              <a:t>Silver</a:t>
            </a:r>
          </a:p>
        </p:txBody>
      </p:sp>
      <p:sp>
        <p:nvSpPr>
          <p:cNvPr id="414" name="Red storage topper"/>
          <p:cNvSpPr/>
          <p:nvPr/>
        </p:nvSpPr>
        <p:spPr bwMode="auto">
          <a:xfrm>
            <a:off x="7454431" y="4902423"/>
            <a:ext cx="1761115" cy="319861"/>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176" dirty="0">
                <a:gradFill>
                  <a:gsLst>
                    <a:gs pos="44248">
                      <a:srgbClr val="FFFFFF"/>
                    </a:gs>
                    <a:gs pos="63717">
                      <a:srgbClr val="FFFFFF"/>
                    </a:gs>
                  </a:gsLst>
                  <a:lin ang="5400000" scaled="0"/>
                </a:gradFill>
                <a:latin typeface="Segoe UI Semibold" panose="020B0702040204020203" pitchFamily="34" charset="0"/>
              </a:rPr>
              <a:t>STORAGE SPACE</a:t>
            </a:r>
          </a:p>
        </p:txBody>
      </p:sp>
      <p:grpSp>
        <p:nvGrpSpPr>
          <p:cNvPr id="70" name="Monitor"/>
          <p:cNvGrpSpPr/>
          <p:nvPr/>
        </p:nvGrpSpPr>
        <p:grpSpPr>
          <a:xfrm>
            <a:off x="1153564" y="1985171"/>
            <a:ext cx="2204620" cy="1892042"/>
            <a:chOff x="1176694" y="2024481"/>
            <a:chExt cx="2248827" cy="1929981"/>
          </a:xfrm>
        </p:grpSpPr>
        <p:grpSp>
          <p:nvGrpSpPr>
            <p:cNvPr id="56" name="Data dup. screen"/>
            <p:cNvGrpSpPr/>
            <p:nvPr/>
          </p:nvGrpSpPr>
          <p:grpSpPr>
            <a:xfrm>
              <a:off x="1176694" y="2024481"/>
              <a:ext cx="2248827" cy="1929981"/>
              <a:chOff x="1176694" y="2024481"/>
              <a:chExt cx="2248827" cy="1929981"/>
            </a:xfrm>
          </p:grpSpPr>
          <p:sp>
            <p:nvSpPr>
              <p:cNvPr id="27" name="Freeform 5"/>
              <p:cNvSpPr>
                <a:spLocks noEditPoints="1"/>
              </p:cNvSpPr>
              <p:nvPr/>
            </p:nvSpPr>
            <p:spPr bwMode="auto">
              <a:xfrm>
                <a:off x="1176694" y="2024481"/>
                <a:ext cx="2248827" cy="1929981"/>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solidFill>
                <a:srgbClr val="B2B2B2"/>
              </a:solidFill>
              <a:ln w="38100">
                <a:solidFill>
                  <a:schemeClr val="bg1"/>
                </a:solid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55" name="TextBox 54"/>
              <p:cNvSpPr txBox="1"/>
              <p:nvPr/>
            </p:nvSpPr>
            <p:spPr>
              <a:xfrm>
                <a:off x="1579131" y="2456776"/>
                <a:ext cx="1794549" cy="738664"/>
              </a:xfrm>
              <a:prstGeom prst="rect">
                <a:avLst/>
              </a:prstGeom>
              <a:noFill/>
            </p:spPr>
            <p:txBody>
              <a:bodyPr wrap="square" lIns="179285" tIns="143428" rIns="179285" bIns="143428" rtlCol="0">
                <a:spAutoFit/>
              </a:bodyPr>
              <a:lstStyle/>
              <a:p>
                <a:pPr defTabSz="914367">
                  <a:lnSpc>
                    <a:spcPct val="90000"/>
                  </a:lnSpc>
                  <a:spcAft>
                    <a:spcPts val="588"/>
                  </a:spcAft>
                </a:pPr>
                <a:r>
                  <a:rPr lang="en-US" sz="1568" dirty="0">
                    <a:gradFill>
                      <a:gsLst>
                        <a:gs pos="2917">
                          <a:srgbClr val="282828"/>
                        </a:gs>
                        <a:gs pos="30000">
                          <a:srgbClr val="282828"/>
                        </a:gs>
                      </a:gsLst>
                      <a:lin ang="5400000" scaled="0"/>
                    </a:gradFill>
                  </a:rPr>
                  <a:t>Data </a:t>
                </a:r>
                <a:br>
                  <a:rPr lang="en-US" sz="1568" dirty="0">
                    <a:gradFill>
                      <a:gsLst>
                        <a:gs pos="2917">
                          <a:srgbClr val="282828"/>
                        </a:gs>
                        <a:gs pos="30000">
                          <a:srgbClr val="282828"/>
                        </a:gs>
                      </a:gsLst>
                      <a:lin ang="5400000" scaled="0"/>
                    </a:gradFill>
                  </a:rPr>
                </a:br>
                <a:r>
                  <a:rPr lang="en-US" sz="1568" dirty="0">
                    <a:gradFill>
                      <a:gsLst>
                        <a:gs pos="2917">
                          <a:srgbClr val="282828"/>
                        </a:gs>
                        <a:gs pos="30000">
                          <a:srgbClr val="282828"/>
                        </a:gs>
                      </a:gsLst>
                      <a:lin ang="5400000" scaled="0"/>
                    </a:gradFill>
                  </a:rPr>
                  <a:t>De-duplication</a:t>
                </a:r>
              </a:p>
            </p:txBody>
          </p:sp>
        </p:grpSp>
        <p:sp>
          <p:nvSpPr>
            <p:cNvPr id="64" name="Rectangle 63"/>
            <p:cNvSpPr/>
            <p:nvPr/>
          </p:nvSpPr>
          <p:spPr bwMode="auto">
            <a:xfrm>
              <a:off x="1449506" y="2631688"/>
              <a:ext cx="212025" cy="212025"/>
            </a:xfrm>
            <a:prstGeom prst="rect">
              <a:avLst/>
            </a:prstGeom>
            <a:solidFill>
              <a:schemeClr val="bg1"/>
            </a:solidFill>
            <a:ln w="285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16" name="Check mark"/>
          <p:cNvSpPr txBox="1"/>
          <p:nvPr/>
        </p:nvSpPr>
        <p:spPr>
          <a:xfrm>
            <a:off x="1269137" y="2291413"/>
            <a:ext cx="663532" cy="789211"/>
          </a:xfrm>
          <a:prstGeom prst="rect">
            <a:avLst/>
          </a:prstGeom>
          <a:noFill/>
        </p:spPr>
        <p:txBody>
          <a:bodyPr wrap="square" lIns="152328" tIns="121861" rIns="152328" bIns="121861" rtlCol="0">
            <a:spAutoFit/>
          </a:bodyPr>
          <a:lstStyle/>
          <a:p>
            <a:pPr defTabSz="914367">
              <a:lnSpc>
                <a:spcPct val="90000"/>
              </a:lnSpc>
            </a:pPr>
            <a:r>
              <a:rPr lang="en-US" sz="3921" b="1" dirty="0">
                <a:solidFill>
                  <a:srgbClr val="BAD80A">
                    <a:lumMod val="75000"/>
                  </a:srgbClr>
                </a:solidFill>
                <a:sym typeface="Wingdings" panose="05000000000000000000" pitchFamily="2" charset="2"/>
              </a:rPr>
              <a:t></a:t>
            </a:r>
            <a:endParaRPr lang="en-US" sz="3921" b="1" dirty="0">
              <a:solidFill>
                <a:srgbClr val="BAD80A">
                  <a:lumMod val="75000"/>
                </a:srgbClr>
              </a:solidFill>
            </a:endParaRPr>
          </a:p>
        </p:txBody>
      </p:sp>
      <p:sp>
        <p:nvSpPr>
          <p:cNvPr id="61" name="Mouse arrow"/>
          <p:cNvSpPr>
            <a:spLocks/>
          </p:cNvSpPr>
          <p:nvPr/>
        </p:nvSpPr>
        <p:spPr bwMode="auto">
          <a:xfrm>
            <a:off x="3435402" y="3801379"/>
            <a:ext cx="183857" cy="354859"/>
          </a:xfrm>
          <a:custGeom>
            <a:avLst/>
            <a:gdLst>
              <a:gd name="T0" fmla="*/ 702 w 796"/>
              <a:gd name="T1" fmla="*/ 1470 h 1540"/>
              <a:gd name="T2" fmla="*/ 515 w 796"/>
              <a:gd name="T3" fmla="*/ 1540 h 1540"/>
              <a:gd name="T4" fmla="*/ 281 w 796"/>
              <a:gd name="T5" fmla="*/ 1027 h 1540"/>
              <a:gd name="T6" fmla="*/ 0 w 796"/>
              <a:gd name="T7" fmla="*/ 1190 h 1540"/>
              <a:gd name="T8" fmla="*/ 0 w 796"/>
              <a:gd name="T9" fmla="*/ 0 h 1540"/>
              <a:gd name="T10" fmla="*/ 796 w 796"/>
              <a:gd name="T11" fmla="*/ 863 h 1540"/>
              <a:gd name="T12" fmla="*/ 468 w 796"/>
              <a:gd name="T13" fmla="*/ 933 h 1540"/>
              <a:gd name="T14" fmla="*/ 702 w 796"/>
              <a:gd name="T15" fmla="*/ 1470 h 1540"/>
              <a:gd name="T16" fmla="*/ 702 w 796"/>
              <a:gd name="T17" fmla="*/ 147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6" h="1540">
                <a:moveTo>
                  <a:pt x="702" y="1470"/>
                </a:moveTo>
                <a:cubicBezTo>
                  <a:pt x="515" y="1540"/>
                  <a:pt x="515" y="1540"/>
                  <a:pt x="515" y="1540"/>
                </a:cubicBezTo>
                <a:cubicBezTo>
                  <a:pt x="281" y="1027"/>
                  <a:pt x="281" y="1027"/>
                  <a:pt x="281" y="1027"/>
                </a:cubicBezTo>
                <a:cubicBezTo>
                  <a:pt x="0" y="1190"/>
                  <a:pt x="0" y="1190"/>
                  <a:pt x="0" y="1190"/>
                </a:cubicBezTo>
                <a:cubicBezTo>
                  <a:pt x="0" y="0"/>
                  <a:pt x="0" y="0"/>
                  <a:pt x="0" y="0"/>
                </a:cubicBezTo>
                <a:cubicBezTo>
                  <a:pt x="796" y="863"/>
                  <a:pt x="796" y="863"/>
                  <a:pt x="796" y="863"/>
                </a:cubicBezTo>
                <a:cubicBezTo>
                  <a:pt x="468" y="933"/>
                  <a:pt x="468" y="933"/>
                  <a:pt x="468" y="933"/>
                </a:cubicBezTo>
                <a:cubicBezTo>
                  <a:pt x="702" y="1470"/>
                  <a:pt x="702" y="1470"/>
                  <a:pt x="702" y="1470"/>
                </a:cubicBezTo>
                <a:cubicBezTo>
                  <a:pt x="702" y="1470"/>
                  <a:pt x="702" y="1470"/>
                  <a:pt x="702" y="147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421" name="2 quote"/>
          <p:cNvSpPr txBox="1"/>
          <p:nvPr/>
        </p:nvSpPr>
        <p:spPr>
          <a:xfrm>
            <a:off x="1941561" y="309779"/>
            <a:ext cx="6421424" cy="561211"/>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5310">
                      <a:srgbClr val="282828">
                        <a:lumMod val="90000"/>
                        <a:lumOff val="10000"/>
                      </a:srgbClr>
                    </a:gs>
                    <a:gs pos="27434">
                      <a:srgbClr val="282828">
                        <a:lumMod val="90000"/>
                        <a:lumOff val="10000"/>
                      </a:srgbClr>
                    </a:gs>
                  </a:gsLst>
                  <a:lin ang="16200000" scaled="1"/>
                </a:gradFill>
              </a:rPr>
              <a:t>“I can continue to run my critical finance applications either on my existing SAN or storage spaces.”</a:t>
            </a:r>
          </a:p>
        </p:txBody>
      </p:sp>
      <p:sp>
        <p:nvSpPr>
          <p:cNvPr id="422" name="2 quote"/>
          <p:cNvSpPr txBox="1"/>
          <p:nvPr/>
        </p:nvSpPr>
        <p:spPr>
          <a:xfrm>
            <a:off x="1941561" y="309779"/>
            <a:ext cx="6421424" cy="561211"/>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5310">
                      <a:srgbClr val="282828">
                        <a:lumMod val="90000"/>
                        <a:lumOff val="10000"/>
                      </a:srgbClr>
                    </a:gs>
                    <a:gs pos="27434">
                      <a:srgbClr val="282828">
                        <a:lumMod val="90000"/>
                        <a:lumOff val="10000"/>
                      </a:srgbClr>
                    </a:gs>
                  </a:gsLst>
                  <a:lin ang="16200000" scaled="1"/>
                </a:gradFill>
              </a:rPr>
              <a:t>“And, Data De-duplication is built right in to Windows Server, and I can see storage capacity savings up to 95%!</a:t>
            </a:r>
          </a:p>
        </p:txBody>
      </p:sp>
      <p:sp>
        <p:nvSpPr>
          <p:cNvPr id="417" name="Rectangle 416"/>
          <p:cNvSpPr/>
          <p:nvPr/>
        </p:nvSpPr>
        <p:spPr bwMode="auto">
          <a:xfrm>
            <a:off x="1181119" y="291019"/>
            <a:ext cx="10999234" cy="992518"/>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765" dirty="0">
                <a:solidFill>
                  <a:srgbClr val="FFFFFF"/>
                </a:solidFill>
              </a:rPr>
              <a:t>Virtualizing </a:t>
            </a:r>
            <a:r>
              <a:rPr lang="en-US" sz="1765" dirty="0">
                <a:gradFill>
                  <a:gsLst>
                    <a:gs pos="0">
                      <a:srgbClr val="FFFFFF"/>
                    </a:gs>
                    <a:gs pos="100000">
                      <a:srgbClr val="FFFFFF"/>
                    </a:gs>
                  </a:gsLst>
                  <a:lin ang="5400000" scaled="0"/>
                </a:gradFill>
              </a:rPr>
              <a:t>storage on industry standard hardware provides flexibility with minimum investment</a:t>
            </a:r>
          </a:p>
        </p:txBody>
      </p:sp>
      <p:sp>
        <p:nvSpPr>
          <p:cNvPr id="423" name="Oval 422"/>
          <p:cNvSpPr/>
          <p:nvPr/>
        </p:nvSpPr>
        <p:spPr bwMode="auto">
          <a:xfrm>
            <a:off x="7855070" y="2889250"/>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Oval 423"/>
          <p:cNvSpPr/>
          <p:nvPr/>
        </p:nvSpPr>
        <p:spPr bwMode="auto">
          <a:xfrm>
            <a:off x="8600454" y="2887339"/>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p:cNvSpPr/>
          <p:nvPr/>
        </p:nvSpPr>
        <p:spPr bwMode="auto">
          <a:xfrm>
            <a:off x="7856950" y="2887828"/>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Oval 425"/>
          <p:cNvSpPr/>
          <p:nvPr/>
        </p:nvSpPr>
        <p:spPr bwMode="auto">
          <a:xfrm>
            <a:off x="8602334" y="2885916"/>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Oval 426"/>
          <p:cNvSpPr/>
          <p:nvPr/>
        </p:nvSpPr>
        <p:spPr bwMode="auto">
          <a:xfrm>
            <a:off x="7853190" y="2891046"/>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8" name="Oval 427"/>
          <p:cNvSpPr/>
          <p:nvPr/>
        </p:nvSpPr>
        <p:spPr bwMode="auto">
          <a:xfrm>
            <a:off x="8598573" y="2889135"/>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9" name="Oval 428"/>
          <p:cNvSpPr/>
          <p:nvPr/>
        </p:nvSpPr>
        <p:spPr bwMode="auto">
          <a:xfrm>
            <a:off x="7855070" y="2889624"/>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p:cNvSpPr/>
          <p:nvPr/>
        </p:nvSpPr>
        <p:spPr bwMode="auto">
          <a:xfrm>
            <a:off x="8600454" y="2887712"/>
            <a:ext cx="189745" cy="189745"/>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TextBox 237"/>
          <p:cNvSpPr txBox="1"/>
          <p:nvPr/>
        </p:nvSpPr>
        <p:spPr>
          <a:xfrm>
            <a:off x="6260877" y="1286819"/>
            <a:ext cx="5931123" cy="506901"/>
          </a:xfrm>
          <a:prstGeom prst="rect">
            <a:avLst/>
          </a:prstGeom>
          <a:noFill/>
        </p:spPr>
        <p:txBody>
          <a:bodyPr wrap="square" lIns="179285" tIns="143428" rIns="179285" bIns="143428" rtlCol="0">
            <a:spAutoFit/>
          </a:bodyPr>
          <a:lstStyle/>
          <a:p>
            <a:pPr defTabSz="914206">
              <a:lnSpc>
                <a:spcPct val="90000"/>
              </a:lnSpc>
              <a:spcAft>
                <a:spcPts val="588"/>
              </a:spcAft>
            </a:pPr>
            <a:r>
              <a:rPr lang="en-US" sz="1568" dirty="0">
                <a:gradFill>
                  <a:gsLst>
                    <a:gs pos="2917">
                      <a:srgbClr val="505050"/>
                    </a:gs>
                    <a:gs pos="30000">
                      <a:srgbClr val="505050"/>
                    </a:gs>
                  </a:gsLst>
                  <a:lin ang="5400000" scaled="0"/>
                </a:gradFill>
              </a:rPr>
              <a:t>Storage Spaces | Data De-duplication | Storage Tiering | VMM</a:t>
            </a:r>
          </a:p>
        </p:txBody>
      </p:sp>
      <p:sp>
        <p:nvSpPr>
          <p:cNvPr id="239" name="Rectangle 238"/>
          <p:cNvSpPr/>
          <p:nvPr/>
        </p:nvSpPr>
        <p:spPr bwMode="auto">
          <a:xfrm>
            <a:off x="1181119" y="1311505"/>
            <a:ext cx="5160097" cy="492107"/>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0" name="TextBox 239"/>
          <p:cNvSpPr txBox="1"/>
          <p:nvPr/>
        </p:nvSpPr>
        <p:spPr>
          <a:xfrm>
            <a:off x="1181118" y="1296711"/>
            <a:ext cx="516009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gradFill>
                  <a:gsLst>
                    <a:gs pos="77876">
                      <a:srgbClr val="FFFFFF"/>
                    </a:gs>
                    <a:gs pos="30000">
                      <a:srgbClr val="FFFFFF"/>
                    </a:gs>
                  </a:gsLst>
                  <a:lin ang="5400000" scaled="0"/>
                </a:gradFill>
              </a:rPr>
              <a:t>Windows Server 2012 </a:t>
            </a:r>
            <a:r>
              <a:rPr lang="en-US" sz="1568" dirty="0" smtClean="0">
                <a:gradFill>
                  <a:gsLst>
                    <a:gs pos="77876">
                      <a:srgbClr val="FFFFFF"/>
                    </a:gs>
                    <a:gs pos="30000">
                      <a:srgbClr val="FFFFFF"/>
                    </a:gs>
                  </a:gsLst>
                  <a:lin ang="5400000" scaled="0"/>
                </a:gradFill>
              </a:rPr>
              <a:t>R2 | </a:t>
            </a:r>
            <a:r>
              <a:rPr lang="en-US" sz="1568" dirty="0">
                <a:gradFill>
                  <a:gsLst>
                    <a:gs pos="77876">
                      <a:srgbClr val="FFFFFF"/>
                    </a:gs>
                    <a:gs pos="30000">
                      <a:srgbClr val="FFFFFF"/>
                    </a:gs>
                  </a:gsLst>
                  <a:lin ang="5400000" scaled="0"/>
                </a:gradFill>
              </a:rPr>
              <a:t>System Center 2012 R2</a:t>
            </a:r>
          </a:p>
        </p:txBody>
      </p:sp>
      <p:sp>
        <p:nvSpPr>
          <p:cNvPr id="7" name="Red fill bottom"/>
          <p:cNvSpPr/>
          <p:nvPr/>
        </p:nvSpPr>
        <p:spPr bwMode="auto">
          <a:xfrm>
            <a:off x="7455391" y="6032909"/>
            <a:ext cx="1760154" cy="495227"/>
          </a:xfrm>
          <a:prstGeom prst="rect">
            <a:avLst/>
          </a:prstGeom>
          <a:solidFill>
            <a:srgbClr val="FF00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Freeform 5"/>
          <p:cNvSpPr>
            <a:spLocks noChangeAspect="1" noEditPoints="1"/>
          </p:cNvSpPr>
          <p:nvPr/>
        </p:nvSpPr>
        <p:spPr bwMode="auto">
          <a:xfrm>
            <a:off x="8192698" y="5445327"/>
            <a:ext cx="341013" cy="261160"/>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cxnSp>
        <p:nvCxnSpPr>
          <p:cNvPr id="360" name="Straight Connector 359"/>
          <p:cNvCxnSpPr/>
          <p:nvPr/>
        </p:nvCxnSpPr>
        <p:spPr>
          <a:xfrm>
            <a:off x="8325917" y="3192547"/>
            <a:ext cx="0" cy="160412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242" name="Red fill top"/>
          <p:cNvSpPr/>
          <p:nvPr/>
        </p:nvSpPr>
        <p:spPr bwMode="auto">
          <a:xfrm>
            <a:off x="7455391" y="5207329"/>
            <a:ext cx="1760154" cy="825378"/>
          </a:xfrm>
          <a:prstGeom prst="rect">
            <a:avLst/>
          </a:prstGeom>
          <a:solidFill>
            <a:srgbClr val="FF00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999195" y="3767451"/>
            <a:ext cx="1990906" cy="253450"/>
            <a:chOff x="8128998" y="3842500"/>
            <a:chExt cx="2030828" cy="258532"/>
          </a:xfrm>
        </p:grpSpPr>
        <p:sp>
          <p:nvSpPr>
            <p:cNvPr id="9" name="Rectangle 8"/>
            <p:cNvSpPr/>
            <p:nvPr/>
          </p:nvSpPr>
          <p:spPr>
            <a:xfrm>
              <a:off x="8787527" y="3842500"/>
              <a:ext cx="1372299" cy="258532"/>
            </a:xfrm>
            <a:prstGeom prst="rect">
              <a:avLst/>
            </a:prstGeom>
          </p:spPr>
          <p:txBody>
            <a:bodyPr wrap="none">
              <a:spAutoFit/>
            </a:bodyPr>
            <a:lstStyle/>
            <a:p>
              <a:pPr algn="ctr" defTabSz="914206">
                <a:lnSpc>
                  <a:spcPct val="90000"/>
                </a:lnSpc>
                <a:defRPr/>
              </a:pPr>
              <a:r>
                <a:rPr lang="en-US" sz="1176" dirty="0">
                  <a:gradFill>
                    <a:gsLst>
                      <a:gs pos="6195">
                        <a:srgbClr val="FFFFFF"/>
                      </a:gs>
                      <a:gs pos="25664">
                        <a:srgbClr val="FFFFFF"/>
                      </a:gs>
                    </a:gsLst>
                    <a:lin ang="5400000" scaled="0"/>
                  </a:gradFill>
                  <a:latin typeface="Segoe UI Semibold" panose="020B0702040204020203" pitchFamily="34" charset="0"/>
                </a:rPr>
                <a:t>STORAGE POOLS</a:t>
              </a:r>
            </a:p>
          </p:txBody>
        </p:sp>
        <p:sp>
          <p:nvSpPr>
            <p:cNvPr id="241" name="Freeform 11"/>
            <p:cNvSpPr>
              <a:spLocks noChangeAspect="1" noEditPoints="1"/>
            </p:cNvSpPr>
            <p:nvPr/>
          </p:nvSpPr>
          <p:spPr bwMode="auto">
            <a:xfrm>
              <a:off x="8128998" y="3892284"/>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algn="ctr" defTabSz="914206"/>
              <a:endParaRPr lang="en-US" sz="1765">
                <a:solidFill>
                  <a:srgbClr val="191919"/>
                </a:solidFill>
              </a:endParaRPr>
            </a:p>
          </p:txBody>
        </p:sp>
        <p:sp>
          <p:nvSpPr>
            <p:cNvPr id="243" name="Freeform 11"/>
            <p:cNvSpPr>
              <a:spLocks noChangeAspect="1" noEditPoints="1"/>
            </p:cNvSpPr>
            <p:nvPr/>
          </p:nvSpPr>
          <p:spPr bwMode="auto">
            <a:xfrm>
              <a:off x="8365689" y="3892284"/>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algn="ctr" defTabSz="914206"/>
              <a:endParaRPr lang="en-US" sz="1765">
                <a:solidFill>
                  <a:srgbClr val="191919"/>
                </a:solidFill>
              </a:endParaRPr>
            </a:p>
          </p:txBody>
        </p:sp>
        <p:sp>
          <p:nvSpPr>
            <p:cNvPr id="244" name="Freeform 11"/>
            <p:cNvSpPr>
              <a:spLocks noChangeAspect="1" noEditPoints="1"/>
            </p:cNvSpPr>
            <p:nvPr/>
          </p:nvSpPr>
          <p:spPr bwMode="auto">
            <a:xfrm>
              <a:off x="8602379" y="3892284"/>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algn="ctr" defTabSz="914206"/>
              <a:endParaRPr lang="en-US" sz="1765">
                <a:solidFill>
                  <a:srgbClr val="191919"/>
                </a:solidFill>
              </a:endParaRPr>
            </a:p>
          </p:txBody>
        </p:sp>
      </p:grpSp>
      <p:sp>
        <p:nvSpPr>
          <p:cNvPr id="246" name="Blue line"/>
          <p:cNvSpPr/>
          <p:nvPr/>
        </p:nvSpPr>
        <p:spPr>
          <a:xfrm>
            <a:off x="1964285" y="3680048"/>
            <a:ext cx="9168627" cy="443135"/>
          </a:xfrm>
          <a:prstGeom prst="rect">
            <a:avLst/>
          </a:prstGeom>
          <a:solidFill>
            <a:schemeClr val="accent5"/>
          </a:solidFill>
          <a:ln w="3175">
            <a:noFill/>
            <a:tailEnd type="none" w="lg" len="lg"/>
          </a:ln>
          <a:effectLst/>
        </p:spPr>
        <p:style>
          <a:lnRef idx="1">
            <a:schemeClr val="accent1"/>
          </a:lnRef>
          <a:fillRef idx="0">
            <a:schemeClr val="accent1"/>
          </a:fillRef>
          <a:effectRef idx="0">
            <a:schemeClr val="accent1"/>
          </a:effectRef>
          <a:fontRef idx="minor">
            <a:schemeClr val="tx1"/>
          </a:fontRef>
        </p:style>
        <p:txBody>
          <a:bodyPr wrap="square" lIns="0" tIns="134464" rIns="0" bIns="134464" anchor="t" anchorCtr="0">
            <a:spAutoFit/>
          </a:bodyPr>
          <a:lstStyle/>
          <a:p>
            <a:pPr algn="ctr" defTabSz="914206">
              <a:lnSpc>
                <a:spcPct val="90000"/>
              </a:lnSpc>
              <a:defRPr/>
            </a:pPr>
            <a:endParaRPr lang="en-US" sz="1176" dirty="0">
              <a:gradFill>
                <a:gsLst>
                  <a:gs pos="83186">
                    <a:srgbClr val="FF8C00"/>
                  </a:gs>
                  <a:gs pos="25664">
                    <a:srgbClr val="FF8C00"/>
                  </a:gs>
                </a:gsLst>
                <a:lin ang="5400000" scaled="0"/>
              </a:gradFill>
              <a:latin typeface="Segoe UI Semibold" panose="020B0702040204020203" pitchFamily="34" charset="0"/>
            </a:endParaRPr>
          </a:p>
        </p:txBody>
      </p:sp>
      <p:sp>
        <p:nvSpPr>
          <p:cNvPr id="20" name="Orange fill"/>
          <p:cNvSpPr/>
          <p:nvPr/>
        </p:nvSpPr>
        <p:spPr bwMode="auto">
          <a:xfrm>
            <a:off x="7455391" y="6338508"/>
            <a:ext cx="1760154" cy="182703"/>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47" name="Storage Pools"/>
          <p:cNvGrpSpPr/>
          <p:nvPr/>
        </p:nvGrpSpPr>
        <p:grpSpPr>
          <a:xfrm>
            <a:off x="5478334" y="3766686"/>
            <a:ext cx="2017272" cy="253450"/>
            <a:chOff x="8107482" y="3842500"/>
            <a:chExt cx="2057723" cy="258532"/>
          </a:xfrm>
        </p:grpSpPr>
        <p:sp>
          <p:nvSpPr>
            <p:cNvPr id="248" name="Rectangle 247"/>
            <p:cNvSpPr/>
            <p:nvPr/>
          </p:nvSpPr>
          <p:spPr>
            <a:xfrm>
              <a:off x="8792906" y="3842500"/>
              <a:ext cx="1372299" cy="258532"/>
            </a:xfrm>
            <a:prstGeom prst="rect">
              <a:avLst/>
            </a:prstGeom>
          </p:spPr>
          <p:txBody>
            <a:bodyPr wrap="none">
              <a:spAutoFit/>
            </a:bodyPr>
            <a:lstStyle/>
            <a:p>
              <a:pPr algn="ctr" defTabSz="914206">
                <a:lnSpc>
                  <a:spcPct val="90000"/>
                </a:lnSpc>
                <a:defRPr/>
              </a:pPr>
              <a:r>
                <a:rPr lang="en-US" sz="1176" dirty="0">
                  <a:gradFill>
                    <a:gsLst>
                      <a:gs pos="6195">
                        <a:srgbClr val="FFFFFF"/>
                      </a:gs>
                      <a:gs pos="25664">
                        <a:srgbClr val="FFFFFF"/>
                      </a:gs>
                    </a:gsLst>
                    <a:lin ang="5400000" scaled="0"/>
                  </a:gradFill>
                  <a:latin typeface="Segoe UI Semibold" panose="020B0702040204020203" pitchFamily="34" charset="0"/>
                </a:rPr>
                <a:t>STORAGE POOLS</a:t>
              </a:r>
            </a:p>
          </p:txBody>
        </p:sp>
        <p:sp>
          <p:nvSpPr>
            <p:cNvPr id="249" name="Freeform 11"/>
            <p:cNvSpPr>
              <a:spLocks noChangeAspect="1" noEditPoints="1"/>
            </p:cNvSpPr>
            <p:nvPr/>
          </p:nvSpPr>
          <p:spPr bwMode="auto">
            <a:xfrm>
              <a:off x="8107482" y="3886905"/>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algn="ctr" defTabSz="914206"/>
              <a:endParaRPr lang="en-US" sz="1765">
                <a:solidFill>
                  <a:srgbClr val="191919"/>
                </a:solidFill>
              </a:endParaRPr>
            </a:p>
          </p:txBody>
        </p:sp>
        <p:sp>
          <p:nvSpPr>
            <p:cNvPr id="250" name="Freeform 11"/>
            <p:cNvSpPr>
              <a:spLocks noChangeAspect="1" noEditPoints="1"/>
            </p:cNvSpPr>
            <p:nvPr/>
          </p:nvSpPr>
          <p:spPr bwMode="auto">
            <a:xfrm>
              <a:off x="8344173" y="3886905"/>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algn="ctr" defTabSz="914206"/>
              <a:endParaRPr lang="en-US" sz="1765">
                <a:solidFill>
                  <a:srgbClr val="191919"/>
                </a:solidFill>
              </a:endParaRPr>
            </a:p>
          </p:txBody>
        </p:sp>
        <p:sp>
          <p:nvSpPr>
            <p:cNvPr id="251" name="Freeform 11"/>
            <p:cNvSpPr>
              <a:spLocks noChangeAspect="1" noEditPoints="1"/>
            </p:cNvSpPr>
            <p:nvPr/>
          </p:nvSpPr>
          <p:spPr bwMode="auto">
            <a:xfrm>
              <a:off x="8580863" y="3886905"/>
              <a:ext cx="196148" cy="172380"/>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algn="ctr" defTabSz="914206"/>
              <a:endParaRPr lang="en-US" sz="1765">
                <a:solidFill>
                  <a:srgbClr val="191919"/>
                </a:solidFill>
              </a:endParaRPr>
            </a:p>
          </p:txBody>
        </p:sp>
      </p:grpSp>
      <p:sp>
        <p:nvSpPr>
          <p:cNvPr id="258" name="TextBox 257"/>
          <p:cNvSpPr txBox="1"/>
          <p:nvPr/>
        </p:nvSpPr>
        <p:spPr>
          <a:xfrm>
            <a:off x="7990929" y="5713648"/>
            <a:ext cx="794896" cy="108622"/>
          </a:xfrm>
          <a:prstGeom prst="rect">
            <a:avLst/>
          </a:prstGeom>
          <a:noFill/>
        </p:spPr>
        <p:txBody>
          <a:bodyPr wrap="square" lIns="0" tIns="0" rIns="0" bIns="0" rtlCol="0">
            <a:spAutoFit/>
          </a:bodyPr>
          <a:lstStyle/>
          <a:p>
            <a:pPr algn="ctr" defTabSz="914367">
              <a:lnSpc>
                <a:spcPct val="90000"/>
              </a:lnSpc>
              <a:spcAft>
                <a:spcPts val="588"/>
              </a:spcAft>
            </a:pPr>
            <a:r>
              <a:rPr lang="en-US" sz="784"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JBOD</a:t>
            </a:r>
          </a:p>
        </p:txBody>
      </p:sp>
    </p:spTree>
    <p:extLst>
      <p:ext uri="{BB962C8B-B14F-4D97-AF65-F5344CB8AC3E}">
        <p14:creationId xmlns:p14="http://schemas.microsoft.com/office/powerpoint/2010/main" val="13685895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421"/>
                                        </p:tgtEl>
                                      </p:cBhvr>
                                    </p:animEffect>
                                    <p:set>
                                      <p:cBhvr>
                                        <p:cTn id="7" dur="1" fill="hold">
                                          <p:stCondLst>
                                            <p:cond delay="499"/>
                                          </p:stCondLst>
                                        </p:cTn>
                                        <p:tgtEl>
                                          <p:spTgt spid="421"/>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157"/>
                                        </p:tgtEl>
                                        <p:attrNameLst>
                                          <p:attrName>style.visibility</p:attrName>
                                        </p:attrNameLst>
                                      </p:cBhvr>
                                      <p:to>
                                        <p:strVal val="visible"/>
                                      </p:to>
                                    </p:set>
                                    <p:animEffect transition="in" filter="fade">
                                      <p:cBhvr>
                                        <p:cTn id="10" dur="500"/>
                                        <p:tgtEl>
                                          <p:spTgt spid="157"/>
                                        </p:tgtEl>
                                      </p:cBhvr>
                                    </p:animEffect>
                                  </p:childTnLst>
                                </p:cTn>
                              </p:par>
                              <p:par>
                                <p:cTn id="11" presetID="16" presetClass="exit" presetSubtype="26" fill="hold" nodeType="withEffect">
                                  <p:stCondLst>
                                    <p:cond delay="0"/>
                                  </p:stCondLst>
                                  <p:childTnLst>
                                    <p:animEffect transition="out" filter="barn(inHorizontal)">
                                      <p:cBhvr>
                                        <p:cTn id="12" dur="500"/>
                                        <p:tgtEl>
                                          <p:spTgt spid="67"/>
                                        </p:tgtEl>
                                      </p:cBhvr>
                                    </p:animEffect>
                                    <p:set>
                                      <p:cBhvr>
                                        <p:cTn id="13" dur="1" fill="hold">
                                          <p:stCondLst>
                                            <p:cond delay="499"/>
                                          </p:stCondLst>
                                        </p:cTn>
                                        <p:tgtEl>
                                          <p:spTgt spid="67"/>
                                        </p:tgtEl>
                                        <p:attrNameLst>
                                          <p:attrName>style.visibility</p:attrName>
                                        </p:attrNameLst>
                                      </p:cBhvr>
                                      <p:to>
                                        <p:strVal val="hidden"/>
                                      </p:to>
                                    </p:set>
                                  </p:childTnLst>
                                </p:cTn>
                              </p:par>
                            </p:childTnLst>
                          </p:cTn>
                        </p:par>
                        <p:par>
                          <p:cTn id="14" fill="hold">
                            <p:stCondLst>
                              <p:cond delay="500"/>
                            </p:stCondLst>
                            <p:childTnLst>
                              <p:par>
                                <p:cTn id="15" presetID="42" presetClass="path" presetSubtype="0" decel="100000" fill="hold" nodeType="afterEffect">
                                  <p:stCondLst>
                                    <p:cond delay="0"/>
                                  </p:stCondLst>
                                  <p:childTnLst>
                                    <p:animMotion origin="layout" path="M 1.13097E-6 4.88425E-6 L 0.22441 -0.00159 " pathEditMode="relative" rAng="0" ptsTypes="AA">
                                      <p:cBhvr>
                                        <p:cTn id="16" dur="700" fill="hold"/>
                                        <p:tgtEl>
                                          <p:spTgt spid="2"/>
                                        </p:tgtEl>
                                        <p:attrNameLst>
                                          <p:attrName>ppt_x</p:attrName>
                                          <p:attrName>ppt_y</p:attrName>
                                        </p:attrNameLst>
                                      </p:cBhvr>
                                      <p:rCtr x="11208" y="272"/>
                                    </p:animMotion>
                                  </p:childTnLst>
                                </p:cTn>
                              </p:par>
                              <p:par>
                                <p:cTn id="17" presetID="42" presetClass="path" presetSubtype="0" decel="100000" fill="hold" nodeType="withEffect">
                                  <p:stCondLst>
                                    <p:cond delay="0"/>
                                  </p:stCondLst>
                                  <p:childTnLst>
                                    <p:animMotion origin="layout" path="M -3.58948E-6 4.88425E-6 L 0.06408 -0.00159 " pathEditMode="relative" rAng="0" ptsTypes="AA">
                                      <p:cBhvr>
                                        <p:cTn id="18" dur="700" fill="hold"/>
                                        <p:tgtEl>
                                          <p:spTgt spid="4"/>
                                        </p:tgtEl>
                                        <p:attrNameLst>
                                          <p:attrName>ppt_x</p:attrName>
                                          <p:attrName>ppt_y</p:attrName>
                                        </p:attrNameLst>
                                      </p:cBhvr>
                                      <p:rCtr x="3549" y="250"/>
                                    </p:animMotion>
                                  </p:childTnLst>
                                </p:cTn>
                              </p:par>
                              <p:par>
                                <p:cTn id="19" presetID="6" presetClass="emph" presetSubtype="0" decel="100000" fill="hold" grpId="0" nodeType="withEffect">
                                  <p:stCondLst>
                                    <p:cond delay="0"/>
                                  </p:stCondLst>
                                  <p:childTnLst>
                                    <p:animScale>
                                      <p:cBhvr>
                                        <p:cTn id="20" dur="700" fill="hold"/>
                                        <p:tgtEl>
                                          <p:spTgt spid="246"/>
                                        </p:tgtEl>
                                      </p:cBhvr>
                                      <p:by x="78980" y="100000"/>
                                    </p:animScale>
                                  </p:childTnLst>
                                </p:cTn>
                              </p:par>
                              <p:par>
                                <p:cTn id="21" presetID="63" presetClass="path" presetSubtype="0" decel="100000" fill="hold" grpId="1" nodeType="withEffect">
                                  <p:stCondLst>
                                    <p:cond delay="0"/>
                                  </p:stCondLst>
                                  <p:childTnLst>
                                    <p:animMotion origin="layout" path="M 1.87388E-6 1.40717E-7 L 0.14462 1.40717E-7 " pathEditMode="relative" rAng="0" ptsTypes="AA">
                                      <p:cBhvr>
                                        <p:cTn id="22" dur="700" fill="hold"/>
                                        <p:tgtEl>
                                          <p:spTgt spid="246"/>
                                        </p:tgtEl>
                                        <p:attrNameLst>
                                          <p:attrName>ppt_x</p:attrName>
                                          <p:attrName>ppt_y</p:attrName>
                                        </p:attrNameLst>
                                      </p:cBhvr>
                                      <p:rCtr x="7225" y="0"/>
                                    </p:animMotion>
                                  </p:childTnLst>
                                </p:cTn>
                              </p:par>
                              <p:par>
                                <p:cTn id="23" presetID="63" presetClass="path" presetSubtype="0" decel="100000" fill="hold" nodeType="withEffect">
                                  <p:stCondLst>
                                    <p:cond delay="0"/>
                                  </p:stCondLst>
                                  <p:childTnLst>
                                    <p:animMotion origin="layout" path="M 1.73602E-7 4.95688E-6 L 0.14501 4.95688E-6 " pathEditMode="relative" rAng="0" ptsTypes="AA">
                                      <p:cBhvr>
                                        <p:cTn id="24" dur="700" fill="hold"/>
                                        <p:tgtEl>
                                          <p:spTgt spid="247"/>
                                        </p:tgtEl>
                                        <p:attrNameLst>
                                          <p:attrName>ppt_x</p:attrName>
                                          <p:attrName>ppt_y</p:attrName>
                                        </p:attrNameLst>
                                      </p:cBhvr>
                                      <p:rCtr x="7250" y="0"/>
                                    </p:animMotion>
                                  </p:childTnLst>
                                </p:cTn>
                              </p:par>
                              <p:par>
                                <p:cTn id="25" presetID="42" presetClass="path" presetSubtype="0" decel="100000" fill="hold" nodeType="withEffect">
                                  <p:stCondLst>
                                    <p:cond delay="0"/>
                                  </p:stCondLst>
                                  <p:childTnLst>
                                    <p:animMotion origin="layout" path="M -1.07225E-6 4.88425E-6 L 0.14615 -0.00159 " pathEditMode="relative" rAng="0" ptsTypes="AA">
                                      <p:cBhvr>
                                        <p:cTn id="26" dur="700" fill="hold"/>
                                        <p:tgtEl>
                                          <p:spTgt spid="3"/>
                                        </p:tgtEl>
                                        <p:attrNameLst>
                                          <p:attrName>ppt_x</p:attrName>
                                          <p:attrName>ppt_y</p:attrName>
                                        </p:attrNameLst>
                                      </p:cBhvr>
                                      <p:rCtr x="7455" y="-477"/>
                                    </p:animMotion>
                                  </p:childTnLst>
                                </p:cTn>
                              </p:par>
                            </p:childTnLst>
                          </p:cTn>
                        </p:par>
                        <p:par>
                          <p:cTn id="27" fill="hold">
                            <p:stCondLst>
                              <p:cond delay="1200"/>
                            </p:stCondLst>
                            <p:childTnLst>
                              <p:par>
                                <p:cTn id="28" presetID="10" presetClass="entr" presetSubtype="0" fill="hold" nodeType="afterEffect">
                                  <p:stCondLst>
                                    <p:cond delay="0"/>
                                  </p:stCondLst>
                                  <p:childTnLst>
                                    <p:set>
                                      <p:cBhvr>
                                        <p:cTn id="29" dur="1" fill="hold">
                                          <p:stCondLst>
                                            <p:cond delay="0"/>
                                          </p:stCondLst>
                                        </p:cTn>
                                        <p:tgtEl>
                                          <p:spTgt spid="314"/>
                                        </p:tgtEl>
                                        <p:attrNameLst>
                                          <p:attrName>style.visibility</p:attrName>
                                        </p:attrNameLst>
                                      </p:cBhvr>
                                      <p:to>
                                        <p:strVal val="visible"/>
                                      </p:to>
                                    </p:set>
                                    <p:animEffect transition="in" filter="fade">
                                      <p:cBhvr>
                                        <p:cTn id="30" dur="500"/>
                                        <p:tgtEl>
                                          <p:spTgt spid="314"/>
                                        </p:tgtEl>
                                      </p:cBhvr>
                                    </p:animEffect>
                                  </p:childTnLst>
                                </p:cTn>
                              </p:par>
                              <p:par>
                                <p:cTn id="31" presetID="10" presetClass="entr" presetSubtype="0" fill="hold" nodeType="withEffect">
                                  <p:stCondLst>
                                    <p:cond delay="0"/>
                                  </p:stCondLst>
                                  <p:childTnLst>
                                    <p:set>
                                      <p:cBhvr>
                                        <p:cTn id="32" dur="1" fill="hold">
                                          <p:stCondLst>
                                            <p:cond delay="0"/>
                                          </p:stCondLst>
                                        </p:cTn>
                                        <p:tgtEl>
                                          <p:spTgt spid="383"/>
                                        </p:tgtEl>
                                        <p:attrNameLst>
                                          <p:attrName>style.visibility</p:attrName>
                                        </p:attrNameLst>
                                      </p:cBhvr>
                                      <p:to>
                                        <p:strVal val="visible"/>
                                      </p:to>
                                    </p:set>
                                    <p:animEffect transition="in" filter="fade">
                                      <p:cBhvr>
                                        <p:cTn id="33" dur="500"/>
                                        <p:tgtEl>
                                          <p:spTgt spid="383"/>
                                        </p:tgtEl>
                                      </p:cBhvr>
                                    </p:animEffect>
                                  </p:childTnLst>
                                </p:cTn>
                              </p:par>
                              <p:par>
                                <p:cTn id="34" presetID="10" presetClass="entr" presetSubtype="0" fill="hold" nodeType="withEffect">
                                  <p:stCondLst>
                                    <p:cond delay="0"/>
                                  </p:stCondLst>
                                  <p:childTnLst>
                                    <p:set>
                                      <p:cBhvr>
                                        <p:cTn id="35" dur="1" fill="hold">
                                          <p:stCondLst>
                                            <p:cond delay="0"/>
                                          </p:stCondLst>
                                        </p:cTn>
                                        <p:tgtEl>
                                          <p:spTgt spid="366"/>
                                        </p:tgtEl>
                                        <p:attrNameLst>
                                          <p:attrName>style.visibility</p:attrName>
                                        </p:attrNameLst>
                                      </p:cBhvr>
                                      <p:to>
                                        <p:strVal val="visible"/>
                                      </p:to>
                                    </p:set>
                                    <p:animEffect transition="in" filter="fade">
                                      <p:cBhvr>
                                        <p:cTn id="36" dur="500"/>
                                        <p:tgtEl>
                                          <p:spTgt spid="366"/>
                                        </p:tgtEl>
                                      </p:cBhvr>
                                    </p:animEffect>
                                  </p:childTnLst>
                                </p:cTn>
                              </p:par>
                              <p:par>
                                <p:cTn id="37" presetID="10" presetClass="entr" presetSubtype="0" fill="hold" nodeType="withEffect">
                                  <p:stCondLst>
                                    <p:cond delay="0"/>
                                  </p:stCondLst>
                                  <p:childTnLst>
                                    <p:set>
                                      <p:cBhvr>
                                        <p:cTn id="38" dur="1" fill="hold">
                                          <p:stCondLst>
                                            <p:cond delay="0"/>
                                          </p:stCondLst>
                                        </p:cTn>
                                        <p:tgtEl>
                                          <p:spTgt spid="367"/>
                                        </p:tgtEl>
                                        <p:attrNameLst>
                                          <p:attrName>style.visibility</p:attrName>
                                        </p:attrNameLst>
                                      </p:cBhvr>
                                      <p:to>
                                        <p:strVal val="visible"/>
                                      </p:to>
                                    </p:set>
                                    <p:animEffect transition="in" filter="fade">
                                      <p:cBhvr>
                                        <p:cTn id="39" dur="500"/>
                                        <p:tgtEl>
                                          <p:spTgt spid="367"/>
                                        </p:tgtEl>
                                      </p:cBhvr>
                                    </p:animEffect>
                                  </p:childTnLst>
                                </p:cTn>
                              </p:par>
                              <p:par>
                                <p:cTn id="40" presetID="10" presetClass="entr" presetSubtype="0" fill="hold" nodeType="withEffect">
                                  <p:stCondLst>
                                    <p:cond delay="0"/>
                                  </p:stCondLst>
                                  <p:childTnLst>
                                    <p:set>
                                      <p:cBhvr>
                                        <p:cTn id="41" dur="1" fill="hold">
                                          <p:stCondLst>
                                            <p:cond delay="0"/>
                                          </p:stCondLst>
                                        </p:cTn>
                                        <p:tgtEl>
                                          <p:spTgt spid="365"/>
                                        </p:tgtEl>
                                        <p:attrNameLst>
                                          <p:attrName>style.visibility</p:attrName>
                                        </p:attrNameLst>
                                      </p:cBhvr>
                                      <p:to>
                                        <p:strVal val="visible"/>
                                      </p:to>
                                    </p:set>
                                    <p:animEffect transition="in" filter="fade">
                                      <p:cBhvr>
                                        <p:cTn id="42" dur="500"/>
                                        <p:tgtEl>
                                          <p:spTgt spid="36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63"/>
                                        </p:tgtEl>
                                        <p:attrNameLst>
                                          <p:attrName>style.visibility</p:attrName>
                                        </p:attrNameLst>
                                      </p:cBhvr>
                                      <p:to>
                                        <p:strVal val="visible"/>
                                      </p:to>
                                    </p:set>
                                    <p:animEffect transition="in" filter="fade">
                                      <p:cBhvr>
                                        <p:cTn id="45" dur="500"/>
                                        <p:tgtEl>
                                          <p:spTgt spid="36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4"/>
                                        </p:tgtEl>
                                        <p:attrNameLst>
                                          <p:attrName>style.visibility</p:attrName>
                                        </p:attrNameLst>
                                      </p:cBhvr>
                                      <p:to>
                                        <p:strVal val="visible"/>
                                      </p:to>
                                    </p:set>
                                    <p:animEffect transition="in" filter="fade">
                                      <p:cBhvr>
                                        <p:cTn id="48" dur="500"/>
                                        <p:tgtEl>
                                          <p:spTgt spid="36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68"/>
                                        </p:tgtEl>
                                        <p:attrNameLst>
                                          <p:attrName>style.visibility</p:attrName>
                                        </p:attrNameLst>
                                      </p:cBhvr>
                                      <p:to>
                                        <p:strVal val="visible"/>
                                      </p:to>
                                    </p:set>
                                    <p:animEffect transition="in" filter="fade">
                                      <p:cBhvr>
                                        <p:cTn id="51" dur="500"/>
                                        <p:tgtEl>
                                          <p:spTgt spid="36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81"/>
                                        </p:tgtEl>
                                        <p:attrNameLst>
                                          <p:attrName>style.visibility</p:attrName>
                                        </p:attrNameLst>
                                      </p:cBhvr>
                                      <p:to>
                                        <p:strVal val="visible"/>
                                      </p:to>
                                    </p:set>
                                    <p:animEffect transition="in" filter="fade">
                                      <p:cBhvr>
                                        <p:cTn id="54" dur="500"/>
                                        <p:tgtEl>
                                          <p:spTgt spid="38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82"/>
                                        </p:tgtEl>
                                        <p:attrNameLst>
                                          <p:attrName>style.visibility</p:attrName>
                                        </p:attrNameLst>
                                      </p:cBhvr>
                                      <p:to>
                                        <p:strVal val="visible"/>
                                      </p:to>
                                    </p:set>
                                    <p:animEffect transition="in" filter="fade">
                                      <p:cBhvr>
                                        <p:cTn id="57" dur="500"/>
                                        <p:tgtEl>
                                          <p:spTgt spid="38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80"/>
                                        </p:tgtEl>
                                        <p:attrNameLst>
                                          <p:attrName>style.visibility</p:attrName>
                                        </p:attrNameLst>
                                      </p:cBhvr>
                                      <p:to>
                                        <p:strVal val="visible"/>
                                      </p:to>
                                    </p:set>
                                    <p:animEffect transition="in" filter="fade">
                                      <p:cBhvr>
                                        <p:cTn id="60" dur="500"/>
                                        <p:tgtEl>
                                          <p:spTgt spid="380"/>
                                        </p:tgtEl>
                                      </p:cBhvr>
                                    </p:animEffect>
                                  </p:childTnLst>
                                </p:cTn>
                              </p:par>
                              <p:par>
                                <p:cTn id="61" presetID="10" presetClass="entr" presetSubtype="0" fill="hold" nodeType="withEffect">
                                  <p:stCondLst>
                                    <p:cond delay="0"/>
                                  </p:stCondLst>
                                  <p:childTnLst>
                                    <p:set>
                                      <p:cBhvr>
                                        <p:cTn id="62" dur="1" fill="hold">
                                          <p:stCondLst>
                                            <p:cond delay="0"/>
                                          </p:stCondLst>
                                        </p:cTn>
                                        <p:tgtEl>
                                          <p:spTgt spid="379"/>
                                        </p:tgtEl>
                                        <p:attrNameLst>
                                          <p:attrName>style.visibility</p:attrName>
                                        </p:attrNameLst>
                                      </p:cBhvr>
                                      <p:to>
                                        <p:strVal val="visible"/>
                                      </p:to>
                                    </p:set>
                                    <p:animEffect transition="in" filter="fade">
                                      <p:cBhvr>
                                        <p:cTn id="63" dur="500"/>
                                        <p:tgtEl>
                                          <p:spTgt spid="379"/>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78"/>
                                        </p:tgtEl>
                                        <p:attrNameLst>
                                          <p:attrName>style.visibility</p:attrName>
                                        </p:attrNameLst>
                                      </p:cBhvr>
                                      <p:to>
                                        <p:strVal val="visible"/>
                                      </p:to>
                                    </p:set>
                                    <p:animEffect transition="in" filter="fade">
                                      <p:cBhvr>
                                        <p:cTn id="66" dur="500"/>
                                        <p:tgtEl>
                                          <p:spTgt spid="378"/>
                                        </p:tgtEl>
                                      </p:cBhvr>
                                    </p:animEffect>
                                  </p:childTnLst>
                                </p:cTn>
                              </p:par>
                              <p:par>
                                <p:cTn id="67" presetID="10" presetClass="entr" presetSubtype="0" fill="hold" nodeType="withEffect">
                                  <p:stCondLst>
                                    <p:cond delay="0"/>
                                  </p:stCondLst>
                                  <p:childTnLst>
                                    <p:set>
                                      <p:cBhvr>
                                        <p:cTn id="68" dur="1" fill="hold">
                                          <p:stCondLst>
                                            <p:cond delay="0"/>
                                          </p:stCondLst>
                                        </p:cTn>
                                        <p:tgtEl>
                                          <p:spTgt spid="360"/>
                                        </p:tgtEl>
                                        <p:attrNameLst>
                                          <p:attrName>style.visibility</p:attrName>
                                        </p:attrNameLst>
                                      </p:cBhvr>
                                      <p:to>
                                        <p:strVal val="visible"/>
                                      </p:to>
                                    </p:set>
                                    <p:animEffect transition="in" filter="fade">
                                      <p:cBhvr>
                                        <p:cTn id="69" dur="500"/>
                                        <p:tgtEl>
                                          <p:spTgt spid="360"/>
                                        </p:tgtEl>
                                      </p:cBhvr>
                                    </p:animEffect>
                                  </p:childTnLst>
                                </p:cTn>
                              </p:par>
                              <p:par>
                                <p:cTn id="70" presetID="10" presetClass="entr" presetSubtype="0" fill="hold" nodeType="withEffect">
                                  <p:stCondLst>
                                    <p:cond delay="0"/>
                                  </p:stCondLst>
                                  <p:childTnLst>
                                    <p:set>
                                      <p:cBhvr>
                                        <p:cTn id="71" dur="1" fill="hold">
                                          <p:stCondLst>
                                            <p:cond delay="0"/>
                                          </p:stCondLst>
                                        </p:cTn>
                                        <p:tgtEl>
                                          <p:spTgt spid="370"/>
                                        </p:tgtEl>
                                        <p:attrNameLst>
                                          <p:attrName>style.visibility</p:attrName>
                                        </p:attrNameLst>
                                      </p:cBhvr>
                                      <p:to>
                                        <p:strVal val="visible"/>
                                      </p:to>
                                    </p:set>
                                    <p:animEffect transition="in" filter="fade">
                                      <p:cBhvr>
                                        <p:cTn id="72" dur="500"/>
                                        <p:tgtEl>
                                          <p:spTgt spid="370"/>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73"/>
                                        </p:tgtEl>
                                        <p:attrNameLst>
                                          <p:attrName>style.visibility</p:attrName>
                                        </p:attrNameLst>
                                      </p:cBhvr>
                                      <p:to>
                                        <p:strVal val="visible"/>
                                      </p:to>
                                    </p:set>
                                    <p:animEffect transition="in" filter="fade">
                                      <p:cBhvr>
                                        <p:cTn id="75" dur="500"/>
                                        <p:tgtEl>
                                          <p:spTgt spid="37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74"/>
                                        </p:tgtEl>
                                        <p:attrNameLst>
                                          <p:attrName>style.visibility</p:attrName>
                                        </p:attrNameLst>
                                      </p:cBhvr>
                                      <p:to>
                                        <p:strVal val="visible"/>
                                      </p:to>
                                    </p:set>
                                    <p:animEffect transition="in" filter="fade">
                                      <p:cBhvr>
                                        <p:cTn id="78" dur="500"/>
                                        <p:tgtEl>
                                          <p:spTgt spid="374"/>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57"/>
                                        </p:tgtEl>
                                        <p:attrNameLst>
                                          <p:attrName>style.visibility</p:attrName>
                                        </p:attrNameLst>
                                      </p:cBhvr>
                                      <p:to>
                                        <p:strVal val="visible"/>
                                      </p:to>
                                    </p:set>
                                    <p:animEffect transition="in" filter="fade">
                                      <p:cBhvr>
                                        <p:cTn id="81" dur="500"/>
                                        <p:tgtEl>
                                          <p:spTgt spid="25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58"/>
                                        </p:tgtEl>
                                        <p:attrNameLst>
                                          <p:attrName>style.visibility</p:attrName>
                                        </p:attrNameLst>
                                      </p:cBhvr>
                                      <p:to>
                                        <p:strVal val="visible"/>
                                      </p:to>
                                    </p:set>
                                    <p:animEffect transition="in" filter="fade">
                                      <p:cBhvr>
                                        <p:cTn id="84" dur="500"/>
                                        <p:tgtEl>
                                          <p:spTgt spid="258"/>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376"/>
                                        </p:tgtEl>
                                        <p:attrNameLst>
                                          <p:attrName>style.visibility</p:attrName>
                                        </p:attrNameLst>
                                      </p:cBhvr>
                                      <p:to>
                                        <p:strVal val="visible"/>
                                      </p:to>
                                    </p:set>
                                    <p:animEffect transition="in" filter="fade">
                                      <p:cBhvr>
                                        <p:cTn id="87" dur="500"/>
                                        <p:tgtEl>
                                          <p:spTgt spid="376"/>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75"/>
                                        </p:tgtEl>
                                        <p:attrNameLst>
                                          <p:attrName>style.visibility</p:attrName>
                                        </p:attrNameLst>
                                      </p:cBhvr>
                                      <p:to>
                                        <p:strVal val="visible"/>
                                      </p:to>
                                    </p:set>
                                    <p:animEffect transition="in" filter="fade">
                                      <p:cBhvr>
                                        <p:cTn id="90" dur="500"/>
                                        <p:tgtEl>
                                          <p:spTgt spid="375"/>
                                        </p:tgtEl>
                                      </p:cBhvr>
                                    </p:animEffect>
                                  </p:childTnLst>
                                </p:cTn>
                              </p:par>
                            </p:childTnLst>
                          </p:cTn>
                        </p:par>
                        <p:par>
                          <p:cTn id="91" fill="hold">
                            <p:stCondLst>
                              <p:cond delay="1700"/>
                            </p:stCondLst>
                            <p:childTnLst>
                              <p:par>
                                <p:cTn id="92" presetID="10" presetClass="entr" presetSubtype="0" fill="hold" grpId="0" nodeType="afterEffect">
                                  <p:stCondLst>
                                    <p:cond delay="0"/>
                                  </p:stCondLst>
                                  <p:childTnLst>
                                    <p:set>
                                      <p:cBhvr>
                                        <p:cTn id="93" dur="1" fill="hold">
                                          <p:stCondLst>
                                            <p:cond delay="0"/>
                                          </p:stCondLst>
                                        </p:cTn>
                                        <p:tgtEl>
                                          <p:spTgt spid="412"/>
                                        </p:tgtEl>
                                        <p:attrNameLst>
                                          <p:attrName>style.visibility</p:attrName>
                                        </p:attrNameLst>
                                      </p:cBhvr>
                                      <p:to>
                                        <p:strVal val="visible"/>
                                      </p:to>
                                    </p:set>
                                    <p:animEffect transition="in" filter="fade">
                                      <p:cBhvr>
                                        <p:cTn id="94" dur="500"/>
                                        <p:tgtEl>
                                          <p:spTgt spid="412"/>
                                        </p:tgtEl>
                                      </p:cBhvr>
                                    </p:animEffect>
                                  </p:childTnLst>
                                </p:cTn>
                              </p:par>
                            </p:childTnLst>
                          </p:cTn>
                        </p:par>
                        <p:par>
                          <p:cTn id="95" fill="hold">
                            <p:stCondLst>
                              <p:cond delay="2200"/>
                            </p:stCondLst>
                            <p:childTnLst>
                              <p:par>
                                <p:cTn id="96" presetID="10" presetClass="entr" presetSubtype="0" fill="hold" nodeType="afterEffect">
                                  <p:stCondLst>
                                    <p:cond delay="0"/>
                                  </p:stCondLst>
                                  <p:childTnLst>
                                    <p:set>
                                      <p:cBhvr>
                                        <p:cTn id="97" dur="1" fill="hold">
                                          <p:stCondLst>
                                            <p:cond delay="0"/>
                                          </p:stCondLst>
                                        </p:cTn>
                                        <p:tgtEl>
                                          <p:spTgt spid="70"/>
                                        </p:tgtEl>
                                        <p:attrNameLst>
                                          <p:attrName>style.visibility</p:attrName>
                                        </p:attrNameLst>
                                      </p:cBhvr>
                                      <p:to>
                                        <p:strVal val="visible"/>
                                      </p:to>
                                    </p:set>
                                    <p:animEffect transition="in" filter="fade">
                                      <p:cBhvr>
                                        <p:cTn id="98" dur="500"/>
                                        <p:tgtEl>
                                          <p:spTgt spid="70"/>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xit" presetSubtype="0" fill="hold" grpId="1" nodeType="clickEffect">
                                  <p:stCondLst>
                                    <p:cond delay="0"/>
                                  </p:stCondLst>
                                  <p:childTnLst>
                                    <p:animEffect transition="out" filter="fade">
                                      <p:cBhvr>
                                        <p:cTn id="102" dur="500"/>
                                        <p:tgtEl>
                                          <p:spTgt spid="157"/>
                                        </p:tgtEl>
                                      </p:cBhvr>
                                    </p:animEffect>
                                    <p:set>
                                      <p:cBhvr>
                                        <p:cTn id="103" dur="1" fill="hold">
                                          <p:stCondLst>
                                            <p:cond delay="499"/>
                                          </p:stCondLst>
                                        </p:cTn>
                                        <p:tgtEl>
                                          <p:spTgt spid="157"/>
                                        </p:tgtEl>
                                        <p:attrNameLst>
                                          <p:attrName>style.visibility</p:attrName>
                                        </p:attrNameLst>
                                      </p:cBhvr>
                                      <p:to>
                                        <p:strVal val="hidden"/>
                                      </p:to>
                                    </p:set>
                                  </p:childTnLst>
                                </p:cTn>
                              </p:par>
                              <p:par>
                                <p:cTn id="104" presetID="10" presetClass="entr" presetSubtype="0" fill="hold" grpId="0" nodeType="withEffect">
                                  <p:stCondLst>
                                    <p:cond delay="0"/>
                                  </p:stCondLst>
                                  <p:childTnLst>
                                    <p:set>
                                      <p:cBhvr>
                                        <p:cTn id="105" dur="1" fill="hold">
                                          <p:stCondLst>
                                            <p:cond delay="0"/>
                                          </p:stCondLst>
                                        </p:cTn>
                                        <p:tgtEl>
                                          <p:spTgt spid="422"/>
                                        </p:tgtEl>
                                        <p:attrNameLst>
                                          <p:attrName>style.visibility</p:attrName>
                                        </p:attrNameLst>
                                      </p:cBhvr>
                                      <p:to>
                                        <p:strVal val="visible"/>
                                      </p:to>
                                    </p:set>
                                    <p:animEffect transition="in" filter="fade">
                                      <p:cBhvr>
                                        <p:cTn id="106" dur="500"/>
                                        <p:tgtEl>
                                          <p:spTgt spid="422"/>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428"/>
                                        </p:tgtEl>
                                        <p:attrNameLst>
                                          <p:attrName>style.visibility</p:attrName>
                                        </p:attrNameLst>
                                      </p:cBhvr>
                                      <p:to>
                                        <p:strVal val="visible"/>
                                      </p:to>
                                    </p:set>
                                    <p:animEffect transition="in" filter="fade">
                                      <p:cBhvr>
                                        <p:cTn id="110" dur="500"/>
                                        <p:tgtEl>
                                          <p:spTgt spid="428"/>
                                        </p:tgtEl>
                                      </p:cBhvr>
                                    </p:animEffect>
                                  </p:childTnLst>
                                </p:cTn>
                              </p:par>
                              <p:par>
                                <p:cTn id="111" presetID="42" presetClass="path" presetSubtype="0" decel="100000" fill="hold" grpId="1" nodeType="withEffect">
                                  <p:stCondLst>
                                    <p:cond delay="300"/>
                                  </p:stCondLst>
                                  <p:childTnLst>
                                    <p:animMotion origin="layout" path="M 4.30176E-6 1.48434E-6 L 4.30176E-6 0.03223 " pathEditMode="relative" rAng="0" ptsTypes="AA">
                                      <p:cBhvr>
                                        <p:cTn id="112" dur="500" fill="hold"/>
                                        <p:tgtEl>
                                          <p:spTgt spid="428"/>
                                        </p:tgtEl>
                                        <p:attrNameLst>
                                          <p:attrName>ppt_x</p:attrName>
                                          <p:attrName>ppt_y</p:attrName>
                                        </p:attrNameLst>
                                      </p:cBhvr>
                                      <p:rCtr x="0" y="1611"/>
                                    </p:animMotion>
                                  </p:childTnLst>
                                </p:cTn>
                              </p:par>
                              <p:par>
                                <p:cTn id="113" presetID="42" presetClass="path" presetSubtype="0" decel="100000" fill="hold" grpId="2" nodeType="withEffect">
                                  <p:stCondLst>
                                    <p:cond delay="600"/>
                                  </p:stCondLst>
                                  <p:childTnLst>
                                    <p:animMotion origin="layout" path="M 4.30176E-6 0.03223 L -0.02936 0.032 " pathEditMode="relative" rAng="0" ptsTypes="AA">
                                      <p:cBhvr>
                                        <p:cTn id="114" dur="500" fill="hold"/>
                                        <p:tgtEl>
                                          <p:spTgt spid="428"/>
                                        </p:tgtEl>
                                        <p:attrNameLst>
                                          <p:attrName>ppt_x</p:attrName>
                                          <p:attrName>ppt_y</p:attrName>
                                        </p:attrNameLst>
                                      </p:cBhvr>
                                      <p:rCtr x="-1468" y="-23"/>
                                    </p:animMotion>
                                  </p:childTnLst>
                                </p:cTn>
                              </p:par>
                              <p:par>
                                <p:cTn id="115" presetID="42" presetClass="path" presetSubtype="0" decel="100000" fill="hold" grpId="3" nodeType="withEffect">
                                  <p:stCondLst>
                                    <p:cond delay="900"/>
                                  </p:stCondLst>
                                  <p:childTnLst>
                                    <p:animMotion origin="layout" path="M -0.02936 0.032 L -0.03064 0.30186 " pathEditMode="relative" rAng="0" ptsTypes="AA">
                                      <p:cBhvr>
                                        <p:cTn id="116" dur="700" fill="hold"/>
                                        <p:tgtEl>
                                          <p:spTgt spid="428"/>
                                        </p:tgtEl>
                                        <p:attrNameLst>
                                          <p:attrName>ppt_x</p:attrName>
                                          <p:attrName>ppt_y</p:attrName>
                                        </p:attrNameLst>
                                      </p:cBhvr>
                                      <p:rCtr x="-64" y="13482"/>
                                    </p:animMotion>
                                  </p:childTnLst>
                                </p:cTn>
                              </p:par>
                              <p:par>
                                <p:cTn id="117" presetID="10" presetClass="entr" presetSubtype="0" fill="hold" grpId="0" nodeType="withEffect">
                                  <p:stCondLst>
                                    <p:cond delay="900"/>
                                  </p:stCondLst>
                                  <p:childTnLst>
                                    <p:set>
                                      <p:cBhvr>
                                        <p:cTn id="118" dur="1" fill="hold">
                                          <p:stCondLst>
                                            <p:cond delay="0"/>
                                          </p:stCondLst>
                                        </p:cTn>
                                        <p:tgtEl>
                                          <p:spTgt spid="427"/>
                                        </p:tgtEl>
                                        <p:attrNameLst>
                                          <p:attrName>style.visibility</p:attrName>
                                        </p:attrNameLst>
                                      </p:cBhvr>
                                      <p:to>
                                        <p:strVal val="visible"/>
                                      </p:to>
                                    </p:set>
                                    <p:animEffect transition="in" filter="fade">
                                      <p:cBhvr>
                                        <p:cTn id="119" dur="500"/>
                                        <p:tgtEl>
                                          <p:spTgt spid="427"/>
                                        </p:tgtEl>
                                      </p:cBhvr>
                                    </p:animEffect>
                                  </p:childTnLst>
                                </p:cTn>
                              </p:par>
                              <p:par>
                                <p:cTn id="120" presetID="10" presetClass="exit" presetSubtype="0" fill="hold" grpId="4" nodeType="withEffect">
                                  <p:stCondLst>
                                    <p:cond delay="900"/>
                                  </p:stCondLst>
                                  <p:childTnLst>
                                    <p:animEffect transition="out" filter="fade">
                                      <p:cBhvr>
                                        <p:cTn id="121" dur="500"/>
                                        <p:tgtEl>
                                          <p:spTgt spid="428"/>
                                        </p:tgtEl>
                                      </p:cBhvr>
                                    </p:animEffect>
                                    <p:set>
                                      <p:cBhvr>
                                        <p:cTn id="122" dur="1" fill="hold">
                                          <p:stCondLst>
                                            <p:cond delay="499"/>
                                          </p:stCondLst>
                                        </p:cTn>
                                        <p:tgtEl>
                                          <p:spTgt spid="428"/>
                                        </p:tgtEl>
                                        <p:attrNameLst>
                                          <p:attrName>style.visibility</p:attrName>
                                        </p:attrNameLst>
                                      </p:cBhvr>
                                      <p:to>
                                        <p:strVal val="hidden"/>
                                      </p:to>
                                    </p:set>
                                  </p:childTnLst>
                                </p:cTn>
                              </p:par>
                              <p:par>
                                <p:cTn id="123" presetID="42" presetClass="path" presetSubtype="0" decel="100000" fill="hold" grpId="1" nodeType="withEffect">
                                  <p:stCondLst>
                                    <p:cond delay="1200"/>
                                  </p:stCondLst>
                                  <p:childTnLst>
                                    <p:animMotion origin="layout" path="M -1.96579E-6 4.52111E-6 L -1.96579E-6 0.03041 " pathEditMode="relative" rAng="0" ptsTypes="AA">
                                      <p:cBhvr>
                                        <p:cTn id="124" dur="500" fill="hold"/>
                                        <p:tgtEl>
                                          <p:spTgt spid="427"/>
                                        </p:tgtEl>
                                        <p:attrNameLst>
                                          <p:attrName>ppt_x</p:attrName>
                                          <p:attrName>ppt_y</p:attrName>
                                        </p:attrNameLst>
                                      </p:cBhvr>
                                      <p:rCtr x="0" y="1521"/>
                                    </p:animMotion>
                                  </p:childTnLst>
                                </p:cTn>
                              </p:par>
                              <p:par>
                                <p:cTn id="125" presetID="42" presetClass="path" presetSubtype="0" decel="100000" fill="hold" grpId="2" nodeType="withEffect">
                                  <p:stCondLst>
                                    <p:cond delay="1500"/>
                                  </p:stCondLst>
                                  <p:childTnLst>
                                    <p:animMotion origin="layout" path="M -1.96579E-6 0.03041 L 0.03179 0.03177 " pathEditMode="relative" rAng="0" ptsTypes="AA">
                                      <p:cBhvr>
                                        <p:cTn id="126" dur="500" fill="hold"/>
                                        <p:tgtEl>
                                          <p:spTgt spid="427"/>
                                        </p:tgtEl>
                                        <p:attrNameLst>
                                          <p:attrName>ppt_x</p:attrName>
                                          <p:attrName>ppt_y</p:attrName>
                                        </p:attrNameLst>
                                      </p:cBhvr>
                                      <p:rCtr x="1583" y="68"/>
                                    </p:animMotion>
                                  </p:childTnLst>
                                </p:cTn>
                              </p:par>
                              <p:par>
                                <p:cTn id="127" presetID="42" presetClass="path" presetSubtype="0" decel="100000" fill="hold" grpId="3" nodeType="withEffect">
                                  <p:stCondLst>
                                    <p:cond delay="1800"/>
                                  </p:stCondLst>
                                  <p:childTnLst>
                                    <p:animMotion origin="layout" path="M 0.03179 0.03177 L 0.03051 0.30072 " pathEditMode="relative" rAng="0" ptsTypes="AA">
                                      <p:cBhvr>
                                        <p:cTn id="128" dur="700" fill="hold"/>
                                        <p:tgtEl>
                                          <p:spTgt spid="427"/>
                                        </p:tgtEl>
                                        <p:attrNameLst>
                                          <p:attrName>ppt_x</p:attrName>
                                          <p:attrName>ppt_y</p:attrName>
                                        </p:attrNameLst>
                                      </p:cBhvr>
                                      <p:rCtr x="-64" y="13436"/>
                                    </p:animMotion>
                                  </p:childTnLst>
                                </p:cTn>
                              </p:par>
                              <p:par>
                                <p:cTn id="129" presetID="10" presetClass="exit" presetSubtype="0" fill="hold" grpId="4" nodeType="withEffect">
                                  <p:stCondLst>
                                    <p:cond delay="1800"/>
                                  </p:stCondLst>
                                  <p:childTnLst>
                                    <p:animEffect transition="out" filter="fade">
                                      <p:cBhvr>
                                        <p:cTn id="130" dur="500"/>
                                        <p:tgtEl>
                                          <p:spTgt spid="427"/>
                                        </p:tgtEl>
                                      </p:cBhvr>
                                    </p:animEffect>
                                    <p:set>
                                      <p:cBhvr>
                                        <p:cTn id="131" dur="1" fill="hold">
                                          <p:stCondLst>
                                            <p:cond delay="499"/>
                                          </p:stCondLst>
                                        </p:cTn>
                                        <p:tgtEl>
                                          <p:spTgt spid="427"/>
                                        </p:tgtEl>
                                        <p:attrNameLst>
                                          <p:attrName>style.visibility</p:attrName>
                                        </p:attrNameLst>
                                      </p:cBhvr>
                                      <p:to>
                                        <p:strVal val="hidden"/>
                                      </p:to>
                                    </p:set>
                                  </p:childTnLst>
                                </p:cTn>
                              </p:par>
                              <p:par>
                                <p:cTn id="132" presetID="22" presetClass="entr" presetSubtype="4" fill="hold" grpId="0" nodeType="withEffect">
                                  <p:stCondLst>
                                    <p:cond delay="1800"/>
                                  </p:stCondLst>
                                  <p:childTnLst>
                                    <p:set>
                                      <p:cBhvr>
                                        <p:cTn id="133" dur="1" fill="hold">
                                          <p:stCondLst>
                                            <p:cond delay="0"/>
                                          </p:stCondLst>
                                        </p:cTn>
                                        <p:tgtEl>
                                          <p:spTgt spid="7"/>
                                        </p:tgtEl>
                                        <p:attrNameLst>
                                          <p:attrName>style.visibility</p:attrName>
                                        </p:attrNameLst>
                                      </p:cBhvr>
                                      <p:to>
                                        <p:strVal val="visible"/>
                                      </p:to>
                                    </p:set>
                                    <p:animEffect transition="in" filter="wipe(down)">
                                      <p:cBhvr>
                                        <p:cTn id="134" dur="500"/>
                                        <p:tgtEl>
                                          <p:spTgt spid="7"/>
                                        </p:tgtEl>
                                      </p:cBhvr>
                                    </p:animEffect>
                                  </p:childTnLst>
                                </p:cTn>
                              </p:par>
                            </p:childTnLst>
                          </p:cTn>
                        </p:par>
                        <p:par>
                          <p:cTn id="135" fill="hold">
                            <p:stCondLst>
                              <p:cond delay="3000"/>
                            </p:stCondLst>
                            <p:childTnLst>
                              <p:par>
                                <p:cTn id="136" presetID="10" presetClass="entr" presetSubtype="0" fill="hold" grpId="0" nodeType="afterEffect">
                                  <p:stCondLst>
                                    <p:cond delay="0"/>
                                  </p:stCondLst>
                                  <p:childTnLst>
                                    <p:set>
                                      <p:cBhvr>
                                        <p:cTn id="137" dur="1" fill="hold">
                                          <p:stCondLst>
                                            <p:cond delay="0"/>
                                          </p:stCondLst>
                                        </p:cTn>
                                        <p:tgtEl>
                                          <p:spTgt spid="430"/>
                                        </p:tgtEl>
                                        <p:attrNameLst>
                                          <p:attrName>style.visibility</p:attrName>
                                        </p:attrNameLst>
                                      </p:cBhvr>
                                      <p:to>
                                        <p:strVal val="visible"/>
                                      </p:to>
                                    </p:set>
                                    <p:animEffect transition="in" filter="fade">
                                      <p:cBhvr>
                                        <p:cTn id="138" dur="500"/>
                                        <p:tgtEl>
                                          <p:spTgt spid="430"/>
                                        </p:tgtEl>
                                      </p:cBhvr>
                                    </p:animEffect>
                                  </p:childTnLst>
                                </p:cTn>
                              </p:par>
                              <p:par>
                                <p:cTn id="139" presetID="42" presetClass="path" presetSubtype="0" decel="100000" fill="hold" grpId="1" nodeType="withEffect">
                                  <p:stCondLst>
                                    <p:cond delay="300"/>
                                  </p:stCondLst>
                                  <p:childTnLst>
                                    <p:animMotion origin="layout" path="M -3.34695E-6 -1.55243E-6 L -3.34695E-6 0.03223 " pathEditMode="relative" rAng="0" ptsTypes="AA">
                                      <p:cBhvr>
                                        <p:cTn id="140" dur="500" fill="hold"/>
                                        <p:tgtEl>
                                          <p:spTgt spid="430"/>
                                        </p:tgtEl>
                                        <p:attrNameLst>
                                          <p:attrName>ppt_x</p:attrName>
                                          <p:attrName>ppt_y</p:attrName>
                                        </p:attrNameLst>
                                      </p:cBhvr>
                                      <p:rCtr x="0" y="1611"/>
                                    </p:animMotion>
                                  </p:childTnLst>
                                </p:cTn>
                              </p:par>
                              <p:par>
                                <p:cTn id="141" presetID="42" presetClass="path" presetSubtype="0" decel="100000" fill="hold" grpId="2" nodeType="withEffect">
                                  <p:stCondLst>
                                    <p:cond delay="600"/>
                                  </p:stCondLst>
                                  <p:childTnLst>
                                    <p:animMotion origin="layout" path="M -3.34695E-6 0.03223 L -0.02936 0.032 " pathEditMode="relative" rAng="0" ptsTypes="AA">
                                      <p:cBhvr>
                                        <p:cTn id="142" dur="500" fill="hold"/>
                                        <p:tgtEl>
                                          <p:spTgt spid="430"/>
                                        </p:tgtEl>
                                        <p:attrNameLst>
                                          <p:attrName>ppt_x</p:attrName>
                                          <p:attrName>ppt_y</p:attrName>
                                        </p:attrNameLst>
                                      </p:cBhvr>
                                      <p:rCtr x="-1468" y="-23"/>
                                    </p:animMotion>
                                  </p:childTnLst>
                                </p:cTn>
                              </p:par>
                              <p:par>
                                <p:cTn id="143" presetID="42" presetClass="path" presetSubtype="0" decel="100000" fill="hold" grpId="3" nodeType="withEffect">
                                  <p:stCondLst>
                                    <p:cond delay="900"/>
                                  </p:stCondLst>
                                  <p:childTnLst>
                                    <p:animMotion origin="layout" path="M -0.02936 0.032 L -0.03063 0.30186 " pathEditMode="relative" rAng="0" ptsTypes="AA">
                                      <p:cBhvr>
                                        <p:cTn id="144" dur="700" fill="hold"/>
                                        <p:tgtEl>
                                          <p:spTgt spid="430"/>
                                        </p:tgtEl>
                                        <p:attrNameLst>
                                          <p:attrName>ppt_x</p:attrName>
                                          <p:attrName>ppt_y</p:attrName>
                                        </p:attrNameLst>
                                      </p:cBhvr>
                                      <p:rCtr x="-64" y="13482"/>
                                    </p:animMotion>
                                  </p:childTnLst>
                                </p:cTn>
                              </p:par>
                              <p:par>
                                <p:cTn id="145" presetID="10" presetClass="entr" presetSubtype="0" fill="hold" grpId="0" nodeType="withEffect">
                                  <p:stCondLst>
                                    <p:cond delay="900"/>
                                  </p:stCondLst>
                                  <p:childTnLst>
                                    <p:set>
                                      <p:cBhvr>
                                        <p:cTn id="146" dur="1" fill="hold">
                                          <p:stCondLst>
                                            <p:cond delay="0"/>
                                          </p:stCondLst>
                                        </p:cTn>
                                        <p:tgtEl>
                                          <p:spTgt spid="429"/>
                                        </p:tgtEl>
                                        <p:attrNameLst>
                                          <p:attrName>style.visibility</p:attrName>
                                        </p:attrNameLst>
                                      </p:cBhvr>
                                      <p:to>
                                        <p:strVal val="visible"/>
                                      </p:to>
                                    </p:set>
                                    <p:animEffect transition="in" filter="fade">
                                      <p:cBhvr>
                                        <p:cTn id="147" dur="500"/>
                                        <p:tgtEl>
                                          <p:spTgt spid="429"/>
                                        </p:tgtEl>
                                      </p:cBhvr>
                                    </p:animEffect>
                                  </p:childTnLst>
                                </p:cTn>
                              </p:par>
                              <p:par>
                                <p:cTn id="148" presetID="10" presetClass="exit" presetSubtype="0" fill="hold" grpId="4" nodeType="withEffect">
                                  <p:stCondLst>
                                    <p:cond delay="900"/>
                                  </p:stCondLst>
                                  <p:childTnLst>
                                    <p:animEffect transition="out" filter="fade">
                                      <p:cBhvr>
                                        <p:cTn id="149" dur="500"/>
                                        <p:tgtEl>
                                          <p:spTgt spid="430"/>
                                        </p:tgtEl>
                                      </p:cBhvr>
                                    </p:animEffect>
                                    <p:set>
                                      <p:cBhvr>
                                        <p:cTn id="150" dur="1" fill="hold">
                                          <p:stCondLst>
                                            <p:cond delay="499"/>
                                          </p:stCondLst>
                                        </p:cTn>
                                        <p:tgtEl>
                                          <p:spTgt spid="430"/>
                                        </p:tgtEl>
                                        <p:attrNameLst>
                                          <p:attrName>style.visibility</p:attrName>
                                        </p:attrNameLst>
                                      </p:cBhvr>
                                      <p:to>
                                        <p:strVal val="hidden"/>
                                      </p:to>
                                    </p:set>
                                  </p:childTnLst>
                                </p:cTn>
                              </p:par>
                              <p:par>
                                <p:cTn id="151" presetID="42" presetClass="path" presetSubtype="0" decel="100000" fill="hold" grpId="1" nodeType="withEffect">
                                  <p:stCondLst>
                                    <p:cond delay="1200"/>
                                  </p:stCondLst>
                                  <p:childTnLst>
                                    <p:animMotion origin="layout" path="M 3.85499E-7 1.48434E-6 L 3.85499E-7 0.03041 " pathEditMode="relative" rAng="0" ptsTypes="AA">
                                      <p:cBhvr>
                                        <p:cTn id="152" dur="500" fill="hold"/>
                                        <p:tgtEl>
                                          <p:spTgt spid="429"/>
                                        </p:tgtEl>
                                        <p:attrNameLst>
                                          <p:attrName>ppt_x</p:attrName>
                                          <p:attrName>ppt_y</p:attrName>
                                        </p:attrNameLst>
                                      </p:cBhvr>
                                      <p:rCtr x="0" y="1521"/>
                                    </p:animMotion>
                                  </p:childTnLst>
                                </p:cTn>
                              </p:par>
                              <p:par>
                                <p:cTn id="153" presetID="42" presetClass="path" presetSubtype="0" decel="100000" fill="hold" grpId="2" nodeType="withEffect">
                                  <p:stCondLst>
                                    <p:cond delay="1500"/>
                                  </p:stCondLst>
                                  <p:childTnLst>
                                    <p:animMotion origin="layout" path="M 3.85499E-7 0.03041 L 0.03178 0.03177 " pathEditMode="relative" rAng="0" ptsTypes="AA">
                                      <p:cBhvr>
                                        <p:cTn id="154" dur="500" fill="hold"/>
                                        <p:tgtEl>
                                          <p:spTgt spid="429"/>
                                        </p:tgtEl>
                                        <p:attrNameLst>
                                          <p:attrName>ppt_x</p:attrName>
                                          <p:attrName>ppt_y</p:attrName>
                                        </p:attrNameLst>
                                      </p:cBhvr>
                                      <p:rCtr x="1583" y="68"/>
                                    </p:animMotion>
                                  </p:childTnLst>
                                </p:cTn>
                              </p:par>
                              <p:par>
                                <p:cTn id="155" presetID="42" presetClass="path" presetSubtype="0" decel="100000" fill="hold" grpId="3" nodeType="withEffect">
                                  <p:stCondLst>
                                    <p:cond delay="1800"/>
                                  </p:stCondLst>
                                  <p:childTnLst>
                                    <p:animMotion origin="layout" path="M 0.03178 0.03177 L 0.03051 0.30072 " pathEditMode="relative" rAng="0" ptsTypes="AA">
                                      <p:cBhvr>
                                        <p:cTn id="156" dur="700" fill="hold"/>
                                        <p:tgtEl>
                                          <p:spTgt spid="429"/>
                                        </p:tgtEl>
                                        <p:attrNameLst>
                                          <p:attrName>ppt_x</p:attrName>
                                          <p:attrName>ppt_y</p:attrName>
                                        </p:attrNameLst>
                                      </p:cBhvr>
                                      <p:rCtr x="-64" y="13436"/>
                                    </p:animMotion>
                                  </p:childTnLst>
                                </p:cTn>
                              </p:par>
                              <p:par>
                                <p:cTn id="157" presetID="10" presetClass="exit" presetSubtype="0" fill="hold" grpId="4" nodeType="withEffect">
                                  <p:stCondLst>
                                    <p:cond delay="1800"/>
                                  </p:stCondLst>
                                  <p:childTnLst>
                                    <p:animEffect transition="out" filter="fade">
                                      <p:cBhvr>
                                        <p:cTn id="158" dur="500"/>
                                        <p:tgtEl>
                                          <p:spTgt spid="429"/>
                                        </p:tgtEl>
                                      </p:cBhvr>
                                    </p:animEffect>
                                    <p:set>
                                      <p:cBhvr>
                                        <p:cTn id="159" dur="1" fill="hold">
                                          <p:stCondLst>
                                            <p:cond delay="499"/>
                                          </p:stCondLst>
                                        </p:cTn>
                                        <p:tgtEl>
                                          <p:spTgt spid="429"/>
                                        </p:tgtEl>
                                        <p:attrNameLst>
                                          <p:attrName>style.visibility</p:attrName>
                                        </p:attrNameLst>
                                      </p:cBhvr>
                                      <p:to>
                                        <p:strVal val="hidden"/>
                                      </p:to>
                                    </p:set>
                                  </p:childTnLst>
                                </p:cTn>
                              </p:par>
                              <p:par>
                                <p:cTn id="160" presetID="22" presetClass="entr" presetSubtype="4" fill="hold" grpId="0" nodeType="withEffect">
                                  <p:stCondLst>
                                    <p:cond delay="1800"/>
                                  </p:stCondLst>
                                  <p:childTnLst>
                                    <p:set>
                                      <p:cBhvr>
                                        <p:cTn id="161" dur="1" fill="hold">
                                          <p:stCondLst>
                                            <p:cond delay="0"/>
                                          </p:stCondLst>
                                        </p:cTn>
                                        <p:tgtEl>
                                          <p:spTgt spid="242"/>
                                        </p:tgtEl>
                                        <p:attrNameLst>
                                          <p:attrName>style.visibility</p:attrName>
                                        </p:attrNameLst>
                                      </p:cBhvr>
                                      <p:to>
                                        <p:strVal val="visible"/>
                                      </p:to>
                                    </p:set>
                                    <p:animEffect transition="in" filter="wipe(down)">
                                      <p:cBhvr>
                                        <p:cTn id="162" dur="700"/>
                                        <p:tgtEl>
                                          <p:spTgt spid="242"/>
                                        </p:tgtEl>
                                      </p:cBhvr>
                                    </p:animEffect>
                                  </p:childTnLst>
                                </p:cTn>
                              </p:par>
                            </p:childTnLst>
                          </p:cTn>
                        </p:par>
                        <p:par>
                          <p:cTn id="163" fill="hold">
                            <p:stCondLst>
                              <p:cond delay="5500"/>
                            </p:stCondLst>
                            <p:childTnLst>
                              <p:par>
                                <p:cTn id="164" presetID="10" presetClass="entr" presetSubtype="0" fill="hold" grpId="0" nodeType="afterEffect">
                                  <p:stCondLst>
                                    <p:cond delay="0"/>
                                  </p:stCondLst>
                                  <p:childTnLst>
                                    <p:set>
                                      <p:cBhvr>
                                        <p:cTn id="165" dur="1" fill="hold">
                                          <p:stCondLst>
                                            <p:cond delay="0"/>
                                          </p:stCondLst>
                                        </p:cTn>
                                        <p:tgtEl>
                                          <p:spTgt spid="413"/>
                                        </p:tgtEl>
                                        <p:attrNameLst>
                                          <p:attrName>style.visibility</p:attrName>
                                        </p:attrNameLst>
                                      </p:cBhvr>
                                      <p:to>
                                        <p:strVal val="visible"/>
                                      </p:to>
                                    </p:set>
                                    <p:animEffect transition="in" filter="fade">
                                      <p:cBhvr>
                                        <p:cTn id="166" dur="500"/>
                                        <p:tgtEl>
                                          <p:spTgt spid="413"/>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414"/>
                                        </p:tgtEl>
                                        <p:attrNameLst>
                                          <p:attrName>style.visibility</p:attrName>
                                        </p:attrNameLst>
                                      </p:cBhvr>
                                      <p:to>
                                        <p:strVal val="visible"/>
                                      </p:to>
                                    </p:set>
                                    <p:animEffect transition="in" filter="fade">
                                      <p:cBhvr>
                                        <p:cTn id="169" dur="500"/>
                                        <p:tgtEl>
                                          <p:spTgt spid="414"/>
                                        </p:tgtEl>
                                      </p:cBhvr>
                                    </p:animEffect>
                                  </p:childTnLst>
                                </p:cTn>
                              </p:par>
                            </p:childTnLst>
                          </p:cTn>
                        </p:par>
                      </p:childTnLst>
                    </p:cTn>
                  </p:par>
                  <p:par>
                    <p:cTn id="170" fill="hold">
                      <p:stCondLst>
                        <p:cond delay="indefinite"/>
                      </p:stCondLst>
                      <p:childTnLst>
                        <p:par>
                          <p:cTn id="171" fill="hold">
                            <p:stCondLst>
                              <p:cond delay="0"/>
                            </p:stCondLst>
                            <p:childTnLst>
                              <p:par>
                                <p:cTn id="172" presetID="10" presetClass="entr" presetSubtype="0" fill="hold" grpId="0" nodeType="clickEffect">
                                  <p:stCondLst>
                                    <p:cond delay="0"/>
                                  </p:stCondLst>
                                  <p:childTnLst>
                                    <p:set>
                                      <p:cBhvr>
                                        <p:cTn id="173" dur="1" fill="hold">
                                          <p:stCondLst>
                                            <p:cond delay="0"/>
                                          </p:stCondLst>
                                        </p:cTn>
                                        <p:tgtEl>
                                          <p:spTgt spid="61"/>
                                        </p:tgtEl>
                                        <p:attrNameLst>
                                          <p:attrName>style.visibility</p:attrName>
                                        </p:attrNameLst>
                                      </p:cBhvr>
                                      <p:to>
                                        <p:strVal val="visible"/>
                                      </p:to>
                                    </p:set>
                                    <p:animEffect transition="in" filter="fade">
                                      <p:cBhvr>
                                        <p:cTn id="174" dur="500"/>
                                        <p:tgtEl>
                                          <p:spTgt spid="61"/>
                                        </p:tgtEl>
                                      </p:cBhvr>
                                    </p:animEffect>
                                  </p:childTnLst>
                                </p:cTn>
                              </p:par>
                              <p:par>
                                <p:cTn id="175" presetID="42" presetClass="path" presetSubtype="0" decel="100000" fill="hold" grpId="1" nodeType="withEffect">
                                  <p:stCondLst>
                                    <p:cond delay="0"/>
                                  </p:stCondLst>
                                  <p:childTnLst>
                                    <p:animMotion origin="layout" path="M -1.97856E-6 1.97912E-6 L -0.15739 -0.1641 " pathEditMode="relative" rAng="0" ptsTypes="AA">
                                      <p:cBhvr>
                                        <p:cTn id="176" dur="1000" fill="hold"/>
                                        <p:tgtEl>
                                          <p:spTgt spid="61"/>
                                        </p:tgtEl>
                                        <p:attrNameLst>
                                          <p:attrName>ppt_x</p:attrName>
                                          <p:attrName>ppt_y</p:attrName>
                                        </p:attrNameLst>
                                      </p:cBhvr>
                                      <p:rCtr x="-7876" y="-8216"/>
                                    </p:animMotion>
                                  </p:childTnLst>
                                </p:cTn>
                              </p:par>
                            </p:childTnLst>
                          </p:cTn>
                        </p:par>
                        <p:par>
                          <p:cTn id="177" fill="hold">
                            <p:stCondLst>
                              <p:cond delay="1000"/>
                            </p:stCondLst>
                            <p:childTnLst>
                              <p:par>
                                <p:cTn id="178" presetID="53" presetClass="entr" presetSubtype="16" fill="hold" grpId="0" nodeType="afterEffect">
                                  <p:stCondLst>
                                    <p:cond delay="0"/>
                                  </p:stCondLst>
                                  <p:childTnLst>
                                    <p:set>
                                      <p:cBhvr>
                                        <p:cTn id="179" dur="1" fill="hold">
                                          <p:stCondLst>
                                            <p:cond delay="0"/>
                                          </p:stCondLst>
                                        </p:cTn>
                                        <p:tgtEl>
                                          <p:spTgt spid="416"/>
                                        </p:tgtEl>
                                        <p:attrNameLst>
                                          <p:attrName>style.visibility</p:attrName>
                                        </p:attrNameLst>
                                      </p:cBhvr>
                                      <p:to>
                                        <p:strVal val="visible"/>
                                      </p:to>
                                    </p:set>
                                    <p:anim calcmode="lin" valueType="num">
                                      <p:cBhvr>
                                        <p:cTn id="180" dur="250" fill="hold"/>
                                        <p:tgtEl>
                                          <p:spTgt spid="416"/>
                                        </p:tgtEl>
                                        <p:attrNameLst>
                                          <p:attrName>ppt_w</p:attrName>
                                        </p:attrNameLst>
                                      </p:cBhvr>
                                      <p:tavLst>
                                        <p:tav tm="0">
                                          <p:val>
                                            <p:fltVal val="0"/>
                                          </p:val>
                                        </p:tav>
                                        <p:tav tm="100000">
                                          <p:val>
                                            <p:strVal val="#ppt_w"/>
                                          </p:val>
                                        </p:tav>
                                      </p:tavLst>
                                    </p:anim>
                                    <p:anim calcmode="lin" valueType="num">
                                      <p:cBhvr>
                                        <p:cTn id="181" dur="250" fill="hold"/>
                                        <p:tgtEl>
                                          <p:spTgt spid="416"/>
                                        </p:tgtEl>
                                        <p:attrNameLst>
                                          <p:attrName>ppt_h</p:attrName>
                                        </p:attrNameLst>
                                      </p:cBhvr>
                                      <p:tavLst>
                                        <p:tav tm="0">
                                          <p:val>
                                            <p:fltVal val="0"/>
                                          </p:val>
                                        </p:tav>
                                        <p:tav tm="100000">
                                          <p:val>
                                            <p:strVal val="#ppt_h"/>
                                          </p:val>
                                        </p:tav>
                                      </p:tavLst>
                                    </p:anim>
                                    <p:animEffect transition="in" filter="fade">
                                      <p:cBhvr>
                                        <p:cTn id="182" dur="250"/>
                                        <p:tgtEl>
                                          <p:spTgt spid="416"/>
                                        </p:tgtEl>
                                      </p:cBhvr>
                                    </p:animEffect>
                                  </p:childTnLst>
                                </p:cTn>
                              </p:par>
                              <p:par>
                                <p:cTn id="183" presetID="6" presetClass="emph" presetSubtype="0" decel="100000" fill="hold" grpId="1" nodeType="withEffect">
                                  <p:stCondLst>
                                    <p:cond delay="100"/>
                                  </p:stCondLst>
                                  <p:childTnLst>
                                    <p:animScale>
                                      <p:cBhvr>
                                        <p:cTn id="184" dur="250" fill="hold"/>
                                        <p:tgtEl>
                                          <p:spTgt spid="416"/>
                                        </p:tgtEl>
                                      </p:cBhvr>
                                      <p:by x="110000" y="110000"/>
                                    </p:animScale>
                                  </p:childTnLst>
                                </p:cTn>
                              </p:par>
                              <p:par>
                                <p:cTn id="185" presetID="6" presetClass="emph" presetSubtype="0" decel="100000" fill="hold" grpId="2" nodeType="withEffect">
                                  <p:stCondLst>
                                    <p:cond delay="200"/>
                                  </p:stCondLst>
                                  <p:childTnLst>
                                    <p:animScale>
                                      <p:cBhvr>
                                        <p:cTn id="186" dur="250" fill="hold"/>
                                        <p:tgtEl>
                                          <p:spTgt spid="416"/>
                                        </p:tgtEl>
                                      </p:cBhvr>
                                      <p:by x="91000" y="91000"/>
                                    </p:animScale>
                                  </p:childTnLst>
                                </p:cTn>
                              </p:par>
                            </p:childTnLst>
                          </p:cTn>
                        </p:par>
                        <p:par>
                          <p:cTn id="187" fill="hold">
                            <p:stCondLst>
                              <p:cond delay="1450"/>
                            </p:stCondLst>
                            <p:childTnLst>
                              <p:par>
                                <p:cTn id="188" presetID="10" presetClass="exit" presetSubtype="0" fill="hold" grpId="2" nodeType="afterEffect">
                                  <p:stCondLst>
                                    <p:cond delay="0"/>
                                  </p:stCondLst>
                                  <p:childTnLst>
                                    <p:animEffect transition="out" filter="fade">
                                      <p:cBhvr>
                                        <p:cTn id="189" dur="300"/>
                                        <p:tgtEl>
                                          <p:spTgt spid="61"/>
                                        </p:tgtEl>
                                      </p:cBhvr>
                                    </p:animEffect>
                                    <p:set>
                                      <p:cBhvr>
                                        <p:cTn id="190" dur="1" fill="hold">
                                          <p:stCondLst>
                                            <p:cond delay="299"/>
                                          </p:stCondLst>
                                        </p:cTn>
                                        <p:tgtEl>
                                          <p:spTgt spid="61"/>
                                        </p:tgtEl>
                                        <p:attrNameLst>
                                          <p:attrName>style.visibility</p:attrName>
                                        </p:attrNameLst>
                                      </p:cBhvr>
                                      <p:to>
                                        <p:strVal val="hidden"/>
                                      </p:to>
                                    </p:set>
                                  </p:childTnLst>
                                </p:cTn>
                              </p:par>
                            </p:childTnLst>
                          </p:cTn>
                        </p:par>
                        <p:par>
                          <p:cTn id="191" fill="hold">
                            <p:stCondLst>
                              <p:cond delay="1750"/>
                            </p:stCondLst>
                            <p:childTnLst>
                              <p:par>
                                <p:cTn id="192" presetID="22" presetClass="exit" presetSubtype="1" fill="hold" grpId="1" nodeType="afterEffect">
                                  <p:stCondLst>
                                    <p:cond delay="0"/>
                                  </p:stCondLst>
                                  <p:childTnLst>
                                    <p:animEffect transition="out" filter="wipe(up)">
                                      <p:cBhvr>
                                        <p:cTn id="193" dur="1000"/>
                                        <p:tgtEl>
                                          <p:spTgt spid="242"/>
                                        </p:tgtEl>
                                      </p:cBhvr>
                                    </p:animEffect>
                                    <p:set>
                                      <p:cBhvr>
                                        <p:cTn id="194" dur="1" fill="hold">
                                          <p:stCondLst>
                                            <p:cond delay="999"/>
                                          </p:stCondLst>
                                        </p:cTn>
                                        <p:tgtEl>
                                          <p:spTgt spid="242"/>
                                        </p:tgtEl>
                                        <p:attrNameLst>
                                          <p:attrName>style.visibility</p:attrName>
                                        </p:attrNameLst>
                                      </p:cBhvr>
                                      <p:to>
                                        <p:strVal val="hidden"/>
                                      </p:to>
                                    </p:set>
                                  </p:childTnLst>
                                </p:cTn>
                              </p:par>
                              <p:par>
                                <p:cTn id="195" presetID="1" presetClass="emph" presetSubtype="2" fill="hold" nodeType="withEffect">
                                  <p:stCondLst>
                                    <p:cond delay="950"/>
                                  </p:stCondLst>
                                  <p:childTnLst>
                                    <p:animClr clrSpc="rgb" dir="cw">
                                      <p:cBhvr>
                                        <p:cTn id="196" dur="1000" fill="hold"/>
                                        <p:tgtEl>
                                          <p:spTgt spid="7"/>
                                        </p:tgtEl>
                                        <p:attrNameLst>
                                          <p:attrName>fillcolor</p:attrName>
                                        </p:attrNameLst>
                                      </p:cBhvr>
                                      <p:to>
                                        <a:schemeClr val="accent2"/>
                                      </p:to>
                                    </p:animClr>
                                    <p:set>
                                      <p:cBhvr>
                                        <p:cTn id="197" dur="1000" fill="hold"/>
                                        <p:tgtEl>
                                          <p:spTgt spid="7"/>
                                        </p:tgtEl>
                                        <p:attrNameLst>
                                          <p:attrName>fill.type</p:attrName>
                                        </p:attrNameLst>
                                      </p:cBhvr>
                                      <p:to>
                                        <p:strVal val="solid"/>
                                      </p:to>
                                    </p:set>
                                    <p:set>
                                      <p:cBhvr>
                                        <p:cTn id="198" dur="1000" fill="hold"/>
                                        <p:tgtEl>
                                          <p:spTgt spid="7"/>
                                        </p:tgtEl>
                                        <p:attrNameLst>
                                          <p:attrName>fill.on</p:attrName>
                                        </p:attrNameLst>
                                      </p:cBhvr>
                                      <p:to>
                                        <p:strVal val="true"/>
                                      </p:to>
                                    </p:set>
                                  </p:childTnLst>
                                </p:cTn>
                              </p:par>
                              <p:par>
                                <p:cTn id="199" presetID="22" presetClass="exit" presetSubtype="1" fill="hold" grpId="1" nodeType="withEffect">
                                  <p:stCondLst>
                                    <p:cond delay="950"/>
                                  </p:stCondLst>
                                  <p:childTnLst>
                                    <p:animEffect transition="out" filter="wipe(up)">
                                      <p:cBhvr>
                                        <p:cTn id="200" dur="1000"/>
                                        <p:tgtEl>
                                          <p:spTgt spid="7"/>
                                        </p:tgtEl>
                                      </p:cBhvr>
                                    </p:animEffect>
                                    <p:set>
                                      <p:cBhvr>
                                        <p:cTn id="201" dur="1" fill="hold">
                                          <p:stCondLst>
                                            <p:cond delay="999"/>
                                          </p:stCondLst>
                                        </p:cTn>
                                        <p:tgtEl>
                                          <p:spTgt spid="7"/>
                                        </p:tgtEl>
                                        <p:attrNameLst>
                                          <p:attrName>style.visibility</p:attrName>
                                        </p:attrNameLst>
                                      </p:cBhvr>
                                      <p:to>
                                        <p:strVal val="hidden"/>
                                      </p:to>
                                    </p:set>
                                  </p:childTnLst>
                                </p:cTn>
                              </p:par>
                              <p:par>
                                <p:cTn id="202" presetID="10" presetClass="entr" presetSubtype="0" fill="hold" grpId="0" nodeType="withEffect">
                                  <p:stCondLst>
                                    <p:cond delay="1500"/>
                                  </p:stCondLst>
                                  <p:childTnLst>
                                    <p:set>
                                      <p:cBhvr>
                                        <p:cTn id="203" dur="1" fill="hold">
                                          <p:stCondLst>
                                            <p:cond delay="0"/>
                                          </p:stCondLst>
                                        </p:cTn>
                                        <p:tgtEl>
                                          <p:spTgt spid="20"/>
                                        </p:tgtEl>
                                        <p:attrNameLst>
                                          <p:attrName>style.visibility</p:attrName>
                                        </p:attrNameLst>
                                      </p:cBhvr>
                                      <p:to>
                                        <p:strVal val="visible"/>
                                      </p:to>
                                    </p:set>
                                    <p:animEffect transition="in" filter="fade">
                                      <p:cBhvr>
                                        <p:cTn id="204" dur="500"/>
                                        <p:tgtEl>
                                          <p:spTgt spid="20"/>
                                        </p:tgtEl>
                                      </p:cBhvr>
                                    </p:animEffect>
                                  </p:childTnLst>
                                </p:cTn>
                              </p:par>
                            </p:childTnLst>
                          </p:cTn>
                        </p:par>
                        <p:par>
                          <p:cTn id="205" fill="hold">
                            <p:stCondLst>
                              <p:cond delay="3750"/>
                            </p:stCondLst>
                            <p:childTnLst>
                              <p:par>
                                <p:cTn id="206" presetID="1" presetClass="emph" presetSubtype="2" fill="hold" nodeType="afterEffect">
                                  <p:stCondLst>
                                    <p:cond delay="0"/>
                                  </p:stCondLst>
                                  <p:childTnLst>
                                    <p:animClr clrSpc="rgb" dir="cw">
                                      <p:cBhvr>
                                        <p:cTn id="207" dur="1000" fill="hold"/>
                                        <p:tgtEl>
                                          <p:spTgt spid="413"/>
                                        </p:tgtEl>
                                        <p:attrNameLst>
                                          <p:attrName>fillcolor</p:attrName>
                                        </p:attrNameLst>
                                      </p:cBhvr>
                                      <p:to>
                                        <a:schemeClr val="accent2"/>
                                      </p:to>
                                    </p:animClr>
                                    <p:set>
                                      <p:cBhvr>
                                        <p:cTn id="208" dur="1000" fill="hold"/>
                                        <p:tgtEl>
                                          <p:spTgt spid="413"/>
                                        </p:tgtEl>
                                        <p:attrNameLst>
                                          <p:attrName>fill.type</p:attrName>
                                        </p:attrNameLst>
                                      </p:cBhvr>
                                      <p:to>
                                        <p:strVal val="solid"/>
                                      </p:to>
                                    </p:set>
                                    <p:set>
                                      <p:cBhvr>
                                        <p:cTn id="209" dur="1000" fill="hold"/>
                                        <p:tgtEl>
                                          <p:spTgt spid="413"/>
                                        </p:tgtEl>
                                        <p:attrNameLst>
                                          <p:attrName>fill.on</p:attrName>
                                        </p:attrNameLst>
                                      </p:cBhvr>
                                      <p:to>
                                        <p:strVal val="true"/>
                                      </p:to>
                                    </p:set>
                                  </p:childTnLst>
                                </p:cTn>
                              </p:par>
                              <p:par>
                                <p:cTn id="210" presetID="1" presetClass="emph" presetSubtype="2" fill="hold" nodeType="withEffect">
                                  <p:stCondLst>
                                    <p:cond delay="0"/>
                                  </p:stCondLst>
                                  <p:childTnLst>
                                    <p:animClr clrSpc="rgb" dir="cw">
                                      <p:cBhvr>
                                        <p:cTn id="211" dur="1000" fill="hold"/>
                                        <p:tgtEl>
                                          <p:spTgt spid="414"/>
                                        </p:tgtEl>
                                        <p:attrNameLst>
                                          <p:attrName>fillcolor</p:attrName>
                                        </p:attrNameLst>
                                      </p:cBhvr>
                                      <p:to>
                                        <a:schemeClr val="accent2"/>
                                      </p:to>
                                    </p:animClr>
                                    <p:set>
                                      <p:cBhvr>
                                        <p:cTn id="212" dur="1000" fill="hold"/>
                                        <p:tgtEl>
                                          <p:spTgt spid="414"/>
                                        </p:tgtEl>
                                        <p:attrNameLst>
                                          <p:attrName>fill.type</p:attrName>
                                        </p:attrNameLst>
                                      </p:cBhvr>
                                      <p:to>
                                        <p:strVal val="solid"/>
                                      </p:to>
                                    </p:set>
                                    <p:set>
                                      <p:cBhvr>
                                        <p:cTn id="213" dur="1000" fill="hold"/>
                                        <p:tgtEl>
                                          <p:spTgt spid="414"/>
                                        </p:tgtEl>
                                        <p:attrNameLst>
                                          <p:attrName>fill.on</p:attrName>
                                        </p:attrNameLst>
                                      </p:cBhvr>
                                      <p:to>
                                        <p:strVal val="true"/>
                                      </p:to>
                                    </p:set>
                                  </p:childTnLst>
                                </p:cTn>
                              </p:par>
                            </p:childTnLst>
                          </p:cTn>
                        </p:par>
                        <p:par>
                          <p:cTn id="214" fill="hold">
                            <p:stCondLst>
                              <p:cond delay="4750"/>
                            </p:stCondLst>
                            <p:childTnLst>
                              <p:par>
                                <p:cTn id="215" presetID="10" presetClass="entr" presetSubtype="0" fill="hold" grpId="0" nodeType="afterEffect">
                                  <p:stCondLst>
                                    <p:cond delay="0"/>
                                  </p:stCondLst>
                                  <p:childTnLst>
                                    <p:set>
                                      <p:cBhvr>
                                        <p:cTn id="216" dur="1" fill="hold">
                                          <p:stCondLst>
                                            <p:cond delay="0"/>
                                          </p:stCondLst>
                                        </p:cTn>
                                        <p:tgtEl>
                                          <p:spTgt spid="424"/>
                                        </p:tgtEl>
                                        <p:attrNameLst>
                                          <p:attrName>style.visibility</p:attrName>
                                        </p:attrNameLst>
                                      </p:cBhvr>
                                      <p:to>
                                        <p:strVal val="visible"/>
                                      </p:to>
                                    </p:set>
                                    <p:animEffect transition="in" filter="fade">
                                      <p:cBhvr>
                                        <p:cTn id="217" dur="500"/>
                                        <p:tgtEl>
                                          <p:spTgt spid="424"/>
                                        </p:tgtEl>
                                      </p:cBhvr>
                                    </p:animEffect>
                                  </p:childTnLst>
                                </p:cTn>
                              </p:par>
                              <p:par>
                                <p:cTn id="218" presetID="42" presetClass="path" presetSubtype="0" decel="100000" fill="hold" grpId="1" nodeType="withEffect">
                                  <p:stCondLst>
                                    <p:cond delay="300"/>
                                  </p:stCondLst>
                                  <p:childTnLst>
                                    <p:animMotion origin="layout" path="M -3.34695E-6 -1.55243E-6 L -3.34695E-6 0.03223 " pathEditMode="relative" rAng="0" ptsTypes="AA">
                                      <p:cBhvr>
                                        <p:cTn id="219" dur="500" fill="hold"/>
                                        <p:tgtEl>
                                          <p:spTgt spid="424"/>
                                        </p:tgtEl>
                                        <p:attrNameLst>
                                          <p:attrName>ppt_x</p:attrName>
                                          <p:attrName>ppt_y</p:attrName>
                                        </p:attrNameLst>
                                      </p:cBhvr>
                                      <p:rCtr x="0" y="1611"/>
                                    </p:animMotion>
                                  </p:childTnLst>
                                </p:cTn>
                              </p:par>
                              <p:par>
                                <p:cTn id="220" presetID="42" presetClass="path" presetSubtype="0" decel="100000" fill="hold" grpId="2" nodeType="withEffect">
                                  <p:stCondLst>
                                    <p:cond delay="600"/>
                                  </p:stCondLst>
                                  <p:childTnLst>
                                    <p:animMotion origin="layout" path="M -3.34695E-6 0.03223 L -0.02936 0.032 " pathEditMode="relative" rAng="0" ptsTypes="AA">
                                      <p:cBhvr>
                                        <p:cTn id="221" dur="500" fill="hold"/>
                                        <p:tgtEl>
                                          <p:spTgt spid="424"/>
                                        </p:tgtEl>
                                        <p:attrNameLst>
                                          <p:attrName>ppt_x</p:attrName>
                                          <p:attrName>ppt_y</p:attrName>
                                        </p:attrNameLst>
                                      </p:cBhvr>
                                      <p:rCtr x="-1468" y="-23"/>
                                    </p:animMotion>
                                  </p:childTnLst>
                                </p:cTn>
                              </p:par>
                              <p:par>
                                <p:cTn id="222" presetID="42" presetClass="path" presetSubtype="0" decel="100000" fill="hold" grpId="3" nodeType="withEffect">
                                  <p:stCondLst>
                                    <p:cond delay="900"/>
                                  </p:stCondLst>
                                  <p:childTnLst>
                                    <p:animMotion origin="layout" path="M -0.02936 0.032 L -0.03063 0.30186 " pathEditMode="relative" rAng="0" ptsTypes="AA">
                                      <p:cBhvr>
                                        <p:cTn id="223" dur="700" fill="hold"/>
                                        <p:tgtEl>
                                          <p:spTgt spid="424"/>
                                        </p:tgtEl>
                                        <p:attrNameLst>
                                          <p:attrName>ppt_x</p:attrName>
                                          <p:attrName>ppt_y</p:attrName>
                                        </p:attrNameLst>
                                      </p:cBhvr>
                                      <p:rCtr x="-64" y="13482"/>
                                    </p:animMotion>
                                  </p:childTnLst>
                                </p:cTn>
                              </p:par>
                              <p:par>
                                <p:cTn id="224" presetID="10" presetClass="entr" presetSubtype="0" fill="hold" grpId="0" nodeType="withEffect">
                                  <p:stCondLst>
                                    <p:cond delay="900"/>
                                  </p:stCondLst>
                                  <p:childTnLst>
                                    <p:set>
                                      <p:cBhvr>
                                        <p:cTn id="225" dur="1" fill="hold">
                                          <p:stCondLst>
                                            <p:cond delay="0"/>
                                          </p:stCondLst>
                                        </p:cTn>
                                        <p:tgtEl>
                                          <p:spTgt spid="423"/>
                                        </p:tgtEl>
                                        <p:attrNameLst>
                                          <p:attrName>style.visibility</p:attrName>
                                        </p:attrNameLst>
                                      </p:cBhvr>
                                      <p:to>
                                        <p:strVal val="visible"/>
                                      </p:to>
                                    </p:set>
                                    <p:animEffect transition="in" filter="fade">
                                      <p:cBhvr>
                                        <p:cTn id="226" dur="500"/>
                                        <p:tgtEl>
                                          <p:spTgt spid="423"/>
                                        </p:tgtEl>
                                      </p:cBhvr>
                                    </p:animEffect>
                                  </p:childTnLst>
                                </p:cTn>
                              </p:par>
                              <p:par>
                                <p:cTn id="227" presetID="10" presetClass="exit" presetSubtype="0" fill="hold" grpId="4" nodeType="withEffect">
                                  <p:stCondLst>
                                    <p:cond delay="900"/>
                                  </p:stCondLst>
                                  <p:childTnLst>
                                    <p:animEffect transition="out" filter="fade">
                                      <p:cBhvr>
                                        <p:cTn id="228" dur="500"/>
                                        <p:tgtEl>
                                          <p:spTgt spid="424"/>
                                        </p:tgtEl>
                                      </p:cBhvr>
                                    </p:animEffect>
                                    <p:set>
                                      <p:cBhvr>
                                        <p:cTn id="229" dur="1" fill="hold">
                                          <p:stCondLst>
                                            <p:cond delay="499"/>
                                          </p:stCondLst>
                                        </p:cTn>
                                        <p:tgtEl>
                                          <p:spTgt spid="424"/>
                                        </p:tgtEl>
                                        <p:attrNameLst>
                                          <p:attrName>style.visibility</p:attrName>
                                        </p:attrNameLst>
                                      </p:cBhvr>
                                      <p:to>
                                        <p:strVal val="hidden"/>
                                      </p:to>
                                    </p:set>
                                  </p:childTnLst>
                                </p:cTn>
                              </p:par>
                              <p:par>
                                <p:cTn id="230" presetID="42" presetClass="path" presetSubtype="0" decel="100000" fill="hold" grpId="1" nodeType="withEffect">
                                  <p:stCondLst>
                                    <p:cond delay="1200"/>
                                  </p:stCondLst>
                                  <p:childTnLst>
                                    <p:animMotion origin="layout" path="M 3.85499E-7 1.48434E-6 L 3.85499E-7 0.03041 " pathEditMode="relative" rAng="0" ptsTypes="AA">
                                      <p:cBhvr>
                                        <p:cTn id="231" dur="500" fill="hold"/>
                                        <p:tgtEl>
                                          <p:spTgt spid="423"/>
                                        </p:tgtEl>
                                        <p:attrNameLst>
                                          <p:attrName>ppt_x</p:attrName>
                                          <p:attrName>ppt_y</p:attrName>
                                        </p:attrNameLst>
                                      </p:cBhvr>
                                      <p:rCtr x="0" y="1521"/>
                                    </p:animMotion>
                                  </p:childTnLst>
                                </p:cTn>
                              </p:par>
                              <p:par>
                                <p:cTn id="232" presetID="42" presetClass="path" presetSubtype="0" decel="100000" fill="hold" grpId="2" nodeType="withEffect">
                                  <p:stCondLst>
                                    <p:cond delay="1500"/>
                                  </p:stCondLst>
                                  <p:childTnLst>
                                    <p:animMotion origin="layout" path="M 3.85499E-7 0.03041 L 0.03178 0.03177 " pathEditMode="relative" rAng="0" ptsTypes="AA">
                                      <p:cBhvr>
                                        <p:cTn id="233" dur="500" fill="hold"/>
                                        <p:tgtEl>
                                          <p:spTgt spid="423"/>
                                        </p:tgtEl>
                                        <p:attrNameLst>
                                          <p:attrName>ppt_x</p:attrName>
                                          <p:attrName>ppt_y</p:attrName>
                                        </p:attrNameLst>
                                      </p:cBhvr>
                                      <p:rCtr x="1583" y="68"/>
                                    </p:animMotion>
                                  </p:childTnLst>
                                </p:cTn>
                              </p:par>
                              <p:par>
                                <p:cTn id="234" presetID="42" presetClass="path" presetSubtype="0" decel="100000" fill="hold" grpId="3" nodeType="withEffect">
                                  <p:stCondLst>
                                    <p:cond delay="1800"/>
                                  </p:stCondLst>
                                  <p:childTnLst>
                                    <p:animMotion origin="layout" path="M 0.03178 0.03177 L 0.03051 0.30072 " pathEditMode="relative" rAng="0" ptsTypes="AA">
                                      <p:cBhvr>
                                        <p:cTn id="235" dur="700" fill="hold"/>
                                        <p:tgtEl>
                                          <p:spTgt spid="423"/>
                                        </p:tgtEl>
                                        <p:attrNameLst>
                                          <p:attrName>ppt_x</p:attrName>
                                          <p:attrName>ppt_y</p:attrName>
                                        </p:attrNameLst>
                                      </p:cBhvr>
                                      <p:rCtr x="-64" y="13436"/>
                                    </p:animMotion>
                                  </p:childTnLst>
                                </p:cTn>
                              </p:par>
                              <p:par>
                                <p:cTn id="236" presetID="10" presetClass="exit" presetSubtype="0" fill="hold" grpId="4" nodeType="withEffect">
                                  <p:stCondLst>
                                    <p:cond delay="1800"/>
                                  </p:stCondLst>
                                  <p:childTnLst>
                                    <p:animEffect transition="out" filter="fade">
                                      <p:cBhvr>
                                        <p:cTn id="237" dur="500"/>
                                        <p:tgtEl>
                                          <p:spTgt spid="423"/>
                                        </p:tgtEl>
                                      </p:cBhvr>
                                    </p:animEffect>
                                    <p:set>
                                      <p:cBhvr>
                                        <p:cTn id="238" dur="1" fill="hold">
                                          <p:stCondLst>
                                            <p:cond delay="499"/>
                                          </p:stCondLst>
                                        </p:cTn>
                                        <p:tgtEl>
                                          <p:spTgt spid="423"/>
                                        </p:tgtEl>
                                        <p:attrNameLst>
                                          <p:attrName>style.visibility</p:attrName>
                                        </p:attrNameLst>
                                      </p:cBhvr>
                                      <p:to>
                                        <p:strVal val="hidden"/>
                                      </p:to>
                                    </p:set>
                                  </p:childTnLst>
                                </p:cTn>
                              </p:par>
                            </p:childTnLst>
                          </p:cTn>
                        </p:par>
                        <p:par>
                          <p:cTn id="239" fill="hold">
                            <p:stCondLst>
                              <p:cond delay="7250"/>
                            </p:stCondLst>
                            <p:childTnLst>
                              <p:par>
                                <p:cTn id="240" presetID="10" presetClass="entr" presetSubtype="0" fill="hold" grpId="0" nodeType="afterEffect">
                                  <p:stCondLst>
                                    <p:cond delay="0"/>
                                  </p:stCondLst>
                                  <p:childTnLst>
                                    <p:set>
                                      <p:cBhvr>
                                        <p:cTn id="241" dur="1" fill="hold">
                                          <p:stCondLst>
                                            <p:cond delay="0"/>
                                          </p:stCondLst>
                                        </p:cTn>
                                        <p:tgtEl>
                                          <p:spTgt spid="426"/>
                                        </p:tgtEl>
                                        <p:attrNameLst>
                                          <p:attrName>style.visibility</p:attrName>
                                        </p:attrNameLst>
                                      </p:cBhvr>
                                      <p:to>
                                        <p:strVal val="visible"/>
                                      </p:to>
                                    </p:set>
                                    <p:animEffect transition="in" filter="fade">
                                      <p:cBhvr>
                                        <p:cTn id="242" dur="500"/>
                                        <p:tgtEl>
                                          <p:spTgt spid="426"/>
                                        </p:tgtEl>
                                      </p:cBhvr>
                                    </p:animEffect>
                                  </p:childTnLst>
                                </p:cTn>
                              </p:par>
                              <p:par>
                                <p:cTn id="243" presetID="42" presetClass="path" presetSubtype="0" decel="100000" fill="hold" grpId="1" nodeType="withEffect">
                                  <p:stCondLst>
                                    <p:cond delay="300"/>
                                  </p:stCondLst>
                                  <p:childTnLst>
                                    <p:animMotion origin="layout" path="M -9.9566E-7 -4.5892E-6 L -9.9566E-7 0.03223 " pathEditMode="relative" rAng="0" ptsTypes="AA">
                                      <p:cBhvr>
                                        <p:cTn id="244" dur="500" fill="hold"/>
                                        <p:tgtEl>
                                          <p:spTgt spid="426"/>
                                        </p:tgtEl>
                                        <p:attrNameLst>
                                          <p:attrName>ppt_x</p:attrName>
                                          <p:attrName>ppt_y</p:attrName>
                                        </p:attrNameLst>
                                      </p:cBhvr>
                                      <p:rCtr x="0" y="1611"/>
                                    </p:animMotion>
                                  </p:childTnLst>
                                </p:cTn>
                              </p:par>
                              <p:par>
                                <p:cTn id="245" presetID="42" presetClass="path" presetSubtype="0" decel="100000" fill="hold" grpId="2" nodeType="withEffect">
                                  <p:stCondLst>
                                    <p:cond delay="600"/>
                                  </p:stCondLst>
                                  <p:childTnLst>
                                    <p:animMotion origin="layout" path="M -9.9566E-7 0.03223 L -0.02936 0.03201 " pathEditMode="relative" rAng="0" ptsTypes="AA">
                                      <p:cBhvr>
                                        <p:cTn id="246" dur="500" fill="hold"/>
                                        <p:tgtEl>
                                          <p:spTgt spid="426"/>
                                        </p:tgtEl>
                                        <p:attrNameLst>
                                          <p:attrName>ppt_x</p:attrName>
                                          <p:attrName>ppt_y</p:attrName>
                                        </p:attrNameLst>
                                      </p:cBhvr>
                                      <p:rCtr x="-1468" y="-23"/>
                                    </p:animMotion>
                                  </p:childTnLst>
                                </p:cTn>
                              </p:par>
                              <p:par>
                                <p:cTn id="247" presetID="42" presetClass="path" presetSubtype="0" decel="100000" fill="hold" grpId="3" nodeType="withEffect">
                                  <p:stCondLst>
                                    <p:cond delay="900"/>
                                  </p:stCondLst>
                                  <p:childTnLst>
                                    <p:animMotion origin="layout" path="M -0.02936 0.03201 L -0.03063 0.30187 " pathEditMode="relative" rAng="0" ptsTypes="AA">
                                      <p:cBhvr>
                                        <p:cTn id="248" dur="700" fill="hold"/>
                                        <p:tgtEl>
                                          <p:spTgt spid="426"/>
                                        </p:tgtEl>
                                        <p:attrNameLst>
                                          <p:attrName>ppt_x</p:attrName>
                                          <p:attrName>ppt_y</p:attrName>
                                        </p:attrNameLst>
                                      </p:cBhvr>
                                      <p:rCtr x="-64" y="13482"/>
                                    </p:animMotion>
                                  </p:childTnLst>
                                </p:cTn>
                              </p:par>
                              <p:par>
                                <p:cTn id="249" presetID="10" presetClass="entr" presetSubtype="0" fill="hold" grpId="0" nodeType="withEffect">
                                  <p:stCondLst>
                                    <p:cond delay="900"/>
                                  </p:stCondLst>
                                  <p:childTnLst>
                                    <p:set>
                                      <p:cBhvr>
                                        <p:cTn id="250" dur="1" fill="hold">
                                          <p:stCondLst>
                                            <p:cond delay="0"/>
                                          </p:stCondLst>
                                        </p:cTn>
                                        <p:tgtEl>
                                          <p:spTgt spid="425"/>
                                        </p:tgtEl>
                                        <p:attrNameLst>
                                          <p:attrName>style.visibility</p:attrName>
                                        </p:attrNameLst>
                                      </p:cBhvr>
                                      <p:to>
                                        <p:strVal val="visible"/>
                                      </p:to>
                                    </p:set>
                                    <p:animEffect transition="in" filter="fade">
                                      <p:cBhvr>
                                        <p:cTn id="251" dur="500"/>
                                        <p:tgtEl>
                                          <p:spTgt spid="425"/>
                                        </p:tgtEl>
                                      </p:cBhvr>
                                    </p:animEffect>
                                  </p:childTnLst>
                                </p:cTn>
                              </p:par>
                              <p:par>
                                <p:cTn id="252" presetID="10" presetClass="exit" presetSubtype="0" fill="hold" grpId="4" nodeType="withEffect">
                                  <p:stCondLst>
                                    <p:cond delay="900"/>
                                  </p:stCondLst>
                                  <p:childTnLst>
                                    <p:animEffect transition="out" filter="fade">
                                      <p:cBhvr>
                                        <p:cTn id="253" dur="500"/>
                                        <p:tgtEl>
                                          <p:spTgt spid="426"/>
                                        </p:tgtEl>
                                      </p:cBhvr>
                                    </p:animEffect>
                                    <p:set>
                                      <p:cBhvr>
                                        <p:cTn id="254" dur="1" fill="hold">
                                          <p:stCondLst>
                                            <p:cond delay="499"/>
                                          </p:stCondLst>
                                        </p:cTn>
                                        <p:tgtEl>
                                          <p:spTgt spid="426"/>
                                        </p:tgtEl>
                                        <p:attrNameLst>
                                          <p:attrName>style.visibility</p:attrName>
                                        </p:attrNameLst>
                                      </p:cBhvr>
                                      <p:to>
                                        <p:strVal val="hidden"/>
                                      </p:to>
                                    </p:set>
                                  </p:childTnLst>
                                </p:cTn>
                              </p:par>
                              <p:par>
                                <p:cTn id="255" presetID="42" presetClass="path" presetSubtype="0" decel="100000" fill="hold" grpId="1" nodeType="withEffect">
                                  <p:stCondLst>
                                    <p:cond delay="1200"/>
                                  </p:stCondLst>
                                  <p:childTnLst>
                                    <p:animMotion origin="layout" path="M 2.73679E-6 -1.55243E-6 L 2.73679E-6 0.03041 " pathEditMode="relative" rAng="0" ptsTypes="AA">
                                      <p:cBhvr>
                                        <p:cTn id="256" dur="500" fill="hold"/>
                                        <p:tgtEl>
                                          <p:spTgt spid="425"/>
                                        </p:tgtEl>
                                        <p:attrNameLst>
                                          <p:attrName>ppt_x</p:attrName>
                                          <p:attrName>ppt_y</p:attrName>
                                        </p:attrNameLst>
                                      </p:cBhvr>
                                      <p:rCtr x="0" y="1521"/>
                                    </p:animMotion>
                                  </p:childTnLst>
                                </p:cTn>
                              </p:par>
                              <p:par>
                                <p:cTn id="257" presetID="42" presetClass="path" presetSubtype="0" decel="100000" fill="hold" grpId="2" nodeType="withEffect">
                                  <p:stCondLst>
                                    <p:cond delay="1500"/>
                                  </p:stCondLst>
                                  <p:childTnLst>
                                    <p:animMotion origin="layout" path="M 2.73679E-6 0.03041 L 0.03178 0.03178 " pathEditMode="relative" rAng="0" ptsTypes="AA">
                                      <p:cBhvr>
                                        <p:cTn id="258" dur="500" fill="hold"/>
                                        <p:tgtEl>
                                          <p:spTgt spid="425"/>
                                        </p:tgtEl>
                                        <p:attrNameLst>
                                          <p:attrName>ppt_x</p:attrName>
                                          <p:attrName>ppt_y</p:attrName>
                                        </p:attrNameLst>
                                      </p:cBhvr>
                                      <p:rCtr x="1583" y="68"/>
                                    </p:animMotion>
                                  </p:childTnLst>
                                </p:cTn>
                              </p:par>
                              <p:par>
                                <p:cTn id="259" presetID="42" presetClass="path" presetSubtype="0" decel="100000" fill="hold" grpId="3" nodeType="withEffect">
                                  <p:stCondLst>
                                    <p:cond delay="1800"/>
                                  </p:stCondLst>
                                  <p:childTnLst>
                                    <p:animMotion origin="layout" path="M 0.03178 0.03178 L 0.03051 0.30073 " pathEditMode="relative" rAng="0" ptsTypes="AA">
                                      <p:cBhvr>
                                        <p:cTn id="260" dur="700" fill="hold"/>
                                        <p:tgtEl>
                                          <p:spTgt spid="425"/>
                                        </p:tgtEl>
                                        <p:attrNameLst>
                                          <p:attrName>ppt_x</p:attrName>
                                          <p:attrName>ppt_y</p:attrName>
                                        </p:attrNameLst>
                                      </p:cBhvr>
                                      <p:rCtr x="-64" y="13436"/>
                                    </p:animMotion>
                                  </p:childTnLst>
                                </p:cTn>
                              </p:par>
                              <p:par>
                                <p:cTn id="261" presetID="10" presetClass="exit" presetSubtype="0" fill="hold" grpId="4" nodeType="withEffect">
                                  <p:stCondLst>
                                    <p:cond delay="1800"/>
                                  </p:stCondLst>
                                  <p:childTnLst>
                                    <p:animEffect transition="out" filter="fade">
                                      <p:cBhvr>
                                        <p:cTn id="262" dur="500"/>
                                        <p:tgtEl>
                                          <p:spTgt spid="425"/>
                                        </p:tgtEl>
                                      </p:cBhvr>
                                    </p:animEffect>
                                    <p:set>
                                      <p:cBhvr>
                                        <p:cTn id="263" dur="1" fill="hold">
                                          <p:stCondLst>
                                            <p:cond delay="499"/>
                                          </p:stCondLst>
                                        </p:cTn>
                                        <p:tgtEl>
                                          <p:spTgt spid="425"/>
                                        </p:tgtEl>
                                        <p:attrNameLst>
                                          <p:attrName>style.visibility</p:attrName>
                                        </p:attrNameLst>
                                      </p:cBhvr>
                                      <p:to>
                                        <p:strVal val="hidden"/>
                                      </p:to>
                                    </p:set>
                                  </p:childTnLst>
                                </p:cTn>
                              </p:par>
                            </p:childTnLst>
                          </p:cTn>
                        </p:par>
                      </p:childTnLst>
                    </p:cTn>
                  </p:par>
                  <p:par>
                    <p:cTn id="264" fill="hold">
                      <p:stCondLst>
                        <p:cond delay="indefinite"/>
                      </p:stCondLst>
                      <p:childTnLst>
                        <p:par>
                          <p:cTn id="265" fill="hold">
                            <p:stCondLst>
                              <p:cond delay="0"/>
                            </p:stCondLst>
                            <p:childTnLst>
                              <p:par>
                                <p:cTn id="266" presetID="22" presetClass="entr" presetSubtype="2" fill="hold" grpId="0" nodeType="clickEffect">
                                  <p:stCondLst>
                                    <p:cond delay="0"/>
                                  </p:stCondLst>
                                  <p:childTnLst>
                                    <p:set>
                                      <p:cBhvr>
                                        <p:cTn id="267" dur="1" fill="hold">
                                          <p:stCondLst>
                                            <p:cond delay="0"/>
                                          </p:stCondLst>
                                        </p:cTn>
                                        <p:tgtEl>
                                          <p:spTgt spid="417"/>
                                        </p:tgtEl>
                                        <p:attrNameLst>
                                          <p:attrName>style.visibility</p:attrName>
                                        </p:attrNameLst>
                                      </p:cBhvr>
                                      <p:to>
                                        <p:strVal val="visible"/>
                                      </p:to>
                                    </p:set>
                                    <p:animEffect transition="in" filter="wipe(right)">
                                      <p:cBhvr>
                                        <p:cTn id="268" dur="500"/>
                                        <p:tgtEl>
                                          <p:spTgt spid="4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p:bldP spid="157" grpId="1"/>
      <p:bldP spid="382" grpId="0" animBg="1"/>
      <p:bldP spid="380" grpId="0" animBg="1"/>
      <p:bldP spid="381" grpId="0" animBg="1"/>
      <p:bldP spid="378" grpId="0" animBg="1"/>
      <p:bldP spid="363" grpId="0" animBg="1"/>
      <p:bldP spid="364" grpId="0" animBg="1"/>
      <p:bldP spid="368" grpId="0" animBg="1"/>
      <p:bldP spid="373" grpId="0" animBg="1"/>
      <p:bldP spid="374" grpId="0" animBg="1"/>
      <p:bldP spid="375" grpId="0"/>
      <p:bldP spid="376" grpId="0"/>
      <p:bldP spid="412" grpId="0" animBg="1"/>
      <p:bldP spid="413" grpId="0" animBg="1"/>
      <p:bldP spid="414" grpId="0" animBg="1"/>
      <p:bldP spid="416" grpId="0"/>
      <p:bldP spid="416" grpId="1"/>
      <p:bldP spid="416" grpId="2"/>
      <p:bldP spid="61" grpId="0" animBg="1"/>
      <p:bldP spid="61" grpId="1" animBg="1"/>
      <p:bldP spid="61" grpId="2" animBg="1"/>
      <p:bldP spid="421" grpId="0"/>
      <p:bldP spid="422" grpId="0"/>
      <p:bldP spid="417" grpId="0" animBg="1"/>
      <p:bldP spid="423" grpId="0" animBg="1"/>
      <p:bldP spid="423" grpId="1" animBg="1"/>
      <p:bldP spid="423" grpId="2" animBg="1"/>
      <p:bldP spid="423" grpId="3" animBg="1"/>
      <p:bldP spid="423" grpId="4" animBg="1"/>
      <p:bldP spid="424" grpId="0" animBg="1"/>
      <p:bldP spid="424" grpId="1" animBg="1"/>
      <p:bldP spid="424" grpId="2" animBg="1"/>
      <p:bldP spid="424" grpId="3" animBg="1"/>
      <p:bldP spid="424" grpId="4" animBg="1"/>
      <p:bldP spid="425" grpId="0" animBg="1"/>
      <p:bldP spid="425" grpId="1" animBg="1"/>
      <p:bldP spid="425" grpId="2" animBg="1"/>
      <p:bldP spid="425" grpId="3" animBg="1"/>
      <p:bldP spid="425" grpId="4" animBg="1"/>
      <p:bldP spid="426" grpId="0" animBg="1"/>
      <p:bldP spid="426" grpId="1" animBg="1"/>
      <p:bldP spid="426" grpId="2" animBg="1"/>
      <p:bldP spid="426" grpId="3" animBg="1"/>
      <p:bldP spid="426" grpId="4" animBg="1"/>
      <p:bldP spid="427" grpId="0" animBg="1"/>
      <p:bldP spid="427" grpId="1" animBg="1"/>
      <p:bldP spid="427" grpId="2" animBg="1"/>
      <p:bldP spid="427" grpId="3" animBg="1"/>
      <p:bldP spid="427" grpId="4" animBg="1"/>
      <p:bldP spid="428" grpId="0" animBg="1"/>
      <p:bldP spid="428" grpId="1" animBg="1"/>
      <p:bldP spid="428" grpId="2" animBg="1"/>
      <p:bldP spid="428" grpId="3" animBg="1"/>
      <p:bldP spid="428" grpId="4" animBg="1"/>
      <p:bldP spid="429" grpId="0" animBg="1"/>
      <p:bldP spid="429" grpId="1" animBg="1"/>
      <p:bldP spid="429" grpId="2" animBg="1"/>
      <p:bldP spid="429" grpId="3" animBg="1"/>
      <p:bldP spid="429" grpId="4" animBg="1"/>
      <p:bldP spid="430" grpId="0" animBg="1"/>
      <p:bldP spid="430" grpId="1" animBg="1"/>
      <p:bldP spid="430" grpId="2" animBg="1"/>
      <p:bldP spid="430" grpId="3" animBg="1"/>
      <p:bldP spid="430" grpId="4" animBg="1"/>
      <p:bldP spid="7" grpId="0" animBg="1"/>
      <p:bldP spid="7" grpId="1" animBg="1"/>
      <p:bldP spid="257" grpId="0" animBg="1"/>
      <p:bldP spid="242" grpId="0" animBg="1"/>
      <p:bldP spid="242" grpId="1" animBg="1"/>
      <p:bldP spid="246" grpId="0" animBg="1"/>
      <p:bldP spid="246" grpId="1" animBg="1"/>
      <p:bldP spid="20" grpId="0" animBg="1"/>
      <p:bldP spid="258"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25" name="Object 3" hidden="1"/>
          <p:cNvGraphicFramePr>
            <a:graphicFrameLocks noChangeAspect="1"/>
          </p:cNvGraphicFramePr>
          <p:nvPr>
            <p:custDataLst>
              <p:tags r:id="rId2"/>
            </p:custDataLst>
          </p:nvPr>
        </p:nvGraphicFramePr>
        <p:xfrm>
          <a:off x="3113" y="2044"/>
          <a:ext cx="1557" cy="1556"/>
        </p:xfrm>
        <a:graphic>
          <a:graphicData uri="http://schemas.openxmlformats.org/presentationml/2006/ole">
            <mc:AlternateContent xmlns:mc="http://schemas.openxmlformats.org/markup-compatibility/2006">
              <mc:Choice xmlns:v="urn:schemas-microsoft-com:vml" Requires="v">
                <p:oleObj spid="_x0000_s1027"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13" y="2044"/>
                        <a:ext cx="1557" cy="15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nvPr>
        </p:nvSpPr>
        <p:spPr/>
        <p:txBody>
          <a:bodyPr/>
          <a:lstStyle/>
          <a:p>
            <a:pPr defTabSz="914523" fontAlgn="auto">
              <a:spcAft>
                <a:spcPts val="0"/>
              </a:spcAft>
              <a:defRPr/>
            </a:pPr>
            <a:r>
              <a:rPr sz="5295" dirty="0">
                <a:ea typeface="+mn-ea"/>
              </a:rPr>
              <a:t>Mapping the conversations</a:t>
            </a:r>
            <a:endParaRPr sz="5295" dirty="0">
              <a:ea typeface="+mn-ea"/>
            </a:endParaRPr>
          </a:p>
        </p:txBody>
      </p:sp>
      <p:sp>
        <p:nvSpPr>
          <p:cNvPr id="9" name="Rectangle 8"/>
          <p:cNvSpPr/>
          <p:nvPr/>
        </p:nvSpPr>
        <p:spPr bwMode="auto">
          <a:xfrm>
            <a:off x="1165663" y="2445423"/>
            <a:ext cx="1748028" cy="336346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The Microsoft </a:t>
            </a:r>
          </a:p>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Cloud</a:t>
            </a:r>
          </a:p>
          <a:p>
            <a:pPr defTabSz="914083" fontAlgn="base">
              <a:lnSpc>
                <a:spcPct val="90000"/>
              </a:lnSpc>
              <a:defRPr/>
            </a:pPr>
            <a:endParaRPr lang="en-US" sz="1079" dirty="0">
              <a:solidFill>
                <a:srgbClr val="FFFFFF"/>
              </a:solidFill>
              <a:ea typeface="Segoe UI" panose="020B0502040204020203" pitchFamily="34" charset="0"/>
              <a:cs typeface="Segoe UI" panose="020B0502040204020203" pitchFamily="34" charset="0"/>
            </a:endParaRPr>
          </a:p>
          <a:p>
            <a:pPr defTabSz="914083" fontAlgn="base">
              <a:lnSpc>
                <a:spcPct val="90000"/>
              </a:lnSpc>
              <a:defRPr/>
            </a:pPr>
            <a:r>
              <a:rPr lang="en-US" sz="1029" dirty="0">
                <a:solidFill>
                  <a:srgbClr val="FFFFFF"/>
                </a:solidFill>
                <a:ea typeface="Segoe UI" panose="020B0502040204020203" pitchFamily="34" charset="0"/>
                <a:cs typeface="Segoe UI" panose="020B0502040204020203" pitchFamily="34" charset="0"/>
              </a:rPr>
              <a:t>Content: One Microsoft commercial cloud strategy, setting common differentiators (L50). </a:t>
            </a:r>
          </a:p>
          <a:p>
            <a:pPr defTabSz="914083" fontAlgn="base">
              <a:lnSpc>
                <a:spcPct val="90000"/>
              </a:lnSpc>
              <a:defRPr/>
            </a:pPr>
            <a:endParaRPr lang="en-US" sz="1029" dirty="0">
              <a:solidFill>
                <a:srgbClr val="FFFFFF"/>
              </a:solidFill>
              <a:ea typeface="Segoe UI" panose="020B0502040204020203" pitchFamily="34" charset="0"/>
              <a:cs typeface="Segoe UI" panose="020B0502040204020203" pitchFamily="34" charset="0"/>
            </a:endParaRPr>
          </a:p>
          <a:p>
            <a:pPr defTabSz="914083" fontAlgn="base">
              <a:lnSpc>
                <a:spcPct val="90000"/>
              </a:lnSpc>
              <a:defRPr/>
            </a:pPr>
            <a:r>
              <a:rPr lang="en-US" sz="1029" dirty="0">
                <a:solidFill>
                  <a:srgbClr val="FFFFFF"/>
                </a:solidFill>
                <a:ea typeface="Segoe UI" panose="020B0502040204020203" pitchFamily="34" charset="0"/>
                <a:cs typeface="Segoe UI" panose="020B0502040204020203" pitchFamily="34" charset="0"/>
              </a:rPr>
              <a:t>Use:  1:1 and 1:many customer conversations. Use alone or incorporate into decks</a:t>
            </a:r>
          </a:p>
        </p:txBody>
      </p:sp>
      <p:sp>
        <p:nvSpPr>
          <p:cNvPr id="46" name="Rectangle 45"/>
          <p:cNvSpPr/>
          <p:nvPr/>
        </p:nvSpPr>
        <p:spPr bwMode="auto">
          <a:xfrm>
            <a:off x="2971260" y="2445423"/>
            <a:ext cx="1780102" cy="33634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Microsoft Cloud Platform</a:t>
            </a:r>
          </a:p>
          <a:p>
            <a:pPr defTabSz="896075" fontAlgn="base">
              <a:lnSpc>
                <a:spcPct val="90000"/>
              </a:lnSpc>
              <a:defRPr/>
            </a:pPr>
            <a:endParaRPr lang="en-US" sz="1077" dirty="0">
              <a:solidFill>
                <a:srgbClr val="FFFFFF"/>
              </a:solidFill>
              <a:ea typeface="Segoe UI" panose="020B0502040204020203" pitchFamily="34" charset="0"/>
              <a:cs typeface="Segoe UI" panose="020B0502040204020203" pitchFamily="34" charset="0"/>
            </a:endParaRPr>
          </a:p>
          <a:p>
            <a:pPr defTabSz="896075" fontAlgn="base">
              <a:lnSpc>
                <a:spcPct val="90000"/>
              </a:lnSpc>
              <a:defRPr/>
            </a:pPr>
            <a:r>
              <a:rPr lang="en-US" sz="1029" dirty="0">
                <a:solidFill>
                  <a:srgbClr val="FFFFFF"/>
                </a:solidFill>
                <a:ea typeface="Segoe UI" panose="020B0502040204020203" pitchFamily="34" charset="0"/>
                <a:cs typeface="Segoe UI" panose="020B0502040204020203" pitchFamily="34" charset="0"/>
              </a:rPr>
              <a:t>Content: Strategy-oriented story, setting common differentiators across five conversations  (L50)</a:t>
            </a:r>
          </a:p>
          <a:p>
            <a:pPr defTabSz="896075" fontAlgn="base">
              <a:lnSpc>
                <a:spcPct val="90000"/>
              </a:lnSpc>
              <a:defRPr/>
            </a:pPr>
            <a:endParaRPr lang="en-US" sz="1029" dirty="0">
              <a:solidFill>
                <a:srgbClr val="FFFFFF"/>
              </a:solidFill>
              <a:ea typeface="Segoe UI" panose="020B0502040204020203" pitchFamily="34" charset="0"/>
              <a:cs typeface="Segoe UI" panose="020B0502040204020203" pitchFamily="34" charset="0"/>
            </a:endParaRPr>
          </a:p>
          <a:p>
            <a:pPr defTabSz="896075" fontAlgn="base">
              <a:lnSpc>
                <a:spcPct val="90000"/>
              </a:lnSpc>
              <a:defRPr/>
            </a:pPr>
            <a:r>
              <a:rPr lang="en-US" sz="1029" dirty="0">
                <a:solidFill>
                  <a:srgbClr val="FFFFFF"/>
                </a:solidFill>
                <a:ea typeface="Segoe UI" panose="020B0502040204020203" pitchFamily="34" charset="0"/>
                <a:cs typeface="Segoe UI" panose="020B0502040204020203" pitchFamily="34" charset="0"/>
              </a:rPr>
              <a:t>Use:  1:1 and 1:many customer conversations. Use alone or incorporate single slide into decks and add content from one or more Microsoft Cloud Platform conversations below to dive deeper into a specific area. </a:t>
            </a:r>
          </a:p>
        </p:txBody>
      </p:sp>
      <p:sp>
        <p:nvSpPr>
          <p:cNvPr id="65" name="TextBox 64"/>
          <p:cNvSpPr txBox="1"/>
          <p:nvPr/>
        </p:nvSpPr>
        <p:spPr>
          <a:xfrm>
            <a:off x="281987" y="6221690"/>
            <a:ext cx="896425" cy="241381"/>
          </a:xfrm>
          <a:prstGeom prst="rect">
            <a:avLst/>
          </a:prstGeom>
          <a:noFill/>
        </p:spPr>
        <p:txBody>
          <a:bodyPr lIns="0" tIns="0" rIns="0" bIns="0" anchor="ctr">
            <a:spAutoFit/>
          </a:bodyPr>
          <a:lstStyle/>
          <a:p>
            <a:pPr defTabSz="914192">
              <a:defRPr/>
            </a:pPr>
            <a:r>
              <a:rPr lang="en-US" sz="1568" dirty="0">
                <a:gradFill>
                  <a:gsLst>
                    <a:gs pos="0">
                      <a:srgbClr val="FFFFFF"/>
                    </a:gs>
                    <a:gs pos="100000">
                      <a:srgbClr val="FFFFFF"/>
                    </a:gs>
                  </a:gsLst>
                  <a:lin ang="5400000" scaled="1"/>
                </a:gradFill>
                <a:ea typeface="ＭＳ Ｐゴシック" charset="0"/>
                <a:cs typeface="Segoe UI" panose="020B0502040204020203" pitchFamily="34" charset="0"/>
              </a:rPr>
              <a:t>Tools</a:t>
            </a:r>
          </a:p>
        </p:txBody>
      </p:sp>
      <p:sp>
        <p:nvSpPr>
          <p:cNvPr id="30" name="TextBox 29"/>
          <p:cNvSpPr txBox="1"/>
          <p:nvPr/>
        </p:nvSpPr>
        <p:spPr>
          <a:xfrm>
            <a:off x="281987" y="3964107"/>
            <a:ext cx="896425" cy="241381"/>
          </a:xfrm>
          <a:prstGeom prst="rect">
            <a:avLst/>
          </a:prstGeom>
          <a:noFill/>
        </p:spPr>
        <p:txBody>
          <a:bodyPr lIns="0" tIns="0" rIns="0" bIns="0" anchor="ctr">
            <a:spAutoFit/>
          </a:bodyPr>
          <a:lstStyle/>
          <a:p>
            <a:pPr defTabSz="914192">
              <a:defRPr/>
            </a:pPr>
            <a:r>
              <a:rPr lang="en-US" sz="1568" dirty="0">
                <a:gradFill>
                  <a:gsLst>
                    <a:gs pos="0">
                      <a:srgbClr val="FFFFFF"/>
                    </a:gs>
                    <a:gs pos="100000">
                      <a:srgbClr val="FFFFFF"/>
                    </a:gs>
                  </a:gsLst>
                  <a:lin ang="5400000" scaled="1"/>
                </a:gradFill>
                <a:ea typeface="ＭＳ Ｐゴシック" charset="0"/>
                <a:cs typeface="Segoe UI" panose="020B0502040204020203" pitchFamily="34" charset="0"/>
              </a:rPr>
              <a:t>Stories</a:t>
            </a:r>
          </a:p>
        </p:txBody>
      </p:sp>
      <p:sp>
        <p:nvSpPr>
          <p:cNvPr id="34" name="Rectangle 33"/>
          <p:cNvSpPr/>
          <p:nvPr/>
        </p:nvSpPr>
        <p:spPr bwMode="auto">
          <a:xfrm>
            <a:off x="4907843" y="2445423"/>
            <a:ext cx="1658386" cy="1658386"/>
          </a:xfrm>
          <a:prstGeom prst="rect">
            <a:avLst/>
          </a:prstGeom>
          <a:solidFill>
            <a:schemeClr val="accent1"/>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Transform </a:t>
            </a:r>
            <a:b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b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the datacenter</a:t>
            </a:r>
          </a:p>
          <a:p>
            <a:pPr defTabSz="914083" fontAlgn="base">
              <a:lnSpc>
                <a:spcPct val="90000"/>
              </a:lnSpc>
              <a:defRPr/>
            </a:pPr>
            <a:endParaRPr lang="en-US" sz="107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 Cross-C+E conversation that lands products within story (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36" name="Rectangle 35"/>
          <p:cNvSpPr/>
          <p:nvPr/>
        </p:nvSpPr>
        <p:spPr bwMode="auto">
          <a:xfrm>
            <a:off x="6607376" y="2445423"/>
            <a:ext cx="1706372" cy="1658386"/>
          </a:xfrm>
          <a:prstGeom prst="rect">
            <a:avLst/>
          </a:prstGeom>
          <a:solidFill>
            <a:srgbClr val="DC3C00"/>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Unlock insights on </a:t>
            </a:r>
            <a:b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b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any data</a:t>
            </a:r>
          </a:p>
          <a:p>
            <a:pPr defTabSz="914083" fontAlgn="base">
              <a:lnSpc>
                <a:spcPct val="90000"/>
              </a:lnSpc>
              <a:defRPr/>
            </a:pPr>
            <a:endParaRPr lang="en-US" sz="107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 Cross-C+E conversation that lands products within story </a:t>
            </a:r>
            <a:br>
              <a:rPr lang="en-US" sz="1029" kern="0" dirty="0">
                <a:solidFill>
                  <a:srgbClr val="FFFFFF"/>
                </a:solidFill>
                <a:ea typeface="Segoe UI" pitchFamily="34" charset="0"/>
                <a:cs typeface="Segoe UI" pitchFamily="34" charset="0"/>
              </a:rPr>
            </a:br>
            <a:r>
              <a:rPr lang="en-US" sz="1029" kern="0" dirty="0">
                <a:solidFill>
                  <a:srgbClr val="FFFFFF"/>
                </a:solidFill>
                <a:ea typeface="Segoe UI" pitchFamily="34" charset="0"/>
                <a:cs typeface="Segoe UI" pitchFamily="34" charset="0"/>
              </a:rPr>
              <a:t>(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38" name="Rectangle 37"/>
          <p:cNvSpPr/>
          <p:nvPr/>
        </p:nvSpPr>
        <p:spPr bwMode="auto">
          <a:xfrm>
            <a:off x="5765817" y="4150497"/>
            <a:ext cx="1645687" cy="1658386"/>
          </a:xfrm>
          <a:prstGeom prst="rect">
            <a:avLst/>
          </a:prstGeom>
          <a:solidFill>
            <a:srgbClr val="008272"/>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Empower enterprise mobility</a:t>
            </a:r>
          </a:p>
          <a:p>
            <a:pPr defTabSz="914083" fontAlgn="base">
              <a:lnSpc>
                <a:spcPct val="90000"/>
              </a:lnSpc>
              <a:defRPr/>
            </a:pPr>
            <a:endParaRPr lang="en-US" sz="1079" b="1"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a:t>
            </a:r>
            <a:r>
              <a:rPr lang="en-US" sz="1029" b="1" kern="0" dirty="0">
                <a:solidFill>
                  <a:srgbClr val="FFFFFF"/>
                </a:solidFill>
                <a:ea typeface="Segoe UI" pitchFamily="34" charset="0"/>
                <a:cs typeface="Segoe UI" pitchFamily="34" charset="0"/>
              </a:rPr>
              <a:t>: </a:t>
            </a:r>
            <a:r>
              <a:rPr lang="en-US" sz="1029" kern="0" dirty="0">
                <a:solidFill>
                  <a:srgbClr val="FFFFFF"/>
                </a:solidFill>
                <a:ea typeface="Segoe UI" pitchFamily="34" charset="0"/>
                <a:cs typeface="Segoe UI" pitchFamily="34" charset="0"/>
              </a:rPr>
              <a:t>Cross-STB conversation that lands products within story (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23" name="Rectangle 22"/>
          <p:cNvSpPr/>
          <p:nvPr/>
        </p:nvSpPr>
        <p:spPr bwMode="auto">
          <a:xfrm>
            <a:off x="10241654" y="2445423"/>
            <a:ext cx="1681874" cy="1658386"/>
          </a:xfrm>
          <a:prstGeom prst="rect">
            <a:avLst/>
          </a:prstGeom>
          <a:solidFill>
            <a:srgbClr val="00188F"/>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a:t>
            </a:r>
            <a:b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b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of Your Things</a:t>
            </a:r>
          </a:p>
          <a:p>
            <a:pPr defTabSz="914083" fontAlgn="base">
              <a:lnSpc>
                <a:spcPct val="90000"/>
              </a:lnSpc>
              <a:defRPr/>
            </a:pPr>
            <a:endParaRPr lang="en-US" sz="107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 Cross-C+E conversation that lands products within story (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26" name="Rectangle 25"/>
          <p:cNvSpPr/>
          <p:nvPr/>
        </p:nvSpPr>
        <p:spPr bwMode="auto">
          <a:xfrm>
            <a:off x="1165664" y="1686936"/>
            <a:ext cx="3585699"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Segoe UI" pitchFamily="34" charset="0"/>
                <a:cs typeface="Segoe UI" pitchFamily="34" charset="0"/>
              </a:rPr>
              <a:t>Country Mgrs., Account Mgrs., BG leads, </a:t>
            </a:r>
            <a:br>
              <a:rPr lang="en-US" sz="1078" kern="0" dirty="0">
                <a:solidFill>
                  <a:srgbClr val="505050"/>
                </a:solidFill>
                <a:ea typeface="Segoe UI" pitchFamily="34" charset="0"/>
                <a:cs typeface="Segoe UI" pitchFamily="34" charset="0"/>
              </a:rPr>
            </a:br>
            <a:r>
              <a:rPr lang="en-US" sz="1078" kern="0" dirty="0">
                <a:solidFill>
                  <a:srgbClr val="505050"/>
                </a:solidFill>
                <a:ea typeface="Segoe UI" pitchFamily="34" charset="0"/>
                <a:cs typeface="Segoe UI" pitchFamily="34" charset="0"/>
              </a:rPr>
              <a:t>BG execs, and speakers</a:t>
            </a:r>
            <a:r>
              <a:rPr lang="en-US" sz="1078" b="1" kern="0" dirty="0">
                <a:solidFill>
                  <a:srgbClr val="505050"/>
                </a:solidFill>
                <a:ea typeface="ＭＳ Ｐゴシック" charset="0"/>
              </a:rPr>
              <a:t> </a:t>
            </a:r>
          </a:p>
        </p:txBody>
      </p:sp>
      <p:sp>
        <p:nvSpPr>
          <p:cNvPr id="27" name="TextBox 26"/>
          <p:cNvSpPr txBox="1"/>
          <p:nvPr/>
        </p:nvSpPr>
        <p:spPr>
          <a:xfrm>
            <a:off x="281987" y="1208871"/>
            <a:ext cx="896425" cy="241381"/>
          </a:xfrm>
          <a:prstGeom prst="rect">
            <a:avLst/>
          </a:prstGeom>
          <a:noFill/>
        </p:spPr>
        <p:txBody>
          <a:bodyPr lIns="0" tIns="0" rIns="0" bIns="0" anchor="ctr">
            <a:spAutoFit/>
          </a:bodyPr>
          <a:lstStyle/>
          <a:p>
            <a:pPr defTabSz="914192">
              <a:defRPr/>
            </a:pPr>
            <a:r>
              <a:rPr lang="en-US" sz="1568" dirty="0">
                <a:gradFill>
                  <a:gsLst>
                    <a:gs pos="0">
                      <a:srgbClr val="FFFFFF"/>
                    </a:gs>
                    <a:gs pos="100000">
                      <a:srgbClr val="FFFFFF"/>
                    </a:gs>
                  </a:gsLst>
                  <a:lin ang="5400000" scaled="1"/>
                </a:gradFill>
                <a:ea typeface="ＭＳ Ｐゴシック" charset="0"/>
                <a:cs typeface="Segoe UI" panose="020B0502040204020203" pitchFamily="34" charset="0"/>
              </a:rPr>
              <a:t>Audience</a:t>
            </a:r>
          </a:p>
        </p:txBody>
      </p:sp>
      <p:sp>
        <p:nvSpPr>
          <p:cNvPr id="5" name="Rectangle 4"/>
          <p:cNvSpPr/>
          <p:nvPr/>
        </p:nvSpPr>
        <p:spPr>
          <a:xfrm>
            <a:off x="1165664" y="1187939"/>
            <a:ext cx="3585699" cy="44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tIns="0" rIns="0" bIns="0" anchor="ctr"/>
          <a:lstStyle/>
          <a:p>
            <a:pPr defTabSz="914083" fontAlgn="base">
              <a:defRPr/>
            </a:pPr>
            <a:r>
              <a:rPr lang="en-US" sz="1961" kern="0" spc="-5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CIOs</a:t>
            </a:r>
          </a:p>
        </p:txBody>
      </p:sp>
      <p:sp>
        <p:nvSpPr>
          <p:cNvPr id="28" name="Rectangle 27"/>
          <p:cNvSpPr/>
          <p:nvPr/>
        </p:nvSpPr>
        <p:spPr>
          <a:xfrm>
            <a:off x="10241654" y="1187939"/>
            <a:ext cx="1681874" cy="44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tIns="0" rIns="0" bIns="0" anchor="ctr"/>
          <a:lstStyle/>
          <a:p>
            <a:pPr defTabSz="914083" fontAlgn="base">
              <a:defRPr/>
            </a:pPr>
            <a:r>
              <a:rPr lang="en-US" sz="1961" kern="0" spc="-50"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LoB</a:t>
            </a:r>
            <a:r>
              <a:rPr lang="en-US" sz="1961" kern="0" spc="-5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 DMs</a:t>
            </a:r>
          </a:p>
        </p:txBody>
      </p:sp>
      <p:sp>
        <p:nvSpPr>
          <p:cNvPr id="29" name="Rectangle 28"/>
          <p:cNvSpPr/>
          <p:nvPr/>
        </p:nvSpPr>
        <p:spPr>
          <a:xfrm>
            <a:off x="4907844" y="1187939"/>
            <a:ext cx="3405905" cy="44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tIns="0" rIns="0" bIns="0" anchor="ctr"/>
          <a:lstStyle/>
          <a:p>
            <a:pPr defTabSz="914083" fontAlgn="base">
              <a:defRPr/>
            </a:pPr>
            <a:r>
              <a:rPr lang="en-US" sz="1961" kern="0" spc="-5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ITDMs</a:t>
            </a:r>
          </a:p>
        </p:txBody>
      </p:sp>
      <p:sp>
        <p:nvSpPr>
          <p:cNvPr id="35" name="TextBox 34"/>
          <p:cNvSpPr txBox="1"/>
          <p:nvPr/>
        </p:nvSpPr>
        <p:spPr>
          <a:xfrm>
            <a:off x="281987" y="1790352"/>
            <a:ext cx="896425" cy="241381"/>
          </a:xfrm>
          <a:prstGeom prst="rect">
            <a:avLst/>
          </a:prstGeom>
          <a:noFill/>
        </p:spPr>
        <p:txBody>
          <a:bodyPr lIns="0" tIns="0" rIns="0" bIns="0" anchor="ctr">
            <a:spAutoFit/>
          </a:bodyPr>
          <a:lstStyle/>
          <a:p>
            <a:pPr defTabSz="914192">
              <a:defRPr/>
            </a:pPr>
            <a:r>
              <a:rPr lang="en-US" sz="1568" dirty="0">
                <a:gradFill>
                  <a:gsLst>
                    <a:gs pos="0">
                      <a:srgbClr val="FFFFFF"/>
                    </a:gs>
                    <a:gs pos="100000">
                      <a:srgbClr val="FFFFFF"/>
                    </a:gs>
                  </a:gsLst>
                  <a:lin ang="5400000" scaled="1"/>
                </a:gradFill>
                <a:ea typeface="ＭＳ Ｐゴシック" charset="0"/>
                <a:cs typeface="Segoe UI" panose="020B0502040204020203" pitchFamily="34" charset="0"/>
              </a:rPr>
              <a:t>Speakers</a:t>
            </a:r>
          </a:p>
        </p:txBody>
      </p:sp>
      <p:sp>
        <p:nvSpPr>
          <p:cNvPr id="37" name="Rectangle 36"/>
          <p:cNvSpPr/>
          <p:nvPr/>
        </p:nvSpPr>
        <p:spPr bwMode="auto">
          <a:xfrm>
            <a:off x="8439715" y="2445423"/>
            <a:ext cx="1658386" cy="1658386"/>
          </a:xfrm>
          <a:prstGeom prst="rect">
            <a:avLst/>
          </a:prstGeom>
          <a:solidFill>
            <a:srgbClr val="68217A"/>
          </a:solidFill>
          <a:ln w="9525" cap="flat" cmpd="sng" algn="ctr">
            <a:noFill/>
            <a:prstDash val="solid"/>
            <a:headEnd type="none" w="med" len="med"/>
            <a:tailEnd type="none" w="med" len="med"/>
          </a:ln>
          <a:effectLst/>
        </p:spPr>
        <p:txBody>
          <a:bodyPr lIns="89642" tIns="44821" rIns="0" bIns="0" anchor="t"/>
          <a:lstStyle/>
          <a:p>
            <a:pPr defTabSz="914083" fontAlgn="base">
              <a:lnSpc>
                <a:spcPct val="90000"/>
              </a:lnSpc>
              <a:defRPr/>
            </a:pPr>
            <a:r>
              <a:rPr lang="en-US" sz="1372" dirty="0">
                <a:solidFill>
                  <a:srgbClr val="FFFFFF"/>
                </a:solidFill>
                <a:latin typeface="Segoe UI Light" panose="020B0502040204020203" pitchFamily="34" charset="0"/>
                <a:ea typeface="Segoe UI" panose="020B0502040204020203" pitchFamily="34" charset="0"/>
                <a:cs typeface="Segoe UI" panose="020B0502040204020203" pitchFamily="34" charset="0"/>
              </a:rPr>
              <a:t>Enable application innovation</a:t>
            </a:r>
          </a:p>
          <a:p>
            <a:pPr defTabSz="914083" fontAlgn="base">
              <a:lnSpc>
                <a:spcPct val="90000"/>
              </a:lnSpc>
              <a:defRPr/>
            </a:pPr>
            <a:endParaRPr lang="en-US" sz="107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Content: Cross-C+E conversation that lands products within story (L100)</a:t>
            </a:r>
          </a:p>
          <a:p>
            <a:pPr defTabSz="914083" fontAlgn="base">
              <a:lnSpc>
                <a:spcPct val="90000"/>
              </a:lnSpc>
              <a:defRPr/>
            </a:pPr>
            <a:endParaRPr lang="en-US" sz="1029" kern="0" dirty="0">
              <a:solidFill>
                <a:srgbClr val="FFFFFF"/>
              </a:solidFill>
              <a:ea typeface="Segoe UI" pitchFamily="34" charset="0"/>
              <a:cs typeface="Segoe UI" pitchFamily="34" charset="0"/>
            </a:endParaRPr>
          </a:p>
          <a:p>
            <a:pPr defTabSz="914083" fontAlgn="base">
              <a:lnSpc>
                <a:spcPct val="90000"/>
              </a:lnSpc>
              <a:defRPr/>
            </a:pPr>
            <a:r>
              <a:rPr lang="en-US" sz="1029" kern="0" dirty="0">
                <a:solidFill>
                  <a:srgbClr val="FFFFFF"/>
                </a:solidFill>
                <a:ea typeface="Segoe UI" pitchFamily="34" charset="0"/>
                <a:cs typeface="Segoe UI" pitchFamily="34" charset="0"/>
              </a:rPr>
              <a:t>Use: EBCs, 1:1, 1:many</a:t>
            </a:r>
          </a:p>
        </p:txBody>
      </p:sp>
      <p:sp>
        <p:nvSpPr>
          <p:cNvPr id="33" name="Rectangle 32"/>
          <p:cNvSpPr/>
          <p:nvPr/>
        </p:nvSpPr>
        <p:spPr>
          <a:xfrm>
            <a:off x="8439714" y="1187939"/>
            <a:ext cx="1667476" cy="448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42" tIns="0" rIns="0" bIns="0" anchor="ctr"/>
          <a:lstStyle/>
          <a:p>
            <a:pPr defTabSz="914083" fontAlgn="base">
              <a:defRPr/>
            </a:pPr>
            <a:r>
              <a:rPr lang="en-US" sz="1961" kern="100" spc="-98"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Ent. Architects</a:t>
            </a:r>
          </a:p>
        </p:txBody>
      </p:sp>
      <p:cxnSp>
        <p:nvCxnSpPr>
          <p:cNvPr id="8" name="Straight Connector 7"/>
          <p:cNvCxnSpPr/>
          <p:nvPr/>
        </p:nvCxnSpPr>
        <p:spPr>
          <a:xfrm>
            <a:off x="4826065" y="1196420"/>
            <a:ext cx="0" cy="535917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8372483" y="1208871"/>
            <a:ext cx="1800320" cy="4833146"/>
            <a:chOff x="8540368" y="1232614"/>
            <a:chExt cx="1836420" cy="4909106"/>
          </a:xfrm>
        </p:grpSpPr>
        <p:cxnSp>
          <p:nvCxnSpPr>
            <p:cNvPr id="31" name="Straight Connector 30"/>
            <p:cNvCxnSpPr/>
            <p:nvPr/>
          </p:nvCxnSpPr>
          <p:spPr>
            <a:xfrm>
              <a:off x="10376788" y="1232614"/>
              <a:ext cx="0" cy="490148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540368" y="1232614"/>
              <a:ext cx="0" cy="490910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sp>
        <p:nvSpPr>
          <p:cNvPr id="41" name="Rectangle 40"/>
          <p:cNvSpPr/>
          <p:nvPr/>
        </p:nvSpPr>
        <p:spPr bwMode="auto">
          <a:xfrm>
            <a:off x="1165664" y="6118275"/>
            <a:ext cx="1748027"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Segoe UI" pitchFamily="34" charset="0"/>
                <a:cs typeface="Segoe UI" pitchFamily="34" charset="0"/>
              </a:rPr>
              <a:t>Two to three-slide deck, script</a:t>
            </a:r>
          </a:p>
        </p:txBody>
      </p:sp>
      <p:sp>
        <p:nvSpPr>
          <p:cNvPr id="44" name="Rectangle 43"/>
          <p:cNvSpPr/>
          <p:nvPr/>
        </p:nvSpPr>
        <p:spPr bwMode="auto">
          <a:xfrm>
            <a:off x="4907843" y="6118275"/>
            <a:ext cx="7014918"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ＭＳ Ｐゴシック" charset="0"/>
              </a:rPr>
              <a:t>Each of the five conversations will have its own core BOM </a:t>
            </a:r>
          </a:p>
        </p:txBody>
      </p:sp>
      <p:sp>
        <p:nvSpPr>
          <p:cNvPr id="45" name="Rectangle 44"/>
          <p:cNvSpPr/>
          <p:nvPr/>
        </p:nvSpPr>
        <p:spPr bwMode="auto">
          <a:xfrm>
            <a:off x="2971260" y="6118275"/>
            <a:ext cx="1780102"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Segoe UI" pitchFamily="34" charset="0"/>
                <a:cs typeface="Segoe UI" pitchFamily="34" charset="0"/>
              </a:rPr>
              <a:t>Short deck, script, </a:t>
            </a:r>
            <a:br>
              <a:rPr lang="en-US" sz="1078" kern="0" dirty="0">
                <a:solidFill>
                  <a:srgbClr val="505050"/>
                </a:solidFill>
                <a:ea typeface="Segoe UI" pitchFamily="34" charset="0"/>
                <a:cs typeface="Segoe UI" pitchFamily="34" charset="0"/>
              </a:rPr>
            </a:br>
            <a:r>
              <a:rPr lang="en-US" sz="1078" kern="0" dirty="0">
                <a:solidFill>
                  <a:srgbClr val="505050"/>
                </a:solidFill>
                <a:ea typeface="Segoe UI" pitchFamily="34" charset="0"/>
                <a:cs typeface="Segoe UI" pitchFamily="34" charset="0"/>
              </a:rPr>
              <a:t>one-slide version</a:t>
            </a:r>
          </a:p>
        </p:txBody>
      </p:sp>
      <p:sp>
        <p:nvSpPr>
          <p:cNvPr id="25" name="Rectangle 24"/>
          <p:cNvSpPr/>
          <p:nvPr/>
        </p:nvSpPr>
        <p:spPr bwMode="auto">
          <a:xfrm>
            <a:off x="4907843" y="1686936"/>
            <a:ext cx="7014918" cy="448212"/>
          </a:xfrm>
          <a:prstGeom prst="rect">
            <a:avLst/>
          </a:prstGeom>
          <a:solidFill>
            <a:schemeClr val="tx1"/>
          </a:solidFill>
          <a:ln w="9525" cap="flat" cmpd="sng" algn="ctr">
            <a:noFill/>
            <a:prstDash val="solid"/>
            <a:headEnd type="none" w="med" len="med"/>
            <a:tailEnd type="none" w="med" len="med"/>
          </a:ln>
          <a:effectLst/>
        </p:spPr>
        <p:txBody>
          <a:bodyPr lIns="89642" tIns="44821" rIns="0" bIns="0" anchor="t"/>
          <a:lstStyle/>
          <a:p>
            <a:pPr defTabSz="913774">
              <a:defRPr/>
            </a:pPr>
            <a:r>
              <a:rPr lang="en-US" sz="1078" kern="0" dirty="0">
                <a:solidFill>
                  <a:srgbClr val="505050"/>
                </a:solidFill>
                <a:ea typeface="ＭＳ Ｐゴシック" charset="0"/>
              </a:rPr>
              <a:t>Field Marketer, AM/ATS/Executive EBC presenter</a:t>
            </a:r>
          </a:p>
        </p:txBody>
      </p:sp>
    </p:spTree>
    <p:extLst>
      <p:ext uri="{BB962C8B-B14F-4D97-AF65-F5344CB8AC3E}">
        <p14:creationId xmlns:p14="http://schemas.microsoft.com/office/powerpoint/2010/main" val="41563692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Rectangle 175"/>
          <p:cNvSpPr/>
          <p:nvPr/>
        </p:nvSpPr>
        <p:spPr bwMode="auto">
          <a:xfrm>
            <a:off x="1206445" y="297134"/>
            <a:ext cx="7373622" cy="986963"/>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nvGrpSpPr>
          <p:cNvPr id="485" name="Group 484"/>
          <p:cNvGrpSpPr>
            <a:grpSpLocks noChangeAspect="1"/>
          </p:cNvGrpSpPr>
          <p:nvPr/>
        </p:nvGrpSpPr>
        <p:grpSpPr>
          <a:xfrm>
            <a:off x="1185009" y="298063"/>
            <a:ext cx="771705" cy="986067"/>
            <a:chOff x="1192144" y="1221871"/>
            <a:chExt cx="822960" cy="1051560"/>
          </a:xfrm>
        </p:grpSpPr>
        <p:grpSp>
          <p:nvGrpSpPr>
            <p:cNvPr id="486" name="Group 485"/>
            <p:cNvGrpSpPr/>
            <p:nvPr/>
          </p:nvGrpSpPr>
          <p:grpSpPr>
            <a:xfrm>
              <a:off x="1192144" y="1221871"/>
              <a:ext cx="822960" cy="1051560"/>
              <a:chOff x="2257477" y="1518442"/>
              <a:chExt cx="822960" cy="1051560"/>
            </a:xfrm>
          </p:grpSpPr>
          <p:sp>
            <p:nvSpPr>
              <p:cNvPr id="488" name="Rectangle 487"/>
              <p:cNvSpPr/>
              <p:nvPr/>
            </p:nvSpPr>
            <p:spPr bwMode="auto">
              <a:xfrm>
                <a:off x="2257477" y="1518442"/>
                <a:ext cx="822960" cy="105156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410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489"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75748" t="27538" r="7225" b="45284"/>
              <a:stretch/>
            </p:blipFill>
            <p:spPr bwMode="auto">
              <a:xfrm>
                <a:off x="2280337"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87" name="Isosceles Triangle 486"/>
            <p:cNvSpPr/>
            <p:nvPr/>
          </p:nvSpPr>
          <p:spPr bwMode="auto">
            <a:xfrm rot="16200000">
              <a:off x="188821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sp>
        <p:nvSpPr>
          <p:cNvPr id="814" name="Rectangle 813"/>
          <p:cNvSpPr/>
          <p:nvPr/>
        </p:nvSpPr>
        <p:spPr bwMode="auto">
          <a:xfrm>
            <a:off x="1165977" y="1311505"/>
            <a:ext cx="11026024" cy="49210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817" name="TextBox 816"/>
          <p:cNvSpPr txBox="1"/>
          <p:nvPr/>
        </p:nvSpPr>
        <p:spPr>
          <a:xfrm>
            <a:off x="6541205" y="1312554"/>
            <a:ext cx="5650796" cy="506901"/>
          </a:xfrm>
          <a:prstGeom prst="rect">
            <a:avLst/>
          </a:prstGeom>
          <a:noFill/>
        </p:spPr>
        <p:txBody>
          <a:bodyPr wrap="square" lIns="179285" tIns="143428" rIns="179285" bIns="143428" rtlCol="0">
            <a:spAutoFit/>
          </a:bodyPr>
          <a:lstStyle/>
          <a:p>
            <a:pPr algn="ctr" defTabSz="914206">
              <a:lnSpc>
                <a:spcPct val="90000"/>
              </a:lnSpc>
              <a:spcAft>
                <a:spcPts val="588"/>
              </a:spcAft>
            </a:pPr>
            <a:r>
              <a:rPr lang="en-US" sz="1568" dirty="0">
                <a:gradFill>
                  <a:gsLst>
                    <a:gs pos="2917">
                      <a:srgbClr val="505050"/>
                    </a:gs>
                    <a:gs pos="30000">
                      <a:srgbClr val="505050"/>
                    </a:gs>
                  </a:gsLst>
                  <a:lin ang="5400000" scaled="0"/>
                </a:gradFill>
              </a:rPr>
              <a:t>Hyper-V Network Virtualization | SDN  |  VMM</a:t>
            </a:r>
          </a:p>
        </p:txBody>
      </p:sp>
      <p:sp>
        <p:nvSpPr>
          <p:cNvPr id="175" name="Rectangle 174"/>
          <p:cNvSpPr/>
          <p:nvPr/>
        </p:nvSpPr>
        <p:spPr bwMode="auto">
          <a:xfrm>
            <a:off x="8621864" y="297378"/>
            <a:ext cx="3570135" cy="98671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372" dirty="0">
                <a:gradFill>
                  <a:gsLst>
                    <a:gs pos="36283">
                      <a:srgbClr val="FFFFFF"/>
                    </a:gs>
                    <a:gs pos="57000">
                      <a:srgbClr val="FFFFFF"/>
                    </a:gs>
                  </a:gsLst>
                  <a:lin ang="5400000" scaled="0"/>
                </a:gradFill>
              </a:rPr>
              <a:t>Remove networking bottlenecks with Software Defined Networking </a:t>
            </a:r>
          </a:p>
        </p:txBody>
      </p:sp>
      <p:sp>
        <p:nvSpPr>
          <p:cNvPr id="5" name="Quote 1"/>
          <p:cNvSpPr/>
          <p:nvPr/>
        </p:nvSpPr>
        <p:spPr>
          <a:xfrm>
            <a:off x="1952994" y="309165"/>
            <a:ext cx="6639104" cy="706039"/>
          </a:xfrm>
          <a:prstGeom prst="rect">
            <a:avLst/>
          </a:prstGeom>
        </p:spPr>
        <p:txBody>
          <a:bodyPr wrap="square" tIns="89642">
            <a:spAutoFit/>
          </a:bodyPr>
          <a:lstStyle/>
          <a:p>
            <a:pPr defTabSz="914206" fontAlgn="base">
              <a:lnSpc>
                <a:spcPct val="90000"/>
              </a:lnSpc>
              <a:spcBef>
                <a:spcPct val="0"/>
              </a:spcBef>
            </a:pPr>
            <a:r>
              <a:rPr lang="en-NZ" sz="1372" dirty="0">
                <a:gradFill>
                  <a:gsLst>
                    <a:gs pos="21239">
                      <a:srgbClr val="282828">
                        <a:lumMod val="90000"/>
                        <a:lumOff val="10000"/>
                      </a:srgbClr>
                    </a:gs>
                    <a:gs pos="52000">
                      <a:srgbClr val="282828">
                        <a:lumMod val="90000"/>
                        <a:lumOff val="10000"/>
                      </a:srgbClr>
                    </a:gs>
                  </a:gsLst>
                  <a:lin ang="5400000" scaled="1"/>
                </a:gradFill>
              </a:rPr>
              <a:t>“Networking is always our bottleneck. I can deploy virtualized services and move them easily, but every time I move them, the underlying networking changes are manual and resource intensive.“</a:t>
            </a:r>
          </a:p>
        </p:txBody>
      </p:sp>
      <p:sp>
        <p:nvSpPr>
          <p:cNvPr id="6" name="Quote 2"/>
          <p:cNvSpPr/>
          <p:nvPr/>
        </p:nvSpPr>
        <p:spPr>
          <a:xfrm>
            <a:off x="1952994" y="309165"/>
            <a:ext cx="6614740" cy="515952"/>
          </a:xfrm>
          <a:prstGeom prst="rect">
            <a:avLst/>
          </a:prstGeom>
        </p:spPr>
        <p:txBody>
          <a:bodyPr wrap="square" tIns="89642">
            <a:spAutoFit/>
          </a:bodyPr>
          <a:lstStyle/>
          <a:p>
            <a:pPr defTabSz="914367">
              <a:lnSpc>
                <a:spcPct val="90000"/>
              </a:lnSpc>
            </a:pPr>
            <a:r>
              <a:rPr lang="en-NZ" sz="1372" dirty="0">
                <a:gradFill>
                  <a:gsLst>
                    <a:gs pos="21239">
                      <a:srgbClr val="282828">
                        <a:lumMod val="90000"/>
                        <a:lumOff val="10000"/>
                      </a:srgbClr>
                    </a:gs>
                    <a:gs pos="52000">
                      <a:srgbClr val="282828">
                        <a:lumMod val="90000"/>
                        <a:lumOff val="10000"/>
                      </a:srgbClr>
                    </a:gs>
                  </a:gsLst>
                  <a:lin ang="5400000" scaled="1"/>
                </a:gradFill>
              </a:rPr>
              <a:t>“With network virtualization, I can virtualize the network the same way I virtualize VMs today and can automate network changes.“</a:t>
            </a:r>
            <a:endParaRPr lang="en-US" sz="1765" dirty="0">
              <a:gradFill>
                <a:gsLst>
                  <a:gs pos="21239">
                    <a:srgbClr val="282828">
                      <a:lumMod val="90000"/>
                      <a:lumOff val="10000"/>
                    </a:srgbClr>
                  </a:gs>
                  <a:gs pos="52000">
                    <a:srgbClr val="282828">
                      <a:lumMod val="90000"/>
                      <a:lumOff val="10000"/>
                    </a:srgbClr>
                  </a:gs>
                </a:gsLst>
                <a:lin ang="5400000" scaled="1"/>
              </a:gradFill>
            </a:endParaRPr>
          </a:p>
        </p:txBody>
      </p:sp>
      <p:sp>
        <p:nvSpPr>
          <p:cNvPr id="2" name="Quote 3"/>
          <p:cNvSpPr/>
          <p:nvPr/>
        </p:nvSpPr>
        <p:spPr>
          <a:xfrm>
            <a:off x="1952994" y="309165"/>
            <a:ext cx="6094444" cy="515952"/>
          </a:xfrm>
          <a:prstGeom prst="rect">
            <a:avLst/>
          </a:prstGeom>
        </p:spPr>
        <p:txBody>
          <a:bodyPr tIns="89642">
            <a:spAutoFit/>
          </a:bodyPr>
          <a:lstStyle/>
          <a:p>
            <a:pPr defTabSz="914206" fontAlgn="base">
              <a:lnSpc>
                <a:spcPct val="90000"/>
              </a:lnSpc>
              <a:spcBef>
                <a:spcPct val="0"/>
              </a:spcBef>
              <a:spcAft>
                <a:spcPts val="588"/>
              </a:spcAft>
            </a:pPr>
            <a:r>
              <a:rPr lang="en-NZ" sz="1372" dirty="0">
                <a:gradFill>
                  <a:gsLst>
                    <a:gs pos="21239">
                      <a:srgbClr val="282828">
                        <a:lumMod val="90000"/>
                        <a:lumOff val="10000"/>
                      </a:srgbClr>
                    </a:gs>
                    <a:gs pos="52000">
                      <a:srgbClr val="282828">
                        <a:lumMod val="90000"/>
                        <a:lumOff val="10000"/>
                      </a:srgbClr>
                    </a:gs>
                  </a:gsLst>
                  <a:lin ang="5400000" scaled="1"/>
                </a:gradFill>
              </a:rPr>
              <a:t>“Now that I have a virtualized network, I can extend beyond my on-premises data </a:t>
            </a:r>
            <a:r>
              <a:rPr lang="en-NZ" sz="1372" dirty="0" err="1">
                <a:gradFill>
                  <a:gsLst>
                    <a:gs pos="21239">
                      <a:srgbClr val="282828">
                        <a:lumMod val="90000"/>
                        <a:lumOff val="10000"/>
                      </a:srgbClr>
                    </a:gs>
                    <a:gs pos="52000">
                      <a:srgbClr val="282828">
                        <a:lumMod val="90000"/>
                        <a:lumOff val="10000"/>
                      </a:srgbClr>
                    </a:gs>
                  </a:gsLst>
                  <a:lin ang="5400000" scaled="1"/>
                </a:gradFill>
              </a:rPr>
              <a:t>center</a:t>
            </a:r>
            <a:r>
              <a:rPr lang="en-NZ" sz="1372" dirty="0">
                <a:gradFill>
                  <a:gsLst>
                    <a:gs pos="21239">
                      <a:srgbClr val="282828">
                        <a:lumMod val="90000"/>
                        <a:lumOff val="10000"/>
                      </a:srgbClr>
                    </a:gs>
                    <a:gs pos="52000">
                      <a:srgbClr val="282828">
                        <a:lumMod val="90000"/>
                        <a:lumOff val="10000"/>
                      </a:srgbClr>
                    </a:gs>
                  </a:gsLst>
                  <a:lin ang="5400000" scaled="1"/>
                </a:gradFill>
              </a:rPr>
              <a:t> to my service providers data </a:t>
            </a:r>
            <a:r>
              <a:rPr lang="en-NZ" sz="1372" dirty="0" err="1">
                <a:gradFill>
                  <a:gsLst>
                    <a:gs pos="21239">
                      <a:srgbClr val="282828">
                        <a:lumMod val="90000"/>
                        <a:lumOff val="10000"/>
                      </a:srgbClr>
                    </a:gs>
                    <a:gs pos="52000">
                      <a:srgbClr val="282828">
                        <a:lumMod val="90000"/>
                        <a:lumOff val="10000"/>
                      </a:srgbClr>
                    </a:gs>
                  </a:gsLst>
                  <a:lin ang="5400000" scaled="1"/>
                </a:gradFill>
              </a:rPr>
              <a:t>center</a:t>
            </a:r>
            <a:r>
              <a:rPr lang="en-NZ" sz="1372" dirty="0">
                <a:gradFill>
                  <a:gsLst>
                    <a:gs pos="21239">
                      <a:srgbClr val="282828">
                        <a:lumMod val="90000"/>
                        <a:lumOff val="10000"/>
                      </a:srgbClr>
                    </a:gs>
                    <a:gs pos="52000">
                      <a:srgbClr val="282828">
                        <a:lumMod val="90000"/>
                        <a:lumOff val="10000"/>
                      </a:srgbClr>
                    </a:gs>
                  </a:gsLst>
                  <a:lin ang="5400000" scaled="1"/>
                </a:gradFill>
              </a:rPr>
              <a:t> or Microsoft Azure.”</a:t>
            </a:r>
          </a:p>
        </p:txBody>
      </p:sp>
      <p:sp>
        <p:nvSpPr>
          <p:cNvPr id="30" name="Rectangle 29"/>
          <p:cNvSpPr/>
          <p:nvPr/>
        </p:nvSpPr>
        <p:spPr bwMode="auto">
          <a:xfrm flipH="1">
            <a:off x="4344249" y="2929715"/>
            <a:ext cx="4179791" cy="30475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1799" tIns="0" rIns="152335" bIns="75900" numCol="1" spcCol="0" rtlCol="0" fromWordArt="0" anchor="t" anchorCtr="0" forceAA="0" compatLnSpc="1">
            <a:prstTxWarp prst="textNoShape">
              <a:avLst/>
            </a:prstTxWarp>
            <a:noAutofit/>
          </a:bodyPr>
          <a:lstStyle/>
          <a:p>
            <a:pPr marL="166656" lvl="1" indent="-166656" defTabSz="462306">
              <a:lnSpc>
                <a:spcPct val="90000"/>
              </a:lnSpc>
              <a:spcBef>
                <a:spcPts val="600"/>
              </a:spcBef>
              <a:spcAft>
                <a:spcPts val="600"/>
              </a:spcAft>
              <a:buClr>
                <a:srgbClr val="EFEFEF"/>
              </a:buClr>
              <a:buFont typeface="Arial" pitchFamily="34" charset="0"/>
              <a:buChar char="•"/>
            </a:pPr>
            <a:endParaRPr lang="en-US" sz="1700" dirty="0">
              <a:solidFill>
                <a:srgbClr val="EFEFEF"/>
              </a:solidFill>
            </a:endParaRPr>
          </a:p>
        </p:txBody>
      </p:sp>
      <p:grpSp>
        <p:nvGrpSpPr>
          <p:cNvPr id="31" name="Group 30"/>
          <p:cNvGrpSpPr/>
          <p:nvPr/>
        </p:nvGrpSpPr>
        <p:grpSpPr>
          <a:xfrm>
            <a:off x="3981316" y="4477110"/>
            <a:ext cx="1834756" cy="290970"/>
            <a:chOff x="1647279" y="3558123"/>
            <a:chExt cx="1835017" cy="291012"/>
          </a:xfrm>
        </p:grpSpPr>
        <p:sp>
          <p:nvSpPr>
            <p:cNvPr id="32" name="Freeform 99"/>
            <p:cNvSpPr>
              <a:spLocks/>
            </p:cNvSpPr>
            <p:nvPr/>
          </p:nvSpPr>
          <p:spPr bwMode="black">
            <a:xfrm rot="5400000">
              <a:off x="1608403" y="3596999"/>
              <a:ext cx="291012" cy="21326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3" name="Freeform 99"/>
            <p:cNvSpPr>
              <a:spLocks/>
            </p:cNvSpPr>
            <p:nvPr/>
          </p:nvSpPr>
          <p:spPr bwMode="black">
            <a:xfrm rot="5400000">
              <a:off x="3230160" y="3596999"/>
              <a:ext cx="291012" cy="21326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B900"/>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sp>
        <p:nvSpPr>
          <p:cNvPr id="34" name="Rectangle 33"/>
          <p:cNvSpPr/>
          <p:nvPr/>
        </p:nvSpPr>
        <p:spPr>
          <a:xfrm>
            <a:off x="3804642" y="4513294"/>
            <a:ext cx="2188084" cy="312029"/>
          </a:xfrm>
          <a:prstGeom prst="rect">
            <a:avLst/>
          </a:prstGeom>
        </p:spPr>
        <p:txBody>
          <a:bodyPr wrap="square">
            <a:spAutoFit/>
          </a:bodyPr>
          <a:lstStyle/>
          <a:p>
            <a:pPr algn="ctr" defTabSz="914225"/>
            <a:r>
              <a:rPr lang="en-US" sz="1400" spc="-50" dirty="0">
                <a:solidFill>
                  <a:srgbClr val="505050">
                    <a:lumMod val="50000"/>
                  </a:srgbClr>
                </a:solidFill>
              </a:rPr>
              <a:t>Physical server</a:t>
            </a:r>
          </a:p>
        </p:txBody>
      </p:sp>
      <p:grpSp>
        <p:nvGrpSpPr>
          <p:cNvPr id="35" name="Group 34"/>
          <p:cNvGrpSpPr/>
          <p:nvPr/>
        </p:nvGrpSpPr>
        <p:grpSpPr>
          <a:xfrm>
            <a:off x="7446059" y="4477110"/>
            <a:ext cx="1922674" cy="290970"/>
            <a:chOff x="1647279" y="3558123"/>
            <a:chExt cx="1922947" cy="291012"/>
          </a:xfrm>
        </p:grpSpPr>
        <p:sp>
          <p:nvSpPr>
            <p:cNvPr id="36" name="Freeform 99"/>
            <p:cNvSpPr>
              <a:spLocks/>
            </p:cNvSpPr>
            <p:nvPr/>
          </p:nvSpPr>
          <p:spPr bwMode="black">
            <a:xfrm rot="5400000">
              <a:off x="1608403" y="3596999"/>
              <a:ext cx="291012" cy="21326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7" name="Freeform 99"/>
            <p:cNvSpPr>
              <a:spLocks/>
            </p:cNvSpPr>
            <p:nvPr/>
          </p:nvSpPr>
          <p:spPr bwMode="black">
            <a:xfrm rot="5400000">
              <a:off x="3318090" y="3596999"/>
              <a:ext cx="291012" cy="21326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B900"/>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sp>
        <p:nvSpPr>
          <p:cNvPr id="38" name="Rectangle 37"/>
          <p:cNvSpPr/>
          <p:nvPr/>
        </p:nvSpPr>
        <p:spPr>
          <a:xfrm>
            <a:off x="7298957" y="4513294"/>
            <a:ext cx="2188084" cy="312029"/>
          </a:xfrm>
          <a:prstGeom prst="rect">
            <a:avLst/>
          </a:prstGeom>
        </p:spPr>
        <p:txBody>
          <a:bodyPr wrap="square">
            <a:spAutoFit/>
          </a:bodyPr>
          <a:lstStyle/>
          <a:p>
            <a:pPr algn="ctr" defTabSz="914225"/>
            <a:r>
              <a:rPr lang="en-US" sz="1400" spc="-50" dirty="0">
                <a:solidFill>
                  <a:srgbClr val="505050">
                    <a:lumMod val="50000"/>
                  </a:srgbClr>
                </a:solidFill>
              </a:rPr>
              <a:t>Physical network</a:t>
            </a:r>
          </a:p>
        </p:txBody>
      </p:sp>
      <p:grpSp>
        <p:nvGrpSpPr>
          <p:cNvPr id="39" name="Group 38"/>
          <p:cNvGrpSpPr/>
          <p:nvPr/>
        </p:nvGrpSpPr>
        <p:grpSpPr>
          <a:xfrm>
            <a:off x="7157326" y="4982917"/>
            <a:ext cx="2487512" cy="253978"/>
            <a:chOff x="5796773" y="3751386"/>
            <a:chExt cx="2487865" cy="254014"/>
          </a:xfrm>
        </p:grpSpPr>
        <p:sp>
          <p:nvSpPr>
            <p:cNvPr id="40" name="Left Bracket 39"/>
            <p:cNvSpPr/>
            <p:nvPr/>
          </p:nvSpPr>
          <p:spPr>
            <a:xfrm rot="5400000">
              <a:off x="6931559" y="2652321"/>
              <a:ext cx="244245" cy="2461913"/>
            </a:xfrm>
            <a:prstGeom prst="leftBracket">
              <a:avLst>
                <a:gd name="adj" fmla="val 68236"/>
              </a:avLst>
            </a:prstGeom>
            <a:ln w="3175">
              <a:solidFill>
                <a:schemeClr val="tx1"/>
              </a:solidFill>
              <a:prstDash val="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endParaRPr lang="en-US" dirty="0">
                <a:solidFill>
                  <a:srgbClr val="505050"/>
                </a:solidFill>
              </a:endParaRPr>
            </a:p>
          </p:txBody>
        </p:sp>
        <p:cxnSp>
          <p:nvCxnSpPr>
            <p:cNvPr id="41" name="Straight Connector 40"/>
            <p:cNvCxnSpPr/>
            <p:nvPr/>
          </p:nvCxnSpPr>
          <p:spPr>
            <a:xfrm flipH="1" flipV="1">
              <a:off x="5969240" y="3751386"/>
              <a:ext cx="651438" cy="253998"/>
            </a:xfrm>
            <a:prstGeom prst="line">
              <a:avLst/>
            </a:prstGeom>
            <a:ln w="3175">
              <a:solidFill>
                <a:schemeClr val="tx1"/>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6620678" y="3761154"/>
              <a:ext cx="735847" cy="244230"/>
            </a:xfrm>
            <a:prstGeom prst="line">
              <a:avLst/>
            </a:prstGeom>
            <a:ln w="3175">
              <a:solidFill>
                <a:schemeClr val="tx1"/>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flipV="1">
              <a:off x="7483531" y="3751386"/>
              <a:ext cx="651438" cy="253998"/>
            </a:xfrm>
            <a:prstGeom prst="line">
              <a:avLst/>
            </a:prstGeom>
            <a:ln w="3175">
              <a:solidFill>
                <a:schemeClr val="tx1"/>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6780119" y="3751386"/>
              <a:ext cx="651438" cy="253998"/>
            </a:xfrm>
            <a:prstGeom prst="line">
              <a:avLst/>
            </a:prstGeom>
            <a:ln w="3175">
              <a:solidFill>
                <a:schemeClr val="tx1"/>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796773" y="3761154"/>
              <a:ext cx="983345" cy="244230"/>
            </a:xfrm>
            <a:prstGeom prst="line">
              <a:avLst/>
            </a:prstGeom>
            <a:ln w="3175">
              <a:solidFill>
                <a:schemeClr val="tx1"/>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7444583" y="3761154"/>
              <a:ext cx="732592" cy="244230"/>
            </a:xfrm>
            <a:prstGeom prst="line">
              <a:avLst/>
            </a:prstGeom>
            <a:ln w="3175">
              <a:solidFill>
                <a:schemeClr val="tx1"/>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Rectangle 46"/>
          <p:cNvSpPr/>
          <p:nvPr/>
        </p:nvSpPr>
        <p:spPr bwMode="auto">
          <a:xfrm>
            <a:off x="3196917" y="4127063"/>
            <a:ext cx="6655649" cy="357616"/>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r>
              <a:rPr lang="en-US" spc="-50" dirty="0">
                <a:gradFill>
                  <a:gsLst>
                    <a:gs pos="0">
                      <a:srgbClr val="EFEFEF"/>
                    </a:gs>
                    <a:gs pos="100000">
                      <a:srgbClr val="EFEFEF"/>
                    </a:gs>
                  </a:gsLst>
                  <a:lin ang="5400000" scaled="0"/>
                </a:gradFill>
                <a:latin typeface="Segoe UI Light"/>
              </a:rPr>
              <a:t>VIRTUALIZATION</a:t>
            </a:r>
          </a:p>
        </p:txBody>
      </p:sp>
      <p:grpSp>
        <p:nvGrpSpPr>
          <p:cNvPr id="48" name="Group 47"/>
          <p:cNvGrpSpPr>
            <a:grpSpLocks noChangeAspect="1"/>
          </p:cNvGrpSpPr>
          <p:nvPr/>
        </p:nvGrpSpPr>
        <p:grpSpPr bwMode="gray">
          <a:xfrm>
            <a:off x="3479589" y="2849344"/>
            <a:ext cx="1293715" cy="998680"/>
            <a:chOff x="7010400" y="2133600"/>
            <a:chExt cx="1379538" cy="1065213"/>
          </a:xfrm>
          <a:solidFill>
            <a:srgbClr val="00188F"/>
          </a:solidFill>
        </p:grpSpPr>
        <p:sp>
          <p:nvSpPr>
            <p:cNvPr id="49" name="Freeform 161"/>
            <p:cNvSpPr>
              <a:spLocks/>
            </p:cNvSpPr>
            <p:nvPr/>
          </p:nvSpPr>
          <p:spPr bwMode="gray">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0" name="Freeform 162"/>
            <p:cNvSpPr>
              <a:spLocks/>
            </p:cNvSpPr>
            <p:nvPr/>
          </p:nvSpPr>
          <p:spPr bwMode="gray">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1" name="Freeform 163"/>
            <p:cNvSpPr>
              <a:spLocks/>
            </p:cNvSpPr>
            <p:nvPr/>
          </p:nvSpPr>
          <p:spPr bwMode="gray">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2" name="Freeform 164"/>
            <p:cNvSpPr>
              <a:spLocks/>
            </p:cNvSpPr>
            <p:nvPr/>
          </p:nvSpPr>
          <p:spPr bwMode="gray">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3" name="Freeform 165"/>
            <p:cNvSpPr>
              <a:spLocks/>
            </p:cNvSpPr>
            <p:nvPr/>
          </p:nvSpPr>
          <p:spPr bwMode="gray">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4" name="Freeform 166"/>
            <p:cNvSpPr>
              <a:spLocks/>
            </p:cNvSpPr>
            <p:nvPr/>
          </p:nvSpPr>
          <p:spPr bwMode="gray">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5" name="Freeform 167"/>
            <p:cNvSpPr>
              <a:spLocks/>
            </p:cNvSpPr>
            <p:nvPr/>
          </p:nvSpPr>
          <p:spPr bwMode="gray">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6" name="Freeform 168"/>
            <p:cNvSpPr>
              <a:spLocks/>
            </p:cNvSpPr>
            <p:nvPr/>
          </p:nvSpPr>
          <p:spPr bwMode="gray">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7" name="Freeform 169"/>
            <p:cNvSpPr>
              <a:spLocks/>
            </p:cNvSpPr>
            <p:nvPr/>
          </p:nvSpPr>
          <p:spPr bwMode="gray">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8" name="Freeform 170"/>
            <p:cNvSpPr>
              <a:spLocks/>
            </p:cNvSpPr>
            <p:nvPr/>
          </p:nvSpPr>
          <p:spPr bwMode="gray">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9" name="Freeform 171"/>
            <p:cNvSpPr>
              <a:spLocks/>
            </p:cNvSpPr>
            <p:nvPr/>
          </p:nvSpPr>
          <p:spPr bwMode="gray">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0" name="Freeform 172"/>
            <p:cNvSpPr>
              <a:spLocks/>
            </p:cNvSpPr>
            <p:nvPr/>
          </p:nvSpPr>
          <p:spPr bwMode="gray">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1" name="Freeform 173"/>
            <p:cNvSpPr>
              <a:spLocks/>
            </p:cNvSpPr>
            <p:nvPr/>
          </p:nvSpPr>
          <p:spPr bwMode="gray">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2" name="Freeform 174"/>
            <p:cNvSpPr>
              <a:spLocks/>
            </p:cNvSpPr>
            <p:nvPr/>
          </p:nvSpPr>
          <p:spPr bwMode="gray">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3" name="Freeform 175"/>
            <p:cNvSpPr>
              <a:spLocks/>
            </p:cNvSpPr>
            <p:nvPr/>
          </p:nvSpPr>
          <p:spPr bwMode="gray">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4" name="Freeform 176"/>
            <p:cNvSpPr>
              <a:spLocks/>
            </p:cNvSpPr>
            <p:nvPr/>
          </p:nvSpPr>
          <p:spPr bwMode="gray">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5" name="Freeform 177"/>
            <p:cNvSpPr>
              <a:spLocks/>
            </p:cNvSpPr>
            <p:nvPr/>
          </p:nvSpPr>
          <p:spPr bwMode="gray">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6" name="Freeform 178"/>
            <p:cNvSpPr>
              <a:spLocks/>
            </p:cNvSpPr>
            <p:nvPr/>
          </p:nvSpPr>
          <p:spPr bwMode="gray">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7" name="Freeform 179"/>
            <p:cNvSpPr>
              <a:spLocks/>
            </p:cNvSpPr>
            <p:nvPr/>
          </p:nvSpPr>
          <p:spPr bwMode="gray">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8" name="Freeform 180"/>
            <p:cNvSpPr>
              <a:spLocks/>
            </p:cNvSpPr>
            <p:nvPr/>
          </p:nvSpPr>
          <p:spPr bwMode="gray">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69" name="Freeform 181"/>
            <p:cNvSpPr>
              <a:spLocks/>
            </p:cNvSpPr>
            <p:nvPr/>
          </p:nvSpPr>
          <p:spPr bwMode="gray">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0" name="Freeform 182"/>
            <p:cNvSpPr>
              <a:spLocks/>
            </p:cNvSpPr>
            <p:nvPr/>
          </p:nvSpPr>
          <p:spPr bwMode="gray">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1" name="Freeform 183"/>
            <p:cNvSpPr>
              <a:spLocks/>
            </p:cNvSpPr>
            <p:nvPr/>
          </p:nvSpPr>
          <p:spPr bwMode="gray">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2" name="Freeform 184"/>
            <p:cNvSpPr>
              <a:spLocks/>
            </p:cNvSpPr>
            <p:nvPr/>
          </p:nvSpPr>
          <p:spPr bwMode="gray">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3" name="Freeform 185"/>
            <p:cNvSpPr>
              <a:spLocks/>
            </p:cNvSpPr>
            <p:nvPr/>
          </p:nvSpPr>
          <p:spPr bwMode="gray">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4" name="Freeform 186"/>
            <p:cNvSpPr>
              <a:spLocks/>
            </p:cNvSpPr>
            <p:nvPr/>
          </p:nvSpPr>
          <p:spPr bwMode="gray">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5" name="Freeform 187"/>
            <p:cNvSpPr>
              <a:spLocks/>
            </p:cNvSpPr>
            <p:nvPr/>
          </p:nvSpPr>
          <p:spPr bwMode="gray">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6" name="Freeform 188"/>
            <p:cNvSpPr>
              <a:spLocks/>
            </p:cNvSpPr>
            <p:nvPr/>
          </p:nvSpPr>
          <p:spPr bwMode="gray">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7" name="Freeform 189"/>
            <p:cNvSpPr>
              <a:spLocks/>
            </p:cNvSpPr>
            <p:nvPr/>
          </p:nvSpPr>
          <p:spPr bwMode="gray">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8" name="Freeform 190"/>
            <p:cNvSpPr>
              <a:spLocks/>
            </p:cNvSpPr>
            <p:nvPr/>
          </p:nvSpPr>
          <p:spPr bwMode="gray">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79" name="Freeform 191"/>
            <p:cNvSpPr>
              <a:spLocks/>
            </p:cNvSpPr>
            <p:nvPr/>
          </p:nvSpPr>
          <p:spPr bwMode="gray">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0" name="Freeform 192"/>
            <p:cNvSpPr>
              <a:spLocks/>
            </p:cNvSpPr>
            <p:nvPr/>
          </p:nvSpPr>
          <p:spPr bwMode="gray">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1" name="Freeform 193"/>
            <p:cNvSpPr>
              <a:spLocks/>
            </p:cNvSpPr>
            <p:nvPr/>
          </p:nvSpPr>
          <p:spPr bwMode="gray">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2" name="Freeform 194"/>
            <p:cNvSpPr>
              <a:spLocks/>
            </p:cNvSpPr>
            <p:nvPr/>
          </p:nvSpPr>
          <p:spPr bwMode="gray">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3" name="Freeform 195"/>
            <p:cNvSpPr>
              <a:spLocks/>
            </p:cNvSpPr>
            <p:nvPr/>
          </p:nvSpPr>
          <p:spPr bwMode="gray">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4" name="Freeform 196"/>
            <p:cNvSpPr>
              <a:spLocks/>
            </p:cNvSpPr>
            <p:nvPr/>
          </p:nvSpPr>
          <p:spPr bwMode="gray">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5" name="Freeform 197"/>
            <p:cNvSpPr>
              <a:spLocks/>
            </p:cNvSpPr>
            <p:nvPr/>
          </p:nvSpPr>
          <p:spPr bwMode="gray">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6" name="Freeform 198"/>
            <p:cNvSpPr>
              <a:spLocks/>
            </p:cNvSpPr>
            <p:nvPr/>
          </p:nvSpPr>
          <p:spPr bwMode="gray">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7" name="Freeform 199"/>
            <p:cNvSpPr>
              <a:spLocks/>
            </p:cNvSpPr>
            <p:nvPr/>
          </p:nvSpPr>
          <p:spPr bwMode="gray">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8" name="Freeform 200"/>
            <p:cNvSpPr>
              <a:spLocks/>
            </p:cNvSpPr>
            <p:nvPr/>
          </p:nvSpPr>
          <p:spPr bwMode="gray">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89" name="Freeform 201"/>
            <p:cNvSpPr>
              <a:spLocks/>
            </p:cNvSpPr>
            <p:nvPr/>
          </p:nvSpPr>
          <p:spPr bwMode="gray">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90" name="Freeform 202"/>
            <p:cNvSpPr>
              <a:spLocks/>
            </p:cNvSpPr>
            <p:nvPr/>
          </p:nvSpPr>
          <p:spPr bwMode="gray">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91" name="Freeform 203"/>
            <p:cNvSpPr>
              <a:spLocks/>
            </p:cNvSpPr>
            <p:nvPr/>
          </p:nvSpPr>
          <p:spPr bwMode="gray">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92" name="Freeform 204"/>
            <p:cNvSpPr>
              <a:spLocks/>
            </p:cNvSpPr>
            <p:nvPr/>
          </p:nvSpPr>
          <p:spPr bwMode="gray">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93" name="Freeform 205"/>
            <p:cNvSpPr>
              <a:spLocks/>
            </p:cNvSpPr>
            <p:nvPr/>
          </p:nvSpPr>
          <p:spPr bwMode="gray">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94" name="Freeform 206"/>
            <p:cNvSpPr>
              <a:spLocks/>
            </p:cNvSpPr>
            <p:nvPr/>
          </p:nvSpPr>
          <p:spPr bwMode="gray">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95" name="Freeform 207"/>
            <p:cNvSpPr>
              <a:spLocks noEditPoints="1"/>
            </p:cNvSpPr>
            <p:nvPr/>
          </p:nvSpPr>
          <p:spPr bwMode="gray">
            <a:xfrm>
              <a:off x="7108823"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grpSp>
        <p:nvGrpSpPr>
          <p:cNvPr id="96" name="Group 95"/>
          <p:cNvGrpSpPr>
            <a:grpSpLocks noChangeAspect="1"/>
          </p:cNvGrpSpPr>
          <p:nvPr/>
        </p:nvGrpSpPr>
        <p:grpSpPr bwMode="gray">
          <a:xfrm>
            <a:off x="5063568" y="2849344"/>
            <a:ext cx="1293715" cy="998680"/>
            <a:chOff x="7010400" y="2133600"/>
            <a:chExt cx="1379538" cy="1065213"/>
          </a:xfrm>
          <a:solidFill>
            <a:schemeClr val="accent6"/>
          </a:solidFill>
        </p:grpSpPr>
        <p:sp>
          <p:nvSpPr>
            <p:cNvPr id="97" name="Freeform 161"/>
            <p:cNvSpPr>
              <a:spLocks/>
            </p:cNvSpPr>
            <p:nvPr/>
          </p:nvSpPr>
          <p:spPr bwMode="gray">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98" name="Freeform 162"/>
            <p:cNvSpPr>
              <a:spLocks/>
            </p:cNvSpPr>
            <p:nvPr/>
          </p:nvSpPr>
          <p:spPr bwMode="gray">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99" name="Freeform 163"/>
            <p:cNvSpPr>
              <a:spLocks/>
            </p:cNvSpPr>
            <p:nvPr/>
          </p:nvSpPr>
          <p:spPr bwMode="gray">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0" name="Freeform 164"/>
            <p:cNvSpPr>
              <a:spLocks/>
            </p:cNvSpPr>
            <p:nvPr/>
          </p:nvSpPr>
          <p:spPr bwMode="gray">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1" name="Freeform 165"/>
            <p:cNvSpPr>
              <a:spLocks/>
            </p:cNvSpPr>
            <p:nvPr/>
          </p:nvSpPr>
          <p:spPr bwMode="gray">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2" name="Freeform 166"/>
            <p:cNvSpPr>
              <a:spLocks/>
            </p:cNvSpPr>
            <p:nvPr/>
          </p:nvSpPr>
          <p:spPr bwMode="gray">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3" name="Freeform 167"/>
            <p:cNvSpPr>
              <a:spLocks/>
            </p:cNvSpPr>
            <p:nvPr/>
          </p:nvSpPr>
          <p:spPr bwMode="gray">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4" name="Freeform 168"/>
            <p:cNvSpPr>
              <a:spLocks/>
            </p:cNvSpPr>
            <p:nvPr/>
          </p:nvSpPr>
          <p:spPr bwMode="gray">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5" name="Freeform 169"/>
            <p:cNvSpPr>
              <a:spLocks/>
            </p:cNvSpPr>
            <p:nvPr/>
          </p:nvSpPr>
          <p:spPr bwMode="gray">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6" name="Freeform 170"/>
            <p:cNvSpPr>
              <a:spLocks/>
            </p:cNvSpPr>
            <p:nvPr/>
          </p:nvSpPr>
          <p:spPr bwMode="gray">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7" name="Freeform 171"/>
            <p:cNvSpPr>
              <a:spLocks/>
            </p:cNvSpPr>
            <p:nvPr/>
          </p:nvSpPr>
          <p:spPr bwMode="gray">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8" name="Freeform 172"/>
            <p:cNvSpPr>
              <a:spLocks/>
            </p:cNvSpPr>
            <p:nvPr/>
          </p:nvSpPr>
          <p:spPr bwMode="gray">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09" name="Freeform 173"/>
            <p:cNvSpPr>
              <a:spLocks/>
            </p:cNvSpPr>
            <p:nvPr/>
          </p:nvSpPr>
          <p:spPr bwMode="gray">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0" name="Freeform 174"/>
            <p:cNvSpPr>
              <a:spLocks/>
            </p:cNvSpPr>
            <p:nvPr/>
          </p:nvSpPr>
          <p:spPr bwMode="gray">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1" name="Freeform 175"/>
            <p:cNvSpPr>
              <a:spLocks/>
            </p:cNvSpPr>
            <p:nvPr/>
          </p:nvSpPr>
          <p:spPr bwMode="gray">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2" name="Freeform 176"/>
            <p:cNvSpPr>
              <a:spLocks/>
            </p:cNvSpPr>
            <p:nvPr/>
          </p:nvSpPr>
          <p:spPr bwMode="gray">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3" name="Freeform 177"/>
            <p:cNvSpPr>
              <a:spLocks/>
            </p:cNvSpPr>
            <p:nvPr/>
          </p:nvSpPr>
          <p:spPr bwMode="gray">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4" name="Freeform 178"/>
            <p:cNvSpPr>
              <a:spLocks/>
            </p:cNvSpPr>
            <p:nvPr/>
          </p:nvSpPr>
          <p:spPr bwMode="gray">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5" name="Freeform 179"/>
            <p:cNvSpPr>
              <a:spLocks/>
            </p:cNvSpPr>
            <p:nvPr/>
          </p:nvSpPr>
          <p:spPr bwMode="gray">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6" name="Freeform 180"/>
            <p:cNvSpPr>
              <a:spLocks/>
            </p:cNvSpPr>
            <p:nvPr/>
          </p:nvSpPr>
          <p:spPr bwMode="gray">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7" name="Freeform 181"/>
            <p:cNvSpPr>
              <a:spLocks/>
            </p:cNvSpPr>
            <p:nvPr/>
          </p:nvSpPr>
          <p:spPr bwMode="gray">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8" name="Freeform 182"/>
            <p:cNvSpPr>
              <a:spLocks/>
            </p:cNvSpPr>
            <p:nvPr/>
          </p:nvSpPr>
          <p:spPr bwMode="gray">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19" name="Freeform 183"/>
            <p:cNvSpPr>
              <a:spLocks/>
            </p:cNvSpPr>
            <p:nvPr/>
          </p:nvSpPr>
          <p:spPr bwMode="gray">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0" name="Freeform 184"/>
            <p:cNvSpPr>
              <a:spLocks/>
            </p:cNvSpPr>
            <p:nvPr/>
          </p:nvSpPr>
          <p:spPr bwMode="gray">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1" name="Freeform 185"/>
            <p:cNvSpPr>
              <a:spLocks/>
            </p:cNvSpPr>
            <p:nvPr/>
          </p:nvSpPr>
          <p:spPr bwMode="gray">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2" name="Freeform 186"/>
            <p:cNvSpPr>
              <a:spLocks/>
            </p:cNvSpPr>
            <p:nvPr/>
          </p:nvSpPr>
          <p:spPr bwMode="gray">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3" name="Freeform 187"/>
            <p:cNvSpPr>
              <a:spLocks/>
            </p:cNvSpPr>
            <p:nvPr/>
          </p:nvSpPr>
          <p:spPr bwMode="gray">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4" name="Freeform 188"/>
            <p:cNvSpPr>
              <a:spLocks/>
            </p:cNvSpPr>
            <p:nvPr/>
          </p:nvSpPr>
          <p:spPr bwMode="gray">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5" name="Freeform 189"/>
            <p:cNvSpPr>
              <a:spLocks/>
            </p:cNvSpPr>
            <p:nvPr/>
          </p:nvSpPr>
          <p:spPr bwMode="gray">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6" name="Freeform 190"/>
            <p:cNvSpPr>
              <a:spLocks/>
            </p:cNvSpPr>
            <p:nvPr/>
          </p:nvSpPr>
          <p:spPr bwMode="gray">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7" name="Freeform 191"/>
            <p:cNvSpPr>
              <a:spLocks/>
            </p:cNvSpPr>
            <p:nvPr/>
          </p:nvSpPr>
          <p:spPr bwMode="gray">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8" name="Freeform 192"/>
            <p:cNvSpPr>
              <a:spLocks/>
            </p:cNvSpPr>
            <p:nvPr/>
          </p:nvSpPr>
          <p:spPr bwMode="gray">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29" name="Freeform 193"/>
            <p:cNvSpPr>
              <a:spLocks/>
            </p:cNvSpPr>
            <p:nvPr/>
          </p:nvSpPr>
          <p:spPr bwMode="gray">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0" name="Freeform 194"/>
            <p:cNvSpPr>
              <a:spLocks/>
            </p:cNvSpPr>
            <p:nvPr/>
          </p:nvSpPr>
          <p:spPr bwMode="gray">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1" name="Freeform 195"/>
            <p:cNvSpPr>
              <a:spLocks/>
            </p:cNvSpPr>
            <p:nvPr/>
          </p:nvSpPr>
          <p:spPr bwMode="gray">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2" name="Freeform 196"/>
            <p:cNvSpPr>
              <a:spLocks/>
            </p:cNvSpPr>
            <p:nvPr/>
          </p:nvSpPr>
          <p:spPr bwMode="gray">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3" name="Freeform 197"/>
            <p:cNvSpPr>
              <a:spLocks/>
            </p:cNvSpPr>
            <p:nvPr/>
          </p:nvSpPr>
          <p:spPr bwMode="gray">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4" name="Freeform 198"/>
            <p:cNvSpPr>
              <a:spLocks/>
            </p:cNvSpPr>
            <p:nvPr/>
          </p:nvSpPr>
          <p:spPr bwMode="gray">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5" name="Freeform 199"/>
            <p:cNvSpPr>
              <a:spLocks/>
            </p:cNvSpPr>
            <p:nvPr/>
          </p:nvSpPr>
          <p:spPr bwMode="gray">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6" name="Freeform 200"/>
            <p:cNvSpPr>
              <a:spLocks/>
            </p:cNvSpPr>
            <p:nvPr/>
          </p:nvSpPr>
          <p:spPr bwMode="gray">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7" name="Freeform 201"/>
            <p:cNvSpPr>
              <a:spLocks/>
            </p:cNvSpPr>
            <p:nvPr/>
          </p:nvSpPr>
          <p:spPr bwMode="gray">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8" name="Freeform 202"/>
            <p:cNvSpPr>
              <a:spLocks/>
            </p:cNvSpPr>
            <p:nvPr/>
          </p:nvSpPr>
          <p:spPr bwMode="gray">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39" name="Freeform 203"/>
            <p:cNvSpPr>
              <a:spLocks/>
            </p:cNvSpPr>
            <p:nvPr/>
          </p:nvSpPr>
          <p:spPr bwMode="gray">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40" name="Freeform 204"/>
            <p:cNvSpPr>
              <a:spLocks/>
            </p:cNvSpPr>
            <p:nvPr/>
          </p:nvSpPr>
          <p:spPr bwMode="gray">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41" name="Freeform 205"/>
            <p:cNvSpPr>
              <a:spLocks/>
            </p:cNvSpPr>
            <p:nvPr/>
          </p:nvSpPr>
          <p:spPr bwMode="gray">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42" name="Freeform 206"/>
            <p:cNvSpPr>
              <a:spLocks/>
            </p:cNvSpPr>
            <p:nvPr/>
          </p:nvSpPr>
          <p:spPr bwMode="gray">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43" name="Freeform 207"/>
            <p:cNvSpPr>
              <a:spLocks noEditPoints="1"/>
            </p:cNvSpPr>
            <p:nvPr/>
          </p:nvSpPr>
          <p:spPr bwMode="gray">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sp>
        <p:nvSpPr>
          <p:cNvPr id="144" name="Rectangle 143"/>
          <p:cNvSpPr/>
          <p:nvPr/>
        </p:nvSpPr>
        <p:spPr>
          <a:xfrm>
            <a:off x="3383134" y="2256846"/>
            <a:ext cx="1486624" cy="521358"/>
          </a:xfrm>
          <a:prstGeom prst="rect">
            <a:avLst/>
          </a:prstGeom>
        </p:spPr>
        <p:txBody>
          <a:bodyPr wrap="square">
            <a:spAutoFit/>
          </a:bodyPr>
          <a:lstStyle/>
          <a:p>
            <a:pPr algn="ctr" defTabSz="914225"/>
            <a:r>
              <a:rPr lang="en-US" sz="1400" spc="-50" dirty="0">
                <a:solidFill>
                  <a:srgbClr val="505050">
                    <a:lumMod val="50000"/>
                  </a:srgbClr>
                </a:solidFill>
              </a:rPr>
              <a:t>Contoso virtual machine</a:t>
            </a:r>
          </a:p>
        </p:txBody>
      </p:sp>
      <p:sp>
        <p:nvSpPr>
          <p:cNvPr id="145" name="Rectangle 144"/>
          <p:cNvSpPr/>
          <p:nvPr/>
        </p:nvSpPr>
        <p:spPr>
          <a:xfrm>
            <a:off x="5051175" y="2256846"/>
            <a:ext cx="1486624" cy="521358"/>
          </a:xfrm>
          <a:prstGeom prst="rect">
            <a:avLst/>
          </a:prstGeom>
        </p:spPr>
        <p:txBody>
          <a:bodyPr wrap="square">
            <a:spAutoFit/>
          </a:bodyPr>
          <a:lstStyle/>
          <a:p>
            <a:pPr algn="ctr" defTabSz="914225"/>
            <a:r>
              <a:rPr lang="en-US" sz="1400" spc="-50" dirty="0" err="1">
                <a:solidFill>
                  <a:srgbClr val="505050">
                    <a:lumMod val="50000"/>
                  </a:srgbClr>
                </a:solidFill>
              </a:rPr>
              <a:t>Fabrikam</a:t>
            </a:r>
            <a:r>
              <a:rPr lang="en-US" sz="1400" spc="-50" dirty="0">
                <a:solidFill>
                  <a:srgbClr val="505050">
                    <a:lumMod val="50000"/>
                  </a:srgbClr>
                </a:solidFill>
              </a:rPr>
              <a:t> virtual machine</a:t>
            </a:r>
          </a:p>
        </p:txBody>
      </p:sp>
      <p:grpSp>
        <p:nvGrpSpPr>
          <p:cNvPr id="146" name="Group 145"/>
          <p:cNvGrpSpPr/>
          <p:nvPr/>
        </p:nvGrpSpPr>
        <p:grpSpPr>
          <a:xfrm>
            <a:off x="3981316" y="3822663"/>
            <a:ext cx="1834756" cy="290970"/>
            <a:chOff x="1647279" y="3558123"/>
            <a:chExt cx="1835017" cy="291012"/>
          </a:xfrm>
        </p:grpSpPr>
        <p:sp>
          <p:nvSpPr>
            <p:cNvPr id="147" name="Freeform 99"/>
            <p:cNvSpPr>
              <a:spLocks/>
            </p:cNvSpPr>
            <p:nvPr/>
          </p:nvSpPr>
          <p:spPr bwMode="black">
            <a:xfrm rot="5400000">
              <a:off x="1608403" y="3596999"/>
              <a:ext cx="291012" cy="21326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48" name="Freeform 99"/>
            <p:cNvSpPr>
              <a:spLocks/>
            </p:cNvSpPr>
            <p:nvPr/>
          </p:nvSpPr>
          <p:spPr bwMode="black">
            <a:xfrm rot="5400000">
              <a:off x="3230160" y="3596999"/>
              <a:ext cx="291012" cy="21326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B900"/>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grpSp>
        <p:nvGrpSpPr>
          <p:cNvPr id="149" name="Group 148"/>
          <p:cNvGrpSpPr/>
          <p:nvPr/>
        </p:nvGrpSpPr>
        <p:grpSpPr>
          <a:xfrm>
            <a:off x="6750198" y="2472275"/>
            <a:ext cx="3078476" cy="1641374"/>
            <a:chOff x="5401119" y="1240372"/>
            <a:chExt cx="3078913" cy="1641607"/>
          </a:xfrm>
        </p:grpSpPr>
        <p:grpSp>
          <p:nvGrpSpPr>
            <p:cNvPr id="150" name="Group 149"/>
            <p:cNvGrpSpPr/>
            <p:nvPr/>
          </p:nvGrpSpPr>
          <p:grpSpPr>
            <a:xfrm>
              <a:off x="5401119" y="1240372"/>
              <a:ext cx="3078913" cy="1261023"/>
              <a:chOff x="5401119" y="1357604"/>
              <a:chExt cx="3078913" cy="1261023"/>
            </a:xfrm>
          </p:grpSpPr>
          <p:pic>
            <p:nvPicPr>
              <p:cNvPr id="154" name="Picture 153" descr="Untitled-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45492" y="1697893"/>
                <a:ext cx="1383474" cy="920734"/>
              </a:xfrm>
              <a:prstGeom prst="rect">
                <a:avLst/>
              </a:prstGeom>
            </p:spPr>
          </p:pic>
          <p:pic>
            <p:nvPicPr>
              <p:cNvPr id="155" name="Picture 154" descr="Untitled-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7096558" y="1697893"/>
                <a:ext cx="1383474" cy="920734"/>
              </a:xfrm>
              <a:prstGeom prst="rect">
                <a:avLst/>
              </a:prstGeom>
            </p:spPr>
          </p:pic>
          <p:sp>
            <p:nvSpPr>
              <p:cNvPr id="156" name="Rectangle 155"/>
              <p:cNvSpPr/>
              <p:nvPr/>
            </p:nvSpPr>
            <p:spPr>
              <a:xfrm>
                <a:off x="5401119" y="1357604"/>
                <a:ext cx="1486836" cy="312073"/>
              </a:xfrm>
              <a:prstGeom prst="rect">
                <a:avLst/>
              </a:prstGeom>
            </p:spPr>
            <p:txBody>
              <a:bodyPr wrap="square">
                <a:spAutoFit/>
              </a:bodyPr>
              <a:lstStyle/>
              <a:p>
                <a:pPr algn="ctr" defTabSz="914225"/>
                <a:r>
                  <a:rPr lang="en-US" sz="1400" spc="-50" dirty="0">
                    <a:solidFill>
                      <a:srgbClr val="505050">
                        <a:lumMod val="50000"/>
                      </a:srgbClr>
                    </a:solidFill>
                  </a:rPr>
                  <a:t>Contoso</a:t>
                </a:r>
              </a:p>
            </p:txBody>
          </p:sp>
          <p:sp>
            <p:nvSpPr>
              <p:cNvPr id="157" name="Rectangle 156"/>
              <p:cNvSpPr/>
              <p:nvPr/>
            </p:nvSpPr>
            <p:spPr>
              <a:xfrm>
                <a:off x="6985323" y="1357604"/>
                <a:ext cx="1486836" cy="312073"/>
              </a:xfrm>
              <a:prstGeom prst="rect">
                <a:avLst/>
              </a:prstGeom>
            </p:spPr>
            <p:txBody>
              <a:bodyPr wrap="square">
                <a:spAutoFit/>
              </a:bodyPr>
              <a:lstStyle/>
              <a:p>
                <a:pPr algn="ctr" defTabSz="914225"/>
                <a:r>
                  <a:rPr lang="en-US" sz="1400" spc="-50" dirty="0" err="1">
                    <a:solidFill>
                      <a:srgbClr val="505050">
                        <a:lumMod val="50000"/>
                      </a:srgbClr>
                    </a:solidFill>
                  </a:rPr>
                  <a:t>Fabrikam</a:t>
                </a:r>
                <a:endParaRPr lang="en-US" sz="1400" spc="-50" dirty="0">
                  <a:solidFill>
                    <a:srgbClr val="505050">
                      <a:lumMod val="50000"/>
                    </a:srgbClr>
                  </a:solidFill>
                </a:endParaRPr>
              </a:p>
            </p:txBody>
          </p:sp>
          <p:cxnSp>
            <p:nvCxnSpPr>
              <p:cNvPr id="158" name="Straight Connector 157"/>
              <p:cNvCxnSpPr/>
              <p:nvPr/>
            </p:nvCxnSpPr>
            <p:spPr>
              <a:xfrm>
                <a:off x="5522670" y="2306874"/>
                <a:ext cx="1141837"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5738220" y="2132111"/>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5843082" y="2301049"/>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5977074" y="2132111"/>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6122716" y="2301049"/>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6448955" y="2301049"/>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6521982" y="2132111"/>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6239230" y="2132111"/>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6" name="Oval 165"/>
              <p:cNvSpPr/>
              <p:nvPr/>
            </p:nvSpPr>
            <p:spPr bwMode="auto">
              <a:xfrm>
                <a:off x="5646842" y="2069195"/>
                <a:ext cx="175853" cy="17585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67" name="Oval 166"/>
              <p:cNvSpPr/>
              <p:nvPr/>
            </p:nvSpPr>
            <p:spPr bwMode="auto">
              <a:xfrm>
                <a:off x="5881313" y="2069195"/>
                <a:ext cx="175853" cy="17585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68" name="Oval 167"/>
              <p:cNvSpPr/>
              <p:nvPr/>
            </p:nvSpPr>
            <p:spPr bwMode="auto">
              <a:xfrm>
                <a:off x="6145092" y="2069195"/>
                <a:ext cx="175853" cy="17585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69" name="Oval 168"/>
              <p:cNvSpPr/>
              <p:nvPr/>
            </p:nvSpPr>
            <p:spPr bwMode="auto">
              <a:xfrm>
                <a:off x="6434056" y="2069195"/>
                <a:ext cx="175853" cy="17585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70" name="Oval 169"/>
              <p:cNvSpPr/>
              <p:nvPr/>
            </p:nvSpPr>
            <p:spPr bwMode="auto">
              <a:xfrm>
                <a:off x="5744538" y="2360025"/>
                <a:ext cx="175853" cy="17585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73" name="Oval 172"/>
              <p:cNvSpPr/>
              <p:nvPr/>
            </p:nvSpPr>
            <p:spPr bwMode="auto">
              <a:xfrm>
                <a:off x="6037626" y="2360025"/>
                <a:ext cx="175853" cy="17585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74" name="Oval 173"/>
              <p:cNvSpPr/>
              <p:nvPr/>
            </p:nvSpPr>
            <p:spPr bwMode="auto">
              <a:xfrm>
                <a:off x="6360024" y="2360025"/>
                <a:ext cx="175853" cy="175853"/>
              </a:xfrm>
              <a:prstGeom prst="ellipse">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cxnSp>
            <p:nvCxnSpPr>
              <p:cNvPr id="178" name="Straight Connector 177"/>
              <p:cNvCxnSpPr/>
              <p:nvPr/>
            </p:nvCxnSpPr>
            <p:spPr>
              <a:xfrm>
                <a:off x="7202680" y="2306874"/>
                <a:ext cx="1141837"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7418230" y="2132111"/>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7523092" y="2301049"/>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7657084" y="2132111"/>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7802726" y="2301049"/>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8128965" y="2301049"/>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8201992" y="2132111"/>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7919240" y="2132111"/>
                <a:ext cx="0" cy="174763"/>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Oval 185"/>
              <p:cNvSpPr/>
              <p:nvPr/>
            </p:nvSpPr>
            <p:spPr bwMode="auto">
              <a:xfrm>
                <a:off x="7326852" y="2069195"/>
                <a:ext cx="175853" cy="175853"/>
              </a:xfrm>
              <a:prstGeom prst="ellipse">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87" name="Oval 186"/>
              <p:cNvSpPr/>
              <p:nvPr/>
            </p:nvSpPr>
            <p:spPr bwMode="auto">
              <a:xfrm>
                <a:off x="7561323" y="2069195"/>
                <a:ext cx="175853" cy="175853"/>
              </a:xfrm>
              <a:prstGeom prst="ellipse">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88" name="Oval 187"/>
              <p:cNvSpPr/>
              <p:nvPr/>
            </p:nvSpPr>
            <p:spPr bwMode="auto">
              <a:xfrm>
                <a:off x="7825102" y="2069195"/>
                <a:ext cx="175853" cy="175853"/>
              </a:xfrm>
              <a:prstGeom prst="ellipse">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89" name="Oval 188"/>
              <p:cNvSpPr/>
              <p:nvPr/>
            </p:nvSpPr>
            <p:spPr bwMode="auto">
              <a:xfrm>
                <a:off x="8114066" y="2069195"/>
                <a:ext cx="175853" cy="175853"/>
              </a:xfrm>
              <a:prstGeom prst="ellipse">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90" name="Oval 189"/>
              <p:cNvSpPr/>
              <p:nvPr/>
            </p:nvSpPr>
            <p:spPr bwMode="auto">
              <a:xfrm>
                <a:off x="7424548" y="2360025"/>
                <a:ext cx="175853" cy="175853"/>
              </a:xfrm>
              <a:prstGeom prst="ellipse">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91" name="Oval 190"/>
              <p:cNvSpPr/>
              <p:nvPr/>
            </p:nvSpPr>
            <p:spPr bwMode="auto">
              <a:xfrm>
                <a:off x="7717636" y="2360025"/>
                <a:ext cx="175853" cy="175853"/>
              </a:xfrm>
              <a:prstGeom prst="ellipse">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192" name="Oval 191"/>
              <p:cNvSpPr/>
              <p:nvPr/>
            </p:nvSpPr>
            <p:spPr bwMode="auto">
              <a:xfrm>
                <a:off x="8040034" y="2360025"/>
                <a:ext cx="175853" cy="175853"/>
              </a:xfrm>
              <a:prstGeom prst="ellipse">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grpSp>
        <p:grpSp>
          <p:nvGrpSpPr>
            <p:cNvPr id="151" name="Group 150"/>
            <p:cNvGrpSpPr/>
            <p:nvPr/>
          </p:nvGrpSpPr>
          <p:grpSpPr>
            <a:xfrm>
              <a:off x="6097078" y="2590967"/>
              <a:ext cx="1932717" cy="291012"/>
              <a:chOff x="1647279" y="3558123"/>
              <a:chExt cx="1932717" cy="291012"/>
            </a:xfrm>
          </p:grpSpPr>
          <p:sp>
            <p:nvSpPr>
              <p:cNvPr id="152" name="Freeform 99"/>
              <p:cNvSpPr>
                <a:spLocks/>
              </p:cNvSpPr>
              <p:nvPr/>
            </p:nvSpPr>
            <p:spPr bwMode="black">
              <a:xfrm rot="5400000">
                <a:off x="1608403" y="3596999"/>
                <a:ext cx="291012" cy="21326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153" name="Freeform 99"/>
              <p:cNvSpPr>
                <a:spLocks/>
              </p:cNvSpPr>
              <p:nvPr/>
            </p:nvSpPr>
            <p:spPr bwMode="black">
              <a:xfrm rot="5400000">
                <a:off x="3327860" y="3596999"/>
                <a:ext cx="291012" cy="21326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B900"/>
              </a:solid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grpSp>
      <p:pic>
        <p:nvPicPr>
          <p:cNvPr id="194" name="Picture 19474"/>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839819" y="5128207"/>
            <a:ext cx="546006" cy="914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 name="Picture 19474"/>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653558" y="5128207"/>
            <a:ext cx="546006" cy="914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6" name="Picture 19474"/>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440471" y="5128207"/>
            <a:ext cx="546006" cy="914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19474"/>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4210" y="5128207"/>
            <a:ext cx="546006" cy="914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1151307" y="1973765"/>
            <a:ext cx="10565674" cy="46642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8" name="Group 197"/>
          <p:cNvGrpSpPr/>
          <p:nvPr/>
        </p:nvGrpSpPr>
        <p:grpSpPr>
          <a:xfrm>
            <a:off x="6639309" y="2283031"/>
            <a:ext cx="3965110" cy="2209486"/>
            <a:chOff x="7808181" y="1238250"/>
            <a:chExt cx="3965673" cy="2209800"/>
          </a:xfrm>
        </p:grpSpPr>
        <p:sp>
          <p:nvSpPr>
            <p:cNvPr id="199" name="Freeform 128"/>
            <p:cNvSpPr>
              <a:spLocks noChangeAspect="1"/>
            </p:cNvSpPr>
            <p:nvPr/>
          </p:nvSpPr>
          <p:spPr bwMode="black">
            <a:xfrm>
              <a:off x="7808181" y="1238250"/>
              <a:ext cx="3965673" cy="220980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5"/>
              <a:endParaRPr lang="en-US">
                <a:solidFill>
                  <a:srgbClr val="505050"/>
                </a:solidFill>
              </a:endParaRPr>
            </a:p>
          </p:txBody>
        </p:sp>
        <p:sp>
          <p:nvSpPr>
            <p:cNvPr id="200" name="Flowchart: Delay 9"/>
            <p:cNvSpPr/>
            <p:nvPr/>
          </p:nvSpPr>
          <p:spPr bwMode="auto">
            <a:xfrm>
              <a:off x="9048584" y="1884460"/>
              <a:ext cx="2619543" cy="1378308"/>
            </a:xfrm>
            <a:custGeom>
              <a:avLst/>
              <a:gdLst>
                <a:gd name="connsiteX0" fmla="*/ 0 w 1188320"/>
                <a:gd name="connsiteY0" fmla="*/ 0 h 1322652"/>
                <a:gd name="connsiteX1" fmla="*/ 594160 w 1188320"/>
                <a:gd name="connsiteY1" fmla="*/ 0 h 1322652"/>
                <a:gd name="connsiteX2" fmla="*/ 1188320 w 1188320"/>
                <a:gd name="connsiteY2" fmla="*/ 661326 h 1322652"/>
                <a:gd name="connsiteX3" fmla="*/ 594160 w 1188320"/>
                <a:gd name="connsiteY3" fmla="*/ 1322652 h 1322652"/>
                <a:gd name="connsiteX4" fmla="*/ 0 w 1188320"/>
                <a:gd name="connsiteY4" fmla="*/ 1322652 h 1322652"/>
                <a:gd name="connsiteX5" fmla="*/ 0 w 1188320"/>
                <a:gd name="connsiteY5" fmla="*/ 0 h 1322652"/>
                <a:gd name="connsiteX0" fmla="*/ 1343770 w 2532090"/>
                <a:gd name="connsiteY0" fmla="*/ 0 h 1322652"/>
                <a:gd name="connsiteX1" fmla="*/ 1937930 w 2532090"/>
                <a:gd name="connsiteY1" fmla="*/ 0 h 1322652"/>
                <a:gd name="connsiteX2" fmla="*/ 2532090 w 2532090"/>
                <a:gd name="connsiteY2" fmla="*/ 661326 h 1322652"/>
                <a:gd name="connsiteX3" fmla="*/ 1937930 w 2532090"/>
                <a:gd name="connsiteY3" fmla="*/ 1322652 h 1322652"/>
                <a:gd name="connsiteX4" fmla="*/ 0 w 2532090"/>
                <a:gd name="connsiteY4" fmla="*/ 1322652 h 1322652"/>
                <a:gd name="connsiteX5" fmla="*/ 1343770 w 2532090"/>
                <a:gd name="connsiteY5" fmla="*/ 0 h 1322652"/>
                <a:gd name="connsiteX0" fmla="*/ 0 w 2532091"/>
                <a:gd name="connsiteY0" fmla="*/ 7951 h 1322652"/>
                <a:gd name="connsiteX1" fmla="*/ 1937931 w 2532091"/>
                <a:gd name="connsiteY1" fmla="*/ 0 h 1322652"/>
                <a:gd name="connsiteX2" fmla="*/ 2532091 w 2532091"/>
                <a:gd name="connsiteY2" fmla="*/ 661326 h 1322652"/>
                <a:gd name="connsiteX3" fmla="*/ 1937931 w 2532091"/>
                <a:gd name="connsiteY3" fmla="*/ 1322652 h 1322652"/>
                <a:gd name="connsiteX4" fmla="*/ 1 w 2532091"/>
                <a:gd name="connsiteY4" fmla="*/ 1322652 h 1322652"/>
                <a:gd name="connsiteX5" fmla="*/ 0 w 2532091"/>
                <a:gd name="connsiteY5" fmla="*/ 7951 h 1322652"/>
                <a:gd name="connsiteX0" fmla="*/ 7950 w 2532090"/>
                <a:gd name="connsiteY0" fmla="*/ 0 h 1322653"/>
                <a:gd name="connsiteX1" fmla="*/ 1937930 w 2532090"/>
                <a:gd name="connsiteY1" fmla="*/ 1 h 1322653"/>
                <a:gd name="connsiteX2" fmla="*/ 2532090 w 2532090"/>
                <a:gd name="connsiteY2" fmla="*/ 661327 h 1322653"/>
                <a:gd name="connsiteX3" fmla="*/ 1937930 w 2532090"/>
                <a:gd name="connsiteY3" fmla="*/ 1322653 h 1322653"/>
                <a:gd name="connsiteX4" fmla="*/ 0 w 2532090"/>
                <a:gd name="connsiteY4" fmla="*/ 1322653 h 1322653"/>
                <a:gd name="connsiteX5" fmla="*/ 7950 w 2532090"/>
                <a:gd name="connsiteY5" fmla="*/ 0 h 1322653"/>
                <a:gd name="connsiteX0" fmla="*/ 0 w 2540043"/>
                <a:gd name="connsiteY0" fmla="*/ 0 h 1330604"/>
                <a:gd name="connsiteX1" fmla="*/ 1945883 w 2540043"/>
                <a:gd name="connsiteY1" fmla="*/ 7952 h 1330604"/>
                <a:gd name="connsiteX2" fmla="*/ 2540043 w 2540043"/>
                <a:gd name="connsiteY2" fmla="*/ 669278 h 1330604"/>
                <a:gd name="connsiteX3" fmla="*/ 1945883 w 2540043"/>
                <a:gd name="connsiteY3" fmla="*/ 1330604 h 1330604"/>
                <a:gd name="connsiteX4" fmla="*/ 7953 w 2540043"/>
                <a:gd name="connsiteY4" fmla="*/ 1330604 h 1330604"/>
                <a:gd name="connsiteX5" fmla="*/ 0 w 2540043"/>
                <a:gd name="connsiteY5" fmla="*/ 0 h 1330604"/>
                <a:gd name="connsiteX0" fmla="*/ 0 w 2540043"/>
                <a:gd name="connsiteY0" fmla="*/ 0 h 1330604"/>
                <a:gd name="connsiteX1" fmla="*/ 1945883 w 2540043"/>
                <a:gd name="connsiteY1" fmla="*/ 7952 h 1330604"/>
                <a:gd name="connsiteX2" fmla="*/ 2540043 w 2540043"/>
                <a:gd name="connsiteY2" fmla="*/ 669278 h 1330604"/>
                <a:gd name="connsiteX3" fmla="*/ 1945883 w 2540043"/>
                <a:gd name="connsiteY3" fmla="*/ 1330604 h 1330604"/>
                <a:gd name="connsiteX4" fmla="*/ 7953 w 2540043"/>
                <a:gd name="connsiteY4" fmla="*/ 1330604 h 1330604"/>
                <a:gd name="connsiteX5" fmla="*/ 0 w 2540043"/>
                <a:gd name="connsiteY5" fmla="*/ 0 h 1330604"/>
                <a:gd name="connsiteX0" fmla="*/ 0 w 2540043"/>
                <a:gd name="connsiteY0" fmla="*/ 0 h 1330604"/>
                <a:gd name="connsiteX1" fmla="*/ 1945883 w 2540043"/>
                <a:gd name="connsiteY1" fmla="*/ 7952 h 1330604"/>
                <a:gd name="connsiteX2" fmla="*/ 2540043 w 2540043"/>
                <a:gd name="connsiteY2" fmla="*/ 669278 h 1330604"/>
                <a:gd name="connsiteX3" fmla="*/ 1945883 w 2540043"/>
                <a:gd name="connsiteY3" fmla="*/ 1330604 h 1330604"/>
                <a:gd name="connsiteX4" fmla="*/ 7953 w 2540043"/>
                <a:gd name="connsiteY4" fmla="*/ 1330604 h 1330604"/>
                <a:gd name="connsiteX5" fmla="*/ 0 w 2540043"/>
                <a:gd name="connsiteY5" fmla="*/ 0 h 1330604"/>
                <a:gd name="connsiteX0" fmla="*/ 0 w 2540043"/>
                <a:gd name="connsiteY0" fmla="*/ 0 h 1322653"/>
                <a:gd name="connsiteX1" fmla="*/ 1945883 w 2540043"/>
                <a:gd name="connsiteY1" fmla="*/ 1 h 1322653"/>
                <a:gd name="connsiteX2" fmla="*/ 2540043 w 2540043"/>
                <a:gd name="connsiteY2" fmla="*/ 661327 h 1322653"/>
                <a:gd name="connsiteX3" fmla="*/ 1945883 w 2540043"/>
                <a:gd name="connsiteY3" fmla="*/ 1322653 h 1322653"/>
                <a:gd name="connsiteX4" fmla="*/ 7953 w 2540043"/>
                <a:gd name="connsiteY4" fmla="*/ 1322653 h 1322653"/>
                <a:gd name="connsiteX5" fmla="*/ 0 w 2540043"/>
                <a:gd name="connsiteY5" fmla="*/ 0 h 1322653"/>
                <a:gd name="connsiteX0" fmla="*/ 0 w 2540043"/>
                <a:gd name="connsiteY0" fmla="*/ 0 h 1322653"/>
                <a:gd name="connsiteX1" fmla="*/ 1945883 w 2540043"/>
                <a:gd name="connsiteY1" fmla="*/ 1 h 1322653"/>
                <a:gd name="connsiteX2" fmla="*/ 2540043 w 2540043"/>
                <a:gd name="connsiteY2" fmla="*/ 661327 h 1322653"/>
                <a:gd name="connsiteX3" fmla="*/ 1945883 w 2540043"/>
                <a:gd name="connsiteY3" fmla="*/ 1322653 h 1322653"/>
                <a:gd name="connsiteX4" fmla="*/ 7953 w 2540043"/>
                <a:gd name="connsiteY4" fmla="*/ 1322653 h 1322653"/>
                <a:gd name="connsiteX5" fmla="*/ 0 w 2540043"/>
                <a:gd name="connsiteY5" fmla="*/ 0 h 1322653"/>
                <a:gd name="connsiteX0" fmla="*/ 0 w 2532092"/>
                <a:gd name="connsiteY0" fmla="*/ 0 h 1322653"/>
                <a:gd name="connsiteX1" fmla="*/ 1937932 w 2532092"/>
                <a:gd name="connsiteY1" fmla="*/ 1 h 1322653"/>
                <a:gd name="connsiteX2" fmla="*/ 2532092 w 2532092"/>
                <a:gd name="connsiteY2" fmla="*/ 661327 h 1322653"/>
                <a:gd name="connsiteX3" fmla="*/ 1937932 w 2532092"/>
                <a:gd name="connsiteY3" fmla="*/ 1322653 h 1322653"/>
                <a:gd name="connsiteX4" fmla="*/ 2 w 2532092"/>
                <a:gd name="connsiteY4" fmla="*/ 1322653 h 1322653"/>
                <a:gd name="connsiteX5" fmla="*/ 0 w 2532092"/>
                <a:gd name="connsiteY5" fmla="*/ 0 h 132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2092" h="1322653">
                  <a:moveTo>
                    <a:pt x="0" y="0"/>
                  </a:moveTo>
                  <a:lnTo>
                    <a:pt x="1937932" y="1"/>
                  </a:lnTo>
                  <a:cubicBezTo>
                    <a:pt x="2266078" y="1"/>
                    <a:pt x="2532092" y="296087"/>
                    <a:pt x="2532092" y="661327"/>
                  </a:cubicBezTo>
                  <a:cubicBezTo>
                    <a:pt x="2532092" y="1026567"/>
                    <a:pt x="2266078" y="1322653"/>
                    <a:pt x="1937932" y="1322653"/>
                  </a:cubicBezTo>
                  <a:lnTo>
                    <a:pt x="2" y="1322653"/>
                  </a:lnTo>
                  <a:cubicBezTo>
                    <a:pt x="2" y="884419"/>
                    <a:pt x="0" y="438234"/>
                    <a:pt x="0" y="0"/>
                  </a:cubicBezTo>
                  <a:close/>
                </a:path>
              </a:pathLst>
            </a:custGeom>
            <a:solidFill>
              <a:srgbClr val="FFFFFF"/>
            </a:solidFill>
            <a:ln>
              <a:noFill/>
              <a:headEnd type="none" w="med" len="med"/>
              <a:tailEnd type="none" w="med" len="med"/>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sp>
          <p:nvSpPr>
            <p:cNvPr id="201" name="TextBox 200"/>
            <p:cNvSpPr txBox="1"/>
            <p:nvPr/>
          </p:nvSpPr>
          <p:spPr>
            <a:xfrm>
              <a:off x="9153942" y="1975961"/>
              <a:ext cx="1327988" cy="221630"/>
            </a:xfrm>
            <a:prstGeom prst="rect">
              <a:avLst/>
            </a:prstGeom>
            <a:noFill/>
          </p:spPr>
          <p:txBody>
            <a:bodyPr wrap="none" lIns="0" tIns="0" rIns="0" bIns="0" rtlCol="0">
              <a:spAutoFit/>
            </a:bodyPr>
            <a:lstStyle/>
            <a:p>
              <a:pPr defTabSz="914225">
                <a:lnSpc>
                  <a:spcPct val="90000"/>
                </a:lnSpc>
              </a:pPr>
              <a:r>
                <a:rPr lang="en-GB" sz="1600" spc="-50" dirty="0">
                  <a:gradFill>
                    <a:gsLst>
                      <a:gs pos="0">
                        <a:srgbClr val="00BCF2"/>
                      </a:gs>
                      <a:gs pos="100000">
                        <a:srgbClr val="00BCF2"/>
                      </a:gs>
                    </a:gsLst>
                    <a:lin ang="5400000" scaled="1"/>
                  </a:gradFill>
                </a:rPr>
                <a:t>Virtual Network</a:t>
              </a:r>
            </a:p>
          </p:txBody>
        </p:sp>
      </p:grpSp>
      <p:sp>
        <p:nvSpPr>
          <p:cNvPr id="202" name="Rectangle 201"/>
          <p:cNvSpPr/>
          <p:nvPr/>
        </p:nvSpPr>
        <p:spPr bwMode="auto">
          <a:xfrm>
            <a:off x="2522362" y="4240931"/>
            <a:ext cx="3624035" cy="184641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sp>
        <p:nvSpPr>
          <p:cNvPr id="203" name="Rectangle 202"/>
          <p:cNvSpPr/>
          <p:nvPr/>
        </p:nvSpPr>
        <p:spPr bwMode="auto">
          <a:xfrm>
            <a:off x="2648319" y="4678683"/>
            <a:ext cx="3386775" cy="12899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grpSp>
        <p:nvGrpSpPr>
          <p:cNvPr id="204" name="Group 203"/>
          <p:cNvGrpSpPr/>
          <p:nvPr/>
        </p:nvGrpSpPr>
        <p:grpSpPr>
          <a:xfrm>
            <a:off x="2793552" y="5352907"/>
            <a:ext cx="634863" cy="177205"/>
            <a:chOff x="269242" y="4440866"/>
            <a:chExt cx="1300374" cy="362963"/>
          </a:xfrm>
          <a:solidFill>
            <a:schemeClr val="accent5"/>
          </a:solidFill>
        </p:grpSpPr>
        <p:sp>
          <p:nvSpPr>
            <p:cNvPr id="205"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06"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07"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08"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09" name="Group 208"/>
          <p:cNvGrpSpPr/>
          <p:nvPr/>
        </p:nvGrpSpPr>
        <p:grpSpPr>
          <a:xfrm>
            <a:off x="2793552" y="5642714"/>
            <a:ext cx="634863" cy="177205"/>
            <a:chOff x="269242" y="4440866"/>
            <a:chExt cx="1300374" cy="362963"/>
          </a:xfrm>
          <a:solidFill>
            <a:schemeClr val="accent5"/>
          </a:solidFill>
        </p:grpSpPr>
        <p:sp>
          <p:nvSpPr>
            <p:cNvPr id="210"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11"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12"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13"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14" name="Group 213"/>
          <p:cNvGrpSpPr/>
          <p:nvPr/>
        </p:nvGrpSpPr>
        <p:grpSpPr>
          <a:xfrm>
            <a:off x="4278263" y="5061986"/>
            <a:ext cx="634863" cy="177205"/>
            <a:chOff x="269242" y="4440866"/>
            <a:chExt cx="1300374" cy="362963"/>
          </a:xfrm>
          <a:solidFill>
            <a:srgbClr val="E70F0F"/>
          </a:solidFill>
        </p:grpSpPr>
        <p:sp>
          <p:nvSpPr>
            <p:cNvPr id="215"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16"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17"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18"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19" name="Group 218"/>
          <p:cNvGrpSpPr/>
          <p:nvPr/>
        </p:nvGrpSpPr>
        <p:grpSpPr>
          <a:xfrm>
            <a:off x="3536767" y="5061986"/>
            <a:ext cx="634863" cy="177205"/>
            <a:chOff x="269242" y="4440866"/>
            <a:chExt cx="1300374" cy="362963"/>
          </a:xfrm>
          <a:solidFill>
            <a:schemeClr val="accent3"/>
          </a:solidFill>
        </p:grpSpPr>
        <p:sp>
          <p:nvSpPr>
            <p:cNvPr id="220"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21"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22"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23"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24" name="Group 223"/>
          <p:cNvGrpSpPr/>
          <p:nvPr/>
        </p:nvGrpSpPr>
        <p:grpSpPr>
          <a:xfrm>
            <a:off x="2795273" y="5065585"/>
            <a:ext cx="634863" cy="177205"/>
            <a:chOff x="269242" y="4440866"/>
            <a:chExt cx="1300374" cy="362963"/>
          </a:xfrm>
          <a:solidFill>
            <a:schemeClr val="accent2"/>
          </a:solidFill>
        </p:grpSpPr>
        <p:sp>
          <p:nvSpPr>
            <p:cNvPr id="225"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26"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27"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28"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sp>
        <p:nvSpPr>
          <p:cNvPr id="229" name="Rectangle 228"/>
          <p:cNvSpPr/>
          <p:nvPr/>
        </p:nvSpPr>
        <p:spPr bwMode="auto">
          <a:xfrm>
            <a:off x="3494886" y="4989998"/>
            <a:ext cx="749990" cy="3127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sp>
        <p:nvSpPr>
          <p:cNvPr id="230" name="Rectangle 229"/>
          <p:cNvSpPr/>
          <p:nvPr/>
        </p:nvSpPr>
        <p:spPr bwMode="auto">
          <a:xfrm>
            <a:off x="4200093" y="4989998"/>
            <a:ext cx="749990" cy="3127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pic>
        <p:nvPicPr>
          <p:cNvPr id="193" name="Picture 19474"/>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491609" y="4895047"/>
            <a:ext cx="706966" cy="1184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1" name="Rectangle 230"/>
          <p:cNvSpPr/>
          <p:nvPr/>
        </p:nvSpPr>
        <p:spPr bwMode="auto">
          <a:xfrm>
            <a:off x="2743910" y="4997289"/>
            <a:ext cx="749990" cy="3127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grpSp>
        <p:nvGrpSpPr>
          <p:cNvPr id="232" name="Group 231"/>
          <p:cNvGrpSpPr/>
          <p:nvPr/>
        </p:nvGrpSpPr>
        <p:grpSpPr>
          <a:xfrm>
            <a:off x="2793552" y="5064186"/>
            <a:ext cx="634863" cy="177205"/>
            <a:chOff x="269242" y="4440866"/>
            <a:chExt cx="1300374" cy="362963"/>
          </a:xfrm>
          <a:solidFill>
            <a:schemeClr val="accent5"/>
          </a:solidFill>
        </p:grpSpPr>
        <p:sp>
          <p:nvSpPr>
            <p:cNvPr id="233"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34"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35"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36"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37" name="Group 236"/>
          <p:cNvGrpSpPr/>
          <p:nvPr/>
        </p:nvGrpSpPr>
        <p:grpSpPr>
          <a:xfrm>
            <a:off x="4278037" y="5062661"/>
            <a:ext cx="634863" cy="177205"/>
            <a:chOff x="269242" y="4440866"/>
            <a:chExt cx="1300374" cy="362963"/>
          </a:xfrm>
          <a:solidFill>
            <a:schemeClr val="accent5"/>
          </a:solidFill>
        </p:grpSpPr>
        <p:sp>
          <p:nvSpPr>
            <p:cNvPr id="238"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39"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40"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41"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42" name="Group 241"/>
          <p:cNvGrpSpPr/>
          <p:nvPr/>
        </p:nvGrpSpPr>
        <p:grpSpPr>
          <a:xfrm>
            <a:off x="3534795" y="5062661"/>
            <a:ext cx="634863" cy="177205"/>
            <a:chOff x="269242" y="4440866"/>
            <a:chExt cx="1300374" cy="362963"/>
          </a:xfrm>
          <a:solidFill>
            <a:schemeClr val="accent5"/>
          </a:solidFill>
        </p:grpSpPr>
        <p:sp>
          <p:nvSpPr>
            <p:cNvPr id="243"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44"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45"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46"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47" name="Group 246"/>
          <p:cNvGrpSpPr/>
          <p:nvPr/>
        </p:nvGrpSpPr>
        <p:grpSpPr>
          <a:xfrm>
            <a:off x="3534795" y="5351381"/>
            <a:ext cx="634863" cy="177205"/>
            <a:chOff x="269242" y="4440866"/>
            <a:chExt cx="1300374" cy="362963"/>
          </a:xfrm>
          <a:solidFill>
            <a:schemeClr val="accent5"/>
          </a:solidFill>
        </p:grpSpPr>
        <p:sp>
          <p:nvSpPr>
            <p:cNvPr id="248"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49"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50"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51"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52" name="Group 251"/>
          <p:cNvGrpSpPr/>
          <p:nvPr/>
        </p:nvGrpSpPr>
        <p:grpSpPr>
          <a:xfrm>
            <a:off x="3534795" y="5641189"/>
            <a:ext cx="634863" cy="177205"/>
            <a:chOff x="269242" y="4440866"/>
            <a:chExt cx="1300374" cy="362963"/>
          </a:xfrm>
          <a:solidFill>
            <a:schemeClr val="accent5"/>
          </a:solidFill>
        </p:grpSpPr>
        <p:sp>
          <p:nvSpPr>
            <p:cNvPr id="253"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54"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55"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56"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57" name="Group 256"/>
          <p:cNvGrpSpPr/>
          <p:nvPr/>
        </p:nvGrpSpPr>
        <p:grpSpPr>
          <a:xfrm>
            <a:off x="4278037" y="5351381"/>
            <a:ext cx="634863" cy="177205"/>
            <a:chOff x="269242" y="4440866"/>
            <a:chExt cx="1300374" cy="362963"/>
          </a:xfrm>
          <a:solidFill>
            <a:schemeClr val="accent5"/>
          </a:solidFill>
        </p:grpSpPr>
        <p:sp>
          <p:nvSpPr>
            <p:cNvPr id="258"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59"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60"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61"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62" name="Group 261"/>
          <p:cNvGrpSpPr/>
          <p:nvPr/>
        </p:nvGrpSpPr>
        <p:grpSpPr>
          <a:xfrm>
            <a:off x="4278037" y="5641189"/>
            <a:ext cx="634863" cy="177205"/>
            <a:chOff x="269242" y="4440866"/>
            <a:chExt cx="1300374" cy="362963"/>
          </a:xfrm>
          <a:solidFill>
            <a:schemeClr val="accent5"/>
          </a:solidFill>
        </p:grpSpPr>
        <p:sp>
          <p:nvSpPr>
            <p:cNvPr id="263"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64"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65"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66"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sp>
        <p:nvSpPr>
          <p:cNvPr id="267" name="TextBox 266"/>
          <p:cNvSpPr txBox="1"/>
          <p:nvPr/>
        </p:nvSpPr>
        <p:spPr>
          <a:xfrm>
            <a:off x="2753711" y="4757455"/>
            <a:ext cx="1325299" cy="221599"/>
          </a:xfrm>
          <a:prstGeom prst="rect">
            <a:avLst/>
          </a:prstGeom>
          <a:noFill/>
        </p:spPr>
        <p:txBody>
          <a:bodyPr wrap="none" lIns="0" tIns="0" rIns="0" bIns="0" rtlCol="0">
            <a:spAutoFit/>
          </a:bodyPr>
          <a:lstStyle/>
          <a:p>
            <a:pPr defTabSz="914225">
              <a:lnSpc>
                <a:spcPct val="90000"/>
              </a:lnSpc>
            </a:pPr>
            <a:r>
              <a:rPr lang="en-GB" sz="1600" spc="-50" dirty="0">
                <a:gradFill>
                  <a:gsLst>
                    <a:gs pos="0">
                      <a:srgbClr val="0072C6"/>
                    </a:gs>
                    <a:gs pos="100000">
                      <a:srgbClr val="0072C6"/>
                    </a:gs>
                  </a:gsLst>
                  <a:lin ang="5400000" scaled="1"/>
                </a:gradFill>
              </a:rPr>
              <a:t>Your </a:t>
            </a:r>
            <a:r>
              <a:rPr lang="en-GB" sz="1600" spc="-50" dirty="0" err="1">
                <a:gradFill>
                  <a:gsLst>
                    <a:gs pos="0">
                      <a:srgbClr val="0072C6"/>
                    </a:gs>
                    <a:gs pos="100000">
                      <a:srgbClr val="0072C6"/>
                    </a:gs>
                  </a:gsLst>
                  <a:lin ang="5400000" scaled="1"/>
                </a:gradFill>
              </a:rPr>
              <a:t>datacenter</a:t>
            </a:r>
            <a:endParaRPr lang="en-GB" sz="1600" spc="-50" dirty="0">
              <a:gradFill>
                <a:gsLst>
                  <a:gs pos="0">
                    <a:srgbClr val="0072C6"/>
                  </a:gs>
                  <a:gs pos="100000">
                    <a:srgbClr val="0072C6"/>
                  </a:gs>
                </a:gsLst>
                <a:lin ang="5400000" scaled="1"/>
              </a:gradFill>
            </a:endParaRPr>
          </a:p>
        </p:txBody>
      </p:sp>
      <p:sp>
        <p:nvSpPr>
          <p:cNvPr id="268" name="TextBox 267"/>
          <p:cNvSpPr txBox="1"/>
          <p:nvPr/>
        </p:nvSpPr>
        <p:spPr>
          <a:xfrm>
            <a:off x="2635868" y="4289600"/>
            <a:ext cx="1553074" cy="325865"/>
          </a:xfrm>
          <a:prstGeom prst="rect">
            <a:avLst/>
          </a:prstGeom>
          <a:noFill/>
        </p:spPr>
        <p:txBody>
          <a:bodyPr wrap="none" lIns="0" tIns="0" rIns="0" bIns="0" rtlCol="0">
            <a:spAutoFit/>
          </a:bodyPr>
          <a:lstStyle/>
          <a:p>
            <a:pPr defTabSz="914225">
              <a:lnSpc>
                <a:spcPct val="90000"/>
              </a:lnSpc>
            </a:pPr>
            <a:r>
              <a:rPr lang="en-GB" sz="2353" spc="-50" dirty="0">
                <a:solidFill>
                  <a:srgbClr val="FFFFFF"/>
                </a:solidFill>
                <a:latin typeface="Segoe UI Light"/>
              </a:rPr>
              <a:t>On-premises</a:t>
            </a:r>
          </a:p>
        </p:txBody>
      </p:sp>
      <p:grpSp>
        <p:nvGrpSpPr>
          <p:cNvPr id="269" name="Group 268"/>
          <p:cNvGrpSpPr/>
          <p:nvPr/>
        </p:nvGrpSpPr>
        <p:grpSpPr>
          <a:xfrm>
            <a:off x="7981397" y="3292536"/>
            <a:ext cx="588312" cy="888890"/>
            <a:chOff x="9207611" y="2200275"/>
            <a:chExt cx="588396" cy="889016"/>
          </a:xfrm>
        </p:grpSpPr>
        <p:sp>
          <p:nvSpPr>
            <p:cNvPr id="270" name="Rectangle 269"/>
            <p:cNvSpPr/>
            <p:nvPr/>
          </p:nvSpPr>
          <p:spPr bwMode="auto">
            <a:xfrm>
              <a:off x="9207611" y="2200275"/>
              <a:ext cx="588396" cy="88901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grpSp>
          <p:nvGrpSpPr>
            <p:cNvPr id="271" name="Group 270"/>
            <p:cNvGrpSpPr/>
            <p:nvPr/>
          </p:nvGrpSpPr>
          <p:grpSpPr>
            <a:xfrm>
              <a:off x="9271693" y="2469683"/>
              <a:ext cx="460232" cy="547854"/>
              <a:chOff x="10525682" y="2393482"/>
              <a:chExt cx="460232" cy="547854"/>
            </a:xfrm>
          </p:grpSpPr>
          <p:grpSp>
            <p:nvGrpSpPr>
              <p:cNvPr id="273" name="Group 272"/>
              <p:cNvGrpSpPr/>
              <p:nvPr/>
            </p:nvGrpSpPr>
            <p:grpSpPr>
              <a:xfrm>
                <a:off x="10525682" y="2393482"/>
                <a:ext cx="460232" cy="128461"/>
                <a:chOff x="269242" y="4440866"/>
                <a:chExt cx="1300374" cy="362963"/>
              </a:xfrm>
              <a:solidFill>
                <a:srgbClr val="FFFFFF"/>
              </a:solidFill>
            </p:grpSpPr>
            <p:sp>
              <p:nvSpPr>
                <p:cNvPr id="284"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85"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86"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87"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74" name="Group 273"/>
              <p:cNvGrpSpPr/>
              <p:nvPr/>
            </p:nvGrpSpPr>
            <p:grpSpPr>
              <a:xfrm>
                <a:off x="10525682" y="2602784"/>
                <a:ext cx="460232" cy="128461"/>
                <a:chOff x="269242" y="4440866"/>
                <a:chExt cx="1300374" cy="362963"/>
              </a:xfrm>
              <a:solidFill>
                <a:srgbClr val="FFFFFF"/>
              </a:solidFill>
            </p:grpSpPr>
            <p:sp>
              <p:nvSpPr>
                <p:cNvPr id="280"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81"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82"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83"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75" name="Group 274"/>
              <p:cNvGrpSpPr/>
              <p:nvPr/>
            </p:nvGrpSpPr>
            <p:grpSpPr>
              <a:xfrm>
                <a:off x="10525682" y="2812875"/>
                <a:ext cx="460232" cy="128461"/>
                <a:chOff x="269242" y="4440866"/>
                <a:chExt cx="1300374" cy="362963"/>
              </a:xfrm>
              <a:solidFill>
                <a:srgbClr val="FFFFFF"/>
              </a:solidFill>
            </p:grpSpPr>
            <p:sp>
              <p:nvSpPr>
                <p:cNvPr id="276"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77"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78"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79"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sp>
          <p:nvSpPr>
            <p:cNvPr id="272" name="TextBox 271"/>
            <p:cNvSpPr txBox="1"/>
            <p:nvPr/>
          </p:nvSpPr>
          <p:spPr>
            <a:xfrm>
              <a:off x="9217612" y="2270967"/>
              <a:ext cx="578395" cy="138519"/>
            </a:xfrm>
            <a:prstGeom prst="rect">
              <a:avLst/>
            </a:prstGeom>
            <a:noFill/>
          </p:spPr>
          <p:txBody>
            <a:bodyPr wrap="square" lIns="0" tIns="0" rIns="0" bIns="0" rtlCol="0">
              <a:spAutoFit/>
            </a:bodyPr>
            <a:lstStyle/>
            <a:p>
              <a:pPr algn="ctr" defTabSz="914225">
                <a:lnSpc>
                  <a:spcPct val="90000"/>
                </a:lnSpc>
              </a:pPr>
              <a:r>
                <a:rPr lang="en-GB" sz="1000" spc="-50" dirty="0">
                  <a:solidFill>
                    <a:srgbClr val="FFFFFF"/>
                  </a:solidFill>
                </a:rPr>
                <a:t>Subnet 1</a:t>
              </a:r>
            </a:p>
          </p:txBody>
        </p:sp>
      </p:grpSp>
      <p:grpSp>
        <p:nvGrpSpPr>
          <p:cNvPr id="288" name="Group 287"/>
          <p:cNvGrpSpPr/>
          <p:nvPr/>
        </p:nvGrpSpPr>
        <p:grpSpPr>
          <a:xfrm>
            <a:off x="8609440" y="3292536"/>
            <a:ext cx="588312" cy="888890"/>
            <a:chOff x="9835743" y="2200275"/>
            <a:chExt cx="588396" cy="889016"/>
          </a:xfrm>
        </p:grpSpPr>
        <p:sp>
          <p:nvSpPr>
            <p:cNvPr id="289" name="Rectangle 288"/>
            <p:cNvSpPr/>
            <p:nvPr/>
          </p:nvSpPr>
          <p:spPr bwMode="auto">
            <a:xfrm>
              <a:off x="9835743" y="2200275"/>
              <a:ext cx="588396" cy="88901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grpSp>
          <p:nvGrpSpPr>
            <p:cNvPr id="290" name="Group 289"/>
            <p:cNvGrpSpPr/>
            <p:nvPr/>
          </p:nvGrpSpPr>
          <p:grpSpPr>
            <a:xfrm>
              <a:off x="9899825" y="2470200"/>
              <a:ext cx="460232" cy="547854"/>
              <a:chOff x="10525682" y="2393482"/>
              <a:chExt cx="460232" cy="547854"/>
            </a:xfrm>
          </p:grpSpPr>
          <p:grpSp>
            <p:nvGrpSpPr>
              <p:cNvPr id="292" name="Group 291"/>
              <p:cNvGrpSpPr/>
              <p:nvPr/>
            </p:nvGrpSpPr>
            <p:grpSpPr>
              <a:xfrm>
                <a:off x="10525682" y="2393482"/>
                <a:ext cx="460232" cy="128461"/>
                <a:chOff x="269242" y="4440866"/>
                <a:chExt cx="1300374" cy="362963"/>
              </a:xfrm>
              <a:solidFill>
                <a:srgbClr val="FFFFFF"/>
              </a:solidFill>
            </p:grpSpPr>
            <p:sp>
              <p:nvSpPr>
                <p:cNvPr id="303"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04"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05"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06"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93" name="Group 292"/>
              <p:cNvGrpSpPr/>
              <p:nvPr/>
            </p:nvGrpSpPr>
            <p:grpSpPr>
              <a:xfrm>
                <a:off x="10525682" y="2602784"/>
                <a:ext cx="460232" cy="128461"/>
                <a:chOff x="269242" y="4440866"/>
                <a:chExt cx="1300374" cy="362963"/>
              </a:xfrm>
              <a:solidFill>
                <a:srgbClr val="FFFFFF"/>
              </a:solidFill>
            </p:grpSpPr>
            <p:sp>
              <p:nvSpPr>
                <p:cNvPr id="299"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00"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01"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02"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294" name="Group 293"/>
              <p:cNvGrpSpPr/>
              <p:nvPr/>
            </p:nvGrpSpPr>
            <p:grpSpPr>
              <a:xfrm>
                <a:off x="10525682" y="2812875"/>
                <a:ext cx="460232" cy="128461"/>
                <a:chOff x="269242" y="4440866"/>
                <a:chExt cx="1300374" cy="362963"/>
              </a:xfrm>
              <a:solidFill>
                <a:srgbClr val="FFFFFF"/>
              </a:solidFill>
            </p:grpSpPr>
            <p:sp>
              <p:nvSpPr>
                <p:cNvPr id="295"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96"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97"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298"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sp>
          <p:nvSpPr>
            <p:cNvPr id="291" name="TextBox 290"/>
            <p:cNvSpPr txBox="1"/>
            <p:nvPr/>
          </p:nvSpPr>
          <p:spPr>
            <a:xfrm>
              <a:off x="9840968" y="2271600"/>
              <a:ext cx="578395" cy="138519"/>
            </a:xfrm>
            <a:prstGeom prst="rect">
              <a:avLst/>
            </a:prstGeom>
            <a:noFill/>
          </p:spPr>
          <p:txBody>
            <a:bodyPr wrap="square" lIns="0" tIns="0" rIns="0" bIns="0" rtlCol="0">
              <a:spAutoFit/>
            </a:bodyPr>
            <a:lstStyle/>
            <a:p>
              <a:pPr algn="ctr" defTabSz="914225">
                <a:lnSpc>
                  <a:spcPct val="90000"/>
                </a:lnSpc>
              </a:pPr>
              <a:r>
                <a:rPr lang="en-GB" sz="1000" spc="-50" dirty="0">
                  <a:solidFill>
                    <a:srgbClr val="FFFFFF"/>
                  </a:solidFill>
                </a:rPr>
                <a:t>Subnet 2</a:t>
              </a:r>
            </a:p>
          </p:txBody>
        </p:sp>
      </p:grpSp>
      <p:grpSp>
        <p:nvGrpSpPr>
          <p:cNvPr id="307" name="Group 306"/>
          <p:cNvGrpSpPr/>
          <p:nvPr/>
        </p:nvGrpSpPr>
        <p:grpSpPr>
          <a:xfrm>
            <a:off x="9235208" y="3292536"/>
            <a:ext cx="588312" cy="888890"/>
            <a:chOff x="10461600" y="2200275"/>
            <a:chExt cx="588396" cy="889016"/>
          </a:xfrm>
        </p:grpSpPr>
        <p:sp>
          <p:nvSpPr>
            <p:cNvPr id="308" name="Rectangle 307"/>
            <p:cNvSpPr/>
            <p:nvPr/>
          </p:nvSpPr>
          <p:spPr bwMode="auto">
            <a:xfrm>
              <a:off x="10461600" y="2200275"/>
              <a:ext cx="588396" cy="889016"/>
            </a:xfrm>
            <a:prstGeom prst="rect">
              <a:avLst/>
            </a:prstGeom>
            <a:solidFill>
              <a:srgbClr val="E70F0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grpSp>
          <p:nvGrpSpPr>
            <p:cNvPr id="309" name="Group 308"/>
            <p:cNvGrpSpPr/>
            <p:nvPr/>
          </p:nvGrpSpPr>
          <p:grpSpPr>
            <a:xfrm>
              <a:off x="10525682" y="2469682"/>
              <a:ext cx="460232" cy="547854"/>
              <a:chOff x="10525682" y="2393482"/>
              <a:chExt cx="460232" cy="547854"/>
            </a:xfrm>
          </p:grpSpPr>
          <p:grpSp>
            <p:nvGrpSpPr>
              <p:cNvPr id="311" name="Group 310"/>
              <p:cNvGrpSpPr/>
              <p:nvPr/>
            </p:nvGrpSpPr>
            <p:grpSpPr>
              <a:xfrm>
                <a:off x="10525682" y="2393482"/>
                <a:ext cx="460232" cy="128461"/>
                <a:chOff x="269242" y="4440866"/>
                <a:chExt cx="1300374" cy="362963"/>
              </a:xfrm>
              <a:solidFill>
                <a:srgbClr val="FFFFFF"/>
              </a:solidFill>
            </p:grpSpPr>
            <p:sp>
              <p:nvSpPr>
                <p:cNvPr id="322"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23"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24"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25"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312" name="Group 311"/>
              <p:cNvGrpSpPr/>
              <p:nvPr/>
            </p:nvGrpSpPr>
            <p:grpSpPr>
              <a:xfrm>
                <a:off x="10525682" y="2602784"/>
                <a:ext cx="460232" cy="128461"/>
                <a:chOff x="269242" y="4440866"/>
                <a:chExt cx="1300374" cy="362963"/>
              </a:xfrm>
              <a:solidFill>
                <a:srgbClr val="FFFFFF"/>
              </a:solidFill>
            </p:grpSpPr>
            <p:sp>
              <p:nvSpPr>
                <p:cNvPr id="318"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19"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20"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21"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nvGrpSpPr>
              <p:cNvPr id="313" name="Group 312"/>
              <p:cNvGrpSpPr/>
              <p:nvPr/>
            </p:nvGrpSpPr>
            <p:grpSpPr>
              <a:xfrm>
                <a:off x="10525682" y="2812875"/>
                <a:ext cx="460232" cy="128461"/>
                <a:chOff x="269242" y="4440866"/>
                <a:chExt cx="1300374" cy="362963"/>
              </a:xfrm>
              <a:solidFill>
                <a:srgbClr val="FFFFFF"/>
              </a:solidFill>
            </p:grpSpPr>
            <p:sp>
              <p:nvSpPr>
                <p:cNvPr id="314"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15" name="Oval 6"/>
                <p:cNvSpPr>
                  <a:spLocks noChangeArrowheads="1"/>
                </p:cNvSpPr>
                <p:nvPr/>
              </p:nvSpPr>
              <p:spPr bwMode="auto">
                <a:xfrm rot="16200000">
                  <a:off x="993419"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16" name="Oval 7"/>
                <p:cNvSpPr>
                  <a:spLocks noChangeArrowheads="1"/>
                </p:cNvSpPr>
                <p:nvPr/>
              </p:nvSpPr>
              <p:spPr bwMode="auto">
                <a:xfrm rot="16200000">
                  <a:off x="1081975" y="4588848"/>
                  <a:ext cx="69912" cy="687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17" name="Oval 8"/>
                <p:cNvSpPr>
                  <a:spLocks noChangeArrowheads="1"/>
                </p:cNvSpPr>
                <p:nvPr/>
              </p:nvSpPr>
              <p:spPr bwMode="auto">
                <a:xfrm rot="16200000">
                  <a:off x="1347352" y="4572244"/>
                  <a:ext cx="102538" cy="10195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grpSp>
        <p:sp>
          <p:nvSpPr>
            <p:cNvPr id="310" name="TextBox 309"/>
            <p:cNvSpPr txBox="1"/>
            <p:nvPr/>
          </p:nvSpPr>
          <p:spPr>
            <a:xfrm>
              <a:off x="10463411" y="2271600"/>
              <a:ext cx="578395" cy="138519"/>
            </a:xfrm>
            <a:prstGeom prst="rect">
              <a:avLst/>
            </a:prstGeom>
            <a:noFill/>
          </p:spPr>
          <p:txBody>
            <a:bodyPr wrap="square" lIns="0" tIns="0" rIns="0" bIns="0" rtlCol="0">
              <a:spAutoFit/>
            </a:bodyPr>
            <a:lstStyle/>
            <a:p>
              <a:pPr algn="ctr" defTabSz="914225">
                <a:lnSpc>
                  <a:spcPct val="90000"/>
                </a:lnSpc>
              </a:pPr>
              <a:r>
                <a:rPr lang="en-GB" sz="1000" spc="-50" dirty="0">
                  <a:solidFill>
                    <a:srgbClr val="FFFFFF"/>
                  </a:solidFill>
                </a:rPr>
                <a:t>Subnet 3</a:t>
              </a:r>
            </a:p>
          </p:txBody>
        </p:sp>
      </p:grpSp>
      <p:grpSp>
        <p:nvGrpSpPr>
          <p:cNvPr id="326" name="Group 325"/>
          <p:cNvGrpSpPr/>
          <p:nvPr/>
        </p:nvGrpSpPr>
        <p:grpSpPr>
          <a:xfrm>
            <a:off x="9844382" y="3355822"/>
            <a:ext cx="578313" cy="445381"/>
            <a:chOff x="11070860" y="2263570"/>
            <a:chExt cx="578395" cy="445444"/>
          </a:xfrm>
        </p:grpSpPr>
        <p:grpSp>
          <p:nvGrpSpPr>
            <p:cNvPr id="327" name="Group 326"/>
            <p:cNvGrpSpPr/>
            <p:nvPr/>
          </p:nvGrpSpPr>
          <p:grpSpPr>
            <a:xfrm>
              <a:off x="11122500" y="2580553"/>
              <a:ext cx="460232" cy="128461"/>
              <a:chOff x="269242" y="4440866"/>
              <a:chExt cx="1300374" cy="362963"/>
            </a:xfrm>
          </p:grpSpPr>
          <p:sp>
            <p:nvSpPr>
              <p:cNvPr id="329" name="Freeform 5"/>
              <p:cNvSpPr>
                <a:spLocks noEditPoints="1"/>
              </p:cNvSpPr>
              <p:nvPr/>
            </p:nvSpPr>
            <p:spPr bwMode="auto">
              <a:xfrm rot="16200000">
                <a:off x="737947" y="3972161"/>
                <a:ext cx="362963" cy="1300374"/>
              </a:xfrm>
              <a:custGeom>
                <a:avLst/>
                <a:gdLst>
                  <a:gd name="T0" fmla="*/ 220 w 261"/>
                  <a:gd name="T1" fmla="*/ 0 h 942"/>
                  <a:gd name="T2" fmla="*/ 41 w 261"/>
                  <a:gd name="T3" fmla="*/ 0 h 942"/>
                  <a:gd name="T4" fmla="*/ 0 w 261"/>
                  <a:gd name="T5" fmla="*/ 41 h 942"/>
                  <a:gd name="T6" fmla="*/ 0 w 261"/>
                  <a:gd name="T7" fmla="*/ 901 h 942"/>
                  <a:gd name="T8" fmla="*/ 41 w 261"/>
                  <a:gd name="T9" fmla="*/ 942 h 942"/>
                  <a:gd name="T10" fmla="*/ 220 w 261"/>
                  <a:gd name="T11" fmla="*/ 942 h 942"/>
                  <a:gd name="T12" fmla="*/ 261 w 261"/>
                  <a:gd name="T13" fmla="*/ 901 h 942"/>
                  <a:gd name="T14" fmla="*/ 261 w 261"/>
                  <a:gd name="T15" fmla="*/ 41 h 942"/>
                  <a:gd name="T16" fmla="*/ 220 w 261"/>
                  <a:gd name="T17" fmla="*/ 0 h 942"/>
                  <a:gd name="T18" fmla="*/ 62 w 261"/>
                  <a:gd name="T19" fmla="*/ 86 h 942"/>
                  <a:gd name="T20" fmla="*/ 85 w 261"/>
                  <a:gd name="T21" fmla="*/ 62 h 942"/>
                  <a:gd name="T22" fmla="*/ 175 w 261"/>
                  <a:gd name="T23" fmla="*/ 62 h 942"/>
                  <a:gd name="T24" fmla="*/ 199 w 261"/>
                  <a:gd name="T25" fmla="*/ 86 h 942"/>
                  <a:gd name="T26" fmla="*/ 199 w 261"/>
                  <a:gd name="T27" fmla="*/ 633 h 942"/>
                  <a:gd name="T28" fmla="*/ 175 w 261"/>
                  <a:gd name="T29" fmla="*/ 657 h 942"/>
                  <a:gd name="T30" fmla="*/ 85 w 261"/>
                  <a:gd name="T31" fmla="*/ 657 h 942"/>
                  <a:gd name="T32" fmla="*/ 62 w 261"/>
                  <a:gd name="T33" fmla="*/ 633 h 942"/>
                  <a:gd name="T34" fmla="*/ 62 w 261"/>
                  <a:gd name="T35" fmla="*/ 86 h 942"/>
                  <a:gd name="T36" fmla="*/ 130 w 261"/>
                  <a:gd name="T37" fmla="*/ 887 h 942"/>
                  <a:gd name="T38" fmla="*/ 61 w 261"/>
                  <a:gd name="T39" fmla="*/ 818 h 942"/>
                  <a:gd name="T40" fmla="*/ 130 w 261"/>
                  <a:gd name="T41" fmla="*/ 749 h 942"/>
                  <a:gd name="T42" fmla="*/ 199 w 261"/>
                  <a:gd name="T43" fmla="*/ 818 h 942"/>
                  <a:gd name="T44" fmla="*/ 130 w 261"/>
                  <a:gd name="T45" fmla="*/ 887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942">
                    <a:moveTo>
                      <a:pt x="220" y="0"/>
                    </a:moveTo>
                    <a:cubicBezTo>
                      <a:pt x="41" y="0"/>
                      <a:pt x="41" y="0"/>
                      <a:pt x="41" y="0"/>
                    </a:cubicBezTo>
                    <a:cubicBezTo>
                      <a:pt x="18" y="0"/>
                      <a:pt x="0" y="19"/>
                      <a:pt x="0" y="41"/>
                    </a:cubicBezTo>
                    <a:cubicBezTo>
                      <a:pt x="0" y="901"/>
                      <a:pt x="0" y="901"/>
                      <a:pt x="0" y="901"/>
                    </a:cubicBezTo>
                    <a:cubicBezTo>
                      <a:pt x="0" y="923"/>
                      <a:pt x="18" y="942"/>
                      <a:pt x="41" y="942"/>
                    </a:cubicBezTo>
                    <a:cubicBezTo>
                      <a:pt x="220" y="942"/>
                      <a:pt x="220" y="942"/>
                      <a:pt x="220" y="942"/>
                    </a:cubicBezTo>
                    <a:cubicBezTo>
                      <a:pt x="242" y="942"/>
                      <a:pt x="261" y="923"/>
                      <a:pt x="261" y="901"/>
                    </a:cubicBezTo>
                    <a:cubicBezTo>
                      <a:pt x="261" y="41"/>
                      <a:pt x="261" y="41"/>
                      <a:pt x="261" y="41"/>
                    </a:cubicBezTo>
                    <a:cubicBezTo>
                      <a:pt x="261" y="19"/>
                      <a:pt x="242" y="0"/>
                      <a:pt x="220" y="0"/>
                    </a:cubicBezTo>
                    <a:close/>
                    <a:moveTo>
                      <a:pt x="62" y="86"/>
                    </a:moveTo>
                    <a:cubicBezTo>
                      <a:pt x="62" y="73"/>
                      <a:pt x="72" y="62"/>
                      <a:pt x="85" y="62"/>
                    </a:cubicBezTo>
                    <a:cubicBezTo>
                      <a:pt x="175" y="62"/>
                      <a:pt x="175" y="62"/>
                      <a:pt x="175" y="62"/>
                    </a:cubicBezTo>
                    <a:cubicBezTo>
                      <a:pt x="188" y="62"/>
                      <a:pt x="199" y="73"/>
                      <a:pt x="199" y="86"/>
                    </a:cubicBezTo>
                    <a:cubicBezTo>
                      <a:pt x="199" y="633"/>
                      <a:pt x="199" y="633"/>
                      <a:pt x="199" y="633"/>
                    </a:cubicBezTo>
                    <a:cubicBezTo>
                      <a:pt x="199" y="646"/>
                      <a:pt x="188" y="657"/>
                      <a:pt x="175" y="657"/>
                    </a:cubicBezTo>
                    <a:cubicBezTo>
                      <a:pt x="85" y="657"/>
                      <a:pt x="85" y="657"/>
                      <a:pt x="85" y="657"/>
                    </a:cubicBezTo>
                    <a:cubicBezTo>
                      <a:pt x="72" y="657"/>
                      <a:pt x="62" y="646"/>
                      <a:pt x="62" y="633"/>
                    </a:cubicBezTo>
                    <a:lnTo>
                      <a:pt x="62" y="86"/>
                    </a:lnTo>
                    <a:close/>
                    <a:moveTo>
                      <a:pt x="130" y="887"/>
                    </a:moveTo>
                    <a:cubicBezTo>
                      <a:pt x="92" y="887"/>
                      <a:pt x="61" y="856"/>
                      <a:pt x="61" y="818"/>
                    </a:cubicBezTo>
                    <a:cubicBezTo>
                      <a:pt x="61" y="780"/>
                      <a:pt x="92" y="749"/>
                      <a:pt x="130" y="749"/>
                    </a:cubicBezTo>
                    <a:cubicBezTo>
                      <a:pt x="168" y="749"/>
                      <a:pt x="199" y="780"/>
                      <a:pt x="199" y="818"/>
                    </a:cubicBezTo>
                    <a:cubicBezTo>
                      <a:pt x="199" y="856"/>
                      <a:pt x="168" y="887"/>
                      <a:pt x="130" y="8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30" name="Oval 6"/>
              <p:cNvSpPr>
                <a:spLocks noChangeArrowheads="1"/>
              </p:cNvSpPr>
              <p:nvPr/>
            </p:nvSpPr>
            <p:spPr bwMode="auto">
              <a:xfrm rot="16200000">
                <a:off x="993419" y="4588848"/>
                <a:ext cx="69912" cy="6874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31" name="Oval 7"/>
              <p:cNvSpPr>
                <a:spLocks noChangeArrowheads="1"/>
              </p:cNvSpPr>
              <p:nvPr/>
            </p:nvSpPr>
            <p:spPr bwMode="auto">
              <a:xfrm rot="16200000">
                <a:off x="1081975" y="4588848"/>
                <a:ext cx="69912" cy="6874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sp>
            <p:nvSpPr>
              <p:cNvPr id="332" name="Oval 8"/>
              <p:cNvSpPr>
                <a:spLocks noChangeArrowheads="1"/>
              </p:cNvSpPr>
              <p:nvPr/>
            </p:nvSpPr>
            <p:spPr bwMode="auto">
              <a:xfrm rot="16200000">
                <a:off x="1347352" y="4572244"/>
                <a:ext cx="102538" cy="10195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endParaRPr>
              </a:p>
            </p:txBody>
          </p:sp>
        </p:grpSp>
        <p:sp>
          <p:nvSpPr>
            <p:cNvPr id="328" name="TextBox 327"/>
            <p:cNvSpPr txBox="1"/>
            <p:nvPr/>
          </p:nvSpPr>
          <p:spPr>
            <a:xfrm>
              <a:off x="11070860" y="2263570"/>
              <a:ext cx="578395" cy="277038"/>
            </a:xfrm>
            <a:prstGeom prst="rect">
              <a:avLst/>
            </a:prstGeom>
            <a:noFill/>
          </p:spPr>
          <p:txBody>
            <a:bodyPr wrap="square" lIns="0" tIns="0" rIns="0" bIns="0" rtlCol="0">
              <a:spAutoFit/>
            </a:bodyPr>
            <a:lstStyle/>
            <a:p>
              <a:pPr algn="ctr" defTabSz="914225">
                <a:lnSpc>
                  <a:spcPct val="90000"/>
                </a:lnSpc>
              </a:pPr>
              <a:r>
                <a:rPr lang="en-GB" sz="1000" spc="-50" dirty="0">
                  <a:solidFill>
                    <a:srgbClr val="00188F"/>
                  </a:solidFill>
                </a:rPr>
                <a:t>DNS </a:t>
              </a:r>
            </a:p>
            <a:p>
              <a:pPr algn="ctr" defTabSz="914225">
                <a:lnSpc>
                  <a:spcPct val="90000"/>
                </a:lnSpc>
              </a:pPr>
              <a:r>
                <a:rPr lang="en-GB" sz="1000" spc="-50" dirty="0">
                  <a:solidFill>
                    <a:srgbClr val="00188F"/>
                  </a:solidFill>
                </a:rPr>
                <a:t>Server</a:t>
              </a:r>
            </a:p>
          </p:txBody>
        </p:sp>
      </p:grpSp>
      <p:grpSp>
        <p:nvGrpSpPr>
          <p:cNvPr id="333" name="Group 332"/>
          <p:cNvGrpSpPr/>
          <p:nvPr/>
        </p:nvGrpSpPr>
        <p:grpSpPr>
          <a:xfrm>
            <a:off x="7068615" y="3382310"/>
            <a:ext cx="858622" cy="858622"/>
            <a:chOff x="8237550" y="2337685"/>
            <a:chExt cx="858744" cy="858744"/>
          </a:xfrm>
        </p:grpSpPr>
        <p:sp>
          <p:nvSpPr>
            <p:cNvPr id="334" name="Oval 333"/>
            <p:cNvSpPr/>
            <p:nvPr/>
          </p:nvSpPr>
          <p:spPr bwMode="auto">
            <a:xfrm>
              <a:off x="8237550" y="2337685"/>
              <a:ext cx="858744" cy="858744"/>
            </a:xfrm>
            <a:prstGeom prst="ellipse">
              <a:avLst/>
            </a:prstGeom>
            <a:solidFill>
              <a:srgbClr val="FFFFFF"/>
            </a:solid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grpSp>
          <p:nvGrpSpPr>
            <p:cNvPr id="335" name="Group 334"/>
            <p:cNvGrpSpPr/>
            <p:nvPr/>
          </p:nvGrpSpPr>
          <p:grpSpPr>
            <a:xfrm>
              <a:off x="8415792" y="2409246"/>
              <a:ext cx="510219" cy="407991"/>
              <a:chOff x="8211292" y="5223986"/>
              <a:chExt cx="758176" cy="564219"/>
            </a:xfrm>
            <a:solidFill>
              <a:schemeClr val="accent1"/>
            </a:solidFill>
          </p:grpSpPr>
          <p:sp>
            <p:nvSpPr>
              <p:cNvPr id="337" name="Freeform 207"/>
              <p:cNvSpPr>
                <a:spLocks noEditPoints="1"/>
              </p:cNvSpPr>
              <p:nvPr/>
            </p:nvSpPr>
            <p:spPr bwMode="gray">
              <a:xfrm>
                <a:off x="8211292" y="5223991"/>
                <a:ext cx="758176" cy="56421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57150">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38" name="Freeform 207"/>
              <p:cNvSpPr>
                <a:spLocks noEditPoints="1"/>
              </p:cNvSpPr>
              <p:nvPr/>
            </p:nvSpPr>
            <p:spPr bwMode="gray">
              <a:xfrm>
                <a:off x="8211292" y="5223986"/>
                <a:ext cx="758176" cy="56421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57150">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sp>
          <p:nvSpPr>
            <p:cNvPr id="336" name="TextBox 335"/>
            <p:cNvSpPr txBox="1"/>
            <p:nvPr/>
          </p:nvSpPr>
          <p:spPr>
            <a:xfrm>
              <a:off x="8237550" y="2837982"/>
              <a:ext cx="858744" cy="277038"/>
            </a:xfrm>
            <a:prstGeom prst="rect">
              <a:avLst/>
            </a:prstGeom>
            <a:noFill/>
          </p:spPr>
          <p:txBody>
            <a:bodyPr wrap="square" lIns="0" tIns="0" rIns="0" bIns="0" rtlCol="0">
              <a:spAutoFit/>
            </a:bodyPr>
            <a:lstStyle/>
            <a:p>
              <a:pPr algn="ctr" defTabSz="914225">
                <a:lnSpc>
                  <a:spcPct val="90000"/>
                </a:lnSpc>
              </a:pPr>
              <a:r>
                <a:rPr lang="en-GB" sz="1000" spc="-50" dirty="0">
                  <a:gradFill>
                    <a:gsLst>
                      <a:gs pos="0">
                        <a:srgbClr val="00BCF2"/>
                      </a:gs>
                      <a:gs pos="100000">
                        <a:srgbClr val="00BCF2"/>
                      </a:gs>
                    </a:gsLst>
                    <a:lin ang="5400000" scaled="1"/>
                  </a:gradFill>
                </a:rPr>
                <a:t>VPN </a:t>
              </a:r>
            </a:p>
            <a:p>
              <a:pPr algn="ctr" defTabSz="914225">
                <a:lnSpc>
                  <a:spcPct val="90000"/>
                </a:lnSpc>
              </a:pPr>
              <a:r>
                <a:rPr lang="en-GB" sz="1000" spc="-50" dirty="0">
                  <a:gradFill>
                    <a:gsLst>
                      <a:gs pos="0">
                        <a:srgbClr val="00BCF2"/>
                      </a:gs>
                      <a:gs pos="100000">
                        <a:srgbClr val="00BCF2"/>
                      </a:gs>
                    </a:gsLst>
                    <a:lin ang="5400000" scaled="1"/>
                  </a:gradFill>
                </a:rPr>
                <a:t>Gateway</a:t>
              </a:r>
            </a:p>
          </p:txBody>
        </p:sp>
      </p:grpSp>
      <p:grpSp>
        <p:nvGrpSpPr>
          <p:cNvPr id="339" name="Group 338"/>
          <p:cNvGrpSpPr/>
          <p:nvPr/>
        </p:nvGrpSpPr>
        <p:grpSpPr>
          <a:xfrm>
            <a:off x="5058548" y="5004640"/>
            <a:ext cx="858622" cy="858622"/>
            <a:chOff x="6274904" y="3356777"/>
            <a:chExt cx="858744" cy="858744"/>
          </a:xfrm>
        </p:grpSpPr>
        <p:sp>
          <p:nvSpPr>
            <p:cNvPr id="340" name="Oval 339"/>
            <p:cNvSpPr/>
            <p:nvPr/>
          </p:nvSpPr>
          <p:spPr bwMode="auto">
            <a:xfrm>
              <a:off x="6274904" y="3356777"/>
              <a:ext cx="858744" cy="858744"/>
            </a:xfrm>
            <a:prstGeom prst="ellipse">
              <a:avLst/>
            </a:prstGeom>
            <a:solidFill>
              <a:srgbClr val="FFFFFF"/>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grpSp>
          <p:nvGrpSpPr>
            <p:cNvPr id="341" name="Group 340"/>
            <p:cNvGrpSpPr/>
            <p:nvPr/>
          </p:nvGrpSpPr>
          <p:grpSpPr>
            <a:xfrm>
              <a:off x="6453146" y="3428338"/>
              <a:ext cx="510219" cy="407991"/>
              <a:chOff x="8211292" y="5223986"/>
              <a:chExt cx="758176" cy="564219"/>
            </a:xfrm>
            <a:solidFill>
              <a:schemeClr val="accent1">
                <a:lumMod val="75000"/>
              </a:schemeClr>
            </a:solidFill>
          </p:grpSpPr>
          <p:sp>
            <p:nvSpPr>
              <p:cNvPr id="343" name="Freeform 207"/>
              <p:cNvSpPr>
                <a:spLocks noEditPoints="1"/>
              </p:cNvSpPr>
              <p:nvPr/>
            </p:nvSpPr>
            <p:spPr bwMode="gray">
              <a:xfrm>
                <a:off x="8211292" y="5223991"/>
                <a:ext cx="758176" cy="56421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57150">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44" name="Freeform 207"/>
              <p:cNvSpPr>
                <a:spLocks noEditPoints="1"/>
              </p:cNvSpPr>
              <p:nvPr/>
            </p:nvSpPr>
            <p:spPr bwMode="gray">
              <a:xfrm>
                <a:off x="8211292" y="5223986"/>
                <a:ext cx="758176" cy="56421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5"/>
              </a:solidFill>
              <a:ln w="57150">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sp>
          <p:nvSpPr>
            <p:cNvPr id="342" name="TextBox 341"/>
            <p:cNvSpPr txBox="1"/>
            <p:nvPr/>
          </p:nvSpPr>
          <p:spPr>
            <a:xfrm>
              <a:off x="6274904" y="3857074"/>
              <a:ext cx="858744" cy="277038"/>
            </a:xfrm>
            <a:prstGeom prst="rect">
              <a:avLst/>
            </a:prstGeom>
            <a:noFill/>
          </p:spPr>
          <p:txBody>
            <a:bodyPr wrap="square" lIns="0" tIns="0" rIns="0" bIns="0" rtlCol="0">
              <a:spAutoFit/>
            </a:bodyPr>
            <a:lstStyle/>
            <a:p>
              <a:pPr algn="ctr" defTabSz="914225">
                <a:lnSpc>
                  <a:spcPct val="90000"/>
                </a:lnSpc>
              </a:pPr>
              <a:r>
                <a:rPr lang="en-GB" sz="1000" spc="-50" dirty="0">
                  <a:gradFill>
                    <a:gsLst>
                      <a:gs pos="0">
                        <a:srgbClr val="0072C6"/>
                      </a:gs>
                      <a:gs pos="100000">
                        <a:srgbClr val="0072C6"/>
                      </a:gs>
                    </a:gsLst>
                    <a:lin ang="5400000" scaled="0"/>
                  </a:gradFill>
                </a:rPr>
                <a:t>VPN </a:t>
              </a:r>
            </a:p>
            <a:p>
              <a:pPr algn="ctr" defTabSz="914225">
                <a:lnSpc>
                  <a:spcPct val="90000"/>
                </a:lnSpc>
              </a:pPr>
              <a:r>
                <a:rPr lang="en-GB" sz="1000" spc="-50" dirty="0">
                  <a:gradFill>
                    <a:gsLst>
                      <a:gs pos="0">
                        <a:srgbClr val="0072C6"/>
                      </a:gs>
                      <a:gs pos="100000">
                        <a:srgbClr val="0072C6"/>
                      </a:gs>
                    </a:gsLst>
                    <a:lin ang="5400000" scaled="0"/>
                  </a:gradFill>
                </a:rPr>
                <a:t>Device</a:t>
              </a:r>
            </a:p>
          </p:txBody>
        </p:sp>
      </p:grpSp>
      <p:grpSp>
        <p:nvGrpSpPr>
          <p:cNvPr id="345" name="Group 344"/>
          <p:cNvGrpSpPr/>
          <p:nvPr/>
        </p:nvGrpSpPr>
        <p:grpSpPr>
          <a:xfrm>
            <a:off x="5068783" y="3233669"/>
            <a:ext cx="2013099" cy="1785175"/>
            <a:chOff x="4728664" y="3219435"/>
            <a:chExt cx="2013380" cy="1785427"/>
          </a:xfrm>
        </p:grpSpPr>
        <p:cxnSp>
          <p:nvCxnSpPr>
            <p:cNvPr id="346" name="Elbow Connector 345"/>
            <p:cNvCxnSpPr>
              <a:stCxn id="340" idx="0"/>
              <a:endCxn id="334" idx="2"/>
            </p:cNvCxnSpPr>
            <p:nvPr/>
          </p:nvCxnSpPr>
          <p:spPr>
            <a:xfrm rot="5400000" flipH="1" flipV="1">
              <a:off x="5354960" y="3617779"/>
              <a:ext cx="1193187" cy="1580980"/>
            </a:xfrm>
            <a:prstGeom prst="bentConnector2">
              <a:avLst/>
            </a:prstGeom>
            <a:ln w="5715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7" name="TextBox 346"/>
            <p:cNvSpPr txBox="1"/>
            <p:nvPr/>
          </p:nvSpPr>
          <p:spPr>
            <a:xfrm>
              <a:off x="4728664" y="3219435"/>
              <a:ext cx="2002108" cy="443223"/>
            </a:xfrm>
            <a:prstGeom prst="rect">
              <a:avLst/>
            </a:prstGeom>
            <a:noFill/>
          </p:spPr>
          <p:txBody>
            <a:bodyPr wrap="none" lIns="0" tIns="0" rIns="0" bIns="0" rtlCol="0">
              <a:spAutoFit/>
            </a:bodyPr>
            <a:lstStyle/>
            <a:p>
              <a:pPr algn="ctr" defTabSz="914225">
                <a:lnSpc>
                  <a:spcPct val="90000"/>
                </a:lnSpc>
              </a:pPr>
              <a:r>
                <a:rPr lang="en-GB" sz="1600" spc="-50" dirty="0">
                  <a:solidFill>
                    <a:srgbClr val="969696"/>
                  </a:solidFill>
                </a:rPr>
                <a:t>Multi-tenant site-to-site</a:t>
              </a:r>
            </a:p>
            <a:p>
              <a:pPr algn="ctr" defTabSz="914225">
                <a:lnSpc>
                  <a:spcPct val="90000"/>
                </a:lnSpc>
              </a:pPr>
              <a:r>
                <a:rPr lang="en-GB" sz="1600" spc="-50" dirty="0">
                  <a:solidFill>
                    <a:srgbClr val="969696"/>
                  </a:solidFill>
                </a:rPr>
                <a:t>VPN gateway</a:t>
              </a:r>
            </a:p>
          </p:txBody>
        </p:sp>
      </p:grpSp>
      <p:sp>
        <p:nvSpPr>
          <p:cNvPr id="348" name="Red Top 3"/>
          <p:cNvSpPr/>
          <p:nvPr/>
        </p:nvSpPr>
        <p:spPr>
          <a:xfrm>
            <a:off x="5343710" y="5292355"/>
            <a:ext cx="286101" cy="284313"/>
          </a:xfrm>
          <a:prstGeom prst="ellipse">
            <a:avLst/>
          </a:prstGeom>
          <a:solidFill>
            <a:srgbClr val="FFFFFF"/>
          </a:solidFill>
          <a:ln w="38100">
            <a:solidFill>
              <a:srgbClr val="E70F0F"/>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dirty="0">
              <a:solidFill>
                <a:srgbClr val="FFFFFF"/>
              </a:solidFill>
            </a:endParaRPr>
          </a:p>
        </p:txBody>
      </p:sp>
      <p:sp>
        <p:nvSpPr>
          <p:cNvPr id="349" name="Red Top 2"/>
          <p:cNvSpPr/>
          <p:nvPr/>
        </p:nvSpPr>
        <p:spPr>
          <a:xfrm>
            <a:off x="5343710" y="5292355"/>
            <a:ext cx="286101" cy="284313"/>
          </a:xfrm>
          <a:prstGeom prst="ellipse">
            <a:avLst/>
          </a:prstGeom>
          <a:solidFill>
            <a:srgbClr val="FFFFFF"/>
          </a:solidFill>
          <a:ln w="38100">
            <a:solidFill>
              <a:srgbClr val="E70F0F"/>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dirty="0">
              <a:solidFill>
                <a:srgbClr val="FFFFFF"/>
              </a:solidFill>
            </a:endParaRPr>
          </a:p>
        </p:txBody>
      </p:sp>
      <p:sp>
        <p:nvSpPr>
          <p:cNvPr id="350" name="Red Top Dot"/>
          <p:cNvSpPr/>
          <p:nvPr/>
        </p:nvSpPr>
        <p:spPr>
          <a:xfrm>
            <a:off x="5343710" y="5292355"/>
            <a:ext cx="286101" cy="284313"/>
          </a:xfrm>
          <a:prstGeom prst="ellipse">
            <a:avLst/>
          </a:prstGeom>
          <a:solidFill>
            <a:srgbClr val="FFFFFF"/>
          </a:solidFill>
          <a:ln w="38100">
            <a:solidFill>
              <a:srgbClr val="E70F0F"/>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dirty="0">
              <a:solidFill>
                <a:srgbClr val="FFFFFF"/>
              </a:solidFill>
            </a:endParaRPr>
          </a:p>
        </p:txBody>
      </p:sp>
      <p:sp>
        <p:nvSpPr>
          <p:cNvPr id="351" name="Green Top 8"/>
          <p:cNvSpPr/>
          <p:nvPr/>
        </p:nvSpPr>
        <p:spPr>
          <a:xfrm>
            <a:off x="5343710" y="5292355"/>
            <a:ext cx="286101" cy="284313"/>
          </a:xfrm>
          <a:prstGeom prst="ellipse">
            <a:avLst/>
          </a:prstGeom>
          <a:solidFill>
            <a:srgbClr val="FFFFFF"/>
          </a:solidFill>
          <a:ln w="38100">
            <a:solidFill>
              <a:schemeClr val="accent2"/>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52" name="Green Top 7"/>
          <p:cNvSpPr/>
          <p:nvPr/>
        </p:nvSpPr>
        <p:spPr>
          <a:xfrm>
            <a:off x="5343710" y="5292355"/>
            <a:ext cx="286101" cy="284313"/>
          </a:xfrm>
          <a:prstGeom prst="ellipse">
            <a:avLst/>
          </a:prstGeom>
          <a:solidFill>
            <a:srgbClr val="FFFFFF"/>
          </a:solidFill>
          <a:ln w="38100">
            <a:solidFill>
              <a:schemeClr val="accent2"/>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53" name="Green Top 6"/>
          <p:cNvSpPr/>
          <p:nvPr/>
        </p:nvSpPr>
        <p:spPr>
          <a:xfrm>
            <a:off x="5343710" y="5292355"/>
            <a:ext cx="286101" cy="284313"/>
          </a:xfrm>
          <a:prstGeom prst="ellipse">
            <a:avLst/>
          </a:prstGeom>
          <a:solidFill>
            <a:srgbClr val="FFFFFF"/>
          </a:solidFill>
          <a:ln w="38100">
            <a:solidFill>
              <a:schemeClr val="accent2"/>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54" name="Orange Top 2"/>
          <p:cNvSpPr/>
          <p:nvPr/>
        </p:nvSpPr>
        <p:spPr>
          <a:xfrm>
            <a:off x="5343710" y="5292355"/>
            <a:ext cx="286101" cy="284313"/>
          </a:xfrm>
          <a:prstGeom prst="ellipse">
            <a:avLst/>
          </a:prstGeom>
          <a:solidFill>
            <a:srgbClr val="FFFFFF"/>
          </a:solidFill>
          <a:ln w="38100">
            <a:solidFill>
              <a:srgbClr val="FF8C00"/>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55" name="Orange Top Dot"/>
          <p:cNvSpPr/>
          <p:nvPr/>
        </p:nvSpPr>
        <p:spPr>
          <a:xfrm>
            <a:off x="5343710" y="5292355"/>
            <a:ext cx="286101" cy="284313"/>
          </a:xfrm>
          <a:prstGeom prst="ellipse">
            <a:avLst/>
          </a:prstGeom>
          <a:solidFill>
            <a:srgbClr val="FFFFFF"/>
          </a:solidFill>
          <a:ln w="38100">
            <a:solidFill>
              <a:srgbClr val="FF8C00"/>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56" name="Green Top 5"/>
          <p:cNvSpPr/>
          <p:nvPr/>
        </p:nvSpPr>
        <p:spPr>
          <a:xfrm>
            <a:off x="5343710" y="5292355"/>
            <a:ext cx="286101" cy="284313"/>
          </a:xfrm>
          <a:prstGeom prst="ellipse">
            <a:avLst/>
          </a:prstGeom>
          <a:solidFill>
            <a:srgbClr val="FFFFFF"/>
          </a:solidFill>
          <a:ln w="38100">
            <a:solidFill>
              <a:schemeClr val="accent2"/>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57" name="Green Top 4"/>
          <p:cNvSpPr/>
          <p:nvPr/>
        </p:nvSpPr>
        <p:spPr>
          <a:xfrm>
            <a:off x="5343710" y="5292355"/>
            <a:ext cx="286101" cy="284313"/>
          </a:xfrm>
          <a:prstGeom prst="ellipse">
            <a:avLst/>
          </a:prstGeom>
          <a:solidFill>
            <a:srgbClr val="FFFFFF"/>
          </a:solidFill>
          <a:ln w="38100">
            <a:solidFill>
              <a:schemeClr val="accent2"/>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58" name="Green Top 3"/>
          <p:cNvSpPr/>
          <p:nvPr/>
        </p:nvSpPr>
        <p:spPr>
          <a:xfrm>
            <a:off x="5343710" y="5292355"/>
            <a:ext cx="286101" cy="284313"/>
          </a:xfrm>
          <a:prstGeom prst="ellipse">
            <a:avLst/>
          </a:prstGeom>
          <a:solidFill>
            <a:srgbClr val="FFFFFF"/>
          </a:solidFill>
          <a:ln w="38100">
            <a:solidFill>
              <a:schemeClr val="accent2"/>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59" name="Green Top 2"/>
          <p:cNvSpPr/>
          <p:nvPr/>
        </p:nvSpPr>
        <p:spPr>
          <a:xfrm>
            <a:off x="5343710" y="5292355"/>
            <a:ext cx="286101" cy="284313"/>
          </a:xfrm>
          <a:prstGeom prst="ellipse">
            <a:avLst/>
          </a:prstGeom>
          <a:solidFill>
            <a:srgbClr val="FFFFFF"/>
          </a:solidFill>
          <a:ln w="38100">
            <a:solidFill>
              <a:schemeClr val="accent2"/>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sp>
        <p:nvSpPr>
          <p:cNvPr id="360" name="Green Top Dot"/>
          <p:cNvSpPr/>
          <p:nvPr/>
        </p:nvSpPr>
        <p:spPr>
          <a:xfrm>
            <a:off x="5344808" y="5291795"/>
            <a:ext cx="286101" cy="284313"/>
          </a:xfrm>
          <a:prstGeom prst="ellipse">
            <a:avLst/>
          </a:prstGeom>
          <a:solidFill>
            <a:srgbClr val="FFFFFF"/>
          </a:solidFill>
          <a:ln w="38100">
            <a:solidFill>
              <a:schemeClr val="accent2"/>
            </a:solidFill>
          </a:ln>
          <a:effectLst/>
          <a:scene3d>
            <a:camera prst="orthographicFront">
              <a:rot lat="0" lon="0" rev="0"/>
            </a:camera>
            <a:lightRig rig="threePt" dir="t">
              <a:rot lat="0" lon="0" rev="20400000"/>
            </a:lightRig>
          </a:scene3d>
          <a:sp3d>
            <a:bevelT w="0" h="0" prst="angle"/>
            <a:contourClr>
              <a:srgbClr val="008FBA">
                <a:shade val="25000"/>
                <a:satMod val="150000"/>
              </a:srgbClr>
            </a:contourClr>
          </a:sp3d>
        </p:spPr>
        <p:txBody>
          <a:bodyPr lIns="121882" tIns="60940" rIns="121882" bIns="60940" rtlCol="0" anchor="ctr"/>
          <a:lstStyle/>
          <a:p>
            <a:pPr algn="ctr" defTabSz="914225">
              <a:defRPr/>
            </a:pPr>
            <a:endParaRPr lang="en-US" kern="0">
              <a:solidFill>
                <a:srgbClr val="FFFFFF"/>
              </a:solidFill>
            </a:endParaRPr>
          </a:p>
        </p:txBody>
      </p:sp>
      <p:grpSp>
        <p:nvGrpSpPr>
          <p:cNvPr id="361" name="Group 360"/>
          <p:cNvGrpSpPr/>
          <p:nvPr/>
        </p:nvGrpSpPr>
        <p:grpSpPr>
          <a:xfrm>
            <a:off x="5050337" y="5004394"/>
            <a:ext cx="858622" cy="858622"/>
            <a:chOff x="6274904" y="3356777"/>
            <a:chExt cx="858744" cy="858744"/>
          </a:xfrm>
        </p:grpSpPr>
        <p:sp>
          <p:nvSpPr>
            <p:cNvPr id="362" name="Oval 361"/>
            <p:cNvSpPr/>
            <p:nvPr/>
          </p:nvSpPr>
          <p:spPr bwMode="auto">
            <a:xfrm>
              <a:off x="6274904" y="3356777"/>
              <a:ext cx="858744" cy="858744"/>
            </a:xfrm>
            <a:prstGeom prst="ellipse">
              <a:avLst/>
            </a:prstGeom>
            <a:solidFill>
              <a:srgbClr val="FFFFFF"/>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GB" sz="2000" spc="-50" dirty="0">
                <a:gradFill>
                  <a:gsLst>
                    <a:gs pos="0">
                      <a:srgbClr val="EFEFEF"/>
                    </a:gs>
                    <a:gs pos="100000">
                      <a:srgbClr val="EFEFEF"/>
                    </a:gs>
                  </a:gsLst>
                  <a:lin ang="5400000" scaled="0"/>
                </a:gradFill>
              </a:endParaRPr>
            </a:p>
          </p:txBody>
        </p:sp>
        <p:grpSp>
          <p:nvGrpSpPr>
            <p:cNvPr id="363" name="Group 362"/>
            <p:cNvGrpSpPr/>
            <p:nvPr/>
          </p:nvGrpSpPr>
          <p:grpSpPr>
            <a:xfrm>
              <a:off x="6453146" y="3428338"/>
              <a:ext cx="510219" cy="407991"/>
              <a:chOff x="8211292" y="5223986"/>
              <a:chExt cx="758176" cy="564219"/>
            </a:xfrm>
            <a:solidFill>
              <a:schemeClr val="accent1">
                <a:lumMod val="75000"/>
              </a:schemeClr>
            </a:solidFill>
          </p:grpSpPr>
          <p:sp>
            <p:nvSpPr>
              <p:cNvPr id="365" name="Freeform 207"/>
              <p:cNvSpPr>
                <a:spLocks noEditPoints="1"/>
              </p:cNvSpPr>
              <p:nvPr/>
            </p:nvSpPr>
            <p:spPr bwMode="gray">
              <a:xfrm>
                <a:off x="8211292" y="5223991"/>
                <a:ext cx="758176" cy="56421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57150">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66" name="Freeform 207"/>
              <p:cNvSpPr>
                <a:spLocks noEditPoints="1"/>
              </p:cNvSpPr>
              <p:nvPr/>
            </p:nvSpPr>
            <p:spPr bwMode="gray">
              <a:xfrm>
                <a:off x="8211292" y="5223986"/>
                <a:ext cx="758176" cy="56421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5"/>
              </a:solidFill>
              <a:ln w="57150">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sp>
          <p:nvSpPr>
            <p:cNvPr id="364" name="TextBox 363"/>
            <p:cNvSpPr txBox="1"/>
            <p:nvPr/>
          </p:nvSpPr>
          <p:spPr>
            <a:xfrm>
              <a:off x="6274904" y="3857074"/>
              <a:ext cx="858744" cy="277038"/>
            </a:xfrm>
            <a:prstGeom prst="rect">
              <a:avLst/>
            </a:prstGeom>
            <a:noFill/>
          </p:spPr>
          <p:txBody>
            <a:bodyPr wrap="square" lIns="0" tIns="0" rIns="0" bIns="0" rtlCol="0">
              <a:spAutoFit/>
            </a:bodyPr>
            <a:lstStyle/>
            <a:p>
              <a:pPr algn="ctr" defTabSz="914225">
                <a:lnSpc>
                  <a:spcPct val="90000"/>
                </a:lnSpc>
              </a:pPr>
              <a:r>
                <a:rPr lang="en-GB" sz="1000" spc="-50" dirty="0">
                  <a:gradFill>
                    <a:gsLst>
                      <a:gs pos="0">
                        <a:srgbClr val="0072C6"/>
                      </a:gs>
                      <a:gs pos="100000">
                        <a:srgbClr val="0072C6"/>
                      </a:gs>
                    </a:gsLst>
                    <a:lin ang="5400000" scaled="1"/>
                  </a:gradFill>
                </a:rPr>
                <a:t>VPN </a:t>
              </a:r>
            </a:p>
            <a:p>
              <a:pPr algn="ctr" defTabSz="914225">
                <a:lnSpc>
                  <a:spcPct val="90000"/>
                </a:lnSpc>
              </a:pPr>
              <a:r>
                <a:rPr lang="en-GB" sz="1000" spc="-50" dirty="0">
                  <a:gradFill>
                    <a:gsLst>
                      <a:gs pos="0">
                        <a:srgbClr val="0072C6"/>
                      </a:gs>
                      <a:gs pos="100000">
                        <a:srgbClr val="0072C6"/>
                      </a:gs>
                    </a:gsLst>
                    <a:lin ang="5400000" scaled="1"/>
                  </a:gradFill>
                </a:rPr>
                <a:t>Device</a:t>
              </a:r>
            </a:p>
          </p:txBody>
        </p:sp>
      </p:grpSp>
      <p:sp>
        <p:nvSpPr>
          <p:cNvPr id="26" name="Rectangle 25"/>
          <p:cNvSpPr/>
          <p:nvPr/>
        </p:nvSpPr>
        <p:spPr bwMode="auto">
          <a:xfrm>
            <a:off x="1181119" y="297378"/>
            <a:ext cx="11010881" cy="98671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4102" fontAlgn="base">
              <a:lnSpc>
                <a:spcPct val="90000"/>
              </a:lnSpc>
              <a:spcBef>
                <a:spcPct val="0"/>
              </a:spcBef>
              <a:spcAft>
                <a:spcPct val="0"/>
              </a:spcAft>
            </a:pPr>
            <a:endParaRPr lang="en-US" sz="2353" dirty="0">
              <a:solidFill>
                <a:srgbClr val="FFFFFF"/>
              </a:solidFill>
            </a:endParaRPr>
          </a:p>
        </p:txBody>
      </p:sp>
      <p:sp>
        <p:nvSpPr>
          <p:cNvPr id="27" name="Rectangle 26"/>
          <p:cNvSpPr/>
          <p:nvPr/>
        </p:nvSpPr>
        <p:spPr>
          <a:xfrm>
            <a:off x="1190145" y="623279"/>
            <a:ext cx="10732617" cy="334916"/>
          </a:xfrm>
          <a:prstGeom prst="rect">
            <a:avLst/>
          </a:prstGeom>
        </p:spPr>
        <p:txBody>
          <a:bodyPr wrap="square" lIns="179285">
            <a:spAutoFit/>
          </a:bodyPr>
          <a:lstStyle/>
          <a:p>
            <a:pPr algn="ctr" defTabSz="914102" fontAlgn="base">
              <a:lnSpc>
                <a:spcPct val="90000"/>
              </a:lnSpc>
              <a:spcBef>
                <a:spcPct val="0"/>
              </a:spcBef>
              <a:spcAft>
                <a:spcPct val="0"/>
              </a:spcAft>
            </a:pPr>
            <a:r>
              <a:rPr lang="en-US" sz="1765" dirty="0">
                <a:gradFill>
                  <a:gsLst>
                    <a:gs pos="0">
                      <a:srgbClr val="FFFFFF"/>
                    </a:gs>
                    <a:gs pos="100000">
                      <a:srgbClr val="FFFFFF"/>
                    </a:gs>
                  </a:gsLst>
                  <a:lin ang="5400000" scaled="0"/>
                </a:gradFill>
              </a:rPr>
              <a:t>Remove networking bottlenecks with Software Defined Networking </a:t>
            </a:r>
          </a:p>
        </p:txBody>
      </p:sp>
      <p:sp>
        <p:nvSpPr>
          <p:cNvPr id="368" name="Rectangle 367"/>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369" name="Rectangle 368"/>
          <p:cNvSpPr/>
          <p:nvPr/>
        </p:nvSpPr>
        <p:spPr bwMode="auto">
          <a:xfrm>
            <a:off x="1" y="4997289"/>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370" name="Rectangle 369"/>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371" name="Rectangle 370"/>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629" defTabSz="897243"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smtClean="0">
                <a:gradFill>
                  <a:gsLst>
                    <a:gs pos="47788">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a:t>
            </a:r>
            <a:endParaRPr lang="en-US" sz="1568" spc="-20" dirty="0">
              <a:gradFill>
                <a:gsLst>
                  <a:gs pos="47788">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372" name="Rectangle 371"/>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85" tIns="0" rIns="179285" bIns="161356"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
        <p:nvSpPr>
          <p:cNvPr id="375" name="Rectangle 374"/>
          <p:cNvSpPr/>
          <p:nvPr/>
        </p:nvSpPr>
        <p:spPr bwMode="auto">
          <a:xfrm>
            <a:off x="1181119" y="1311505"/>
            <a:ext cx="5160097" cy="492107"/>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74" name="TextBox 373"/>
          <p:cNvSpPr txBox="1"/>
          <p:nvPr/>
        </p:nvSpPr>
        <p:spPr>
          <a:xfrm>
            <a:off x="1181120" y="1296711"/>
            <a:ext cx="515978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gradFill>
                  <a:gsLst>
                    <a:gs pos="77876">
                      <a:srgbClr val="FFFFFF"/>
                    </a:gs>
                    <a:gs pos="30000">
                      <a:srgbClr val="FFFFFF"/>
                    </a:gs>
                  </a:gsLst>
                  <a:lin ang="5400000" scaled="0"/>
                </a:gradFill>
              </a:rPr>
              <a:t>Windows Server 2012 </a:t>
            </a:r>
            <a:r>
              <a:rPr lang="en-US" sz="1568" dirty="0" smtClean="0">
                <a:gradFill>
                  <a:gsLst>
                    <a:gs pos="77876">
                      <a:srgbClr val="FFFFFF"/>
                    </a:gs>
                    <a:gs pos="30000">
                      <a:srgbClr val="FFFFFF"/>
                    </a:gs>
                  </a:gsLst>
                  <a:lin ang="5400000" scaled="0"/>
                </a:gradFill>
              </a:rPr>
              <a:t>R2 | </a:t>
            </a:r>
            <a:r>
              <a:rPr lang="en-US" sz="1568" dirty="0">
                <a:gradFill>
                  <a:gsLst>
                    <a:gs pos="77876">
                      <a:srgbClr val="FFFFFF"/>
                    </a:gs>
                    <a:gs pos="30000">
                      <a:srgbClr val="FFFFFF"/>
                    </a:gs>
                  </a:gsLst>
                  <a:lin ang="5400000" scaled="0"/>
                </a:gradFill>
              </a:rPr>
              <a:t>System Center 2012 R2</a:t>
            </a:r>
          </a:p>
        </p:txBody>
      </p:sp>
    </p:spTree>
    <p:extLst>
      <p:ext uri="{BB962C8B-B14F-4D97-AF65-F5344CB8AC3E}">
        <p14:creationId xmlns:p14="http://schemas.microsoft.com/office/powerpoint/2010/main" val="263793591"/>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250"/>
                                        <p:tgtEl>
                                          <p:spTgt spid="27"/>
                                        </p:tgtEl>
                                      </p:cBhvr>
                                    </p:animEffect>
                                    <p:set>
                                      <p:cBhvr>
                                        <p:cTn id="7" dur="1" fill="hold">
                                          <p:stCondLst>
                                            <p:cond delay="249"/>
                                          </p:stCondLst>
                                        </p:cTn>
                                        <p:tgtEl>
                                          <p:spTgt spid="27"/>
                                        </p:tgtEl>
                                        <p:attrNameLst>
                                          <p:attrName>style.visibility</p:attrName>
                                        </p:attrNameLst>
                                      </p:cBhvr>
                                      <p:to>
                                        <p:strVal val="hidden"/>
                                      </p:to>
                                    </p:set>
                                  </p:childTnLst>
                                </p:cTn>
                              </p:par>
                              <p:par>
                                <p:cTn id="8" presetID="2" presetClass="exit" presetSubtype="2" decel="100000" fill="hold" grpId="0" nodeType="withEffect">
                                  <p:stCondLst>
                                    <p:cond delay="250"/>
                                  </p:stCondLst>
                                  <p:childTnLst>
                                    <p:anim calcmode="lin" valueType="num">
                                      <p:cBhvr additive="base">
                                        <p:cTn id="9" dur="1250"/>
                                        <p:tgtEl>
                                          <p:spTgt spid="26"/>
                                        </p:tgtEl>
                                        <p:attrNameLst>
                                          <p:attrName>ppt_x</p:attrName>
                                        </p:attrNameLst>
                                      </p:cBhvr>
                                      <p:tavLst>
                                        <p:tav tm="0">
                                          <p:val>
                                            <p:strVal val="ppt_x"/>
                                          </p:val>
                                        </p:tav>
                                        <p:tav tm="100000">
                                          <p:val>
                                            <p:strVal val="1+ppt_w/2"/>
                                          </p:val>
                                        </p:tav>
                                      </p:tavLst>
                                    </p:anim>
                                    <p:anim calcmode="lin" valueType="num">
                                      <p:cBhvr additive="base">
                                        <p:cTn id="10" dur="1250"/>
                                        <p:tgtEl>
                                          <p:spTgt spid="26"/>
                                        </p:tgtEl>
                                        <p:attrNameLst>
                                          <p:attrName>ppt_y</p:attrName>
                                        </p:attrNameLst>
                                      </p:cBhvr>
                                      <p:tavLst>
                                        <p:tav tm="0">
                                          <p:val>
                                            <p:strVal val="ppt_y"/>
                                          </p:val>
                                        </p:tav>
                                        <p:tav tm="100000">
                                          <p:val>
                                            <p:strVal val="ppt_y"/>
                                          </p:val>
                                        </p:tav>
                                      </p:tavLst>
                                    </p:anim>
                                    <p:set>
                                      <p:cBhvr>
                                        <p:cTn id="11" dur="1" fill="hold">
                                          <p:stCondLst>
                                            <p:cond delay="1249"/>
                                          </p:stCondLst>
                                        </p:cTn>
                                        <p:tgtEl>
                                          <p:spTgt spid="26"/>
                                        </p:tgtEl>
                                        <p:attrNameLst>
                                          <p:attrName>style.visibility</p:attrName>
                                        </p:attrNameLst>
                                      </p:cBhvr>
                                      <p:to>
                                        <p:strVal val="hidden"/>
                                      </p:to>
                                    </p:set>
                                  </p:childTnLst>
                                </p:cTn>
                              </p:par>
                              <p:par>
                                <p:cTn id="12" presetID="10" presetClass="entr" presetSubtype="0" fill="hold" nodeType="withEffect">
                                  <p:stCondLst>
                                    <p:cond delay="1250"/>
                                  </p:stCondLst>
                                  <p:childTnLst>
                                    <p:set>
                                      <p:cBhvr>
                                        <p:cTn id="13" dur="1" fill="hold">
                                          <p:stCondLst>
                                            <p:cond delay="0"/>
                                          </p:stCondLst>
                                        </p:cTn>
                                        <p:tgtEl>
                                          <p:spTgt spid="175">
                                            <p:txEl>
                                              <p:pRg st="0" end="0"/>
                                            </p:txEl>
                                          </p:spTgt>
                                        </p:tgtEl>
                                        <p:attrNameLst>
                                          <p:attrName>style.visibility</p:attrName>
                                        </p:attrNameLst>
                                      </p:cBhvr>
                                      <p:to>
                                        <p:strVal val="visible"/>
                                      </p:to>
                                    </p:set>
                                    <p:animEffect transition="in" filter="fade">
                                      <p:cBhvr>
                                        <p:cTn id="14" dur="500"/>
                                        <p:tgtEl>
                                          <p:spTgt spid="175">
                                            <p:txEl>
                                              <p:pRg st="0" end="0"/>
                                            </p:txEl>
                                          </p:spTgt>
                                        </p:tgtEl>
                                      </p:cBhvr>
                                    </p:animEffect>
                                  </p:childTnLst>
                                </p:cTn>
                              </p:par>
                              <p:par>
                                <p:cTn id="15" presetID="10" presetClass="entr" presetSubtype="0" fill="hold" grpId="0" nodeType="withEffect">
                                  <p:stCondLst>
                                    <p:cond delay="125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1" nodeType="clickEffect">
                                  <p:stCondLst>
                                    <p:cond delay="0"/>
                                  </p:stCondLst>
                                  <p:childTnLst>
                                    <p:animEffect transition="out" filter="fade">
                                      <p:cBhvr>
                                        <p:cTn id="21" dur="500"/>
                                        <p:tgtEl>
                                          <p:spTgt spid="5"/>
                                        </p:tgtEl>
                                      </p:cBhvr>
                                    </p:animEffect>
                                    <p:set>
                                      <p:cBhvr>
                                        <p:cTn id="22" dur="1" fill="hold">
                                          <p:stCondLst>
                                            <p:cond delay="499"/>
                                          </p:stCondLst>
                                        </p:cTn>
                                        <p:tgtEl>
                                          <p:spTgt spid="5"/>
                                        </p:tgtEl>
                                        <p:attrNameLst>
                                          <p:attrName>style.visibility</p:attrName>
                                        </p:attrNameLst>
                                      </p:cBhvr>
                                      <p:to>
                                        <p:strVal val="hidden"/>
                                      </p:to>
                                    </p:se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par>
                          <p:cTn id="27" fill="hold">
                            <p:stCondLst>
                              <p:cond delay="1000"/>
                            </p:stCondLst>
                            <p:childTnLst>
                              <p:par>
                                <p:cTn id="28" presetID="10" presetClass="entr" presetSubtype="0" fill="hold" nodeType="afterEffect">
                                  <p:stCondLst>
                                    <p:cond delay="50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nodeType="withEffect">
                                  <p:stCondLst>
                                    <p:cond delay="500"/>
                                  </p:stCondLst>
                                  <p:childTnLst>
                                    <p:set>
                                      <p:cBhvr>
                                        <p:cTn id="32" dur="1" fill="hold">
                                          <p:stCondLst>
                                            <p:cond delay="0"/>
                                          </p:stCondLst>
                                        </p:cTn>
                                        <p:tgtEl>
                                          <p:spTgt spid="48"/>
                                        </p:tgtEl>
                                        <p:attrNameLst>
                                          <p:attrName>style.visibility</p:attrName>
                                        </p:attrNameLst>
                                      </p:cBhvr>
                                      <p:to>
                                        <p:strVal val="visible"/>
                                      </p:to>
                                    </p:set>
                                    <p:animEffect transition="in" filter="fade">
                                      <p:cBhvr>
                                        <p:cTn id="33" dur="500"/>
                                        <p:tgtEl>
                                          <p:spTgt spid="48"/>
                                        </p:tgtEl>
                                      </p:cBhvr>
                                    </p:animEffect>
                                  </p:childTnLst>
                                </p:cTn>
                              </p:par>
                              <p:par>
                                <p:cTn id="34" presetID="10" presetClass="entr" presetSubtype="0" fill="hold" nodeType="withEffect">
                                  <p:stCondLst>
                                    <p:cond delay="500"/>
                                  </p:stCondLst>
                                  <p:childTnLst>
                                    <p:set>
                                      <p:cBhvr>
                                        <p:cTn id="35" dur="1" fill="hold">
                                          <p:stCondLst>
                                            <p:cond delay="0"/>
                                          </p:stCondLst>
                                        </p:cTn>
                                        <p:tgtEl>
                                          <p:spTgt spid="146"/>
                                        </p:tgtEl>
                                        <p:attrNameLst>
                                          <p:attrName>style.visibility</p:attrName>
                                        </p:attrNameLst>
                                      </p:cBhvr>
                                      <p:to>
                                        <p:strVal val="visible"/>
                                      </p:to>
                                    </p:set>
                                    <p:animEffect transition="in" filter="fade">
                                      <p:cBhvr>
                                        <p:cTn id="36" dur="500"/>
                                        <p:tgtEl>
                                          <p:spTgt spid="146"/>
                                        </p:tgtEl>
                                      </p:cBhvr>
                                    </p:animEffect>
                                  </p:childTnLst>
                                </p:cTn>
                              </p:par>
                              <p:par>
                                <p:cTn id="37" presetID="10" presetClass="entr" presetSubtype="0" fill="hold" nodeType="withEffect">
                                  <p:stCondLst>
                                    <p:cond delay="500"/>
                                  </p:stCondLst>
                                  <p:childTnLst>
                                    <p:set>
                                      <p:cBhvr>
                                        <p:cTn id="38" dur="1" fill="hold">
                                          <p:stCondLst>
                                            <p:cond delay="0"/>
                                          </p:stCondLst>
                                        </p:cTn>
                                        <p:tgtEl>
                                          <p:spTgt spid="193"/>
                                        </p:tgtEl>
                                        <p:attrNameLst>
                                          <p:attrName>style.visibility</p:attrName>
                                        </p:attrNameLst>
                                      </p:cBhvr>
                                      <p:to>
                                        <p:strVal val="visible"/>
                                      </p:to>
                                    </p:set>
                                    <p:animEffect transition="in" filter="fade">
                                      <p:cBhvr>
                                        <p:cTn id="39" dur="500"/>
                                        <p:tgtEl>
                                          <p:spTgt spid="193"/>
                                        </p:tgtEl>
                                      </p:cBhvr>
                                    </p:animEffect>
                                  </p:childTnLst>
                                </p:cTn>
                              </p:par>
                              <p:par>
                                <p:cTn id="40" presetID="10" presetClass="entr" presetSubtype="0" fill="hold" nodeType="withEffect">
                                  <p:stCondLst>
                                    <p:cond delay="500"/>
                                  </p:stCondLst>
                                  <p:childTnLst>
                                    <p:set>
                                      <p:cBhvr>
                                        <p:cTn id="41" dur="1" fill="hold">
                                          <p:stCondLst>
                                            <p:cond delay="0"/>
                                          </p:stCondLst>
                                        </p:cTn>
                                        <p:tgtEl>
                                          <p:spTgt spid="96"/>
                                        </p:tgtEl>
                                        <p:attrNameLst>
                                          <p:attrName>style.visibility</p:attrName>
                                        </p:attrNameLst>
                                      </p:cBhvr>
                                      <p:to>
                                        <p:strVal val="visible"/>
                                      </p:to>
                                    </p:set>
                                    <p:animEffect transition="in" filter="fade">
                                      <p:cBhvr>
                                        <p:cTn id="42" dur="500"/>
                                        <p:tgtEl>
                                          <p:spTgt spid="96"/>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145"/>
                                        </p:tgtEl>
                                        <p:attrNameLst>
                                          <p:attrName>style.visibility</p:attrName>
                                        </p:attrNameLst>
                                      </p:cBhvr>
                                      <p:to>
                                        <p:strVal val="visible"/>
                                      </p:to>
                                    </p:set>
                                    <p:animEffect transition="in" filter="fade">
                                      <p:cBhvr>
                                        <p:cTn id="45" dur="500"/>
                                        <p:tgtEl>
                                          <p:spTgt spid="145"/>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144"/>
                                        </p:tgtEl>
                                        <p:attrNameLst>
                                          <p:attrName>style.visibility</p:attrName>
                                        </p:attrNameLst>
                                      </p:cBhvr>
                                      <p:to>
                                        <p:strVal val="visible"/>
                                      </p:to>
                                    </p:set>
                                    <p:animEffect transition="in" filter="fade">
                                      <p:cBhvr>
                                        <p:cTn id="48" dur="500"/>
                                        <p:tgtEl>
                                          <p:spTgt spid="144"/>
                                        </p:tgtEl>
                                      </p:cBhvr>
                                    </p:animEffect>
                                  </p:childTnLst>
                                </p:cTn>
                              </p:par>
                              <p:par>
                                <p:cTn id="49" presetID="10" presetClass="entr" presetSubtype="0" fill="hold" nodeType="withEffect">
                                  <p:stCondLst>
                                    <p:cond delay="50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38"/>
                                        </p:tgtEl>
                                        <p:attrNameLst>
                                          <p:attrName>style.visibility</p:attrName>
                                        </p:attrNameLst>
                                      </p:cBhvr>
                                      <p:to>
                                        <p:strVal val="visible"/>
                                      </p:to>
                                    </p:set>
                                    <p:animEffect transition="in" filter="fade">
                                      <p:cBhvr>
                                        <p:cTn id="54" dur="500"/>
                                        <p:tgtEl>
                                          <p:spTgt spid="38"/>
                                        </p:tgtEl>
                                      </p:cBhvr>
                                    </p:animEffect>
                                  </p:childTnLst>
                                </p:cTn>
                              </p:par>
                              <p:par>
                                <p:cTn id="55" presetID="10" presetClass="entr" presetSubtype="0" fill="hold" nodeType="withEffect">
                                  <p:stCondLst>
                                    <p:cond delay="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par>
                                <p:cTn id="58" presetID="10" presetClass="entr" presetSubtype="0" fill="hold" nodeType="withEffect">
                                  <p:stCondLst>
                                    <p:cond delay="500"/>
                                  </p:stCondLst>
                                  <p:childTnLst>
                                    <p:set>
                                      <p:cBhvr>
                                        <p:cTn id="59" dur="1" fill="hold">
                                          <p:stCondLst>
                                            <p:cond delay="0"/>
                                          </p:stCondLst>
                                        </p:cTn>
                                        <p:tgtEl>
                                          <p:spTgt spid="194"/>
                                        </p:tgtEl>
                                        <p:attrNameLst>
                                          <p:attrName>style.visibility</p:attrName>
                                        </p:attrNameLst>
                                      </p:cBhvr>
                                      <p:to>
                                        <p:strVal val="visible"/>
                                      </p:to>
                                    </p:set>
                                    <p:animEffect transition="in" filter="fade">
                                      <p:cBhvr>
                                        <p:cTn id="60" dur="500"/>
                                        <p:tgtEl>
                                          <p:spTgt spid="194"/>
                                        </p:tgtEl>
                                      </p:cBhvr>
                                    </p:animEffect>
                                  </p:childTnLst>
                                </p:cTn>
                              </p:par>
                              <p:par>
                                <p:cTn id="61" presetID="10" presetClass="entr" presetSubtype="0" fill="hold" grpId="0" nodeType="withEffect">
                                  <p:stCondLst>
                                    <p:cond delay="50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par>
                                <p:cTn id="64" presetID="10" presetClass="entr" presetSubtype="0" fill="hold" nodeType="withEffect">
                                  <p:stCondLst>
                                    <p:cond delay="500"/>
                                  </p:stCondLst>
                                  <p:childTnLst>
                                    <p:set>
                                      <p:cBhvr>
                                        <p:cTn id="65" dur="1" fill="hold">
                                          <p:stCondLst>
                                            <p:cond delay="0"/>
                                          </p:stCondLst>
                                        </p:cTn>
                                        <p:tgtEl>
                                          <p:spTgt spid="195"/>
                                        </p:tgtEl>
                                        <p:attrNameLst>
                                          <p:attrName>style.visibility</p:attrName>
                                        </p:attrNameLst>
                                      </p:cBhvr>
                                      <p:to>
                                        <p:strVal val="visible"/>
                                      </p:to>
                                    </p:set>
                                    <p:animEffect transition="in" filter="fade">
                                      <p:cBhvr>
                                        <p:cTn id="66" dur="500"/>
                                        <p:tgtEl>
                                          <p:spTgt spid="195"/>
                                        </p:tgtEl>
                                      </p:cBhvr>
                                    </p:animEffect>
                                  </p:childTnLst>
                                </p:cTn>
                              </p:par>
                              <p:par>
                                <p:cTn id="67" presetID="10" presetClass="entr" presetSubtype="0" fill="hold" nodeType="withEffect">
                                  <p:stCondLst>
                                    <p:cond delay="500"/>
                                  </p:stCondLst>
                                  <p:childTnLst>
                                    <p:set>
                                      <p:cBhvr>
                                        <p:cTn id="68" dur="1" fill="hold">
                                          <p:stCondLst>
                                            <p:cond delay="0"/>
                                          </p:stCondLst>
                                        </p:cTn>
                                        <p:tgtEl>
                                          <p:spTgt spid="196"/>
                                        </p:tgtEl>
                                        <p:attrNameLst>
                                          <p:attrName>style.visibility</p:attrName>
                                        </p:attrNameLst>
                                      </p:cBhvr>
                                      <p:to>
                                        <p:strVal val="visible"/>
                                      </p:to>
                                    </p:set>
                                    <p:animEffect transition="in" filter="fade">
                                      <p:cBhvr>
                                        <p:cTn id="69" dur="500"/>
                                        <p:tgtEl>
                                          <p:spTgt spid="196"/>
                                        </p:tgtEl>
                                      </p:cBhvr>
                                    </p:animEffect>
                                  </p:childTnLst>
                                </p:cTn>
                              </p:par>
                              <p:par>
                                <p:cTn id="70" presetID="10" presetClass="entr" presetSubtype="0" fill="hold" nodeType="withEffect">
                                  <p:stCondLst>
                                    <p:cond delay="500"/>
                                  </p:stCondLst>
                                  <p:childTnLst>
                                    <p:set>
                                      <p:cBhvr>
                                        <p:cTn id="71" dur="1" fill="hold">
                                          <p:stCondLst>
                                            <p:cond delay="0"/>
                                          </p:stCondLst>
                                        </p:cTn>
                                        <p:tgtEl>
                                          <p:spTgt spid="197"/>
                                        </p:tgtEl>
                                        <p:attrNameLst>
                                          <p:attrName>style.visibility</p:attrName>
                                        </p:attrNameLst>
                                      </p:cBhvr>
                                      <p:to>
                                        <p:strVal val="visible"/>
                                      </p:to>
                                    </p:set>
                                    <p:animEffect transition="in" filter="fade">
                                      <p:cBhvr>
                                        <p:cTn id="72" dur="500"/>
                                        <p:tgtEl>
                                          <p:spTgt spid="197"/>
                                        </p:tgtEl>
                                      </p:cBhvr>
                                    </p:animEffect>
                                  </p:childTnLst>
                                </p:cTn>
                              </p:par>
                              <p:par>
                                <p:cTn id="73" presetID="22" presetClass="entr" presetSubtype="8" fill="hold" grpId="0" nodeType="withEffect">
                                  <p:stCondLst>
                                    <p:cond delay="500"/>
                                  </p:stCondLst>
                                  <p:childTnLst>
                                    <p:set>
                                      <p:cBhvr>
                                        <p:cTn id="74" dur="1" fill="hold">
                                          <p:stCondLst>
                                            <p:cond delay="0"/>
                                          </p:stCondLst>
                                        </p:cTn>
                                        <p:tgtEl>
                                          <p:spTgt spid="47"/>
                                        </p:tgtEl>
                                        <p:attrNameLst>
                                          <p:attrName>style.visibility</p:attrName>
                                        </p:attrNameLst>
                                      </p:cBhvr>
                                      <p:to>
                                        <p:strVal val="visible"/>
                                      </p:to>
                                    </p:set>
                                    <p:animEffect transition="in" filter="wipe(left)">
                                      <p:cBhvr>
                                        <p:cTn id="75" dur="500"/>
                                        <p:tgtEl>
                                          <p:spTgt spid="47"/>
                                        </p:tgtEl>
                                      </p:cBhvr>
                                    </p:animEffect>
                                  </p:childTnLst>
                                </p:cTn>
                              </p:par>
                              <p:par>
                                <p:cTn id="76" presetID="10" presetClass="entr" presetSubtype="0" fill="hold" nodeType="withEffect">
                                  <p:stCondLst>
                                    <p:cond delay="500"/>
                                  </p:stCondLst>
                                  <p:childTnLst>
                                    <p:set>
                                      <p:cBhvr>
                                        <p:cTn id="77" dur="1" fill="hold">
                                          <p:stCondLst>
                                            <p:cond delay="0"/>
                                          </p:stCondLst>
                                        </p:cTn>
                                        <p:tgtEl>
                                          <p:spTgt spid="149"/>
                                        </p:tgtEl>
                                        <p:attrNameLst>
                                          <p:attrName>style.visibility</p:attrName>
                                        </p:attrNameLst>
                                      </p:cBhvr>
                                      <p:to>
                                        <p:strVal val="visible"/>
                                      </p:to>
                                    </p:set>
                                    <p:animEffect transition="in" filter="fade">
                                      <p:cBhvr>
                                        <p:cTn id="78" dur="500"/>
                                        <p:tgtEl>
                                          <p:spTgt spid="149"/>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xit" presetSubtype="0" fill="hold" nodeType="clickEffect">
                                  <p:stCondLst>
                                    <p:cond delay="0"/>
                                  </p:stCondLst>
                                  <p:childTnLst>
                                    <p:animEffect transition="out" filter="fade">
                                      <p:cBhvr>
                                        <p:cTn id="82" dur="500"/>
                                        <p:tgtEl>
                                          <p:spTgt spid="31"/>
                                        </p:tgtEl>
                                      </p:cBhvr>
                                    </p:animEffect>
                                    <p:set>
                                      <p:cBhvr>
                                        <p:cTn id="83" dur="1" fill="hold">
                                          <p:stCondLst>
                                            <p:cond delay="499"/>
                                          </p:stCondLst>
                                        </p:cTn>
                                        <p:tgtEl>
                                          <p:spTgt spid="31"/>
                                        </p:tgtEl>
                                        <p:attrNameLst>
                                          <p:attrName>style.visibility</p:attrName>
                                        </p:attrNameLst>
                                      </p:cBhvr>
                                      <p:to>
                                        <p:strVal val="hidden"/>
                                      </p:to>
                                    </p:set>
                                  </p:childTnLst>
                                </p:cTn>
                              </p:par>
                              <p:par>
                                <p:cTn id="84" presetID="10" presetClass="exit" presetSubtype="0" fill="hold" nodeType="withEffect">
                                  <p:stCondLst>
                                    <p:cond delay="0"/>
                                  </p:stCondLst>
                                  <p:childTnLst>
                                    <p:animEffect transition="out" filter="fade">
                                      <p:cBhvr>
                                        <p:cTn id="85" dur="500"/>
                                        <p:tgtEl>
                                          <p:spTgt spid="48"/>
                                        </p:tgtEl>
                                      </p:cBhvr>
                                    </p:animEffect>
                                    <p:set>
                                      <p:cBhvr>
                                        <p:cTn id="86" dur="1" fill="hold">
                                          <p:stCondLst>
                                            <p:cond delay="499"/>
                                          </p:stCondLst>
                                        </p:cTn>
                                        <p:tgtEl>
                                          <p:spTgt spid="48"/>
                                        </p:tgtEl>
                                        <p:attrNameLst>
                                          <p:attrName>style.visibility</p:attrName>
                                        </p:attrNameLst>
                                      </p:cBhvr>
                                      <p:to>
                                        <p:strVal val="hidden"/>
                                      </p:to>
                                    </p:set>
                                  </p:childTnLst>
                                </p:cTn>
                              </p:par>
                              <p:par>
                                <p:cTn id="87" presetID="10" presetClass="exit" presetSubtype="0" fill="hold" nodeType="withEffect">
                                  <p:stCondLst>
                                    <p:cond delay="0"/>
                                  </p:stCondLst>
                                  <p:childTnLst>
                                    <p:animEffect transition="out" filter="fade">
                                      <p:cBhvr>
                                        <p:cTn id="88" dur="500"/>
                                        <p:tgtEl>
                                          <p:spTgt spid="146"/>
                                        </p:tgtEl>
                                      </p:cBhvr>
                                    </p:animEffect>
                                    <p:set>
                                      <p:cBhvr>
                                        <p:cTn id="89" dur="1" fill="hold">
                                          <p:stCondLst>
                                            <p:cond delay="499"/>
                                          </p:stCondLst>
                                        </p:cTn>
                                        <p:tgtEl>
                                          <p:spTgt spid="146"/>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193"/>
                                        </p:tgtEl>
                                      </p:cBhvr>
                                    </p:animEffect>
                                    <p:set>
                                      <p:cBhvr>
                                        <p:cTn id="92" dur="1" fill="hold">
                                          <p:stCondLst>
                                            <p:cond delay="499"/>
                                          </p:stCondLst>
                                        </p:cTn>
                                        <p:tgtEl>
                                          <p:spTgt spid="193"/>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96"/>
                                        </p:tgtEl>
                                      </p:cBhvr>
                                    </p:animEffect>
                                    <p:set>
                                      <p:cBhvr>
                                        <p:cTn id="95" dur="1" fill="hold">
                                          <p:stCondLst>
                                            <p:cond delay="499"/>
                                          </p:stCondLst>
                                        </p:cTn>
                                        <p:tgtEl>
                                          <p:spTgt spid="96"/>
                                        </p:tgtEl>
                                        <p:attrNameLst>
                                          <p:attrName>style.visibility</p:attrName>
                                        </p:attrNameLst>
                                      </p:cBhvr>
                                      <p:to>
                                        <p:strVal val="hidden"/>
                                      </p:to>
                                    </p:set>
                                  </p:childTnLst>
                                </p:cTn>
                              </p:par>
                              <p:par>
                                <p:cTn id="96" presetID="10" presetClass="exit" presetSubtype="0" fill="hold" grpId="1" nodeType="withEffect">
                                  <p:stCondLst>
                                    <p:cond delay="0"/>
                                  </p:stCondLst>
                                  <p:childTnLst>
                                    <p:animEffect transition="out" filter="fade">
                                      <p:cBhvr>
                                        <p:cTn id="97" dur="500"/>
                                        <p:tgtEl>
                                          <p:spTgt spid="145"/>
                                        </p:tgtEl>
                                      </p:cBhvr>
                                    </p:animEffect>
                                    <p:set>
                                      <p:cBhvr>
                                        <p:cTn id="98" dur="1" fill="hold">
                                          <p:stCondLst>
                                            <p:cond delay="499"/>
                                          </p:stCondLst>
                                        </p:cTn>
                                        <p:tgtEl>
                                          <p:spTgt spid="145"/>
                                        </p:tgtEl>
                                        <p:attrNameLst>
                                          <p:attrName>style.visibility</p:attrName>
                                        </p:attrNameLst>
                                      </p:cBhvr>
                                      <p:to>
                                        <p:strVal val="hidden"/>
                                      </p:to>
                                    </p:set>
                                  </p:childTnLst>
                                </p:cTn>
                              </p:par>
                              <p:par>
                                <p:cTn id="99" presetID="10" presetClass="exit" presetSubtype="0" fill="hold" grpId="1" nodeType="withEffect">
                                  <p:stCondLst>
                                    <p:cond delay="0"/>
                                  </p:stCondLst>
                                  <p:childTnLst>
                                    <p:animEffect transition="out" filter="fade">
                                      <p:cBhvr>
                                        <p:cTn id="100" dur="500"/>
                                        <p:tgtEl>
                                          <p:spTgt spid="144"/>
                                        </p:tgtEl>
                                      </p:cBhvr>
                                    </p:animEffect>
                                    <p:set>
                                      <p:cBhvr>
                                        <p:cTn id="101" dur="1" fill="hold">
                                          <p:stCondLst>
                                            <p:cond delay="499"/>
                                          </p:stCondLst>
                                        </p:cTn>
                                        <p:tgtEl>
                                          <p:spTgt spid="144"/>
                                        </p:tgtEl>
                                        <p:attrNameLst>
                                          <p:attrName>style.visibility</p:attrName>
                                        </p:attrNameLst>
                                      </p:cBhvr>
                                      <p:to>
                                        <p:strVal val="hidden"/>
                                      </p:to>
                                    </p:set>
                                  </p:childTnLst>
                                </p:cTn>
                              </p:par>
                              <p:par>
                                <p:cTn id="102" presetID="10" presetClass="exit" presetSubtype="0" fill="hold" nodeType="withEffect">
                                  <p:stCondLst>
                                    <p:cond delay="0"/>
                                  </p:stCondLst>
                                  <p:childTnLst>
                                    <p:animEffect transition="out" filter="fade">
                                      <p:cBhvr>
                                        <p:cTn id="103" dur="500"/>
                                        <p:tgtEl>
                                          <p:spTgt spid="35"/>
                                        </p:tgtEl>
                                      </p:cBhvr>
                                    </p:animEffect>
                                    <p:set>
                                      <p:cBhvr>
                                        <p:cTn id="104" dur="1" fill="hold">
                                          <p:stCondLst>
                                            <p:cond delay="499"/>
                                          </p:stCondLst>
                                        </p:cTn>
                                        <p:tgtEl>
                                          <p:spTgt spid="35"/>
                                        </p:tgtEl>
                                        <p:attrNameLst>
                                          <p:attrName>style.visibility</p:attrName>
                                        </p:attrNameLst>
                                      </p:cBhvr>
                                      <p:to>
                                        <p:strVal val="hidden"/>
                                      </p:to>
                                    </p:set>
                                  </p:childTnLst>
                                </p:cTn>
                              </p:par>
                              <p:par>
                                <p:cTn id="105" presetID="10" presetClass="exit" presetSubtype="0" fill="hold" grpId="1" nodeType="withEffect">
                                  <p:stCondLst>
                                    <p:cond delay="0"/>
                                  </p:stCondLst>
                                  <p:childTnLst>
                                    <p:animEffect transition="out" filter="fade">
                                      <p:cBhvr>
                                        <p:cTn id="106" dur="500"/>
                                        <p:tgtEl>
                                          <p:spTgt spid="38"/>
                                        </p:tgtEl>
                                      </p:cBhvr>
                                    </p:animEffect>
                                    <p:set>
                                      <p:cBhvr>
                                        <p:cTn id="107" dur="1" fill="hold">
                                          <p:stCondLst>
                                            <p:cond delay="499"/>
                                          </p:stCondLst>
                                        </p:cTn>
                                        <p:tgtEl>
                                          <p:spTgt spid="38"/>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194"/>
                                        </p:tgtEl>
                                      </p:cBhvr>
                                    </p:animEffect>
                                    <p:set>
                                      <p:cBhvr>
                                        <p:cTn id="113" dur="1" fill="hold">
                                          <p:stCondLst>
                                            <p:cond delay="499"/>
                                          </p:stCondLst>
                                        </p:cTn>
                                        <p:tgtEl>
                                          <p:spTgt spid="194"/>
                                        </p:tgtEl>
                                        <p:attrNameLst>
                                          <p:attrName>style.visibility</p:attrName>
                                        </p:attrNameLst>
                                      </p:cBhvr>
                                      <p:to>
                                        <p:strVal val="hidden"/>
                                      </p:to>
                                    </p:set>
                                  </p:childTnLst>
                                </p:cTn>
                              </p:par>
                              <p:par>
                                <p:cTn id="114" presetID="10" presetClass="exit" presetSubtype="0" fill="hold" grpId="1" nodeType="withEffect">
                                  <p:stCondLst>
                                    <p:cond delay="0"/>
                                  </p:stCondLst>
                                  <p:childTnLst>
                                    <p:animEffect transition="out" filter="fade">
                                      <p:cBhvr>
                                        <p:cTn id="115" dur="500"/>
                                        <p:tgtEl>
                                          <p:spTgt spid="34"/>
                                        </p:tgtEl>
                                      </p:cBhvr>
                                    </p:animEffect>
                                    <p:set>
                                      <p:cBhvr>
                                        <p:cTn id="116" dur="1" fill="hold">
                                          <p:stCondLst>
                                            <p:cond delay="499"/>
                                          </p:stCondLst>
                                        </p:cTn>
                                        <p:tgtEl>
                                          <p:spTgt spid="34"/>
                                        </p:tgtEl>
                                        <p:attrNameLst>
                                          <p:attrName>style.visibility</p:attrName>
                                        </p:attrNameLst>
                                      </p:cBhvr>
                                      <p:to>
                                        <p:strVal val="hidden"/>
                                      </p:to>
                                    </p:set>
                                  </p:childTnLst>
                                </p:cTn>
                              </p:par>
                              <p:par>
                                <p:cTn id="117" presetID="10" presetClass="exit" presetSubtype="0" fill="hold" nodeType="withEffect">
                                  <p:stCondLst>
                                    <p:cond delay="0"/>
                                  </p:stCondLst>
                                  <p:childTnLst>
                                    <p:animEffect transition="out" filter="fade">
                                      <p:cBhvr>
                                        <p:cTn id="118" dur="500"/>
                                        <p:tgtEl>
                                          <p:spTgt spid="195"/>
                                        </p:tgtEl>
                                      </p:cBhvr>
                                    </p:animEffect>
                                    <p:set>
                                      <p:cBhvr>
                                        <p:cTn id="119" dur="1" fill="hold">
                                          <p:stCondLst>
                                            <p:cond delay="499"/>
                                          </p:stCondLst>
                                        </p:cTn>
                                        <p:tgtEl>
                                          <p:spTgt spid="195"/>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196"/>
                                        </p:tgtEl>
                                      </p:cBhvr>
                                    </p:animEffect>
                                    <p:set>
                                      <p:cBhvr>
                                        <p:cTn id="122" dur="1" fill="hold">
                                          <p:stCondLst>
                                            <p:cond delay="499"/>
                                          </p:stCondLst>
                                        </p:cTn>
                                        <p:tgtEl>
                                          <p:spTgt spid="196"/>
                                        </p:tgtEl>
                                        <p:attrNameLst>
                                          <p:attrName>style.visibility</p:attrName>
                                        </p:attrNameLst>
                                      </p:cBhvr>
                                      <p:to>
                                        <p:strVal val="hidden"/>
                                      </p:to>
                                    </p:set>
                                  </p:childTnLst>
                                </p:cTn>
                              </p:par>
                              <p:par>
                                <p:cTn id="123" presetID="10" presetClass="exit" presetSubtype="0" fill="hold" nodeType="withEffect">
                                  <p:stCondLst>
                                    <p:cond delay="0"/>
                                  </p:stCondLst>
                                  <p:childTnLst>
                                    <p:animEffect transition="out" filter="fade">
                                      <p:cBhvr>
                                        <p:cTn id="124" dur="500"/>
                                        <p:tgtEl>
                                          <p:spTgt spid="197"/>
                                        </p:tgtEl>
                                      </p:cBhvr>
                                    </p:animEffect>
                                    <p:set>
                                      <p:cBhvr>
                                        <p:cTn id="125" dur="1" fill="hold">
                                          <p:stCondLst>
                                            <p:cond delay="499"/>
                                          </p:stCondLst>
                                        </p:cTn>
                                        <p:tgtEl>
                                          <p:spTgt spid="197"/>
                                        </p:tgtEl>
                                        <p:attrNameLst>
                                          <p:attrName>style.visibility</p:attrName>
                                        </p:attrNameLst>
                                      </p:cBhvr>
                                      <p:to>
                                        <p:strVal val="hidden"/>
                                      </p:to>
                                    </p:set>
                                  </p:childTnLst>
                                </p:cTn>
                              </p:par>
                              <p:par>
                                <p:cTn id="126" presetID="10" presetClass="exit" presetSubtype="0" fill="hold" grpId="1" nodeType="withEffect">
                                  <p:stCondLst>
                                    <p:cond delay="0"/>
                                  </p:stCondLst>
                                  <p:childTnLst>
                                    <p:animEffect transition="out" filter="fade">
                                      <p:cBhvr>
                                        <p:cTn id="127" dur="500"/>
                                        <p:tgtEl>
                                          <p:spTgt spid="47"/>
                                        </p:tgtEl>
                                      </p:cBhvr>
                                    </p:animEffect>
                                    <p:set>
                                      <p:cBhvr>
                                        <p:cTn id="128" dur="1" fill="hold">
                                          <p:stCondLst>
                                            <p:cond delay="499"/>
                                          </p:stCondLst>
                                        </p:cTn>
                                        <p:tgtEl>
                                          <p:spTgt spid="47"/>
                                        </p:tgtEl>
                                        <p:attrNameLst>
                                          <p:attrName>style.visibility</p:attrName>
                                        </p:attrNameLst>
                                      </p:cBhvr>
                                      <p:to>
                                        <p:strVal val="hidden"/>
                                      </p:to>
                                    </p:set>
                                  </p:childTnLst>
                                </p:cTn>
                              </p:par>
                              <p:par>
                                <p:cTn id="129" presetID="10" presetClass="exit" presetSubtype="0" fill="hold" nodeType="withEffect">
                                  <p:stCondLst>
                                    <p:cond delay="0"/>
                                  </p:stCondLst>
                                  <p:childTnLst>
                                    <p:animEffect transition="out" filter="fade">
                                      <p:cBhvr>
                                        <p:cTn id="130" dur="500"/>
                                        <p:tgtEl>
                                          <p:spTgt spid="149"/>
                                        </p:tgtEl>
                                      </p:cBhvr>
                                    </p:animEffect>
                                    <p:set>
                                      <p:cBhvr>
                                        <p:cTn id="131" dur="1" fill="hold">
                                          <p:stCondLst>
                                            <p:cond delay="499"/>
                                          </p:stCondLst>
                                        </p:cTn>
                                        <p:tgtEl>
                                          <p:spTgt spid="149"/>
                                        </p:tgtEl>
                                        <p:attrNameLst>
                                          <p:attrName>style.visibility</p:attrName>
                                        </p:attrNameLst>
                                      </p:cBhvr>
                                      <p:to>
                                        <p:strVal val="hidden"/>
                                      </p:to>
                                    </p:set>
                                  </p:childTnLst>
                                </p:cTn>
                              </p:par>
                              <p:par>
                                <p:cTn id="132" presetID="10" presetClass="exit" presetSubtype="0" fill="hold" grpId="0" nodeType="withEffect" nodePh="1">
                                  <p:stCondLst>
                                    <p:cond delay="0"/>
                                  </p:stCondLst>
                                  <p:endCondLst>
                                    <p:cond evt="begin" delay="0">
                                      <p:tn val="132"/>
                                    </p:cond>
                                  </p:endCondLst>
                                  <p:childTnLst>
                                    <p:animEffect transition="out" filter="fade">
                                      <p:cBhvr>
                                        <p:cTn id="133" dur="500"/>
                                        <p:tgtEl>
                                          <p:spTgt spid="30"/>
                                        </p:tgtEl>
                                      </p:cBhvr>
                                    </p:animEffect>
                                    <p:set>
                                      <p:cBhvr>
                                        <p:cTn id="134" dur="1" fill="hold">
                                          <p:stCondLst>
                                            <p:cond delay="499"/>
                                          </p:stCondLst>
                                        </p:cTn>
                                        <p:tgtEl>
                                          <p:spTgt spid="30"/>
                                        </p:tgtEl>
                                        <p:attrNameLst>
                                          <p:attrName>style.visibility</p:attrName>
                                        </p:attrNameLst>
                                      </p:cBhvr>
                                      <p:to>
                                        <p:strVal val="hidden"/>
                                      </p:to>
                                    </p:set>
                                  </p:childTnLst>
                                </p:cTn>
                              </p:par>
                              <p:par>
                                <p:cTn id="135" presetID="10" presetClass="exit" presetSubtype="0" fill="hold" grpId="1" nodeType="withEffect">
                                  <p:stCondLst>
                                    <p:cond delay="0"/>
                                  </p:stCondLst>
                                  <p:childTnLst>
                                    <p:animEffect transition="out" filter="fade">
                                      <p:cBhvr>
                                        <p:cTn id="136" dur="500"/>
                                        <p:tgtEl>
                                          <p:spTgt spid="6"/>
                                        </p:tgtEl>
                                      </p:cBhvr>
                                    </p:animEffect>
                                    <p:set>
                                      <p:cBhvr>
                                        <p:cTn id="137" dur="1" fill="hold">
                                          <p:stCondLst>
                                            <p:cond delay="499"/>
                                          </p:stCondLst>
                                        </p:cTn>
                                        <p:tgtEl>
                                          <p:spTgt spid="6"/>
                                        </p:tgtEl>
                                        <p:attrNameLst>
                                          <p:attrName>style.visibility</p:attrName>
                                        </p:attrNameLst>
                                      </p:cBhvr>
                                      <p:to>
                                        <p:strVal val="hidden"/>
                                      </p:to>
                                    </p:set>
                                  </p:childTnLst>
                                </p:cTn>
                              </p:par>
                            </p:childTnLst>
                          </p:cTn>
                        </p:par>
                        <p:par>
                          <p:cTn id="138" fill="hold">
                            <p:stCondLst>
                              <p:cond delay="500"/>
                            </p:stCondLst>
                            <p:childTnLst>
                              <p:par>
                                <p:cTn id="139" presetID="10" presetClass="entr" presetSubtype="0" fill="hold" grpId="0" nodeType="afterEffect">
                                  <p:stCondLst>
                                    <p:cond delay="0"/>
                                  </p:stCondLst>
                                  <p:childTnLst>
                                    <p:set>
                                      <p:cBhvr>
                                        <p:cTn id="140" dur="1" fill="hold">
                                          <p:stCondLst>
                                            <p:cond delay="0"/>
                                          </p:stCondLst>
                                        </p:cTn>
                                        <p:tgtEl>
                                          <p:spTgt spid="2"/>
                                        </p:tgtEl>
                                        <p:attrNameLst>
                                          <p:attrName>style.visibility</p:attrName>
                                        </p:attrNameLst>
                                      </p:cBhvr>
                                      <p:to>
                                        <p:strVal val="visible"/>
                                      </p:to>
                                    </p:set>
                                    <p:animEffect transition="in" filter="fade">
                                      <p:cBhvr>
                                        <p:cTn id="141" dur="500"/>
                                        <p:tgtEl>
                                          <p:spTgt spid="2"/>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3"/>
                                        </p:tgtEl>
                                        <p:attrNameLst>
                                          <p:attrName>style.visibility</p:attrName>
                                        </p:attrNameLst>
                                      </p:cBhvr>
                                      <p:to>
                                        <p:strVal val="visible"/>
                                      </p:to>
                                    </p:set>
                                    <p:animEffect transition="in" filter="fade">
                                      <p:cBhvr>
                                        <p:cTn id="144" dur="500"/>
                                        <p:tgtEl>
                                          <p:spTgt spid="3"/>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202"/>
                                        </p:tgtEl>
                                        <p:attrNameLst>
                                          <p:attrName>style.visibility</p:attrName>
                                        </p:attrNameLst>
                                      </p:cBhvr>
                                      <p:to>
                                        <p:strVal val="visible"/>
                                      </p:to>
                                    </p:set>
                                    <p:animEffect transition="in" filter="fade">
                                      <p:cBhvr>
                                        <p:cTn id="147" dur="1000"/>
                                        <p:tgtEl>
                                          <p:spTgt spid="202"/>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203"/>
                                        </p:tgtEl>
                                        <p:attrNameLst>
                                          <p:attrName>style.visibility</p:attrName>
                                        </p:attrNameLst>
                                      </p:cBhvr>
                                      <p:to>
                                        <p:strVal val="visible"/>
                                      </p:to>
                                    </p:set>
                                    <p:animEffect transition="in" filter="fade">
                                      <p:cBhvr>
                                        <p:cTn id="150" dur="1000"/>
                                        <p:tgtEl>
                                          <p:spTgt spid="203"/>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267"/>
                                        </p:tgtEl>
                                        <p:attrNameLst>
                                          <p:attrName>style.visibility</p:attrName>
                                        </p:attrNameLst>
                                      </p:cBhvr>
                                      <p:to>
                                        <p:strVal val="visible"/>
                                      </p:to>
                                    </p:set>
                                    <p:animEffect transition="in" filter="fade">
                                      <p:cBhvr>
                                        <p:cTn id="153" dur="1000"/>
                                        <p:tgtEl>
                                          <p:spTgt spid="267"/>
                                        </p:tgtEl>
                                      </p:cBhvr>
                                    </p:animEffect>
                                  </p:childTnLst>
                                </p:cTn>
                              </p:par>
                              <p:par>
                                <p:cTn id="154" presetID="10" presetClass="entr" presetSubtype="0" fill="hold" nodeType="withEffect">
                                  <p:stCondLst>
                                    <p:cond delay="0"/>
                                  </p:stCondLst>
                                  <p:childTnLst>
                                    <p:set>
                                      <p:cBhvr>
                                        <p:cTn id="155" dur="1" fill="hold">
                                          <p:stCondLst>
                                            <p:cond delay="0"/>
                                          </p:stCondLst>
                                        </p:cTn>
                                        <p:tgtEl>
                                          <p:spTgt spid="232"/>
                                        </p:tgtEl>
                                        <p:attrNameLst>
                                          <p:attrName>style.visibility</p:attrName>
                                        </p:attrNameLst>
                                      </p:cBhvr>
                                      <p:to>
                                        <p:strVal val="visible"/>
                                      </p:to>
                                    </p:set>
                                    <p:animEffect transition="in" filter="fade">
                                      <p:cBhvr>
                                        <p:cTn id="156" dur="1000"/>
                                        <p:tgtEl>
                                          <p:spTgt spid="232"/>
                                        </p:tgtEl>
                                      </p:cBhvr>
                                    </p:animEffect>
                                  </p:childTnLst>
                                </p:cTn>
                              </p:par>
                              <p:par>
                                <p:cTn id="157" presetID="10" presetClass="entr" presetSubtype="0" fill="hold" nodeType="withEffect">
                                  <p:stCondLst>
                                    <p:cond delay="0"/>
                                  </p:stCondLst>
                                  <p:childTnLst>
                                    <p:set>
                                      <p:cBhvr>
                                        <p:cTn id="158" dur="1" fill="hold">
                                          <p:stCondLst>
                                            <p:cond delay="0"/>
                                          </p:stCondLst>
                                        </p:cTn>
                                        <p:tgtEl>
                                          <p:spTgt spid="204"/>
                                        </p:tgtEl>
                                        <p:attrNameLst>
                                          <p:attrName>style.visibility</p:attrName>
                                        </p:attrNameLst>
                                      </p:cBhvr>
                                      <p:to>
                                        <p:strVal val="visible"/>
                                      </p:to>
                                    </p:set>
                                    <p:animEffect transition="in" filter="fade">
                                      <p:cBhvr>
                                        <p:cTn id="159" dur="1000"/>
                                        <p:tgtEl>
                                          <p:spTgt spid="204"/>
                                        </p:tgtEl>
                                      </p:cBhvr>
                                    </p:animEffect>
                                  </p:childTnLst>
                                </p:cTn>
                              </p:par>
                              <p:par>
                                <p:cTn id="160" presetID="10" presetClass="entr" presetSubtype="0" fill="hold" nodeType="withEffect">
                                  <p:stCondLst>
                                    <p:cond delay="0"/>
                                  </p:stCondLst>
                                  <p:childTnLst>
                                    <p:set>
                                      <p:cBhvr>
                                        <p:cTn id="161" dur="1" fill="hold">
                                          <p:stCondLst>
                                            <p:cond delay="0"/>
                                          </p:stCondLst>
                                        </p:cTn>
                                        <p:tgtEl>
                                          <p:spTgt spid="209"/>
                                        </p:tgtEl>
                                        <p:attrNameLst>
                                          <p:attrName>style.visibility</p:attrName>
                                        </p:attrNameLst>
                                      </p:cBhvr>
                                      <p:to>
                                        <p:strVal val="visible"/>
                                      </p:to>
                                    </p:set>
                                    <p:animEffect transition="in" filter="fade">
                                      <p:cBhvr>
                                        <p:cTn id="162" dur="1000"/>
                                        <p:tgtEl>
                                          <p:spTgt spid="209"/>
                                        </p:tgtEl>
                                      </p:cBhvr>
                                    </p:animEffect>
                                  </p:childTnLst>
                                </p:cTn>
                              </p:par>
                              <p:par>
                                <p:cTn id="163" presetID="10" presetClass="entr" presetSubtype="0" fill="hold" nodeType="withEffect">
                                  <p:stCondLst>
                                    <p:cond delay="0"/>
                                  </p:stCondLst>
                                  <p:childTnLst>
                                    <p:set>
                                      <p:cBhvr>
                                        <p:cTn id="164" dur="1" fill="hold">
                                          <p:stCondLst>
                                            <p:cond delay="0"/>
                                          </p:stCondLst>
                                        </p:cTn>
                                        <p:tgtEl>
                                          <p:spTgt spid="252"/>
                                        </p:tgtEl>
                                        <p:attrNameLst>
                                          <p:attrName>style.visibility</p:attrName>
                                        </p:attrNameLst>
                                      </p:cBhvr>
                                      <p:to>
                                        <p:strVal val="visible"/>
                                      </p:to>
                                    </p:set>
                                    <p:animEffect transition="in" filter="fade">
                                      <p:cBhvr>
                                        <p:cTn id="165" dur="1000"/>
                                        <p:tgtEl>
                                          <p:spTgt spid="252"/>
                                        </p:tgtEl>
                                      </p:cBhvr>
                                    </p:animEffect>
                                  </p:childTnLst>
                                </p:cTn>
                              </p:par>
                              <p:par>
                                <p:cTn id="166" presetID="10" presetClass="entr" presetSubtype="0" fill="hold" nodeType="withEffect">
                                  <p:stCondLst>
                                    <p:cond delay="0"/>
                                  </p:stCondLst>
                                  <p:childTnLst>
                                    <p:set>
                                      <p:cBhvr>
                                        <p:cTn id="167" dur="1" fill="hold">
                                          <p:stCondLst>
                                            <p:cond delay="0"/>
                                          </p:stCondLst>
                                        </p:cTn>
                                        <p:tgtEl>
                                          <p:spTgt spid="247"/>
                                        </p:tgtEl>
                                        <p:attrNameLst>
                                          <p:attrName>style.visibility</p:attrName>
                                        </p:attrNameLst>
                                      </p:cBhvr>
                                      <p:to>
                                        <p:strVal val="visible"/>
                                      </p:to>
                                    </p:set>
                                    <p:animEffect transition="in" filter="fade">
                                      <p:cBhvr>
                                        <p:cTn id="168" dur="1000"/>
                                        <p:tgtEl>
                                          <p:spTgt spid="247"/>
                                        </p:tgtEl>
                                      </p:cBhvr>
                                    </p:animEffect>
                                  </p:childTnLst>
                                </p:cTn>
                              </p:par>
                              <p:par>
                                <p:cTn id="169" presetID="10" presetClass="entr" presetSubtype="0" fill="hold" nodeType="withEffect">
                                  <p:stCondLst>
                                    <p:cond delay="0"/>
                                  </p:stCondLst>
                                  <p:childTnLst>
                                    <p:set>
                                      <p:cBhvr>
                                        <p:cTn id="170" dur="1" fill="hold">
                                          <p:stCondLst>
                                            <p:cond delay="0"/>
                                          </p:stCondLst>
                                        </p:cTn>
                                        <p:tgtEl>
                                          <p:spTgt spid="242"/>
                                        </p:tgtEl>
                                        <p:attrNameLst>
                                          <p:attrName>style.visibility</p:attrName>
                                        </p:attrNameLst>
                                      </p:cBhvr>
                                      <p:to>
                                        <p:strVal val="visible"/>
                                      </p:to>
                                    </p:set>
                                    <p:animEffect transition="in" filter="fade">
                                      <p:cBhvr>
                                        <p:cTn id="171" dur="1000"/>
                                        <p:tgtEl>
                                          <p:spTgt spid="242"/>
                                        </p:tgtEl>
                                      </p:cBhvr>
                                    </p:animEffect>
                                  </p:childTnLst>
                                </p:cTn>
                              </p:par>
                              <p:par>
                                <p:cTn id="172" presetID="10" presetClass="entr" presetSubtype="0" fill="hold" nodeType="withEffect">
                                  <p:stCondLst>
                                    <p:cond delay="0"/>
                                  </p:stCondLst>
                                  <p:childTnLst>
                                    <p:set>
                                      <p:cBhvr>
                                        <p:cTn id="173" dur="1" fill="hold">
                                          <p:stCondLst>
                                            <p:cond delay="0"/>
                                          </p:stCondLst>
                                        </p:cTn>
                                        <p:tgtEl>
                                          <p:spTgt spid="237"/>
                                        </p:tgtEl>
                                        <p:attrNameLst>
                                          <p:attrName>style.visibility</p:attrName>
                                        </p:attrNameLst>
                                      </p:cBhvr>
                                      <p:to>
                                        <p:strVal val="visible"/>
                                      </p:to>
                                    </p:set>
                                    <p:animEffect transition="in" filter="fade">
                                      <p:cBhvr>
                                        <p:cTn id="174" dur="1000"/>
                                        <p:tgtEl>
                                          <p:spTgt spid="237"/>
                                        </p:tgtEl>
                                      </p:cBhvr>
                                    </p:animEffect>
                                  </p:childTnLst>
                                </p:cTn>
                              </p:par>
                              <p:par>
                                <p:cTn id="175" presetID="10" presetClass="entr" presetSubtype="0" fill="hold" nodeType="withEffect">
                                  <p:stCondLst>
                                    <p:cond delay="0"/>
                                  </p:stCondLst>
                                  <p:childTnLst>
                                    <p:set>
                                      <p:cBhvr>
                                        <p:cTn id="176" dur="1" fill="hold">
                                          <p:stCondLst>
                                            <p:cond delay="0"/>
                                          </p:stCondLst>
                                        </p:cTn>
                                        <p:tgtEl>
                                          <p:spTgt spid="257"/>
                                        </p:tgtEl>
                                        <p:attrNameLst>
                                          <p:attrName>style.visibility</p:attrName>
                                        </p:attrNameLst>
                                      </p:cBhvr>
                                      <p:to>
                                        <p:strVal val="visible"/>
                                      </p:to>
                                    </p:set>
                                    <p:animEffect transition="in" filter="fade">
                                      <p:cBhvr>
                                        <p:cTn id="177" dur="1000"/>
                                        <p:tgtEl>
                                          <p:spTgt spid="257"/>
                                        </p:tgtEl>
                                      </p:cBhvr>
                                    </p:animEffect>
                                  </p:childTnLst>
                                </p:cTn>
                              </p:par>
                              <p:par>
                                <p:cTn id="178" presetID="10" presetClass="entr" presetSubtype="0" fill="hold" nodeType="withEffect">
                                  <p:stCondLst>
                                    <p:cond delay="0"/>
                                  </p:stCondLst>
                                  <p:childTnLst>
                                    <p:set>
                                      <p:cBhvr>
                                        <p:cTn id="179" dur="1" fill="hold">
                                          <p:stCondLst>
                                            <p:cond delay="0"/>
                                          </p:stCondLst>
                                        </p:cTn>
                                        <p:tgtEl>
                                          <p:spTgt spid="262"/>
                                        </p:tgtEl>
                                        <p:attrNameLst>
                                          <p:attrName>style.visibility</p:attrName>
                                        </p:attrNameLst>
                                      </p:cBhvr>
                                      <p:to>
                                        <p:strVal val="visible"/>
                                      </p:to>
                                    </p:set>
                                    <p:animEffect transition="in" filter="fade">
                                      <p:cBhvr>
                                        <p:cTn id="180" dur="1000"/>
                                        <p:tgtEl>
                                          <p:spTgt spid="262"/>
                                        </p:tgtEl>
                                      </p:cBhvr>
                                    </p:animEffect>
                                  </p:childTnLst>
                                </p:cTn>
                              </p:par>
                            </p:childTnLst>
                          </p:cTn>
                        </p:par>
                        <p:par>
                          <p:cTn id="181" fill="hold">
                            <p:stCondLst>
                              <p:cond delay="1500"/>
                            </p:stCondLst>
                            <p:childTnLst>
                              <p:par>
                                <p:cTn id="182" presetID="10" presetClass="entr" presetSubtype="0" fill="hold" nodeType="afterEffect">
                                  <p:stCondLst>
                                    <p:cond delay="0"/>
                                  </p:stCondLst>
                                  <p:childTnLst>
                                    <p:set>
                                      <p:cBhvr>
                                        <p:cTn id="183" dur="1" fill="hold">
                                          <p:stCondLst>
                                            <p:cond delay="0"/>
                                          </p:stCondLst>
                                        </p:cTn>
                                        <p:tgtEl>
                                          <p:spTgt spid="198"/>
                                        </p:tgtEl>
                                        <p:attrNameLst>
                                          <p:attrName>style.visibility</p:attrName>
                                        </p:attrNameLst>
                                      </p:cBhvr>
                                      <p:to>
                                        <p:strVal val="visible"/>
                                      </p:to>
                                    </p:set>
                                    <p:animEffect transition="in" filter="fade">
                                      <p:cBhvr>
                                        <p:cTn id="184" dur="1000"/>
                                        <p:tgtEl>
                                          <p:spTgt spid="198"/>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268"/>
                                        </p:tgtEl>
                                        <p:attrNameLst>
                                          <p:attrName>style.visibility</p:attrName>
                                        </p:attrNameLst>
                                      </p:cBhvr>
                                      <p:to>
                                        <p:strVal val="visible"/>
                                      </p:to>
                                    </p:set>
                                    <p:animEffect transition="in" filter="fade">
                                      <p:cBhvr>
                                        <p:cTn id="187" dur="1000"/>
                                        <p:tgtEl>
                                          <p:spTgt spid="268"/>
                                        </p:tgtEl>
                                      </p:cBhvr>
                                    </p:animEffect>
                                  </p:childTnLst>
                                </p:cTn>
                              </p:par>
                            </p:childTnLst>
                          </p:cTn>
                        </p:par>
                        <p:par>
                          <p:cTn id="188" fill="hold">
                            <p:stCondLst>
                              <p:cond delay="2500"/>
                            </p:stCondLst>
                            <p:childTnLst>
                              <p:par>
                                <p:cTn id="189" presetID="10" presetClass="entr" presetSubtype="0" fill="hold" nodeType="afterEffect">
                                  <p:stCondLst>
                                    <p:cond delay="0"/>
                                  </p:stCondLst>
                                  <p:childTnLst>
                                    <p:set>
                                      <p:cBhvr>
                                        <p:cTn id="190" dur="1" fill="hold">
                                          <p:stCondLst>
                                            <p:cond delay="0"/>
                                          </p:stCondLst>
                                        </p:cTn>
                                        <p:tgtEl>
                                          <p:spTgt spid="269"/>
                                        </p:tgtEl>
                                        <p:attrNameLst>
                                          <p:attrName>style.visibility</p:attrName>
                                        </p:attrNameLst>
                                      </p:cBhvr>
                                      <p:to>
                                        <p:strVal val="visible"/>
                                      </p:to>
                                    </p:set>
                                    <p:animEffect transition="in" filter="fade">
                                      <p:cBhvr>
                                        <p:cTn id="191" dur="500"/>
                                        <p:tgtEl>
                                          <p:spTgt spid="269"/>
                                        </p:tgtEl>
                                      </p:cBhvr>
                                    </p:animEffect>
                                  </p:childTnLst>
                                </p:cTn>
                              </p:par>
                            </p:childTnLst>
                          </p:cTn>
                        </p:par>
                        <p:par>
                          <p:cTn id="192" fill="hold">
                            <p:stCondLst>
                              <p:cond delay="3000"/>
                            </p:stCondLst>
                            <p:childTnLst>
                              <p:par>
                                <p:cTn id="193" presetID="10" presetClass="entr" presetSubtype="0" fill="hold" nodeType="afterEffect">
                                  <p:stCondLst>
                                    <p:cond delay="0"/>
                                  </p:stCondLst>
                                  <p:childTnLst>
                                    <p:set>
                                      <p:cBhvr>
                                        <p:cTn id="194" dur="1" fill="hold">
                                          <p:stCondLst>
                                            <p:cond delay="0"/>
                                          </p:stCondLst>
                                        </p:cTn>
                                        <p:tgtEl>
                                          <p:spTgt spid="288"/>
                                        </p:tgtEl>
                                        <p:attrNameLst>
                                          <p:attrName>style.visibility</p:attrName>
                                        </p:attrNameLst>
                                      </p:cBhvr>
                                      <p:to>
                                        <p:strVal val="visible"/>
                                      </p:to>
                                    </p:set>
                                    <p:animEffect transition="in" filter="fade">
                                      <p:cBhvr>
                                        <p:cTn id="195" dur="500"/>
                                        <p:tgtEl>
                                          <p:spTgt spid="288"/>
                                        </p:tgtEl>
                                      </p:cBhvr>
                                    </p:animEffect>
                                  </p:childTnLst>
                                </p:cTn>
                              </p:par>
                            </p:childTnLst>
                          </p:cTn>
                        </p:par>
                        <p:par>
                          <p:cTn id="196" fill="hold">
                            <p:stCondLst>
                              <p:cond delay="3500"/>
                            </p:stCondLst>
                            <p:childTnLst>
                              <p:par>
                                <p:cTn id="197" presetID="10" presetClass="entr" presetSubtype="0" fill="hold" nodeType="afterEffect">
                                  <p:stCondLst>
                                    <p:cond delay="0"/>
                                  </p:stCondLst>
                                  <p:childTnLst>
                                    <p:set>
                                      <p:cBhvr>
                                        <p:cTn id="198" dur="1" fill="hold">
                                          <p:stCondLst>
                                            <p:cond delay="0"/>
                                          </p:stCondLst>
                                        </p:cTn>
                                        <p:tgtEl>
                                          <p:spTgt spid="307"/>
                                        </p:tgtEl>
                                        <p:attrNameLst>
                                          <p:attrName>style.visibility</p:attrName>
                                        </p:attrNameLst>
                                      </p:cBhvr>
                                      <p:to>
                                        <p:strVal val="visible"/>
                                      </p:to>
                                    </p:set>
                                    <p:animEffect transition="in" filter="fade">
                                      <p:cBhvr>
                                        <p:cTn id="199" dur="500"/>
                                        <p:tgtEl>
                                          <p:spTgt spid="307"/>
                                        </p:tgtEl>
                                      </p:cBhvr>
                                    </p:animEffect>
                                  </p:childTnLst>
                                </p:cTn>
                              </p:par>
                            </p:childTnLst>
                          </p:cTn>
                        </p:par>
                        <p:par>
                          <p:cTn id="200" fill="hold">
                            <p:stCondLst>
                              <p:cond delay="4000"/>
                            </p:stCondLst>
                            <p:childTnLst>
                              <p:par>
                                <p:cTn id="201" presetID="10" presetClass="entr" presetSubtype="0" fill="hold" nodeType="afterEffect">
                                  <p:stCondLst>
                                    <p:cond delay="0"/>
                                  </p:stCondLst>
                                  <p:childTnLst>
                                    <p:set>
                                      <p:cBhvr>
                                        <p:cTn id="202" dur="1" fill="hold">
                                          <p:stCondLst>
                                            <p:cond delay="0"/>
                                          </p:stCondLst>
                                        </p:cTn>
                                        <p:tgtEl>
                                          <p:spTgt spid="326"/>
                                        </p:tgtEl>
                                        <p:attrNameLst>
                                          <p:attrName>style.visibility</p:attrName>
                                        </p:attrNameLst>
                                      </p:cBhvr>
                                      <p:to>
                                        <p:strVal val="visible"/>
                                      </p:to>
                                    </p:set>
                                    <p:animEffect transition="in" filter="fade">
                                      <p:cBhvr>
                                        <p:cTn id="203" dur="500"/>
                                        <p:tgtEl>
                                          <p:spTgt spid="326"/>
                                        </p:tgtEl>
                                      </p:cBhvr>
                                    </p:animEffect>
                                  </p:childTnLst>
                                </p:cTn>
                              </p:par>
                            </p:childTnLst>
                          </p:cTn>
                        </p:par>
                        <p:par>
                          <p:cTn id="204" fill="hold">
                            <p:stCondLst>
                              <p:cond delay="4500"/>
                            </p:stCondLst>
                            <p:childTnLst>
                              <p:par>
                                <p:cTn id="205" presetID="10" presetClass="entr" presetSubtype="0" fill="hold" nodeType="afterEffect">
                                  <p:stCondLst>
                                    <p:cond delay="0"/>
                                  </p:stCondLst>
                                  <p:childTnLst>
                                    <p:set>
                                      <p:cBhvr>
                                        <p:cTn id="206" dur="1" fill="hold">
                                          <p:stCondLst>
                                            <p:cond delay="0"/>
                                          </p:stCondLst>
                                        </p:cTn>
                                        <p:tgtEl>
                                          <p:spTgt spid="339"/>
                                        </p:tgtEl>
                                        <p:attrNameLst>
                                          <p:attrName>style.visibility</p:attrName>
                                        </p:attrNameLst>
                                      </p:cBhvr>
                                      <p:to>
                                        <p:strVal val="visible"/>
                                      </p:to>
                                    </p:set>
                                    <p:animEffect transition="in" filter="fade">
                                      <p:cBhvr>
                                        <p:cTn id="207" dur="1000"/>
                                        <p:tgtEl>
                                          <p:spTgt spid="339"/>
                                        </p:tgtEl>
                                      </p:cBhvr>
                                    </p:animEffect>
                                  </p:childTnLst>
                                </p:cTn>
                              </p:par>
                              <p:par>
                                <p:cTn id="208" presetID="10" presetClass="entr" presetSubtype="0" fill="hold" nodeType="withEffect">
                                  <p:stCondLst>
                                    <p:cond delay="0"/>
                                  </p:stCondLst>
                                  <p:childTnLst>
                                    <p:set>
                                      <p:cBhvr>
                                        <p:cTn id="209" dur="1" fill="hold">
                                          <p:stCondLst>
                                            <p:cond delay="0"/>
                                          </p:stCondLst>
                                        </p:cTn>
                                        <p:tgtEl>
                                          <p:spTgt spid="333"/>
                                        </p:tgtEl>
                                        <p:attrNameLst>
                                          <p:attrName>style.visibility</p:attrName>
                                        </p:attrNameLst>
                                      </p:cBhvr>
                                      <p:to>
                                        <p:strVal val="visible"/>
                                      </p:to>
                                    </p:set>
                                    <p:animEffect transition="in" filter="fade">
                                      <p:cBhvr>
                                        <p:cTn id="210" dur="1000"/>
                                        <p:tgtEl>
                                          <p:spTgt spid="333"/>
                                        </p:tgtEl>
                                      </p:cBhvr>
                                    </p:animEffect>
                                  </p:childTnLst>
                                </p:cTn>
                              </p:par>
                            </p:childTnLst>
                          </p:cTn>
                        </p:par>
                        <p:par>
                          <p:cTn id="211" fill="hold">
                            <p:stCondLst>
                              <p:cond delay="5500"/>
                            </p:stCondLst>
                            <p:childTnLst>
                              <p:par>
                                <p:cTn id="212" presetID="10" presetClass="entr" presetSubtype="0" fill="hold" nodeType="afterEffect">
                                  <p:stCondLst>
                                    <p:cond delay="0"/>
                                  </p:stCondLst>
                                  <p:childTnLst>
                                    <p:set>
                                      <p:cBhvr>
                                        <p:cTn id="213" dur="1" fill="hold">
                                          <p:stCondLst>
                                            <p:cond delay="0"/>
                                          </p:stCondLst>
                                        </p:cTn>
                                        <p:tgtEl>
                                          <p:spTgt spid="345"/>
                                        </p:tgtEl>
                                        <p:attrNameLst>
                                          <p:attrName>style.visibility</p:attrName>
                                        </p:attrNameLst>
                                      </p:cBhvr>
                                      <p:to>
                                        <p:strVal val="visible"/>
                                      </p:to>
                                    </p:set>
                                    <p:animEffect transition="in" filter="fade">
                                      <p:cBhvr>
                                        <p:cTn id="214" dur="1000"/>
                                        <p:tgtEl>
                                          <p:spTgt spid="345"/>
                                        </p:tgtEl>
                                      </p:cBhvr>
                                    </p:animEffect>
                                  </p:childTnLst>
                                </p:cTn>
                              </p:par>
                            </p:childTnLst>
                          </p:cTn>
                        </p:par>
                        <p:par>
                          <p:cTn id="215" fill="hold">
                            <p:stCondLst>
                              <p:cond delay="6500"/>
                            </p:stCondLst>
                            <p:childTnLst>
                              <p:par>
                                <p:cTn id="216" presetID="1" presetClass="exit" presetSubtype="0" fill="hold" grpId="0" nodeType="afterEffect">
                                  <p:stCondLst>
                                    <p:cond delay="0"/>
                                  </p:stCondLst>
                                  <p:childTnLst>
                                    <p:set>
                                      <p:cBhvr>
                                        <p:cTn id="217" dur="1" fill="hold">
                                          <p:stCondLst>
                                            <p:cond delay="0"/>
                                          </p:stCondLst>
                                        </p:cTn>
                                        <p:tgtEl>
                                          <p:spTgt spid="231"/>
                                        </p:tgtEl>
                                        <p:attrNameLst>
                                          <p:attrName>style.visibility</p:attrName>
                                        </p:attrNameLst>
                                      </p:cBhvr>
                                      <p:to>
                                        <p:strVal val="hidden"/>
                                      </p:to>
                                    </p:set>
                                  </p:childTnLst>
                                </p:cTn>
                              </p:par>
                              <p:par>
                                <p:cTn id="218" presetID="10" presetClass="exit" presetSubtype="0" fill="hold" nodeType="withEffect">
                                  <p:stCondLst>
                                    <p:cond delay="0"/>
                                  </p:stCondLst>
                                  <p:childTnLst>
                                    <p:animEffect transition="out" filter="fade">
                                      <p:cBhvr>
                                        <p:cTn id="219" dur="250"/>
                                        <p:tgtEl>
                                          <p:spTgt spid="232"/>
                                        </p:tgtEl>
                                      </p:cBhvr>
                                    </p:animEffect>
                                    <p:set>
                                      <p:cBhvr>
                                        <p:cTn id="220" dur="1" fill="hold">
                                          <p:stCondLst>
                                            <p:cond delay="249"/>
                                          </p:stCondLst>
                                        </p:cTn>
                                        <p:tgtEl>
                                          <p:spTgt spid="232"/>
                                        </p:tgtEl>
                                        <p:attrNameLst>
                                          <p:attrName>style.visibility</p:attrName>
                                        </p:attrNameLst>
                                      </p:cBhvr>
                                      <p:to>
                                        <p:strVal val="hidden"/>
                                      </p:to>
                                    </p:set>
                                  </p:childTnLst>
                                </p:cTn>
                              </p:par>
                            </p:childTnLst>
                          </p:cTn>
                        </p:par>
                        <p:par>
                          <p:cTn id="221" fill="hold">
                            <p:stCondLst>
                              <p:cond delay="6750"/>
                            </p:stCondLst>
                            <p:childTnLst>
                              <p:par>
                                <p:cTn id="222" presetID="1" presetClass="entr" presetSubtype="0" fill="hold" nodeType="afterEffect">
                                  <p:stCondLst>
                                    <p:cond delay="0"/>
                                  </p:stCondLst>
                                  <p:childTnLst>
                                    <p:set>
                                      <p:cBhvr>
                                        <p:cTn id="223" dur="1" fill="hold">
                                          <p:stCondLst>
                                            <p:cond delay="0"/>
                                          </p:stCondLst>
                                        </p:cTn>
                                        <p:tgtEl>
                                          <p:spTgt spid="361"/>
                                        </p:tgtEl>
                                        <p:attrNameLst>
                                          <p:attrName>style.visibility</p:attrName>
                                        </p:attrNameLst>
                                      </p:cBhvr>
                                      <p:to>
                                        <p:strVal val="visible"/>
                                      </p:to>
                                    </p:set>
                                  </p:childTnLst>
                                </p:cTn>
                              </p:par>
                            </p:childTnLst>
                          </p:cTn>
                        </p:par>
                        <p:par>
                          <p:cTn id="224" fill="hold">
                            <p:stCondLst>
                              <p:cond delay="6750"/>
                            </p:stCondLst>
                            <p:childTnLst>
                              <p:par>
                                <p:cTn id="225" presetID="1" presetClass="exit" presetSubtype="0" fill="hold" nodeType="afterEffect">
                                  <p:stCondLst>
                                    <p:cond delay="0"/>
                                  </p:stCondLst>
                                  <p:childTnLst>
                                    <p:set>
                                      <p:cBhvr>
                                        <p:cTn id="226" dur="1" fill="hold">
                                          <p:stCondLst>
                                            <p:cond delay="0"/>
                                          </p:stCondLst>
                                        </p:cTn>
                                        <p:tgtEl>
                                          <p:spTgt spid="361"/>
                                        </p:tgtEl>
                                        <p:attrNameLst>
                                          <p:attrName>style.visibility</p:attrName>
                                        </p:attrNameLst>
                                      </p:cBhvr>
                                      <p:to>
                                        <p:strVal val="hidden"/>
                                      </p:to>
                                    </p:set>
                                  </p:childTnLst>
                                </p:cTn>
                              </p:par>
                            </p:childTnLst>
                          </p:cTn>
                        </p:par>
                        <p:par>
                          <p:cTn id="227" fill="hold">
                            <p:stCondLst>
                              <p:cond delay="6750"/>
                            </p:stCondLst>
                            <p:childTnLst>
                              <p:par>
                                <p:cTn id="228" presetID="1" presetClass="entr" presetSubtype="0" fill="hold" grpId="1" nodeType="afterEffect">
                                  <p:stCondLst>
                                    <p:cond delay="0"/>
                                  </p:stCondLst>
                                  <p:childTnLst>
                                    <p:set>
                                      <p:cBhvr>
                                        <p:cTn id="229" dur="1" fill="hold">
                                          <p:stCondLst>
                                            <p:cond delay="0"/>
                                          </p:stCondLst>
                                        </p:cTn>
                                        <p:tgtEl>
                                          <p:spTgt spid="360"/>
                                        </p:tgtEl>
                                        <p:attrNameLst>
                                          <p:attrName>style.visibility</p:attrName>
                                        </p:attrNameLst>
                                      </p:cBhvr>
                                      <p:to>
                                        <p:strVal val="visible"/>
                                      </p:to>
                                    </p:set>
                                  </p:childTnLst>
                                </p:cTn>
                              </p:par>
                              <p:par>
                                <p:cTn id="230" presetID="0" presetClass="path" presetSubtype="0" repeatCount="3000" accel="25000" decel="25000" autoRev="1" fill="hold" grpId="0" nodeType="withEffect">
                                  <p:stCondLst>
                                    <p:cond delay="0"/>
                                  </p:stCondLst>
                                  <p:childTnLst>
                                    <p:animMotion origin="layout" path="M -0.19709 -0.04154 C -0.17399 -0.04085 -0.02923 -0.04267 -0.00051 -0.04199 C -0.00051 -0.13005 -0.00077 -0.17726 -0.00077 -0.23582 L 0.16492 -0.23582 C 0.16492 -0.23559 0.22836 -0.23582 0.22836 -0.23559 " pathEditMode="relative" rAng="0" ptsTypes="AAAAA">
                                      <p:cBhvr>
                                        <p:cTn id="231" dur="2000" fill="hold"/>
                                        <p:tgtEl>
                                          <p:spTgt spid="360"/>
                                        </p:tgtEl>
                                        <p:attrNameLst>
                                          <p:attrName>ppt_x</p:attrName>
                                          <p:attrName>ppt_y</p:attrName>
                                        </p:attrNameLst>
                                      </p:cBhvr>
                                      <p:rCtr x="21266" y="-9714"/>
                                    </p:animMotion>
                                  </p:childTnLst>
                                </p:cTn>
                              </p:par>
                              <p:par>
                                <p:cTn id="232" presetID="1" presetClass="entr" presetSubtype="0" fill="hold" grpId="1" nodeType="withEffect">
                                  <p:stCondLst>
                                    <p:cond delay="100"/>
                                  </p:stCondLst>
                                  <p:childTnLst>
                                    <p:set>
                                      <p:cBhvr>
                                        <p:cTn id="233" dur="1" fill="hold">
                                          <p:stCondLst>
                                            <p:cond delay="0"/>
                                          </p:stCondLst>
                                        </p:cTn>
                                        <p:tgtEl>
                                          <p:spTgt spid="359"/>
                                        </p:tgtEl>
                                        <p:attrNameLst>
                                          <p:attrName>style.visibility</p:attrName>
                                        </p:attrNameLst>
                                      </p:cBhvr>
                                      <p:to>
                                        <p:strVal val="visible"/>
                                      </p:to>
                                    </p:set>
                                  </p:childTnLst>
                                </p:cTn>
                              </p:par>
                              <p:par>
                                <p:cTn id="234" presetID="0" presetClass="path" presetSubtype="0" repeatCount="3000" accel="25000" decel="25000" autoRev="1" fill="hold" grpId="0" nodeType="withEffect">
                                  <p:stCondLst>
                                    <p:cond delay="50"/>
                                  </p:stCondLst>
                                  <p:childTnLst>
                                    <p:animMotion origin="layout" path="M -0.19709 -0.04154 C -0.17398 -0.04085 -0.02923 -0.04267 -0.00051 -0.04199 C -0.00051 -0.13005 -0.00076 -0.17726 -0.00076 -0.23582 L 0.16492 -0.23582 C 0.16492 -0.23559 0.22837 -0.23582 0.22837 -0.23559 " pathEditMode="relative" rAng="0" ptsTypes="AAAAA">
                                      <p:cBhvr>
                                        <p:cTn id="235" dur="2000" fill="hold"/>
                                        <p:tgtEl>
                                          <p:spTgt spid="359"/>
                                        </p:tgtEl>
                                        <p:attrNameLst>
                                          <p:attrName>ppt_x</p:attrName>
                                          <p:attrName>ppt_y</p:attrName>
                                        </p:attrNameLst>
                                      </p:cBhvr>
                                      <p:rCtr x="21266" y="-9714"/>
                                    </p:animMotion>
                                  </p:childTnLst>
                                </p:cTn>
                              </p:par>
                              <p:par>
                                <p:cTn id="236" presetID="1" presetClass="entr" presetSubtype="0" fill="hold" grpId="1" nodeType="withEffect">
                                  <p:stCondLst>
                                    <p:cond delay="100"/>
                                  </p:stCondLst>
                                  <p:childTnLst>
                                    <p:set>
                                      <p:cBhvr>
                                        <p:cTn id="237" dur="1" fill="hold">
                                          <p:stCondLst>
                                            <p:cond delay="0"/>
                                          </p:stCondLst>
                                        </p:cTn>
                                        <p:tgtEl>
                                          <p:spTgt spid="358"/>
                                        </p:tgtEl>
                                        <p:attrNameLst>
                                          <p:attrName>style.visibility</p:attrName>
                                        </p:attrNameLst>
                                      </p:cBhvr>
                                      <p:to>
                                        <p:strVal val="visible"/>
                                      </p:to>
                                    </p:set>
                                  </p:childTnLst>
                                </p:cTn>
                              </p:par>
                              <p:par>
                                <p:cTn id="238" presetID="0" presetClass="path" presetSubtype="0" repeatCount="3000" accel="25000" decel="25000" autoRev="1" fill="hold" grpId="0" nodeType="withEffect">
                                  <p:stCondLst>
                                    <p:cond delay="100"/>
                                  </p:stCondLst>
                                  <p:childTnLst>
                                    <p:animMotion origin="layout" path="M -0.19709 -0.04154 C -0.17398 -0.04085 -0.02923 -0.04267 -0.00051 -0.04199 C -0.00051 -0.13005 -0.00076 -0.17726 -0.00076 -0.23582 L 0.16492 -0.23582 C 0.16492 -0.23559 0.22837 -0.23582 0.22837 -0.23559 " pathEditMode="relative" rAng="0" ptsTypes="AAAAA">
                                      <p:cBhvr>
                                        <p:cTn id="239" dur="2000" fill="hold"/>
                                        <p:tgtEl>
                                          <p:spTgt spid="358"/>
                                        </p:tgtEl>
                                        <p:attrNameLst>
                                          <p:attrName>ppt_x</p:attrName>
                                          <p:attrName>ppt_y</p:attrName>
                                        </p:attrNameLst>
                                      </p:cBhvr>
                                      <p:rCtr x="21266" y="-9714"/>
                                    </p:animMotion>
                                  </p:childTnLst>
                                </p:cTn>
                              </p:par>
                              <p:par>
                                <p:cTn id="240" presetID="1" presetClass="entr" presetSubtype="0" fill="hold" grpId="1" nodeType="withEffect">
                                  <p:stCondLst>
                                    <p:cond delay="150"/>
                                  </p:stCondLst>
                                  <p:childTnLst>
                                    <p:set>
                                      <p:cBhvr>
                                        <p:cTn id="241" dur="1" fill="hold">
                                          <p:stCondLst>
                                            <p:cond delay="0"/>
                                          </p:stCondLst>
                                        </p:cTn>
                                        <p:tgtEl>
                                          <p:spTgt spid="357"/>
                                        </p:tgtEl>
                                        <p:attrNameLst>
                                          <p:attrName>style.visibility</p:attrName>
                                        </p:attrNameLst>
                                      </p:cBhvr>
                                      <p:to>
                                        <p:strVal val="visible"/>
                                      </p:to>
                                    </p:set>
                                  </p:childTnLst>
                                </p:cTn>
                              </p:par>
                              <p:par>
                                <p:cTn id="242" presetID="0" presetClass="path" presetSubtype="0" repeatCount="3000" accel="25000" decel="25000" autoRev="1" fill="hold" grpId="0" nodeType="withEffect">
                                  <p:stCondLst>
                                    <p:cond delay="150"/>
                                  </p:stCondLst>
                                  <p:childTnLst>
                                    <p:animMotion origin="layout" path="M -0.19709 -0.04154 C -0.17398 -0.04085 -0.02923 -0.04267 -0.00051 -0.04199 C -0.00051 -0.13005 -0.00076 -0.17726 -0.00076 -0.23582 L 0.16492 -0.23582 C 0.16492 -0.23559 0.22837 -0.23582 0.22837 -0.23559 " pathEditMode="relative" rAng="0" ptsTypes="AAAAA">
                                      <p:cBhvr>
                                        <p:cTn id="243" dur="2000" fill="hold"/>
                                        <p:tgtEl>
                                          <p:spTgt spid="357"/>
                                        </p:tgtEl>
                                        <p:attrNameLst>
                                          <p:attrName>ppt_x</p:attrName>
                                          <p:attrName>ppt_y</p:attrName>
                                        </p:attrNameLst>
                                      </p:cBhvr>
                                      <p:rCtr x="21266" y="-9714"/>
                                    </p:animMotion>
                                  </p:childTnLst>
                                </p:cTn>
                              </p:par>
                              <p:par>
                                <p:cTn id="244" presetID="1" presetClass="entr" presetSubtype="0" fill="hold" grpId="1" nodeType="withEffect">
                                  <p:stCondLst>
                                    <p:cond delay="200"/>
                                  </p:stCondLst>
                                  <p:childTnLst>
                                    <p:set>
                                      <p:cBhvr>
                                        <p:cTn id="245" dur="1" fill="hold">
                                          <p:stCondLst>
                                            <p:cond delay="0"/>
                                          </p:stCondLst>
                                        </p:cTn>
                                        <p:tgtEl>
                                          <p:spTgt spid="356"/>
                                        </p:tgtEl>
                                        <p:attrNameLst>
                                          <p:attrName>style.visibility</p:attrName>
                                        </p:attrNameLst>
                                      </p:cBhvr>
                                      <p:to>
                                        <p:strVal val="visible"/>
                                      </p:to>
                                    </p:set>
                                  </p:childTnLst>
                                </p:cTn>
                              </p:par>
                              <p:par>
                                <p:cTn id="246" presetID="0" presetClass="path" presetSubtype="0" repeatCount="3000" accel="25000" decel="25000" autoRev="1" fill="hold" grpId="0" nodeType="withEffect">
                                  <p:stCondLst>
                                    <p:cond delay="200"/>
                                  </p:stCondLst>
                                  <p:childTnLst>
                                    <p:animMotion origin="layout" path="M -0.19709 -0.04154 C -0.17398 -0.04085 -0.02923 -0.04267 -0.00051 -0.04199 C -0.00051 -0.13005 -0.00076 -0.17726 -0.00076 -0.23582 L 0.16492 -0.23582 C 0.16492 -0.23559 0.22837 -0.23582 0.22837 -0.23559 " pathEditMode="relative" rAng="0" ptsTypes="AAAAA">
                                      <p:cBhvr>
                                        <p:cTn id="247" dur="2000" fill="hold"/>
                                        <p:tgtEl>
                                          <p:spTgt spid="356"/>
                                        </p:tgtEl>
                                        <p:attrNameLst>
                                          <p:attrName>ppt_x</p:attrName>
                                          <p:attrName>ppt_y</p:attrName>
                                        </p:attrNameLst>
                                      </p:cBhvr>
                                      <p:rCtr x="21266" y="-9714"/>
                                    </p:animMotion>
                                  </p:childTnLst>
                                </p:cTn>
                              </p:par>
                              <p:par>
                                <p:cTn id="248" presetID="1" presetClass="exit" presetSubtype="0" fill="hold" grpId="0" nodeType="withEffect">
                                  <p:stCondLst>
                                    <p:cond delay="250"/>
                                  </p:stCondLst>
                                  <p:childTnLst>
                                    <p:set>
                                      <p:cBhvr>
                                        <p:cTn id="249" dur="1" fill="hold">
                                          <p:stCondLst>
                                            <p:cond delay="0"/>
                                          </p:stCondLst>
                                        </p:cTn>
                                        <p:tgtEl>
                                          <p:spTgt spid="229"/>
                                        </p:tgtEl>
                                        <p:attrNameLst>
                                          <p:attrName>style.visibility</p:attrName>
                                        </p:attrNameLst>
                                      </p:cBhvr>
                                      <p:to>
                                        <p:strVal val="hidden"/>
                                      </p:to>
                                    </p:set>
                                  </p:childTnLst>
                                </p:cTn>
                              </p:par>
                              <p:par>
                                <p:cTn id="250" presetID="10" presetClass="exit" presetSubtype="0" fill="hold" nodeType="withEffect">
                                  <p:stCondLst>
                                    <p:cond delay="250"/>
                                  </p:stCondLst>
                                  <p:childTnLst>
                                    <p:animEffect transition="out" filter="fade">
                                      <p:cBhvr>
                                        <p:cTn id="251" dur="250"/>
                                        <p:tgtEl>
                                          <p:spTgt spid="242"/>
                                        </p:tgtEl>
                                      </p:cBhvr>
                                    </p:animEffect>
                                    <p:set>
                                      <p:cBhvr>
                                        <p:cTn id="252" dur="1" fill="hold">
                                          <p:stCondLst>
                                            <p:cond delay="249"/>
                                          </p:stCondLst>
                                        </p:cTn>
                                        <p:tgtEl>
                                          <p:spTgt spid="242"/>
                                        </p:tgtEl>
                                        <p:attrNameLst>
                                          <p:attrName>style.visibility</p:attrName>
                                        </p:attrNameLst>
                                      </p:cBhvr>
                                      <p:to>
                                        <p:strVal val="hidden"/>
                                      </p:to>
                                    </p:set>
                                  </p:childTnLst>
                                </p:cTn>
                              </p:par>
                              <p:par>
                                <p:cTn id="253" presetID="1" presetClass="entr" presetSubtype="0" fill="hold" grpId="1" nodeType="withEffect">
                                  <p:stCondLst>
                                    <p:cond delay="500"/>
                                  </p:stCondLst>
                                  <p:childTnLst>
                                    <p:set>
                                      <p:cBhvr>
                                        <p:cTn id="254" dur="1" fill="hold">
                                          <p:stCondLst>
                                            <p:cond delay="0"/>
                                          </p:stCondLst>
                                        </p:cTn>
                                        <p:tgtEl>
                                          <p:spTgt spid="355"/>
                                        </p:tgtEl>
                                        <p:attrNameLst>
                                          <p:attrName>style.visibility</p:attrName>
                                        </p:attrNameLst>
                                      </p:cBhvr>
                                      <p:to>
                                        <p:strVal val="visible"/>
                                      </p:to>
                                    </p:set>
                                  </p:childTnLst>
                                </p:cTn>
                              </p:par>
                              <p:par>
                                <p:cTn id="255" presetID="0" presetClass="path" presetSubtype="0" repeatCount="3000" accel="25000" decel="25000" autoRev="1" fill="hold" grpId="0" nodeType="withEffect">
                                  <p:stCondLst>
                                    <p:cond delay="450"/>
                                  </p:stCondLst>
                                  <p:childTnLst>
                                    <p:animMotion origin="layout" path="M -0.13594 -0.04154 C -0.09063 -0.04199 -0.04531 -0.04131 -1.70539E-6 -0.04267 L -1.70539E-6 -0.23604 L 0.16467 -0.23604 C 0.16467 -0.23582 0.28032 -0.23604 0.28032 -0.23582 " pathEditMode="relative" rAng="0" ptsTypes="AAAAA">
                                      <p:cBhvr>
                                        <p:cTn id="256" dur="2000" fill="hold"/>
                                        <p:tgtEl>
                                          <p:spTgt spid="355"/>
                                        </p:tgtEl>
                                        <p:attrNameLst>
                                          <p:attrName>ppt_x</p:attrName>
                                          <p:attrName>ppt_y</p:attrName>
                                        </p:attrNameLst>
                                      </p:cBhvr>
                                      <p:rCtr x="20807" y="-9737"/>
                                    </p:animMotion>
                                  </p:childTnLst>
                                </p:cTn>
                              </p:par>
                              <p:par>
                                <p:cTn id="257" presetID="1" presetClass="entr" presetSubtype="0" fill="hold" grpId="1" nodeType="withEffect">
                                  <p:stCondLst>
                                    <p:cond delay="650"/>
                                  </p:stCondLst>
                                  <p:childTnLst>
                                    <p:set>
                                      <p:cBhvr>
                                        <p:cTn id="258" dur="1" fill="hold">
                                          <p:stCondLst>
                                            <p:cond delay="0"/>
                                          </p:stCondLst>
                                        </p:cTn>
                                        <p:tgtEl>
                                          <p:spTgt spid="354"/>
                                        </p:tgtEl>
                                        <p:attrNameLst>
                                          <p:attrName>style.visibility</p:attrName>
                                        </p:attrNameLst>
                                      </p:cBhvr>
                                      <p:to>
                                        <p:strVal val="visible"/>
                                      </p:to>
                                    </p:set>
                                  </p:childTnLst>
                                </p:cTn>
                              </p:par>
                              <p:par>
                                <p:cTn id="259" presetID="0" presetClass="path" presetSubtype="0" repeatCount="3000" accel="25000" decel="25000" autoRev="1" fill="hold" grpId="0" nodeType="withEffect">
                                  <p:stCondLst>
                                    <p:cond delay="650"/>
                                  </p:stCondLst>
                                  <p:childTnLst>
                                    <p:animMotion origin="layout" path="M -0.13594 -0.04154 C -0.09063 -0.04199 -0.04531 -0.04131 -1.70539E-6 -0.04267 L -1.70539E-6 -0.23604 L 0.16467 -0.23604 C 0.16467 -0.23582 0.28032 -0.23604 0.28032 -0.23582 " pathEditMode="relative" rAng="0" ptsTypes="AAAAA">
                                      <p:cBhvr>
                                        <p:cTn id="260" dur="2000" fill="hold"/>
                                        <p:tgtEl>
                                          <p:spTgt spid="354"/>
                                        </p:tgtEl>
                                        <p:attrNameLst>
                                          <p:attrName>ppt_x</p:attrName>
                                          <p:attrName>ppt_y</p:attrName>
                                        </p:attrNameLst>
                                      </p:cBhvr>
                                      <p:rCtr x="20807" y="-9737"/>
                                    </p:animMotion>
                                  </p:childTnLst>
                                </p:cTn>
                              </p:par>
                              <p:par>
                                <p:cTn id="261" presetID="1" presetClass="entr" presetSubtype="0" fill="hold" grpId="1" nodeType="withEffect">
                                  <p:stCondLst>
                                    <p:cond delay="850"/>
                                  </p:stCondLst>
                                  <p:childTnLst>
                                    <p:set>
                                      <p:cBhvr>
                                        <p:cTn id="262" dur="1" fill="hold">
                                          <p:stCondLst>
                                            <p:cond delay="0"/>
                                          </p:stCondLst>
                                        </p:cTn>
                                        <p:tgtEl>
                                          <p:spTgt spid="353"/>
                                        </p:tgtEl>
                                        <p:attrNameLst>
                                          <p:attrName>style.visibility</p:attrName>
                                        </p:attrNameLst>
                                      </p:cBhvr>
                                      <p:to>
                                        <p:strVal val="visible"/>
                                      </p:to>
                                    </p:set>
                                  </p:childTnLst>
                                </p:cTn>
                              </p:par>
                              <p:par>
                                <p:cTn id="263" presetID="0" presetClass="path" presetSubtype="0" repeatCount="3000" accel="25000" decel="25000" autoRev="1" fill="hold" grpId="0" nodeType="withEffect">
                                  <p:stCondLst>
                                    <p:cond delay="750"/>
                                  </p:stCondLst>
                                  <p:childTnLst>
                                    <p:animMotion origin="layout" path="M -0.19709 -0.04154 C -0.17398 -0.04085 -0.02923 -0.04267 -0.00051 -0.04199 C -0.00051 -0.13005 -0.00076 -0.17726 -0.00076 -0.23582 L 0.16492 -0.23582 C 0.16492 -0.23559 0.22837 -0.23582 0.22837 -0.23559 " pathEditMode="relative" rAng="0" ptsTypes="AAAAA">
                                      <p:cBhvr>
                                        <p:cTn id="264" dur="2050" fill="hold"/>
                                        <p:tgtEl>
                                          <p:spTgt spid="353"/>
                                        </p:tgtEl>
                                        <p:attrNameLst>
                                          <p:attrName>ppt_x</p:attrName>
                                          <p:attrName>ppt_y</p:attrName>
                                        </p:attrNameLst>
                                      </p:cBhvr>
                                      <p:rCtr x="21266" y="-9714"/>
                                    </p:animMotion>
                                  </p:childTnLst>
                                </p:cTn>
                              </p:par>
                              <p:par>
                                <p:cTn id="265" presetID="1" presetClass="entr" presetSubtype="0" fill="hold" grpId="1" nodeType="withEffect">
                                  <p:stCondLst>
                                    <p:cond delay="900"/>
                                  </p:stCondLst>
                                  <p:childTnLst>
                                    <p:set>
                                      <p:cBhvr>
                                        <p:cTn id="266" dur="1" fill="hold">
                                          <p:stCondLst>
                                            <p:cond delay="0"/>
                                          </p:stCondLst>
                                        </p:cTn>
                                        <p:tgtEl>
                                          <p:spTgt spid="352"/>
                                        </p:tgtEl>
                                        <p:attrNameLst>
                                          <p:attrName>style.visibility</p:attrName>
                                        </p:attrNameLst>
                                      </p:cBhvr>
                                      <p:to>
                                        <p:strVal val="visible"/>
                                      </p:to>
                                    </p:set>
                                  </p:childTnLst>
                                </p:cTn>
                              </p:par>
                              <p:par>
                                <p:cTn id="267" presetID="0" presetClass="path" presetSubtype="0" repeatCount="3000" accel="25000" decel="25000" autoRev="1" fill="hold" grpId="0" nodeType="withEffect">
                                  <p:stCondLst>
                                    <p:cond delay="800"/>
                                  </p:stCondLst>
                                  <p:childTnLst>
                                    <p:animMotion origin="layout" path="M -0.19709 -0.04154 C -0.17398 -0.04085 -0.02923 -0.04267 -0.00051 -0.04199 C -0.00051 -0.13005 -0.00076 -0.17726 -0.00076 -0.23582 L 0.16492 -0.23582 C 0.16492 -0.23559 0.22837 -0.23582 0.22837 -0.23559 " pathEditMode="relative" rAng="0" ptsTypes="AAAAA">
                                      <p:cBhvr>
                                        <p:cTn id="268" dur="2050" fill="hold"/>
                                        <p:tgtEl>
                                          <p:spTgt spid="352"/>
                                        </p:tgtEl>
                                        <p:attrNameLst>
                                          <p:attrName>ppt_x</p:attrName>
                                          <p:attrName>ppt_y</p:attrName>
                                        </p:attrNameLst>
                                      </p:cBhvr>
                                      <p:rCtr x="21266" y="-9714"/>
                                    </p:animMotion>
                                  </p:childTnLst>
                                </p:cTn>
                              </p:par>
                              <p:par>
                                <p:cTn id="269" presetID="1" presetClass="entr" presetSubtype="0" fill="hold" grpId="1" nodeType="withEffect">
                                  <p:stCondLst>
                                    <p:cond delay="950"/>
                                  </p:stCondLst>
                                  <p:childTnLst>
                                    <p:set>
                                      <p:cBhvr>
                                        <p:cTn id="270" dur="1" fill="hold">
                                          <p:stCondLst>
                                            <p:cond delay="0"/>
                                          </p:stCondLst>
                                        </p:cTn>
                                        <p:tgtEl>
                                          <p:spTgt spid="351"/>
                                        </p:tgtEl>
                                        <p:attrNameLst>
                                          <p:attrName>style.visibility</p:attrName>
                                        </p:attrNameLst>
                                      </p:cBhvr>
                                      <p:to>
                                        <p:strVal val="visible"/>
                                      </p:to>
                                    </p:set>
                                  </p:childTnLst>
                                </p:cTn>
                              </p:par>
                              <p:par>
                                <p:cTn id="271" presetID="0" presetClass="path" presetSubtype="0" repeatCount="3000" accel="25000" decel="25000" autoRev="1" fill="hold" grpId="0" nodeType="withEffect">
                                  <p:stCondLst>
                                    <p:cond delay="950"/>
                                  </p:stCondLst>
                                  <p:childTnLst>
                                    <p:animMotion origin="layout" path="M -0.19709 -0.04154 C -0.17398 -0.04085 -0.02923 -0.04267 -0.00051 -0.04199 C -0.00051 -0.13005 -0.00076 -0.17726 -0.00076 -0.23582 L 0.16492 -0.23582 C 0.16492 -0.23559 0.22837 -0.23582 0.22837 -0.23559 " pathEditMode="relative" rAng="0" ptsTypes="AAAAA">
                                      <p:cBhvr>
                                        <p:cTn id="272" dur="2000" fill="hold"/>
                                        <p:tgtEl>
                                          <p:spTgt spid="351"/>
                                        </p:tgtEl>
                                        <p:attrNameLst>
                                          <p:attrName>ppt_x</p:attrName>
                                          <p:attrName>ppt_y</p:attrName>
                                        </p:attrNameLst>
                                      </p:cBhvr>
                                      <p:rCtr x="21266" y="-9714"/>
                                    </p:animMotion>
                                  </p:childTnLst>
                                </p:cTn>
                              </p:par>
                              <p:par>
                                <p:cTn id="273" presetID="10" presetClass="exit" presetSubtype="0" fill="hold" nodeType="withEffect">
                                  <p:stCondLst>
                                    <p:cond delay="1000"/>
                                  </p:stCondLst>
                                  <p:childTnLst>
                                    <p:animEffect transition="out" filter="fade">
                                      <p:cBhvr>
                                        <p:cTn id="274" dur="250"/>
                                        <p:tgtEl>
                                          <p:spTgt spid="237"/>
                                        </p:tgtEl>
                                      </p:cBhvr>
                                    </p:animEffect>
                                    <p:set>
                                      <p:cBhvr>
                                        <p:cTn id="275" dur="1" fill="hold">
                                          <p:stCondLst>
                                            <p:cond delay="249"/>
                                          </p:stCondLst>
                                        </p:cTn>
                                        <p:tgtEl>
                                          <p:spTgt spid="237"/>
                                        </p:tgtEl>
                                        <p:attrNameLst>
                                          <p:attrName>style.visibility</p:attrName>
                                        </p:attrNameLst>
                                      </p:cBhvr>
                                      <p:to>
                                        <p:strVal val="hidden"/>
                                      </p:to>
                                    </p:set>
                                  </p:childTnLst>
                                </p:cTn>
                              </p:par>
                              <p:par>
                                <p:cTn id="276" presetID="1" presetClass="exit" presetSubtype="0" fill="hold" grpId="0" nodeType="withEffect">
                                  <p:stCondLst>
                                    <p:cond delay="1000"/>
                                  </p:stCondLst>
                                  <p:childTnLst>
                                    <p:set>
                                      <p:cBhvr>
                                        <p:cTn id="277" dur="1" fill="hold">
                                          <p:stCondLst>
                                            <p:cond delay="0"/>
                                          </p:stCondLst>
                                        </p:cTn>
                                        <p:tgtEl>
                                          <p:spTgt spid="230"/>
                                        </p:tgtEl>
                                        <p:attrNameLst>
                                          <p:attrName>style.visibility</p:attrName>
                                        </p:attrNameLst>
                                      </p:cBhvr>
                                      <p:to>
                                        <p:strVal val="hidden"/>
                                      </p:to>
                                    </p:set>
                                  </p:childTnLst>
                                </p:cTn>
                              </p:par>
                              <p:par>
                                <p:cTn id="278" presetID="1" presetClass="entr" presetSubtype="0" fill="hold" grpId="1" nodeType="withEffect">
                                  <p:stCondLst>
                                    <p:cond delay="1250"/>
                                  </p:stCondLst>
                                  <p:childTnLst>
                                    <p:set>
                                      <p:cBhvr>
                                        <p:cTn id="279" dur="1" fill="hold">
                                          <p:stCondLst>
                                            <p:cond delay="0"/>
                                          </p:stCondLst>
                                        </p:cTn>
                                        <p:tgtEl>
                                          <p:spTgt spid="350"/>
                                        </p:tgtEl>
                                        <p:attrNameLst>
                                          <p:attrName>style.visibility</p:attrName>
                                        </p:attrNameLst>
                                      </p:cBhvr>
                                      <p:to>
                                        <p:strVal val="visible"/>
                                      </p:to>
                                    </p:set>
                                  </p:childTnLst>
                                </p:cTn>
                              </p:par>
                              <p:par>
                                <p:cTn id="280" presetID="0" presetClass="path" presetSubtype="0" repeatCount="3000" accel="25000" decel="25000" autoRev="1" fill="hold" grpId="0" nodeType="withEffect">
                                  <p:stCondLst>
                                    <p:cond delay="1250"/>
                                  </p:stCondLst>
                                  <p:childTnLst>
                                    <p:animMotion origin="layout" path="M -0.07518 -0.04154 C -0.04429 -0.04199 -0.02629 -0.04312 -0.00051 -0.04222 C -1.70539E-6 -0.1035 -0.00102 -0.19814 -0.00051 -0.23604 L 0.16352 -0.23604 C 0.16352 -0.23582 0.33227 -0.23604 0.33227 -0.23582 " pathEditMode="relative" rAng="0" ptsTypes="AAAAA">
                                      <p:cBhvr>
                                        <p:cTn id="281" dur="2000" fill="hold"/>
                                        <p:tgtEl>
                                          <p:spTgt spid="350"/>
                                        </p:tgtEl>
                                        <p:attrNameLst>
                                          <p:attrName>ppt_x</p:attrName>
                                          <p:attrName>ppt_y</p:attrName>
                                        </p:attrNameLst>
                                      </p:cBhvr>
                                      <p:rCtr x="20373" y="-9737"/>
                                    </p:animMotion>
                                  </p:childTnLst>
                                </p:cTn>
                              </p:par>
                              <p:par>
                                <p:cTn id="282" presetID="1" presetClass="entr" presetSubtype="0" fill="hold" grpId="1" nodeType="withEffect">
                                  <p:stCondLst>
                                    <p:cond delay="1300"/>
                                  </p:stCondLst>
                                  <p:childTnLst>
                                    <p:set>
                                      <p:cBhvr>
                                        <p:cTn id="283" dur="1" fill="hold">
                                          <p:stCondLst>
                                            <p:cond delay="0"/>
                                          </p:stCondLst>
                                        </p:cTn>
                                        <p:tgtEl>
                                          <p:spTgt spid="349"/>
                                        </p:tgtEl>
                                        <p:attrNameLst>
                                          <p:attrName>style.visibility</p:attrName>
                                        </p:attrNameLst>
                                      </p:cBhvr>
                                      <p:to>
                                        <p:strVal val="visible"/>
                                      </p:to>
                                    </p:set>
                                  </p:childTnLst>
                                </p:cTn>
                              </p:par>
                              <p:par>
                                <p:cTn id="284" presetID="0" presetClass="path" presetSubtype="0" repeatCount="3000" accel="25000" decel="25000" autoRev="1" fill="hold" grpId="0" nodeType="withEffect">
                                  <p:stCondLst>
                                    <p:cond delay="1300"/>
                                  </p:stCondLst>
                                  <p:childTnLst>
                                    <p:animMotion origin="layout" path="M -0.07518 -0.04154 C -0.04429 -0.04199 -0.02629 -0.04312 -0.00051 -0.04222 C -1.70539E-6 -0.1035 -0.00102 -0.19814 -0.00051 -0.23604 L 0.16352 -0.23604 C 0.16352 -0.23582 0.33227 -0.23604 0.33227 -0.23582 " pathEditMode="relative" rAng="0" ptsTypes="AAAAA">
                                      <p:cBhvr>
                                        <p:cTn id="285" dur="2000" fill="hold"/>
                                        <p:tgtEl>
                                          <p:spTgt spid="349"/>
                                        </p:tgtEl>
                                        <p:attrNameLst>
                                          <p:attrName>ppt_x</p:attrName>
                                          <p:attrName>ppt_y</p:attrName>
                                        </p:attrNameLst>
                                      </p:cBhvr>
                                      <p:rCtr x="20373" y="-9737"/>
                                    </p:animMotion>
                                  </p:childTnLst>
                                </p:cTn>
                              </p:par>
                              <p:par>
                                <p:cTn id="286" presetID="1" presetClass="entr" presetSubtype="0" fill="hold" grpId="1" nodeType="withEffect">
                                  <p:stCondLst>
                                    <p:cond delay="1350"/>
                                  </p:stCondLst>
                                  <p:childTnLst>
                                    <p:set>
                                      <p:cBhvr>
                                        <p:cTn id="287" dur="1" fill="hold">
                                          <p:stCondLst>
                                            <p:cond delay="0"/>
                                          </p:stCondLst>
                                        </p:cTn>
                                        <p:tgtEl>
                                          <p:spTgt spid="348"/>
                                        </p:tgtEl>
                                        <p:attrNameLst>
                                          <p:attrName>style.visibility</p:attrName>
                                        </p:attrNameLst>
                                      </p:cBhvr>
                                      <p:to>
                                        <p:strVal val="visible"/>
                                      </p:to>
                                    </p:set>
                                  </p:childTnLst>
                                </p:cTn>
                              </p:par>
                              <p:par>
                                <p:cTn id="288" presetID="0" presetClass="path" presetSubtype="0" repeatCount="3000" accel="25000" decel="25000" autoRev="1" fill="hold" grpId="0" nodeType="withEffect">
                                  <p:stCondLst>
                                    <p:cond delay="1350"/>
                                  </p:stCondLst>
                                  <p:childTnLst>
                                    <p:animMotion origin="layout" path="M -0.07518 -0.04154 C -0.04429 -0.04199 -0.02629 -0.04312 -0.00051 -0.04222 C -1.70539E-6 -0.1035 -0.00102 -0.19814 -0.00051 -0.23604 L 0.16352 -0.23604 C 0.16352 -0.23582 0.33227 -0.23604 0.33227 -0.23582 " pathEditMode="relative" rAng="0" ptsTypes="AAAAA">
                                      <p:cBhvr>
                                        <p:cTn id="289" dur="2000" fill="hold"/>
                                        <p:tgtEl>
                                          <p:spTgt spid="348"/>
                                        </p:tgtEl>
                                        <p:attrNameLst>
                                          <p:attrName>ppt_x</p:attrName>
                                          <p:attrName>ppt_y</p:attrName>
                                        </p:attrNameLst>
                                      </p:cBhvr>
                                      <p:rCtr x="20373" y="-9737"/>
                                    </p:animMotion>
                                  </p:childTnLst>
                                </p:cTn>
                              </p:par>
                              <p:par>
                                <p:cTn id="290" presetID="1" presetClass="exit" presetSubtype="0" fill="hold" grpId="2" nodeType="withEffect">
                                  <p:stCondLst>
                                    <p:cond delay="12450"/>
                                  </p:stCondLst>
                                  <p:childTnLst>
                                    <p:set>
                                      <p:cBhvr>
                                        <p:cTn id="291" dur="1" fill="hold">
                                          <p:stCondLst>
                                            <p:cond delay="0"/>
                                          </p:stCondLst>
                                        </p:cTn>
                                        <p:tgtEl>
                                          <p:spTgt spid="360"/>
                                        </p:tgtEl>
                                        <p:attrNameLst>
                                          <p:attrName>style.visibility</p:attrName>
                                        </p:attrNameLst>
                                      </p:cBhvr>
                                      <p:to>
                                        <p:strVal val="hidden"/>
                                      </p:to>
                                    </p:set>
                                  </p:childTnLst>
                                </p:cTn>
                              </p:par>
                              <p:par>
                                <p:cTn id="292" presetID="1" presetClass="exit" presetSubtype="0" fill="hold" grpId="2" nodeType="withEffect">
                                  <p:stCondLst>
                                    <p:cond delay="12450"/>
                                  </p:stCondLst>
                                  <p:childTnLst>
                                    <p:set>
                                      <p:cBhvr>
                                        <p:cTn id="293" dur="1" fill="hold">
                                          <p:stCondLst>
                                            <p:cond delay="0"/>
                                          </p:stCondLst>
                                        </p:cTn>
                                        <p:tgtEl>
                                          <p:spTgt spid="359"/>
                                        </p:tgtEl>
                                        <p:attrNameLst>
                                          <p:attrName>style.visibility</p:attrName>
                                        </p:attrNameLst>
                                      </p:cBhvr>
                                      <p:to>
                                        <p:strVal val="hidden"/>
                                      </p:to>
                                    </p:set>
                                  </p:childTnLst>
                                </p:cTn>
                              </p:par>
                              <p:par>
                                <p:cTn id="294" presetID="1" presetClass="exit" presetSubtype="0" fill="hold" grpId="2" nodeType="withEffect">
                                  <p:stCondLst>
                                    <p:cond delay="12450"/>
                                  </p:stCondLst>
                                  <p:childTnLst>
                                    <p:set>
                                      <p:cBhvr>
                                        <p:cTn id="295" dur="1" fill="hold">
                                          <p:stCondLst>
                                            <p:cond delay="0"/>
                                          </p:stCondLst>
                                        </p:cTn>
                                        <p:tgtEl>
                                          <p:spTgt spid="358"/>
                                        </p:tgtEl>
                                        <p:attrNameLst>
                                          <p:attrName>style.visibility</p:attrName>
                                        </p:attrNameLst>
                                      </p:cBhvr>
                                      <p:to>
                                        <p:strVal val="hidden"/>
                                      </p:to>
                                    </p:set>
                                  </p:childTnLst>
                                </p:cTn>
                              </p:par>
                              <p:par>
                                <p:cTn id="296" presetID="1" presetClass="exit" presetSubtype="0" fill="hold" grpId="2" nodeType="withEffect">
                                  <p:stCondLst>
                                    <p:cond delay="12450"/>
                                  </p:stCondLst>
                                  <p:childTnLst>
                                    <p:set>
                                      <p:cBhvr>
                                        <p:cTn id="297" dur="1" fill="hold">
                                          <p:stCondLst>
                                            <p:cond delay="0"/>
                                          </p:stCondLst>
                                        </p:cTn>
                                        <p:tgtEl>
                                          <p:spTgt spid="357"/>
                                        </p:tgtEl>
                                        <p:attrNameLst>
                                          <p:attrName>style.visibility</p:attrName>
                                        </p:attrNameLst>
                                      </p:cBhvr>
                                      <p:to>
                                        <p:strVal val="hidden"/>
                                      </p:to>
                                    </p:set>
                                  </p:childTnLst>
                                </p:cTn>
                              </p:par>
                              <p:par>
                                <p:cTn id="298" presetID="1" presetClass="exit" presetSubtype="0" fill="hold" grpId="2" nodeType="withEffect">
                                  <p:stCondLst>
                                    <p:cond delay="12450"/>
                                  </p:stCondLst>
                                  <p:childTnLst>
                                    <p:set>
                                      <p:cBhvr>
                                        <p:cTn id="299" dur="1" fill="hold">
                                          <p:stCondLst>
                                            <p:cond delay="0"/>
                                          </p:stCondLst>
                                        </p:cTn>
                                        <p:tgtEl>
                                          <p:spTgt spid="356"/>
                                        </p:tgtEl>
                                        <p:attrNameLst>
                                          <p:attrName>style.visibility</p:attrName>
                                        </p:attrNameLst>
                                      </p:cBhvr>
                                      <p:to>
                                        <p:strVal val="hidden"/>
                                      </p:to>
                                    </p:set>
                                  </p:childTnLst>
                                </p:cTn>
                              </p:par>
                              <p:par>
                                <p:cTn id="300" presetID="1" presetClass="exit" presetSubtype="0" fill="hold" grpId="2" nodeType="withEffect">
                                  <p:stCondLst>
                                    <p:cond delay="12850"/>
                                  </p:stCondLst>
                                  <p:childTnLst>
                                    <p:set>
                                      <p:cBhvr>
                                        <p:cTn id="301" dur="1" fill="hold">
                                          <p:stCondLst>
                                            <p:cond delay="0"/>
                                          </p:stCondLst>
                                        </p:cTn>
                                        <p:tgtEl>
                                          <p:spTgt spid="355"/>
                                        </p:tgtEl>
                                        <p:attrNameLst>
                                          <p:attrName>style.visibility</p:attrName>
                                        </p:attrNameLst>
                                      </p:cBhvr>
                                      <p:to>
                                        <p:strVal val="hidden"/>
                                      </p:to>
                                    </p:set>
                                  </p:childTnLst>
                                </p:cTn>
                              </p:par>
                              <p:par>
                                <p:cTn id="302" presetID="1" presetClass="exit" presetSubtype="0" fill="hold" grpId="2" nodeType="withEffect">
                                  <p:stCondLst>
                                    <p:cond delay="12850"/>
                                  </p:stCondLst>
                                  <p:childTnLst>
                                    <p:set>
                                      <p:cBhvr>
                                        <p:cTn id="303" dur="1" fill="hold">
                                          <p:stCondLst>
                                            <p:cond delay="0"/>
                                          </p:stCondLst>
                                        </p:cTn>
                                        <p:tgtEl>
                                          <p:spTgt spid="354"/>
                                        </p:tgtEl>
                                        <p:attrNameLst>
                                          <p:attrName>style.visibility</p:attrName>
                                        </p:attrNameLst>
                                      </p:cBhvr>
                                      <p:to>
                                        <p:strVal val="hidden"/>
                                      </p:to>
                                    </p:set>
                                  </p:childTnLst>
                                </p:cTn>
                              </p:par>
                              <p:par>
                                <p:cTn id="304" presetID="10" presetClass="entr" presetSubtype="0" fill="hold" nodeType="withEffect">
                                  <p:stCondLst>
                                    <p:cond delay="12850"/>
                                  </p:stCondLst>
                                  <p:childTnLst>
                                    <p:set>
                                      <p:cBhvr>
                                        <p:cTn id="305" dur="1" fill="hold">
                                          <p:stCondLst>
                                            <p:cond delay="0"/>
                                          </p:stCondLst>
                                        </p:cTn>
                                        <p:tgtEl>
                                          <p:spTgt spid="242"/>
                                        </p:tgtEl>
                                        <p:attrNameLst>
                                          <p:attrName>style.visibility</p:attrName>
                                        </p:attrNameLst>
                                      </p:cBhvr>
                                      <p:to>
                                        <p:strVal val="visible"/>
                                      </p:to>
                                    </p:set>
                                    <p:animEffect transition="in" filter="fade">
                                      <p:cBhvr>
                                        <p:cTn id="306" dur="250"/>
                                        <p:tgtEl>
                                          <p:spTgt spid="242"/>
                                        </p:tgtEl>
                                      </p:cBhvr>
                                    </p:animEffect>
                                  </p:childTnLst>
                                </p:cTn>
                              </p:par>
                              <p:par>
                                <p:cTn id="307" presetID="1" presetClass="entr" presetSubtype="0" fill="hold" grpId="1" nodeType="withEffect">
                                  <p:stCondLst>
                                    <p:cond delay="13100"/>
                                  </p:stCondLst>
                                  <p:childTnLst>
                                    <p:set>
                                      <p:cBhvr>
                                        <p:cTn id="308" dur="1" fill="hold">
                                          <p:stCondLst>
                                            <p:cond delay="0"/>
                                          </p:stCondLst>
                                        </p:cTn>
                                        <p:tgtEl>
                                          <p:spTgt spid="229"/>
                                        </p:tgtEl>
                                        <p:attrNameLst>
                                          <p:attrName>style.visibility</p:attrName>
                                        </p:attrNameLst>
                                      </p:cBhvr>
                                      <p:to>
                                        <p:strVal val="visible"/>
                                      </p:to>
                                    </p:set>
                                  </p:childTnLst>
                                </p:cTn>
                              </p:par>
                            </p:childTnLst>
                          </p:cTn>
                        </p:par>
                        <p:par>
                          <p:cTn id="309" fill="hold">
                            <p:stCondLst>
                              <p:cond delay="20100"/>
                            </p:stCondLst>
                            <p:childTnLst>
                              <p:par>
                                <p:cTn id="310" presetID="1" presetClass="exit" presetSubtype="0" fill="hold" grpId="2" nodeType="afterEffect">
                                  <p:stCondLst>
                                    <p:cond delay="0"/>
                                  </p:stCondLst>
                                  <p:childTnLst>
                                    <p:set>
                                      <p:cBhvr>
                                        <p:cTn id="311" dur="1" fill="hold">
                                          <p:stCondLst>
                                            <p:cond delay="0"/>
                                          </p:stCondLst>
                                        </p:cTn>
                                        <p:tgtEl>
                                          <p:spTgt spid="353"/>
                                        </p:tgtEl>
                                        <p:attrNameLst>
                                          <p:attrName>style.visibility</p:attrName>
                                        </p:attrNameLst>
                                      </p:cBhvr>
                                      <p:to>
                                        <p:strVal val="hidden"/>
                                      </p:to>
                                    </p:set>
                                  </p:childTnLst>
                                </p:cTn>
                              </p:par>
                            </p:childTnLst>
                          </p:cTn>
                        </p:par>
                        <p:par>
                          <p:cTn id="312" fill="hold">
                            <p:stCondLst>
                              <p:cond delay="20100"/>
                            </p:stCondLst>
                            <p:childTnLst>
                              <p:par>
                                <p:cTn id="313" presetID="1" presetClass="exit" presetSubtype="0" fill="hold" grpId="2" nodeType="afterEffect">
                                  <p:stCondLst>
                                    <p:cond delay="0"/>
                                  </p:stCondLst>
                                  <p:childTnLst>
                                    <p:set>
                                      <p:cBhvr>
                                        <p:cTn id="314" dur="1" fill="hold">
                                          <p:stCondLst>
                                            <p:cond delay="0"/>
                                          </p:stCondLst>
                                        </p:cTn>
                                        <p:tgtEl>
                                          <p:spTgt spid="352"/>
                                        </p:tgtEl>
                                        <p:attrNameLst>
                                          <p:attrName>style.visibility</p:attrName>
                                        </p:attrNameLst>
                                      </p:cBhvr>
                                      <p:to>
                                        <p:strVal val="hidden"/>
                                      </p:to>
                                    </p:set>
                                  </p:childTnLst>
                                </p:cTn>
                              </p:par>
                            </p:childTnLst>
                          </p:cTn>
                        </p:par>
                        <p:par>
                          <p:cTn id="315" fill="hold">
                            <p:stCondLst>
                              <p:cond delay="20100"/>
                            </p:stCondLst>
                            <p:childTnLst>
                              <p:par>
                                <p:cTn id="316" presetID="1" presetClass="exit" presetSubtype="0" fill="hold" grpId="2" nodeType="afterEffect">
                                  <p:stCondLst>
                                    <p:cond delay="0"/>
                                  </p:stCondLst>
                                  <p:childTnLst>
                                    <p:set>
                                      <p:cBhvr>
                                        <p:cTn id="317" dur="1" fill="hold">
                                          <p:stCondLst>
                                            <p:cond delay="0"/>
                                          </p:stCondLst>
                                        </p:cTn>
                                        <p:tgtEl>
                                          <p:spTgt spid="351"/>
                                        </p:tgtEl>
                                        <p:attrNameLst>
                                          <p:attrName>style.visibility</p:attrName>
                                        </p:attrNameLst>
                                      </p:cBhvr>
                                      <p:to>
                                        <p:strVal val="hidden"/>
                                      </p:to>
                                    </p:set>
                                  </p:childTnLst>
                                </p:cTn>
                              </p:par>
                              <p:par>
                                <p:cTn id="318" presetID="10" presetClass="entr" presetSubtype="0" fill="hold" nodeType="withEffect">
                                  <p:stCondLst>
                                    <p:cond delay="0"/>
                                  </p:stCondLst>
                                  <p:childTnLst>
                                    <p:set>
                                      <p:cBhvr>
                                        <p:cTn id="319" dur="1" fill="hold">
                                          <p:stCondLst>
                                            <p:cond delay="0"/>
                                          </p:stCondLst>
                                        </p:cTn>
                                        <p:tgtEl>
                                          <p:spTgt spid="232"/>
                                        </p:tgtEl>
                                        <p:attrNameLst>
                                          <p:attrName>style.visibility</p:attrName>
                                        </p:attrNameLst>
                                      </p:cBhvr>
                                      <p:to>
                                        <p:strVal val="visible"/>
                                      </p:to>
                                    </p:set>
                                    <p:animEffect transition="in" filter="fade">
                                      <p:cBhvr>
                                        <p:cTn id="320" dur="250"/>
                                        <p:tgtEl>
                                          <p:spTgt spid="232"/>
                                        </p:tgtEl>
                                      </p:cBhvr>
                                    </p:animEffect>
                                  </p:childTnLst>
                                </p:cTn>
                              </p:par>
                              <p:par>
                                <p:cTn id="321" presetID="1" presetClass="entr" presetSubtype="0" fill="hold" grpId="1" nodeType="withEffect">
                                  <p:stCondLst>
                                    <p:cond delay="250"/>
                                  </p:stCondLst>
                                  <p:childTnLst>
                                    <p:set>
                                      <p:cBhvr>
                                        <p:cTn id="322" dur="1" fill="hold">
                                          <p:stCondLst>
                                            <p:cond delay="0"/>
                                          </p:stCondLst>
                                        </p:cTn>
                                        <p:tgtEl>
                                          <p:spTgt spid="231"/>
                                        </p:tgtEl>
                                        <p:attrNameLst>
                                          <p:attrName>style.visibility</p:attrName>
                                        </p:attrNameLst>
                                      </p:cBhvr>
                                      <p:to>
                                        <p:strVal val="visible"/>
                                      </p:to>
                                    </p:set>
                                  </p:childTnLst>
                                </p:cTn>
                              </p:par>
                              <p:par>
                                <p:cTn id="323" presetID="1" presetClass="exit" presetSubtype="0" fill="hold" grpId="2" nodeType="withEffect">
                                  <p:stCondLst>
                                    <p:cond delay="0"/>
                                  </p:stCondLst>
                                  <p:childTnLst>
                                    <p:set>
                                      <p:cBhvr>
                                        <p:cTn id="324" dur="1" fill="hold">
                                          <p:stCondLst>
                                            <p:cond delay="0"/>
                                          </p:stCondLst>
                                        </p:cTn>
                                        <p:tgtEl>
                                          <p:spTgt spid="350"/>
                                        </p:tgtEl>
                                        <p:attrNameLst>
                                          <p:attrName>style.visibility</p:attrName>
                                        </p:attrNameLst>
                                      </p:cBhvr>
                                      <p:to>
                                        <p:strVal val="hidden"/>
                                      </p:to>
                                    </p:set>
                                  </p:childTnLst>
                                </p:cTn>
                              </p:par>
                              <p:par>
                                <p:cTn id="325" presetID="1" presetClass="exit" presetSubtype="0" fill="hold" grpId="2" nodeType="withEffect">
                                  <p:stCondLst>
                                    <p:cond delay="0"/>
                                  </p:stCondLst>
                                  <p:childTnLst>
                                    <p:set>
                                      <p:cBhvr>
                                        <p:cTn id="326" dur="1" fill="hold">
                                          <p:stCondLst>
                                            <p:cond delay="0"/>
                                          </p:stCondLst>
                                        </p:cTn>
                                        <p:tgtEl>
                                          <p:spTgt spid="349"/>
                                        </p:tgtEl>
                                        <p:attrNameLst>
                                          <p:attrName>style.visibility</p:attrName>
                                        </p:attrNameLst>
                                      </p:cBhvr>
                                      <p:to>
                                        <p:strVal val="hidden"/>
                                      </p:to>
                                    </p:set>
                                  </p:childTnLst>
                                </p:cTn>
                              </p:par>
                              <p:par>
                                <p:cTn id="327" presetID="1" presetClass="exit" presetSubtype="0" fill="hold" grpId="2" nodeType="withEffect">
                                  <p:stCondLst>
                                    <p:cond delay="0"/>
                                  </p:stCondLst>
                                  <p:childTnLst>
                                    <p:set>
                                      <p:cBhvr>
                                        <p:cTn id="328" dur="1" fill="hold">
                                          <p:stCondLst>
                                            <p:cond delay="0"/>
                                          </p:stCondLst>
                                        </p:cTn>
                                        <p:tgtEl>
                                          <p:spTgt spid="348"/>
                                        </p:tgtEl>
                                        <p:attrNameLst>
                                          <p:attrName>style.visibility</p:attrName>
                                        </p:attrNameLst>
                                      </p:cBhvr>
                                      <p:to>
                                        <p:strVal val="hidden"/>
                                      </p:to>
                                    </p:set>
                                  </p:childTnLst>
                                </p:cTn>
                              </p:par>
                              <p:par>
                                <p:cTn id="329" presetID="10" presetClass="entr" presetSubtype="0" fill="hold" nodeType="withEffect">
                                  <p:stCondLst>
                                    <p:cond delay="0"/>
                                  </p:stCondLst>
                                  <p:childTnLst>
                                    <p:set>
                                      <p:cBhvr>
                                        <p:cTn id="330" dur="1" fill="hold">
                                          <p:stCondLst>
                                            <p:cond delay="0"/>
                                          </p:stCondLst>
                                        </p:cTn>
                                        <p:tgtEl>
                                          <p:spTgt spid="237"/>
                                        </p:tgtEl>
                                        <p:attrNameLst>
                                          <p:attrName>style.visibility</p:attrName>
                                        </p:attrNameLst>
                                      </p:cBhvr>
                                      <p:to>
                                        <p:strVal val="visible"/>
                                      </p:to>
                                    </p:set>
                                    <p:animEffect transition="in" filter="fade">
                                      <p:cBhvr>
                                        <p:cTn id="331" dur="250"/>
                                        <p:tgtEl>
                                          <p:spTgt spid="237"/>
                                        </p:tgtEl>
                                      </p:cBhvr>
                                    </p:animEffect>
                                  </p:childTnLst>
                                </p:cTn>
                              </p:par>
                              <p:par>
                                <p:cTn id="332" presetID="1" presetClass="entr" presetSubtype="0" fill="hold" grpId="1" nodeType="withEffect">
                                  <p:stCondLst>
                                    <p:cond delay="250"/>
                                  </p:stCondLst>
                                  <p:childTnLst>
                                    <p:set>
                                      <p:cBhvr>
                                        <p:cTn id="333" dur="1" fill="hold">
                                          <p:stCondLst>
                                            <p:cond delay="0"/>
                                          </p:stCondLst>
                                        </p:cTn>
                                        <p:tgtEl>
                                          <p:spTgt spid="230"/>
                                        </p:tgtEl>
                                        <p:attrNameLst>
                                          <p:attrName>style.visibility</p:attrName>
                                        </p:attrNameLst>
                                      </p:cBhvr>
                                      <p:to>
                                        <p:strVal val="visible"/>
                                      </p:to>
                                    </p:set>
                                  </p:childTnLst>
                                </p:cTn>
                              </p:par>
                            </p:childTnLst>
                          </p:cTn>
                        </p:par>
                      </p:childTnLst>
                    </p:cTn>
                  </p:par>
                  <p:par>
                    <p:cTn id="334" fill="hold">
                      <p:stCondLst>
                        <p:cond delay="indefinite"/>
                      </p:stCondLst>
                      <p:childTnLst>
                        <p:par>
                          <p:cTn id="335" fill="hold">
                            <p:stCondLst>
                              <p:cond delay="0"/>
                            </p:stCondLst>
                            <p:childTnLst>
                              <p:par>
                                <p:cTn id="336" presetID="22" presetClass="entr" presetSubtype="2" fill="hold" grpId="1" nodeType="clickEffect">
                                  <p:stCondLst>
                                    <p:cond delay="0"/>
                                  </p:stCondLst>
                                  <p:childTnLst>
                                    <p:set>
                                      <p:cBhvr>
                                        <p:cTn id="337" dur="1" fill="hold">
                                          <p:stCondLst>
                                            <p:cond delay="0"/>
                                          </p:stCondLst>
                                        </p:cTn>
                                        <p:tgtEl>
                                          <p:spTgt spid="26"/>
                                        </p:tgtEl>
                                        <p:attrNameLst>
                                          <p:attrName>style.visibility</p:attrName>
                                        </p:attrNameLst>
                                      </p:cBhvr>
                                      <p:to>
                                        <p:strVal val="visible"/>
                                      </p:to>
                                    </p:set>
                                    <p:animEffect transition="in" filter="wipe(right)">
                                      <p:cBhvr>
                                        <p:cTn id="338" dur="500"/>
                                        <p:tgtEl>
                                          <p:spTgt spid="26"/>
                                        </p:tgtEl>
                                      </p:cBhvr>
                                    </p:animEffect>
                                  </p:childTnLst>
                                </p:cTn>
                              </p:par>
                            </p:childTnLst>
                          </p:cTn>
                        </p:par>
                        <p:par>
                          <p:cTn id="339" fill="hold">
                            <p:stCondLst>
                              <p:cond delay="500"/>
                            </p:stCondLst>
                            <p:childTnLst>
                              <p:par>
                                <p:cTn id="340" presetID="10" presetClass="entr" presetSubtype="0" fill="hold" grpId="1" nodeType="afterEffect">
                                  <p:stCondLst>
                                    <p:cond delay="0"/>
                                  </p:stCondLst>
                                  <p:childTnLst>
                                    <p:set>
                                      <p:cBhvr>
                                        <p:cTn id="341" dur="1" fill="hold">
                                          <p:stCondLst>
                                            <p:cond delay="0"/>
                                          </p:stCondLst>
                                        </p:cTn>
                                        <p:tgtEl>
                                          <p:spTgt spid="27"/>
                                        </p:tgtEl>
                                        <p:attrNameLst>
                                          <p:attrName>style.visibility</p:attrName>
                                        </p:attrNameLst>
                                      </p:cBhvr>
                                      <p:to>
                                        <p:strVal val="visible"/>
                                      </p:to>
                                    </p:set>
                                    <p:animEffect transition="in" filter="fade">
                                      <p:cBhvr>
                                        <p:cTn id="34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P spid="2" grpId="0"/>
      <p:bldP spid="30" grpId="0"/>
      <p:bldP spid="34" grpId="0"/>
      <p:bldP spid="34" grpId="1"/>
      <p:bldP spid="38" grpId="0"/>
      <p:bldP spid="38" grpId="1"/>
      <p:bldP spid="47" grpId="0" animBg="1"/>
      <p:bldP spid="47" grpId="1" animBg="1"/>
      <p:bldP spid="144" grpId="0"/>
      <p:bldP spid="144" grpId="1"/>
      <p:bldP spid="145" grpId="0"/>
      <p:bldP spid="145" grpId="1"/>
      <p:bldP spid="3" grpId="0" animBg="1"/>
      <p:bldP spid="202" grpId="0" animBg="1"/>
      <p:bldP spid="203" grpId="0" animBg="1"/>
      <p:bldP spid="229" grpId="0" animBg="1"/>
      <p:bldP spid="229" grpId="1" animBg="1"/>
      <p:bldP spid="230" grpId="0" animBg="1"/>
      <p:bldP spid="230" grpId="1" animBg="1"/>
      <p:bldP spid="231" grpId="0" animBg="1"/>
      <p:bldP spid="231" grpId="1" animBg="1"/>
      <p:bldP spid="267" grpId="0"/>
      <p:bldP spid="268" grpId="0"/>
      <p:bldP spid="348" grpId="0" animBg="1"/>
      <p:bldP spid="348" grpId="1" animBg="1"/>
      <p:bldP spid="348" grpId="2" animBg="1"/>
      <p:bldP spid="349" grpId="0" animBg="1"/>
      <p:bldP spid="349" grpId="1" animBg="1"/>
      <p:bldP spid="349" grpId="2" animBg="1"/>
      <p:bldP spid="350" grpId="0" animBg="1"/>
      <p:bldP spid="350" grpId="1" animBg="1"/>
      <p:bldP spid="350" grpId="2" animBg="1"/>
      <p:bldP spid="351" grpId="0" animBg="1"/>
      <p:bldP spid="351" grpId="1" animBg="1"/>
      <p:bldP spid="351" grpId="2" animBg="1"/>
      <p:bldP spid="352" grpId="0" animBg="1"/>
      <p:bldP spid="352" grpId="1" animBg="1"/>
      <p:bldP spid="352" grpId="2" animBg="1"/>
      <p:bldP spid="353" grpId="0" animBg="1"/>
      <p:bldP spid="353" grpId="1" animBg="1"/>
      <p:bldP spid="353" grpId="2" animBg="1"/>
      <p:bldP spid="354" grpId="0" animBg="1"/>
      <p:bldP spid="354" grpId="1" animBg="1"/>
      <p:bldP spid="354" grpId="2" animBg="1"/>
      <p:bldP spid="355" grpId="0" animBg="1"/>
      <p:bldP spid="355" grpId="1" animBg="1"/>
      <p:bldP spid="355" grpId="2" animBg="1"/>
      <p:bldP spid="356" grpId="0" animBg="1"/>
      <p:bldP spid="356" grpId="1" animBg="1"/>
      <p:bldP spid="356" grpId="2" animBg="1"/>
      <p:bldP spid="357" grpId="0" animBg="1"/>
      <p:bldP spid="357" grpId="1" animBg="1"/>
      <p:bldP spid="357" grpId="2" animBg="1"/>
      <p:bldP spid="358" grpId="0" animBg="1"/>
      <p:bldP spid="358" grpId="1" animBg="1"/>
      <p:bldP spid="358" grpId="2" animBg="1"/>
      <p:bldP spid="359" grpId="0" animBg="1"/>
      <p:bldP spid="359" grpId="1" animBg="1"/>
      <p:bldP spid="359" grpId="2" animBg="1"/>
      <p:bldP spid="360" grpId="0" animBg="1"/>
      <p:bldP spid="360" grpId="1" animBg="1"/>
      <p:bldP spid="360" grpId="2" animBg="1"/>
      <p:bldP spid="26" grpId="0" animBg="1"/>
      <p:bldP spid="26" grpId="1" animBg="1"/>
      <p:bldP spid="27" grpId="0"/>
      <p:bldP spid="27" grpId="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 y="0"/>
            <a:ext cx="3599078" cy="685703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4" name="Rectangle 13"/>
          <p:cNvSpPr/>
          <p:nvPr/>
        </p:nvSpPr>
        <p:spPr bwMode="auto">
          <a:xfrm>
            <a:off x="180157" y="0"/>
            <a:ext cx="12011844" cy="99466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spc="-29" dirty="0">
                <a:gradFill>
                  <a:gsLst>
                    <a:gs pos="67257">
                      <a:srgbClr val="0072C6"/>
                    </a:gs>
                    <a:gs pos="36283">
                      <a:srgbClr val="0072C6"/>
                    </a:gs>
                  </a:gsLst>
                  <a:lin ang="5400000" scaled="0"/>
                </a:gradFill>
              </a:rPr>
              <a:t>Experience 1A </a:t>
            </a:r>
            <a:endParaRPr lang="en-US" sz="1961" spc="-29" dirty="0" smtClean="0">
              <a:gradFill>
                <a:gsLst>
                  <a:gs pos="67257">
                    <a:srgbClr val="0072C6"/>
                  </a:gs>
                  <a:gs pos="36283">
                    <a:srgbClr val="0072C6"/>
                  </a:gs>
                </a:gsLst>
                <a:lin ang="5400000" scaled="0"/>
              </a:gradFill>
            </a:endParaRPr>
          </a:p>
          <a:p>
            <a:pPr indent="-169599" defTabSz="897084" fontAlgn="base">
              <a:lnSpc>
                <a:spcPct val="90000"/>
              </a:lnSpc>
              <a:spcBef>
                <a:spcPct val="0"/>
              </a:spcBef>
              <a:spcAft>
                <a:spcPct val="0"/>
              </a:spcAft>
            </a:pPr>
            <a:r>
              <a:rPr lang="en-US" sz="3529" spc="-49" dirty="0" smtClean="0">
                <a:gradFill>
                  <a:gsLst>
                    <a:gs pos="93805">
                      <a:srgbClr val="191919"/>
                    </a:gs>
                    <a:gs pos="84071">
                      <a:srgbClr val="191919"/>
                    </a:gs>
                  </a:gsLst>
                  <a:lin ang="5400000" scaled="0"/>
                </a:gradFill>
                <a:latin typeface="Segoe UI Light"/>
              </a:rPr>
              <a:t>Cloud </a:t>
            </a:r>
            <a:r>
              <a:rPr lang="en-US" sz="3529" spc="-49" dirty="0">
                <a:gradFill>
                  <a:gsLst>
                    <a:gs pos="93805">
                      <a:srgbClr val="191919"/>
                    </a:gs>
                    <a:gs pos="84071">
                      <a:srgbClr val="191919"/>
                    </a:gs>
                  </a:gsLst>
                  <a:lin ang="5400000" scaled="0"/>
                </a:gradFill>
                <a:latin typeface="Segoe UI Light"/>
              </a:rPr>
              <a:t>and </a:t>
            </a:r>
            <a:r>
              <a:rPr lang="en-US" sz="3529" spc="-49" dirty="0" smtClean="0">
                <a:gradFill>
                  <a:gsLst>
                    <a:gs pos="93805">
                      <a:srgbClr val="191919"/>
                    </a:gs>
                    <a:gs pos="84071">
                      <a:srgbClr val="191919"/>
                    </a:gs>
                  </a:gsLst>
                  <a:lin ang="5400000" scaled="0"/>
                </a:gradFill>
                <a:latin typeface="Segoe UI Light"/>
              </a:rPr>
              <a:t>Datacenter Infrastructure</a:t>
            </a:r>
            <a:endParaRPr lang="en-US" sz="3529" spc="-49" dirty="0">
              <a:gradFill>
                <a:gsLst>
                  <a:gs pos="93805">
                    <a:srgbClr val="191919"/>
                  </a:gs>
                  <a:gs pos="84071">
                    <a:srgbClr val="191919"/>
                  </a:gs>
                </a:gsLst>
                <a:lin ang="5400000" scaled="0"/>
              </a:gradFill>
              <a:latin typeface="Segoe UI Light"/>
            </a:endParaRPr>
          </a:p>
        </p:txBody>
      </p:sp>
      <p:sp>
        <p:nvSpPr>
          <p:cNvPr id="20" name="Rectangle 19"/>
          <p:cNvSpPr/>
          <p:nvPr/>
        </p:nvSpPr>
        <p:spPr bwMode="auto">
          <a:xfrm>
            <a:off x="312163" y="1652174"/>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A. Transformed </a:t>
            </a:r>
            <a:br>
              <a:rPr lang="en-US" sz="1372" b="1" kern="0" dirty="0">
                <a:gradFill>
                  <a:gsLst>
                    <a:gs pos="83178">
                      <a:srgbClr val="505050"/>
                    </a:gs>
                    <a:gs pos="45000">
                      <a:srgbClr val="505050"/>
                    </a:gs>
                  </a:gsLst>
                  <a:lin ang="5400000" scaled="0"/>
                </a:gradFill>
                <a:latin typeface="Calibri" panose="020F0502020204030204"/>
              </a:rPr>
            </a:br>
            <a:r>
              <a:rPr lang="en-US" sz="1372" b="1" kern="0" dirty="0">
                <a:gradFill>
                  <a:gsLst>
                    <a:gs pos="83178">
                      <a:srgbClr val="505050"/>
                    </a:gs>
                    <a:gs pos="45000">
                      <a:srgbClr val="505050"/>
                    </a:gs>
                  </a:gsLst>
                  <a:lin ang="5400000" scaled="0"/>
                </a:gradFill>
                <a:latin typeface="Calibri" panose="020F0502020204030204"/>
              </a:rPr>
              <a:t>infrastructure design</a:t>
            </a:r>
          </a:p>
          <a:p>
            <a:pPr defTabSz="877449" fontAlgn="base">
              <a:lnSpc>
                <a:spcPct val="90000"/>
              </a:lnSpc>
              <a:spcBef>
                <a:spcPct val="0"/>
              </a:spcBef>
              <a:spcAft>
                <a:spcPct val="0"/>
              </a:spcAft>
              <a:defRPr/>
            </a:pPr>
            <a:endParaRPr lang="en-US" sz="588"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Setting up your infrastructure for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the private cloud and public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cloud consumption</a:t>
            </a:r>
          </a:p>
        </p:txBody>
      </p:sp>
      <p:sp>
        <p:nvSpPr>
          <p:cNvPr id="21" name="Rectangle 20"/>
          <p:cNvSpPr/>
          <p:nvPr/>
        </p:nvSpPr>
        <p:spPr bwMode="auto">
          <a:xfrm>
            <a:off x="312163" y="3238156"/>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B. VMs, clouds, </a:t>
            </a:r>
            <a:br>
              <a:rPr lang="en-US" sz="1372" b="1" kern="0" dirty="0">
                <a:gradFill>
                  <a:gsLst>
                    <a:gs pos="83178">
                      <a:srgbClr val="505050"/>
                    </a:gs>
                    <a:gs pos="45000">
                      <a:srgbClr val="505050"/>
                    </a:gs>
                  </a:gsLst>
                  <a:lin ang="5400000" scaled="0"/>
                </a:gradFill>
                <a:latin typeface="Calibri" panose="020F0502020204030204"/>
              </a:rPr>
            </a:br>
            <a:r>
              <a:rPr lang="en-US" sz="1372" b="1" kern="0" dirty="0">
                <a:gradFill>
                  <a:gsLst>
                    <a:gs pos="83178">
                      <a:srgbClr val="505050"/>
                    </a:gs>
                    <a:gs pos="45000">
                      <a:srgbClr val="505050"/>
                    </a:gs>
                  </a:gsLst>
                  <a:lin ang="5400000" scaled="0"/>
                </a:gradFill>
                <a:latin typeface="Calibri" panose="020F0502020204030204"/>
              </a:rPr>
              <a:t>and services</a:t>
            </a:r>
          </a:p>
          <a:p>
            <a:pPr defTabSz="877449" fontAlgn="base">
              <a:lnSpc>
                <a:spcPct val="90000"/>
              </a:lnSpc>
              <a:spcBef>
                <a:spcPts val="575"/>
              </a:spcBef>
              <a:spcAft>
                <a:spcPct val="0"/>
              </a:spcAft>
              <a:defRPr/>
            </a:pPr>
            <a:r>
              <a:rPr lang="en-US" sz="1175" kern="0" dirty="0">
                <a:gradFill>
                  <a:gsLst>
                    <a:gs pos="83178">
                      <a:srgbClr val="505050"/>
                    </a:gs>
                    <a:gs pos="45000">
                      <a:srgbClr val="505050"/>
                    </a:gs>
                  </a:gsLst>
                  <a:lin ang="5400000" scaled="0"/>
                </a:gradFill>
                <a:latin typeface="Calibri" panose="020F0502020204030204"/>
              </a:rPr>
              <a:t>Ensuring VM adaptability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across environments</a:t>
            </a:r>
          </a:p>
        </p:txBody>
      </p:sp>
      <p:sp>
        <p:nvSpPr>
          <p:cNvPr id="22" name="TextBox 21"/>
          <p:cNvSpPr txBox="1"/>
          <p:nvPr/>
        </p:nvSpPr>
        <p:spPr>
          <a:xfrm>
            <a:off x="3911241" y="1652174"/>
            <a:ext cx="8263527" cy="3056434"/>
          </a:xfrm>
          <a:prstGeom prst="rect">
            <a:avLst/>
          </a:prstGeom>
          <a:noFill/>
        </p:spPr>
        <p:txBody>
          <a:bodyPr wrap="square" lIns="179253" tIns="143402" rIns="179253" bIns="143402" rtlCol="0">
            <a:spAutoFit/>
          </a:bodyPr>
          <a:lstStyle/>
          <a:p>
            <a:pPr defTabSz="914367">
              <a:lnSpc>
                <a:spcPct val="90000"/>
              </a:lnSpc>
              <a:spcAft>
                <a:spcPts val="588"/>
              </a:spcAft>
            </a:pPr>
            <a:r>
              <a:rPr lang="en-US" sz="3529" dirty="0">
                <a:gradFill>
                  <a:gsLst>
                    <a:gs pos="67257">
                      <a:srgbClr val="0072C6"/>
                    </a:gs>
                    <a:gs pos="36283">
                      <a:srgbClr val="0072C6"/>
                    </a:gs>
                  </a:gsLst>
                </a:gradFill>
                <a:latin typeface="Segoe UI Light"/>
              </a:rPr>
              <a:t>E1A Scenarios: </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Define storage infrastructure components</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Optimize stored data</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Define network infrastructure components</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Extend network infrastructure</a:t>
            </a:r>
          </a:p>
          <a:p>
            <a:pPr defTabSz="914367">
              <a:lnSpc>
                <a:spcPct val="90000"/>
              </a:lnSpc>
              <a:spcAft>
                <a:spcPts val="588"/>
              </a:spcAft>
            </a:pPr>
            <a:endParaRPr lang="en-US" sz="2745" dirty="0">
              <a:gradFill>
                <a:gsLst>
                  <a:gs pos="2917">
                    <a:srgbClr val="505050"/>
                  </a:gs>
                  <a:gs pos="30000">
                    <a:srgbClr val="505050"/>
                  </a:gs>
                </a:gsLst>
                <a:lin ang="5400000" scaled="0"/>
              </a:gradFill>
              <a:latin typeface="Segoe UI Light"/>
            </a:endParaRPr>
          </a:p>
        </p:txBody>
      </p:sp>
      <p:sp>
        <p:nvSpPr>
          <p:cNvPr id="23" name="TextBox 22"/>
          <p:cNvSpPr txBox="1"/>
          <p:nvPr/>
        </p:nvSpPr>
        <p:spPr>
          <a:xfrm>
            <a:off x="0" y="5150528"/>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18584">
                      <a:srgbClr val="FFFFFF"/>
                    </a:gs>
                    <a:gs pos="36283">
                      <a:srgbClr val="FFFFFF"/>
                    </a:gs>
                  </a:gsLst>
                  <a:lin ang="0" scaled="0"/>
                </a:gradFill>
                <a:latin typeface="Segoe UI Light"/>
              </a:rPr>
              <a:t>30 minutes to complete this story—do not proceed to the next story</a:t>
            </a:r>
          </a:p>
        </p:txBody>
      </p:sp>
      <p:sp>
        <p:nvSpPr>
          <p:cNvPr id="24" name="TextBox 23"/>
          <p:cNvSpPr txBox="1"/>
          <p:nvPr/>
        </p:nvSpPr>
        <p:spPr>
          <a:xfrm>
            <a:off x="0" y="5922063"/>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18584">
                      <a:srgbClr val="FFFFFF"/>
                    </a:gs>
                    <a:gs pos="36283">
                      <a:srgbClr val="FFFFFF"/>
                    </a:gs>
                  </a:gsLst>
                  <a:lin ang="0" scaled="0"/>
                </a:gradFill>
                <a:latin typeface="Segoe UI Light"/>
              </a:rPr>
              <a:t>Q &amp; A @ 30 minutes</a:t>
            </a:r>
          </a:p>
        </p:txBody>
      </p:sp>
      <p:sp>
        <p:nvSpPr>
          <p:cNvPr id="15" name="Rectangle 14"/>
          <p:cNvSpPr/>
          <p:nvPr/>
        </p:nvSpPr>
        <p:spPr bwMode="auto">
          <a:xfrm>
            <a:off x="1" y="0"/>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16" name="Rectangle 15"/>
          <p:cNvSpPr/>
          <p:nvPr/>
        </p:nvSpPr>
        <p:spPr bwMode="auto">
          <a:xfrm>
            <a:off x="1" y="4996802"/>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7" name="Rectangle 16"/>
          <p:cNvSpPr/>
          <p:nvPr/>
        </p:nvSpPr>
        <p:spPr bwMode="auto">
          <a:xfrm>
            <a:off x="1" y="3430083"/>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8" name="Rectangle 17"/>
          <p:cNvSpPr/>
          <p:nvPr/>
        </p:nvSpPr>
        <p:spPr bwMode="auto">
          <a:xfrm>
            <a:off x="1" y="1863365"/>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9" name="Rectangle 18"/>
          <p:cNvSpPr/>
          <p:nvPr/>
        </p:nvSpPr>
        <p:spPr bwMode="auto">
          <a:xfrm>
            <a:off x="1" y="296647"/>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12886696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16"/>
                                        </p:tgtEl>
                                        <p:attrNameLst>
                                          <p:attrName>ppt_x</p:attrName>
                                        </p:attrNameLst>
                                      </p:cBhvr>
                                      <p:tavLst>
                                        <p:tav tm="0">
                                          <p:val>
                                            <p:strVal val="ppt_x"/>
                                          </p:val>
                                        </p:tav>
                                        <p:tav tm="100000">
                                          <p:val>
                                            <p:strVal val="0-ppt_w/2"/>
                                          </p:val>
                                        </p:tav>
                                      </p:tavLst>
                                    </p:anim>
                                    <p:anim calcmode="lin" valueType="num">
                                      <p:cBhvr additive="base">
                                        <p:cTn id="7" dur="200"/>
                                        <p:tgtEl>
                                          <p:spTgt spid="16"/>
                                        </p:tgtEl>
                                        <p:attrNameLst>
                                          <p:attrName>ppt_y</p:attrName>
                                        </p:attrNameLst>
                                      </p:cBhvr>
                                      <p:tavLst>
                                        <p:tav tm="0">
                                          <p:val>
                                            <p:strVal val="ppt_y"/>
                                          </p:val>
                                        </p:tav>
                                        <p:tav tm="100000">
                                          <p:val>
                                            <p:strVal val="ppt_y"/>
                                          </p:val>
                                        </p:tav>
                                      </p:tavLst>
                                    </p:anim>
                                    <p:set>
                                      <p:cBhvr>
                                        <p:cTn id="8" dur="1" fill="hold">
                                          <p:stCondLst>
                                            <p:cond delay="199"/>
                                          </p:stCondLst>
                                        </p:cTn>
                                        <p:tgtEl>
                                          <p:spTgt spid="16"/>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200"/>
                                        <p:tgtEl>
                                          <p:spTgt spid="15"/>
                                        </p:tgtEl>
                                        <p:attrNameLst>
                                          <p:attrName>ppt_x</p:attrName>
                                        </p:attrNameLst>
                                      </p:cBhvr>
                                      <p:tavLst>
                                        <p:tav tm="0">
                                          <p:val>
                                            <p:strVal val="ppt_x"/>
                                          </p:val>
                                        </p:tav>
                                        <p:tav tm="100000">
                                          <p:val>
                                            <p:strVal val="0-ppt_w/2"/>
                                          </p:val>
                                        </p:tav>
                                      </p:tavLst>
                                    </p:anim>
                                    <p:anim calcmode="lin" valueType="num">
                                      <p:cBhvr additive="base">
                                        <p:cTn id="11" dur="200"/>
                                        <p:tgtEl>
                                          <p:spTgt spid="15"/>
                                        </p:tgtEl>
                                        <p:attrNameLst>
                                          <p:attrName>ppt_y</p:attrName>
                                        </p:attrNameLst>
                                      </p:cBhvr>
                                      <p:tavLst>
                                        <p:tav tm="0">
                                          <p:val>
                                            <p:strVal val="ppt_y"/>
                                          </p:val>
                                        </p:tav>
                                        <p:tav tm="100000">
                                          <p:val>
                                            <p:strVal val="ppt_y"/>
                                          </p:val>
                                        </p:tav>
                                      </p:tavLst>
                                    </p:anim>
                                    <p:set>
                                      <p:cBhvr>
                                        <p:cTn id="12" dur="1" fill="hold">
                                          <p:stCondLst>
                                            <p:cond delay="199"/>
                                          </p:stCondLst>
                                        </p:cTn>
                                        <p:tgtEl>
                                          <p:spTgt spid="15"/>
                                        </p:tgtEl>
                                        <p:attrNameLst>
                                          <p:attrName>style.visibility</p:attrName>
                                        </p:attrNameLst>
                                      </p:cBhvr>
                                      <p:to>
                                        <p:strVal val="hidden"/>
                                      </p:to>
                                    </p:set>
                                  </p:childTnLst>
                                </p:cTn>
                              </p:par>
                              <p:par>
                                <p:cTn id="13" presetID="2" presetClass="exit" presetSubtype="8" fill="hold" grpId="0" nodeType="withEffect">
                                  <p:stCondLst>
                                    <p:cond delay="100"/>
                                  </p:stCondLst>
                                  <p:childTnLst>
                                    <p:anim calcmode="lin" valueType="num">
                                      <p:cBhvr additive="base">
                                        <p:cTn id="14" dur="200"/>
                                        <p:tgtEl>
                                          <p:spTgt spid="17"/>
                                        </p:tgtEl>
                                        <p:attrNameLst>
                                          <p:attrName>ppt_x</p:attrName>
                                        </p:attrNameLst>
                                      </p:cBhvr>
                                      <p:tavLst>
                                        <p:tav tm="0">
                                          <p:val>
                                            <p:strVal val="ppt_x"/>
                                          </p:val>
                                        </p:tav>
                                        <p:tav tm="100000">
                                          <p:val>
                                            <p:strVal val="0-ppt_w/2"/>
                                          </p:val>
                                        </p:tav>
                                      </p:tavLst>
                                    </p:anim>
                                    <p:anim calcmode="lin" valueType="num">
                                      <p:cBhvr additive="base">
                                        <p:cTn id="15" dur="200"/>
                                        <p:tgtEl>
                                          <p:spTgt spid="17"/>
                                        </p:tgtEl>
                                        <p:attrNameLst>
                                          <p:attrName>ppt_y</p:attrName>
                                        </p:attrNameLst>
                                      </p:cBhvr>
                                      <p:tavLst>
                                        <p:tav tm="0">
                                          <p:val>
                                            <p:strVal val="ppt_y"/>
                                          </p:val>
                                        </p:tav>
                                        <p:tav tm="100000">
                                          <p:val>
                                            <p:strVal val="ppt_y"/>
                                          </p:val>
                                        </p:tav>
                                      </p:tavLst>
                                    </p:anim>
                                    <p:set>
                                      <p:cBhvr>
                                        <p:cTn id="16" dur="1" fill="hold">
                                          <p:stCondLst>
                                            <p:cond delay="199"/>
                                          </p:stCondLst>
                                        </p:cTn>
                                        <p:tgtEl>
                                          <p:spTgt spid="17"/>
                                        </p:tgtEl>
                                        <p:attrNameLst>
                                          <p:attrName>style.visibility</p:attrName>
                                        </p:attrNameLst>
                                      </p:cBhvr>
                                      <p:to>
                                        <p:strVal val="hidden"/>
                                      </p:to>
                                    </p:set>
                                  </p:childTnLst>
                                </p:cTn>
                              </p:par>
                              <p:par>
                                <p:cTn id="17" presetID="2" presetClass="exit" presetSubtype="8" fill="hold" grpId="0" nodeType="withEffect">
                                  <p:stCondLst>
                                    <p:cond delay="200"/>
                                  </p:stCondLst>
                                  <p:childTnLst>
                                    <p:anim calcmode="lin" valueType="num">
                                      <p:cBhvr additive="base">
                                        <p:cTn id="18" dur="200"/>
                                        <p:tgtEl>
                                          <p:spTgt spid="18"/>
                                        </p:tgtEl>
                                        <p:attrNameLst>
                                          <p:attrName>ppt_x</p:attrName>
                                        </p:attrNameLst>
                                      </p:cBhvr>
                                      <p:tavLst>
                                        <p:tav tm="0">
                                          <p:val>
                                            <p:strVal val="ppt_x"/>
                                          </p:val>
                                        </p:tav>
                                        <p:tav tm="100000">
                                          <p:val>
                                            <p:strVal val="0-ppt_w/2"/>
                                          </p:val>
                                        </p:tav>
                                      </p:tavLst>
                                    </p:anim>
                                    <p:anim calcmode="lin" valueType="num">
                                      <p:cBhvr additive="base">
                                        <p:cTn id="19" dur="200"/>
                                        <p:tgtEl>
                                          <p:spTgt spid="18"/>
                                        </p:tgtEl>
                                        <p:attrNameLst>
                                          <p:attrName>ppt_y</p:attrName>
                                        </p:attrNameLst>
                                      </p:cBhvr>
                                      <p:tavLst>
                                        <p:tav tm="0">
                                          <p:val>
                                            <p:strVal val="ppt_y"/>
                                          </p:val>
                                        </p:tav>
                                        <p:tav tm="100000">
                                          <p:val>
                                            <p:strVal val="ppt_y"/>
                                          </p:val>
                                        </p:tav>
                                      </p:tavLst>
                                    </p:anim>
                                    <p:set>
                                      <p:cBhvr>
                                        <p:cTn id="20" dur="1" fill="hold">
                                          <p:stCondLst>
                                            <p:cond delay="199"/>
                                          </p:stCondLst>
                                        </p:cTn>
                                        <p:tgtEl>
                                          <p:spTgt spid="18"/>
                                        </p:tgtEl>
                                        <p:attrNameLst>
                                          <p:attrName>style.visibility</p:attrName>
                                        </p:attrNameLst>
                                      </p:cBhvr>
                                      <p:to>
                                        <p:strVal val="hidden"/>
                                      </p:to>
                                    </p:set>
                                  </p:childTnLst>
                                </p:cTn>
                              </p:par>
                              <p:par>
                                <p:cTn id="21" presetID="2" presetClass="exit" presetSubtype="8" fill="hold" grpId="0" nodeType="withEffect">
                                  <p:stCondLst>
                                    <p:cond delay="300"/>
                                  </p:stCondLst>
                                  <p:childTnLst>
                                    <p:anim calcmode="lin" valueType="num">
                                      <p:cBhvr additive="base">
                                        <p:cTn id="22" dur="200"/>
                                        <p:tgtEl>
                                          <p:spTgt spid="19"/>
                                        </p:tgtEl>
                                        <p:attrNameLst>
                                          <p:attrName>ppt_x</p:attrName>
                                        </p:attrNameLst>
                                      </p:cBhvr>
                                      <p:tavLst>
                                        <p:tav tm="0">
                                          <p:val>
                                            <p:strVal val="ppt_x"/>
                                          </p:val>
                                        </p:tav>
                                        <p:tav tm="100000">
                                          <p:val>
                                            <p:strVal val="0-ppt_w/2"/>
                                          </p:val>
                                        </p:tav>
                                      </p:tavLst>
                                    </p:anim>
                                    <p:anim calcmode="lin" valueType="num">
                                      <p:cBhvr additive="base">
                                        <p:cTn id="23" dur="200"/>
                                        <p:tgtEl>
                                          <p:spTgt spid="19"/>
                                        </p:tgtEl>
                                        <p:attrNameLst>
                                          <p:attrName>ppt_y</p:attrName>
                                        </p:attrNameLst>
                                      </p:cBhvr>
                                      <p:tavLst>
                                        <p:tav tm="0">
                                          <p:val>
                                            <p:strVal val="ppt_y"/>
                                          </p:val>
                                        </p:tav>
                                        <p:tav tm="100000">
                                          <p:val>
                                            <p:strVal val="ppt_y"/>
                                          </p:val>
                                        </p:tav>
                                      </p:tavLst>
                                    </p:anim>
                                    <p:set>
                                      <p:cBhvr>
                                        <p:cTn id="24" dur="1" fill="hold">
                                          <p:stCondLst>
                                            <p:cond delay="199"/>
                                          </p:stCondLst>
                                        </p:cTn>
                                        <p:tgtEl>
                                          <p:spTgt spid="19"/>
                                        </p:tgtEl>
                                        <p:attrNameLst>
                                          <p:attrName>style.visibility</p:attrName>
                                        </p:attrNameLst>
                                      </p:cBhvr>
                                      <p:to>
                                        <p:strVal val="hidden"/>
                                      </p:to>
                                    </p:set>
                                  </p:childTnLst>
                                </p:cTn>
                              </p:par>
                              <p:par>
                                <p:cTn id="25" presetID="2" presetClass="entr" presetSubtype="8" decel="100000" fill="hold" grpId="0" nodeType="withEffect">
                                  <p:stCondLst>
                                    <p:cond delay="6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800" fill="hold"/>
                                        <p:tgtEl>
                                          <p:spTgt spid="13"/>
                                        </p:tgtEl>
                                        <p:attrNameLst>
                                          <p:attrName>ppt_x</p:attrName>
                                        </p:attrNameLst>
                                      </p:cBhvr>
                                      <p:tavLst>
                                        <p:tav tm="0">
                                          <p:val>
                                            <p:strVal val="0-#ppt_w/2"/>
                                          </p:val>
                                        </p:tav>
                                        <p:tav tm="100000">
                                          <p:val>
                                            <p:strVal val="#ppt_x"/>
                                          </p:val>
                                        </p:tav>
                                      </p:tavLst>
                                    </p:anim>
                                    <p:anim calcmode="lin" valueType="num">
                                      <p:cBhvr additive="base">
                                        <p:cTn id="28" dur="8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6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800" fill="hold"/>
                                        <p:tgtEl>
                                          <p:spTgt spid="14"/>
                                        </p:tgtEl>
                                        <p:attrNameLst>
                                          <p:attrName>ppt_x</p:attrName>
                                        </p:attrNameLst>
                                      </p:cBhvr>
                                      <p:tavLst>
                                        <p:tav tm="0">
                                          <p:val>
                                            <p:strVal val="0-#ppt_w/2"/>
                                          </p:val>
                                        </p:tav>
                                        <p:tav tm="100000">
                                          <p:val>
                                            <p:strVal val="#ppt_x"/>
                                          </p:val>
                                        </p:tav>
                                      </p:tavLst>
                                    </p:anim>
                                    <p:anim calcmode="lin" valueType="num">
                                      <p:cBhvr additive="base">
                                        <p:cTn id="32" dur="800" fill="hold"/>
                                        <p:tgtEl>
                                          <p:spTgt spid="14"/>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600" fill="hold"/>
                                        <p:tgtEl>
                                          <p:spTgt spid="20"/>
                                        </p:tgtEl>
                                        <p:attrNameLst>
                                          <p:attrName>ppt_x</p:attrName>
                                        </p:attrNameLst>
                                      </p:cBhvr>
                                      <p:tavLst>
                                        <p:tav tm="0">
                                          <p:val>
                                            <p:strVal val="1+#ppt_w/2"/>
                                          </p:val>
                                        </p:tav>
                                        <p:tav tm="100000">
                                          <p:val>
                                            <p:strVal val="#ppt_x"/>
                                          </p:val>
                                        </p:tav>
                                      </p:tavLst>
                                    </p:anim>
                                    <p:anim calcmode="lin" valueType="num">
                                      <p:cBhvr additive="base">
                                        <p:cTn id="36" dur="6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195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fill="hold"/>
                                        <p:tgtEl>
                                          <p:spTgt spid="21"/>
                                        </p:tgtEl>
                                        <p:attrNameLst>
                                          <p:attrName>ppt_x</p:attrName>
                                        </p:attrNameLst>
                                      </p:cBhvr>
                                      <p:tavLst>
                                        <p:tav tm="0">
                                          <p:val>
                                            <p:strVal val="1+#ppt_w/2"/>
                                          </p:val>
                                        </p:tav>
                                        <p:tav tm="100000">
                                          <p:val>
                                            <p:strVal val="#ppt_x"/>
                                          </p:val>
                                        </p:tav>
                                      </p:tavLst>
                                    </p:anim>
                                    <p:anim calcmode="lin" valueType="num">
                                      <p:cBhvr additive="base">
                                        <p:cTn id="40" dur="500" fill="hold"/>
                                        <p:tgtEl>
                                          <p:spTgt spid="21"/>
                                        </p:tgtEl>
                                        <p:attrNameLst>
                                          <p:attrName>ppt_y</p:attrName>
                                        </p:attrNameLst>
                                      </p:cBhvr>
                                      <p:tavLst>
                                        <p:tav tm="0">
                                          <p:val>
                                            <p:strVal val="#ppt_y"/>
                                          </p:val>
                                        </p:tav>
                                        <p:tav tm="100000">
                                          <p:val>
                                            <p:strVal val="#ppt_y"/>
                                          </p:val>
                                        </p:tav>
                                      </p:tavLst>
                                    </p:anim>
                                  </p:childTnLst>
                                </p:cTn>
                              </p:par>
                            </p:childTnLst>
                          </p:cTn>
                        </p:par>
                        <p:par>
                          <p:cTn id="41" fill="hold">
                            <p:stCondLst>
                              <p:cond delay="2450"/>
                            </p:stCondLst>
                            <p:childTnLst>
                              <p:par>
                                <p:cTn id="42" presetID="1" presetClass="emph" presetSubtype="2" fill="hold" nodeType="afterEffect">
                                  <p:stCondLst>
                                    <p:cond delay="0"/>
                                  </p:stCondLst>
                                  <p:childTnLst>
                                    <p:animClr clrSpc="rgb" dir="cw">
                                      <p:cBhvr>
                                        <p:cTn id="43" dur="1000" fill="hold"/>
                                        <p:tgtEl>
                                          <p:spTgt spid="20"/>
                                        </p:tgtEl>
                                        <p:attrNameLst>
                                          <p:attrName>fillcolor</p:attrName>
                                        </p:attrNameLst>
                                      </p:cBhvr>
                                      <p:to>
                                        <a:srgbClr val="0072C6"/>
                                      </p:to>
                                    </p:animClr>
                                    <p:set>
                                      <p:cBhvr>
                                        <p:cTn id="44" dur="1000" fill="hold"/>
                                        <p:tgtEl>
                                          <p:spTgt spid="20"/>
                                        </p:tgtEl>
                                        <p:attrNameLst>
                                          <p:attrName>fill.type</p:attrName>
                                        </p:attrNameLst>
                                      </p:cBhvr>
                                      <p:to>
                                        <p:strVal val="solid"/>
                                      </p:to>
                                    </p:set>
                                    <p:set>
                                      <p:cBhvr>
                                        <p:cTn id="45" dur="1000" fill="hold"/>
                                        <p:tgtEl>
                                          <p:spTgt spid="20"/>
                                        </p:tgtEl>
                                        <p:attrNameLst>
                                          <p:attrName>fill.on</p:attrName>
                                        </p:attrNameLst>
                                      </p:cBhvr>
                                      <p:to>
                                        <p:strVal val="true"/>
                                      </p:to>
                                    </p:set>
                                  </p:childTnLst>
                                </p:cTn>
                              </p:par>
                              <p:par>
                                <p:cTn id="46" presetID="3" presetClass="emph" presetSubtype="2" fill="hold" grpId="1" nodeType="withEffect">
                                  <p:stCondLst>
                                    <p:cond delay="0"/>
                                  </p:stCondLst>
                                  <p:childTnLst>
                                    <p:animClr clrSpc="rgb" dir="cw">
                                      <p:cBhvr override="childStyle">
                                        <p:cTn id="47" dur="500" fill="hold"/>
                                        <p:tgtEl>
                                          <p:spTgt spid="20"/>
                                        </p:tgtEl>
                                        <p:attrNameLst>
                                          <p:attrName>style.color</p:attrName>
                                        </p:attrNameLst>
                                      </p:cBhvr>
                                      <p:to>
                                        <a:srgbClr val="FFFFFF"/>
                                      </p:to>
                                    </p:animClr>
                                  </p:childTnLst>
                                </p:cTn>
                              </p:par>
                            </p:childTnLst>
                          </p:cTn>
                        </p:par>
                        <p:par>
                          <p:cTn id="48" fill="hold">
                            <p:stCondLst>
                              <p:cond delay="3450"/>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par>
                          <p:cTn id="52" fill="hold">
                            <p:stCondLst>
                              <p:cond delay="3950"/>
                            </p:stCondLst>
                            <p:childTnLst>
                              <p:par>
                                <p:cTn id="53" presetID="2" presetClass="entr" presetSubtype="8" decel="10000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700" fill="hold"/>
                                        <p:tgtEl>
                                          <p:spTgt spid="23"/>
                                        </p:tgtEl>
                                        <p:attrNameLst>
                                          <p:attrName>ppt_x</p:attrName>
                                        </p:attrNameLst>
                                      </p:cBhvr>
                                      <p:tavLst>
                                        <p:tav tm="0">
                                          <p:val>
                                            <p:strVal val="0-#ppt_w/2"/>
                                          </p:val>
                                        </p:tav>
                                        <p:tav tm="100000">
                                          <p:val>
                                            <p:strVal val="#ppt_x"/>
                                          </p:val>
                                        </p:tav>
                                      </p:tavLst>
                                    </p:anim>
                                    <p:anim calcmode="lin" valueType="num">
                                      <p:cBhvr additive="base">
                                        <p:cTn id="56" dur="700" fill="hold"/>
                                        <p:tgtEl>
                                          <p:spTgt spid="23"/>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10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700" fill="hold"/>
                                        <p:tgtEl>
                                          <p:spTgt spid="24"/>
                                        </p:tgtEl>
                                        <p:attrNameLst>
                                          <p:attrName>ppt_x</p:attrName>
                                        </p:attrNameLst>
                                      </p:cBhvr>
                                      <p:tavLst>
                                        <p:tav tm="0">
                                          <p:val>
                                            <p:strVal val="0-#ppt_w/2"/>
                                          </p:val>
                                        </p:tav>
                                        <p:tav tm="100000">
                                          <p:val>
                                            <p:strVal val="#ppt_x"/>
                                          </p:val>
                                        </p:tav>
                                      </p:tavLst>
                                    </p:anim>
                                    <p:anim calcmode="lin" valueType="num">
                                      <p:cBhvr additive="base">
                                        <p:cTn id="60" dur="7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20" grpId="0" animBg="1"/>
      <p:bldP spid="20" grpId="1" animBg="1"/>
      <p:bldP spid="21" grpId="0" animBg="1"/>
      <p:bldP spid="22" grpId="0"/>
      <p:bldP spid="23" grpId="0" animBg="1"/>
      <p:bldP spid="24" grpId="0" animBg="1"/>
      <p:bldP spid="15" grpId="0" animBg="1"/>
      <p:bldP spid="16" grpId="0" animBg="1"/>
      <p:bldP spid="17" grpId="0" animBg="1"/>
      <p:bldP spid="18" grpId="0" animBg="1"/>
      <p:bldP spid="19"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361180" y="3438524"/>
            <a:ext cx="7200900" cy="1201891"/>
            <a:chOff x="13080953" y="4060366"/>
            <a:chExt cx="7200900" cy="1201891"/>
          </a:xfrm>
        </p:grpSpPr>
        <p:sp>
          <p:nvSpPr>
            <p:cNvPr id="121" name="1 right"/>
            <p:cNvSpPr/>
            <p:nvPr/>
          </p:nvSpPr>
          <p:spPr bwMode="auto">
            <a:xfrm>
              <a:off x="13080953" y="4060366"/>
              <a:ext cx="7200900" cy="1201891"/>
            </a:xfrm>
            <a:prstGeom prst="rect">
              <a:avLst/>
            </a:prstGeom>
            <a:solidFill>
              <a:schemeClr val="bg1">
                <a:lumMod val="95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pPr>
              <a:endParaRPr lang="en-US" sz="1568" dirty="0">
                <a:gradFill>
                  <a:gsLst>
                    <a:gs pos="93805">
                      <a:srgbClr val="191919"/>
                    </a:gs>
                    <a:gs pos="84071">
                      <a:srgbClr val="191919"/>
                    </a:gs>
                  </a:gsLst>
                  <a:lin ang="5400000" scaled="0"/>
                </a:gradFill>
              </a:endParaRPr>
            </a:p>
          </p:txBody>
        </p:sp>
        <p:sp>
          <p:nvSpPr>
            <p:cNvPr id="106" name="Rectangle 105"/>
            <p:cNvSpPr/>
            <p:nvPr/>
          </p:nvSpPr>
          <p:spPr bwMode="auto">
            <a:xfrm>
              <a:off x="13180550" y="4142495"/>
              <a:ext cx="2286000" cy="411480"/>
            </a:xfrm>
            <a:prstGeom prst="rect">
              <a:avLst/>
            </a:prstGeom>
            <a:solidFill>
              <a:srgbClr val="BFB5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Gold</a:t>
              </a:r>
            </a:p>
          </p:txBody>
        </p:sp>
        <p:sp>
          <p:nvSpPr>
            <p:cNvPr id="100" name="Rectangle 99"/>
            <p:cNvSpPr/>
            <p:nvPr/>
          </p:nvSpPr>
          <p:spPr bwMode="auto">
            <a:xfrm>
              <a:off x="15541945" y="4142495"/>
              <a:ext cx="2286000" cy="411480"/>
            </a:xfrm>
            <a:prstGeom prst="rect">
              <a:avLst/>
            </a:prstGeom>
            <a:solidFill>
              <a:schemeClr val="accent4">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Silver</a:t>
              </a:r>
            </a:p>
          </p:txBody>
        </p:sp>
        <p:sp>
          <p:nvSpPr>
            <p:cNvPr id="94" name="Rectangle 93"/>
            <p:cNvSpPr/>
            <p:nvPr/>
          </p:nvSpPr>
          <p:spPr bwMode="auto">
            <a:xfrm>
              <a:off x="17910960" y="4142495"/>
              <a:ext cx="2286000" cy="41148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568" dirty="0">
                  <a:gradFill>
                    <a:gsLst>
                      <a:gs pos="84071">
                        <a:srgbClr val="191919"/>
                      </a:gs>
                      <a:gs pos="57000">
                        <a:srgbClr val="191919"/>
                      </a:gs>
                    </a:gsLst>
                    <a:lin ang="5400000" scaled="0"/>
                  </a:gradFill>
                </a:rPr>
                <a:t>Bronze</a:t>
              </a:r>
            </a:p>
          </p:txBody>
        </p:sp>
        <p:grpSp>
          <p:nvGrpSpPr>
            <p:cNvPr id="105" name="Group 104"/>
            <p:cNvGrpSpPr/>
            <p:nvPr/>
          </p:nvGrpSpPr>
          <p:grpSpPr>
            <a:xfrm>
              <a:off x="13172396" y="4625986"/>
              <a:ext cx="2286000" cy="536256"/>
              <a:chOff x="6534359" y="2772192"/>
              <a:chExt cx="2331838" cy="547009"/>
            </a:xfrm>
          </p:grpSpPr>
          <p:sp>
            <p:nvSpPr>
              <p:cNvPr id="108" name="Freeform 207"/>
              <p:cNvSpPr>
                <a:spLocks noEditPoints="1"/>
              </p:cNvSpPr>
              <p:nvPr/>
            </p:nvSpPr>
            <p:spPr bwMode="gray">
              <a:xfrm>
                <a:off x="6630899" y="2908684"/>
                <a:ext cx="479728" cy="357002"/>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109" name="Freeform 207"/>
              <p:cNvSpPr>
                <a:spLocks noEditPoints="1"/>
              </p:cNvSpPr>
              <p:nvPr/>
            </p:nvSpPr>
            <p:spPr bwMode="gray">
              <a:xfrm>
                <a:off x="8291949" y="2908684"/>
                <a:ext cx="479728" cy="357002"/>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110" name="Rectangle 109"/>
              <p:cNvSpPr/>
              <p:nvPr/>
            </p:nvSpPr>
            <p:spPr bwMode="auto">
              <a:xfrm>
                <a:off x="6534359" y="2772192"/>
                <a:ext cx="2331838" cy="547009"/>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a:gradFill>
                      <a:gsLst>
                        <a:gs pos="84071">
                          <a:srgbClr val="191919"/>
                        </a:gs>
                        <a:gs pos="57000">
                          <a:srgbClr val="191919"/>
                        </a:gs>
                      </a:gsLst>
                      <a:lin ang="5400000" scaled="0"/>
                    </a:gradFill>
                    <a:latin typeface="Segoe UI Semibold" panose="020B0702040204020203" pitchFamily="34" charset="0"/>
                  </a:rPr>
                  <a:t>Finance</a:t>
                </a:r>
              </a:p>
            </p:txBody>
          </p:sp>
        </p:grpSp>
        <p:cxnSp>
          <p:nvCxnSpPr>
            <p:cNvPr id="5" name="Straight Connector 4"/>
            <p:cNvCxnSpPr/>
            <p:nvPr/>
          </p:nvCxnSpPr>
          <p:spPr>
            <a:xfrm>
              <a:off x="13591699" y="5036820"/>
              <a:ext cx="1434941"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9" name="Group 128"/>
            <p:cNvGrpSpPr/>
            <p:nvPr/>
          </p:nvGrpSpPr>
          <p:grpSpPr>
            <a:xfrm>
              <a:off x="15545064" y="4625986"/>
              <a:ext cx="2286002" cy="536256"/>
              <a:chOff x="5975576" y="2769295"/>
              <a:chExt cx="2331839" cy="547009"/>
            </a:xfrm>
          </p:grpSpPr>
          <p:sp>
            <p:nvSpPr>
              <p:cNvPr id="130" name="Freeform 207"/>
              <p:cNvSpPr>
                <a:spLocks noEditPoints="1"/>
              </p:cNvSpPr>
              <p:nvPr/>
            </p:nvSpPr>
            <p:spPr bwMode="gray">
              <a:xfrm>
                <a:off x="6071258" y="2908684"/>
                <a:ext cx="479728" cy="357002"/>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131" name="Freeform 207"/>
              <p:cNvSpPr>
                <a:spLocks noEditPoints="1"/>
              </p:cNvSpPr>
              <p:nvPr/>
            </p:nvSpPr>
            <p:spPr bwMode="gray">
              <a:xfrm>
                <a:off x="7732305" y="2908684"/>
                <a:ext cx="479728" cy="357002"/>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132" name="Rectangle 131"/>
              <p:cNvSpPr/>
              <p:nvPr/>
            </p:nvSpPr>
            <p:spPr bwMode="auto">
              <a:xfrm>
                <a:off x="5975576" y="2769295"/>
                <a:ext cx="2331839" cy="547009"/>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smtClean="0">
                    <a:gradFill>
                      <a:gsLst>
                        <a:gs pos="84071">
                          <a:srgbClr val="191919"/>
                        </a:gs>
                        <a:gs pos="57000">
                          <a:srgbClr val="191919"/>
                        </a:gs>
                      </a:gsLst>
                      <a:lin ang="5400000" scaled="0"/>
                    </a:gradFill>
                    <a:latin typeface="Segoe UI Semibold" panose="020B0702040204020203" pitchFamily="34" charset="0"/>
                  </a:rPr>
                  <a:t>HR</a:t>
                </a:r>
                <a:endParaRPr lang="en-US" sz="1372" dirty="0">
                  <a:gradFill>
                    <a:gsLst>
                      <a:gs pos="84071">
                        <a:srgbClr val="191919"/>
                      </a:gs>
                      <a:gs pos="57000">
                        <a:srgbClr val="191919"/>
                      </a:gs>
                    </a:gsLst>
                    <a:lin ang="5400000" scaled="0"/>
                  </a:gradFill>
                  <a:latin typeface="Segoe UI Semibold" panose="020B0702040204020203" pitchFamily="34" charset="0"/>
                </a:endParaRPr>
              </a:p>
            </p:txBody>
          </p:sp>
        </p:grpSp>
        <p:grpSp>
          <p:nvGrpSpPr>
            <p:cNvPr id="133" name="Group 132"/>
            <p:cNvGrpSpPr/>
            <p:nvPr/>
          </p:nvGrpSpPr>
          <p:grpSpPr>
            <a:xfrm>
              <a:off x="17914074" y="4625986"/>
              <a:ext cx="2286000" cy="536256"/>
              <a:chOff x="5415934" y="2778985"/>
              <a:chExt cx="2331839" cy="547009"/>
            </a:xfrm>
          </p:grpSpPr>
          <p:sp>
            <p:nvSpPr>
              <p:cNvPr id="134" name="Freeform 207"/>
              <p:cNvSpPr>
                <a:spLocks noEditPoints="1"/>
              </p:cNvSpPr>
              <p:nvPr/>
            </p:nvSpPr>
            <p:spPr bwMode="gray">
              <a:xfrm>
                <a:off x="5511616" y="2908684"/>
                <a:ext cx="479728" cy="357002"/>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135" name="Freeform 207"/>
              <p:cNvSpPr>
                <a:spLocks noEditPoints="1"/>
              </p:cNvSpPr>
              <p:nvPr/>
            </p:nvSpPr>
            <p:spPr bwMode="gray">
              <a:xfrm>
                <a:off x="7172665" y="2908684"/>
                <a:ext cx="479728" cy="357002"/>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136" name="Rectangle 135"/>
              <p:cNvSpPr/>
              <p:nvPr/>
            </p:nvSpPr>
            <p:spPr bwMode="auto">
              <a:xfrm>
                <a:off x="5415934" y="2778985"/>
                <a:ext cx="2331839" cy="547009"/>
              </a:xfrm>
              <a:prstGeom prst="rect">
                <a:avLst/>
              </a:prstGeom>
              <a:no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r>
                  <a:rPr lang="en-US" sz="1372" dirty="0" smtClean="0">
                    <a:gradFill>
                      <a:gsLst>
                        <a:gs pos="84071">
                          <a:srgbClr val="191919"/>
                        </a:gs>
                        <a:gs pos="57000">
                          <a:srgbClr val="191919"/>
                        </a:gs>
                      </a:gsLst>
                      <a:lin ang="5400000" scaled="0"/>
                    </a:gradFill>
                    <a:latin typeface="Segoe UI Semibold" panose="020B0702040204020203" pitchFamily="34" charset="0"/>
                  </a:rPr>
                  <a:t>Marketing</a:t>
                </a:r>
                <a:endParaRPr lang="en-US" sz="1372" dirty="0">
                  <a:gradFill>
                    <a:gsLst>
                      <a:gs pos="84071">
                        <a:srgbClr val="191919"/>
                      </a:gs>
                      <a:gs pos="57000">
                        <a:srgbClr val="191919"/>
                      </a:gs>
                    </a:gsLst>
                    <a:lin ang="5400000" scaled="0"/>
                  </a:gradFill>
                  <a:latin typeface="Segoe UI Semibold" panose="020B0702040204020203" pitchFamily="34" charset="0"/>
                </a:endParaRPr>
              </a:p>
            </p:txBody>
          </p:sp>
        </p:grpSp>
        <p:cxnSp>
          <p:nvCxnSpPr>
            <p:cNvPr id="140" name="Straight Connector 139"/>
            <p:cNvCxnSpPr/>
            <p:nvPr/>
          </p:nvCxnSpPr>
          <p:spPr>
            <a:xfrm>
              <a:off x="15953589" y="5036820"/>
              <a:ext cx="1434941"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18328774" y="5036820"/>
              <a:ext cx="1434941"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Main header"/>
          <p:cNvGrpSpPr/>
          <p:nvPr/>
        </p:nvGrpSpPr>
        <p:grpSpPr>
          <a:xfrm>
            <a:off x="1190646" y="297134"/>
            <a:ext cx="11001353" cy="1532607"/>
            <a:chOff x="1214520" y="302595"/>
            <a:chExt cx="11221954" cy="1563339"/>
          </a:xfrm>
        </p:grpSpPr>
        <p:grpSp>
          <p:nvGrpSpPr>
            <p:cNvPr id="8" name="Group 7"/>
            <p:cNvGrpSpPr/>
            <p:nvPr/>
          </p:nvGrpSpPr>
          <p:grpSpPr>
            <a:xfrm>
              <a:off x="1214520" y="302595"/>
              <a:ext cx="11221954" cy="1563339"/>
              <a:chOff x="1214520" y="302595"/>
              <a:chExt cx="11221954" cy="1563339"/>
            </a:xfrm>
          </p:grpSpPr>
          <p:grpSp>
            <p:nvGrpSpPr>
              <p:cNvPr id="7" name="Group 6"/>
              <p:cNvGrpSpPr/>
              <p:nvPr/>
            </p:nvGrpSpPr>
            <p:grpSpPr>
              <a:xfrm>
                <a:off x="1214520" y="302595"/>
                <a:ext cx="11221954" cy="1563339"/>
                <a:chOff x="1214520" y="302595"/>
                <a:chExt cx="11221954" cy="1563339"/>
              </a:xfrm>
            </p:grpSpPr>
            <p:sp>
              <p:nvSpPr>
                <p:cNvPr id="154" name="Rectangle 153"/>
                <p:cNvSpPr/>
                <p:nvPr/>
              </p:nvSpPr>
              <p:spPr bwMode="auto">
                <a:xfrm>
                  <a:off x="1214804" y="302595"/>
                  <a:ext cx="7537310" cy="1006754"/>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nvGrpSpPr>
                <p:cNvPr id="6" name="Group 5"/>
                <p:cNvGrpSpPr/>
                <p:nvPr/>
              </p:nvGrpSpPr>
              <p:grpSpPr>
                <a:xfrm>
                  <a:off x="1214520" y="302844"/>
                  <a:ext cx="11221954" cy="1563090"/>
                  <a:chOff x="1214520" y="302844"/>
                  <a:chExt cx="11221954" cy="1563090"/>
                </a:xfrm>
              </p:grpSpPr>
              <p:grpSp>
                <p:nvGrpSpPr>
                  <p:cNvPr id="3" name="Group 2"/>
                  <p:cNvGrpSpPr/>
                  <p:nvPr/>
                </p:nvGrpSpPr>
                <p:grpSpPr>
                  <a:xfrm>
                    <a:off x="1214802" y="302844"/>
                    <a:ext cx="11221672" cy="1553038"/>
                    <a:chOff x="1214802" y="302844"/>
                    <a:chExt cx="11221672" cy="1553038"/>
                  </a:xfrm>
                </p:grpSpPr>
                <p:sp>
                  <p:nvSpPr>
                    <p:cNvPr id="157" name="Rectangle 156"/>
                    <p:cNvSpPr/>
                    <p:nvPr/>
                  </p:nvSpPr>
                  <p:spPr bwMode="auto">
                    <a:xfrm>
                      <a:off x="8794750" y="302844"/>
                      <a:ext cx="3641724" cy="10065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765" dirty="0">
                          <a:gradFill>
                            <a:gsLst>
                              <a:gs pos="34513">
                                <a:srgbClr val="FFFFFF"/>
                              </a:gs>
                              <a:gs pos="57000">
                                <a:srgbClr val="FFFFFF"/>
                              </a:gs>
                            </a:gsLst>
                            <a:lin ang="5400000" scaled="0"/>
                          </a:gradFill>
                        </a:rPr>
                        <a:t>Standardize infrastructure updates and remediation </a:t>
                      </a:r>
                    </a:p>
                  </p:txBody>
                </p:sp>
                <p:sp>
                  <p:nvSpPr>
                    <p:cNvPr id="164" name="Rectangle 163"/>
                    <p:cNvSpPr/>
                    <p:nvPr/>
                  </p:nvSpPr>
                  <p:spPr bwMode="auto">
                    <a:xfrm>
                      <a:off x="1214802" y="1353907"/>
                      <a:ext cx="11221672" cy="5019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sp>
                <p:nvSpPr>
                  <p:cNvPr id="163" name="Rectangle 162"/>
                  <p:cNvSpPr/>
                  <p:nvPr/>
                </p:nvSpPr>
                <p:spPr bwMode="auto">
                  <a:xfrm>
                    <a:off x="1214520" y="1354245"/>
                    <a:ext cx="5464356" cy="501974"/>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5" name="TextBox 164"/>
                  <p:cNvSpPr txBox="1"/>
                  <p:nvPr/>
                </p:nvSpPr>
                <p:spPr>
                  <a:xfrm>
                    <a:off x="1380491" y="1348869"/>
                    <a:ext cx="5108362" cy="5170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gradFill>
                          <a:gsLst>
                            <a:gs pos="77876">
                              <a:srgbClr val="FFFFFF"/>
                            </a:gs>
                            <a:gs pos="30000">
                              <a:srgbClr val="FFFFFF"/>
                            </a:gs>
                          </a:gsLst>
                          <a:lin ang="5400000" scaled="0"/>
                        </a:gradFill>
                      </a:rPr>
                      <a:t>Windows Server 2012 R2  |  System Center 2012 R2</a:t>
                    </a:r>
                  </a:p>
                </p:txBody>
              </p:sp>
            </p:grpSp>
          </p:grpSp>
          <p:grpSp>
            <p:nvGrpSpPr>
              <p:cNvPr id="137" name="rebecca"/>
              <p:cNvGrpSpPr/>
              <p:nvPr/>
            </p:nvGrpSpPr>
            <p:grpSpPr>
              <a:xfrm>
                <a:off x="1214803" y="303508"/>
                <a:ext cx="787180" cy="1005840"/>
                <a:chOff x="1223316" y="303542"/>
                <a:chExt cx="787180" cy="1005840"/>
              </a:xfrm>
            </p:grpSpPr>
            <p:sp>
              <p:nvSpPr>
                <p:cNvPr id="138" name="Rectangle 137"/>
                <p:cNvSpPr/>
                <p:nvPr/>
              </p:nvSpPr>
              <p:spPr bwMode="auto">
                <a:xfrm>
                  <a:off x="1223316" y="303542"/>
                  <a:ext cx="787180" cy="1005840"/>
                </a:xfrm>
                <a:prstGeom prst="rect">
                  <a:avLst/>
                </a:prstGeom>
                <a:solidFill>
                  <a:schemeClr val="accent5"/>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Brad</a:t>
                  </a:r>
                </a:p>
              </p:txBody>
            </p:sp>
            <p:sp>
              <p:nvSpPr>
                <p:cNvPr id="139" name="Isosceles Triangle 138"/>
                <p:cNvSpPr/>
                <p:nvPr/>
              </p:nvSpPr>
              <p:spPr bwMode="auto">
                <a:xfrm rot="16200000">
                  <a:off x="1889121" y="1142133"/>
                  <a:ext cx="150281" cy="92468"/>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grpSp>
        <p:pic>
          <p:nvPicPr>
            <p:cNvPr id="153" name="Picture 152"/>
            <p:cNvPicPr>
              <a:picLocks noChangeAspect="1"/>
            </p:cNvPicPr>
            <p:nvPr/>
          </p:nvPicPr>
          <p:blipFill>
            <a:blip r:embed="rId3"/>
            <a:stretch>
              <a:fillRect/>
            </a:stretch>
          </p:blipFill>
          <p:spPr>
            <a:xfrm>
              <a:off x="1235975" y="323872"/>
              <a:ext cx="741359" cy="747963"/>
            </a:xfrm>
            <a:prstGeom prst="rect">
              <a:avLst/>
            </a:prstGeom>
            <a:solidFill>
              <a:schemeClr val="accent5"/>
            </a:solidFill>
          </p:spPr>
        </p:pic>
      </p:grpSp>
      <p:sp>
        <p:nvSpPr>
          <p:cNvPr id="83" name="quote 1"/>
          <p:cNvSpPr txBox="1"/>
          <p:nvPr/>
        </p:nvSpPr>
        <p:spPr>
          <a:xfrm>
            <a:off x="1980262" y="324639"/>
            <a:ext cx="6637281" cy="561179"/>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Richard, I noticed that we’ve been exceeding the SLAs for the Finance App.  </a:t>
            </a:r>
            <a:br>
              <a:rPr lang="en-US" sz="1372" dirty="0">
                <a:gradFill>
                  <a:gsLst>
                    <a:gs pos="13274">
                      <a:srgbClr val="282828">
                        <a:lumMod val="90000"/>
                        <a:lumOff val="10000"/>
                      </a:srgbClr>
                    </a:gs>
                    <a:gs pos="27434">
                      <a:srgbClr val="282828">
                        <a:lumMod val="90000"/>
                        <a:lumOff val="10000"/>
                      </a:srgbClr>
                    </a:gs>
                  </a:gsLst>
                  <a:lin ang="16200000" scaled="1"/>
                </a:gradFill>
              </a:rPr>
            </a:br>
            <a:r>
              <a:rPr lang="en-US" sz="1372" dirty="0">
                <a:gradFill>
                  <a:gsLst>
                    <a:gs pos="13274">
                      <a:srgbClr val="282828">
                        <a:lumMod val="90000"/>
                        <a:lumOff val="10000"/>
                      </a:srgbClr>
                    </a:gs>
                    <a:gs pos="27434">
                      <a:srgbClr val="282828">
                        <a:lumMod val="90000"/>
                        <a:lumOff val="10000"/>
                      </a:srgbClr>
                    </a:gs>
                  </a:gsLst>
                  <a:lin ang="16200000" scaled="1"/>
                </a:gradFill>
              </a:rPr>
              <a:t>Great Job! What did we do differently this time?”</a:t>
            </a:r>
          </a:p>
        </p:txBody>
      </p:sp>
      <p:sp>
        <p:nvSpPr>
          <p:cNvPr id="141" name="quote 2"/>
          <p:cNvSpPr txBox="1"/>
          <p:nvPr/>
        </p:nvSpPr>
        <p:spPr>
          <a:xfrm>
            <a:off x="1980262" y="324639"/>
            <a:ext cx="6637281" cy="751267"/>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Thank you. It’s because I’ve been using System Center to deploy and manage </a:t>
            </a:r>
            <a:br>
              <a:rPr lang="en-US" sz="1372" dirty="0">
                <a:gradFill>
                  <a:gsLst>
                    <a:gs pos="13274">
                      <a:srgbClr val="282828">
                        <a:lumMod val="90000"/>
                        <a:lumOff val="10000"/>
                      </a:srgbClr>
                    </a:gs>
                    <a:gs pos="27434">
                      <a:srgbClr val="282828">
                        <a:lumMod val="90000"/>
                        <a:lumOff val="10000"/>
                      </a:srgbClr>
                    </a:gs>
                  </a:gsLst>
                  <a:lin ang="16200000" scaled="1"/>
                </a:gradFill>
              </a:rPr>
            </a:br>
            <a:r>
              <a:rPr lang="en-US" sz="1372" dirty="0">
                <a:gradFill>
                  <a:gsLst>
                    <a:gs pos="13274">
                      <a:srgbClr val="282828">
                        <a:lumMod val="90000"/>
                        <a:lumOff val="10000"/>
                      </a:srgbClr>
                    </a:gs>
                    <a:gs pos="27434">
                      <a:srgbClr val="282828">
                        <a:lumMod val="90000"/>
                        <a:lumOff val="10000"/>
                      </a:srgbClr>
                    </a:gs>
                  </a:gsLst>
                  <a:lin ang="16200000" scaled="1"/>
                </a:gradFill>
              </a:rPr>
              <a:t>our infrastructure, including Storage, Networking, as well as deploying our </a:t>
            </a:r>
            <a:br>
              <a:rPr lang="en-US" sz="1372" dirty="0">
                <a:gradFill>
                  <a:gsLst>
                    <a:gs pos="13274">
                      <a:srgbClr val="282828">
                        <a:lumMod val="90000"/>
                        <a:lumOff val="10000"/>
                      </a:srgbClr>
                    </a:gs>
                    <a:gs pos="27434">
                      <a:srgbClr val="282828">
                        <a:lumMod val="90000"/>
                        <a:lumOff val="10000"/>
                      </a:srgbClr>
                    </a:gs>
                  </a:gsLst>
                  <a:lin ang="16200000" scaled="1"/>
                </a:gradFill>
              </a:rPr>
            </a:br>
            <a:r>
              <a:rPr lang="en-US" sz="1372" dirty="0">
                <a:gradFill>
                  <a:gsLst>
                    <a:gs pos="13274">
                      <a:srgbClr val="282828">
                        <a:lumMod val="90000"/>
                        <a:lumOff val="10000"/>
                      </a:srgbClr>
                    </a:gs>
                    <a:gs pos="27434">
                      <a:srgbClr val="282828">
                        <a:lumMod val="90000"/>
                        <a:lumOff val="10000"/>
                      </a:srgbClr>
                    </a:gs>
                  </a:gsLst>
                  <a:lin ang="16200000" scaled="1"/>
                </a:gradFill>
              </a:rPr>
              <a:t>Hyper-V hosts.”</a:t>
            </a:r>
          </a:p>
        </p:txBody>
      </p:sp>
      <p:sp>
        <p:nvSpPr>
          <p:cNvPr id="142" name="quote 3"/>
          <p:cNvSpPr txBox="1"/>
          <p:nvPr/>
        </p:nvSpPr>
        <p:spPr>
          <a:xfrm>
            <a:off x="1980262" y="324639"/>
            <a:ext cx="6637281" cy="751267"/>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I can also standardize the deployment of my Windows and Linux VMs using VM templates. For the Finance application, I used service templates and was able </a:t>
            </a:r>
            <a:br>
              <a:rPr lang="en-US" sz="1372" dirty="0">
                <a:gradFill>
                  <a:gsLst>
                    <a:gs pos="13274">
                      <a:srgbClr val="282828">
                        <a:lumMod val="90000"/>
                        <a:lumOff val="10000"/>
                      </a:srgbClr>
                    </a:gs>
                    <a:gs pos="27434">
                      <a:srgbClr val="282828">
                        <a:lumMod val="90000"/>
                        <a:lumOff val="10000"/>
                      </a:srgbClr>
                    </a:gs>
                  </a:gsLst>
                  <a:lin ang="16200000" scaled="1"/>
                </a:gradFill>
              </a:rPr>
            </a:br>
            <a:r>
              <a:rPr lang="en-US" sz="1372" dirty="0">
                <a:gradFill>
                  <a:gsLst>
                    <a:gs pos="13274">
                      <a:srgbClr val="282828">
                        <a:lumMod val="90000"/>
                        <a:lumOff val="10000"/>
                      </a:srgbClr>
                    </a:gs>
                    <a:gs pos="27434">
                      <a:srgbClr val="282828">
                        <a:lumMod val="90000"/>
                        <a:lumOff val="10000"/>
                      </a:srgbClr>
                    </a:gs>
                  </a:gsLst>
                  <a:lin ang="16200000" scaled="1"/>
                </a:gradFill>
              </a:rPr>
              <a:t>to deploy both the application and the VMs that run on Hyper-V and Linux.”</a:t>
            </a:r>
          </a:p>
        </p:txBody>
      </p:sp>
      <p:sp>
        <p:nvSpPr>
          <p:cNvPr id="143" name="quote 4"/>
          <p:cNvSpPr txBox="1"/>
          <p:nvPr/>
        </p:nvSpPr>
        <p:spPr>
          <a:xfrm>
            <a:off x="1980262" y="324639"/>
            <a:ext cx="6637281" cy="751267"/>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I can then use Operations Manager to get instant alerts, should there be any issues with any of our applications not meeting SLAs. I have total visibility to not only the application, but the infrastructure layer as well.”</a:t>
            </a:r>
          </a:p>
        </p:txBody>
      </p:sp>
      <p:sp>
        <p:nvSpPr>
          <p:cNvPr id="152" name="quote 5"/>
          <p:cNvSpPr txBox="1"/>
          <p:nvPr/>
        </p:nvSpPr>
        <p:spPr>
          <a:xfrm>
            <a:off x="1980262" y="324639"/>
            <a:ext cx="6637281" cy="751267"/>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Just the other day. I received an alert indicating the application was sluggish. I was easily able to identify that it was because of memory constraints on a Linux and </a:t>
            </a:r>
            <a:br>
              <a:rPr lang="en-US" sz="1372" dirty="0">
                <a:gradFill>
                  <a:gsLst>
                    <a:gs pos="13274">
                      <a:srgbClr val="282828">
                        <a:lumMod val="90000"/>
                        <a:lumOff val="10000"/>
                      </a:srgbClr>
                    </a:gs>
                    <a:gs pos="27434">
                      <a:srgbClr val="282828">
                        <a:lumMod val="90000"/>
                        <a:lumOff val="10000"/>
                      </a:srgbClr>
                    </a:gs>
                  </a:gsLst>
                  <a:lin ang="16200000" scaled="1"/>
                </a:gradFill>
              </a:rPr>
            </a:br>
            <a:r>
              <a:rPr lang="en-US" sz="1372" dirty="0">
                <a:gradFill>
                  <a:gsLst>
                    <a:gs pos="13274">
                      <a:srgbClr val="282828">
                        <a:lumMod val="90000"/>
                        <a:lumOff val="10000"/>
                      </a:srgbClr>
                    </a:gs>
                    <a:gs pos="27434">
                      <a:srgbClr val="282828">
                        <a:lumMod val="90000"/>
                        <a:lumOff val="10000"/>
                      </a:srgbClr>
                    </a:gs>
                  </a:gsLst>
                  <a:lin ang="16200000" scaled="1"/>
                </a:gradFill>
              </a:rPr>
              <a:t>a Windows VM.”</a:t>
            </a:r>
          </a:p>
        </p:txBody>
      </p:sp>
      <p:sp>
        <p:nvSpPr>
          <p:cNvPr id="181" name="quote 6"/>
          <p:cNvSpPr txBox="1"/>
          <p:nvPr/>
        </p:nvSpPr>
        <p:spPr>
          <a:xfrm>
            <a:off x="1980263" y="324639"/>
            <a:ext cx="6196657" cy="371057"/>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I was then able to quickly </a:t>
            </a:r>
            <a:r>
              <a:rPr lang="en-US" sz="1372" dirty="0" smtClean="0">
                <a:gradFill>
                  <a:gsLst>
                    <a:gs pos="13274">
                      <a:srgbClr val="282828">
                        <a:lumMod val="90000"/>
                        <a:lumOff val="10000"/>
                      </a:srgbClr>
                    </a:gs>
                    <a:gs pos="27434">
                      <a:srgbClr val="282828">
                        <a:lumMod val="90000"/>
                        <a:lumOff val="10000"/>
                      </a:srgbClr>
                    </a:gs>
                  </a:gsLst>
                  <a:lin ang="16200000" scaled="1"/>
                </a:gradFill>
              </a:rPr>
              <a:t>add the physical resources to the gold cloud”</a:t>
            </a:r>
            <a:endParaRPr lang="en-US" sz="1372" dirty="0">
              <a:gradFill>
                <a:gsLst>
                  <a:gs pos="13274">
                    <a:srgbClr val="282828">
                      <a:lumMod val="90000"/>
                      <a:lumOff val="10000"/>
                    </a:srgbClr>
                  </a:gs>
                  <a:gs pos="27434">
                    <a:srgbClr val="282828">
                      <a:lumMod val="90000"/>
                      <a:lumOff val="10000"/>
                    </a:srgbClr>
                  </a:gs>
                </a:gsLst>
                <a:lin ang="16200000" scaled="1"/>
              </a:gradFill>
            </a:endParaRPr>
          </a:p>
        </p:txBody>
      </p:sp>
      <p:grpSp>
        <p:nvGrpSpPr>
          <p:cNvPr id="147" name="richard"/>
          <p:cNvGrpSpPr>
            <a:grpSpLocks noChangeAspect="1"/>
          </p:cNvGrpSpPr>
          <p:nvPr/>
        </p:nvGrpSpPr>
        <p:grpSpPr>
          <a:xfrm>
            <a:off x="1190924" y="298030"/>
            <a:ext cx="771705" cy="986067"/>
            <a:chOff x="1192144" y="1221871"/>
            <a:chExt cx="822960" cy="1051560"/>
          </a:xfrm>
        </p:grpSpPr>
        <p:grpSp>
          <p:nvGrpSpPr>
            <p:cNvPr id="148" name="Group 147"/>
            <p:cNvGrpSpPr/>
            <p:nvPr/>
          </p:nvGrpSpPr>
          <p:grpSpPr>
            <a:xfrm>
              <a:off x="1192144" y="1221871"/>
              <a:ext cx="822960" cy="1051560"/>
              <a:chOff x="2257477" y="1518442"/>
              <a:chExt cx="822960" cy="1051560"/>
            </a:xfrm>
          </p:grpSpPr>
          <p:sp>
            <p:nvSpPr>
              <p:cNvPr id="150" name="Rectangle 149"/>
              <p:cNvSpPr/>
              <p:nvPr/>
            </p:nvSpPr>
            <p:spPr bwMode="auto">
              <a:xfrm>
                <a:off x="2257477" y="1518442"/>
                <a:ext cx="822960" cy="105156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151" name="Picture 4"/>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75748" t="27538" r="7225" b="45284"/>
              <a:stretch/>
            </p:blipFill>
            <p:spPr bwMode="auto">
              <a:xfrm>
                <a:off x="2280337" y="1539731"/>
                <a:ext cx="777240" cy="777240"/>
              </a:xfrm>
              <a:prstGeom prst="rect">
                <a:avLst/>
              </a:prstGeom>
              <a:solidFill>
                <a:schemeClr val="tx1"/>
              </a:solidFill>
              <a:ln>
                <a:no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9" name="Isosceles Triangle 148"/>
            <p:cNvSpPr/>
            <p:nvPr/>
          </p:nvSpPr>
          <p:spPr bwMode="auto">
            <a:xfrm rot="16200000">
              <a:off x="188821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sp>
        <p:nvSpPr>
          <p:cNvPr id="166" name="Blue banner"/>
          <p:cNvSpPr/>
          <p:nvPr/>
        </p:nvSpPr>
        <p:spPr bwMode="auto">
          <a:xfrm>
            <a:off x="1190925" y="281705"/>
            <a:ext cx="11028755" cy="1004444"/>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765" dirty="0" smtClean="0">
                <a:gradFill>
                  <a:gsLst>
                    <a:gs pos="24779">
                      <a:srgbClr val="FFFFFF"/>
                    </a:gs>
                    <a:gs pos="57000">
                      <a:srgbClr val="FFFFFF"/>
                    </a:gs>
                  </a:gsLst>
                  <a:lin ang="5400000" scaled="0"/>
                </a:gradFill>
              </a:rPr>
              <a:t>Standardize application deployment for Windows and Linux guests</a:t>
            </a:r>
            <a:endParaRPr lang="en-US" sz="1765" dirty="0">
              <a:gradFill>
                <a:gsLst>
                  <a:gs pos="24779">
                    <a:srgbClr val="FFFFFF"/>
                  </a:gs>
                  <a:gs pos="57000">
                    <a:srgbClr val="FFFFFF"/>
                  </a:gs>
                </a:gsLst>
                <a:lin ang="5400000" scaled="0"/>
              </a:gradFill>
            </a:endParaRPr>
          </a:p>
        </p:txBody>
      </p:sp>
      <p:sp>
        <p:nvSpPr>
          <p:cNvPr id="158" name="Rectangle 157"/>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159" name="Rectangle 158"/>
          <p:cNvSpPr/>
          <p:nvPr/>
        </p:nvSpPr>
        <p:spPr bwMode="auto">
          <a:xfrm>
            <a:off x="1" y="4997289"/>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1327">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132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60" name="Rectangle 159"/>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61" name="Rectangle 160"/>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a:t>
            </a:r>
            <a:r>
              <a:rPr lang="en-US" sz="1568" spc="-20" dirty="0" smtClean="0">
                <a:gradFill>
                  <a:gsLst>
                    <a:gs pos="51327">
                      <a:srgbClr val="282828">
                        <a:lumMod val="90000"/>
                        <a:lumOff val="10000"/>
                      </a:srgbClr>
                    </a:gs>
                    <a:gs pos="84071">
                      <a:srgbClr val="282828">
                        <a:lumMod val="90000"/>
                        <a:lumOff val="10000"/>
                      </a:srgbClr>
                    </a:gs>
                  </a:gsLst>
                  <a:lin ang="5400000" scaled="0"/>
                </a:gradFill>
                <a:latin typeface="Segoe UI Semibold" panose="020B0702040204020203" pitchFamily="34" charset="0"/>
              </a:rPr>
              <a:t> </a:t>
            </a:r>
            <a:r>
              <a:rPr lang="en-US" sz="1568" spc="-20" dirty="0">
                <a:gradFill>
                  <a:gsLst>
                    <a:gs pos="51327">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p>
        </p:txBody>
      </p:sp>
      <p:sp>
        <p:nvSpPr>
          <p:cNvPr id="162" name="Rectangle 161"/>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
        <p:nvSpPr>
          <p:cNvPr id="168" name="1 right"/>
          <p:cNvSpPr/>
          <p:nvPr/>
        </p:nvSpPr>
        <p:spPr bwMode="auto">
          <a:xfrm>
            <a:off x="4361180" y="2295524"/>
            <a:ext cx="7200900" cy="1076325"/>
          </a:xfrm>
          <a:prstGeom prst="rect">
            <a:avLst/>
          </a:prstGeom>
          <a:solidFill>
            <a:schemeClr val="bg1">
              <a:lumMod val="95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pPr>
            <a:endParaRPr lang="en-US" sz="1568" dirty="0">
              <a:gradFill>
                <a:gsLst>
                  <a:gs pos="93805">
                    <a:srgbClr val="191919"/>
                  </a:gs>
                  <a:gs pos="84071">
                    <a:srgbClr val="191919"/>
                  </a:gs>
                </a:gsLst>
                <a:lin ang="5400000" scaled="0"/>
              </a:gradFill>
            </a:endParaRPr>
          </a:p>
        </p:txBody>
      </p:sp>
      <p:sp>
        <p:nvSpPr>
          <p:cNvPr id="176" name="Freeform 5"/>
          <p:cNvSpPr>
            <a:spLocks noEditPoints="1"/>
          </p:cNvSpPr>
          <p:nvPr/>
        </p:nvSpPr>
        <p:spPr bwMode="auto">
          <a:xfrm>
            <a:off x="1226233" y="1870896"/>
            <a:ext cx="2732998" cy="2345504"/>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solidFill>
            <a:srgbClr val="B2B2B2"/>
          </a:solidFill>
          <a:ln w="38100">
            <a:solidFill>
              <a:schemeClr val="bg1"/>
            </a:solidFill>
          </a:ln>
        </p:spPr>
        <p:txBody>
          <a:bodyPr vert="horz" wrap="square" lIns="89642" tIns="44821" rIns="89642" bIns="44821" numCol="1" anchor="t" anchorCtr="0" compatLnSpc="1">
            <a:prstTxWarp prst="textNoShape">
              <a:avLst/>
            </a:prstTxWarp>
          </a:bodyPr>
          <a:lstStyle/>
          <a:p>
            <a:pPr algn="ctr" defTabSz="914367"/>
            <a:endParaRPr lang="en-US" sz="1765">
              <a:solidFill>
                <a:srgbClr val="282828"/>
              </a:solidFill>
            </a:endParaRPr>
          </a:p>
        </p:txBody>
      </p:sp>
      <p:sp>
        <p:nvSpPr>
          <p:cNvPr id="177" name="TextBox 176"/>
          <p:cNvSpPr txBox="1"/>
          <p:nvPr/>
        </p:nvSpPr>
        <p:spPr>
          <a:xfrm>
            <a:off x="1489735" y="2157278"/>
            <a:ext cx="2180913" cy="193899"/>
          </a:xfrm>
          <a:prstGeom prst="rect">
            <a:avLst/>
          </a:prstGeom>
          <a:noFill/>
        </p:spPr>
        <p:txBody>
          <a:bodyPr wrap="square" lIns="0" tIns="0" rIns="0" bIns="0" rtlCol="0" anchor="ctr">
            <a:spAutoFit/>
          </a:bodyPr>
          <a:lstStyle/>
          <a:p>
            <a:pPr algn="ctr" defTabSz="914367">
              <a:lnSpc>
                <a:spcPct val="90000"/>
              </a:lnSpc>
              <a:spcAft>
                <a:spcPts val="588"/>
              </a:spcAft>
            </a:pPr>
            <a:r>
              <a:rPr lang="en-US" sz="1400" dirty="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t>Virtual Machine Manager</a:t>
            </a:r>
          </a:p>
        </p:txBody>
      </p:sp>
      <p:sp>
        <p:nvSpPr>
          <p:cNvPr id="180" name="Rectangle 179"/>
          <p:cNvSpPr/>
          <p:nvPr/>
        </p:nvSpPr>
        <p:spPr bwMode="auto">
          <a:xfrm>
            <a:off x="4460778" y="2876861"/>
            <a:ext cx="3468785" cy="41148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59292">
                      <a:srgbClr val="FFFFFF"/>
                    </a:gs>
                    <a:gs pos="83000">
                      <a:srgbClr val="FFFFFF"/>
                    </a:gs>
                  </a:gsLst>
                  <a:lin ang="5400000" scaled="1"/>
                </a:gradFill>
                <a:latin typeface="Segoe UI Semibold" panose="020B0702040204020203" pitchFamily="34" charset="0"/>
              </a:rPr>
              <a:t>WINDOWS </a:t>
            </a:r>
            <a:r>
              <a:rPr lang="en-US" sz="1372" dirty="0" smtClean="0">
                <a:gradFill>
                  <a:gsLst>
                    <a:gs pos="59292">
                      <a:srgbClr val="FFFFFF"/>
                    </a:gs>
                    <a:gs pos="83000">
                      <a:srgbClr val="FFFFFF"/>
                    </a:gs>
                  </a:gsLst>
                  <a:lin ang="5400000" scaled="1"/>
                </a:gradFill>
                <a:latin typeface="Segoe UI Semibold" panose="020B0702040204020203" pitchFamily="34" charset="0"/>
              </a:rPr>
              <a:t>GUESTS</a:t>
            </a:r>
            <a:endParaRPr lang="en-US" sz="1372" dirty="0">
              <a:gradFill>
                <a:gsLst>
                  <a:gs pos="59292">
                    <a:srgbClr val="FFFFFF"/>
                  </a:gs>
                  <a:gs pos="83000">
                    <a:srgbClr val="FFFFFF"/>
                  </a:gs>
                </a:gsLst>
                <a:lin ang="5400000" scaled="1"/>
              </a:gradFill>
              <a:latin typeface="Segoe UI Semibold" panose="020B0702040204020203" pitchFamily="34" charset="0"/>
            </a:endParaRPr>
          </a:p>
        </p:txBody>
      </p:sp>
      <p:sp>
        <p:nvSpPr>
          <p:cNvPr id="184" name="Rectangle 183"/>
          <p:cNvSpPr/>
          <p:nvPr/>
        </p:nvSpPr>
        <p:spPr bwMode="auto">
          <a:xfrm>
            <a:off x="8015288" y="2876861"/>
            <a:ext cx="3459631" cy="41148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59292">
                      <a:srgbClr val="FFFFFF"/>
                    </a:gs>
                    <a:gs pos="83000">
                      <a:srgbClr val="FFFFFF"/>
                    </a:gs>
                  </a:gsLst>
                  <a:lin ang="5400000" scaled="1"/>
                </a:gradFill>
                <a:latin typeface="Segoe UI Semibold" panose="020B0702040204020203" pitchFamily="34" charset="0"/>
              </a:rPr>
              <a:t>LINUX </a:t>
            </a:r>
            <a:r>
              <a:rPr lang="en-US" sz="1372" dirty="0" smtClean="0">
                <a:gradFill>
                  <a:gsLst>
                    <a:gs pos="59292">
                      <a:srgbClr val="FFFFFF"/>
                    </a:gs>
                    <a:gs pos="83000">
                      <a:srgbClr val="FFFFFF"/>
                    </a:gs>
                  </a:gsLst>
                  <a:lin ang="5400000" scaled="1"/>
                </a:gradFill>
                <a:latin typeface="Segoe UI Semibold" panose="020B0702040204020203" pitchFamily="34" charset="0"/>
              </a:rPr>
              <a:t>GUESTS</a:t>
            </a:r>
            <a:endParaRPr lang="en-US" sz="1372" dirty="0">
              <a:gradFill>
                <a:gsLst>
                  <a:gs pos="59292">
                    <a:srgbClr val="FFFFFF"/>
                  </a:gs>
                  <a:gs pos="83000">
                    <a:srgbClr val="FFFFFF"/>
                  </a:gs>
                </a:gsLst>
                <a:lin ang="5400000" scaled="1"/>
              </a:gradFill>
              <a:latin typeface="Segoe UI Semibold" panose="020B0702040204020203" pitchFamily="34" charset="0"/>
            </a:endParaRPr>
          </a:p>
        </p:txBody>
      </p:sp>
      <p:sp>
        <p:nvSpPr>
          <p:cNvPr id="185" name="Green triangle"/>
          <p:cNvSpPr>
            <a:spLocks noChangeAspect="1" noEditPoints="1"/>
          </p:cNvSpPr>
          <p:nvPr/>
        </p:nvSpPr>
        <p:spPr bwMode="auto">
          <a:xfrm>
            <a:off x="6429694" y="2968912"/>
            <a:ext cx="288186" cy="25005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2"/>
          </a:solidFill>
          <a:ln>
            <a:noFill/>
          </a:ln>
        </p:spPr>
        <p:txBody>
          <a:bodyPr vert="horz" wrap="square" lIns="62688" tIns="31344" rIns="62688" bIns="31344" numCol="1" anchor="t" anchorCtr="0" compatLnSpc="1">
            <a:prstTxWarp prst="textNoShape">
              <a:avLst/>
            </a:prstTxWarp>
          </a:bodyPr>
          <a:lstStyle/>
          <a:p>
            <a:pPr defTabSz="637527"/>
            <a:endParaRPr lang="en-US" sz="1274">
              <a:solidFill>
                <a:srgbClr val="505050"/>
              </a:solidFill>
            </a:endParaRPr>
          </a:p>
        </p:txBody>
      </p:sp>
      <p:sp>
        <p:nvSpPr>
          <p:cNvPr id="186" name="Green triangle"/>
          <p:cNvSpPr>
            <a:spLocks noChangeAspect="1" noEditPoints="1"/>
          </p:cNvSpPr>
          <p:nvPr/>
        </p:nvSpPr>
        <p:spPr bwMode="auto">
          <a:xfrm>
            <a:off x="6774280" y="2968912"/>
            <a:ext cx="288186" cy="25005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2"/>
          </a:solidFill>
          <a:ln>
            <a:noFill/>
          </a:ln>
        </p:spPr>
        <p:txBody>
          <a:bodyPr vert="horz" wrap="square" lIns="62688" tIns="31344" rIns="62688" bIns="31344" numCol="1" anchor="t" anchorCtr="0" compatLnSpc="1">
            <a:prstTxWarp prst="textNoShape">
              <a:avLst/>
            </a:prstTxWarp>
          </a:bodyPr>
          <a:lstStyle/>
          <a:p>
            <a:pPr defTabSz="637527"/>
            <a:endParaRPr lang="en-US" sz="1274">
              <a:solidFill>
                <a:srgbClr val="505050"/>
              </a:solidFill>
            </a:endParaRPr>
          </a:p>
        </p:txBody>
      </p:sp>
      <p:sp>
        <p:nvSpPr>
          <p:cNvPr id="189" name="Green triangle"/>
          <p:cNvSpPr>
            <a:spLocks noChangeAspect="1" noEditPoints="1"/>
          </p:cNvSpPr>
          <p:nvPr/>
        </p:nvSpPr>
        <p:spPr bwMode="auto">
          <a:xfrm>
            <a:off x="9818626" y="2968912"/>
            <a:ext cx="288186" cy="25005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2"/>
          </a:solidFill>
          <a:ln>
            <a:noFill/>
          </a:ln>
        </p:spPr>
        <p:txBody>
          <a:bodyPr vert="horz" wrap="square" lIns="62688" tIns="31344" rIns="62688" bIns="31344" numCol="1" anchor="t" anchorCtr="0" compatLnSpc="1">
            <a:prstTxWarp prst="textNoShape">
              <a:avLst/>
            </a:prstTxWarp>
          </a:bodyPr>
          <a:lstStyle/>
          <a:p>
            <a:pPr defTabSz="637527"/>
            <a:endParaRPr lang="en-US" sz="1274">
              <a:solidFill>
                <a:srgbClr val="505050"/>
              </a:solidFill>
            </a:endParaRPr>
          </a:p>
        </p:txBody>
      </p:sp>
      <p:sp>
        <p:nvSpPr>
          <p:cNvPr id="190" name="Green triangle"/>
          <p:cNvSpPr>
            <a:spLocks noChangeAspect="1" noEditPoints="1"/>
          </p:cNvSpPr>
          <p:nvPr/>
        </p:nvSpPr>
        <p:spPr bwMode="auto">
          <a:xfrm>
            <a:off x="10168176" y="2968912"/>
            <a:ext cx="288186" cy="25005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2"/>
          </a:solidFill>
          <a:ln>
            <a:noFill/>
          </a:ln>
        </p:spPr>
        <p:txBody>
          <a:bodyPr vert="horz" wrap="square" lIns="62688" tIns="31344" rIns="62688" bIns="31344" numCol="1" anchor="t" anchorCtr="0" compatLnSpc="1">
            <a:prstTxWarp prst="textNoShape">
              <a:avLst/>
            </a:prstTxWarp>
          </a:bodyPr>
          <a:lstStyle/>
          <a:p>
            <a:pPr defTabSz="637527"/>
            <a:endParaRPr lang="en-US" sz="1274">
              <a:solidFill>
                <a:srgbClr val="505050"/>
              </a:solidFill>
            </a:endParaRPr>
          </a:p>
        </p:txBody>
      </p:sp>
      <p:sp>
        <p:nvSpPr>
          <p:cNvPr id="20" name="Service templates button"/>
          <p:cNvSpPr/>
          <p:nvPr/>
        </p:nvSpPr>
        <p:spPr bwMode="auto">
          <a:xfrm>
            <a:off x="1482179" y="2772529"/>
            <a:ext cx="2236618" cy="3936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00" dirty="0">
                <a:gradFill>
                  <a:gsLst>
                    <a:gs pos="21239">
                      <a:srgbClr val="282828"/>
                    </a:gs>
                    <a:gs pos="38000">
                      <a:srgbClr val="282828"/>
                    </a:gs>
                  </a:gsLst>
                  <a:lin ang="5400000" scaled="0"/>
                </a:gradFill>
                <a:ea typeface="Segoe UI" pitchFamily="34" charset="0"/>
                <a:cs typeface="Segoe UI" pitchFamily="34" charset="0"/>
              </a:rPr>
              <a:t>Service templates</a:t>
            </a:r>
          </a:p>
        </p:txBody>
      </p:sp>
      <p:sp>
        <p:nvSpPr>
          <p:cNvPr id="194" name="VM templates button"/>
          <p:cNvSpPr/>
          <p:nvPr/>
        </p:nvSpPr>
        <p:spPr bwMode="auto">
          <a:xfrm>
            <a:off x="1474559" y="3237232"/>
            <a:ext cx="2236618" cy="39363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400" dirty="0">
                <a:gradFill>
                  <a:gsLst>
                    <a:gs pos="21239">
                      <a:srgbClr val="282828"/>
                    </a:gs>
                    <a:gs pos="38000">
                      <a:srgbClr val="282828"/>
                    </a:gs>
                  </a:gsLst>
                  <a:lin ang="5400000" scaled="0"/>
                </a:gradFill>
                <a:ea typeface="Segoe UI" pitchFamily="34" charset="0"/>
                <a:cs typeface="Segoe UI" pitchFamily="34" charset="0"/>
              </a:rPr>
              <a:t>VM templates</a:t>
            </a:r>
          </a:p>
        </p:txBody>
      </p:sp>
      <p:sp>
        <p:nvSpPr>
          <p:cNvPr id="195" name="Green triangle"/>
          <p:cNvSpPr>
            <a:spLocks noChangeAspect="1" noEditPoints="1"/>
          </p:cNvSpPr>
          <p:nvPr/>
        </p:nvSpPr>
        <p:spPr bwMode="auto">
          <a:xfrm>
            <a:off x="7136139" y="2970057"/>
            <a:ext cx="288186" cy="25005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2"/>
          </a:solidFill>
          <a:ln>
            <a:noFill/>
          </a:ln>
        </p:spPr>
        <p:txBody>
          <a:bodyPr vert="horz" wrap="square" lIns="62688" tIns="31344" rIns="62688" bIns="31344" numCol="1" anchor="t" anchorCtr="0" compatLnSpc="1">
            <a:prstTxWarp prst="textNoShape">
              <a:avLst/>
            </a:prstTxWarp>
          </a:bodyPr>
          <a:lstStyle/>
          <a:p>
            <a:pPr defTabSz="637527"/>
            <a:endParaRPr lang="en-US" sz="1274">
              <a:solidFill>
                <a:srgbClr val="505050"/>
              </a:solidFill>
            </a:endParaRPr>
          </a:p>
        </p:txBody>
      </p:sp>
      <p:sp>
        <p:nvSpPr>
          <p:cNvPr id="196" name="Green triangle"/>
          <p:cNvSpPr>
            <a:spLocks noChangeAspect="1" noEditPoints="1"/>
          </p:cNvSpPr>
          <p:nvPr/>
        </p:nvSpPr>
        <p:spPr bwMode="auto">
          <a:xfrm>
            <a:off x="7480725" y="2970057"/>
            <a:ext cx="288186" cy="25005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2"/>
          </a:solidFill>
          <a:ln>
            <a:noFill/>
          </a:ln>
        </p:spPr>
        <p:txBody>
          <a:bodyPr vert="horz" wrap="square" lIns="62688" tIns="31344" rIns="62688" bIns="31344" numCol="1" anchor="t" anchorCtr="0" compatLnSpc="1">
            <a:prstTxWarp prst="textNoShape">
              <a:avLst/>
            </a:prstTxWarp>
          </a:bodyPr>
          <a:lstStyle/>
          <a:p>
            <a:pPr defTabSz="637527"/>
            <a:endParaRPr lang="en-US" sz="1274">
              <a:solidFill>
                <a:srgbClr val="505050"/>
              </a:solidFill>
            </a:endParaRPr>
          </a:p>
        </p:txBody>
      </p:sp>
      <p:sp>
        <p:nvSpPr>
          <p:cNvPr id="198" name="Green triangle"/>
          <p:cNvSpPr>
            <a:spLocks noChangeAspect="1" noEditPoints="1"/>
          </p:cNvSpPr>
          <p:nvPr/>
        </p:nvSpPr>
        <p:spPr bwMode="auto">
          <a:xfrm>
            <a:off x="10517726" y="2970057"/>
            <a:ext cx="288186" cy="25005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2"/>
          </a:solidFill>
          <a:ln>
            <a:noFill/>
          </a:ln>
        </p:spPr>
        <p:txBody>
          <a:bodyPr vert="horz" wrap="square" lIns="62688" tIns="31344" rIns="62688" bIns="31344" numCol="1" anchor="t" anchorCtr="0" compatLnSpc="1">
            <a:prstTxWarp prst="textNoShape">
              <a:avLst/>
            </a:prstTxWarp>
          </a:bodyPr>
          <a:lstStyle/>
          <a:p>
            <a:pPr defTabSz="637527"/>
            <a:endParaRPr lang="en-US" sz="1274">
              <a:solidFill>
                <a:srgbClr val="505050"/>
              </a:solidFill>
            </a:endParaRPr>
          </a:p>
        </p:txBody>
      </p:sp>
      <p:sp>
        <p:nvSpPr>
          <p:cNvPr id="199" name="Green triangle"/>
          <p:cNvSpPr>
            <a:spLocks noChangeAspect="1" noEditPoints="1"/>
          </p:cNvSpPr>
          <p:nvPr/>
        </p:nvSpPr>
        <p:spPr bwMode="auto">
          <a:xfrm>
            <a:off x="10867276" y="2970057"/>
            <a:ext cx="288186" cy="25005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2"/>
          </a:solidFill>
          <a:ln>
            <a:noFill/>
          </a:ln>
        </p:spPr>
        <p:txBody>
          <a:bodyPr vert="horz" wrap="square" lIns="62688" tIns="31344" rIns="62688" bIns="31344" numCol="1" anchor="t" anchorCtr="0" compatLnSpc="1">
            <a:prstTxWarp prst="textNoShape">
              <a:avLst/>
            </a:prstTxWarp>
          </a:bodyPr>
          <a:lstStyle/>
          <a:p>
            <a:pPr defTabSz="637527"/>
            <a:endParaRPr lang="en-US" sz="1274">
              <a:solidFill>
                <a:srgbClr val="505050"/>
              </a:solidFill>
            </a:endParaRPr>
          </a:p>
        </p:txBody>
      </p:sp>
      <p:sp>
        <p:nvSpPr>
          <p:cNvPr id="201" name="Operations Manager txt"/>
          <p:cNvSpPr txBox="1"/>
          <p:nvPr/>
        </p:nvSpPr>
        <p:spPr>
          <a:xfrm>
            <a:off x="1489735" y="2157278"/>
            <a:ext cx="2180913" cy="387798"/>
          </a:xfrm>
          <a:prstGeom prst="rect">
            <a:avLst/>
          </a:prstGeom>
          <a:noFill/>
        </p:spPr>
        <p:txBody>
          <a:bodyPr wrap="square" lIns="0" tIns="0" rIns="0" bIns="0" rtlCol="0" anchor="ctr">
            <a:spAutoFit/>
          </a:bodyPr>
          <a:lstStyle/>
          <a:p>
            <a:pPr algn="ctr" defTabSz="914367">
              <a:lnSpc>
                <a:spcPct val="90000"/>
              </a:lnSpc>
              <a:spcAft>
                <a:spcPts val="588"/>
              </a:spcAft>
            </a:pPr>
            <a:r>
              <a:rPr lang="en-US" sz="1400" dirty="0" smtClean="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t>Systems Center</a:t>
            </a:r>
            <a:br>
              <a:rPr lang="en-US" sz="1400" dirty="0" smtClean="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br>
            <a:r>
              <a:rPr lang="en-US" sz="1400" dirty="0" smtClean="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t>Operations </a:t>
            </a:r>
            <a:r>
              <a:rPr lang="en-US" sz="1400" dirty="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t>Manager</a:t>
            </a:r>
          </a:p>
        </p:txBody>
      </p:sp>
      <p:sp>
        <p:nvSpPr>
          <p:cNvPr id="203" name="Rectangle 202"/>
          <p:cNvSpPr/>
          <p:nvPr/>
        </p:nvSpPr>
        <p:spPr bwMode="auto">
          <a:xfrm>
            <a:off x="4460777" y="2396692"/>
            <a:ext cx="7016410" cy="411480"/>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59292">
                      <a:srgbClr val="FFFFFF"/>
                    </a:gs>
                    <a:gs pos="83000">
                      <a:srgbClr val="FFFFFF"/>
                    </a:gs>
                  </a:gsLst>
                  <a:lin ang="5400000" scaled="1"/>
                </a:gradFill>
                <a:latin typeface="Segoe UI Semibold" panose="020B0702040204020203" pitchFamily="34" charset="0"/>
              </a:rPr>
              <a:t>FINANCE</a:t>
            </a:r>
          </a:p>
        </p:txBody>
      </p:sp>
      <p:sp>
        <p:nvSpPr>
          <p:cNvPr id="192" name="First Mouse"/>
          <p:cNvSpPr>
            <a:spLocks/>
          </p:cNvSpPr>
          <p:nvPr/>
        </p:nvSpPr>
        <p:spPr bwMode="auto">
          <a:xfrm>
            <a:off x="4222802" y="3801379"/>
            <a:ext cx="183857" cy="354859"/>
          </a:xfrm>
          <a:custGeom>
            <a:avLst/>
            <a:gdLst>
              <a:gd name="T0" fmla="*/ 702 w 796"/>
              <a:gd name="T1" fmla="*/ 1470 h 1540"/>
              <a:gd name="T2" fmla="*/ 515 w 796"/>
              <a:gd name="T3" fmla="*/ 1540 h 1540"/>
              <a:gd name="T4" fmla="*/ 281 w 796"/>
              <a:gd name="T5" fmla="*/ 1027 h 1540"/>
              <a:gd name="T6" fmla="*/ 0 w 796"/>
              <a:gd name="T7" fmla="*/ 1190 h 1540"/>
              <a:gd name="T8" fmla="*/ 0 w 796"/>
              <a:gd name="T9" fmla="*/ 0 h 1540"/>
              <a:gd name="T10" fmla="*/ 796 w 796"/>
              <a:gd name="T11" fmla="*/ 863 h 1540"/>
              <a:gd name="T12" fmla="*/ 468 w 796"/>
              <a:gd name="T13" fmla="*/ 933 h 1540"/>
              <a:gd name="T14" fmla="*/ 702 w 796"/>
              <a:gd name="T15" fmla="*/ 1470 h 1540"/>
              <a:gd name="T16" fmla="*/ 702 w 796"/>
              <a:gd name="T17" fmla="*/ 147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6" h="1540">
                <a:moveTo>
                  <a:pt x="702" y="1470"/>
                </a:moveTo>
                <a:cubicBezTo>
                  <a:pt x="515" y="1540"/>
                  <a:pt x="515" y="1540"/>
                  <a:pt x="515" y="1540"/>
                </a:cubicBezTo>
                <a:cubicBezTo>
                  <a:pt x="281" y="1027"/>
                  <a:pt x="281" y="1027"/>
                  <a:pt x="281" y="1027"/>
                </a:cubicBezTo>
                <a:cubicBezTo>
                  <a:pt x="0" y="1190"/>
                  <a:pt x="0" y="1190"/>
                  <a:pt x="0" y="1190"/>
                </a:cubicBezTo>
                <a:cubicBezTo>
                  <a:pt x="0" y="0"/>
                  <a:pt x="0" y="0"/>
                  <a:pt x="0" y="0"/>
                </a:cubicBezTo>
                <a:cubicBezTo>
                  <a:pt x="796" y="863"/>
                  <a:pt x="796" y="863"/>
                  <a:pt x="796" y="863"/>
                </a:cubicBezTo>
                <a:cubicBezTo>
                  <a:pt x="468" y="933"/>
                  <a:pt x="468" y="933"/>
                  <a:pt x="468" y="933"/>
                </a:cubicBezTo>
                <a:cubicBezTo>
                  <a:pt x="702" y="1470"/>
                  <a:pt x="702" y="1470"/>
                  <a:pt x="702" y="1470"/>
                </a:cubicBezTo>
                <a:cubicBezTo>
                  <a:pt x="702" y="1470"/>
                  <a:pt x="702" y="1470"/>
                  <a:pt x="702" y="147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193" name="Second mouse"/>
          <p:cNvSpPr>
            <a:spLocks/>
          </p:cNvSpPr>
          <p:nvPr/>
        </p:nvSpPr>
        <p:spPr bwMode="auto">
          <a:xfrm>
            <a:off x="4225599" y="3799194"/>
            <a:ext cx="183857" cy="354859"/>
          </a:xfrm>
          <a:custGeom>
            <a:avLst/>
            <a:gdLst>
              <a:gd name="T0" fmla="*/ 702 w 796"/>
              <a:gd name="T1" fmla="*/ 1470 h 1540"/>
              <a:gd name="T2" fmla="*/ 515 w 796"/>
              <a:gd name="T3" fmla="*/ 1540 h 1540"/>
              <a:gd name="T4" fmla="*/ 281 w 796"/>
              <a:gd name="T5" fmla="*/ 1027 h 1540"/>
              <a:gd name="T6" fmla="*/ 0 w 796"/>
              <a:gd name="T7" fmla="*/ 1190 h 1540"/>
              <a:gd name="T8" fmla="*/ 0 w 796"/>
              <a:gd name="T9" fmla="*/ 0 h 1540"/>
              <a:gd name="T10" fmla="*/ 796 w 796"/>
              <a:gd name="T11" fmla="*/ 863 h 1540"/>
              <a:gd name="T12" fmla="*/ 468 w 796"/>
              <a:gd name="T13" fmla="*/ 933 h 1540"/>
              <a:gd name="T14" fmla="*/ 702 w 796"/>
              <a:gd name="T15" fmla="*/ 1470 h 1540"/>
              <a:gd name="T16" fmla="*/ 702 w 796"/>
              <a:gd name="T17" fmla="*/ 147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6" h="1540">
                <a:moveTo>
                  <a:pt x="702" y="1470"/>
                </a:moveTo>
                <a:cubicBezTo>
                  <a:pt x="515" y="1540"/>
                  <a:pt x="515" y="1540"/>
                  <a:pt x="515" y="1540"/>
                </a:cubicBezTo>
                <a:cubicBezTo>
                  <a:pt x="281" y="1027"/>
                  <a:pt x="281" y="1027"/>
                  <a:pt x="281" y="1027"/>
                </a:cubicBezTo>
                <a:cubicBezTo>
                  <a:pt x="0" y="1190"/>
                  <a:pt x="0" y="1190"/>
                  <a:pt x="0" y="1190"/>
                </a:cubicBezTo>
                <a:cubicBezTo>
                  <a:pt x="0" y="0"/>
                  <a:pt x="0" y="0"/>
                  <a:pt x="0" y="0"/>
                </a:cubicBezTo>
                <a:cubicBezTo>
                  <a:pt x="796" y="863"/>
                  <a:pt x="796" y="863"/>
                  <a:pt x="796" y="863"/>
                </a:cubicBezTo>
                <a:cubicBezTo>
                  <a:pt x="468" y="933"/>
                  <a:pt x="468" y="933"/>
                  <a:pt x="468" y="933"/>
                </a:cubicBezTo>
                <a:cubicBezTo>
                  <a:pt x="702" y="1470"/>
                  <a:pt x="702" y="1470"/>
                  <a:pt x="702" y="1470"/>
                </a:cubicBezTo>
                <a:cubicBezTo>
                  <a:pt x="702" y="1470"/>
                  <a:pt x="702" y="1470"/>
                  <a:pt x="702" y="147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93" name="TextBox 92"/>
          <p:cNvSpPr txBox="1"/>
          <p:nvPr/>
        </p:nvSpPr>
        <p:spPr>
          <a:xfrm>
            <a:off x="6541205" y="1312986"/>
            <a:ext cx="5650796" cy="506833"/>
          </a:xfrm>
          <a:prstGeom prst="rect">
            <a:avLst/>
          </a:prstGeom>
          <a:noFill/>
        </p:spPr>
        <p:txBody>
          <a:bodyPr wrap="square" lIns="179285" tIns="143428" rIns="179285" bIns="143428" rtlCol="0">
            <a:spAutoFit/>
          </a:bodyPr>
          <a:lstStyle/>
          <a:p>
            <a:pPr algn="ctr" defTabSz="914206">
              <a:lnSpc>
                <a:spcPct val="90000"/>
              </a:lnSpc>
              <a:spcAft>
                <a:spcPts val="588"/>
              </a:spcAft>
            </a:pPr>
            <a:r>
              <a:rPr lang="en-US" sz="1568" dirty="0" smtClean="0">
                <a:gradFill>
                  <a:gsLst>
                    <a:gs pos="2917">
                      <a:srgbClr val="505050"/>
                    </a:gs>
                    <a:gs pos="30000">
                      <a:srgbClr val="505050"/>
                    </a:gs>
                  </a:gsLst>
                  <a:lin ang="5400000" scaled="0"/>
                </a:gradFill>
              </a:rPr>
              <a:t>Configure VM Workload | Manage Linux Guest</a:t>
            </a:r>
            <a:endParaRPr lang="en-US" sz="1568" dirty="0">
              <a:gradFill>
                <a:gsLst>
                  <a:gs pos="2917">
                    <a:srgbClr val="505050"/>
                  </a:gs>
                  <a:gs pos="30000">
                    <a:srgbClr val="505050"/>
                  </a:gs>
                </a:gsLst>
                <a:lin ang="5400000" scaled="0"/>
              </a:gradFill>
            </a:endParaRPr>
          </a:p>
        </p:txBody>
      </p:sp>
      <p:sp>
        <p:nvSpPr>
          <p:cNvPr id="102" name="TextBox 101"/>
          <p:cNvSpPr txBox="1"/>
          <p:nvPr/>
        </p:nvSpPr>
        <p:spPr>
          <a:xfrm>
            <a:off x="2361138" y="2672303"/>
            <a:ext cx="359935" cy="616576"/>
          </a:xfrm>
          <a:prstGeom prst="rect">
            <a:avLst/>
          </a:prstGeom>
          <a:noFill/>
        </p:spPr>
        <p:txBody>
          <a:bodyPr wrap="square" lIns="0" tIns="0" rIns="0" bIns="0" rtlCol="0">
            <a:noAutofit/>
          </a:bodyPr>
          <a:lstStyle/>
          <a:p>
            <a:pPr algn="ctr" defTabSz="914367">
              <a:lnSpc>
                <a:spcPct val="90000"/>
              </a:lnSpc>
              <a:spcAft>
                <a:spcPts val="588"/>
              </a:spcAft>
            </a:pPr>
            <a:r>
              <a:rPr lang="en-US" sz="2353" b="1" dirty="0">
                <a:gradFill>
                  <a:gsLst>
                    <a:gs pos="66372">
                      <a:srgbClr val="FF0000"/>
                    </a:gs>
                    <a:gs pos="30000">
                      <a:srgbClr val="FF0000"/>
                    </a:gs>
                  </a:gsLst>
                  <a:lin ang="5400000" scaled="0"/>
                </a:gradFill>
              </a:rPr>
              <a:t>!</a:t>
            </a:r>
          </a:p>
        </p:txBody>
      </p:sp>
      <p:grpSp>
        <p:nvGrpSpPr>
          <p:cNvPr id="103" name="Group 102"/>
          <p:cNvGrpSpPr/>
          <p:nvPr/>
        </p:nvGrpSpPr>
        <p:grpSpPr>
          <a:xfrm>
            <a:off x="3752850" y="2263662"/>
            <a:ext cx="7581673" cy="4296565"/>
            <a:chOff x="3752850" y="1589886"/>
            <a:chExt cx="7581673" cy="4296565"/>
          </a:xfrm>
        </p:grpSpPr>
        <p:sp>
          <p:nvSpPr>
            <p:cNvPr id="104" name="Freeform 103"/>
            <p:cNvSpPr/>
            <p:nvPr/>
          </p:nvSpPr>
          <p:spPr bwMode="auto">
            <a:xfrm>
              <a:off x="3752850" y="3497747"/>
              <a:ext cx="5343525" cy="2388704"/>
            </a:xfrm>
            <a:custGeom>
              <a:avLst/>
              <a:gdLst>
                <a:gd name="connsiteX0" fmla="*/ 2616763 w 6196802"/>
                <a:gd name="connsiteY0" fmla="*/ 0 h 2648905"/>
                <a:gd name="connsiteX1" fmla="*/ 3580039 w 6196802"/>
                <a:gd name="connsiteY1" fmla="*/ 0 h 2648905"/>
                <a:gd name="connsiteX2" fmla="*/ 6196802 w 6196802"/>
                <a:gd name="connsiteY2" fmla="*/ 2648905 h 2648905"/>
                <a:gd name="connsiteX3" fmla="*/ 0 w 6196802"/>
                <a:gd name="connsiteY3" fmla="*/ 2648905 h 2648905"/>
              </a:gdLst>
              <a:ahLst/>
              <a:cxnLst>
                <a:cxn ang="0">
                  <a:pos x="connsiteX0" y="connsiteY0"/>
                </a:cxn>
                <a:cxn ang="0">
                  <a:pos x="connsiteX1" y="connsiteY1"/>
                </a:cxn>
                <a:cxn ang="0">
                  <a:pos x="connsiteX2" y="connsiteY2"/>
                </a:cxn>
                <a:cxn ang="0">
                  <a:pos x="connsiteX3" y="connsiteY3"/>
                </a:cxn>
              </a:cxnLst>
              <a:rect l="l" t="t" r="r" b="b"/>
              <a:pathLst>
                <a:path w="6196802" h="2648905">
                  <a:moveTo>
                    <a:pt x="2616763" y="0"/>
                  </a:moveTo>
                  <a:lnTo>
                    <a:pt x="3580039" y="0"/>
                  </a:lnTo>
                  <a:lnTo>
                    <a:pt x="6196802" y="2648905"/>
                  </a:lnTo>
                  <a:lnTo>
                    <a:pt x="0" y="2648905"/>
                  </a:lnTo>
                  <a:close/>
                </a:path>
              </a:pathLst>
            </a:custGeom>
            <a:noFill/>
            <a:ln w="28575" cap="rnd">
              <a:solidFill>
                <a:srgbClr val="00ABEC"/>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7" name="Picture 4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760782" y="2281360"/>
              <a:ext cx="1365126" cy="124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Freeform 5"/>
            <p:cNvSpPr>
              <a:spLocks/>
            </p:cNvSpPr>
            <p:nvPr/>
          </p:nvSpPr>
          <p:spPr bwMode="auto">
            <a:xfrm>
              <a:off x="4883046" y="3878106"/>
              <a:ext cx="3019208" cy="1881144"/>
            </a:xfrm>
            <a:custGeom>
              <a:avLst/>
              <a:gdLst>
                <a:gd name="T0" fmla="*/ 800 w 800"/>
                <a:gd name="T1" fmla="*/ 404 h 497"/>
                <a:gd name="T2" fmla="*/ 707 w 800"/>
                <a:gd name="T3" fmla="*/ 312 h 497"/>
                <a:gd name="T4" fmla="*/ 696 w 800"/>
                <a:gd name="T5" fmla="*/ 312 h 497"/>
                <a:gd name="T6" fmla="*/ 705 w 800"/>
                <a:gd name="T7" fmla="*/ 247 h 497"/>
                <a:gd name="T8" fmla="*/ 458 w 800"/>
                <a:gd name="T9" fmla="*/ 0 h 497"/>
                <a:gd name="T10" fmla="*/ 224 w 800"/>
                <a:gd name="T11" fmla="*/ 169 h 497"/>
                <a:gd name="T12" fmla="*/ 169 w 800"/>
                <a:gd name="T13" fmla="*/ 159 h 497"/>
                <a:gd name="T14" fmla="*/ 0 w 800"/>
                <a:gd name="T15" fmla="*/ 328 h 497"/>
                <a:gd name="T16" fmla="*/ 169 w 800"/>
                <a:gd name="T17" fmla="*/ 497 h 497"/>
                <a:gd name="T18" fmla="*/ 169 w 800"/>
                <a:gd name="T19" fmla="*/ 497 h 497"/>
                <a:gd name="T20" fmla="*/ 169 w 800"/>
                <a:gd name="T21" fmla="*/ 497 h 497"/>
                <a:gd name="T22" fmla="*/ 715 w 800"/>
                <a:gd name="T23" fmla="*/ 497 h 497"/>
                <a:gd name="T24" fmla="*/ 715 w 800"/>
                <a:gd name="T25" fmla="*/ 496 h 497"/>
                <a:gd name="T26" fmla="*/ 800 w 800"/>
                <a:gd name="T27" fmla="*/ 40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0" h="497">
                  <a:moveTo>
                    <a:pt x="800" y="404"/>
                  </a:moveTo>
                  <a:cubicBezTo>
                    <a:pt x="800" y="353"/>
                    <a:pt x="758" y="312"/>
                    <a:pt x="707" y="312"/>
                  </a:cubicBezTo>
                  <a:cubicBezTo>
                    <a:pt x="703" y="312"/>
                    <a:pt x="700" y="312"/>
                    <a:pt x="696" y="312"/>
                  </a:cubicBezTo>
                  <a:cubicBezTo>
                    <a:pt x="702" y="292"/>
                    <a:pt x="705" y="270"/>
                    <a:pt x="705" y="247"/>
                  </a:cubicBezTo>
                  <a:cubicBezTo>
                    <a:pt x="705" y="111"/>
                    <a:pt x="594" y="0"/>
                    <a:pt x="458" y="0"/>
                  </a:cubicBezTo>
                  <a:cubicBezTo>
                    <a:pt x="349" y="0"/>
                    <a:pt x="257" y="71"/>
                    <a:pt x="224" y="169"/>
                  </a:cubicBezTo>
                  <a:cubicBezTo>
                    <a:pt x="207" y="163"/>
                    <a:pt x="188" y="159"/>
                    <a:pt x="169" y="159"/>
                  </a:cubicBezTo>
                  <a:cubicBezTo>
                    <a:pt x="76" y="159"/>
                    <a:pt x="0" y="235"/>
                    <a:pt x="0" y="328"/>
                  </a:cubicBezTo>
                  <a:cubicBezTo>
                    <a:pt x="0" y="421"/>
                    <a:pt x="76" y="497"/>
                    <a:pt x="169" y="497"/>
                  </a:cubicBezTo>
                  <a:cubicBezTo>
                    <a:pt x="169" y="497"/>
                    <a:pt x="169" y="497"/>
                    <a:pt x="169" y="497"/>
                  </a:cubicBezTo>
                  <a:lnTo>
                    <a:pt x="169" y="497"/>
                  </a:lnTo>
                  <a:lnTo>
                    <a:pt x="715" y="497"/>
                  </a:lnTo>
                  <a:lnTo>
                    <a:pt x="715" y="496"/>
                  </a:lnTo>
                  <a:cubicBezTo>
                    <a:pt x="762" y="492"/>
                    <a:pt x="800" y="453"/>
                    <a:pt x="800" y="404"/>
                  </a:cubicBezTo>
                  <a:close/>
                </a:path>
              </a:pathLst>
            </a:custGeom>
            <a:solidFill>
              <a:schemeClr val="bg1"/>
            </a:solidFill>
            <a:ln w="19050">
              <a:solidFill>
                <a:srgbClr val="BFB5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2" name="Group 111"/>
            <p:cNvGrpSpPr/>
            <p:nvPr/>
          </p:nvGrpSpPr>
          <p:grpSpPr>
            <a:xfrm>
              <a:off x="10057970" y="3159096"/>
              <a:ext cx="1276553" cy="795367"/>
              <a:chOff x="8402069" y="2165631"/>
              <a:chExt cx="1171723" cy="730052"/>
            </a:xfrm>
          </p:grpSpPr>
          <p:sp>
            <p:nvSpPr>
              <p:cNvPr id="123" name="Freeform 5"/>
              <p:cNvSpPr>
                <a:spLocks/>
              </p:cNvSpPr>
              <p:nvPr/>
            </p:nvSpPr>
            <p:spPr bwMode="auto">
              <a:xfrm>
                <a:off x="8402069" y="2165631"/>
                <a:ext cx="1171723" cy="730052"/>
              </a:xfrm>
              <a:custGeom>
                <a:avLst/>
                <a:gdLst>
                  <a:gd name="T0" fmla="*/ 800 w 800"/>
                  <a:gd name="T1" fmla="*/ 404 h 497"/>
                  <a:gd name="T2" fmla="*/ 707 w 800"/>
                  <a:gd name="T3" fmla="*/ 312 h 497"/>
                  <a:gd name="T4" fmla="*/ 696 w 800"/>
                  <a:gd name="T5" fmla="*/ 312 h 497"/>
                  <a:gd name="T6" fmla="*/ 705 w 800"/>
                  <a:gd name="T7" fmla="*/ 247 h 497"/>
                  <a:gd name="T8" fmla="*/ 458 w 800"/>
                  <a:gd name="T9" fmla="*/ 0 h 497"/>
                  <a:gd name="T10" fmla="*/ 224 w 800"/>
                  <a:gd name="T11" fmla="*/ 169 h 497"/>
                  <a:gd name="T12" fmla="*/ 169 w 800"/>
                  <a:gd name="T13" fmla="*/ 159 h 497"/>
                  <a:gd name="T14" fmla="*/ 0 w 800"/>
                  <a:gd name="T15" fmla="*/ 328 h 497"/>
                  <a:gd name="T16" fmla="*/ 169 w 800"/>
                  <a:gd name="T17" fmla="*/ 497 h 497"/>
                  <a:gd name="T18" fmla="*/ 169 w 800"/>
                  <a:gd name="T19" fmla="*/ 497 h 497"/>
                  <a:gd name="T20" fmla="*/ 169 w 800"/>
                  <a:gd name="T21" fmla="*/ 497 h 497"/>
                  <a:gd name="T22" fmla="*/ 715 w 800"/>
                  <a:gd name="T23" fmla="*/ 497 h 497"/>
                  <a:gd name="T24" fmla="*/ 715 w 800"/>
                  <a:gd name="T25" fmla="*/ 496 h 497"/>
                  <a:gd name="T26" fmla="*/ 800 w 800"/>
                  <a:gd name="T27" fmla="*/ 40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0" h="497">
                    <a:moveTo>
                      <a:pt x="800" y="404"/>
                    </a:moveTo>
                    <a:cubicBezTo>
                      <a:pt x="800" y="353"/>
                      <a:pt x="758" y="312"/>
                      <a:pt x="707" y="312"/>
                    </a:cubicBezTo>
                    <a:cubicBezTo>
                      <a:pt x="703" y="312"/>
                      <a:pt x="700" y="312"/>
                      <a:pt x="696" y="312"/>
                    </a:cubicBezTo>
                    <a:cubicBezTo>
                      <a:pt x="702" y="292"/>
                      <a:pt x="705" y="270"/>
                      <a:pt x="705" y="247"/>
                    </a:cubicBezTo>
                    <a:cubicBezTo>
                      <a:pt x="705" y="111"/>
                      <a:pt x="594" y="0"/>
                      <a:pt x="458" y="0"/>
                    </a:cubicBezTo>
                    <a:cubicBezTo>
                      <a:pt x="349" y="0"/>
                      <a:pt x="257" y="71"/>
                      <a:pt x="224" y="169"/>
                    </a:cubicBezTo>
                    <a:cubicBezTo>
                      <a:pt x="207" y="163"/>
                      <a:pt x="188" y="159"/>
                      <a:pt x="169" y="159"/>
                    </a:cubicBezTo>
                    <a:cubicBezTo>
                      <a:pt x="76" y="159"/>
                      <a:pt x="0" y="235"/>
                      <a:pt x="0" y="328"/>
                    </a:cubicBezTo>
                    <a:cubicBezTo>
                      <a:pt x="0" y="421"/>
                      <a:pt x="76" y="497"/>
                      <a:pt x="169" y="497"/>
                    </a:cubicBezTo>
                    <a:cubicBezTo>
                      <a:pt x="169" y="497"/>
                      <a:pt x="169" y="497"/>
                      <a:pt x="169" y="497"/>
                    </a:cubicBezTo>
                    <a:lnTo>
                      <a:pt x="169" y="497"/>
                    </a:lnTo>
                    <a:lnTo>
                      <a:pt x="715" y="497"/>
                    </a:lnTo>
                    <a:lnTo>
                      <a:pt x="715" y="496"/>
                    </a:lnTo>
                    <a:cubicBezTo>
                      <a:pt x="762" y="492"/>
                      <a:pt x="800" y="453"/>
                      <a:pt x="800" y="404"/>
                    </a:cubicBezTo>
                    <a:close/>
                  </a:path>
                </a:pathLst>
              </a:custGeom>
              <a:solidFill>
                <a:srgbClr val="00BC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TextBox 123"/>
              <p:cNvSpPr txBox="1"/>
              <p:nvPr/>
            </p:nvSpPr>
            <p:spPr>
              <a:xfrm>
                <a:off x="8530337" y="2406318"/>
                <a:ext cx="91518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Bronze</a:t>
                </a:r>
              </a:p>
            </p:txBody>
          </p:sp>
        </p:grpSp>
        <p:grpSp>
          <p:nvGrpSpPr>
            <p:cNvPr id="113" name="Group 112"/>
            <p:cNvGrpSpPr/>
            <p:nvPr/>
          </p:nvGrpSpPr>
          <p:grpSpPr>
            <a:xfrm>
              <a:off x="8505293" y="3159096"/>
              <a:ext cx="1276553" cy="795367"/>
              <a:chOff x="6686054" y="2165631"/>
              <a:chExt cx="1171723" cy="730052"/>
            </a:xfrm>
          </p:grpSpPr>
          <p:sp>
            <p:nvSpPr>
              <p:cNvPr id="120" name="Freeform 5"/>
              <p:cNvSpPr>
                <a:spLocks/>
              </p:cNvSpPr>
              <p:nvPr/>
            </p:nvSpPr>
            <p:spPr bwMode="auto">
              <a:xfrm>
                <a:off x="6686054" y="2165631"/>
                <a:ext cx="1171723" cy="730052"/>
              </a:xfrm>
              <a:custGeom>
                <a:avLst/>
                <a:gdLst>
                  <a:gd name="T0" fmla="*/ 800 w 800"/>
                  <a:gd name="T1" fmla="*/ 404 h 497"/>
                  <a:gd name="T2" fmla="*/ 707 w 800"/>
                  <a:gd name="T3" fmla="*/ 312 h 497"/>
                  <a:gd name="T4" fmla="*/ 696 w 800"/>
                  <a:gd name="T5" fmla="*/ 312 h 497"/>
                  <a:gd name="T6" fmla="*/ 705 w 800"/>
                  <a:gd name="T7" fmla="*/ 247 h 497"/>
                  <a:gd name="T8" fmla="*/ 458 w 800"/>
                  <a:gd name="T9" fmla="*/ 0 h 497"/>
                  <a:gd name="T10" fmla="*/ 224 w 800"/>
                  <a:gd name="T11" fmla="*/ 169 h 497"/>
                  <a:gd name="T12" fmla="*/ 169 w 800"/>
                  <a:gd name="T13" fmla="*/ 159 h 497"/>
                  <a:gd name="T14" fmla="*/ 0 w 800"/>
                  <a:gd name="T15" fmla="*/ 328 h 497"/>
                  <a:gd name="T16" fmla="*/ 169 w 800"/>
                  <a:gd name="T17" fmla="*/ 497 h 497"/>
                  <a:gd name="T18" fmla="*/ 169 w 800"/>
                  <a:gd name="T19" fmla="*/ 497 h 497"/>
                  <a:gd name="T20" fmla="*/ 169 w 800"/>
                  <a:gd name="T21" fmla="*/ 497 h 497"/>
                  <a:gd name="T22" fmla="*/ 715 w 800"/>
                  <a:gd name="T23" fmla="*/ 497 h 497"/>
                  <a:gd name="T24" fmla="*/ 715 w 800"/>
                  <a:gd name="T25" fmla="*/ 496 h 497"/>
                  <a:gd name="T26" fmla="*/ 800 w 800"/>
                  <a:gd name="T27" fmla="*/ 40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0" h="497">
                    <a:moveTo>
                      <a:pt x="800" y="404"/>
                    </a:moveTo>
                    <a:cubicBezTo>
                      <a:pt x="800" y="353"/>
                      <a:pt x="758" y="312"/>
                      <a:pt x="707" y="312"/>
                    </a:cubicBezTo>
                    <a:cubicBezTo>
                      <a:pt x="703" y="312"/>
                      <a:pt x="700" y="312"/>
                      <a:pt x="696" y="312"/>
                    </a:cubicBezTo>
                    <a:cubicBezTo>
                      <a:pt x="702" y="292"/>
                      <a:pt x="705" y="270"/>
                      <a:pt x="705" y="247"/>
                    </a:cubicBezTo>
                    <a:cubicBezTo>
                      <a:pt x="705" y="111"/>
                      <a:pt x="594" y="0"/>
                      <a:pt x="458" y="0"/>
                    </a:cubicBezTo>
                    <a:cubicBezTo>
                      <a:pt x="349" y="0"/>
                      <a:pt x="257" y="71"/>
                      <a:pt x="224" y="169"/>
                    </a:cubicBezTo>
                    <a:cubicBezTo>
                      <a:pt x="207" y="163"/>
                      <a:pt x="188" y="159"/>
                      <a:pt x="169" y="159"/>
                    </a:cubicBezTo>
                    <a:cubicBezTo>
                      <a:pt x="76" y="159"/>
                      <a:pt x="0" y="235"/>
                      <a:pt x="0" y="328"/>
                    </a:cubicBezTo>
                    <a:cubicBezTo>
                      <a:pt x="0" y="421"/>
                      <a:pt x="76" y="497"/>
                      <a:pt x="169" y="497"/>
                    </a:cubicBezTo>
                    <a:cubicBezTo>
                      <a:pt x="169" y="497"/>
                      <a:pt x="169" y="497"/>
                      <a:pt x="169" y="497"/>
                    </a:cubicBezTo>
                    <a:lnTo>
                      <a:pt x="169" y="497"/>
                    </a:lnTo>
                    <a:lnTo>
                      <a:pt x="715" y="497"/>
                    </a:lnTo>
                    <a:lnTo>
                      <a:pt x="715" y="496"/>
                    </a:lnTo>
                    <a:cubicBezTo>
                      <a:pt x="762" y="492"/>
                      <a:pt x="800" y="453"/>
                      <a:pt x="800" y="404"/>
                    </a:cubicBez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TextBox 121"/>
              <p:cNvSpPr txBox="1"/>
              <p:nvPr/>
            </p:nvSpPr>
            <p:spPr>
              <a:xfrm>
                <a:off x="6874563" y="2406318"/>
                <a:ext cx="794705"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Silver</a:t>
                </a:r>
              </a:p>
            </p:txBody>
          </p:sp>
        </p:grpSp>
        <p:sp>
          <p:nvSpPr>
            <p:cNvPr id="114" name="TextBox 113"/>
            <p:cNvSpPr txBox="1"/>
            <p:nvPr/>
          </p:nvSpPr>
          <p:spPr>
            <a:xfrm>
              <a:off x="5973800" y="4198123"/>
              <a:ext cx="800540"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Gold</a:t>
              </a:r>
            </a:p>
          </p:txBody>
        </p:sp>
        <p:sp>
          <p:nvSpPr>
            <p:cNvPr id="116" name="TextBox 115"/>
            <p:cNvSpPr txBox="1"/>
            <p:nvPr/>
          </p:nvSpPr>
          <p:spPr>
            <a:xfrm>
              <a:off x="5386282" y="1589886"/>
              <a:ext cx="2076659" cy="760208"/>
            </a:xfrm>
            <a:prstGeom prst="rect">
              <a:avLst/>
            </a:prstGeom>
            <a:noFill/>
          </p:spPr>
          <p:txBody>
            <a:bodyPr wrap="none" lIns="182880" tIns="146304" rIns="182880" bIns="146304" rtlCol="0">
              <a:spAutoFit/>
            </a:bodyPr>
            <a:lstStyle/>
            <a:p>
              <a:pPr algn="ctr">
                <a:lnSpc>
                  <a:spcPct val="90000"/>
                </a:lnSpc>
                <a:spcAft>
                  <a:spcPts val="600"/>
                </a:spcAft>
              </a:pPr>
              <a:r>
                <a:rPr lang="en-US" sz="1400" dirty="0" smtClean="0">
                  <a:gradFill>
                    <a:gsLst>
                      <a:gs pos="2917">
                        <a:schemeClr val="tx1"/>
                      </a:gs>
                      <a:gs pos="95000">
                        <a:schemeClr val="tx1"/>
                      </a:gs>
                    </a:gsLst>
                    <a:lin ang="5400000" scaled="0"/>
                  </a:gradFill>
                  <a:latin typeface="Segoe UI Semibold" panose="020B0702040204020203" pitchFamily="34" charset="0"/>
                  <a:cs typeface="Segoe UI Semibold" panose="020B0702040204020203" pitchFamily="34" charset="0"/>
                </a:rPr>
                <a:t>GUEST APPLICATION</a:t>
              </a:r>
            </a:p>
            <a:p>
              <a:pPr algn="ctr">
                <a:lnSpc>
                  <a:spcPct val="90000"/>
                </a:lnSpc>
                <a:spcAft>
                  <a:spcPts val="600"/>
                </a:spcAft>
              </a:pPr>
              <a:r>
                <a:rPr lang="en-US" sz="1400" dirty="0" smtClean="0">
                  <a:gradFill>
                    <a:gsLst>
                      <a:gs pos="2917">
                        <a:schemeClr val="tx1"/>
                      </a:gs>
                      <a:gs pos="95000">
                        <a:schemeClr val="tx1"/>
                      </a:gs>
                    </a:gsLst>
                    <a:lin ang="5400000" scaled="0"/>
                  </a:gradFill>
                  <a:latin typeface="Segoe UI Semibold" panose="020B0702040204020203" pitchFamily="34" charset="0"/>
                  <a:cs typeface="Segoe UI Semibold" panose="020B0702040204020203" pitchFamily="34" charset="0"/>
                </a:rPr>
                <a:t>Virtual Machine</a:t>
              </a:r>
            </a:p>
          </p:txBody>
        </p:sp>
      </p:grpSp>
      <p:sp>
        <p:nvSpPr>
          <p:cNvPr id="125" name="TextBox 124"/>
          <p:cNvSpPr txBox="1"/>
          <p:nvPr/>
        </p:nvSpPr>
        <p:spPr>
          <a:xfrm>
            <a:off x="5581653" y="3314438"/>
            <a:ext cx="194369" cy="332958"/>
          </a:xfrm>
          <a:prstGeom prst="rect">
            <a:avLst/>
          </a:prstGeom>
          <a:noFill/>
        </p:spPr>
        <p:txBody>
          <a:bodyPr wrap="square" lIns="0" tIns="0" rIns="0" bIns="0" rtlCol="0">
            <a:noAutofit/>
          </a:bodyPr>
          <a:lstStyle/>
          <a:p>
            <a:pPr algn="ctr" defTabSz="914367">
              <a:lnSpc>
                <a:spcPct val="90000"/>
              </a:lnSpc>
              <a:spcAft>
                <a:spcPts val="588"/>
              </a:spcAft>
            </a:pPr>
            <a:r>
              <a:rPr lang="en-US" sz="2353" b="1" dirty="0">
                <a:gradFill>
                  <a:gsLst>
                    <a:gs pos="66372">
                      <a:srgbClr val="FF0000"/>
                    </a:gs>
                    <a:gs pos="30000">
                      <a:srgbClr val="FF0000"/>
                    </a:gs>
                  </a:gsLst>
                  <a:lin ang="5400000" scaled="0"/>
                </a:gradFill>
              </a:rPr>
              <a:t>!</a:t>
            </a:r>
          </a:p>
        </p:txBody>
      </p:sp>
      <p:sp>
        <p:nvSpPr>
          <p:cNvPr id="169" name="Freeform 207"/>
          <p:cNvSpPr>
            <a:spLocks noChangeAspect="1" noEditPoints="1"/>
          </p:cNvSpPr>
          <p:nvPr/>
        </p:nvSpPr>
        <p:spPr bwMode="gray">
          <a:xfrm>
            <a:off x="2140487" y="4978683"/>
            <a:ext cx="493776" cy="36745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grpSp>
        <p:nvGrpSpPr>
          <p:cNvPr id="16" name="Group 15"/>
          <p:cNvGrpSpPr/>
          <p:nvPr/>
        </p:nvGrpSpPr>
        <p:grpSpPr>
          <a:xfrm>
            <a:off x="5619766" y="5308728"/>
            <a:ext cx="709058" cy="996854"/>
            <a:chOff x="5743591" y="5296028"/>
            <a:chExt cx="709058" cy="996854"/>
          </a:xfrm>
        </p:grpSpPr>
        <p:grpSp>
          <p:nvGrpSpPr>
            <p:cNvPr id="14" name="Group 13"/>
            <p:cNvGrpSpPr/>
            <p:nvPr/>
          </p:nvGrpSpPr>
          <p:grpSpPr>
            <a:xfrm>
              <a:off x="5743591" y="5296028"/>
              <a:ext cx="709058" cy="996854"/>
              <a:chOff x="3254893" y="2267553"/>
              <a:chExt cx="1219162" cy="1714001"/>
            </a:xfrm>
          </p:grpSpPr>
          <p:pic>
            <p:nvPicPr>
              <p:cNvPr id="170" name="Picture 169"/>
              <p:cNvPicPr>
                <a:picLocks noChangeAspect="1"/>
              </p:cNvPicPr>
              <p:nvPr/>
            </p:nvPicPr>
            <p:blipFill>
              <a:blip r:embed="rId6" cstate="email">
                <a:duotone>
                  <a:prstClr val="black"/>
                  <a:schemeClr val="tx1">
                    <a:tint val="45000"/>
                    <a:satMod val="400000"/>
                  </a:schemeClr>
                </a:duotone>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flipH="1">
                <a:off x="3254893" y="2267553"/>
                <a:ext cx="1219162" cy="1714001"/>
              </a:xfrm>
              <a:prstGeom prst="rect">
                <a:avLst/>
              </a:prstGeom>
            </p:spPr>
          </p:pic>
          <p:sp>
            <p:nvSpPr>
              <p:cNvPr id="172" name="Freeform 171"/>
              <p:cNvSpPr/>
              <p:nvPr/>
            </p:nvSpPr>
            <p:spPr bwMode="auto">
              <a:xfrm rot="1374402">
                <a:off x="3323479" y="2849217"/>
                <a:ext cx="559472" cy="188760"/>
              </a:xfrm>
              <a:custGeom>
                <a:avLst/>
                <a:gdLst>
                  <a:gd name="connsiteX0" fmla="*/ 0 w 559473"/>
                  <a:gd name="connsiteY0" fmla="*/ 0 h 188761"/>
                  <a:gd name="connsiteX1" fmla="*/ 57099 w 559473"/>
                  <a:gd name="connsiteY1" fmla="*/ 40861 h 188761"/>
                  <a:gd name="connsiteX2" fmla="*/ 59528 w 559473"/>
                  <a:gd name="connsiteY2" fmla="*/ 21340 h 188761"/>
                  <a:gd name="connsiteX3" fmla="*/ 498749 w 559473"/>
                  <a:gd name="connsiteY3" fmla="*/ 75996 h 188761"/>
                  <a:gd name="connsiteX4" fmla="*/ 498216 w 559473"/>
                  <a:gd name="connsiteY4" fmla="*/ 80274 h 188761"/>
                  <a:gd name="connsiteX5" fmla="*/ 504361 w 559473"/>
                  <a:gd name="connsiteY5" fmla="*/ 67347 h 188761"/>
                  <a:gd name="connsiteX6" fmla="*/ 559473 w 559473"/>
                  <a:gd name="connsiteY6" fmla="*/ 183292 h 188761"/>
                  <a:gd name="connsiteX7" fmla="*/ 485397 w 559473"/>
                  <a:gd name="connsiteY7" fmla="*/ 183292 h 188761"/>
                  <a:gd name="connsiteX8" fmla="*/ 484717 w 559473"/>
                  <a:gd name="connsiteY8" fmla="*/ 188761 h 188761"/>
                  <a:gd name="connsiteX9" fmla="*/ 45496 w 559473"/>
                  <a:gd name="connsiteY9" fmla="*/ 134106 h 188761"/>
                  <a:gd name="connsiteX10" fmla="*/ 45550 w 559473"/>
                  <a:gd name="connsiteY10" fmla="*/ 133669 h 188761"/>
                  <a:gd name="connsiteX11" fmla="*/ 43983 w 559473"/>
                  <a:gd name="connsiteY11" fmla="*/ 134818 h 18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9473" h="188761">
                    <a:moveTo>
                      <a:pt x="0" y="0"/>
                    </a:moveTo>
                    <a:lnTo>
                      <a:pt x="57099" y="40861"/>
                    </a:lnTo>
                    <a:lnTo>
                      <a:pt x="59528" y="21340"/>
                    </a:lnTo>
                    <a:lnTo>
                      <a:pt x="498749" y="75996"/>
                    </a:lnTo>
                    <a:lnTo>
                      <a:pt x="498216" y="80274"/>
                    </a:lnTo>
                    <a:lnTo>
                      <a:pt x="504361" y="67347"/>
                    </a:lnTo>
                    <a:lnTo>
                      <a:pt x="559473" y="183292"/>
                    </a:lnTo>
                    <a:lnTo>
                      <a:pt x="485397" y="183292"/>
                    </a:lnTo>
                    <a:lnTo>
                      <a:pt x="484717" y="188761"/>
                    </a:lnTo>
                    <a:lnTo>
                      <a:pt x="45496" y="134106"/>
                    </a:lnTo>
                    <a:lnTo>
                      <a:pt x="45550" y="133669"/>
                    </a:lnTo>
                    <a:lnTo>
                      <a:pt x="43983" y="134818"/>
                    </a:lnTo>
                    <a:close/>
                  </a:path>
                </a:pathLst>
              </a:custGeom>
              <a:solidFill>
                <a:srgbClr val="87878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3" name="Freeform 172"/>
              <p:cNvSpPr/>
              <p:nvPr/>
            </p:nvSpPr>
            <p:spPr bwMode="auto">
              <a:xfrm rot="1374402">
                <a:off x="3319385" y="3073748"/>
                <a:ext cx="559472" cy="188760"/>
              </a:xfrm>
              <a:custGeom>
                <a:avLst/>
                <a:gdLst>
                  <a:gd name="connsiteX0" fmla="*/ 0 w 559473"/>
                  <a:gd name="connsiteY0" fmla="*/ 0 h 188761"/>
                  <a:gd name="connsiteX1" fmla="*/ 57099 w 559473"/>
                  <a:gd name="connsiteY1" fmla="*/ 40861 h 188761"/>
                  <a:gd name="connsiteX2" fmla="*/ 59528 w 559473"/>
                  <a:gd name="connsiteY2" fmla="*/ 21340 h 188761"/>
                  <a:gd name="connsiteX3" fmla="*/ 498749 w 559473"/>
                  <a:gd name="connsiteY3" fmla="*/ 75996 h 188761"/>
                  <a:gd name="connsiteX4" fmla="*/ 498216 w 559473"/>
                  <a:gd name="connsiteY4" fmla="*/ 80274 h 188761"/>
                  <a:gd name="connsiteX5" fmla="*/ 504361 w 559473"/>
                  <a:gd name="connsiteY5" fmla="*/ 67347 h 188761"/>
                  <a:gd name="connsiteX6" fmla="*/ 559473 w 559473"/>
                  <a:gd name="connsiteY6" fmla="*/ 183292 h 188761"/>
                  <a:gd name="connsiteX7" fmla="*/ 485397 w 559473"/>
                  <a:gd name="connsiteY7" fmla="*/ 183292 h 188761"/>
                  <a:gd name="connsiteX8" fmla="*/ 484717 w 559473"/>
                  <a:gd name="connsiteY8" fmla="*/ 188761 h 188761"/>
                  <a:gd name="connsiteX9" fmla="*/ 45496 w 559473"/>
                  <a:gd name="connsiteY9" fmla="*/ 134106 h 188761"/>
                  <a:gd name="connsiteX10" fmla="*/ 45550 w 559473"/>
                  <a:gd name="connsiteY10" fmla="*/ 133669 h 188761"/>
                  <a:gd name="connsiteX11" fmla="*/ 43983 w 559473"/>
                  <a:gd name="connsiteY11" fmla="*/ 134818 h 18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9473" h="188761">
                    <a:moveTo>
                      <a:pt x="0" y="0"/>
                    </a:moveTo>
                    <a:lnTo>
                      <a:pt x="57099" y="40861"/>
                    </a:lnTo>
                    <a:lnTo>
                      <a:pt x="59528" y="21340"/>
                    </a:lnTo>
                    <a:lnTo>
                      <a:pt x="498749" y="75996"/>
                    </a:lnTo>
                    <a:lnTo>
                      <a:pt x="498216" y="80274"/>
                    </a:lnTo>
                    <a:lnTo>
                      <a:pt x="504361" y="67347"/>
                    </a:lnTo>
                    <a:lnTo>
                      <a:pt x="559473" y="183292"/>
                    </a:lnTo>
                    <a:lnTo>
                      <a:pt x="485397" y="183292"/>
                    </a:lnTo>
                    <a:lnTo>
                      <a:pt x="484717" y="188761"/>
                    </a:lnTo>
                    <a:lnTo>
                      <a:pt x="45496" y="134106"/>
                    </a:lnTo>
                    <a:lnTo>
                      <a:pt x="45550" y="133669"/>
                    </a:lnTo>
                    <a:lnTo>
                      <a:pt x="43983" y="134818"/>
                    </a:lnTo>
                    <a:close/>
                  </a:path>
                </a:pathLst>
              </a:custGeom>
              <a:solidFill>
                <a:srgbClr val="87878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74" name="Picture 173"/>
            <p:cNvPicPr>
              <a:picLocks noChangeAspect="1"/>
            </p:cNvPicPr>
            <p:nvPr/>
          </p:nvPicPr>
          <p:blipFill>
            <a:blip r:embed="rId8"/>
            <a:stretch>
              <a:fillRect/>
            </a:stretch>
          </p:blipFill>
          <p:spPr>
            <a:xfrm>
              <a:off x="5800456" y="5963591"/>
              <a:ext cx="281579" cy="249089"/>
            </a:xfrm>
            <a:prstGeom prst="rect">
              <a:avLst/>
            </a:prstGeom>
          </p:spPr>
        </p:pic>
        <p:pic>
          <p:nvPicPr>
            <p:cNvPr id="175" name="Picture 174"/>
            <p:cNvPicPr>
              <a:picLocks noChangeAspect="1"/>
            </p:cNvPicPr>
            <p:nvPr/>
          </p:nvPicPr>
          <p:blipFill>
            <a:blip r:embed="rId8"/>
            <a:stretch>
              <a:fillRect/>
            </a:stretch>
          </p:blipFill>
          <p:spPr>
            <a:xfrm>
              <a:off x="5800751" y="5831775"/>
              <a:ext cx="281579" cy="249089"/>
            </a:xfrm>
            <a:prstGeom prst="rect">
              <a:avLst/>
            </a:prstGeom>
          </p:spPr>
        </p:pic>
      </p:grpSp>
      <p:grpSp>
        <p:nvGrpSpPr>
          <p:cNvPr id="15" name="Group 14"/>
          <p:cNvGrpSpPr/>
          <p:nvPr/>
        </p:nvGrpSpPr>
        <p:grpSpPr>
          <a:xfrm>
            <a:off x="6445266" y="5308728"/>
            <a:ext cx="709058" cy="996854"/>
            <a:chOff x="10607691" y="1867028"/>
            <a:chExt cx="709058" cy="996854"/>
          </a:xfrm>
        </p:grpSpPr>
        <p:grpSp>
          <p:nvGrpSpPr>
            <p:cNvPr id="182" name="Group 181"/>
            <p:cNvGrpSpPr/>
            <p:nvPr/>
          </p:nvGrpSpPr>
          <p:grpSpPr>
            <a:xfrm>
              <a:off x="10607691" y="1867028"/>
              <a:ext cx="709058" cy="996854"/>
              <a:chOff x="3254893" y="2267553"/>
              <a:chExt cx="1219162" cy="1714001"/>
            </a:xfrm>
          </p:grpSpPr>
          <p:pic>
            <p:nvPicPr>
              <p:cNvPr id="183" name="Picture 182"/>
              <p:cNvPicPr>
                <a:picLocks noChangeAspect="1"/>
              </p:cNvPicPr>
              <p:nvPr/>
            </p:nvPicPr>
            <p:blipFill>
              <a:blip r:embed="rId6" cstate="email">
                <a:duotone>
                  <a:prstClr val="black"/>
                  <a:schemeClr val="tx1">
                    <a:tint val="45000"/>
                    <a:satMod val="400000"/>
                  </a:schemeClr>
                </a:duotone>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flipH="1">
                <a:off x="3254893" y="2267553"/>
                <a:ext cx="1219162" cy="1714001"/>
              </a:xfrm>
              <a:prstGeom prst="rect">
                <a:avLst/>
              </a:prstGeom>
            </p:spPr>
          </p:pic>
          <p:sp>
            <p:nvSpPr>
              <p:cNvPr id="188" name="Freeform 187"/>
              <p:cNvSpPr/>
              <p:nvPr/>
            </p:nvSpPr>
            <p:spPr bwMode="auto">
              <a:xfrm rot="1374402">
                <a:off x="3323479" y="2849217"/>
                <a:ext cx="559472" cy="188760"/>
              </a:xfrm>
              <a:custGeom>
                <a:avLst/>
                <a:gdLst>
                  <a:gd name="connsiteX0" fmla="*/ 0 w 559473"/>
                  <a:gd name="connsiteY0" fmla="*/ 0 h 188761"/>
                  <a:gd name="connsiteX1" fmla="*/ 57099 w 559473"/>
                  <a:gd name="connsiteY1" fmla="*/ 40861 h 188761"/>
                  <a:gd name="connsiteX2" fmla="*/ 59528 w 559473"/>
                  <a:gd name="connsiteY2" fmla="*/ 21340 h 188761"/>
                  <a:gd name="connsiteX3" fmla="*/ 498749 w 559473"/>
                  <a:gd name="connsiteY3" fmla="*/ 75996 h 188761"/>
                  <a:gd name="connsiteX4" fmla="*/ 498216 w 559473"/>
                  <a:gd name="connsiteY4" fmla="*/ 80274 h 188761"/>
                  <a:gd name="connsiteX5" fmla="*/ 504361 w 559473"/>
                  <a:gd name="connsiteY5" fmla="*/ 67347 h 188761"/>
                  <a:gd name="connsiteX6" fmla="*/ 559473 w 559473"/>
                  <a:gd name="connsiteY6" fmla="*/ 183292 h 188761"/>
                  <a:gd name="connsiteX7" fmla="*/ 485397 w 559473"/>
                  <a:gd name="connsiteY7" fmla="*/ 183292 h 188761"/>
                  <a:gd name="connsiteX8" fmla="*/ 484717 w 559473"/>
                  <a:gd name="connsiteY8" fmla="*/ 188761 h 188761"/>
                  <a:gd name="connsiteX9" fmla="*/ 45496 w 559473"/>
                  <a:gd name="connsiteY9" fmla="*/ 134106 h 188761"/>
                  <a:gd name="connsiteX10" fmla="*/ 45550 w 559473"/>
                  <a:gd name="connsiteY10" fmla="*/ 133669 h 188761"/>
                  <a:gd name="connsiteX11" fmla="*/ 43983 w 559473"/>
                  <a:gd name="connsiteY11" fmla="*/ 134818 h 18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9473" h="188761">
                    <a:moveTo>
                      <a:pt x="0" y="0"/>
                    </a:moveTo>
                    <a:lnTo>
                      <a:pt x="57099" y="40861"/>
                    </a:lnTo>
                    <a:lnTo>
                      <a:pt x="59528" y="21340"/>
                    </a:lnTo>
                    <a:lnTo>
                      <a:pt x="498749" y="75996"/>
                    </a:lnTo>
                    <a:lnTo>
                      <a:pt x="498216" y="80274"/>
                    </a:lnTo>
                    <a:lnTo>
                      <a:pt x="504361" y="67347"/>
                    </a:lnTo>
                    <a:lnTo>
                      <a:pt x="559473" y="183292"/>
                    </a:lnTo>
                    <a:lnTo>
                      <a:pt x="485397" y="183292"/>
                    </a:lnTo>
                    <a:lnTo>
                      <a:pt x="484717" y="188761"/>
                    </a:lnTo>
                    <a:lnTo>
                      <a:pt x="45496" y="134106"/>
                    </a:lnTo>
                    <a:lnTo>
                      <a:pt x="45550" y="133669"/>
                    </a:lnTo>
                    <a:lnTo>
                      <a:pt x="43983" y="134818"/>
                    </a:lnTo>
                    <a:close/>
                  </a:path>
                </a:pathLst>
              </a:custGeom>
              <a:solidFill>
                <a:srgbClr val="87878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2" name="Freeform 201"/>
              <p:cNvSpPr/>
              <p:nvPr/>
            </p:nvSpPr>
            <p:spPr bwMode="auto">
              <a:xfrm rot="1374402">
                <a:off x="3319385" y="3073748"/>
                <a:ext cx="559472" cy="188760"/>
              </a:xfrm>
              <a:custGeom>
                <a:avLst/>
                <a:gdLst>
                  <a:gd name="connsiteX0" fmla="*/ 0 w 559473"/>
                  <a:gd name="connsiteY0" fmla="*/ 0 h 188761"/>
                  <a:gd name="connsiteX1" fmla="*/ 57099 w 559473"/>
                  <a:gd name="connsiteY1" fmla="*/ 40861 h 188761"/>
                  <a:gd name="connsiteX2" fmla="*/ 59528 w 559473"/>
                  <a:gd name="connsiteY2" fmla="*/ 21340 h 188761"/>
                  <a:gd name="connsiteX3" fmla="*/ 498749 w 559473"/>
                  <a:gd name="connsiteY3" fmla="*/ 75996 h 188761"/>
                  <a:gd name="connsiteX4" fmla="*/ 498216 w 559473"/>
                  <a:gd name="connsiteY4" fmla="*/ 80274 h 188761"/>
                  <a:gd name="connsiteX5" fmla="*/ 504361 w 559473"/>
                  <a:gd name="connsiteY5" fmla="*/ 67347 h 188761"/>
                  <a:gd name="connsiteX6" fmla="*/ 559473 w 559473"/>
                  <a:gd name="connsiteY6" fmla="*/ 183292 h 188761"/>
                  <a:gd name="connsiteX7" fmla="*/ 485397 w 559473"/>
                  <a:gd name="connsiteY7" fmla="*/ 183292 h 188761"/>
                  <a:gd name="connsiteX8" fmla="*/ 484717 w 559473"/>
                  <a:gd name="connsiteY8" fmla="*/ 188761 h 188761"/>
                  <a:gd name="connsiteX9" fmla="*/ 45496 w 559473"/>
                  <a:gd name="connsiteY9" fmla="*/ 134106 h 188761"/>
                  <a:gd name="connsiteX10" fmla="*/ 45550 w 559473"/>
                  <a:gd name="connsiteY10" fmla="*/ 133669 h 188761"/>
                  <a:gd name="connsiteX11" fmla="*/ 43983 w 559473"/>
                  <a:gd name="connsiteY11" fmla="*/ 134818 h 18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9473" h="188761">
                    <a:moveTo>
                      <a:pt x="0" y="0"/>
                    </a:moveTo>
                    <a:lnTo>
                      <a:pt x="57099" y="40861"/>
                    </a:lnTo>
                    <a:lnTo>
                      <a:pt x="59528" y="21340"/>
                    </a:lnTo>
                    <a:lnTo>
                      <a:pt x="498749" y="75996"/>
                    </a:lnTo>
                    <a:lnTo>
                      <a:pt x="498216" y="80274"/>
                    </a:lnTo>
                    <a:lnTo>
                      <a:pt x="504361" y="67347"/>
                    </a:lnTo>
                    <a:lnTo>
                      <a:pt x="559473" y="183292"/>
                    </a:lnTo>
                    <a:lnTo>
                      <a:pt x="485397" y="183292"/>
                    </a:lnTo>
                    <a:lnTo>
                      <a:pt x="484717" y="188761"/>
                    </a:lnTo>
                    <a:lnTo>
                      <a:pt x="45496" y="134106"/>
                    </a:lnTo>
                    <a:lnTo>
                      <a:pt x="45550" y="133669"/>
                    </a:lnTo>
                    <a:lnTo>
                      <a:pt x="43983" y="134818"/>
                    </a:lnTo>
                    <a:close/>
                  </a:path>
                </a:pathLst>
              </a:custGeom>
              <a:solidFill>
                <a:srgbClr val="87878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204" name="Picture 203"/>
            <p:cNvPicPr>
              <a:picLocks noChangeAspect="1"/>
            </p:cNvPicPr>
            <p:nvPr/>
          </p:nvPicPr>
          <p:blipFill>
            <a:blip r:embed="rId8"/>
            <a:stretch>
              <a:fillRect/>
            </a:stretch>
          </p:blipFill>
          <p:spPr>
            <a:xfrm>
              <a:off x="10664556" y="2534591"/>
              <a:ext cx="281579" cy="249089"/>
            </a:xfrm>
            <a:prstGeom prst="rect">
              <a:avLst/>
            </a:prstGeom>
          </p:spPr>
        </p:pic>
        <p:pic>
          <p:nvPicPr>
            <p:cNvPr id="205" name="Picture 204"/>
            <p:cNvPicPr>
              <a:picLocks noChangeAspect="1"/>
            </p:cNvPicPr>
            <p:nvPr/>
          </p:nvPicPr>
          <p:blipFill>
            <a:blip r:embed="rId8"/>
            <a:stretch>
              <a:fillRect/>
            </a:stretch>
          </p:blipFill>
          <p:spPr>
            <a:xfrm>
              <a:off x="10664851" y="2402775"/>
              <a:ext cx="281579" cy="249089"/>
            </a:xfrm>
            <a:prstGeom prst="rect">
              <a:avLst/>
            </a:prstGeom>
          </p:spPr>
        </p:pic>
        <p:pic>
          <p:nvPicPr>
            <p:cNvPr id="206" name="Picture 205"/>
            <p:cNvPicPr>
              <a:picLocks noChangeAspect="1"/>
            </p:cNvPicPr>
            <p:nvPr/>
          </p:nvPicPr>
          <p:blipFill>
            <a:blip r:embed="rId8"/>
            <a:stretch>
              <a:fillRect/>
            </a:stretch>
          </p:blipFill>
          <p:spPr>
            <a:xfrm>
              <a:off x="10664409" y="2270960"/>
              <a:ext cx="281579" cy="249089"/>
            </a:xfrm>
            <a:prstGeom prst="rect">
              <a:avLst/>
            </a:prstGeom>
          </p:spPr>
        </p:pic>
        <p:pic>
          <p:nvPicPr>
            <p:cNvPr id="207" name="Picture 206"/>
            <p:cNvPicPr>
              <a:picLocks noChangeAspect="1"/>
            </p:cNvPicPr>
            <p:nvPr/>
          </p:nvPicPr>
          <p:blipFill>
            <a:blip r:embed="rId8"/>
            <a:stretch>
              <a:fillRect/>
            </a:stretch>
          </p:blipFill>
          <p:spPr>
            <a:xfrm>
              <a:off x="10664703" y="2139145"/>
              <a:ext cx="281579" cy="249089"/>
            </a:xfrm>
            <a:prstGeom prst="rect">
              <a:avLst/>
            </a:prstGeom>
          </p:spPr>
        </p:pic>
      </p:grpSp>
      <p:pic>
        <p:nvPicPr>
          <p:cNvPr id="208" name="Picture 207"/>
          <p:cNvPicPr>
            <a:picLocks noChangeAspect="1"/>
          </p:cNvPicPr>
          <p:nvPr/>
        </p:nvPicPr>
        <p:blipFill>
          <a:blip r:embed="rId8"/>
          <a:stretch>
            <a:fillRect/>
          </a:stretch>
        </p:blipFill>
        <p:spPr>
          <a:xfrm>
            <a:off x="5678754" y="5577751"/>
            <a:ext cx="281579" cy="249089"/>
          </a:xfrm>
          <a:prstGeom prst="rect">
            <a:avLst/>
          </a:prstGeom>
        </p:spPr>
      </p:pic>
      <p:sp>
        <p:nvSpPr>
          <p:cNvPr id="209" name="Freeform 207"/>
          <p:cNvSpPr>
            <a:spLocks noChangeAspect="1" noEditPoints="1"/>
          </p:cNvSpPr>
          <p:nvPr/>
        </p:nvSpPr>
        <p:spPr bwMode="gray">
          <a:xfrm>
            <a:off x="2904868" y="4978683"/>
            <a:ext cx="493776" cy="36745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pic>
        <p:nvPicPr>
          <p:cNvPr id="210" name="Picture 209"/>
          <p:cNvPicPr>
            <a:picLocks noChangeAspect="1"/>
          </p:cNvPicPr>
          <p:nvPr/>
        </p:nvPicPr>
        <p:blipFill>
          <a:blip r:embed="rId8"/>
          <a:stretch>
            <a:fillRect/>
          </a:stretch>
        </p:blipFill>
        <p:spPr>
          <a:xfrm>
            <a:off x="5678754" y="5713482"/>
            <a:ext cx="281579" cy="249089"/>
          </a:xfrm>
          <a:prstGeom prst="rect">
            <a:avLst/>
          </a:prstGeom>
        </p:spPr>
      </p:pic>
      <p:grpSp>
        <p:nvGrpSpPr>
          <p:cNvPr id="127" name="Group 126"/>
          <p:cNvGrpSpPr/>
          <p:nvPr/>
        </p:nvGrpSpPr>
        <p:grpSpPr>
          <a:xfrm>
            <a:off x="2140679" y="4978556"/>
            <a:ext cx="1258154" cy="746885"/>
            <a:chOff x="2140679" y="5835806"/>
            <a:chExt cx="1258154" cy="746885"/>
          </a:xfrm>
        </p:grpSpPr>
        <p:sp>
          <p:nvSpPr>
            <p:cNvPr id="128" name="Freeform 207"/>
            <p:cNvSpPr>
              <a:spLocks noChangeAspect="1" noEditPoints="1"/>
            </p:cNvSpPr>
            <p:nvPr/>
          </p:nvSpPr>
          <p:spPr bwMode="gray">
            <a:xfrm>
              <a:off x="2905057" y="5835806"/>
              <a:ext cx="493776" cy="36745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145" name="Freeform 207"/>
            <p:cNvSpPr>
              <a:spLocks noChangeAspect="1" noEditPoints="1"/>
            </p:cNvSpPr>
            <p:nvPr/>
          </p:nvSpPr>
          <p:spPr bwMode="gray">
            <a:xfrm>
              <a:off x="2140679" y="5835806"/>
              <a:ext cx="493776" cy="36745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146" name="TextBox 145"/>
            <p:cNvSpPr txBox="1"/>
            <p:nvPr/>
          </p:nvSpPr>
          <p:spPr>
            <a:xfrm>
              <a:off x="2340935" y="6121026"/>
              <a:ext cx="851836" cy="461665"/>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95000">
                        <a:schemeClr val="tx1"/>
                      </a:gs>
                    </a:gsLst>
                    <a:lin ang="5400000" scaled="0"/>
                  </a:gradFill>
                  <a:latin typeface="Segoe UI Semibold" panose="020B0702040204020203" pitchFamily="34" charset="0"/>
                  <a:cs typeface="Segoe UI Semibold" panose="020B0702040204020203" pitchFamily="34" charset="0"/>
                </a:rPr>
                <a:t>HOSTS</a:t>
              </a:r>
            </a:p>
          </p:txBody>
        </p:sp>
      </p:grpSp>
      <p:sp>
        <p:nvSpPr>
          <p:cNvPr id="126" name="Freeform 125"/>
          <p:cNvSpPr/>
          <p:nvPr/>
        </p:nvSpPr>
        <p:spPr bwMode="auto">
          <a:xfrm>
            <a:off x="3781426" y="4186237"/>
            <a:ext cx="5286375" cy="2362201"/>
          </a:xfrm>
          <a:custGeom>
            <a:avLst/>
            <a:gdLst>
              <a:gd name="connsiteX0" fmla="*/ 2616763 w 6196802"/>
              <a:gd name="connsiteY0" fmla="*/ 0 h 2648905"/>
              <a:gd name="connsiteX1" fmla="*/ 3580039 w 6196802"/>
              <a:gd name="connsiteY1" fmla="*/ 0 h 2648905"/>
              <a:gd name="connsiteX2" fmla="*/ 6196802 w 6196802"/>
              <a:gd name="connsiteY2" fmla="*/ 2648905 h 2648905"/>
              <a:gd name="connsiteX3" fmla="*/ 0 w 6196802"/>
              <a:gd name="connsiteY3" fmla="*/ 2648905 h 2648905"/>
            </a:gdLst>
            <a:ahLst/>
            <a:cxnLst>
              <a:cxn ang="0">
                <a:pos x="connsiteX0" y="connsiteY0"/>
              </a:cxn>
              <a:cxn ang="0">
                <a:pos x="connsiteX1" y="connsiteY1"/>
              </a:cxn>
              <a:cxn ang="0">
                <a:pos x="connsiteX2" y="connsiteY2"/>
              </a:cxn>
              <a:cxn ang="0">
                <a:pos x="connsiteX3" y="connsiteY3"/>
              </a:cxn>
            </a:cxnLst>
            <a:rect l="l" t="t" r="r" b="b"/>
            <a:pathLst>
              <a:path w="6196802" h="2648905">
                <a:moveTo>
                  <a:pt x="2616763" y="0"/>
                </a:moveTo>
                <a:lnTo>
                  <a:pt x="3580039" y="0"/>
                </a:lnTo>
                <a:lnTo>
                  <a:pt x="6196802" y="2648905"/>
                </a:lnTo>
                <a:lnTo>
                  <a:pt x="0" y="2648905"/>
                </a:lnTo>
                <a:close/>
              </a:path>
            </a:pathLst>
          </a:custGeom>
          <a:solidFill>
            <a:srgbClr val="DCEB84"/>
          </a:solidFill>
          <a:ln w="28575" cap="rnd">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2" name="Vertical Scroll 251"/>
          <p:cNvSpPr>
            <a:spLocks noChangeAspect="1"/>
          </p:cNvSpPr>
          <p:nvPr/>
        </p:nvSpPr>
        <p:spPr bwMode="auto">
          <a:xfrm>
            <a:off x="7114531" y="2955720"/>
            <a:ext cx="236334" cy="264396"/>
          </a:xfrm>
          <a:prstGeom prst="verticalScrol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4373318" y="4673034"/>
            <a:ext cx="7200900" cy="1870641"/>
            <a:chOff x="3585918" y="4673034"/>
            <a:chExt cx="7200900" cy="1870641"/>
          </a:xfrm>
        </p:grpSpPr>
        <p:sp>
          <p:nvSpPr>
            <p:cNvPr id="222" name="1 right"/>
            <p:cNvSpPr/>
            <p:nvPr/>
          </p:nvSpPr>
          <p:spPr bwMode="auto">
            <a:xfrm>
              <a:off x="3585918" y="4673034"/>
              <a:ext cx="7200900" cy="1870641"/>
            </a:xfrm>
            <a:prstGeom prst="rect">
              <a:avLst/>
            </a:prstGeom>
            <a:solidFill>
              <a:schemeClr val="bg1">
                <a:lumMod val="95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pPr>
              <a:endParaRPr lang="en-US" sz="1568" dirty="0">
                <a:gradFill>
                  <a:gsLst>
                    <a:gs pos="93805">
                      <a:srgbClr val="191919"/>
                    </a:gs>
                    <a:gs pos="84071">
                      <a:srgbClr val="191919"/>
                    </a:gs>
                  </a:gsLst>
                  <a:lin ang="5400000" scaled="0"/>
                </a:gradFill>
              </a:endParaRPr>
            </a:p>
          </p:txBody>
        </p:sp>
        <p:sp>
          <p:nvSpPr>
            <p:cNvPr id="2" name="Rectangle 1"/>
            <p:cNvSpPr/>
            <p:nvPr/>
          </p:nvSpPr>
          <p:spPr bwMode="auto">
            <a:xfrm>
              <a:off x="3673377" y="5257403"/>
              <a:ext cx="7034160" cy="120635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3" name="Freeform 22"/>
            <p:cNvSpPr>
              <a:spLocks noChangeAspect="1" noEditPoints="1"/>
            </p:cNvSpPr>
            <p:nvPr/>
          </p:nvSpPr>
          <p:spPr bwMode="auto">
            <a:xfrm>
              <a:off x="6470650" y="5330264"/>
              <a:ext cx="1580002" cy="226394"/>
            </a:xfrm>
            <a:custGeom>
              <a:avLst/>
              <a:gdLst>
                <a:gd name="T0" fmla="*/ 383 w 6029"/>
                <a:gd name="T1" fmla="*/ 425 h 864"/>
                <a:gd name="T2" fmla="*/ 864 w 6029"/>
                <a:gd name="T3" fmla="*/ 864 h 864"/>
                <a:gd name="T4" fmla="*/ 368 w 6029"/>
                <a:gd name="T5" fmla="*/ 69 h 864"/>
                <a:gd name="T6" fmla="*/ 368 w 6029"/>
                <a:gd name="T7" fmla="*/ 440 h 864"/>
                <a:gd name="T8" fmla="*/ 368 w 6029"/>
                <a:gd name="T9" fmla="*/ 440 h 864"/>
                <a:gd name="T10" fmla="*/ 1836 w 6029"/>
                <a:gd name="T11" fmla="*/ 200 h 864"/>
                <a:gd name="T12" fmla="*/ 1914 w 6029"/>
                <a:gd name="T13" fmla="*/ 200 h 864"/>
                <a:gd name="T14" fmla="*/ 1614 w 6029"/>
                <a:gd name="T15" fmla="*/ 607 h 864"/>
                <a:gd name="T16" fmla="*/ 1310 w 6029"/>
                <a:gd name="T17" fmla="*/ 606 h 864"/>
                <a:gd name="T18" fmla="*/ 1345 w 6029"/>
                <a:gd name="T19" fmla="*/ 692 h 864"/>
                <a:gd name="T20" fmla="*/ 1650 w 6029"/>
                <a:gd name="T21" fmla="*/ 692 h 864"/>
                <a:gd name="T22" fmla="*/ 1846 w 6029"/>
                <a:gd name="T23" fmla="*/ 321 h 864"/>
                <a:gd name="T24" fmla="*/ 2302 w 6029"/>
                <a:gd name="T25" fmla="*/ 465 h 864"/>
                <a:gd name="T26" fmla="*/ 2053 w 6029"/>
                <a:gd name="T27" fmla="*/ 383 h 864"/>
                <a:gd name="T28" fmla="*/ 2053 w 6029"/>
                <a:gd name="T29" fmla="*/ 692 h 864"/>
                <a:gd name="T30" fmla="*/ 2242 w 6029"/>
                <a:gd name="T31" fmla="*/ 480 h 864"/>
                <a:gd name="T32" fmla="*/ 2710 w 6029"/>
                <a:gd name="T33" fmla="*/ 143 h 864"/>
                <a:gd name="T34" fmla="*/ 2539 w 6029"/>
                <a:gd name="T35" fmla="*/ 312 h 864"/>
                <a:gd name="T36" fmla="*/ 2522 w 6029"/>
                <a:gd name="T37" fmla="*/ 701 h 864"/>
                <a:gd name="T38" fmla="*/ 2710 w 6029"/>
                <a:gd name="T39" fmla="*/ 692 h 864"/>
                <a:gd name="T40" fmla="*/ 2459 w 6029"/>
                <a:gd name="T41" fmla="*/ 613 h 864"/>
                <a:gd name="T42" fmla="*/ 2621 w 6029"/>
                <a:gd name="T43" fmla="*/ 393 h 864"/>
                <a:gd name="T44" fmla="*/ 3104 w 6029"/>
                <a:gd name="T45" fmla="*/ 364 h 864"/>
                <a:gd name="T46" fmla="*/ 2835 w 6029"/>
                <a:gd name="T47" fmla="*/ 648 h 864"/>
                <a:gd name="T48" fmla="*/ 3104 w 6029"/>
                <a:gd name="T49" fmla="*/ 364 h 864"/>
                <a:gd name="T50" fmla="*/ 2847 w 6029"/>
                <a:gd name="T51" fmla="*/ 509 h 864"/>
                <a:gd name="T52" fmla="*/ 3090 w 6029"/>
                <a:gd name="T53" fmla="*/ 507 h 864"/>
                <a:gd name="T54" fmla="*/ 3547 w 6029"/>
                <a:gd name="T55" fmla="*/ 620 h 864"/>
                <a:gd name="T56" fmla="*/ 3316 w 6029"/>
                <a:gd name="T57" fmla="*/ 620 h 864"/>
                <a:gd name="T58" fmla="*/ 3343 w 6029"/>
                <a:gd name="T59" fmla="*/ 692 h 864"/>
                <a:gd name="T60" fmla="*/ 3578 w 6029"/>
                <a:gd name="T61" fmla="*/ 692 h 864"/>
                <a:gd name="T62" fmla="*/ 3845 w 6029"/>
                <a:gd name="T63" fmla="*/ 484 h 864"/>
                <a:gd name="T64" fmla="*/ 3840 w 6029"/>
                <a:gd name="T65" fmla="*/ 363 h 864"/>
                <a:gd name="T66" fmla="*/ 3751 w 6029"/>
                <a:gd name="T67" fmla="*/ 343 h 864"/>
                <a:gd name="T68" fmla="*/ 3866 w 6029"/>
                <a:gd name="T69" fmla="*/ 564 h 864"/>
                <a:gd name="T70" fmla="*/ 3713 w 6029"/>
                <a:gd name="T71" fmla="*/ 678 h 864"/>
                <a:gd name="T72" fmla="*/ 3920 w 6029"/>
                <a:gd name="T73" fmla="*/ 531 h 864"/>
                <a:gd name="T74" fmla="*/ 4213 w 6029"/>
                <a:gd name="T75" fmla="*/ 339 h 864"/>
                <a:gd name="T76" fmla="*/ 4408 w 6029"/>
                <a:gd name="T77" fmla="*/ 251 h 864"/>
                <a:gd name="T78" fmla="*/ 4142 w 6029"/>
                <a:gd name="T79" fmla="*/ 303 h 864"/>
                <a:gd name="T80" fmla="*/ 4366 w 6029"/>
                <a:gd name="T81" fmla="*/ 568 h 864"/>
                <a:gd name="T82" fmla="*/ 4141 w 6029"/>
                <a:gd name="T83" fmla="*/ 671 h 864"/>
                <a:gd name="T84" fmla="*/ 4430 w 6029"/>
                <a:gd name="T85" fmla="*/ 561 h 864"/>
                <a:gd name="T86" fmla="*/ 4648 w 6029"/>
                <a:gd name="T87" fmla="*/ 312 h 864"/>
                <a:gd name="T88" fmla="*/ 4522 w 6029"/>
                <a:gd name="T89" fmla="*/ 649 h 864"/>
                <a:gd name="T90" fmla="*/ 4660 w 6029"/>
                <a:gd name="T91" fmla="*/ 650 h 864"/>
                <a:gd name="T92" fmla="*/ 4801 w 6029"/>
                <a:gd name="T93" fmla="*/ 490 h 864"/>
                <a:gd name="T94" fmla="*/ 4715 w 6029"/>
                <a:gd name="T95" fmla="*/ 391 h 864"/>
                <a:gd name="T96" fmla="*/ 5025 w 6029"/>
                <a:gd name="T97" fmla="*/ 315 h 864"/>
                <a:gd name="T98" fmla="*/ 4927 w 6029"/>
                <a:gd name="T99" fmla="*/ 321 h 864"/>
                <a:gd name="T100" fmla="*/ 4927 w 6029"/>
                <a:gd name="T101" fmla="*/ 503 h 864"/>
                <a:gd name="T102" fmla="*/ 5061 w 6029"/>
                <a:gd name="T103" fmla="*/ 320 h 864"/>
                <a:gd name="T104" fmla="*/ 5153 w 6029"/>
                <a:gd name="T105" fmla="*/ 321 h 864"/>
                <a:gd name="T106" fmla="*/ 5434 w 6029"/>
                <a:gd name="T107" fmla="*/ 321 h 864"/>
                <a:gd name="T108" fmla="*/ 5616 w 6029"/>
                <a:gd name="T109" fmla="*/ 312 h 864"/>
                <a:gd name="T110" fmla="*/ 5490 w 6029"/>
                <a:gd name="T111" fmla="*/ 649 h 864"/>
                <a:gd name="T112" fmla="*/ 5628 w 6029"/>
                <a:gd name="T113" fmla="*/ 650 h 864"/>
                <a:gd name="T114" fmla="*/ 5769 w 6029"/>
                <a:gd name="T115" fmla="*/ 490 h 864"/>
                <a:gd name="T116" fmla="*/ 5683 w 6029"/>
                <a:gd name="T117" fmla="*/ 391 h 864"/>
                <a:gd name="T118" fmla="*/ 5993 w 6029"/>
                <a:gd name="T119" fmla="*/ 315 h 864"/>
                <a:gd name="T120" fmla="*/ 5895 w 6029"/>
                <a:gd name="T121" fmla="*/ 321 h 864"/>
                <a:gd name="T122" fmla="*/ 5895 w 6029"/>
                <a:gd name="T123" fmla="*/ 503 h 864"/>
                <a:gd name="T124" fmla="*/ 6029 w 6029"/>
                <a:gd name="T125" fmla="*/ 32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29" h="864">
                  <a:moveTo>
                    <a:pt x="383" y="67"/>
                  </a:moveTo>
                  <a:cubicBezTo>
                    <a:pt x="864" y="0"/>
                    <a:pt x="864" y="0"/>
                    <a:pt x="864" y="0"/>
                  </a:cubicBezTo>
                  <a:cubicBezTo>
                    <a:pt x="864" y="425"/>
                    <a:pt x="864" y="425"/>
                    <a:pt x="864" y="425"/>
                  </a:cubicBezTo>
                  <a:cubicBezTo>
                    <a:pt x="383" y="425"/>
                    <a:pt x="383" y="425"/>
                    <a:pt x="383" y="425"/>
                  </a:cubicBezTo>
                  <a:lnTo>
                    <a:pt x="383" y="67"/>
                  </a:lnTo>
                  <a:close/>
                  <a:moveTo>
                    <a:pt x="383" y="440"/>
                  </a:moveTo>
                  <a:cubicBezTo>
                    <a:pt x="383" y="797"/>
                    <a:pt x="383" y="797"/>
                    <a:pt x="383" y="797"/>
                  </a:cubicBezTo>
                  <a:cubicBezTo>
                    <a:pt x="864" y="864"/>
                    <a:pt x="864" y="864"/>
                    <a:pt x="864" y="864"/>
                  </a:cubicBezTo>
                  <a:cubicBezTo>
                    <a:pt x="864" y="440"/>
                    <a:pt x="864" y="440"/>
                    <a:pt x="864" y="440"/>
                  </a:cubicBezTo>
                  <a:lnTo>
                    <a:pt x="383" y="440"/>
                  </a:lnTo>
                  <a:close/>
                  <a:moveTo>
                    <a:pt x="368" y="425"/>
                  </a:moveTo>
                  <a:cubicBezTo>
                    <a:pt x="368" y="69"/>
                    <a:pt x="368" y="69"/>
                    <a:pt x="368" y="69"/>
                  </a:cubicBezTo>
                  <a:cubicBezTo>
                    <a:pt x="0" y="121"/>
                    <a:pt x="0" y="121"/>
                    <a:pt x="0" y="121"/>
                  </a:cubicBezTo>
                  <a:cubicBezTo>
                    <a:pt x="0" y="425"/>
                    <a:pt x="0" y="425"/>
                    <a:pt x="0" y="425"/>
                  </a:cubicBezTo>
                  <a:lnTo>
                    <a:pt x="368" y="425"/>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5" y="165"/>
                    <a:pt x="1886" y="161"/>
                    <a:pt x="1874" y="161"/>
                  </a:cubicBezTo>
                  <a:cubicBezTo>
                    <a:pt x="1863" y="161"/>
                    <a:pt x="1854" y="165"/>
                    <a:pt x="1847" y="173"/>
                  </a:cubicBezTo>
                  <a:cubicBezTo>
                    <a:pt x="1839" y="180"/>
                    <a:pt x="1836" y="189"/>
                    <a:pt x="1836" y="200"/>
                  </a:cubicBezTo>
                  <a:cubicBezTo>
                    <a:pt x="1836" y="211"/>
                    <a:pt x="1840" y="221"/>
                    <a:pt x="1847" y="228"/>
                  </a:cubicBezTo>
                  <a:cubicBezTo>
                    <a:pt x="1854" y="235"/>
                    <a:pt x="1864" y="238"/>
                    <a:pt x="1874" y="238"/>
                  </a:cubicBezTo>
                  <a:cubicBezTo>
                    <a:pt x="1885" y="238"/>
                    <a:pt x="1894" y="235"/>
                    <a:pt x="1902" y="227"/>
                  </a:cubicBezTo>
                  <a:cubicBezTo>
                    <a:pt x="1910" y="220"/>
                    <a:pt x="1914" y="211"/>
                    <a:pt x="1914" y="200"/>
                  </a:cubicBezTo>
                  <a:cubicBezTo>
                    <a:pt x="1914" y="189"/>
                    <a:pt x="1910" y="180"/>
                    <a:pt x="1902" y="173"/>
                  </a:cubicBezTo>
                  <a:close/>
                  <a:moveTo>
                    <a:pt x="1731" y="173"/>
                  </a:moveTo>
                  <a:cubicBezTo>
                    <a:pt x="1615" y="607"/>
                    <a:pt x="1615" y="607"/>
                    <a:pt x="1615" y="607"/>
                  </a:cubicBezTo>
                  <a:cubicBezTo>
                    <a:pt x="1614" y="607"/>
                    <a:pt x="1614" y="607"/>
                    <a:pt x="1614" y="607"/>
                  </a:cubicBezTo>
                  <a:cubicBezTo>
                    <a:pt x="1495" y="173"/>
                    <a:pt x="1495" y="173"/>
                    <a:pt x="1495" y="173"/>
                  </a:cubicBezTo>
                  <a:cubicBezTo>
                    <a:pt x="1436" y="173"/>
                    <a:pt x="1436" y="173"/>
                    <a:pt x="1436" y="173"/>
                  </a:cubicBezTo>
                  <a:cubicBezTo>
                    <a:pt x="1311" y="606"/>
                    <a:pt x="1311" y="606"/>
                    <a:pt x="1311" y="606"/>
                  </a:cubicBezTo>
                  <a:cubicBezTo>
                    <a:pt x="1310" y="606"/>
                    <a:pt x="1310" y="606"/>
                    <a:pt x="1310" y="606"/>
                  </a:cubicBezTo>
                  <a:cubicBezTo>
                    <a:pt x="1190" y="173"/>
                    <a:pt x="1190" y="173"/>
                    <a:pt x="1190" y="173"/>
                  </a:cubicBezTo>
                  <a:cubicBezTo>
                    <a:pt x="1123" y="173"/>
                    <a:pt x="1123" y="173"/>
                    <a:pt x="1123" y="173"/>
                  </a:cubicBezTo>
                  <a:cubicBezTo>
                    <a:pt x="1275" y="692"/>
                    <a:pt x="1275" y="692"/>
                    <a:pt x="1275" y="692"/>
                  </a:cubicBezTo>
                  <a:cubicBezTo>
                    <a:pt x="1345" y="692"/>
                    <a:pt x="1345" y="692"/>
                    <a:pt x="1345" y="692"/>
                  </a:cubicBezTo>
                  <a:cubicBezTo>
                    <a:pt x="1461" y="281"/>
                    <a:pt x="1461" y="281"/>
                    <a:pt x="1461" y="281"/>
                  </a:cubicBezTo>
                  <a:cubicBezTo>
                    <a:pt x="1463" y="281"/>
                    <a:pt x="1463" y="281"/>
                    <a:pt x="1463" y="281"/>
                  </a:cubicBezTo>
                  <a:cubicBezTo>
                    <a:pt x="1579" y="692"/>
                    <a:pt x="1579" y="692"/>
                    <a:pt x="1579" y="692"/>
                  </a:cubicBezTo>
                  <a:cubicBezTo>
                    <a:pt x="1650" y="692"/>
                    <a:pt x="1650" y="692"/>
                    <a:pt x="1650" y="692"/>
                  </a:cubicBezTo>
                  <a:cubicBezTo>
                    <a:pt x="1796" y="173"/>
                    <a:pt x="1796" y="173"/>
                    <a:pt x="1796" y="173"/>
                  </a:cubicBezTo>
                  <a:lnTo>
                    <a:pt x="1731" y="173"/>
                  </a:lnTo>
                  <a:close/>
                  <a:moveTo>
                    <a:pt x="1905" y="321"/>
                  </a:moveTo>
                  <a:cubicBezTo>
                    <a:pt x="1846" y="321"/>
                    <a:pt x="1846" y="321"/>
                    <a:pt x="1846" y="321"/>
                  </a:cubicBezTo>
                  <a:cubicBezTo>
                    <a:pt x="1846" y="692"/>
                    <a:pt x="1846" y="692"/>
                    <a:pt x="1846" y="692"/>
                  </a:cubicBezTo>
                  <a:cubicBezTo>
                    <a:pt x="1905" y="692"/>
                    <a:pt x="1905" y="692"/>
                    <a:pt x="1905" y="692"/>
                  </a:cubicBezTo>
                  <a:lnTo>
                    <a:pt x="1905" y="321"/>
                  </a:lnTo>
                  <a:close/>
                  <a:moveTo>
                    <a:pt x="2302" y="465"/>
                  </a:moveTo>
                  <a:cubicBezTo>
                    <a:pt x="2302" y="416"/>
                    <a:pt x="2291" y="378"/>
                    <a:pt x="2269" y="352"/>
                  </a:cubicBezTo>
                  <a:cubicBezTo>
                    <a:pt x="2248" y="325"/>
                    <a:pt x="2217" y="312"/>
                    <a:pt x="2176" y="312"/>
                  </a:cubicBezTo>
                  <a:cubicBezTo>
                    <a:pt x="2123" y="312"/>
                    <a:pt x="2082" y="336"/>
                    <a:pt x="2055"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3" y="396"/>
                  </a:cubicBezTo>
                  <a:cubicBezTo>
                    <a:pt x="2102" y="374"/>
                    <a:pt x="2127" y="363"/>
                    <a:pt x="2156" y="363"/>
                  </a:cubicBezTo>
                  <a:cubicBezTo>
                    <a:pt x="2213" y="363"/>
                    <a:pt x="2242" y="402"/>
                    <a:pt x="2242" y="480"/>
                  </a:cubicBezTo>
                  <a:cubicBezTo>
                    <a:pt x="2242" y="692"/>
                    <a:pt x="2242" y="692"/>
                    <a:pt x="2242" y="692"/>
                  </a:cubicBezTo>
                  <a:cubicBezTo>
                    <a:pt x="2302" y="692"/>
                    <a:pt x="2302" y="692"/>
                    <a:pt x="2302" y="692"/>
                  </a:cubicBezTo>
                  <a:lnTo>
                    <a:pt x="2302" y="465"/>
                  </a:lnTo>
                  <a:close/>
                  <a:moveTo>
                    <a:pt x="2710" y="143"/>
                  </a:moveTo>
                  <a:cubicBezTo>
                    <a:pt x="2651" y="143"/>
                    <a:pt x="2651" y="143"/>
                    <a:pt x="2651" y="143"/>
                  </a:cubicBezTo>
                  <a:cubicBezTo>
                    <a:pt x="2651" y="372"/>
                    <a:pt x="2651" y="372"/>
                    <a:pt x="2651" y="372"/>
                  </a:cubicBezTo>
                  <a:cubicBezTo>
                    <a:pt x="2650" y="372"/>
                    <a:pt x="2650" y="372"/>
                    <a:pt x="2650" y="372"/>
                  </a:cubicBezTo>
                  <a:cubicBezTo>
                    <a:pt x="2626" y="332"/>
                    <a:pt x="2589" y="312"/>
                    <a:pt x="2539" y="312"/>
                  </a:cubicBezTo>
                  <a:cubicBezTo>
                    <a:pt x="2487" y="312"/>
                    <a:pt x="2446" y="331"/>
                    <a:pt x="2415" y="368"/>
                  </a:cubicBezTo>
                  <a:cubicBezTo>
                    <a:pt x="2384" y="405"/>
                    <a:pt x="2369" y="454"/>
                    <a:pt x="2369" y="515"/>
                  </a:cubicBezTo>
                  <a:cubicBezTo>
                    <a:pt x="2369" y="572"/>
                    <a:pt x="2383" y="617"/>
                    <a:pt x="2410" y="650"/>
                  </a:cubicBezTo>
                  <a:cubicBezTo>
                    <a:pt x="2438" y="684"/>
                    <a:pt x="2475" y="701"/>
                    <a:pt x="2522" y="701"/>
                  </a:cubicBezTo>
                  <a:cubicBezTo>
                    <a:pt x="2580" y="701"/>
                    <a:pt x="2622" y="677"/>
                    <a:pt x="2650" y="629"/>
                  </a:cubicBezTo>
                  <a:cubicBezTo>
                    <a:pt x="2651" y="629"/>
                    <a:pt x="2651" y="629"/>
                    <a:pt x="2651" y="629"/>
                  </a:cubicBezTo>
                  <a:cubicBezTo>
                    <a:pt x="2651" y="692"/>
                    <a:pt x="2651" y="692"/>
                    <a:pt x="2651" y="692"/>
                  </a:cubicBezTo>
                  <a:cubicBezTo>
                    <a:pt x="2710" y="692"/>
                    <a:pt x="2710" y="692"/>
                    <a:pt x="2710" y="692"/>
                  </a:cubicBezTo>
                  <a:lnTo>
                    <a:pt x="2710" y="143"/>
                  </a:lnTo>
                  <a:close/>
                  <a:moveTo>
                    <a:pt x="2620" y="615"/>
                  </a:moveTo>
                  <a:cubicBezTo>
                    <a:pt x="2599" y="638"/>
                    <a:pt x="2572" y="650"/>
                    <a:pt x="2539" y="650"/>
                  </a:cubicBezTo>
                  <a:cubicBezTo>
                    <a:pt x="2506" y="650"/>
                    <a:pt x="2479" y="638"/>
                    <a:pt x="2459" y="613"/>
                  </a:cubicBezTo>
                  <a:cubicBezTo>
                    <a:pt x="2440" y="588"/>
                    <a:pt x="2430" y="555"/>
                    <a:pt x="2430" y="512"/>
                  </a:cubicBezTo>
                  <a:cubicBezTo>
                    <a:pt x="2430" y="465"/>
                    <a:pt x="2440" y="429"/>
                    <a:pt x="2461" y="402"/>
                  </a:cubicBezTo>
                  <a:cubicBezTo>
                    <a:pt x="2482" y="376"/>
                    <a:pt x="2510" y="363"/>
                    <a:pt x="2546" y="363"/>
                  </a:cubicBezTo>
                  <a:cubicBezTo>
                    <a:pt x="2575" y="363"/>
                    <a:pt x="2600" y="373"/>
                    <a:pt x="2621" y="393"/>
                  </a:cubicBezTo>
                  <a:cubicBezTo>
                    <a:pt x="2641" y="413"/>
                    <a:pt x="2651" y="439"/>
                    <a:pt x="2651" y="469"/>
                  </a:cubicBezTo>
                  <a:cubicBezTo>
                    <a:pt x="2651" y="524"/>
                    <a:pt x="2651" y="524"/>
                    <a:pt x="2651" y="524"/>
                  </a:cubicBezTo>
                  <a:cubicBezTo>
                    <a:pt x="2651" y="561"/>
                    <a:pt x="2641" y="591"/>
                    <a:pt x="2620"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8" y="683"/>
                    <a:pt x="2912" y="701"/>
                    <a:pt x="2966" y="701"/>
                  </a:cubicBezTo>
                  <a:cubicBezTo>
                    <a:pt x="3022" y="701"/>
                    <a:pt x="3067" y="683"/>
                    <a:pt x="3101" y="647"/>
                  </a:cubicBezTo>
                  <a:cubicBezTo>
                    <a:pt x="3134" y="611"/>
                    <a:pt x="3151" y="564"/>
                    <a:pt x="3151" y="505"/>
                  </a:cubicBezTo>
                  <a:cubicBezTo>
                    <a:pt x="3151" y="445"/>
                    <a:pt x="3135" y="398"/>
                    <a:pt x="3104" y="364"/>
                  </a:cubicBezTo>
                  <a:close/>
                  <a:moveTo>
                    <a:pt x="3059" y="613"/>
                  </a:moveTo>
                  <a:cubicBezTo>
                    <a:pt x="3039" y="638"/>
                    <a:pt x="3009" y="650"/>
                    <a:pt x="2971" y="650"/>
                  </a:cubicBezTo>
                  <a:cubicBezTo>
                    <a:pt x="2933" y="650"/>
                    <a:pt x="2903" y="638"/>
                    <a:pt x="2880" y="613"/>
                  </a:cubicBezTo>
                  <a:cubicBezTo>
                    <a:pt x="2858" y="588"/>
                    <a:pt x="2847" y="553"/>
                    <a:pt x="2847" y="509"/>
                  </a:cubicBezTo>
                  <a:cubicBezTo>
                    <a:pt x="2847" y="462"/>
                    <a:pt x="2858" y="426"/>
                    <a:pt x="2880" y="401"/>
                  </a:cubicBezTo>
                  <a:cubicBezTo>
                    <a:pt x="2902" y="375"/>
                    <a:pt x="2933" y="363"/>
                    <a:pt x="2971" y="363"/>
                  </a:cubicBezTo>
                  <a:cubicBezTo>
                    <a:pt x="3009" y="363"/>
                    <a:pt x="3038" y="375"/>
                    <a:pt x="3059" y="400"/>
                  </a:cubicBezTo>
                  <a:cubicBezTo>
                    <a:pt x="3080" y="425"/>
                    <a:pt x="3090" y="461"/>
                    <a:pt x="3090" y="507"/>
                  </a:cubicBezTo>
                  <a:cubicBezTo>
                    <a:pt x="3090" y="553"/>
                    <a:pt x="3080"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9" y="620"/>
                    <a:pt x="3319" y="620"/>
                    <a:pt x="3319" y="620"/>
                  </a:cubicBezTo>
                  <a:cubicBezTo>
                    <a:pt x="3316" y="620"/>
                    <a:pt x="3316" y="620"/>
                    <a:pt x="3316" y="620"/>
                  </a:cubicBezTo>
                  <a:cubicBezTo>
                    <a:pt x="3234" y="321"/>
                    <a:pt x="3234" y="321"/>
                    <a:pt x="3234" y="321"/>
                  </a:cubicBezTo>
                  <a:cubicBezTo>
                    <a:pt x="3172" y="321"/>
                    <a:pt x="3172" y="321"/>
                    <a:pt x="3172" y="321"/>
                  </a:cubicBezTo>
                  <a:cubicBezTo>
                    <a:pt x="3284" y="692"/>
                    <a:pt x="3284" y="692"/>
                    <a:pt x="3284" y="692"/>
                  </a:cubicBezTo>
                  <a:cubicBezTo>
                    <a:pt x="3343" y="692"/>
                    <a:pt x="3343" y="692"/>
                    <a:pt x="3343" y="692"/>
                  </a:cubicBezTo>
                  <a:cubicBezTo>
                    <a:pt x="3433" y="404"/>
                    <a:pt x="3433" y="404"/>
                    <a:pt x="3433" y="404"/>
                  </a:cubicBezTo>
                  <a:cubicBezTo>
                    <a:pt x="3434" y="404"/>
                    <a:pt x="3434" y="404"/>
                    <a:pt x="3434" y="404"/>
                  </a:cubicBezTo>
                  <a:cubicBezTo>
                    <a:pt x="3517" y="692"/>
                    <a:pt x="3517" y="692"/>
                    <a:pt x="3517" y="692"/>
                  </a:cubicBezTo>
                  <a:cubicBezTo>
                    <a:pt x="3578" y="692"/>
                    <a:pt x="3578" y="692"/>
                    <a:pt x="3578" y="692"/>
                  </a:cubicBezTo>
                  <a:cubicBezTo>
                    <a:pt x="3690" y="321"/>
                    <a:pt x="3690" y="321"/>
                    <a:pt x="3690" y="321"/>
                  </a:cubicBezTo>
                  <a:lnTo>
                    <a:pt x="3631" y="321"/>
                  </a:lnTo>
                  <a:close/>
                  <a:moveTo>
                    <a:pt x="3920" y="531"/>
                  </a:moveTo>
                  <a:cubicBezTo>
                    <a:pt x="3905" y="514"/>
                    <a:pt x="3881" y="499"/>
                    <a:pt x="3845" y="484"/>
                  </a:cubicBezTo>
                  <a:cubicBezTo>
                    <a:pt x="3817" y="472"/>
                    <a:pt x="3798" y="461"/>
                    <a:pt x="3789" y="452"/>
                  </a:cubicBezTo>
                  <a:cubicBezTo>
                    <a:pt x="3779" y="443"/>
                    <a:pt x="3775" y="431"/>
                    <a:pt x="3775" y="414"/>
                  </a:cubicBezTo>
                  <a:cubicBezTo>
                    <a:pt x="3775" y="399"/>
                    <a:pt x="3781" y="387"/>
                    <a:pt x="3793" y="377"/>
                  </a:cubicBezTo>
                  <a:cubicBezTo>
                    <a:pt x="3805" y="368"/>
                    <a:pt x="3820" y="363"/>
                    <a:pt x="3840" y="363"/>
                  </a:cubicBezTo>
                  <a:cubicBezTo>
                    <a:pt x="3872" y="363"/>
                    <a:pt x="3900" y="372"/>
                    <a:pt x="3924" y="389"/>
                  </a:cubicBezTo>
                  <a:cubicBezTo>
                    <a:pt x="3924" y="329"/>
                    <a:pt x="3924" y="329"/>
                    <a:pt x="3924" y="329"/>
                  </a:cubicBezTo>
                  <a:cubicBezTo>
                    <a:pt x="3900" y="318"/>
                    <a:pt x="3874" y="312"/>
                    <a:pt x="3845" y="312"/>
                  </a:cubicBezTo>
                  <a:cubicBezTo>
                    <a:pt x="3807" y="312"/>
                    <a:pt x="3776" y="322"/>
                    <a:pt x="3751" y="343"/>
                  </a:cubicBezTo>
                  <a:cubicBezTo>
                    <a:pt x="3726" y="363"/>
                    <a:pt x="3714" y="389"/>
                    <a:pt x="3714" y="420"/>
                  </a:cubicBezTo>
                  <a:cubicBezTo>
                    <a:pt x="3714" y="446"/>
                    <a:pt x="3721" y="467"/>
                    <a:pt x="3734" y="483"/>
                  </a:cubicBezTo>
                  <a:cubicBezTo>
                    <a:pt x="3748" y="499"/>
                    <a:pt x="3771" y="514"/>
                    <a:pt x="3804" y="528"/>
                  </a:cubicBezTo>
                  <a:cubicBezTo>
                    <a:pt x="3836" y="543"/>
                    <a:pt x="3857" y="555"/>
                    <a:pt x="3866" y="564"/>
                  </a:cubicBezTo>
                  <a:cubicBezTo>
                    <a:pt x="3876" y="573"/>
                    <a:pt x="3880" y="584"/>
                    <a:pt x="3880" y="598"/>
                  </a:cubicBezTo>
                  <a:cubicBezTo>
                    <a:pt x="3880" y="633"/>
                    <a:pt x="3857" y="650"/>
                    <a:pt x="3810" y="650"/>
                  </a:cubicBezTo>
                  <a:cubicBezTo>
                    <a:pt x="3775" y="650"/>
                    <a:pt x="3743" y="638"/>
                    <a:pt x="3713" y="615"/>
                  </a:cubicBezTo>
                  <a:cubicBezTo>
                    <a:pt x="3713" y="678"/>
                    <a:pt x="3713" y="678"/>
                    <a:pt x="3713" y="678"/>
                  </a:cubicBezTo>
                  <a:cubicBezTo>
                    <a:pt x="3740" y="693"/>
                    <a:pt x="3770" y="701"/>
                    <a:pt x="3805" y="701"/>
                  </a:cubicBezTo>
                  <a:cubicBezTo>
                    <a:pt x="3846" y="701"/>
                    <a:pt x="3879" y="691"/>
                    <a:pt x="3904" y="671"/>
                  </a:cubicBezTo>
                  <a:cubicBezTo>
                    <a:pt x="3929" y="651"/>
                    <a:pt x="3941" y="625"/>
                    <a:pt x="3941" y="592"/>
                  </a:cubicBezTo>
                  <a:cubicBezTo>
                    <a:pt x="3941" y="568"/>
                    <a:pt x="3934" y="547"/>
                    <a:pt x="3920" y="531"/>
                  </a:cubicBezTo>
                  <a:close/>
                  <a:moveTo>
                    <a:pt x="4403" y="483"/>
                  </a:moveTo>
                  <a:cubicBezTo>
                    <a:pt x="4384" y="460"/>
                    <a:pt x="4352" y="436"/>
                    <a:pt x="4306" y="410"/>
                  </a:cubicBezTo>
                  <a:cubicBezTo>
                    <a:pt x="4276" y="393"/>
                    <a:pt x="4254" y="379"/>
                    <a:pt x="4241" y="369"/>
                  </a:cubicBezTo>
                  <a:cubicBezTo>
                    <a:pt x="4228" y="359"/>
                    <a:pt x="4219" y="349"/>
                    <a:pt x="4213" y="339"/>
                  </a:cubicBezTo>
                  <a:cubicBezTo>
                    <a:pt x="4208" y="328"/>
                    <a:pt x="4205" y="314"/>
                    <a:pt x="4205" y="297"/>
                  </a:cubicBezTo>
                  <a:cubicBezTo>
                    <a:pt x="4205" y="274"/>
                    <a:pt x="4214" y="255"/>
                    <a:pt x="4233" y="240"/>
                  </a:cubicBezTo>
                  <a:cubicBezTo>
                    <a:pt x="4251" y="226"/>
                    <a:pt x="4274" y="219"/>
                    <a:pt x="4303" y="219"/>
                  </a:cubicBezTo>
                  <a:cubicBezTo>
                    <a:pt x="4346" y="219"/>
                    <a:pt x="4381" y="229"/>
                    <a:pt x="4408" y="251"/>
                  </a:cubicBezTo>
                  <a:cubicBezTo>
                    <a:pt x="4408" y="183"/>
                    <a:pt x="4408" y="183"/>
                    <a:pt x="4408" y="183"/>
                  </a:cubicBezTo>
                  <a:cubicBezTo>
                    <a:pt x="4387" y="170"/>
                    <a:pt x="4353" y="164"/>
                    <a:pt x="4306" y="164"/>
                  </a:cubicBezTo>
                  <a:cubicBezTo>
                    <a:pt x="4258" y="164"/>
                    <a:pt x="4218" y="177"/>
                    <a:pt x="4188" y="203"/>
                  </a:cubicBezTo>
                  <a:cubicBezTo>
                    <a:pt x="4157" y="228"/>
                    <a:pt x="4142" y="262"/>
                    <a:pt x="4142" y="303"/>
                  </a:cubicBezTo>
                  <a:cubicBezTo>
                    <a:pt x="4142" y="334"/>
                    <a:pt x="4150" y="360"/>
                    <a:pt x="4167" y="382"/>
                  </a:cubicBezTo>
                  <a:cubicBezTo>
                    <a:pt x="4184" y="404"/>
                    <a:pt x="4214" y="427"/>
                    <a:pt x="4257" y="451"/>
                  </a:cubicBezTo>
                  <a:cubicBezTo>
                    <a:pt x="4301" y="476"/>
                    <a:pt x="4330" y="496"/>
                    <a:pt x="4345" y="512"/>
                  </a:cubicBezTo>
                  <a:cubicBezTo>
                    <a:pt x="4359" y="528"/>
                    <a:pt x="4366" y="546"/>
                    <a:pt x="4366" y="568"/>
                  </a:cubicBezTo>
                  <a:cubicBezTo>
                    <a:pt x="4366" y="620"/>
                    <a:pt x="4333" y="646"/>
                    <a:pt x="4266" y="646"/>
                  </a:cubicBezTo>
                  <a:cubicBezTo>
                    <a:pt x="4245" y="646"/>
                    <a:pt x="4223" y="641"/>
                    <a:pt x="4199" y="632"/>
                  </a:cubicBezTo>
                  <a:cubicBezTo>
                    <a:pt x="4175" y="623"/>
                    <a:pt x="4156" y="612"/>
                    <a:pt x="4141" y="599"/>
                  </a:cubicBezTo>
                  <a:cubicBezTo>
                    <a:pt x="4141" y="671"/>
                    <a:pt x="4141" y="671"/>
                    <a:pt x="4141" y="671"/>
                  </a:cubicBezTo>
                  <a:cubicBezTo>
                    <a:pt x="4151" y="678"/>
                    <a:pt x="4168" y="685"/>
                    <a:pt x="4192" y="691"/>
                  </a:cubicBezTo>
                  <a:cubicBezTo>
                    <a:pt x="4217" y="697"/>
                    <a:pt x="4239" y="701"/>
                    <a:pt x="4258" y="701"/>
                  </a:cubicBezTo>
                  <a:cubicBezTo>
                    <a:pt x="4311" y="701"/>
                    <a:pt x="4353" y="688"/>
                    <a:pt x="4384" y="663"/>
                  </a:cubicBezTo>
                  <a:cubicBezTo>
                    <a:pt x="4415" y="639"/>
                    <a:pt x="4430" y="604"/>
                    <a:pt x="4430" y="561"/>
                  </a:cubicBezTo>
                  <a:cubicBezTo>
                    <a:pt x="4430" y="531"/>
                    <a:pt x="4421" y="505"/>
                    <a:pt x="4403" y="483"/>
                  </a:cubicBezTo>
                  <a:close/>
                  <a:moveTo>
                    <a:pt x="4801" y="490"/>
                  </a:moveTo>
                  <a:cubicBezTo>
                    <a:pt x="4801" y="434"/>
                    <a:pt x="4787" y="390"/>
                    <a:pt x="4760" y="359"/>
                  </a:cubicBezTo>
                  <a:cubicBezTo>
                    <a:pt x="4733" y="328"/>
                    <a:pt x="4696" y="312"/>
                    <a:pt x="4648" y="312"/>
                  </a:cubicBezTo>
                  <a:cubicBezTo>
                    <a:pt x="4616" y="312"/>
                    <a:pt x="4587" y="320"/>
                    <a:pt x="4561" y="337"/>
                  </a:cubicBezTo>
                  <a:cubicBezTo>
                    <a:pt x="4535" y="354"/>
                    <a:pt x="4514" y="377"/>
                    <a:pt x="4500" y="407"/>
                  </a:cubicBezTo>
                  <a:cubicBezTo>
                    <a:pt x="4485" y="438"/>
                    <a:pt x="4477" y="471"/>
                    <a:pt x="4477" y="508"/>
                  </a:cubicBezTo>
                  <a:cubicBezTo>
                    <a:pt x="4477" y="568"/>
                    <a:pt x="4492" y="615"/>
                    <a:pt x="4522" y="649"/>
                  </a:cubicBezTo>
                  <a:cubicBezTo>
                    <a:pt x="4552" y="684"/>
                    <a:pt x="4593" y="701"/>
                    <a:pt x="4646" y="701"/>
                  </a:cubicBezTo>
                  <a:cubicBezTo>
                    <a:pt x="4699" y="701"/>
                    <a:pt x="4742" y="689"/>
                    <a:pt x="4774" y="665"/>
                  </a:cubicBezTo>
                  <a:cubicBezTo>
                    <a:pt x="4774" y="610"/>
                    <a:pt x="4774" y="610"/>
                    <a:pt x="4774" y="610"/>
                  </a:cubicBezTo>
                  <a:cubicBezTo>
                    <a:pt x="4740" y="637"/>
                    <a:pt x="4702" y="650"/>
                    <a:pt x="4660" y="650"/>
                  </a:cubicBezTo>
                  <a:cubicBezTo>
                    <a:pt x="4622" y="650"/>
                    <a:pt x="4593" y="639"/>
                    <a:pt x="4572" y="617"/>
                  </a:cubicBezTo>
                  <a:cubicBezTo>
                    <a:pt x="4551" y="595"/>
                    <a:pt x="4540" y="563"/>
                    <a:pt x="4539" y="521"/>
                  </a:cubicBezTo>
                  <a:cubicBezTo>
                    <a:pt x="4801" y="521"/>
                    <a:pt x="4801" y="521"/>
                    <a:pt x="4801" y="521"/>
                  </a:cubicBezTo>
                  <a:lnTo>
                    <a:pt x="4801" y="490"/>
                  </a:lnTo>
                  <a:close/>
                  <a:moveTo>
                    <a:pt x="4540" y="471"/>
                  </a:moveTo>
                  <a:cubicBezTo>
                    <a:pt x="4545" y="438"/>
                    <a:pt x="4557" y="412"/>
                    <a:pt x="4577" y="392"/>
                  </a:cubicBezTo>
                  <a:cubicBezTo>
                    <a:pt x="4596" y="373"/>
                    <a:pt x="4620" y="363"/>
                    <a:pt x="4647" y="363"/>
                  </a:cubicBezTo>
                  <a:cubicBezTo>
                    <a:pt x="4676" y="363"/>
                    <a:pt x="4699" y="372"/>
                    <a:pt x="4715" y="391"/>
                  </a:cubicBezTo>
                  <a:cubicBezTo>
                    <a:pt x="4731" y="410"/>
                    <a:pt x="4739" y="437"/>
                    <a:pt x="4740" y="471"/>
                  </a:cubicBezTo>
                  <a:lnTo>
                    <a:pt x="4540" y="471"/>
                  </a:lnTo>
                  <a:close/>
                  <a:moveTo>
                    <a:pt x="5061" y="320"/>
                  </a:moveTo>
                  <a:cubicBezTo>
                    <a:pt x="5052" y="316"/>
                    <a:pt x="5041" y="315"/>
                    <a:pt x="5025" y="315"/>
                  </a:cubicBezTo>
                  <a:cubicBezTo>
                    <a:pt x="5003" y="315"/>
                    <a:pt x="4983" y="322"/>
                    <a:pt x="4966" y="337"/>
                  </a:cubicBezTo>
                  <a:cubicBezTo>
                    <a:pt x="4949" y="352"/>
                    <a:pt x="4936" y="372"/>
                    <a:pt x="4928" y="397"/>
                  </a:cubicBezTo>
                  <a:cubicBezTo>
                    <a:pt x="4927" y="397"/>
                    <a:pt x="4927" y="397"/>
                    <a:pt x="4927" y="397"/>
                  </a:cubicBezTo>
                  <a:cubicBezTo>
                    <a:pt x="4927" y="321"/>
                    <a:pt x="4927" y="321"/>
                    <a:pt x="4927" y="321"/>
                  </a:cubicBezTo>
                  <a:cubicBezTo>
                    <a:pt x="4867" y="321"/>
                    <a:pt x="4867" y="321"/>
                    <a:pt x="4867" y="321"/>
                  </a:cubicBezTo>
                  <a:cubicBezTo>
                    <a:pt x="4867" y="692"/>
                    <a:pt x="4867" y="692"/>
                    <a:pt x="4867" y="692"/>
                  </a:cubicBezTo>
                  <a:cubicBezTo>
                    <a:pt x="4927" y="692"/>
                    <a:pt x="4927" y="692"/>
                    <a:pt x="4927" y="692"/>
                  </a:cubicBezTo>
                  <a:cubicBezTo>
                    <a:pt x="4927" y="503"/>
                    <a:pt x="4927" y="503"/>
                    <a:pt x="4927" y="503"/>
                  </a:cubicBezTo>
                  <a:cubicBezTo>
                    <a:pt x="4927" y="463"/>
                    <a:pt x="4935" y="431"/>
                    <a:pt x="4951" y="406"/>
                  </a:cubicBezTo>
                  <a:cubicBezTo>
                    <a:pt x="4968" y="382"/>
                    <a:pt x="4989" y="369"/>
                    <a:pt x="5015" y="369"/>
                  </a:cubicBezTo>
                  <a:cubicBezTo>
                    <a:pt x="5035" y="369"/>
                    <a:pt x="5050" y="373"/>
                    <a:pt x="5061" y="381"/>
                  </a:cubicBezTo>
                  <a:lnTo>
                    <a:pt x="5061" y="320"/>
                  </a:lnTo>
                  <a:close/>
                  <a:moveTo>
                    <a:pt x="5372" y="321"/>
                  </a:moveTo>
                  <a:cubicBezTo>
                    <a:pt x="5261" y="624"/>
                    <a:pt x="5261" y="624"/>
                    <a:pt x="5261" y="624"/>
                  </a:cubicBezTo>
                  <a:cubicBezTo>
                    <a:pt x="5259" y="624"/>
                    <a:pt x="5259" y="624"/>
                    <a:pt x="5259" y="624"/>
                  </a:cubicBezTo>
                  <a:cubicBezTo>
                    <a:pt x="5153" y="321"/>
                    <a:pt x="5153" y="321"/>
                    <a:pt x="5153" y="321"/>
                  </a:cubicBezTo>
                  <a:cubicBezTo>
                    <a:pt x="5088" y="321"/>
                    <a:pt x="5088" y="321"/>
                    <a:pt x="5088" y="321"/>
                  </a:cubicBezTo>
                  <a:cubicBezTo>
                    <a:pt x="5228" y="692"/>
                    <a:pt x="5228" y="692"/>
                    <a:pt x="5228" y="692"/>
                  </a:cubicBezTo>
                  <a:cubicBezTo>
                    <a:pt x="5286" y="692"/>
                    <a:pt x="5286" y="692"/>
                    <a:pt x="5286" y="692"/>
                  </a:cubicBezTo>
                  <a:cubicBezTo>
                    <a:pt x="5434" y="321"/>
                    <a:pt x="5434" y="321"/>
                    <a:pt x="5434" y="321"/>
                  </a:cubicBezTo>
                  <a:lnTo>
                    <a:pt x="5372" y="321"/>
                  </a:lnTo>
                  <a:close/>
                  <a:moveTo>
                    <a:pt x="5769" y="490"/>
                  </a:moveTo>
                  <a:cubicBezTo>
                    <a:pt x="5769" y="434"/>
                    <a:pt x="5755" y="390"/>
                    <a:pt x="5728" y="359"/>
                  </a:cubicBezTo>
                  <a:cubicBezTo>
                    <a:pt x="5702" y="328"/>
                    <a:pt x="5664" y="312"/>
                    <a:pt x="5616" y="312"/>
                  </a:cubicBezTo>
                  <a:cubicBezTo>
                    <a:pt x="5584" y="312"/>
                    <a:pt x="5555" y="320"/>
                    <a:pt x="5529" y="337"/>
                  </a:cubicBezTo>
                  <a:cubicBezTo>
                    <a:pt x="5503" y="354"/>
                    <a:pt x="5483" y="377"/>
                    <a:pt x="5468" y="407"/>
                  </a:cubicBezTo>
                  <a:cubicBezTo>
                    <a:pt x="5453" y="438"/>
                    <a:pt x="5446" y="471"/>
                    <a:pt x="5446" y="508"/>
                  </a:cubicBezTo>
                  <a:cubicBezTo>
                    <a:pt x="5446" y="568"/>
                    <a:pt x="5460" y="615"/>
                    <a:pt x="5490" y="649"/>
                  </a:cubicBezTo>
                  <a:cubicBezTo>
                    <a:pt x="5520" y="684"/>
                    <a:pt x="5561" y="701"/>
                    <a:pt x="5614" y="701"/>
                  </a:cubicBezTo>
                  <a:cubicBezTo>
                    <a:pt x="5667" y="701"/>
                    <a:pt x="5710" y="689"/>
                    <a:pt x="5743" y="665"/>
                  </a:cubicBezTo>
                  <a:cubicBezTo>
                    <a:pt x="5743" y="610"/>
                    <a:pt x="5743" y="610"/>
                    <a:pt x="5743" y="610"/>
                  </a:cubicBezTo>
                  <a:cubicBezTo>
                    <a:pt x="5708" y="637"/>
                    <a:pt x="5670" y="650"/>
                    <a:pt x="5628" y="650"/>
                  </a:cubicBezTo>
                  <a:cubicBezTo>
                    <a:pt x="5591" y="650"/>
                    <a:pt x="5561" y="639"/>
                    <a:pt x="5540" y="617"/>
                  </a:cubicBezTo>
                  <a:cubicBezTo>
                    <a:pt x="5519" y="595"/>
                    <a:pt x="5508" y="563"/>
                    <a:pt x="5507" y="521"/>
                  </a:cubicBezTo>
                  <a:cubicBezTo>
                    <a:pt x="5769" y="521"/>
                    <a:pt x="5769" y="521"/>
                    <a:pt x="5769" y="521"/>
                  </a:cubicBezTo>
                  <a:lnTo>
                    <a:pt x="5769" y="490"/>
                  </a:lnTo>
                  <a:close/>
                  <a:moveTo>
                    <a:pt x="5508" y="471"/>
                  </a:moveTo>
                  <a:cubicBezTo>
                    <a:pt x="5513" y="438"/>
                    <a:pt x="5525" y="412"/>
                    <a:pt x="5545" y="392"/>
                  </a:cubicBezTo>
                  <a:cubicBezTo>
                    <a:pt x="5564" y="373"/>
                    <a:pt x="5588" y="363"/>
                    <a:pt x="5615" y="363"/>
                  </a:cubicBezTo>
                  <a:cubicBezTo>
                    <a:pt x="5645" y="363"/>
                    <a:pt x="5667" y="372"/>
                    <a:pt x="5683" y="391"/>
                  </a:cubicBezTo>
                  <a:cubicBezTo>
                    <a:pt x="5699" y="410"/>
                    <a:pt x="5707" y="437"/>
                    <a:pt x="5708" y="471"/>
                  </a:cubicBezTo>
                  <a:lnTo>
                    <a:pt x="5508" y="471"/>
                  </a:lnTo>
                  <a:close/>
                  <a:moveTo>
                    <a:pt x="6029" y="320"/>
                  </a:moveTo>
                  <a:cubicBezTo>
                    <a:pt x="6021" y="316"/>
                    <a:pt x="6009" y="315"/>
                    <a:pt x="5993" y="315"/>
                  </a:cubicBezTo>
                  <a:cubicBezTo>
                    <a:pt x="5971" y="315"/>
                    <a:pt x="5952" y="322"/>
                    <a:pt x="5934" y="337"/>
                  </a:cubicBezTo>
                  <a:cubicBezTo>
                    <a:pt x="5917" y="352"/>
                    <a:pt x="5905" y="372"/>
                    <a:pt x="5896" y="397"/>
                  </a:cubicBezTo>
                  <a:cubicBezTo>
                    <a:pt x="5895" y="397"/>
                    <a:pt x="5895" y="397"/>
                    <a:pt x="5895" y="397"/>
                  </a:cubicBezTo>
                  <a:cubicBezTo>
                    <a:pt x="5895" y="321"/>
                    <a:pt x="5895" y="321"/>
                    <a:pt x="5895" y="321"/>
                  </a:cubicBezTo>
                  <a:cubicBezTo>
                    <a:pt x="5836" y="321"/>
                    <a:pt x="5836" y="321"/>
                    <a:pt x="5836" y="321"/>
                  </a:cubicBezTo>
                  <a:cubicBezTo>
                    <a:pt x="5836" y="692"/>
                    <a:pt x="5836" y="692"/>
                    <a:pt x="5836" y="692"/>
                  </a:cubicBezTo>
                  <a:cubicBezTo>
                    <a:pt x="5895" y="692"/>
                    <a:pt x="5895" y="692"/>
                    <a:pt x="5895" y="692"/>
                  </a:cubicBezTo>
                  <a:cubicBezTo>
                    <a:pt x="5895" y="503"/>
                    <a:pt x="5895" y="503"/>
                    <a:pt x="5895" y="503"/>
                  </a:cubicBezTo>
                  <a:cubicBezTo>
                    <a:pt x="5895" y="463"/>
                    <a:pt x="5903" y="431"/>
                    <a:pt x="5920" y="406"/>
                  </a:cubicBezTo>
                  <a:cubicBezTo>
                    <a:pt x="5936" y="382"/>
                    <a:pt x="5957" y="369"/>
                    <a:pt x="5984" y="369"/>
                  </a:cubicBezTo>
                  <a:cubicBezTo>
                    <a:pt x="6003" y="369"/>
                    <a:pt x="6018" y="373"/>
                    <a:pt x="6029" y="381"/>
                  </a:cubicBezTo>
                  <a:lnTo>
                    <a:pt x="6029" y="3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24" name="Rectangle 223"/>
            <p:cNvSpPr/>
            <p:nvPr/>
          </p:nvSpPr>
          <p:spPr bwMode="auto">
            <a:xfrm>
              <a:off x="3666381" y="4761762"/>
              <a:ext cx="7041156" cy="4100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372" dirty="0">
                  <a:gradFill>
                    <a:gsLst>
                      <a:gs pos="59292">
                        <a:srgbClr val="FFFFFF"/>
                      </a:gs>
                      <a:gs pos="83000">
                        <a:srgbClr val="FFFFFF"/>
                      </a:gs>
                    </a:gsLst>
                    <a:lin ang="5400000" scaled="1"/>
                  </a:gradFill>
                  <a:latin typeface="Segoe UI Semibold" panose="020B0702040204020203" pitchFamily="34" charset="0"/>
                </a:rPr>
                <a:t>SYSTEM CENTER MANAGEMENT</a:t>
              </a:r>
            </a:p>
          </p:txBody>
        </p:sp>
        <p:sp>
          <p:nvSpPr>
            <p:cNvPr id="249" name="Rectangle 248"/>
            <p:cNvSpPr/>
            <p:nvPr/>
          </p:nvSpPr>
          <p:spPr bwMode="auto">
            <a:xfrm>
              <a:off x="3780681" y="5609486"/>
              <a:ext cx="6820644" cy="768453"/>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372" dirty="0" smtClean="0">
                  <a:gradFill>
                    <a:gsLst>
                      <a:gs pos="59292">
                        <a:srgbClr val="FFFFFF"/>
                      </a:gs>
                      <a:gs pos="83000">
                        <a:srgbClr val="FFFFFF"/>
                      </a:gs>
                    </a:gsLst>
                    <a:lin ang="5400000" scaled="1"/>
                  </a:gradFill>
                  <a:latin typeface="Segoe UI Semibold" panose="020B0702040204020203" pitchFamily="34" charset="0"/>
                </a:rPr>
                <a:t>SHARED INFRASTRCUTURE</a:t>
              </a:r>
              <a:endParaRPr lang="en-US" sz="1372" dirty="0">
                <a:gradFill>
                  <a:gsLst>
                    <a:gs pos="59292">
                      <a:srgbClr val="FFFFFF"/>
                    </a:gs>
                    <a:gs pos="83000">
                      <a:srgbClr val="FFFFFF"/>
                    </a:gs>
                  </a:gsLst>
                  <a:lin ang="5400000" scaled="1"/>
                </a:gradFill>
                <a:latin typeface="Segoe UI Semibold" panose="020B0702040204020203" pitchFamily="34" charset="0"/>
              </a:endParaRPr>
            </a:p>
          </p:txBody>
        </p:sp>
        <p:grpSp>
          <p:nvGrpSpPr>
            <p:cNvPr id="39" name="Group 38"/>
            <p:cNvGrpSpPr/>
            <p:nvPr/>
          </p:nvGrpSpPr>
          <p:grpSpPr>
            <a:xfrm>
              <a:off x="3867151" y="5972524"/>
              <a:ext cx="6681684" cy="312593"/>
              <a:chOff x="4711156" y="5972524"/>
              <a:chExt cx="5837678" cy="312593"/>
            </a:xfrm>
          </p:grpSpPr>
          <p:sp>
            <p:nvSpPr>
              <p:cNvPr id="18" name="Rectangle 17"/>
              <p:cNvSpPr/>
              <p:nvPr/>
            </p:nvSpPr>
            <p:spPr bwMode="auto">
              <a:xfrm>
                <a:off x="6185048" y="5972524"/>
                <a:ext cx="1416001" cy="3125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100" dirty="0" smtClean="0">
                    <a:gradFill>
                      <a:gsLst>
                        <a:gs pos="0">
                          <a:srgbClr val="FFFFFF"/>
                        </a:gs>
                        <a:gs pos="100000">
                          <a:srgbClr val="FFFFFF"/>
                        </a:gs>
                      </a:gsLst>
                      <a:lin ang="5400000" scaled="0"/>
                    </a:gradFill>
                    <a:ea typeface="Segoe UI" pitchFamily="34" charset="0"/>
                    <a:cs typeface="Segoe UI" pitchFamily="34" charset="0"/>
                  </a:rPr>
                  <a:t>Compute</a:t>
                </a:r>
              </a:p>
            </p:txBody>
          </p:sp>
          <p:sp>
            <p:nvSpPr>
              <p:cNvPr id="250" name="Rectangle 249"/>
              <p:cNvSpPr/>
              <p:nvPr/>
            </p:nvSpPr>
            <p:spPr bwMode="auto">
              <a:xfrm>
                <a:off x="7658940" y="5972524"/>
                <a:ext cx="1416001" cy="3125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100" dirty="0" smtClean="0">
                    <a:gradFill>
                      <a:gsLst>
                        <a:gs pos="0">
                          <a:srgbClr val="FFFFFF"/>
                        </a:gs>
                        <a:gs pos="100000">
                          <a:srgbClr val="FFFFFF"/>
                        </a:gs>
                      </a:gsLst>
                      <a:lin ang="5400000" scaled="0"/>
                    </a:gradFill>
                    <a:ea typeface="Segoe UI" pitchFamily="34" charset="0"/>
                    <a:cs typeface="Segoe UI" pitchFamily="34" charset="0"/>
                  </a:rPr>
                  <a:t>Network</a:t>
                </a:r>
              </a:p>
            </p:txBody>
          </p:sp>
          <p:sp>
            <p:nvSpPr>
              <p:cNvPr id="251" name="Rectangle 250"/>
              <p:cNvSpPr/>
              <p:nvPr/>
            </p:nvSpPr>
            <p:spPr bwMode="auto">
              <a:xfrm>
                <a:off x="9132833" y="5972524"/>
                <a:ext cx="1416001" cy="3125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100" dirty="0" smtClean="0">
                    <a:gradFill>
                      <a:gsLst>
                        <a:gs pos="0">
                          <a:srgbClr val="FFFFFF"/>
                        </a:gs>
                        <a:gs pos="100000">
                          <a:srgbClr val="FFFFFF"/>
                        </a:gs>
                      </a:gsLst>
                      <a:lin ang="5400000" scaled="0"/>
                    </a:gradFill>
                    <a:ea typeface="Segoe UI" pitchFamily="34" charset="0"/>
                    <a:cs typeface="Segoe UI" pitchFamily="34" charset="0"/>
                  </a:rPr>
                  <a:t>Storage</a:t>
                </a:r>
              </a:p>
            </p:txBody>
          </p:sp>
          <p:sp>
            <p:nvSpPr>
              <p:cNvPr id="253" name="Rectangle 252"/>
              <p:cNvSpPr/>
              <p:nvPr/>
            </p:nvSpPr>
            <p:spPr bwMode="auto">
              <a:xfrm>
                <a:off x="4711156" y="5972524"/>
                <a:ext cx="1416001" cy="3125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100" dirty="0" smtClean="0">
                    <a:gradFill>
                      <a:gsLst>
                        <a:gs pos="0">
                          <a:srgbClr val="FFFFFF"/>
                        </a:gs>
                        <a:gs pos="100000">
                          <a:srgbClr val="FFFFFF"/>
                        </a:gs>
                      </a:gsLst>
                      <a:lin ang="5400000" scaled="0"/>
                    </a:gradFill>
                    <a:ea typeface="Segoe UI" pitchFamily="34" charset="0"/>
                    <a:cs typeface="Segoe UI" pitchFamily="34" charset="0"/>
                  </a:rPr>
                  <a:t>Security</a:t>
                </a:r>
              </a:p>
            </p:txBody>
          </p:sp>
        </p:grpSp>
        <p:sp>
          <p:nvSpPr>
            <p:cNvPr id="37" name="Freeform 17"/>
            <p:cNvSpPr>
              <a:spLocks noEditPoints="1"/>
            </p:cNvSpPr>
            <p:nvPr/>
          </p:nvSpPr>
          <p:spPr bwMode="auto">
            <a:xfrm>
              <a:off x="5214100" y="6026280"/>
              <a:ext cx="180226" cy="205610"/>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5"/>
            <p:cNvSpPr>
              <a:spLocks noEditPoints="1"/>
            </p:cNvSpPr>
            <p:nvPr/>
          </p:nvSpPr>
          <p:spPr bwMode="auto">
            <a:xfrm>
              <a:off x="8565833" y="6027930"/>
              <a:ext cx="227197" cy="210165"/>
            </a:xfrm>
            <a:custGeom>
              <a:avLst/>
              <a:gdLst>
                <a:gd name="T0" fmla="*/ 1446 w 2030"/>
                <a:gd name="T1" fmla="*/ 1047 h 1877"/>
                <a:gd name="T2" fmla="*/ 1218 w 2030"/>
                <a:gd name="T3" fmla="*/ 583 h 1877"/>
                <a:gd name="T4" fmla="*/ 901 w 2030"/>
                <a:gd name="T5" fmla="*/ 376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2 w 2030"/>
                <a:gd name="T27" fmla="*/ 1067 h 1877"/>
                <a:gd name="T28" fmla="*/ 703 w 2030"/>
                <a:gd name="T29" fmla="*/ 1195 h 1877"/>
                <a:gd name="T30" fmla="*/ 703 w 2030"/>
                <a:gd name="T31" fmla="*/ 711 h 1877"/>
                <a:gd name="T32" fmla="*/ 881 w 2030"/>
                <a:gd name="T33" fmla="*/ 771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6 w 2030"/>
                <a:gd name="T53" fmla="*/ 1097 h 1877"/>
                <a:gd name="T54" fmla="*/ 881 w 2030"/>
                <a:gd name="T55" fmla="*/ 1018 h 1877"/>
                <a:gd name="T56" fmla="*/ 961 w 2030"/>
                <a:gd name="T57" fmla="*/ 800 h 1877"/>
                <a:gd name="T58" fmla="*/ 624 w 2030"/>
                <a:gd name="T59" fmla="*/ 652 h 1877"/>
                <a:gd name="T60" fmla="*/ 386 w 2030"/>
                <a:gd name="T61" fmla="*/ 642 h 1877"/>
                <a:gd name="T62" fmla="*/ 624 w 2030"/>
                <a:gd name="T63" fmla="*/ 247 h 1877"/>
                <a:gd name="T64" fmla="*/ 436 w 2030"/>
                <a:gd name="T65" fmla="*/ 929 h 1877"/>
                <a:gd name="T66" fmla="*/ 624 w 2030"/>
                <a:gd name="T67" fmla="*/ 1195 h 1877"/>
                <a:gd name="T68" fmla="*/ 386 w 2030"/>
                <a:gd name="T69" fmla="*/ 988 h 1877"/>
                <a:gd name="T70" fmla="*/ 990 w 2030"/>
                <a:gd name="T71" fmla="*/ 1432 h 1877"/>
                <a:gd name="T72" fmla="*/ 862 w 2030"/>
                <a:gd name="T73" fmla="*/ 1097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8"/>
                    <a:pt x="1446" y="1047"/>
                  </a:cubicBezTo>
                  <a:cubicBezTo>
                    <a:pt x="1169" y="721"/>
                    <a:pt x="1169" y="721"/>
                    <a:pt x="1169" y="721"/>
                  </a:cubicBezTo>
                  <a:cubicBezTo>
                    <a:pt x="1198" y="682"/>
                    <a:pt x="1218" y="632"/>
                    <a:pt x="1218" y="583"/>
                  </a:cubicBezTo>
                  <a:cubicBezTo>
                    <a:pt x="1218" y="455"/>
                    <a:pt x="1119" y="356"/>
                    <a:pt x="1000" y="356"/>
                  </a:cubicBezTo>
                  <a:cubicBezTo>
                    <a:pt x="961" y="356"/>
                    <a:pt x="931" y="366"/>
                    <a:pt x="901" y="376"/>
                  </a:cubicBezTo>
                  <a:cubicBezTo>
                    <a:pt x="753" y="168"/>
                    <a:pt x="753" y="168"/>
                    <a:pt x="753" y="168"/>
                  </a:cubicBezTo>
                  <a:cubicBezTo>
                    <a:pt x="763" y="148"/>
                    <a:pt x="773" y="129"/>
                    <a:pt x="773" y="109"/>
                  </a:cubicBezTo>
                  <a:cubicBezTo>
                    <a:pt x="773" y="50"/>
                    <a:pt x="723" y="0"/>
                    <a:pt x="664" y="0"/>
                  </a:cubicBezTo>
                  <a:cubicBezTo>
                    <a:pt x="604" y="0"/>
                    <a:pt x="555" y="50"/>
                    <a:pt x="555" y="109"/>
                  </a:cubicBezTo>
                  <a:cubicBezTo>
                    <a:pt x="555" y="129"/>
                    <a:pt x="565" y="158"/>
                    <a:pt x="575" y="168"/>
                  </a:cubicBezTo>
                  <a:cubicBezTo>
                    <a:pt x="317" y="593"/>
                    <a:pt x="317" y="593"/>
                    <a:pt x="317" y="593"/>
                  </a:cubicBezTo>
                  <a:cubicBezTo>
                    <a:pt x="287" y="583"/>
                    <a:pt x="268" y="583"/>
                    <a:pt x="238" y="583"/>
                  </a:cubicBezTo>
                  <a:cubicBezTo>
                    <a:pt x="109" y="583"/>
                    <a:pt x="0" y="682"/>
                    <a:pt x="0" y="810"/>
                  </a:cubicBezTo>
                  <a:cubicBezTo>
                    <a:pt x="0" y="939"/>
                    <a:pt x="109" y="1047"/>
                    <a:pt x="238" y="1047"/>
                  </a:cubicBezTo>
                  <a:cubicBezTo>
                    <a:pt x="258" y="1047"/>
                    <a:pt x="287" y="1037"/>
                    <a:pt x="317" y="1027"/>
                  </a:cubicBezTo>
                  <a:cubicBezTo>
                    <a:pt x="456" y="1265"/>
                    <a:pt x="456" y="1265"/>
                    <a:pt x="456" y="1265"/>
                  </a:cubicBezTo>
                  <a:cubicBezTo>
                    <a:pt x="376" y="1324"/>
                    <a:pt x="327" y="1423"/>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5" y="1729"/>
                    <a:pt x="1654" y="1729"/>
                  </a:cubicBezTo>
                  <a:cubicBezTo>
                    <a:pt x="1862" y="1729"/>
                    <a:pt x="2030" y="1561"/>
                    <a:pt x="2030" y="1353"/>
                  </a:cubicBezTo>
                  <a:cubicBezTo>
                    <a:pt x="2030" y="1146"/>
                    <a:pt x="1862" y="978"/>
                    <a:pt x="1654" y="978"/>
                  </a:cubicBezTo>
                  <a:close/>
                  <a:moveTo>
                    <a:pt x="703" y="1195"/>
                  </a:moveTo>
                  <a:cubicBezTo>
                    <a:pt x="703" y="1037"/>
                    <a:pt x="703" y="1037"/>
                    <a:pt x="703" y="1037"/>
                  </a:cubicBezTo>
                  <a:cubicBezTo>
                    <a:pt x="782" y="1067"/>
                    <a:pt x="782" y="1067"/>
                    <a:pt x="782"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2"/>
                    <a:pt x="802" y="682"/>
                    <a:pt x="802" y="682"/>
                  </a:cubicBezTo>
                  <a:cubicBezTo>
                    <a:pt x="822" y="721"/>
                    <a:pt x="852" y="751"/>
                    <a:pt x="881" y="771"/>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60"/>
                    <a:pt x="466" y="860"/>
                    <a:pt x="466" y="860"/>
                  </a:cubicBezTo>
                  <a:cubicBezTo>
                    <a:pt x="466" y="840"/>
                    <a:pt x="466" y="830"/>
                    <a:pt x="466" y="810"/>
                  </a:cubicBezTo>
                  <a:cubicBezTo>
                    <a:pt x="466" y="800"/>
                    <a:pt x="466" y="790"/>
                    <a:pt x="466" y="780"/>
                  </a:cubicBezTo>
                  <a:close/>
                  <a:moveTo>
                    <a:pt x="703" y="227"/>
                  </a:moveTo>
                  <a:cubicBezTo>
                    <a:pt x="842" y="425"/>
                    <a:pt x="842" y="425"/>
                    <a:pt x="842" y="425"/>
                  </a:cubicBezTo>
                  <a:cubicBezTo>
                    <a:pt x="802" y="464"/>
                    <a:pt x="773" y="524"/>
                    <a:pt x="773" y="583"/>
                  </a:cubicBezTo>
                  <a:cubicBezTo>
                    <a:pt x="773" y="593"/>
                    <a:pt x="773" y="603"/>
                    <a:pt x="773" y="603"/>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0" y="800"/>
                    <a:pt x="1000" y="800"/>
                  </a:cubicBezTo>
                  <a:cubicBezTo>
                    <a:pt x="1040" y="800"/>
                    <a:pt x="1070" y="790"/>
                    <a:pt x="1109" y="771"/>
                  </a:cubicBezTo>
                  <a:cubicBezTo>
                    <a:pt x="1386" y="1097"/>
                    <a:pt x="1386" y="1097"/>
                    <a:pt x="1386" y="1097"/>
                  </a:cubicBezTo>
                  <a:cubicBezTo>
                    <a:pt x="1357" y="1126"/>
                    <a:pt x="1337" y="1156"/>
                    <a:pt x="1317" y="1185"/>
                  </a:cubicBezTo>
                  <a:cubicBezTo>
                    <a:pt x="881" y="1018"/>
                    <a:pt x="881" y="1018"/>
                    <a:pt x="881" y="1018"/>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2"/>
                    <a:pt x="406" y="662"/>
                    <a:pt x="386" y="642"/>
                  </a:cubicBezTo>
                  <a:cubicBezTo>
                    <a:pt x="624" y="247"/>
                    <a:pt x="624" y="247"/>
                    <a:pt x="624" y="247"/>
                  </a:cubicBezTo>
                  <a:cubicBezTo>
                    <a:pt x="624" y="247"/>
                    <a:pt x="624" y="247"/>
                    <a:pt x="624" y="247"/>
                  </a:cubicBezTo>
                  <a:close/>
                  <a:moveTo>
                    <a:pt x="386" y="988"/>
                  </a:moveTo>
                  <a:cubicBezTo>
                    <a:pt x="406" y="968"/>
                    <a:pt x="416" y="948"/>
                    <a:pt x="436" y="929"/>
                  </a:cubicBezTo>
                  <a:cubicBezTo>
                    <a:pt x="624" y="1008"/>
                    <a:pt x="624" y="1008"/>
                    <a:pt x="624" y="1008"/>
                  </a:cubicBezTo>
                  <a:cubicBezTo>
                    <a:pt x="624" y="1195"/>
                    <a:pt x="624" y="1195"/>
                    <a:pt x="624" y="1195"/>
                  </a:cubicBezTo>
                  <a:cubicBezTo>
                    <a:pt x="584" y="1195"/>
                    <a:pt x="555" y="1205"/>
                    <a:pt x="525" y="1225"/>
                  </a:cubicBezTo>
                  <a:cubicBezTo>
                    <a:pt x="386" y="988"/>
                    <a:pt x="386" y="988"/>
                    <a:pt x="386" y="988"/>
                  </a:cubicBezTo>
                  <a:cubicBezTo>
                    <a:pt x="386" y="988"/>
                    <a:pt x="386" y="988"/>
                    <a:pt x="386" y="988"/>
                  </a:cubicBezTo>
                  <a:close/>
                  <a:moveTo>
                    <a:pt x="990" y="1432"/>
                  </a:moveTo>
                  <a:cubicBezTo>
                    <a:pt x="961" y="1344"/>
                    <a:pt x="901" y="1265"/>
                    <a:pt x="812" y="1225"/>
                  </a:cubicBezTo>
                  <a:cubicBezTo>
                    <a:pt x="862" y="1097"/>
                    <a:pt x="862" y="1097"/>
                    <a:pt x="862" y="1097"/>
                  </a:cubicBezTo>
                  <a:cubicBezTo>
                    <a:pt x="1287" y="1255"/>
                    <a:pt x="1287" y="1255"/>
                    <a:pt x="1287" y="1255"/>
                  </a:cubicBezTo>
                  <a:cubicBezTo>
                    <a:pt x="1278" y="1294"/>
                    <a:pt x="1278" y="1324"/>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9"/>
            <p:cNvSpPr>
              <a:spLocks noEditPoints="1"/>
            </p:cNvSpPr>
            <p:nvPr/>
          </p:nvSpPr>
          <p:spPr bwMode="auto">
            <a:xfrm>
              <a:off x="10145326" y="6023874"/>
              <a:ext cx="293506" cy="218276"/>
            </a:xfrm>
            <a:custGeom>
              <a:avLst/>
              <a:gdLst>
                <a:gd name="T0" fmla="*/ 1819 w 1840"/>
                <a:gd name="T1" fmla="*/ 470 h 1368"/>
                <a:gd name="T2" fmla="*/ 1024 w 1840"/>
                <a:gd name="T3" fmla="*/ 7 h 1368"/>
                <a:gd name="T4" fmla="*/ 967 w 1840"/>
                <a:gd name="T5" fmla="*/ 7 h 1368"/>
                <a:gd name="T6" fmla="*/ 990 w 1840"/>
                <a:gd name="T7" fmla="*/ 958 h 1368"/>
                <a:gd name="T8" fmla="*/ 230 w 1840"/>
                <a:gd name="T9" fmla="*/ 875 h 1368"/>
                <a:gd name="T10" fmla="*/ 685 w 1840"/>
                <a:gd name="T11" fmla="*/ 1207 h 1368"/>
                <a:gd name="T12" fmla="*/ 216 w 1840"/>
                <a:gd name="T13" fmla="*/ 888 h 1368"/>
                <a:gd name="T14" fmla="*/ 1018 w 1840"/>
                <a:gd name="T15" fmla="*/ 1031 h 1368"/>
                <a:gd name="T16" fmla="*/ 1000 w 1840"/>
                <a:gd name="T17" fmla="*/ 1364 h 1368"/>
                <a:gd name="T18" fmla="*/ 959 w 1840"/>
                <a:gd name="T19" fmla="*/ 1363 h 1368"/>
                <a:gd name="T20" fmla="*/ 825 w 1840"/>
                <a:gd name="T21" fmla="*/ 1233 h 1368"/>
                <a:gd name="T22" fmla="*/ 955 w 1840"/>
                <a:gd name="T23" fmla="*/ 1287 h 1368"/>
                <a:gd name="T24" fmla="*/ 65 w 1840"/>
                <a:gd name="T25" fmla="*/ 555 h 1368"/>
                <a:gd name="T26" fmla="*/ 66 w 1840"/>
                <a:gd name="T27" fmla="*/ 782 h 1368"/>
                <a:gd name="T28" fmla="*/ 76 w 1840"/>
                <a:gd name="T29" fmla="*/ 862 h 1368"/>
                <a:gd name="T30" fmla="*/ 5 w 1840"/>
                <a:gd name="T31" fmla="*/ 816 h 1368"/>
                <a:gd name="T32" fmla="*/ 0 w 1840"/>
                <a:gd name="T33" fmla="*/ 515 h 1368"/>
                <a:gd name="T34" fmla="*/ 61 w 1840"/>
                <a:gd name="T35" fmla="*/ 479 h 1368"/>
                <a:gd name="T36" fmla="*/ 112 w 1840"/>
                <a:gd name="T37" fmla="*/ 507 h 1368"/>
                <a:gd name="T38" fmla="*/ 1018 w 1840"/>
                <a:gd name="T39" fmla="*/ 1031 h 1368"/>
                <a:gd name="T40" fmla="*/ 1840 w 1840"/>
                <a:gd name="T41" fmla="*/ 515 h 1368"/>
                <a:gd name="T42" fmla="*/ 1811 w 1840"/>
                <a:gd name="T43" fmla="*/ 818 h 1368"/>
                <a:gd name="T44" fmla="*/ 1056 w 1840"/>
                <a:gd name="T45" fmla="*/ 1031 h 1368"/>
                <a:gd name="T46" fmla="*/ 1839 w 1840"/>
                <a:gd name="T47" fmla="*/ 503 h 1368"/>
                <a:gd name="T48" fmla="*/ 604 w 1840"/>
                <a:gd name="T49" fmla="*/ 1018 h 1368"/>
                <a:gd name="T50" fmla="*/ 364 w 1840"/>
                <a:gd name="T51" fmla="*/ 885 h 1368"/>
                <a:gd name="T52" fmla="*/ 345 w 1840"/>
                <a:gd name="T53" fmla="*/ 828 h 1368"/>
                <a:gd name="T54" fmla="*/ 601 w 1840"/>
                <a:gd name="T55" fmla="*/ 944 h 1368"/>
                <a:gd name="T56" fmla="*/ 620 w 1840"/>
                <a:gd name="T57" fmla="*/ 1000 h 1368"/>
                <a:gd name="T58" fmla="*/ 819 w 1840"/>
                <a:gd name="T59" fmla="*/ 1187 h 1368"/>
                <a:gd name="T60" fmla="*/ 745 w 1840"/>
                <a:gd name="T61" fmla="*/ 1253 h 1368"/>
                <a:gd name="T62" fmla="*/ 709 w 1840"/>
                <a:gd name="T63" fmla="*/ 1229 h 1368"/>
                <a:gd name="T64" fmla="*/ 719 w 1840"/>
                <a:gd name="T65" fmla="*/ 1050 h 1368"/>
                <a:gd name="T66" fmla="*/ 819 w 1840"/>
                <a:gd name="T67" fmla="*/ 1017 h 1368"/>
                <a:gd name="T68" fmla="*/ 814 w 1840"/>
                <a:gd name="T69" fmla="*/ 1044 h 1368"/>
                <a:gd name="T70" fmla="*/ 758 w 1840"/>
                <a:gd name="T71" fmla="*/ 1199 h 1368"/>
                <a:gd name="T72" fmla="*/ 819 w 1840"/>
                <a:gd name="T73" fmla="*/ 1187 h 1368"/>
                <a:gd name="T74" fmla="*/ 204 w 1840"/>
                <a:gd name="T75" fmla="*/ 869 h 1368"/>
                <a:gd name="T76" fmla="*/ 106 w 1840"/>
                <a:gd name="T77" fmla="*/ 903 h 1368"/>
                <a:gd name="T78" fmla="*/ 99 w 1840"/>
                <a:gd name="T79" fmla="*/ 726 h 1368"/>
                <a:gd name="T80" fmla="*/ 177 w 1840"/>
                <a:gd name="T81" fmla="*/ 666 h 1368"/>
                <a:gd name="T82" fmla="*/ 208 w 1840"/>
                <a:gd name="T83" fmla="*/ 672 h 1368"/>
                <a:gd name="T84" fmla="*/ 149 w 1840"/>
                <a:gd name="T85" fmla="*/ 732 h 1368"/>
                <a:gd name="T86" fmla="*/ 177 w 1840"/>
                <a:gd name="T87" fmla="*/ 83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40" h="1368">
                  <a:moveTo>
                    <a:pt x="990" y="958"/>
                  </a:moveTo>
                  <a:cubicBezTo>
                    <a:pt x="1819" y="470"/>
                    <a:pt x="1819" y="470"/>
                    <a:pt x="1819" y="470"/>
                  </a:cubicBezTo>
                  <a:cubicBezTo>
                    <a:pt x="1817" y="468"/>
                    <a:pt x="1815" y="467"/>
                    <a:pt x="1811" y="464"/>
                  </a:cubicBezTo>
                  <a:cubicBezTo>
                    <a:pt x="1024" y="7"/>
                    <a:pt x="1024" y="7"/>
                    <a:pt x="1024" y="7"/>
                  </a:cubicBezTo>
                  <a:cubicBezTo>
                    <a:pt x="1016" y="3"/>
                    <a:pt x="1006" y="0"/>
                    <a:pt x="996" y="0"/>
                  </a:cubicBezTo>
                  <a:cubicBezTo>
                    <a:pt x="985" y="0"/>
                    <a:pt x="975" y="3"/>
                    <a:pt x="967" y="7"/>
                  </a:cubicBezTo>
                  <a:cubicBezTo>
                    <a:pt x="150" y="485"/>
                    <a:pt x="150" y="485"/>
                    <a:pt x="150" y="485"/>
                  </a:cubicBezTo>
                  <a:cubicBezTo>
                    <a:pt x="990" y="958"/>
                    <a:pt x="990" y="958"/>
                    <a:pt x="990" y="958"/>
                  </a:cubicBezTo>
                  <a:cubicBezTo>
                    <a:pt x="990" y="958"/>
                    <a:pt x="990" y="958"/>
                    <a:pt x="990" y="958"/>
                  </a:cubicBezTo>
                  <a:close/>
                  <a:moveTo>
                    <a:pt x="230" y="875"/>
                  </a:moveTo>
                  <a:cubicBezTo>
                    <a:pt x="685" y="1134"/>
                    <a:pt x="685" y="1134"/>
                    <a:pt x="685" y="1134"/>
                  </a:cubicBezTo>
                  <a:cubicBezTo>
                    <a:pt x="685" y="1207"/>
                    <a:pt x="685" y="1207"/>
                    <a:pt x="685" y="1207"/>
                  </a:cubicBezTo>
                  <a:cubicBezTo>
                    <a:pt x="170" y="916"/>
                    <a:pt x="170" y="916"/>
                    <a:pt x="170" y="916"/>
                  </a:cubicBezTo>
                  <a:cubicBezTo>
                    <a:pt x="216" y="888"/>
                    <a:pt x="216" y="888"/>
                    <a:pt x="216" y="888"/>
                  </a:cubicBezTo>
                  <a:cubicBezTo>
                    <a:pt x="221" y="886"/>
                    <a:pt x="227" y="881"/>
                    <a:pt x="230" y="875"/>
                  </a:cubicBezTo>
                  <a:close/>
                  <a:moveTo>
                    <a:pt x="1018" y="1031"/>
                  </a:moveTo>
                  <a:cubicBezTo>
                    <a:pt x="1018" y="1336"/>
                    <a:pt x="1018" y="1336"/>
                    <a:pt x="1018" y="1336"/>
                  </a:cubicBezTo>
                  <a:cubicBezTo>
                    <a:pt x="1016" y="1348"/>
                    <a:pt x="1009" y="1358"/>
                    <a:pt x="1000" y="1364"/>
                  </a:cubicBezTo>
                  <a:cubicBezTo>
                    <a:pt x="994" y="1367"/>
                    <a:pt x="987" y="1368"/>
                    <a:pt x="981" y="1368"/>
                  </a:cubicBezTo>
                  <a:cubicBezTo>
                    <a:pt x="974" y="1368"/>
                    <a:pt x="966" y="1367"/>
                    <a:pt x="959" y="1363"/>
                  </a:cubicBezTo>
                  <a:cubicBezTo>
                    <a:pt x="778" y="1260"/>
                    <a:pt x="778" y="1260"/>
                    <a:pt x="778" y="1260"/>
                  </a:cubicBezTo>
                  <a:cubicBezTo>
                    <a:pt x="825" y="1233"/>
                    <a:pt x="825" y="1233"/>
                    <a:pt x="825" y="1233"/>
                  </a:cubicBezTo>
                  <a:cubicBezTo>
                    <a:pt x="831" y="1230"/>
                    <a:pt x="836" y="1226"/>
                    <a:pt x="839" y="1220"/>
                  </a:cubicBezTo>
                  <a:cubicBezTo>
                    <a:pt x="955" y="1287"/>
                    <a:pt x="955" y="1287"/>
                    <a:pt x="955" y="1287"/>
                  </a:cubicBezTo>
                  <a:cubicBezTo>
                    <a:pt x="955" y="1064"/>
                    <a:pt x="955" y="1064"/>
                    <a:pt x="955" y="1064"/>
                  </a:cubicBezTo>
                  <a:cubicBezTo>
                    <a:pt x="65" y="555"/>
                    <a:pt x="65" y="555"/>
                    <a:pt x="65" y="555"/>
                  </a:cubicBezTo>
                  <a:cubicBezTo>
                    <a:pt x="65" y="780"/>
                    <a:pt x="65" y="780"/>
                    <a:pt x="65" y="780"/>
                  </a:cubicBezTo>
                  <a:cubicBezTo>
                    <a:pt x="66" y="782"/>
                    <a:pt x="66" y="782"/>
                    <a:pt x="66" y="782"/>
                  </a:cubicBezTo>
                  <a:cubicBezTo>
                    <a:pt x="76" y="789"/>
                    <a:pt x="76" y="789"/>
                    <a:pt x="76" y="789"/>
                  </a:cubicBezTo>
                  <a:cubicBezTo>
                    <a:pt x="76" y="862"/>
                    <a:pt x="76" y="862"/>
                    <a:pt x="76" y="862"/>
                  </a:cubicBezTo>
                  <a:cubicBezTo>
                    <a:pt x="31" y="836"/>
                    <a:pt x="31" y="836"/>
                    <a:pt x="31" y="836"/>
                  </a:cubicBezTo>
                  <a:cubicBezTo>
                    <a:pt x="5" y="816"/>
                    <a:pt x="5" y="816"/>
                    <a:pt x="5" y="816"/>
                  </a:cubicBezTo>
                  <a:cubicBezTo>
                    <a:pt x="0" y="794"/>
                    <a:pt x="0" y="794"/>
                    <a:pt x="0" y="794"/>
                  </a:cubicBezTo>
                  <a:cubicBezTo>
                    <a:pt x="0" y="515"/>
                    <a:pt x="0" y="515"/>
                    <a:pt x="0" y="515"/>
                  </a:cubicBezTo>
                  <a:cubicBezTo>
                    <a:pt x="0" y="499"/>
                    <a:pt x="7" y="486"/>
                    <a:pt x="20" y="478"/>
                  </a:cubicBezTo>
                  <a:cubicBezTo>
                    <a:pt x="33" y="471"/>
                    <a:pt x="48" y="471"/>
                    <a:pt x="61" y="479"/>
                  </a:cubicBezTo>
                  <a:cubicBezTo>
                    <a:pt x="111" y="508"/>
                    <a:pt x="111" y="508"/>
                    <a:pt x="111" y="508"/>
                  </a:cubicBezTo>
                  <a:cubicBezTo>
                    <a:pt x="112" y="507"/>
                    <a:pt x="112" y="507"/>
                    <a:pt x="112" y="507"/>
                  </a:cubicBezTo>
                  <a:cubicBezTo>
                    <a:pt x="1008" y="1012"/>
                    <a:pt x="1008" y="1012"/>
                    <a:pt x="1008" y="1012"/>
                  </a:cubicBezTo>
                  <a:cubicBezTo>
                    <a:pt x="1013" y="1014"/>
                    <a:pt x="1018" y="1025"/>
                    <a:pt x="1018" y="1031"/>
                  </a:cubicBezTo>
                  <a:close/>
                  <a:moveTo>
                    <a:pt x="1839" y="503"/>
                  </a:moveTo>
                  <a:cubicBezTo>
                    <a:pt x="1840" y="507"/>
                    <a:pt x="1840" y="510"/>
                    <a:pt x="1840" y="515"/>
                  </a:cubicBezTo>
                  <a:cubicBezTo>
                    <a:pt x="1840" y="769"/>
                    <a:pt x="1840" y="769"/>
                    <a:pt x="1840" y="769"/>
                  </a:cubicBezTo>
                  <a:cubicBezTo>
                    <a:pt x="1840" y="788"/>
                    <a:pt x="1829" y="809"/>
                    <a:pt x="1811" y="818"/>
                  </a:cubicBezTo>
                  <a:cubicBezTo>
                    <a:pt x="1056" y="1249"/>
                    <a:pt x="1056" y="1249"/>
                    <a:pt x="1056" y="1249"/>
                  </a:cubicBezTo>
                  <a:cubicBezTo>
                    <a:pt x="1056" y="1031"/>
                    <a:pt x="1056" y="1031"/>
                    <a:pt x="1056" y="1031"/>
                  </a:cubicBezTo>
                  <a:cubicBezTo>
                    <a:pt x="1056" y="1011"/>
                    <a:pt x="1045" y="990"/>
                    <a:pt x="1028" y="980"/>
                  </a:cubicBezTo>
                  <a:cubicBezTo>
                    <a:pt x="1839" y="503"/>
                    <a:pt x="1839" y="503"/>
                    <a:pt x="1839" y="503"/>
                  </a:cubicBezTo>
                  <a:cubicBezTo>
                    <a:pt x="1839" y="503"/>
                    <a:pt x="1839" y="503"/>
                    <a:pt x="1839" y="503"/>
                  </a:cubicBezTo>
                  <a:close/>
                  <a:moveTo>
                    <a:pt x="604" y="1018"/>
                  </a:moveTo>
                  <a:cubicBezTo>
                    <a:pt x="600" y="1018"/>
                    <a:pt x="597" y="1017"/>
                    <a:pt x="593" y="1016"/>
                  </a:cubicBezTo>
                  <a:cubicBezTo>
                    <a:pt x="364" y="885"/>
                    <a:pt x="364" y="885"/>
                    <a:pt x="364" y="885"/>
                  </a:cubicBezTo>
                  <a:cubicBezTo>
                    <a:pt x="353" y="879"/>
                    <a:pt x="345" y="865"/>
                    <a:pt x="345" y="853"/>
                  </a:cubicBezTo>
                  <a:cubicBezTo>
                    <a:pt x="345" y="828"/>
                    <a:pt x="345" y="828"/>
                    <a:pt x="345" y="828"/>
                  </a:cubicBezTo>
                  <a:cubicBezTo>
                    <a:pt x="345" y="813"/>
                    <a:pt x="358" y="805"/>
                    <a:pt x="372" y="813"/>
                  </a:cubicBezTo>
                  <a:cubicBezTo>
                    <a:pt x="601" y="944"/>
                    <a:pt x="601" y="944"/>
                    <a:pt x="601" y="944"/>
                  </a:cubicBezTo>
                  <a:cubicBezTo>
                    <a:pt x="612" y="950"/>
                    <a:pt x="620" y="964"/>
                    <a:pt x="620" y="975"/>
                  </a:cubicBezTo>
                  <a:cubicBezTo>
                    <a:pt x="620" y="1000"/>
                    <a:pt x="620" y="1000"/>
                    <a:pt x="620" y="1000"/>
                  </a:cubicBezTo>
                  <a:cubicBezTo>
                    <a:pt x="620" y="1011"/>
                    <a:pt x="613" y="1018"/>
                    <a:pt x="604" y="1018"/>
                  </a:cubicBezTo>
                  <a:close/>
                  <a:moveTo>
                    <a:pt x="819" y="1187"/>
                  </a:moveTo>
                  <a:cubicBezTo>
                    <a:pt x="825" y="1195"/>
                    <a:pt x="823" y="1207"/>
                    <a:pt x="814" y="1213"/>
                  </a:cubicBezTo>
                  <a:cubicBezTo>
                    <a:pt x="745" y="1253"/>
                    <a:pt x="745" y="1253"/>
                    <a:pt x="745" y="1253"/>
                  </a:cubicBezTo>
                  <a:cubicBezTo>
                    <a:pt x="736" y="1259"/>
                    <a:pt x="720" y="1252"/>
                    <a:pt x="715" y="1248"/>
                  </a:cubicBezTo>
                  <a:cubicBezTo>
                    <a:pt x="711" y="1243"/>
                    <a:pt x="709" y="1229"/>
                    <a:pt x="709" y="1229"/>
                  </a:cubicBezTo>
                  <a:cubicBezTo>
                    <a:pt x="709" y="1071"/>
                    <a:pt x="709" y="1071"/>
                    <a:pt x="709" y="1071"/>
                  </a:cubicBezTo>
                  <a:cubicBezTo>
                    <a:pt x="709" y="1071"/>
                    <a:pt x="711" y="1055"/>
                    <a:pt x="719" y="1050"/>
                  </a:cubicBezTo>
                  <a:cubicBezTo>
                    <a:pt x="786" y="1011"/>
                    <a:pt x="786" y="1011"/>
                    <a:pt x="786" y="1011"/>
                  </a:cubicBezTo>
                  <a:cubicBezTo>
                    <a:pt x="797" y="1005"/>
                    <a:pt x="812" y="1009"/>
                    <a:pt x="819" y="1017"/>
                  </a:cubicBezTo>
                  <a:cubicBezTo>
                    <a:pt x="819" y="1017"/>
                    <a:pt x="819" y="1017"/>
                    <a:pt x="819" y="1017"/>
                  </a:cubicBezTo>
                  <a:cubicBezTo>
                    <a:pt x="824" y="1026"/>
                    <a:pt x="823" y="1039"/>
                    <a:pt x="814" y="1044"/>
                  </a:cubicBezTo>
                  <a:cubicBezTo>
                    <a:pt x="758" y="1077"/>
                    <a:pt x="758" y="1077"/>
                    <a:pt x="758" y="1077"/>
                  </a:cubicBezTo>
                  <a:cubicBezTo>
                    <a:pt x="758" y="1199"/>
                    <a:pt x="758" y="1199"/>
                    <a:pt x="758" y="1199"/>
                  </a:cubicBezTo>
                  <a:cubicBezTo>
                    <a:pt x="786" y="1182"/>
                    <a:pt x="786" y="1182"/>
                    <a:pt x="786" y="1182"/>
                  </a:cubicBezTo>
                  <a:cubicBezTo>
                    <a:pt x="797" y="1176"/>
                    <a:pt x="812" y="1178"/>
                    <a:pt x="819" y="1187"/>
                  </a:cubicBezTo>
                  <a:close/>
                  <a:moveTo>
                    <a:pt x="210" y="842"/>
                  </a:moveTo>
                  <a:cubicBezTo>
                    <a:pt x="216" y="850"/>
                    <a:pt x="214" y="863"/>
                    <a:pt x="204" y="869"/>
                  </a:cubicBezTo>
                  <a:cubicBezTo>
                    <a:pt x="136" y="909"/>
                    <a:pt x="136" y="909"/>
                    <a:pt x="136" y="909"/>
                  </a:cubicBezTo>
                  <a:cubicBezTo>
                    <a:pt x="126" y="915"/>
                    <a:pt x="111" y="908"/>
                    <a:pt x="106" y="903"/>
                  </a:cubicBezTo>
                  <a:cubicBezTo>
                    <a:pt x="102" y="898"/>
                    <a:pt x="99" y="885"/>
                    <a:pt x="99" y="885"/>
                  </a:cubicBezTo>
                  <a:cubicBezTo>
                    <a:pt x="99" y="726"/>
                    <a:pt x="99" y="726"/>
                    <a:pt x="99" y="726"/>
                  </a:cubicBezTo>
                  <a:cubicBezTo>
                    <a:pt x="99" y="726"/>
                    <a:pt x="102" y="710"/>
                    <a:pt x="110" y="705"/>
                  </a:cubicBezTo>
                  <a:cubicBezTo>
                    <a:pt x="177" y="666"/>
                    <a:pt x="177" y="666"/>
                    <a:pt x="177" y="666"/>
                  </a:cubicBezTo>
                  <a:cubicBezTo>
                    <a:pt x="188" y="661"/>
                    <a:pt x="203" y="664"/>
                    <a:pt x="208" y="672"/>
                  </a:cubicBezTo>
                  <a:cubicBezTo>
                    <a:pt x="208" y="672"/>
                    <a:pt x="208" y="672"/>
                    <a:pt x="208" y="672"/>
                  </a:cubicBezTo>
                  <a:cubicBezTo>
                    <a:pt x="215" y="681"/>
                    <a:pt x="214" y="694"/>
                    <a:pt x="204" y="700"/>
                  </a:cubicBezTo>
                  <a:cubicBezTo>
                    <a:pt x="149" y="732"/>
                    <a:pt x="149" y="732"/>
                    <a:pt x="149" y="732"/>
                  </a:cubicBezTo>
                  <a:cubicBezTo>
                    <a:pt x="149" y="855"/>
                    <a:pt x="149" y="855"/>
                    <a:pt x="149" y="855"/>
                  </a:cubicBezTo>
                  <a:cubicBezTo>
                    <a:pt x="177" y="838"/>
                    <a:pt x="177" y="838"/>
                    <a:pt x="177" y="838"/>
                  </a:cubicBezTo>
                  <a:cubicBezTo>
                    <a:pt x="188" y="832"/>
                    <a:pt x="203" y="833"/>
                    <a:pt x="210" y="84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3"/>
            <p:cNvSpPr>
              <a:spLocks noEditPoints="1"/>
            </p:cNvSpPr>
            <p:nvPr/>
          </p:nvSpPr>
          <p:spPr bwMode="auto">
            <a:xfrm flipH="1">
              <a:off x="6839744" y="6048063"/>
              <a:ext cx="272848" cy="169898"/>
            </a:xfrm>
            <a:custGeom>
              <a:avLst/>
              <a:gdLst>
                <a:gd name="T0" fmla="*/ 0 w 5502"/>
                <a:gd name="T1" fmla="*/ 2111 h 3426"/>
                <a:gd name="T2" fmla="*/ 864 w 5502"/>
                <a:gd name="T3" fmla="*/ 2111 h 3426"/>
                <a:gd name="T4" fmla="*/ 864 w 5502"/>
                <a:gd name="T5" fmla="*/ 3426 h 3426"/>
                <a:gd name="T6" fmla="*/ 0 w 5502"/>
                <a:gd name="T7" fmla="*/ 3426 h 3426"/>
                <a:gd name="T8" fmla="*/ 0 w 5502"/>
                <a:gd name="T9" fmla="*/ 2111 h 3426"/>
                <a:gd name="T10" fmla="*/ 0 w 5502"/>
                <a:gd name="T11" fmla="*/ 2111 h 3426"/>
                <a:gd name="T12" fmla="*/ 0 w 5502"/>
                <a:gd name="T13" fmla="*/ 2111 h 3426"/>
                <a:gd name="T14" fmla="*/ 1190 w 5502"/>
                <a:gd name="T15" fmla="*/ 3426 h 3426"/>
                <a:gd name="T16" fmla="*/ 2053 w 5502"/>
                <a:gd name="T17" fmla="*/ 3426 h 3426"/>
                <a:gd name="T18" fmla="*/ 2053 w 5502"/>
                <a:gd name="T19" fmla="*/ 485 h 3426"/>
                <a:gd name="T20" fmla="*/ 1190 w 5502"/>
                <a:gd name="T21" fmla="*/ 485 h 3426"/>
                <a:gd name="T22" fmla="*/ 1190 w 5502"/>
                <a:gd name="T23" fmla="*/ 3426 h 3426"/>
                <a:gd name="T24" fmla="*/ 1190 w 5502"/>
                <a:gd name="T25" fmla="*/ 3426 h 3426"/>
                <a:gd name="T26" fmla="*/ 1190 w 5502"/>
                <a:gd name="T27" fmla="*/ 3426 h 3426"/>
                <a:gd name="T28" fmla="*/ 2328 w 5502"/>
                <a:gd name="T29" fmla="*/ 3426 h 3426"/>
                <a:gd name="T30" fmla="*/ 3191 w 5502"/>
                <a:gd name="T31" fmla="*/ 3426 h 3426"/>
                <a:gd name="T32" fmla="*/ 3191 w 5502"/>
                <a:gd name="T33" fmla="*/ 1022 h 3426"/>
                <a:gd name="T34" fmla="*/ 2328 w 5502"/>
                <a:gd name="T35" fmla="*/ 1022 h 3426"/>
                <a:gd name="T36" fmla="*/ 2328 w 5502"/>
                <a:gd name="T37" fmla="*/ 3426 h 3426"/>
                <a:gd name="T38" fmla="*/ 2328 w 5502"/>
                <a:gd name="T39" fmla="*/ 3426 h 3426"/>
                <a:gd name="T40" fmla="*/ 2328 w 5502"/>
                <a:gd name="T41" fmla="*/ 3426 h 3426"/>
                <a:gd name="T42" fmla="*/ 3468 w 5502"/>
                <a:gd name="T43" fmla="*/ 3426 h 3426"/>
                <a:gd name="T44" fmla="*/ 4329 w 5502"/>
                <a:gd name="T45" fmla="*/ 3426 h 3426"/>
                <a:gd name="T46" fmla="*/ 4329 w 5502"/>
                <a:gd name="T47" fmla="*/ 2612 h 3426"/>
                <a:gd name="T48" fmla="*/ 3468 w 5502"/>
                <a:gd name="T49" fmla="*/ 2612 h 3426"/>
                <a:gd name="T50" fmla="*/ 3468 w 5502"/>
                <a:gd name="T51" fmla="*/ 3426 h 3426"/>
                <a:gd name="T52" fmla="*/ 3468 w 5502"/>
                <a:gd name="T53" fmla="*/ 3426 h 3426"/>
                <a:gd name="T54" fmla="*/ 3468 w 5502"/>
                <a:gd name="T55" fmla="*/ 3426 h 3426"/>
                <a:gd name="T56" fmla="*/ 4657 w 5502"/>
                <a:gd name="T57" fmla="*/ 3426 h 3426"/>
                <a:gd name="T58" fmla="*/ 5502 w 5502"/>
                <a:gd name="T59" fmla="*/ 3426 h 3426"/>
                <a:gd name="T60" fmla="*/ 5502 w 5502"/>
                <a:gd name="T61" fmla="*/ 0 h 3426"/>
                <a:gd name="T62" fmla="*/ 4657 w 5502"/>
                <a:gd name="T63" fmla="*/ 0 h 3426"/>
                <a:gd name="T64" fmla="*/ 4657 w 5502"/>
                <a:gd name="T65" fmla="*/ 3426 h 3426"/>
                <a:gd name="T66" fmla="*/ 4657 w 5502"/>
                <a:gd name="T67" fmla="*/ 3426 h 3426"/>
                <a:gd name="T68" fmla="*/ 4657 w 5502"/>
                <a:gd name="T69" fmla="*/ 3426 h 3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02" h="3426">
                  <a:moveTo>
                    <a:pt x="0" y="2111"/>
                  </a:moveTo>
                  <a:lnTo>
                    <a:pt x="864" y="2111"/>
                  </a:lnTo>
                  <a:lnTo>
                    <a:pt x="864" y="3426"/>
                  </a:lnTo>
                  <a:lnTo>
                    <a:pt x="0" y="3426"/>
                  </a:lnTo>
                  <a:lnTo>
                    <a:pt x="0" y="2111"/>
                  </a:lnTo>
                  <a:lnTo>
                    <a:pt x="0" y="2111"/>
                  </a:lnTo>
                  <a:lnTo>
                    <a:pt x="0" y="2111"/>
                  </a:lnTo>
                  <a:close/>
                  <a:moveTo>
                    <a:pt x="1190" y="3426"/>
                  </a:moveTo>
                  <a:lnTo>
                    <a:pt x="2053" y="3426"/>
                  </a:lnTo>
                  <a:lnTo>
                    <a:pt x="2053" y="485"/>
                  </a:lnTo>
                  <a:lnTo>
                    <a:pt x="1190" y="485"/>
                  </a:lnTo>
                  <a:lnTo>
                    <a:pt x="1190" y="3426"/>
                  </a:lnTo>
                  <a:lnTo>
                    <a:pt x="1190" y="3426"/>
                  </a:lnTo>
                  <a:lnTo>
                    <a:pt x="1190" y="3426"/>
                  </a:lnTo>
                  <a:close/>
                  <a:moveTo>
                    <a:pt x="2328" y="3426"/>
                  </a:moveTo>
                  <a:lnTo>
                    <a:pt x="3191" y="3426"/>
                  </a:lnTo>
                  <a:lnTo>
                    <a:pt x="3191" y="1022"/>
                  </a:lnTo>
                  <a:lnTo>
                    <a:pt x="2328" y="1022"/>
                  </a:lnTo>
                  <a:lnTo>
                    <a:pt x="2328" y="3426"/>
                  </a:lnTo>
                  <a:lnTo>
                    <a:pt x="2328" y="3426"/>
                  </a:lnTo>
                  <a:lnTo>
                    <a:pt x="2328" y="3426"/>
                  </a:lnTo>
                  <a:close/>
                  <a:moveTo>
                    <a:pt x="3468" y="3426"/>
                  </a:moveTo>
                  <a:lnTo>
                    <a:pt x="4329" y="3426"/>
                  </a:lnTo>
                  <a:lnTo>
                    <a:pt x="4329" y="2612"/>
                  </a:lnTo>
                  <a:lnTo>
                    <a:pt x="3468" y="2612"/>
                  </a:lnTo>
                  <a:lnTo>
                    <a:pt x="3468" y="3426"/>
                  </a:lnTo>
                  <a:lnTo>
                    <a:pt x="3468" y="3426"/>
                  </a:lnTo>
                  <a:lnTo>
                    <a:pt x="3468" y="3426"/>
                  </a:lnTo>
                  <a:close/>
                  <a:moveTo>
                    <a:pt x="4657" y="3426"/>
                  </a:moveTo>
                  <a:lnTo>
                    <a:pt x="5502" y="3426"/>
                  </a:lnTo>
                  <a:lnTo>
                    <a:pt x="5502" y="0"/>
                  </a:lnTo>
                  <a:lnTo>
                    <a:pt x="4657" y="0"/>
                  </a:lnTo>
                  <a:lnTo>
                    <a:pt x="4657" y="3426"/>
                  </a:lnTo>
                  <a:lnTo>
                    <a:pt x="4657" y="3426"/>
                  </a:lnTo>
                  <a:lnTo>
                    <a:pt x="4657" y="34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1" name="Straight Connector 10"/>
          <p:cNvCxnSpPr/>
          <p:nvPr/>
        </p:nvCxnSpPr>
        <p:spPr>
          <a:xfrm flipV="1">
            <a:off x="5634038" y="4476750"/>
            <a:ext cx="0" cy="310896"/>
          </a:xfrm>
          <a:prstGeom prst="line">
            <a:avLst/>
          </a:prstGeom>
          <a:ln>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V="1">
            <a:off x="7966971" y="4476750"/>
            <a:ext cx="0" cy="310896"/>
          </a:xfrm>
          <a:prstGeom prst="line">
            <a:avLst/>
          </a:prstGeom>
          <a:ln>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flipV="1">
            <a:off x="10316513" y="4476750"/>
            <a:ext cx="0" cy="306122"/>
          </a:xfrm>
          <a:prstGeom prst="line">
            <a:avLst/>
          </a:prstGeom>
          <a:ln>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254" name="Vertical Scroll 253"/>
          <p:cNvSpPr>
            <a:spLocks noChangeAspect="1"/>
          </p:cNvSpPr>
          <p:nvPr/>
        </p:nvSpPr>
        <p:spPr bwMode="auto">
          <a:xfrm>
            <a:off x="7427798" y="2955720"/>
            <a:ext cx="236334" cy="264396"/>
          </a:xfrm>
          <a:prstGeom prst="verticalScrol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5" name="Vertical Scroll 254"/>
          <p:cNvSpPr>
            <a:spLocks noChangeAspect="1"/>
          </p:cNvSpPr>
          <p:nvPr/>
        </p:nvSpPr>
        <p:spPr bwMode="auto">
          <a:xfrm>
            <a:off x="6487999" y="2955720"/>
            <a:ext cx="236334" cy="264396"/>
          </a:xfrm>
          <a:prstGeom prst="verticalScrol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6" name="Vertical Scroll 255"/>
          <p:cNvSpPr>
            <a:spLocks noChangeAspect="1"/>
          </p:cNvSpPr>
          <p:nvPr/>
        </p:nvSpPr>
        <p:spPr bwMode="auto">
          <a:xfrm>
            <a:off x="6801265" y="2955720"/>
            <a:ext cx="236334" cy="264396"/>
          </a:xfrm>
          <a:prstGeom prst="verticalScrol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7" name="Vertical Scroll 256"/>
          <p:cNvSpPr>
            <a:spLocks noChangeAspect="1"/>
          </p:cNvSpPr>
          <p:nvPr/>
        </p:nvSpPr>
        <p:spPr bwMode="auto">
          <a:xfrm>
            <a:off x="10509450" y="2954926"/>
            <a:ext cx="236334" cy="264396"/>
          </a:xfrm>
          <a:prstGeom prst="verticalScrol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8" name="Vertical Scroll 257"/>
          <p:cNvSpPr>
            <a:spLocks noChangeAspect="1"/>
          </p:cNvSpPr>
          <p:nvPr/>
        </p:nvSpPr>
        <p:spPr bwMode="auto">
          <a:xfrm>
            <a:off x="10815838" y="2954926"/>
            <a:ext cx="236334" cy="264396"/>
          </a:xfrm>
          <a:prstGeom prst="verticalScrol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9" name="Vertical Scroll 258"/>
          <p:cNvSpPr>
            <a:spLocks noChangeAspect="1"/>
          </p:cNvSpPr>
          <p:nvPr/>
        </p:nvSpPr>
        <p:spPr bwMode="auto">
          <a:xfrm>
            <a:off x="9896676" y="2954926"/>
            <a:ext cx="236334" cy="264396"/>
          </a:xfrm>
          <a:prstGeom prst="verticalScrol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60" name="Vertical Scroll 259"/>
          <p:cNvSpPr>
            <a:spLocks noChangeAspect="1"/>
          </p:cNvSpPr>
          <p:nvPr/>
        </p:nvSpPr>
        <p:spPr bwMode="auto">
          <a:xfrm>
            <a:off x="10203063" y="2954926"/>
            <a:ext cx="236334" cy="264396"/>
          </a:xfrm>
          <a:prstGeom prst="verticalScrol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61" name="Operations Manager txt"/>
          <p:cNvSpPr txBox="1"/>
          <p:nvPr/>
        </p:nvSpPr>
        <p:spPr>
          <a:xfrm>
            <a:off x="1489735" y="2157278"/>
            <a:ext cx="2180913" cy="387798"/>
          </a:xfrm>
          <a:prstGeom prst="rect">
            <a:avLst/>
          </a:prstGeom>
          <a:noFill/>
        </p:spPr>
        <p:txBody>
          <a:bodyPr wrap="square" lIns="0" tIns="0" rIns="0" bIns="0" rtlCol="0" anchor="ctr">
            <a:spAutoFit/>
          </a:bodyPr>
          <a:lstStyle/>
          <a:p>
            <a:pPr algn="ctr" defTabSz="914367">
              <a:lnSpc>
                <a:spcPct val="90000"/>
              </a:lnSpc>
              <a:spcAft>
                <a:spcPts val="588"/>
              </a:spcAft>
            </a:pPr>
            <a:r>
              <a:rPr lang="en-US" sz="1400" dirty="0" smtClean="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t>Windows Server</a:t>
            </a:r>
            <a:br>
              <a:rPr lang="en-US" sz="1400" dirty="0" smtClean="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br>
            <a:r>
              <a:rPr lang="en-US" sz="1400" dirty="0" smtClean="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t>System </a:t>
            </a:r>
            <a:r>
              <a:rPr lang="en-US" sz="1400" dirty="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t>C</a:t>
            </a:r>
            <a:r>
              <a:rPr lang="en-US" sz="1400" dirty="0" smtClean="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rPr>
              <a:t>enter</a:t>
            </a:r>
            <a:endParaRPr lang="en-US" sz="1400" dirty="0">
              <a:gradFill>
                <a:gsLst>
                  <a:gs pos="2917">
                    <a:srgbClr val="282828"/>
                  </a:gs>
                  <a:gs pos="30000">
                    <a:srgbClr val="282828"/>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77132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grpId="0" nodeType="clickEffect">
                                  <p:stCondLst>
                                    <p:cond delay="0"/>
                                  </p:stCondLst>
                                  <p:childTnLst>
                                    <p:animEffect transition="out" filter="wipe(left)">
                                      <p:cBhvr>
                                        <p:cTn id="6" dur="500"/>
                                        <p:tgtEl>
                                          <p:spTgt spid="166"/>
                                        </p:tgtEl>
                                      </p:cBhvr>
                                    </p:animEffect>
                                    <p:set>
                                      <p:cBhvr>
                                        <p:cTn id="7" dur="1" fill="hold">
                                          <p:stCondLst>
                                            <p:cond delay="499"/>
                                          </p:stCondLst>
                                        </p:cTn>
                                        <p:tgtEl>
                                          <p:spTgt spid="166"/>
                                        </p:tgtEl>
                                        <p:attrNameLst>
                                          <p:attrName>style.visibility</p:attrName>
                                        </p:attrNameLst>
                                      </p:cBhvr>
                                      <p:to>
                                        <p:strVal val="hidden"/>
                                      </p:to>
                                    </p:set>
                                  </p:childTnLst>
                                </p:cTn>
                              </p:par>
                              <p:par>
                                <p:cTn id="8" presetID="42" presetClass="entr" presetSubtype="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750"/>
                                        <p:tgtEl>
                                          <p:spTgt spid="40"/>
                                        </p:tgtEl>
                                      </p:cBhvr>
                                    </p:animEffect>
                                    <p:anim calcmode="lin" valueType="num">
                                      <p:cBhvr>
                                        <p:cTn id="11" dur="750" fill="hold"/>
                                        <p:tgtEl>
                                          <p:spTgt spid="40"/>
                                        </p:tgtEl>
                                        <p:attrNameLst>
                                          <p:attrName>ppt_x</p:attrName>
                                        </p:attrNameLst>
                                      </p:cBhvr>
                                      <p:tavLst>
                                        <p:tav tm="0">
                                          <p:val>
                                            <p:strVal val="#ppt_x"/>
                                          </p:val>
                                        </p:tav>
                                        <p:tav tm="100000">
                                          <p:val>
                                            <p:strVal val="#ppt_x"/>
                                          </p:val>
                                        </p:tav>
                                      </p:tavLst>
                                    </p:anim>
                                    <p:anim calcmode="lin" valueType="num">
                                      <p:cBhvr>
                                        <p:cTn id="12" dur="750" fill="hold"/>
                                        <p:tgtEl>
                                          <p:spTgt spid="40"/>
                                        </p:tgtEl>
                                        <p:attrNameLst>
                                          <p:attrName>ppt_y</p:attrName>
                                        </p:attrNameLst>
                                      </p:cBhvr>
                                      <p:tavLst>
                                        <p:tav tm="0">
                                          <p:val>
                                            <p:strVal val="#ppt_y+.1"/>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176"/>
                                        </p:tgtEl>
                                        <p:attrNameLst>
                                          <p:attrName>style.visibility</p:attrName>
                                        </p:attrNameLst>
                                      </p:cBhvr>
                                      <p:to>
                                        <p:strVal val="visible"/>
                                      </p:to>
                                    </p:set>
                                    <p:animEffect transition="in" filter="fade">
                                      <p:cBhvr>
                                        <p:cTn id="15" dur="500"/>
                                        <p:tgtEl>
                                          <p:spTgt spid="176"/>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261"/>
                                        </p:tgtEl>
                                        <p:attrNameLst>
                                          <p:attrName>style.visibility</p:attrName>
                                        </p:attrNameLst>
                                      </p:cBhvr>
                                      <p:to>
                                        <p:strVal val="visible"/>
                                      </p:to>
                                    </p:set>
                                    <p:animEffect transition="in" filter="fade">
                                      <p:cBhvr>
                                        <p:cTn id="18" dur="500"/>
                                        <p:tgtEl>
                                          <p:spTgt spid="26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83"/>
                                        </p:tgtEl>
                                      </p:cBhvr>
                                    </p:animEffect>
                                    <p:set>
                                      <p:cBhvr>
                                        <p:cTn id="23" dur="1" fill="hold">
                                          <p:stCondLst>
                                            <p:cond delay="499"/>
                                          </p:stCondLst>
                                        </p:cTn>
                                        <p:tgtEl>
                                          <p:spTgt spid="83"/>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61"/>
                                        </p:tgtEl>
                                      </p:cBhvr>
                                    </p:animEffect>
                                    <p:set>
                                      <p:cBhvr>
                                        <p:cTn id="26" dur="1" fill="hold">
                                          <p:stCondLst>
                                            <p:cond delay="499"/>
                                          </p:stCondLst>
                                        </p:cTn>
                                        <p:tgtEl>
                                          <p:spTgt spid="261"/>
                                        </p:tgtEl>
                                        <p:attrNameLst>
                                          <p:attrName>style.visibility</p:attrName>
                                        </p:attrNameLst>
                                      </p:cBhvr>
                                      <p:to>
                                        <p:strVal val="hidden"/>
                                      </p:to>
                                    </p:set>
                                  </p:childTnLst>
                                </p:cTn>
                              </p:par>
                              <p:par>
                                <p:cTn id="27" presetID="10" presetClass="entr" presetSubtype="0" fill="hold" nodeType="withEffect">
                                  <p:stCondLst>
                                    <p:cond delay="0"/>
                                  </p:stCondLst>
                                  <p:childTnLst>
                                    <p:set>
                                      <p:cBhvr>
                                        <p:cTn id="28" dur="1" fill="hold">
                                          <p:stCondLst>
                                            <p:cond delay="0"/>
                                          </p:stCondLst>
                                        </p:cTn>
                                        <p:tgtEl>
                                          <p:spTgt spid="147"/>
                                        </p:tgtEl>
                                        <p:attrNameLst>
                                          <p:attrName>style.visibility</p:attrName>
                                        </p:attrNameLst>
                                      </p:cBhvr>
                                      <p:to>
                                        <p:strVal val="visible"/>
                                      </p:to>
                                    </p:set>
                                    <p:animEffect transition="in" filter="fade">
                                      <p:cBhvr>
                                        <p:cTn id="29" dur="500"/>
                                        <p:tgtEl>
                                          <p:spTgt spid="147"/>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141"/>
                                        </p:tgtEl>
                                        <p:attrNameLst>
                                          <p:attrName>style.visibility</p:attrName>
                                        </p:attrNameLst>
                                      </p:cBhvr>
                                      <p:to>
                                        <p:strVal val="visible"/>
                                      </p:to>
                                    </p:set>
                                    <p:animEffect transition="in" filter="fade">
                                      <p:cBhvr>
                                        <p:cTn id="33" dur="500"/>
                                        <p:tgtEl>
                                          <p:spTgt spid="14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77"/>
                                        </p:tgtEl>
                                        <p:attrNameLst>
                                          <p:attrName>style.visibility</p:attrName>
                                        </p:attrNameLst>
                                      </p:cBhvr>
                                      <p:to>
                                        <p:strVal val="visible"/>
                                      </p:to>
                                    </p:set>
                                    <p:animEffect transition="in" filter="fade">
                                      <p:cBhvr>
                                        <p:cTn id="36" dur="500"/>
                                        <p:tgtEl>
                                          <p:spTgt spid="177"/>
                                        </p:tgtEl>
                                      </p:cBhvr>
                                    </p:animEffect>
                                  </p:childTnLst>
                                </p:cTn>
                              </p:par>
                              <p:par>
                                <p:cTn id="37" presetID="22" presetClass="entr" presetSubtype="4"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down)">
                                      <p:cBhvr>
                                        <p:cTn id="39" dur="500"/>
                                        <p:tgtEl>
                                          <p:spTgt spid="11"/>
                                        </p:tgtEl>
                                      </p:cBhvr>
                                    </p:animEffect>
                                  </p:childTnLst>
                                </p:cTn>
                              </p:par>
                              <p:par>
                                <p:cTn id="40" presetID="22" presetClass="entr" presetSubtype="4" fill="hold" nodeType="withEffect">
                                  <p:stCondLst>
                                    <p:cond delay="0"/>
                                  </p:stCondLst>
                                  <p:childTnLst>
                                    <p:set>
                                      <p:cBhvr>
                                        <p:cTn id="41" dur="1" fill="hold">
                                          <p:stCondLst>
                                            <p:cond delay="0"/>
                                          </p:stCondLst>
                                        </p:cTn>
                                        <p:tgtEl>
                                          <p:spTgt spid="247"/>
                                        </p:tgtEl>
                                        <p:attrNameLst>
                                          <p:attrName>style.visibility</p:attrName>
                                        </p:attrNameLst>
                                      </p:cBhvr>
                                      <p:to>
                                        <p:strVal val="visible"/>
                                      </p:to>
                                    </p:set>
                                    <p:animEffect transition="in" filter="wipe(down)">
                                      <p:cBhvr>
                                        <p:cTn id="42" dur="500"/>
                                        <p:tgtEl>
                                          <p:spTgt spid="247"/>
                                        </p:tgtEl>
                                      </p:cBhvr>
                                    </p:animEffect>
                                  </p:childTnLst>
                                </p:cTn>
                              </p:par>
                              <p:par>
                                <p:cTn id="43" presetID="22" presetClass="entr" presetSubtype="4" fill="hold" nodeType="withEffect">
                                  <p:stCondLst>
                                    <p:cond delay="0"/>
                                  </p:stCondLst>
                                  <p:childTnLst>
                                    <p:set>
                                      <p:cBhvr>
                                        <p:cTn id="44" dur="1" fill="hold">
                                          <p:stCondLst>
                                            <p:cond delay="0"/>
                                          </p:stCondLst>
                                        </p:cTn>
                                        <p:tgtEl>
                                          <p:spTgt spid="248"/>
                                        </p:tgtEl>
                                        <p:attrNameLst>
                                          <p:attrName>style.visibility</p:attrName>
                                        </p:attrNameLst>
                                      </p:cBhvr>
                                      <p:to>
                                        <p:strVal val="visible"/>
                                      </p:to>
                                    </p:set>
                                    <p:animEffect transition="in" filter="wipe(down)">
                                      <p:cBhvr>
                                        <p:cTn id="45" dur="500"/>
                                        <p:tgtEl>
                                          <p:spTgt spid="248"/>
                                        </p:tgtEl>
                                      </p:cBhvr>
                                    </p:animEffect>
                                  </p:childTnLst>
                                </p:cTn>
                              </p:par>
                              <p:par>
                                <p:cTn id="46" presetID="10" presetClass="entr" presetSubtype="0" fill="hold" nodeType="with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fade">
                                      <p:cBhvr>
                                        <p:cTn id="48" dur="500"/>
                                        <p:tgtEl>
                                          <p:spTgt spid="1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grpId="1" nodeType="clickEffect">
                                  <p:stCondLst>
                                    <p:cond delay="0"/>
                                  </p:stCondLst>
                                  <p:childTnLst>
                                    <p:animEffect transition="out" filter="fade">
                                      <p:cBhvr>
                                        <p:cTn id="52" dur="500"/>
                                        <p:tgtEl>
                                          <p:spTgt spid="141"/>
                                        </p:tgtEl>
                                      </p:cBhvr>
                                    </p:animEffect>
                                    <p:set>
                                      <p:cBhvr>
                                        <p:cTn id="53" dur="1" fill="hold">
                                          <p:stCondLst>
                                            <p:cond delay="499"/>
                                          </p:stCondLst>
                                        </p:cTn>
                                        <p:tgtEl>
                                          <p:spTgt spid="141"/>
                                        </p:tgtEl>
                                        <p:attrNameLst>
                                          <p:attrName>style.visibility</p:attrName>
                                        </p:attrNameLst>
                                      </p:cBhvr>
                                      <p:to>
                                        <p:strVal val="hidden"/>
                                      </p:to>
                                    </p:set>
                                  </p:childTnLst>
                                </p:cTn>
                              </p:par>
                            </p:childTnLst>
                          </p:cTn>
                        </p:par>
                        <p:par>
                          <p:cTn id="54" fill="hold">
                            <p:stCondLst>
                              <p:cond delay="500"/>
                            </p:stCondLst>
                            <p:childTnLst>
                              <p:par>
                                <p:cTn id="55" presetID="10" presetClass="entr" presetSubtype="0" fill="hold" grpId="0" nodeType="afterEffect">
                                  <p:stCondLst>
                                    <p:cond delay="0"/>
                                  </p:stCondLst>
                                  <p:childTnLst>
                                    <p:set>
                                      <p:cBhvr>
                                        <p:cTn id="56" dur="1" fill="hold">
                                          <p:stCondLst>
                                            <p:cond delay="0"/>
                                          </p:stCondLst>
                                        </p:cTn>
                                        <p:tgtEl>
                                          <p:spTgt spid="142"/>
                                        </p:tgtEl>
                                        <p:attrNameLst>
                                          <p:attrName>style.visibility</p:attrName>
                                        </p:attrNameLst>
                                      </p:cBhvr>
                                      <p:to>
                                        <p:strVal val="visible"/>
                                      </p:to>
                                    </p:set>
                                    <p:animEffect transition="in" filter="fade">
                                      <p:cBhvr>
                                        <p:cTn id="57" dur="500"/>
                                        <p:tgtEl>
                                          <p:spTgt spid="14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68"/>
                                        </p:tgtEl>
                                        <p:attrNameLst>
                                          <p:attrName>style.visibility</p:attrName>
                                        </p:attrNameLst>
                                      </p:cBhvr>
                                      <p:to>
                                        <p:strVal val="visible"/>
                                      </p:to>
                                    </p:set>
                                    <p:animEffect transition="in" filter="fade">
                                      <p:cBhvr>
                                        <p:cTn id="60" dur="500"/>
                                        <p:tgtEl>
                                          <p:spTgt spid="16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94"/>
                                        </p:tgtEl>
                                        <p:attrNameLst>
                                          <p:attrName>style.visibility</p:attrName>
                                        </p:attrNameLst>
                                      </p:cBhvr>
                                      <p:to>
                                        <p:strVal val="visible"/>
                                      </p:to>
                                    </p:set>
                                    <p:animEffect transition="in" filter="fade">
                                      <p:cBhvr>
                                        <p:cTn id="66" dur="500"/>
                                        <p:tgtEl>
                                          <p:spTgt spid="19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0"/>
                                        </p:tgtEl>
                                        <p:attrNameLst>
                                          <p:attrName>style.visibility</p:attrName>
                                        </p:attrNameLst>
                                      </p:cBhvr>
                                      <p:to>
                                        <p:strVal val="visible"/>
                                      </p:to>
                                    </p:set>
                                    <p:animEffect transition="in" filter="fade">
                                      <p:cBhvr>
                                        <p:cTn id="69" dur="500"/>
                                        <p:tgtEl>
                                          <p:spTgt spid="18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84"/>
                                        </p:tgtEl>
                                        <p:attrNameLst>
                                          <p:attrName>style.visibility</p:attrName>
                                        </p:attrNameLst>
                                      </p:cBhvr>
                                      <p:to>
                                        <p:strVal val="visible"/>
                                      </p:to>
                                    </p:set>
                                    <p:animEffect transition="in" filter="fade">
                                      <p:cBhvr>
                                        <p:cTn id="72" dur="500"/>
                                        <p:tgtEl>
                                          <p:spTgt spid="184"/>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92"/>
                                        </p:tgtEl>
                                        <p:attrNameLst>
                                          <p:attrName>style.visibility</p:attrName>
                                        </p:attrNameLst>
                                      </p:cBhvr>
                                      <p:to>
                                        <p:strVal val="visible"/>
                                      </p:to>
                                    </p:set>
                                    <p:animEffect transition="in" filter="fade">
                                      <p:cBhvr>
                                        <p:cTn id="77" dur="500"/>
                                        <p:tgtEl>
                                          <p:spTgt spid="192"/>
                                        </p:tgtEl>
                                      </p:cBhvr>
                                    </p:animEffect>
                                  </p:childTnLst>
                                </p:cTn>
                              </p:par>
                              <p:par>
                                <p:cTn id="78" presetID="42" presetClass="path" presetSubtype="0" decel="100000" fill="hold" grpId="1" nodeType="withEffect">
                                  <p:stCondLst>
                                    <p:cond delay="0"/>
                                  </p:stCondLst>
                                  <p:childTnLst>
                                    <p:animMotion origin="layout" path="M 3.75E-6 -2.59259E-6 L -0.13789 -0.06551 " pathEditMode="relative" rAng="0" ptsTypes="AA">
                                      <p:cBhvr>
                                        <p:cTn id="79" dur="1000" fill="hold"/>
                                        <p:tgtEl>
                                          <p:spTgt spid="192"/>
                                        </p:tgtEl>
                                        <p:attrNameLst>
                                          <p:attrName>ppt_x</p:attrName>
                                          <p:attrName>ppt_y</p:attrName>
                                        </p:attrNameLst>
                                      </p:cBhvr>
                                      <p:rCtr x="-6901" y="-3287"/>
                                    </p:animMotion>
                                  </p:childTnLst>
                                </p:cTn>
                              </p:par>
                            </p:childTnLst>
                          </p:cTn>
                        </p:par>
                        <p:par>
                          <p:cTn id="80" fill="hold">
                            <p:stCondLst>
                              <p:cond delay="1000"/>
                            </p:stCondLst>
                            <p:childTnLst>
                              <p:par>
                                <p:cTn id="81" presetID="6" presetClass="emph" presetSubtype="0" decel="100000" autoRev="1" fill="hold" grpId="3" nodeType="afterEffect">
                                  <p:stCondLst>
                                    <p:cond delay="0"/>
                                  </p:stCondLst>
                                  <p:childTnLst>
                                    <p:animScale>
                                      <p:cBhvr>
                                        <p:cTn id="82" dur="200" fill="hold"/>
                                        <p:tgtEl>
                                          <p:spTgt spid="192"/>
                                        </p:tgtEl>
                                      </p:cBhvr>
                                      <p:by x="80000" y="80000"/>
                                    </p:animScale>
                                  </p:childTnLst>
                                </p:cTn>
                              </p:par>
                            </p:childTnLst>
                          </p:cTn>
                        </p:par>
                        <p:par>
                          <p:cTn id="83" fill="hold">
                            <p:stCondLst>
                              <p:cond delay="1400"/>
                            </p:stCondLst>
                            <p:childTnLst>
                              <p:par>
                                <p:cTn id="84" presetID="10" presetClass="exit" presetSubtype="0" fill="hold" grpId="2" nodeType="afterEffect">
                                  <p:stCondLst>
                                    <p:cond delay="0"/>
                                  </p:stCondLst>
                                  <p:childTnLst>
                                    <p:animEffect transition="out" filter="fade">
                                      <p:cBhvr>
                                        <p:cTn id="85" dur="300"/>
                                        <p:tgtEl>
                                          <p:spTgt spid="192"/>
                                        </p:tgtEl>
                                      </p:cBhvr>
                                    </p:animEffect>
                                    <p:set>
                                      <p:cBhvr>
                                        <p:cTn id="86" dur="1" fill="hold">
                                          <p:stCondLst>
                                            <p:cond delay="299"/>
                                          </p:stCondLst>
                                        </p:cTn>
                                        <p:tgtEl>
                                          <p:spTgt spid="192"/>
                                        </p:tgtEl>
                                        <p:attrNameLst>
                                          <p:attrName>style.visibility</p:attrName>
                                        </p:attrNameLst>
                                      </p:cBhvr>
                                      <p:to>
                                        <p:strVal val="hidden"/>
                                      </p:to>
                                    </p:set>
                                  </p:childTnLst>
                                </p:cTn>
                              </p:par>
                            </p:childTnLst>
                          </p:cTn>
                        </p:par>
                        <p:par>
                          <p:cTn id="87" fill="hold">
                            <p:stCondLst>
                              <p:cond delay="1700"/>
                            </p:stCondLst>
                            <p:childTnLst>
                              <p:par>
                                <p:cTn id="88" presetID="22" presetClass="entr" presetSubtype="4" fill="hold" grpId="0" nodeType="afterEffect">
                                  <p:stCondLst>
                                    <p:cond delay="0"/>
                                  </p:stCondLst>
                                  <p:childTnLst>
                                    <p:set>
                                      <p:cBhvr>
                                        <p:cTn id="89" dur="1" fill="hold">
                                          <p:stCondLst>
                                            <p:cond delay="0"/>
                                          </p:stCondLst>
                                        </p:cTn>
                                        <p:tgtEl>
                                          <p:spTgt spid="185"/>
                                        </p:tgtEl>
                                        <p:attrNameLst>
                                          <p:attrName>style.visibility</p:attrName>
                                        </p:attrNameLst>
                                      </p:cBhvr>
                                      <p:to>
                                        <p:strVal val="visible"/>
                                      </p:to>
                                    </p:set>
                                    <p:animEffect transition="in" filter="wipe(down)">
                                      <p:cBhvr>
                                        <p:cTn id="90" dur="500"/>
                                        <p:tgtEl>
                                          <p:spTgt spid="185"/>
                                        </p:tgtEl>
                                      </p:cBhvr>
                                    </p:animEffect>
                                  </p:childTnLst>
                                </p:cTn>
                              </p:par>
                              <p:par>
                                <p:cTn id="91" presetID="22" presetClass="entr" presetSubtype="4" fill="hold" grpId="0" nodeType="withEffect">
                                  <p:stCondLst>
                                    <p:cond delay="100"/>
                                  </p:stCondLst>
                                  <p:childTnLst>
                                    <p:set>
                                      <p:cBhvr>
                                        <p:cTn id="92" dur="1" fill="hold">
                                          <p:stCondLst>
                                            <p:cond delay="0"/>
                                          </p:stCondLst>
                                        </p:cTn>
                                        <p:tgtEl>
                                          <p:spTgt spid="186"/>
                                        </p:tgtEl>
                                        <p:attrNameLst>
                                          <p:attrName>style.visibility</p:attrName>
                                        </p:attrNameLst>
                                      </p:cBhvr>
                                      <p:to>
                                        <p:strVal val="visible"/>
                                      </p:to>
                                    </p:set>
                                    <p:animEffect transition="in" filter="wipe(down)">
                                      <p:cBhvr>
                                        <p:cTn id="93" dur="500"/>
                                        <p:tgtEl>
                                          <p:spTgt spid="186"/>
                                        </p:tgtEl>
                                      </p:cBhvr>
                                    </p:animEffect>
                                  </p:childTnLst>
                                </p:cTn>
                              </p:par>
                              <p:par>
                                <p:cTn id="94" presetID="22" presetClass="entr" presetSubtype="4" fill="hold" grpId="0" nodeType="withEffect">
                                  <p:stCondLst>
                                    <p:cond delay="200"/>
                                  </p:stCondLst>
                                  <p:childTnLst>
                                    <p:set>
                                      <p:cBhvr>
                                        <p:cTn id="95" dur="1" fill="hold">
                                          <p:stCondLst>
                                            <p:cond delay="0"/>
                                          </p:stCondLst>
                                        </p:cTn>
                                        <p:tgtEl>
                                          <p:spTgt spid="189"/>
                                        </p:tgtEl>
                                        <p:attrNameLst>
                                          <p:attrName>style.visibility</p:attrName>
                                        </p:attrNameLst>
                                      </p:cBhvr>
                                      <p:to>
                                        <p:strVal val="visible"/>
                                      </p:to>
                                    </p:set>
                                    <p:animEffect transition="in" filter="wipe(down)">
                                      <p:cBhvr>
                                        <p:cTn id="96" dur="500"/>
                                        <p:tgtEl>
                                          <p:spTgt spid="189"/>
                                        </p:tgtEl>
                                      </p:cBhvr>
                                    </p:animEffect>
                                  </p:childTnLst>
                                </p:cTn>
                              </p:par>
                              <p:par>
                                <p:cTn id="97" presetID="22" presetClass="entr" presetSubtype="4" fill="hold" grpId="0" nodeType="withEffect">
                                  <p:stCondLst>
                                    <p:cond delay="300"/>
                                  </p:stCondLst>
                                  <p:childTnLst>
                                    <p:set>
                                      <p:cBhvr>
                                        <p:cTn id="98" dur="1" fill="hold">
                                          <p:stCondLst>
                                            <p:cond delay="0"/>
                                          </p:stCondLst>
                                        </p:cTn>
                                        <p:tgtEl>
                                          <p:spTgt spid="190"/>
                                        </p:tgtEl>
                                        <p:attrNameLst>
                                          <p:attrName>style.visibility</p:attrName>
                                        </p:attrNameLst>
                                      </p:cBhvr>
                                      <p:to>
                                        <p:strVal val="visible"/>
                                      </p:to>
                                    </p:set>
                                    <p:animEffect transition="in" filter="wipe(down)">
                                      <p:cBhvr>
                                        <p:cTn id="99" dur="500"/>
                                        <p:tgtEl>
                                          <p:spTgt spid="190"/>
                                        </p:tgtEl>
                                      </p:cBhvr>
                                    </p:animEffect>
                                  </p:childTnLst>
                                </p:cTn>
                              </p:par>
                              <p:par>
                                <p:cTn id="100" presetID="22" presetClass="entr" presetSubtype="4" fill="hold" grpId="0" nodeType="withEffect">
                                  <p:stCondLst>
                                    <p:cond delay="400"/>
                                  </p:stCondLst>
                                  <p:childTnLst>
                                    <p:set>
                                      <p:cBhvr>
                                        <p:cTn id="101" dur="1" fill="hold">
                                          <p:stCondLst>
                                            <p:cond delay="0"/>
                                          </p:stCondLst>
                                        </p:cTn>
                                        <p:tgtEl>
                                          <p:spTgt spid="195"/>
                                        </p:tgtEl>
                                        <p:attrNameLst>
                                          <p:attrName>style.visibility</p:attrName>
                                        </p:attrNameLst>
                                      </p:cBhvr>
                                      <p:to>
                                        <p:strVal val="visible"/>
                                      </p:to>
                                    </p:set>
                                    <p:animEffect transition="in" filter="wipe(down)">
                                      <p:cBhvr>
                                        <p:cTn id="102" dur="500"/>
                                        <p:tgtEl>
                                          <p:spTgt spid="195"/>
                                        </p:tgtEl>
                                      </p:cBhvr>
                                    </p:animEffect>
                                  </p:childTnLst>
                                </p:cTn>
                              </p:par>
                              <p:par>
                                <p:cTn id="103" presetID="22" presetClass="entr" presetSubtype="4" fill="hold" grpId="0" nodeType="withEffect">
                                  <p:stCondLst>
                                    <p:cond delay="500"/>
                                  </p:stCondLst>
                                  <p:childTnLst>
                                    <p:set>
                                      <p:cBhvr>
                                        <p:cTn id="104" dur="1" fill="hold">
                                          <p:stCondLst>
                                            <p:cond delay="0"/>
                                          </p:stCondLst>
                                        </p:cTn>
                                        <p:tgtEl>
                                          <p:spTgt spid="196"/>
                                        </p:tgtEl>
                                        <p:attrNameLst>
                                          <p:attrName>style.visibility</p:attrName>
                                        </p:attrNameLst>
                                      </p:cBhvr>
                                      <p:to>
                                        <p:strVal val="visible"/>
                                      </p:to>
                                    </p:set>
                                    <p:animEffect transition="in" filter="wipe(down)">
                                      <p:cBhvr>
                                        <p:cTn id="105" dur="500"/>
                                        <p:tgtEl>
                                          <p:spTgt spid="196"/>
                                        </p:tgtEl>
                                      </p:cBhvr>
                                    </p:animEffect>
                                  </p:childTnLst>
                                </p:cTn>
                              </p:par>
                              <p:par>
                                <p:cTn id="106" presetID="22" presetClass="entr" presetSubtype="4" fill="hold" grpId="0" nodeType="withEffect">
                                  <p:stCondLst>
                                    <p:cond delay="600"/>
                                  </p:stCondLst>
                                  <p:childTnLst>
                                    <p:set>
                                      <p:cBhvr>
                                        <p:cTn id="107" dur="1" fill="hold">
                                          <p:stCondLst>
                                            <p:cond delay="0"/>
                                          </p:stCondLst>
                                        </p:cTn>
                                        <p:tgtEl>
                                          <p:spTgt spid="198"/>
                                        </p:tgtEl>
                                        <p:attrNameLst>
                                          <p:attrName>style.visibility</p:attrName>
                                        </p:attrNameLst>
                                      </p:cBhvr>
                                      <p:to>
                                        <p:strVal val="visible"/>
                                      </p:to>
                                    </p:set>
                                    <p:animEffect transition="in" filter="wipe(down)">
                                      <p:cBhvr>
                                        <p:cTn id="108" dur="500"/>
                                        <p:tgtEl>
                                          <p:spTgt spid="198"/>
                                        </p:tgtEl>
                                      </p:cBhvr>
                                    </p:animEffect>
                                  </p:childTnLst>
                                </p:cTn>
                              </p:par>
                              <p:par>
                                <p:cTn id="109" presetID="22" presetClass="entr" presetSubtype="4" fill="hold" grpId="0" nodeType="withEffect">
                                  <p:stCondLst>
                                    <p:cond delay="700"/>
                                  </p:stCondLst>
                                  <p:childTnLst>
                                    <p:set>
                                      <p:cBhvr>
                                        <p:cTn id="110" dur="1" fill="hold">
                                          <p:stCondLst>
                                            <p:cond delay="0"/>
                                          </p:stCondLst>
                                        </p:cTn>
                                        <p:tgtEl>
                                          <p:spTgt spid="199"/>
                                        </p:tgtEl>
                                        <p:attrNameLst>
                                          <p:attrName>style.visibility</p:attrName>
                                        </p:attrNameLst>
                                      </p:cBhvr>
                                      <p:to>
                                        <p:strVal val="visible"/>
                                      </p:to>
                                    </p:set>
                                    <p:animEffect transition="in" filter="wipe(down)">
                                      <p:cBhvr>
                                        <p:cTn id="111" dur="500"/>
                                        <p:tgtEl>
                                          <p:spTgt spid="199"/>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0" nodeType="clickEffect">
                                  <p:stCondLst>
                                    <p:cond delay="0"/>
                                  </p:stCondLst>
                                  <p:childTnLst>
                                    <p:set>
                                      <p:cBhvr>
                                        <p:cTn id="115" dur="1" fill="hold">
                                          <p:stCondLst>
                                            <p:cond delay="0"/>
                                          </p:stCondLst>
                                        </p:cTn>
                                        <p:tgtEl>
                                          <p:spTgt spid="193"/>
                                        </p:tgtEl>
                                        <p:attrNameLst>
                                          <p:attrName>style.visibility</p:attrName>
                                        </p:attrNameLst>
                                      </p:cBhvr>
                                      <p:to>
                                        <p:strVal val="visible"/>
                                      </p:to>
                                    </p:set>
                                    <p:animEffect transition="in" filter="fade">
                                      <p:cBhvr>
                                        <p:cTn id="116" dur="500"/>
                                        <p:tgtEl>
                                          <p:spTgt spid="193"/>
                                        </p:tgtEl>
                                      </p:cBhvr>
                                    </p:animEffect>
                                  </p:childTnLst>
                                </p:cTn>
                              </p:par>
                              <p:par>
                                <p:cTn id="117" presetID="42" presetClass="path" presetSubtype="0" decel="100000" fill="hold" grpId="1" nodeType="withEffect">
                                  <p:stCondLst>
                                    <p:cond delay="0"/>
                                  </p:stCondLst>
                                  <p:childTnLst>
                                    <p:animMotion origin="layout" path="M 3.33333E-6 -1.11111E-6 L -0.13815 -0.13194 " pathEditMode="relative" rAng="0" ptsTypes="AA">
                                      <p:cBhvr>
                                        <p:cTn id="118" dur="1000" fill="hold"/>
                                        <p:tgtEl>
                                          <p:spTgt spid="193"/>
                                        </p:tgtEl>
                                        <p:attrNameLst>
                                          <p:attrName>ppt_x</p:attrName>
                                          <p:attrName>ppt_y</p:attrName>
                                        </p:attrNameLst>
                                      </p:cBhvr>
                                      <p:rCtr x="-6914" y="-6597"/>
                                    </p:animMotion>
                                  </p:childTnLst>
                                </p:cTn>
                              </p:par>
                            </p:childTnLst>
                          </p:cTn>
                        </p:par>
                        <p:par>
                          <p:cTn id="119" fill="hold">
                            <p:stCondLst>
                              <p:cond delay="1000"/>
                            </p:stCondLst>
                            <p:childTnLst>
                              <p:par>
                                <p:cTn id="120" presetID="6" presetClass="emph" presetSubtype="0" decel="100000" autoRev="1" fill="hold" grpId="3" nodeType="afterEffect">
                                  <p:stCondLst>
                                    <p:cond delay="0"/>
                                  </p:stCondLst>
                                  <p:childTnLst>
                                    <p:animScale>
                                      <p:cBhvr>
                                        <p:cTn id="121" dur="200" fill="hold"/>
                                        <p:tgtEl>
                                          <p:spTgt spid="193"/>
                                        </p:tgtEl>
                                      </p:cBhvr>
                                      <p:by x="80000" y="80000"/>
                                    </p:animScale>
                                  </p:childTnLst>
                                </p:cTn>
                              </p:par>
                            </p:childTnLst>
                          </p:cTn>
                        </p:par>
                        <p:par>
                          <p:cTn id="122" fill="hold">
                            <p:stCondLst>
                              <p:cond delay="1400"/>
                            </p:stCondLst>
                            <p:childTnLst>
                              <p:par>
                                <p:cTn id="123" presetID="10" presetClass="exit" presetSubtype="0" fill="hold" grpId="2" nodeType="afterEffect">
                                  <p:stCondLst>
                                    <p:cond delay="0"/>
                                  </p:stCondLst>
                                  <p:childTnLst>
                                    <p:animEffect transition="out" filter="fade">
                                      <p:cBhvr>
                                        <p:cTn id="124" dur="300"/>
                                        <p:tgtEl>
                                          <p:spTgt spid="193"/>
                                        </p:tgtEl>
                                      </p:cBhvr>
                                    </p:animEffect>
                                    <p:set>
                                      <p:cBhvr>
                                        <p:cTn id="125" dur="1" fill="hold">
                                          <p:stCondLst>
                                            <p:cond delay="299"/>
                                          </p:stCondLst>
                                        </p:cTn>
                                        <p:tgtEl>
                                          <p:spTgt spid="193"/>
                                        </p:tgtEl>
                                        <p:attrNameLst>
                                          <p:attrName>style.visibility</p:attrName>
                                        </p:attrNameLst>
                                      </p:cBhvr>
                                      <p:to>
                                        <p:strVal val="hidden"/>
                                      </p:to>
                                    </p:set>
                                  </p:childTnLst>
                                </p:cTn>
                              </p:par>
                            </p:childTnLst>
                          </p:cTn>
                        </p:par>
                        <p:par>
                          <p:cTn id="126" fill="hold">
                            <p:stCondLst>
                              <p:cond delay="1700"/>
                            </p:stCondLst>
                            <p:childTnLst>
                              <p:par>
                                <p:cTn id="127" presetID="10" presetClass="exit" presetSubtype="0" fill="hold" grpId="1" nodeType="afterEffect">
                                  <p:stCondLst>
                                    <p:cond delay="0"/>
                                  </p:stCondLst>
                                  <p:childTnLst>
                                    <p:animEffect transition="out" filter="fade">
                                      <p:cBhvr>
                                        <p:cTn id="128" dur="500"/>
                                        <p:tgtEl>
                                          <p:spTgt spid="185"/>
                                        </p:tgtEl>
                                      </p:cBhvr>
                                    </p:animEffect>
                                    <p:set>
                                      <p:cBhvr>
                                        <p:cTn id="129" dur="1" fill="hold">
                                          <p:stCondLst>
                                            <p:cond delay="499"/>
                                          </p:stCondLst>
                                        </p:cTn>
                                        <p:tgtEl>
                                          <p:spTgt spid="185"/>
                                        </p:tgtEl>
                                        <p:attrNameLst>
                                          <p:attrName>style.visibility</p:attrName>
                                        </p:attrNameLst>
                                      </p:cBhvr>
                                      <p:to>
                                        <p:strVal val="hidden"/>
                                      </p:to>
                                    </p:set>
                                  </p:childTnLst>
                                </p:cTn>
                              </p:par>
                              <p:par>
                                <p:cTn id="130" presetID="10" presetClass="exit" presetSubtype="0" fill="hold" grpId="1" nodeType="withEffect">
                                  <p:stCondLst>
                                    <p:cond delay="0"/>
                                  </p:stCondLst>
                                  <p:childTnLst>
                                    <p:animEffect transition="out" filter="fade">
                                      <p:cBhvr>
                                        <p:cTn id="131" dur="500"/>
                                        <p:tgtEl>
                                          <p:spTgt spid="186"/>
                                        </p:tgtEl>
                                      </p:cBhvr>
                                    </p:animEffect>
                                    <p:set>
                                      <p:cBhvr>
                                        <p:cTn id="132" dur="1" fill="hold">
                                          <p:stCondLst>
                                            <p:cond delay="499"/>
                                          </p:stCondLst>
                                        </p:cTn>
                                        <p:tgtEl>
                                          <p:spTgt spid="186"/>
                                        </p:tgtEl>
                                        <p:attrNameLst>
                                          <p:attrName>style.visibility</p:attrName>
                                        </p:attrNameLst>
                                      </p:cBhvr>
                                      <p:to>
                                        <p:strVal val="hidden"/>
                                      </p:to>
                                    </p:set>
                                  </p:childTnLst>
                                </p:cTn>
                              </p:par>
                              <p:par>
                                <p:cTn id="133" presetID="10" presetClass="exit" presetSubtype="0" fill="hold" grpId="1" nodeType="withEffect">
                                  <p:stCondLst>
                                    <p:cond delay="0"/>
                                  </p:stCondLst>
                                  <p:childTnLst>
                                    <p:animEffect transition="out" filter="fade">
                                      <p:cBhvr>
                                        <p:cTn id="134" dur="500"/>
                                        <p:tgtEl>
                                          <p:spTgt spid="189"/>
                                        </p:tgtEl>
                                      </p:cBhvr>
                                    </p:animEffect>
                                    <p:set>
                                      <p:cBhvr>
                                        <p:cTn id="135" dur="1" fill="hold">
                                          <p:stCondLst>
                                            <p:cond delay="499"/>
                                          </p:stCondLst>
                                        </p:cTn>
                                        <p:tgtEl>
                                          <p:spTgt spid="189"/>
                                        </p:tgtEl>
                                        <p:attrNameLst>
                                          <p:attrName>style.visibility</p:attrName>
                                        </p:attrNameLst>
                                      </p:cBhvr>
                                      <p:to>
                                        <p:strVal val="hidden"/>
                                      </p:to>
                                    </p:set>
                                  </p:childTnLst>
                                </p:cTn>
                              </p:par>
                              <p:par>
                                <p:cTn id="136" presetID="10" presetClass="exit" presetSubtype="0" fill="hold" grpId="2" nodeType="withEffect">
                                  <p:stCondLst>
                                    <p:cond delay="0"/>
                                  </p:stCondLst>
                                  <p:childTnLst>
                                    <p:animEffect transition="out" filter="fade">
                                      <p:cBhvr>
                                        <p:cTn id="137" dur="500"/>
                                        <p:tgtEl>
                                          <p:spTgt spid="185"/>
                                        </p:tgtEl>
                                      </p:cBhvr>
                                    </p:animEffect>
                                    <p:set>
                                      <p:cBhvr>
                                        <p:cTn id="138" dur="1" fill="hold">
                                          <p:stCondLst>
                                            <p:cond delay="499"/>
                                          </p:stCondLst>
                                        </p:cTn>
                                        <p:tgtEl>
                                          <p:spTgt spid="185"/>
                                        </p:tgtEl>
                                        <p:attrNameLst>
                                          <p:attrName>style.visibility</p:attrName>
                                        </p:attrNameLst>
                                      </p:cBhvr>
                                      <p:to>
                                        <p:strVal val="hidden"/>
                                      </p:to>
                                    </p:set>
                                  </p:childTnLst>
                                </p:cTn>
                              </p:par>
                              <p:par>
                                <p:cTn id="139" presetID="10" presetClass="exit" presetSubtype="0" fill="hold" grpId="2" nodeType="withEffect">
                                  <p:stCondLst>
                                    <p:cond delay="0"/>
                                  </p:stCondLst>
                                  <p:childTnLst>
                                    <p:animEffect transition="out" filter="fade">
                                      <p:cBhvr>
                                        <p:cTn id="140" dur="500"/>
                                        <p:tgtEl>
                                          <p:spTgt spid="186"/>
                                        </p:tgtEl>
                                      </p:cBhvr>
                                    </p:animEffect>
                                    <p:set>
                                      <p:cBhvr>
                                        <p:cTn id="141" dur="1" fill="hold">
                                          <p:stCondLst>
                                            <p:cond delay="499"/>
                                          </p:stCondLst>
                                        </p:cTn>
                                        <p:tgtEl>
                                          <p:spTgt spid="186"/>
                                        </p:tgtEl>
                                        <p:attrNameLst>
                                          <p:attrName>style.visibility</p:attrName>
                                        </p:attrNameLst>
                                      </p:cBhvr>
                                      <p:to>
                                        <p:strVal val="hidden"/>
                                      </p:to>
                                    </p:set>
                                  </p:childTnLst>
                                </p:cTn>
                              </p:par>
                              <p:par>
                                <p:cTn id="142" presetID="10" presetClass="exit" presetSubtype="0" fill="hold" grpId="2" nodeType="withEffect">
                                  <p:stCondLst>
                                    <p:cond delay="0"/>
                                  </p:stCondLst>
                                  <p:childTnLst>
                                    <p:animEffect transition="out" filter="fade">
                                      <p:cBhvr>
                                        <p:cTn id="143" dur="500"/>
                                        <p:tgtEl>
                                          <p:spTgt spid="189"/>
                                        </p:tgtEl>
                                      </p:cBhvr>
                                    </p:animEffect>
                                    <p:set>
                                      <p:cBhvr>
                                        <p:cTn id="144" dur="1" fill="hold">
                                          <p:stCondLst>
                                            <p:cond delay="499"/>
                                          </p:stCondLst>
                                        </p:cTn>
                                        <p:tgtEl>
                                          <p:spTgt spid="189"/>
                                        </p:tgtEl>
                                        <p:attrNameLst>
                                          <p:attrName>style.visibility</p:attrName>
                                        </p:attrNameLst>
                                      </p:cBhvr>
                                      <p:to>
                                        <p:strVal val="hidden"/>
                                      </p:to>
                                    </p:set>
                                  </p:childTnLst>
                                </p:cTn>
                              </p:par>
                              <p:par>
                                <p:cTn id="145" presetID="10" presetClass="exit" presetSubtype="0" fill="hold" grpId="2" nodeType="withEffect">
                                  <p:stCondLst>
                                    <p:cond delay="0"/>
                                  </p:stCondLst>
                                  <p:childTnLst>
                                    <p:animEffect transition="out" filter="fade">
                                      <p:cBhvr>
                                        <p:cTn id="146" dur="500"/>
                                        <p:tgtEl>
                                          <p:spTgt spid="190"/>
                                        </p:tgtEl>
                                      </p:cBhvr>
                                    </p:animEffect>
                                    <p:set>
                                      <p:cBhvr>
                                        <p:cTn id="147" dur="1" fill="hold">
                                          <p:stCondLst>
                                            <p:cond delay="499"/>
                                          </p:stCondLst>
                                        </p:cTn>
                                        <p:tgtEl>
                                          <p:spTgt spid="190"/>
                                        </p:tgtEl>
                                        <p:attrNameLst>
                                          <p:attrName>style.visibility</p:attrName>
                                        </p:attrNameLst>
                                      </p:cBhvr>
                                      <p:to>
                                        <p:strVal val="hidden"/>
                                      </p:to>
                                    </p:set>
                                  </p:childTnLst>
                                </p:cTn>
                              </p:par>
                              <p:par>
                                <p:cTn id="148" presetID="10" presetClass="exit" presetSubtype="0" fill="hold" grpId="1" nodeType="withEffect">
                                  <p:stCondLst>
                                    <p:cond delay="0"/>
                                  </p:stCondLst>
                                  <p:childTnLst>
                                    <p:animEffect transition="out" filter="fade">
                                      <p:cBhvr>
                                        <p:cTn id="149" dur="500"/>
                                        <p:tgtEl>
                                          <p:spTgt spid="190"/>
                                        </p:tgtEl>
                                      </p:cBhvr>
                                    </p:animEffect>
                                    <p:set>
                                      <p:cBhvr>
                                        <p:cTn id="150" dur="1" fill="hold">
                                          <p:stCondLst>
                                            <p:cond delay="499"/>
                                          </p:stCondLst>
                                        </p:cTn>
                                        <p:tgtEl>
                                          <p:spTgt spid="190"/>
                                        </p:tgtEl>
                                        <p:attrNameLst>
                                          <p:attrName>style.visibility</p:attrName>
                                        </p:attrNameLst>
                                      </p:cBhvr>
                                      <p:to>
                                        <p:strVal val="hidden"/>
                                      </p:to>
                                    </p:set>
                                  </p:childTnLst>
                                </p:cTn>
                              </p:par>
                              <p:par>
                                <p:cTn id="151" presetID="10" presetClass="exit" presetSubtype="0" fill="hold" grpId="3" nodeType="withEffect">
                                  <p:stCondLst>
                                    <p:cond delay="0"/>
                                  </p:stCondLst>
                                  <p:childTnLst>
                                    <p:animEffect transition="out" filter="fade">
                                      <p:cBhvr>
                                        <p:cTn id="152" dur="500"/>
                                        <p:tgtEl>
                                          <p:spTgt spid="195"/>
                                        </p:tgtEl>
                                      </p:cBhvr>
                                    </p:animEffect>
                                    <p:set>
                                      <p:cBhvr>
                                        <p:cTn id="153" dur="1" fill="hold">
                                          <p:stCondLst>
                                            <p:cond delay="499"/>
                                          </p:stCondLst>
                                        </p:cTn>
                                        <p:tgtEl>
                                          <p:spTgt spid="195"/>
                                        </p:tgtEl>
                                        <p:attrNameLst>
                                          <p:attrName>style.visibility</p:attrName>
                                        </p:attrNameLst>
                                      </p:cBhvr>
                                      <p:to>
                                        <p:strVal val="hidden"/>
                                      </p:to>
                                    </p:set>
                                  </p:childTnLst>
                                </p:cTn>
                              </p:par>
                              <p:par>
                                <p:cTn id="154" presetID="10" presetClass="exit" presetSubtype="0" fill="hold" grpId="1" nodeType="withEffect">
                                  <p:stCondLst>
                                    <p:cond delay="0"/>
                                  </p:stCondLst>
                                  <p:childTnLst>
                                    <p:animEffect transition="out" filter="fade">
                                      <p:cBhvr>
                                        <p:cTn id="155" dur="500"/>
                                        <p:tgtEl>
                                          <p:spTgt spid="196"/>
                                        </p:tgtEl>
                                      </p:cBhvr>
                                    </p:animEffect>
                                    <p:set>
                                      <p:cBhvr>
                                        <p:cTn id="156" dur="1" fill="hold">
                                          <p:stCondLst>
                                            <p:cond delay="499"/>
                                          </p:stCondLst>
                                        </p:cTn>
                                        <p:tgtEl>
                                          <p:spTgt spid="196"/>
                                        </p:tgtEl>
                                        <p:attrNameLst>
                                          <p:attrName>style.visibility</p:attrName>
                                        </p:attrNameLst>
                                      </p:cBhvr>
                                      <p:to>
                                        <p:strVal val="hidden"/>
                                      </p:to>
                                    </p:set>
                                  </p:childTnLst>
                                </p:cTn>
                              </p:par>
                              <p:par>
                                <p:cTn id="157" presetID="10" presetClass="exit" presetSubtype="0" fill="hold" grpId="1" nodeType="withEffect">
                                  <p:stCondLst>
                                    <p:cond delay="0"/>
                                  </p:stCondLst>
                                  <p:childTnLst>
                                    <p:animEffect transition="out" filter="fade">
                                      <p:cBhvr>
                                        <p:cTn id="158" dur="500"/>
                                        <p:tgtEl>
                                          <p:spTgt spid="199"/>
                                        </p:tgtEl>
                                      </p:cBhvr>
                                    </p:animEffect>
                                    <p:set>
                                      <p:cBhvr>
                                        <p:cTn id="159" dur="1" fill="hold">
                                          <p:stCondLst>
                                            <p:cond delay="499"/>
                                          </p:stCondLst>
                                        </p:cTn>
                                        <p:tgtEl>
                                          <p:spTgt spid="199"/>
                                        </p:tgtEl>
                                        <p:attrNameLst>
                                          <p:attrName>style.visibility</p:attrName>
                                        </p:attrNameLst>
                                      </p:cBhvr>
                                      <p:to>
                                        <p:strVal val="hidden"/>
                                      </p:to>
                                    </p:set>
                                  </p:childTnLst>
                                </p:cTn>
                              </p:par>
                              <p:par>
                                <p:cTn id="160" presetID="10" presetClass="exit" presetSubtype="0" fill="hold" grpId="3" nodeType="withEffect">
                                  <p:stCondLst>
                                    <p:cond delay="0"/>
                                  </p:stCondLst>
                                  <p:childTnLst>
                                    <p:animEffect transition="out" filter="fade">
                                      <p:cBhvr>
                                        <p:cTn id="161" dur="500"/>
                                        <p:tgtEl>
                                          <p:spTgt spid="198"/>
                                        </p:tgtEl>
                                      </p:cBhvr>
                                    </p:animEffect>
                                    <p:set>
                                      <p:cBhvr>
                                        <p:cTn id="162" dur="1" fill="hold">
                                          <p:stCondLst>
                                            <p:cond delay="499"/>
                                          </p:stCondLst>
                                        </p:cTn>
                                        <p:tgtEl>
                                          <p:spTgt spid="198"/>
                                        </p:tgtEl>
                                        <p:attrNameLst>
                                          <p:attrName>style.visibility</p:attrName>
                                        </p:attrNameLst>
                                      </p:cBhvr>
                                      <p:to>
                                        <p:strVal val="hidden"/>
                                      </p:to>
                                    </p:set>
                                  </p:childTnLst>
                                </p:cTn>
                              </p:par>
                              <p:par>
                                <p:cTn id="163" presetID="22" presetClass="entr" presetSubtype="4" fill="hold" grpId="0" nodeType="withEffect">
                                  <p:stCondLst>
                                    <p:cond delay="200"/>
                                  </p:stCondLst>
                                  <p:childTnLst>
                                    <p:set>
                                      <p:cBhvr>
                                        <p:cTn id="164" dur="1" fill="hold">
                                          <p:stCondLst>
                                            <p:cond delay="0"/>
                                          </p:stCondLst>
                                        </p:cTn>
                                        <p:tgtEl>
                                          <p:spTgt spid="255"/>
                                        </p:tgtEl>
                                        <p:attrNameLst>
                                          <p:attrName>style.visibility</p:attrName>
                                        </p:attrNameLst>
                                      </p:cBhvr>
                                      <p:to>
                                        <p:strVal val="visible"/>
                                      </p:to>
                                    </p:set>
                                    <p:animEffect transition="in" filter="wipe(down)">
                                      <p:cBhvr>
                                        <p:cTn id="165" dur="500"/>
                                        <p:tgtEl>
                                          <p:spTgt spid="255"/>
                                        </p:tgtEl>
                                      </p:cBhvr>
                                    </p:animEffect>
                                  </p:childTnLst>
                                </p:cTn>
                              </p:par>
                              <p:par>
                                <p:cTn id="166" presetID="22" presetClass="entr" presetSubtype="4" fill="hold" grpId="0" nodeType="withEffect">
                                  <p:stCondLst>
                                    <p:cond delay="300"/>
                                  </p:stCondLst>
                                  <p:childTnLst>
                                    <p:set>
                                      <p:cBhvr>
                                        <p:cTn id="167" dur="1" fill="hold">
                                          <p:stCondLst>
                                            <p:cond delay="0"/>
                                          </p:stCondLst>
                                        </p:cTn>
                                        <p:tgtEl>
                                          <p:spTgt spid="256"/>
                                        </p:tgtEl>
                                        <p:attrNameLst>
                                          <p:attrName>style.visibility</p:attrName>
                                        </p:attrNameLst>
                                      </p:cBhvr>
                                      <p:to>
                                        <p:strVal val="visible"/>
                                      </p:to>
                                    </p:set>
                                    <p:animEffect transition="in" filter="wipe(down)">
                                      <p:cBhvr>
                                        <p:cTn id="168" dur="500"/>
                                        <p:tgtEl>
                                          <p:spTgt spid="256"/>
                                        </p:tgtEl>
                                      </p:cBhvr>
                                    </p:animEffect>
                                  </p:childTnLst>
                                </p:cTn>
                              </p:par>
                              <p:par>
                                <p:cTn id="169" presetID="22" presetClass="entr" presetSubtype="4" fill="hold" grpId="0" nodeType="withEffect">
                                  <p:stCondLst>
                                    <p:cond delay="400"/>
                                  </p:stCondLst>
                                  <p:childTnLst>
                                    <p:set>
                                      <p:cBhvr>
                                        <p:cTn id="170" dur="1" fill="hold">
                                          <p:stCondLst>
                                            <p:cond delay="0"/>
                                          </p:stCondLst>
                                        </p:cTn>
                                        <p:tgtEl>
                                          <p:spTgt spid="252"/>
                                        </p:tgtEl>
                                        <p:attrNameLst>
                                          <p:attrName>style.visibility</p:attrName>
                                        </p:attrNameLst>
                                      </p:cBhvr>
                                      <p:to>
                                        <p:strVal val="visible"/>
                                      </p:to>
                                    </p:set>
                                    <p:animEffect transition="in" filter="wipe(down)">
                                      <p:cBhvr>
                                        <p:cTn id="171" dur="500"/>
                                        <p:tgtEl>
                                          <p:spTgt spid="252"/>
                                        </p:tgtEl>
                                      </p:cBhvr>
                                    </p:animEffect>
                                  </p:childTnLst>
                                </p:cTn>
                              </p:par>
                              <p:par>
                                <p:cTn id="172" presetID="22" presetClass="entr" presetSubtype="4" fill="hold" grpId="0" nodeType="withEffect">
                                  <p:stCondLst>
                                    <p:cond delay="500"/>
                                  </p:stCondLst>
                                  <p:childTnLst>
                                    <p:set>
                                      <p:cBhvr>
                                        <p:cTn id="173" dur="1" fill="hold">
                                          <p:stCondLst>
                                            <p:cond delay="0"/>
                                          </p:stCondLst>
                                        </p:cTn>
                                        <p:tgtEl>
                                          <p:spTgt spid="254"/>
                                        </p:tgtEl>
                                        <p:attrNameLst>
                                          <p:attrName>style.visibility</p:attrName>
                                        </p:attrNameLst>
                                      </p:cBhvr>
                                      <p:to>
                                        <p:strVal val="visible"/>
                                      </p:to>
                                    </p:set>
                                    <p:animEffect transition="in" filter="wipe(down)">
                                      <p:cBhvr>
                                        <p:cTn id="174" dur="500"/>
                                        <p:tgtEl>
                                          <p:spTgt spid="254"/>
                                        </p:tgtEl>
                                      </p:cBhvr>
                                    </p:animEffect>
                                  </p:childTnLst>
                                </p:cTn>
                              </p:par>
                              <p:par>
                                <p:cTn id="175" presetID="22" presetClass="entr" presetSubtype="4" fill="hold" grpId="0" nodeType="withEffect">
                                  <p:stCondLst>
                                    <p:cond delay="600"/>
                                  </p:stCondLst>
                                  <p:childTnLst>
                                    <p:set>
                                      <p:cBhvr>
                                        <p:cTn id="176" dur="1" fill="hold">
                                          <p:stCondLst>
                                            <p:cond delay="0"/>
                                          </p:stCondLst>
                                        </p:cTn>
                                        <p:tgtEl>
                                          <p:spTgt spid="259"/>
                                        </p:tgtEl>
                                        <p:attrNameLst>
                                          <p:attrName>style.visibility</p:attrName>
                                        </p:attrNameLst>
                                      </p:cBhvr>
                                      <p:to>
                                        <p:strVal val="visible"/>
                                      </p:to>
                                    </p:set>
                                    <p:animEffect transition="in" filter="wipe(down)">
                                      <p:cBhvr>
                                        <p:cTn id="177" dur="500"/>
                                        <p:tgtEl>
                                          <p:spTgt spid="259"/>
                                        </p:tgtEl>
                                      </p:cBhvr>
                                    </p:animEffect>
                                  </p:childTnLst>
                                </p:cTn>
                              </p:par>
                              <p:par>
                                <p:cTn id="178" presetID="22" presetClass="entr" presetSubtype="4" fill="hold" grpId="0" nodeType="withEffect">
                                  <p:stCondLst>
                                    <p:cond delay="700"/>
                                  </p:stCondLst>
                                  <p:childTnLst>
                                    <p:set>
                                      <p:cBhvr>
                                        <p:cTn id="179" dur="1" fill="hold">
                                          <p:stCondLst>
                                            <p:cond delay="0"/>
                                          </p:stCondLst>
                                        </p:cTn>
                                        <p:tgtEl>
                                          <p:spTgt spid="260"/>
                                        </p:tgtEl>
                                        <p:attrNameLst>
                                          <p:attrName>style.visibility</p:attrName>
                                        </p:attrNameLst>
                                      </p:cBhvr>
                                      <p:to>
                                        <p:strVal val="visible"/>
                                      </p:to>
                                    </p:set>
                                    <p:animEffect transition="in" filter="wipe(down)">
                                      <p:cBhvr>
                                        <p:cTn id="180" dur="500"/>
                                        <p:tgtEl>
                                          <p:spTgt spid="260"/>
                                        </p:tgtEl>
                                      </p:cBhvr>
                                    </p:animEffect>
                                  </p:childTnLst>
                                </p:cTn>
                              </p:par>
                              <p:par>
                                <p:cTn id="181" presetID="22" presetClass="entr" presetSubtype="4" fill="hold" grpId="0" nodeType="withEffect">
                                  <p:stCondLst>
                                    <p:cond delay="800"/>
                                  </p:stCondLst>
                                  <p:childTnLst>
                                    <p:set>
                                      <p:cBhvr>
                                        <p:cTn id="182" dur="1" fill="hold">
                                          <p:stCondLst>
                                            <p:cond delay="0"/>
                                          </p:stCondLst>
                                        </p:cTn>
                                        <p:tgtEl>
                                          <p:spTgt spid="257"/>
                                        </p:tgtEl>
                                        <p:attrNameLst>
                                          <p:attrName>style.visibility</p:attrName>
                                        </p:attrNameLst>
                                      </p:cBhvr>
                                      <p:to>
                                        <p:strVal val="visible"/>
                                      </p:to>
                                    </p:set>
                                    <p:animEffect transition="in" filter="wipe(down)">
                                      <p:cBhvr>
                                        <p:cTn id="183" dur="500"/>
                                        <p:tgtEl>
                                          <p:spTgt spid="257"/>
                                        </p:tgtEl>
                                      </p:cBhvr>
                                    </p:animEffect>
                                  </p:childTnLst>
                                </p:cTn>
                              </p:par>
                              <p:par>
                                <p:cTn id="184" presetID="22" presetClass="entr" presetSubtype="4" fill="hold" grpId="0" nodeType="withEffect">
                                  <p:stCondLst>
                                    <p:cond delay="900"/>
                                  </p:stCondLst>
                                  <p:childTnLst>
                                    <p:set>
                                      <p:cBhvr>
                                        <p:cTn id="185" dur="1" fill="hold">
                                          <p:stCondLst>
                                            <p:cond delay="0"/>
                                          </p:stCondLst>
                                        </p:cTn>
                                        <p:tgtEl>
                                          <p:spTgt spid="258"/>
                                        </p:tgtEl>
                                        <p:attrNameLst>
                                          <p:attrName>style.visibility</p:attrName>
                                        </p:attrNameLst>
                                      </p:cBhvr>
                                      <p:to>
                                        <p:strVal val="visible"/>
                                      </p:to>
                                    </p:set>
                                    <p:animEffect transition="in" filter="wipe(down)">
                                      <p:cBhvr>
                                        <p:cTn id="186" dur="500"/>
                                        <p:tgtEl>
                                          <p:spTgt spid="258"/>
                                        </p:tgtEl>
                                      </p:cBhvr>
                                    </p:animEffect>
                                  </p:childTnLst>
                                </p:cTn>
                              </p:par>
                            </p:childTnLst>
                          </p:cTn>
                        </p:par>
                        <p:par>
                          <p:cTn id="187" fill="hold">
                            <p:stCondLst>
                              <p:cond delay="3100"/>
                            </p:stCondLst>
                            <p:childTnLst>
                              <p:par>
                                <p:cTn id="188" presetID="10" presetClass="entr" presetSubtype="0" fill="hold" grpId="0" nodeType="afterEffect">
                                  <p:stCondLst>
                                    <p:cond delay="0"/>
                                  </p:stCondLst>
                                  <p:childTnLst>
                                    <p:set>
                                      <p:cBhvr>
                                        <p:cTn id="189" dur="1" fill="hold">
                                          <p:stCondLst>
                                            <p:cond delay="0"/>
                                          </p:stCondLst>
                                        </p:cTn>
                                        <p:tgtEl>
                                          <p:spTgt spid="203"/>
                                        </p:tgtEl>
                                        <p:attrNameLst>
                                          <p:attrName>style.visibility</p:attrName>
                                        </p:attrNameLst>
                                      </p:cBhvr>
                                      <p:to>
                                        <p:strVal val="visible"/>
                                      </p:to>
                                    </p:set>
                                    <p:animEffect transition="in" filter="fade">
                                      <p:cBhvr>
                                        <p:cTn id="190" dur="500"/>
                                        <p:tgtEl>
                                          <p:spTgt spid="203"/>
                                        </p:tgtEl>
                                      </p:cBhvr>
                                    </p:animEffect>
                                  </p:childTnLst>
                                </p:cTn>
                              </p:par>
                            </p:childTnLst>
                          </p:cTn>
                        </p:par>
                      </p:childTnLst>
                    </p:cTn>
                  </p:par>
                  <p:par>
                    <p:cTn id="191" fill="hold">
                      <p:stCondLst>
                        <p:cond delay="indefinite"/>
                      </p:stCondLst>
                      <p:childTnLst>
                        <p:par>
                          <p:cTn id="192" fill="hold">
                            <p:stCondLst>
                              <p:cond delay="0"/>
                            </p:stCondLst>
                            <p:childTnLst>
                              <p:par>
                                <p:cTn id="193" presetID="10" presetClass="exit" presetSubtype="0" fill="hold" grpId="1" nodeType="clickEffect">
                                  <p:stCondLst>
                                    <p:cond delay="0"/>
                                  </p:stCondLst>
                                  <p:childTnLst>
                                    <p:animEffect transition="out" filter="fade">
                                      <p:cBhvr>
                                        <p:cTn id="194" dur="500"/>
                                        <p:tgtEl>
                                          <p:spTgt spid="142"/>
                                        </p:tgtEl>
                                      </p:cBhvr>
                                    </p:animEffect>
                                    <p:set>
                                      <p:cBhvr>
                                        <p:cTn id="195" dur="1" fill="hold">
                                          <p:stCondLst>
                                            <p:cond delay="499"/>
                                          </p:stCondLst>
                                        </p:cTn>
                                        <p:tgtEl>
                                          <p:spTgt spid="142"/>
                                        </p:tgtEl>
                                        <p:attrNameLst>
                                          <p:attrName>style.visibility</p:attrName>
                                        </p:attrNameLst>
                                      </p:cBhvr>
                                      <p:to>
                                        <p:strVal val="hidden"/>
                                      </p:to>
                                    </p:set>
                                  </p:childTnLst>
                                </p:cTn>
                              </p:par>
                            </p:childTnLst>
                          </p:cTn>
                        </p:par>
                        <p:par>
                          <p:cTn id="196" fill="hold">
                            <p:stCondLst>
                              <p:cond delay="500"/>
                            </p:stCondLst>
                            <p:childTnLst>
                              <p:par>
                                <p:cTn id="197" presetID="10" presetClass="entr" presetSubtype="0" fill="hold" grpId="0" nodeType="afterEffect">
                                  <p:stCondLst>
                                    <p:cond delay="0"/>
                                  </p:stCondLst>
                                  <p:childTnLst>
                                    <p:set>
                                      <p:cBhvr>
                                        <p:cTn id="198" dur="1" fill="hold">
                                          <p:stCondLst>
                                            <p:cond delay="0"/>
                                          </p:stCondLst>
                                        </p:cTn>
                                        <p:tgtEl>
                                          <p:spTgt spid="143"/>
                                        </p:tgtEl>
                                        <p:attrNameLst>
                                          <p:attrName>style.visibility</p:attrName>
                                        </p:attrNameLst>
                                      </p:cBhvr>
                                      <p:to>
                                        <p:strVal val="visible"/>
                                      </p:to>
                                    </p:set>
                                    <p:animEffect transition="in" filter="fade">
                                      <p:cBhvr>
                                        <p:cTn id="199" dur="500"/>
                                        <p:tgtEl>
                                          <p:spTgt spid="143"/>
                                        </p:tgtEl>
                                      </p:cBhvr>
                                    </p:animEffect>
                                  </p:childTnLst>
                                </p:cTn>
                              </p:par>
                              <p:par>
                                <p:cTn id="200" presetID="10" presetClass="exit" presetSubtype="0" fill="hold" grpId="1" nodeType="withEffect">
                                  <p:stCondLst>
                                    <p:cond delay="0"/>
                                  </p:stCondLst>
                                  <p:childTnLst>
                                    <p:animEffect transition="out" filter="fade">
                                      <p:cBhvr>
                                        <p:cTn id="201" dur="500"/>
                                        <p:tgtEl>
                                          <p:spTgt spid="177"/>
                                        </p:tgtEl>
                                      </p:cBhvr>
                                    </p:animEffect>
                                    <p:set>
                                      <p:cBhvr>
                                        <p:cTn id="202" dur="1" fill="hold">
                                          <p:stCondLst>
                                            <p:cond delay="499"/>
                                          </p:stCondLst>
                                        </p:cTn>
                                        <p:tgtEl>
                                          <p:spTgt spid="177"/>
                                        </p:tgtEl>
                                        <p:attrNameLst>
                                          <p:attrName>style.visibility</p:attrName>
                                        </p:attrNameLst>
                                      </p:cBhvr>
                                      <p:to>
                                        <p:strVal val="hidden"/>
                                      </p:to>
                                    </p:set>
                                  </p:childTnLst>
                                </p:cTn>
                              </p:par>
                              <p:par>
                                <p:cTn id="203" presetID="10" presetClass="exit" presetSubtype="0" fill="hold" grpId="1" nodeType="withEffect">
                                  <p:stCondLst>
                                    <p:cond delay="0"/>
                                  </p:stCondLst>
                                  <p:childTnLst>
                                    <p:animEffect transition="out" filter="fade">
                                      <p:cBhvr>
                                        <p:cTn id="204" dur="500"/>
                                        <p:tgtEl>
                                          <p:spTgt spid="20"/>
                                        </p:tgtEl>
                                      </p:cBhvr>
                                    </p:animEffect>
                                    <p:set>
                                      <p:cBhvr>
                                        <p:cTn id="205" dur="1" fill="hold">
                                          <p:stCondLst>
                                            <p:cond delay="499"/>
                                          </p:stCondLst>
                                        </p:cTn>
                                        <p:tgtEl>
                                          <p:spTgt spid="20"/>
                                        </p:tgtEl>
                                        <p:attrNameLst>
                                          <p:attrName>style.visibility</p:attrName>
                                        </p:attrNameLst>
                                      </p:cBhvr>
                                      <p:to>
                                        <p:strVal val="hidden"/>
                                      </p:to>
                                    </p:set>
                                  </p:childTnLst>
                                </p:cTn>
                              </p:par>
                              <p:par>
                                <p:cTn id="206" presetID="10" presetClass="exit" presetSubtype="0" fill="hold" grpId="1" nodeType="withEffect">
                                  <p:stCondLst>
                                    <p:cond delay="0"/>
                                  </p:stCondLst>
                                  <p:childTnLst>
                                    <p:animEffect transition="out" filter="fade">
                                      <p:cBhvr>
                                        <p:cTn id="207" dur="500"/>
                                        <p:tgtEl>
                                          <p:spTgt spid="194"/>
                                        </p:tgtEl>
                                      </p:cBhvr>
                                    </p:animEffect>
                                    <p:set>
                                      <p:cBhvr>
                                        <p:cTn id="208" dur="1" fill="hold">
                                          <p:stCondLst>
                                            <p:cond delay="499"/>
                                          </p:stCondLst>
                                        </p:cTn>
                                        <p:tgtEl>
                                          <p:spTgt spid="194"/>
                                        </p:tgtEl>
                                        <p:attrNameLst>
                                          <p:attrName>style.visibility</p:attrName>
                                        </p:attrNameLst>
                                      </p:cBhvr>
                                      <p:to>
                                        <p:strVal val="hidden"/>
                                      </p:to>
                                    </p:set>
                                  </p:childTnLst>
                                </p:cTn>
                              </p:par>
                            </p:childTnLst>
                          </p:cTn>
                        </p:par>
                        <p:par>
                          <p:cTn id="209" fill="hold">
                            <p:stCondLst>
                              <p:cond delay="1000"/>
                            </p:stCondLst>
                            <p:childTnLst>
                              <p:par>
                                <p:cTn id="210" presetID="10" presetClass="entr" presetSubtype="0" fill="hold" grpId="0" nodeType="afterEffect">
                                  <p:stCondLst>
                                    <p:cond delay="0"/>
                                  </p:stCondLst>
                                  <p:childTnLst>
                                    <p:set>
                                      <p:cBhvr>
                                        <p:cTn id="211" dur="1" fill="hold">
                                          <p:stCondLst>
                                            <p:cond delay="0"/>
                                          </p:stCondLst>
                                        </p:cTn>
                                        <p:tgtEl>
                                          <p:spTgt spid="201"/>
                                        </p:tgtEl>
                                        <p:attrNameLst>
                                          <p:attrName>style.visibility</p:attrName>
                                        </p:attrNameLst>
                                      </p:cBhvr>
                                      <p:to>
                                        <p:strVal val="visible"/>
                                      </p:to>
                                    </p:set>
                                    <p:animEffect transition="in" filter="fade">
                                      <p:cBhvr>
                                        <p:cTn id="212" dur="500"/>
                                        <p:tgtEl>
                                          <p:spTgt spid="201"/>
                                        </p:tgtEl>
                                      </p:cBhvr>
                                    </p:animEffect>
                                  </p:childTnLst>
                                </p:cTn>
                              </p:par>
                              <p:par>
                                <p:cTn id="213" presetID="10" presetClass="exit" presetSubtype="0" fill="hold" nodeType="withEffect">
                                  <p:stCondLst>
                                    <p:cond delay="0"/>
                                  </p:stCondLst>
                                  <p:childTnLst>
                                    <p:animEffect transition="out" filter="fade">
                                      <p:cBhvr>
                                        <p:cTn id="214" dur="500"/>
                                        <p:tgtEl>
                                          <p:spTgt spid="10"/>
                                        </p:tgtEl>
                                      </p:cBhvr>
                                    </p:animEffect>
                                    <p:set>
                                      <p:cBhvr>
                                        <p:cTn id="215" dur="1" fill="hold">
                                          <p:stCondLst>
                                            <p:cond delay="499"/>
                                          </p:stCondLst>
                                        </p:cTn>
                                        <p:tgtEl>
                                          <p:spTgt spid="10"/>
                                        </p:tgtEl>
                                        <p:attrNameLst>
                                          <p:attrName>style.visibility</p:attrName>
                                        </p:attrNameLst>
                                      </p:cBhvr>
                                      <p:to>
                                        <p:strVal val="hidden"/>
                                      </p:to>
                                    </p:set>
                                  </p:childTnLst>
                                </p:cTn>
                              </p:par>
                              <p:par>
                                <p:cTn id="216" presetID="10" presetClass="exit" presetSubtype="0" fill="hold" grpId="1" nodeType="withEffect">
                                  <p:stCondLst>
                                    <p:cond delay="0"/>
                                  </p:stCondLst>
                                  <p:childTnLst>
                                    <p:animEffect transition="out" filter="fade">
                                      <p:cBhvr>
                                        <p:cTn id="217" dur="500"/>
                                        <p:tgtEl>
                                          <p:spTgt spid="168"/>
                                        </p:tgtEl>
                                      </p:cBhvr>
                                    </p:animEffect>
                                    <p:set>
                                      <p:cBhvr>
                                        <p:cTn id="218" dur="1" fill="hold">
                                          <p:stCondLst>
                                            <p:cond delay="499"/>
                                          </p:stCondLst>
                                        </p:cTn>
                                        <p:tgtEl>
                                          <p:spTgt spid="168"/>
                                        </p:tgtEl>
                                        <p:attrNameLst>
                                          <p:attrName>style.visibility</p:attrName>
                                        </p:attrNameLst>
                                      </p:cBhvr>
                                      <p:to>
                                        <p:strVal val="hidden"/>
                                      </p:to>
                                    </p:set>
                                  </p:childTnLst>
                                </p:cTn>
                              </p:par>
                              <p:par>
                                <p:cTn id="219" presetID="10" presetClass="exit" presetSubtype="0" fill="hold" grpId="1" nodeType="withEffect">
                                  <p:stCondLst>
                                    <p:cond delay="0"/>
                                  </p:stCondLst>
                                  <p:childTnLst>
                                    <p:animEffect transition="out" filter="fade">
                                      <p:cBhvr>
                                        <p:cTn id="220" dur="500"/>
                                        <p:tgtEl>
                                          <p:spTgt spid="180"/>
                                        </p:tgtEl>
                                      </p:cBhvr>
                                    </p:animEffect>
                                    <p:set>
                                      <p:cBhvr>
                                        <p:cTn id="221" dur="1" fill="hold">
                                          <p:stCondLst>
                                            <p:cond delay="499"/>
                                          </p:stCondLst>
                                        </p:cTn>
                                        <p:tgtEl>
                                          <p:spTgt spid="180"/>
                                        </p:tgtEl>
                                        <p:attrNameLst>
                                          <p:attrName>style.visibility</p:attrName>
                                        </p:attrNameLst>
                                      </p:cBhvr>
                                      <p:to>
                                        <p:strVal val="hidden"/>
                                      </p:to>
                                    </p:set>
                                  </p:childTnLst>
                                </p:cTn>
                              </p:par>
                              <p:par>
                                <p:cTn id="222" presetID="10" presetClass="exit" presetSubtype="0" fill="hold" grpId="1" nodeType="withEffect">
                                  <p:stCondLst>
                                    <p:cond delay="0"/>
                                  </p:stCondLst>
                                  <p:childTnLst>
                                    <p:animEffect transition="out" filter="fade">
                                      <p:cBhvr>
                                        <p:cTn id="223" dur="500"/>
                                        <p:tgtEl>
                                          <p:spTgt spid="184"/>
                                        </p:tgtEl>
                                      </p:cBhvr>
                                    </p:animEffect>
                                    <p:set>
                                      <p:cBhvr>
                                        <p:cTn id="224" dur="1" fill="hold">
                                          <p:stCondLst>
                                            <p:cond delay="499"/>
                                          </p:stCondLst>
                                        </p:cTn>
                                        <p:tgtEl>
                                          <p:spTgt spid="184"/>
                                        </p:tgtEl>
                                        <p:attrNameLst>
                                          <p:attrName>style.visibility</p:attrName>
                                        </p:attrNameLst>
                                      </p:cBhvr>
                                      <p:to>
                                        <p:strVal val="hidden"/>
                                      </p:to>
                                    </p:set>
                                  </p:childTnLst>
                                </p:cTn>
                              </p:par>
                              <p:par>
                                <p:cTn id="225" presetID="10" presetClass="exit" presetSubtype="0" fill="hold" grpId="4" nodeType="withEffect">
                                  <p:stCondLst>
                                    <p:cond delay="0"/>
                                  </p:stCondLst>
                                  <p:childTnLst>
                                    <p:animEffect transition="out" filter="fade">
                                      <p:cBhvr>
                                        <p:cTn id="226" dur="500"/>
                                        <p:tgtEl>
                                          <p:spTgt spid="192"/>
                                        </p:tgtEl>
                                      </p:cBhvr>
                                    </p:animEffect>
                                    <p:set>
                                      <p:cBhvr>
                                        <p:cTn id="227" dur="1" fill="hold">
                                          <p:stCondLst>
                                            <p:cond delay="499"/>
                                          </p:stCondLst>
                                        </p:cTn>
                                        <p:tgtEl>
                                          <p:spTgt spid="192"/>
                                        </p:tgtEl>
                                        <p:attrNameLst>
                                          <p:attrName>style.visibility</p:attrName>
                                        </p:attrNameLst>
                                      </p:cBhvr>
                                      <p:to>
                                        <p:strVal val="hidden"/>
                                      </p:to>
                                    </p:set>
                                  </p:childTnLst>
                                </p:cTn>
                              </p:par>
                              <p:par>
                                <p:cTn id="228" presetID="10" presetClass="exit" presetSubtype="0" fill="hold" grpId="2" nodeType="withEffect">
                                  <p:stCondLst>
                                    <p:cond delay="0"/>
                                  </p:stCondLst>
                                  <p:childTnLst>
                                    <p:animEffect transition="out" filter="fade">
                                      <p:cBhvr>
                                        <p:cTn id="229" dur="500"/>
                                        <p:tgtEl>
                                          <p:spTgt spid="257"/>
                                        </p:tgtEl>
                                      </p:cBhvr>
                                    </p:animEffect>
                                    <p:set>
                                      <p:cBhvr>
                                        <p:cTn id="230" dur="1" fill="hold">
                                          <p:stCondLst>
                                            <p:cond delay="499"/>
                                          </p:stCondLst>
                                        </p:cTn>
                                        <p:tgtEl>
                                          <p:spTgt spid="257"/>
                                        </p:tgtEl>
                                        <p:attrNameLst>
                                          <p:attrName>style.visibility</p:attrName>
                                        </p:attrNameLst>
                                      </p:cBhvr>
                                      <p:to>
                                        <p:strVal val="hidden"/>
                                      </p:to>
                                    </p:set>
                                  </p:childTnLst>
                                </p:cTn>
                              </p:par>
                              <p:par>
                                <p:cTn id="231" presetID="10" presetClass="exit" presetSubtype="0" fill="hold" grpId="1" nodeType="withEffect">
                                  <p:stCondLst>
                                    <p:cond delay="0"/>
                                  </p:stCondLst>
                                  <p:childTnLst>
                                    <p:animEffect transition="out" filter="fade">
                                      <p:cBhvr>
                                        <p:cTn id="232" dur="500"/>
                                        <p:tgtEl>
                                          <p:spTgt spid="258"/>
                                        </p:tgtEl>
                                      </p:cBhvr>
                                    </p:animEffect>
                                    <p:set>
                                      <p:cBhvr>
                                        <p:cTn id="233" dur="1" fill="hold">
                                          <p:stCondLst>
                                            <p:cond delay="499"/>
                                          </p:stCondLst>
                                        </p:cTn>
                                        <p:tgtEl>
                                          <p:spTgt spid="258"/>
                                        </p:tgtEl>
                                        <p:attrNameLst>
                                          <p:attrName>style.visibility</p:attrName>
                                        </p:attrNameLst>
                                      </p:cBhvr>
                                      <p:to>
                                        <p:strVal val="hidden"/>
                                      </p:to>
                                    </p:set>
                                  </p:childTnLst>
                                </p:cTn>
                              </p:par>
                              <p:par>
                                <p:cTn id="234" presetID="10" presetClass="exit" presetSubtype="0" fill="hold" grpId="2" nodeType="withEffect">
                                  <p:stCondLst>
                                    <p:cond delay="0"/>
                                  </p:stCondLst>
                                  <p:childTnLst>
                                    <p:animEffect transition="out" filter="fade">
                                      <p:cBhvr>
                                        <p:cTn id="235" dur="500"/>
                                        <p:tgtEl>
                                          <p:spTgt spid="252"/>
                                        </p:tgtEl>
                                      </p:cBhvr>
                                    </p:animEffect>
                                    <p:set>
                                      <p:cBhvr>
                                        <p:cTn id="236" dur="1" fill="hold">
                                          <p:stCondLst>
                                            <p:cond delay="499"/>
                                          </p:stCondLst>
                                        </p:cTn>
                                        <p:tgtEl>
                                          <p:spTgt spid="252"/>
                                        </p:tgtEl>
                                        <p:attrNameLst>
                                          <p:attrName>style.visibility</p:attrName>
                                        </p:attrNameLst>
                                      </p:cBhvr>
                                      <p:to>
                                        <p:strVal val="hidden"/>
                                      </p:to>
                                    </p:set>
                                  </p:childTnLst>
                                </p:cTn>
                              </p:par>
                              <p:par>
                                <p:cTn id="237" presetID="10" presetClass="exit" presetSubtype="0" fill="hold" grpId="1" nodeType="withEffect">
                                  <p:stCondLst>
                                    <p:cond delay="0"/>
                                  </p:stCondLst>
                                  <p:childTnLst>
                                    <p:animEffect transition="out" filter="fade">
                                      <p:cBhvr>
                                        <p:cTn id="238" dur="500"/>
                                        <p:tgtEl>
                                          <p:spTgt spid="254"/>
                                        </p:tgtEl>
                                      </p:cBhvr>
                                    </p:animEffect>
                                    <p:set>
                                      <p:cBhvr>
                                        <p:cTn id="239" dur="1" fill="hold">
                                          <p:stCondLst>
                                            <p:cond delay="499"/>
                                          </p:stCondLst>
                                        </p:cTn>
                                        <p:tgtEl>
                                          <p:spTgt spid="254"/>
                                        </p:tgtEl>
                                        <p:attrNameLst>
                                          <p:attrName>style.visibility</p:attrName>
                                        </p:attrNameLst>
                                      </p:cBhvr>
                                      <p:to>
                                        <p:strVal val="hidden"/>
                                      </p:to>
                                    </p:set>
                                  </p:childTnLst>
                                </p:cTn>
                              </p:par>
                              <p:par>
                                <p:cTn id="240" presetID="10" presetClass="exit" presetSubtype="0" fill="hold" grpId="1" nodeType="withEffect">
                                  <p:stCondLst>
                                    <p:cond delay="0"/>
                                  </p:stCondLst>
                                  <p:childTnLst>
                                    <p:animEffect transition="out" filter="fade">
                                      <p:cBhvr>
                                        <p:cTn id="241" dur="500"/>
                                        <p:tgtEl>
                                          <p:spTgt spid="252"/>
                                        </p:tgtEl>
                                      </p:cBhvr>
                                    </p:animEffect>
                                    <p:set>
                                      <p:cBhvr>
                                        <p:cTn id="242" dur="1" fill="hold">
                                          <p:stCondLst>
                                            <p:cond delay="499"/>
                                          </p:stCondLst>
                                        </p:cTn>
                                        <p:tgtEl>
                                          <p:spTgt spid="252"/>
                                        </p:tgtEl>
                                        <p:attrNameLst>
                                          <p:attrName>style.visibility</p:attrName>
                                        </p:attrNameLst>
                                      </p:cBhvr>
                                      <p:to>
                                        <p:strVal val="hidden"/>
                                      </p:to>
                                    </p:set>
                                  </p:childTnLst>
                                </p:cTn>
                              </p:par>
                              <p:par>
                                <p:cTn id="243" presetID="10" presetClass="exit" presetSubtype="0" fill="hold" grpId="2" nodeType="withEffect">
                                  <p:stCondLst>
                                    <p:cond delay="0"/>
                                  </p:stCondLst>
                                  <p:childTnLst>
                                    <p:animEffect transition="out" filter="fade">
                                      <p:cBhvr>
                                        <p:cTn id="244" dur="500"/>
                                        <p:tgtEl>
                                          <p:spTgt spid="254"/>
                                        </p:tgtEl>
                                      </p:cBhvr>
                                    </p:animEffect>
                                    <p:set>
                                      <p:cBhvr>
                                        <p:cTn id="245" dur="1" fill="hold">
                                          <p:stCondLst>
                                            <p:cond delay="499"/>
                                          </p:stCondLst>
                                        </p:cTn>
                                        <p:tgtEl>
                                          <p:spTgt spid="254"/>
                                        </p:tgtEl>
                                        <p:attrNameLst>
                                          <p:attrName>style.visibility</p:attrName>
                                        </p:attrNameLst>
                                      </p:cBhvr>
                                      <p:to>
                                        <p:strVal val="hidden"/>
                                      </p:to>
                                    </p:set>
                                  </p:childTnLst>
                                </p:cTn>
                              </p:par>
                              <p:par>
                                <p:cTn id="246" presetID="10" presetClass="exit" presetSubtype="0" fill="hold" grpId="4" nodeType="withEffect">
                                  <p:stCondLst>
                                    <p:cond delay="0"/>
                                  </p:stCondLst>
                                  <p:childTnLst>
                                    <p:animEffect transition="out" filter="fade">
                                      <p:cBhvr>
                                        <p:cTn id="247" dur="500"/>
                                        <p:tgtEl>
                                          <p:spTgt spid="193"/>
                                        </p:tgtEl>
                                      </p:cBhvr>
                                    </p:animEffect>
                                    <p:set>
                                      <p:cBhvr>
                                        <p:cTn id="248" dur="1" fill="hold">
                                          <p:stCondLst>
                                            <p:cond delay="499"/>
                                          </p:stCondLst>
                                        </p:cTn>
                                        <p:tgtEl>
                                          <p:spTgt spid="193"/>
                                        </p:tgtEl>
                                        <p:attrNameLst>
                                          <p:attrName>style.visibility</p:attrName>
                                        </p:attrNameLst>
                                      </p:cBhvr>
                                      <p:to>
                                        <p:strVal val="hidden"/>
                                      </p:to>
                                    </p:set>
                                  </p:childTnLst>
                                </p:cTn>
                              </p:par>
                              <p:par>
                                <p:cTn id="249" presetID="10" presetClass="exit" presetSubtype="0" fill="hold" grpId="1" nodeType="withEffect">
                                  <p:stCondLst>
                                    <p:cond delay="0"/>
                                  </p:stCondLst>
                                  <p:childTnLst>
                                    <p:animEffect transition="out" filter="fade">
                                      <p:cBhvr>
                                        <p:cTn id="250" dur="500"/>
                                        <p:tgtEl>
                                          <p:spTgt spid="257"/>
                                        </p:tgtEl>
                                      </p:cBhvr>
                                    </p:animEffect>
                                    <p:set>
                                      <p:cBhvr>
                                        <p:cTn id="251" dur="1" fill="hold">
                                          <p:stCondLst>
                                            <p:cond delay="499"/>
                                          </p:stCondLst>
                                        </p:cTn>
                                        <p:tgtEl>
                                          <p:spTgt spid="257"/>
                                        </p:tgtEl>
                                        <p:attrNameLst>
                                          <p:attrName>style.visibility</p:attrName>
                                        </p:attrNameLst>
                                      </p:cBhvr>
                                      <p:to>
                                        <p:strVal val="hidden"/>
                                      </p:to>
                                    </p:set>
                                  </p:childTnLst>
                                </p:cTn>
                              </p:par>
                              <p:par>
                                <p:cTn id="252" presetID="10" presetClass="exit" presetSubtype="0" fill="hold" grpId="2" nodeType="withEffect">
                                  <p:stCondLst>
                                    <p:cond delay="0"/>
                                  </p:stCondLst>
                                  <p:childTnLst>
                                    <p:animEffect transition="out" filter="fade">
                                      <p:cBhvr>
                                        <p:cTn id="253" dur="500"/>
                                        <p:tgtEl>
                                          <p:spTgt spid="258"/>
                                        </p:tgtEl>
                                      </p:cBhvr>
                                    </p:animEffect>
                                    <p:set>
                                      <p:cBhvr>
                                        <p:cTn id="254" dur="1" fill="hold">
                                          <p:stCondLst>
                                            <p:cond delay="499"/>
                                          </p:stCondLst>
                                        </p:cTn>
                                        <p:tgtEl>
                                          <p:spTgt spid="258"/>
                                        </p:tgtEl>
                                        <p:attrNameLst>
                                          <p:attrName>style.visibility</p:attrName>
                                        </p:attrNameLst>
                                      </p:cBhvr>
                                      <p:to>
                                        <p:strVal val="hidden"/>
                                      </p:to>
                                    </p:set>
                                  </p:childTnLst>
                                </p:cTn>
                              </p:par>
                              <p:par>
                                <p:cTn id="255" presetID="10" presetClass="exit" presetSubtype="0" fill="hold" grpId="1" nodeType="withEffect">
                                  <p:stCondLst>
                                    <p:cond delay="0"/>
                                  </p:stCondLst>
                                  <p:childTnLst>
                                    <p:animEffect transition="out" filter="fade">
                                      <p:cBhvr>
                                        <p:cTn id="256" dur="500"/>
                                        <p:tgtEl>
                                          <p:spTgt spid="259"/>
                                        </p:tgtEl>
                                      </p:cBhvr>
                                    </p:animEffect>
                                    <p:set>
                                      <p:cBhvr>
                                        <p:cTn id="257" dur="1" fill="hold">
                                          <p:stCondLst>
                                            <p:cond delay="499"/>
                                          </p:stCondLst>
                                        </p:cTn>
                                        <p:tgtEl>
                                          <p:spTgt spid="259"/>
                                        </p:tgtEl>
                                        <p:attrNameLst>
                                          <p:attrName>style.visibility</p:attrName>
                                        </p:attrNameLst>
                                      </p:cBhvr>
                                      <p:to>
                                        <p:strVal val="hidden"/>
                                      </p:to>
                                    </p:set>
                                  </p:childTnLst>
                                </p:cTn>
                              </p:par>
                              <p:par>
                                <p:cTn id="258" presetID="10" presetClass="exit" presetSubtype="0" fill="hold" grpId="1" nodeType="withEffect">
                                  <p:stCondLst>
                                    <p:cond delay="0"/>
                                  </p:stCondLst>
                                  <p:childTnLst>
                                    <p:animEffect transition="out" filter="fade">
                                      <p:cBhvr>
                                        <p:cTn id="259" dur="500"/>
                                        <p:tgtEl>
                                          <p:spTgt spid="260"/>
                                        </p:tgtEl>
                                      </p:cBhvr>
                                    </p:animEffect>
                                    <p:set>
                                      <p:cBhvr>
                                        <p:cTn id="260" dur="1" fill="hold">
                                          <p:stCondLst>
                                            <p:cond delay="499"/>
                                          </p:stCondLst>
                                        </p:cTn>
                                        <p:tgtEl>
                                          <p:spTgt spid="260"/>
                                        </p:tgtEl>
                                        <p:attrNameLst>
                                          <p:attrName>style.visibility</p:attrName>
                                        </p:attrNameLst>
                                      </p:cBhvr>
                                      <p:to>
                                        <p:strVal val="hidden"/>
                                      </p:to>
                                    </p:set>
                                  </p:childTnLst>
                                </p:cTn>
                              </p:par>
                              <p:par>
                                <p:cTn id="261" presetID="10" presetClass="exit" presetSubtype="0" fill="hold" grpId="1" nodeType="withEffect">
                                  <p:stCondLst>
                                    <p:cond delay="0"/>
                                  </p:stCondLst>
                                  <p:childTnLst>
                                    <p:animEffect transition="out" filter="fade">
                                      <p:cBhvr>
                                        <p:cTn id="262" dur="500"/>
                                        <p:tgtEl>
                                          <p:spTgt spid="255"/>
                                        </p:tgtEl>
                                      </p:cBhvr>
                                    </p:animEffect>
                                    <p:set>
                                      <p:cBhvr>
                                        <p:cTn id="263" dur="1" fill="hold">
                                          <p:stCondLst>
                                            <p:cond delay="499"/>
                                          </p:stCondLst>
                                        </p:cTn>
                                        <p:tgtEl>
                                          <p:spTgt spid="255"/>
                                        </p:tgtEl>
                                        <p:attrNameLst>
                                          <p:attrName>style.visibility</p:attrName>
                                        </p:attrNameLst>
                                      </p:cBhvr>
                                      <p:to>
                                        <p:strVal val="hidden"/>
                                      </p:to>
                                    </p:set>
                                  </p:childTnLst>
                                </p:cTn>
                              </p:par>
                              <p:par>
                                <p:cTn id="264" presetID="10" presetClass="exit" presetSubtype="0" fill="hold" grpId="1" nodeType="withEffect">
                                  <p:stCondLst>
                                    <p:cond delay="0"/>
                                  </p:stCondLst>
                                  <p:childTnLst>
                                    <p:animEffect transition="out" filter="fade">
                                      <p:cBhvr>
                                        <p:cTn id="265" dur="500"/>
                                        <p:tgtEl>
                                          <p:spTgt spid="256"/>
                                        </p:tgtEl>
                                      </p:cBhvr>
                                    </p:animEffect>
                                    <p:set>
                                      <p:cBhvr>
                                        <p:cTn id="266" dur="1" fill="hold">
                                          <p:stCondLst>
                                            <p:cond delay="499"/>
                                          </p:stCondLst>
                                        </p:cTn>
                                        <p:tgtEl>
                                          <p:spTgt spid="256"/>
                                        </p:tgtEl>
                                        <p:attrNameLst>
                                          <p:attrName>style.visibility</p:attrName>
                                        </p:attrNameLst>
                                      </p:cBhvr>
                                      <p:to>
                                        <p:strVal val="hidden"/>
                                      </p:to>
                                    </p:set>
                                  </p:childTnLst>
                                </p:cTn>
                              </p:par>
                              <p:par>
                                <p:cTn id="267" presetID="10" presetClass="exit" presetSubtype="0" fill="hold" grpId="1" nodeType="withEffect">
                                  <p:stCondLst>
                                    <p:cond delay="0"/>
                                  </p:stCondLst>
                                  <p:childTnLst>
                                    <p:animEffect transition="out" filter="fade">
                                      <p:cBhvr>
                                        <p:cTn id="268" dur="500"/>
                                        <p:tgtEl>
                                          <p:spTgt spid="203"/>
                                        </p:tgtEl>
                                      </p:cBhvr>
                                    </p:animEffect>
                                    <p:set>
                                      <p:cBhvr>
                                        <p:cTn id="269" dur="1" fill="hold">
                                          <p:stCondLst>
                                            <p:cond delay="499"/>
                                          </p:stCondLst>
                                        </p:cTn>
                                        <p:tgtEl>
                                          <p:spTgt spid="203"/>
                                        </p:tgtEl>
                                        <p:attrNameLst>
                                          <p:attrName>style.visibility</p:attrName>
                                        </p:attrNameLst>
                                      </p:cBhvr>
                                      <p:to>
                                        <p:strVal val="hidden"/>
                                      </p:to>
                                    </p:set>
                                  </p:childTnLst>
                                </p:cTn>
                              </p:par>
                              <p:par>
                                <p:cTn id="270" presetID="10" presetClass="exit" presetSubtype="0" fill="hold" nodeType="withEffect">
                                  <p:stCondLst>
                                    <p:cond delay="0"/>
                                  </p:stCondLst>
                                  <p:childTnLst>
                                    <p:animEffect transition="out" filter="fade">
                                      <p:cBhvr>
                                        <p:cTn id="271" dur="500"/>
                                        <p:tgtEl>
                                          <p:spTgt spid="40"/>
                                        </p:tgtEl>
                                      </p:cBhvr>
                                    </p:animEffect>
                                    <p:set>
                                      <p:cBhvr>
                                        <p:cTn id="272" dur="1" fill="hold">
                                          <p:stCondLst>
                                            <p:cond delay="499"/>
                                          </p:stCondLst>
                                        </p:cTn>
                                        <p:tgtEl>
                                          <p:spTgt spid="40"/>
                                        </p:tgtEl>
                                        <p:attrNameLst>
                                          <p:attrName>style.visibility</p:attrName>
                                        </p:attrNameLst>
                                      </p:cBhvr>
                                      <p:to>
                                        <p:strVal val="hidden"/>
                                      </p:to>
                                    </p:set>
                                  </p:childTnLst>
                                </p:cTn>
                              </p:par>
                              <p:par>
                                <p:cTn id="273" presetID="10" presetClass="exit" presetSubtype="0" fill="hold" nodeType="withEffect">
                                  <p:stCondLst>
                                    <p:cond delay="0"/>
                                  </p:stCondLst>
                                  <p:childTnLst>
                                    <p:animEffect transition="out" filter="fade">
                                      <p:cBhvr>
                                        <p:cTn id="274" dur="500"/>
                                        <p:tgtEl>
                                          <p:spTgt spid="11"/>
                                        </p:tgtEl>
                                      </p:cBhvr>
                                    </p:animEffect>
                                    <p:set>
                                      <p:cBhvr>
                                        <p:cTn id="275" dur="1" fill="hold">
                                          <p:stCondLst>
                                            <p:cond delay="499"/>
                                          </p:stCondLst>
                                        </p:cTn>
                                        <p:tgtEl>
                                          <p:spTgt spid="11"/>
                                        </p:tgtEl>
                                        <p:attrNameLst>
                                          <p:attrName>style.visibility</p:attrName>
                                        </p:attrNameLst>
                                      </p:cBhvr>
                                      <p:to>
                                        <p:strVal val="hidden"/>
                                      </p:to>
                                    </p:set>
                                  </p:childTnLst>
                                </p:cTn>
                              </p:par>
                              <p:par>
                                <p:cTn id="276" presetID="10" presetClass="exit" presetSubtype="0" fill="hold" nodeType="withEffect">
                                  <p:stCondLst>
                                    <p:cond delay="0"/>
                                  </p:stCondLst>
                                  <p:childTnLst>
                                    <p:animEffect transition="out" filter="fade">
                                      <p:cBhvr>
                                        <p:cTn id="277" dur="500"/>
                                        <p:tgtEl>
                                          <p:spTgt spid="247"/>
                                        </p:tgtEl>
                                      </p:cBhvr>
                                    </p:animEffect>
                                    <p:set>
                                      <p:cBhvr>
                                        <p:cTn id="278" dur="1" fill="hold">
                                          <p:stCondLst>
                                            <p:cond delay="499"/>
                                          </p:stCondLst>
                                        </p:cTn>
                                        <p:tgtEl>
                                          <p:spTgt spid="247"/>
                                        </p:tgtEl>
                                        <p:attrNameLst>
                                          <p:attrName>style.visibility</p:attrName>
                                        </p:attrNameLst>
                                      </p:cBhvr>
                                      <p:to>
                                        <p:strVal val="hidden"/>
                                      </p:to>
                                    </p:set>
                                  </p:childTnLst>
                                </p:cTn>
                              </p:par>
                              <p:par>
                                <p:cTn id="279" presetID="10" presetClass="exit" presetSubtype="0" fill="hold" nodeType="withEffect">
                                  <p:stCondLst>
                                    <p:cond delay="0"/>
                                  </p:stCondLst>
                                  <p:childTnLst>
                                    <p:animEffect transition="out" filter="fade">
                                      <p:cBhvr>
                                        <p:cTn id="280" dur="500"/>
                                        <p:tgtEl>
                                          <p:spTgt spid="248"/>
                                        </p:tgtEl>
                                      </p:cBhvr>
                                    </p:animEffect>
                                    <p:set>
                                      <p:cBhvr>
                                        <p:cTn id="281" dur="1" fill="hold">
                                          <p:stCondLst>
                                            <p:cond delay="499"/>
                                          </p:stCondLst>
                                        </p:cTn>
                                        <p:tgtEl>
                                          <p:spTgt spid="248"/>
                                        </p:tgtEl>
                                        <p:attrNameLst>
                                          <p:attrName>style.visibility</p:attrName>
                                        </p:attrNameLst>
                                      </p:cBhvr>
                                      <p:to>
                                        <p:strVal val="hidden"/>
                                      </p:to>
                                    </p:set>
                                  </p:childTnLst>
                                </p:cTn>
                              </p:par>
                              <p:par>
                                <p:cTn id="282" presetID="10" presetClass="entr" presetSubtype="0" fill="hold" nodeType="withEffect">
                                  <p:stCondLst>
                                    <p:cond delay="0"/>
                                  </p:stCondLst>
                                  <p:childTnLst>
                                    <p:set>
                                      <p:cBhvr>
                                        <p:cTn id="283" dur="1" fill="hold">
                                          <p:stCondLst>
                                            <p:cond delay="0"/>
                                          </p:stCondLst>
                                        </p:cTn>
                                        <p:tgtEl>
                                          <p:spTgt spid="103"/>
                                        </p:tgtEl>
                                        <p:attrNameLst>
                                          <p:attrName>style.visibility</p:attrName>
                                        </p:attrNameLst>
                                      </p:cBhvr>
                                      <p:to>
                                        <p:strVal val="visible"/>
                                      </p:to>
                                    </p:set>
                                    <p:animEffect transition="in" filter="fade">
                                      <p:cBhvr>
                                        <p:cTn id="284" dur="500"/>
                                        <p:tgtEl>
                                          <p:spTgt spid="103"/>
                                        </p:tgtEl>
                                      </p:cBhvr>
                                    </p:animEffect>
                                  </p:childTnLst>
                                </p:cTn>
                              </p:par>
                              <p:par>
                                <p:cTn id="285" presetID="10" presetClass="entr" presetSubtype="0" fill="hold" nodeType="withEffect">
                                  <p:stCondLst>
                                    <p:cond delay="0"/>
                                  </p:stCondLst>
                                  <p:childTnLst>
                                    <p:set>
                                      <p:cBhvr>
                                        <p:cTn id="286" dur="1" fill="hold">
                                          <p:stCondLst>
                                            <p:cond delay="0"/>
                                          </p:stCondLst>
                                        </p:cTn>
                                        <p:tgtEl>
                                          <p:spTgt spid="15"/>
                                        </p:tgtEl>
                                        <p:attrNameLst>
                                          <p:attrName>style.visibility</p:attrName>
                                        </p:attrNameLst>
                                      </p:cBhvr>
                                      <p:to>
                                        <p:strVal val="visible"/>
                                      </p:to>
                                    </p:set>
                                    <p:animEffect transition="in" filter="fade">
                                      <p:cBhvr>
                                        <p:cTn id="287" dur="500"/>
                                        <p:tgtEl>
                                          <p:spTgt spid="15"/>
                                        </p:tgtEl>
                                      </p:cBhvr>
                                    </p:animEffect>
                                  </p:childTnLst>
                                </p:cTn>
                              </p:par>
                              <p:par>
                                <p:cTn id="288" presetID="10" presetClass="entr" presetSubtype="0" fill="hold" nodeType="withEffect">
                                  <p:stCondLst>
                                    <p:cond delay="0"/>
                                  </p:stCondLst>
                                  <p:childTnLst>
                                    <p:set>
                                      <p:cBhvr>
                                        <p:cTn id="289" dur="1" fill="hold">
                                          <p:stCondLst>
                                            <p:cond delay="0"/>
                                          </p:stCondLst>
                                        </p:cTn>
                                        <p:tgtEl>
                                          <p:spTgt spid="16"/>
                                        </p:tgtEl>
                                        <p:attrNameLst>
                                          <p:attrName>style.visibility</p:attrName>
                                        </p:attrNameLst>
                                      </p:cBhvr>
                                      <p:to>
                                        <p:strVal val="visible"/>
                                      </p:to>
                                    </p:set>
                                    <p:animEffect transition="in" filter="fade">
                                      <p:cBhvr>
                                        <p:cTn id="290" dur="500"/>
                                        <p:tgtEl>
                                          <p:spTgt spid="16"/>
                                        </p:tgtEl>
                                      </p:cBhvr>
                                    </p:animEffect>
                                  </p:childTnLst>
                                </p:cTn>
                              </p:par>
                              <p:par>
                                <p:cTn id="291" presetID="10" presetClass="entr" presetSubtype="0" fill="hold" nodeType="withEffect">
                                  <p:stCondLst>
                                    <p:cond delay="0"/>
                                  </p:stCondLst>
                                  <p:childTnLst>
                                    <p:set>
                                      <p:cBhvr>
                                        <p:cTn id="292" dur="1" fill="hold">
                                          <p:stCondLst>
                                            <p:cond delay="0"/>
                                          </p:stCondLst>
                                        </p:cTn>
                                        <p:tgtEl>
                                          <p:spTgt spid="127"/>
                                        </p:tgtEl>
                                        <p:attrNameLst>
                                          <p:attrName>style.visibility</p:attrName>
                                        </p:attrNameLst>
                                      </p:cBhvr>
                                      <p:to>
                                        <p:strVal val="visible"/>
                                      </p:to>
                                    </p:set>
                                    <p:animEffect transition="in" filter="fade">
                                      <p:cBhvr>
                                        <p:cTn id="293" dur="500"/>
                                        <p:tgtEl>
                                          <p:spTgt spid="127"/>
                                        </p:tgtEl>
                                      </p:cBhvr>
                                    </p:animEffect>
                                  </p:childTnLst>
                                </p:cTn>
                              </p:par>
                              <p:par>
                                <p:cTn id="294" presetID="10" presetClass="entr" presetSubtype="0" fill="hold" grpId="3" nodeType="withEffect">
                                  <p:stCondLst>
                                    <p:cond delay="0"/>
                                  </p:stCondLst>
                                  <p:childTnLst>
                                    <p:set>
                                      <p:cBhvr>
                                        <p:cTn id="295" dur="1" fill="hold">
                                          <p:stCondLst>
                                            <p:cond delay="0"/>
                                          </p:stCondLst>
                                        </p:cTn>
                                        <p:tgtEl>
                                          <p:spTgt spid="169"/>
                                        </p:tgtEl>
                                        <p:attrNameLst>
                                          <p:attrName>style.visibility</p:attrName>
                                        </p:attrNameLst>
                                      </p:cBhvr>
                                      <p:to>
                                        <p:strVal val="visible"/>
                                      </p:to>
                                    </p:set>
                                    <p:animEffect transition="in" filter="fade">
                                      <p:cBhvr>
                                        <p:cTn id="296" dur="500"/>
                                        <p:tgtEl>
                                          <p:spTgt spid="169"/>
                                        </p:tgtEl>
                                      </p:cBhvr>
                                    </p:animEffect>
                                  </p:childTnLst>
                                </p:cTn>
                              </p:par>
                              <p:par>
                                <p:cTn id="297" presetID="19" presetClass="emph" presetSubtype="0" fill="hold" grpId="1" nodeType="withEffect">
                                  <p:stCondLst>
                                    <p:cond delay="0"/>
                                  </p:stCondLst>
                                  <p:childTnLst>
                                    <p:animClr clrSpc="rgb" dir="cw">
                                      <p:cBhvr override="childStyle">
                                        <p:cTn id="298" dur="500" fill="hold"/>
                                        <p:tgtEl>
                                          <p:spTgt spid="195"/>
                                        </p:tgtEl>
                                        <p:attrNameLst>
                                          <p:attrName>style.color</p:attrName>
                                        </p:attrNameLst>
                                      </p:cBhvr>
                                      <p:to>
                                        <a:srgbClr val="FF0000"/>
                                      </p:to>
                                    </p:animClr>
                                    <p:animClr clrSpc="rgb" dir="cw">
                                      <p:cBhvr>
                                        <p:cTn id="299" dur="500" fill="hold"/>
                                        <p:tgtEl>
                                          <p:spTgt spid="195"/>
                                        </p:tgtEl>
                                        <p:attrNameLst>
                                          <p:attrName>fillcolor</p:attrName>
                                        </p:attrNameLst>
                                      </p:cBhvr>
                                      <p:to>
                                        <a:srgbClr val="FF0000"/>
                                      </p:to>
                                    </p:animClr>
                                    <p:set>
                                      <p:cBhvr>
                                        <p:cTn id="300" dur="500" fill="hold"/>
                                        <p:tgtEl>
                                          <p:spTgt spid="195"/>
                                        </p:tgtEl>
                                        <p:attrNameLst>
                                          <p:attrName>fill.type</p:attrName>
                                        </p:attrNameLst>
                                      </p:cBhvr>
                                      <p:to>
                                        <p:strVal val="solid"/>
                                      </p:to>
                                    </p:set>
                                    <p:set>
                                      <p:cBhvr>
                                        <p:cTn id="301" dur="500" fill="hold"/>
                                        <p:tgtEl>
                                          <p:spTgt spid="195"/>
                                        </p:tgtEl>
                                        <p:attrNameLst>
                                          <p:attrName>fill.on</p:attrName>
                                        </p:attrNameLst>
                                      </p:cBhvr>
                                      <p:to>
                                        <p:strVal val="true"/>
                                      </p:to>
                                    </p:set>
                                  </p:childTnLst>
                                </p:cTn>
                              </p:par>
                              <p:par>
                                <p:cTn id="302" presetID="19" presetClass="emph" presetSubtype="0" fill="hold" grpId="1" nodeType="withEffect">
                                  <p:stCondLst>
                                    <p:cond delay="0"/>
                                  </p:stCondLst>
                                  <p:childTnLst>
                                    <p:animClr clrSpc="rgb" dir="cw">
                                      <p:cBhvr override="childStyle">
                                        <p:cTn id="303" dur="500" fill="hold"/>
                                        <p:tgtEl>
                                          <p:spTgt spid="198"/>
                                        </p:tgtEl>
                                        <p:attrNameLst>
                                          <p:attrName>style.color</p:attrName>
                                        </p:attrNameLst>
                                      </p:cBhvr>
                                      <p:to>
                                        <a:srgbClr val="FF0000"/>
                                      </p:to>
                                    </p:animClr>
                                    <p:animClr clrSpc="rgb" dir="cw">
                                      <p:cBhvr>
                                        <p:cTn id="304" dur="500" fill="hold"/>
                                        <p:tgtEl>
                                          <p:spTgt spid="198"/>
                                        </p:tgtEl>
                                        <p:attrNameLst>
                                          <p:attrName>fillcolor</p:attrName>
                                        </p:attrNameLst>
                                      </p:cBhvr>
                                      <p:to>
                                        <a:srgbClr val="FF0000"/>
                                      </p:to>
                                    </p:animClr>
                                    <p:set>
                                      <p:cBhvr>
                                        <p:cTn id="305" dur="500" fill="hold"/>
                                        <p:tgtEl>
                                          <p:spTgt spid="198"/>
                                        </p:tgtEl>
                                        <p:attrNameLst>
                                          <p:attrName>fill.type</p:attrName>
                                        </p:attrNameLst>
                                      </p:cBhvr>
                                      <p:to>
                                        <p:strVal val="solid"/>
                                      </p:to>
                                    </p:set>
                                    <p:set>
                                      <p:cBhvr>
                                        <p:cTn id="306" dur="500" fill="hold"/>
                                        <p:tgtEl>
                                          <p:spTgt spid="198"/>
                                        </p:tgtEl>
                                        <p:attrNameLst>
                                          <p:attrName>fill.on</p:attrName>
                                        </p:attrNameLst>
                                      </p:cBhvr>
                                      <p:to>
                                        <p:strVal val="true"/>
                                      </p:to>
                                    </p:set>
                                  </p:childTnLst>
                                </p:cTn>
                              </p:par>
                            </p:childTnLst>
                          </p:cTn>
                        </p:par>
                        <p:par>
                          <p:cTn id="307" fill="hold">
                            <p:stCondLst>
                              <p:cond delay="1500"/>
                            </p:stCondLst>
                            <p:childTnLst>
                              <p:par>
                                <p:cTn id="308" presetID="19" presetClass="emph" presetSubtype="0" fill="hold" grpId="2" nodeType="afterEffect">
                                  <p:stCondLst>
                                    <p:cond delay="0"/>
                                  </p:stCondLst>
                                  <p:childTnLst>
                                    <p:animClr clrSpc="rgb" dir="cw">
                                      <p:cBhvr override="childStyle">
                                        <p:cTn id="309" dur="500" fill="hold"/>
                                        <p:tgtEl>
                                          <p:spTgt spid="195"/>
                                        </p:tgtEl>
                                        <p:attrNameLst>
                                          <p:attrName>style.color</p:attrName>
                                        </p:attrNameLst>
                                      </p:cBhvr>
                                      <p:to>
                                        <a:srgbClr val="00BCF2"/>
                                      </p:to>
                                    </p:animClr>
                                    <p:animClr clrSpc="rgb" dir="cw">
                                      <p:cBhvr>
                                        <p:cTn id="310" dur="500" fill="hold"/>
                                        <p:tgtEl>
                                          <p:spTgt spid="195"/>
                                        </p:tgtEl>
                                        <p:attrNameLst>
                                          <p:attrName>fillcolor</p:attrName>
                                        </p:attrNameLst>
                                      </p:cBhvr>
                                      <p:to>
                                        <a:srgbClr val="00BCF2"/>
                                      </p:to>
                                    </p:animClr>
                                    <p:set>
                                      <p:cBhvr>
                                        <p:cTn id="311" dur="500" fill="hold"/>
                                        <p:tgtEl>
                                          <p:spTgt spid="195"/>
                                        </p:tgtEl>
                                        <p:attrNameLst>
                                          <p:attrName>fill.type</p:attrName>
                                        </p:attrNameLst>
                                      </p:cBhvr>
                                      <p:to>
                                        <p:strVal val="solid"/>
                                      </p:to>
                                    </p:set>
                                    <p:set>
                                      <p:cBhvr>
                                        <p:cTn id="312" dur="500" fill="hold"/>
                                        <p:tgtEl>
                                          <p:spTgt spid="195"/>
                                        </p:tgtEl>
                                        <p:attrNameLst>
                                          <p:attrName>fill.on</p:attrName>
                                        </p:attrNameLst>
                                      </p:cBhvr>
                                      <p:to>
                                        <p:strVal val="true"/>
                                      </p:to>
                                    </p:set>
                                  </p:childTnLst>
                                </p:cTn>
                              </p:par>
                              <p:par>
                                <p:cTn id="313" presetID="19" presetClass="emph" presetSubtype="0" fill="hold" grpId="2" nodeType="withEffect">
                                  <p:stCondLst>
                                    <p:cond delay="0"/>
                                  </p:stCondLst>
                                  <p:childTnLst>
                                    <p:animClr clrSpc="rgb" dir="cw">
                                      <p:cBhvr override="childStyle">
                                        <p:cTn id="314" dur="500" fill="hold"/>
                                        <p:tgtEl>
                                          <p:spTgt spid="198"/>
                                        </p:tgtEl>
                                        <p:attrNameLst>
                                          <p:attrName>style.color</p:attrName>
                                        </p:attrNameLst>
                                      </p:cBhvr>
                                      <p:to>
                                        <a:srgbClr val="00BCF2"/>
                                      </p:to>
                                    </p:animClr>
                                    <p:animClr clrSpc="rgb" dir="cw">
                                      <p:cBhvr>
                                        <p:cTn id="315" dur="500" fill="hold"/>
                                        <p:tgtEl>
                                          <p:spTgt spid="198"/>
                                        </p:tgtEl>
                                        <p:attrNameLst>
                                          <p:attrName>fillcolor</p:attrName>
                                        </p:attrNameLst>
                                      </p:cBhvr>
                                      <p:to>
                                        <a:srgbClr val="00BCF2"/>
                                      </p:to>
                                    </p:animClr>
                                    <p:set>
                                      <p:cBhvr>
                                        <p:cTn id="316" dur="500" fill="hold"/>
                                        <p:tgtEl>
                                          <p:spTgt spid="198"/>
                                        </p:tgtEl>
                                        <p:attrNameLst>
                                          <p:attrName>fill.type</p:attrName>
                                        </p:attrNameLst>
                                      </p:cBhvr>
                                      <p:to>
                                        <p:strVal val="solid"/>
                                      </p:to>
                                    </p:set>
                                    <p:set>
                                      <p:cBhvr>
                                        <p:cTn id="317" dur="500" fill="hold"/>
                                        <p:tgtEl>
                                          <p:spTgt spid="198"/>
                                        </p:tgtEl>
                                        <p:attrNameLst>
                                          <p:attrName>fill.on</p:attrName>
                                        </p:attrNameLst>
                                      </p:cBhvr>
                                      <p:to>
                                        <p:strVal val="true"/>
                                      </p:to>
                                    </p:set>
                                  </p:childTnLst>
                                </p:cTn>
                              </p:par>
                              <p:par>
                                <p:cTn id="318" presetID="22" presetClass="entr" presetSubtype="8" fill="hold" grpId="0" nodeType="withEffect">
                                  <p:stCondLst>
                                    <p:cond delay="500"/>
                                  </p:stCondLst>
                                  <p:childTnLst>
                                    <p:set>
                                      <p:cBhvr>
                                        <p:cTn id="319" dur="1" fill="hold">
                                          <p:stCondLst>
                                            <p:cond delay="0"/>
                                          </p:stCondLst>
                                        </p:cTn>
                                        <p:tgtEl>
                                          <p:spTgt spid="126"/>
                                        </p:tgtEl>
                                        <p:attrNameLst>
                                          <p:attrName>style.visibility</p:attrName>
                                        </p:attrNameLst>
                                      </p:cBhvr>
                                      <p:to>
                                        <p:strVal val="visible"/>
                                      </p:to>
                                    </p:set>
                                    <p:animEffect transition="in" filter="wipe(left)">
                                      <p:cBhvr>
                                        <p:cTn id="320" dur="1000"/>
                                        <p:tgtEl>
                                          <p:spTgt spid="126"/>
                                        </p:tgtEl>
                                      </p:cBhvr>
                                    </p:animEffect>
                                  </p:childTnLst>
                                </p:cTn>
                              </p:par>
                              <p:par>
                                <p:cTn id="321" presetID="22" presetClass="exit" presetSubtype="2" fill="hold" grpId="1" nodeType="withEffect">
                                  <p:stCondLst>
                                    <p:cond delay="1500"/>
                                  </p:stCondLst>
                                  <p:childTnLst>
                                    <p:animEffect transition="out" filter="wipe(right)">
                                      <p:cBhvr>
                                        <p:cTn id="322" dur="1000"/>
                                        <p:tgtEl>
                                          <p:spTgt spid="126"/>
                                        </p:tgtEl>
                                      </p:cBhvr>
                                    </p:animEffect>
                                    <p:set>
                                      <p:cBhvr>
                                        <p:cTn id="323" dur="1" fill="hold">
                                          <p:stCondLst>
                                            <p:cond delay="999"/>
                                          </p:stCondLst>
                                        </p:cTn>
                                        <p:tgtEl>
                                          <p:spTgt spid="126"/>
                                        </p:tgtEl>
                                        <p:attrNameLst>
                                          <p:attrName>style.visibility</p:attrName>
                                        </p:attrNameLst>
                                      </p:cBhvr>
                                      <p:to>
                                        <p:strVal val="hidden"/>
                                      </p:to>
                                    </p:set>
                                  </p:childTnLst>
                                </p:cTn>
                              </p:par>
                            </p:childTnLst>
                          </p:cTn>
                        </p:par>
                      </p:childTnLst>
                    </p:cTn>
                  </p:par>
                  <p:par>
                    <p:cTn id="324" fill="hold">
                      <p:stCondLst>
                        <p:cond delay="indefinite"/>
                      </p:stCondLst>
                      <p:childTnLst>
                        <p:par>
                          <p:cTn id="325" fill="hold">
                            <p:stCondLst>
                              <p:cond delay="0"/>
                            </p:stCondLst>
                            <p:childTnLst>
                              <p:par>
                                <p:cTn id="326" presetID="10" presetClass="exit" presetSubtype="0" fill="hold" grpId="1" nodeType="clickEffect">
                                  <p:stCondLst>
                                    <p:cond delay="0"/>
                                  </p:stCondLst>
                                  <p:childTnLst>
                                    <p:animEffect transition="out" filter="fade">
                                      <p:cBhvr>
                                        <p:cTn id="327" dur="500"/>
                                        <p:tgtEl>
                                          <p:spTgt spid="143"/>
                                        </p:tgtEl>
                                      </p:cBhvr>
                                    </p:animEffect>
                                    <p:set>
                                      <p:cBhvr>
                                        <p:cTn id="328" dur="1" fill="hold">
                                          <p:stCondLst>
                                            <p:cond delay="499"/>
                                          </p:stCondLst>
                                        </p:cTn>
                                        <p:tgtEl>
                                          <p:spTgt spid="143"/>
                                        </p:tgtEl>
                                        <p:attrNameLst>
                                          <p:attrName>style.visibility</p:attrName>
                                        </p:attrNameLst>
                                      </p:cBhvr>
                                      <p:to>
                                        <p:strVal val="hidden"/>
                                      </p:to>
                                    </p:set>
                                  </p:childTnLst>
                                </p:cTn>
                              </p:par>
                            </p:childTnLst>
                          </p:cTn>
                        </p:par>
                        <p:par>
                          <p:cTn id="329" fill="hold">
                            <p:stCondLst>
                              <p:cond delay="500"/>
                            </p:stCondLst>
                            <p:childTnLst>
                              <p:par>
                                <p:cTn id="330" presetID="10" presetClass="entr" presetSubtype="0" fill="hold" grpId="0" nodeType="afterEffect">
                                  <p:stCondLst>
                                    <p:cond delay="0"/>
                                  </p:stCondLst>
                                  <p:childTnLst>
                                    <p:set>
                                      <p:cBhvr>
                                        <p:cTn id="331" dur="1" fill="hold">
                                          <p:stCondLst>
                                            <p:cond delay="0"/>
                                          </p:stCondLst>
                                        </p:cTn>
                                        <p:tgtEl>
                                          <p:spTgt spid="152"/>
                                        </p:tgtEl>
                                        <p:attrNameLst>
                                          <p:attrName>style.visibility</p:attrName>
                                        </p:attrNameLst>
                                      </p:cBhvr>
                                      <p:to>
                                        <p:strVal val="visible"/>
                                      </p:to>
                                    </p:set>
                                    <p:animEffect transition="in" filter="fade">
                                      <p:cBhvr>
                                        <p:cTn id="332" dur="500"/>
                                        <p:tgtEl>
                                          <p:spTgt spid="152"/>
                                        </p:tgtEl>
                                      </p:cBhvr>
                                    </p:animEffect>
                                  </p:childTnLst>
                                </p:cTn>
                              </p:par>
                            </p:childTnLst>
                          </p:cTn>
                        </p:par>
                        <p:par>
                          <p:cTn id="333" fill="hold">
                            <p:stCondLst>
                              <p:cond delay="1000"/>
                            </p:stCondLst>
                            <p:childTnLst>
                              <p:par>
                                <p:cTn id="334" presetID="10" presetClass="entr" presetSubtype="0" fill="hold" grpId="0" nodeType="afterEffect">
                                  <p:stCondLst>
                                    <p:cond delay="0"/>
                                  </p:stCondLst>
                                  <p:childTnLst>
                                    <p:set>
                                      <p:cBhvr>
                                        <p:cTn id="335" dur="1" fill="hold">
                                          <p:stCondLst>
                                            <p:cond delay="0"/>
                                          </p:stCondLst>
                                        </p:cTn>
                                        <p:tgtEl>
                                          <p:spTgt spid="102"/>
                                        </p:tgtEl>
                                        <p:attrNameLst>
                                          <p:attrName>style.visibility</p:attrName>
                                        </p:attrNameLst>
                                      </p:cBhvr>
                                      <p:to>
                                        <p:strVal val="visible"/>
                                      </p:to>
                                    </p:set>
                                    <p:animEffect transition="in" filter="fade">
                                      <p:cBhvr>
                                        <p:cTn id="336" dur="500"/>
                                        <p:tgtEl>
                                          <p:spTgt spid="102"/>
                                        </p:tgtEl>
                                      </p:cBhvr>
                                    </p:animEffect>
                                  </p:childTnLst>
                                </p:cTn>
                              </p:par>
                              <p:par>
                                <p:cTn id="337" presetID="10" presetClass="entr" presetSubtype="0" fill="hold" grpId="0" nodeType="withEffect">
                                  <p:stCondLst>
                                    <p:cond delay="0"/>
                                  </p:stCondLst>
                                  <p:childTnLst>
                                    <p:set>
                                      <p:cBhvr>
                                        <p:cTn id="338" dur="1" fill="hold">
                                          <p:stCondLst>
                                            <p:cond delay="0"/>
                                          </p:stCondLst>
                                        </p:cTn>
                                        <p:tgtEl>
                                          <p:spTgt spid="125"/>
                                        </p:tgtEl>
                                        <p:attrNameLst>
                                          <p:attrName>style.visibility</p:attrName>
                                        </p:attrNameLst>
                                      </p:cBhvr>
                                      <p:to>
                                        <p:strVal val="visible"/>
                                      </p:to>
                                    </p:set>
                                    <p:animEffect transition="in" filter="fade">
                                      <p:cBhvr>
                                        <p:cTn id="339" dur="500"/>
                                        <p:tgtEl>
                                          <p:spTgt spid="125"/>
                                        </p:tgtEl>
                                      </p:cBhvr>
                                    </p:animEffect>
                                  </p:childTnLst>
                                </p:cTn>
                              </p:par>
                            </p:childTnLst>
                          </p:cTn>
                        </p:par>
                      </p:childTnLst>
                    </p:cTn>
                  </p:par>
                  <p:par>
                    <p:cTn id="340" fill="hold">
                      <p:stCondLst>
                        <p:cond delay="indefinite"/>
                      </p:stCondLst>
                      <p:childTnLst>
                        <p:par>
                          <p:cTn id="341" fill="hold">
                            <p:stCondLst>
                              <p:cond delay="0"/>
                            </p:stCondLst>
                            <p:childTnLst>
                              <p:par>
                                <p:cTn id="342" presetID="10" presetClass="exit" presetSubtype="0" fill="hold" grpId="1" nodeType="clickEffect">
                                  <p:stCondLst>
                                    <p:cond delay="0"/>
                                  </p:stCondLst>
                                  <p:childTnLst>
                                    <p:animEffect transition="out" filter="fade">
                                      <p:cBhvr>
                                        <p:cTn id="343" dur="500"/>
                                        <p:tgtEl>
                                          <p:spTgt spid="152"/>
                                        </p:tgtEl>
                                      </p:cBhvr>
                                    </p:animEffect>
                                    <p:set>
                                      <p:cBhvr>
                                        <p:cTn id="344" dur="1" fill="hold">
                                          <p:stCondLst>
                                            <p:cond delay="499"/>
                                          </p:stCondLst>
                                        </p:cTn>
                                        <p:tgtEl>
                                          <p:spTgt spid="152"/>
                                        </p:tgtEl>
                                        <p:attrNameLst>
                                          <p:attrName>style.visibility</p:attrName>
                                        </p:attrNameLst>
                                      </p:cBhvr>
                                      <p:to>
                                        <p:strVal val="hidden"/>
                                      </p:to>
                                    </p:set>
                                  </p:childTnLst>
                                </p:cTn>
                              </p:par>
                            </p:childTnLst>
                          </p:cTn>
                        </p:par>
                        <p:par>
                          <p:cTn id="345" fill="hold">
                            <p:stCondLst>
                              <p:cond delay="500"/>
                            </p:stCondLst>
                            <p:childTnLst>
                              <p:par>
                                <p:cTn id="346" presetID="10" presetClass="entr" presetSubtype="0" fill="hold" grpId="0" nodeType="afterEffect">
                                  <p:stCondLst>
                                    <p:cond delay="0"/>
                                  </p:stCondLst>
                                  <p:childTnLst>
                                    <p:set>
                                      <p:cBhvr>
                                        <p:cTn id="347" dur="1" fill="hold">
                                          <p:stCondLst>
                                            <p:cond delay="0"/>
                                          </p:stCondLst>
                                        </p:cTn>
                                        <p:tgtEl>
                                          <p:spTgt spid="181"/>
                                        </p:tgtEl>
                                        <p:attrNameLst>
                                          <p:attrName>style.visibility</p:attrName>
                                        </p:attrNameLst>
                                      </p:cBhvr>
                                      <p:to>
                                        <p:strVal val="visible"/>
                                      </p:to>
                                    </p:set>
                                    <p:animEffect transition="in" filter="fade">
                                      <p:cBhvr>
                                        <p:cTn id="348" dur="500"/>
                                        <p:tgtEl>
                                          <p:spTgt spid="181"/>
                                        </p:tgtEl>
                                      </p:cBhvr>
                                    </p:animEffect>
                                  </p:childTnLst>
                                </p:cTn>
                              </p:par>
                            </p:childTnLst>
                          </p:cTn>
                        </p:par>
                        <p:par>
                          <p:cTn id="349" fill="hold">
                            <p:stCondLst>
                              <p:cond delay="1000"/>
                            </p:stCondLst>
                            <p:childTnLst>
                              <p:par>
                                <p:cTn id="350" presetID="1" presetClass="entr" presetSubtype="0" fill="hold" grpId="0" nodeType="afterEffect">
                                  <p:stCondLst>
                                    <p:cond delay="0"/>
                                  </p:stCondLst>
                                  <p:childTnLst>
                                    <p:set>
                                      <p:cBhvr>
                                        <p:cTn id="351" dur="1" fill="hold">
                                          <p:stCondLst>
                                            <p:cond delay="0"/>
                                          </p:stCondLst>
                                        </p:cTn>
                                        <p:tgtEl>
                                          <p:spTgt spid="169"/>
                                        </p:tgtEl>
                                        <p:attrNameLst>
                                          <p:attrName>style.visibility</p:attrName>
                                        </p:attrNameLst>
                                      </p:cBhvr>
                                      <p:to>
                                        <p:strVal val="visible"/>
                                      </p:to>
                                    </p:set>
                                  </p:childTnLst>
                                </p:cTn>
                              </p:par>
                              <p:par>
                                <p:cTn id="352" presetID="42" presetClass="path" presetSubtype="0" decel="100000" fill="hold" grpId="1" nodeType="withEffect">
                                  <p:stCondLst>
                                    <p:cond delay="0"/>
                                  </p:stCondLst>
                                  <p:childTnLst>
                                    <p:animMotion origin="layout" path="M -3.125E-6 2.22222E-6 L 0.29037 0.08889 " pathEditMode="relative" rAng="0" ptsTypes="AA">
                                      <p:cBhvr>
                                        <p:cTn id="353" dur="750" fill="hold"/>
                                        <p:tgtEl>
                                          <p:spTgt spid="169"/>
                                        </p:tgtEl>
                                        <p:attrNameLst>
                                          <p:attrName>ppt_x</p:attrName>
                                          <p:attrName>ppt_y</p:attrName>
                                        </p:attrNameLst>
                                      </p:cBhvr>
                                      <p:rCtr x="14518" y="4444"/>
                                    </p:animMotion>
                                  </p:childTnLst>
                                </p:cTn>
                              </p:par>
                              <p:par>
                                <p:cTn id="354" presetID="10" presetClass="exit" presetSubtype="0" fill="hold" grpId="2" nodeType="withEffect">
                                  <p:stCondLst>
                                    <p:cond delay="0"/>
                                  </p:stCondLst>
                                  <p:childTnLst>
                                    <p:animEffect transition="out" filter="fade">
                                      <p:cBhvr>
                                        <p:cTn id="355" dur="500"/>
                                        <p:tgtEl>
                                          <p:spTgt spid="169"/>
                                        </p:tgtEl>
                                      </p:cBhvr>
                                    </p:animEffect>
                                    <p:set>
                                      <p:cBhvr>
                                        <p:cTn id="356" dur="1" fill="hold">
                                          <p:stCondLst>
                                            <p:cond delay="499"/>
                                          </p:stCondLst>
                                        </p:cTn>
                                        <p:tgtEl>
                                          <p:spTgt spid="169"/>
                                        </p:tgtEl>
                                        <p:attrNameLst>
                                          <p:attrName>style.visibility</p:attrName>
                                        </p:attrNameLst>
                                      </p:cBhvr>
                                      <p:to>
                                        <p:strVal val="hidden"/>
                                      </p:to>
                                    </p:set>
                                  </p:childTnLst>
                                </p:cTn>
                              </p:par>
                              <p:par>
                                <p:cTn id="357" presetID="10" presetClass="entr" presetSubtype="0" fill="hold" nodeType="withEffect">
                                  <p:stCondLst>
                                    <p:cond delay="0"/>
                                  </p:stCondLst>
                                  <p:childTnLst>
                                    <p:set>
                                      <p:cBhvr>
                                        <p:cTn id="358" dur="1" fill="hold">
                                          <p:stCondLst>
                                            <p:cond delay="0"/>
                                          </p:stCondLst>
                                        </p:cTn>
                                        <p:tgtEl>
                                          <p:spTgt spid="208"/>
                                        </p:tgtEl>
                                        <p:attrNameLst>
                                          <p:attrName>style.visibility</p:attrName>
                                        </p:attrNameLst>
                                      </p:cBhvr>
                                      <p:to>
                                        <p:strVal val="visible"/>
                                      </p:to>
                                    </p:set>
                                    <p:animEffect transition="in" filter="fade">
                                      <p:cBhvr>
                                        <p:cTn id="359" dur="500"/>
                                        <p:tgtEl>
                                          <p:spTgt spid="208"/>
                                        </p:tgtEl>
                                      </p:cBhvr>
                                    </p:animEffect>
                                  </p:childTnLst>
                                </p:cTn>
                              </p:par>
                              <p:par>
                                <p:cTn id="360" presetID="10" presetClass="exit" presetSubtype="0" fill="hold" grpId="1" nodeType="withEffect">
                                  <p:stCondLst>
                                    <p:cond delay="0"/>
                                  </p:stCondLst>
                                  <p:childTnLst>
                                    <p:animEffect transition="out" filter="fade">
                                      <p:cBhvr>
                                        <p:cTn id="361" dur="500"/>
                                        <p:tgtEl>
                                          <p:spTgt spid="102"/>
                                        </p:tgtEl>
                                      </p:cBhvr>
                                    </p:animEffect>
                                    <p:set>
                                      <p:cBhvr>
                                        <p:cTn id="362" dur="1" fill="hold">
                                          <p:stCondLst>
                                            <p:cond delay="499"/>
                                          </p:stCondLst>
                                        </p:cTn>
                                        <p:tgtEl>
                                          <p:spTgt spid="102"/>
                                        </p:tgtEl>
                                        <p:attrNameLst>
                                          <p:attrName>style.visibility</p:attrName>
                                        </p:attrNameLst>
                                      </p:cBhvr>
                                      <p:to>
                                        <p:strVal val="hidden"/>
                                      </p:to>
                                    </p:set>
                                  </p:childTnLst>
                                </p:cTn>
                              </p:par>
                              <p:par>
                                <p:cTn id="363" presetID="10" presetClass="exit" presetSubtype="0" fill="hold" grpId="1" nodeType="withEffect">
                                  <p:stCondLst>
                                    <p:cond delay="0"/>
                                  </p:stCondLst>
                                  <p:childTnLst>
                                    <p:animEffect transition="out" filter="fade">
                                      <p:cBhvr>
                                        <p:cTn id="364" dur="500"/>
                                        <p:tgtEl>
                                          <p:spTgt spid="125"/>
                                        </p:tgtEl>
                                      </p:cBhvr>
                                    </p:animEffect>
                                    <p:set>
                                      <p:cBhvr>
                                        <p:cTn id="365" dur="1" fill="hold">
                                          <p:stCondLst>
                                            <p:cond delay="499"/>
                                          </p:stCondLst>
                                        </p:cTn>
                                        <p:tgtEl>
                                          <p:spTgt spid="125"/>
                                        </p:tgtEl>
                                        <p:attrNameLst>
                                          <p:attrName>style.visibility</p:attrName>
                                        </p:attrNameLst>
                                      </p:cBhvr>
                                      <p:to>
                                        <p:strVal val="hidden"/>
                                      </p:to>
                                    </p:set>
                                  </p:childTnLst>
                                </p:cTn>
                              </p:par>
                              <p:par>
                                <p:cTn id="366" presetID="10" presetClass="entr" presetSubtype="0" fill="hold" grpId="3" nodeType="withEffect">
                                  <p:stCondLst>
                                    <p:cond delay="0"/>
                                  </p:stCondLst>
                                  <p:childTnLst>
                                    <p:set>
                                      <p:cBhvr>
                                        <p:cTn id="367" dur="1" fill="hold">
                                          <p:stCondLst>
                                            <p:cond delay="0"/>
                                          </p:stCondLst>
                                        </p:cTn>
                                        <p:tgtEl>
                                          <p:spTgt spid="209"/>
                                        </p:tgtEl>
                                        <p:attrNameLst>
                                          <p:attrName>style.visibility</p:attrName>
                                        </p:attrNameLst>
                                      </p:cBhvr>
                                      <p:to>
                                        <p:strVal val="visible"/>
                                      </p:to>
                                    </p:set>
                                    <p:animEffect transition="in" filter="fade">
                                      <p:cBhvr>
                                        <p:cTn id="368" dur="500"/>
                                        <p:tgtEl>
                                          <p:spTgt spid="209"/>
                                        </p:tgtEl>
                                      </p:cBhvr>
                                    </p:animEffect>
                                  </p:childTnLst>
                                </p:cTn>
                              </p:par>
                            </p:childTnLst>
                          </p:cTn>
                        </p:par>
                        <p:par>
                          <p:cTn id="369" fill="hold">
                            <p:stCondLst>
                              <p:cond delay="1750"/>
                            </p:stCondLst>
                            <p:childTnLst>
                              <p:par>
                                <p:cTn id="370" presetID="1" presetClass="entr" presetSubtype="0" fill="hold" grpId="0" nodeType="afterEffect">
                                  <p:stCondLst>
                                    <p:cond delay="0"/>
                                  </p:stCondLst>
                                  <p:childTnLst>
                                    <p:set>
                                      <p:cBhvr>
                                        <p:cTn id="371" dur="1" fill="hold">
                                          <p:stCondLst>
                                            <p:cond delay="0"/>
                                          </p:stCondLst>
                                        </p:cTn>
                                        <p:tgtEl>
                                          <p:spTgt spid="209"/>
                                        </p:tgtEl>
                                        <p:attrNameLst>
                                          <p:attrName>style.visibility</p:attrName>
                                        </p:attrNameLst>
                                      </p:cBhvr>
                                      <p:to>
                                        <p:strVal val="visible"/>
                                      </p:to>
                                    </p:set>
                                  </p:childTnLst>
                                </p:cTn>
                              </p:par>
                              <p:par>
                                <p:cTn id="372" presetID="42" presetClass="path" presetSubtype="0" decel="100000" fill="hold" grpId="1" nodeType="withEffect">
                                  <p:stCondLst>
                                    <p:cond delay="0"/>
                                  </p:stCondLst>
                                  <p:childTnLst>
                                    <p:animMotion origin="layout" path="M -3.54167E-6 2.22222E-6 L 0.22787 0.07037 " pathEditMode="relative" rAng="0" ptsTypes="AA">
                                      <p:cBhvr>
                                        <p:cTn id="373" dur="750" fill="hold"/>
                                        <p:tgtEl>
                                          <p:spTgt spid="209"/>
                                        </p:tgtEl>
                                        <p:attrNameLst>
                                          <p:attrName>ppt_x</p:attrName>
                                          <p:attrName>ppt_y</p:attrName>
                                        </p:attrNameLst>
                                      </p:cBhvr>
                                      <p:rCtr x="11393" y="3519"/>
                                    </p:animMotion>
                                  </p:childTnLst>
                                </p:cTn>
                              </p:par>
                              <p:par>
                                <p:cTn id="374" presetID="10" presetClass="exit" presetSubtype="0" fill="hold" grpId="2" nodeType="withEffect">
                                  <p:stCondLst>
                                    <p:cond delay="0"/>
                                  </p:stCondLst>
                                  <p:childTnLst>
                                    <p:animEffect transition="out" filter="fade">
                                      <p:cBhvr>
                                        <p:cTn id="375" dur="500"/>
                                        <p:tgtEl>
                                          <p:spTgt spid="209"/>
                                        </p:tgtEl>
                                      </p:cBhvr>
                                    </p:animEffect>
                                    <p:set>
                                      <p:cBhvr>
                                        <p:cTn id="376" dur="1" fill="hold">
                                          <p:stCondLst>
                                            <p:cond delay="499"/>
                                          </p:stCondLst>
                                        </p:cTn>
                                        <p:tgtEl>
                                          <p:spTgt spid="209"/>
                                        </p:tgtEl>
                                        <p:attrNameLst>
                                          <p:attrName>style.visibility</p:attrName>
                                        </p:attrNameLst>
                                      </p:cBhvr>
                                      <p:to>
                                        <p:strVal val="hidden"/>
                                      </p:to>
                                    </p:set>
                                  </p:childTnLst>
                                </p:cTn>
                              </p:par>
                              <p:par>
                                <p:cTn id="377" presetID="10" presetClass="entr" presetSubtype="0" fill="hold" nodeType="withEffect">
                                  <p:stCondLst>
                                    <p:cond delay="0"/>
                                  </p:stCondLst>
                                  <p:childTnLst>
                                    <p:set>
                                      <p:cBhvr>
                                        <p:cTn id="378" dur="1" fill="hold">
                                          <p:stCondLst>
                                            <p:cond delay="0"/>
                                          </p:stCondLst>
                                        </p:cTn>
                                        <p:tgtEl>
                                          <p:spTgt spid="210"/>
                                        </p:tgtEl>
                                        <p:attrNameLst>
                                          <p:attrName>style.visibility</p:attrName>
                                        </p:attrNameLst>
                                      </p:cBhvr>
                                      <p:to>
                                        <p:strVal val="visible"/>
                                      </p:to>
                                    </p:set>
                                    <p:animEffect transition="in" filter="fade">
                                      <p:cBhvr>
                                        <p:cTn id="379" dur="500"/>
                                        <p:tgtEl>
                                          <p:spTgt spid="210"/>
                                        </p:tgtEl>
                                      </p:cBhvr>
                                    </p:animEffect>
                                  </p:childTnLst>
                                </p:cTn>
                              </p:par>
                            </p:childTnLst>
                          </p:cTn>
                        </p:par>
                      </p:childTnLst>
                    </p:cTn>
                  </p:par>
                  <p:par>
                    <p:cTn id="380" fill="hold">
                      <p:stCondLst>
                        <p:cond delay="indefinite"/>
                      </p:stCondLst>
                      <p:childTnLst>
                        <p:par>
                          <p:cTn id="381" fill="hold">
                            <p:stCondLst>
                              <p:cond delay="0"/>
                            </p:stCondLst>
                            <p:childTnLst>
                              <p:par>
                                <p:cTn id="382" presetID="22" presetClass="entr" presetSubtype="2" fill="hold" grpId="1" nodeType="clickEffect">
                                  <p:stCondLst>
                                    <p:cond delay="0"/>
                                  </p:stCondLst>
                                  <p:childTnLst>
                                    <p:set>
                                      <p:cBhvr>
                                        <p:cTn id="383" dur="1" fill="hold">
                                          <p:stCondLst>
                                            <p:cond delay="0"/>
                                          </p:stCondLst>
                                        </p:cTn>
                                        <p:tgtEl>
                                          <p:spTgt spid="166"/>
                                        </p:tgtEl>
                                        <p:attrNameLst>
                                          <p:attrName>style.visibility</p:attrName>
                                        </p:attrNameLst>
                                      </p:cBhvr>
                                      <p:to>
                                        <p:strVal val="visible"/>
                                      </p:to>
                                    </p:set>
                                    <p:animEffect transition="in" filter="wipe(right)">
                                      <p:cBhvr>
                                        <p:cTn id="384"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141" grpId="0"/>
      <p:bldP spid="141" grpId="1"/>
      <p:bldP spid="142" grpId="0"/>
      <p:bldP spid="142" grpId="1"/>
      <p:bldP spid="143" grpId="0"/>
      <p:bldP spid="143" grpId="1"/>
      <p:bldP spid="152" grpId="0"/>
      <p:bldP spid="152" grpId="1"/>
      <p:bldP spid="181" grpId="0"/>
      <p:bldP spid="166" grpId="0" animBg="1"/>
      <p:bldP spid="166" grpId="1" animBg="1"/>
      <p:bldP spid="168" grpId="0" animBg="1"/>
      <p:bldP spid="168" grpId="1" animBg="1"/>
      <p:bldP spid="176" grpId="0" animBg="1"/>
      <p:bldP spid="177" grpId="0"/>
      <p:bldP spid="177" grpId="1"/>
      <p:bldP spid="180" grpId="0" animBg="1"/>
      <p:bldP spid="180" grpId="1" animBg="1"/>
      <p:bldP spid="184" grpId="0" animBg="1"/>
      <p:bldP spid="184" grpId="1" animBg="1"/>
      <p:bldP spid="185" grpId="0" animBg="1"/>
      <p:bldP spid="185" grpId="1" animBg="1"/>
      <p:bldP spid="185" grpId="2" animBg="1"/>
      <p:bldP spid="186" grpId="0" animBg="1"/>
      <p:bldP spid="186" grpId="1" animBg="1"/>
      <p:bldP spid="186" grpId="2" animBg="1"/>
      <p:bldP spid="189" grpId="0" animBg="1"/>
      <p:bldP spid="189" grpId="1" animBg="1"/>
      <p:bldP spid="189" grpId="2" animBg="1"/>
      <p:bldP spid="190" grpId="0" animBg="1"/>
      <p:bldP spid="190" grpId="1" animBg="1"/>
      <p:bldP spid="190" grpId="2" animBg="1"/>
      <p:bldP spid="20" grpId="0" animBg="1"/>
      <p:bldP spid="20" grpId="1" animBg="1"/>
      <p:bldP spid="194" grpId="0" animBg="1"/>
      <p:bldP spid="194" grpId="1" animBg="1"/>
      <p:bldP spid="195" grpId="0" animBg="1"/>
      <p:bldP spid="195" grpId="1" animBg="1"/>
      <p:bldP spid="195" grpId="2" animBg="1"/>
      <p:bldP spid="195" grpId="3" animBg="1"/>
      <p:bldP spid="196" grpId="0" animBg="1"/>
      <p:bldP spid="196" grpId="1" animBg="1"/>
      <p:bldP spid="198" grpId="0" animBg="1"/>
      <p:bldP spid="198" grpId="1" animBg="1"/>
      <p:bldP spid="198" grpId="2" animBg="1"/>
      <p:bldP spid="198" grpId="3" animBg="1"/>
      <p:bldP spid="199" grpId="0" animBg="1"/>
      <p:bldP spid="199" grpId="1" animBg="1"/>
      <p:bldP spid="201" grpId="0"/>
      <p:bldP spid="203" grpId="0" animBg="1"/>
      <p:bldP spid="203" grpId="1" animBg="1"/>
      <p:bldP spid="192" grpId="0" animBg="1"/>
      <p:bldP spid="192" grpId="1" animBg="1"/>
      <p:bldP spid="192" grpId="2" animBg="1"/>
      <p:bldP spid="192" grpId="3" animBg="1"/>
      <p:bldP spid="192" grpId="4" animBg="1"/>
      <p:bldP spid="193" grpId="0" animBg="1"/>
      <p:bldP spid="193" grpId="1" animBg="1"/>
      <p:bldP spid="193" grpId="2" animBg="1"/>
      <p:bldP spid="193" grpId="3" animBg="1"/>
      <p:bldP spid="193" grpId="4" animBg="1"/>
      <p:bldP spid="102" grpId="0"/>
      <p:bldP spid="102" grpId="1"/>
      <p:bldP spid="125" grpId="0"/>
      <p:bldP spid="125" grpId="1"/>
      <p:bldP spid="169" grpId="0" animBg="1"/>
      <p:bldP spid="169" grpId="1" animBg="1"/>
      <p:bldP spid="169" grpId="2" animBg="1"/>
      <p:bldP spid="169" grpId="3" animBg="1"/>
      <p:bldP spid="209" grpId="0" animBg="1"/>
      <p:bldP spid="209" grpId="1" animBg="1"/>
      <p:bldP spid="209" grpId="2" animBg="1"/>
      <p:bldP spid="209" grpId="3" animBg="1"/>
      <p:bldP spid="126" grpId="0" animBg="1"/>
      <p:bldP spid="126" grpId="1" animBg="1"/>
      <p:bldP spid="252" grpId="0" animBg="1"/>
      <p:bldP spid="252" grpId="1" animBg="1"/>
      <p:bldP spid="252" grpId="2" animBg="1"/>
      <p:bldP spid="254" grpId="0" animBg="1"/>
      <p:bldP spid="254" grpId="1" animBg="1"/>
      <p:bldP spid="254" grpId="2" animBg="1"/>
      <p:bldP spid="255" grpId="0" animBg="1"/>
      <p:bldP spid="255" grpId="1" animBg="1"/>
      <p:bldP spid="256" grpId="0" animBg="1"/>
      <p:bldP spid="256" grpId="1" animBg="1"/>
      <p:bldP spid="257" grpId="0" animBg="1"/>
      <p:bldP spid="257" grpId="1" animBg="1"/>
      <p:bldP spid="257" grpId="2" animBg="1"/>
      <p:bldP spid="258" grpId="0" animBg="1"/>
      <p:bldP spid="258" grpId="1" animBg="1"/>
      <p:bldP spid="258" grpId="2" animBg="1"/>
      <p:bldP spid="259" grpId="0" animBg="1"/>
      <p:bldP spid="259" grpId="1" animBg="1"/>
      <p:bldP spid="260" grpId="0" animBg="1"/>
      <p:bldP spid="260" grpId="1" animBg="1"/>
      <p:bldP spid="261" grpId="0"/>
      <p:bldP spid="261" grpId="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 y="487"/>
            <a:ext cx="3599078" cy="685703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4" name="Rectangle 13"/>
          <p:cNvSpPr/>
          <p:nvPr/>
        </p:nvSpPr>
        <p:spPr bwMode="auto">
          <a:xfrm>
            <a:off x="180157" y="487"/>
            <a:ext cx="12011844" cy="99466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spc="-29" dirty="0">
                <a:gradFill>
                  <a:gsLst>
                    <a:gs pos="73451">
                      <a:srgbClr val="0072C6"/>
                    </a:gs>
                    <a:gs pos="36283">
                      <a:srgbClr val="0072C6"/>
                    </a:gs>
                  </a:gsLst>
                  <a:lin ang="5400000" scaled="0"/>
                </a:gradFill>
              </a:rPr>
              <a:t>Experience 1B | Infrastructure Foundation</a:t>
            </a:r>
          </a:p>
          <a:p>
            <a:pPr indent="-169599" defTabSz="897084" fontAlgn="base">
              <a:lnSpc>
                <a:spcPct val="90000"/>
              </a:lnSpc>
              <a:spcBef>
                <a:spcPct val="0"/>
              </a:spcBef>
              <a:spcAft>
                <a:spcPct val="0"/>
              </a:spcAft>
            </a:pPr>
            <a:r>
              <a:rPr lang="en-US" sz="3529" spc="-49" dirty="0">
                <a:gradFill>
                  <a:gsLst>
                    <a:gs pos="93805">
                      <a:srgbClr val="191919"/>
                    </a:gs>
                    <a:gs pos="84071">
                      <a:srgbClr val="191919"/>
                    </a:gs>
                  </a:gsLst>
                  <a:lin ang="5400000" scaled="0"/>
                </a:gradFill>
                <a:latin typeface="Segoe UI Light"/>
              </a:rPr>
              <a:t>Cloud and </a:t>
            </a:r>
            <a:r>
              <a:rPr lang="en-US" sz="3529" spc="-49" dirty="0" smtClean="0">
                <a:gradFill>
                  <a:gsLst>
                    <a:gs pos="93805">
                      <a:srgbClr val="191919"/>
                    </a:gs>
                    <a:gs pos="84071">
                      <a:srgbClr val="191919"/>
                    </a:gs>
                  </a:gsLst>
                  <a:lin ang="5400000" scaled="0"/>
                </a:gradFill>
                <a:latin typeface="Segoe UI Light"/>
              </a:rPr>
              <a:t>Datacenter </a:t>
            </a:r>
            <a:r>
              <a:rPr lang="en-US" sz="3529" spc="-49" dirty="0">
                <a:gradFill>
                  <a:gsLst>
                    <a:gs pos="93805">
                      <a:srgbClr val="191919"/>
                    </a:gs>
                    <a:gs pos="84071">
                      <a:srgbClr val="191919"/>
                    </a:gs>
                  </a:gsLst>
                  <a:lin ang="5400000" scaled="0"/>
                </a:gradFill>
                <a:latin typeface="Segoe UI Light"/>
              </a:rPr>
              <a:t>I</a:t>
            </a:r>
            <a:r>
              <a:rPr lang="en-US" sz="3529" spc="-49" dirty="0" smtClean="0">
                <a:gradFill>
                  <a:gsLst>
                    <a:gs pos="93805">
                      <a:srgbClr val="191919"/>
                    </a:gs>
                    <a:gs pos="84071">
                      <a:srgbClr val="191919"/>
                    </a:gs>
                  </a:gsLst>
                  <a:lin ang="5400000" scaled="0"/>
                </a:gradFill>
                <a:latin typeface="Segoe UI Light"/>
              </a:rPr>
              <a:t>nfrastructure</a:t>
            </a:r>
            <a:endParaRPr lang="en-US" sz="3529" spc="-49" dirty="0">
              <a:gradFill>
                <a:gsLst>
                  <a:gs pos="93805">
                    <a:srgbClr val="191919"/>
                  </a:gs>
                  <a:gs pos="84071">
                    <a:srgbClr val="191919"/>
                  </a:gs>
                </a:gsLst>
                <a:lin ang="5400000" scaled="0"/>
              </a:gradFill>
              <a:latin typeface="Segoe UI Light"/>
            </a:endParaRPr>
          </a:p>
        </p:txBody>
      </p:sp>
      <p:sp>
        <p:nvSpPr>
          <p:cNvPr id="20" name="Rectangle 19"/>
          <p:cNvSpPr/>
          <p:nvPr/>
        </p:nvSpPr>
        <p:spPr bwMode="auto">
          <a:xfrm>
            <a:off x="312163" y="1652661"/>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A. Transformed </a:t>
            </a:r>
            <a:br>
              <a:rPr lang="en-US" sz="1372" b="1" kern="0" dirty="0">
                <a:gradFill>
                  <a:gsLst>
                    <a:gs pos="83178">
                      <a:srgbClr val="505050"/>
                    </a:gs>
                    <a:gs pos="45000">
                      <a:srgbClr val="505050"/>
                    </a:gs>
                  </a:gsLst>
                  <a:lin ang="5400000" scaled="0"/>
                </a:gradFill>
                <a:latin typeface="Calibri" panose="020F0502020204030204"/>
              </a:rPr>
            </a:br>
            <a:r>
              <a:rPr lang="en-US" sz="1372" b="1" kern="0" dirty="0">
                <a:gradFill>
                  <a:gsLst>
                    <a:gs pos="83178">
                      <a:srgbClr val="505050"/>
                    </a:gs>
                    <a:gs pos="45000">
                      <a:srgbClr val="505050"/>
                    </a:gs>
                  </a:gsLst>
                  <a:lin ang="5400000" scaled="0"/>
                </a:gradFill>
                <a:latin typeface="Calibri" panose="020F0502020204030204"/>
              </a:rPr>
              <a:t>infrastructure design</a:t>
            </a:r>
          </a:p>
          <a:p>
            <a:pPr defTabSz="877449" fontAlgn="base">
              <a:lnSpc>
                <a:spcPct val="90000"/>
              </a:lnSpc>
              <a:spcBef>
                <a:spcPct val="0"/>
              </a:spcBef>
              <a:spcAft>
                <a:spcPct val="0"/>
              </a:spcAft>
              <a:defRPr/>
            </a:pPr>
            <a:endParaRPr lang="en-US" sz="588"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Setting up your infrastructure for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the private cloud and public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cloud consumption</a:t>
            </a:r>
          </a:p>
        </p:txBody>
      </p:sp>
      <p:sp>
        <p:nvSpPr>
          <p:cNvPr id="21" name="Rectangle 20"/>
          <p:cNvSpPr/>
          <p:nvPr/>
        </p:nvSpPr>
        <p:spPr bwMode="auto">
          <a:xfrm>
            <a:off x="312163" y="3238643"/>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B. VMs, clouds, </a:t>
            </a:r>
            <a:br>
              <a:rPr lang="en-US" sz="1372" b="1" kern="0" dirty="0">
                <a:gradFill>
                  <a:gsLst>
                    <a:gs pos="83178">
                      <a:srgbClr val="505050"/>
                    </a:gs>
                    <a:gs pos="45000">
                      <a:srgbClr val="505050"/>
                    </a:gs>
                  </a:gsLst>
                  <a:lin ang="5400000" scaled="0"/>
                </a:gradFill>
                <a:latin typeface="Calibri" panose="020F0502020204030204"/>
              </a:rPr>
            </a:br>
            <a:r>
              <a:rPr lang="en-US" sz="1372" b="1" kern="0" dirty="0">
                <a:gradFill>
                  <a:gsLst>
                    <a:gs pos="83178">
                      <a:srgbClr val="505050"/>
                    </a:gs>
                    <a:gs pos="45000">
                      <a:srgbClr val="505050"/>
                    </a:gs>
                  </a:gsLst>
                  <a:lin ang="5400000" scaled="0"/>
                </a:gradFill>
                <a:latin typeface="Calibri" panose="020F0502020204030204"/>
              </a:rPr>
              <a:t>and services</a:t>
            </a:r>
          </a:p>
          <a:p>
            <a:pPr defTabSz="877449" fontAlgn="base">
              <a:lnSpc>
                <a:spcPct val="90000"/>
              </a:lnSpc>
              <a:spcBef>
                <a:spcPts val="575"/>
              </a:spcBef>
              <a:spcAft>
                <a:spcPct val="0"/>
              </a:spcAft>
              <a:defRPr/>
            </a:pPr>
            <a:r>
              <a:rPr lang="en-US" sz="1175" kern="0" dirty="0">
                <a:gradFill>
                  <a:gsLst>
                    <a:gs pos="83178">
                      <a:srgbClr val="505050"/>
                    </a:gs>
                    <a:gs pos="45000">
                      <a:srgbClr val="505050"/>
                    </a:gs>
                  </a:gsLst>
                  <a:lin ang="5400000" scaled="0"/>
                </a:gradFill>
                <a:latin typeface="Calibri" panose="020F0502020204030204"/>
              </a:rPr>
              <a:t>Ensuring VM adaptability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across environments</a:t>
            </a:r>
          </a:p>
        </p:txBody>
      </p:sp>
      <p:sp>
        <p:nvSpPr>
          <p:cNvPr id="22" name="TextBox 21"/>
          <p:cNvSpPr txBox="1"/>
          <p:nvPr/>
        </p:nvSpPr>
        <p:spPr>
          <a:xfrm>
            <a:off x="3911241" y="1652662"/>
            <a:ext cx="8263527" cy="2606842"/>
          </a:xfrm>
          <a:prstGeom prst="rect">
            <a:avLst/>
          </a:prstGeom>
          <a:noFill/>
        </p:spPr>
        <p:txBody>
          <a:bodyPr wrap="square" lIns="179253" tIns="143402" rIns="179253" bIns="143402" rtlCol="0">
            <a:spAutoFit/>
          </a:bodyPr>
          <a:lstStyle/>
          <a:p>
            <a:pPr defTabSz="914367">
              <a:lnSpc>
                <a:spcPct val="90000"/>
              </a:lnSpc>
              <a:spcAft>
                <a:spcPts val="588"/>
              </a:spcAft>
            </a:pPr>
            <a:r>
              <a:rPr lang="en-US" sz="3529" dirty="0">
                <a:gradFill>
                  <a:gsLst>
                    <a:gs pos="73451">
                      <a:srgbClr val="0072C6"/>
                    </a:gs>
                    <a:gs pos="36283">
                      <a:srgbClr val="0072C6"/>
                    </a:gs>
                  </a:gsLst>
                </a:gradFill>
                <a:latin typeface="Segoe UI Light"/>
              </a:rPr>
              <a:t>E1B Scenarios: </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Configure virtual </a:t>
            </a:r>
            <a:r>
              <a:rPr lang="en-US" sz="2745" dirty="0" smtClean="0">
                <a:gradFill>
                  <a:gsLst>
                    <a:gs pos="2917">
                      <a:srgbClr val="505050"/>
                    </a:gs>
                    <a:gs pos="30000">
                      <a:srgbClr val="505050"/>
                    </a:gs>
                  </a:gsLst>
                  <a:lin ang="5400000" scaled="0"/>
                </a:gradFill>
                <a:latin typeface="Segoe UI Light"/>
              </a:rPr>
              <a:t>machines</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Capacity management</a:t>
            </a:r>
            <a:endParaRPr lang="en-US" sz="2745" dirty="0">
              <a:gradFill>
                <a:gsLst>
                  <a:gs pos="2917">
                    <a:srgbClr val="505050"/>
                  </a:gs>
                  <a:gs pos="30000">
                    <a:srgbClr val="505050"/>
                  </a:gs>
                </a:gsLst>
                <a:lin ang="5400000" scaled="0"/>
              </a:gradFill>
              <a:latin typeface="Segoe UI Light"/>
            </a:endParaRP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Cross platform guest OS </a:t>
            </a:r>
            <a:r>
              <a:rPr lang="en-US" sz="2745" dirty="0" smtClean="0">
                <a:gradFill>
                  <a:gsLst>
                    <a:gs pos="2917">
                      <a:srgbClr val="505050"/>
                    </a:gs>
                    <a:gs pos="30000">
                      <a:srgbClr val="505050"/>
                    </a:gs>
                  </a:gsLst>
                  <a:lin ang="5400000" scaled="0"/>
                </a:gradFill>
                <a:latin typeface="Segoe UI Light"/>
              </a:rPr>
              <a:t>support – Hot Add</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Cross platform guest OS support – </a:t>
            </a:r>
            <a:r>
              <a:rPr lang="en-US" sz="2745" dirty="0" smtClean="0">
                <a:gradFill>
                  <a:gsLst>
                    <a:gs pos="2917">
                      <a:srgbClr val="505050"/>
                    </a:gs>
                    <a:gs pos="30000">
                      <a:srgbClr val="505050"/>
                    </a:gs>
                  </a:gsLst>
                  <a:lin ang="5400000" scaled="0"/>
                </a:gradFill>
                <a:latin typeface="Segoe UI Light"/>
              </a:rPr>
              <a:t>IP Injection</a:t>
            </a:r>
            <a:endParaRPr lang="en-US" sz="2745" dirty="0">
              <a:gradFill>
                <a:gsLst>
                  <a:gs pos="2917">
                    <a:srgbClr val="505050"/>
                  </a:gs>
                  <a:gs pos="30000">
                    <a:srgbClr val="505050"/>
                  </a:gs>
                </a:gsLst>
                <a:lin ang="5400000" scaled="0"/>
              </a:gradFill>
              <a:latin typeface="Segoe UI Light"/>
            </a:endParaRPr>
          </a:p>
        </p:txBody>
      </p:sp>
      <p:sp>
        <p:nvSpPr>
          <p:cNvPr id="23" name="TextBox 22"/>
          <p:cNvSpPr txBox="1"/>
          <p:nvPr/>
        </p:nvSpPr>
        <p:spPr>
          <a:xfrm>
            <a:off x="0" y="5151015"/>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15929">
                      <a:srgbClr val="FFFFFF"/>
                    </a:gs>
                    <a:gs pos="36283">
                      <a:srgbClr val="FFFFFF"/>
                    </a:gs>
                  </a:gsLst>
                  <a:lin ang="0" scaled="0"/>
                </a:gradFill>
                <a:latin typeface="Segoe UI Light"/>
              </a:rPr>
              <a:t>30 minutes to complete this story—do not proceed to the next story</a:t>
            </a:r>
          </a:p>
        </p:txBody>
      </p:sp>
      <p:sp>
        <p:nvSpPr>
          <p:cNvPr id="24" name="TextBox 23"/>
          <p:cNvSpPr txBox="1"/>
          <p:nvPr/>
        </p:nvSpPr>
        <p:spPr>
          <a:xfrm>
            <a:off x="0" y="5922550"/>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15929">
                      <a:srgbClr val="FFFFFF"/>
                    </a:gs>
                    <a:gs pos="36283">
                      <a:srgbClr val="FFFFFF"/>
                    </a:gs>
                  </a:gsLst>
                  <a:lin ang="0" scaled="0"/>
                </a:gradFill>
                <a:latin typeface="Segoe UI Light"/>
              </a:rPr>
              <a:t>Q &amp; A @ 30 minutes</a:t>
            </a:r>
          </a:p>
        </p:txBody>
      </p:sp>
      <p:sp>
        <p:nvSpPr>
          <p:cNvPr id="25" name="Rectangle 24"/>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26" name="Rectangle 25"/>
          <p:cNvSpPr/>
          <p:nvPr/>
        </p:nvSpPr>
        <p:spPr bwMode="auto">
          <a:xfrm>
            <a:off x="1" y="4997289"/>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7" name="Rectangle 26"/>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8" name="Rectangle 27"/>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9" name="Rectangle 28"/>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241666703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26"/>
                                        </p:tgtEl>
                                        <p:attrNameLst>
                                          <p:attrName>ppt_x</p:attrName>
                                        </p:attrNameLst>
                                      </p:cBhvr>
                                      <p:tavLst>
                                        <p:tav tm="0">
                                          <p:val>
                                            <p:strVal val="ppt_x"/>
                                          </p:val>
                                        </p:tav>
                                        <p:tav tm="100000">
                                          <p:val>
                                            <p:strVal val="0-ppt_w/2"/>
                                          </p:val>
                                        </p:tav>
                                      </p:tavLst>
                                    </p:anim>
                                    <p:anim calcmode="lin" valueType="num">
                                      <p:cBhvr additive="base">
                                        <p:cTn id="7" dur="200"/>
                                        <p:tgtEl>
                                          <p:spTgt spid="26"/>
                                        </p:tgtEl>
                                        <p:attrNameLst>
                                          <p:attrName>ppt_y</p:attrName>
                                        </p:attrNameLst>
                                      </p:cBhvr>
                                      <p:tavLst>
                                        <p:tav tm="0">
                                          <p:val>
                                            <p:strVal val="ppt_y"/>
                                          </p:val>
                                        </p:tav>
                                        <p:tav tm="100000">
                                          <p:val>
                                            <p:strVal val="ppt_y"/>
                                          </p:val>
                                        </p:tav>
                                      </p:tavLst>
                                    </p:anim>
                                    <p:set>
                                      <p:cBhvr>
                                        <p:cTn id="8" dur="1" fill="hold">
                                          <p:stCondLst>
                                            <p:cond delay="199"/>
                                          </p:stCondLst>
                                        </p:cTn>
                                        <p:tgtEl>
                                          <p:spTgt spid="26"/>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200"/>
                                        <p:tgtEl>
                                          <p:spTgt spid="25"/>
                                        </p:tgtEl>
                                        <p:attrNameLst>
                                          <p:attrName>ppt_x</p:attrName>
                                        </p:attrNameLst>
                                      </p:cBhvr>
                                      <p:tavLst>
                                        <p:tav tm="0">
                                          <p:val>
                                            <p:strVal val="ppt_x"/>
                                          </p:val>
                                        </p:tav>
                                        <p:tav tm="100000">
                                          <p:val>
                                            <p:strVal val="0-ppt_w/2"/>
                                          </p:val>
                                        </p:tav>
                                      </p:tavLst>
                                    </p:anim>
                                    <p:anim calcmode="lin" valueType="num">
                                      <p:cBhvr additive="base">
                                        <p:cTn id="11" dur="200"/>
                                        <p:tgtEl>
                                          <p:spTgt spid="25"/>
                                        </p:tgtEl>
                                        <p:attrNameLst>
                                          <p:attrName>ppt_y</p:attrName>
                                        </p:attrNameLst>
                                      </p:cBhvr>
                                      <p:tavLst>
                                        <p:tav tm="0">
                                          <p:val>
                                            <p:strVal val="ppt_y"/>
                                          </p:val>
                                        </p:tav>
                                        <p:tav tm="100000">
                                          <p:val>
                                            <p:strVal val="ppt_y"/>
                                          </p:val>
                                        </p:tav>
                                      </p:tavLst>
                                    </p:anim>
                                    <p:set>
                                      <p:cBhvr>
                                        <p:cTn id="12" dur="1" fill="hold">
                                          <p:stCondLst>
                                            <p:cond delay="199"/>
                                          </p:stCondLst>
                                        </p:cTn>
                                        <p:tgtEl>
                                          <p:spTgt spid="25"/>
                                        </p:tgtEl>
                                        <p:attrNameLst>
                                          <p:attrName>style.visibility</p:attrName>
                                        </p:attrNameLst>
                                      </p:cBhvr>
                                      <p:to>
                                        <p:strVal val="hidden"/>
                                      </p:to>
                                    </p:set>
                                  </p:childTnLst>
                                </p:cTn>
                              </p:par>
                              <p:par>
                                <p:cTn id="13" presetID="2" presetClass="exit" presetSubtype="8" fill="hold" grpId="0" nodeType="withEffect">
                                  <p:stCondLst>
                                    <p:cond delay="100"/>
                                  </p:stCondLst>
                                  <p:childTnLst>
                                    <p:anim calcmode="lin" valueType="num">
                                      <p:cBhvr additive="base">
                                        <p:cTn id="14" dur="200"/>
                                        <p:tgtEl>
                                          <p:spTgt spid="27"/>
                                        </p:tgtEl>
                                        <p:attrNameLst>
                                          <p:attrName>ppt_x</p:attrName>
                                        </p:attrNameLst>
                                      </p:cBhvr>
                                      <p:tavLst>
                                        <p:tav tm="0">
                                          <p:val>
                                            <p:strVal val="ppt_x"/>
                                          </p:val>
                                        </p:tav>
                                        <p:tav tm="100000">
                                          <p:val>
                                            <p:strVal val="0-ppt_w/2"/>
                                          </p:val>
                                        </p:tav>
                                      </p:tavLst>
                                    </p:anim>
                                    <p:anim calcmode="lin" valueType="num">
                                      <p:cBhvr additive="base">
                                        <p:cTn id="15" dur="200"/>
                                        <p:tgtEl>
                                          <p:spTgt spid="27"/>
                                        </p:tgtEl>
                                        <p:attrNameLst>
                                          <p:attrName>ppt_y</p:attrName>
                                        </p:attrNameLst>
                                      </p:cBhvr>
                                      <p:tavLst>
                                        <p:tav tm="0">
                                          <p:val>
                                            <p:strVal val="ppt_y"/>
                                          </p:val>
                                        </p:tav>
                                        <p:tav tm="100000">
                                          <p:val>
                                            <p:strVal val="ppt_y"/>
                                          </p:val>
                                        </p:tav>
                                      </p:tavLst>
                                    </p:anim>
                                    <p:set>
                                      <p:cBhvr>
                                        <p:cTn id="16" dur="1" fill="hold">
                                          <p:stCondLst>
                                            <p:cond delay="199"/>
                                          </p:stCondLst>
                                        </p:cTn>
                                        <p:tgtEl>
                                          <p:spTgt spid="27"/>
                                        </p:tgtEl>
                                        <p:attrNameLst>
                                          <p:attrName>style.visibility</p:attrName>
                                        </p:attrNameLst>
                                      </p:cBhvr>
                                      <p:to>
                                        <p:strVal val="hidden"/>
                                      </p:to>
                                    </p:set>
                                  </p:childTnLst>
                                </p:cTn>
                              </p:par>
                              <p:par>
                                <p:cTn id="17" presetID="2" presetClass="exit" presetSubtype="8" fill="hold" grpId="0" nodeType="withEffect">
                                  <p:stCondLst>
                                    <p:cond delay="200"/>
                                  </p:stCondLst>
                                  <p:childTnLst>
                                    <p:anim calcmode="lin" valueType="num">
                                      <p:cBhvr additive="base">
                                        <p:cTn id="18" dur="200"/>
                                        <p:tgtEl>
                                          <p:spTgt spid="28"/>
                                        </p:tgtEl>
                                        <p:attrNameLst>
                                          <p:attrName>ppt_x</p:attrName>
                                        </p:attrNameLst>
                                      </p:cBhvr>
                                      <p:tavLst>
                                        <p:tav tm="0">
                                          <p:val>
                                            <p:strVal val="ppt_x"/>
                                          </p:val>
                                        </p:tav>
                                        <p:tav tm="100000">
                                          <p:val>
                                            <p:strVal val="0-ppt_w/2"/>
                                          </p:val>
                                        </p:tav>
                                      </p:tavLst>
                                    </p:anim>
                                    <p:anim calcmode="lin" valueType="num">
                                      <p:cBhvr additive="base">
                                        <p:cTn id="19" dur="200"/>
                                        <p:tgtEl>
                                          <p:spTgt spid="28"/>
                                        </p:tgtEl>
                                        <p:attrNameLst>
                                          <p:attrName>ppt_y</p:attrName>
                                        </p:attrNameLst>
                                      </p:cBhvr>
                                      <p:tavLst>
                                        <p:tav tm="0">
                                          <p:val>
                                            <p:strVal val="ppt_y"/>
                                          </p:val>
                                        </p:tav>
                                        <p:tav tm="100000">
                                          <p:val>
                                            <p:strVal val="ppt_y"/>
                                          </p:val>
                                        </p:tav>
                                      </p:tavLst>
                                    </p:anim>
                                    <p:set>
                                      <p:cBhvr>
                                        <p:cTn id="20" dur="1" fill="hold">
                                          <p:stCondLst>
                                            <p:cond delay="199"/>
                                          </p:stCondLst>
                                        </p:cTn>
                                        <p:tgtEl>
                                          <p:spTgt spid="28"/>
                                        </p:tgtEl>
                                        <p:attrNameLst>
                                          <p:attrName>style.visibility</p:attrName>
                                        </p:attrNameLst>
                                      </p:cBhvr>
                                      <p:to>
                                        <p:strVal val="hidden"/>
                                      </p:to>
                                    </p:set>
                                  </p:childTnLst>
                                </p:cTn>
                              </p:par>
                              <p:par>
                                <p:cTn id="21" presetID="2" presetClass="exit" presetSubtype="8" fill="hold" grpId="0" nodeType="withEffect">
                                  <p:stCondLst>
                                    <p:cond delay="300"/>
                                  </p:stCondLst>
                                  <p:childTnLst>
                                    <p:anim calcmode="lin" valueType="num">
                                      <p:cBhvr additive="base">
                                        <p:cTn id="22" dur="200"/>
                                        <p:tgtEl>
                                          <p:spTgt spid="29"/>
                                        </p:tgtEl>
                                        <p:attrNameLst>
                                          <p:attrName>ppt_x</p:attrName>
                                        </p:attrNameLst>
                                      </p:cBhvr>
                                      <p:tavLst>
                                        <p:tav tm="0">
                                          <p:val>
                                            <p:strVal val="ppt_x"/>
                                          </p:val>
                                        </p:tav>
                                        <p:tav tm="100000">
                                          <p:val>
                                            <p:strVal val="0-ppt_w/2"/>
                                          </p:val>
                                        </p:tav>
                                      </p:tavLst>
                                    </p:anim>
                                    <p:anim calcmode="lin" valueType="num">
                                      <p:cBhvr additive="base">
                                        <p:cTn id="23" dur="200"/>
                                        <p:tgtEl>
                                          <p:spTgt spid="29"/>
                                        </p:tgtEl>
                                        <p:attrNameLst>
                                          <p:attrName>ppt_y</p:attrName>
                                        </p:attrNameLst>
                                      </p:cBhvr>
                                      <p:tavLst>
                                        <p:tav tm="0">
                                          <p:val>
                                            <p:strVal val="ppt_y"/>
                                          </p:val>
                                        </p:tav>
                                        <p:tav tm="100000">
                                          <p:val>
                                            <p:strVal val="ppt_y"/>
                                          </p:val>
                                        </p:tav>
                                      </p:tavLst>
                                    </p:anim>
                                    <p:set>
                                      <p:cBhvr>
                                        <p:cTn id="24" dur="1" fill="hold">
                                          <p:stCondLst>
                                            <p:cond delay="199"/>
                                          </p:stCondLst>
                                        </p:cTn>
                                        <p:tgtEl>
                                          <p:spTgt spid="29"/>
                                        </p:tgtEl>
                                        <p:attrNameLst>
                                          <p:attrName>style.visibility</p:attrName>
                                        </p:attrNameLst>
                                      </p:cBhvr>
                                      <p:to>
                                        <p:strVal val="hidden"/>
                                      </p:to>
                                    </p:set>
                                  </p:childTnLst>
                                </p:cTn>
                              </p:par>
                              <p:par>
                                <p:cTn id="25" presetID="2" presetClass="entr" presetSubtype="8" decel="100000" fill="hold" grpId="0" nodeType="withEffect">
                                  <p:stCondLst>
                                    <p:cond delay="6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800" fill="hold"/>
                                        <p:tgtEl>
                                          <p:spTgt spid="13"/>
                                        </p:tgtEl>
                                        <p:attrNameLst>
                                          <p:attrName>ppt_x</p:attrName>
                                        </p:attrNameLst>
                                      </p:cBhvr>
                                      <p:tavLst>
                                        <p:tav tm="0">
                                          <p:val>
                                            <p:strVal val="0-#ppt_w/2"/>
                                          </p:val>
                                        </p:tav>
                                        <p:tav tm="100000">
                                          <p:val>
                                            <p:strVal val="#ppt_x"/>
                                          </p:val>
                                        </p:tav>
                                      </p:tavLst>
                                    </p:anim>
                                    <p:anim calcmode="lin" valueType="num">
                                      <p:cBhvr additive="base">
                                        <p:cTn id="28" dur="8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6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800" fill="hold"/>
                                        <p:tgtEl>
                                          <p:spTgt spid="14"/>
                                        </p:tgtEl>
                                        <p:attrNameLst>
                                          <p:attrName>ppt_x</p:attrName>
                                        </p:attrNameLst>
                                      </p:cBhvr>
                                      <p:tavLst>
                                        <p:tav tm="0">
                                          <p:val>
                                            <p:strVal val="0-#ppt_w/2"/>
                                          </p:val>
                                        </p:tav>
                                        <p:tav tm="100000">
                                          <p:val>
                                            <p:strVal val="#ppt_x"/>
                                          </p:val>
                                        </p:tav>
                                      </p:tavLst>
                                    </p:anim>
                                    <p:anim calcmode="lin" valueType="num">
                                      <p:cBhvr additive="base">
                                        <p:cTn id="32" dur="800" fill="hold"/>
                                        <p:tgtEl>
                                          <p:spTgt spid="14"/>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600" fill="hold"/>
                                        <p:tgtEl>
                                          <p:spTgt spid="20"/>
                                        </p:tgtEl>
                                        <p:attrNameLst>
                                          <p:attrName>ppt_x</p:attrName>
                                        </p:attrNameLst>
                                      </p:cBhvr>
                                      <p:tavLst>
                                        <p:tav tm="0">
                                          <p:val>
                                            <p:strVal val="1+#ppt_w/2"/>
                                          </p:val>
                                        </p:tav>
                                        <p:tav tm="100000">
                                          <p:val>
                                            <p:strVal val="#ppt_x"/>
                                          </p:val>
                                        </p:tav>
                                      </p:tavLst>
                                    </p:anim>
                                    <p:anim calcmode="lin" valueType="num">
                                      <p:cBhvr additive="base">
                                        <p:cTn id="36" dur="6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185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600" fill="hold"/>
                                        <p:tgtEl>
                                          <p:spTgt spid="21"/>
                                        </p:tgtEl>
                                        <p:attrNameLst>
                                          <p:attrName>ppt_x</p:attrName>
                                        </p:attrNameLst>
                                      </p:cBhvr>
                                      <p:tavLst>
                                        <p:tav tm="0">
                                          <p:val>
                                            <p:strVal val="1+#ppt_w/2"/>
                                          </p:val>
                                        </p:tav>
                                        <p:tav tm="100000">
                                          <p:val>
                                            <p:strVal val="#ppt_x"/>
                                          </p:val>
                                        </p:tav>
                                      </p:tavLst>
                                    </p:anim>
                                    <p:anim calcmode="lin" valueType="num">
                                      <p:cBhvr additive="base">
                                        <p:cTn id="40" dur="600" fill="hold"/>
                                        <p:tgtEl>
                                          <p:spTgt spid="21"/>
                                        </p:tgtEl>
                                        <p:attrNameLst>
                                          <p:attrName>ppt_y</p:attrName>
                                        </p:attrNameLst>
                                      </p:cBhvr>
                                      <p:tavLst>
                                        <p:tav tm="0">
                                          <p:val>
                                            <p:strVal val="#ppt_y"/>
                                          </p:val>
                                        </p:tav>
                                        <p:tav tm="100000">
                                          <p:val>
                                            <p:strVal val="#ppt_y"/>
                                          </p:val>
                                        </p:tav>
                                      </p:tavLst>
                                    </p:anim>
                                  </p:childTnLst>
                                </p:cTn>
                              </p:par>
                            </p:childTnLst>
                          </p:cTn>
                        </p:par>
                        <p:par>
                          <p:cTn id="41" fill="hold">
                            <p:stCondLst>
                              <p:cond delay="2450"/>
                            </p:stCondLst>
                            <p:childTnLst>
                              <p:par>
                                <p:cTn id="42" presetID="1" presetClass="emph" presetSubtype="2" fill="hold" nodeType="afterEffect">
                                  <p:stCondLst>
                                    <p:cond delay="0"/>
                                  </p:stCondLst>
                                  <p:childTnLst>
                                    <p:animClr clrSpc="rgb" dir="cw">
                                      <p:cBhvr>
                                        <p:cTn id="43" dur="1000" fill="hold"/>
                                        <p:tgtEl>
                                          <p:spTgt spid="21"/>
                                        </p:tgtEl>
                                        <p:attrNameLst>
                                          <p:attrName>fillcolor</p:attrName>
                                        </p:attrNameLst>
                                      </p:cBhvr>
                                      <p:to>
                                        <a:srgbClr val="0072C6"/>
                                      </p:to>
                                    </p:animClr>
                                    <p:set>
                                      <p:cBhvr>
                                        <p:cTn id="44" dur="1000" fill="hold"/>
                                        <p:tgtEl>
                                          <p:spTgt spid="21"/>
                                        </p:tgtEl>
                                        <p:attrNameLst>
                                          <p:attrName>fill.type</p:attrName>
                                        </p:attrNameLst>
                                      </p:cBhvr>
                                      <p:to>
                                        <p:strVal val="solid"/>
                                      </p:to>
                                    </p:set>
                                    <p:set>
                                      <p:cBhvr>
                                        <p:cTn id="45" dur="1000" fill="hold"/>
                                        <p:tgtEl>
                                          <p:spTgt spid="21"/>
                                        </p:tgtEl>
                                        <p:attrNameLst>
                                          <p:attrName>fill.on</p:attrName>
                                        </p:attrNameLst>
                                      </p:cBhvr>
                                      <p:to>
                                        <p:strVal val="true"/>
                                      </p:to>
                                    </p:set>
                                  </p:childTnLst>
                                </p:cTn>
                              </p:par>
                              <p:par>
                                <p:cTn id="46" presetID="3" presetClass="emph" presetSubtype="2" fill="hold" grpId="1" nodeType="withEffect">
                                  <p:stCondLst>
                                    <p:cond delay="0"/>
                                  </p:stCondLst>
                                  <p:childTnLst>
                                    <p:animClr clrSpc="rgb" dir="cw">
                                      <p:cBhvr override="childStyle">
                                        <p:cTn id="47" dur="500" fill="hold"/>
                                        <p:tgtEl>
                                          <p:spTgt spid="21"/>
                                        </p:tgtEl>
                                        <p:attrNameLst>
                                          <p:attrName>style.color</p:attrName>
                                        </p:attrNameLst>
                                      </p:cBhvr>
                                      <p:to>
                                        <a:srgbClr val="FFFFFF"/>
                                      </p:to>
                                    </p:animClr>
                                  </p:childTnLst>
                                </p:cTn>
                              </p:par>
                            </p:childTnLst>
                          </p:cTn>
                        </p:par>
                        <p:par>
                          <p:cTn id="48" fill="hold">
                            <p:stCondLst>
                              <p:cond delay="3450"/>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par>
                          <p:cTn id="52" fill="hold">
                            <p:stCondLst>
                              <p:cond delay="3950"/>
                            </p:stCondLst>
                            <p:childTnLst>
                              <p:par>
                                <p:cTn id="53" presetID="2" presetClass="entr" presetSubtype="8" decel="10000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700" fill="hold"/>
                                        <p:tgtEl>
                                          <p:spTgt spid="23"/>
                                        </p:tgtEl>
                                        <p:attrNameLst>
                                          <p:attrName>ppt_x</p:attrName>
                                        </p:attrNameLst>
                                      </p:cBhvr>
                                      <p:tavLst>
                                        <p:tav tm="0">
                                          <p:val>
                                            <p:strVal val="0-#ppt_w/2"/>
                                          </p:val>
                                        </p:tav>
                                        <p:tav tm="100000">
                                          <p:val>
                                            <p:strVal val="#ppt_x"/>
                                          </p:val>
                                        </p:tav>
                                      </p:tavLst>
                                    </p:anim>
                                    <p:anim calcmode="lin" valueType="num">
                                      <p:cBhvr additive="base">
                                        <p:cTn id="56" dur="700" fill="hold"/>
                                        <p:tgtEl>
                                          <p:spTgt spid="23"/>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10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700" fill="hold"/>
                                        <p:tgtEl>
                                          <p:spTgt spid="24"/>
                                        </p:tgtEl>
                                        <p:attrNameLst>
                                          <p:attrName>ppt_x</p:attrName>
                                        </p:attrNameLst>
                                      </p:cBhvr>
                                      <p:tavLst>
                                        <p:tav tm="0">
                                          <p:val>
                                            <p:strVal val="0-#ppt_w/2"/>
                                          </p:val>
                                        </p:tav>
                                        <p:tav tm="100000">
                                          <p:val>
                                            <p:strVal val="#ppt_x"/>
                                          </p:val>
                                        </p:tav>
                                      </p:tavLst>
                                    </p:anim>
                                    <p:anim calcmode="lin" valueType="num">
                                      <p:cBhvr additive="base">
                                        <p:cTn id="60" dur="7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20" grpId="0" animBg="1"/>
      <p:bldP spid="21" grpId="0" animBg="1"/>
      <p:bldP spid="21" grpId="1" animBg="1"/>
      <p:bldP spid="22" grpId="0"/>
      <p:bldP spid="23" grpId="0" animBg="1"/>
      <p:bldP spid="24" grpId="0" animBg="1"/>
      <p:bldP spid="25" grpId="0" animBg="1"/>
      <p:bldP spid="26" grpId="0" animBg="1"/>
      <p:bldP spid="27" grpId="0" animBg="1"/>
      <p:bldP spid="28" grpId="0" animBg="1"/>
      <p:bldP spid="29"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099005" y="2293620"/>
            <a:ext cx="5780575" cy="2981960"/>
            <a:chOff x="6099005" y="2293620"/>
            <a:chExt cx="5780575" cy="2981960"/>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9005" y="2546480"/>
              <a:ext cx="5657212" cy="2596077"/>
            </a:xfrm>
            <a:prstGeom prst="rect">
              <a:avLst/>
            </a:prstGeom>
          </p:spPr>
        </p:pic>
        <p:sp>
          <p:nvSpPr>
            <p:cNvPr id="13" name="Rectangle 12"/>
            <p:cNvSpPr/>
            <p:nvPr/>
          </p:nvSpPr>
          <p:spPr bwMode="auto">
            <a:xfrm>
              <a:off x="6431280" y="2293620"/>
              <a:ext cx="5440680" cy="1275080"/>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438900" y="4000500"/>
              <a:ext cx="5440680" cy="1275080"/>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useBgFill="1">
        <p:nvSpPr>
          <p:cNvPr id="12" name="Rectangle 11"/>
          <p:cNvSpPr/>
          <p:nvPr/>
        </p:nvSpPr>
        <p:spPr bwMode="auto">
          <a:xfrm>
            <a:off x="-673100" y="2260957"/>
            <a:ext cx="6434138" cy="318734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itle 1"/>
          <p:cNvSpPr txBox="1">
            <a:spLocks/>
          </p:cNvSpPr>
          <p:nvPr/>
        </p:nvSpPr>
        <p:spPr>
          <a:xfrm>
            <a:off x="980494" y="2131145"/>
            <a:ext cx="5733225" cy="3135918"/>
          </a:xfrm>
          <a:prstGeom prst="rect">
            <a:avLst/>
          </a:prstGeom>
        </p:spPr>
        <p:txBody>
          <a:bodyPr vert="horz" wrap="square" lIns="143402" tIns="89627" rIns="143402" bIns="89627" rtlCol="0" anchor="b" anchorCtr="0">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7058" dirty="0">
                <a:gradFill>
                  <a:gsLst>
                    <a:gs pos="52212">
                      <a:srgbClr val="282828">
                        <a:lumMod val="90000"/>
                        <a:lumOff val="10000"/>
                      </a:srgbClr>
                    </a:gs>
                    <a:gs pos="73000">
                      <a:srgbClr val="282828">
                        <a:lumMod val="90000"/>
                        <a:lumOff val="10000"/>
                      </a:srgbClr>
                    </a:gs>
                  </a:gsLst>
                  <a:lin ang="5400000" scaled="0"/>
                </a:gradFill>
              </a:rPr>
              <a:t>Service </a:t>
            </a:r>
            <a:br>
              <a:rPr sz="7058" dirty="0">
                <a:gradFill>
                  <a:gsLst>
                    <a:gs pos="52212">
                      <a:srgbClr val="282828">
                        <a:lumMod val="90000"/>
                        <a:lumOff val="10000"/>
                      </a:srgbClr>
                    </a:gs>
                    <a:gs pos="73000">
                      <a:srgbClr val="282828">
                        <a:lumMod val="90000"/>
                        <a:lumOff val="10000"/>
                      </a:srgbClr>
                    </a:gs>
                  </a:gsLst>
                  <a:lin ang="5400000" scaled="0"/>
                </a:gradFill>
              </a:rPr>
            </a:br>
            <a:r>
              <a:rPr sz="7058" dirty="0">
                <a:gradFill>
                  <a:gsLst>
                    <a:gs pos="52212">
                      <a:srgbClr val="282828">
                        <a:lumMod val="90000"/>
                        <a:lumOff val="10000"/>
                      </a:srgbClr>
                    </a:gs>
                    <a:gs pos="73000">
                      <a:srgbClr val="282828">
                        <a:lumMod val="90000"/>
                        <a:lumOff val="10000"/>
                      </a:srgbClr>
                    </a:gs>
                  </a:gsLst>
                  <a:lin ang="5400000" scaled="0"/>
                </a:gradFill>
              </a:rPr>
              <a:t>Delivery</a:t>
            </a:r>
          </a:p>
        </p:txBody>
      </p:sp>
      <p:sp>
        <p:nvSpPr>
          <p:cNvPr id="62" name="Rectangle 61"/>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63" name="Rectangle 62"/>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4" name="Rectangle 63"/>
          <p:cNvSpPr/>
          <p:nvPr/>
        </p:nvSpPr>
        <p:spPr bwMode="auto">
          <a:xfrm>
            <a:off x="1" y="3430570"/>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5" name="Rectangle 64"/>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a:t>
            </a:r>
            <a:r>
              <a:rPr lang="en-US" sz="1568" spc="-20" dirty="0" smtClean="0">
                <a:gradFill>
                  <a:gsLst>
                    <a:gs pos="30973">
                      <a:srgbClr val="282828">
                        <a:lumMod val="90000"/>
                        <a:lumOff val="10000"/>
                      </a:srgbClr>
                    </a:gs>
                    <a:gs pos="84071">
                      <a:srgbClr val="282828">
                        <a:lumMod val="90000"/>
                        <a:lumOff val="10000"/>
                      </a:srgbClr>
                    </a:gs>
                  </a:gsLst>
                  <a:lin ang="5400000" scaled="0"/>
                </a:gradFill>
                <a:latin typeface="Segoe UI Semibold" panose="020B0702040204020203" pitchFamily="34" charset="0"/>
              </a:rPr>
              <a:t> </a:t>
            </a:r>
            <a:r>
              <a:rPr lang="en-US" sz="1568" spc="-20" dirty="0">
                <a:gradFill>
                  <a:gsLst>
                    <a:gs pos="30973">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p>
        </p:txBody>
      </p:sp>
      <p:sp>
        <p:nvSpPr>
          <p:cNvPr id="66" name="Rectangle 65"/>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94947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100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200" fill="hold"/>
                                        <p:tgtEl>
                                          <p:spTgt spid="63"/>
                                        </p:tgtEl>
                                        <p:attrNameLst>
                                          <p:attrName>ppt_x</p:attrName>
                                        </p:attrNameLst>
                                      </p:cBhvr>
                                      <p:tavLst>
                                        <p:tav tm="0">
                                          <p:val>
                                            <p:strVal val="0-#ppt_w/2"/>
                                          </p:val>
                                        </p:tav>
                                        <p:tav tm="100000">
                                          <p:val>
                                            <p:strVal val="#ppt_x"/>
                                          </p:val>
                                        </p:tav>
                                      </p:tavLst>
                                    </p:anim>
                                    <p:anim calcmode="lin" valueType="num">
                                      <p:cBhvr additive="base">
                                        <p:cTn id="8" dur="200" fill="hold"/>
                                        <p:tgtEl>
                                          <p:spTgt spid="6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62"/>
                                        </p:tgtEl>
                                        <p:attrNameLst>
                                          <p:attrName>style.visibility</p:attrName>
                                        </p:attrNameLst>
                                      </p:cBhvr>
                                      <p:to>
                                        <p:strVal val="visible"/>
                                      </p:to>
                                    </p:set>
                                    <p:anim calcmode="lin" valueType="num">
                                      <p:cBhvr additive="base">
                                        <p:cTn id="11" dur="300" fill="hold"/>
                                        <p:tgtEl>
                                          <p:spTgt spid="62"/>
                                        </p:tgtEl>
                                        <p:attrNameLst>
                                          <p:attrName>ppt_x</p:attrName>
                                        </p:attrNameLst>
                                      </p:cBhvr>
                                      <p:tavLst>
                                        <p:tav tm="0">
                                          <p:val>
                                            <p:strVal val="0-#ppt_w/2"/>
                                          </p:val>
                                        </p:tav>
                                        <p:tav tm="100000">
                                          <p:val>
                                            <p:strVal val="#ppt_x"/>
                                          </p:val>
                                        </p:tav>
                                      </p:tavLst>
                                    </p:anim>
                                    <p:anim calcmode="lin" valueType="num">
                                      <p:cBhvr additive="base">
                                        <p:cTn id="12" dur="300" fill="hold"/>
                                        <p:tgtEl>
                                          <p:spTgt spid="6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10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200" fill="hold"/>
                                        <p:tgtEl>
                                          <p:spTgt spid="64"/>
                                        </p:tgtEl>
                                        <p:attrNameLst>
                                          <p:attrName>ppt_x</p:attrName>
                                        </p:attrNameLst>
                                      </p:cBhvr>
                                      <p:tavLst>
                                        <p:tav tm="0">
                                          <p:val>
                                            <p:strVal val="0-#ppt_w/2"/>
                                          </p:val>
                                        </p:tav>
                                        <p:tav tm="100000">
                                          <p:val>
                                            <p:strVal val="#ppt_x"/>
                                          </p:val>
                                        </p:tav>
                                      </p:tavLst>
                                    </p:anim>
                                    <p:anim calcmode="lin" valueType="num">
                                      <p:cBhvr additive="base">
                                        <p:cTn id="16" dur="200" fill="hold"/>
                                        <p:tgtEl>
                                          <p:spTgt spid="64"/>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00"/>
                                  </p:stCondLst>
                                  <p:childTnLst>
                                    <p:set>
                                      <p:cBhvr>
                                        <p:cTn id="18" dur="1" fill="hold">
                                          <p:stCondLst>
                                            <p:cond delay="0"/>
                                          </p:stCondLst>
                                        </p:cTn>
                                        <p:tgtEl>
                                          <p:spTgt spid="65"/>
                                        </p:tgtEl>
                                        <p:attrNameLst>
                                          <p:attrName>style.visibility</p:attrName>
                                        </p:attrNameLst>
                                      </p:cBhvr>
                                      <p:to>
                                        <p:strVal val="visible"/>
                                      </p:to>
                                    </p:set>
                                    <p:anim calcmode="lin" valueType="num">
                                      <p:cBhvr additive="base">
                                        <p:cTn id="19" dur="200" fill="hold"/>
                                        <p:tgtEl>
                                          <p:spTgt spid="65"/>
                                        </p:tgtEl>
                                        <p:attrNameLst>
                                          <p:attrName>ppt_x</p:attrName>
                                        </p:attrNameLst>
                                      </p:cBhvr>
                                      <p:tavLst>
                                        <p:tav tm="0">
                                          <p:val>
                                            <p:strVal val="0-#ppt_w/2"/>
                                          </p:val>
                                        </p:tav>
                                        <p:tav tm="100000">
                                          <p:val>
                                            <p:strVal val="#ppt_x"/>
                                          </p:val>
                                        </p:tav>
                                      </p:tavLst>
                                    </p:anim>
                                    <p:anim calcmode="lin" valueType="num">
                                      <p:cBhvr additive="base">
                                        <p:cTn id="20" dur="200" fill="hold"/>
                                        <p:tgtEl>
                                          <p:spTgt spid="65"/>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200" fill="hold"/>
                                        <p:tgtEl>
                                          <p:spTgt spid="66"/>
                                        </p:tgtEl>
                                        <p:attrNameLst>
                                          <p:attrName>ppt_x</p:attrName>
                                        </p:attrNameLst>
                                      </p:cBhvr>
                                      <p:tavLst>
                                        <p:tav tm="0">
                                          <p:val>
                                            <p:strVal val="0-#ppt_w/2"/>
                                          </p:val>
                                        </p:tav>
                                        <p:tav tm="100000">
                                          <p:val>
                                            <p:strVal val="#ppt_x"/>
                                          </p:val>
                                        </p:tav>
                                      </p:tavLst>
                                    </p:anim>
                                    <p:anim calcmode="lin" valueType="num">
                                      <p:cBhvr additive="base">
                                        <p:cTn id="24" dur="200" fill="hold"/>
                                        <p:tgtEl>
                                          <p:spTgt spid="66"/>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750"/>
                                  </p:stCondLst>
                                  <p:childTnLst>
                                    <p:set>
                                      <p:cBhvr>
                                        <p:cTn id="26" dur="1" fill="hold">
                                          <p:stCondLst>
                                            <p:cond delay="0"/>
                                          </p:stCondLst>
                                        </p:cTn>
                                        <p:tgtEl>
                                          <p:spTgt spid="68"/>
                                        </p:tgtEl>
                                        <p:attrNameLst>
                                          <p:attrName>style.visibility</p:attrName>
                                        </p:attrNameLst>
                                      </p:cBhvr>
                                      <p:to>
                                        <p:strVal val="visible"/>
                                      </p:to>
                                    </p:set>
                                    <p:anim calcmode="lin" valueType="num">
                                      <p:cBhvr additive="base">
                                        <p:cTn id="27" dur="750" fill="hold"/>
                                        <p:tgtEl>
                                          <p:spTgt spid="68"/>
                                        </p:tgtEl>
                                        <p:attrNameLst>
                                          <p:attrName>ppt_x</p:attrName>
                                        </p:attrNameLst>
                                      </p:cBhvr>
                                      <p:tavLst>
                                        <p:tav tm="0">
                                          <p:val>
                                            <p:strVal val="0-#ppt_w/2"/>
                                          </p:val>
                                        </p:tav>
                                        <p:tav tm="100000">
                                          <p:val>
                                            <p:strVal val="#ppt_x"/>
                                          </p:val>
                                        </p:tav>
                                      </p:tavLst>
                                    </p:anim>
                                    <p:anim calcmode="lin" valueType="num">
                                      <p:cBhvr additive="base">
                                        <p:cTn id="28" dur="750" fill="hold"/>
                                        <p:tgtEl>
                                          <p:spTgt spid="68"/>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1750"/>
                                  </p:stCondLst>
                                  <p:childTnLst>
                                    <p:set>
                                      <p:cBhvr>
                                        <p:cTn id="30" dur="1" fill="hold">
                                          <p:stCondLst>
                                            <p:cond delay="0"/>
                                          </p:stCondLst>
                                        </p:cTn>
                                        <p:tgtEl>
                                          <p:spTgt spid="3"/>
                                        </p:tgtEl>
                                        <p:attrNameLst>
                                          <p:attrName>style.visibility</p:attrName>
                                        </p:attrNameLst>
                                      </p:cBhvr>
                                      <p:to>
                                        <p:strVal val="visible"/>
                                      </p:to>
                                    </p:set>
                                    <p:anim calcmode="lin" valueType="num">
                                      <p:cBhvr additive="base">
                                        <p:cTn id="31" dur="750" fill="hold"/>
                                        <p:tgtEl>
                                          <p:spTgt spid="3"/>
                                        </p:tgtEl>
                                        <p:attrNameLst>
                                          <p:attrName>ppt_x</p:attrName>
                                        </p:attrNameLst>
                                      </p:cBhvr>
                                      <p:tavLst>
                                        <p:tav tm="0">
                                          <p:val>
                                            <p:strVal val="0-#ppt_w/2"/>
                                          </p:val>
                                        </p:tav>
                                        <p:tav tm="100000">
                                          <p:val>
                                            <p:strVal val="#ppt_x"/>
                                          </p:val>
                                        </p:tav>
                                      </p:tavLst>
                                    </p:anim>
                                    <p:anim calcmode="lin" valueType="num">
                                      <p:cBhvr additive="base">
                                        <p:cTn id="32" dur="7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2" grpId="0" animBg="1"/>
      <p:bldP spid="63" grpId="0" animBg="1"/>
      <p:bldP spid="64" grpId="0" animBg="1"/>
      <p:bldP spid="65" grpId="0" animBg="1"/>
      <p:bldP spid="66"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n-premises and Windows Azure boxes"/>
          <p:cNvGrpSpPr/>
          <p:nvPr/>
        </p:nvGrpSpPr>
        <p:grpSpPr>
          <a:xfrm>
            <a:off x="3464153" y="2851139"/>
            <a:ext cx="6206843" cy="2911927"/>
            <a:chOff x="1503336" y="2907813"/>
            <a:chExt cx="6331303" cy="2970317"/>
          </a:xfrm>
        </p:grpSpPr>
        <p:sp>
          <p:nvSpPr>
            <p:cNvPr id="2" name="Rectangle 1"/>
            <p:cNvSpPr/>
            <p:nvPr/>
          </p:nvSpPr>
          <p:spPr bwMode="auto">
            <a:xfrm>
              <a:off x="1503336" y="2907813"/>
              <a:ext cx="2970317" cy="2970317"/>
            </a:xfrm>
            <a:prstGeom prst="rect">
              <a:avLst/>
            </a:prstGeom>
            <a:solidFill>
              <a:schemeClr val="tx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137" dirty="0">
                  <a:gradFill>
                    <a:gsLst>
                      <a:gs pos="0">
                        <a:srgbClr val="FFFFFF"/>
                      </a:gs>
                      <a:gs pos="100000">
                        <a:srgbClr val="FFFFFF"/>
                      </a:gs>
                    </a:gsLst>
                    <a:lin ang="5400000" scaled="0"/>
                  </a:gradFill>
                  <a:latin typeface="Segoe UI Light"/>
                  <a:ea typeface="Segoe UI" pitchFamily="34" charset="0"/>
                  <a:cs typeface="Segoe UI" pitchFamily="34" charset="0"/>
                </a:rPr>
                <a:t>On-premises data center</a:t>
              </a:r>
            </a:p>
          </p:txBody>
        </p:sp>
        <p:sp>
          <p:nvSpPr>
            <p:cNvPr id="104" name="Rectangle 103"/>
            <p:cNvSpPr/>
            <p:nvPr/>
          </p:nvSpPr>
          <p:spPr bwMode="auto">
            <a:xfrm>
              <a:off x="4864322" y="2907813"/>
              <a:ext cx="2970317" cy="2970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137" dirty="0">
                  <a:gradFill>
                    <a:gsLst>
                      <a:gs pos="0">
                        <a:srgbClr val="FFFFFF"/>
                      </a:gs>
                      <a:gs pos="100000">
                        <a:srgbClr val="FFFFFF"/>
                      </a:gs>
                    </a:gsLst>
                    <a:lin ang="5400000" scaled="0"/>
                  </a:gradFill>
                  <a:latin typeface="Segoe UI Light"/>
                  <a:ea typeface="Segoe UI" pitchFamily="34" charset="0"/>
                  <a:cs typeface="Segoe UI" pitchFamily="34" charset="0"/>
                </a:rPr>
                <a:t>Microsoft Azure</a:t>
              </a:r>
            </a:p>
          </p:txBody>
        </p:sp>
      </p:grpSp>
      <p:sp>
        <p:nvSpPr>
          <p:cNvPr id="101" name="Rectangle 100"/>
          <p:cNvSpPr/>
          <p:nvPr/>
        </p:nvSpPr>
        <p:spPr bwMode="auto">
          <a:xfrm>
            <a:off x="4488386" y="2851139"/>
            <a:ext cx="4407824" cy="29119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3137" dirty="0">
                <a:gradFill>
                  <a:gsLst>
                    <a:gs pos="6195">
                      <a:srgbClr val="282828"/>
                    </a:gs>
                    <a:gs pos="63000">
                      <a:srgbClr val="282828"/>
                    </a:gs>
                  </a:gsLst>
                  <a:lin ang="5400000" scaled="0"/>
                </a:gradFill>
                <a:latin typeface="Segoe UI Light"/>
                <a:ea typeface="Segoe UI" pitchFamily="34" charset="0"/>
                <a:cs typeface="Segoe UI" pitchFamily="34" charset="0"/>
              </a:rPr>
              <a:t>Finance application</a:t>
            </a:r>
          </a:p>
        </p:txBody>
      </p:sp>
      <p:sp>
        <p:nvSpPr>
          <p:cNvPr id="8" name="Freeform 5"/>
          <p:cNvSpPr>
            <a:spLocks noEditPoints="1"/>
          </p:cNvSpPr>
          <p:nvPr/>
        </p:nvSpPr>
        <p:spPr bwMode="auto">
          <a:xfrm>
            <a:off x="6102610" y="3664847"/>
            <a:ext cx="1179375" cy="1808247"/>
          </a:xfrm>
          <a:custGeom>
            <a:avLst/>
            <a:gdLst>
              <a:gd name="T0" fmla="*/ 3672 w 3672"/>
              <a:gd name="T1" fmla="*/ 1713 h 5630"/>
              <a:gd name="T2" fmla="*/ 1959 w 3672"/>
              <a:gd name="T3" fmla="*/ 1713 h 5630"/>
              <a:gd name="T4" fmla="*/ 1959 w 3672"/>
              <a:gd name="T5" fmla="*/ 0 h 5630"/>
              <a:gd name="T6" fmla="*/ 3672 w 3672"/>
              <a:gd name="T7" fmla="*/ 0 h 5630"/>
              <a:gd name="T8" fmla="*/ 3672 w 3672"/>
              <a:gd name="T9" fmla="*/ 1713 h 5630"/>
              <a:gd name="T10" fmla="*/ 3672 w 3672"/>
              <a:gd name="T11" fmla="*/ 1713 h 5630"/>
              <a:gd name="T12" fmla="*/ 3672 w 3672"/>
              <a:gd name="T13" fmla="*/ 1713 h 5630"/>
              <a:gd name="T14" fmla="*/ 1536 w 3672"/>
              <a:gd name="T15" fmla="*/ 178 h 5630"/>
              <a:gd name="T16" fmla="*/ 177 w 3672"/>
              <a:gd name="T17" fmla="*/ 178 h 5630"/>
              <a:gd name="T18" fmla="*/ 177 w 3672"/>
              <a:gd name="T19" fmla="*/ 1533 h 5630"/>
              <a:gd name="T20" fmla="*/ 1536 w 3672"/>
              <a:gd name="T21" fmla="*/ 1533 h 5630"/>
              <a:gd name="T22" fmla="*/ 1536 w 3672"/>
              <a:gd name="T23" fmla="*/ 178 h 5630"/>
              <a:gd name="T24" fmla="*/ 1536 w 3672"/>
              <a:gd name="T25" fmla="*/ 178 h 5630"/>
              <a:gd name="T26" fmla="*/ 1536 w 3672"/>
              <a:gd name="T27" fmla="*/ 178 h 5630"/>
              <a:gd name="T28" fmla="*/ 1713 w 3672"/>
              <a:gd name="T29" fmla="*/ 0 h 5630"/>
              <a:gd name="T30" fmla="*/ 1713 w 3672"/>
              <a:gd name="T31" fmla="*/ 1713 h 5630"/>
              <a:gd name="T32" fmla="*/ 0 w 3672"/>
              <a:gd name="T33" fmla="*/ 1713 h 5630"/>
              <a:gd name="T34" fmla="*/ 0 w 3672"/>
              <a:gd name="T35" fmla="*/ 0 h 5630"/>
              <a:gd name="T36" fmla="*/ 1713 w 3672"/>
              <a:gd name="T37" fmla="*/ 0 h 5630"/>
              <a:gd name="T38" fmla="*/ 1713 w 3672"/>
              <a:gd name="T39" fmla="*/ 0 h 5630"/>
              <a:gd name="T40" fmla="*/ 1713 w 3672"/>
              <a:gd name="T41" fmla="*/ 0 h 5630"/>
              <a:gd name="T42" fmla="*/ 1713 w 3672"/>
              <a:gd name="T43" fmla="*/ 0 h 5630"/>
              <a:gd name="T44" fmla="*/ 1536 w 3672"/>
              <a:gd name="T45" fmla="*/ 4097 h 5630"/>
              <a:gd name="T46" fmla="*/ 177 w 3672"/>
              <a:gd name="T47" fmla="*/ 4097 h 5630"/>
              <a:gd name="T48" fmla="*/ 177 w 3672"/>
              <a:gd name="T49" fmla="*/ 5452 h 5630"/>
              <a:gd name="T50" fmla="*/ 1536 w 3672"/>
              <a:gd name="T51" fmla="*/ 5452 h 5630"/>
              <a:gd name="T52" fmla="*/ 1536 w 3672"/>
              <a:gd name="T53" fmla="*/ 4097 h 5630"/>
              <a:gd name="T54" fmla="*/ 1536 w 3672"/>
              <a:gd name="T55" fmla="*/ 4097 h 5630"/>
              <a:gd name="T56" fmla="*/ 1536 w 3672"/>
              <a:gd name="T57" fmla="*/ 4097 h 5630"/>
              <a:gd name="T58" fmla="*/ 1713 w 3672"/>
              <a:gd name="T59" fmla="*/ 3917 h 5630"/>
              <a:gd name="T60" fmla="*/ 1713 w 3672"/>
              <a:gd name="T61" fmla="*/ 5630 h 5630"/>
              <a:gd name="T62" fmla="*/ 0 w 3672"/>
              <a:gd name="T63" fmla="*/ 5630 h 5630"/>
              <a:gd name="T64" fmla="*/ 0 w 3672"/>
              <a:gd name="T65" fmla="*/ 3917 h 5630"/>
              <a:gd name="T66" fmla="*/ 1713 w 3672"/>
              <a:gd name="T67" fmla="*/ 3917 h 5630"/>
              <a:gd name="T68" fmla="*/ 1713 w 3672"/>
              <a:gd name="T69" fmla="*/ 3917 h 5630"/>
              <a:gd name="T70" fmla="*/ 1713 w 3672"/>
              <a:gd name="T71" fmla="*/ 3917 h 5630"/>
              <a:gd name="T72" fmla="*/ 1713 w 3672"/>
              <a:gd name="T73" fmla="*/ 3917 h 5630"/>
              <a:gd name="T74" fmla="*/ 3495 w 3672"/>
              <a:gd name="T75" fmla="*/ 2136 h 5630"/>
              <a:gd name="T76" fmla="*/ 177 w 3672"/>
              <a:gd name="T77" fmla="*/ 2136 h 5630"/>
              <a:gd name="T78" fmla="*/ 177 w 3672"/>
              <a:gd name="T79" fmla="*/ 3494 h 5630"/>
              <a:gd name="T80" fmla="*/ 3495 w 3672"/>
              <a:gd name="T81" fmla="*/ 3494 h 5630"/>
              <a:gd name="T82" fmla="*/ 3495 w 3672"/>
              <a:gd name="T83" fmla="*/ 2136 h 5630"/>
              <a:gd name="T84" fmla="*/ 3495 w 3672"/>
              <a:gd name="T85" fmla="*/ 2136 h 5630"/>
              <a:gd name="T86" fmla="*/ 3495 w 3672"/>
              <a:gd name="T87" fmla="*/ 2136 h 5630"/>
              <a:gd name="T88" fmla="*/ 3672 w 3672"/>
              <a:gd name="T89" fmla="*/ 1956 h 5630"/>
              <a:gd name="T90" fmla="*/ 3672 w 3672"/>
              <a:gd name="T91" fmla="*/ 3674 h 5630"/>
              <a:gd name="T92" fmla="*/ 0 w 3672"/>
              <a:gd name="T93" fmla="*/ 3674 h 5630"/>
              <a:gd name="T94" fmla="*/ 0 w 3672"/>
              <a:gd name="T95" fmla="*/ 1956 h 5630"/>
              <a:gd name="T96" fmla="*/ 3672 w 3672"/>
              <a:gd name="T97" fmla="*/ 1956 h 5630"/>
              <a:gd name="T98" fmla="*/ 3672 w 3672"/>
              <a:gd name="T99" fmla="*/ 1956 h 5630"/>
              <a:gd name="T100" fmla="*/ 3672 w 3672"/>
              <a:gd name="T101" fmla="*/ 1956 h 5630"/>
              <a:gd name="T102" fmla="*/ 3672 w 3672"/>
              <a:gd name="T103" fmla="*/ 1956 h 5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2" h="5630">
                <a:moveTo>
                  <a:pt x="3672" y="1713"/>
                </a:moveTo>
                <a:lnTo>
                  <a:pt x="1959" y="1713"/>
                </a:lnTo>
                <a:lnTo>
                  <a:pt x="1959" y="0"/>
                </a:lnTo>
                <a:lnTo>
                  <a:pt x="3672" y="0"/>
                </a:lnTo>
                <a:lnTo>
                  <a:pt x="3672" y="1713"/>
                </a:lnTo>
                <a:lnTo>
                  <a:pt x="3672" y="1713"/>
                </a:lnTo>
                <a:lnTo>
                  <a:pt x="3672" y="1713"/>
                </a:lnTo>
                <a:close/>
                <a:moveTo>
                  <a:pt x="1536" y="178"/>
                </a:moveTo>
                <a:lnTo>
                  <a:pt x="177" y="178"/>
                </a:lnTo>
                <a:lnTo>
                  <a:pt x="177" y="1533"/>
                </a:lnTo>
                <a:lnTo>
                  <a:pt x="1536" y="1533"/>
                </a:lnTo>
                <a:lnTo>
                  <a:pt x="1536" y="178"/>
                </a:lnTo>
                <a:lnTo>
                  <a:pt x="1536" y="178"/>
                </a:lnTo>
                <a:lnTo>
                  <a:pt x="1536" y="178"/>
                </a:lnTo>
                <a:close/>
                <a:moveTo>
                  <a:pt x="1713" y="0"/>
                </a:moveTo>
                <a:lnTo>
                  <a:pt x="1713" y="1713"/>
                </a:lnTo>
                <a:lnTo>
                  <a:pt x="0" y="1713"/>
                </a:lnTo>
                <a:lnTo>
                  <a:pt x="0" y="0"/>
                </a:lnTo>
                <a:lnTo>
                  <a:pt x="1713" y="0"/>
                </a:lnTo>
                <a:lnTo>
                  <a:pt x="1713" y="0"/>
                </a:lnTo>
                <a:lnTo>
                  <a:pt x="1713" y="0"/>
                </a:lnTo>
                <a:lnTo>
                  <a:pt x="1713" y="0"/>
                </a:lnTo>
                <a:close/>
                <a:moveTo>
                  <a:pt x="1536" y="4097"/>
                </a:moveTo>
                <a:lnTo>
                  <a:pt x="177" y="4097"/>
                </a:lnTo>
                <a:lnTo>
                  <a:pt x="177" y="5452"/>
                </a:lnTo>
                <a:lnTo>
                  <a:pt x="1536" y="5452"/>
                </a:lnTo>
                <a:lnTo>
                  <a:pt x="1536" y="4097"/>
                </a:lnTo>
                <a:lnTo>
                  <a:pt x="1536" y="4097"/>
                </a:lnTo>
                <a:lnTo>
                  <a:pt x="1536" y="4097"/>
                </a:lnTo>
                <a:close/>
                <a:moveTo>
                  <a:pt x="1713" y="3917"/>
                </a:moveTo>
                <a:lnTo>
                  <a:pt x="1713" y="5630"/>
                </a:lnTo>
                <a:lnTo>
                  <a:pt x="0" y="5630"/>
                </a:lnTo>
                <a:lnTo>
                  <a:pt x="0" y="3917"/>
                </a:lnTo>
                <a:lnTo>
                  <a:pt x="1713" y="3917"/>
                </a:lnTo>
                <a:lnTo>
                  <a:pt x="1713" y="3917"/>
                </a:lnTo>
                <a:lnTo>
                  <a:pt x="1713" y="3917"/>
                </a:lnTo>
                <a:lnTo>
                  <a:pt x="1713" y="3917"/>
                </a:lnTo>
                <a:close/>
                <a:moveTo>
                  <a:pt x="3495" y="2136"/>
                </a:moveTo>
                <a:lnTo>
                  <a:pt x="177" y="2136"/>
                </a:lnTo>
                <a:lnTo>
                  <a:pt x="177" y="3494"/>
                </a:lnTo>
                <a:lnTo>
                  <a:pt x="3495" y="3494"/>
                </a:lnTo>
                <a:lnTo>
                  <a:pt x="3495" y="2136"/>
                </a:lnTo>
                <a:lnTo>
                  <a:pt x="3495" y="2136"/>
                </a:lnTo>
                <a:lnTo>
                  <a:pt x="3495" y="2136"/>
                </a:lnTo>
                <a:close/>
                <a:moveTo>
                  <a:pt x="3672" y="1956"/>
                </a:moveTo>
                <a:lnTo>
                  <a:pt x="3672" y="3674"/>
                </a:lnTo>
                <a:lnTo>
                  <a:pt x="0" y="3674"/>
                </a:lnTo>
                <a:lnTo>
                  <a:pt x="0" y="1956"/>
                </a:lnTo>
                <a:lnTo>
                  <a:pt x="3672" y="1956"/>
                </a:lnTo>
                <a:lnTo>
                  <a:pt x="3672" y="1956"/>
                </a:lnTo>
                <a:lnTo>
                  <a:pt x="3672" y="1956"/>
                </a:lnTo>
                <a:lnTo>
                  <a:pt x="3672" y="1956"/>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9" name="TextBox 8"/>
          <p:cNvSpPr txBox="1"/>
          <p:nvPr/>
        </p:nvSpPr>
        <p:spPr>
          <a:xfrm>
            <a:off x="6272646" y="3927533"/>
            <a:ext cx="1545561" cy="1375872"/>
          </a:xfrm>
          <a:prstGeom prst="rect">
            <a:avLst/>
          </a:prstGeom>
          <a:noFill/>
        </p:spPr>
        <p:txBody>
          <a:bodyPr wrap="square" lIns="179285" tIns="143428" rIns="179285" bIns="143428" rtlCol="0">
            <a:spAutoFit/>
          </a:bodyPr>
          <a:lstStyle/>
          <a:p>
            <a:pPr defTabSz="914367">
              <a:lnSpc>
                <a:spcPct val="90000"/>
              </a:lnSpc>
              <a:spcAft>
                <a:spcPts val="588"/>
              </a:spcAft>
            </a:pPr>
            <a:r>
              <a:rPr lang="en-US" sz="7842" dirty="0">
                <a:gradFill>
                  <a:gsLst>
                    <a:gs pos="2917">
                      <a:srgbClr val="282828"/>
                    </a:gs>
                    <a:gs pos="30000">
                      <a:srgbClr val="282828"/>
                    </a:gs>
                  </a:gsLst>
                  <a:lin ang="5400000" scaled="0"/>
                </a:gradFill>
              </a:rPr>
              <a:t>?</a:t>
            </a:r>
          </a:p>
        </p:txBody>
      </p:sp>
      <p:sp>
        <p:nvSpPr>
          <p:cNvPr id="121" name="Rectangle 120"/>
          <p:cNvSpPr/>
          <p:nvPr/>
        </p:nvSpPr>
        <p:spPr bwMode="auto">
          <a:xfrm>
            <a:off x="1168709" y="297134"/>
            <a:ext cx="7411358" cy="986963"/>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22" name="Rectangle 121"/>
          <p:cNvSpPr/>
          <p:nvPr/>
        </p:nvSpPr>
        <p:spPr bwMode="auto">
          <a:xfrm>
            <a:off x="8621864" y="297378"/>
            <a:ext cx="3570135" cy="98671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765" dirty="0">
                <a:gradFill>
                  <a:gsLst>
                    <a:gs pos="23009">
                      <a:srgbClr val="FFFFFF"/>
                    </a:gs>
                    <a:gs pos="57000">
                      <a:srgbClr val="FFFFFF"/>
                    </a:gs>
                  </a:gsLst>
                  <a:lin ang="5400000" scaled="0"/>
                </a:gradFill>
              </a:rPr>
              <a:t>Empower customers to deliver predictable services on demand</a:t>
            </a:r>
          </a:p>
        </p:txBody>
      </p:sp>
      <p:grpSp>
        <p:nvGrpSpPr>
          <p:cNvPr id="94" name="Richard"/>
          <p:cNvGrpSpPr>
            <a:grpSpLocks noChangeAspect="1"/>
          </p:cNvGrpSpPr>
          <p:nvPr/>
        </p:nvGrpSpPr>
        <p:grpSpPr>
          <a:xfrm>
            <a:off x="1168707" y="298063"/>
            <a:ext cx="771705" cy="986067"/>
            <a:chOff x="1192144" y="1221871"/>
            <a:chExt cx="822960" cy="1051560"/>
          </a:xfrm>
        </p:grpSpPr>
        <p:grpSp>
          <p:nvGrpSpPr>
            <p:cNvPr id="95" name="Group 94"/>
            <p:cNvGrpSpPr/>
            <p:nvPr/>
          </p:nvGrpSpPr>
          <p:grpSpPr>
            <a:xfrm>
              <a:off x="1192144" y="1221871"/>
              <a:ext cx="822960" cy="1051560"/>
              <a:chOff x="2257477" y="1518442"/>
              <a:chExt cx="822960" cy="1051560"/>
            </a:xfrm>
          </p:grpSpPr>
          <p:sp>
            <p:nvSpPr>
              <p:cNvPr id="97" name="Rectangle 96"/>
              <p:cNvSpPr/>
              <p:nvPr/>
            </p:nvSpPr>
            <p:spPr bwMode="auto">
              <a:xfrm>
                <a:off x="2257477" y="1518442"/>
                <a:ext cx="822960" cy="105156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410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98"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75748" t="27538" r="7225" b="45284"/>
              <a:stretch/>
            </p:blipFill>
            <p:spPr bwMode="auto">
              <a:xfrm>
                <a:off x="2280337"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6" name="Isosceles Triangle 95"/>
            <p:cNvSpPr/>
            <p:nvPr/>
          </p:nvSpPr>
          <p:spPr bwMode="auto">
            <a:xfrm rot="16200000">
              <a:off x="188821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grpSp>
        <p:nvGrpSpPr>
          <p:cNvPr id="127" name="rebecca"/>
          <p:cNvGrpSpPr/>
          <p:nvPr/>
        </p:nvGrpSpPr>
        <p:grpSpPr>
          <a:xfrm>
            <a:off x="1176012" y="298063"/>
            <a:ext cx="771705" cy="986067"/>
            <a:chOff x="1192144" y="303543"/>
            <a:chExt cx="787179" cy="1005840"/>
          </a:xfrm>
        </p:grpSpPr>
        <p:sp>
          <p:nvSpPr>
            <p:cNvPr id="128" name="Rectangle 127"/>
            <p:cNvSpPr/>
            <p:nvPr/>
          </p:nvSpPr>
          <p:spPr bwMode="auto">
            <a:xfrm>
              <a:off x="1192144" y="303543"/>
              <a:ext cx="787179" cy="100584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ebecca</a:t>
              </a:r>
            </a:p>
          </p:txBody>
        </p:sp>
        <p:sp>
          <p:nvSpPr>
            <p:cNvPr id="129" name="Isosceles Triangle 128"/>
            <p:cNvSpPr/>
            <p:nvPr/>
          </p:nvSpPr>
          <p:spPr bwMode="auto">
            <a:xfrm rot="16200000">
              <a:off x="1857948" y="1142133"/>
              <a:ext cx="150281" cy="92468"/>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pic>
          <p:nvPicPr>
            <p:cNvPr id="130"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34061" t="53474" r="50749" b="22153"/>
            <a:stretch/>
          </p:blipFill>
          <p:spPr bwMode="auto">
            <a:xfrm>
              <a:off x="1214010" y="323906"/>
              <a:ext cx="740664" cy="740664"/>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3" name="quote 1"/>
          <p:cNvSpPr txBox="1"/>
          <p:nvPr/>
        </p:nvSpPr>
        <p:spPr>
          <a:xfrm>
            <a:off x="1951716" y="300140"/>
            <a:ext cx="6636152" cy="560902"/>
          </a:xfrm>
          <a:prstGeom prst="rect">
            <a:avLst/>
          </a:prstGeom>
          <a:noFill/>
        </p:spPr>
        <p:txBody>
          <a:bodyPr wrap="square" lIns="89614" tIns="89614" rIns="89614" bIns="89614" rtlCol="0">
            <a:spAutoFit/>
          </a:bodyPr>
          <a:lstStyle/>
          <a:p>
            <a:pPr defTabSz="914206" fontAlgn="base">
              <a:lnSpc>
                <a:spcPct val="90000"/>
              </a:lnSpc>
              <a:spcBef>
                <a:spcPct val="0"/>
              </a:spcBef>
              <a:spcAft>
                <a:spcPts val="588"/>
              </a:spcAft>
            </a:pPr>
            <a:r>
              <a:rPr lang="en-US" sz="1371" dirty="0">
                <a:gradFill>
                  <a:gsLst>
                    <a:gs pos="13274">
                      <a:srgbClr val="282828">
                        <a:lumMod val="90000"/>
                        <a:lumOff val="10000"/>
                      </a:srgbClr>
                    </a:gs>
                    <a:gs pos="27434">
                      <a:srgbClr val="282828">
                        <a:lumMod val="90000"/>
                        <a:lumOff val="10000"/>
                      </a:srgbClr>
                    </a:gs>
                  </a:gsLst>
                  <a:lin ang="16200000" scaled="1"/>
                </a:gradFill>
              </a:rPr>
              <a:t>"Hey Richard, I need to start working on my app. How long will it take to get </a:t>
            </a:r>
            <a:r>
              <a:rPr lang="en-US" sz="1371" dirty="0" smtClean="0">
                <a:gradFill>
                  <a:gsLst>
                    <a:gs pos="13274">
                      <a:srgbClr val="282828">
                        <a:lumMod val="90000"/>
                        <a:lumOff val="10000"/>
                      </a:srgbClr>
                    </a:gs>
                    <a:gs pos="27434">
                      <a:srgbClr val="282828">
                        <a:lumMod val="90000"/>
                        <a:lumOff val="10000"/>
                      </a:srgbClr>
                    </a:gs>
                  </a:gsLst>
                  <a:lin ang="16200000" scaled="1"/>
                </a:gradFill>
              </a:rPr>
              <a:t/>
            </a:r>
            <a:br>
              <a:rPr lang="en-US" sz="1371" dirty="0" smtClean="0">
                <a:gradFill>
                  <a:gsLst>
                    <a:gs pos="13274">
                      <a:srgbClr val="282828">
                        <a:lumMod val="90000"/>
                        <a:lumOff val="10000"/>
                      </a:srgbClr>
                    </a:gs>
                    <a:gs pos="27434">
                      <a:srgbClr val="282828">
                        <a:lumMod val="90000"/>
                        <a:lumOff val="10000"/>
                      </a:srgbClr>
                    </a:gs>
                  </a:gsLst>
                  <a:lin ang="16200000" scaled="1"/>
                </a:gradFill>
              </a:rPr>
            </a:br>
            <a:r>
              <a:rPr lang="en-US" sz="1371" dirty="0" smtClean="0">
                <a:gradFill>
                  <a:gsLst>
                    <a:gs pos="13274">
                      <a:srgbClr val="282828">
                        <a:lumMod val="90000"/>
                        <a:lumOff val="10000"/>
                      </a:srgbClr>
                    </a:gs>
                    <a:gs pos="27434">
                      <a:srgbClr val="282828">
                        <a:lumMod val="90000"/>
                        <a:lumOff val="10000"/>
                      </a:srgbClr>
                    </a:gs>
                  </a:gsLst>
                  <a:lin ang="16200000" scaled="1"/>
                </a:gradFill>
              </a:rPr>
              <a:t>an </a:t>
            </a:r>
            <a:r>
              <a:rPr lang="en-US" sz="1371" dirty="0">
                <a:gradFill>
                  <a:gsLst>
                    <a:gs pos="13274">
                      <a:srgbClr val="282828">
                        <a:lumMod val="90000"/>
                        <a:lumOff val="10000"/>
                      </a:srgbClr>
                    </a:gs>
                    <a:gs pos="27434">
                      <a:srgbClr val="282828">
                        <a:lumMod val="90000"/>
                        <a:lumOff val="10000"/>
                      </a:srgbClr>
                    </a:gs>
                  </a:gsLst>
                  <a:lin ang="16200000" scaled="1"/>
                </a:gradFill>
              </a:rPr>
              <a:t>environment?"</a:t>
            </a:r>
          </a:p>
        </p:txBody>
      </p:sp>
      <p:sp>
        <p:nvSpPr>
          <p:cNvPr id="114" name="quote 2"/>
          <p:cNvSpPr txBox="1"/>
          <p:nvPr/>
        </p:nvSpPr>
        <p:spPr>
          <a:xfrm>
            <a:off x="1928352" y="290280"/>
            <a:ext cx="6628352" cy="560698"/>
          </a:xfrm>
          <a:prstGeom prst="rect">
            <a:avLst/>
          </a:prstGeom>
          <a:noFill/>
        </p:spPr>
        <p:txBody>
          <a:bodyPr wrap="square" lIns="89614" tIns="89614" rIns="89614" bIns="89614" rtlCol="0">
            <a:spAutoFit/>
          </a:bodyPr>
          <a:lstStyle/>
          <a:p>
            <a:pPr defTabSz="914206" fontAlgn="base">
              <a:lnSpc>
                <a:spcPct val="90000"/>
              </a:lnSpc>
              <a:spcBef>
                <a:spcPct val="0"/>
              </a:spcBef>
              <a:spcAft>
                <a:spcPts val="588"/>
              </a:spcAft>
            </a:pPr>
            <a:r>
              <a:rPr lang="en-US" sz="1371" dirty="0">
                <a:gradFill>
                  <a:gsLst>
                    <a:gs pos="12389">
                      <a:srgbClr val="282828">
                        <a:lumMod val="90000"/>
                        <a:lumOff val="10000"/>
                      </a:srgbClr>
                    </a:gs>
                    <a:gs pos="27434">
                      <a:srgbClr val="282828">
                        <a:lumMod val="90000"/>
                        <a:lumOff val="10000"/>
                      </a:srgbClr>
                    </a:gs>
                  </a:gsLst>
                  <a:lin ang="16200000" scaled="1"/>
                </a:gradFill>
              </a:rPr>
              <a:t>“You have two options. You can use our Azure Pack services to work within our </a:t>
            </a:r>
            <a:r>
              <a:rPr lang="en-US" sz="1371" dirty="0" smtClean="0">
                <a:gradFill>
                  <a:gsLst>
                    <a:gs pos="12389">
                      <a:srgbClr val="282828">
                        <a:lumMod val="90000"/>
                        <a:lumOff val="10000"/>
                      </a:srgbClr>
                    </a:gs>
                    <a:gs pos="27434">
                      <a:srgbClr val="282828">
                        <a:lumMod val="90000"/>
                        <a:lumOff val="10000"/>
                      </a:srgbClr>
                    </a:gs>
                  </a:gsLst>
                  <a:lin ang="16200000" scaled="1"/>
                </a:gradFill>
              </a:rPr>
              <a:t>datacenter—or—you </a:t>
            </a:r>
            <a:r>
              <a:rPr lang="en-US" sz="1371" dirty="0">
                <a:gradFill>
                  <a:gsLst>
                    <a:gs pos="12389">
                      <a:srgbClr val="282828">
                        <a:lumMod val="90000"/>
                        <a:lumOff val="10000"/>
                      </a:srgbClr>
                    </a:gs>
                    <a:gs pos="27434">
                      <a:srgbClr val="282828">
                        <a:lumMod val="90000"/>
                        <a:lumOff val="10000"/>
                      </a:srgbClr>
                    </a:gs>
                  </a:gsLst>
                  <a:lin ang="16200000" scaled="1"/>
                </a:gradFill>
              </a:rPr>
              <a:t>can deploy the application in Microsoft Azure.”</a:t>
            </a:r>
          </a:p>
        </p:txBody>
      </p:sp>
      <p:sp>
        <p:nvSpPr>
          <p:cNvPr id="115" name="quote 3"/>
          <p:cNvSpPr txBox="1"/>
          <p:nvPr/>
        </p:nvSpPr>
        <p:spPr>
          <a:xfrm>
            <a:off x="1937403" y="299988"/>
            <a:ext cx="6597943" cy="940417"/>
          </a:xfrm>
          <a:prstGeom prst="rect">
            <a:avLst/>
          </a:prstGeom>
          <a:noFill/>
        </p:spPr>
        <p:txBody>
          <a:bodyPr wrap="square" lIns="89614" tIns="89614" rIns="89614" bIns="89614" rtlCol="0">
            <a:spAutoFit/>
          </a:bodyPr>
          <a:lstStyle/>
          <a:p>
            <a:pPr defTabSz="914206" fontAlgn="base">
              <a:lnSpc>
                <a:spcPct val="90000"/>
              </a:lnSpc>
              <a:spcBef>
                <a:spcPct val="0"/>
              </a:spcBef>
              <a:spcAft>
                <a:spcPts val="588"/>
              </a:spcAft>
            </a:pPr>
            <a:r>
              <a:rPr lang="en-US" sz="1371" dirty="0">
                <a:gradFill>
                  <a:gsLst>
                    <a:gs pos="13274">
                      <a:srgbClr val="282828">
                        <a:lumMod val="90000"/>
                        <a:lumOff val="10000"/>
                      </a:srgbClr>
                    </a:gs>
                    <a:gs pos="27434">
                      <a:srgbClr val="282828">
                        <a:lumMod val="90000"/>
                        <a:lumOff val="10000"/>
                      </a:srgbClr>
                    </a:gs>
                  </a:gsLst>
                  <a:lin ang="16200000" scaled="1"/>
                </a:gradFill>
              </a:rPr>
              <a:t>“We currently offer IaaS and PaaS and are soon going to roll out </a:t>
            </a:r>
            <a:r>
              <a:rPr lang="en-US" sz="1371" dirty="0" err="1">
                <a:gradFill>
                  <a:gsLst>
                    <a:gs pos="13274">
                      <a:srgbClr val="282828">
                        <a:lumMod val="90000"/>
                        <a:lumOff val="10000"/>
                      </a:srgbClr>
                    </a:gs>
                    <a:gs pos="27434">
                      <a:srgbClr val="282828">
                        <a:lumMod val="90000"/>
                        <a:lumOff val="10000"/>
                      </a:srgbClr>
                    </a:gs>
                  </a:gsLst>
                  <a:lin ang="16200000" scaled="1"/>
                </a:gradFill>
              </a:rPr>
              <a:t>DBaaS</a:t>
            </a:r>
            <a:r>
              <a:rPr lang="en-US" sz="1371" dirty="0">
                <a:gradFill>
                  <a:gsLst>
                    <a:gs pos="13274">
                      <a:srgbClr val="282828">
                        <a:lumMod val="90000"/>
                        <a:lumOff val="10000"/>
                      </a:srgbClr>
                    </a:gs>
                    <a:gs pos="27434">
                      <a:srgbClr val="282828">
                        <a:lumMod val="90000"/>
                        <a:lumOff val="10000"/>
                      </a:srgbClr>
                    </a:gs>
                  </a:gsLst>
                  <a:lin ang="16200000" scaled="1"/>
                </a:gradFill>
              </a:rPr>
              <a:t> through Azure Pack. You can choose the resources you need to get the job done.”</a:t>
            </a:r>
            <a:br>
              <a:rPr lang="en-US" sz="1371" dirty="0">
                <a:gradFill>
                  <a:gsLst>
                    <a:gs pos="13274">
                      <a:srgbClr val="282828">
                        <a:lumMod val="90000"/>
                        <a:lumOff val="10000"/>
                      </a:srgbClr>
                    </a:gs>
                    <a:gs pos="27434">
                      <a:srgbClr val="282828">
                        <a:lumMod val="90000"/>
                        <a:lumOff val="10000"/>
                      </a:srgbClr>
                    </a:gs>
                  </a:gsLst>
                  <a:lin ang="16200000" scaled="1"/>
                </a:gradFill>
              </a:rPr>
            </a:br>
            <a:r>
              <a:rPr lang="en-US" sz="1371" dirty="0">
                <a:gradFill>
                  <a:gsLst>
                    <a:gs pos="13274">
                      <a:srgbClr val="282828">
                        <a:lumMod val="90000"/>
                        <a:lumOff val="10000"/>
                      </a:srgbClr>
                    </a:gs>
                    <a:gs pos="27434">
                      <a:srgbClr val="282828">
                        <a:lumMod val="90000"/>
                        <a:lumOff val="10000"/>
                      </a:srgbClr>
                    </a:gs>
                  </a:gsLst>
                  <a:lin ang="16200000" scaled="1"/>
                </a:gradFill>
              </a:rPr>
              <a:t/>
            </a:r>
            <a:br>
              <a:rPr lang="en-US" sz="1371" dirty="0">
                <a:gradFill>
                  <a:gsLst>
                    <a:gs pos="13274">
                      <a:srgbClr val="282828">
                        <a:lumMod val="90000"/>
                        <a:lumOff val="10000"/>
                      </a:srgbClr>
                    </a:gs>
                    <a:gs pos="27434">
                      <a:srgbClr val="282828">
                        <a:lumMod val="90000"/>
                        <a:lumOff val="10000"/>
                      </a:srgbClr>
                    </a:gs>
                  </a:gsLst>
                  <a:lin ang="16200000" scaled="1"/>
                </a:gradFill>
              </a:rPr>
            </a:br>
            <a:endParaRPr lang="en-US" sz="1371" dirty="0">
              <a:gradFill>
                <a:gsLst>
                  <a:gs pos="13274">
                    <a:srgbClr val="282828">
                      <a:lumMod val="90000"/>
                      <a:lumOff val="10000"/>
                    </a:srgbClr>
                  </a:gs>
                  <a:gs pos="27434">
                    <a:srgbClr val="282828">
                      <a:lumMod val="90000"/>
                      <a:lumOff val="10000"/>
                    </a:srgbClr>
                  </a:gs>
                </a:gsLst>
                <a:lin ang="16200000" scaled="1"/>
              </a:gradFill>
            </a:endParaRPr>
          </a:p>
        </p:txBody>
      </p:sp>
      <p:sp>
        <p:nvSpPr>
          <p:cNvPr id="92" name="quote 4"/>
          <p:cNvSpPr txBox="1"/>
          <p:nvPr/>
        </p:nvSpPr>
        <p:spPr>
          <a:xfrm>
            <a:off x="1941700" y="293659"/>
            <a:ext cx="6597943" cy="750558"/>
          </a:xfrm>
          <a:prstGeom prst="rect">
            <a:avLst/>
          </a:prstGeom>
          <a:noFill/>
        </p:spPr>
        <p:txBody>
          <a:bodyPr wrap="square" lIns="89614" tIns="89614" rIns="89614" bIns="89614" rtlCol="0">
            <a:spAutoFit/>
          </a:bodyPr>
          <a:lstStyle/>
          <a:p>
            <a:pPr defTabSz="914206" fontAlgn="base">
              <a:lnSpc>
                <a:spcPct val="90000"/>
              </a:lnSpc>
              <a:spcBef>
                <a:spcPct val="0"/>
              </a:spcBef>
              <a:spcAft>
                <a:spcPts val="588"/>
              </a:spcAft>
            </a:pPr>
            <a:r>
              <a:rPr lang="en-US" sz="1371" dirty="0">
                <a:gradFill>
                  <a:gsLst>
                    <a:gs pos="13274">
                      <a:srgbClr val="282828">
                        <a:lumMod val="90000"/>
                        <a:lumOff val="10000"/>
                      </a:srgbClr>
                    </a:gs>
                    <a:gs pos="27434">
                      <a:srgbClr val="282828">
                        <a:lumMod val="90000"/>
                        <a:lumOff val="10000"/>
                      </a:srgbClr>
                    </a:gs>
                  </a:gsLst>
                  <a:lin ang="16200000" scaled="1"/>
                </a:gradFill>
              </a:rPr>
              <a:t>“Richard has already created Azure Pack Subscriptions for different developer teams to use. In this way, they can provision their own resources inside the boundaries that are defined by IT.”</a:t>
            </a:r>
          </a:p>
        </p:txBody>
      </p:sp>
      <p:sp>
        <p:nvSpPr>
          <p:cNvPr id="125" name="Rectangle 124"/>
          <p:cNvSpPr/>
          <p:nvPr/>
        </p:nvSpPr>
        <p:spPr bwMode="auto">
          <a:xfrm>
            <a:off x="1165665" y="1311505"/>
            <a:ext cx="11026334" cy="492107"/>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6" name="TextBox 125"/>
          <p:cNvSpPr txBox="1"/>
          <p:nvPr/>
        </p:nvSpPr>
        <p:spPr>
          <a:xfrm>
            <a:off x="1176012" y="1296711"/>
            <a:ext cx="11015987" cy="506833"/>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smtClean="0">
                <a:gradFill>
                  <a:gsLst>
                    <a:gs pos="77876">
                      <a:srgbClr val="FFFFFF"/>
                    </a:gs>
                    <a:gs pos="30000">
                      <a:srgbClr val="FFFFFF"/>
                    </a:gs>
                  </a:gsLst>
                  <a:lin ang="5400000" scaled="0"/>
                </a:gradFill>
              </a:rPr>
              <a:t>Windows Server 2012 R2  |  System </a:t>
            </a:r>
            <a:r>
              <a:rPr lang="en-US" sz="1568" dirty="0">
                <a:gradFill>
                  <a:gsLst>
                    <a:gs pos="77876">
                      <a:srgbClr val="FFFFFF"/>
                    </a:gs>
                    <a:gs pos="30000">
                      <a:srgbClr val="FFFFFF"/>
                    </a:gs>
                  </a:gsLst>
                  <a:lin ang="5400000" scaled="0"/>
                </a:gradFill>
              </a:rPr>
              <a:t>Center 2012 R2 |  Microsoft </a:t>
            </a:r>
            <a:r>
              <a:rPr lang="en-US" sz="1568" dirty="0" smtClean="0">
                <a:gradFill>
                  <a:gsLst>
                    <a:gs pos="77876">
                      <a:srgbClr val="FFFFFF"/>
                    </a:gs>
                    <a:gs pos="30000">
                      <a:srgbClr val="FFFFFF"/>
                    </a:gs>
                  </a:gsLst>
                  <a:lin ang="5400000" scaled="0"/>
                </a:gradFill>
              </a:rPr>
              <a:t>Azure | Azure Pack</a:t>
            </a:r>
            <a:endParaRPr lang="en-US" sz="1568" dirty="0">
              <a:gradFill>
                <a:gsLst>
                  <a:gs pos="77876">
                    <a:srgbClr val="FFFFFF"/>
                  </a:gs>
                  <a:gs pos="30000">
                    <a:srgbClr val="FFFFFF"/>
                  </a:gs>
                </a:gsLst>
                <a:lin ang="5400000" scaled="0"/>
              </a:gradFill>
            </a:endParaRPr>
          </a:p>
        </p:txBody>
      </p:sp>
      <p:sp>
        <p:nvSpPr>
          <p:cNvPr id="143" name="Rectangle 142"/>
          <p:cNvSpPr/>
          <p:nvPr/>
        </p:nvSpPr>
        <p:spPr bwMode="auto">
          <a:xfrm>
            <a:off x="1826291" y="2084288"/>
            <a:ext cx="2889214" cy="2422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28" tIns="89642" rIns="143428" bIns="89642" numCol="1" rtlCol="0" anchor="t" anchorCtr="0" compatLnSpc="1">
            <a:prstTxWarp prst="textNoShape">
              <a:avLst/>
            </a:prstTxWarp>
          </a:bodyPr>
          <a:lstStyle/>
          <a:p>
            <a:pPr marL="0" lvl="1" defTabSz="914367">
              <a:lnSpc>
                <a:spcPct val="90000"/>
              </a:lnSpc>
              <a:spcBef>
                <a:spcPct val="0"/>
              </a:spcBef>
              <a:spcAft>
                <a:spcPts val="1176"/>
              </a:spcAft>
            </a:pPr>
            <a:r>
              <a:rPr lang="en-GB" b="1" dirty="0" smtClean="0">
                <a:gradFill>
                  <a:gsLst>
                    <a:gs pos="7619">
                      <a:srgbClr val="00188F"/>
                    </a:gs>
                    <a:gs pos="53000">
                      <a:srgbClr val="00188F"/>
                    </a:gs>
                  </a:gsLst>
                  <a:lin ang="5400000" scaled="0"/>
                </a:gradFill>
                <a:cs typeface="Segoe UI" panose="020B0502040204020203" pitchFamily="34" charset="0"/>
              </a:rPr>
              <a:t>Websites</a:t>
            </a:r>
          </a:p>
          <a:p>
            <a:pPr marL="0" lvl="1" defTabSz="914367">
              <a:lnSpc>
                <a:spcPct val="90000"/>
              </a:lnSpc>
              <a:spcBef>
                <a:spcPct val="0"/>
              </a:spcBef>
              <a:spcAft>
                <a:spcPts val="1176"/>
              </a:spcAft>
            </a:pPr>
            <a:r>
              <a:rPr lang="en-GB" dirty="0" smtClean="0">
                <a:gradFill>
                  <a:gsLst>
                    <a:gs pos="7619">
                      <a:srgbClr val="00188F"/>
                    </a:gs>
                    <a:gs pos="53000">
                      <a:srgbClr val="00188F"/>
                    </a:gs>
                  </a:gsLst>
                  <a:lin ang="5400000" scaled="0"/>
                </a:gradFill>
                <a:cs typeface="Segoe UI" panose="020B0502040204020203" pitchFamily="34" charset="0"/>
              </a:rPr>
              <a:t>Creation</a:t>
            </a:r>
            <a:endParaRPr lang="en-GB" dirty="0">
              <a:gradFill>
                <a:gsLst>
                  <a:gs pos="7619">
                    <a:srgbClr val="00188F"/>
                  </a:gs>
                  <a:gs pos="53000">
                    <a:srgbClr val="00188F"/>
                  </a:gs>
                </a:gsLst>
                <a:lin ang="5400000" scaled="0"/>
              </a:gradFill>
              <a:cs typeface="Segoe UI" panose="020B0502040204020203" pitchFamily="34" charset="0"/>
            </a:endParaRPr>
          </a:p>
          <a:p>
            <a:pPr marL="0" lvl="1" defTabSz="914367">
              <a:lnSpc>
                <a:spcPct val="90000"/>
              </a:lnSpc>
              <a:spcBef>
                <a:spcPct val="0"/>
              </a:spcBef>
              <a:spcAft>
                <a:spcPts val="1176"/>
              </a:spcAft>
            </a:pPr>
            <a:r>
              <a:rPr lang="en-GB" dirty="0">
                <a:gradFill>
                  <a:gsLst>
                    <a:gs pos="7619">
                      <a:srgbClr val="00188F"/>
                    </a:gs>
                    <a:gs pos="53000">
                      <a:srgbClr val="00188F"/>
                    </a:gs>
                  </a:gsLst>
                  <a:lin ang="5400000" scaled="0"/>
                </a:gradFill>
                <a:cs typeface="Segoe UI" panose="020B0502040204020203" pitchFamily="34" charset="0"/>
              </a:rPr>
              <a:t>Configuration</a:t>
            </a:r>
          </a:p>
          <a:p>
            <a:pPr marL="0" lvl="1" defTabSz="914367">
              <a:lnSpc>
                <a:spcPct val="90000"/>
              </a:lnSpc>
              <a:spcBef>
                <a:spcPct val="0"/>
              </a:spcBef>
              <a:spcAft>
                <a:spcPts val="1176"/>
              </a:spcAft>
            </a:pPr>
            <a:r>
              <a:rPr lang="en-GB" dirty="0">
                <a:gradFill>
                  <a:gsLst>
                    <a:gs pos="7619">
                      <a:srgbClr val="00188F"/>
                    </a:gs>
                    <a:gs pos="53000">
                      <a:srgbClr val="00188F"/>
                    </a:gs>
                  </a:gsLst>
                  <a:lin ang="5400000" scaled="0"/>
                </a:gradFill>
                <a:cs typeface="Segoe UI" panose="020B0502040204020203" pitchFamily="34" charset="0"/>
              </a:rPr>
              <a:t>Monitoring</a:t>
            </a:r>
          </a:p>
          <a:p>
            <a:pPr marL="0" lvl="1" defTabSz="914367">
              <a:lnSpc>
                <a:spcPct val="90000"/>
              </a:lnSpc>
              <a:spcBef>
                <a:spcPct val="0"/>
              </a:spcBef>
              <a:spcAft>
                <a:spcPts val="1176"/>
              </a:spcAft>
            </a:pPr>
            <a:r>
              <a:rPr lang="en-GB" dirty="0">
                <a:gradFill>
                  <a:gsLst>
                    <a:gs pos="7619">
                      <a:srgbClr val="00188F"/>
                    </a:gs>
                    <a:gs pos="53000">
                      <a:srgbClr val="00188F"/>
                    </a:gs>
                  </a:gsLst>
                  <a:lin ang="5400000" scaled="0"/>
                </a:gradFill>
                <a:cs typeface="Segoe UI" panose="020B0502040204020203" pitchFamily="34" charset="0"/>
              </a:rPr>
              <a:t>Scaling</a:t>
            </a:r>
          </a:p>
          <a:p>
            <a:pPr marL="0" lvl="1" defTabSz="914367">
              <a:lnSpc>
                <a:spcPct val="90000"/>
              </a:lnSpc>
              <a:spcBef>
                <a:spcPct val="0"/>
              </a:spcBef>
              <a:spcAft>
                <a:spcPts val="1176"/>
              </a:spcAft>
            </a:pPr>
            <a:r>
              <a:rPr lang="en-GB" dirty="0">
                <a:gradFill>
                  <a:gsLst>
                    <a:gs pos="7619">
                      <a:srgbClr val="00188F"/>
                    </a:gs>
                    <a:gs pos="53000">
                      <a:srgbClr val="00188F"/>
                    </a:gs>
                  </a:gsLst>
                  <a:lin ang="5400000" scaled="0"/>
                </a:gradFill>
                <a:cs typeface="Segoe UI" panose="020B0502040204020203" pitchFamily="34" charset="0"/>
              </a:rPr>
              <a:t>Publishing</a:t>
            </a:r>
          </a:p>
          <a:p>
            <a:pPr marL="0" lvl="1" defTabSz="914367">
              <a:lnSpc>
                <a:spcPct val="90000"/>
              </a:lnSpc>
              <a:spcBef>
                <a:spcPct val="0"/>
              </a:spcBef>
              <a:spcAft>
                <a:spcPts val="1176"/>
              </a:spcAft>
            </a:pPr>
            <a:r>
              <a:rPr lang="en-GB" dirty="0">
                <a:gradFill>
                  <a:gsLst>
                    <a:gs pos="7619">
                      <a:srgbClr val="00188F"/>
                    </a:gs>
                    <a:gs pos="53000">
                      <a:srgbClr val="00188F"/>
                    </a:gs>
                  </a:gsLst>
                  <a:lin ang="5400000" scaled="0"/>
                </a:gradFill>
                <a:cs typeface="Segoe UI" panose="020B0502040204020203" pitchFamily="34" charset="0"/>
              </a:rPr>
              <a:t>Source </a:t>
            </a:r>
            <a:r>
              <a:rPr lang="en-GB" dirty="0" smtClean="0">
                <a:gradFill>
                  <a:gsLst>
                    <a:gs pos="7619">
                      <a:srgbClr val="00188F"/>
                    </a:gs>
                    <a:gs pos="53000">
                      <a:srgbClr val="00188F"/>
                    </a:gs>
                  </a:gsLst>
                  <a:lin ang="5400000" scaled="0"/>
                </a:gradFill>
                <a:cs typeface="Segoe UI" panose="020B0502040204020203" pitchFamily="34" charset="0"/>
              </a:rPr>
              <a:t>Control</a:t>
            </a:r>
            <a:endParaRPr lang="en-GB" dirty="0">
              <a:gradFill>
                <a:gsLst>
                  <a:gs pos="7619">
                    <a:srgbClr val="00188F"/>
                  </a:gs>
                  <a:gs pos="53000">
                    <a:srgbClr val="00188F"/>
                  </a:gs>
                </a:gsLst>
                <a:lin ang="5400000" scaled="0"/>
              </a:gradFill>
              <a:cs typeface="Segoe UI" panose="020B0502040204020203" pitchFamily="34" charset="0"/>
            </a:endParaRPr>
          </a:p>
        </p:txBody>
      </p:sp>
      <p:pic>
        <p:nvPicPr>
          <p:cNvPr id="145" name="1 Quick Create"/>
          <p:cNvPicPr>
            <a:picLocks noChangeAspect="1"/>
          </p:cNvPicPr>
          <p:nvPr/>
        </p:nvPicPr>
        <p:blipFill rotWithShape="1">
          <a:blip r:embed="rId5"/>
          <a:srcRect t="3362" r="1112"/>
          <a:stretch/>
        </p:blipFill>
        <p:spPr>
          <a:xfrm>
            <a:off x="5640404" y="2303877"/>
            <a:ext cx="5704150" cy="4198837"/>
          </a:xfrm>
          <a:prstGeom prst="rect">
            <a:avLst/>
          </a:prstGeom>
        </p:spPr>
      </p:pic>
      <p:grpSp>
        <p:nvGrpSpPr>
          <p:cNvPr id="146" name="Group 145"/>
          <p:cNvGrpSpPr/>
          <p:nvPr/>
        </p:nvGrpSpPr>
        <p:grpSpPr>
          <a:xfrm>
            <a:off x="4115106" y="2161574"/>
            <a:ext cx="1385594" cy="4341138"/>
            <a:chOff x="3383281" y="1417449"/>
            <a:chExt cx="1682496" cy="5271348"/>
          </a:xfrm>
        </p:grpSpPr>
        <p:sp>
          <p:nvSpPr>
            <p:cNvPr id="164" name="Rectangle 163"/>
            <p:cNvSpPr/>
            <p:nvPr/>
          </p:nvSpPr>
          <p:spPr bwMode="auto">
            <a:xfrm>
              <a:off x="3383281" y="1417449"/>
              <a:ext cx="1682496" cy="52713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5" name="Group 164"/>
            <p:cNvGrpSpPr/>
            <p:nvPr/>
          </p:nvGrpSpPr>
          <p:grpSpPr>
            <a:xfrm>
              <a:off x="3542119" y="1562295"/>
              <a:ext cx="1362165" cy="4934742"/>
              <a:chOff x="3733851" y="848521"/>
              <a:chExt cx="1280161" cy="4637666"/>
            </a:xfrm>
          </p:grpSpPr>
          <p:pic>
            <p:nvPicPr>
              <p:cNvPr id="166" name="Picture 165"/>
              <p:cNvPicPr>
                <a:picLocks noChangeAspect="1"/>
              </p:cNvPicPr>
              <p:nvPr/>
            </p:nvPicPr>
            <p:blipFill rotWithShape="1">
              <a:blip r:embed="rId6"/>
              <a:srcRect b="28930"/>
              <a:stretch/>
            </p:blipFill>
            <p:spPr>
              <a:xfrm>
                <a:off x="3733852" y="4849722"/>
                <a:ext cx="1280160" cy="636465"/>
              </a:xfrm>
              <a:prstGeom prst="rect">
                <a:avLst/>
              </a:prstGeom>
              <a:ln>
                <a:noFill/>
              </a:ln>
            </p:spPr>
          </p:pic>
          <p:pic>
            <p:nvPicPr>
              <p:cNvPr id="167" name="1 Quick Create"/>
              <p:cNvPicPr>
                <a:picLocks noChangeAspect="1"/>
              </p:cNvPicPr>
              <p:nvPr/>
            </p:nvPicPr>
            <p:blipFill rotWithShape="1">
              <a:blip r:embed="rId5"/>
              <a:srcRect l="17113" t="3715" r="1568" b="41893"/>
              <a:stretch/>
            </p:blipFill>
            <p:spPr>
              <a:xfrm>
                <a:off x="3733852" y="848521"/>
                <a:ext cx="1280160" cy="645847"/>
              </a:xfrm>
              <a:prstGeom prst="rect">
                <a:avLst/>
              </a:prstGeom>
              <a:ln>
                <a:noFill/>
              </a:ln>
            </p:spPr>
          </p:pic>
          <p:pic>
            <p:nvPicPr>
              <p:cNvPr id="168" name="screen 1"/>
              <p:cNvPicPr>
                <a:picLocks noChangeAspect="1"/>
              </p:cNvPicPr>
              <p:nvPr/>
            </p:nvPicPr>
            <p:blipFill rotWithShape="1">
              <a:blip r:embed="rId7"/>
              <a:srcRect l="17494" t="3147" b="46784"/>
              <a:stretch/>
            </p:blipFill>
            <p:spPr>
              <a:xfrm>
                <a:off x="3733851" y="1653939"/>
                <a:ext cx="1280160" cy="638071"/>
              </a:xfrm>
              <a:prstGeom prst="rect">
                <a:avLst/>
              </a:prstGeom>
              <a:ln>
                <a:noFill/>
              </a:ln>
            </p:spPr>
          </p:pic>
          <p:pic>
            <p:nvPicPr>
              <p:cNvPr id="169" name="Dashboard"/>
              <p:cNvPicPr>
                <a:picLocks noChangeAspect="1"/>
              </p:cNvPicPr>
              <p:nvPr/>
            </p:nvPicPr>
            <p:blipFill rotWithShape="1">
              <a:blip r:embed="rId8"/>
              <a:srcRect l="17890" t="3230" b="43870"/>
              <a:stretch/>
            </p:blipFill>
            <p:spPr>
              <a:xfrm>
                <a:off x="3733852" y="2455475"/>
                <a:ext cx="1280160" cy="638395"/>
              </a:xfrm>
              <a:prstGeom prst="rect">
                <a:avLst/>
              </a:prstGeom>
              <a:ln>
                <a:noFill/>
              </a:ln>
            </p:spPr>
          </p:pic>
          <p:pic>
            <p:nvPicPr>
              <p:cNvPr id="170" name="Picture 169"/>
              <p:cNvPicPr>
                <a:picLocks noChangeAspect="1"/>
              </p:cNvPicPr>
              <p:nvPr/>
            </p:nvPicPr>
            <p:blipFill rotWithShape="1">
              <a:blip r:embed="rId9"/>
              <a:srcRect l="17294" t="3211" b="46827"/>
              <a:stretch/>
            </p:blipFill>
            <p:spPr>
              <a:xfrm>
                <a:off x="3733852" y="3253771"/>
                <a:ext cx="1280160" cy="636466"/>
              </a:xfrm>
              <a:prstGeom prst="rect">
                <a:avLst/>
              </a:prstGeom>
              <a:ln>
                <a:noFill/>
              </a:ln>
            </p:spPr>
          </p:pic>
          <p:pic>
            <p:nvPicPr>
              <p:cNvPr id="171" name="quick start"/>
              <p:cNvPicPr>
                <a:picLocks noChangeAspect="1"/>
              </p:cNvPicPr>
              <p:nvPr/>
            </p:nvPicPr>
            <p:blipFill rotWithShape="1">
              <a:blip r:embed="rId10"/>
              <a:srcRect l="17889" t="4390" b="28112"/>
              <a:stretch/>
            </p:blipFill>
            <p:spPr>
              <a:xfrm>
                <a:off x="3733852" y="4048184"/>
                <a:ext cx="1280160" cy="643490"/>
              </a:xfrm>
              <a:prstGeom prst="rect">
                <a:avLst/>
              </a:prstGeom>
              <a:ln>
                <a:noFill/>
              </a:ln>
            </p:spPr>
          </p:pic>
        </p:grpSp>
      </p:grpSp>
      <p:pic>
        <p:nvPicPr>
          <p:cNvPr id="147" name="1 Quick Create"/>
          <p:cNvPicPr>
            <a:picLocks noChangeAspect="1"/>
          </p:cNvPicPr>
          <p:nvPr/>
        </p:nvPicPr>
        <p:blipFill rotWithShape="1">
          <a:blip r:embed="rId5"/>
          <a:srcRect r="1112" b="96729"/>
          <a:stretch/>
        </p:blipFill>
        <p:spPr>
          <a:xfrm>
            <a:off x="5640404" y="2161574"/>
            <a:ext cx="5704150" cy="142302"/>
          </a:xfrm>
          <a:prstGeom prst="rect">
            <a:avLst/>
          </a:prstGeom>
        </p:spPr>
      </p:pic>
      <p:pic>
        <p:nvPicPr>
          <p:cNvPr id="148" name="screen 1"/>
          <p:cNvPicPr>
            <a:picLocks noChangeAspect="1"/>
          </p:cNvPicPr>
          <p:nvPr/>
        </p:nvPicPr>
        <p:blipFill rotWithShape="1">
          <a:blip r:embed="rId7"/>
          <a:srcRect t="94140"/>
          <a:stretch/>
        </p:blipFill>
        <p:spPr>
          <a:xfrm>
            <a:off x="5638718" y="6225960"/>
            <a:ext cx="5705836" cy="276752"/>
          </a:xfrm>
          <a:prstGeom prst="rect">
            <a:avLst/>
          </a:prstGeom>
          <a:ln>
            <a:noFill/>
          </a:ln>
        </p:spPr>
      </p:pic>
      <p:grpSp>
        <p:nvGrpSpPr>
          <p:cNvPr id="149" name="Group 148"/>
          <p:cNvGrpSpPr/>
          <p:nvPr/>
        </p:nvGrpSpPr>
        <p:grpSpPr>
          <a:xfrm>
            <a:off x="5630286" y="2303877"/>
            <a:ext cx="5744128" cy="3922084"/>
            <a:chOff x="5233370" y="474134"/>
            <a:chExt cx="6974966" cy="4762498"/>
          </a:xfrm>
        </p:grpSpPr>
        <p:pic>
          <p:nvPicPr>
            <p:cNvPr id="162" name="screen 1"/>
            <p:cNvPicPr>
              <a:picLocks noChangeAspect="1"/>
            </p:cNvPicPr>
            <p:nvPr/>
          </p:nvPicPr>
          <p:blipFill rotWithShape="1">
            <a:blip r:embed="rId7"/>
            <a:srcRect t="3148" b="6061"/>
            <a:stretch/>
          </p:blipFill>
          <p:spPr>
            <a:xfrm>
              <a:off x="5233370" y="474134"/>
              <a:ext cx="6448584" cy="4762498"/>
            </a:xfrm>
            <a:prstGeom prst="rect">
              <a:avLst/>
            </a:prstGeom>
            <a:ln>
              <a:noFill/>
            </a:ln>
          </p:spPr>
        </p:pic>
        <p:sp>
          <p:nvSpPr>
            <p:cNvPr id="163" name="Rectangle 162"/>
            <p:cNvSpPr/>
            <p:nvPr/>
          </p:nvSpPr>
          <p:spPr bwMode="auto">
            <a:xfrm>
              <a:off x="11681954" y="525779"/>
              <a:ext cx="526382" cy="47108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50" name="Dashboard"/>
          <p:cNvPicPr>
            <a:picLocks noChangeAspect="1"/>
          </p:cNvPicPr>
          <p:nvPr/>
        </p:nvPicPr>
        <p:blipFill rotWithShape="1">
          <a:blip r:embed="rId8"/>
          <a:srcRect t="3230"/>
          <a:stretch/>
        </p:blipFill>
        <p:spPr>
          <a:xfrm>
            <a:off x="5640400" y="2303876"/>
            <a:ext cx="5308951" cy="3921009"/>
          </a:xfrm>
          <a:prstGeom prst="rect">
            <a:avLst/>
          </a:prstGeom>
          <a:ln>
            <a:noFill/>
          </a:ln>
        </p:spPr>
      </p:pic>
      <p:sp>
        <p:nvSpPr>
          <p:cNvPr id="151" name="Rectangle 150"/>
          <p:cNvSpPr/>
          <p:nvPr/>
        </p:nvSpPr>
        <p:spPr bwMode="auto">
          <a:xfrm>
            <a:off x="4245915" y="2280859"/>
            <a:ext cx="1121790" cy="565948"/>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bwMode="auto">
          <a:xfrm>
            <a:off x="4245915" y="2984936"/>
            <a:ext cx="1121790" cy="565948"/>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Rectangle 152"/>
          <p:cNvSpPr/>
          <p:nvPr/>
        </p:nvSpPr>
        <p:spPr bwMode="auto">
          <a:xfrm>
            <a:off x="4245915" y="3693070"/>
            <a:ext cx="1121790" cy="565948"/>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Rectangle 153"/>
          <p:cNvSpPr/>
          <p:nvPr/>
        </p:nvSpPr>
        <p:spPr bwMode="auto">
          <a:xfrm>
            <a:off x="4245915" y="4403294"/>
            <a:ext cx="1121790" cy="565948"/>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a:off x="4245915" y="5109742"/>
            <a:ext cx="1121790" cy="565948"/>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4245915" y="5802888"/>
            <a:ext cx="1121790" cy="565948"/>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7" name="Picture 156"/>
          <p:cNvPicPr>
            <a:picLocks noChangeAspect="1"/>
          </p:cNvPicPr>
          <p:nvPr/>
        </p:nvPicPr>
        <p:blipFill rotWithShape="1">
          <a:blip r:embed="rId9"/>
          <a:srcRect t="3212" b="6521"/>
          <a:stretch/>
        </p:blipFill>
        <p:spPr>
          <a:xfrm>
            <a:off x="5658418" y="2303875"/>
            <a:ext cx="5282503" cy="3921010"/>
          </a:xfrm>
          <a:prstGeom prst="rect">
            <a:avLst/>
          </a:prstGeom>
          <a:ln>
            <a:noFill/>
          </a:ln>
        </p:spPr>
      </p:pic>
      <p:pic>
        <p:nvPicPr>
          <p:cNvPr id="158" name="quick start"/>
          <p:cNvPicPr>
            <a:picLocks noChangeAspect="1"/>
          </p:cNvPicPr>
          <p:nvPr/>
        </p:nvPicPr>
        <p:blipFill rotWithShape="1">
          <a:blip r:embed="rId10"/>
          <a:srcRect l="18850" t="4390" b="-1"/>
          <a:stretch/>
        </p:blipFill>
        <p:spPr>
          <a:xfrm>
            <a:off x="6615199" y="2316103"/>
            <a:ext cx="4168004" cy="2971593"/>
          </a:xfrm>
          <a:prstGeom prst="rect">
            <a:avLst/>
          </a:prstGeom>
          <a:ln>
            <a:noFill/>
          </a:ln>
        </p:spPr>
      </p:pic>
      <p:pic>
        <p:nvPicPr>
          <p:cNvPr id="159" name="Picture 158"/>
          <p:cNvPicPr>
            <a:picLocks noChangeAspect="1"/>
          </p:cNvPicPr>
          <p:nvPr/>
        </p:nvPicPr>
        <p:blipFill rotWithShape="1">
          <a:blip r:embed="rId6"/>
          <a:srcRect b="126"/>
          <a:stretch/>
        </p:blipFill>
        <p:spPr>
          <a:xfrm>
            <a:off x="6591691" y="2787035"/>
            <a:ext cx="4721527" cy="3298827"/>
          </a:xfrm>
          <a:prstGeom prst="rect">
            <a:avLst/>
          </a:prstGeom>
          <a:ln>
            <a:noFill/>
          </a:ln>
        </p:spPr>
      </p:pic>
      <p:pic>
        <p:nvPicPr>
          <p:cNvPr id="160" name="Picture 159"/>
          <p:cNvPicPr>
            <a:picLocks noChangeAspect="1"/>
          </p:cNvPicPr>
          <p:nvPr/>
        </p:nvPicPr>
        <p:blipFill rotWithShape="1">
          <a:blip r:embed="rId9"/>
          <a:srcRect l="36530" t="94117" r="33656" b="4"/>
          <a:stretch/>
        </p:blipFill>
        <p:spPr>
          <a:xfrm>
            <a:off x="7783694" y="6241204"/>
            <a:ext cx="1590205" cy="258127"/>
          </a:xfrm>
          <a:prstGeom prst="rect">
            <a:avLst/>
          </a:prstGeom>
          <a:ln>
            <a:noFill/>
          </a:ln>
        </p:spPr>
      </p:pic>
      <p:sp>
        <p:nvSpPr>
          <p:cNvPr id="161" name="Rectangle 160"/>
          <p:cNvSpPr/>
          <p:nvPr/>
        </p:nvSpPr>
        <p:spPr bwMode="auto">
          <a:xfrm>
            <a:off x="5630286" y="2161574"/>
            <a:ext cx="5714267" cy="4341138"/>
          </a:xfrm>
          <a:prstGeom prst="rect">
            <a:avLst/>
          </a:prstGeom>
          <a:noFill/>
          <a:ln w="28575">
            <a:solidFill>
              <a:srgbClr val="3C454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6" name="Rectangle 5"/>
          <p:cNvSpPr/>
          <p:nvPr/>
        </p:nvSpPr>
        <p:spPr bwMode="auto">
          <a:xfrm>
            <a:off x="1176012" y="2125663"/>
            <a:ext cx="10530213" cy="45720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2" name="Group 171"/>
          <p:cNvGrpSpPr/>
          <p:nvPr/>
        </p:nvGrpSpPr>
        <p:grpSpPr>
          <a:xfrm>
            <a:off x="4115106" y="2161574"/>
            <a:ext cx="1384211" cy="4336805"/>
            <a:chOff x="3383281" y="1417449"/>
            <a:chExt cx="1682496" cy="5271348"/>
          </a:xfrm>
        </p:grpSpPr>
        <p:grpSp>
          <p:nvGrpSpPr>
            <p:cNvPr id="173" name="Group 172"/>
            <p:cNvGrpSpPr/>
            <p:nvPr/>
          </p:nvGrpSpPr>
          <p:grpSpPr>
            <a:xfrm>
              <a:off x="3383281" y="1417449"/>
              <a:ext cx="1682496" cy="5271348"/>
              <a:chOff x="3383281" y="1417449"/>
              <a:chExt cx="1682496" cy="5271348"/>
            </a:xfrm>
          </p:grpSpPr>
          <p:grpSp>
            <p:nvGrpSpPr>
              <p:cNvPr id="175" name="Group 174"/>
              <p:cNvGrpSpPr/>
              <p:nvPr/>
            </p:nvGrpSpPr>
            <p:grpSpPr>
              <a:xfrm>
                <a:off x="3383281" y="1417449"/>
                <a:ext cx="1682496" cy="5271348"/>
                <a:chOff x="3383281" y="1417449"/>
                <a:chExt cx="1682496" cy="5271348"/>
              </a:xfrm>
            </p:grpSpPr>
            <p:grpSp>
              <p:nvGrpSpPr>
                <p:cNvPr id="177" name="Group 176"/>
                <p:cNvGrpSpPr/>
                <p:nvPr/>
              </p:nvGrpSpPr>
              <p:grpSpPr>
                <a:xfrm>
                  <a:off x="3383281" y="1417449"/>
                  <a:ext cx="1682496" cy="5271348"/>
                  <a:chOff x="3383281" y="1417449"/>
                  <a:chExt cx="1682496" cy="5271348"/>
                </a:xfrm>
              </p:grpSpPr>
              <p:grpSp>
                <p:nvGrpSpPr>
                  <p:cNvPr id="179" name="Group 178"/>
                  <p:cNvGrpSpPr/>
                  <p:nvPr/>
                </p:nvGrpSpPr>
                <p:grpSpPr>
                  <a:xfrm>
                    <a:off x="3383281" y="1417449"/>
                    <a:ext cx="1682496" cy="5271348"/>
                    <a:chOff x="3383281" y="1417449"/>
                    <a:chExt cx="1682496" cy="5271348"/>
                  </a:xfrm>
                </p:grpSpPr>
                <p:sp>
                  <p:nvSpPr>
                    <p:cNvPr id="181" name="Rectangle 180"/>
                    <p:cNvSpPr/>
                    <p:nvPr/>
                  </p:nvSpPr>
                  <p:spPr bwMode="auto">
                    <a:xfrm>
                      <a:off x="3383281" y="1417449"/>
                      <a:ext cx="1682496" cy="52713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2" name="1 quick create"/>
                    <p:cNvPicPr>
                      <a:picLocks noChangeAspect="1"/>
                    </p:cNvPicPr>
                    <p:nvPr/>
                  </p:nvPicPr>
                  <p:blipFill rotWithShape="1">
                    <a:blip r:embed="rId11"/>
                    <a:srcRect t="3990" b="19483"/>
                    <a:stretch/>
                  </p:blipFill>
                  <p:spPr>
                    <a:xfrm>
                      <a:off x="3537190" y="1564984"/>
                      <a:ext cx="1367093" cy="684529"/>
                    </a:xfrm>
                    <a:prstGeom prst="rect">
                      <a:avLst/>
                    </a:prstGeom>
                    <a:ln>
                      <a:noFill/>
                    </a:ln>
                  </p:spPr>
                </p:pic>
                <p:pic>
                  <p:nvPicPr>
                    <p:cNvPr id="183" name="Gallery"/>
                    <p:cNvPicPr>
                      <a:picLocks noChangeAspect="1"/>
                    </p:cNvPicPr>
                    <p:nvPr/>
                  </p:nvPicPr>
                  <p:blipFill rotWithShape="1">
                    <a:blip r:embed="rId12"/>
                    <a:srcRect t="3697" b="34520"/>
                    <a:stretch/>
                  </p:blipFill>
                  <p:spPr>
                    <a:xfrm>
                      <a:off x="3549773" y="2440021"/>
                      <a:ext cx="1359928" cy="670863"/>
                    </a:xfrm>
                    <a:prstGeom prst="rect">
                      <a:avLst/>
                    </a:prstGeom>
                    <a:ln>
                      <a:noFill/>
                    </a:ln>
                  </p:spPr>
                </p:pic>
              </p:grpSp>
              <p:pic>
                <p:nvPicPr>
                  <p:cNvPr id="180" name="vm settings"/>
                  <p:cNvPicPr>
                    <a:picLocks noChangeAspect="1"/>
                  </p:cNvPicPr>
                  <p:nvPr/>
                </p:nvPicPr>
                <p:blipFill rotWithShape="1">
                  <a:blip r:embed="rId13"/>
                  <a:srcRect l="11871" t="2513" r="4057" b="34814"/>
                  <a:stretch/>
                </p:blipFill>
                <p:spPr>
                  <a:xfrm>
                    <a:off x="3543710" y="3288744"/>
                    <a:ext cx="1360574" cy="675584"/>
                  </a:xfrm>
                  <a:prstGeom prst="rect">
                    <a:avLst/>
                  </a:prstGeom>
                  <a:ln>
                    <a:noFill/>
                  </a:ln>
                </p:spPr>
              </p:pic>
            </p:grpSp>
            <p:pic>
              <p:nvPicPr>
                <p:cNvPr id="178" name="1 dashboard"/>
                <p:cNvPicPr>
                  <a:picLocks noChangeAspect="1"/>
                </p:cNvPicPr>
                <p:nvPr/>
              </p:nvPicPr>
              <p:blipFill rotWithShape="1">
                <a:blip r:embed="rId14"/>
                <a:srcRect t="4156" b="31373"/>
                <a:stretch/>
              </p:blipFill>
              <p:spPr>
                <a:xfrm>
                  <a:off x="3543710" y="4142189"/>
                  <a:ext cx="1360573" cy="677238"/>
                </a:xfrm>
                <a:prstGeom prst="rect">
                  <a:avLst/>
                </a:prstGeom>
                <a:ln>
                  <a:noFill/>
                </a:ln>
              </p:spPr>
            </p:pic>
          </p:grpSp>
          <p:pic>
            <p:nvPicPr>
              <p:cNvPr id="176" name="3 scale"/>
              <p:cNvPicPr>
                <a:picLocks noChangeAspect="1"/>
              </p:cNvPicPr>
              <p:nvPr/>
            </p:nvPicPr>
            <p:blipFill rotWithShape="1">
              <a:blip r:embed="rId15"/>
              <a:srcRect t="3432" b="31849"/>
              <a:stretch/>
            </p:blipFill>
            <p:spPr>
              <a:xfrm>
                <a:off x="3543844" y="4996756"/>
                <a:ext cx="1360573" cy="681251"/>
              </a:xfrm>
              <a:prstGeom prst="rect">
                <a:avLst/>
              </a:prstGeom>
              <a:ln>
                <a:noFill/>
              </a:ln>
            </p:spPr>
          </p:pic>
        </p:grpSp>
        <p:pic>
          <p:nvPicPr>
            <p:cNvPr id="174" name="Picture 173"/>
            <p:cNvPicPr>
              <a:picLocks noChangeAspect="1"/>
            </p:cNvPicPr>
            <p:nvPr/>
          </p:nvPicPr>
          <p:blipFill rotWithShape="1">
            <a:blip r:embed="rId16"/>
            <a:srcRect b="22669"/>
            <a:stretch/>
          </p:blipFill>
          <p:spPr>
            <a:xfrm>
              <a:off x="3539135" y="5848025"/>
              <a:ext cx="1360573" cy="680696"/>
            </a:xfrm>
            <a:prstGeom prst="rect">
              <a:avLst/>
            </a:prstGeom>
            <a:ln>
              <a:noFill/>
            </a:ln>
          </p:spPr>
        </p:pic>
      </p:grpSp>
      <p:pic>
        <p:nvPicPr>
          <p:cNvPr id="184" name="1 Quick Create"/>
          <p:cNvPicPr>
            <a:picLocks noChangeAspect="1"/>
          </p:cNvPicPr>
          <p:nvPr/>
        </p:nvPicPr>
        <p:blipFill rotWithShape="1">
          <a:blip r:embed="rId5"/>
          <a:srcRect r="1112" b="96729"/>
          <a:stretch/>
        </p:blipFill>
        <p:spPr>
          <a:xfrm>
            <a:off x="5638881" y="2161574"/>
            <a:ext cx="5698455" cy="142160"/>
          </a:xfrm>
          <a:prstGeom prst="rect">
            <a:avLst/>
          </a:prstGeom>
        </p:spPr>
      </p:pic>
      <p:sp>
        <p:nvSpPr>
          <p:cNvPr id="185" name="Rectangle 184"/>
          <p:cNvSpPr/>
          <p:nvPr/>
        </p:nvSpPr>
        <p:spPr bwMode="auto">
          <a:xfrm>
            <a:off x="4245784" y="2280740"/>
            <a:ext cx="1120670" cy="565383"/>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4245784" y="2984115"/>
            <a:ext cx="1120670" cy="565383"/>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bwMode="auto">
          <a:xfrm>
            <a:off x="4245784" y="3691541"/>
            <a:ext cx="1120670" cy="565383"/>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Rectangle 187"/>
          <p:cNvSpPr/>
          <p:nvPr/>
        </p:nvSpPr>
        <p:spPr bwMode="auto">
          <a:xfrm>
            <a:off x="4245784" y="4401056"/>
            <a:ext cx="1120670" cy="565383"/>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Rectangle 188"/>
          <p:cNvSpPr/>
          <p:nvPr/>
        </p:nvSpPr>
        <p:spPr bwMode="auto">
          <a:xfrm>
            <a:off x="4245784" y="5106798"/>
            <a:ext cx="1120670" cy="565383"/>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p:nvSpPr>
        <p:spPr bwMode="auto">
          <a:xfrm>
            <a:off x="4245784" y="5799253"/>
            <a:ext cx="1120670" cy="565383"/>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1" name="Group 190"/>
          <p:cNvGrpSpPr/>
          <p:nvPr/>
        </p:nvGrpSpPr>
        <p:grpSpPr>
          <a:xfrm>
            <a:off x="5622995" y="2303734"/>
            <a:ext cx="5705426" cy="4194645"/>
            <a:chOff x="5216106" y="1590243"/>
            <a:chExt cx="6934895" cy="5098554"/>
          </a:xfrm>
        </p:grpSpPr>
        <p:pic>
          <p:nvPicPr>
            <p:cNvPr id="192" name="1 quick create"/>
            <p:cNvPicPr>
              <a:picLocks noChangeAspect="1"/>
            </p:cNvPicPr>
            <p:nvPr/>
          </p:nvPicPr>
          <p:blipFill rotWithShape="1">
            <a:blip r:embed="rId11"/>
            <a:srcRect t="3990"/>
            <a:stretch/>
          </p:blipFill>
          <p:spPr>
            <a:xfrm>
              <a:off x="5216106" y="1590243"/>
              <a:ext cx="6934895" cy="4400981"/>
            </a:xfrm>
            <a:prstGeom prst="rect">
              <a:avLst/>
            </a:prstGeom>
            <a:ln>
              <a:noFill/>
            </a:ln>
          </p:spPr>
        </p:pic>
        <p:sp>
          <p:nvSpPr>
            <p:cNvPr id="193" name="Rectangle 192"/>
            <p:cNvSpPr/>
            <p:nvPr/>
          </p:nvSpPr>
          <p:spPr bwMode="auto">
            <a:xfrm>
              <a:off x="5235416" y="5991224"/>
              <a:ext cx="6915585" cy="697573"/>
            </a:xfrm>
            <a:prstGeom prst="rect">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4" name="Group 193"/>
          <p:cNvGrpSpPr/>
          <p:nvPr/>
        </p:nvGrpSpPr>
        <p:grpSpPr>
          <a:xfrm>
            <a:off x="5634052" y="2312186"/>
            <a:ext cx="5714010" cy="4197504"/>
            <a:chOff x="5237291" y="1590243"/>
            <a:chExt cx="6920153" cy="5102029"/>
          </a:xfrm>
        </p:grpSpPr>
        <p:pic>
          <p:nvPicPr>
            <p:cNvPr id="195" name="Gallery"/>
            <p:cNvPicPr>
              <a:picLocks noChangeAspect="1"/>
            </p:cNvPicPr>
            <p:nvPr/>
          </p:nvPicPr>
          <p:blipFill rotWithShape="1">
            <a:blip r:embed="rId12"/>
            <a:srcRect t="3696" b="56608"/>
            <a:stretch/>
          </p:blipFill>
          <p:spPr>
            <a:xfrm>
              <a:off x="5239810" y="1590243"/>
              <a:ext cx="6917634" cy="2192605"/>
            </a:xfrm>
            <a:prstGeom prst="rect">
              <a:avLst/>
            </a:prstGeom>
            <a:ln>
              <a:noFill/>
            </a:ln>
          </p:spPr>
        </p:pic>
        <p:pic>
          <p:nvPicPr>
            <p:cNvPr id="196" name="Gallery"/>
            <p:cNvPicPr>
              <a:picLocks noChangeAspect="1"/>
            </p:cNvPicPr>
            <p:nvPr/>
          </p:nvPicPr>
          <p:blipFill rotWithShape="1">
            <a:blip r:embed="rId12"/>
            <a:srcRect t="45490"/>
            <a:stretch/>
          </p:blipFill>
          <p:spPr>
            <a:xfrm>
              <a:off x="5237291" y="3670667"/>
              <a:ext cx="6917634" cy="3021605"/>
            </a:xfrm>
            <a:prstGeom prst="rect">
              <a:avLst/>
            </a:prstGeom>
            <a:ln>
              <a:noFill/>
            </a:ln>
          </p:spPr>
        </p:pic>
      </p:grpSp>
      <p:grpSp>
        <p:nvGrpSpPr>
          <p:cNvPr id="197" name="Group 196"/>
          <p:cNvGrpSpPr/>
          <p:nvPr/>
        </p:nvGrpSpPr>
        <p:grpSpPr>
          <a:xfrm>
            <a:off x="5631972" y="6234785"/>
            <a:ext cx="5706638" cy="263594"/>
            <a:chOff x="5227018" y="6820939"/>
            <a:chExt cx="6936368" cy="320396"/>
          </a:xfrm>
        </p:grpSpPr>
        <p:pic>
          <p:nvPicPr>
            <p:cNvPr id="198" name="1 dashboard"/>
            <p:cNvPicPr>
              <a:picLocks noChangeAspect="1"/>
            </p:cNvPicPr>
            <p:nvPr/>
          </p:nvPicPr>
          <p:blipFill rotWithShape="1">
            <a:blip r:embed="rId14"/>
            <a:srcRect t="94954"/>
            <a:stretch/>
          </p:blipFill>
          <p:spPr>
            <a:xfrm>
              <a:off x="5227018" y="6820939"/>
              <a:ext cx="6936368" cy="269336"/>
            </a:xfrm>
            <a:prstGeom prst="rect">
              <a:avLst/>
            </a:prstGeom>
            <a:ln>
              <a:noFill/>
            </a:ln>
          </p:spPr>
        </p:pic>
        <p:sp>
          <p:nvSpPr>
            <p:cNvPr id="199" name="Rectangle 198"/>
            <p:cNvSpPr/>
            <p:nvPr/>
          </p:nvSpPr>
          <p:spPr bwMode="auto">
            <a:xfrm>
              <a:off x="5229545" y="7090274"/>
              <a:ext cx="6932291" cy="51061"/>
            </a:xfrm>
            <a:prstGeom prst="rect">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0" name="Group 199"/>
          <p:cNvGrpSpPr/>
          <p:nvPr/>
        </p:nvGrpSpPr>
        <p:grpSpPr>
          <a:xfrm>
            <a:off x="5644369" y="2303734"/>
            <a:ext cx="5684050" cy="3931050"/>
            <a:chOff x="5242087" y="1590243"/>
            <a:chExt cx="6908914" cy="4778157"/>
          </a:xfrm>
        </p:grpSpPr>
        <p:sp>
          <p:nvSpPr>
            <p:cNvPr id="201" name="Rectangle 200"/>
            <p:cNvSpPr/>
            <p:nvPr/>
          </p:nvSpPr>
          <p:spPr bwMode="auto">
            <a:xfrm>
              <a:off x="6445158" y="3556000"/>
              <a:ext cx="5705843" cy="281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2" name="Group 201"/>
            <p:cNvGrpSpPr/>
            <p:nvPr/>
          </p:nvGrpSpPr>
          <p:grpSpPr>
            <a:xfrm>
              <a:off x="5242087" y="1590243"/>
              <a:ext cx="1239369" cy="4778157"/>
              <a:chOff x="4131744" y="-1948686"/>
              <a:chExt cx="1239369" cy="4778157"/>
            </a:xfrm>
          </p:grpSpPr>
          <p:sp>
            <p:nvSpPr>
              <p:cNvPr id="204" name="Rectangle 203"/>
              <p:cNvSpPr/>
              <p:nvPr/>
            </p:nvSpPr>
            <p:spPr bwMode="auto">
              <a:xfrm>
                <a:off x="4131745" y="-1948686"/>
                <a:ext cx="1203070" cy="4778157"/>
              </a:xfrm>
              <a:prstGeom prst="rect">
                <a:avLst/>
              </a:prstGeom>
              <a:solidFill>
                <a:srgbClr val="BEBA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 name="Gallery"/>
              <p:cNvPicPr>
                <a:picLocks noChangeAspect="1"/>
              </p:cNvPicPr>
              <p:nvPr/>
            </p:nvPicPr>
            <p:blipFill rotWithShape="1">
              <a:blip r:embed="rId12"/>
              <a:srcRect t="3696" r="82149" b="56608"/>
              <a:stretch/>
            </p:blipFill>
            <p:spPr>
              <a:xfrm>
                <a:off x="4131744" y="-1948686"/>
                <a:ext cx="1239369" cy="2192605"/>
              </a:xfrm>
              <a:prstGeom prst="rect">
                <a:avLst/>
              </a:prstGeom>
              <a:ln>
                <a:noFill/>
              </a:ln>
            </p:spPr>
          </p:pic>
        </p:grpSp>
        <p:pic>
          <p:nvPicPr>
            <p:cNvPr id="203" name="vm settings"/>
            <p:cNvPicPr>
              <a:picLocks noChangeAspect="1"/>
            </p:cNvPicPr>
            <p:nvPr/>
          </p:nvPicPr>
          <p:blipFill rotWithShape="1">
            <a:blip r:embed="rId13"/>
            <a:srcRect l="11871" t="2513" r="4057" b="2019"/>
            <a:stretch/>
          </p:blipFill>
          <p:spPr>
            <a:xfrm>
              <a:off x="6451574" y="1600515"/>
              <a:ext cx="5558972" cy="4184573"/>
            </a:xfrm>
            <a:prstGeom prst="rect">
              <a:avLst/>
            </a:prstGeom>
            <a:ln>
              <a:noFill/>
            </a:ln>
          </p:spPr>
        </p:pic>
      </p:grpSp>
      <p:pic>
        <p:nvPicPr>
          <p:cNvPr id="206" name="1 dashboard"/>
          <p:cNvPicPr>
            <a:picLocks noChangeAspect="1"/>
          </p:cNvPicPr>
          <p:nvPr/>
        </p:nvPicPr>
        <p:blipFill rotWithShape="1">
          <a:blip r:embed="rId14"/>
          <a:srcRect t="4155" b="7074"/>
          <a:stretch/>
        </p:blipFill>
        <p:spPr>
          <a:xfrm>
            <a:off x="5644368" y="2303734"/>
            <a:ext cx="5719184" cy="3919741"/>
          </a:xfrm>
          <a:prstGeom prst="rect">
            <a:avLst/>
          </a:prstGeom>
          <a:ln>
            <a:noFill/>
          </a:ln>
        </p:spPr>
      </p:pic>
      <p:pic>
        <p:nvPicPr>
          <p:cNvPr id="207" name="1 dashboard"/>
          <p:cNvPicPr>
            <a:picLocks noChangeAspect="1"/>
          </p:cNvPicPr>
          <p:nvPr/>
        </p:nvPicPr>
        <p:blipFill rotWithShape="1">
          <a:blip r:embed="rId14"/>
          <a:srcRect t="4155" r="82275" b="7074"/>
          <a:stretch/>
        </p:blipFill>
        <p:spPr>
          <a:xfrm>
            <a:off x="5623639" y="2303734"/>
            <a:ext cx="1023511" cy="3919741"/>
          </a:xfrm>
          <a:prstGeom prst="rect">
            <a:avLst/>
          </a:prstGeom>
          <a:ln>
            <a:noFill/>
          </a:ln>
        </p:spPr>
      </p:pic>
      <p:pic>
        <p:nvPicPr>
          <p:cNvPr id="208" name="3 scale"/>
          <p:cNvPicPr>
            <a:picLocks noChangeAspect="1"/>
          </p:cNvPicPr>
          <p:nvPr/>
        </p:nvPicPr>
        <p:blipFill rotWithShape="1">
          <a:blip r:embed="rId15"/>
          <a:srcRect l="18163" t="11016" r="1977" b="7387"/>
          <a:stretch/>
        </p:blipFill>
        <p:spPr>
          <a:xfrm>
            <a:off x="6686744" y="2609062"/>
            <a:ext cx="4583020" cy="3622863"/>
          </a:xfrm>
          <a:prstGeom prst="rect">
            <a:avLst/>
          </a:prstGeom>
          <a:ln>
            <a:noFill/>
          </a:ln>
        </p:spPr>
      </p:pic>
      <p:sp>
        <p:nvSpPr>
          <p:cNvPr id="209" name="Rectangle 208"/>
          <p:cNvSpPr/>
          <p:nvPr/>
        </p:nvSpPr>
        <p:spPr bwMode="auto">
          <a:xfrm>
            <a:off x="5628773" y="2161574"/>
            <a:ext cx="5708562" cy="4336805"/>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0" name="Group 209"/>
          <p:cNvGrpSpPr/>
          <p:nvPr/>
        </p:nvGrpSpPr>
        <p:grpSpPr>
          <a:xfrm>
            <a:off x="5600093" y="2161806"/>
            <a:ext cx="4933773" cy="3804616"/>
            <a:chOff x="5188270" y="1417730"/>
            <a:chExt cx="7012104" cy="5407295"/>
          </a:xfrm>
        </p:grpSpPr>
        <p:grpSp>
          <p:nvGrpSpPr>
            <p:cNvPr id="211" name="Group 210"/>
            <p:cNvGrpSpPr/>
            <p:nvPr/>
          </p:nvGrpSpPr>
          <p:grpSpPr>
            <a:xfrm>
              <a:off x="5225177" y="1417730"/>
              <a:ext cx="6938707" cy="4522434"/>
              <a:chOff x="5225177" y="1417730"/>
              <a:chExt cx="6938707" cy="4522434"/>
            </a:xfrm>
          </p:grpSpPr>
          <p:pic>
            <p:nvPicPr>
              <p:cNvPr id="213" name="Picture 212"/>
              <p:cNvPicPr>
                <a:picLocks noChangeAspect="1"/>
              </p:cNvPicPr>
              <p:nvPr/>
            </p:nvPicPr>
            <p:blipFill>
              <a:blip r:embed="rId16"/>
              <a:stretch>
                <a:fillRect/>
              </a:stretch>
            </p:blipFill>
            <p:spPr>
              <a:xfrm>
                <a:off x="5232888" y="1444525"/>
                <a:ext cx="6930509" cy="4483779"/>
              </a:xfrm>
              <a:prstGeom prst="rect">
                <a:avLst/>
              </a:prstGeom>
              <a:ln>
                <a:solidFill>
                  <a:schemeClr val="tx1"/>
                </a:solidFill>
              </a:ln>
            </p:spPr>
          </p:pic>
          <p:sp>
            <p:nvSpPr>
              <p:cNvPr id="214" name="Rectangle 213"/>
              <p:cNvSpPr/>
              <p:nvPr/>
            </p:nvSpPr>
            <p:spPr bwMode="auto">
              <a:xfrm>
                <a:off x="5225177" y="1417730"/>
                <a:ext cx="6938707" cy="4522434"/>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12" name="Rectangle 211"/>
            <p:cNvSpPr/>
            <p:nvPr/>
          </p:nvSpPr>
          <p:spPr bwMode="auto">
            <a:xfrm>
              <a:off x="5188270" y="5942709"/>
              <a:ext cx="7012104" cy="88231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15" name="Rectangle 214"/>
          <p:cNvSpPr/>
          <p:nvPr/>
        </p:nvSpPr>
        <p:spPr bwMode="auto">
          <a:xfrm>
            <a:off x="1826291" y="2084288"/>
            <a:ext cx="2889214" cy="2422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28" tIns="89642" rIns="143428" bIns="89642" numCol="1" rtlCol="0" anchor="t" anchorCtr="0" compatLnSpc="1">
            <a:prstTxWarp prst="textNoShape">
              <a:avLst/>
            </a:prstTxWarp>
          </a:bodyPr>
          <a:lstStyle/>
          <a:p>
            <a:pPr marL="0" lvl="1" defTabSz="914367">
              <a:lnSpc>
                <a:spcPct val="90000"/>
              </a:lnSpc>
              <a:spcBef>
                <a:spcPct val="0"/>
              </a:spcBef>
              <a:spcAft>
                <a:spcPts val="1176"/>
              </a:spcAft>
            </a:pPr>
            <a:r>
              <a:rPr lang="en-GB" b="1" dirty="0" smtClean="0">
                <a:gradFill>
                  <a:gsLst>
                    <a:gs pos="7619">
                      <a:srgbClr val="00188F"/>
                    </a:gs>
                    <a:gs pos="53000">
                      <a:srgbClr val="00188F"/>
                    </a:gs>
                  </a:gsLst>
                  <a:lin ang="5400000" scaled="0"/>
                </a:gradFill>
                <a:cs typeface="Segoe UI" panose="020B0502040204020203" pitchFamily="34" charset="0"/>
              </a:rPr>
              <a:t>Virtual Machines</a:t>
            </a:r>
          </a:p>
          <a:p>
            <a:pPr marL="0" lvl="1" defTabSz="914367">
              <a:lnSpc>
                <a:spcPct val="90000"/>
              </a:lnSpc>
              <a:spcBef>
                <a:spcPct val="0"/>
              </a:spcBef>
              <a:spcAft>
                <a:spcPts val="1176"/>
              </a:spcAft>
            </a:pPr>
            <a:r>
              <a:rPr lang="en-GB" dirty="0" smtClean="0">
                <a:gradFill>
                  <a:gsLst>
                    <a:gs pos="7619">
                      <a:srgbClr val="00188F"/>
                    </a:gs>
                    <a:gs pos="53000">
                      <a:srgbClr val="00188F"/>
                    </a:gs>
                  </a:gsLst>
                  <a:lin ang="5400000" scaled="0"/>
                </a:gradFill>
                <a:cs typeface="Segoe UI" panose="020B0502040204020203" pitchFamily="34" charset="0"/>
              </a:rPr>
              <a:t>VMs</a:t>
            </a:r>
          </a:p>
          <a:p>
            <a:pPr marL="0" lvl="1" defTabSz="914367">
              <a:lnSpc>
                <a:spcPct val="90000"/>
              </a:lnSpc>
              <a:spcBef>
                <a:spcPct val="0"/>
              </a:spcBef>
              <a:spcAft>
                <a:spcPts val="1176"/>
              </a:spcAft>
            </a:pPr>
            <a:r>
              <a:rPr lang="en-GB" dirty="0" smtClean="0">
                <a:gradFill>
                  <a:gsLst>
                    <a:gs pos="7619">
                      <a:srgbClr val="00188F"/>
                    </a:gs>
                    <a:gs pos="53000">
                      <a:srgbClr val="00188F"/>
                    </a:gs>
                  </a:gsLst>
                  <a:lin ang="5400000" scaled="0"/>
                </a:gradFill>
                <a:cs typeface="Segoe UI" panose="020B0502040204020203" pitchFamily="34" charset="0"/>
              </a:rPr>
              <a:t>VM roles</a:t>
            </a:r>
            <a:endParaRPr lang="en-GB" dirty="0">
              <a:gradFill>
                <a:gsLst>
                  <a:gs pos="7619">
                    <a:srgbClr val="00188F"/>
                  </a:gs>
                  <a:gs pos="53000">
                    <a:srgbClr val="00188F"/>
                  </a:gs>
                </a:gsLst>
                <a:lin ang="5400000" scaled="0"/>
              </a:gradFill>
              <a:cs typeface="Segoe UI" panose="020B0502040204020203" pitchFamily="34" charset="0"/>
            </a:endParaRPr>
          </a:p>
          <a:p>
            <a:pPr marL="0" lvl="1" defTabSz="914367">
              <a:lnSpc>
                <a:spcPct val="90000"/>
              </a:lnSpc>
              <a:spcBef>
                <a:spcPct val="0"/>
              </a:spcBef>
              <a:spcAft>
                <a:spcPts val="1176"/>
              </a:spcAft>
            </a:pPr>
            <a:r>
              <a:rPr lang="en-GB" dirty="0" smtClean="0">
                <a:gradFill>
                  <a:gsLst>
                    <a:gs pos="7619">
                      <a:srgbClr val="00188F"/>
                    </a:gs>
                    <a:gs pos="53000">
                      <a:srgbClr val="00188F"/>
                    </a:gs>
                  </a:gsLst>
                  <a:lin ang="5400000" scaled="0"/>
                </a:gradFill>
                <a:cs typeface="Segoe UI" panose="020B0502040204020203" pitchFamily="34" charset="0"/>
              </a:rPr>
              <a:t>Provisions</a:t>
            </a:r>
          </a:p>
          <a:p>
            <a:pPr marL="0" lvl="1" defTabSz="914367">
              <a:lnSpc>
                <a:spcPct val="90000"/>
              </a:lnSpc>
              <a:spcBef>
                <a:spcPct val="0"/>
              </a:spcBef>
              <a:spcAft>
                <a:spcPts val="1176"/>
              </a:spcAft>
            </a:pPr>
            <a:r>
              <a:rPr lang="en-GB" dirty="0" smtClean="0">
                <a:gradFill>
                  <a:gsLst>
                    <a:gs pos="7619">
                      <a:srgbClr val="00188F"/>
                    </a:gs>
                    <a:gs pos="53000">
                      <a:srgbClr val="00188F"/>
                    </a:gs>
                  </a:gsLst>
                  <a:lin ang="5400000" scaled="0"/>
                </a:gradFill>
                <a:cs typeface="Segoe UI" panose="020B0502040204020203" pitchFamily="34" charset="0"/>
              </a:rPr>
              <a:t>Manage</a:t>
            </a:r>
          </a:p>
          <a:p>
            <a:pPr marL="0" lvl="1" defTabSz="914367">
              <a:lnSpc>
                <a:spcPct val="90000"/>
              </a:lnSpc>
              <a:spcBef>
                <a:spcPct val="0"/>
              </a:spcBef>
              <a:spcAft>
                <a:spcPts val="1176"/>
              </a:spcAft>
            </a:pPr>
            <a:r>
              <a:rPr lang="en-GB" dirty="0" smtClean="0">
                <a:gradFill>
                  <a:gsLst>
                    <a:gs pos="7619">
                      <a:srgbClr val="00188F"/>
                    </a:gs>
                    <a:gs pos="53000">
                      <a:srgbClr val="00188F"/>
                    </a:gs>
                  </a:gsLst>
                  <a:lin ang="5400000" scaled="0"/>
                </a:gradFill>
                <a:cs typeface="Segoe UI" panose="020B0502040204020203" pitchFamily="34" charset="0"/>
              </a:rPr>
              <a:t>Scale</a:t>
            </a:r>
          </a:p>
          <a:p>
            <a:pPr marL="0" lvl="1" defTabSz="914367">
              <a:lnSpc>
                <a:spcPct val="90000"/>
              </a:lnSpc>
              <a:spcBef>
                <a:spcPct val="0"/>
              </a:spcBef>
              <a:spcAft>
                <a:spcPts val="1176"/>
              </a:spcAft>
            </a:pPr>
            <a:r>
              <a:rPr lang="en-GB" dirty="0" smtClean="0">
                <a:gradFill>
                  <a:gsLst>
                    <a:gs pos="7619">
                      <a:srgbClr val="00188F"/>
                    </a:gs>
                    <a:gs pos="53000">
                      <a:srgbClr val="00188F"/>
                    </a:gs>
                  </a:gsLst>
                  <a:lin ang="5400000" scaled="0"/>
                </a:gradFill>
                <a:cs typeface="Segoe UI" panose="020B0502040204020203" pitchFamily="34" charset="0"/>
              </a:rPr>
              <a:t>Connect</a:t>
            </a:r>
            <a:endParaRPr lang="en-GB" dirty="0">
              <a:gradFill>
                <a:gsLst>
                  <a:gs pos="7619">
                    <a:srgbClr val="00188F"/>
                  </a:gs>
                  <a:gs pos="53000">
                    <a:srgbClr val="00188F"/>
                  </a:gs>
                </a:gsLst>
                <a:lin ang="5400000" scaled="0"/>
              </a:gradFill>
              <a:cs typeface="Segoe UI" panose="020B0502040204020203" pitchFamily="34" charset="0"/>
            </a:endParaRPr>
          </a:p>
        </p:txBody>
      </p:sp>
      <p:sp useBgFill="1">
        <p:nvSpPr>
          <p:cNvPr id="216" name="Rectangle 215"/>
          <p:cNvSpPr/>
          <p:nvPr/>
        </p:nvSpPr>
        <p:spPr bwMode="auto">
          <a:xfrm>
            <a:off x="1328412" y="1980608"/>
            <a:ext cx="10530213" cy="45720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7" name="Rectangle 216"/>
          <p:cNvSpPr/>
          <p:nvPr/>
        </p:nvSpPr>
        <p:spPr bwMode="auto">
          <a:xfrm>
            <a:off x="1826290" y="2084288"/>
            <a:ext cx="3057341" cy="2422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28" tIns="89642" rIns="143428" bIns="89642" numCol="1" rtlCol="0" anchor="t" anchorCtr="0" compatLnSpc="1">
            <a:prstTxWarp prst="textNoShape">
              <a:avLst/>
            </a:prstTxWarp>
          </a:bodyPr>
          <a:lstStyle/>
          <a:p>
            <a:pPr marL="0" lvl="1" defTabSz="914367">
              <a:lnSpc>
                <a:spcPct val="90000"/>
              </a:lnSpc>
              <a:spcBef>
                <a:spcPct val="0"/>
              </a:spcBef>
              <a:spcAft>
                <a:spcPts val="1176"/>
              </a:spcAft>
            </a:pPr>
            <a:r>
              <a:rPr lang="en-GB" b="1" dirty="0" smtClean="0">
                <a:gradFill>
                  <a:gsLst>
                    <a:gs pos="7619">
                      <a:srgbClr val="00188F"/>
                    </a:gs>
                    <a:gs pos="53000">
                      <a:srgbClr val="00188F"/>
                    </a:gs>
                  </a:gsLst>
                  <a:lin ang="5400000" scaled="0"/>
                </a:gradFill>
                <a:cs typeface="Segoe UI" panose="020B0502040204020203" pitchFamily="34" charset="0"/>
              </a:rPr>
              <a:t>Databases</a:t>
            </a:r>
          </a:p>
          <a:p>
            <a:pPr marL="0" lvl="1" defTabSz="914367">
              <a:lnSpc>
                <a:spcPct val="90000"/>
              </a:lnSpc>
              <a:spcBef>
                <a:spcPct val="0"/>
              </a:spcBef>
              <a:spcAft>
                <a:spcPts val="1176"/>
              </a:spcAft>
            </a:pPr>
            <a:r>
              <a:rPr lang="en-US" dirty="0">
                <a:gradFill>
                  <a:gsLst>
                    <a:gs pos="7619">
                      <a:srgbClr val="00188F"/>
                    </a:gs>
                    <a:gs pos="53000">
                      <a:srgbClr val="00188F"/>
                    </a:gs>
                  </a:gsLst>
                  <a:lin ang="5400000" scaled="0"/>
                </a:gradFill>
                <a:cs typeface="Segoe UI" panose="020B0502040204020203" pitchFamily="34" charset="0"/>
              </a:rPr>
              <a:t>Scale and functionality of </a:t>
            </a:r>
            <a:r>
              <a:rPr lang="en-US" dirty="0" smtClean="0">
                <a:gradFill>
                  <a:gsLst>
                    <a:gs pos="7619">
                      <a:srgbClr val="00188F"/>
                    </a:gs>
                    <a:gs pos="53000">
                      <a:srgbClr val="00188F"/>
                    </a:gs>
                  </a:gsLst>
                  <a:lin ang="5400000" scaled="0"/>
                </a:gradFill>
                <a:cs typeface="Segoe UI" panose="020B0502040204020203" pitchFamily="34" charset="0"/>
              </a:rPr>
              <a:t>an </a:t>
            </a:r>
            <a:r>
              <a:rPr lang="en-US" dirty="0">
                <a:gradFill>
                  <a:gsLst>
                    <a:gs pos="7619">
                      <a:srgbClr val="00188F"/>
                    </a:gs>
                    <a:gs pos="53000">
                      <a:srgbClr val="00188F"/>
                    </a:gs>
                  </a:gsLst>
                  <a:lin ang="5400000" scaled="0"/>
                </a:gradFill>
                <a:cs typeface="Segoe UI" panose="020B0502040204020203" pitchFamily="34" charset="0"/>
              </a:rPr>
              <a:t>enterprise datacenter </a:t>
            </a:r>
          </a:p>
          <a:p>
            <a:pPr marL="0" lvl="1" defTabSz="914367">
              <a:lnSpc>
                <a:spcPct val="90000"/>
              </a:lnSpc>
              <a:spcBef>
                <a:spcPct val="0"/>
              </a:spcBef>
              <a:spcAft>
                <a:spcPts val="1176"/>
              </a:spcAft>
            </a:pPr>
            <a:r>
              <a:rPr lang="en-US" dirty="0">
                <a:gradFill>
                  <a:gsLst>
                    <a:gs pos="7619">
                      <a:srgbClr val="00188F"/>
                    </a:gs>
                    <a:gs pos="53000">
                      <a:srgbClr val="00188F"/>
                    </a:gs>
                  </a:gsLst>
                  <a:lin ang="5400000" scaled="0"/>
                </a:gradFill>
                <a:cs typeface="Segoe UI" panose="020B0502040204020203" pitchFamily="34" charset="0"/>
              </a:rPr>
              <a:t>High availability</a:t>
            </a:r>
          </a:p>
          <a:p>
            <a:pPr marL="0" lvl="1" defTabSz="914367">
              <a:lnSpc>
                <a:spcPct val="90000"/>
              </a:lnSpc>
              <a:spcBef>
                <a:spcPct val="0"/>
              </a:spcBef>
              <a:spcAft>
                <a:spcPts val="1176"/>
              </a:spcAft>
            </a:pPr>
            <a:r>
              <a:rPr lang="en-US" dirty="0">
                <a:gradFill>
                  <a:gsLst>
                    <a:gs pos="7619">
                      <a:srgbClr val="00188F"/>
                    </a:gs>
                    <a:gs pos="53000">
                      <a:srgbClr val="00188F"/>
                    </a:gs>
                  </a:gsLst>
                  <a:lin ang="5400000" scaled="0"/>
                </a:gradFill>
                <a:cs typeface="Segoe UI" panose="020B0502040204020203" pitchFamily="34" charset="0"/>
              </a:rPr>
              <a:t>Familiar development</a:t>
            </a:r>
          </a:p>
          <a:p>
            <a:pPr marL="0" lvl="1" defTabSz="914367">
              <a:lnSpc>
                <a:spcPct val="90000"/>
              </a:lnSpc>
              <a:spcBef>
                <a:spcPct val="0"/>
              </a:spcBef>
              <a:spcAft>
                <a:spcPts val="1176"/>
              </a:spcAft>
            </a:pPr>
            <a:r>
              <a:rPr lang="en-US" dirty="0">
                <a:gradFill>
                  <a:gsLst>
                    <a:gs pos="7619">
                      <a:srgbClr val="00188F"/>
                    </a:gs>
                    <a:gs pos="53000">
                      <a:srgbClr val="00188F"/>
                    </a:gs>
                  </a:gsLst>
                  <a:lin ang="5400000" scaled="0"/>
                </a:gradFill>
                <a:cs typeface="Segoe UI" panose="020B0502040204020203" pitchFamily="34" charset="0"/>
              </a:rPr>
              <a:t>Relational data </a:t>
            </a:r>
            <a:r>
              <a:rPr lang="en-US" dirty="0" smtClean="0">
                <a:gradFill>
                  <a:gsLst>
                    <a:gs pos="7619">
                      <a:srgbClr val="00188F"/>
                    </a:gs>
                    <a:gs pos="53000">
                      <a:srgbClr val="00188F"/>
                    </a:gs>
                  </a:gsLst>
                  <a:lin ang="5400000" scaled="0"/>
                </a:gradFill>
                <a:cs typeface="Segoe UI" panose="020B0502040204020203" pitchFamily="34" charset="0"/>
              </a:rPr>
              <a:t>model</a:t>
            </a:r>
            <a:endParaRPr lang="en-US" dirty="0">
              <a:gradFill>
                <a:gsLst>
                  <a:gs pos="7619">
                    <a:srgbClr val="00188F"/>
                  </a:gs>
                  <a:gs pos="53000">
                    <a:srgbClr val="00188F"/>
                  </a:gs>
                </a:gsLst>
                <a:lin ang="5400000" scaled="0"/>
              </a:gradFill>
              <a:cs typeface="Segoe UI" panose="020B0502040204020203" pitchFamily="34" charset="0"/>
            </a:endParaRPr>
          </a:p>
        </p:txBody>
      </p:sp>
      <p:grpSp>
        <p:nvGrpSpPr>
          <p:cNvPr id="10" name="Group 9"/>
          <p:cNvGrpSpPr/>
          <p:nvPr/>
        </p:nvGrpSpPr>
        <p:grpSpPr>
          <a:xfrm>
            <a:off x="5600093" y="2161806"/>
            <a:ext cx="4934557" cy="4346159"/>
            <a:chOff x="2610376" y="1262429"/>
            <a:chExt cx="6902965" cy="5081864"/>
          </a:xfrm>
        </p:grpSpPr>
        <p:sp>
          <p:nvSpPr>
            <p:cNvPr id="218" name="Rectangle 2"/>
            <p:cNvSpPr/>
            <p:nvPr/>
          </p:nvSpPr>
          <p:spPr bwMode="auto">
            <a:xfrm>
              <a:off x="2620562" y="5575053"/>
              <a:ext cx="1182739" cy="445265"/>
            </a:xfrm>
            <a:prstGeom prst="rect">
              <a:avLst/>
            </a:prstGeom>
            <a:solidFill>
              <a:srgbClr val="BEBA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9" name="Picture 56"/>
            <p:cNvPicPr>
              <a:picLocks noChangeAspect="1"/>
            </p:cNvPicPr>
            <p:nvPr/>
          </p:nvPicPr>
          <p:blipFill rotWithShape="1">
            <a:blip r:embed="rId17"/>
            <a:srcRect t="4224" b="8435"/>
            <a:stretch/>
          </p:blipFill>
          <p:spPr>
            <a:xfrm>
              <a:off x="2610376" y="1412263"/>
              <a:ext cx="6902964" cy="4162791"/>
            </a:xfrm>
            <a:prstGeom prst="rect">
              <a:avLst/>
            </a:prstGeom>
            <a:ln>
              <a:noFill/>
            </a:ln>
          </p:spPr>
        </p:pic>
        <p:grpSp>
          <p:nvGrpSpPr>
            <p:cNvPr id="220" name="Group 3"/>
            <p:cNvGrpSpPr/>
            <p:nvPr/>
          </p:nvGrpSpPr>
          <p:grpSpPr>
            <a:xfrm>
              <a:off x="2610377" y="1262429"/>
              <a:ext cx="6902964" cy="5081864"/>
              <a:chOff x="5120455" y="1390072"/>
              <a:chExt cx="6802307" cy="5167724"/>
            </a:xfrm>
          </p:grpSpPr>
          <p:sp>
            <p:nvSpPr>
              <p:cNvPr id="221" name="Rectangle 58"/>
              <p:cNvSpPr/>
              <p:nvPr/>
            </p:nvSpPr>
            <p:spPr bwMode="auto">
              <a:xfrm>
                <a:off x="5120455" y="1390072"/>
                <a:ext cx="6802307" cy="5167724"/>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2" name="1 Quick Create"/>
              <p:cNvPicPr>
                <a:picLocks noChangeAspect="1"/>
              </p:cNvPicPr>
              <p:nvPr/>
            </p:nvPicPr>
            <p:blipFill rotWithShape="1">
              <a:blip r:embed="rId5"/>
              <a:srcRect r="1112" b="96729"/>
              <a:stretch/>
            </p:blipFill>
            <p:spPr>
              <a:xfrm>
                <a:off x="5132499" y="1390072"/>
                <a:ext cx="6790263" cy="169397"/>
              </a:xfrm>
              <a:prstGeom prst="rect">
                <a:avLst/>
              </a:prstGeom>
            </p:spPr>
          </p:pic>
          <p:pic>
            <p:nvPicPr>
              <p:cNvPr id="223" name="screen 1"/>
              <p:cNvPicPr>
                <a:picLocks noChangeAspect="1"/>
              </p:cNvPicPr>
              <p:nvPr/>
            </p:nvPicPr>
            <p:blipFill rotWithShape="1">
              <a:blip r:embed="rId7"/>
              <a:srcRect t="94140"/>
              <a:stretch/>
            </p:blipFill>
            <p:spPr>
              <a:xfrm>
                <a:off x="5130492" y="6228348"/>
                <a:ext cx="6792270" cy="329448"/>
              </a:xfrm>
              <a:prstGeom prst="rect">
                <a:avLst/>
              </a:prstGeom>
              <a:ln>
                <a:noFill/>
              </a:ln>
            </p:spPr>
          </p:pic>
        </p:grpSp>
      </p:grpSp>
      <p:sp useBgFill="1">
        <p:nvSpPr>
          <p:cNvPr id="224" name="Rectangle 223"/>
          <p:cNvSpPr/>
          <p:nvPr/>
        </p:nvSpPr>
        <p:spPr bwMode="auto">
          <a:xfrm>
            <a:off x="1452237" y="2018708"/>
            <a:ext cx="10530213" cy="45720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5600093" y="2161806"/>
            <a:ext cx="5769864" cy="4222388"/>
            <a:chOff x="2733690" y="1858923"/>
            <a:chExt cx="6910450" cy="5081865"/>
          </a:xfrm>
        </p:grpSpPr>
        <p:pic>
          <p:nvPicPr>
            <p:cNvPr id="225" name="Picture 3"/>
            <p:cNvPicPr>
              <a:picLocks noChangeAspect="1" noChangeArrowheads="1"/>
            </p:cNvPicPr>
            <p:nvPr/>
          </p:nvPicPr>
          <p:blipFill rotWithShape="1">
            <a:blip r:embed="rId18" cstate="screen">
              <a:extLst>
                <a:ext uri="{28A0092B-C50C-407E-A947-70E740481C1C}">
                  <a14:useLocalDpi xmlns:a14="http://schemas.microsoft.com/office/drawing/2010/main" val="0"/>
                </a:ext>
              </a:extLst>
            </a:blip>
            <a:srcRect t="3538" b="7011"/>
            <a:stretch/>
          </p:blipFill>
          <p:spPr bwMode="auto">
            <a:xfrm>
              <a:off x="2733690" y="1995885"/>
              <a:ext cx="6684948" cy="4620928"/>
            </a:xfrm>
            <a:prstGeom prst="rect">
              <a:avLst/>
            </a:prstGeom>
            <a:ln w="12700" cap="sq">
              <a:noFill/>
              <a:prstDash val="solid"/>
              <a:miter lim="800000"/>
            </a:ln>
            <a:effectLst/>
            <a:extLst>
              <a:ext uri="{909E8E84-426E-40DD-AFC4-6F175D3DCCD1}">
                <a14:hiddenFill xmlns:a14="http://schemas.microsoft.com/office/drawing/2010/main">
                  <a:solidFill>
                    <a:schemeClr val="accent1"/>
                  </a:solidFill>
                </a14:hiddenFill>
              </a:ext>
            </a:extLst>
          </p:spPr>
        </p:pic>
        <p:sp>
          <p:nvSpPr>
            <p:cNvPr id="226" name="Rectangle 46"/>
            <p:cNvSpPr/>
            <p:nvPr/>
          </p:nvSpPr>
          <p:spPr bwMode="auto">
            <a:xfrm>
              <a:off x="2741439" y="1858923"/>
              <a:ext cx="6902701" cy="5081864"/>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7" name="1 Quick Create"/>
            <p:cNvPicPr>
              <a:picLocks noChangeAspect="1"/>
            </p:cNvPicPr>
            <p:nvPr/>
          </p:nvPicPr>
          <p:blipFill rotWithShape="1">
            <a:blip r:embed="rId5"/>
            <a:srcRect r="1112" b="96729"/>
            <a:stretch/>
          </p:blipFill>
          <p:spPr>
            <a:xfrm>
              <a:off x="2753660" y="1858923"/>
              <a:ext cx="6890480" cy="166583"/>
            </a:xfrm>
            <a:prstGeom prst="rect">
              <a:avLst/>
            </a:prstGeom>
          </p:spPr>
        </p:pic>
        <p:pic>
          <p:nvPicPr>
            <p:cNvPr id="228" name="screen 1"/>
            <p:cNvPicPr>
              <a:picLocks noChangeAspect="1"/>
            </p:cNvPicPr>
            <p:nvPr/>
          </p:nvPicPr>
          <p:blipFill rotWithShape="1">
            <a:blip r:embed="rId7"/>
            <a:srcRect t="94140"/>
            <a:stretch/>
          </p:blipFill>
          <p:spPr>
            <a:xfrm>
              <a:off x="2751623" y="6616813"/>
              <a:ext cx="6892517" cy="323975"/>
            </a:xfrm>
            <a:prstGeom prst="rect">
              <a:avLst/>
            </a:prstGeom>
            <a:ln>
              <a:noFill/>
            </a:ln>
          </p:spPr>
        </p:pic>
      </p:grpSp>
      <p:sp>
        <p:nvSpPr>
          <p:cNvPr id="229" name="Rectangle 228"/>
          <p:cNvSpPr/>
          <p:nvPr/>
        </p:nvSpPr>
        <p:spPr bwMode="auto">
          <a:xfrm>
            <a:off x="1826290" y="2084288"/>
            <a:ext cx="3057341" cy="242213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28" tIns="89642" rIns="143428" bIns="89642" numCol="1" rtlCol="0" anchor="t" anchorCtr="0" compatLnSpc="1">
            <a:prstTxWarp prst="textNoShape">
              <a:avLst/>
            </a:prstTxWarp>
          </a:bodyPr>
          <a:lstStyle/>
          <a:p>
            <a:pPr marL="0" lvl="1" defTabSz="914367">
              <a:lnSpc>
                <a:spcPct val="90000"/>
              </a:lnSpc>
              <a:spcBef>
                <a:spcPct val="0"/>
              </a:spcBef>
              <a:spcAft>
                <a:spcPts val="1176"/>
              </a:spcAft>
            </a:pPr>
            <a:r>
              <a:rPr lang="en-GB" b="1" dirty="0" smtClean="0">
                <a:gradFill>
                  <a:gsLst>
                    <a:gs pos="7619">
                      <a:srgbClr val="00188F"/>
                    </a:gs>
                    <a:gs pos="53000">
                      <a:srgbClr val="00188F"/>
                    </a:gs>
                  </a:gsLst>
                  <a:lin ang="5400000" scaled="0"/>
                </a:gradFill>
                <a:cs typeface="Segoe UI" panose="020B0502040204020203" pitchFamily="34" charset="0"/>
              </a:rPr>
              <a:t>Admin Experience</a:t>
            </a:r>
          </a:p>
          <a:p>
            <a:pPr marL="0" lvl="1" defTabSz="914367">
              <a:lnSpc>
                <a:spcPct val="90000"/>
              </a:lnSpc>
              <a:spcBef>
                <a:spcPct val="0"/>
              </a:spcBef>
              <a:spcAft>
                <a:spcPts val="1176"/>
              </a:spcAft>
            </a:pPr>
            <a:r>
              <a:rPr lang="en-US" dirty="0" smtClean="0">
                <a:gradFill>
                  <a:gsLst>
                    <a:gs pos="7619">
                      <a:srgbClr val="00188F"/>
                    </a:gs>
                    <a:gs pos="53000">
                      <a:srgbClr val="00188F"/>
                    </a:gs>
                  </a:gsLst>
                  <a:lin ang="5400000" scaled="0"/>
                </a:gradFill>
                <a:cs typeface="Segoe UI" panose="020B0502040204020203" pitchFamily="34" charset="0"/>
              </a:rPr>
              <a:t>Home page</a:t>
            </a:r>
          </a:p>
          <a:p>
            <a:pPr marL="0" lvl="1" defTabSz="914367">
              <a:lnSpc>
                <a:spcPct val="90000"/>
              </a:lnSpc>
              <a:spcBef>
                <a:spcPct val="0"/>
              </a:spcBef>
              <a:spcAft>
                <a:spcPts val="1176"/>
              </a:spcAft>
            </a:pPr>
            <a:r>
              <a:rPr lang="en-US" dirty="0" smtClean="0">
                <a:gradFill>
                  <a:gsLst>
                    <a:gs pos="7619">
                      <a:srgbClr val="00188F"/>
                    </a:gs>
                    <a:gs pos="53000">
                      <a:srgbClr val="00188F"/>
                    </a:gs>
                  </a:gsLst>
                  <a:lin ang="5400000" scaled="0"/>
                </a:gradFill>
                <a:cs typeface="Segoe UI" panose="020B0502040204020203" pitchFamily="34" charset="0"/>
              </a:rPr>
              <a:t>Right web-based experience</a:t>
            </a:r>
          </a:p>
          <a:p>
            <a:pPr marL="0" lvl="1" defTabSz="914367">
              <a:lnSpc>
                <a:spcPct val="90000"/>
              </a:lnSpc>
              <a:spcBef>
                <a:spcPct val="0"/>
              </a:spcBef>
              <a:spcAft>
                <a:spcPts val="1176"/>
              </a:spcAft>
            </a:pPr>
            <a:r>
              <a:rPr lang="en-US" dirty="0" smtClean="0">
                <a:gradFill>
                  <a:gsLst>
                    <a:gs pos="7619">
                      <a:srgbClr val="00188F"/>
                    </a:gs>
                    <a:gs pos="53000">
                      <a:srgbClr val="00188F"/>
                    </a:gs>
                  </a:gsLst>
                  <a:lin ang="5400000" scaled="0"/>
                </a:gradFill>
                <a:cs typeface="Segoe UI" panose="020B0502040204020203" pitchFamily="34" charset="0"/>
              </a:rPr>
              <a:t>Consistency with </a:t>
            </a:r>
            <a:br>
              <a:rPr lang="en-US" dirty="0" smtClean="0">
                <a:gradFill>
                  <a:gsLst>
                    <a:gs pos="7619">
                      <a:srgbClr val="00188F"/>
                    </a:gs>
                    <a:gs pos="53000">
                      <a:srgbClr val="00188F"/>
                    </a:gs>
                  </a:gsLst>
                  <a:lin ang="5400000" scaled="0"/>
                </a:gradFill>
                <a:cs typeface="Segoe UI" panose="020B0502040204020203" pitchFamily="34" charset="0"/>
              </a:rPr>
            </a:br>
            <a:r>
              <a:rPr lang="en-US" dirty="0" smtClean="0">
                <a:gradFill>
                  <a:gsLst>
                    <a:gs pos="7619">
                      <a:srgbClr val="00188F"/>
                    </a:gs>
                    <a:gs pos="53000">
                      <a:srgbClr val="00188F"/>
                    </a:gs>
                  </a:gsLst>
                  <a:lin ang="5400000" scaled="0"/>
                </a:gradFill>
                <a:cs typeface="Segoe UI" panose="020B0502040204020203" pitchFamily="34" charset="0"/>
              </a:rPr>
              <a:t>Microsoft Azure</a:t>
            </a:r>
          </a:p>
          <a:p>
            <a:pPr marL="0" lvl="1" defTabSz="914367">
              <a:lnSpc>
                <a:spcPct val="90000"/>
              </a:lnSpc>
              <a:spcBef>
                <a:spcPct val="0"/>
              </a:spcBef>
              <a:spcAft>
                <a:spcPts val="1176"/>
              </a:spcAft>
            </a:pPr>
            <a:r>
              <a:rPr lang="en-US" dirty="0" smtClean="0">
                <a:gradFill>
                  <a:gsLst>
                    <a:gs pos="7619">
                      <a:srgbClr val="00188F"/>
                    </a:gs>
                    <a:gs pos="53000">
                      <a:srgbClr val="00188F"/>
                    </a:gs>
                  </a:gsLst>
                  <a:lin ang="5400000" scaled="0"/>
                </a:gradFill>
                <a:cs typeface="Segoe UI" panose="020B0502040204020203" pitchFamily="34" charset="0"/>
              </a:rPr>
              <a:t>Configure and </a:t>
            </a:r>
            <a:br>
              <a:rPr lang="en-US" dirty="0" smtClean="0">
                <a:gradFill>
                  <a:gsLst>
                    <a:gs pos="7619">
                      <a:srgbClr val="00188F"/>
                    </a:gs>
                    <a:gs pos="53000">
                      <a:srgbClr val="00188F"/>
                    </a:gs>
                  </a:gsLst>
                  <a:lin ang="5400000" scaled="0"/>
                </a:gradFill>
                <a:cs typeface="Segoe UI" panose="020B0502040204020203" pitchFamily="34" charset="0"/>
              </a:rPr>
            </a:br>
            <a:r>
              <a:rPr lang="en-US" dirty="0" smtClean="0">
                <a:gradFill>
                  <a:gsLst>
                    <a:gs pos="7619">
                      <a:srgbClr val="00188F"/>
                    </a:gs>
                    <a:gs pos="53000">
                      <a:srgbClr val="00188F"/>
                    </a:gs>
                  </a:gsLst>
                  <a:lin ang="5400000" scaled="0"/>
                </a:gradFill>
                <a:cs typeface="Segoe UI" panose="020B0502040204020203" pitchFamily="34" charset="0"/>
              </a:rPr>
              <a:t>provide services</a:t>
            </a:r>
            <a:endParaRPr lang="en-US" dirty="0">
              <a:gradFill>
                <a:gsLst>
                  <a:gs pos="7619">
                    <a:srgbClr val="00188F"/>
                  </a:gs>
                  <a:gs pos="53000">
                    <a:srgbClr val="00188F"/>
                  </a:gs>
                </a:gsLst>
                <a:lin ang="5400000" scaled="0"/>
              </a:gradFill>
              <a:cs typeface="Segoe UI" panose="020B0502040204020203" pitchFamily="34" charset="0"/>
            </a:endParaRPr>
          </a:p>
        </p:txBody>
      </p:sp>
      <p:sp useBgFill="1">
        <p:nvSpPr>
          <p:cNvPr id="230" name="Rectangle 229"/>
          <p:cNvSpPr/>
          <p:nvPr/>
        </p:nvSpPr>
        <p:spPr bwMode="auto">
          <a:xfrm>
            <a:off x="1318198" y="1939754"/>
            <a:ext cx="10530213" cy="45720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31" name="Big screen shot"/>
          <p:cNvGrpSpPr/>
          <p:nvPr/>
        </p:nvGrpSpPr>
        <p:grpSpPr>
          <a:xfrm>
            <a:off x="2439141" y="2084365"/>
            <a:ext cx="8038591" cy="4482124"/>
            <a:chOff x="1502704" y="1504421"/>
            <a:chExt cx="9431066" cy="5258534"/>
          </a:xfrm>
        </p:grpSpPr>
        <p:pic>
          <p:nvPicPr>
            <p:cNvPr id="232" name="Picture 231" descr="Screen Clippi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502704" y="1504421"/>
              <a:ext cx="9431066" cy="5258534"/>
            </a:xfrm>
            <a:prstGeom prst="rect">
              <a:avLst/>
            </a:prstGeom>
          </p:spPr>
        </p:pic>
        <p:sp>
          <p:nvSpPr>
            <p:cNvPr id="233" name="Rectangle 232"/>
            <p:cNvSpPr/>
            <p:nvPr/>
          </p:nvSpPr>
          <p:spPr bwMode="auto">
            <a:xfrm>
              <a:off x="5492256" y="3713001"/>
              <a:ext cx="1622164" cy="35312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34" name="quote 5"/>
          <p:cNvSpPr txBox="1"/>
          <p:nvPr/>
        </p:nvSpPr>
        <p:spPr>
          <a:xfrm>
            <a:off x="1941700" y="293659"/>
            <a:ext cx="6597943" cy="370838"/>
          </a:xfrm>
          <a:prstGeom prst="rect">
            <a:avLst/>
          </a:prstGeom>
          <a:noFill/>
        </p:spPr>
        <p:txBody>
          <a:bodyPr wrap="square" lIns="89614" tIns="89614" rIns="89614" bIns="89614" rtlCol="0">
            <a:spAutoFit/>
          </a:bodyPr>
          <a:lstStyle/>
          <a:p>
            <a:pPr defTabSz="914206" fontAlgn="base">
              <a:lnSpc>
                <a:spcPct val="90000"/>
              </a:lnSpc>
              <a:spcBef>
                <a:spcPct val="0"/>
              </a:spcBef>
              <a:spcAft>
                <a:spcPts val="588"/>
              </a:spcAft>
            </a:pPr>
            <a:r>
              <a:rPr lang="en-US" sz="1371" dirty="0">
                <a:gradFill>
                  <a:gsLst>
                    <a:gs pos="13274">
                      <a:srgbClr val="282828">
                        <a:lumMod val="90000"/>
                        <a:lumOff val="10000"/>
                      </a:srgbClr>
                    </a:gs>
                    <a:gs pos="27434">
                      <a:srgbClr val="282828">
                        <a:lumMod val="90000"/>
                        <a:lumOff val="10000"/>
                      </a:srgbClr>
                    </a:gs>
                  </a:gsLst>
                  <a:lin ang="16200000" scaled="1"/>
                </a:gradFill>
              </a:rPr>
              <a:t>“Alternatively, you can work against Azure.”</a:t>
            </a:r>
          </a:p>
        </p:txBody>
      </p:sp>
      <p:sp>
        <p:nvSpPr>
          <p:cNvPr id="120" name="Blue banner"/>
          <p:cNvSpPr/>
          <p:nvPr/>
        </p:nvSpPr>
        <p:spPr bwMode="auto">
          <a:xfrm>
            <a:off x="1165665" y="272632"/>
            <a:ext cx="11026335" cy="101146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765" dirty="0">
                <a:gradFill>
                  <a:gsLst>
                    <a:gs pos="24779">
                      <a:srgbClr val="FFFFFF"/>
                    </a:gs>
                    <a:gs pos="57000">
                      <a:srgbClr val="FFFFFF"/>
                    </a:gs>
                  </a:gsLst>
                  <a:lin ang="5400000" scaled="0"/>
                </a:gradFill>
              </a:rPr>
              <a:t>Empower customers to deliver predictable services on demand</a:t>
            </a:r>
          </a:p>
        </p:txBody>
      </p:sp>
      <p:grpSp>
        <p:nvGrpSpPr>
          <p:cNvPr id="100" name="Group 99"/>
          <p:cNvGrpSpPr/>
          <p:nvPr/>
        </p:nvGrpSpPr>
        <p:grpSpPr>
          <a:xfrm>
            <a:off x="1" y="487"/>
            <a:ext cx="986067" cy="6857027"/>
            <a:chOff x="0" y="0"/>
            <a:chExt cx="1005840" cy="6994525"/>
          </a:xfrm>
        </p:grpSpPr>
        <p:sp>
          <p:nvSpPr>
            <p:cNvPr id="102" name="Rectangle 101"/>
            <p:cNvSpPr/>
            <p:nvPr/>
          </p:nvSpPr>
          <p:spPr bwMode="auto">
            <a:xfrm>
              <a:off x="0" y="0"/>
              <a:ext cx="1005840" cy="6994525"/>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103" name="Rectangle 102"/>
            <p:cNvSpPr/>
            <p:nvPr/>
          </p:nvSpPr>
          <p:spPr bwMode="auto">
            <a:xfrm>
              <a:off x="0" y="5096998"/>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nd 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06" name="Rectangle 105"/>
            <p:cNvSpPr/>
            <p:nvPr/>
          </p:nvSpPr>
          <p:spPr bwMode="auto">
            <a:xfrm>
              <a:off x="0" y="3498863"/>
              <a:ext cx="1005840" cy="1554480"/>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07" name="Rectangle 106"/>
            <p:cNvSpPr/>
            <p:nvPr/>
          </p:nvSpPr>
          <p:spPr bwMode="auto">
            <a:xfrm>
              <a:off x="0" y="1900729"/>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a:t>
              </a:r>
              <a:r>
                <a:rPr lang="en-US" sz="1568" spc="-20" dirty="0" smtClean="0">
                  <a:gradFill>
                    <a:gsLst>
                      <a:gs pos="53097">
                        <a:srgbClr val="282828">
                          <a:lumMod val="90000"/>
                          <a:lumOff val="10000"/>
                        </a:srgbClr>
                      </a:gs>
                      <a:gs pos="84071">
                        <a:srgbClr val="282828">
                          <a:lumMod val="90000"/>
                          <a:lumOff val="10000"/>
                        </a:srgbClr>
                      </a:gs>
                    </a:gsLst>
                    <a:lin ang="5400000" scaled="0"/>
                  </a:gradFill>
                  <a:latin typeface="Segoe UI Semibold" panose="020B0702040204020203" pitchFamily="34" charset="0"/>
                </a:rPr>
                <a:t> </a:t>
              </a:r>
              <a:r>
                <a:rPr lang="en-US" sz="1568" spc="-20" dirty="0">
                  <a:gradFill>
                    <a:gsLst>
                      <a:gs pos="53097">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p>
          </p:txBody>
        </p:sp>
        <p:sp>
          <p:nvSpPr>
            <p:cNvPr id="124" name="Rectangle 123"/>
            <p:cNvSpPr/>
            <p:nvPr/>
          </p:nvSpPr>
          <p:spPr bwMode="auto">
            <a:xfrm>
              <a:off x="0" y="302595"/>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grpSp>
    </p:spTree>
    <p:extLst>
      <p:ext uri="{BB962C8B-B14F-4D97-AF65-F5344CB8AC3E}">
        <p14:creationId xmlns:p14="http://schemas.microsoft.com/office/powerpoint/2010/main" val="4285005622"/>
      </p:ext>
    </p:extLst>
  </p:cSld>
  <p:clrMapOvr>
    <a:masterClrMapping/>
  </p:clrMapOvr>
  <mc:AlternateContent xmlns:mc="http://schemas.openxmlformats.org/markup-compatibility/2006" xmlns:p14="http://schemas.microsoft.com/office/powerpoint/2010/main">
    <mc:Choice Requires="p14">
      <p:transition spd="slow" p14:dur="80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grpId="1" nodeType="clickEffect">
                                  <p:stCondLst>
                                    <p:cond delay="0"/>
                                  </p:stCondLst>
                                  <p:childTnLst>
                                    <p:animEffect transition="out" filter="wipe(left)">
                                      <p:cBhvr>
                                        <p:cTn id="6" dur="500"/>
                                        <p:tgtEl>
                                          <p:spTgt spid="120"/>
                                        </p:tgtEl>
                                      </p:cBhvr>
                                    </p:animEffect>
                                    <p:set>
                                      <p:cBhvr>
                                        <p:cTn id="7" dur="1" fill="hold">
                                          <p:stCondLst>
                                            <p:cond delay="499"/>
                                          </p:stCondLst>
                                        </p:cTn>
                                        <p:tgtEl>
                                          <p:spTgt spid="120"/>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1"/>
                                        </p:tgtEl>
                                        <p:attrNameLst>
                                          <p:attrName>style.visibility</p:attrName>
                                        </p:attrNameLst>
                                      </p:cBhvr>
                                      <p:to>
                                        <p:strVal val="visible"/>
                                      </p:to>
                                    </p:set>
                                    <p:animEffect transition="in" filter="fade">
                                      <p:cBhvr>
                                        <p:cTn id="11" dur="500"/>
                                        <p:tgtEl>
                                          <p:spTgt spid="101"/>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13"/>
                                        </p:tgtEl>
                                        <p:attrNameLst>
                                          <p:attrName>style.visibility</p:attrName>
                                        </p:attrNameLst>
                                      </p:cBhvr>
                                      <p:to>
                                        <p:strVal val="visible"/>
                                      </p:to>
                                    </p:set>
                                    <p:animEffect transition="in" filter="fade">
                                      <p:cBhvr>
                                        <p:cTn id="14" dur="500"/>
                                        <p:tgtEl>
                                          <p:spTgt spid="113"/>
                                        </p:tgtEl>
                                      </p:cBhvr>
                                    </p:animEffect>
                                  </p:childTnLst>
                                </p:cTn>
                              </p:par>
                            </p:childTnLst>
                          </p:cTn>
                        </p:par>
                        <p:par>
                          <p:cTn id="15" fill="hold">
                            <p:stCondLst>
                              <p:cond delay="1000"/>
                            </p:stCondLst>
                            <p:childTnLst>
                              <p:par>
                                <p:cTn id="16" presetID="53" presetClass="entr" presetSubtype="16"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p:cTn id="18" dur="250" fill="hold"/>
                                        <p:tgtEl>
                                          <p:spTgt spid="8"/>
                                        </p:tgtEl>
                                        <p:attrNameLst>
                                          <p:attrName>ppt_w</p:attrName>
                                        </p:attrNameLst>
                                      </p:cBhvr>
                                      <p:tavLst>
                                        <p:tav tm="0">
                                          <p:val>
                                            <p:fltVal val="0"/>
                                          </p:val>
                                        </p:tav>
                                        <p:tav tm="100000">
                                          <p:val>
                                            <p:strVal val="#ppt_w"/>
                                          </p:val>
                                        </p:tav>
                                      </p:tavLst>
                                    </p:anim>
                                    <p:anim calcmode="lin" valueType="num">
                                      <p:cBhvr>
                                        <p:cTn id="19" dur="250" fill="hold"/>
                                        <p:tgtEl>
                                          <p:spTgt spid="8"/>
                                        </p:tgtEl>
                                        <p:attrNameLst>
                                          <p:attrName>ppt_h</p:attrName>
                                        </p:attrNameLst>
                                      </p:cBhvr>
                                      <p:tavLst>
                                        <p:tav tm="0">
                                          <p:val>
                                            <p:fltVal val="0"/>
                                          </p:val>
                                        </p:tav>
                                        <p:tav tm="100000">
                                          <p:val>
                                            <p:strVal val="#ppt_h"/>
                                          </p:val>
                                        </p:tav>
                                      </p:tavLst>
                                    </p:anim>
                                    <p:animEffect transition="in" filter="fade">
                                      <p:cBhvr>
                                        <p:cTn id="20" dur="250"/>
                                        <p:tgtEl>
                                          <p:spTgt spid="8"/>
                                        </p:tgtEl>
                                      </p:cBhvr>
                                    </p:animEffect>
                                  </p:childTnLst>
                                </p:cTn>
                              </p:par>
                              <p:par>
                                <p:cTn id="21" presetID="6" presetClass="emph" presetSubtype="0" decel="100000" fill="hold" grpId="1" nodeType="withEffect">
                                  <p:stCondLst>
                                    <p:cond delay="100"/>
                                  </p:stCondLst>
                                  <p:childTnLst>
                                    <p:animScale>
                                      <p:cBhvr>
                                        <p:cTn id="22" dur="250" fill="hold"/>
                                        <p:tgtEl>
                                          <p:spTgt spid="8"/>
                                        </p:tgtEl>
                                      </p:cBhvr>
                                      <p:by x="110000" y="110000"/>
                                    </p:animScale>
                                  </p:childTnLst>
                                </p:cTn>
                              </p:par>
                              <p:par>
                                <p:cTn id="23" presetID="6" presetClass="emph" presetSubtype="0" decel="100000" fill="hold" grpId="2" nodeType="withEffect">
                                  <p:stCondLst>
                                    <p:cond delay="200"/>
                                  </p:stCondLst>
                                  <p:childTnLst>
                                    <p:animScale>
                                      <p:cBhvr>
                                        <p:cTn id="24" dur="250" fill="hold"/>
                                        <p:tgtEl>
                                          <p:spTgt spid="8"/>
                                        </p:tgtEl>
                                      </p:cBhvr>
                                      <p:by x="91000" y="91000"/>
                                    </p:animScale>
                                  </p:childTnLst>
                                </p:cTn>
                              </p:par>
                            </p:childTnLst>
                          </p:cTn>
                        </p:par>
                        <p:par>
                          <p:cTn id="25" fill="hold">
                            <p:stCondLst>
                              <p:cond delay="1450"/>
                            </p:stCondLst>
                            <p:childTnLst>
                              <p:par>
                                <p:cTn id="26" presetID="10" presetClass="entr" presetSubtype="0" fill="hold" grpId="0"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xit" presetSubtype="0" fill="hold" grpId="1" nodeType="clickEffect">
                                  <p:stCondLst>
                                    <p:cond delay="0"/>
                                  </p:stCondLst>
                                  <p:childTnLst>
                                    <p:animEffect transition="out" filter="fade">
                                      <p:cBhvr>
                                        <p:cTn id="32" dur="500"/>
                                        <p:tgtEl>
                                          <p:spTgt spid="101"/>
                                        </p:tgtEl>
                                      </p:cBhvr>
                                    </p:animEffect>
                                    <p:set>
                                      <p:cBhvr>
                                        <p:cTn id="33" dur="1" fill="hold">
                                          <p:stCondLst>
                                            <p:cond delay="499"/>
                                          </p:stCondLst>
                                        </p:cTn>
                                        <p:tgtEl>
                                          <p:spTgt spid="101"/>
                                        </p:tgtEl>
                                        <p:attrNameLst>
                                          <p:attrName>style.visibility</p:attrName>
                                        </p:attrNameLst>
                                      </p:cBhvr>
                                      <p:to>
                                        <p:strVal val="hidden"/>
                                      </p:to>
                                    </p:set>
                                  </p:childTnLst>
                                </p:cTn>
                              </p:par>
                              <p:par>
                                <p:cTn id="34" presetID="10" presetClass="exit" presetSubtype="0" fill="hold" grpId="3" nodeType="withEffect">
                                  <p:stCondLst>
                                    <p:cond delay="0"/>
                                  </p:stCondLst>
                                  <p:childTnLst>
                                    <p:animEffect transition="out" filter="fade">
                                      <p:cBhvr>
                                        <p:cTn id="35" dur="500"/>
                                        <p:tgtEl>
                                          <p:spTgt spid="8"/>
                                        </p:tgtEl>
                                      </p:cBhvr>
                                    </p:animEffect>
                                    <p:set>
                                      <p:cBhvr>
                                        <p:cTn id="36" dur="1" fill="hold">
                                          <p:stCondLst>
                                            <p:cond delay="499"/>
                                          </p:stCondLst>
                                        </p:cTn>
                                        <p:tgtEl>
                                          <p:spTgt spid="8"/>
                                        </p:tgtEl>
                                        <p:attrNameLst>
                                          <p:attrName>style.visibility</p:attrName>
                                        </p:attrNameLst>
                                      </p:cBhvr>
                                      <p:to>
                                        <p:strVal val="hidden"/>
                                      </p:to>
                                    </p:set>
                                  </p:childTnLst>
                                </p:cTn>
                              </p:par>
                              <p:par>
                                <p:cTn id="37" presetID="10" presetClass="exit" presetSubtype="0" fill="hold" grpId="1" nodeType="withEffect">
                                  <p:stCondLst>
                                    <p:cond delay="0"/>
                                  </p:stCondLst>
                                  <p:childTnLst>
                                    <p:animEffect transition="out" filter="fade">
                                      <p:cBhvr>
                                        <p:cTn id="38" dur="500"/>
                                        <p:tgtEl>
                                          <p:spTgt spid="9"/>
                                        </p:tgtEl>
                                      </p:cBhvr>
                                    </p:animEffect>
                                    <p:set>
                                      <p:cBhvr>
                                        <p:cTn id="39" dur="1" fill="hold">
                                          <p:stCondLst>
                                            <p:cond delay="499"/>
                                          </p:stCondLst>
                                        </p:cTn>
                                        <p:tgtEl>
                                          <p:spTgt spid="9"/>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300"/>
                                        <p:tgtEl>
                                          <p:spTgt spid="127"/>
                                        </p:tgtEl>
                                      </p:cBhvr>
                                    </p:animEffect>
                                    <p:set>
                                      <p:cBhvr>
                                        <p:cTn id="42" dur="1" fill="hold">
                                          <p:stCondLst>
                                            <p:cond delay="299"/>
                                          </p:stCondLst>
                                        </p:cTn>
                                        <p:tgtEl>
                                          <p:spTgt spid="127"/>
                                        </p:tgtEl>
                                        <p:attrNameLst>
                                          <p:attrName>style.visibility</p:attrName>
                                        </p:attrNameLst>
                                      </p:cBhvr>
                                      <p:to>
                                        <p:strVal val="hidden"/>
                                      </p:to>
                                    </p:set>
                                  </p:childTnLst>
                                </p:cTn>
                              </p:par>
                              <p:par>
                                <p:cTn id="43" presetID="10" presetClass="exit" presetSubtype="0" fill="hold" grpId="0" nodeType="withEffect">
                                  <p:stCondLst>
                                    <p:cond delay="0"/>
                                  </p:stCondLst>
                                  <p:childTnLst>
                                    <p:animEffect transition="out" filter="fade">
                                      <p:cBhvr>
                                        <p:cTn id="44" dur="300"/>
                                        <p:tgtEl>
                                          <p:spTgt spid="113"/>
                                        </p:tgtEl>
                                      </p:cBhvr>
                                    </p:animEffect>
                                    <p:set>
                                      <p:cBhvr>
                                        <p:cTn id="45" dur="1" fill="hold">
                                          <p:stCondLst>
                                            <p:cond delay="299"/>
                                          </p:stCondLst>
                                        </p:cTn>
                                        <p:tgtEl>
                                          <p:spTgt spid="113"/>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fade">
                                      <p:cBhvr>
                                        <p:cTn id="48" dur="500"/>
                                        <p:tgtEl>
                                          <p:spTgt spid="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4"/>
                                        </p:tgtEl>
                                        <p:attrNameLst>
                                          <p:attrName>style.visibility</p:attrName>
                                        </p:attrNameLst>
                                      </p:cBhvr>
                                      <p:to>
                                        <p:strVal val="visible"/>
                                      </p:to>
                                    </p:set>
                                    <p:animEffect transition="in" filter="fade">
                                      <p:cBhvr>
                                        <p:cTn id="51" dur="500"/>
                                        <p:tgtEl>
                                          <p:spTgt spid="114"/>
                                        </p:tgtEl>
                                      </p:cBhvr>
                                    </p:animEffect>
                                  </p:childTnLst>
                                </p:cTn>
                              </p:par>
                              <p:par>
                                <p:cTn id="52" presetID="10" presetClass="entr" presetSubtype="0" fill="hold" nodeType="withEffect">
                                  <p:stCondLst>
                                    <p:cond delay="0"/>
                                  </p:stCondLst>
                                  <p:childTnLst>
                                    <p:set>
                                      <p:cBhvr>
                                        <p:cTn id="53" dur="1" fill="hold">
                                          <p:stCondLst>
                                            <p:cond delay="0"/>
                                          </p:stCondLst>
                                        </p:cTn>
                                        <p:tgtEl>
                                          <p:spTgt spid="94"/>
                                        </p:tgtEl>
                                        <p:attrNameLst>
                                          <p:attrName>style.visibility</p:attrName>
                                        </p:attrNameLst>
                                      </p:cBhvr>
                                      <p:to>
                                        <p:strVal val="visible"/>
                                      </p:to>
                                    </p:set>
                                    <p:animEffect transition="in" filter="fade">
                                      <p:cBhvr>
                                        <p:cTn id="54" dur="500"/>
                                        <p:tgtEl>
                                          <p:spTgt spid="94"/>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xit" presetSubtype="0" fill="hold" nodeType="clickEffect">
                                  <p:stCondLst>
                                    <p:cond delay="0"/>
                                  </p:stCondLst>
                                  <p:childTnLst>
                                    <p:animEffect transition="out" filter="fade">
                                      <p:cBhvr>
                                        <p:cTn id="58" dur="500"/>
                                        <p:tgtEl>
                                          <p:spTgt spid="3"/>
                                        </p:tgtEl>
                                      </p:cBhvr>
                                    </p:animEffect>
                                    <p:set>
                                      <p:cBhvr>
                                        <p:cTn id="59" dur="1" fill="hold">
                                          <p:stCondLst>
                                            <p:cond delay="499"/>
                                          </p:stCondLst>
                                        </p:cTn>
                                        <p:tgtEl>
                                          <p:spTgt spid="3"/>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300"/>
                                        <p:tgtEl>
                                          <p:spTgt spid="114"/>
                                        </p:tgtEl>
                                      </p:cBhvr>
                                    </p:animEffect>
                                    <p:set>
                                      <p:cBhvr>
                                        <p:cTn id="62" dur="1" fill="hold">
                                          <p:stCondLst>
                                            <p:cond delay="299"/>
                                          </p:stCondLst>
                                        </p:cTn>
                                        <p:tgtEl>
                                          <p:spTgt spid="114"/>
                                        </p:tgtEl>
                                        <p:attrNameLst>
                                          <p:attrName>style.visibility</p:attrName>
                                        </p:attrNameLst>
                                      </p:cBhvr>
                                      <p:to>
                                        <p:strVal val="hidden"/>
                                      </p:to>
                                    </p:set>
                                  </p:childTnLst>
                                </p:cTn>
                              </p:par>
                              <p:par>
                                <p:cTn id="63" presetID="10" presetClass="entr" presetSubtype="0" fill="hold" grpId="0" nodeType="withEffect">
                                  <p:stCondLst>
                                    <p:cond delay="0"/>
                                  </p:stCondLst>
                                  <p:childTnLst>
                                    <p:set>
                                      <p:cBhvr>
                                        <p:cTn id="64" dur="1" fill="hold">
                                          <p:stCondLst>
                                            <p:cond delay="0"/>
                                          </p:stCondLst>
                                        </p:cTn>
                                        <p:tgtEl>
                                          <p:spTgt spid="115"/>
                                        </p:tgtEl>
                                        <p:attrNameLst>
                                          <p:attrName>style.visibility</p:attrName>
                                        </p:attrNameLst>
                                      </p:cBhvr>
                                      <p:to>
                                        <p:strVal val="visible"/>
                                      </p:to>
                                    </p:set>
                                    <p:animEffect transition="in" filter="fade">
                                      <p:cBhvr>
                                        <p:cTn id="65" dur="500"/>
                                        <p:tgtEl>
                                          <p:spTgt spid="115"/>
                                        </p:tgtEl>
                                      </p:cBhvr>
                                    </p:animEffect>
                                  </p:childTnLst>
                                </p:cTn>
                              </p:par>
                              <p:par>
                                <p:cTn id="66" presetID="10" presetClass="entr" presetSubtype="0" fill="hold" nodeType="withEffect">
                                  <p:stCondLst>
                                    <p:cond delay="0"/>
                                  </p:stCondLst>
                                  <p:childTnLst>
                                    <p:set>
                                      <p:cBhvr>
                                        <p:cTn id="67" dur="1" fill="hold">
                                          <p:stCondLst>
                                            <p:cond delay="0"/>
                                          </p:stCondLst>
                                        </p:cTn>
                                        <p:tgtEl>
                                          <p:spTgt spid="143">
                                            <p:txEl>
                                              <p:pRg st="0" end="0"/>
                                            </p:txEl>
                                          </p:spTgt>
                                        </p:tgtEl>
                                        <p:attrNameLst>
                                          <p:attrName>style.visibility</p:attrName>
                                        </p:attrNameLst>
                                      </p:cBhvr>
                                      <p:to>
                                        <p:strVal val="visible"/>
                                      </p:to>
                                    </p:set>
                                    <p:animEffect transition="in" filter="fade">
                                      <p:cBhvr>
                                        <p:cTn id="68" dur="500"/>
                                        <p:tgtEl>
                                          <p:spTgt spid="143">
                                            <p:txEl>
                                              <p:pRg st="0" end="0"/>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143">
                                            <p:txEl>
                                              <p:pRg st="1" end="1"/>
                                            </p:txEl>
                                          </p:spTgt>
                                        </p:tgtEl>
                                        <p:attrNameLst>
                                          <p:attrName>style.visibility</p:attrName>
                                        </p:attrNameLst>
                                      </p:cBhvr>
                                      <p:to>
                                        <p:strVal val="visible"/>
                                      </p:to>
                                    </p:set>
                                    <p:animEffect transition="in" filter="fade">
                                      <p:cBhvr>
                                        <p:cTn id="71" dur="500"/>
                                        <p:tgtEl>
                                          <p:spTgt spid="143">
                                            <p:txEl>
                                              <p:pRg st="1" end="1"/>
                                            </p:tx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146"/>
                                        </p:tgtEl>
                                        <p:attrNameLst>
                                          <p:attrName>style.visibility</p:attrName>
                                        </p:attrNameLst>
                                      </p:cBhvr>
                                      <p:to>
                                        <p:strVal val="visible"/>
                                      </p:to>
                                    </p:set>
                                    <p:animEffect transition="in" filter="fade">
                                      <p:cBhvr>
                                        <p:cTn id="74" dur="500"/>
                                        <p:tgtEl>
                                          <p:spTgt spid="146"/>
                                        </p:tgtEl>
                                      </p:cBhvr>
                                    </p:animEffect>
                                  </p:childTnLst>
                                </p:cTn>
                              </p:par>
                              <p:par>
                                <p:cTn id="75" presetID="10" presetClass="entr" presetSubtype="0" fill="hold" nodeType="withEffect">
                                  <p:stCondLst>
                                    <p:cond delay="0"/>
                                  </p:stCondLst>
                                  <p:childTnLst>
                                    <p:set>
                                      <p:cBhvr>
                                        <p:cTn id="76" dur="1" fill="hold">
                                          <p:stCondLst>
                                            <p:cond delay="0"/>
                                          </p:stCondLst>
                                        </p:cTn>
                                        <p:tgtEl>
                                          <p:spTgt spid="145"/>
                                        </p:tgtEl>
                                        <p:attrNameLst>
                                          <p:attrName>style.visibility</p:attrName>
                                        </p:attrNameLst>
                                      </p:cBhvr>
                                      <p:to>
                                        <p:strVal val="visible"/>
                                      </p:to>
                                    </p:set>
                                    <p:animEffect transition="in" filter="fade">
                                      <p:cBhvr>
                                        <p:cTn id="77" dur="500"/>
                                        <p:tgtEl>
                                          <p:spTgt spid="145"/>
                                        </p:tgtEl>
                                      </p:cBhvr>
                                    </p:animEffect>
                                  </p:childTnLst>
                                </p:cTn>
                              </p:par>
                              <p:par>
                                <p:cTn id="78" presetID="10" presetClass="entr" presetSubtype="0" fill="hold" nodeType="withEffect">
                                  <p:stCondLst>
                                    <p:cond delay="0"/>
                                  </p:stCondLst>
                                  <p:childTnLst>
                                    <p:set>
                                      <p:cBhvr>
                                        <p:cTn id="79" dur="1" fill="hold">
                                          <p:stCondLst>
                                            <p:cond delay="0"/>
                                          </p:stCondLst>
                                        </p:cTn>
                                        <p:tgtEl>
                                          <p:spTgt spid="184"/>
                                        </p:tgtEl>
                                        <p:attrNameLst>
                                          <p:attrName>style.visibility</p:attrName>
                                        </p:attrNameLst>
                                      </p:cBhvr>
                                      <p:to>
                                        <p:strVal val="visible"/>
                                      </p:to>
                                    </p:set>
                                    <p:animEffect transition="in" filter="fade">
                                      <p:cBhvr>
                                        <p:cTn id="80" dur="500"/>
                                        <p:tgtEl>
                                          <p:spTgt spid="184"/>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51"/>
                                        </p:tgtEl>
                                        <p:attrNameLst>
                                          <p:attrName>style.visibility</p:attrName>
                                        </p:attrNameLst>
                                      </p:cBhvr>
                                      <p:to>
                                        <p:strVal val="visible"/>
                                      </p:to>
                                    </p:set>
                                    <p:animEffect transition="in" filter="fade">
                                      <p:cBhvr>
                                        <p:cTn id="83" dur="500"/>
                                        <p:tgtEl>
                                          <p:spTgt spid="151"/>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61"/>
                                        </p:tgtEl>
                                        <p:attrNameLst>
                                          <p:attrName>style.visibility</p:attrName>
                                        </p:attrNameLst>
                                      </p:cBhvr>
                                      <p:to>
                                        <p:strVal val="visible"/>
                                      </p:to>
                                    </p:set>
                                    <p:animEffect transition="in" filter="fade">
                                      <p:cBhvr>
                                        <p:cTn id="86" dur="500"/>
                                        <p:tgtEl>
                                          <p:spTgt spid="16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143">
                                            <p:txEl>
                                              <p:pRg st="2" end="2"/>
                                            </p:txEl>
                                          </p:spTgt>
                                        </p:tgtEl>
                                        <p:attrNameLst>
                                          <p:attrName>style.visibility</p:attrName>
                                        </p:attrNameLst>
                                      </p:cBhvr>
                                      <p:to>
                                        <p:strVal val="visible"/>
                                      </p:to>
                                    </p:set>
                                    <p:animEffect transition="in" filter="fade">
                                      <p:cBhvr>
                                        <p:cTn id="91" dur="500"/>
                                        <p:tgtEl>
                                          <p:spTgt spid="143">
                                            <p:txEl>
                                              <p:pRg st="2" end="2"/>
                                            </p:txEl>
                                          </p:spTgt>
                                        </p:tgtEl>
                                      </p:cBhvr>
                                    </p:animEffect>
                                  </p:childTnLst>
                                </p:cTn>
                              </p:par>
                              <p:par>
                                <p:cTn id="92" presetID="10" presetClass="entr" presetSubtype="0" fill="hold" nodeType="withEffect">
                                  <p:stCondLst>
                                    <p:cond delay="0"/>
                                  </p:stCondLst>
                                  <p:childTnLst>
                                    <p:set>
                                      <p:cBhvr>
                                        <p:cTn id="93" dur="1" fill="hold">
                                          <p:stCondLst>
                                            <p:cond delay="0"/>
                                          </p:stCondLst>
                                        </p:cTn>
                                        <p:tgtEl>
                                          <p:spTgt spid="149"/>
                                        </p:tgtEl>
                                        <p:attrNameLst>
                                          <p:attrName>style.visibility</p:attrName>
                                        </p:attrNameLst>
                                      </p:cBhvr>
                                      <p:to>
                                        <p:strVal val="visible"/>
                                      </p:to>
                                    </p:set>
                                    <p:animEffect transition="in" filter="fade">
                                      <p:cBhvr>
                                        <p:cTn id="94" dur="500"/>
                                        <p:tgtEl>
                                          <p:spTgt spid="149"/>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2"/>
                                        </p:tgtEl>
                                        <p:attrNameLst>
                                          <p:attrName>style.visibility</p:attrName>
                                        </p:attrNameLst>
                                      </p:cBhvr>
                                      <p:to>
                                        <p:strVal val="visible"/>
                                      </p:to>
                                    </p:set>
                                    <p:animEffect transition="in" filter="fade">
                                      <p:cBhvr>
                                        <p:cTn id="97" dur="500"/>
                                        <p:tgtEl>
                                          <p:spTgt spid="152"/>
                                        </p:tgtEl>
                                      </p:cBhvr>
                                    </p:animEffect>
                                  </p:childTnLst>
                                </p:cTn>
                              </p:par>
                              <p:par>
                                <p:cTn id="98" presetID="10" presetClass="entr" presetSubtype="0" fill="hold" nodeType="withEffect">
                                  <p:stCondLst>
                                    <p:cond delay="0"/>
                                  </p:stCondLst>
                                  <p:childTnLst>
                                    <p:set>
                                      <p:cBhvr>
                                        <p:cTn id="99" dur="1" fill="hold">
                                          <p:stCondLst>
                                            <p:cond delay="0"/>
                                          </p:stCondLst>
                                        </p:cTn>
                                        <p:tgtEl>
                                          <p:spTgt spid="148"/>
                                        </p:tgtEl>
                                        <p:attrNameLst>
                                          <p:attrName>style.visibility</p:attrName>
                                        </p:attrNameLst>
                                      </p:cBhvr>
                                      <p:to>
                                        <p:strVal val="visible"/>
                                      </p:to>
                                    </p:set>
                                    <p:animEffect transition="in" filter="fade">
                                      <p:cBhvr>
                                        <p:cTn id="100" dur="500"/>
                                        <p:tgtEl>
                                          <p:spTgt spid="148"/>
                                        </p:tgtEl>
                                      </p:cBhvr>
                                    </p:animEffect>
                                  </p:childTnLst>
                                </p:cTn>
                              </p:par>
                              <p:par>
                                <p:cTn id="101" presetID="10" presetClass="exit" presetSubtype="0" fill="hold" grpId="1" nodeType="withEffect">
                                  <p:stCondLst>
                                    <p:cond delay="0"/>
                                  </p:stCondLst>
                                  <p:childTnLst>
                                    <p:animEffect transition="out" filter="fade">
                                      <p:cBhvr>
                                        <p:cTn id="102" dur="500"/>
                                        <p:tgtEl>
                                          <p:spTgt spid="151"/>
                                        </p:tgtEl>
                                      </p:cBhvr>
                                    </p:animEffect>
                                    <p:set>
                                      <p:cBhvr>
                                        <p:cTn id="103" dur="1" fill="hold">
                                          <p:stCondLst>
                                            <p:cond delay="499"/>
                                          </p:stCondLst>
                                        </p:cTn>
                                        <p:tgtEl>
                                          <p:spTgt spid="151"/>
                                        </p:tgtEl>
                                        <p:attrNameLst>
                                          <p:attrName>style.visibility</p:attrName>
                                        </p:attrNameLst>
                                      </p:cBhvr>
                                      <p:to>
                                        <p:strVal val="hidden"/>
                                      </p:to>
                                    </p:se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143">
                                            <p:txEl>
                                              <p:pRg st="3" end="3"/>
                                            </p:txEl>
                                          </p:spTgt>
                                        </p:tgtEl>
                                        <p:attrNameLst>
                                          <p:attrName>style.visibility</p:attrName>
                                        </p:attrNameLst>
                                      </p:cBhvr>
                                      <p:to>
                                        <p:strVal val="visible"/>
                                      </p:to>
                                    </p:set>
                                    <p:animEffect transition="in" filter="fade">
                                      <p:cBhvr>
                                        <p:cTn id="108" dur="500"/>
                                        <p:tgtEl>
                                          <p:spTgt spid="143">
                                            <p:txEl>
                                              <p:pRg st="3" end="3"/>
                                            </p:txEl>
                                          </p:spTgt>
                                        </p:tgtEl>
                                      </p:cBhvr>
                                    </p:animEffect>
                                  </p:childTnLst>
                                </p:cTn>
                              </p:par>
                              <p:par>
                                <p:cTn id="109" presetID="10" presetClass="entr" presetSubtype="0" fill="hold" nodeType="withEffect">
                                  <p:stCondLst>
                                    <p:cond delay="0"/>
                                  </p:stCondLst>
                                  <p:childTnLst>
                                    <p:set>
                                      <p:cBhvr>
                                        <p:cTn id="110" dur="1" fill="hold">
                                          <p:stCondLst>
                                            <p:cond delay="0"/>
                                          </p:stCondLst>
                                        </p:cTn>
                                        <p:tgtEl>
                                          <p:spTgt spid="150"/>
                                        </p:tgtEl>
                                        <p:attrNameLst>
                                          <p:attrName>style.visibility</p:attrName>
                                        </p:attrNameLst>
                                      </p:cBhvr>
                                      <p:to>
                                        <p:strVal val="visible"/>
                                      </p:to>
                                    </p:set>
                                    <p:animEffect transition="in" filter="fade">
                                      <p:cBhvr>
                                        <p:cTn id="111" dur="500"/>
                                        <p:tgtEl>
                                          <p:spTgt spid="150"/>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153"/>
                                        </p:tgtEl>
                                        <p:attrNameLst>
                                          <p:attrName>style.visibility</p:attrName>
                                        </p:attrNameLst>
                                      </p:cBhvr>
                                      <p:to>
                                        <p:strVal val="visible"/>
                                      </p:to>
                                    </p:set>
                                    <p:animEffect transition="in" filter="fade">
                                      <p:cBhvr>
                                        <p:cTn id="114" dur="500"/>
                                        <p:tgtEl>
                                          <p:spTgt spid="153"/>
                                        </p:tgtEl>
                                      </p:cBhvr>
                                    </p:animEffect>
                                  </p:childTnLst>
                                </p:cTn>
                              </p:par>
                              <p:par>
                                <p:cTn id="115" presetID="10" presetClass="exit" presetSubtype="0" fill="hold" grpId="1" nodeType="withEffect">
                                  <p:stCondLst>
                                    <p:cond delay="0"/>
                                  </p:stCondLst>
                                  <p:childTnLst>
                                    <p:animEffect transition="out" filter="fade">
                                      <p:cBhvr>
                                        <p:cTn id="116" dur="500"/>
                                        <p:tgtEl>
                                          <p:spTgt spid="152"/>
                                        </p:tgtEl>
                                      </p:cBhvr>
                                    </p:animEffect>
                                    <p:set>
                                      <p:cBhvr>
                                        <p:cTn id="117" dur="1" fill="hold">
                                          <p:stCondLst>
                                            <p:cond delay="499"/>
                                          </p:stCondLst>
                                        </p:cTn>
                                        <p:tgtEl>
                                          <p:spTgt spid="152"/>
                                        </p:tgtEl>
                                        <p:attrNameLst>
                                          <p:attrName>style.visibility</p:attrName>
                                        </p:attrNameLst>
                                      </p:cBhvr>
                                      <p:to>
                                        <p:strVal val="hidden"/>
                                      </p:to>
                                    </p:se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nodeType="clickEffect">
                                  <p:stCondLst>
                                    <p:cond delay="0"/>
                                  </p:stCondLst>
                                  <p:childTnLst>
                                    <p:set>
                                      <p:cBhvr>
                                        <p:cTn id="121" dur="1" fill="hold">
                                          <p:stCondLst>
                                            <p:cond delay="0"/>
                                          </p:stCondLst>
                                        </p:cTn>
                                        <p:tgtEl>
                                          <p:spTgt spid="143">
                                            <p:txEl>
                                              <p:pRg st="4" end="4"/>
                                            </p:txEl>
                                          </p:spTgt>
                                        </p:tgtEl>
                                        <p:attrNameLst>
                                          <p:attrName>style.visibility</p:attrName>
                                        </p:attrNameLst>
                                      </p:cBhvr>
                                      <p:to>
                                        <p:strVal val="visible"/>
                                      </p:to>
                                    </p:set>
                                    <p:animEffect transition="in" filter="fade">
                                      <p:cBhvr>
                                        <p:cTn id="122" dur="500"/>
                                        <p:tgtEl>
                                          <p:spTgt spid="143">
                                            <p:txEl>
                                              <p:pRg st="4" end="4"/>
                                            </p:txEl>
                                          </p:spTgt>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54"/>
                                        </p:tgtEl>
                                        <p:attrNameLst>
                                          <p:attrName>style.visibility</p:attrName>
                                        </p:attrNameLst>
                                      </p:cBhvr>
                                      <p:to>
                                        <p:strVal val="visible"/>
                                      </p:to>
                                    </p:set>
                                    <p:animEffect transition="in" filter="fade">
                                      <p:cBhvr>
                                        <p:cTn id="125" dur="500"/>
                                        <p:tgtEl>
                                          <p:spTgt spid="154"/>
                                        </p:tgtEl>
                                      </p:cBhvr>
                                    </p:animEffect>
                                  </p:childTnLst>
                                </p:cTn>
                              </p:par>
                              <p:par>
                                <p:cTn id="126" presetID="10" presetClass="entr" presetSubtype="0" fill="hold" nodeType="withEffect">
                                  <p:stCondLst>
                                    <p:cond delay="0"/>
                                  </p:stCondLst>
                                  <p:childTnLst>
                                    <p:set>
                                      <p:cBhvr>
                                        <p:cTn id="127" dur="1" fill="hold">
                                          <p:stCondLst>
                                            <p:cond delay="0"/>
                                          </p:stCondLst>
                                        </p:cTn>
                                        <p:tgtEl>
                                          <p:spTgt spid="157"/>
                                        </p:tgtEl>
                                        <p:attrNameLst>
                                          <p:attrName>style.visibility</p:attrName>
                                        </p:attrNameLst>
                                      </p:cBhvr>
                                      <p:to>
                                        <p:strVal val="visible"/>
                                      </p:to>
                                    </p:set>
                                    <p:animEffect transition="in" filter="fade">
                                      <p:cBhvr>
                                        <p:cTn id="128" dur="500"/>
                                        <p:tgtEl>
                                          <p:spTgt spid="157"/>
                                        </p:tgtEl>
                                      </p:cBhvr>
                                    </p:animEffect>
                                  </p:childTnLst>
                                </p:cTn>
                              </p:par>
                              <p:par>
                                <p:cTn id="129" presetID="10" presetClass="entr" presetSubtype="0" fill="hold" nodeType="withEffect">
                                  <p:stCondLst>
                                    <p:cond delay="0"/>
                                  </p:stCondLst>
                                  <p:childTnLst>
                                    <p:set>
                                      <p:cBhvr>
                                        <p:cTn id="130" dur="1" fill="hold">
                                          <p:stCondLst>
                                            <p:cond delay="0"/>
                                          </p:stCondLst>
                                        </p:cTn>
                                        <p:tgtEl>
                                          <p:spTgt spid="160"/>
                                        </p:tgtEl>
                                        <p:attrNameLst>
                                          <p:attrName>style.visibility</p:attrName>
                                        </p:attrNameLst>
                                      </p:cBhvr>
                                      <p:to>
                                        <p:strVal val="visible"/>
                                      </p:to>
                                    </p:set>
                                    <p:animEffect transition="in" filter="fade">
                                      <p:cBhvr>
                                        <p:cTn id="131" dur="500"/>
                                        <p:tgtEl>
                                          <p:spTgt spid="160"/>
                                        </p:tgtEl>
                                      </p:cBhvr>
                                    </p:animEffect>
                                  </p:childTnLst>
                                </p:cTn>
                              </p:par>
                              <p:par>
                                <p:cTn id="132" presetID="10" presetClass="exit" presetSubtype="0" fill="hold" grpId="1" nodeType="withEffect">
                                  <p:stCondLst>
                                    <p:cond delay="0"/>
                                  </p:stCondLst>
                                  <p:childTnLst>
                                    <p:animEffect transition="out" filter="fade">
                                      <p:cBhvr>
                                        <p:cTn id="133" dur="500"/>
                                        <p:tgtEl>
                                          <p:spTgt spid="153"/>
                                        </p:tgtEl>
                                      </p:cBhvr>
                                    </p:animEffect>
                                    <p:set>
                                      <p:cBhvr>
                                        <p:cTn id="134" dur="1" fill="hold">
                                          <p:stCondLst>
                                            <p:cond delay="499"/>
                                          </p:stCondLst>
                                        </p:cTn>
                                        <p:tgtEl>
                                          <p:spTgt spid="153"/>
                                        </p:tgtEl>
                                        <p:attrNameLst>
                                          <p:attrName>style.visibility</p:attrName>
                                        </p:attrNameLst>
                                      </p:cBhvr>
                                      <p:to>
                                        <p:strVal val="hidden"/>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43">
                                            <p:txEl>
                                              <p:pRg st="5" end="5"/>
                                            </p:txEl>
                                          </p:spTgt>
                                        </p:tgtEl>
                                        <p:attrNameLst>
                                          <p:attrName>style.visibility</p:attrName>
                                        </p:attrNameLst>
                                      </p:cBhvr>
                                      <p:to>
                                        <p:strVal val="visible"/>
                                      </p:to>
                                    </p:set>
                                    <p:animEffect transition="in" filter="fade">
                                      <p:cBhvr>
                                        <p:cTn id="139" dur="500"/>
                                        <p:tgtEl>
                                          <p:spTgt spid="143">
                                            <p:txEl>
                                              <p:pRg st="5" end="5"/>
                                            </p:txEl>
                                          </p:spTgt>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55"/>
                                        </p:tgtEl>
                                        <p:attrNameLst>
                                          <p:attrName>style.visibility</p:attrName>
                                        </p:attrNameLst>
                                      </p:cBhvr>
                                      <p:to>
                                        <p:strVal val="visible"/>
                                      </p:to>
                                    </p:set>
                                    <p:animEffect transition="in" filter="fade">
                                      <p:cBhvr>
                                        <p:cTn id="142" dur="500"/>
                                        <p:tgtEl>
                                          <p:spTgt spid="155"/>
                                        </p:tgtEl>
                                      </p:cBhvr>
                                    </p:animEffect>
                                  </p:childTnLst>
                                </p:cTn>
                              </p:par>
                              <p:par>
                                <p:cTn id="143" presetID="10" presetClass="entr" presetSubtype="0" fill="hold" nodeType="withEffect">
                                  <p:stCondLst>
                                    <p:cond delay="0"/>
                                  </p:stCondLst>
                                  <p:childTnLst>
                                    <p:set>
                                      <p:cBhvr>
                                        <p:cTn id="144" dur="1" fill="hold">
                                          <p:stCondLst>
                                            <p:cond delay="0"/>
                                          </p:stCondLst>
                                        </p:cTn>
                                        <p:tgtEl>
                                          <p:spTgt spid="158"/>
                                        </p:tgtEl>
                                        <p:attrNameLst>
                                          <p:attrName>style.visibility</p:attrName>
                                        </p:attrNameLst>
                                      </p:cBhvr>
                                      <p:to>
                                        <p:strVal val="visible"/>
                                      </p:to>
                                    </p:set>
                                    <p:animEffect transition="in" filter="fade">
                                      <p:cBhvr>
                                        <p:cTn id="145" dur="500"/>
                                        <p:tgtEl>
                                          <p:spTgt spid="158"/>
                                        </p:tgtEl>
                                      </p:cBhvr>
                                    </p:animEffect>
                                  </p:childTnLst>
                                </p:cTn>
                              </p:par>
                              <p:par>
                                <p:cTn id="146" presetID="10" presetClass="exit" presetSubtype="0" fill="hold" grpId="1" nodeType="withEffect">
                                  <p:stCondLst>
                                    <p:cond delay="0"/>
                                  </p:stCondLst>
                                  <p:childTnLst>
                                    <p:animEffect transition="out" filter="fade">
                                      <p:cBhvr>
                                        <p:cTn id="147" dur="500"/>
                                        <p:tgtEl>
                                          <p:spTgt spid="154"/>
                                        </p:tgtEl>
                                      </p:cBhvr>
                                    </p:animEffect>
                                    <p:set>
                                      <p:cBhvr>
                                        <p:cTn id="148" dur="1" fill="hold">
                                          <p:stCondLst>
                                            <p:cond delay="499"/>
                                          </p:stCondLst>
                                        </p:cTn>
                                        <p:tgtEl>
                                          <p:spTgt spid="154"/>
                                        </p:tgtEl>
                                        <p:attrNameLst>
                                          <p:attrName>style.visibility</p:attrName>
                                        </p:attrNameLst>
                                      </p:cBhvr>
                                      <p:to>
                                        <p:strVal val="hidden"/>
                                      </p:to>
                                    </p:set>
                                  </p:childTnLst>
                                </p:cTn>
                              </p:par>
                            </p:childTnLst>
                          </p:cTn>
                        </p:par>
                      </p:childTnLst>
                    </p:cTn>
                  </p:par>
                  <p:par>
                    <p:cTn id="149" fill="hold">
                      <p:stCondLst>
                        <p:cond delay="indefinite"/>
                      </p:stCondLst>
                      <p:childTnLst>
                        <p:par>
                          <p:cTn id="150" fill="hold">
                            <p:stCondLst>
                              <p:cond delay="0"/>
                            </p:stCondLst>
                            <p:childTnLst>
                              <p:par>
                                <p:cTn id="151" presetID="10" presetClass="entr" presetSubtype="0" fill="hold" nodeType="clickEffect">
                                  <p:stCondLst>
                                    <p:cond delay="0"/>
                                  </p:stCondLst>
                                  <p:childTnLst>
                                    <p:set>
                                      <p:cBhvr>
                                        <p:cTn id="152" dur="1" fill="hold">
                                          <p:stCondLst>
                                            <p:cond delay="0"/>
                                          </p:stCondLst>
                                        </p:cTn>
                                        <p:tgtEl>
                                          <p:spTgt spid="143">
                                            <p:txEl>
                                              <p:pRg st="6" end="6"/>
                                            </p:txEl>
                                          </p:spTgt>
                                        </p:tgtEl>
                                        <p:attrNameLst>
                                          <p:attrName>style.visibility</p:attrName>
                                        </p:attrNameLst>
                                      </p:cBhvr>
                                      <p:to>
                                        <p:strVal val="visible"/>
                                      </p:to>
                                    </p:set>
                                    <p:animEffect transition="in" filter="fade">
                                      <p:cBhvr>
                                        <p:cTn id="153" dur="500"/>
                                        <p:tgtEl>
                                          <p:spTgt spid="143">
                                            <p:txEl>
                                              <p:pRg st="6" end="6"/>
                                            </p:txEl>
                                          </p:spTgt>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56"/>
                                        </p:tgtEl>
                                        <p:attrNameLst>
                                          <p:attrName>style.visibility</p:attrName>
                                        </p:attrNameLst>
                                      </p:cBhvr>
                                      <p:to>
                                        <p:strVal val="visible"/>
                                      </p:to>
                                    </p:set>
                                    <p:animEffect transition="in" filter="fade">
                                      <p:cBhvr>
                                        <p:cTn id="156" dur="500"/>
                                        <p:tgtEl>
                                          <p:spTgt spid="156"/>
                                        </p:tgtEl>
                                      </p:cBhvr>
                                    </p:animEffect>
                                  </p:childTnLst>
                                </p:cTn>
                              </p:par>
                              <p:par>
                                <p:cTn id="157" presetID="10" presetClass="entr" presetSubtype="0" fill="hold" nodeType="withEffect">
                                  <p:stCondLst>
                                    <p:cond delay="0"/>
                                  </p:stCondLst>
                                  <p:childTnLst>
                                    <p:set>
                                      <p:cBhvr>
                                        <p:cTn id="158" dur="1" fill="hold">
                                          <p:stCondLst>
                                            <p:cond delay="0"/>
                                          </p:stCondLst>
                                        </p:cTn>
                                        <p:tgtEl>
                                          <p:spTgt spid="159"/>
                                        </p:tgtEl>
                                        <p:attrNameLst>
                                          <p:attrName>style.visibility</p:attrName>
                                        </p:attrNameLst>
                                      </p:cBhvr>
                                      <p:to>
                                        <p:strVal val="visible"/>
                                      </p:to>
                                    </p:set>
                                    <p:animEffect transition="in" filter="fade">
                                      <p:cBhvr>
                                        <p:cTn id="159" dur="500"/>
                                        <p:tgtEl>
                                          <p:spTgt spid="159"/>
                                        </p:tgtEl>
                                      </p:cBhvr>
                                    </p:animEffect>
                                  </p:childTnLst>
                                </p:cTn>
                              </p:par>
                              <p:par>
                                <p:cTn id="160" presetID="10" presetClass="exit" presetSubtype="0" fill="hold" grpId="1" nodeType="withEffect">
                                  <p:stCondLst>
                                    <p:cond delay="0"/>
                                  </p:stCondLst>
                                  <p:childTnLst>
                                    <p:animEffect transition="out" filter="fade">
                                      <p:cBhvr>
                                        <p:cTn id="161" dur="500"/>
                                        <p:tgtEl>
                                          <p:spTgt spid="155"/>
                                        </p:tgtEl>
                                      </p:cBhvr>
                                    </p:animEffect>
                                    <p:set>
                                      <p:cBhvr>
                                        <p:cTn id="162" dur="1" fill="hold">
                                          <p:stCondLst>
                                            <p:cond delay="499"/>
                                          </p:stCondLst>
                                        </p:cTn>
                                        <p:tgtEl>
                                          <p:spTgt spid="155"/>
                                        </p:tgtEl>
                                        <p:attrNameLst>
                                          <p:attrName>style.visibility</p:attrName>
                                        </p:attrNameLst>
                                      </p:cBhvr>
                                      <p:to>
                                        <p:strVal val="hidden"/>
                                      </p:to>
                                    </p:set>
                                  </p:childTnLst>
                                </p:cTn>
                              </p:par>
                            </p:childTnLst>
                          </p:cTn>
                        </p:par>
                      </p:childTnLst>
                    </p:cTn>
                  </p:par>
                  <p:par>
                    <p:cTn id="163" fill="hold">
                      <p:stCondLst>
                        <p:cond delay="indefinite"/>
                      </p:stCondLst>
                      <p:childTnLst>
                        <p:par>
                          <p:cTn id="164" fill="hold">
                            <p:stCondLst>
                              <p:cond delay="0"/>
                            </p:stCondLst>
                            <p:childTnLst>
                              <p:par>
                                <p:cTn id="165" presetID="10" presetClass="entr" presetSubtype="0" fill="hold" grpId="0" nodeType="clickEffect">
                                  <p:stCondLst>
                                    <p:cond delay="0"/>
                                  </p:stCondLst>
                                  <p:childTnLst>
                                    <p:set>
                                      <p:cBhvr>
                                        <p:cTn id="166" dur="1" fill="hold">
                                          <p:stCondLst>
                                            <p:cond delay="0"/>
                                          </p:stCondLst>
                                        </p:cTn>
                                        <p:tgtEl>
                                          <p:spTgt spid="6"/>
                                        </p:tgtEl>
                                        <p:attrNameLst>
                                          <p:attrName>style.visibility</p:attrName>
                                        </p:attrNameLst>
                                      </p:cBhvr>
                                      <p:to>
                                        <p:strVal val="visible"/>
                                      </p:to>
                                    </p:set>
                                    <p:animEffect transition="in" filter="fade">
                                      <p:cBhvr>
                                        <p:cTn id="167" dur="500"/>
                                        <p:tgtEl>
                                          <p:spTgt spid="6"/>
                                        </p:tgtEl>
                                      </p:cBhvr>
                                    </p:animEffect>
                                  </p:childTnLst>
                                </p:cTn>
                              </p:par>
                              <p:par>
                                <p:cTn id="168" presetID="10" presetClass="entr" presetSubtype="0" fill="hold" nodeType="withEffect">
                                  <p:stCondLst>
                                    <p:cond delay="0"/>
                                  </p:stCondLst>
                                  <p:childTnLst>
                                    <p:set>
                                      <p:cBhvr>
                                        <p:cTn id="169" dur="1" fill="hold">
                                          <p:stCondLst>
                                            <p:cond delay="0"/>
                                          </p:stCondLst>
                                        </p:cTn>
                                        <p:tgtEl>
                                          <p:spTgt spid="215">
                                            <p:txEl>
                                              <p:pRg st="0" end="0"/>
                                            </p:txEl>
                                          </p:spTgt>
                                        </p:tgtEl>
                                        <p:attrNameLst>
                                          <p:attrName>style.visibility</p:attrName>
                                        </p:attrNameLst>
                                      </p:cBhvr>
                                      <p:to>
                                        <p:strVal val="visible"/>
                                      </p:to>
                                    </p:set>
                                    <p:animEffect transition="in" filter="fade">
                                      <p:cBhvr>
                                        <p:cTn id="170" dur="500"/>
                                        <p:tgtEl>
                                          <p:spTgt spid="215">
                                            <p:txEl>
                                              <p:pRg st="0" end="0"/>
                                            </p:txEl>
                                          </p:spTgt>
                                        </p:tgtEl>
                                      </p:cBhvr>
                                    </p:animEffect>
                                  </p:childTnLst>
                                </p:cTn>
                              </p:par>
                              <p:par>
                                <p:cTn id="171" presetID="10" presetClass="entr" presetSubtype="0" fill="hold" nodeType="withEffect">
                                  <p:stCondLst>
                                    <p:cond delay="0"/>
                                  </p:stCondLst>
                                  <p:childTnLst>
                                    <p:set>
                                      <p:cBhvr>
                                        <p:cTn id="172" dur="1" fill="hold">
                                          <p:stCondLst>
                                            <p:cond delay="0"/>
                                          </p:stCondLst>
                                        </p:cTn>
                                        <p:tgtEl>
                                          <p:spTgt spid="215">
                                            <p:txEl>
                                              <p:pRg st="1" end="1"/>
                                            </p:txEl>
                                          </p:spTgt>
                                        </p:tgtEl>
                                        <p:attrNameLst>
                                          <p:attrName>style.visibility</p:attrName>
                                        </p:attrNameLst>
                                      </p:cBhvr>
                                      <p:to>
                                        <p:strVal val="visible"/>
                                      </p:to>
                                    </p:set>
                                    <p:animEffect transition="in" filter="fade">
                                      <p:cBhvr>
                                        <p:cTn id="173" dur="500"/>
                                        <p:tgtEl>
                                          <p:spTgt spid="215">
                                            <p:txEl>
                                              <p:pRg st="1" end="1"/>
                                            </p:txEl>
                                          </p:spTgt>
                                        </p:tgtEl>
                                      </p:cBhvr>
                                    </p:animEffect>
                                  </p:childTnLst>
                                </p:cTn>
                              </p:par>
                              <p:par>
                                <p:cTn id="174" presetID="10" presetClass="entr" presetSubtype="0" fill="hold" nodeType="withEffect">
                                  <p:stCondLst>
                                    <p:cond delay="0"/>
                                  </p:stCondLst>
                                  <p:childTnLst>
                                    <p:set>
                                      <p:cBhvr>
                                        <p:cTn id="175" dur="1" fill="hold">
                                          <p:stCondLst>
                                            <p:cond delay="0"/>
                                          </p:stCondLst>
                                        </p:cTn>
                                        <p:tgtEl>
                                          <p:spTgt spid="172"/>
                                        </p:tgtEl>
                                        <p:attrNameLst>
                                          <p:attrName>style.visibility</p:attrName>
                                        </p:attrNameLst>
                                      </p:cBhvr>
                                      <p:to>
                                        <p:strVal val="visible"/>
                                      </p:to>
                                    </p:set>
                                    <p:animEffect transition="in" filter="fade">
                                      <p:cBhvr>
                                        <p:cTn id="176" dur="500"/>
                                        <p:tgtEl>
                                          <p:spTgt spid="172"/>
                                        </p:tgtEl>
                                      </p:cBhvr>
                                    </p:animEffect>
                                  </p:childTnLst>
                                </p:cTn>
                              </p:par>
                              <p:par>
                                <p:cTn id="177" presetID="10" presetClass="entr" presetSubtype="0" fill="hold" grpId="0" nodeType="withEffect">
                                  <p:stCondLst>
                                    <p:cond delay="0"/>
                                  </p:stCondLst>
                                  <p:childTnLst>
                                    <p:set>
                                      <p:cBhvr>
                                        <p:cTn id="178" dur="1" fill="hold">
                                          <p:stCondLst>
                                            <p:cond delay="0"/>
                                          </p:stCondLst>
                                        </p:cTn>
                                        <p:tgtEl>
                                          <p:spTgt spid="185"/>
                                        </p:tgtEl>
                                        <p:attrNameLst>
                                          <p:attrName>style.visibility</p:attrName>
                                        </p:attrNameLst>
                                      </p:cBhvr>
                                      <p:to>
                                        <p:strVal val="visible"/>
                                      </p:to>
                                    </p:set>
                                    <p:animEffect transition="in" filter="fade">
                                      <p:cBhvr>
                                        <p:cTn id="179" dur="500"/>
                                        <p:tgtEl>
                                          <p:spTgt spid="185"/>
                                        </p:tgtEl>
                                      </p:cBhvr>
                                    </p:animEffect>
                                  </p:childTnLst>
                                </p:cTn>
                              </p:par>
                              <p:par>
                                <p:cTn id="180" presetID="10" presetClass="entr" presetSubtype="0" fill="hold" nodeType="withEffect">
                                  <p:stCondLst>
                                    <p:cond delay="0"/>
                                  </p:stCondLst>
                                  <p:childTnLst>
                                    <p:set>
                                      <p:cBhvr>
                                        <p:cTn id="181" dur="1" fill="hold">
                                          <p:stCondLst>
                                            <p:cond delay="0"/>
                                          </p:stCondLst>
                                        </p:cTn>
                                        <p:tgtEl>
                                          <p:spTgt spid="147"/>
                                        </p:tgtEl>
                                        <p:attrNameLst>
                                          <p:attrName>style.visibility</p:attrName>
                                        </p:attrNameLst>
                                      </p:cBhvr>
                                      <p:to>
                                        <p:strVal val="visible"/>
                                      </p:to>
                                    </p:set>
                                    <p:animEffect transition="in" filter="fade">
                                      <p:cBhvr>
                                        <p:cTn id="182" dur="500"/>
                                        <p:tgtEl>
                                          <p:spTgt spid="147"/>
                                        </p:tgtEl>
                                      </p:cBhvr>
                                    </p:animEffect>
                                  </p:childTnLst>
                                </p:cTn>
                              </p:par>
                              <p:par>
                                <p:cTn id="183" presetID="10" presetClass="entr" presetSubtype="0" fill="hold" nodeType="withEffect">
                                  <p:stCondLst>
                                    <p:cond delay="0"/>
                                  </p:stCondLst>
                                  <p:childTnLst>
                                    <p:set>
                                      <p:cBhvr>
                                        <p:cTn id="184" dur="1" fill="hold">
                                          <p:stCondLst>
                                            <p:cond delay="0"/>
                                          </p:stCondLst>
                                        </p:cTn>
                                        <p:tgtEl>
                                          <p:spTgt spid="191"/>
                                        </p:tgtEl>
                                        <p:attrNameLst>
                                          <p:attrName>style.visibility</p:attrName>
                                        </p:attrNameLst>
                                      </p:cBhvr>
                                      <p:to>
                                        <p:strVal val="visible"/>
                                      </p:to>
                                    </p:set>
                                    <p:animEffect transition="in" filter="fade">
                                      <p:cBhvr>
                                        <p:cTn id="185" dur="500"/>
                                        <p:tgtEl>
                                          <p:spTgt spid="191"/>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209"/>
                                        </p:tgtEl>
                                        <p:attrNameLst>
                                          <p:attrName>style.visibility</p:attrName>
                                        </p:attrNameLst>
                                      </p:cBhvr>
                                      <p:to>
                                        <p:strVal val="visible"/>
                                      </p:to>
                                    </p:set>
                                    <p:animEffect transition="in" filter="fade">
                                      <p:cBhvr>
                                        <p:cTn id="188" dur="500"/>
                                        <p:tgtEl>
                                          <p:spTgt spid="209"/>
                                        </p:tgtEl>
                                      </p:cBhvr>
                                    </p:animEffect>
                                  </p:childTnLst>
                                </p:cTn>
                              </p:par>
                            </p:childTnLst>
                          </p:cTn>
                        </p:par>
                      </p:childTnLst>
                    </p:cTn>
                  </p:par>
                  <p:par>
                    <p:cTn id="189" fill="hold">
                      <p:stCondLst>
                        <p:cond delay="indefinite"/>
                      </p:stCondLst>
                      <p:childTnLst>
                        <p:par>
                          <p:cTn id="190" fill="hold">
                            <p:stCondLst>
                              <p:cond delay="0"/>
                            </p:stCondLst>
                            <p:childTnLst>
                              <p:par>
                                <p:cTn id="191" presetID="10" presetClass="entr" presetSubtype="0" fill="hold" nodeType="clickEffect">
                                  <p:stCondLst>
                                    <p:cond delay="0"/>
                                  </p:stCondLst>
                                  <p:childTnLst>
                                    <p:set>
                                      <p:cBhvr>
                                        <p:cTn id="192" dur="1" fill="hold">
                                          <p:stCondLst>
                                            <p:cond delay="0"/>
                                          </p:stCondLst>
                                        </p:cTn>
                                        <p:tgtEl>
                                          <p:spTgt spid="215">
                                            <p:txEl>
                                              <p:pRg st="2" end="2"/>
                                            </p:txEl>
                                          </p:spTgt>
                                        </p:tgtEl>
                                        <p:attrNameLst>
                                          <p:attrName>style.visibility</p:attrName>
                                        </p:attrNameLst>
                                      </p:cBhvr>
                                      <p:to>
                                        <p:strVal val="visible"/>
                                      </p:to>
                                    </p:set>
                                    <p:animEffect transition="in" filter="fade">
                                      <p:cBhvr>
                                        <p:cTn id="193" dur="500"/>
                                        <p:tgtEl>
                                          <p:spTgt spid="215">
                                            <p:txEl>
                                              <p:pRg st="2" end="2"/>
                                            </p:txEl>
                                          </p:spTgt>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186"/>
                                        </p:tgtEl>
                                        <p:attrNameLst>
                                          <p:attrName>style.visibility</p:attrName>
                                        </p:attrNameLst>
                                      </p:cBhvr>
                                      <p:to>
                                        <p:strVal val="visible"/>
                                      </p:to>
                                    </p:set>
                                    <p:animEffect transition="in" filter="fade">
                                      <p:cBhvr>
                                        <p:cTn id="196" dur="500"/>
                                        <p:tgtEl>
                                          <p:spTgt spid="186"/>
                                        </p:tgtEl>
                                      </p:cBhvr>
                                    </p:animEffect>
                                  </p:childTnLst>
                                </p:cTn>
                              </p:par>
                              <p:par>
                                <p:cTn id="197" presetID="10" presetClass="entr" presetSubtype="0" fill="hold" nodeType="withEffect">
                                  <p:stCondLst>
                                    <p:cond delay="0"/>
                                  </p:stCondLst>
                                  <p:childTnLst>
                                    <p:set>
                                      <p:cBhvr>
                                        <p:cTn id="198" dur="1" fill="hold">
                                          <p:stCondLst>
                                            <p:cond delay="0"/>
                                          </p:stCondLst>
                                        </p:cTn>
                                        <p:tgtEl>
                                          <p:spTgt spid="194"/>
                                        </p:tgtEl>
                                        <p:attrNameLst>
                                          <p:attrName>style.visibility</p:attrName>
                                        </p:attrNameLst>
                                      </p:cBhvr>
                                      <p:to>
                                        <p:strVal val="visible"/>
                                      </p:to>
                                    </p:set>
                                    <p:animEffect transition="in" filter="fade">
                                      <p:cBhvr>
                                        <p:cTn id="199" dur="500"/>
                                        <p:tgtEl>
                                          <p:spTgt spid="194"/>
                                        </p:tgtEl>
                                      </p:cBhvr>
                                    </p:animEffect>
                                  </p:childTnLst>
                                </p:cTn>
                              </p:par>
                              <p:par>
                                <p:cTn id="200" presetID="10" presetClass="exit" presetSubtype="0" fill="hold" grpId="1" nodeType="withEffect">
                                  <p:stCondLst>
                                    <p:cond delay="0"/>
                                  </p:stCondLst>
                                  <p:childTnLst>
                                    <p:animEffect transition="out" filter="fade">
                                      <p:cBhvr>
                                        <p:cTn id="201" dur="500"/>
                                        <p:tgtEl>
                                          <p:spTgt spid="185"/>
                                        </p:tgtEl>
                                      </p:cBhvr>
                                    </p:animEffect>
                                    <p:set>
                                      <p:cBhvr>
                                        <p:cTn id="202" dur="1" fill="hold">
                                          <p:stCondLst>
                                            <p:cond delay="499"/>
                                          </p:stCondLst>
                                        </p:cTn>
                                        <p:tgtEl>
                                          <p:spTgt spid="185"/>
                                        </p:tgtEl>
                                        <p:attrNameLst>
                                          <p:attrName>style.visibility</p:attrName>
                                        </p:attrNameLst>
                                      </p:cBhvr>
                                      <p:to>
                                        <p:strVal val="hidden"/>
                                      </p:to>
                                    </p:set>
                                  </p:childTnLst>
                                </p:cTn>
                              </p:par>
                            </p:childTnLst>
                          </p:cTn>
                        </p:par>
                      </p:childTnLst>
                    </p:cTn>
                  </p:par>
                  <p:par>
                    <p:cTn id="203" fill="hold">
                      <p:stCondLst>
                        <p:cond delay="indefinite"/>
                      </p:stCondLst>
                      <p:childTnLst>
                        <p:par>
                          <p:cTn id="204" fill="hold">
                            <p:stCondLst>
                              <p:cond delay="0"/>
                            </p:stCondLst>
                            <p:childTnLst>
                              <p:par>
                                <p:cTn id="205" presetID="10" presetClass="entr" presetSubtype="0" fill="hold" nodeType="clickEffect">
                                  <p:stCondLst>
                                    <p:cond delay="0"/>
                                  </p:stCondLst>
                                  <p:childTnLst>
                                    <p:set>
                                      <p:cBhvr>
                                        <p:cTn id="206" dur="1" fill="hold">
                                          <p:stCondLst>
                                            <p:cond delay="0"/>
                                          </p:stCondLst>
                                        </p:cTn>
                                        <p:tgtEl>
                                          <p:spTgt spid="215">
                                            <p:txEl>
                                              <p:pRg st="3" end="3"/>
                                            </p:txEl>
                                          </p:spTgt>
                                        </p:tgtEl>
                                        <p:attrNameLst>
                                          <p:attrName>style.visibility</p:attrName>
                                        </p:attrNameLst>
                                      </p:cBhvr>
                                      <p:to>
                                        <p:strVal val="visible"/>
                                      </p:to>
                                    </p:set>
                                    <p:animEffect transition="in" filter="fade">
                                      <p:cBhvr>
                                        <p:cTn id="207" dur="500"/>
                                        <p:tgtEl>
                                          <p:spTgt spid="215">
                                            <p:txEl>
                                              <p:pRg st="3" end="3"/>
                                            </p:txEl>
                                          </p:spTgt>
                                        </p:tgtEl>
                                      </p:cBhvr>
                                    </p:animEffect>
                                  </p:childTnLst>
                                </p:cTn>
                              </p:par>
                              <p:par>
                                <p:cTn id="208" presetID="10" presetClass="entr" presetSubtype="0" fill="hold" nodeType="withEffect">
                                  <p:stCondLst>
                                    <p:cond delay="0"/>
                                  </p:stCondLst>
                                  <p:childTnLst>
                                    <p:set>
                                      <p:cBhvr>
                                        <p:cTn id="209" dur="1" fill="hold">
                                          <p:stCondLst>
                                            <p:cond delay="0"/>
                                          </p:stCondLst>
                                        </p:cTn>
                                        <p:tgtEl>
                                          <p:spTgt spid="200"/>
                                        </p:tgtEl>
                                        <p:attrNameLst>
                                          <p:attrName>style.visibility</p:attrName>
                                        </p:attrNameLst>
                                      </p:cBhvr>
                                      <p:to>
                                        <p:strVal val="visible"/>
                                      </p:to>
                                    </p:set>
                                    <p:animEffect transition="in" filter="fade">
                                      <p:cBhvr>
                                        <p:cTn id="210" dur="500"/>
                                        <p:tgtEl>
                                          <p:spTgt spid="200"/>
                                        </p:tgtEl>
                                      </p:cBhvr>
                                    </p:animEffect>
                                  </p:childTnLst>
                                </p:cTn>
                              </p:par>
                              <p:par>
                                <p:cTn id="211" presetID="10" presetClass="entr" presetSubtype="0" fill="hold" nodeType="withEffect">
                                  <p:stCondLst>
                                    <p:cond delay="0"/>
                                  </p:stCondLst>
                                  <p:childTnLst>
                                    <p:set>
                                      <p:cBhvr>
                                        <p:cTn id="212" dur="1" fill="hold">
                                          <p:stCondLst>
                                            <p:cond delay="0"/>
                                          </p:stCondLst>
                                        </p:cTn>
                                        <p:tgtEl>
                                          <p:spTgt spid="197"/>
                                        </p:tgtEl>
                                        <p:attrNameLst>
                                          <p:attrName>style.visibility</p:attrName>
                                        </p:attrNameLst>
                                      </p:cBhvr>
                                      <p:to>
                                        <p:strVal val="visible"/>
                                      </p:to>
                                    </p:set>
                                    <p:animEffect transition="in" filter="fade">
                                      <p:cBhvr>
                                        <p:cTn id="213" dur="500"/>
                                        <p:tgtEl>
                                          <p:spTgt spid="197"/>
                                        </p:tgtEl>
                                      </p:cBhvr>
                                    </p:animEffect>
                                  </p:childTnLst>
                                </p:cTn>
                              </p:par>
                              <p:par>
                                <p:cTn id="214" presetID="10" presetClass="entr" presetSubtype="0" fill="hold" grpId="0" nodeType="withEffect">
                                  <p:stCondLst>
                                    <p:cond delay="0"/>
                                  </p:stCondLst>
                                  <p:childTnLst>
                                    <p:set>
                                      <p:cBhvr>
                                        <p:cTn id="215" dur="1" fill="hold">
                                          <p:stCondLst>
                                            <p:cond delay="0"/>
                                          </p:stCondLst>
                                        </p:cTn>
                                        <p:tgtEl>
                                          <p:spTgt spid="187"/>
                                        </p:tgtEl>
                                        <p:attrNameLst>
                                          <p:attrName>style.visibility</p:attrName>
                                        </p:attrNameLst>
                                      </p:cBhvr>
                                      <p:to>
                                        <p:strVal val="visible"/>
                                      </p:to>
                                    </p:set>
                                    <p:animEffect transition="in" filter="fade">
                                      <p:cBhvr>
                                        <p:cTn id="216" dur="500"/>
                                        <p:tgtEl>
                                          <p:spTgt spid="187"/>
                                        </p:tgtEl>
                                      </p:cBhvr>
                                    </p:animEffect>
                                  </p:childTnLst>
                                </p:cTn>
                              </p:par>
                              <p:par>
                                <p:cTn id="217" presetID="10" presetClass="exit" presetSubtype="0" fill="hold" grpId="1" nodeType="withEffect">
                                  <p:stCondLst>
                                    <p:cond delay="0"/>
                                  </p:stCondLst>
                                  <p:childTnLst>
                                    <p:animEffect transition="out" filter="fade">
                                      <p:cBhvr>
                                        <p:cTn id="218" dur="500"/>
                                        <p:tgtEl>
                                          <p:spTgt spid="186"/>
                                        </p:tgtEl>
                                      </p:cBhvr>
                                    </p:animEffect>
                                    <p:set>
                                      <p:cBhvr>
                                        <p:cTn id="219" dur="1" fill="hold">
                                          <p:stCondLst>
                                            <p:cond delay="499"/>
                                          </p:stCondLst>
                                        </p:cTn>
                                        <p:tgtEl>
                                          <p:spTgt spid="186"/>
                                        </p:tgtEl>
                                        <p:attrNameLst>
                                          <p:attrName>style.visibility</p:attrName>
                                        </p:attrNameLst>
                                      </p:cBhvr>
                                      <p:to>
                                        <p:strVal val="hidden"/>
                                      </p:to>
                                    </p:set>
                                  </p:childTnLst>
                                </p:cTn>
                              </p:par>
                            </p:childTnLst>
                          </p:cTn>
                        </p:par>
                      </p:childTnLst>
                    </p:cTn>
                  </p:par>
                  <p:par>
                    <p:cTn id="220" fill="hold">
                      <p:stCondLst>
                        <p:cond delay="indefinite"/>
                      </p:stCondLst>
                      <p:childTnLst>
                        <p:par>
                          <p:cTn id="221" fill="hold">
                            <p:stCondLst>
                              <p:cond delay="0"/>
                            </p:stCondLst>
                            <p:childTnLst>
                              <p:par>
                                <p:cTn id="222" presetID="10" presetClass="entr" presetSubtype="0" fill="hold" nodeType="clickEffect">
                                  <p:stCondLst>
                                    <p:cond delay="0"/>
                                  </p:stCondLst>
                                  <p:childTnLst>
                                    <p:set>
                                      <p:cBhvr>
                                        <p:cTn id="223" dur="1" fill="hold">
                                          <p:stCondLst>
                                            <p:cond delay="0"/>
                                          </p:stCondLst>
                                        </p:cTn>
                                        <p:tgtEl>
                                          <p:spTgt spid="215">
                                            <p:txEl>
                                              <p:pRg st="4" end="4"/>
                                            </p:txEl>
                                          </p:spTgt>
                                        </p:tgtEl>
                                        <p:attrNameLst>
                                          <p:attrName>style.visibility</p:attrName>
                                        </p:attrNameLst>
                                      </p:cBhvr>
                                      <p:to>
                                        <p:strVal val="visible"/>
                                      </p:to>
                                    </p:set>
                                    <p:animEffect transition="in" filter="fade">
                                      <p:cBhvr>
                                        <p:cTn id="224" dur="500"/>
                                        <p:tgtEl>
                                          <p:spTgt spid="215">
                                            <p:txEl>
                                              <p:pRg st="4" end="4"/>
                                            </p:txEl>
                                          </p:spTgt>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188"/>
                                        </p:tgtEl>
                                        <p:attrNameLst>
                                          <p:attrName>style.visibility</p:attrName>
                                        </p:attrNameLst>
                                      </p:cBhvr>
                                      <p:to>
                                        <p:strVal val="visible"/>
                                      </p:to>
                                    </p:set>
                                    <p:animEffect transition="in" filter="fade">
                                      <p:cBhvr>
                                        <p:cTn id="227" dur="500"/>
                                        <p:tgtEl>
                                          <p:spTgt spid="188"/>
                                        </p:tgtEl>
                                      </p:cBhvr>
                                    </p:animEffect>
                                  </p:childTnLst>
                                </p:cTn>
                              </p:par>
                              <p:par>
                                <p:cTn id="228" presetID="10" presetClass="entr" presetSubtype="0" fill="hold" nodeType="withEffect">
                                  <p:stCondLst>
                                    <p:cond delay="0"/>
                                  </p:stCondLst>
                                  <p:childTnLst>
                                    <p:set>
                                      <p:cBhvr>
                                        <p:cTn id="229" dur="1" fill="hold">
                                          <p:stCondLst>
                                            <p:cond delay="0"/>
                                          </p:stCondLst>
                                        </p:cTn>
                                        <p:tgtEl>
                                          <p:spTgt spid="207"/>
                                        </p:tgtEl>
                                        <p:attrNameLst>
                                          <p:attrName>style.visibility</p:attrName>
                                        </p:attrNameLst>
                                      </p:cBhvr>
                                      <p:to>
                                        <p:strVal val="visible"/>
                                      </p:to>
                                    </p:set>
                                    <p:animEffect transition="in" filter="fade">
                                      <p:cBhvr>
                                        <p:cTn id="230" dur="500"/>
                                        <p:tgtEl>
                                          <p:spTgt spid="207"/>
                                        </p:tgtEl>
                                      </p:cBhvr>
                                    </p:animEffect>
                                  </p:childTnLst>
                                </p:cTn>
                              </p:par>
                              <p:par>
                                <p:cTn id="231" presetID="10" presetClass="entr" presetSubtype="0" fill="hold" nodeType="withEffect">
                                  <p:stCondLst>
                                    <p:cond delay="0"/>
                                  </p:stCondLst>
                                  <p:childTnLst>
                                    <p:set>
                                      <p:cBhvr>
                                        <p:cTn id="232" dur="1" fill="hold">
                                          <p:stCondLst>
                                            <p:cond delay="0"/>
                                          </p:stCondLst>
                                        </p:cTn>
                                        <p:tgtEl>
                                          <p:spTgt spid="206"/>
                                        </p:tgtEl>
                                        <p:attrNameLst>
                                          <p:attrName>style.visibility</p:attrName>
                                        </p:attrNameLst>
                                      </p:cBhvr>
                                      <p:to>
                                        <p:strVal val="visible"/>
                                      </p:to>
                                    </p:set>
                                    <p:animEffect transition="in" filter="fade">
                                      <p:cBhvr>
                                        <p:cTn id="233" dur="500"/>
                                        <p:tgtEl>
                                          <p:spTgt spid="206"/>
                                        </p:tgtEl>
                                      </p:cBhvr>
                                    </p:animEffect>
                                  </p:childTnLst>
                                </p:cTn>
                              </p:par>
                              <p:par>
                                <p:cTn id="234" presetID="10" presetClass="exit" presetSubtype="0" fill="hold" grpId="1" nodeType="withEffect">
                                  <p:stCondLst>
                                    <p:cond delay="0"/>
                                  </p:stCondLst>
                                  <p:childTnLst>
                                    <p:animEffect transition="out" filter="fade">
                                      <p:cBhvr>
                                        <p:cTn id="235" dur="500"/>
                                        <p:tgtEl>
                                          <p:spTgt spid="187"/>
                                        </p:tgtEl>
                                      </p:cBhvr>
                                    </p:animEffect>
                                    <p:set>
                                      <p:cBhvr>
                                        <p:cTn id="236" dur="1" fill="hold">
                                          <p:stCondLst>
                                            <p:cond delay="499"/>
                                          </p:stCondLst>
                                        </p:cTn>
                                        <p:tgtEl>
                                          <p:spTgt spid="187"/>
                                        </p:tgtEl>
                                        <p:attrNameLst>
                                          <p:attrName>style.visibility</p:attrName>
                                        </p:attrNameLst>
                                      </p:cBhvr>
                                      <p:to>
                                        <p:strVal val="hidden"/>
                                      </p:to>
                                    </p:set>
                                  </p:childTnLst>
                                </p:cTn>
                              </p:par>
                            </p:childTnLst>
                          </p:cTn>
                        </p:par>
                      </p:childTnLst>
                    </p:cTn>
                  </p:par>
                  <p:par>
                    <p:cTn id="237" fill="hold">
                      <p:stCondLst>
                        <p:cond delay="indefinite"/>
                      </p:stCondLst>
                      <p:childTnLst>
                        <p:par>
                          <p:cTn id="238" fill="hold">
                            <p:stCondLst>
                              <p:cond delay="0"/>
                            </p:stCondLst>
                            <p:childTnLst>
                              <p:par>
                                <p:cTn id="239" presetID="10" presetClass="entr" presetSubtype="0" fill="hold" nodeType="clickEffect">
                                  <p:stCondLst>
                                    <p:cond delay="0"/>
                                  </p:stCondLst>
                                  <p:childTnLst>
                                    <p:set>
                                      <p:cBhvr>
                                        <p:cTn id="240" dur="1" fill="hold">
                                          <p:stCondLst>
                                            <p:cond delay="0"/>
                                          </p:stCondLst>
                                        </p:cTn>
                                        <p:tgtEl>
                                          <p:spTgt spid="215">
                                            <p:txEl>
                                              <p:pRg st="5" end="5"/>
                                            </p:txEl>
                                          </p:spTgt>
                                        </p:tgtEl>
                                        <p:attrNameLst>
                                          <p:attrName>style.visibility</p:attrName>
                                        </p:attrNameLst>
                                      </p:cBhvr>
                                      <p:to>
                                        <p:strVal val="visible"/>
                                      </p:to>
                                    </p:set>
                                    <p:animEffect transition="in" filter="fade">
                                      <p:cBhvr>
                                        <p:cTn id="241" dur="500"/>
                                        <p:tgtEl>
                                          <p:spTgt spid="215">
                                            <p:txEl>
                                              <p:pRg st="5" end="5"/>
                                            </p:txEl>
                                          </p:spTgt>
                                        </p:tgtEl>
                                      </p:cBhvr>
                                    </p:animEffect>
                                  </p:childTnLst>
                                </p:cTn>
                              </p:par>
                              <p:par>
                                <p:cTn id="242" presetID="10" presetClass="entr" presetSubtype="0" fill="hold" grpId="0" nodeType="withEffect">
                                  <p:stCondLst>
                                    <p:cond delay="0"/>
                                  </p:stCondLst>
                                  <p:childTnLst>
                                    <p:set>
                                      <p:cBhvr>
                                        <p:cTn id="243" dur="1" fill="hold">
                                          <p:stCondLst>
                                            <p:cond delay="0"/>
                                          </p:stCondLst>
                                        </p:cTn>
                                        <p:tgtEl>
                                          <p:spTgt spid="189"/>
                                        </p:tgtEl>
                                        <p:attrNameLst>
                                          <p:attrName>style.visibility</p:attrName>
                                        </p:attrNameLst>
                                      </p:cBhvr>
                                      <p:to>
                                        <p:strVal val="visible"/>
                                      </p:to>
                                    </p:set>
                                    <p:animEffect transition="in" filter="fade">
                                      <p:cBhvr>
                                        <p:cTn id="244" dur="500"/>
                                        <p:tgtEl>
                                          <p:spTgt spid="189"/>
                                        </p:tgtEl>
                                      </p:cBhvr>
                                    </p:animEffect>
                                  </p:childTnLst>
                                </p:cTn>
                              </p:par>
                              <p:par>
                                <p:cTn id="245" presetID="10" presetClass="entr" presetSubtype="0" fill="hold" nodeType="withEffect">
                                  <p:stCondLst>
                                    <p:cond delay="0"/>
                                  </p:stCondLst>
                                  <p:childTnLst>
                                    <p:set>
                                      <p:cBhvr>
                                        <p:cTn id="246" dur="1" fill="hold">
                                          <p:stCondLst>
                                            <p:cond delay="0"/>
                                          </p:stCondLst>
                                        </p:cTn>
                                        <p:tgtEl>
                                          <p:spTgt spid="208"/>
                                        </p:tgtEl>
                                        <p:attrNameLst>
                                          <p:attrName>style.visibility</p:attrName>
                                        </p:attrNameLst>
                                      </p:cBhvr>
                                      <p:to>
                                        <p:strVal val="visible"/>
                                      </p:to>
                                    </p:set>
                                    <p:animEffect transition="in" filter="fade">
                                      <p:cBhvr>
                                        <p:cTn id="247" dur="500"/>
                                        <p:tgtEl>
                                          <p:spTgt spid="208"/>
                                        </p:tgtEl>
                                      </p:cBhvr>
                                    </p:animEffect>
                                  </p:childTnLst>
                                </p:cTn>
                              </p:par>
                              <p:par>
                                <p:cTn id="248" presetID="10" presetClass="exit" presetSubtype="0" fill="hold" grpId="1" nodeType="withEffect">
                                  <p:stCondLst>
                                    <p:cond delay="0"/>
                                  </p:stCondLst>
                                  <p:childTnLst>
                                    <p:animEffect transition="out" filter="fade">
                                      <p:cBhvr>
                                        <p:cTn id="249" dur="500"/>
                                        <p:tgtEl>
                                          <p:spTgt spid="188"/>
                                        </p:tgtEl>
                                      </p:cBhvr>
                                    </p:animEffect>
                                    <p:set>
                                      <p:cBhvr>
                                        <p:cTn id="250" dur="1" fill="hold">
                                          <p:stCondLst>
                                            <p:cond delay="499"/>
                                          </p:stCondLst>
                                        </p:cTn>
                                        <p:tgtEl>
                                          <p:spTgt spid="188"/>
                                        </p:tgtEl>
                                        <p:attrNameLst>
                                          <p:attrName>style.visibility</p:attrName>
                                        </p:attrNameLst>
                                      </p:cBhvr>
                                      <p:to>
                                        <p:strVal val="hidden"/>
                                      </p:to>
                                    </p:set>
                                  </p:childTnLst>
                                </p:cTn>
                              </p:par>
                            </p:childTnLst>
                          </p:cTn>
                        </p:par>
                      </p:childTnLst>
                    </p:cTn>
                  </p:par>
                  <p:par>
                    <p:cTn id="251" fill="hold">
                      <p:stCondLst>
                        <p:cond delay="indefinite"/>
                      </p:stCondLst>
                      <p:childTnLst>
                        <p:par>
                          <p:cTn id="252" fill="hold">
                            <p:stCondLst>
                              <p:cond delay="0"/>
                            </p:stCondLst>
                            <p:childTnLst>
                              <p:par>
                                <p:cTn id="253" presetID="10" presetClass="entr" presetSubtype="0" fill="hold" nodeType="clickEffect">
                                  <p:stCondLst>
                                    <p:cond delay="0"/>
                                  </p:stCondLst>
                                  <p:childTnLst>
                                    <p:set>
                                      <p:cBhvr>
                                        <p:cTn id="254" dur="1" fill="hold">
                                          <p:stCondLst>
                                            <p:cond delay="0"/>
                                          </p:stCondLst>
                                        </p:cTn>
                                        <p:tgtEl>
                                          <p:spTgt spid="215">
                                            <p:txEl>
                                              <p:pRg st="6" end="6"/>
                                            </p:txEl>
                                          </p:spTgt>
                                        </p:tgtEl>
                                        <p:attrNameLst>
                                          <p:attrName>style.visibility</p:attrName>
                                        </p:attrNameLst>
                                      </p:cBhvr>
                                      <p:to>
                                        <p:strVal val="visible"/>
                                      </p:to>
                                    </p:set>
                                    <p:animEffect transition="in" filter="fade">
                                      <p:cBhvr>
                                        <p:cTn id="255" dur="500"/>
                                        <p:tgtEl>
                                          <p:spTgt spid="215">
                                            <p:txEl>
                                              <p:pRg st="6" end="6"/>
                                            </p:txEl>
                                          </p:spTgt>
                                        </p:tgtEl>
                                      </p:cBhvr>
                                    </p:animEffect>
                                  </p:childTnLst>
                                </p:cTn>
                              </p:par>
                              <p:par>
                                <p:cTn id="256" presetID="10" presetClass="entr" presetSubtype="0" fill="hold" grpId="0" nodeType="withEffect">
                                  <p:stCondLst>
                                    <p:cond delay="0"/>
                                  </p:stCondLst>
                                  <p:childTnLst>
                                    <p:set>
                                      <p:cBhvr>
                                        <p:cTn id="257" dur="1" fill="hold">
                                          <p:stCondLst>
                                            <p:cond delay="0"/>
                                          </p:stCondLst>
                                        </p:cTn>
                                        <p:tgtEl>
                                          <p:spTgt spid="190"/>
                                        </p:tgtEl>
                                        <p:attrNameLst>
                                          <p:attrName>style.visibility</p:attrName>
                                        </p:attrNameLst>
                                      </p:cBhvr>
                                      <p:to>
                                        <p:strVal val="visible"/>
                                      </p:to>
                                    </p:set>
                                    <p:animEffect transition="in" filter="fade">
                                      <p:cBhvr>
                                        <p:cTn id="258" dur="500"/>
                                        <p:tgtEl>
                                          <p:spTgt spid="190"/>
                                        </p:tgtEl>
                                      </p:cBhvr>
                                    </p:animEffect>
                                  </p:childTnLst>
                                </p:cTn>
                              </p:par>
                              <p:par>
                                <p:cTn id="259" presetID="10" presetClass="entr" presetSubtype="0" fill="hold" nodeType="withEffect">
                                  <p:stCondLst>
                                    <p:cond delay="0"/>
                                  </p:stCondLst>
                                  <p:childTnLst>
                                    <p:set>
                                      <p:cBhvr>
                                        <p:cTn id="260" dur="1" fill="hold">
                                          <p:stCondLst>
                                            <p:cond delay="0"/>
                                          </p:stCondLst>
                                        </p:cTn>
                                        <p:tgtEl>
                                          <p:spTgt spid="210"/>
                                        </p:tgtEl>
                                        <p:attrNameLst>
                                          <p:attrName>style.visibility</p:attrName>
                                        </p:attrNameLst>
                                      </p:cBhvr>
                                      <p:to>
                                        <p:strVal val="visible"/>
                                      </p:to>
                                    </p:set>
                                    <p:animEffect transition="in" filter="fade">
                                      <p:cBhvr>
                                        <p:cTn id="261" dur="500"/>
                                        <p:tgtEl>
                                          <p:spTgt spid="210"/>
                                        </p:tgtEl>
                                      </p:cBhvr>
                                    </p:animEffect>
                                  </p:childTnLst>
                                </p:cTn>
                              </p:par>
                              <p:par>
                                <p:cTn id="262" presetID="10" presetClass="exit" presetSubtype="0" fill="hold" grpId="1" nodeType="withEffect">
                                  <p:stCondLst>
                                    <p:cond delay="0"/>
                                  </p:stCondLst>
                                  <p:childTnLst>
                                    <p:animEffect transition="out" filter="fade">
                                      <p:cBhvr>
                                        <p:cTn id="263" dur="500"/>
                                        <p:tgtEl>
                                          <p:spTgt spid="189"/>
                                        </p:tgtEl>
                                      </p:cBhvr>
                                    </p:animEffect>
                                    <p:set>
                                      <p:cBhvr>
                                        <p:cTn id="264" dur="1" fill="hold">
                                          <p:stCondLst>
                                            <p:cond delay="499"/>
                                          </p:stCondLst>
                                        </p:cTn>
                                        <p:tgtEl>
                                          <p:spTgt spid="189"/>
                                        </p:tgtEl>
                                        <p:attrNameLst>
                                          <p:attrName>style.visibility</p:attrName>
                                        </p:attrNameLst>
                                      </p:cBhvr>
                                      <p:to>
                                        <p:strVal val="hidden"/>
                                      </p:to>
                                    </p:set>
                                  </p:childTnLst>
                                </p:cTn>
                              </p:par>
                            </p:childTnLst>
                          </p:cTn>
                        </p:par>
                      </p:childTnLst>
                    </p:cTn>
                  </p:par>
                  <p:par>
                    <p:cTn id="265" fill="hold">
                      <p:stCondLst>
                        <p:cond delay="indefinite"/>
                      </p:stCondLst>
                      <p:childTnLst>
                        <p:par>
                          <p:cTn id="266" fill="hold">
                            <p:stCondLst>
                              <p:cond delay="0"/>
                            </p:stCondLst>
                            <p:childTnLst>
                              <p:par>
                                <p:cTn id="267" presetID="10" presetClass="entr" presetSubtype="0" fill="hold" grpId="0" nodeType="clickEffect">
                                  <p:stCondLst>
                                    <p:cond delay="0"/>
                                  </p:stCondLst>
                                  <p:childTnLst>
                                    <p:set>
                                      <p:cBhvr>
                                        <p:cTn id="268" dur="1" fill="hold">
                                          <p:stCondLst>
                                            <p:cond delay="0"/>
                                          </p:stCondLst>
                                        </p:cTn>
                                        <p:tgtEl>
                                          <p:spTgt spid="216"/>
                                        </p:tgtEl>
                                        <p:attrNameLst>
                                          <p:attrName>style.visibility</p:attrName>
                                        </p:attrNameLst>
                                      </p:cBhvr>
                                      <p:to>
                                        <p:strVal val="visible"/>
                                      </p:to>
                                    </p:set>
                                    <p:animEffect transition="in" filter="fade">
                                      <p:cBhvr>
                                        <p:cTn id="269" dur="500"/>
                                        <p:tgtEl>
                                          <p:spTgt spid="216"/>
                                        </p:tgtEl>
                                      </p:cBhvr>
                                    </p:animEffect>
                                  </p:childTnLst>
                                </p:cTn>
                              </p:par>
                              <p:par>
                                <p:cTn id="270" presetID="10" presetClass="entr" presetSubtype="0" fill="hold" grpId="0" nodeType="withEffect">
                                  <p:stCondLst>
                                    <p:cond delay="0"/>
                                  </p:stCondLst>
                                  <p:childTnLst>
                                    <p:set>
                                      <p:cBhvr>
                                        <p:cTn id="271" dur="1" fill="hold">
                                          <p:stCondLst>
                                            <p:cond delay="0"/>
                                          </p:stCondLst>
                                        </p:cTn>
                                        <p:tgtEl>
                                          <p:spTgt spid="217"/>
                                        </p:tgtEl>
                                        <p:attrNameLst>
                                          <p:attrName>style.visibility</p:attrName>
                                        </p:attrNameLst>
                                      </p:cBhvr>
                                      <p:to>
                                        <p:strVal val="visible"/>
                                      </p:to>
                                    </p:set>
                                    <p:animEffect transition="in" filter="fade">
                                      <p:cBhvr>
                                        <p:cTn id="272" dur="500"/>
                                        <p:tgtEl>
                                          <p:spTgt spid="217"/>
                                        </p:tgtEl>
                                      </p:cBhvr>
                                    </p:animEffect>
                                  </p:childTnLst>
                                </p:cTn>
                              </p:par>
                              <p:par>
                                <p:cTn id="273" presetID="10" presetClass="entr" presetSubtype="0" fill="hold" nodeType="withEffect">
                                  <p:stCondLst>
                                    <p:cond delay="0"/>
                                  </p:stCondLst>
                                  <p:childTnLst>
                                    <p:set>
                                      <p:cBhvr>
                                        <p:cTn id="274" dur="1" fill="hold">
                                          <p:stCondLst>
                                            <p:cond delay="0"/>
                                          </p:stCondLst>
                                        </p:cTn>
                                        <p:tgtEl>
                                          <p:spTgt spid="10"/>
                                        </p:tgtEl>
                                        <p:attrNameLst>
                                          <p:attrName>style.visibility</p:attrName>
                                        </p:attrNameLst>
                                      </p:cBhvr>
                                      <p:to>
                                        <p:strVal val="visible"/>
                                      </p:to>
                                    </p:set>
                                    <p:animEffect transition="in" filter="fade">
                                      <p:cBhvr>
                                        <p:cTn id="275" dur="500"/>
                                        <p:tgtEl>
                                          <p:spTgt spid="10"/>
                                        </p:tgtEl>
                                      </p:cBhvr>
                                    </p:animEffect>
                                  </p:childTnLst>
                                </p:cTn>
                              </p:par>
                            </p:childTnLst>
                          </p:cTn>
                        </p:par>
                      </p:childTnLst>
                    </p:cTn>
                  </p:par>
                  <p:par>
                    <p:cTn id="276" fill="hold">
                      <p:stCondLst>
                        <p:cond delay="indefinite"/>
                      </p:stCondLst>
                      <p:childTnLst>
                        <p:par>
                          <p:cTn id="277" fill="hold">
                            <p:stCondLst>
                              <p:cond delay="0"/>
                            </p:stCondLst>
                            <p:childTnLst>
                              <p:par>
                                <p:cTn id="278" presetID="10" presetClass="exit" presetSubtype="0" fill="hold" grpId="1" nodeType="clickEffect">
                                  <p:stCondLst>
                                    <p:cond delay="0"/>
                                  </p:stCondLst>
                                  <p:childTnLst>
                                    <p:animEffect transition="out" filter="fade">
                                      <p:cBhvr>
                                        <p:cTn id="279" dur="500"/>
                                        <p:tgtEl>
                                          <p:spTgt spid="115"/>
                                        </p:tgtEl>
                                      </p:cBhvr>
                                    </p:animEffect>
                                    <p:set>
                                      <p:cBhvr>
                                        <p:cTn id="280" dur="1" fill="hold">
                                          <p:stCondLst>
                                            <p:cond delay="499"/>
                                          </p:stCondLst>
                                        </p:cTn>
                                        <p:tgtEl>
                                          <p:spTgt spid="115"/>
                                        </p:tgtEl>
                                        <p:attrNameLst>
                                          <p:attrName>style.visibility</p:attrName>
                                        </p:attrNameLst>
                                      </p:cBhvr>
                                      <p:to>
                                        <p:strVal val="hidden"/>
                                      </p:to>
                                    </p:set>
                                  </p:childTnLst>
                                </p:cTn>
                              </p:par>
                              <p:par>
                                <p:cTn id="281" presetID="10" presetClass="entr" presetSubtype="0" fill="hold" grpId="0" nodeType="withEffect">
                                  <p:stCondLst>
                                    <p:cond delay="0"/>
                                  </p:stCondLst>
                                  <p:childTnLst>
                                    <p:set>
                                      <p:cBhvr>
                                        <p:cTn id="282" dur="1" fill="hold">
                                          <p:stCondLst>
                                            <p:cond delay="0"/>
                                          </p:stCondLst>
                                        </p:cTn>
                                        <p:tgtEl>
                                          <p:spTgt spid="92"/>
                                        </p:tgtEl>
                                        <p:attrNameLst>
                                          <p:attrName>style.visibility</p:attrName>
                                        </p:attrNameLst>
                                      </p:cBhvr>
                                      <p:to>
                                        <p:strVal val="visible"/>
                                      </p:to>
                                    </p:set>
                                    <p:animEffect transition="in" filter="fade">
                                      <p:cBhvr>
                                        <p:cTn id="283" dur="500"/>
                                        <p:tgtEl>
                                          <p:spTgt spid="92"/>
                                        </p:tgtEl>
                                      </p:cBhvr>
                                    </p:animEffect>
                                  </p:childTnLst>
                                </p:cTn>
                              </p:par>
                              <p:par>
                                <p:cTn id="284" presetID="10" presetClass="entr" presetSubtype="0" fill="hold" grpId="0" nodeType="withEffect">
                                  <p:stCondLst>
                                    <p:cond delay="0"/>
                                  </p:stCondLst>
                                  <p:childTnLst>
                                    <p:set>
                                      <p:cBhvr>
                                        <p:cTn id="285" dur="1" fill="hold">
                                          <p:stCondLst>
                                            <p:cond delay="0"/>
                                          </p:stCondLst>
                                        </p:cTn>
                                        <p:tgtEl>
                                          <p:spTgt spid="224"/>
                                        </p:tgtEl>
                                        <p:attrNameLst>
                                          <p:attrName>style.visibility</p:attrName>
                                        </p:attrNameLst>
                                      </p:cBhvr>
                                      <p:to>
                                        <p:strVal val="visible"/>
                                      </p:to>
                                    </p:set>
                                    <p:animEffect transition="in" filter="fade">
                                      <p:cBhvr>
                                        <p:cTn id="286" dur="500"/>
                                        <p:tgtEl>
                                          <p:spTgt spid="224"/>
                                        </p:tgtEl>
                                      </p:cBhvr>
                                    </p:animEffect>
                                  </p:childTnLst>
                                </p:cTn>
                              </p:par>
                              <p:par>
                                <p:cTn id="287" presetID="10" presetClass="entr" presetSubtype="0" fill="hold" nodeType="withEffect">
                                  <p:stCondLst>
                                    <p:cond delay="0"/>
                                  </p:stCondLst>
                                  <p:childTnLst>
                                    <p:set>
                                      <p:cBhvr>
                                        <p:cTn id="288" dur="1" fill="hold">
                                          <p:stCondLst>
                                            <p:cond delay="0"/>
                                          </p:stCondLst>
                                        </p:cTn>
                                        <p:tgtEl>
                                          <p:spTgt spid="11"/>
                                        </p:tgtEl>
                                        <p:attrNameLst>
                                          <p:attrName>style.visibility</p:attrName>
                                        </p:attrNameLst>
                                      </p:cBhvr>
                                      <p:to>
                                        <p:strVal val="visible"/>
                                      </p:to>
                                    </p:set>
                                    <p:animEffect transition="in" filter="fade">
                                      <p:cBhvr>
                                        <p:cTn id="289" dur="500"/>
                                        <p:tgtEl>
                                          <p:spTgt spid="11"/>
                                        </p:tgtEl>
                                      </p:cBhvr>
                                    </p:animEffect>
                                  </p:childTnLst>
                                </p:cTn>
                              </p:par>
                              <p:par>
                                <p:cTn id="290" presetID="10" presetClass="entr" presetSubtype="0" fill="hold" grpId="0" nodeType="withEffect">
                                  <p:stCondLst>
                                    <p:cond delay="0"/>
                                  </p:stCondLst>
                                  <p:childTnLst>
                                    <p:set>
                                      <p:cBhvr>
                                        <p:cTn id="291" dur="1" fill="hold">
                                          <p:stCondLst>
                                            <p:cond delay="0"/>
                                          </p:stCondLst>
                                        </p:cTn>
                                        <p:tgtEl>
                                          <p:spTgt spid="229"/>
                                        </p:tgtEl>
                                        <p:attrNameLst>
                                          <p:attrName>style.visibility</p:attrName>
                                        </p:attrNameLst>
                                      </p:cBhvr>
                                      <p:to>
                                        <p:strVal val="visible"/>
                                      </p:to>
                                    </p:set>
                                    <p:animEffect transition="in" filter="fade">
                                      <p:cBhvr>
                                        <p:cTn id="292" dur="500"/>
                                        <p:tgtEl>
                                          <p:spTgt spid="229"/>
                                        </p:tgtEl>
                                      </p:cBhvr>
                                    </p:animEffect>
                                  </p:childTnLst>
                                </p:cTn>
                              </p:par>
                            </p:childTnLst>
                          </p:cTn>
                        </p:par>
                      </p:childTnLst>
                    </p:cTn>
                  </p:par>
                  <p:par>
                    <p:cTn id="293" fill="hold">
                      <p:stCondLst>
                        <p:cond delay="indefinite"/>
                      </p:stCondLst>
                      <p:childTnLst>
                        <p:par>
                          <p:cTn id="294" fill="hold">
                            <p:stCondLst>
                              <p:cond delay="0"/>
                            </p:stCondLst>
                            <p:childTnLst>
                              <p:par>
                                <p:cTn id="295" presetID="10" presetClass="exit" presetSubtype="0" fill="hold" grpId="1" nodeType="clickEffect">
                                  <p:stCondLst>
                                    <p:cond delay="0"/>
                                  </p:stCondLst>
                                  <p:childTnLst>
                                    <p:animEffect transition="out" filter="fade">
                                      <p:cBhvr>
                                        <p:cTn id="296" dur="500"/>
                                        <p:tgtEl>
                                          <p:spTgt spid="92"/>
                                        </p:tgtEl>
                                      </p:cBhvr>
                                    </p:animEffect>
                                    <p:set>
                                      <p:cBhvr>
                                        <p:cTn id="297" dur="1" fill="hold">
                                          <p:stCondLst>
                                            <p:cond delay="499"/>
                                          </p:stCondLst>
                                        </p:cTn>
                                        <p:tgtEl>
                                          <p:spTgt spid="92"/>
                                        </p:tgtEl>
                                        <p:attrNameLst>
                                          <p:attrName>style.visibility</p:attrName>
                                        </p:attrNameLst>
                                      </p:cBhvr>
                                      <p:to>
                                        <p:strVal val="hidden"/>
                                      </p:to>
                                    </p:set>
                                  </p:childTnLst>
                                </p:cTn>
                              </p:par>
                              <p:par>
                                <p:cTn id="298" presetID="10" presetClass="entr" presetSubtype="0" fill="hold" grpId="0" nodeType="withEffect">
                                  <p:stCondLst>
                                    <p:cond delay="0"/>
                                  </p:stCondLst>
                                  <p:childTnLst>
                                    <p:set>
                                      <p:cBhvr>
                                        <p:cTn id="299" dur="1" fill="hold">
                                          <p:stCondLst>
                                            <p:cond delay="0"/>
                                          </p:stCondLst>
                                        </p:cTn>
                                        <p:tgtEl>
                                          <p:spTgt spid="234"/>
                                        </p:tgtEl>
                                        <p:attrNameLst>
                                          <p:attrName>style.visibility</p:attrName>
                                        </p:attrNameLst>
                                      </p:cBhvr>
                                      <p:to>
                                        <p:strVal val="visible"/>
                                      </p:to>
                                    </p:set>
                                    <p:animEffect transition="in" filter="fade">
                                      <p:cBhvr>
                                        <p:cTn id="300" dur="500"/>
                                        <p:tgtEl>
                                          <p:spTgt spid="234"/>
                                        </p:tgtEl>
                                      </p:cBhvr>
                                    </p:animEffect>
                                  </p:childTnLst>
                                </p:cTn>
                              </p:par>
                              <p:par>
                                <p:cTn id="301" presetID="10" presetClass="entr" presetSubtype="0" fill="hold" grpId="0" nodeType="withEffect">
                                  <p:stCondLst>
                                    <p:cond delay="0"/>
                                  </p:stCondLst>
                                  <p:childTnLst>
                                    <p:set>
                                      <p:cBhvr>
                                        <p:cTn id="302" dur="1" fill="hold">
                                          <p:stCondLst>
                                            <p:cond delay="0"/>
                                          </p:stCondLst>
                                        </p:cTn>
                                        <p:tgtEl>
                                          <p:spTgt spid="230"/>
                                        </p:tgtEl>
                                        <p:attrNameLst>
                                          <p:attrName>style.visibility</p:attrName>
                                        </p:attrNameLst>
                                      </p:cBhvr>
                                      <p:to>
                                        <p:strVal val="visible"/>
                                      </p:to>
                                    </p:set>
                                    <p:animEffect transition="in" filter="fade">
                                      <p:cBhvr>
                                        <p:cTn id="303" dur="500"/>
                                        <p:tgtEl>
                                          <p:spTgt spid="230"/>
                                        </p:tgtEl>
                                      </p:cBhvr>
                                    </p:animEffect>
                                  </p:childTnLst>
                                </p:cTn>
                              </p:par>
                              <p:par>
                                <p:cTn id="304" presetID="10" presetClass="entr" presetSubtype="0" fill="hold" nodeType="withEffect">
                                  <p:stCondLst>
                                    <p:cond delay="100"/>
                                  </p:stCondLst>
                                  <p:childTnLst>
                                    <p:set>
                                      <p:cBhvr>
                                        <p:cTn id="305" dur="1" fill="hold">
                                          <p:stCondLst>
                                            <p:cond delay="0"/>
                                          </p:stCondLst>
                                        </p:cTn>
                                        <p:tgtEl>
                                          <p:spTgt spid="231"/>
                                        </p:tgtEl>
                                        <p:attrNameLst>
                                          <p:attrName>style.visibility</p:attrName>
                                        </p:attrNameLst>
                                      </p:cBhvr>
                                      <p:to>
                                        <p:strVal val="visible"/>
                                      </p:to>
                                    </p:set>
                                    <p:animEffect transition="in" filter="fade">
                                      <p:cBhvr>
                                        <p:cTn id="306" dur="500"/>
                                        <p:tgtEl>
                                          <p:spTgt spid="231"/>
                                        </p:tgtEl>
                                      </p:cBhvr>
                                    </p:animEffect>
                                  </p:childTnLst>
                                </p:cTn>
                              </p:par>
                            </p:childTnLst>
                          </p:cTn>
                        </p:par>
                      </p:childTnLst>
                    </p:cTn>
                  </p:par>
                  <p:par>
                    <p:cTn id="307" fill="hold">
                      <p:stCondLst>
                        <p:cond delay="indefinite"/>
                      </p:stCondLst>
                      <p:childTnLst>
                        <p:par>
                          <p:cTn id="308" fill="hold">
                            <p:stCondLst>
                              <p:cond delay="0"/>
                            </p:stCondLst>
                            <p:childTnLst>
                              <p:par>
                                <p:cTn id="309" presetID="22" presetClass="entr" presetSubtype="2" fill="hold" grpId="0" nodeType="clickEffect">
                                  <p:stCondLst>
                                    <p:cond delay="0"/>
                                  </p:stCondLst>
                                  <p:childTnLst>
                                    <p:set>
                                      <p:cBhvr>
                                        <p:cTn id="310" dur="1" fill="hold">
                                          <p:stCondLst>
                                            <p:cond delay="0"/>
                                          </p:stCondLst>
                                        </p:cTn>
                                        <p:tgtEl>
                                          <p:spTgt spid="120"/>
                                        </p:tgtEl>
                                        <p:attrNameLst>
                                          <p:attrName>style.visibility</p:attrName>
                                        </p:attrNameLst>
                                      </p:cBhvr>
                                      <p:to>
                                        <p:strVal val="visible"/>
                                      </p:to>
                                    </p:set>
                                    <p:animEffect transition="in" filter="wipe(right)">
                                      <p:cBhvr>
                                        <p:cTn id="311"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01" grpId="1"/>
      <p:bldP spid="8" grpId="0" animBg="1"/>
      <p:bldP spid="8" grpId="1" animBg="1"/>
      <p:bldP spid="8" grpId="2" animBg="1"/>
      <p:bldP spid="8" grpId="3" animBg="1"/>
      <p:bldP spid="9" grpId="0"/>
      <p:bldP spid="9" grpId="1"/>
      <p:bldP spid="113" grpId="0"/>
      <p:bldP spid="113" grpId="1"/>
      <p:bldP spid="114" grpId="0"/>
      <p:bldP spid="114" grpId="1"/>
      <p:bldP spid="115" grpId="0"/>
      <p:bldP spid="115" grpId="1"/>
      <p:bldP spid="92" grpId="0"/>
      <p:bldP spid="92" grpId="1"/>
      <p:bldP spid="151" grpId="0" animBg="1"/>
      <p:bldP spid="151" grpId="1" animBg="1"/>
      <p:bldP spid="152" grpId="0" animBg="1"/>
      <p:bldP spid="152" grpId="1" animBg="1"/>
      <p:bldP spid="153" grpId="0" animBg="1"/>
      <p:bldP spid="153" grpId="1" animBg="1"/>
      <p:bldP spid="154" grpId="0" animBg="1"/>
      <p:bldP spid="154" grpId="1" animBg="1"/>
      <p:bldP spid="155" grpId="0" animBg="1"/>
      <p:bldP spid="155" grpId="1" animBg="1"/>
      <p:bldP spid="156" grpId="0" animBg="1"/>
      <p:bldP spid="161" grpId="0" animBg="1"/>
      <p:bldP spid="6" grpId="0" animBg="1"/>
      <p:bldP spid="185" grpId="0" animBg="1"/>
      <p:bldP spid="185" grpId="1" animBg="1"/>
      <p:bldP spid="186" grpId="0" animBg="1"/>
      <p:bldP spid="186" grpId="1" animBg="1"/>
      <p:bldP spid="187" grpId="0" animBg="1"/>
      <p:bldP spid="187" grpId="1" animBg="1"/>
      <p:bldP spid="188" grpId="0" animBg="1"/>
      <p:bldP spid="188" grpId="1" animBg="1"/>
      <p:bldP spid="189" grpId="0" animBg="1"/>
      <p:bldP spid="189" grpId="1" animBg="1"/>
      <p:bldP spid="190" grpId="0" animBg="1"/>
      <p:bldP spid="209" grpId="0" animBg="1"/>
      <p:bldP spid="216" grpId="0" animBg="1"/>
      <p:bldP spid="217" grpId="0"/>
      <p:bldP spid="224" grpId="0" animBg="1"/>
      <p:bldP spid="229" grpId="0"/>
      <p:bldP spid="230" grpId="0" animBg="1"/>
      <p:bldP spid="234" grpId="0"/>
      <p:bldP spid="120" grpId="0" animBg="1"/>
      <p:bldP spid="120" grpId="1"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 y="487"/>
            <a:ext cx="3599078" cy="685703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4" name="Rectangle 13"/>
          <p:cNvSpPr/>
          <p:nvPr/>
        </p:nvSpPr>
        <p:spPr bwMode="auto">
          <a:xfrm>
            <a:off x="180157" y="487"/>
            <a:ext cx="12011844" cy="99466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spc="-29" dirty="0">
                <a:gradFill>
                  <a:gsLst>
                    <a:gs pos="77876">
                      <a:srgbClr val="0072C6"/>
                    </a:gs>
                    <a:gs pos="36283">
                      <a:srgbClr val="0072C6"/>
                    </a:gs>
                  </a:gsLst>
                  <a:lin ang="5400000" scaled="0"/>
                </a:gradFill>
              </a:rPr>
              <a:t>Experience 2A | Infrastructure Management</a:t>
            </a:r>
          </a:p>
          <a:p>
            <a:pPr indent="-169599" defTabSz="897084" fontAlgn="base">
              <a:lnSpc>
                <a:spcPct val="90000"/>
              </a:lnSpc>
              <a:spcBef>
                <a:spcPct val="0"/>
              </a:spcBef>
              <a:spcAft>
                <a:spcPct val="0"/>
              </a:spcAft>
            </a:pPr>
            <a:r>
              <a:rPr lang="en-US" sz="3529" spc="-49" dirty="0">
                <a:gradFill>
                  <a:gsLst>
                    <a:gs pos="93805">
                      <a:srgbClr val="191919"/>
                    </a:gs>
                    <a:gs pos="84071">
                      <a:srgbClr val="191919"/>
                    </a:gs>
                  </a:gsLst>
                  <a:lin ang="5400000" scaled="0"/>
                </a:gradFill>
                <a:latin typeface="Segoe UI Light"/>
              </a:rPr>
              <a:t>Service delivery</a:t>
            </a:r>
          </a:p>
        </p:txBody>
      </p:sp>
      <p:sp>
        <p:nvSpPr>
          <p:cNvPr id="20" name="Rectangle 19"/>
          <p:cNvSpPr/>
          <p:nvPr/>
        </p:nvSpPr>
        <p:spPr bwMode="auto">
          <a:xfrm>
            <a:off x="312163" y="1652661"/>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A. Self-service</a:t>
            </a:r>
          </a:p>
          <a:p>
            <a:pPr defTabSz="877449" fontAlgn="base">
              <a:lnSpc>
                <a:spcPct val="90000"/>
              </a:lnSpc>
              <a:spcBef>
                <a:spcPct val="0"/>
              </a:spcBef>
              <a:spcAft>
                <a:spcPct val="0"/>
              </a:spcAft>
              <a:defRPr/>
            </a:pPr>
            <a:endParaRPr lang="en-US" sz="588"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Centralize your processes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and controls for operational efficiency</a:t>
            </a:r>
          </a:p>
        </p:txBody>
      </p:sp>
      <p:sp>
        <p:nvSpPr>
          <p:cNvPr id="21" name="Rectangle 20"/>
          <p:cNvSpPr/>
          <p:nvPr/>
        </p:nvSpPr>
        <p:spPr bwMode="auto">
          <a:xfrm>
            <a:off x="312163" y="3238643"/>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B. Automation</a:t>
            </a: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Provides a consistent approach to management across clouds with workflow automation</a:t>
            </a:r>
          </a:p>
        </p:txBody>
      </p:sp>
      <p:sp>
        <p:nvSpPr>
          <p:cNvPr id="22" name="TextBox 21"/>
          <p:cNvSpPr txBox="1"/>
          <p:nvPr/>
        </p:nvSpPr>
        <p:spPr>
          <a:xfrm>
            <a:off x="3911241" y="1652661"/>
            <a:ext cx="8263527" cy="3521067"/>
          </a:xfrm>
          <a:prstGeom prst="rect">
            <a:avLst/>
          </a:prstGeom>
          <a:noFill/>
        </p:spPr>
        <p:txBody>
          <a:bodyPr wrap="square" lIns="179253" tIns="143402" rIns="179253" bIns="143402" rtlCol="0">
            <a:spAutoFit/>
          </a:bodyPr>
          <a:lstStyle/>
          <a:p>
            <a:pPr defTabSz="914367">
              <a:lnSpc>
                <a:spcPct val="90000"/>
              </a:lnSpc>
              <a:spcAft>
                <a:spcPts val="588"/>
              </a:spcAft>
            </a:pPr>
            <a:r>
              <a:rPr lang="en-US" sz="3529" dirty="0">
                <a:gradFill>
                  <a:gsLst>
                    <a:gs pos="77876">
                      <a:srgbClr val="0072C6"/>
                    </a:gs>
                    <a:gs pos="36283">
                      <a:srgbClr val="0072C6"/>
                    </a:gs>
                  </a:gsLst>
                </a:gradFill>
                <a:latin typeface="Segoe UI Light"/>
              </a:rPr>
              <a:t>E2A Scenarios: </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Cloud requests and </a:t>
            </a:r>
            <a:r>
              <a:rPr lang="en-US" sz="2745" dirty="0" smtClean="0">
                <a:gradFill>
                  <a:gsLst>
                    <a:gs pos="2917">
                      <a:srgbClr val="505050"/>
                    </a:gs>
                    <a:gs pos="30000">
                      <a:srgbClr val="505050"/>
                    </a:gs>
                  </a:gsLst>
                  <a:lin ang="5400000" scaled="0"/>
                </a:gradFill>
                <a:latin typeface="Segoe UI Light"/>
              </a:rPr>
              <a:t>management</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Service Administration</a:t>
            </a:r>
            <a:endParaRPr lang="en-US" sz="2745" dirty="0">
              <a:gradFill>
                <a:gsLst>
                  <a:gs pos="2917">
                    <a:srgbClr val="505050"/>
                  </a:gs>
                  <a:gs pos="30000">
                    <a:srgbClr val="505050"/>
                  </a:gs>
                </a:gsLst>
                <a:lin ang="5400000" scaled="0"/>
              </a:gradFill>
              <a:latin typeface="Segoe UI Light"/>
            </a:endParaRP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End user cloud management</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Creating a boundary-less datacenter</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Deploy Dev/Test environment in Microsoft Azure</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Seamless VM mobility across clouds</a:t>
            </a:r>
          </a:p>
        </p:txBody>
      </p:sp>
      <p:sp>
        <p:nvSpPr>
          <p:cNvPr id="23" name="TextBox 22"/>
          <p:cNvSpPr txBox="1"/>
          <p:nvPr/>
        </p:nvSpPr>
        <p:spPr>
          <a:xfrm>
            <a:off x="0" y="5151015"/>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5310">
                      <a:srgbClr val="FFFFFF"/>
                    </a:gs>
                    <a:gs pos="36283">
                      <a:srgbClr val="FFFFFF"/>
                    </a:gs>
                  </a:gsLst>
                  <a:lin ang="0" scaled="0"/>
                </a:gradFill>
                <a:latin typeface="Segoe UI Light"/>
              </a:rPr>
              <a:t>30 minutes to complete this story—do not proceed to the next story</a:t>
            </a:r>
          </a:p>
        </p:txBody>
      </p:sp>
      <p:sp>
        <p:nvSpPr>
          <p:cNvPr id="24" name="TextBox 23"/>
          <p:cNvSpPr txBox="1"/>
          <p:nvPr/>
        </p:nvSpPr>
        <p:spPr>
          <a:xfrm>
            <a:off x="0" y="5922550"/>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5310">
                      <a:srgbClr val="FFFFFF"/>
                    </a:gs>
                    <a:gs pos="36283">
                      <a:srgbClr val="FFFFFF"/>
                    </a:gs>
                  </a:gsLst>
                  <a:lin ang="0" scaled="0"/>
                </a:gradFill>
                <a:latin typeface="Segoe UI Light"/>
              </a:rPr>
              <a:t>Q &amp; A @ 30 minutes</a:t>
            </a:r>
          </a:p>
        </p:txBody>
      </p:sp>
      <p:sp>
        <p:nvSpPr>
          <p:cNvPr id="25" name="Rectangle 24"/>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26" name="Rectangle 25"/>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7" name="Rectangle 26"/>
          <p:cNvSpPr/>
          <p:nvPr/>
        </p:nvSpPr>
        <p:spPr bwMode="auto">
          <a:xfrm>
            <a:off x="1" y="3430570"/>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8" name="Rectangle 27"/>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p>
        </p:txBody>
      </p:sp>
      <p:sp>
        <p:nvSpPr>
          <p:cNvPr id="29" name="Rectangle 28"/>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94186847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26"/>
                                        </p:tgtEl>
                                        <p:attrNameLst>
                                          <p:attrName>ppt_x</p:attrName>
                                        </p:attrNameLst>
                                      </p:cBhvr>
                                      <p:tavLst>
                                        <p:tav tm="0">
                                          <p:val>
                                            <p:strVal val="ppt_x"/>
                                          </p:val>
                                        </p:tav>
                                        <p:tav tm="100000">
                                          <p:val>
                                            <p:strVal val="0-ppt_w/2"/>
                                          </p:val>
                                        </p:tav>
                                      </p:tavLst>
                                    </p:anim>
                                    <p:anim calcmode="lin" valueType="num">
                                      <p:cBhvr additive="base">
                                        <p:cTn id="7" dur="200"/>
                                        <p:tgtEl>
                                          <p:spTgt spid="26"/>
                                        </p:tgtEl>
                                        <p:attrNameLst>
                                          <p:attrName>ppt_y</p:attrName>
                                        </p:attrNameLst>
                                      </p:cBhvr>
                                      <p:tavLst>
                                        <p:tav tm="0">
                                          <p:val>
                                            <p:strVal val="ppt_y"/>
                                          </p:val>
                                        </p:tav>
                                        <p:tav tm="100000">
                                          <p:val>
                                            <p:strVal val="ppt_y"/>
                                          </p:val>
                                        </p:tav>
                                      </p:tavLst>
                                    </p:anim>
                                    <p:set>
                                      <p:cBhvr>
                                        <p:cTn id="8" dur="1" fill="hold">
                                          <p:stCondLst>
                                            <p:cond delay="199"/>
                                          </p:stCondLst>
                                        </p:cTn>
                                        <p:tgtEl>
                                          <p:spTgt spid="26"/>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200"/>
                                        <p:tgtEl>
                                          <p:spTgt spid="25"/>
                                        </p:tgtEl>
                                        <p:attrNameLst>
                                          <p:attrName>ppt_x</p:attrName>
                                        </p:attrNameLst>
                                      </p:cBhvr>
                                      <p:tavLst>
                                        <p:tav tm="0">
                                          <p:val>
                                            <p:strVal val="ppt_x"/>
                                          </p:val>
                                        </p:tav>
                                        <p:tav tm="100000">
                                          <p:val>
                                            <p:strVal val="0-ppt_w/2"/>
                                          </p:val>
                                        </p:tav>
                                      </p:tavLst>
                                    </p:anim>
                                    <p:anim calcmode="lin" valueType="num">
                                      <p:cBhvr additive="base">
                                        <p:cTn id="11" dur="200"/>
                                        <p:tgtEl>
                                          <p:spTgt spid="25"/>
                                        </p:tgtEl>
                                        <p:attrNameLst>
                                          <p:attrName>ppt_y</p:attrName>
                                        </p:attrNameLst>
                                      </p:cBhvr>
                                      <p:tavLst>
                                        <p:tav tm="0">
                                          <p:val>
                                            <p:strVal val="ppt_y"/>
                                          </p:val>
                                        </p:tav>
                                        <p:tav tm="100000">
                                          <p:val>
                                            <p:strVal val="ppt_y"/>
                                          </p:val>
                                        </p:tav>
                                      </p:tavLst>
                                    </p:anim>
                                    <p:set>
                                      <p:cBhvr>
                                        <p:cTn id="12" dur="1" fill="hold">
                                          <p:stCondLst>
                                            <p:cond delay="199"/>
                                          </p:stCondLst>
                                        </p:cTn>
                                        <p:tgtEl>
                                          <p:spTgt spid="25"/>
                                        </p:tgtEl>
                                        <p:attrNameLst>
                                          <p:attrName>style.visibility</p:attrName>
                                        </p:attrNameLst>
                                      </p:cBhvr>
                                      <p:to>
                                        <p:strVal val="hidden"/>
                                      </p:to>
                                    </p:set>
                                  </p:childTnLst>
                                </p:cTn>
                              </p:par>
                              <p:par>
                                <p:cTn id="13" presetID="2" presetClass="exit" presetSubtype="8" fill="hold" grpId="0" nodeType="withEffect">
                                  <p:stCondLst>
                                    <p:cond delay="100"/>
                                  </p:stCondLst>
                                  <p:childTnLst>
                                    <p:anim calcmode="lin" valueType="num">
                                      <p:cBhvr additive="base">
                                        <p:cTn id="14" dur="200"/>
                                        <p:tgtEl>
                                          <p:spTgt spid="27"/>
                                        </p:tgtEl>
                                        <p:attrNameLst>
                                          <p:attrName>ppt_x</p:attrName>
                                        </p:attrNameLst>
                                      </p:cBhvr>
                                      <p:tavLst>
                                        <p:tav tm="0">
                                          <p:val>
                                            <p:strVal val="ppt_x"/>
                                          </p:val>
                                        </p:tav>
                                        <p:tav tm="100000">
                                          <p:val>
                                            <p:strVal val="0-ppt_w/2"/>
                                          </p:val>
                                        </p:tav>
                                      </p:tavLst>
                                    </p:anim>
                                    <p:anim calcmode="lin" valueType="num">
                                      <p:cBhvr additive="base">
                                        <p:cTn id="15" dur="200"/>
                                        <p:tgtEl>
                                          <p:spTgt spid="27"/>
                                        </p:tgtEl>
                                        <p:attrNameLst>
                                          <p:attrName>ppt_y</p:attrName>
                                        </p:attrNameLst>
                                      </p:cBhvr>
                                      <p:tavLst>
                                        <p:tav tm="0">
                                          <p:val>
                                            <p:strVal val="ppt_y"/>
                                          </p:val>
                                        </p:tav>
                                        <p:tav tm="100000">
                                          <p:val>
                                            <p:strVal val="ppt_y"/>
                                          </p:val>
                                        </p:tav>
                                      </p:tavLst>
                                    </p:anim>
                                    <p:set>
                                      <p:cBhvr>
                                        <p:cTn id="16" dur="1" fill="hold">
                                          <p:stCondLst>
                                            <p:cond delay="199"/>
                                          </p:stCondLst>
                                        </p:cTn>
                                        <p:tgtEl>
                                          <p:spTgt spid="27"/>
                                        </p:tgtEl>
                                        <p:attrNameLst>
                                          <p:attrName>style.visibility</p:attrName>
                                        </p:attrNameLst>
                                      </p:cBhvr>
                                      <p:to>
                                        <p:strVal val="hidden"/>
                                      </p:to>
                                    </p:set>
                                  </p:childTnLst>
                                </p:cTn>
                              </p:par>
                              <p:par>
                                <p:cTn id="17" presetID="2" presetClass="exit" presetSubtype="8" fill="hold" grpId="0" nodeType="withEffect">
                                  <p:stCondLst>
                                    <p:cond delay="200"/>
                                  </p:stCondLst>
                                  <p:childTnLst>
                                    <p:anim calcmode="lin" valueType="num">
                                      <p:cBhvr additive="base">
                                        <p:cTn id="18" dur="200"/>
                                        <p:tgtEl>
                                          <p:spTgt spid="28"/>
                                        </p:tgtEl>
                                        <p:attrNameLst>
                                          <p:attrName>ppt_x</p:attrName>
                                        </p:attrNameLst>
                                      </p:cBhvr>
                                      <p:tavLst>
                                        <p:tav tm="0">
                                          <p:val>
                                            <p:strVal val="ppt_x"/>
                                          </p:val>
                                        </p:tav>
                                        <p:tav tm="100000">
                                          <p:val>
                                            <p:strVal val="0-ppt_w/2"/>
                                          </p:val>
                                        </p:tav>
                                      </p:tavLst>
                                    </p:anim>
                                    <p:anim calcmode="lin" valueType="num">
                                      <p:cBhvr additive="base">
                                        <p:cTn id="19" dur="200"/>
                                        <p:tgtEl>
                                          <p:spTgt spid="28"/>
                                        </p:tgtEl>
                                        <p:attrNameLst>
                                          <p:attrName>ppt_y</p:attrName>
                                        </p:attrNameLst>
                                      </p:cBhvr>
                                      <p:tavLst>
                                        <p:tav tm="0">
                                          <p:val>
                                            <p:strVal val="ppt_y"/>
                                          </p:val>
                                        </p:tav>
                                        <p:tav tm="100000">
                                          <p:val>
                                            <p:strVal val="ppt_y"/>
                                          </p:val>
                                        </p:tav>
                                      </p:tavLst>
                                    </p:anim>
                                    <p:set>
                                      <p:cBhvr>
                                        <p:cTn id="20" dur="1" fill="hold">
                                          <p:stCondLst>
                                            <p:cond delay="199"/>
                                          </p:stCondLst>
                                        </p:cTn>
                                        <p:tgtEl>
                                          <p:spTgt spid="28"/>
                                        </p:tgtEl>
                                        <p:attrNameLst>
                                          <p:attrName>style.visibility</p:attrName>
                                        </p:attrNameLst>
                                      </p:cBhvr>
                                      <p:to>
                                        <p:strVal val="hidden"/>
                                      </p:to>
                                    </p:set>
                                  </p:childTnLst>
                                </p:cTn>
                              </p:par>
                              <p:par>
                                <p:cTn id="21" presetID="2" presetClass="exit" presetSubtype="8" fill="hold" grpId="0" nodeType="withEffect">
                                  <p:stCondLst>
                                    <p:cond delay="300"/>
                                  </p:stCondLst>
                                  <p:childTnLst>
                                    <p:anim calcmode="lin" valueType="num">
                                      <p:cBhvr additive="base">
                                        <p:cTn id="22" dur="200"/>
                                        <p:tgtEl>
                                          <p:spTgt spid="29"/>
                                        </p:tgtEl>
                                        <p:attrNameLst>
                                          <p:attrName>ppt_x</p:attrName>
                                        </p:attrNameLst>
                                      </p:cBhvr>
                                      <p:tavLst>
                                        <p:tav tm="0">
                                          <p:val>
                                            <p:strVal val="ppt_x"/>
                                          </p:val>
                                        </p:tav>
                                        <p:tav tm="100000">
                                          <p:val>
                                            <p:strVal val="0-ppt_w/2"/>
                                          </p:val>
                                        </p:tav>
                                      </p:tavLst>
                                    </p:anim>
                                    <p:anim calcmode="lin" valueType="num">
                                      <p:cBhvr additive="base">
                                        <p:cTn id="23" dur="200"/>
                                        <p:tgtEl>
                                          <p:spTgt spid="29"/>
                                        </p:tgtEl>
                                        <p:attrNameLst>
                                          <p:attrName>ppt_y</p:attrName>
                                        </p:attrNameLst>
                                      </p:cBhvr>
                                      <p:tavLst>
                                        <p:tav tm="0">
                                          <p:val>
                                            <p:strVal val="ppt_y"/>
                                          </p:val>
                                        </p:tav>
                                        <p:tav tm="100000">
                                          <p:val>
                                            <p:strVal val="ppt_y"/>
                                          </p:val>
                                        </p:tav>
                                      </p:tavLst>
                                    </p:anim>
                                    <p:set>
                                      <p:cBhvr>
                                        <p:cTn id="24" dur="1" fill="hold">
                                          <p:stCondLst>
                                            <p:cond delay="199"/>
                                          </p:stCondLst>
                                        </p:cTn>
                                        <p:tgtEl>
                                          <p:spTgt spid="29"/>
                                        </p:tgtEl>
                                        <p:attrNameLst>
                                          <p:attrName>style.visibility</p:attrName>
                                        </p:attrNameLst>
                                      </p:cBhvr>
                                      <p:to>
                                        <p:strVal val="hidden"/>
                                      </p:to>
                                    </p:set>
                                  </p:childTnLst>
                                </p:cTn>
                              </p:par>
                              <p:par>
                                <p:cTn id="25" presetID="2" presetClass="entr" presetSubtype="8" decel="100000" fill="hold" grpId="0" nodeType="withEffect">
                                  <p:stCondLst>
                                    <p:cond delay="6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800" fill="hold"/>
                                        <p:tgtEl>
                                          <p:spTgt spid="13"/>
                                        </p:tgtEl>
                                        <p:attrNameLst>
                                          <p:attrName>ppt_x</p:attrName>
                                        </p:attrNameLst>
                                      </p:cBhvr>
                                      <p:tavLst>
                                        <p:tav tm="0">
                                          <p:val>
                                            <p:strVal val="0-#ppt_w/2"/>
                                          </p:val>
                                        </p:tav>
                                        <p:tav tm="100000">
                                          <p:val>
                                            <p:strVal val="#ppt_x"/>
                                          </p:val>
                                        </p:tav>
                                      </p:tavLst>
                                    </p:anim>
                                    <p:anim calcmode="lin" valueType="num">
                                      <p:cBhvr additive="base">
                                        <p:cTn id="28" dur="8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6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800" fill="hold"/>
                                        <p:tgtEl>
                                          <p:spTgt spid="14"/>
                                        </p:tgtEl>
                                        <p:attrNameLst>
                                          <p:attrName>ppt_x</p:attrName>
                                        </p:attrNameLst>
                                      </p:cBhvr>
                                      <p:tavLst>
                                        <p:tav tm="0">
                                          <p:val>
                                            <p:strVal val="0-#ppt_w/2"/>
                                          </p:val>
                                        </p:tav>
                                        <p:tav tm="100000">
                                          <p:val>
                                            <p:strVal val="#ppt_x"/>
                                          </p:val>
                                        </p:tav>
                                      </p:tavLst>
                                    </p:anim>
                                    <p:anim calcmode="lin" valueType="num">
                                      <p:cBhvr additive="base">
                                        <p:cTn id="32" dur="800" fill="hold"/>
                                        <p:tgtEl>
                                          <p:spTgt spid="14"/>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600" fill="hold"/>
                                        <p:tgtEl>
                                          <p:spTgt spid="20"/>
                                        </p:tgtEl>
                                        <p:attrNameLst>
                                          <p:attrName>ppt_x</p:attrName>
                                        </p:attrNameLst>
                                      </p:cBhvr>
                                      <p:tavLst>
                                        <p:tav tm="0">
                                          <p:val>
                                            <p:strVal val="1+#ppt_w/2"/>
                                          </p:val>
                                        </p:tav>
                                        <p:tav tm="100000">
                                          <p:val>
                                            <p:strVal val="#ppt_x"/>
                                          </p:val>
                                        </p:tav>
                                      </p:tavLst>
                                    </p:anim>
                                    <p:anim calcmode="lin" valueType="num">
                                      <p:cBhvr additive="base">
                                        <p:cTn id="36" dur="6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185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600" fill="hold"/>
                                        <p:tgtEl>
                                          <p:spTgt spid="21"/>
                                        </p:tgtEl>
                                        <p:attrNameLst>
                                          <p:attrName>ppt_x</p:attrName>
                                        </p:attrNameLst>
                                      </p:cBhvr>
                                      <p:tavLst>
                                        <p:tav tm="0">
                                          <p:val>
                                            <p:strVal val="1+#ppt_w/2"/>
                                          </p:val>
                                        </p:tav>
                                        <p:tav tm="100000">
                                          <p:val>
                                            <p:strVal val="#ppt_x"/>
                                          </p:val>
                                        </p:tav>
                                      </p:tavLst>
                                    </p:anim>
                                    <p:anim calcmode="lin" valueType="num">
                                      <p:cBhvr additive="base">
                                        <p:cTn id="40" dur="600" fill="hold"/>
                                        <p:tgtEl>
                                          <p:spTgt spid="21"/>
                                        </p:tgtEl>
                                        <p:attrNameLst>
                                          <p:attrName>ppt_y</p:attrName>
                                        </p:attrNameLst>
                                      </p:cBhvr>
                                      <p:tavLst>
                                        <p:tav tm="0">
                                          <p:val>
                                            <p:strVal val="#ppt_y"/>
                                          </p:val>
                                        </p:tav>
                                        <p:tav tm="100000">
                                          <p:val>
                                            <p:strVal val="#ppt_y"/>
                                          </p:val>
                                        </p:tav>
                                      </p:tavLst>
                                    </p:anim>
                                  </p:childTnLst>
                                </p:cTn>
                              </p:par>
                            </p:childTnLst>
                          </p:cTn>
                        </p:par>
                        <p:par>
                          <p:cTn id="41" fill="hold">
                            <p:stCondLst>
                              <p:cond delay="2450"/>
                            </p:stCondLst>
                            <p:childTnLst>
                              <p:par>
                                <p:cTn id="42" presetID="1" presetClass="emph" presetSubtype="2" fill="hold" nodeType="afterEffect">
                                  <p:stCondLst>
                                    <p:cond delay="0"/>
                                  </p:stCondLst>
                                  <p:childTnLst>
                                    <p:animClr clrSpc="rgb" dir="cw">
                                      <p:cBhvr>
                                        <p:cTn id="43" dur="1000" fill="hold"/>
                                        <p:tgtEl>
                                          <p:spTgt spid="20"/>
                                        </p:tgtEl>
                                        <p:attrNameLst>
                                          <p:attrName>fillcolor</p:attrName>
                                        </p:attrNameLst>
                                      </p:cBhvr>
                                      <p:to>
                                        <a:srgbClr val="0072C6"/>
                                      </p:to>
                                    </p:animClr>
                                    <p:set>
                                      <p:cBhvr>
                                        <p:cTn id="44" dur="1000" fill="hold"/>
                                        <p:tgtEl>
                                          <p:spTgt spid="20"/>
                                        </p:tgtEl>
                                        <p:attrNameLst>
                                          <p:attrName>fill.type</p:attrName>
                                        </p:attrNameLst>
                                      </p:cBhvr>
                                      <p:to>
                                        <p:strVal val="solid"/>
                                      </p:to>
                                    </p:set>
                                    <p:set>
                                      <p:cBhvr>
                                        <p:cTn id="45" dur="1000" fill="hold"/>
                                        <p:tgtEl>
                                          <p:spTgt spid="20"/>
                                        </p:tgtEl>
                                        <p:attrNameLst>
                                          <p:attrName>fill.on</p:attrName>
                                        </p:attrNameLst>
                                      </p:cBhvr>
                                      <p:to>
                                        <p:strVal val="true"/>
                                      </p:to>
                                    </p:set>
                                  </p:childTnLst>
                                </p:cTn>
                              </p:par>
                              <p:par>
                                <p:cTn id="46" presetID="3" presetClass="emph" presetSubtype="2" fill="hold" grpId="1" nodeType="withEffect">
                                  <p:stCondLst>
                                    <p:cond delay="0"/>
                                  </p:stCondLst>
                                  <p:childTnLst>
                                    <p:animClr clrSpc="rgb" dir="cw">
                                      <p:cBhvr override="childStyle">
                                        <p:cTn id="47" dur="500" fill="hold"/>
                                        <p:tgtEl>
                                          <p:spTgt spid="20"/>
                                        </p:tgtEl>
                                        <p:attrNameLst>
                                          <p:attrName>style.color</p:attrName>
                                        </p:attrNameLst>
                                      </p:cBhvr>
                                      <p:to>
                                        <a:srgbClr val="FFFFFF"/>
                                      </p:to>
                                    </p:animClr>
                                  </p:childTnLst>
                                </p:cTn>
                              </p:par>
                            </p:childTnLst>
                          </p:cTn>
                        </p:par>
                        <p:par>
                          <p:cTn id="48" fill="hold">
                            <p:stCondLst>
                              <p:cond delay="3450"/>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par>
                          <p:cTn id="52" fill="hold">
                            <p:stCondLst>
                              <p:cond delay="3950"/>
                            </p:stCondLst>
                            <p:childTnLst>
                              <p:par>
                                <p:cTn id="53" presetID="2" presetClass="entr" presetSubtype="8" decel="10000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700" fill="hold"/>
                                        <p:tgtEl>
                                          <p:spTgt spid="23"/>
                                        </p:tgtEl>
                                        <p:attrNameLst>
                                          <p:attrName>ppt_x</p:attrName>
                                        </p:attrNameLst>
                                      </p:cBhvr>
                                      <p:tavLst>
                                        <p:tav tm="0">
                                          <p:val>
                                            <p:strVal val="0-#ppt_w/2"/>
                                          </p:val>
                                        </p:tav>
                                        <p:tav tm="100000">
                                          <p:val>
                                            <p:strVal val="#ppt_x"/>
                                          </p:val>
                                        </p:tav>
                                      </p:tavLst>
                                    </p:anim>
                                    <p:anim calcmode="lin" valueType="num">
                                      <p:cBhvr additive="base">
                                        <p:cTn id="56" dur="700" fill="hold"/>
                                        <p:tgtEl>
                                          <p:spTgt spid="23"/>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10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700" fill="hold"/>
                                        <p:tgtEl>
                                          <p:spTgt spid="24"/>
                                        </p:tgtEl>
                                        <p:attrNameLst>
                                          <p:attrName>ppt_x</p:attrName>
                                        </p:attrNameLst>
                                      </p:cBhvr>
                                      <p:tavLst>
                                        <p:tav tm="0">
                                          <p:val>
                                            <p:strVal val="0-#ppt_w/2"/>
                                          </p:val>
                                        </p:tav>
                                        <p:tav tm="100000">
                                          <p:val>
                                            <p:strVal val="#ppt_x"/>
                                          </p:val>
                                        </p:tav>
                                      </p:tavLst>
                                    </p:anim>
                                    <p:anim calcmode="lin" valueType="num">
                                      <p:cBhvr additive="base">
                                        <p:cTn id="60" dur="7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20" grpId="0" animBg="1"/>
      <p:bldP spid="20" grpId="1" animBg="1"/>
      <p:bldP spid="21" grpId="0" animBg="1"/>
      <p:bldP spid="22" grpId="0"/>
      <p:bldP spid="23" grpId="0" animBg="1"/>
      <p:bldP spid="24" grpId="0" animBg="1"/>
      <p:bldP spid="25" grpId="0" animBg="1"/>
      <p:bldP spid="26" grpId="0" animBg="1"/>
      <p:bldP spid="27" grpId="0" animBg="1"/>
      <p:bldP spid="28" grpId="0" animBg="1"/>
      <p:bldP spid="29"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168707" y="297134"/>
            <a:ext cx="11023292" cy="1519324"/>
            <a:chOff x="1192142" y="302595"/>
            <a:chExt cx="11244332" cy="1549790"/>
          </a:xfrm>
        </p:grpSpPr>
        <p:sp>
          <p:nvSpPr>
            <p:cNvPr id="39" name="Rectangle 38"/>
            <p:cNvSpPr/>
            <p:nvPr/>
          </p:nvSpPr>
          <p:spPr bwMode="auto">
            <a:xfrm>
              <a:off x="1192143" y="302595"/>
              <a:ext cx="7559971" cy="1006754"/>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nvGrpSpPr>
            <p:cNvPr id="44" name="brad"/>
            <p:cNvGrpSpPr/>
            <p:nvPr/>
          </p:nvGrpSpPr>
          <p:grpSpPr>
            <a:xfrm>
              <a:off x="1192144" y="303513"/>
              <a:ext cx="787179" cy="1005840"/>
              <a:chOff x="1192144" y="303543"/>
              <a:chExt cx="787179" cy="1005840"/>
            </a:xfrm>
          </p:grpSpPr>
          <p:sp>
            <p:nvSpPr>
              <p:cNvPr id="45" name="Rectangle 44"/>
              <p:cNvSpPr/>
              <p:nvPr/>
            </p:nvSpPr>
            <p:spPr bwMode="auto">
              <a:xfrm>
                <a:off x="1192144" y="303543"/>
                <a:ext cx="787179" cy="100584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Brad</a:t>
                </a:r>
              </a:p>
            </p:txBody>
          </p:sp>
          <p:sp>
            <p:nvSpPr>
              <p:cNvPr id="46" name="Isosceles Triangle 45"/>
              <p:cNvSpPr/>
              <p:nvPr/>
            </p:nvSpPr>
            <p:spPr bwMode="auto">
              <a:xfrm rot="16200000">
                <a:off x="1857948" y="1142133"/>
                <a:ext cx="150281" cy="92468"/>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pic>
            <p:nvPicPr>
              <p:cNvPr id="47"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53980" t="26521" r="28993" b="46301"/>
              <a:stretch/>
            </p:blipFill>
            <p:spPr bwMode="auto">
              <a:xfrm>
                <a:off x="1214010" y="323906"/>
                <a:ext cx="740664" cy="740664"/>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0" name="Rectangle 39"/>
            <p:cNvSpPr/>
            <p:nvPr/>
          </p:nvSpPr>
          <p:spPr bwMode="auto">
            <a:xfrm>
              <a:off x="8794750" y="302844"/>
              <a:ext cx="3641724" cy="10065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765" dirty="0">
                  <a:gradFill>
                    <a:gsLst>
                      <a:gs pos="20354">
                        <a:srgbClr val="FFFFFF"/>
                      </a:gs>
                      <a:gs pos="57000">
                        <a:srgbClr val="FFFFFF"/>
                      </a:gs>
                    </a:gsLst>
                    <a:lin ang="5400000" scaled="0"/>
                  </a:gradFill>
                </a:rPr>
                <a:t>Proactively plan for automated remediation of infrastructure failures</a:t>
              </a:r>
            </a:p>
          </p:txBody>
        </p:sp>
        <p:grpSp>
          <p:nvGrpSpPr>
            <p:cNvPr id="4" name="Group 3"/>
            <p:cNvGrpSpPr/>
            <p:nvPr/>
          </p:nvGrpSpPr>
          <p:grpSpPr>
            <a:xfrm>
              <a:off x="1192142" y="1322216"/>
              <a:ext cx="11244331" cy="530169"/>
              <a:chOff x="1192142" y="1322216"/>
              <a:chExt cx="11244331" cy="530169"/>
            </a:xfrm>
          </p:grpSpPr>
          <p:sp>
            <p:nvSpPr>
              <p:cNvPr id="37" name="Rectangle 36"/>
              <p:cNvSpPr/>
              <p:nvPr/>
            </p:nvSpPr>
            <p:spPr bwMode="auto">
              <a:xfrm>
                <a:off x="1192142" y="1337306"/>
                <a:ext cx="11244331" cy="5019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42" name="TextBox 41"/>
              <p:cNvSpPr txBox="1"/>
              <p:nvPr/>
            </p:nvSpPr>
            <p:spPr>
              <a:xfrm>
                <a:off x="6677202" y="1335320"/>
                <a:ext cx="5759271" cy="517065"/>
              </a:xfrm>
              <a:prstGeom prst="rect">
                <a:avLst/>
              </a:prstGeom>
              <a:noFill/>
            </p:spPr>
            <p:txBody>
              <a:bodyPr wrap="square" lIns="179285" tIns="143428" rIns="179285" bIns="143428" rtlCol="0">
                <a:spAutoFit/>
              </a:bodyPr>
              <a:lstStyle/>
              <a:p>
                <a:pPr algn="ctr" defTabSz="914206">
                  <a:lnSpc>
                    <a:spcPct val="90000"/>
                  </a:lnSpc>
                  <a:spcAft>
                    <a:spcPts val="588"/>
                  </a:spcAft>
                </a:pPr>
                <a:r>
                  <a:rPr lang="en-US" sz="1568" dirty="0">
                    <a:gradFill>
                      <a:gsLst>
                        <a:gs pos="2917">
                          <a:srgbClr val="505050"/>
                        </a:gs>
                        <a:gs pos="30000">
                          <a:srgbClr val="505050"/>
                        </a:gs>
                      </a:gsLst>
                      <a:lin ang="5400000" scaled="0"/>
                    </a:gradFill>
                  </a:rPr>
                  <a:t>Runbook Authoring  |  Automated Remediation</a:t>
                </a:r>
              </a:p>
            </p:txBody>
          </p:sp>
          <p:sp>
            <p:nvSpPr>
              <p:cNvPr id="117" name="Rectangle 116"/>
              <p:cNvSpPr/>
              <p:nvPr/>
            </p:nvSpPr>
            <p:spPr bwMode="auto">
              <a:xfrm>
                <a:off x="1204802" y="1337306"/>
                <a:ext cx="5464356" cy="501975"/>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8" name="TextBox 117"/>
              <p:cNvSpPr txBox="1"/>
              <p:nvPr/>
            </p:nvSpPr>
            <p:spPr>
              <a:xfrm>
                <a:off x="1380491" y="1322216"/>
                <a:ext cx="5108362" cy="5170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gradFill>
                      <a:gsLst>
                        <a:gs pos="77876">
                          <a:srgbClr val="FFFFFF"/>
                        </a:gs>
                        <a:gs pos="30000">
                          <a:srgbClr val="FFFFFF"/>
                        </a:gs>
                      </a:gsLst>
                      <a:lin ang="5400000" scaled="0"/>
                    </a:gradFill>
                  </a:rPr>
                  <a:t>System Center 2012 </a:t>
                </a:r>
                <a:r>
                  <a:rPr lang="en-US" sz="1568" dirty="0" smtClean="0">
                    <a:gradFill>
                      <a:gsLst>
                        <a:gs pos="77876">
                          <a:srgbClr val="FFFFFF"/>
                        </a:gs>
                        <a:gs pos="30000">
                          <a:srgbClr val="FFFFFF"/>
                        </a:gs>
                      </a:gsLst>
                      <a:lin ang="5400000" scaled="0"/>
                    </a:gradFill>
                  </a:rPr>
                  <a:t>R2 | Azure Pack</a:t>
                </a:r>
                <a:endParaRPr lang="en-US" sz="1568" dirty="0">
                  <a:gradFill>
                    <a:gsLst>
                      <a:gs pos="77876">
                        <a:srgbClr val="FFFFFF"/>
                      </a:gs>
                      <a:gs pos="30000">
                        <a:srgbClr val="FFFFFF"/>
                      </a:gs>
                    </a:gsLst>
                    <a:lin ang="5400000" scaled="0"/>
                  </a:gradFill>
                </a:endParaRPr>
              </a:p>
            </p:txBody>
          </p:sp>
        </p:grpSp>
      </p:grpSp>
      <p:sp>
        <p:nvSpPr>
          <p:cNvPr id="43" name="Q1"/>
          <p:cNvSpPr txBox="1"/>
          <p:nvPr/>
        </p:nvSpPr>
        <p:spPr>
          <a:xfrm>
            <a:off x="1951131" y="297137"/>
            <a:ext cx="6628936" cy="561179"/>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5400000" scaled="1"/>
                </a:gradFill>
              </a:rPr>
              <a:t>“Richard, the developer team is setting up a new lab and I want to make sure that you share your best practices with their Infrastructure lead.”  </a:t>
            </a:r>
          </a:p>
        </p:txBody>
      </p:sp>
      <p:grpSp>
        <p:nvGrpSpPr>
          <p:cNvPr id="48" name="Richard"/>
          <p:cNvGrpSpPr>
            <a:grpSpLocks noChangeAspect="1"/>
          </p:cNvGrpSpPr>
          <p:nvPr/>
        </p:nvGrpSpPr>
        <p:grpSpPr>
          <a:xfrm>
            <a:off x="1168710" y="298063"/>
            <a:ext cx="771705" cy="986067"/>
            <a:chOff x="1192144" y="1221871"/>
            <a:chExt cx="822960" cy="1051560"/>
          </a:xfrm>
        </p:grpSpPr>
        <p:grpSp>
          <p:nvGrpSpPr>
            <p:cNvPr id="49" name="Group 48"/>
            <p:cNvGrpSpPr/>
            <p:nvPr/>
          </p:nvGrpSpPr>
          <p:grpSpPr>
            <a:xfrm>
              <a:off x="1192144" y="1221871"/>
              <a:ext cx="822960" cy="1051560"/>
              <a:chOff x="2257477" y="1518442"/>
              <a:chExt cx="822960" cy="1051560"/>
            </a:xfrm>
          </p:grpSpPr>
          <p:sp>
            <p:nvSpPr>
              <p:cNvPr id="51" name="Rectangle 50"/>
              <p:cNvSpPr/>
              <p:nvPr/>
            </p:nvSpPr>
            <p:spPr bwMode="auto">
              <a:xfrm>
                <a:off x="2257477" y="1518442"/>
                <a:ext cx="822960" cy="105156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410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52" name="Picture 4"/>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75748" t="27538" r="7225" b="45284"/>
              <a:stretch/>
            </p:blipFill>
            <p:spPr bwMode="auto">
              <a:xfrm>
                <a:off x="2280337"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0" name="Isosceles Triangle 49"/>
            <p:cNvSpPr/>
            <p:nvPr/>
          </p:nvSpPr>
          <p:spPr bwMode="auto">
            <a:xfrm rot="16200000">
              <a:off x="188821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sp>
        <p:nvSpPr>
          <p:cNvPr id="53" name="Q2"/>
          <p:cNvSpPr txBox="1"/>
          <p:nvPr/>
        </p:nvSpPr>
        <p:spPr>
          <a:xfrm>
            <a:off x="1958047" y="304520"/>
            <a:ext cx="6618216" cy="751267"/>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5400000" scaled="1"/>
                </a:gradFill>
              </a:rPr>
              <a:t>“Happy to provide.  We’ve had great success with automation across our entire stack so that we’re not only monitoring, but we are proactively circumventing issues that we know can occur.”</a:t>
            </a:r>
          </a:p>
        </p:txBody>
      </p:sp>
      <p:sp>
        <p:nvSpPr>
          <p:cNvPr id="273" name="Rectangle 42"/>
          <p:cNvSpPr>
            <a:spLocks noChangeArrowheads="1"/>
          </p:cNvSpPr>
          <p:nvPr/>
        </p:nvSpPr>
        <p:spPr bwMode="auto">
          <a:xfrm>
            <a:off x="2177837" y="2660884"/>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ctr">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274" name="Rectangle 42"/>
          <p:cNvSpPr>
            <a:spLocks noChangeArrowheads="1"/>
          </p:cNvSpPr>
          <p:nvPr/>
        </p:nvSpPr>
        <p:spPr bwMode="auto">
          <a:xfrm>
            <a:off x="2177836" y="3099023"/>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t" anchorCtr="0">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275" name="Rectangle 42"/>
          <p:cNvSpPr>
            <a:spLocks noChangeArrowheads="1"/>
          </p:cNvSpPr>
          <p:nvPr/>
        </p:nvSpPr>
        <p:spPr bwMode="auto">
          <a:xfrm>
            <a:off x="2177837" y="3537160"/>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ctr">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276" name="Rectangle 42"/>
          <p:cNvSpPr>
            <a:spLocks noChangeArrowheads="1"/>
          </p:cNvSpPr>
          <p:nvPr/>
        </p:nvSpPr>
        <p:spPr bwMode="auto">
          <a:xfrm>
            <a:off x="2177836" y="3975298"/>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t" anchorCtr="0">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277" name="Rectangle 42"/>
          <p:cNvSpPr>
            <a:spLocks noChangeArrowheads="1"/>
          </p:cNvSpPr>
          <p:nvPr/>
        </p:nvSpPr>
        <p:spPr bwMode="auto">
          <a:xfrm>
            <a:off x="2177837" y="4413436"/>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t" anchorCtr="0">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278" name="Rectangle 42"/>
          <p:cNvSpPr>
            <a:spLocks noChangeArrowheads="1"/>
          </p:cNvSpPr>
          <p:nvPr/>
        </p:nvSpPr>
        <p:spPr bwMode="auto">
          <a:xfrm>
            <a:off x="2177837" y="5289712"/>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t" anchorCtr="0">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279" name="Rectangle 42"/>
          <p:cNvSpPr>
            <a:spLocks noChangeArrowheads="1"/>
          </p:cNvSpPr>
          <p:nvPr/>
        </p:nvSpPr>
        <p:spPr bwMode="auto">
          <a:xfrm>
            <a:off x="2177836" y="5727849"/>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t" anchorCtr="0">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280" name="Rectangle 42"/>
          <p:cNvSpPr>
            <a:spLocks noChangeArrowheads="1"/>
          </p:cNvSpPr>
          <p:nvPr/>
        </p:nvSpPr>
        <p:spPr bwMode="auto">
          <a:xfrm>
            <a:off x="2177837" y="6165985"/>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t" anchorCtr="0">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281" name="Rectangle 42"/>
          <p:cNvSpPr>
            <a:spLocks noChangeArrowheads="1"/>
          </p:cNvSpPr>
          <p:nvPr/>
        </p:nvSpPr>
        <p:spPr bwMode="auto">
          <a:xfrm>
            <a:off x="2177836" y="4851574"/>
            <a:ext cx="5884323" cy="394427"/>
          </a:xfrm>
          <a:prstGeom prst="rect">
            <a:avLst/>
          </a:prstGeom>
          <a:solidFill>
            <a:srgbClr val="FFFFFF">
              <a:lumMod val="95000"/>
            </a:srgbClr>
          </a:solidFill>
          <a:ln w="9525" algn="ctr">
            <a:noFill/>
            <a:miter lim="800000"/>
            <a:headEnd/>
            <a:tailEnd/>
          </a:ln>
        </p:spPr>
        <p:txBody>
          <a:bodyPr wrap="square" lIns="179187" tIns="143351" rIns="179187" bIns="143351" anchor="t" anchorCtr="0">
            <a:noAutofit/>
          </a:bodyPr>
          <a:lstStyle/>
          <a:p>
            <a:pPr defTabSz="912280">
              <a:lnSpc>
                <a:spcPct val="90000"/>
              </a:lnSpc>
              <a:defRPr/>
            </a:pP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cxnSp>
        <p:nvCxnSpPr>
          <p:cNvPr id="282" name="Elbow Connector 281"/>
          <p:cNvCxnSpPr>
            <a:endCxn id="296" idx="1"/>
          </p:cNvCxnSpPr>
          <p:nvPr/>
        </p:nvCxnSpPr>
        <p:spPr>
          <a:xfrm rot="16200000" flipH="1">
            <a:off x="3805939" y="3484407"/>
            <a:ext cx="272881" cy="222717"/>
          </a:xfrm>
          <a:prstGeom prst="bentConnector2">
            <a:avLst/>
          </a:prstGeom>
          <a:noFill/>
          <a:ln w="12700" cap="flat" cmpd="sng" algn="ctr">
            <a:solidFill>
              <a:srgbClr val="FFFFFF">
                <a:lumMod val="50000"/>
              </a:srgbClr>
            </a:solidFill>
            <a:prstDash val="solid"/>
            <a:headEnd type="none"/>
            <a:tailEnd type="none" w="sm" len="sm"/>
          </a:ln>
          <a:effectLst/>
        </p:spPr>
      </p:cxnSp>
      <p:cxnSp>
        <p:nvCxnSpPr>
          <p:cNvPr id="283" name="Elbow Connector 282"/>
          <p:cNvCxnSpPr>
            <a:endCxn id="320" idx="1"/>
          </p:cNvCxnSpPr>
          <p:nvPr/>
        </p:nvCxnSpPr>
        <p:spPr>
          <a:xfrm rot="16200000" flipH="1">
            <a:off x="4253394" y="3922733"/>
            <a:ext cx="272884" cy="222341"/>
          </a:xfrm>
          <a:prstGeom prst="bentConnector2">
            <a:avLst/>
          </a:prstGeom>
          <a:noFill/>
          <a:ln w="12700" cap="flat" cmpd="sng" algn="ctr">
            <a:solidFill>
              <a:srgbClr val="FFFFFF">
                <a:lumMod val="50000"/>
              </a:srgbClr>
            </a:solidFill>
            <a:prstDash val="solid"/>
            <a:headEnd type="none"/>
            <a:tailEnd type="none" w="sm" len="sm"/>
          </a:ln>
          <a:effectLst/>
        </p:spPr>
      </p:cxnSp>
      <p:cxnSp>
        <p:nvCxnSpPr>
          <p:cNvPr id="284" name="Elbow Connector 283"/>
          <p:cNvCxnSpPr/>
          <p:nvPr/>
        </p:nvCxnSpPr>
        <p:spPr>
          <a:xfrm rot="16200000" flipH="1">
            <a:off x="4701247" y="4359864"/>
            <a:ext cx="273589" cy="224184"/>
          </a:xfrm>
          <a:prstGeom prst="bentConnector3">
            <a:avLst>
              <a:gd name="adj1" fmla="val 101196"/>
            </a:avLst>
          </a:prstGeom>
          <a:noFill/>
          <a:ln w="12700" cap="flat" cmpd="sng" algn="ctr">
            <a:solidFill>
              <a:srgbClr val="FFFFFF">
                <a:lumMod val="50000"/>
              </a:srgbClr>
            </a:solidFill>
            <a:prstDash val="solid"/>
            <a:headEnd type="none"/>
            <a:tailEnd type="none" w="sm" len="sm"/>
          </a:ln>
          <a:effectLst/>
        </p:spPr>
      </p:cxnSp>
      <p:cxnSp>
        <p:nvCxnSpPr>
          <p:cNvPr id="285" name="Elbow Connector 114"/>
          <p:cNvCxnSpPr/>
          <p:nvPr/>
        </p:nvCxnSpPr>
        <p:spPr>
          <a:xfrm flipH="1">
            <a:off x="4726311" y="4335332"/>
            <a:ext cx="1" cy="984704"/>
          </a:xfrm>
          <a:prstGeom prst="straightConnector1">
            <a:avLst/>
          </a:prstGeom>
          <a:noFill/>
          <a:ln w="12700" cap="flat" cmpd="sng" algn="ctr">
            <a:solidFill>
              <a:srgbClr val="FFFFFF">
                <a:lumMod val="50000"/>
              </a:srgbClr>
            </a:solidFill>
            <a:prstDash val="solid"/>
            <a:headEnd type="none"/>
            <a:tailEnd type="none" w="sm" len="sm"/>
          </a:ln>
          <a:effectLst/>
        </p:spPr>
      </p:cxnSp>
      <p:cxnSp>
        <p:nvCxnSpPr>
          <p:cNvPr id="286" name="Elbow Connector 114"/>
          <p:cNvCxnSpPr/>
          <p:nvPr/>
        </p:nvCxnSpPr>
        <p:spPr>
          <a:xfrm flipH="1">
            <a:off x="5656950" y="4773471"/>
            <a:ext cx="1" cy="984704"/>
          </a:xfrm>
          <a:prstGeom prst="straightConnector1">
            <a:avLst/>
          </a:prstGeom>
          <a:noFill/>
          <a:ln w="12700" cap="flat" cmpd="sng" algn="ctr">
            <a:solidFill>
              <a:srgbClr val="FFFFFF">
                <a:lumMod val="50000"/>
              </a:srgbClr>
            </a:solidFill>
            <a:prstDash val="solid"/>
            <a:headEnd type="none"/>
            <a:tailEnd type="none" w="sm" len="sm"/>
          </a:ln>
          <a:effectLst/>
        </p:spPr>
      </p:cxnSp>
      <p:cxnSp>
        <p:nvCxnSpPr>
          <p:cNvPr id="287" name="Elbow Connector 286"/>
          <p:cNvCxnSpPr>
            <a:endCxn id="311" idx="1"/>
          </p:cNvCxnSpPr>
          <p:nvPr/>
        </p:nvCxnSpPr>
        <p:spPr>
          <a:xfrm rot="16200000" flipH="1">
            <a:off x="5598747" y="4831934"/>
            <a:ext cx="711027" cy="594619"/>
          </a:xfrm>
          <a:prstGeom prst="bentConnector2">
            <a:avLst/>
          </a:prstGeom>
          <a:noFill/>
          <a:ln w="12700" cap="flat" cmpd="sng" algn="ctr">
            <a:solidFill>
              <a:srgbClr val="FFFFFF">
                <a:lumMod val="50000"/>
              </a:srgbClr>
            </a:solidFill>
            <a:prstDash val="solid"/>
            <a:headEnd type="none"/>
            <a:tailEnd type="none" w="sm" len="sm"/>
          </a:ln>
          <a:effectLst/>
        </p:spPr>
      </p:cxnSp>
      <p:cxnSp>
        <p:nvCxnSpPr>
          <p:cNvPr id="288" name="Elbow Connector 287"/>
          <p:cNvCxnSpPr>
            <a:endCxn id="308" idx="1"/>
          </p:cNvCxnSpPr>
          <p:nvPr/>
        </p:nvCxnSpPr>
        <p:spPr>
          <a:xfrm rot="16200000" flipH="1">
            <a:off x="5598783" y="5708177"/>
            <a:ext cx="711017" cy="594688"/>
          </a:xfrm>
          <a:prstGeom prst="bentConnector2">
            <a:avLst/>
          </a:prstGeom>
          <a:noFill/>
          <a:ln w="12700" cap="flat" cmpd="sng" algn="ctr">
            <a:solidFill>
              <a:srgbClr val="FFFFFF">
                <a:lumMod val="50000"/>
              </a:srgbClr>
            </a:solidFill>
            <a:prstDash val="solid"/>
            <a:headEnd type="none"/>
            <a:tailEnd type="none" w="sm" len="sm"/>
          </a:ln>
          <a:effectLst/>
        </p:spPr>
      </p:cxnSp>
      <p:cxnSp>
        <p:nvCxnSpPr>
          <p:cNvPr id="289" name="Elbow Connector 288"/>
          <p:cNvCxnSpPr>
            <a:stCxn id="299" idx="3"/>
            <a:endCxn id="314" idx="1"/>
          </p:cNvCxnSpPr>
          <p:nvPr/>
        </p:nvCxnSpPr>
        <p:spPr>
          <a:xfrm flipV="1">
            <a:off x="5953344" y="3736875"/>
            <a:ext cx="502212" cy="871606"/>
          </a:xfrm>
          <a:prstGeom prst="bentConnector3">
            <a:avLst>
              <a:gd name="adj1" fmla="val 50000"/>
            </a:avLst>
          </a:prstGeom>
          <a:noFill/>
          <a:ln w="12700" cap="flat" cmpd="sng" algn="ctr">
            <a:solidFill>
              <a:srgbClr val="FFFFFF">
                <a:lumMod val="50000"/>
              </a:srgbClr>
            </a:solidFill>
            <a:prstDash val="solid"/>
            <a:headEnd type="none"/>
            <a:tailEnd type="none" w="sm" len="sm"/>
          </a:ln>
          <a:effectLst/>
        </p:spPr>
      </p:cxnSp>
      <p:cxnSp>
        <p:nvCxnSpPr>
          <p:cNvPr id="290" name="Elbow Connector 289"/>
          <p:cNvCxnSpPr>
            <a:stCxn id="299" idx="3"/>
            <a:endCxn id="317" idx="1"/>
          </p:cNvCxnSpPr>
          <p:nvPr/>
        </p:nvCxnSpPr>
        <p:spPr>
          <a:xfrm flipV="1">
            <a:off x="5953344" y="3294068"/>
            <a:ext cx="502898" cy="1314413"/>
          </a:xfrm>
          <a:prstGeom prst="bentConnector3">
            <a:avLst>
              <a:gd name="adj1" fmla="val 50000"/>
            </a:avLst>
          </a:prstGeom>
          <a:noFill/>
          <a:ln w="12700" cap="flat" cmpd="sng" algn="ctr">
            <a:solidFill>
              <a:srgbClr val="FFFFFF">
                <a:lumMod val="50000"/>
              </a:srgbClr>
            </a:solidFill>
            <a:prstDash val="solid"/>
            <a:headEnd type="none"/>
            <a:tailEnd type="none" w="sm" len="sm"/>
          </a:ln>
          <a:effectLst/>
        </p:spPr>
      </p:cxnSp>
      <p:cxnSp>
        <p:nvCxnSpPr>
          <p:cNvPr id="291" name="Elbow Connector 290"/>
          <p:cNvCxnSpPr>
            <a:stCxn id="317" idx="3"/>
            <a:endCxn id="323" idx="2"/>
          </p:cNvCxnSpPr>
          <p:nvPr/>
        </p:nvCxnSpPr>
        <p:spPr>
          <a:xfrm flipV="1">
            <a:off x="7273368" y="3041490"/>
            <a:ext cx="192010" cy="252578"/>
          </a:xfrm>
          <a:prstGeom prst="bentConnector2">
            <a:avLst/>
          </a:prstGeom>
          <a:noFill/>
          <a:ln w="12700" cap="flat" cmpd="sng" algn="ctr">
            <a:solidFill>
              <a:srgbClr val="FFFFFF">
                <a:lumMod val="50000"/>
              </a:srgbClr>
            </a:solidFill>
            <a:prstDash val="solid"/>
            <a:headEnd type="none"/>
            <a:tailEnd type="none" w="sm" len="sm"/>
          </a:ln>
          <a:effectLst/>
        </p:spPr>
      </p:cxnSp>
      <p:grpSp>
        <p:nvGrpSpPr>
          <p:cNvPr id="292" name="Group 291"/>
          <p:cNvGrpSpPr/>
          <p:nvPr/>
        </p:nvGrpSpPr>
        <p:grpSpPr>
          <a:xfrm>
            <a:off x="3605980" y="3108541"/>
            <a:ext cx="795753" cy="371054"/>
            <a:chOff x="2271464" y="1872385"/>
            <a:chExt cx="1111522" cy="518293"/>
          </a:xfrm>
        </p:grpSpPr>
        <p:sp>
          <p:nvSpPr>
            <p:cNvPr id="293" name="TextBox 292"/>
            <p:cNvSpPr txBox="1">
              <a:spLocks noChangeArrowheads="1"/>
            </p:cNvSpPr>
            <p:nvPr/>
          </p:nvSpPr>
          <p:spPr bwMode="auto">
            <a:xfrm>
              <a:off x="2271464" y="1872385"/>
              <a:ext cx="1111522" cy="518293"/>
            </a:xfrm>
            <a:prstGeom prst="rect">
              <a:avLst/>
            </a:prstGeom>
            <a:solidFill>
              <a:srgbClr val="00BCF2"/>
            </a:solidFill>
            <a:ln w="9525">
              <a:noFill/>
              <a:miter lim="800000"/>
              <a:headEnd/>
              <a:tailEnd/>
            </a:ln>
          </p:spPr>
          <p:txBody>
            <a:bodyPr wrap="none" lIns="268927" tIns="62715" rIns="89593" bIns="62715"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Monitor </a:t>
              </a:r>
            </a:p>
            <a:p>
              <a:pPr defTabSz="914206">
                <a:lnSpc>
                  <a:spcPct val="90000"/>
                </a:lnSpc>
                <a:defRPr/>
              </a:pPr>
              <a:r>
                <a:rPr lang="en-US" sz="882" kern="0" dirty="0">
                  <a:gradFill>
                    <a:gsLst>
                      <a:gs pos="75229">
                        <a:srgbClr val="FFFFFF"/>
                      </a:gs>
                      <a:gs pos="26250">
                        <a:srgbClr val="FFFFFF"/>
                      </a:gs>
                    </a:gsLst>
                    <a:lin ang="5400000" scaled="0"/>
                  </a:gradFill>
                </a:rPr>
                <a:t>for error</a:t>
              </a:r>
            </a:p>
          </p:txBody>
        </p:sp>
        <p:sp>
          <p:nvSpPr>
            <p:cNvPr id="294" name="Freeform 232"/>
            <p:cNvSpPr>
              <a:spLocks noChangeAspect="1" noEditPoints="1"/>
            </p:cNvSpPr>
            <p:nvPr/>
          </p:nvSpPr>
          <p:spPr bwMode="auto">
            <a:xfrm>
              <a:off x="2340834" y="2011950"/>
              <a:ext cx="229868" cy="220110"/>
            </a:xfrm>
            <a:custGeom>
              <a:avLst/>
              <a:gdLst>
                <a:gd name="T0" fmla="*/ 33 w 90"/>
                <a:gd name="T1" fmla="*/ 12 h 86"/>
                <a:gd name="T2" fmla="*/ 54 w 90"/>
                <a:gd name="T3" fmla="*/ 33 h 86"/>
                <a:gd name="T4" fmla="*/ 33 w 90"/>
                <a:gd name="T5" fmla="*/ 54 h 86"/>
                <a:gd name="T6" fmla="*/ 13 w 90"/>
                <a:gd name="T7" fmla="*/ 33 h 86"/>
                <a:gd name="T8" fmla="*/ 33 w 90"/>
                <a:gd name="T9" fmla="*/ 12 h 86"/>
                <a:gd name="T10" fmla="*/ 33 w 90"/>
                <a:gd name="T11" fmla="*/ 0 h 86"/>
                <a:gd name="T12" fmla="*/ 0 w 90"/>
                <a:gd name="T13" fmla="*/ 33 h 86"/>
                <a:gd name="T14" fmla="*/ 33 w 90"/>
                <a:gd name="T15" fmla="*/ 66 h 86"/>
                <a:gd name="T16" fmla="*/ 55 w 90"/>
                <a:gd name="T17" fmla="*/ 58 h 86"/>
                <a:gd name="T18" fmla="*/ 80 w 90"/>
                <a:gd name="T19" fmla="*/ 84 h 86"/>
                <a:gd name="T20" fmla="*/ 88 w 90"/>
                <a:gd name="T21" fmla="*/ 84 h 86"/>
                <a:gd name="T22" fmla="*/ 88 w 90"/>
                <a:gd name="T23" fmla="*/ 84 h 86"/>
                <a:gd name="T24" fmla="*/ 88 w 90"/>
                <a:gd name="T25" fmla="*/ 76 h 86"/>
                <a:gd name="T26" fmla="*/ 61 w 90"/>
                <a:gd name="T27" fmla="*/ 50 h 86"/>
                <a:gd name="T28" fmla="*/ 66 w 90"/>
                <a:gd name="T29" fmla="*/ 33 h 86"/>
                <a:gd name="T30" fmla="*/ 33 w 90"/>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6">
                  <a:moveTo>
                    <a:pt x="33" y="12"/>
                  </a:moveTo>
                  <a:cubicBezTo>
                    <a:pt x="44" y="12"/>
                    <a:pt x="54" y="22"/>
                    <a:pt x="54" y="33"/>
                  </a:cubicBezTo>
                  <a:cubicBezTo>
                    <a:pt x="54" y="44"/>
                    <a:pt x="44" y="54"/>
                    <a:pt x="33" y="54"/>
                  </a:cubicBezTo>
                  <a:cubicBezTo>
                    <a:pt x="22" y="54"/>
                    <a:pt x="13" y="44"/>
                    <a:pt x="13" y="33"/>
                  </a:cubicBezTo>
                  <a:cubicBezTo>
                    <a:pt x="13" y="22"/>
                    <a:pt x="22" y="12"/>
                    <a:pt x="33" y="12"/>
                  </a:cubicBezTo>
                  <a:close/>
                  <a:moveTo>
                    <a:pt x="33" y="0"/>
                  </a:moveTo>
                  <a:cubicBezTo>
                    <a:pt x="15" y="0"/>
                    <a:pt x="0" y="15"/>
                    <a:pt x="0" y="33"/>
                  </a:cubicBezTo>
                  <a:cubicBezTo>
                    <a:pt x="0" y="51"/>
                    <a:pt x="15" y="66"/>
                    <a:pt x="33" y="66"/>
                  </a:cubicBezTo>
                  <a:cubicBezTo>
                    <a:pt x="41" y="66"/>
                    <a:pt x="49" y="63"/>
                    <a:pt x="55" y="58"/>
                  </a:cubicBezTo>
                  <a:cubicBezTo>
                    <a:pt x="80" y="84"/>
                    <a:pt x="80" y="84"/>
                    <a:pt x="80" y="84"/>
                  </a:cubicBezTo>
                  <a:cubicBezTo>
                    <a:pt x="82" y="86"/>
                    <a:pt x="86" y="86"/>
                    <a:pt x="88" y="84"/>
                  </a:cubicBezTo>
                  <a:cubicBezTo>
                    <a:pt x="88" y="84"/>
                    <a:pt x="88" y="84"/>
                    <a:pt x="88" y="84"/>
                  </a:cubicBezTo>
                  <a:cubicBezTo>
                    <a:pt x="90" y="82"/>
                    <a:pt x="90" y="78"/>
                    <a:pt x="88" y="76"/>
                  </a:cubicBezTo>
                  <a:cubicBezTo>
                    <a:pt x="61" y="50"/>
                    <a:pt x="61" y="50"/>
                    <a:pt x="61" y="50"/>
                  </a:cubicBezTo>
                  <a:cubicBezTo>
                    <a:pt x="65" y="45"/>
                    <a:pt x="66" y="39"/>
                    <a:pt x="66" y="33"/>
                  </a:cubicBezTo>
                  <a:cubicBezTo>
                    <a:pt x="66" y="15"/>
                    <a:pt x="51" y="0"/>
                    <a:pt x="33" y="0"/>
                  </a:cubicBezTo>
                  <a:close/>
                </a:path>
              </a:pathLst>
            </a:custGeom>
            <a:solidFill>
              <a:srgbClr val="FFFFFF"/>
            </a:solidFill>
            <a:ln>
              <a:noFill/>
            </a:ln>
            <a:extLst/>
          </p:spPr>
          <p:txBody>
            <a:bodyPr vert="horz" wrap="square" lIns="268927"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295" name="Group 294"/>
          <p:cNvGrpSpPr/>
          <p:nvPr/>
        </p:nvGrpSpPr>
        <p:grpSpPr>
          <a:xfrm>
            <a:off x="4053738" y="3546679"/>
            <a:ext cx="726608" cy="371054"/>
            <a:chOff x="2897747" y="2485368"/>
            <a:chExt cx="1014937" cy="518293"/>
          </a:xfrm>
        </p:grpSpPr>
        <p:sp>
          <p:nvSpPr>
            <p:cNvPr id="296" name="TextBox 295"/>
            <p:cNvSpPr txBox="1">
              <a:spLocks noChangeArrowheads="1"/>
            </p:cNvSpPr>
            <p:nvPr/>
          </p:nvSpPr>
          <p:spPr bwMode="auto">
            <a:xfrm>
              <a:off x="2897747" y="2485368"/>
              <a:ext cx="1014937" cy="518293"/>
            </a:xfrm>
            <a:prstGeom prst="rect">
              <a:avLst/>
            </a:prstGeom>
            <a:solidFill>
              <a:srgbClr val="00BCF2"/>
            </a:solidFill>
            <a:ln w="9525">
              <a:noFill/>
              <a:miter lim="800000"/>
              <a:headEnd/>
              <a:tailEnd/>
            </a:ln>
          </p:spPr>
          <p:txBody>
            <a:bodyPr wrap="none" lIns="268927" tIns="62715" rIns="89593" bIns="62715"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Initiate</a:t>
              </a:r>
            </a:p>
            <a:p>
              <a:pPr defTabSz="914206">
                <a:lnSpc>
                  <a:spcPct val="90000"/>
                </a:lnSpc>
                <a:defRPr/>
              </a:pPr>
              <a:r>
                <a:rPr lang="en-US" sz="882" kern="0" dirty="0">
                  <a:gradFill>
                    <a:gsLst>
                      <a:gs pos="75229">
                        <a:srgbClr val="FFFFFF"/>
                      </a:gs>
                      <a:gs pos="26250">
                        <a:srgbClr val="FFFFFF"/>
                      </a:gs>
                    </a:gsLst>
                    <a:lin ang="5400000" scaled="0"/>
                  </a:gradFill>
                </a:rPr>
                <a:t>change</a:t>
              </a:r>
            </a:p>
          </p:txBody>
        </p:sp>
        <p:sp>
          <p:nvSpPr>
            <p:cNvPr id="297" name="Freeform 647"/>
            <p:cNvSpPr>
              <a:spLocks noChangeAspect="1" noEditPoints="1"/>
            </p:cNvSpPr>
            <p:nvPr/>
          </p:nvSpPr>
          <p:spPr bwMode="auto">
            <a:xfrm>
              <a:off x="2972822" y="2586430"/>
              <a:ext cx="217343" cy="297119"/>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298" name="Group 297"/>
          <p:cNvGrpSpPr/>
          <p:nvPr/>
        </p:nvGrpSpPr>
        <p:grpSpPr>
          <a:xfrm>
            <a:off x="4948582" y="4422954"/>
            <a:ext cx="1004762" cy="371054"/>
            <a:chOff x="4150313" y="3711334"/>
            <a:chExt cx="1403468" cy="518293"/>
          </a:xfrm>
        </p:grpSpPr>
        <p:sp>
          <p:nvSpPr>
            <p:cNvPr id="299" name="TextBox 298"/>
            <p:cNvSpPr txBox="1">
              <a:spLocks noChangeArrowheads="1"/>
            </p:cNvSpPr>
            <p:nvPr/>
          </p:nvSpPr>
          <p:spPr bwMode="auto">
            <a:xfrm>
              <a:off x="4150313" y="3711334"/>
              <a:ext cx="1403468" cy="518293"/>
            </a:xfrm>
            <a:prstGeom prst="rect">
              <a:avLst/>
            </a:prstGeom>
            <a:solidFill>
              <a:srgbClr val="00BCF2"/>
            </a:solidFill>
            <a:ln w="9525">
              <a:noFill/>
              <a:miter lim="800000"/>
              <a:headEnd/>
              <a:tailEnd/>
            </a:ln>
          </p:spPr>
          <p:txBody>
            <a:bodyPr wrap="none" lIns="268927" tIns="62715" rIns="89593" bIns="62715"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VM to </a:t>
              </a:r>
            </a:p>
            <a:p>
              <a:pPr defTabSz="914206">
                <a:lnSpc>
                  <a:spcPct val="90000"/>
                </a:lnSpc>
                <a:defRPr/>
              </a:pPr>
              <a:r>
                <a:rPr lang="en-US" sz="882" kern="0" dirty="0">
                  <a:gradFill>
                    <a:gsLst>
                      <a:gs pos="75229">
                        <a:srgbClr val="FFFFFF"/>
                      </a:gs>
                      <a:gs pos="26250">
                        <a:srgbClr val="FFFFFF"/>
                      </a:gs>
                    </a:gsLst>
                    <a:lin ang="5400000" scaled="0"/>
                  </a:gradFill>
                </a:rPr>
                <a:t>maintenance</a:t>
              </a:r>
            </a:p>
          </p:txBody>
        </p:sp>
        <p:sp>
          <p:nvSpPr>
            <p:cNvPr id="300" name="Freeform 459"/>
            <p:cNvSpPr>
              <a:spLocks noChangeAspect="1"/>
            </p:cNvSpPr>
            <p:nvPr/>
          </p:nvSpPr>
          <p:spPr bwMode="auto">
            <a:xfrm>
              <a:off x="4227632" y="3849420"/>
              <a:ext cx="242120" cy="242120"/>
            </a:xfrm>
            <a:custGeom>
              <a:avLst/>
              <a:gdLst>
                <a:gd name="T0" fmla="*/ 16 w 86"/>
                <a:gd name="T1" fmla="*/ 8 h 86"/>
                <a:gd name="T2" fmla="*/ 18 w 86"/>
                <a:gd name="T3" fmla="*/ 9 h 86"/>
                <a:gd name="T4" fmla="*/ 25 w 86"/>
                <a:gd name="T5" fmla="*/ 11 h 86"/>
                <a:gd name="T6" fmla="*/ 29 w 86"/>
                <a:gd name="T7" fmla="*/ 17 h 86"/>
                <a:gd name="T8" fmla="*/ 29 w 86"/>
                <a:gd name="T9" fmla="*/ 19 h 86"/>
                <a:gd name="T10" fmla="*/ 26 w 86"/>
                <a:gd name="T11" fmla="*/ 24 h 86"/>
                <a:gd name="T12" fmla="*/ 25 w 86"/>
                <a:gd name="T13" fmla="*/ 26 h 86"/>
                <a:gd name="T14" fmla="*/ 22 w 86"/>
                <a:gd name="T15" fmla="*/ 28 h 86"/>
                <a:gd name="T16" fmla="*/ 17 w 86"/>
                <a:gd name="T17" fmla="*/ 28 h 86"/>
                <a:gd name="T18" fmla="*/ 12 w 86"/>
                <a:gd name="T19" fmla="*/ 25 h 86"/>
                <a:gd name="T20" fmla="*/ 10 w 86"/>
                <a:gd name="T21" fmla="*/ 23 h 86"/>
                <a:gd name="T22" fmla="*/ 10 w 86"/>
                <a:gd name="T23" fmla="*/ 16 h 86"/>
                <a:gd name="T24" fmla="*/ 10 w 86"/>
                <a:gd name="T25" fmla="*/ 15 h 86"/>
                <a:gd name="T26" fmla="*/ 8 w 86"/>
                <a:gd name="T27" fmla="*/ 15 h 86"/>
                <a:gd name="T28" fmla="*/ 1 w 86"/>
                <a:gd name="T29" fmla="*/ 15 h 86"/>
                <a:gd name="T30" fmla="*/ 0 w 86"/>
                <a:gd name="T31" fmla="*/ 17 h 86"/>
                <a:gd name="T32" fmla="*/ 3 w 86"/>
                <a:gd name="T33" fmla="*/ 30 h 86"/>
                <a:gd name="T34" fmla="*/ 16 w 86"/>
                <a:gd name="T35" fmla="*/ 38 h 86"/>
                <a:gd name="T36" fmla="*/ 18 w 86"/>
                <a:gd name="T37" fmla="*/ 38 h 86"/>
                <a:gd name="T38" fmla="*/ 27 w 86"/>
                <a:gd name="T39" fmla="*/ 36 h 86"/>
                <a:gd name="T40" fmla="*/ 50 w 86"/>
                <a:gd name="T41" fmla="*/ 59 h 86"/>
                <a:gd name="T42" fmla="*/ 50 w 86"/>
                <a:gd name="T43" fmla="*/ 61 h 86"/>
                <a:gd name="T44" fmla="*/ 48 w 86"/>
                <a:gd name="T45" fmla="*/ 70 h 86"/>
                <a:gd name="T46" fmla="*/ 56 w 86"/>
                <a:gd name="T47" fmla="*/ 83 h 86"/>
                <a:gd name="T48" fmla="*/ 58 w 86"/>
                <a:gd name="T49" fmla="*/ 84 h 86"/>
                <a:gd name="T50" fmla="*/ 70 w 86"/>
                <a:gd name="T51" fmla="*/ 84 h 86"/>
                <a:gd name="T52" fmla="*/ 70 w 86"/>
                <a:gd name="T53" fmla="*/ 77 h 86"/>
                <a:gd name="T54" fmla="*/ 69 w 86"/>
                <a:gd name="T55" fmla="*/ 76 h 86"/>
                <a:gd name="T56" fmla="*/ 61 w 86"/>
                <a:gd name="T57" fmla="*/ 74 h 86"/>
                <a:gd name="T58" fmla="*/ 58 w 86"/>
                <a:gd name="T59" fmla="*/ 69 h 86"/>
                <a:gd name="T60" fmla="*/ 57 w 86"/>
                <a:gd name="T61" fmla="*/ 66 h 86"/>
                <a:gd name="T62" fmla="*/ 61 w 86"/>
                <a:gd name="T63" fmla="*/ 59 h 86"/>
                <a:gd name="T64" fmla="*/ 67 w 86"/>
                <a:gd name="T65" fmla="*/ 57 h 86"/>
                <a:gd name="T66" fmla="*/ 69 w 86"/>
                <a:gd name="T67" fmla="*/ 57 h 86"/>
                <a:gd name="T68" fmla="*/ 76 w 86"/>
                <a:gd name="T69" fmla="*/ 62 h 86"/>
                <a:gd name="T70" fmla="*/ 77 w 86"/>
                <a:gd name="T71" fmla="*/ 68 h 86"/>
                <a:gd name="T72" fmla="*/ 77 w 86"/>
                <a:gd name="T73" fmla="*/ 70 h 86"/>
                <a:gd name="T74" fmla="*/ 77 w 86"/>
                <a:gd name="T75" fmla="*/ 70 h 86"/>
                <a:gd name="T76" fmla="*/ 78 w 86"/>
                <a:gd name="T77" fmla="*/ 70 h 86"/>
                <a:gd name="T78" fmla="*/ 86 w 86"/>
                <a:gd name="T79" fmla="*/ 69 h 86"/>
                <a:gd name="T80" fmla="*/ 85 w 86"/>
                <a:gd name="T81" fmla="*/ 57 h 86"/>
                <a:gd name="T82" fmla="*/ 84 w 86"/>
                <a:gd name="T83" fmla="*/ 55 h 86"/>
                <a:gd name="T84" fmla="*/ 68 w 86"/>
                <a:gd name="T85" fmla="*/ 47 h 86"/>
                <a:gd name="T86" fmla="*/ 61 w 86"/>
                <a:gd name="T87" fmla="*/ 50 h 86"/>
                <a:gd name="T88" fmla="*/ 59 w 86"/>
                <a:gd name="T89" fmla="*/ 49 h 86"/>
                <a:gd name="T90" fmla="*/ 36 w 86"/>
                <a:gd name="T91" fmla="*/ 25 h 86"/>
                <a:gd name="T92" fmla="*/ 39 w 86"/>
                <a:gd name="T93" fmla="*/ 17 h 86"/>
                <a:gd name="T94" fmla="*/ 38 w 86"/>
                <a:gd name="T95" fmla="*/ 15 h 86"/>
                <a:gd name="T96" fmla="*/ 29 w 86"/>
                <a:gd name="T97" fmla="*/ 1 h 86"/>
                <a:gd name="T98" fmla="*/ 18 w 86"/>
                <a:gd name="T99" fmla="*/ 0 h 86"/>
                <a:gd name="T100" fmla="*/ 16 w 86"/>
                <a:gd name="T101" fmla="*/ 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86">
                  <a:moveTo>
                    <a:pt x="16" y="1"/>
                  </a:moveTo>
                  <a:cubicBezTo>
                    <a:pt x="16" y="8"/>
                    <a:pt x="16" y="8"/>
                    <a:pt x="16" y="8"/>
                  </a:cubicBezTo>
                  <a:cubicBezTo>
                    <a:pt x="16" y="9"/>
                    <a:pt x="17" y="9"/>
                    <a:pt x="18" y="9"/>
                  </a:cubicBezTo>
                  <a:cubicBezTo>
                    <a:pt x="18" y="9"/>
                    <a:pt x="18" y="9"/>
                    <a:pt x="18" y="9"/>
                  </a:cubicBezTo>
                  <a:cubicBezTo>
                    <a:pt x="23" y="10"/>
                    <a:pt x="23" y="10"/>
                    <a:pt x="23" y="10"/>
                  </a:cubicBezTo>
                  <a:cubicBezTo>
                    <a:pt x="24" y="10"/>
                    <a:pt x="25" y="11"/>
                    <a:pt x="25" y="11"/>
                  </a:cubicBezTo>
                  <a:cubicBezTo>
                    <a:pt x="25" y="11"/>
                    <a:pt x="25" y="11"/>
                    <a:pt x="25" y="11"/>
                  </a:cubicBezTo>
                  <a:cubicBezTo>
                    <a:pt x="29" y="17"/>
                    <a:pt x="29" y="17"/>
                    <a:pt x="29" y="17"/>
                  </a:cubicBezTo>
                  <a:cubicBezTo>
                    <a:pt x="29" y="17"/>
                    <a:pt x="29" y="18"/>
                    <a:pt x="29" y="19"/>
                  </a:cubicBezTo>
                  <a:cubicBezTo>
                    <a:pt x="29" y="19"/>
                    <a:pt x="29" y="19"/>
                    <a:pt x="29" y="19"/>
                  </a:cubicBezTo>
                  <a:cubicBezTo>
                    <a:pt x="28" y="22"/>
                    <a:pt x="28" y="22"/>
                    <a:pt x="28" y="22"/>
                  </a:cubicBezTo>
                  <a:cubicBezTo>
                    <a:pt x="28" y="23"/>
                    <a:pt x="27" y="24"/>
                    <a:pt x="26" y="24"/>
                  </a:cubicBezTo>
                  <a:cubicBezTo>
                    <a:pt x="26" y="24"/>
                    <a:pt x="26" y="24"/>
                    <a:pt x="26" y="24"/>
                  </a:cubicBezTo>
                  <a:cubicBezTo>
                    <a:pt x="25" y="26"/>
                    <a:pt x="25" y="26"/>
                    <a:pt x="25" y="26"/>
                  </a:cubicBezTo>
                  <a:cubicBezTo>
                    <a:pt x="24" y="27"/>
                    <a:pt x="23" y="27"/>
                    <a:pt x="22" y="28"/>
                  </a:cubicBezTo>
                  <a:cubicBezTo>
                    <a:pt x="22" y="28"/>
                    <a:pt x="22" y="28"/>
                    <a:pt x="22" y="28"/>
                  </a:cubicBezTo>
                  <a:cubicBezTo>
                    <a:pt x="19" y="29"/>
                    <a:pt x="19" y="29"/>
                    <a:pt x="19" y="29"/>
                  </a:cubicBezTo>
                  <a:cubicBezTo>
                    <a:pt x="19" y="29"/>
                    <a:pt x="18" y="29"/>
                    <a:pt x="17" y="28"/>
                  </a:cubicBezTo>
                  <a:cubicBezTo>
                    <a:pt x="17" y="28"/>
                    <a:pt x="17" y="28"/>
                    <a:pt x="17" y="28"/>
                  </a:cubicBezTo>
                  <a:cubicBezTo>
                    <a:pt x="12" y="25"/>
                    <a:pt x="12" y="25"/>
                    <a:pt x="12" y="25"/>
                  </a:cubicBezTo>
                  <a:cubicBezTo>
                    <a:pt x="11" y="25"/>
                    <a:pt x="10" y="24"/>
                    <a:pt x="10" y="23"/>
                  </a:cubicBezTo>
                  <a:cubicBezTo>
                    <a:pt x="10" y="23"/>
                    <a:pt x="10" y="23"/>
                    <a:pt x="10" y="23"/>
                  </a:cubicBezTo>
                  <a:cubicBezTo>
                    <a:pt x="10" y="17"/>
                    <a:pt x="10" y="17"/>
                    <a:pt x="10" y="17"/>
                  </a:cubicBezTo>
                  <a:cubicBezTo>
                    <a:pt x="10" y="16"/>
                    <a:pt x="10" y="16"/>
                    <a:pt x="10" y="16"/>
                  </a:cubicBezTo>
                  <a:cubicBezTo>
                    <a:pt x="10" y="16"/>
                    <a:pt x="10" y="16"/>
                    <a:pt x="10" y="16"/>
                  </a:cubicBezTo>
                  <a:cubicBezTo>
                    <a:pt x="10" y="16"/>
                    <a:pt x="10" y="16"/>
                    <a:pt x="10" y="15"/>
                  </a:cubicBezTo>
                  <a:cubicBezTo>
                    <a:pt x="10" y="15"/>
                    <a:pt x="10" y="15"/>
                    <a:pt x="10" y="15"/>
                  </a:cubicBezTo>
                  <a:cubicBezTo>
                    <a:pt x="10" y="15"/>
                    <a:pt x="9" y="15"/>
                    <a:pt x="8" y="15"/>
                  </a:cubicBezTo>
                  <a:cubicBezTo>
                    <a:pt x="8" y="15"/>
                    <a:pt x="8" y="15"/>
                    <a:pt x="8" y="15"/>
                  </a:cubicBezTo>
                  <a:cubicBezTo>
                    <a:pt x="1" y="15"/>
                    <a:pt x="1" y="15"/>
                    <a:pt x="1" y="15"/>
                  </a:cubicBezTo>
                  <a:cubicBezTo>
                    <a:pt x="1" y="15"/>
                    <a:pt x="0" y="16"/>
                    <a:pt x="0" y="17"/>
                  </a:cubicBezTo>
                  <a:cubicBezTo>
                    <a:pt x="0" y="17"/>
                    <a:pt x="0" y="17"/>
                    <a:pt x="0" y="17"/>
                  </a:cubicBezTo>
                  <a:cubicBezTo>
                    <a:pt x="2" y="28"/>
                    <a:pt x="2" y="28"/>
                    <a:pt x="2" y="28"/>
                  </a:cubicBezTo>
                  <a:cubicBezTo>
                    <a:pt x="2" y="29"/>
                    <a:pt x="2" y="30"/>
                    <a:pt x="3" y="30"/>
                  </a:cubicBezTo>
                  <a:cubicBezTo>
                    <a:pt x="3" y="30"/>
                    <a:pt x="3" y="30"/>
                    <a:pt x="3" y="30"/>
                  </a:cubicBezTo>
                  <a:cubicBezTo>
                    <a:pt x="16" y="38"/>
                    <a:pt x="16" y="38"/>
                    <a:pt x="16" y="38"/>
                  </a:cubicBezTo>
                  <a:cubicBezTo>
                    <a:pt x="16" y="38"/>
                    <a:pt x="17" y="38"/>
                    <a:pt x="18" y="38"/>
                  </a:cubicBezTo>
                  <a:cubicBezTo>
                    <a:pt x="18" y="38"/>
                    <a:pt x="18" y="38"/>
                    <a:pt x="18" y="38"/>
                  </a:cubicBezTo>
                  <a:cubicBezTo>
                    <a:pt x="25" y="36"/>
                    <a:pt x="25" y="36"/>
                    <a:pt x="25" y="36"/>
                  </a:cubicBezTo>
                  <a:cubicBezTo>
                    <a:pt x="26" y="35"/>
                    <a:pt x="27" y="36"/>
                    <a:pt x="27" y="36"/>
                  </a:cubicBezTo>
                  <a:cubicBezTo>
                    <a:pt x="27" y="36"/>
                    <a:pt x="27" y="36"/>
                    <a:pt x="27" y="36"/>
                  </a:cubicBezTo>
                  <a:cubicBezTo>
                    <a:pt x="50" y="59"/>
                    <a:pt x="50" y="59"/>
                    <a:pt x="50" y="59"/>
                  </a:cubicBezTo>
                  <a:cubicBezTo>
                    <a:pt x="50" y="59"/>
                    <a:pt x="50" y="60"/>
                    <a:pt x="50" y="61"/>
                  </a:cubicBezTo>
                  <a:cubicBezTo>
                    <a:pt x="50" y="61"/>
                    <a:pt x="50" y="61"/>
                    <a:pt x="50" y="61"/>
                  </a:cubicBezTo>
                  <a:cubicBezTo>
                    <a:pt x="48" y="68"/>
                    <a:pt x="48" y="68"/>
                    <a:pt x="48" y="68"/>
                  </a:cubicBezTo>
                  <a:cubicBezTo>
                    <a:pt x="47" y="69"/>
                    <a:pt x="47" y="70"/>
                    <a:pt x="48" y="70"/>
                  </a:cubicBezTo>
                  <a:cubicBezTo>
                    <a:pt x="48" y="70"/>
                    <a:pt x="48" y="70"/>
                    <a:pt x="48" y="70"/>
                  </a:cubicBezTo>
                  <a:cubicBezTo>
                    <a:pt x="56" y="83"/>
                    <a:pt x="56" y="83"/>
                    <a:pt x="56" y="83"/>
                  </a:cubicBezTo>
                  <a:cubicBezTo>
                    <a:pt x="56" y="84"/>
                    <a:pt x="57" y="84"/>
                    <a:pt x="58" y="84"/>
                  </a:cubicBezTo>
                  <a:cubicBezTo>
                    <a:pt x="58" y="84"/>
                    <a:pt x="58" y="84"/>
                    <a:pt x="58" y="84"/>
                  </a:cubicBezTo>
                  <a:cubicBezTo>
                    <a:pt x="69" y="85"/>
                    <a:pt x="69" y="85"/>
                    <a:pt x="69" y="85"/>
                  </a:cubicBezTo>
                  <a:cubicBezTo>
                    <a:pt x="69" y="86"/>
                    <a:pt x="70" y="85"/>
                    <a:pt x="70" y="84"/>
                  </a:cubicBezTo>
                  <a:cubicBezTo>
                    <a:pt x="70" y="84"/>
                    <a:pt x="70" y="84"/>
                    <a:pt x="70" y="84"/>
                  </a:cubicBezTo>
                  <a:cubicBezTo>
                    <a:pt x="70" y="77"/>
                    <a:pt x="70" y="77"/>
                    <a:pt x="70" y="77"/>
                  </a:cubicBezTo>
                  <a:cubicBezTo>
                    <a:pt x="70" y="76"/>
                    <a:pt x="69" y="76"/>
                    <a:pt x="69" y="76"/>
                  </a:cubicBezTo>
                  <a:cubicBezTo>
                    <a:pt x="69" y="76"/>
                    <a:pt x="69" y="76"/>
                    <a:pt x="69" y="76"/>
                  </a:cubicBezTo>
                  <a:cubicBezTo>
                    <a:pt x="63" y="75"/>
                    <a:pt x="63" y="75"/>
                    <a:pt x="63" y="75"/>
                  </a:cubicBezTo>
                  <a:cubicBezTo>
                    <a:pt x="62" y="75"/>
                    <a:pt x="61" y="75"/>
                    <a:pt x="61" y="74"/>
                  </a:cubicBezTo>
                  <a:cubicBezTo>
                    <a:pt x="61" y="74"/>
                    <a:pt x="61" y="74"/>
                    <a:pt x="61" y="74"/>
                  </a:cubicBezTo>
                  <a:cubicBezTo>
                    <a:pt x="58" y="69"/>
                    <a:pt x="58" y="69"/>
                    <a:pt x="58" y="69"/>
                  </a:cubicBezTo>
                  <a:cubicBezTo>
                    <a:pt x="57" y="68"/>
                    <a:pt x="57" y="67"/>
                    <a:pt x="57" y="66"/>
                  </a:cubicBezTo>
                  <a:cubicBezTo>
                    <a:pt x="57" y="66"/>
                    <a:pt x="57" y="66"/>
                    <a:pt x="57" y="66"/>
                  </a:cubicBezTo>
                  <a:cubicBezTo>
                    <a:pt x="59" y="60"/>
                    <a:pt x="59" y="60"/>
                    <a:pt x="59" y="60"/>
                  </a:cubicBezTo>
                  <a:cubicBezTo>
                    <a:pt x="60" y="60"/>
                    <a:pt x="60" y="59"/>
                    <a:pt x="61" y="59"/>
                  </a:cubicBezTo>
                  <a:cubicBezTo>
                    <a:pt x="61" y="59"/>
                    <a:pt x="61" y="59"/>
                    <a:pt x="61" y="59"/>
                  </a:cubicBezTo>
                  <a:cubicBezTo>
                    <a:pt x="67" y="57"/>
                    <a:pt x="67" y="57"/>
                    <a:pt x="67" y="57"/>
                  </a:cubicBezTo>
                  <a:cubicBezTo>
                    <a:pt x="68" y="56"/>
                    <a:pt x="69" y="57"/>
                    <a:pt x="69" y="57"/>
                  </a:cubicBezTo>
                  <a:cubicBezTo>
                    <a:pt x="69" y="57"/>
                    <a:pt x="69" y="57"/>
                    <a:pt x="69" y="57"/>
                  </a:cubicBezTo>
                  <a:cubicBezTo>
                    <a:pt x="75" y="60"/>
                    <a:pt x="75" y="60"/>
                    <a:pt x="75" y="60"/>
                  </a:cubicBezTo>
                  <a:cubicBezTo>
                    <a:pt x="75" y="61"/>
                    <a:pt x="76" y="61"/>
                    <a:pt x="76" y="62"/>
                  </a:cubicBezTo>
                  <a:cubicBezTo>
                    <a:pt x="76" y="62"/>
                    <a:pt x="76" y="62"/>
                    <a:pt x="76" y="62"/>
                  </a:cubicBezTo>
                  <a:cubicBezTo>
                    <a:pt x="77" y="68"/>
                    <a:pt x="77" y="68"/>
                    <a:pt x="77" y="68"/>
                  </a:cubicBezTo>
                  <a:cubicBezTo>
                    <a:pt x="77" y="69"/>
                    <a:pt x="77" y="70"/>
                    <a:pt x="77" y="70"/>
                  </a:cubicBezTo>
                  <a:cubicBezTo>
                    <a:pt x="77" y="70"/>
                    <a:pt x="77" y="70"/>
                    <a:pt x="77" y="70"/>
                  </a:cubicBezTo>
                  <a:cubicBezTo>
                    <a:pt x="77" y="70"/>
                    <a:pt x="77" y="70"/>
                    <a:pt x="77" y="70"/>
                  </a:cubicBezTo>
                  <a:cubicBezTo>
                    <a:pt x="77" y="70"/>
                    <a:pt x="77" y="70"/>
                    <a:pt x="77" y="70"/>
                  </a:cubicBezTo>
                  <a:cubicBezTo>
                    <a:pt x="77" y="70"/>
                    <a:pt x="77" y="70"/>
                    <a:pt x="78" y="70"/>
                  </a:cubicBezTo>
                  <a:cubicBezTo>
                    <a:pt x="78" y="70"/>
                    <a:pt x="78" y="70"/>
                    <a:pt x="78" y="70"/>
                  </a:cubicBezTo>
                  <a:cubicBezTo>
                    <a:pt x="85" y="70"/>
                    <a:pt x="85" y="70"/>
                    <a:pt x="85" y="70"/>
                  </a:cubicBezTo>
                  <a:cubicBezTo>
                    <a:pt x="86" y="70"/>
                    <a:pt x="86" y="69"/>
                    <a:pt x="86" y="69"/>
                  </a:cubicBezTo>
                  <a:cubicBezTo>
                    <a:pt x="86" y="69"/>
                    <a:pt x="86" y="69"/>
                    <a:pt x="86" y="69"/>
                  </a:cubicBezTo>
                  <a:cubicBezTo>
                    <a:pt x="85" y="57"/>
                    <a:pt x="85" y="57"/>
                    <a:pt x="85" y="57"/>
                  </a:cubicBezTo>
                  <a:cubicBezTo>
                    <a:pt x="85" y="57"/>
                    <a:pt x="84" y="56"/>
                    <a:pt x="84" y="55"/>
                  </a:cubicBezTo>
                  <a:cubicBezTo>
                    <a:pt x="84" y="55"/>
                    <a:pt x="84" y="55"/>
                    <a:pt x="84" y="55"/>
                  </a:cubicBezTo>
                  <a:cubicBezTo>
                    <a:pt x="71" y="47"/>
                    <a:pt x="71" y="47"/>
                    <a:pt x="71" y="47"/>
                  </a:cubicBezTo>
                  <a:cubicBezTo>
                    <a:pt x="70" y="47"/>
                    <a:pt x="69" y="47"/>
                    <a:pt x="68" y="47"/>
                  </a:cubicBezTo>
                  <a:cubicBezTo>
                    <a:pt x="68" y="47"/>
                    <a:pt x="68" y="47"/>
                    <a:pt x="68" y="47"/>
                  </a:cubicBezTo>
                  <a:cubicBezTo>
                    <a:pt x="61" y="50"/>
                    <a:pt x="61" y="50"/>
                    <a:pt x="61" y="50"/>
                  </a:cubicBezTo>
                  <a:cubicBezTo>
                    <a:pt x="61" y="50"/>
                    <a:pt x="60" y="50"/>
                    <a:pt x="59" y="49"/>
                  </a:cubicBezTo>
                  <a:cubicBezTo>
                    <a:pt x="59" y="49"/>
                    <a:pt x="59" y="49"/>
                    <a:pt x="59" y="49"/>
                  </a:cubicBezTo>
                  <a:cubicBezTo>
                    <a:pt x="37" y="27"/>
                    <a:pt x="37" y="27"/>
                    <a:pt x="37" y="27"/>
                  </a:cubicBezTo>
                  <a:cubicBezTo>
                    <a:pt x="36" y="26"/>
                    <a:pt x="36" y="25"/>
                    <a:pt x="36" y="25"/>
                  </a:cubicBezTo>
                  <a:cubicBezTo>
                    <a:pt x="36" y="25"/>
                    <a:pt x="36" y="25"/>
                    <a:pt x="36" y="25"/>
                  </a:cubicBezTo>
                  <a:cubicBezTo>
                    <a:pt x="39" y="17"/>
                    <a:pt x="39" y="17"/>
                    <a:pt x="39" y="17"/>
                  </a:cubicBezTo>
                  <a:cubicBezTo>
                    <a:pt x="39" y="17"/>
                    <a:pt x="39" y="16"/>
                    <a:pt x="38" y="15"/>
                  </a:cubicBezTo>
                  <a:cubicBezTo>
                    <a:pt x="38" y="15"/>
                    <a:pt x="38" y="15"/>
                    <a:pt x="38" y="15"/>
                  </a:cubicBezTo>
                  <a:cubicBezTo>
                    <a:pt x="30" y="2"/>
                    <a:pt x="30" y="2"/>
                    <a:pt x="30" y="2"/>
                  </a:cubicBezTo>
                  <a:cubicBezTo>
                    <a:pt x="30" y="2"/>
                    <a:pt x="29" y="1"/>
                    <a:pt x="29" y="1"/>
                  </a:cubicBezTo>
                  <a:cubicBezTo>
                    <a:pt x="29" y="1"/>
                    <a:pt x="29" y="1"/>
                    <a:pt x="29" y="1"/>
                  </a:cubicBezTo>
                  <a:cubicBezTo>
                    <a:pt x="18" y="0"/>
                    <a:pt x="18" y="0"/>
                    <a:pt x="18" y="0"/>
                  </a:cubicBezTo>
                  <a:cubicBezTo>
                    <a:pt x="18" y="0"/>
                    <a:pt x="17" y="0"/>
                    <a:pt x="17" y="0"/>
                  </a:cubicBezTo>
                  <a:cubicBezTo>
                    <a:pt x="17" y="0"/>
                    <a:pt x="16" y="0"/>
                    <a:pt x="16" y="1"/>
                  </a:cubicBez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301" name="Group 300"/>
          <p:cNvGrpSpPr/>
          <p:nvPr/>
        </p:nvGrpSpPr>
        <p:grpSpPr>
          <a:xfrm>
            <a:off x="4501203" y="5299231"/>
            <a:ext cx="838185" cy="371054"/>
            <a:chOff x="3524030" y="4937300"/>
            <a:chExt cx="1170789" cy="518293"/>
          </a:xfrm>
        </p:grpSpPr>
        <p:sp>
          <p:nvSpPr>
            <p:cNvPr id="302" name="TextBox 301"/>
            <p:cNvSpPr txBox="1">
              <a:spLocks noChangeArrowheads="1"/>
            </p:cNvSpPr>
            <p:nvPr/>
          </p:nvSpPr>
          <p:spPr bwMode="auto">
            <a:xfrm>
              <a:off x="3524030" y="4937300"/>
              <a:ext cx="1170789" cy="518293"/>
            </a:xfrm>
            <a:prstGeom prst="rect">
              <a:avLst/>
            </a:prstGeom>
            <a:solidFill>
              <a:srgbClr val="00BCF2"/>
            </a:solidFill>
            <a:ln w="9525">
              <a:noFill/>
              <a:miter lim="800000"/>
              <a:headEnd/>
              <a:tailEnd/>
            </a:ln>
          </p:spPr>
          <p:txBody>
            <a:bodyPr wrap="none" lIns="268927" tIns="62715" rIns="89593" bIns="62715"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Create</a:t>
              </a:r>
            </a:p>
            <a:p>
              <a:pPr defTabSz="914206">
                <a:lnSpc>
                  <a:spcPct val="90000"/>
                </a:lnSpc>
                <a:defRPr/>
              </a:pPr>
              <a:r>
                <a:rPr lang="en-US" sz="882" kern="0" dirty="0">
                  <a:gradFill>
                    <a:gsLst>
                      <a:gs pos="75229">
                        <a:srgbClr val="FFFFFF"/>
                      </a:gs>
                      <a:gs pos="26250">
                        <a:srgbClr val="FFFFFF"/>
                      </a:gs>
                    </a:gsLst>
                    <a:lin ang="5400000" scaled="0"/>
                  </a:gradFill>
                </a:rPr>
                <a:t>extra disk</a:t>
              </a:r>
            </a:p>
          </p:txBody>
        </p:sp>
        <p:sp>
          <p:nvSpPr>
            <p:cNvPr id="303" name="Freeform 595"/>
            <p:cNvSpPr>
              <a:spLocks noChangeAspect="1" noEditPoints="1"/>
            </p:cNvSpPr>
            <p:nvPr/>
          </p:nvSpPr>
          <p:spPr bwMode="auto">
            <a:xfrm>
              <a:off x="3595645" y="5110552"/>
              <a:ext cx="223938" cy="171787"/>
            </a:xfrm>
            <a:custGeom>
              <a:avLst/>
              <a:gdLst>
                <a:gd name="T0" fmla="*/ 401 w 402"/>
                <a:gd name="T1" fmla="*/ 221 h 308"/>
                <a:gd name="T2" fmla="*/ 383 w 402"/>
                <a:gd name="T3" fmla="*/ 156 h 308"/>
                <a:gd name="T4" fmla="*/ 351 w 402"/>
                <a:gd name="T5" fmla="*/ 43 h 308"/>
                <a:gd name="T6" fmla="*/ 340 w 402"/>
                <a:gd name="T7" fmla="*/ 3 h 308"/>
                <a:gd name="T8" fmla="*/ 338 w 402"/>
                <a:gd name="T9" fmla="*/ 1 h 308"/>
                <a:gd name="T10" fmla="*/ 336 w 402"/>
                <a:gd name="T11" fmla="*/ 0 h 308"/>
                <a:gd name="T12" fmla="*/ 246 w 402"/>
                <a:gd name="T13" fmla="*/ 0 h 308"/>
                <a:gd name="T14" fmla="*/ 184 w 402"/>
                <a:gd name="T15" fmla="*/ 0 h 308"/>
                <a:gd name="T16" fmla="*/ 77 w 402"/>
                <a:gd name="T17" fmla="*/ 0 h 308"/>
                <a:gd name="T18" fmla="*/ 66 w 402"/>
                <a:gd name="T19" fmla="*/ 0 h 308"/>
                <a:gd name="T20" fmla="*/ 62 w 402"/>
                <a:gd name="T21" fmla="*/ 3 h 308"/>
                <a:gd name="T22" fmla="*/ 44 w 402"/>
                <a:gd name="T23" fmla="*/ 68 h 308"/>
                <a:gd name="T24" fmla="*/ 12 w 402"/>
                <a:gd name="T25" fmla="*/ 181 h 308"/>
                <a:gd name="T26" fmla="*/ 1 w 402"/>
                <a:gd name="T27" fmla="*/ 221 h 308"/>
                <a:gd name="T28" fmla="*/ 5 w 402"/>
                <a:gd name="T29" fmla="*/ 227 h 308"/>
                <a:gd name="T30" fmla="*/ 80 w 402"/>
                <a:gd name="T31" fmla="*/ 227 h 308"/>
                <a:gd name="T32" fmla="*/ 188 w 402"/>
                <a:gd name="T33" fmla="*/ 227 h 308"/>
                <a:gd name="T34" fmla="*/ 234 w 402"/>
                <a:gd name="T35" fmla="*/ 227 h 308"/>
                <a:gd name="T36" fmla="*/ 350 w 402"/>
                <a:gd name="T37" fmla="*/ 227 h 308"/>
                <a:gd name="T38" fmla="*/ 397 w 402"/>
                <a:gd name="T39" fmla="*/ 227 h 308"/>
                <a:gd name="T40" fmla="*/ 401 w 402"/>
                <a:gd name="T41" fmla="*/ 221 h 308"/>
                <a:gd name="T42" fmla="*/ 397 w 402"/>
                <a:gd name="T43" fmla="*/ 237 h 308"/>
                <a:gd name="T44" fmla="*/ 352 w 402"/>
                <a:gd name="T45" fmla="*/ 237 h 308"/>
                <a:gd name="T46" fmla="*/ 247 w 402"/>
                <a:gd name="T47" fmla="*/ 237 h 308"/>
                <a:gd name="T48" fmla="*/ 126 w 402"/>
                <a:gd name="T49" fmla="*/ 237 h 308"/>
                <a:gd name="T50" fmla="*/ 32 w 402"/>
                <a:gd name="T51" fmla="*/ 237 h 308"/>
                <a:gd name="T52" fmla="*/ 5 w 402"/>
                <a:gd name="T53" fmla="*/ 237 h 308"/>
                <a:gd name="T54" fmla="*/ 1 w 402"/>
                <a:gd name="T55" fmla="*/ 241 h 308"/>
                <a:gd name="T56" fmla="*/ 1 w 402"/>
                <a:gd name="T57" fmla="*/ 304 h 308"/>
                <a:gd name="T58" fmla="*/ 5 w 402"/>
                <a:gd name="T59" fmla="*/ 308 h 308"/>
                <a:gd name="T60" fmla="*/ 50 w 402"/>
                <a:gd name="T61" fmla="*/ 308 h 308"/>
                <a:gd name="T62" fmla="*/ 155 w 402"/>
                <a:gd name="T63" fmla="*/ 308 h 308"/>
                <a:gd name="T64" fmla="*/ 276 w 402"/>
                <a:gd name="T65" fmla="*/ 308 h 308"/>
                <a:gd name="T66" fmla="*/ 370 w 402"/>
                <a:gd name="T67" fmla="*/ 308 h 308"/>
                <a:gd name="T68" fmla="*/ 397 w 402"/>
                <a:gd name="T69" fmla="*/ 308 h 308"/>
                <a:gd name="T70" fmla="*/ 400 w 402"/>
                <a:gd name="T71" fmla="*/ 307 h 308"/>
                <a:gd name="T72" fmla="*/ 401 w 402"/>
                <a:gd name="T73" fmla="*/ 304 h 308"/>
                <a:gd name="T74" fmla="*/ 401 w 402"/>
                <a:gd name="T75" fmla="*/ 241 h 308"/>
                <a:gd name="T76" fmla="*/ 397 w 402"/>
                <a:gd name="T77" fmla="*/ 237 h 308"/>
                <a:gd name="T78" fmla="*/ 44 w 402"/>
                <a:gd name="T79" fmla="*/ 285 h 308"/>
                <a:gd name="T80" fmla="*/ 32 w 402"/>
                <a:gd name="T81" fmla="*/ 272 h 308"/>
                <a:gd name="T82" fmla="*/ 44 w 402"/>
                <a:gd name="T83" fmla="*/ 260 h 308"/>
                <a:gd name="T84" fmla="*/ 57 w 402"/>
                <a:gd name="T85" fmla="*/ 272 h 308"/>
                <a:gd name="T86" fmla="*/ 44 w 402"/>
                <a:gd name="T87" fmla="*/ 285 h 308"/>
                <a:gd name="T88" fmla="*/ 269 w 402"/>
                <a:gd name="T89" fmla="*/ 285 h 308"/>
                <a:gd name="T90" fmla="*/ 256 w 402"/>
                <a:gd name="T91" fmla="*/ 272 h 308"/>
                <a:gd name="T92" fmla="*/ 269 w 402"/>
                <a:gd name="T93" fmla="*/ 260 h 308"/>
                <a:gd name="T94" fmla="*/ 282 w 402"/>
                <a:gd name="T95" fmla="*/ 272 h 308"/>
                <a:gd name="T96" fmla="*/ 269 w 402"/>
                <a:gd name="T97" fmla="*/ 285 h 308"/>
                <a:gd name="T98" fmla="*/ 313 w 402"/>
                <a:gd name="T99" fmla="*/ 285 h 308"/>
                <a:gd name="T100" fmla="*/ 300 w 402"/>
                <a:gd name="T101" fmla="*/ 272 h 308"/>
                <a:gd name="T102" fmla="*/ 313 w 402"/>
                <a:gd name="T103" fmla="*/ 260 h 308"/>
                <a:gd name="T104" fmla="*/ 326 w 402"/>
                <a:gd name="T105" fmla="*/ 272 h 308"/>
                <a:gd name="T106" fmla="*/ 313 w 402"/>
                <a:gd name="T107" fmla="*/ 285 h 308"/>
                <a:gd name="T108" fmla="*/ 358 w 402"/>
                <a:gd name="T109" fmla="*/ 285 h 308"/>
                <a:gd name="T110" fmla="*/ 345 w 402"/>
                <a:gd name="T111" fmla="*/ 272 h 308"/>
                <a:gd name="T112" fmla="*/ 358 w 402"/>
                <a:gd name="T113" fmla="*/ 260 h 308"/>
                <a:gd name="T114" fmla="*/ 370 w 402"/>
                <a:gd name="T115" fmla="*/ 272 h 308"/>
                <a:gd name="T116" fmla="*/ 358 w 402"/>
                <a:gd name="T117" fmla="*/ 285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 h="308">
                  <a:moveTo>
                    <a:pt x="401" y="221"/>
                  </a:moveTo>
                  <a:cubicBezTo>
                    <a:pt x="395" y="199"/>
                    <a:pt x="389" y="178"/>
                    <a:pt x="383" y="156"/>
                  </a:cubicBezTo>
                  <a:cubicBezTo>
                    <a:pt x="372" y="118"/>
                    <a:pt x="361" y="81"/>
                    <a:pt x="351" y="43"/>
                  </a:cubicBezTo>
                  <a:cubicBezTo>
                    <a:pt x="347" y="30"/>
                    <a:pt x="343" y="17"/>
                    <a:pt x="340" y="3"/>
                  </a:cubicBezTo>
                  <a:cubicBezTo>
                    <a:pt x="339" y="2"/>
                    <a:pt x="339" y="1"/>
                    <a:pt x="338" y="1"/>
                  </a:cubicBezTo>
                  <a:cubicBezTo>
                    <a:pt x="338" y="0"/>
                    <a:pt x="337" y="0"/>
                    <a:pt x="336" y="0"/>
                  </a:cubicBezTo>
                  <a:cubicBezTo>
                    <a:pt x="306" y="0"/>
                    <a:pt x="276" y="0"/>
                    <a:pt x="246" y="0"/>
                  </a:cubicBezTo>
                  <a:cubicBezTo>
                    <a:pt x="226" y="0"/>
                    <a:pt x="205" y="0"/>
                    <a:pt x="184" y="0"/>
                  </a:cubicBezTo>
                  <a:cubicBezTo>
                    <a:pt x="149" y="0"/>
                    <a:pt x="113" y="0"/>
                    <a:pt x="77" y="0"/>
                  </a:cubicBezTo>
                  <a:cubicBezTo>
                    <a:pt x="73" y="0"/>
                    <a:pt x="70" y="0"/>
                    <a:pt x="66" y="0"/>
                  </a:cubicBezTo>
                  <a:cubicBezTo>
                    <a:pt x="65" y="0"/>
                    <a:pt x="63" y="1"/>
                    <a:pt x="62" y="3"/>
                  </a:cubicBezTo>
                  <a:cubicBezTo>
                    <a:pt x="56" y="25"/>
                    <a:pt x="50" y="47"/>
                    <a:pt x="44" y="68"/>
                  </a:cubicBezTo>
                  <a:cubicBezTo>
                    <a:pt x="33" y="106"/>
                    <a:pt x="23" y="143"/>
                    <a:pt x="12" y="181"/>
                  </a:cubicBezTo>
                  <a:cubicBezTo>
                    <a:pt x="9" y="194"/>
                    <a:pt x="5" y="208"/>
                    <a:pt x="1" y="221"/>
                  </a:cubicBezTo>
                  <a:cubicBezTo>
                    <a:pt x="0" y="224"/>
                    <a:pt x="3" y="227"/>
                    <a:pt x="5" y="227"/>
                  </a:cubicBezTo>
                  <a:cubicBezTo>
                    <a:pt x="30" y="227"/>
                    <a:pt x="55" y="227"/>
                    <a:pt x="80" y="227"/>
                  </a:cubicBezTo>
                  <a:cubicBezTo>
                    <a:pt x="116" y="227"/>
                    <a:pt x="152" y="227"/>
                    <a:pt x="188" y="227"/>
                  </a:cubicBezTo>
                  <a:cubicBezTo>
                    <a:pt x="203" y="227"/>
                    <a:pt x="218" y="227"/>
                    <a:pt x="234" y="227"/>
                  </a:cubicBezTo>
                  <a:cubicBezTo>
                    <a:pt x="272" y="227"/>
                    <a:pt x="311" y="227"/>
                    <a:pt x="350" y="227"/>
                  </a:cubicBezTo>
                  <a:cubicBezTo>
                    <a:pt x="365" y="227"/>
                    <a:pt x="381" y="227"/>
                    <a:pt x="397" y="227"/>
                  </a:cubicBezTo>
                  <a:cubicBezTo>
                    <a:pt x="399" y="227"/>
                    <a:pt x="402" y="224"/>
                    <a:pt x="401" y="221"/>
                  </a:cubicBezTo>
                  <a:close/>
                  <a:moveTo>
                    <a:pt x="397" y="237"/>
                  </a:moveTo>
                  <a:cubicBezTo>
                    <a:pt x="382" y="237"/>
                    <a:pt x="367" y="237"/>
                    <a:pt x="352" y="237"/>
                  </a:cubicBezTo>
                  <a:cubicBezTo>
                    <a:pt x="317" y="237"/>
                    <a:pt x="282" y="237"/>
                    <a:pt x="247" y="237"/>
                  </a:cubicBezTo>
                  <a:cubicBezTo>
                    <a:pt x="207" y="237"/>
                    <a:pt x="167" y="237"/>
                    <a:pt x="126" y="237"/>
                  </a:cubicBezTo>
                  <a:cubicBezTo>
                    <a:pt x="95" y="237"/>
                    <a:pt x="63" y="237"/>
                    <a:pt x="32" y="237"/>
                  </a:cubicBezTo>
                  <a:cubicBezTo>
                    <a:pt x="23" y="237"/>
                    <a:pt x="14" y="237"/>
                    <a:pt x="5" y="237"/>
                  </a:cubicBezTo>
                  <a:cubicBezTo>
                    <a:pt x="3" y="237"/>
                    <a:pt x="1" y="238"/>
                    <a:pt x="1" y="241"/>
                  </a:cubicBezTo>
                  <a:cubicBezTo>
                    <a:pt x="1" y="262"/>
                    <a:pt x="1" y="283"/>
                    <a:pt x="1" y="304"/>
                  </a:cubicBezTo>
                  <a:cubicBezTo>
                    <a:pt x="1" y="306"/>
                    <a:pt x="3" y="308"/>
                    <a:pt x="5" y="308"/>
                  </a:cubicBezTo>
                  <a:cubicBezTo>
                    <a:pt x="20" y="308"/>
                    <a:pt x="35" y="308"/>
                    <a:pt x="50" y="308"/>
                  </a:cubicBezTo>
                  <a:cubicBezTo>
                    <a:pt x="85" y="308"/>
                    <a:pt x="120" y="308"/>
                    <a:pt x="155" y="308"/>
                  </a:cubicBezTo>
                  <a:cubicBezTo>
                    <a:pt x="195" y="308"/>
                    <a:pt x="235" y="308"/>
                    <a:pt x="276" y="308"/>
                  </a:cubicBezTo>
                  <a:cubicBezTo>
                    <a:pt x="307" y="308"/>
                    <a:pt x="339" y="308"/>
                    <a:pt x="370" y="308"/>
                  </a:cubicBezTo>
                  <a:cubicBezTo>
                    <a:pt x="379" y="308"/>
                    <a:pt x="388" y="308"/>
                    <a:pt x="397" y="308"/>
                  </a:cubicBezTo>
                  <a:cubicBezTo>
                    <a:pt x="398" y="308"/>
                    <a:pt x="399" y="308"/>
                    <a:pt x="400" y="307"/>
                  </a:cubicBezTo>
                  <a:cubicBezTo>
                    <a:pt x="400" y="306"/>
                    <a:pt x="401" y="305"/>
                    <a:pt x="401" y="304"/>
                  </a:cubicBezTo>
                  <a:cubicBezTo>
                    <a:pt x="401" y="283"/>
                    <a:pt x="401" y="262"/>
                    <a:pt x="401" y="241"/>
                  </a:cubicBezTo>
                  <a:cubicBezTo>
                    <a:pt x="401" y="238"/>
                    <a:pt x="399" y="237"/>
                    <a:pt x="397" y="237"/>
                  </a:cubicBezTo>
                  <a:close/>
                  <a:moveTo>
                    <a:pt x="44" y="285"/>
                  </a:moveTo>
                  <a:cubicBezTo>
                    <a:pt x="37" y="285"/>
                    <a:pt x="32" y="279"/>
                    <a:pt x="32" y="272"/>
                  </a:cubicBezTo>
                  <a:cubicBezTo>
                    <a:pt x="32" y="265"/>
                    <a:pt x="37" y="260"/>
                    <a:pt x="44" y="260"/>
                  </a:cubicBezTo>
                  <a:cubicBezTo>
                    <a:pt x="51" y="260"/>
                    <a:pt x="57" y="265"/>
                    <a:pt x="57" y="272"/>
                  </a:cubicBezTo>
                  <a:cubicBezTo>
                    <a:pt x="57" y="279"/>
                    <a:pt x="51" y="285"/>
                    <a:pt x="44" y="285"/>
                  </a:cubicBezTo>
                  <a:close/>
                  <a:moveTo>
                    <a:pt x="269" y="285"/>
                  </a:moveTo>
                  <a:cubicBezTo>
                    <a:pt x="262" y="285"/>
                    <a:pt x="256" y="279"/>
                    <a:pt x="256" y="272"/>
                  </a:cubicBezTo>
                  <a:cubicBezTo>
                    <a:pt x="256" y="265"/>
                    <a:pt x="262" y="260"/>
                    <a:pt x="269" y="260"/>
                  </a:cubicBezTo>
                  <a:cubicBezTo>
                    <a:pt x="276" y="260"/>
                    <a:pt x="282" y="265"/>
                    <a:pt x="282" y="272"/>
                  </a:cubicBezTo>
                  <a:cubicBezTo>
                    <a:pt x="282" y="279"/>
                    <a:pt x="276" y="285"/>
                    <a:pt x="269" y="285"/>
                  </a:cubicBezTo>
                  <a:close/>
                  <a:moveTo>
                    <a:pt x="313" y="285"/>
                  </a:moveTo>
                  <a:cubicBezTo>
                    <a:pt x="306" y="285"/>
                    <a:pt x="300" y="279"/>
                    <a:pt x="300" y="272"/>
                  </a:cubicBezTo>
                  <a:cubicBezTo>
                    <a:pt x="300" y="265"/>
                    <a:pt x="306" y="260"/>
                    <a:pt x="313" y="260"/>
                  </a:cubicBezTo>
                  <a:cubicBezTo>
                    <a:pt x="320" y="260"/>
                    <a:pt x="326" y="265"/>
                    <a:pt x="326" y="272"/>
                  </a:cubicBezTo>
                  <a:cubicBezTo>
                    <a:pt x="326" y="279"/>
                    <a:pt x="320" y="285"/>
                    <a:pt x="313" y="285"/>
                  </a:cubicBezTo>
                  <a:close/>
                  <a:moveTo>
                    <a:pt x="358" y="285"/>
                  </a:moveTo>
                  <a:cubicBezTo>
                    <a:pt x="351" y="285"/>
                    <a:pt x="345" y="279"/>
                    <a:pt x="345" y="272"/>
                  </a:cubicBezTo>
                  <a:cubicBezTo>
                    <a:pt x="345" y="265"/>
                    <a:pt x="351" y="260"/>
                    <a:pt x="358" y="260"/>
                  </a:cubicBezTo>
                  <a:cubicBezTo>
                    <a:pt x="365" y="260"/>
                    <a:pt x="370" y="265"/>
                    <a:pt x="370" y="272"/>
                  </a:cubicBezTo>
                  <a:cubicBezTo>
                    <a:pt x="370" y="279"/>
                    <a:pt x="365" y="285"/>
                    <a:pt x="358" y="285"/>
                  </a:cubicBez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304" name="Group 303"/>
          <p:cNvGrpSpPr/>
          <p:nvPr/>
        </p:nvGrpSpPr>
        <p:grpSpPr>
          <a:xfrm>
            <a:off x="4925682" y="5737365"/>
            <a:ext cx="726608" cy="371054"/>
            <a:chOff x="4150313" y="5550283"/>
            <a:chExt cx="1014935" cy="518293"/>
          </a:xfrm>
        </p:grpSpPr>
        <p:sp>
          <p:nvSpPr>
            <p:cNvPr id="305" name="TextBox 304"/>
            <p:cNvSpPr txBox="1">
              <a:spLocks noChangeArrowheads="1"/>
            </p:cNvSpPr>
            <p:nvPr/>
          </p:nvSpPr>
          <p:spPr bwMode="auto">
            <a:xfrm>
              <a:off x="4150313" y="5550283"/>
              <a:ext cx="1014935" cy="518293"/>
            </a:xfrm>
            <a:prstGeom prst="rect">
              <a:avLst/>
            </a:prstGeom>
            <a:solidFill>
              <a:srgbClr val="00BCF2"/>
            </a:solidFill>
            <a:ln w="9525">
              <a:noFill/>
              <a:miter lim="800000"/>
              <a:headEnd/>
              <a:tailEnd/>
            </a:ln>
          </p:spPr>
          <p:txBody>
            <a:bodyPr wrap="none" lIns="268927" tIns="62715" rIns="89593" bIns="62715"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Update</a:t>
              </a:r>
            </a:p>
            <a:p>
              <a:pPr defTabSz="914206">
                <a:lnSpc>
                  <a:spcPct val="90000"/>
                </a:lnSpc>
                <a:defRPr/>
              </a:pPr>
              <a:r>
                <a:rPr lang="en-US" sz="882" kern="0" dirty="0">
                  <a:gradFill>
                    <a:gsLst>
                      <a:gs pos="75229">
                        <a:srgbClr val="FFFFFF"/>
                      </a:gs>
                      <a:gs pos="26250">
                        <a:srgbClr val="FFFFFF"/>
                      </a:gs>
                    </a:gsLst>
                    <a:lin ang="5400000" scaled="0"/>
                  </a:gradFill>
                </a:rPr>
                <a:t>server</a:t>
              </a:r>
            </a:p>
          </p:txBody>
        </p:sp>
        <p:sp>
          <p:nvSpPr>
            <p:cNvPr id="306" name="Freeform 143"/>
            <p:cNvSpPr>
              <a:spLocks noChangeAspect="1" noEditPoints="1"/>
            </p:cNvSpPr>
            <p:nvPr/>
          </p:nvSpPr>
          <p:spPr bwMode="auto">
            <a:xfrm>
              <a:off x="4237948" y="5677230"/>
              <a:ext cx="202437" cy="264397"/>
            </a:xfrm>
            <a:custGeom>
              <a:avLst/>
              <a:gdLst>
                <a:gd name="T0" fmla="*/ 702 w 709"/>
                <a:gd name="T1" fmla="*/ 208 h 926"/>
                <a:gd name="T2" fmla="*/ 702 w 709"/>
                <a:gd name="T3" fmla="*/ 158 h 926"/>
                <a:gd name="T4" fmla="*/ 428 w 709"/>
                <a:gd name="T5" fmla="*/ 0 h 926"/>
                <a:gd name="T6" fmla="*/ 19 w 709"/>
                <a:gd name="T7" fmla="*/ 130 h 926"/>
                <a:gd name="T8" fmla="*/ 19 w 709"/>
                <a:gd name="T9" fmla="*/ 175 h 926"/>
                <a:gd name="T10" fmla="*/ 0 w 709"/>
                <a:gd name="T11" fmla="*/ 180 h 926"/>
                <a:gd name="T12" fmla="*/ 0 w 709"/>
                <a:gd name="T13" fmla="*/ 789 h 926"/>
                <a:gd name="T14" fmla="*/ 412 w 709"/>
                <a:gd name="T15" fmla="*/ 926 h 926"/>
                <a:gd name="T16" fmla="*/ 709 w 709"/>
                <a:gd name="T17" fmla="*/ 754 h 926"/>
                <a:gd name="T18" fmla="*/ 709 w 709"/>
                <a:gd name="T19" fmla="*/ 210 h 926"/>
                <a:gd name="T20" fmla="*/ 702 w 709"/>
                <a:gd name="T21" fmla="*/ 208 h 926"/>
                <a:gd name="T22" fmla="*/ 442 w 709"/>
                <a:gd name="T23" fmla="*/ 31 h 926"/>
                <a:gd name="T24" fmla="*/ 695 w 709"/>
                <a:gd name="T25" fmla="*/ 170 h 926"/>
                <a:gd name="T26" fmla="*/ 695 w 709"/>
                <a:gd name="T27" fmla="*/ 189 h 926"/>
                <a:gd name="T28" fmla="*/ 442 w 709"/>
                <a:gd name="T29" fmla="*/ 59 h 926"/>
                <a:gd name="T30" fmla="*/ 442 w 709"/>
                <a:gd name="T31" fmla="*/ 31 h 926"/>
                <a:gd name="T32" fmla="*/ 702 w 709"/>
                <a:gd name="T33" fmla="*/ 730 h 926"/>
                <a:gd name="T34" fmla="*/ 430 w 709"/>
                <a:gd name="T35" fmla="*/ 872 h 926"/>
                <a:gd name="T36" fmla="*/ 430 w 709"/>
                <a:gd name="T37" fmla="*/ 817 h 926"/>
                <a:gd name="T38" fmla="*/ 702 w 709"/>
                <a:gd name="T39" fmla="*/ 692 h 926"/>
                <a:gd name="T40" fmla="*/ 702 w 709"/>
                <a:gd name="T41" fmla="*/ 730 h 926"/>
                <a:gd name="T42" fmla="*/ 702 w 709"/>
                <a:gd name="T43" fmla="*/ 652 h 926"/>
                <a:gd name="T44" fmla="*/ 430 w 709"/>
                <a:gd name="T45" fmla="*/ 756 h 926"/>
                <a:gd name="T46" fmla="*/ 430 w 709"/>
                <a:gd name="T47" fmla="*/ 699 h 926"/>
                <a:gd name="T48" fmla="*/ 702 w 709"/>
                <a:gd name="T49" fmla="*/ 617 h 926"/>
                <a:gd name="T50" fmla="*/ 702 w 709"/>
                <a:gd name="T51" fmla="*/ 652 h 926"/>
                <a:gd name="T52" fmla="*/ 702 w 709"/>
                <a:gd name="T53" fmla="*/ 576 h 926"/>
                <a:gd name="T54" fmla="*/ 430 w 709"/>
                <a:gd name="T55" fmla="*/ 638 h 926"/>
                <a:gd name="T56" fmla="*/ 430 w 709"/>
                <a:gd name="T57" fmla="*/ 584 h 926"/>
                <a:gd name="T58" fmla="*/ 702 w 709"/>
                <a:gd name="T59" fmla="*/ 541 h 926"/>
                <a:gd name="T60" fmla="*/ 702 w 709"/>
                <a:gd name="T61" fmla="*/ 576 h 926"/>
                <a:gd name="T62" fmla="*/ 702 w 709"/>
                <a:gd name="T63" fmla="*/ 501 h 926"/>
                <a:gd name="T64" fmla="*/ 430 w 709"/>
                <a:gd name="T65" fmla="*/ 522 h 926"/>
                <a:gd name="T66" fmla="*/ 430 w 709"/>
                <a:gd name="T67" fmla="*/ 468 h 926"/>
                <a:gd name="T68" fmla="*/ 702 w 709"/>
                <a:gd name="T69" fmla="*/ 463 h 926"/>
                <a:gd name="T70" fmla="*/ 702 w 709"/>
                <a:gd name="T71" fmla="*/ 501 h 926"/>
                <a:gd name="T72" fmla="*/ 702 w 709"/>
                <a:gd name="T73" fmla="*/ 423 h 926"/>
                <a:gd name="T74" fmla="*/ 430 w 709"/>
                <a:gd name="T75" fmla="*/ 406 h 926"/>
                <a:gd name="T76" fmla="*/ 430 w 709"/>
                <a:gd name="T77" fmla="*/ 350 h 926"/>
                <a:gd name="T78" fmla="*/ 702 w 709"/>
                <a:gd name="T79" fmla="*/ 388 h 926"/>
                <a:gd name="T80" fmla="*/ 702 w 709"/>
                <a:gd name="T81" fmla="*/ 423 h 926"/>
                <a:gd name="T82" fmla="*/ 702 w 709"/>
                <a:gd name="T83" fmla="*/ 347 h 926"/>
                <a:gd name="T84" fmla="*/ 430 w 709"/>
                <a:gd name="T85" fmla="*/ 291 h 926"/>
                <a:gd name="T86" fmla="*/ 430 w 709"/>
                <a:gd name="T87" fmla="*/ 234 h 926"/>
                <a:gd name="T88" fmla="*/ 702 w 709"/>
                <a:gd name="T89" fmla="*/ 312 h 926"/>
                <a:gd name="T90" fmla="*/ 702 w 709"/>
                <a:gd name="T91" fmla="*/ 347 h 926"/>
                <a:gd name="T92" fmla="*/ 702 w 709"/>
                <a:gd name="T93" fmla="*/ 272 h 926"/>
                <a:gd name="T94" fmla="*/ 430 w 709"/>
                <a:gd name="T95" fmla="*/ 173 h 926"/>
                <a:gd name="T96" fmla="*/ 430 w 709"/>
                <a:gd name="T97" fmla="*/ 118 h 926"/>
                <a:gd name="T98" fmla="*/ 702 w 709"/>
                <a:gd name="T99" fmla="*/ 234 h 926"/>
                <a:gd name="T100" fmla="*/ 702 w 709"/>
                <a:gd name="T101" fmla="*/ 27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9" h="926">
                  <a:moveTo>
                    <a:pt x="702" y="208"/>
                  </a:moveTo>
                  <a:lnTo>
                    <a:pt x="702" y="158"/>
                  </a:lnTo>
                  <a:lnTo>
                    <a:pt x="428" y="0"/>
                  </a:lnTo>
                  <a:lnTo>
                    <a:pt x="19" y="130"/>
                  </a:lnTo>
                  <a:lnTo>
                    <a:pt x="19" y="175"/>
                  </a:lnTo>
                  <a:lnTo>
                    <a:pt x="0" y="180"/>
                  </a:lnTo>
                  <a:lnTo>
                    <a:pt x="0" y="789"/>
                  </a:lnTo>
                  <a:lnTo>
                    <a:pt x="412" y="926"/>
                  </a:lnTo>
                  <a:lnTo>
                    <a:pt x="709" y="754"/>
                  </a:lnTo>
                  <a:lnTo>
                    <a:pt x="709" y="210"/>
                  </a:lnTo>
                  <a:lnTo>
                    <a:pt x="702" y="208"/>
                  </a:lnTo>
                  <a:close/>
                  <a:moveTo>
                    <a:pt x="442" y="31"/>
                  </a:moveTo>
                  <a:lnTo>
                    <a:pt x="695" y="170"/>
                  </a:lnTo>
                  <a:lnTo>
                    <a:pt x="695" y="189"/>
                  </a:lnTo>
                  <a:lnTo>
                    <a:pt x="442" y="59"/>
                  </a:lnTo>
                  <a:lnTo>
                    <a:pt x="442" y="31"/>
                  </a:lnTo>
                  <a:close/>
                  <a:moveTo>
                    <a:pt x="702" y="730"/>
                  </a:moveTo>
                  <a:lnTo>
                    <a:pt x="430" y="872"/>
                  </a:lnTo>
                  <a:lnTo>
                    <a:pt x="430" y="817"/>
                  </a:lnTo>
                  <a:lnTo>
                    <a:pt x="702" y="692"/>
                  </a:lnTo>
                  <a:lnTo>
                    <a:pt x="702" y="730"/>
                  </a:lnTo>
                  <a:close/>
                  <a:moveTo>
                    <a:pt x="702" y="652"/>
                  </a:moveTo>
                  <a:lnTo>
                    <a:pt x="430" y="756"/>
                  </a:lnTo>
                  <a:lnTo>
                    <a:pt x="430" y="699"/>
                  </a:lnTo>
                  <a:lnTo>
                    <a:pt x="702" y="617"/>
                  </a:lnTo>
                  <a:lnTo>
                    <a:pt x="702" y="652"/>
                  </a:lnTo>
                  <a:close/>
                  <a:moveTo>
                    <a:pt x="702" y="576"/>
                  </a:moveTo>
                  <a:lnTo>
                    <a:pt x="430" y="638"/>
                  </a:lnTo>
                  <a:lnTo>
                    <a:pt x="430" y="584"/>
                  </a:lnTo>
                  <a:lnTo>
                    <a:pt x="702" y="541"/>
                  </a:lnTo>
                  <a:lnTo>
                    <a:pt x="702" y="576"/>
                  </a:lnTo>
                  <a:close/>
                  <a:moveTo>
                    <a:pt x="702" y="501"/>
                  </a:moveTo>
                  <a:lnTo>
                    <a:pt x="430" y="522"/>
                  </a:lnTo>
                  <a:lnTo>
                    <a:pt x="430" y="468"/>
                  </a:lnTo>
                  <a:lnTo>
                    <a:pt x="702" y="463"/>
                  </a:lnTo>
                  <a:lnTo>
                    <a:pt x="702" y="501"/>
                  </a:lnTo>
                  <a:close/>
                  <a:moveTo>
                    <a:pt x="702" y="423"/>
                  </a:moveTo>
                  <a:lnTo>
                    <a:pt x="430" y="406"/>
                  </a:lnTo>
                  <a:lnTo>
                    <a:pt x="430" y="350"/>
                  </a:lnTo>
                  <a:lnTo>
                    <a:pt x="702" y="388"/>
                  </a:lnTo>
                  <a:lnTo>
                    <a:pt x="702" y="423"/>
                  </a:lnTo>
                  <a:close/>
                  <a:moveTo>
                    <a:pt x="702" y="347"/>
                  </a:moveTo>
                  <a:lnTo>
                    <a:pt x="430" y="291"/>
                  </a:lnTo>
                  <a:lnTo>
                    <a:pt x="430" y="234"/>
                  </a:lnTo>
                  <a:lnTo>
                    <a:pt x="702" y="312"/>
                  </a:lnTo>
                  <a:lnTo>
                    <a:pt x="702" y="347"/>
                  </a:lnTo>
                  <a:close/>
                  <a:moveTo>
                    <a:pt x="702" y="272"/>
                  </a:moveTo>
                  <a:lnTo>
                    <a:pt x="430" y="173"/>
                  </a:lnTo>
                  <a:lnTo>
                    <a:pt x="430" y="118"/>
                  </a:lnTo>
                  <a:lnTo>
                    <a:pt x="702" y="234"/>
                  </a:lnTo>
                  <a:lnTo>
                    <a:pt x="702" y="272"/>
                  </a:ln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307" name="Group 306"/>
          <p:cNvGrpSpPr/>
          <p:nvPr/>
        </p:nvGrpSpPr>
        <p:grpSpPr>
          <a:xfrm>
            <a:off x="6251636" y="6175503"/>
            <a:ext cx="855470" cy="371054"/>
            <a:chOff x="5973043" y="6163263"/>
            <a:chExt cx="1194936" cy="518293"/>
          </a:xfrm>
        </p:grpSpPr>
        <p:sp>
          <p:nvSpPr>
            <p:cNvPr id="308" name="TextBox 307"/>
            <p:cNvSpPr txBox="1">
              <a:spLocks noChangeArrowheads="1"/>
            </p:cNvSpPr>
            <p:nvPr/>
          </p:nvSpPr>
          <p:spPr bwMode="auto">
            <a:xfrm>
              <a:off x="5973043" y="6163263"/>
              <a:ext cx="1194936" cy="518293"/>
            </a:xfrm>
            <a:prstGeom prst="rect">
              <a:avLst/>
            </a:prstGeom>
            <a:solidFill>
              <a:srgbClr val="00BCF2"/>
            </a:solidFill>
            <a:ln w="9525">
              <a:noFill/>
              <a:miter lim="800000"/>
              <a:headEnd/>
              <a:tailEnd/>
            </a:ln>
          </p:spPr>
          <p:txBody>
            <a:bodyPr wrap="none" lIns="268927" tIns="62715" rIns="89593" bIns="62715"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Configure</a:t>
              </a:r>
            </a:p>
            <a:p>
              <a:pPr defTabSz="914206">
                <a:lnSpc>
                  <a:spcPct val="90000"/>
                </a:lnSpc>
                <a:defRPr/>
              </a:pPr>
              <a:r>
                <a:rPr lang="en-US" sz="882" kern="0" dirty="0">
                  <a:gradFill>
                    <a:gsLst>
                      <a:gs pos="75229">
                        <a:srgbClr val="FFFFFF"/>
                      </a:gs>
                      <a:gs pos="26250">
                        <a:srgbClr val="FFFFFF"/>
                      </a:gs>
                    </a:gsLst>
                    <a:lin ang="5400000" scaled="0"/>
                  </a:gradFill>
                </a:rPr>
                <a:t>network</a:t>
              </a:r>
            </a:p>
          </p:txBody>
        </p:sp>
        <p:sp>
          <p:nvSpPr>
            <p:cNvPr id="309" name="Freeform 376"/>
            <p:cNvSpPr>
              <a:spLocks noChangeAspect="1" noEditPoints="1"/>
            </p:cNvSpPr>
            <p:nvPr/>
          </p:nvSpPr>
          <p:spPr bwMode="auto">
            <a:xfrm>
              <a:off x="6043584" y="6310874"/>
              <a:ext cx="240928" cy="242121"/>
            </a:xfrm>
            <a:custGeom>
              <a:avLst/>
              <a:gdLst>
                <a:gd name="T0" fmla="*/ 0 w 86"/>
                <a:gd name="T1" fmla="*/ 0 h 86"/>
                <a:gd name="T2" fmla="*/ 24 w 86"/>
                <a:gd name="T3" fmla="*/ 0 h 86"/>
                <a:gd name="T4" fmla="*/ 24 w 86"/>
                <a:gd name="T5" fmla="*/ 24 h 86"/>
                <a:gd name="T6" fmla="*/ 18 w 86"/>
                <a:gd name="T7" fmla="*/ 24 h 86"/>
                <a:gd name="T8" fmla="*/ 18 w 86"/>
                <a:gd name="T9" fmla="*/ 33 h 86"/>
                <a:gd name="T10" fmla="*/ 22 w 86"/>
                <a:gd name="T11" fmla="*/ 37 h 86"/>
                <a:gd name="T12" fmla="*/ 31 w 86"/>
                <a:gd name="T13" fmla="*/ 37 h 86"/>
                <a:gd name="T14" fmla="*/ 31 w 86"/>
                <a:gd name="T15" fmla="*/ 31 h 86"/>
                <a:gd name="T16" fmla="*/ 55 w 86"/>
                <a:gd name="T17" fmla="*/ 31 h 86"/>
                <a:gd name="T18" fmla="*/ 55 w 86"/>
                <a:gd name="T19" fmla="*/ 55 h 86"/>
                <a:gd name="T20" fmla="*/ 49 w 86"/>
                <a:gd name="T21" fmla="*/ 55 h 86"/>
                <a:gd name="T22" fmla="*/ 49 w 86"/>
                <a:gd name="T23" fmla="*/ 64 h 86"/>
                <a:gd name="T24" fmla="*/ 53 w 86"/>
                <a:gd name="T25" fmla="*/ 67 h 86"/>
                <a:gd name="T26" fmla="*/ 61 w 86"/>
                <a:gd name="T27" fmla="*/ 67 h 86"/>
                <a:gd name="T28" fmla="*/ 61 w 86"/>
                <a:gd name="T29" fmla="*/ 61 h 86"/>
                <a:gd name="T30" fmla="*/ 86 w 86"/>
                <a:gd name="T31" fmla="*/ 61 h 86"/>
                <a:gd name="T32" fmla="*/ 86 w 86"/>
                <a:gd name="T33" fmla="*/ 86 h 86"/>
                <a:gd name="T34" fmla="*/ 61 w 86"/>
                <a:gd name="T35" fmla="*/ 86 h 86"/>
                <a:gd name="T36" fmla="*/ 61 w 86"/>
                <a:gd name="T37" fmla="*/ 73 h 86"/>
                <a:gd name="T38" fmla="*/ 53 w 86"/>
                <a:gd name="T39" fmla="*/ 73 h 86"/>
                <a:gd name="T40" fmla="*/ 46 w 86"/>
                <a:gd name="T41" fmla="*/ 78 h 86"/>
                <a:gd name="T42" fmla="*/ 39 w 86"/>
                <a:gd name="T43" fmla="*/ 73 h 86"/>
                <a:gd name="T44" fmla="*/ 18 w 86"/>
                <a:gd name="T45" fmla="*/ 73 h 86"/>
                <a:gd name="T46" fmla="*/ 12 w 86"/>
                <a:gd name="T47" fmla="*/ 73 h 86"/>
                <a:gd name="T48" fmla="*/ 12 w 86"/>
                <a:gd name="T49" fmla="*/ 67 h 86"/>
                <a:gd name="T50" fmla="*/ 12 w 86"/>
                <a:gd name="T51" fmla="*/ 47 h 86"/>
                <a:gd name="T52" fmla="*/ 7 w 86"/>
                <a:gd name="T53" fmla="*/ 40 h 86"/>
                <a:gd name="T54" fmla="*/ 12 w 86"/>
                <a:gd name="T55" fmla="*/ 33 h 86"/>
                <a:gd name="T56" fmla="*/ 12 w 86"/>
                <a:gd name="T57" fmla="*/ 24 h 86"/>
                <a:gd name="T58" fmla="*/ 0 w 86"/>
                <a:gd name="T59" fmla="*/ 24 h 86"/>
                <a:gd name="T60" fmla="*/ 0 w 86"/>
                <a:gd name="T61" fmla="*/ 0 h 86"/>
                <a:gd name="T62" fmla="*/ 43 w 86"/>
                <a:gd name="T63" fmla="*/ 55 h 86"/>
                <a:gd name="T64" fmla="*/ 31 w 86"/>
                <a:gd name="T65" fmla="*/ 55 h 86"/>
                <a:gd name="T66" fmla="*/ 31 w 86"/>
                <a:gd name="T67" fmla="*/ 43 h 86"/>
                <a:gd name="T68" fmla="*/ 22 w 86"/>
                <a:gd name="T69" fmla="*/ 43 h 86"/>
                <a:gd name="T70" fmla="*/ 18 w 86"/>
                <a:gd name="T71" fmla="*/ 46 h 86"/>
                <a:gd name="T72" fmla="*/ 18 w 86"/>
                <a:gd name="T73" fmla="*/ 67 h 86"/>
                <a:gd name="T74" fmla="*/ 39 w 86"/>
                <a:gd name="T75" fmla="*/ 67 h 86"/>
                <a:gd name="T76" fmla="*/ 43 w 86"/>
                <a:gd name="T77" fmla="*/ 64 h 86"/>
                <a:gd name="T78" fmla="*/ 43 w 86"/>
                <a:gd name="T79" fmla="*/ 5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86">
                  <a:moveTo>
                    <a:pt x="0" y="0"/>
                  </a:moveTo>
                  <a:cubicBezTo>
                    <a:pt x="24" y="0"/>
                    <a:pt x="24" y="0"/>
                    <a:pt x="24" y="0"/>
                  </a:cubicBezTo>
                  <a:cubicBezTo>
                    <a:pt x="24" y="24"/>
                    <a:pt x="24" y="24"/>
                    <a:pt x="24" y="24"/>
                  </a:cubicBezTo>
                  <a:cubicBezTo>
                    <a:pt x="18" y="24"/>
                    <a:pt x="18" y="24"/>
                    <a:pt x="18" y="24"/>
                  </a:cubicBezTo>
                  <a:cubicBezTo>
                    <a:pt x="18" y="33"/>
                    <a:pt x="18" y="33"/>
                    <a:pt x="18" y="33"/>
                  </a:cubicBezTo>
                  <a:cubicBezTo>
                    <a:pt x="20" y="34"/>
                    <a:pt x="21" y="35"/>
                    <a:pt x="22" y="37"/>
                  </a:cubicBezTo>
                  <a:cubicBezTo>
                    <a:pt x="31" y="37"/>
                    <a:pt x="31" y="37"/>
                    <a:pt x="31" y="37"/>
                  </a:cubicBezTo>
                  <a:cubicBezTo>
                    <a:pt x="31" y="31"/>
                    <a:pt x="31" y="31"/>
                    <a:pt x="31" y="31"/>
                  </a:cubicBezTo>
                  <a:cubicBezTo>
                    <a:pt x="55" y="31"/>
                    <a:pt x="55" y="31"/>
                    <a:pt x="55" y="31"/>
                  </a:cubicBezTo>
                  <a:cubicBezTo>
                    <a:pt x="55" y="55"/>
                    <a:pt x="55" y="55"/>
                    <a:pt x="55" y="55"/>
                  </a:cubicBezTo>
                  <a:cubicBezTo>
                    <a:pt x="49" y="55"/>
                    <a:pt x="49" y="55"/>
                    <a:pt x="49" y="55"/>
                  </a:cubicBezTo>
                  <a:cubicBezTo>
                    <a:pt x="49" y="64"/>
                    <a:pt x="49" y="64"/>
                    <a:pt x="49" y="64"/>
                  </a:cubicBezTo>
                  <a:cubicBezTo>
                    <a:pt x="50" y="65"/>
                    <a:pt x="52" y="66"/>
                    <a:pt x="53" y="67"/>
                  </a:cubicBezTo>
                  <a:cubicBezTo>
                    <a:pt x="61" y="67"/>
                    <a:pt x="61" y="67"/>
                    <a:pt x="61" y="67"/>
                  </a:cubicBezTo>
                  <a:cubicBezTo>
                    <a:pt x="61" y="61"/>
                    <a:pt x="61" y="61"/>
                    <a:pt x="61" y="61"/>
                  </a:cubicBezTo>
                  <a:cubicBezTo>
                    <a:pt x="86" y="61"/>
                    <a:pt x="86" y="61"/>
                    <a:pt x="86" y="61"/>
                  </a:cubicBezTo>
                  <a:cubicBezTo>
                    <a:pt x="86" y="86"/>
                    <a:pt x="86" y="86"/>
                    <a:pt x="86" y="86"/>
                  </a:cubicBezTo>
                  <a:cubicBezTo>
                    <a:pt x="61" y="86"/>
                    <a:pt x="61" y="86"/>
                    <a:pt x="61" y="86"/>
                  </a:cubicBezTo>
                  <a:cubicBezTo>
                    <a:pt x="61" y="73"/>
                    <a:pt x="61" y="73"/>
                    <a:pt x="61" y="73"/>
                  </a:cubicBezTo>
                  <a:cubicBezTo>
                    <a:pt x="53" y="73"/>
                    <a:pt x="53" y="73"/>
                    <a:pt x="53" y="73"/>
                  </a:cubicBezTo>
                  <a:cubicBezTo>
                    <a:pt x="52" y="76"/>
                    <a:pt x="49" y="78"/>
                    <a:pt x="46" y="78"/>
                  </a:cubicBezTo>
                  <a:cubicBezTo>
                    <a:pt x="43" y="78"/>
                    <a:pt x="40" y="76"/>
                    <a:pt x="39" y="73"/>
                  </a:cubicBezTo>
                  <a:cubicBezTo>
                    <a:pt x="18" y="73"/>
                    <a:pt x="18" y="73"/>
                    <a:pt x="18" y="73"/>
                  </a:cubicBezTo>
                  <a:cubicBezTo>
                    <a:pt x="12" y="73"/>
                    <a:pt x="12" y="73"/>
                    <a:pt x="12" y="73"/>
                  </a:cubicBezTo>
                  <a:cubicBezTo>
                    <a:pt x="12" y="67"/>
                    <a:pt x="12" y="67"/>
                    <a:pt x="12" y="67"/>
                  </a:cubicBezTo>
                  <a:cubicBezTo>
                    <a:pt x="12" y="47"/>
                    <a:pt x="12" y="47"/>
                    <a:pt x="12" y="47"/>
                  </a:cubicBezTo>
                  <a:cubicBezTo>
                    <a:pt x="9" y="46"/>
                    <a:pt x="7" y="43"/>
                    <a:pt x="7" y="40"/>
                  </a:cubicBezTo>
                  <a:cubicBezTo>
                    <a:pt x="7" y="36"/>
                    <a:pt x="9" y="34"/>
                    <a:pt x="12" y="33"/>
                  </a:cubicBezTo>
                  <a:cubicBezTo>
                    <a:pt x="12" y="24"/>
                    <a:pt x="12" y="24"/>
                    <a:pt x="12" y="24"/>
                  </a:cubicBezTo>
                  <a:cubicBezTo>
                    <a:pt x="0" y="24"/>
                    <a:pt x="0" y="24"/>
                    <a:pt x="0" y="24"/>
                  </a:cubicBezTo>
                  <a:cubicBezTo>
                    <a:pt x="0" y="0"/>
                    <a:pt x="0" y="0"/>
                    <a:pt x="0" y="0"/>
                  </a:cubicBezTo>
                  <a:close/>
                  <a:moveTo>
                    <a:pt x="43" y="55"/>
                  </a:moveTo>
                  <a:cubicBezTo>
                    <a:pt x="31" y="55"/>
                    <a:pt x="31" y="55"/>
                    <a:pt x="31" y="55"/>
                  </a:cubicBezTo>
                  <a:cubicBezTo>
                    <a:pt x="31" y="43"/>
                    <a:pt x="31" y="43"/>
                    <a:pt x="31" y="43"/>
                  </a:cubicBezTo>
                  <a:cubicBezTo>
                    <a:pt x="22" y="43"/>
                    <a:pt x="22" y="43"/>
                    <a:pt x="22" y="43"/>
                  </a:cubicBezTo>
                  <a:cubicBezTo>
                    <a:pt x="21" y="44"/>
                    <a:pt x="20" y="46"/>
                    <a:pt x="18" y="46"/>
                  </a:cubicBezTo>
                  <a:cubicBezTo>
                    <a:pt x="18" y="67"/>
                    <a:pt x="18" y="67"/>
                    <a:pt x="18" y="67"/>
                  </a:cubicBezTo>
                  <a:cubicBezTo>
                    <a:pt x="39" y="67"/>
                    <a:pt x="39" y="67"/>
                    <a:pt x="39" y="67"/>
                  </a:cubicBezTo>
                  <a:cubicBezTo>
                    <a:pt x="40" y="66"/>
                    <a:pt x="41" y="65"/>
                    <a:pt x="43" y="64"/>
                  </a:cubicBezTo>
                  <a:lnTo>
                    <a:pt x="43" y="55"/>
                  </a:ln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310" name="Group 309"/>
          <p:cNvGrpSpPr/>
          <p:nvPr/>
        </p:nvGrpSpPr>
        <p:grpSpPr>
          <a:xfrm>
            <a:off x="6251568" y="5299231"/>
            <a:ext cx="899472" cy="371054"/>
            <a:chOff x="5973043" y="4937300"/>
            <a:chExt cx="1256396" cy="518293"/>
          </a:xfrm>
        </p:grpSpPr>
        <p:sp>
          <p:nvSpPr>
            <p:cNvPr id="311" name="TextBox 310"/>
            <p:cNvSpPr txBox="1">
              <a:spLocks noChangeArrowheads="1"/>
            </p:cNvSpPr>
            <p:nvPr/>
          </p:nvSpPr>
          <p:spPr bwMode="auto">
            <a:xfrm>
              <a:off x="5973043" y="4937300"/>
              <a:ext cx="1256396" cy="518293"/>
            </a:xfrm>
            <a:prstGeom prst="rect">
              <a:avLst/>
            </a:prstGeom>
            <a:solidFill>
              <a:srgbClr val="00BCF2"/>
            </a:solidFill>
            <a:ln w="9525">
              <a:noFill/>
              <a:miter lim="800000"/>
              <a:headEnd/>
              <a:tailEnd/>
            </a:ln>
          </p:spPr>
          <p:txBody>
            <a:bodyPr wrap="none" lIns="268927" tIns="62715" rIns="89593" bIns="62715"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Connect</a:t>
              </a:r>
            </a:p>
            <a:p>
              <a:pPr defTabSz="914206">
                <a:lnSpc>
                  <a:spcPct val="90000"/>
                </a:lnSpc>
                <a:defRPr/>
              </a:pPr>
              <a:r>
                <a:rPr lang="en-US" sz="882" kern="0" dirty="0">
                  <a:gradFill>
                    <a:gsLst>
                      <a:gs pos="75229">
                        <a:srgbClr val="FFFFFF"/>
                      </a:gs>
                      <a:gs pos="26250">
                        <a:srgbClr val="FFFFFF"/>
                      </a:gs>
                    </a:gsLst>
                    <a:lin ang="5400000" scaled="0"/>
                  </a:gradFill>
                </a:rPr>
                <a:t>disk to VM</a:t>
              </a:r>
            </a:p>
          </p:txBody>
        </p:sp>
        <p:sp>
          <p:nvSpPr>
            <p:cNvPr id="312" name="Freeform 687"/>
            <p:cNvSpPr>
              <a:spLocks noChangeAspect="1" noEditPoints="1"/>
            </p:cNvSpPr>
            <p:nvPr/>
          </p:nvSpPr>
          <p:spPr bwMode="auto">
            <a:xfrm>
              <a:off x="6090428" y="5073799"/>
              <a:ext cx="167940" cy="245293"/>
            </a:xfrm>
            <a:custGeom>
              <a:avLst/>
              <a:gdLst>
                <a:gd name="T0" fmla="*/ 137 w 274"/>
                <a:gd name="T1" fmla="*/ 338 h 400"/>
                <a:gd name="T2" fmla="*/ 115 w 274"/>
                <a:gd name="T3" fmla="*/ 337 h 400"/>
                <a:gd name="T4" fmla="*/ 115 w 274"/>
                <a:gd name="T5" fmla="*/ 400 h 400"/>
                <a:gd name="T6" fmla="*/ 159 w 274"/>
                <a:gd name="T7" fmla="*/ 400 h 400"/>
                <a:gd name="T8" fmla="*/ 159 w 274"/>
                <a:gd name="T9" fmla="*/ 337 h 400"/>
                <a:gd name="T10" fmla="*/ 137 w 274"/>
                <a:gd name="T11" fmla="*/ 338 h 400"/>
                <a:gd name="T12" fmla="*/ 238 w 274"/>
                <a:gd name="T13" fmla="*/ 123 h 400"/>
                <a:gd name="T14" fmla="*/ 220 w 274"/>
                <a:gd name="T15" fmla="*/ 123 h 400"/>
                <a:gd name="T16" fmla="*/ 220 w 274"/>
                <a:gd name="T17" fmla="*/ 69 h 400"/>
                <a:gd name="T18" fmla="*/ 220 w 274"/>
                <a:gd name="T19" fmla="*/ 66 h 400"/>
                <a:gd name="T20" fmla="*/ 220 w 274"/>
                <a:gd name="T21" fmla="*/ 10 h 400"/>
                <a:gd name="T22" fmla="*/ 205 w 274"/>
                <a:gd name="T23" fmla="*/ 0 h 400"/>
                <a:gd name="T24" fmla="*/ 191 w 274"/>
                <a:gd name="T25" fmla="*/ 10 h 400"/>
                <a:gd name="T26" fmla="*/ 191 w 274"/>
                <a:gd name="T27" fmla="*/ 66 h 400"/>
                <a:gd name="T28" fmla="*/ 191 w 274"/>
                <a:gd name="T29" fmla="*/ 69 h 400"/>
                <a:gd name="T30" fmla="*/ 191 w 274"/>
                <a:gd name="T31" fmla="*/ 123 h 400"/>
                <a:gd name="T32" fmla="*/ 82 w 274"/>
                <a:gd name="T33" fmla="*/ 123 h 400"/>
                <a:gd name="T34" fmla="*/ 82 w 274"/>
                <a:gd name="T35" fmla="*/ 69 h 400"/>
                <a:gd name="T36" fmla="*/ 82 w 274"/>
                <a:gd name="T37" fmla="*/ 66 h 400"/>
                <a:gd name="T38" fmla="*/ 82 w 274"/>
                <a:gd name="T39" fmla="*/ 10 h 400"/>
                <a:gd name="T40" fmla="*/ 68 w 274"/>
                <a:gd name="T41" fmla="*/ 0 h 400"/>
                <a:gd name="T42" fmla="*/ 53 w 274"/>
                <a:gd name="T43" fmla="*/ 10 h 400"/>
                <a:gd name="T44" fmla="*/ 53 w 274"/>
                <a:gd name="T45" fmla="*/ 66 h 400"/>
                <a:gd name="T46" fmla="*/ 53 w 274"/>
                <a:gd name="T47" fmla="*/ 69 h 400"/>
                <a:gd name="T48" fmla="*/ 53 w 274"/>
                <a:gd name="T49" fmla="*/ 123 h 400"/>
                <a:gd name="T50" fmla="*/ 36 w 274"/>
                <a:gd name="T51" fmla="*/ 123 h 400"/>
                <a:gd name="T52" fmla="*/ 0 w 274"/>
                <a:gd name="T53" fmla="*/ 159 h 400"/>
                <a:gd name="T54" fmla="*/ 0 w 274"/>
                <a:gd name="T55" fmla="*/ 168 h 400"/>
                <a:gd name="T56" fmla="*/ 0 w 274"/>
                <a:gd name="T57" fmla="*/ 211 h 400"/>
                <a:gd name="T58" fmla="*/ 0 w 274"/>
                <a:gd name="T59" fmla="*/ 250 h 400"/>
                <a:gd name="T60" fmla="*/ 137 w 274"/>
                <a:gd name="T61" fmla="*/ 327 h 400"/>
                <a:gd name="T62" fmla="*/ 274 w 274"/>
                <a:gd name="T63" fmla="*/ 250 h 400"/>
                <a:gd name="T64" fmla="*/ 274 w 274"/>
                <a:gd name="T65" fmla="*/ 211 h 400"/>
                <a:gd name="T66" fmla="*/ 274 w 274"/>
                <a:gd name="T67" fmla="*/ 168 h 400"/>
                <a:gd name="T68" fmla="*/ 274 w 274"/>
                <a:gd name="T69" fmla="*/ 159 h 400"/>
                <a:gd name="T70" fmla="*/ 238 w 274"/>
                <a:gd name="T71" fmla="*/ 12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4" h="400">
                  <a:moveTo>
                    <a:pt x="137" y="338"/>
                  </a:moveTo>
                  <a:cubicBezTo>
                    <a:pt x="130" y="338"/>
                    <a:pt x="122" y="338"/>
                    <a:pt x="115" y="337"/>
                  </a:cubicBezTo>
                  <a:cubicBezTo>
                    <a:pt x="115" y="400"/>
                    <a:pt x="115" y="400"/>
                    <a:pt x="115" y="400"/>
                  </a:cubicBezTo>
                  <a:cubicBezTo>
                    <a:pt x="159" y="400"/>
                    <a:pt x="159" y="400"/>
                    <a:pt x="159" y="400"/>
                  </a:cubicBezTo>
                  <a:cubicBezTo>
                    <a:pt x="159" y="337"/>
                    <a:pt x="159" y="337"/>
                    <a:pt x="159" y="337"/>
                  </a:cubicBezTo>
                  <a:cubicBezTo>
                    <a:pt x="152" y="338"/>
                    <a:pt x="144" y="338"/>
                    <a:pt x="137" y="338"/>
                  </a:cubicBezTo>
                  <a:close/>
                  <a:moveTo>
                    <a:pt x="238" y="123"/>
                  </a:moveTo>
                  <a:cubicBezTo>
                    <a:pt x="220" y="123"/>
                    <a:pt x="220" y="123"/>
                    <a:pt x="220" y="123"/>
                  </a:cubicBezTo>
                  <a:cubicBezTo>
                    <a:pt x="220" y="69"/>
                    <a:pt x="220" y="69"/>
                    <a:pt x="220" y="69"/>
                  </a:cubicBezTo>
                  <a:cubicBezTo>
                    <a:pt x="220" y="66"/>
                    <a:pt x="220" y="66"/>
                    <a:pt x="220" y="66"/>
                  </a:cubicBezTo>
                  <a:cubicBezTo>
                    <a:pt x="220" y="10"/>
                    <a:pt x="220" y="10"/>
                    <a:pt x="220" y="10"/>
                  </a:cubicBezTo>
                  <a:cubicBezTo>
                    <a:pt x="220" y="4"/>
                    <a:pt x="213" y="0"/>
                    <a:pt x="205" y="0"/>
                  </a:cubicBezTo>
                  <a:cubicBezTo>
                    <a:pt x="198" y="0"/>
                    <a:pt x="191" y="4"/>
                    <a:pt x="191" y="10"/>
                  </a:cubicBezTo>
                  <a:cubicBezTo>
                    <a:pt x="191" y="66"/>
                    <a:pt x="191" y="66"/>
                    <a:pt x="191" y="66"/>
                  </a:cubicBezTo>
                  <a:cubicBezTo>
                    <a:pt x="191" y="69"/>
                    <a:pt x="191" y="69"/>
                    <a:pt x="191" y="69"/>
                  </a:cubicBezTo>
                  <a:cubicBezTo>
                    <a:pt x="191" y="123"/>
                    <a:pt x="191" y="123"/>
                    <a:pt x="191" y="123"/>
                  </a:cubicBezTo>
                  <a:cubicBezTo>
                    <a:pt x="82" y="123"/>
                    <a:pt x="82" y="123"/>
                    <a:pt x="82" y="123"/>
                  </a:cubicBezTo>
                  <a:cubicBezTo>
                    <a:pt x="82" y="69"/>
                    <a:pt x="82" y="69"/>
                    <a:pt x="82" y="69"/>
                  </a:cubicBezTo>
                  <a:cubicBezTo>
                    <a:pt x="82" y="66"/>
                    <a:pt x="82" y="66"/>
                    <a:pt x="82" y="66"/>
                  </a:cubicBezTo>
                  <a:cubicBezTo>
                    <a:pt x="82" y="10"/>
                    <a:pt x="82" y="10"/>
                    <a:pt x="82" y="10"/>
                  </a:cubicBezTo>
                  <a:cubicBezTo>
                    <a:pt x="82" y="4"/>
                    <a:pt x="76" y="0"/>
                    <a:pt x="68" y="0"/>
                  </a:cubicBezTo>
                  <a:cubicBezTo>
                    <a:pt x="60" y="0"/>
                    <a:pt x="53" y="4"/>
                    <a:pt x="53" y="10"/>
                  </a:cubicBezTo>
                  <a:cubicBezTo>
                    <a:pt x="53" y="66"/>
                    <a:pt x="53" y="66"/>
                    <a:pt x="53" y="66"/>
                  </a:cubicBezTo>
                  <a:cubicBezTo>
                    <a:pt x="53" y="69"/>
                    <a:pt x="53" y="69"/>
                    <a:pt x="53" y="69"/>
                  </a:cubicBezTo>
                  <a:cubicBezTo>
                    <a:pt x="53" y="123"/>
                    <a:pt x="53" y="123"/>
                    <a:pt x="53" y="123"/>
                  </a:cubicBezTo>
                  <a:cubicBezTo>
                    <a:pt x="36" y="123"/>
                    <a:pt x="36" y="123"/>
                    <a:pt x="36" y="123"/>
                  </a:cubicBezTo>
                  <a:cubicBezTo>
                    <a:pt x="16" y="123"/>
                    <a:pt x="0" y="139"/>
                    <a:pt x="0" y="159"/>
                  </a:cubicBezTo>
                  <a:cubicBezTo>
                    <a:pt x="0" y="168"/>
                    <a:pt x="0" y="168"/>
                    <a:pt x="0" y="168"/>
                  </a:cubicBezTo>
                  <a:cubicBezTo>
                    <a:pt x="0" y="211"/>
                    <a:pt x="0" y="211"/>
                    <a:pt x="0" y="211"/>
                  </a:cubicBezTo>
                  <a:cubicBezTo>
                    <a:pt x="0" y="250"/>
                    <a:pt x="0" y="250"/>
                    <a:pt x="0" y="250"/>
                  </a:cubicBezTo>
                  <a:cubicBezTo>
                    <a:pt x="0" y="293"/>
                    <a:pt x="61" y="327"/>
                    <a:pt x="137" y="327"/>
                  </a:cubicBezTo>
                  <a:cubicBezTo>
                    <a:pt x="213" y="327"/>
                    <a:pt x="274" y="293"/>
                    <a:pt x="274" y="250"/>
                  </a:cubicBezTo>
                  <a:cubicBezTo>
                    <a:pt x="274" y="211"/>
                    <a:pt x="274" y="211"/>
                    <a:pt x="274" y="211"/>
                  </a:cubicBezTo>
                  <a:cubicBezTo>
                    <a:pt x="274" y="168"/>
                    <a:pt x="274" y="168"/>
                    <a:pt x="274" y="168"/>
                  </a:cubicBezTo>
                  <a:cubicBezTo>
                    <a:pt x="274" y="159"/>
                    <a:pt x="274" y="159"/>
                    <a:pt x="274" y="159"/>
                  </a:cubicBezTo>
                  <a:cubicBezTo>
                    <a:pt x="274" y="139"/>
                    <a:pt x="258" y="123"/>
                    <a:pt x="238" y="123"/>
                  </a:cubicBez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313" name="Group 312"/>
          <p:cNvGrpSpPr/>
          <p:nvPr/>
        </p:nvGrpSpPr>
        <p:grpSpPr>
          <a:xfrm>
            <a:off x="6455556" y="3551313"/>
            <a:ext cx="1378628" cy="371123"/>
            <a:chOff x="6259146" y="2485319"/>
            <a:chExt cx="1925689" cy="518391"/>
          </a:xfrm>
        </p:grpSpPr>
        <p:sp>
          <p:nvSpPr>
            <p:cNvPr id="314" name="TextBox 313"/>
            <p:cNvSpPr txBox="1">
              <a:spLocks noChangeArrowheads="1"/>
            </p:cNvSpPr>
            <p:nvPr/>
          </p:nvSpPr>
          <p:spPr bwMode="auto">
            <a:xfrm>
              <a:off x="6259146" y="2485319"/>
              <a:ext cx="1925689" cy="518391"/>
            </a:xfrm>
            <a:prstGeom prst="rect">
              <a:avLst/>
            </a:prstGeom>
            <a:solidFill>
              <a:srgbClr val="00BCF2"/>
            </a:solidFill>
            <a:ln w="9525">
              <a:noFill/>
              <a:miter lim="800000"/>
              <a:headEnd/>
              <a:tailEnd/>
            </a:ln>
          </p:spPr>
          <p:txBody>
            <a:bodyPr wrap="square" lIns="448212" tIns="62750" rIns="89593" bIns="62750"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Associate server to service</a:t>
              </a:r>
            </a:p>
          </p:txBody>
        </p:sp>
        <p:sp>
          <p:nvSpPr>
            <p:cNvPr id="315" name="Freeform 6"/>
            <p:cNvSpPr>
              <a:spLocks noChangeAspect="1"/>
            </p:cNvSpPr>
            <p:nvPr/>
          </p:nvSpPr>
          <p:spPr bwMode="auto">
            <a:xfrm>
              <a:off x="6315423" y="2699504"/>
              <a:ext cx="348874" cy="109071"/>
            </a:xfrm>
            <a:custGeom>
              <a:avLst/>
              <a:gdLst>
                <a:gd name="T0" fmla="*/ 384 w 389"/>
                <a:gd name="T1" fmla="*/ 10 h 122"/>
                <a:gd name="T2" fmla="*/ 388 w 389"/>
                <a:gd name="T3" fmla="*/ 20 h 122"/>
                <a:gd name="T4" fmla="*/ 373 w 389"/>
                <a:gd name="T5" fmla="*/ 34 h 122"/>
                <a:gd name="T6" fmla="*/ 262 w 389"/>
                <a:gd name="T7" fmla="*/ 94 h 122"/>
                <a:gd name="T8" fmla="*/ 247 w 389"/>
                <a:gd name="T9" fmla="*/ 98 h 122"/>
                <a:gd name="T10" fmla="*/ 159 w 389"/>
                <a:gd name="T11" fmla="*/ 93 h 122"/>
                <a:gd name="T12" fmla="*/ 75 w 389"/>
                <a:gd name="T13" fmla="*/ 122 h 122"/>
                <a:gd name="T14" fmla="*/ 0 w 389"/>
                <a:gd name="T15" fmla="*/ 69 h 122"/>
                <a:gd name="T16" fmla="*/ 119 w 389"/>
                <a:gd name="T17" fmla="*/ 11 h 122"/>
                <a:gd name="T18" fmla="*/ 154 w 389"/>
                <a:gd name="T19" fmla="*/ 3 h 122"/>
                <a:gd name="T20" fmla="*/ 201 w 389"/>
                <a:gd name="T21" fmla="*/ 13 h 122"/>
                <a:gd name="T22" fmla="*/ 245 w 389"/>
                <a:gd name="T23" fmla="*/ 17 h 122"/>
                <a:gd name="T24" fmla="*/ 277 w 389"/>
                <a:gd name="T25" fmla="*/ 37 h 122"/>
                <a:gd name="T26" fmla="*/ 253 w 389"/>
                <a:gd name="T27" fmla="*/ 54 h 122"/>
                <a:gd name="T28" fmla="*/ 232 w 389"/>
                <a:gd name="T29" fmla="*/ 53 h 122"/>
                <a:gd name="T30" fmla="*/ 200 w 389"/>
                <a:gd name="T31" fmla="*/ 53 h 122"/>
                <a:gd name="T32" fmla="*/ 181 w 389"/>
                <a:gd name="T33" fmla="*/ 57 h 122"/>
                <a:gd name="T34" fmla="*/ 197 w 389"/>
                <a:gd name="T35" fmla="*/ 59 h 122"/>
                <a:gd name="T36" fmla="*/ 243 w 389"/>
                <a:gd name="T37" fmla="*/ 63 h 122"/>
                <a:gd name="T38" fmla="*/ 279 w 389"/>
                <a:gd name="T39" fmla="*/ 55 h 122"/>
                <a:gd name="T40" fmla="*/ 285 w 389"/>
                <a:gd name="T41" fmla="*/ 26 h 122"/>
                <a:gd name="T42" fmla="*/ 358 w 389"/>
                <a:gd name="T43" fmla="*/ 5 h 122"/>
                <a:gd name="T44" fmla="*/ 384 w 389"/>
                <a:gd name="T45"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9" h="122">
                  <a:moveTo>
                    <a:pt x="384" y="10"/>
                  </a:moveTo>
                  <a:cubicBezTo>
                    <a:pt x="384" y="10"/>
                    <a:pt x="388" y="13"/>
                    <a:pt x="388" y="20"/>
                  </a:cubicBezTo>
                  <a:cubicBezTo>
                    <a:pt x="389" y="24"/>
                    <a:pt x="385" y="30"/>
                    <a:pt x="373" y="34"/>
                  </a:cubicBezTo>
                  <a:cubicBezTo>
                    <a:pt x="373" y="34"/>
                    <a:pt x="322" y="55"/>
                    <a:pt x="262" y="94"/>
                  </a:cubicBezTo>
                  <a:cubicBezTo>
                    <a:pt x="262" y="94"/>
                    <a:pt x="255" y="98"/>
                    <a:pt x="247" y="98"/>
                  </a:cubicBezTo>
                  <a:cubicBezTo>
                    <a:pt x="207" y="93"/>
                    <a:pt x="163" y="93"/>
                    <a:pt x="159" y="93"/>
                  </a:cubicBezTo>
                  <a:cubicBezTo>
                    <a:pt x="133" y="94"/>
                    <a:pt x="103" y="97"/>
                    <a:pt x="75" y="122"/>
                  </a:cubicBezTo>
                  <a:cubicBezTo>
                    <a:pt x="75" y="122"/>
                    <a:pt x="11" y="107"/>
                    <a:pt x="0" y="69"/>
                  </a:cubicBezTo>
                  <a:cubicBezTo>
                    <a:pt x="0" y="69"/>
                    <a:pt x="77" y="47"/>
                    <a:pt x="119" y="11"/>
                  </a:cubicBezTo>
                  <a:cubicBezTo>
                    <a:pt x="133" y="0"/>
                    <a:pt x="148" y="2"/>
                    <a:pt x="154" y="3"/>
                  </a:cubicBezTo>
                  <a:cubicBezTo>
                    <a:pt x="162" y="4"/>
                    <a:pt x="178" y="10"/>
                    <a:pt x="201" y="13"/>
                  </a:cubicBezTo>
                  <a:cubicBezTo>
                    <a:pt x="213" y="15"/>
                    <a:pt x="230" y="16"/>
                    <a:pt x="245" y="17"/>
                  </a:cubicBezTo>
                  <a:cubicBezTo>
                    <a:pt x="270" y="19"/>
                    <a:pt x="278" y="24"/>
                    <a:pt x="277" y="37"/>
                  </a:cubicBezTo>
                  <a:cubicBezTo>
                    <a:pt x="277" y="42"/>
                    <a:pt x="273" y="55"/>
                    <a:pt x="253" y="54"/>
                  </a:cubicBezTo>
                  <a:cubicBezTo>
                    <a:pt x="249" y="54"/>
                    <a:pt x="239" y="53"/>
                    <a:pt x="232" y="53"/>
                  </a:cubicBezTo>
                  <a:cubicBezTo>
                    <a:pt x="226" y="52"/>
                    <a:pt x="215" y="52"/>
                    <a:pt x="200" y="53"/>
                  </a:cubicBezTo>
                  <a:cubicBezTo>
                    <a:pt x="189" y="53"/>
                    <a:pt x="181" y="57"/>
                    <a:pt x="181" y="57"/>
                  </a:cubicBezTo>
                  <a:cubicBezTo>
                    <a:pt x="181" y="57"/>
                    <a:pt x="192" y="58"/>
                    <a:pt x="197" y="59"/>
                  </a:cubicBezTo>
                  <a:cubicBezTo>
                    <a:pt x="210" y="61"/>
                    <a:pt x="227" y="63"/>
                    <a:pt x="243" y="63"/>
                  </a:cubicBezTo>
                  <a:cubicBezTo>
                    <a:pt x="259" y="64"/>
                    <a:pt x="271" y="62"/>
                    <a:pt x="279" y="55"/>
                  </a:cubicBezTo>
                  <a:cubicBezTo>
                    <a:pt x="290" y="43"/>
                    <a:pt x="287" y="32"/>
                    <a:pt x="285" y="26"/>
                  </a:cubicBezTo>
                  <a:cubicBezTo>
                    <a:pt x="285" y="26"/>
                    <a:pt x="354" y="6"/>
                    <a:pt x="358" y="5"/>
                  </a:cubicBezTo>
                  <a:cubicBezTo>
                    <a:pt x="368" y="4"/>
                    <a:pt x="380" y="5"/>
                    <a:pt x="384" y="10"/>
                  </a:cubicBez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316" name="Group 315"/>
          <p:cNvGrpSpPr/>
          <p:nvPr/>
        </p:nvGrpSpPr>
        <p:grpSpPr>
          <a:xfrm>
            <a:off x="6456243" y="3108506"/>
            <a:ext cx="817126" cy="371123"/>
            <a:chOff x="6259146" y="1872338"/>
            <a:chExt cx="1141373" cy="518391"/>
          </a:xfrm>
        </p:grpSpPr>
        <p:sp>
          <p:nvSpPr>
            <p:cNvPr id="317" name="TextBox 316"/>
            <p:cNvSpPr txBox="1">
              <a:spLocks noChangeArrowheads="1"/>
            </p:cNvSpPr>
            <p:nvPr/>
          </p:nvSpPr>
          <p:spPr bwMode="auto">
            <a:xfrm>
              <a:off x="6259146" y="1872338"/>
              <a:ext cx="1141373" cy="518391"/>
            </a:xfrm>
            <a:prstGeom prst="rect">
              <a:avLst/>
            </a:prstGeom>
            <a:solidFill>
              <a:srgbClr val="00BCF2"/>
            </a:solidFill>
            <a:ln w="9525">
              <a:noFill/>
              <a:miter lim="800000"/>
              <a:headEnd/>
              <a:tailEnd/>
            </a:ln>
          </p:spPr>
          <p:txBody>
            <a:bodyPr wrap="none" lIns="358570" tIns="62750" rIns="89593" bIns="62750"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Update</a:t>
              </a:r>
            </a:p>
            <a:p>
              <a:pPr defTabSz="914206">
                <a:lnSpc>
                  <a:spcPct val="90000"/>
                </a:lnSpc>
                <a:defRPr/>
              </a:pPr>
              <a:r>
                <a:rPr lang="en-US" sz="882" kern="0" dirty="0">
                  <a:gradFill>
                    <a:gsLst>
                      <a:gs pos="75229">
                        <a:srgbClr val="FFFFFF"/>
                      </a:gs>
                      <a:gs pos="26250">
                        <a:srgbClr val="FFFFFF"/>
                      </a:gs>
                    </a:gsLst>
                    <a:lin ang="5400000" scaled="0"/>
                  </a:gradFill>
                </a:rPr>
                <a:t>CMDB</a:t>
              </a:r>
            </a:p>
          </p:txBody>
        </p:sp>
        <p:sp>
          <p:nvSpPr>
            <p:cNvPr id="318" name="Freeform 6"/>
            <p:cNvSpPr>
              <a:spLocks noChangeAspect="1" noEditPoints="1"/>
            </p:cNvSpPr>
            <p:nvPr/>
          </p:nvSpPr>
          <p:spPr bwMode="auto">
            <a:xfrm>
              <a:off x="6346407" y="2008742"/>
              <a:ext cx="294550" cy="245577"/>
            </a:xfrm>
            <a:custGeom>
              <a:avLst/>
              <a:gdLst>
                <a:gd name="T0" fmla="*/ 173 w 349"/>
                <a:gd name="T1" fmla="*/ 256 h 291"/>
                <a:gd name="T2" fmla="*/ 160 w 349"/>
                <a:gd name="T3" fmla="*/ 255 h 291"/>
                <a:gd name="T4" fmla="*/ 149 w 349"/>
                <a:gd name="T5" fmla="*/ 253 h 291"/>
                <a:gd name="T6" fmla="*/ 139 w 349"/>
                <a:gd name="T7" fmla="*/ 250 h 291"/>
                <a:gd name="T8" fmla="*/ 130 w 349"/>
                <a:gd name="T9" fmla="*/ 247 h 291"/>
                <a:gd name="T10" fmla="*/ 121 w 349"/>
                <a:gd name="T11" fmla="*/ 243 h 291"/>
                <a:gd name="T12" fmla="*/ 96 w 349"/>
                <a:gd name="T13" fmla="*/ 223 h 291"/>
                <a:gd name="T14" fmla="*/ 88 w 349"/>
                <a:gd name="T15" fmla="*/ 214 h 291"/>
                <a:gd name="T16" fmla="*/ 93 w 349"/>
                <a:gd name="T17" fmla="*/ 146 h 291"/>
                <a:gd name="T18" fmla="*/ 0 w 349"/>
                <a:gd name="T19" fmla="*/ 146 h 291"/>
                <a:gd name="T20" fmla="*/ 54 w 349"/>
                <a:gd name="T21" fmla="*/ 228 h 291"/>
                <a:gd name="T22" fmla="*/ 60 w 349"/>
                <a:gd name="T23" fmla="*/ 236 h 291"/>
                <a:gd name="T24" fmla="*/ 71 w 349"/>
                <a:gd name="T25" fmla="*/ 248 h 291"/>
                <a:gd name="T26" fmla="*/ 104 w 349"/>
                <a:gd name="T27" fmla="*/ 273 h 291"/>
                <a:gd name="T28" fmla="*/ 116 w 349"/>
                <a:gd name="T29" fmla="*/ 279 h 291"/>
                <a:gd name="T30" fmla="*/ 128 w 349"/>
                <a:gd name="T31" fmla="*/ 283 h 291"/>
                <a:gd name="T32" fmla="*/ 141 w 349"/>
                <a:gd name="T33" fmla="*/ 287 h 291"/>
                <a:gd name="T34" fmla="*/ 149 w 349"/>
                <a:gd name="T35" fmla="*/ 289 h 291"/>
                <a:gd name="T36" fmla="*/ 160 w 349"/>
                <a:gd name="T37" fmla="*/ 290 h 291"/>
                <a:gd name="T38" fmla="*/ 258 w 349"/>
                <a:gd name="T39" fmla="*/ 265 h 291"/>
                <a:gd name="T40" fmla="*/ 237 w 349"/>
                <a:gd name="T41" fmla="*/ 236 h 291"/>
                <a:gd name="T42" fmla="*/ 294 w 349"/>
                <a:gd name="T43" fmla="*/ 63 h 291"/>
                <a:gd name="T44" fmla="*/ 287 w 349"/>
                <a:gd name="T45" fmla="*/ 54 h 291"/>
                <a:gd name="T46" fmla="*/ 232 w 349"/>
                <a:gd name="T47" fmla="*/ 12 h 291"/>
                <a:gd name="T48" fmla="*/ 220 w 349"/>
                <a:gd name="T49" fmla="*/ 8 h 291"/>
                <a:gd name="T50" fmla="*/ 207 w 349"/>
                <a:gd name="T51" fmla="*/ 4 h 291"/>
                <a:gd name="T52" fmla="*/ 199 w 349"/>
                <a:gd name="T53" fmla="*/ 2 h 291"/>
                <a:gd name="T54" fmla="*/ 188 w 349"/>
                <a:gd name="T55" fmla="*/ 1 h 291"/>
                <a:gd name="T56" fmla="*/ 174 w 349"/>
                <a:gd name="T57" fmla="*/ 0 h 291"/>
                <a:gd name="T58" fmla="*/ 91 w 349"/>
                <a:gd name="T59" fmla="*/ 27 h 291"/>
                <a:gd name="T60" fmla="*/ 111 w 349"/>
                <a:gd name="T61" fmla="*/ 55 h 291"/>
                <a:gd name="T62" fmla="*/ 185 w 349"/>
                <a:gd name="T63" fmla="*/ 36 h 291"/>
                <a:gd name="T64" fmla="*/ 195 w 349"/>
                <a:gd name="T65" fmla="*/ 37 h 291"/>
                <a:gd name="T66" fmla="*/ 206 w 349"/>
                <a:gd name="T67" fmla="*/ 40 h 291"/>
                <a:gd name="T68" fmla="*/ 217 w 349"/>
                <a:gd name="T69" fmla="*/ 44 h 291"/>
                <a:gd name="T70" fmla="*/ 259 w 349"/>
                <a:gd name="T71" fmla="*/ 75 h 291"/>
                <a:gd name="T72" fmla="*/ 285 w 349"/>
                <a:gd name="T73" fmla="*/ 146 h 291"/>
                <a:gd name="T74" fmla="*/ 302 w 349"/>
                <a:gd name="T75" fmla="*/ 215 h 291"/>
                <a:gd name="T76" fmla="*/ 320 w 349"/>
                <a:gd name="T77" fmla="*/ 1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9" h="291">
                  <a:moveTo>
                    <a:pt x="237" y="236"/>
                  </a:moveTo>
                  <a:cubicBezTo>
                    <a:pt x="218" y="250"/>
                    <a:pt x="196" y="256"/>
                    <a:pt x="173" y="256"/>
                  </a:cubicBezTo>
                  <a:cubicBezTo>
                    <a:pt x="170" y="256"/>
                    <a:pt x="167" y="256"/>
                    <a:pt x="164" y="256"/>
                  </a:cubicBezTo>
                  <a:cubicBezTo>
                    <a:pt x="163" y="255"/>
                    <a:pt x="161" y="255"/>
                    <a:pt x="160" y="255"/>
                  </a:cubicBezTo>
                  <a:cubicBezTo>
                    <a:pt x="158" y="255"/>
                    <a:pt x="155" y="254"/>
                    <a:pt x="153" y="254"/>
                  </a:cubicBezTo>
                  <a:cubicBezTo>
                    <a:pt x="152" y="254"/>
                    <a:pt x="150" y="253"/>
                    <a:pt x="149" y="253"/>
                  </a:cubicBezTo>
                  <a:cubicBezTo>
                    <a:pt x="147" y="253"/>
                    <a:pt x="144" y="252"/>
                    <a:pt x="142" y="251"/>
                  </a:cubicBezTo>
                  <a:cubicBezTo>
                    <a:pt x="141" y="251"/>
                    <a:pt x="140" y="251"/>
                    <a:pt x="139" y="250"/>
                  </a:cubicBezTo>
                  <a:cubicBezTo>
                    <a:pt x="137" y="249"/>
                    <a:pt x="134" y="249"/>
                    <a:pt x="132" y="248"/>
                  </a:cubicBezTo>
                  <a:cubicBezTo>
                    <a:pt x="131" y="247"/>
                    <a:pt x="131" y="247"/>
                    <a:pt x="130" y="247"/>
                  </a:cubicBezTo>
                  <a:cubicBezTo>
                    <a:pt x="127" y="246"/>
                    <a:pt x="124" y="244"/>
                    <a:pt x="122" y="243"/>
                  </a:cubicBezTo>
                  <a:cubicBezTo>
                    <a:pt x="121" y="243"/>
                    <a:pt x="121" y="243"/>
                    <a:pt x="121" y="243"/>
                  </a:cubicBezTo>
                  <a:cubicBezTo>
                    <a:pt x="112" y="237"/>
                    <a:pt x="103" y="231"/>
                    <a:pt x="96" y="224"/>
                  </a:cubicBezTo>
                  <a:cubicBezTo>
                    <a:pt x="96" y="224"/>
                    <a:pt x="96" y="223"/>
                    <a:pt x="96" y="223"/>
                  </a:cubicBezTo>
                  <a:cubicBezTo>
                    <a:pt x="93" y="221"/>
                    <a:pt x="91" y="219"/>
                    <a:pt x="89" y="216"/>
                  </a:cubicBezTo>
                  <a:cubicBezTo>
                    <a:pt x="89" y="216"/>
                    <a:pt x="88" y="215"/>
                    <a:pt x="88" y="214"/>
                  </a:cubicBezTo>
                  <a:cubicBezTo>
                    <a:pt x="73" y="196"/>
                    <a:pt x="64" y="172"/>
                    <a:pt x="64" y="146"/>
                  </a:cubicBezTo>
                  <a:cubicBezTo>
                    <a:pt x="93" y="146"/>
                    <a:pt x="93" y="146"/>
                    <a:pt x="93" y="146"/>
                  </a:cubicBezTo>
                  <a:cubicBezTo>
                    <a:pt x="46" y="76"/>
                    <a:pt x="46" y="76"/>
                    <a:pt x="46" y="76"/>
                  </a:cubicBezTo>
                  <a:cubicBezTo>
                    <a:pt x="0" y="146"/>
                    <a:pt x="0" y="146"/>
                    <a:pt x="0" y="146"/>
                  </a:cubicBezTo>
                  <a:cubicBezTo>
                    <a:pt x="29" y="146"/>
                    <a:pt x="29" y="146"/>
                    <a:pt x="29" y="146"/>
                  </a:cubicBezTo>
                  <a:cubicBezTo>
                    <a:pt x="29" y="176"/>
                    <a:pt x="38" y="205"/>
                    <a:pt x="54" y="228"/>
                  </a:cubicBezTo>
                  <a:cubicBezTo>
                    <a:pt x="55" y="228"/>
                    <a:pt x="55" y="229"/>
                    <a:pt x="55" y="229"/>
                  </a:cubicBezTo>
                  <a:cubicBezTo>
                    <a:pt x="57" y="231"/>
                    <a:pt x="59" y="234"/>
                    <a:pt x="60" y="236"/>
                  </a:cubicBezTo>
                  <a:cubicBezTo>
                    <a:pt x="61" y="237"/>
                    <a:pt x="62" y="238"/>
                    <a:pt x="62" y="238"/>
                  </a:cubicBezTo>
                  <a:cubicBezTo>
                    <a:pt x="65" y="242"/>
                    <a:pt x="68" y="245"/>
                    <a:pt x="71" y="248"/>
                  </a:cubicBezTo>
                  <a:cubicBezTo>
                    <a:pt x="71" y="248"/>
                    <a:pt x="71" y="248"/>
                    <a:pt x="72" y="249"/>
                  </a:cubicBezTo>
                  <a:cubicBezTo>
                    <a:pt x="81" y="258"/>
                    <a:pt x="92" y="266"/>
                    <a:pt x="104" y="273"/>
                  </a:cubicBezTo>
                  <a:cubicBezTo>
                    <a:pt x="104" y="273"/>
                    <a:pt x="105" y="273"/>
                    <a:pt x="105" y="274"/>
                  </a:cubicBezTo>
                  <a:cubicBezTo>
                    <a:pt x="109" y="275"/>
                    <a:pt x="112" y="277"/>
                    <a:pt x="116" y="279"/>
                  </a:cubicBezTo>
                  <a:cubicBezTo>
                    <a:pt x="117" y="279"/>
                    <a:pt x="117" y="279"/>
                    <a:pt x="118" y="280"/>
                  </a:cubicBezTo>
                  <a:cubicBezTo>
                    <a:pt x="121" y="281"/>
                    <a:pt x="125" y="282"/>
                    <a:pt x="128" y="283"/>
                  </a:cubicBezTo>
                  <a:cubicBezTo>
                    <a:pt x="129" y="284"/>
                    <a:pt x="131" y="284"/>
                    <a:pt x="132" y="285"/>
                  </a:cubicBezTo>
                  <a:cubicBezTo>
                    <a:pt x="135" y="286"/>
                    <a:pt x="138" y="286"/>
                    <a:pt x="141" y="287"/>
                  </a:cubicBezTo>
                  <a:cubicBezTo>
                    <a:pt x="143" y="287"/>
                    <a:pt x="145" y="288"/>
                    <a:pt x="146" y="288"/>
                  </a:cubicBezTo>
                  <a:cubicBezTo>
                    <a:pt x="147" y="288"/>
                    <a:pt x="148" y="289"/>
                    <a:pt x="149" y="289"/>
                  </a:cubicBezTo>
                  <a:cubicBezTo>
                    <a:pt x="152" y="289"/>
                    <a:pt x="154" y="290"/>
                    <a:pt x="157" y="290"/>
                  </a:cubicBezTo>
                  <a:cubicBezTo>
                    <a:pt x="158" y="290"/>
                    <a:pt x="159" y="290"/>
                    <a:pt x="160" y="290"/>
                  </a:cubicBezTo>
                  <a:cubicBezTo>
                    <a:pt x="165" y="291"/>
                    <a:pt x="170" y="291"/>
                    <a:pt x="174" y="291"/>
                  </a:cubicBezTo>
                  <a:cubicBezTo>
                    <a:pt x="204" y="291"/>
                    <a:pt x="233" y="282"/>
                    <a:pt x="258" y="265"/>
                  </a:cubicBezTo>
                  <a:cubicBezTo>
                    <a:pt x="265" y="259"/>
                    <a:pt x="267" y="248"/>
                    <a:pt x="262" y="240"/>
                  </a:cubicBezTo>
                  <a:cubicBezTo>
                    <a:pt x="256" y="232"/>
                    <a:pt x="245" y="231"/>
                    <a:pt x="237" y="236"/>
                  </a:cubicBezTo>
                  <a:close/>
                  <a:moveTo>
                    <a:pt x="320" y="146"/>
                  </a:moveTo>
                  <a:cubicBezTo>
                    <a:pt x="319" y="115"/>
                    <a:pt x="310" y="87"/>
                    <a:pt x="294" y="63"/>
                  </a:cubicBezTo>
                  <a:cubicBezTo>
                    <a:pt x="294" y="63"/>
                    <a:pt x="293" y="63"/>
                    <a:pt x="293" y="62"/>
                  </a:cubicBezTo>
                  <a:cubicBezTo>
                    <a:pt x="291" y="59"/>
                    <a:pt x="289" y="57"/>
                    <a:pt x="287" y="54"/>
                  </a:cubicBezTo>
                  <a:cubicBezTo>
                    <a:pt x="287" y="54"/>
                    <a:pt x="286" y="53"/>
                    <a:pt x="286" y="53"/>
                  </a:cubicBezTo>
                  <a:cubicBezTo>
                    <a:pt x="271" y="35"/>
                    <a:pt x="253" y="21"/>
                    <a:pt x="232" y="12"/>
                  </a:cubicBezTo>
                  <a:cubicBezTo>
                    <a:pt x="231" y="12"/>
                    <a:pt x="231" y="12"/>
                    <a:pt x="230" y="11"/>
                  </a:cubicBezTo>
                  <a:cubicBezTo>
                    <a:pt x="227" y="10"/>
                    <a:pt x="223" y="9"/>
                    <a:pt x="220" y="8"/>
                  </a:cubicBezTo>
                  <a:cubicBezTo>
                    <a:pt x="219" y="7"/>
                    <a:pt x="217" y="7"/>
                    <a:pt x="216" y="6"/>
                  </a:cubicBezTo>
                  <a:cubicBezTo>
                    <a:pt x="213" y="6"/>
                    <a:pt x="210" y="5"/>
                    <a:pt x="207" y="4"/>
                  </a:cubicBezTo>
                  <a:cubicBezTo>
                    <a:pt x="205" y="4"/>
                    <a:pt x="204" y="3"/>
                    <a:pt x="202" y="3"/>
                  </a:cubicBezTo>
                  <a:cubicBezTo>
                    <a:pt x="201" y="3"/>
                    <a:pt x="200" y="3"/>
                    <a:pt x="199" y="2"/>
                  </a:cubicBezTo>
                  <a:cubicBezTo>
                    <a:pt x="197" y="2"/>
                    <a:pt x="195" y="2"/>
                    <a:pt x="192" y="2"/>
                  </a:cubicBezTo>
                  <a:cubicBezTo>
                    <a:pt x="191" y="1"/>
                    <a:pt x="189" y="1"/>
                    <a:pt x="188" y="1"/>
                  </a:cubicBezTo>
                  <a:cubicBezTo>
                    <a:pt x="184" y="1"/>
                    <a:pt x="180" y="0"/>
                    <a:pt x="176" y="0"/>
                  </a:cubicBezTo>
                  <a:cubicBezTo>
                    <a:pt x="175" y="0"/>
                    <a:pt x="175" y="0"/>
                    <a:pt x="174" y="0"/>
                  </a:cubicBezTo>
                  <a:cubicBezTo>
                    <a:pt x="174" y="0"/>
                    <a:pt x="174" y="0"/>
                    <a:pt x="174" y="0"/>
                  </a:cubicBezTo>
                  <a:cubicBezTo>
                    <a:pt x="144" y="0"/>
                    <a:pt x="115" y="9"/>
                    <a:pt x="91" y="27"/>
                  </a:cubicBezTo>
                  <a:cubicBezTo>
                    <a:pt x="83" y="32"/>
                    <a:pt x="81" y="43"/>
                    <a:pt x="86" y="51"/>
                  </a:cubicBezTo>
                  <a:cubicBezTo>
                    <a:pt x="92" y="59"/>
                    <a:pt x="103" y="61"/>
                    <a:pt x="111" y="55"/>
                  </a:cubicBezTo>
                  <a:cubicBezTo>
                    <a:pt x="130" y="42"/>
                    <a:pt x="152" y="35"/>
                    <a:pt x="175" y="35"/>
                  </a:cubicBezTo>
                  <a:cubicBezTo>
                    <a:pt x="178" y="35"/>
                    <a:pt x="181" y="35"/>
                    <a:pt x="185" y="36"/>
                  </a:cubicBezTo>
                  <a:cubicBezTo>
                    <a:pt x="186" y="36"/>
                    <a:pt x="187" y="36"/>
                    <a:pt x="188" y="36"/>
                  </a:cubicBezTo>
                  <a:cubicBezTo>
                    <a:pt x="190" y="36"/>
                    <a:pt x="193" y="37"/>
                    <a:pt x="195" y="37"/>
                  </a:cubicBezTo>
                  <a:cubicBezTo>
                    <a:pt x="196" y="37"/>
                    <a:pt x="198" y="38"/>
                    <a:pt x="199" y="38"/>
                  </a:cubicBezTo>
                  <a:cubicBezTo>
                    <a:pt x="201" y="39"/>
                    <a:pt x="204" y="39"/>
                    <a:pt x="206" y="40"/>
                  </a:cubicBezTo>
                  <a:cubicBezTo>
                    <a:pt x="207" y="40"/>
                    <a:pt x="208" y="40"/>
                    <a:pt x="209" y="41"/>
                  </a:cubicBezTo>
                  <a:cubicBezTo>
                    <a:pt x="211" y="42"/>
                    <a:pt x="214" y="43"/>
                    <a:pt x="217" y="44"/>
                  </a:cubicBezTo>
                  <a:cubicBezTo>
                    <a:pt x="217" y="44"/>
                    <a:pt x="217" y="44"/>
                    <a:pt x="218" y="44"/>
                  </a:cubicBezTo>
                  <a:cubicBezTo>
                    <a:pt x="234" y="51"/>
                    <a:pt x="248" y="62"/>
                    <a:pt x="259" y="75"/>
                  </a:cubicBezTo>
                  <a:cubicBezTo>
                    <a:pt x="259" y="75"/>
                    <a:pt x="259" y="76"/>
                    <a:pt x="259" y="76"/>
                  </a:cubicBezTo>
                  <a:cubicBezTo>
                    <a:pt x="275" y="95"/>
                    <a:pt x="285" y="119"/>
                    <a:pt x="285" y="146"/>
                  </a:cubicBezTo>
                  <a:cubicBezTo>
                    <a:pt x="255" y="146"/>
                    <a:pt x="255" y="146"/>
                    <a:pt x="255" y="146"/>
                  </a:cubicBezTo>
                  <a:cubicBezTo>
                    <a:pt x="302" y="215"/>
                    <a:pt x="302" y="215"/>
                    <a:pt x="302" y="215"/>
                  </a:cubicBezTo>
                  <a:cubicBezTo>
                    <a:pt x="349" y="146"/>
                    <a:pt x="349" y="146"/>
                    <a:pt x="349" y="146"/>
                  </a:cubicBezTo>
                  <a:lnTo>
                    <a:pt x="320" y="146"/>
                  </a:ln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319" name="Group 318"/>
          <p:cNvGrpSpPr/>
          <p:nvPr/>
        </p:nvGrpSpPr>
        <p:grpSpPr>
          <a:xfrm>
            <a:off x="4501007" y="3984818"/>
            <a:ext cx="960761" cy="371054"/>
            <a:chOff x="3524030" y="3098351"/>
            <a:chExt cx="1342004" cy="518293"/>
          </a:xfrm>
        </p:grpSpPr>
        <p:sp>
          <p:nvSpPr>
            <p:cNvPr id="320" name="TextBox 319"/>
            <p:cNvSpPr txBox="1">
              <a:spLocks noChangeArrowheads="1"/>
            </p:cNvSpPr>
            <p:nvPr/>
          </p:nvSpPr>
          <p:spPr bwMode="auto">
            <a:xfrm>
              <a:off x="3524030" y="3098351"/>
              <a:ext cx="1342004" cy="518293"/>
            </a:xfrm>
            <a:prstGeom prst="rect">
              <a:avLst/>
            </a:prstGeom>
            <a:solidFill>
              <a:srgbClr val="00BCF2"/>
            </a:solidFill>
            <a:ln w="9525">
              <a:noFill/>
              <a:miter lim="800000"/>
              <a:headEnd/>
              <a:tailEnd/>
            </a:ln>
          </p:spPr>
          <p:txBody>
            <a:bodyPr wrap="none" lIns="268927" tIns="62715" rIns="89593" bIns="62715"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Create</a:t>
              </a:r>
            </a:p>
            <a:p>
              <a:pPr defTabSz="914206">
                <a:lnSpc>
                  <a:spcPct val="90000"/>
                </a:lnSpc>
                <a:defRPr/>
              </a:pPr>
              <a:r>
                <a:rPr lang="en-US" sz="882" kern="0" dirty="0">
                  <a:gradFill>
                    <a:gsLst>
                      <a:gs pos="75229">
                        <a:srgbClr val="FFFFFF"/>
                      </a:gs>
                      <a:gs pos="26250">
                        <a:srgbClr val="FFFFFF"/>
                      </a:gs>
                    </a:gsLst>
                    <a:lin ang="5400000" scaled="0"/>
                  </a:gradFill>
                </a:rPr>
                <a:t>deployment</a:t>
              </a:r>
            </a:p>
          </p:txBody>
        </p:sp>
        <p:sp>
          <p:nvSpPr>
            <p:cNvPr id="321" name="Freeform 520"/>
            <p:cNvSpPr>
              <a:spLocks noChangeAspect="1"/>
            </p:cNvSpPr>
            <p:nvPr/>
          </p:nvSpPr>
          <p:spPr bwMode="auto">
            <a:xfrm>
              <a:off x="3612603" y="3235167"/>
              <a:ext cx="217505" cy="255212"/>
            </a:xfrm>
            <a:custGeom>
              <a:avLst/>
              <a:gdLst>
                <a:gd name="T0" fmla="*/ 179 w 200"/>
                <a:gd name="T1" fmla="*/ 119 h 235"/>
                <a:gd name="T2" fmla="*/ 164 w 200"/>
                <a:gd name="T3" fmla="*/ 125 h 235"/>
                <a:gd name="T4" fmla="*/ 138 w 200"/>
                <a:gd name="T5" fmla="*/ 112 h 235"/>
                <a:gd name="T6" fmla="*/ 138 w 200"/>
                <a:gd name="T7" fmla="*/ 109 h 235"/>
                <a:gd name="T8" fmla="*/ 129 w 200"/>
                <a:gd name="T9" fmla="*/ 90 h 235"/>
                <a:gd name="T10" fmla="*/ 146 w 200"/>
                <a:gd name="T11" fmla="*/ 42 h 235"/>
                <a:gd name="T12" fmla="*/ 164 w 200"/>
                <a:gd name="T13" fmla="*/ 21 h 235"/>
                <a:gd name="T14" fmla="*/ 143 w 200"/>
                <a:gd name="T15" fmla="*/ 0 h 235"/>
                <a:gd name="T16" fmla="*/ 121 w 200"/>
                <a:gd name="T17" fmla="*/ 21 h 235"/>
                <a:gd name="T18" fmla="*/ 130 w 200"/>
                <a:gd name="T19" fmla="*/ 39 h 235"/>
                <a:gd name="T20" fmla="*/ 114 w 200"/>
                <a:gd name="T21" fmla="*/ 84 h 235"/>
                <a:gd name="T22" fmla="*/ 112 w 200"/>
                <a:gd name="T23" fmla="*/ 83 h 235"/>
                <a:gd name="T24" fmla="*/ 87 w 200"/>
                <a:gd name="T25" fmla="*/ 105 h 235"/>
                <a:gd name="T26" fmla="*/ 41 w 200"/>
                <a:gd name="T27" fmla="*/ 115 h 235"/>
                <a:gd name="T28" fmla="*/ 22 w 200"/>
                <a:gd name="T29" fmla="*/ 103 h 235"/>
                <a:gd name="T30" fmla="*/ 0 w 200"/>
                <a:gd name="T31" fmla="*/ 124 h 235"/>
                <a:gd name="T32" fmla="*/ 22 w 200"/>
                <a:gd name="T33" fmla="*/ 146 h 235"/>
                <a:gd name="T34" fmla="*/ 42 w 200"/>
                <a:gd name="T35" fmla="*/ 132 h 235"/>
                <a:gd name="T36" fmla="*/ 42 w 200"/>
                <a:gd name="T37" fmla="*/ 132 h 235"/>
                <a:gd name="T38" fmla="*/ 89 w 200"/>
                <a:gd name="T39" fmla="*/ 121 h 235"/>
                <a:gd name="T40" fmla="*/ 109 w 200"/>
                <a:gd name="T41" fmla="*/ 135 h 235"/>
                <a:gd name="T42" fmla="*/ 112 w 200"/>
                <a:gd name="T43" fmla="*/ 197 h 235"/>
                <a:gd name="T44" fmla="*/ 103 w 200"/>
                <a:gd name="T45" fmla="*/ 214 h 235"/>
                <a:gd name="T46" fmla="*/ 124 w 200"/>
                <a:gd name="T47" fmla="*/ 235 h 235"/>
                <a:gd name="T48" fmla="*/ 145 w 200"/>
                <a:gd name="T49" fmla="*/ 214 h 235"/>
                <a:gd name="T50" fmla="*/ 127 w 200"/>
                <a:gd name="T51" fmla="*/ 193 h 235"/>
                <a:gd name="T52" fmla="*/ 125 w 200"/>
                <a:gd name="T53" fmla="*/ 132 h 235"/>
                <a:gd name="T54" fmla="*/ 132 w 200"/>
                <a:gd name="T55" fmla="*/ 126 h 235"/>
                <a:gd name="T56" fmla="*/ 158 w 200"/>
                <a:gd name="T57" fmla="*/ 139 h 235"/>
                <a:gd name="T58" fmla="*/ 158 w 200"/>
                <a:gd name="T59" fmla="*/ 141 h 235"/>
                <a:gd name="T60" fmla="*/ 179 w 200"/>
                <a:gd name="T61" fmla="*/ 162 h 235"/>
                <a:gd name="T62" fmla="*/ 200 w 200"/>
                <a:gd name="T63" fmla="*/ 141 h 235"/>
                <a:gd name="T64" fmla="*/ 179 w 200"/>
                <a:gd name="T65" fmla="*/ 1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35">
                  <a:moveTo>
                    <a:pt x="179" y="119"/>
                  </a:moveTo>
                  <a:cubicBezTo>
                    <a:pt x="173" y="119"/>
                    <a:pt x="168" y="121"/>
                    <a:pt x="164" y="125"/>
                  </a:cubicBezTo>
                  <a:cubicBezTo>
                    <a:pt x="138" y="112"/>
                    <a:pt x="138" y="112"/>
                    <a:pt x="138" y="112"/>
                  </a:cubicBezTo>
                  <a:cubicBezTo>
                    <a:pt x="138" y="111"/>
                    <a:pt x="138" y="110"/>
                    <a:pt x="138" y="109"/>
                  </a:cubicBezTo>
                  <a:cubicBezTo>
                    <a:pt x="138" y="102"/>
                    <a:pt x="135" y="95"/>
                    <a:pt x="129" y="90"/>
                  </a:cubicBezTo>
                  <a:cubicBezTo>
                    <a:pt x="146" y="42"/>
                    <a:pt x="146" y="42"/>
                    <a:pt x="146" y="42"/>
                  </a:cubicBezTo>
                  <a:cubicBezTo>
                    <a:pt x="156" y="41"/>
                    <a:pt x="164" y="32"/>
                    <a:pt x="164" y="21"/>
                  </a:cubicBezTo>
                  <a:cubicBezTo>
                    <a:pt x="164" y="10"/>
                    <a:pt x="155" y="0"/>
                    <a:pt x="143" y="0"/>
                  </a:cubicBezTo>
                  <a:cubicBezTo>
                    <a:pt x="131" y="0"/>
                    <a:pt x="121" y="10"/>
                    <a:pt x="121" y="21"/>
                  </a:cubicBezTo>
                  <a:cubicBezTo>
                    <a:pt x="121" y="28"/>
                    <a:pt x="125" y="35"/>
                    <a:pt x="130" y="39"/>
                  </a:cubicBezTo>
                  <a:cubicBezTo>
                    <a:pt x="114" y="84"/>
                    <a:pt x="114" y="84"/>
                    <a:pt x="114" y="84"/>
                  </a:cubicBezTo>
                  <a:cubicBezTo>
                    <a:pt x="114" y="83"/>
                    <a:pt x="113" y="83"/>
                    <a:pt x="112" y="83"/>
                  </a:cubicBezTo>
                  <a:cubicBezTo>
                    <a:pt x="99" y="83"/>
                    <a:pt x="89" y="93"/>
                    <a:pt x="87" y="105"/>
                  </a:cubicBezTo>
                  <a:cubicBezTo>
                    <a:pt x="41" y="115"/>
                    <a:pt x="41" y="115"/>
                    <a:pt x="41" y="115"/>
                  </a:cubicBezTo>
                  <a:cubicBezTo>
                    <a:pt x="38" y="108"/>
                    <a:pt x="30" y="103"/>
                    <a:pt x="22" y="103"/>
                  </a:cubicBezTo>
                  <a:cubicBezTo>
                    <a:pt x="10" y="103"/>
                    <a:pt x="0" y="113"/>
                    <a:pt x="0" y="124"/>
                  </a:cubicBezTo>
                  <a:cubicBezTo>
                    <a:pt x="0" y="136"/>
                    <a:pt x="10" y="146"/>
                    <a:pt x="22" y="146"/>
                  </a:cubicBezTo>
                  <a:cubicBezTo>
                    <a:pt x="31" y="146"/>
                    <a:pt x="39" y="140"/>
                    <a:pt x="42" y="132"/>
                  </a:cubicBezTo>
                  <a:cubicBezTo>
                    <a:pt x="42" y="132"/>
                    <a:pt x="42" y="132"/>
                    <a:pt x="42" y="132"/>
                  </a:cubicBezTo>
                  <a:cubicBezTo>
                    <a:pt x="89" y="121"/>
                    <a:pt x="89" y="121"/>
                    <a:pt x="89" y="121"/>
                  </a:cubicBezTo>
                  <a:cubicBezTo>
                    <a:pt x="92" y="128"/>
                    <a:pt x="100" y="134"/>
                    <a:pt x="109" y="135"/>
                  </a:cubicBezTo>
                  <a:cubicBezTo>
                    <a:pt x="112" y="197"/>
                    <a:pt x="112" y="197"/>
                    <a:pt x="112" y="197"/>
                  </a:cubicBezTo>
                  <a:cubicBezTo>
                    <a:pt x="106" y="201"/>
                    <a:pt x="103" y="207"/>
                    <a:pt x="103" y="214"/>
                  </a:cubicBezTo>
                  <a:cubicBezTo>
                    <a:pt x="103" y="226"/>
                    <a:pt x="112" y="235"/>
                    <a:pt x="124" y="235"/>
                  </a:cubicBezTo>
                  <a:cubicBezTo>
                    <a:pt x="136" y="235"/>
                    <a:pt x="145" y="226"/>
                    <a:pt x="145" y="214"/>
                  </a:cubicBezTo>
                  <a:cubicBezTo>
                    <a:pt x="145" y="203"/>
                    <a:pt x="138" y="195"/>
                    <a:pt x="127" y="193"/>
                  </a:cubicBezTo>
                  <a:cubicBezTo>
                    <a:pt x="125" y="132"/>
                    <a:pt x="125" y="132"/>
                    <a:pt x="125" y="132"/>
                  </a:cubicBezTo>
                  <a:cubicBezTo>
                    <a:pt x="127" y="131"/>
                    <a:pt x="130" y="129"/>
                    <a:pt x="132" y="126"/>
                  </a:cubicBezTo>
                  <a:cubicBezTo>
                    <a:pt x="158" y="139"/>
                    <a:pt x="158" y="139"/>
                    <a:pt x="158" y="139"/>
                  </a:cubicBezTo>
                  <a:cubicBezTo>
                    <a:pt x="158" y="140"/>
                    <a:pt x="158" y="140"/>
                    <a:pt x="158" y="141"/>
                  </a:cubicBezTo>
                  <a:cubicBezTo>
                    <a:pt x="158" y="152"/>
                    <a:pt x="167" y="162"/>
                    <a:pt x="179" y="162"/>
                  </a:cubicBezTo>
                  <a:cubicBezTo>
                    <a:pt x="191" y="162"/>
                    <a:pt x="200" y="152"/>
                    <a:pt x="200" y="141"/>
                  </a:cubicBezTo>
                  <a:cubicBezTo>
                    <a:pt x="200" y="129"/>
                    <a:pt x="191" y="119"/>
                    <a:pt x="179" y="119"/>
                  </a:cubicBez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grpSp>
        <p:nvGrpSpPr>
          <p:cNvPr id="322" name="Group 321"/>
          <p:cNvGrpSpPr/>
          <p:nvPr/>
        </p:nvGrpSpPr>
        <p:grpSpPr>
          <a:xfrm>
            <a:off x="7096574" y="2670367"/>
            <a:ext cx="737609" cy="371123"/>
            <a:chOff x="7154884" y="1259354"/>
            <a:chExt cx="1030304" cy="518392"/>
          </a:xfrm>
        </p:grpSpPr>
        <p:sp>
          <p:nvSpPr>
            <p:cNvPr id="323" name="TextBox 322"/>
            <p:cNvSpPr txBox="1">
              <a:spLocks noChangeArrowheads="1"/>
            </p:cNvSpPr>
            <p:nvPr/>
          </p:nvSpPr>
          <p:spPr bwMode="auto">
            <a:xfrm>
              <a:off x="7154884" y="1259354"/>
              <a:ext cx="1030304" cy="518392"/>
            </a:xfrm>
            <a:prstGeom prst="rect">
              <a:avLst/>
            </a:prstGeom>
            <a:solidFill>
              <a:srgbClr val="00BCF2"/>
            </a:solidFill>
            <a:ln w="9525">
              <a:noFill/>
              <a:miter lim="800000"/>
              <a:headEnd/>
              <a:tailEnd/>
            </a:ln>
          </p:spPr>
          <p:txBody>
            <a:bodyPr wrap="none" lIns="268927" tIns="62750" rIns="89593" bIns="62750" anchor="ctr" anchorCtr="0">
              <a:spAutoFit/>
            </a:bodyPr>
            <a:lstStyle/>
            <a:p>
              <a:pPr defTabSz="914206">
                <a:lnSpc>
                  <a:spcPct val="90000"/>
                </a:lnSpc>
                <a:defRPr/>
              </a:pPr>
              <a:r>
                <a:rPr lang="en-US" sz="882" kern="0" dirty="0">
                  <a:gradFill>
                    <a:gsLst>
                      <a:gs pos="75229">
                        <a:srgbClr val="FFFFFF"/>
                      </a:gs>
                      <a:gs pos="26250">
                        <a:srgbClr val="FFFFFF"/>
                      </a:gs>
                    </a:gsLst>
                    <a:lin ang="5400000" scaled="0"/>
                  </a:gradFill>
                </a:rPr>
                <a:t>Close</a:t>
              </a:r>
            </a:p>
            <a:p>
              <a:pPr defTabSz="914206">
                <a:lnSpc>
                  <a:spcPct val="90000"/>
                </a:lnSpc>
                <a:defRPr/>
              </a:pPr>
              <a:r>
                <a:rPr lang="en-US" sz="882" kern="0" dirty="0">
                  <a:gradFill>
                    <a:gsLst>
                      <a:gs pos="75229">
                        <a:srgbClr val="FFFFFF"/>
                      </a:gs>
                      <a:gs pos="26250">
                        <a:srgbClr val="FFFFFF"/>
                      </a:gs>
                    </a:gsLst>
                    <a:lin ang="5400000" scaled="0"/>
                  </a:gradFill>
                </a:rPr>
                <a:t>request</a:t>
              </a:r>
            </a:p>
          </p:txBody>
        </p:sp>
        <p:sp>
          <p:nvSpPr>
            <p:cNvPr id="324" name="Freeform 30"/>
            <p:cNvSpPr>
              <a:spLocks noChangeAspect="1" noEditPoints="1"/>
            </p:cNvSpPr>
            <p:nvPr/>
          </p:nvSpPr>
          <p:spPr bwMode="auto">
            <a:xfrm>
              <a:off x="7253141" y="1410237"/>
              <a:ext cx="232514" cy="216620"/>
            </a:xfrm>
            <a:custGeom>
              <a:avLst/>
              <a:gdLst>
                <a:gd name="T0" fmla="*/ 202 w 285"/>
                <a:gd name="T1" fmla="*/ 78 h 265"/>
                <a:gd name="T2" fmla="*/ 181 w 285"/>
                <a:gd name="T3" fmla="*/ 78 h 265"/>
                <a:gd name="T4" fmla="*/ 181 w 285"/>
                <a:gd name="T5" fmla="*/ 21 h 265"/>
                <a:gd name="T6" fmla="*/ 83 w 285"/>
                <a:gd name="T7" fmla="*/ 21 h 265"/>
                <a:gd name="T8" fmla="*/ 83 w 285"/>
                <a:gd name="T9" fmla="*/ 75 h 265"/>
                <a:gd name="T10" fmla="*/ 24 w 285"/>
                <a:gd name="T11" fmla="*/ 75 h 265"/>
                <a:gd name="T12" fmla="*/ 24 w 285"/>
                <a:gd name="T13" fmla="*/ 243 h 265"/>
                <a:gd name="T14" fmla="*/ 163 w 285"/>
                <a:gd name="T15" fmla="*/ 243 h 265"/>
                <a:gd name="T16" fmla="*/ 163 w 285"/>
                <a:gd name="T17" fmla="*/ 265 h 265"/>
                <a:gd name="T18" fmla="*/ 0 w 285"/>
                <a:gd name="T19" fmla="*/ 265 h 265"/>
                <a:gd name="T20" fmla="*/ 0 w 285"/>
                <a:gd name="T21" fmla="*/ 54 h 265"/>
                <a:gd name="T22" fmla="*/ 59 w 285"/>
                <a:gd name="T23" fmla="*/ 0 h 265"/>
                <a:gd name="T24" fmla="*/ 202 w 285"/>
                <a:gd name="T25" fmla="*/ 0 h 265"/>
                <a:gd name="T26" fmla="*/ 202 w 285"/>
                <a:gd name="T27" fmla="*/ 78 h 265"/>
                <a:gd name="T28" fmla="*/ 202 w 285"/>
                <a:gd name="T29" fmla="*/ 78 h 265"/>
                <a:gd name="T30" fmla="*/ 252 w 285"/>
                <a:gd name="T31" fmla="*/ 60 h 265"/>
                <a:gd name="T32" fmla="*/ 151 w 285"/>
                <a:gd name="T33" fmla="*/ 166 h 265"/>
                <a:gd name="T34" fmla="*/ 98 w 285"/>
                <a:gd name="T35" fmla="*/ 118 h 265"/>
                <a:gd name="T36" fmla="*/ 68 w 285"/>
                <a:gd name="T37" fmla="*/ 151 h 265"/>
                <a:gd name="T38" fmla="*/ 152 w 285"/>
                <a:gd name="T39" fmla="*/ 227 h 265"/>
                <a:gd name="T40" fmla="*/ 285 w 285"/>
                <a:gd name="T41" fmla="*/ 92 h 265"/>
                <a:gd name="T42" fmla="*/ 252 w 285"/>
                <a:gd name="T43" fmla="*/ 6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65">
                  <a:moveTo>
                    <a:pt x="202" y="78"/>
                  </a:moveTo>
                  <a:cubicBezTo>
                    <a:pt x="181" y="78"/>
                    <a:pt x="181" y="78"/>
                    <a:pt x="181" y="78"/>
                  </a:cubicBezTo>
                  <a:cubicBezTo>
                    <a:pt x="181" y="21"/>
                    <a:pt x="181" y="21"/>
                    <a:pt x="181" y="21"/>
                  </a:cubicBezTo>
                  <a:cubicBezTo>
                    <a:pt x="83" y="21"/>
                    <a:pt x="83" y="21"/>
                    <a:pt x="83" y="21"/>
                  </a:cubicBezTo>
                  <a:cubicBezTo>
                    <a:pt x="83" y="75"/>
                    <a:pt x="83" y="75"/>
                    <a:pt x="83" y="75"/>
                  </a:cubicBezTo>
                  <a:cubicBezTo>
                    <a:pt x="24" y="75"/>
                    <a:pt x="24" y="75"/>
                    <a:pt x="24" y="75"/>
                  </a:cubicBezTo>
                  <a:cubicBezTo>
                    <a:pt x="24" y="243"/>
                    <a:pt x="24" y="243"/>
                    <a:pt x="24" y="243"/>
                  </a:cubicBezTo>
                  <a:cubicBezTo>
                    <a:pt x="163" y="243"/>
                    <a:pt x="163" y="243"/>
                    <a:pt x="163" y="243"/>
                  </a:cubicBezTo>
                  <a:cubicBezTo>
                    <a:pt x="163" y="265"/>
                    <a:pt x="163" y="265"/>
                    <a:pt x="163" y="265"/>
                  </a:cubicBezTo>
                  <a:cubicBezTo>
                    <a:pt x="0" y="265"/>
                    <a:pt x="0" y="265"/>
                    <a:pt x="0" y="265"/>
                  </a:cubicBezTo>
                  <a:cubicBezTo>
                    <a:pt x="0" y="54"/>
                    <a:pt x="0" y="54"/>
                    <a:pt x="0" y="54"/>
                  </a:cubicBezTo>
                  <a:cubicBezTo>
                    <a:pt x="59" y="0"/>
                    <a:pt x="59" y="0"/>
                    <a:pt x="59" y="0"/>
                  </a:cubicBezTo>
                  <a:cubicBezTo>
                    <a:pt x="202" y="0"/>
                    <a:pt x="202" y="0"/>
                    <a:pt x="202" y="0"/>
                  </a:cubicBezTo>
                  <a:cubicBezTo>
                    <a:pt x="202" y="78"/>
                    <a:pt x="202" y="78"/>
                    <a:pt x="202" y="78"/>
                  </a:cubicBezTo>
                  <a:cubicBezTo>
                    <a:pt x="202" y="78"/>
                    <a:pt x="202" y="78"/>
                    <a:pt x="202" y="78"/>
                  </a:cubicBezTo>
                  <a:close/>
                  <a:moveTo>
                    <a:pt x="252" y="60"/>
                  </a:moveTo>
                  <a:cubicBezTo>
                    <a:pt x="252" y="60"/>
                    <a:pt x="197" y="118"/>
                    <a:pt x="151" y="166"/>
                  </a:cubicBezTo>
                  <a:cubicBezTo>
                    <a:pt x="132" y="150"/>
                    <a:pt x="98" y="118"/>
                    <a:pt x="98" y="118"/>
                  </a:cubicBezTo>
                  <a:cubicBezTo>
                    <a:pt x="68" y="151"/>
                    <a:pt x="68" y="151"/>
                    <a:pt x="68" y="151"/>
                  </a:cubicBezTo>
                  <a:cubicBezTo>
                    <a:pt x="152" y="227"/>
                    <a:pt x="152" y="227"/>
                    <a:pt x="152" y="227"/>
                  </a:cubicBezTo>
                  <a:cubicBezTo>
                    <a:pt x="285" y="92"/>
                    <a:pt x="285" y="92"/>
                    <a:pt x="285" y="92"/>
                  </a:cubicBezTo>
                  <a:lnTo>
                    <a:pt x="252" y="60"/>
                  </a:lnTo>
                  <a:close/>
                </a:path>
              </a:pathLst>
            </a:custGeom>
            <a:solidFill>
              <a:srgbClr val="FFFFFF"/>
            </a:solidFill>
            <a:ln>
              <a:noFill/>
            </a:ln>
            <a:extLst/>
          </p:spPr>
          <p:txBody>
            <a:bodyPr vert="horz" wrap="square" lIns="89593" tIns="44798" rIns="89593" bIns="44798" numCol="1" anchor="t" anchorCtr="0" compatLnSpc="1">
              <a:prstTxWarp prst="textNoShape">
                <a:avLst/>
              </a:prstTxWarp>
            </a:bodyPr>
            <a:lstStyle/>
            <a:p>
              <a:pPr defTabSz="914206">
                <a:defRPr/>
              </a:pPr>
              <a:endParaRPr lang="en-US" sz="1078" kern="0" dirty="0">
                <a:solidFill>
                  <a:srgbClr val="FFFFFF"/>
                </a:solidFill>
              </a:endParaRPr>
            </a:p>
          </p:txBody>
        </p:sp>
      </p:grpSp>
      <p:sp>
        <p:nvSpPr>
          <p:cNvPr id="325" name="Text Placeholder 6"/>
          <p:cNvSpPr txBox="1">
            <a:spLocks/>
          </p:cNvSpPr>
          <p:nvPr/>
        </p:nvSpPr>
        <p:spPr bwMode="auto">
          <a:xfrm>
            <a:off x="8647219" y="2634114"/>
            <a:ext cx="3169775" cy="3045602"/>
          </a:xfrm>
          <a:prstGeom prst="rect">
            <a:avLst/>
          </a:prstGeom>
          <a:noFill/>
          <a:ln w="9525">
            <a:noFill/>
            <a:miter lim="800000"/>
            <a:headEnd/>
            <a:tailEnd/>
          </a:ln>
        </p:spPr>
        <p:txBody>
          <a:bodyPr lIns="89593" tIns="143351" rIns="0" bIns="143351"/>
          <a:lstStyle/>
          <a:p>
            <a:pPr defTabSz="607658" eaLnBrk="0" hangingPunct="0">
              <a:lnSpc>
                <a:spcPct val="90000"/>
              </a:lnSpc>
              <a:spcBef>
                <a:spcPts val="1174"/>
              </a:spcBef>
              <a:buClr>
                <a:srgbClr val="3DB5F1"/>
              </a:buClr>
              <a:defRPr/>
            </a:pPr>
            <a:r>
              <a:rPr lang="en-US" sz="3137" kern="0" dirty="0">
                <a:gradFill>
                  <a:gsLst>
                    <a:gs pos="1250">
                      <a:srgbClr val="505050"/>
                    </a:gs>
                    <a:gs pos="10417">
                      <a:srgbClr val="505050"/>
                    </a:gs>
                  </a:gsLst>
                  <a:lin ang="5400000" scaled="0"/>
                </a:gradFill>
                <a:latin typeface="Segoe UI Light"/>
              </a:rPr>
              <a:t>Benefits</a:t>
            </a:r>
          </a:p>
          <a:p>
            <a:pPr defTabSz="607658" eaLnBrk="0" hangingPunct="0">
              <a:lnSpc>
                <a:spcPct val="90000"/>
              </a:lnSpc>
              <a:spcBef>
                <a:spcPts val="1174"/>
              </a:spcBef>
              <a:buClr>
                <a:srgbClr val="3DB5F1"/>
              </a:buClr>
              <a:defRPr/>
            </a:pPr>
            <a:r>
              <a:rPr lang="en-US" sz="1568" kern="0" dirty="0">
                <a:gradFill>
                  <a:gsLst>
                    <a:gs pos="1250">
                      <a:srgbClr val="505050"/>
                    </a:gs>
                    <a:gs pos="10417">
                      <a:srgbClr val="505050"/>
                    </a:gs>
                  </a:gsLst>
                  <a:lin ang="5400000" scaled="0"/>
                </a:gradFill>
              </a:rPr>
              <a:t>Improved SLA support</a:t>
            </a:r>
          </a:p>
          <a:p>
            <a:pPr defTabSz="607658" eaLnBrk="0" hangingPunct="0">
              <a:lnSpc>
                <a:spcPct val="90000"/>
              </a:lnSpc>
              <a:spcBef>
                <a:spcPts val="1174"/>
              </a:spcBef>
              <a:buClr>
                <a:srgbClr val="3DB5F1"/>
              </a:buClr>
              <a:defRPr/>
            </a:pPr>
            <a:r>
              <a:rPr lang="en-US" sz="1568" kern="0" dirty="0">
                <a:gradFill>
                  <a:gsLst>
                    <a:gs pos="1250">
                      <a:srgbClr val="505050"/>
                    </a:gs>
                    <a:gs pos="10417">
                      <a:srgbClr val="505050"/>
                    </a:gs>
                  </a:gsLst>
                  <a:lin ang="5400000" scaled="0"/>
                </a:gradFill>
              </a:rPr>
              <a:t>Supports compliance</a:t>
            </a:r>
          </a:p>
          <a:p>
            <a:pPr defTabSz="607658" eaLnBrk="0" hangingPunct="0">
              <a:lnSpc>
                <a:spcPct val="90000"/>
              </a:lnSpc>
              <a:spcBef>
                <a:spcPts val="1174"/>
              </a:spcBef>
              <a:buClr>
                <a:srgbClr val="3DB5F1"/>
              </a:buClr>
              <a:defRPr/>
            </a:pPr>
            <a:r>
              <a:rPr lang="en-US" sz="1568" kern="0" dirty="0">
                <a:gradFill>
                  <a:gsLst>
                    <a:gs pos="1250">
                      <a:srgbClr val="505050"/>
                    </a:gs>
                    <a:gs pos="10417">
                      <a:srgbClr val="505050"/>
                    </a:gs>
                  </a:gsLst>
                  <a:lin ang="5400000" scaled="0"/>
                </a:gradFill>
              </a:rPr>
              <a:t>Process traceability</a:t>
            </a:r>
          </a:p>
          <a:p>
            <a:pPr defTabSz="607658" eaLnBrk="0" hangingPunct="0">
              <a:lnSpc>
                <a:spcPct val="90000"/>
              </a:lnSpc>
              <a:spcBef>
                <a:spcPts val="1174"/>
              </a:spcBef>
              <a:buClr>
                <a:srgbClr val="3DB5F1"/>
              </a:buClr>
              <a:defRPr/>
            </a:pPr>
            <a:r>
              <a:rPr lang="en-US" sz="1568" kern="0" dirty="0">
                <a:gradFill>
                  <a:gsLst>
                    <a:gs pos="1250">
                      <a:srgbClr val="505050"/>
                    </a:gs>
                    <a:gs pos="10417">
                      <a:srgbClr val="505050"/>
                    </a:gs>
                  </a:gsLst>
                  <a:lin ang="5400000" scaled="0"/>
                </a:gradFill>
              </a:rPr>
              <a:t>Improved productivity</a:t>
            </a:r>
          </a:p>
          <a:p>
            <a:pPr defTabSz="607658" eaLnBrk="0" hangingPunct="0">
              <a:lnSpc>
                <a:spcPct val="90000"/>
              </a:lnSpc>
              <a:spcBef>
                <a:spcPts val="1174"/>
              </a:spcBef>
              <a:buClr>
                <a:srgbClr val="3DB5F1"/>
              </a:buClr>
              <a:defRPr/>
            </a:pPr>
            <a:r>
              <a:rPr lang="en-US" sz="1568" kern="0" dirty="0">
                <a:gradFill>
                  <a:gsLst>
                    <a:gs pos="1250">
                      <a:srgbClr val="505050"/>
                    </a:gs>
                    <a:gs pos="10417">
                      <a:srgbClr val="505050"/>
                    </a:gs>
                  </a:gsLst>
                  <a:lin ang="5400000" scaled="0"/>
                </a:gradFill>
              </a:rPr>
              <a:t>Captures best practices</a:t>
            </a:r>
          </a:p>
          <a:p>
            <a:pPr defTabSz="607658" eaLnBrk="0" hangingPunct="0">
              <a:lnSpc>
                <a:spcPct val="90000"/>
              </a:lnSpc>
              <a:spcBef>
                <a:spcPts val="1174"/>
              </a:spcBef>
              <a:buClr>
                <a:srgbClr val="3DB5F1"/>
              </a:buClr>
              <a:defRPr/>
            </a:pPr>
            <a:r>
              <a:rPr lang="en-US" sz="1568" kern="0" dirty="0">
                <a:gradFill>
                  <a:gsLst>
                    <a:gs pos="1250">
                      <a:srgbClr val="505050"/>
                    </a:gs>
                    <a:gs pos="10417">
                      <a:srgbClr val="505050"/>
                    </a:gs>
                  </a:gsLst>
                  <a:lin ang="5400000" scaled="0"/>
                </a:gradFill>
              </a:rPr>
              <a:t>Improved operational ROI</a:t>
            </a:r>
          </a:p>
        </p:txBody>
      </p:sp>
      <p:sp>
        <p:nvSpPr>
          <p:cNvPr id="326" name="Rectangle 60"/>
          <p:cNvSpPr>
            <a:spLocks noChangeArrowheads="1"/>
          </p:cNvSpPr>
          <p:nvPr/>
        </p:nvSpPr>
        <p:spPr bwMode="auto">
          <a:xfrm rot="5400000">
            <a:off x="5100705" y="4327402"/>
            <a:ext cx="3900746" cy="556437"/>
          </a:xfrm>
          <a:prstGeom prst="rect">
            <a:avLst/>
          </a:prstGeom>
          <a:solidFill>
            <a:srgbClr val="00BCF2"/>
          </a:solidFill>
          <a:ln w="9525">
            <a:noFill/>
            <a:miter lim="800000"/>
            <a:headEnd/>
            <a:tailEnd/>
          </a:ln>
        </p:spPr>
        <p:txBody>
          <a:bodyPr wrap="none" lIns="179187" tIns="143351" rIns="179187" bIns="143351" anchor="t" anchorCtr="0">
            <a:noAutofit/>
          </a:bodyPr>
          <a:lstStyle/>
          <a:p>
            <a:pPr defTabSz="914206">
              <a:lnSpc>
                <a:spcPct val="90000"/>
              </a:lnSpc>
              <a:defRPr/>
            </a:pPr>
            <a:r>
              <a:rPr lang="en-US" sz="1372" kern="0" dirty="0">
                <a:gradFill>
                  <a:gsLst>
                    <a:gs pos="87156">
                      <a:srgbClr val="FFFFFF"/>
                    </a:gs>
                    <a:gs pos="30000">
                      <a:srgbClr val="FFFFFF"/>
                    </a:gs>
                  </a:gsLst>
                  <a:lin ang="5400000" scaled="0"/>
                </a:gradFill>
              </a:rPr>
              <a:t>Standard operating procedures</a:t>
            </a:r>
          </a:p>
        </p:txBody>
      </p:sp>
      <p:sp>
        <p:nvSpPr>
          <p:cNvPr id="327" name="Rectangle 61"/>
          <p:cNvSpPr>
            <a:spLocks noChangeArrowheads="1"/>
          </p:cNvSpPr>
          <p:nvPr/>
        </p:nvSpPr>
        <p:spPr bwMode="auto">
          <a:xfrm rot="5400000">
            <a:off x="4230113" y="4327403"/>
            <a:ext cx="3900746" cy="556437"/>
          </a:xfrm>
          <a:prstGeom prst="rect">
            <a:avLst/>
          </a:prstGeom>
          <a:solidFill>
            <a:srgbClr val="00BCF2">
              <a:lumMod val="75000"/>
            </a:srgbClr>
          </a:solidFill>
          <a:ln w="9525">
            <a:noFill/>
            <a:miter lim="800000"/>
            <a:headEnd/>
            <a:tailEnd/>
          </a:ln>
        </p:spPr>
        <p:txBody>
          <a:bodyPr wrap="none" lIns="179187" tIns="143351" rIns="179187" bIns="143351" anchor="t" anchorCtr="0">
            <a:noAutofit/>
          </a:bodyPr>
          <a:lstStyle/>
          <a:p>
            <a:pPr defTabSz="914206">
              <a:lnSpc>
                <a:spcPct val="90000"/>
              </a:lnSpc>
              <a:defRPr/>
            </a:pPr>
            <a:r>
              <a:rPr lang="en-US" sz="1372" kern="0" dirty="0">
                <a:gradFill>
                  <a:gsLst>
                    <a:gs pos="87156">
                      <a:srgbClr val="FFFFFF"/>
                    </a:gs>
                    <a:gs pos="30000">
                      <a:srgbClr val="FFFFFF"/>
                    </a:gs>
                  </a:gsLst>
                  <a:lin ang="5400000" scaled="0"/>
                </a:gradFill>
              </a:rPr>
              <a:t>Disaster recovery procedures</a:t>
            </a:r>
          </a:p>
        </p:txBody>
      </p:sp>
      <p:sp>
        <p:nvSpPr>
          <p:cNvPr id="328" name="Rectangle 66"/>
          <p:cNvSpPr>
            <a:spLocks noChangeArrowheads="1"/>
          </p:cNvSpPr>
          <p:nvPr/>
        </p:nvSpPr>
        <p:spPr bwMode="auto">
          <a:xfrm rot="5400000">
            <a:off x="3578940" y="4546825"/>
            <a:ext cx="3461904" cy="556437"/>
          </a:xfrm>
          <a:prstGeom prst="rect">
            <a:avLst/>
          </a:prstGeom>
          <a:solidFill>
            <a:srgbClr val="FF8C00"/>
          </a:solidFill>
          <a:ln w="9525">
            <a:noFill/>
            <a:miter lim="800000"/>
            <a:headEnd/>
            <a:tailEnd/>
          </a:ln>
        </p:spPr>
        <p:txBody>
          <a:bodyPr wrap="none" lIns="179187" tIns="143351" rIns="179187" bIns="143351" anchor="t" anchorCtr="0">
            <a:noAutofit/>
          </a:bodyPr>
          <a:lstStyle/>
          <a:p>
            <a:pPr defTabSz="914206">
              <a:lnSpc>
                <a:spcPct val="90000"/>
              </a:lnSpc>
              <a:defRPr/>
            </a:pPr>
            <a:r>
              <a:rPr lang="en-US" sz="1372" kern="0" dirty="0">
                <a:gradFill>
                  <a:gsLst>
                    <a:gs pos="87156">
                      <a:srgbClr val="FFFFFF"/>
                    </a:gs>
                    <a:gs pos="30000">
                      <a:srgbClr val="FFFFFF"/>
                    </a:gs>
                  </a:gsLst>
                  <a:lin ang="5400000" scaled="0"/>
                </a:gradFill>
              </a:rPr>
              <a:t>Provisioning</a:t>
            </a:r>
          </a:p>
        </p:txBody>
      </p:sp>
      <p:sp>
        <p:nvSpPr>
          <p:cNvPr id="329" name="Rectangle 67"/>
          <p:cNvSpPr>
            <a:spLocks noChangeArrowheads="1"/>
          </p:cNvSpPr>
          <p:nvPr/>
        </p:nvSpPr>
        <p:spPr bwMode="auto">
          <a:xfrm rot="5400000">
            <a:off x="2906477" y="4328107"/>
            <a:ext cx="3023057" cy="556437"/>
          </a:xfrm>
          <a:prstGeom prst="rect">
            <a:avLst/>
          </a:prstGeom>
          <a:solidFill>
            <a:srgbClr val="969696"/>
          </a:solidFill>
          <a:ln w="9525">
            <a:noFill/>
            <a:miter lim="800000"/>
            <a:headEnd/>
            <a:tailEnd/>
          </a:ln>
        </p:spPr>
        <p:txBody>
          <a:bodyPr wrap="none" lIns="179187" tIns="143351" rIns="179187" bIns="143351" anchor="t" anchorCtr="0">
            <a:noAutofit/>
          </a:bodyPr>
          <a:lstStyle/>
          <a:p>
            <a:pPr defTabSz="914206">
              <a:lnSpc>
                <a:spcPct val="90000"/>
              </a:lnSpc>
              <a:defRPr/>
            </a:pPr>
            <a:r>
              <a:rPr lang="en-US" sz="1372" kern="0" dirty="0">
                <a:gradFill>
                  <a:gsLst>
                    <a:gs pos="87156">
                      <a:srgbClr val="FFFFFF"/>
                    </a:gs>
                    <a:gs pos="30000">
                      <a:srgbClr val="FFFFFF"/>
                    </a:gs>
                  </a:gsLst>
                  <a:lin ang="5400000" scaled="0"/>
                </a:gradFill>
              </a:rPr>
              <a:t>Change and compliance</a:t>
            </a:r>
          </a:p>
        </p:txBody>
      </p:sp>
      <p:sp>
        <p:nvSpPr>
          <p:cNvPr id="340" name="Rectangle 339"/>
          <p:cNvSpPr/>
          <p:nvPr/>
        </p:nvSpPr>
        <p:spPr>
          <a:xfrm>
            <a:off x="2062090" y="2115090"/>
            <a:ext cx="2394136" cy="452590"/>
          </a:xfrm>
          <a:prstGeom prst="rect">
            <a:avLst/>
          </a:prstGeom>
        </p:spPr>
        <p:txBody>
          <a:bodyPr wrap="none">
            <a:spAutoFit/>
          </a:bodyPr>
          <a:lstStyle/>
          <a:p>
            <a:pPr>
              <a:defRPr/>
            </a:pPr>
            <a:r>
              <a:rPr lang="en-US" sz="2353" kern="0" spc="-100" dirty="0">
                <a:ln w="3175">
                  <a:noFill/>
                </a:ln>
                <a:gradFill>
                  <a:gsLst>
                    <a:gs pos="75221">
                      <a:srgbClr val="505050"/>
                    </a:gs>
                    <a:gs pos="31000">
                      <a:srgbClr val="505050"/>
                    </a:gs>
                  </a:gsLst>
                  <a:lin ang="5400000" scaled="0"/>
                </a:gradFill>
                <a:latin typeface="Segoe UI Light"/>
                <a:cs typeface="Segoe UI" pitchFamily="34" charset="0"/>
              </a:rPr>
              <a:t>Proactive processes</a:t>
            </a:r>
            <a:endParaRPr lang="en-US" sz="980" kern="0" dirty="0">
              <a:solidFill>
                <a:srgbClr val="FFFFFF"/>
              </a:solidFill>
            </a:endParaRPr>
          </a:p>
        </p:txBody>
      </p:sp>
      <p:sp useBgFill="1">
        <p:nvSpPr>
          <p:cNvPr id="341" name="Rectangle 340"/>
          <p:cNvSpPr/>
          <p:nvPr/>
        </p:nvSpPr>
        <p:spPr bwMode="auto">
          <a:xfrm>
            <a:off x="1" y="2655247"/>
            <a:ext cx="3483794" cy="420226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87" tIns="143351" rIns="179187" bIns="143351" numCol="1" spcCol="0" rtlCol="0" fromWordArt="0" anchor="t" anchorCtr="0" forceAA="0" compatLnSpc="1">
            <a:prstTxWarp prst="textNoShape">
              <a:avLst/>
            </a:prstTxWarp>
            <a:noAutofit/>
          </a:bodyPr>
          <a:lstStyle/>
          <a:p>
            <a:pPr algn="ctr" defTabSz="895564">
              <a:lnSpc>
                <a:spcPct val="90000"/>
              </a:lnSpc>
            </a:pPr>
            <a:endParaRPr lang="en-US" sz="1176" spc="-49" dirty="0">
              <a:gradFill>
                <a:gsLst>
                  <a:gs pos="1250">
                    <a:srgbClr val="505050"/>
                  </a:gs>
                  <a:gs pos="10417">
                    <a:srgbClr val="505050"/>
                  </a:gs>
                </a:gsLst>
                <a:lin ang="5400000" scaled="0"/>
              </a:gradFill>
            </a:endParaRPr>
          </a:p>
        </p:txBody>
      </p:sp>
      <p:sp>
        <p:nvSpPr>
          <p:cNvPr id="330" name="Rectangle 42"/>
          <p:cNvSpPr>
            <a:spLocks noChangeArrowheads="1"/>
          </p:cNvSpPr>
          <p:nvPr/>
        </p:nvSpPr>
        <p:spPr bwMode="auto">
          <a:xfrm>
            <a:off x="2177838" y="2720099"/>
            <a:ext cx="1309265" cy="275997"/>
          </a:xfrm>
          <a:prstGeom prst="rect">
            <a:avLst/>
          </a:prstGeom>
          <a:solidFill>
            <a:srgbClr val="FFFFFF">
              <a:lumMod val="95000"/>
            </a:srgbClr>
          </a:solidFill>
          <a:ln w="9525" algn="ctr">
            <a:noFill/>
            <a:miter lim="800000"/>
            <a:headEnd/>
            <a:tailEnd/>
          </a:ln>
        </p:spPr>
        <p:txBody>
          <a:bodyPr wrap="square" lIns="179187" tIns="62750" rIns="0" bIns="62750" anchor="ctr">
            <a:spAutoFit/>
          </a:bodyPr>
          <a:lstStyle/>
          <a:p>
            <a:pPr defTabSz="912280">
              <a:lnSpc>
                <a:spcPct val="90000"/>
              </a:lnSpc>
              <a:defRPr/>
            </a:pPr>
            <a:r>
              <a:rPr lang="en-GB" sz="1078" kern="0" dirty="0">
                <a:gradFill>
                  <a:gsLst>
                    <a:gs pos="2917">
                      <a:srgbClr val="191919">
                        <a:lumMod val="90000"/>
                        <a:lumOff val="10000"/>
                      </a:srgbClr>
                    </a:gs>
                    <a:gs pos="100000">
                      <a:srgbClr val="191919">
                        <a:lumMod val="90000"/>
                        <a:lumOff val="10000"/>
                      </a:srgbClr>
                    </a:gs>
                  </a:gsLst>
                  <a:lin ang="5400000" scaled="0"/>
                </a:gradFill>
              </a:rPr>
              <a:t>Event mgmt</a:t>
            </a: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331" name="Rectangle 42"/>
          <p:cNvSpPr>
            <a:spLocks noChangeArrowheads="1"/>
          </p:cNvSpPr>
          <p:nvPr/>
        </p:nvSpPr>
        <p:spPr bwMode="auto">
          <a:xfrm>
            <a:off x="2177837" y="3132550"/>
            <a:ext cx="1309265" cy="327373"/>
          </a:xfrm>
          <a:prstGeom prst="rect">
            <a:avLst/>
          </a:prstGeom>
          <a:solidFill>
            <a:srgbClr val="FFFFFF">
              <a:lumMod val="95000"/>
            </a:srgbClr>
          </a:solidFill>
          <a:ln w="9525" algn="ctr">
            <a:noFill/>
            <a:miter lim="800000"/>
            <a:headEnd/>
            <a:tailEnd/>
          </a:ln>
        </p:spPr>
        <p:txBody>
          <a:bodyPr wrap="square" lIns="179187" tIns="89642" rIns="0" bIns="89642" anchor="ctr" anchorCtr="0">
            <a:spAutoFit/>
          </a:bodyPr>
          <a:lstStyle/>
          <a:p>
            <a:pPr defTabSz="912280">
              <a:lnSpc>
                <a:spcPct val="90000"/>
              </a:lnSpc>
              <a:defRPr/>
            </a:pPr>
            <a:r>
              <a:rPr lang="en-GB" sz="1078" kern="0" dirty="0">
                <a:gradFill>
                  <a:gsLst>
                    <a:gs pos="2917">
                      <a:srgbClr val="191919">
                        <a:lumMod val="90000"/>
                        <a:lumOff val="10000"/>
                      </a:srgbClr>
                    </a:gs>
                    <a:gs pos="100000">
                      <a:srgbClr val="191919">
                        <a:lumMod val="90000"/>
                        <a:lumOff val="10000"/>
                      </a:srgbClr>
                    </a:gs>
                  </a:gsLst>
                  <a:lin ang="5400000" scaled="0"/>
                </a:gradFill>
              </a:rPr>
              <a:t>Service desk</a:t>
            </a: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332" name="Rectangle 42"/>
          <p:cNvSpPr>
            <a:spLocks noChangeArrowheads="1"/>
          </p:cNvSpPr>
          <p:nvPr/>
        </p:nvSpPr>
        <p:spPr bwMode="auto">
          <a:xfrm>
            <a:off x="2177838" y="3570687"/>
            <a:ext cx="1309265" cy="327373"/>
          </a:xfrm>
          <a:prstGeom prst="rect">
            <a:avLst/>
          </a:prstGeom>
          <a:solidFill>
            <a:srgbClr val="FFFFFF">
              <a:lumMod val="95000"/>
            </a:srgbClr>
          </a:solidFill>
          <a:ln w="9525" algn="ctr">
            <a:noFill/>
            <a:miter lim="800000"/>
            <a:headEnd/>
            <a:tailEnd/>
          </a:ln>
        </p:spPr>
        <p:txBody>
          <a:bodyPr wrap="square" lIns="179187" tIns="89642" rIns="0" bIns="89642" anchor="ctr">
            <a:spAutoFit/>
          </a:bodyPr>
          <a:lstStyle/>
          <a:p>
            <a:pPr defTabSz="912280">
              <a:lnSpc>
                <a:spcPct val="90000"/>
              </a:lnSpc>
              <a:defRPr/>
            </a:pPr>
            <a:r>
              <a:rPr lang="en-GB" sz="1078" kern="0" dirty="0">
                <a:gradFill>
                  <a:gsLst>
                    <a:gs pos="2917">
                      <a:srgbClr val="191919">
                        <a:lumMod val="90000"/>
                        <a:lumOff val="10000"/>
                      </a:srgbClr>
                    </a:gs>
                    <a:gs pos="100000">
                      <a:srgbClr val="191919">
                        <a:lumMod val="90000"/>
                        <a:lumOff val="10000"/>
                      </a:srgbClr>
                    </a:gs>
                  </a:gsLst>
                  <a:lin ang="5400000" scaled="0"/>
                </a:gradFill>
              </a:rPr>
              <a:t>Asset/CMDB</a:t>
            </a: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333" name="Rectangle 42"/>
          <p:cNvSpPr>
            <a:spLocks noChangeArrowheads="1"/>
          </p:cNvSpPr>
          <p:nvPr/>
        </p:nvSpPr>
        <p:spPr bwMode="auto">
          <a:xfrm>
            <a:off x="2177837" y="4008825"/>
            <a:ext cx="1309265" cy="327373"/>
          </a:xfrm>
          <a:prstGeom prst="rect">
            <a:avLst/>
          </a:prstGeom>
          <a:solidFill>
            <a:srgbClr val="FFFFFF">
              <a:lumMod val="95000"/>
            </a:srgbClr>
          </a:solidFill>
          <a:ln w="9525" algn="ctr">
            <a:noFill/>
            <a:miter lim="800000"/>
            <a:headEnd/>
            <a:tailEnd/>
          </a:ln>
        </p:spPr>
        <p:txBody>
          <a:bodyPr wrap="square" lIns="179187" tIns="89642" rIns="0" bIns="89642" anchor="ctr" anchorCtr="0">
            <a:spAutoFit/>
          </a:bodyPr>
          <a:lstStyle/>
          <a:p>
            <a:pPr defTabSz="912280">
              <a:lnSpc>
                <a:spcPct val="90000"/>
              </a:lnSpc>
              <a:defRPr/>
            </a:pPr>
            <a:r>
              <a:rPr lang="en-GB" sz="1078" kern="0" dirty="0">
                <a:gradFill>
                  <a:gsLst>
                    <a:gs pos="2917">
                      <a:srgbClr val="191919">
                        <a:lumMod val="90000"/>
                        <a:lumOff val="10000"/>
                      </a:srgbClr>
                    </a:gs>
                    <a:gs pos="100000">
                      <a:srgbClr val="191919">
                        <a:lumMod val="90000"/>
                        <a:lumOff val="10000"/>
                      </a:srgbClr>
                    </a:gs>
                  </a:gsLst>
                  <a:lin ang="5400000" scaled="0"/>
                </a:gradFill>
              </a:rPr>
              <a:t>Configuration</a:t>
            </a: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334" name="Rectangle 42"/>
          <p:cNvSpPr>
            <a:spLocks noChangeArrowheads="1"/>
          </p:cNvSpPr>
          <p:nvPr/>
        </p:nvSpPr>
        <p:spPr bwMode="auto">
          <a:xfrm>
            <a:off x="2177838" y="4446963"/>
            <a:ext cx="1309265" cy="327373"/>
          </a:xfrm>
          <a:prstGeom prst="rect">
            <a:avLst/>
          </a:prstGeom>
          <a:solidFill>
            <a:schemeClr val="bg1">
              <a:lumMod val="95000"/>
            </a:schemeClr>
          </a:solidFill>
          <a:ln w="9525" algn="ctr">
            <a:noFill/>
            <a:miter lim="800000"/>
            <a:headEnd/>
            <a:tailEnd/>
          </a:ln>
        </p:spPr>
        <p:txBody>
          <a:bodyPr wrap="square" lIns="179187" tIns="89642" rIns="0" bIns="89642" anchor="ctr" anchorCtr="0">
            <a:spAutoFit/>
          </a:bodyPr>
          <a:lstStyle/>
          <a:p>
            <a:pPr defTabSz="912280">
              <a:lnSpc>
                <a:spcPct val="90000"/>
              </a:lnSpc>
              <a:defRPr/>
            </a:pPr>
            <a:r>
              <a:rPr lang="en-US" sz="1078" kern="0" dirty="0">
                <a:gradFill>
                  <a:gsLst>
                    <a:gs pos="2917">
                      <a:srgbClr val="191919">
                        <a:lumMod val="90000"/>
                        <a:lumOff val="10000"/>
                      </a:srgbClr>
                    </a:gs>
                    <a:gs pos="100000">
                      <a:srgbClr val="191919">
                        <a:lumMod val="90000"/>
                        <a:lumOff val="10000"/>
                      </a:srgbClr>
                    </a:gs>
                  </a:gsLst>
                  <a:lin ang="5400000" scaled="0"/>
                </a:gradFill>
              </a:rPr>
              <a:t>Virtual</a:t>
            </a:r>
          </a:p>
        </p:txBody>
      </p:sp>
      <p:sp>
        <p:nvSpPr>
          <p:cNvPr id="335" name="Rectangle 42"/>
          <p:cNvSpPr>
            <a:spLocks noChangeArrowheads="1"/>
          </p:cNvSpPr>
          <p:nvPr/>
        </p:nvSpPr>
        <p:spPr bwMode="auto">
          <a:xfrm>
            <a:off x="2177838" y="5323239"/>
            <a:ext cx="1309265" cy="327373"/>
          </a:xfrm>
          <a:prstGeom prst="rect">
            <a:avLst/>
          </a:prstGeom>
          <a:solidFill>
            <a:srgbClr val="FFFFFF">
              <a:lumMod val="95000"/>
            </a:srgbClr>
          </a:solidFill>
          <a:ln w="9525" algn="ctr">
            <a:noFill/>
            <a:miter lim="800000"/>
            <a:headEnd/>
            <a:tailEnd/>
          </a:ln>
        </p:spPr>
        <p:txBody>
          <a:bodyPr wrap="square" lIns="179187" tIns="89642" rIns="0" bIns="89642" anchor="ctr" anchorCtr="0">
            <a:spAutoFit/>
          </a:bodyPr>
          <a:lstStyle/>
          <a:p>
            <a:pPr defTabSz="912280">
              <a:lnSpc>
                <a:spcPct val="90000"/>
              </a:lnSpc>
              <a:defRPr/>
            </a:pPr>
            <a:r>
              <a:rPr lang="en-GB" sz="1078" kern="0" dirty="0">
                <a:gradFill>
                  <a:gsLst>
                    <a:gs pos="2917">
                      <a:srgbClr val="191919">
                        <a:lumMod val="90000"/>
                        <a:lumOff val="10000"/>
                      </a:srgbClr>
                    </a:gs>
                    <a:gs pos="100000">
                      <a:srgbClr val="191919">
                        <a:lumMod val="90000"/>
                        <a:lumOff val="10000"/>
                      </a:srgbClr>
                    </a:gs>
                  </a:gsLst>
                  <a:lin ang="5400000" scaled="0"/>
                </a:gradFill>
              </a:rPr>
              <a:t>Storage</a:t>
            </a: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336" name="Rectangle 42"/>
          <p:cNvSpPr>
            <a:spLocks noChangeArrowheads="1"/>
          </p:cNvSpPr>
          <p:nvPr/>
        </p:nvSpPr>
        <p:spPr bwMode="auto">
          <a:xfrm>
            <a:off x="2177837" y="5761376"/>
            <a:ext cx="1309265" cy="327373"/>
          </a:xfrm>
          <a:prstGeom prst="rect">
            <a:avLst/>
          </a:prstGeom>
          <a:solidFill>
            <a:srgbClr val="FFFFFF">
              <a:lumMod val="95000"/>
            </a:srgbClr>
          </a:solidFill>
          <a:ln w="9525" algn="ctr">
            <a:noFill/>
            <a:miter lim="800000"/>
            <a:headEnd/>
            <a:tailEnd/>
          </a:ln>
        </p:spPr>
        <p:txBody>
          <a:bodyPr wrap="square" lIns="179187" tIns="89642" rIns="0" bIns="89642" anchor="ctr" anchorCtr="0">
            <a:spAutoFit/>
          </a:bodyPr>
          <a:lstStyle/>
          <a:p>
            <a:pPr defTabSz="912280">
              <a:lnSpc>
                <a:spcPct val="90000"/>
              </a:lnSpc>
              <a:defRPr/>
            </a:pPr>
            <a:r>
              <a:rPr lang="en-GB" sz="1078" kern="0" dirty="0">
                <a:gradFill>
                  <a:gsLst>
                    <a:gs pos="2917">
                      <a:srgbClr val="191919">
                        <a:lumMod val="90000"/>
                        <a:lumOff val="10000"/>
                      </a:srgbClr>
                    </a:gs>
                    <a:gs pos="100000">
                      <a:srgbClr val="191919">
                        <a:lumMod val="90000"/>
                        <a:lumOff val="10000"/>
                      </a:srgbClr>
                    </a:gs>
                  </a:gsLst>
                  <a:lin ang="5400000" scaled="0"/>
                </a:gradFill>
              </a:rPr>
              <a:t>Server</a:t>
            </a: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337" name="Rectangle 42"/>
          <p:cNvSpPr>
            <a:spLocks noChangeArrowheads="1"/>
          </p:cNvSpPr>
          <p:nvPr/>
        </p:nvSpPr>
        <p:spPr bwMode="auto">
          <a:xfrm>
            <a:off x="2177838" y="6199512"/>
            <a:ext cx="1309265" cy="327373"/>
          </a:xfrm>
          <a:prstGeom prst="rect">
            <a:avLst/>
          </a:prstGeom>
          <a:solidFill>
            <a:srgbClr val="FFFFFF">
              <a:lumMod val="95000"/>
            </a:srgbClr>
          </a:solidFill>
          <a:ln w="9525" algn="ctr">
            <a:noFill/>
            <a:miter lim="800000"/>
            <a:headEnd/>
            <a:tailEnd/>
          </a:ln>
        </p:spPr>
        <p:txBody>
          <a:bodyPr wrap="square" lIns="179187" tIns="89642" rIns="0" bIns="89642" anchor="ctr" anchorCtr="0">
            <a:spAutoFit/>
          </a:bodyPr>
          <a:lstStyle/>
          <a:p>
            <a:pPr defTabSz="912280">
              <a:lnSpc>
                <a:spcPct val="90000"/>
              </a:lnSpc>
              <a:defRPr/>
            </a:pPr>
            <a:r>
              <a:rPr lang="en-GB" sz="1078" kern="0" dirty="0">
                <a:gradFill>
                  <a:gsLst>
                    <a:gs pos="2917">
                      <a:srgbClr val="191919">
                        <a:lumMod val="90000"/>
                        <a:lumOff val="10000"/>
                      </a:srgbClr>
                    </a:gs>
                    <a:gs pos="100000">
                      <a:srgbClr val="191919">
                        <a:lumMod val="90000"/>
                        <a:lumOff val="10000"/>
                      </a:srgbClr>
                    </a:gs>
                  </a:gsLst>
                  <a:lin ang="5400000" scaled="0"/>
                </a:gradFill>
              </a:rPr>
              <a:t>Network</a:t>
            </a: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338" name="Rectangle 42"/>
          <p:cNvSpPr>
            <a:spLocks noChangeArrowheads="1"/>
          </p:cNvSpPr>
          <p:nvPr/>
        </p:nvSpPr>
        <p:spPr bwMode="auto">
          <a:xfrm>
            <a:off x="2177837" y="4885101"/>
            <a:ext cx="1309265" cy="327373"/>
          </a:xfrm>
          <a:prstGeom prst="rect">
            <a:avLst/>
          </a:prstGeom>
          <a:solidFill>
            <a:srgbClr val="FFFFFF">
              <a:lumMod val="95000"/>
            </a:srgbClr>
          </a:solidFill>
          <a:ln w="9525" algn="ctr">
            <a:noFill/>
            <a:miter lim="800000"/>
            <a:headEnd/>
            <a:tailEnd/>
          </a:ln>
        </p:spPr>
        <p:txBody>
          <a:bodyPr wrap="square" lIns="179187" tIns="89642" rIns="0" bIns="89642" anchor="ctr" anchorCtr="0">
            <a:spAutoFit/>
          </a:bodyPr>
          <a:lstStyle/>
          <a:p>
            <a:pPr defTabSz="912280">
              <a:lnSpc>
                <a:spcPct val="90000"/>
              </a:lnSpc>
              <a:defRPr/>
            </a:pPr>
            <a:r>
              <a:rPr lang="en-GB" sz="1078" kern="0" dirty="0">
                <a:gradFill>
                  <a:gsLst>
                    <a:gs pos="2917">
                      <a:srgbClr val="191919">
                        <a:lumMod val="90000"/>
                        <a:lumOff val="10000"/>
                      </a:srgbClr>
                    </a:gs>
                    <a:gs pos="100000">
                      <a:srgbClr val="191919">
                        <a:lumMod val="90000"/>
                        <a:lumOff val="10000"/>
                      </a:srgbClr>
                    </a:gs>
                  </a:gsLst>
                  <a:lin ang="5400000" scaled="0"/>
                </a:gradFill>
              </a:rPr>
              <a:t>Security</a:t>
            </a:r>
            <a:endParaRPr lang="en-US" sz="1078" kern="0" dirty="0">
              <a:gradFill>
                <a:gsLst>
                  <a:gs pos="2917">
                    <a:srgbClr val="191919">
                      <a:lumMod val="90000"/>
                      <a:lumOff val="10000"/>
                    </a:srgbClr>
                  </a:gs>
                  <a:gs pos="100000">
                    <a:srgbClr val="191919">
                      <a:lumMod val="90000"/>
                      <a:lumOff val="10000"/>
                    </a:srgbClr>
                  </a:gs>
                </a:gsLst>
                <a:lin ang="5400000" scaled="0"/>
              </a:gradFill>
            </a:endParaRPr>
          </a:p>
        </p:txBody>
      </p:sp>
      <p:sp>
        <p:nvSpPr>
          <p:cNvPr id="119" name="Blue banner"/>
          <p:cNvSpPr/>
          <p:nvPr/>
        </p:nvSpPr>
        <p:spPr bwMode="auto">
          <a:xfrm>
            <a:off x="1177188" y="282970"/>
            <a:ext cx="11010881" cy="99988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765" dirty="0">
                <a:gradFill>
                  <a:gsLst>
                    <a:gs pos="24779">
                      <a:srgbClr val="FFFFFF"/>
                    </a:gs>
                    <a:gs pos="57000">
                      <a:srgbClr val="FFFFFF"/>
                    </a:gs>
                  </a:gsLst>
                  <a:lin ang="5400000" scaled="0"/>
                </a:gradFill>
              </a:rPr>
              <a:t>Proactively plan for automated remediation of infrastructure failures </a:t>
            </a:r>
          </a:p>
        </p:txBody>
      </p:sp>
      <p:sp>
        <p:nvSpPr>
          <p:cNvPr id="111" name="Rectangle 110"/>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112" name="Rectangle 111"/>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13" name="Rectangle 112"/>
          <p:cNvSpPr/>
          <p:nvPr/>
        </p:nvSpPr>
        <p:spPr bwMode="auto">
          <a:xfrm>
            <a:off x="1" y="3430570"/>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14" name="Rectangle 113"/>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smtClean="0">
                <a:gradFill>
                  <a:gsLst>
                    <a:gs pos="43363">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endParaRPr lang="en-US" sz="1568" spc="-20" dirty="0">
              <a:gradFill>
                <a:gsLst>
                  <a:gs pos="43363">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15" name="Rectangle 114"/>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3102163370"/>
      </p:ext>
    </p:extLst>
  </p:cSld>
  <p:clrMapOvr>
    <a:masterClrMapping/>
  </p:clrMapOvr>
  <mc:AlternateContent xmlns:mc="http://schemas.openxmlformats.org/markup-compatibility/2006" xmlns:p14="http://schemas.microsoft.com/office/powerpoint/2010/main">
    <mc:Choice Requires="p14">
      <p:transition spd="slow" p14:dur="80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cBhvr additive="base">
                                        <p:cTn id="7" dur="200" fill="hold"/>
                                        <p:tgtEl>
                                          <p:spTgt spid="112"/>
                                        </p:tgtEl>
                                        <p:attrNameLst>
                                          <p:attrName>ppt_x</p:attrName>
                                        </p:attrNameLst>
                                      </p:cBhvr>
                                      <p:tavLst>
                                        <p:tav tm="0">
                                          <p:val>
                                            <p:strVal val="0-#ppt_w/2"/>
                                          </p:val>
                                        </p:tav>
                                        <p:tav tm="100000">
                                          <p:val>
                                            <p:strVal val="#ppt_x"/>
                                          </p:val>
                                        </p:tav>
                                      </p:tavLst>
                                    </p:anim>
                                    <p:anim calcmode="lin" valueType="num">
                                      <p:cBhvr additive="base">
                                        <p:cTn id="8" dur="200" fill="hold"/>
                                        <p:tgtEl>
                                          <p:spTgt spid="112"/>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11"/>
                                        </p:tgtEl>
                                        <p:attrNameLst>
                                          <p:attrName>style.visibility</p:attrName>
                                        </p:attrNameLst>
                                      </p:cBhvr>
                                      <p:to>
                                        <p:strVal val="visible"/>
                                      </p:to>
                                    </p:set>
                                    <p:anim calcmode="lin" valueType="num">
                                      <p:cBhvr additive="base">
                                        <p:cTn id="11" dur="200" fill="hold"/>
                                        <p:tgtEl>
                                          <p:spTgt spid="111"/>
                                        </p:tgtEl>
                                        <p:attrNameLst>
                                          <p:attrName>ppt_x</p:attrName>
                                        </p:attrNameLst>
                                      </p:cBhvr>
                                      <p:tavLst>
                                        <p:tav tm="0">
                                          <p:val>
                                            <p:strVal val="0-#ppt_w/2"/>
                                          </p:val>
                                        </p:tav>
                                        <p:tav tm="100000">
                                          <p:val>
                                            <p:strVal val="#ppt_x"/>
                                          </p:val>
                                        </p:tav>
                                      </p:tavLst>
                                    </p:anim>
                                    <p:anim calcmode="lin" valueType="num">
                                      <p:cBhvr additive="base">
                                        <p:cTn id="12" dur="200" fill="hold"/>
                                        <p:tgtEl>
                                          <p:spTgt spid="111"/>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
                                  </p:stCondLst>
                                  <p:childTnLst>
                                    <p:set>
                                      <p:cBhvr>
                                        <p:cTn id="14" dur="1" fill="hold">
                                          <p:stCondLst>
                                            <p:cond delay="0"/>
                                          </p:stCondLst>
                                        </p:cTn>
                                        <p:tgtEl>
                                          <p:spTgt spid="113"/>
                                        </p:tgtEl>
                                        <p:attrNameLst>
                                          <p:attrName>style.visibility</p:attrName>
                                        </p:attrNameLst>
                                      </p:cBhvr>
                                      <p:to>
                                        <p:strVal val="visible"/>
                                      </p:to>
                                    </p:set>
                                    <p:anim calcmode="lin" valueType="num">
                                      <p:cBhvr additive="base">
                                        <p:cTn id="15" dur="200" fill="hold"/>
                                        <p:tgtEl>
                                          <p:spTgt spid="113"/>
                                        </p:tgtEl>
                                        <p:attrNameLst>
                                          <p:attrName>ppt_x</p:attrName>
                                        </p:attrNameLst>
                                      </p:cBhvr>
                                      <p:tavLst>
                                        <p:tav tm="0">
                                          <p:val>
                                            <p:strVal val="0-#ppt_w/2"/>
                                          </p:val>
                                        </p:tav>
                                        <p:tav tm="100000">
                                          <p:val>
                                            <p:strVal val="#ppt_x"/>
                                          </p:val>
                                        </p:tav>
                                      </p:tavLst>
                                    </p:anim>
                                    <p:anim calcmode="lin" valueType="num">
                                      <p:cBhvr additive="base">
                                        <p:cTn id="16" dur="200" fill="hold"/>
                                        <p:tgtEl>
                                          <p:spTgt spid="113"/>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00"/>
                                  </p:stCondLst>
                                  <p:childTnLst>
                                    <p:set>
                                      <p:cBhvr>
                                        <p:cTn id="18" dur="1" fill="hold">
                                          <p:stCondLst>
                                            <p:cond delay="0"/>
                                          </p:stCondLst>
                                        </p:cTn>
                                        <p:tgtEl>
                                          <p:spTgt spid="114"/>
                                        </p:tgtEl>
                                        <p:attrNameLst>
                                          <p:attrName>style.visibility</p:attrName>
                                        </p:attrNameLst>
                                      </p:cBhvr>
                                      <p:to>
                                        <p:strVal val="visible"/>
                                      </p:to>
                                    </p:set>
                                    <p:anim calcmode="lin" valueType="num">
                                      <p:cBhvr additive="base">
                                        <p:cTn id="19" dur="200" fill="hold"/>
                                        <p:tgtEl>
                                          <p:spTgt spid="114"/>
                                        </p:tgtEl>
                                        <p:attrNameLst>
                                          <p:attrName>ppt_x</p:attrName>
                                        </p:attrNameLst>
                                      </p:cBhvr>
                                      <p:tavLst>
                                        <p:tav tm="0">
                                          <p:val>
                                            <p:strVal val="0-#ppt_w/2"/>
                                          </p:val>
                                        </p:tav>
                                        <p:tav tm="100000">
                                          <p:val>
                                            <p:strVal val="#ppt_x"/>
                                          </p:val>
                                        </p:tav>
                                      </p:tavLst>
                                    </p:anim>
                                    <p:anim calcmode="lin" valueType="num">
                                      <p:cBhvr additive="base">
                                        <p:cTn id="20" dur="200" fill="hold"/>
                                        <p:tgtEl>
                                          <p:spTgt spid="114"/>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300"/>
                                  </p:stCondLst>
                                  <p:childTnLst>
                                    <p:set>
                                      <p:cBhvr>
                                        <p:cTn id="22" dur="1" fill="hold">
                                          <p:stCondLst>
                                            <p:cond delay="0"/>
                                          </p:stCondLst>
                                        </p:cTn>
                                        <p:tgtEl>
                                          <p:spTgt spid="115"/>
                                        </p:tgtEl>
                                        <p:attrNameLst>
                                          <p:attrName>style.visibility</p:attrName>
                                        </p:attrNameLst>
                                      </p:cBhvr>
                                      <p:to>
                                        <p:strVal val="visible"/>
                                      </p:to>
                                    </p:set>
                                    <p:anim calcmode="lin" valueType="num">
                                      <p:cBhvr additive="base">
                                        <p:cTn id="23" dur="200" fill="hold"/>
                                        <p:tgtEl>
                                          <p:spTgt spid="115"/>
                                        </p:tgtEl>
                                        <p:attrNameLst>
                                          <p:attrName>ppt_x</p:attrName>
                                        </p:attrNameLst>
                                      </p:cBhvr>
                                      <p:tavLst>
                                        <p:tav tm="0">
                                          <p:val>
                                            <p:strVal val="0-#ppt_w/2"/>
                                          </p:val>
                                        </p:tav>
                                        <p:tav tm="100000">
                                          <p:val>
                                            <p:strVal val="#ppt_x"/>
                                          </p:val>
                                        </p:tav>
                                      </p:tavLst>
                                    </p:anim>
                                    <p:anim calcmode="lin" valueType="num">
                                      <p:cBhvr additive="base">
                                        <p:cTn id="24" dur="200" fill="hold"/>
                                        <p:tgtEl>
                                          <p:spTgt spid="115"/>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30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700" fill="hold"/>
                                        <p:tgtEl>
                                          <p:spTgt spid="5"/>
                                        </p:tgtEl>
                                        <p:attrNameLst>
                                          <p:attrName>ppt_x</p:attrName>
                                        </p:attrNameLst>
                                      </p:cBhvr>
                                      <p:tavLst>
                                        <p:tav tm="0">
                                          <p:val>
                                            <p:strVal val="0-#ppt_w/2"/>
                                          </p:val>
                                        </p:tav>
                                        <p:tav tm="100000">
                                          <p:val>
                                            <p:strVal val="#ppt_x"/>
                                          </p:val>
                                        </p:tav>
                                      </p:tavLst>
                                    </p:anim>
                                    <p:anim calcmode="lin" valueType="num">
                                      <p:cBhvr additive="base">
                                        <p:cTn id="28" dur="700" fill="hold"/>
                                        <p:tgtEl>
                                          <p:spTgt spid="5"/>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300"/>
                                  </p:stCondLst>
                                  <p:childTnLst>
                                    <p:set>
                                      <p:cBhvr>
                                        <p:cTn id="30" dur="1" fill="hold">
                                          <p:stCondLst>
                                            <p:cond delay="0"/>
                                          </p:stCondLst>
                                        </p:cTn>
                                        <p:tgtEl>
                                          <p:spTgt spid="119"/>
                                        </p:tgtEl>
                                        <p:attrNameLst>
                                          <p:attrName>style.visibility</p:attrName>
                                        </p:attrNameLst>
                                      </p:cBhvr>
                                      <p:to>
                                        <p:strVal val="visible"/>
                                      </p:to>
                                    </p:set>
                                    <p:anim calcmode="lin" valueType="num">
                                      <p:cBhvr additive="base">
                                        <p:cTn id="31" dur="700" fill="hold"/>
                                        <p:tgtEl>
                                          <p:spTgt spid="119"/>
                                        </p:tgtEl>
                                        <p:attrNameLst>
                                          <p:attrName>ppt_x</p:attrName>
                                        </p:attrNameLst>
                                      </p:cBhvr>
                                      <p:tavLst>
                                        <p:tav tm="0">
                                          <p:val>
                                            <p:strVal val="0-#ppt_w/2"/>
                                          </p:val>
                                        </p:tav>
                                        <p:tav tm="100000">
                                          <p:val>
                                            <p:strVal val="#ppt_x"/>
                                          </p:val>
                                        </p:tav>
                                      </p:tavLst>
                                    </p:anim>
                                    <p:anim calcmode="lin" valueType="num">
                                      <p:cBhvr additive="base">
                                        <p:cTn id="32" dur="700" fill="hold"/>
                                        <p:tgtEl>
                                          <p:spTgt spid="119"/>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2" presetClass="exit" presetSubtype="8" fill="hold" grpId="1" nodeType="clickEffect">
                                  <p:stCondLst>
                                    <p:cond delay="0"/>
                                  </p:stCondLst>
                                  <p:childTnLst>
                                    <p:animEffect transition="out" filter="wipe(left)">
                                      <p:cBhvr>
                                        <p:cTn id="36" dur="500"/>
                                        <p:tgtEl>
                                          <p:spTgt spid="119"/>
                                        </p:tgtEl>
                                      </p:cBhvr>
                                    </p:animEffect>
                                    <p:set>
                                      <p:cBhvr>
                                        <p:cTn id="37" dur="1" fill="hold">
                                          <p:stCondLst>
                                            <p:cond delay="499"/>
                                          </p:stCondLst>
                                        </p:cTn>
                                        <p:tgtEl>
                                          <p:spTgt spid="119"/>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1" nodeType="afterEffect">
                                  <p:stCondLst>
                                    <p:cond delay="0"/>
                                  </p:stCondLst>
                                  <p:childTnLst>
                                    <p:set>
                                      <p:cBhvr>
                                        <p:cTn id="40" dur="1" fill="hold">
                                          <p:stCondLst>
                                            <p:cond delay="0"/>
                                          </p:stCondLst>
                                        </p:cTn>
                                        <p:tgtEl>
                                          <p:spTgt spid="326"/>
                                        </p:tgtEl>
                                        <p:attrNameLst>
                                          <p:attrName>style.visibility</p:attrName>
                                        </p:attrNameLst>
                                      </p:cBhvr>
                                      <p:to>
                                        <p:strVal val="visible"/>
                                      </p:to>
                                    </p:set>
                                    <p:animEffect transition="in" filter="fade">
                                      <p:cBhvr>
                                        <p:cTn id="41" dur="500"/>
                                        <p:tgtEl>
                                          <p:spTgt spid="326"/>
                                        </p:tgtEl>
                                      </p:cBhvr>
                                    </p:animEffect>
                                  </p:childTnLst>
                                </p:cTn>
                              </p:par>
                              <p:par>
                                <p:cTn id="42" presetID="10" presetClass="entr" presetSubtype="0" fill="hold" grpId="1" nodeType="withEffect">
                                  <p:stCondLst>
                                    <p:cond delay="0"/>
                                  </p:stCondLst>
                                  <p:childTnLst>
                                    <p:set>
                                      <p:cBhvr>
                                        <p:cTn id="43" dur="1" fill="hold">
                                          <p:stCondLst>
                                            <p:cond delay="0"/>
                                          </p:stCondLst>
                                        </p:cTn>
                                        <p:tgtEl>
                                          <p:spTgt spid="329"/>
                                        </p:tgtEl>
                                        <p:attrNameLst>
                                          <p:attrName>style.visibility</p:attrName>
                                        </p:attrNameLst>
                                      </p:cBhvr>
                                      <p:to>
                                        <p:strVal val="visible"/>
                                      </p:to>
                                    </p:set>
                                    <p:animEffect transition="in" filter="fade">
                                      <p:cBhvr>
                                        <p:cTn id="44" dur="500"/>
                                        <p:tgtEl>
                                          <p:spTgt spid="329"/>
                                        </p:tgtEl>
                                      </p:cBhvr>
                                    </p:animEffect>
                                  </p:childTnLst>
                                </p:cTn>
                              </p:par>
                              <p:par>
                                <p:cTn id="45" presetID="10" presetClass="entr" presetSubtype="0" fill="hold" grpId="1" nodeType="withEffect">
                                  <p:stCondLst>
                                    <p:cond delay="0"/>
                                  </p:stCondLst>
                                  <p:childTnLst>
                                    <p:set>
                                      <p:cBhvr>
                                        <p:cTn id="46" dur="1" fill="hold">
                                          <p:stCondLst>
                                            <p:cond delay="0"/>
                                          </p:stCondLst>
                                        </p:cTn>
                                        <p:tgtEl>
                                          <p:spTgt spid="328"/>
                                        </p:tgtEl>
                                        <p:attrNameLst>
                                          <p:attrName>style.visibility</p:attrName>
                                        </p:attrNameLst>
                                      </p:cBhvr>
                                      <p:to>
                                        <p:strVal val="visible"/>
                                      </p:to>
                                    </p:set>
                                    <p:animEffect transition="in" filter="fade">
                                      <p:cBhvr>
                                        <p:cTn id="47" dur="500"/>
                                        <p:tgtEl>
                                          <p:spTgt spid="328"/>
                                        </p:tgtEl>
                                      </p:cBhvr>
                                    </p:animEffect>
                                  </p:childTnLst>
                                </p:cTn>
                              </p:par>
                              <p:par>
                                <p:cTn id="48" presetID="10" presetClass="entr" presetSubtype="0" fill="hold" grpId="1" nodeType="withEffect">
                                  <p:stCondLst>
                                    <p:cond delay="0"/>
                                  </p:stCondLst>
                                  <p:childTnLst>
                                    <p:set>
                                      <p:cBhvr>
                                        <p:cTn id="49" dur="1" fill="hold">
                                          <p:stCondLst>
                                            <p:cond delay="0"/>
                                          </p:stCondLst>
                                        </p:cTn>
                                        <p:tgtEl>
                                          <p:spTgt spid="327"/>
                                        </p:tgtEl>
                                        <p:attrNameLst>
                                          <p:attrName>style.visibility</p:attrName>
                                        </p:attrNameLst>
                                      </p:cBhvr>
                                      <p:to>
                                        <p:strVal val="visible"/>
                                      </p:to>
                                    </p:set>
                                    <p:animEffect transition="in" filter="fade">
                                      <p:cBhvr>
                                        <p:cTn id="50" dur="500"/>
                                        <p:tgtEl>
                                          <p:spTgt spid="327"/>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0"/>
                                        </p:tgtEl>
                                        <p:attrNameLst>
                                          <p:attrName>style.visibility</p:attrName>
                                        </p:attrNameLst>
                                      </p:cBhvr>
                                      <p:to>
                                        <p:strVal val="visible"/>
                                      </p:to>
                                    </p:set>
                                    <p:animEffect transition="in" filter="fade">
                                      <p:cBhvr>
                                        <p:cTn id="53" dur="500"/>
                                        <p:tgtEl>
                                          <p:spTgt spid="33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31"/>
                                        </p:tgtEl>
                                        <p:attrNameLst>
                                          <p:attrName>style.visibility</p:attrName>
                                        </p:attrNameLst>
                                      </p:cBhvr>
                                      <p:to>
                                        <p:strVal val="visible"/>
                                      </p:to>
                                    </p:set>
                                    <p:animEffect transition="in" filter="fade">
                                      <p:cBhvr>
                                        <p:cTn id="56" dur="500"/>
                                        <p:tgtEl>
                                          <p:spTgt spid="33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32"/>
                                        </p:tgtEl>
                                        <p:attrNameLst>
                                          <p:attrName>style.visibility</p:attrName>
                                        </p:attrNameLst>
                                      </p:cBhvr>
                                      <p:to>
                                        <p:strVal val="visible"/>
                                      </p:to>
                                    </p:set>
                                    <p:animEffect transition="in" filter="fade">
                                      <p:cBhvr>
                                        <p:cTn id="59" dur="500"/>
                                        <p:tgtEl>
                                          <p:spTgt spid="33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33"/>
                                        </p:tgtEl>
                                        <p:attrNameLst>
                                          <p:attrName>style.visibility</p:attrName>
                                        </p:attrNameLst>
                                      </p:cBhvr>
                                      <p:to>
                                        <p:strVal val="visible"/>
                                      </p:to>
                                    </p:set>
                                    <p:animEffect transition="in" filter="fade">
                                      <p:cBhvr>
                                        <p:cTn id="62" dur="500"/>
                                        <p:tgtEl>
                                          <p:spTgt spid="33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4"/>
                                        </p:tgtEl>
                                        <p:attrNameLst>
                                          <p:attrName>style.visibility</p:attrName>
                                        </p:attrNameLst>
                                      </p:cBhvr>
                                      <p:to>
                                        <p:strVal val="visible"/>
                                      </p:to>
                                    </p:set>
                                    <p:animEffect transition="in" filter="fade">
                                      <p:cBhvr>
                                        <p:cTn id="65" dur="500"/>
                                        <p:tgtEl>
                                          <p:spTgt spid="33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38"/>
                                        </p:tgtEl>
                                        <p:attrNameLst>
                                          <p:attrName>style.visibility</p:attrName>
                                        </p:attrNameLst>
                                      </p:cBhvr>
                                      <p:to>
                                        <p:strVal val="visible"/>
                                      </p:to>
                                    </p:set>
                                    <p:animEffect transition="in" filter="fade">
                                      <p:cBhvr>
                                        <p:cTn id="68" dur="500"/>
                                        <p:tgtEl>
                                          <p:spTgt spid="33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35"/>
                                        </p:tgtEl>
                                        <p:attrNameLst>
                                          <p:attrName>style.visibility</p:attrName>
                                        </p:attrNameLst>
                                      </p:cBhvr>
                                      <p:to>
                                        <p:strVal val="visible"/>
                                      </p:to>
                                    </p:set>
                                    <p:animEffect transition="in" filter="fade">
                                      <p:cBhvr>
                                        <p:cTn id="71" dur="500"/>
                                        <p:tgtEl>
                                          <p:spTgt spid="33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36"/>
                                        </p:tgtEl>
                                        <p:attrNameLst>
                                          <p:attrName>style.visibility</p:attrName>
                                        </p:attrNameLst>
                                      </p:cBhvr>
                                      <p:to>
                                        <p:strVal val="visible"/>
                                      </p:to>
                                    </p:set>
                                    <p:animEffect transition="in" filter="fade">
                                      <p:cBhvr>
                                        <p:cTn id="74" dur="500"/>
                                        <p:tgtEl>
                                          <p:spTgt spid="33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37"/>
                                        </p:tgtEl>
                                        <p:attrNameLst>
                                          <p:attrName>style.visibility</p:attrName>
                                        </p:attrNameLst>
                                      </p:cBhvr>
                                      <p:to>
                                        <p:strVal val="visible"/>
                                      </p:to>
                                    </p:set>
                                    <p:animEffect transition="in" filter="fade">
                                      <p:cBhvr>
                                        <p:cTn id="77" dur="500"/>
                                        <p:tgtEl>
                                          <p:spTgt spid="33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80"/>
                                        </p:tgtEl>
                                        <p:attrNameLst>
                                          <p:attrName>style.visibility</p:attrName>
                                        </p:attrNameLst>
                                      </p:cBhvr>
                                      <p:to>
                                        <p:strVal val="visible"/>
                                      </p:to>
                                    </p:set>
                                    <p:animEffect transition="in" filter="fade">
                                      <p:cBhvr>
                                        <p:cTn id="80" dur="500"/>
                                        <p:tgtEl>
                                          <p:spTgt spid="28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79"/>
                                        </p:tgtEl>
                                        <p:attrNameLst>
                                          <p:attrName>style.visibility</p:attrName>
                                        </p:attrNameLst>
                                      </p:cBhvr>
                                      <p:to>
                                        <p:strVal val="visible"/>
                                      </p:to>
                                    </p:set>
                                    <p:animEffect transition="in" filter="fade">
                                      <p:cBhvr>
                                        <p:cTn id="83" dur="500"/>
                                        <p:tgtEl>
                                          <p:spTgt spid="27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78"/>
                                        </p:tgtEl>
                                        <p:attrNameLst>
                                          <p:attrName>style.visibility</p:attrName>
                                        </p:attrNameLst>
                                      </p:cBhvr>
                                      <p:to>
                                        <p:strVal val="visible"/>
                                      </p:to>
                                    </p:set>
                                    <p:animEffect transition="in" filter="fade">
                                      <p:cBhvr>
                                        <p:cTn id="86" dur="500"/>
                                        <p:tgtEl>
                                          <p:spTgt spid="278"/>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81"/>
                                        </p:tgtEl>
                                        <p:attrNameLst>
                                          <p:attrName>style.visibility</p:attrName>
                                        </p:attrNameLst>
                                      </p:cBhvr>
                                      <p:to>
                                        <p:strVal val="visible"/>
                                      </p:to>
                                    </p:set>
                                    <p:animEffect transition="in" filter="fade">
                                      <p:cBhvr>
                                        <p:cTn id="89" dur="500"/>
                                        <p:tgtEl>
                                          <p:spTgt spid="281"/>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277"/>
                                        </p:tgtEl>
                                        <p:attrNameLst>
                                          <p:attrName>style.visibility</p:attrName>
                                        </p:attrNameLst>
                                      </p:cBhvr>
                                      <p:to>
                                        <p:strVal val="visible"/>
                                      </p:to>
                                    </p:set>
                                    <p:animEffect transition="in" filter="fade">
                                      <p:cBhvr>
                                        <p:cTn id="92" dur="500"/>
                                        <p:tgtEl>
                                          <p:spTgt spid="27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276"/>
                                        </p:tgtEl>
                                        <p:attrNameLst>
                                          <p:attrName>style.visibility</p:attrName>
                                        </p:attrNameLst>
                                      </p:cBhvr>
                                      <p:to>
                                        <p:strVal val="visible"/>
                                      </p:to>
                                    </p:set>
                                    <p:animEffect transition="in" filter="fade">
                                      <p:cBhvr>
                                        <p:cTn id="95" dur="500"/>
                                        <p:tgtEl>
                                          <p:spTgt spid="276"/>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275"/>
                                        </p:tgtEl>
                                        <p:attrNameLst>
                                          <p:attrName>style.visibility</p:attrName>
                                        </p:attrNameLst>
                                      </p:cBhvr>
                                      <p:to>
                                        <p:strVal val="visible"/>
                                      </p:to>
                                    </p:set>
                                    <p:animEffect transition="in" filter="fade">
                                      <p:cBhvr>
                                        <p:cTn id="98" dur="500"/>
                                        <p:tgtEl>
                                          <p:spTgt spid="275"/>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274"/>
                                        </p:tgtEl>
                                        <p:attrNameLst>
                                          <p:attrName>style.visibility</p:attrName>
                                        </p:attrNameLst>
                                      </p:cBhvr>
                                      <p:to>
                                        <p:strVal val="visible"/>
                                      </p:to>
                                    </p:set>
                                    <p:animEffect transition="in" filter="fade">
                                      <p:cBhvr>
                                        <p:cTn id="101" dur="500"/>
                                        <p:tgtEl>
                                          <p:spTgt spid="27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273"/>
                                        </p:tgtEl>
                                        <p:attrNameLst>
                                          <p:attrName>style.visibility</p:attrName>
                                        </p:attrNameLst>
                                      </p:cBhvr>
                                      <p:to>
                                        <p:strVal val="visible"/>
                                      </p:to>
                                    </p:set>
                                    <p:animEffect transition="in" filter="fade">
                                      <p:cBhvr>
                                        <p:cTn id="104" dur="500"/>
                                        <p:tgtEl>
                                          <p:spTgt spid="27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340"/>
                                        </p:tgtEl>
                                        <p:attrNameLst>
                                          <p:attrName>style.visibility</p:attrName>
                                        </p:attrNameLst>
                                      </p:cBhvr>
                                      <p:to>
                                        <p:strVal val="visible"/>
                                      </p:to>
                                    </p:set>
                                    <p:animEffect transition="in" filter="fade">
                                      <p:cBhvr>
                                        <p:cTn id="107" dur="500"/>
                                        <p:tgtEl>
                                          <p:spTgt spid="34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325"/>
                                        </p:tgtEl>
                                        <p:attrNameLst>
                                          <p:attrName>style.visibility</p:attrName>
                                        </p:attrNameLst>
                                      </p:cBhvr>
                                      <p:to>
                                        <p:strVal val="visible"/>
                                      </p:to>
                                    </p:set>
                                    <p:animEffect transition="in" filter="fade">
                                      <p:cBhvr>
                                        <p:cTn id="110" dur="500"/>
                                        <p:tgtEl>
                                          <p:spTgt spid="325"/>
                                        </p:tgtEl>
                                      </p:cBhvr>
                                    </p:animEffect>
                                  </p:childTnLst>
                                </p:cTn>
                              </p:par>
                              <p:par>
                                <p:cTn id="111" presetID="10" presetClass="entr" presetSubtype="0" fill="hold" grpId="1" nodeType="withEffect">
                                  <p:stCondLst>
                                    <p:cond delay="0"/>
                                  </p:stCondLst>
                                  <p:childTnLst>
                                    <p:set>
                                      <p:cBhvr>
                                        <p:cTn id="112" dur="1" fill="hold">
                                          <p:stCondLst>
                                            <p:cond delay="0"/>
                                          </p:stCondLst>
                                        </p:cTn>
                                        <p:tgtEl>
                                          <p:spTgt spid="43"/>
                                        </p:tgtEl>
                                        <p:attrNameLst>
                                          <p:attrName>style.visibility</p:attrName>
                                        </p:attrNameLst>
                                      </p:cBhvr>
                                      <p:to>
                                        <p:strVal val="visible"/>
                                      </p:to>
                                    </p:set>
                                    <p:animEffect transition="in" filter="fade">
                                      <p:cBhvr>
                                        <p:cTn id="113" dur="500"/>
                                        <p:tgtEl>
                                          <p:spTgt spid="43"/>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xit" presetSubtype="0" fill="hold" grpId="0" nodeType="clickEffect">
                                  <p:stCondLst>
                                    <p:cond delay="0"/>
                                  </p:stCondLst>
                                  <p:childTnLst>
                                    <p:animEffect transition="out" filter="fade">
                                      <p:cBhvr>
                                        <p:cTn id="117" dur="300"/>
                                        <p:tgtEl>
                                          <p:spTgt spid="43"/>
                                        </p:tgtEl>
                                      </p:cBhvr>
                                    </p:animEffect>
                                    <p:set>
                                      <p:cBhvr>
                                        <p:cTn id="118" dur="1" fill="hold">
                                          <p:stCondLst>
                                            <p:cond delay="299"/>
                                          </p:stCondLst>
                                        </p:cTn>
                                        <p:tgtEl>
                                          <p:spTgt spid="43"/>
                                        </p:tgtEl>
                                        <p:attrNameLst>
                                          <p:attrName>style.visibility</p:attrName>
                                        </p:attrNameLst>
                                      </p:cBhvr>
                                      <p:to>
                                        <p:strVal val="hidden"/>
                                      </p:to>
                                    </p:set>
                                  </p:childTnLst>
                                </p:cTn>
                              </p:par>
                              <p:par>
                                <p:cTn id="119" presetID="10" presetClass="entr" presetSubtype="0" fill="hold" nodeType="withEffect">
                                  <p:stCondLst>
                                    <p:cond delay="0"/>
                                  </p:stCondLst>
                                  <p:childTnLst>
                                    <p:set>
                                      <p:cBhvr>
                                        <p:cTn id="120" dur="1" fill="hold">
                                          <p:stCondLst>
                                            <p:cond delay="0"/>
                                          </p:stCondLst>
                                        </p:cTn>
                                        <p:tgtEl>
                                          <p:spTgt spid="48"/>
                                        </p:tgtEl>
                                        <p:attrNameLst>
                                          <p:attrName>style.visibility</p:attrName>
                                        </p:attrNameLst>
                                      </p:cBhvr>
                                      <p:to>
                                        <p:strVal val="visible"/>
                                      </p:to>
                                    </p:set>
                                    <p:animEffect transition="in" filter="fade">
                                      <p:cBhvr>
                                        <p:cTn id="121" dur="500"/>
                                        <p:tgtEl>
                                          <p:spTgt spid="48"/>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53"/>
                                        </p:tgtEl>
                                        <p:attrNameLst>
                                          <p:attrName>style.visibility</p:attrName>
                                        </p:attrNameLst>
                                      </p:cBhvr>
                                      <p:to>
                                        <p:strVal val="visible"/>
                                      </p:to>
                                    </p:set>
                                    <p:animEffect transition="in" filter="fade">
                                      <p:cBhvr>
                                        <p:cTn id="124" dur="500"/>
                                        <p:tgtEl>
                                          <p:spTgt spid="53"/>
                                        </p:tgtEl>
                                      </p:cBhvr>
                                    </p:animEffect>
                                  </p:childTnLst>
                                </p:cTn>
                              </p:par>
                            </p:childTnLst>
                          </p:cTn>
                        </p:par>
                      </p:childTnLst>
                    </p:cTn>
                  </p:par>
                  <p:par>
                    <p:cTn id="125" fill="hold">
                      <p:stCondLst>
                        <p:cond delay="indefinite"/>
                      </p:stCondLst>
                      <p:childTnLst>
                        <p:par>
                          <p:cTn id="126" fill="hold">
                            <p:stCondLst>
                              <p:cond delay="0"/>
                            </p:stCondLst>
                            <p:childTnLst>
                              <p:par>
                                <p:cTn id="127" presetID="63" presetClass="path" presetSubtype="0" decel="100000" fill="hold" grpId="0" nodeType="clickEffect">
                                  <p:stCondLst>
                                    <p:cond delay="250"/>
                                  </p:stCondLst>
                                  <p:childTnLst>
                                    <p:animMotion origin="layout" path="M 1.34031E-6 -4.20336E-6 L 0.10812 -4.20336E-6 " pathEditMode="relative" rAng="0" ptsTypes="AA">
                                      <p:cBhvr>
                                        <p:cTn id="128" dur="1000" fill="hold"/>
                                        <p:tgtEl>
                                          <p:spTgt spid="326"/>
                                        </p:tgtEl>
                                        <p:attrNameLst>
                                          <p:attrName>ppt_x</p:attrName>
                                          <p:attrName>ppt_y</p:attrName>
                                        </p:attrNameLst>
                                      </p:cBhvr>
                                      <p:rCtr x="5400" y="0"/>
                                    </p:animMotion>
                                  </p:childTnLst>
                                </p:cTn>
                              </p:par>
                              <p:par>
                                <p:cTn id="129" presetID="2" presetClass="exit" presetSubtype="8" accel="100000" fill="hold" grpId="0" nodeType="withEffect">
                                  <p:stCondLst>
                                    <p:cond delay="0"/>
                                  </p:stCondLst>
                                  <p:childTnLst>
                                    <p:anim calcmode="lin" valueType="num">
                                      <p:cBhvr additive="base">
                                        <p:cTn id="130" dur="1000"/>
                                        <p:tgtEl>
                                          <p:spTgt spid="329"/>
                                        </p:tgtEl>
                                        <p:attrNameLst>
                                          <p:attrName>ppt_x</p:attrName>
                                        </p:attrNameLst>
                                      </p:cBhvr>
                                      <p:tavLst>
                                        <p:tav tm="0">
                                          <p:val>
                                            <p:strVal val="ppt_x"/>
                                          </p:val>
                                        </p:tav>
                                        <p:tav tm="100000">
                                          <p:val>
                                            <p:strVal val="0-ppt_w/2"/>
                                          </p:val>
                                        </p:tav>
                                      </p:tavLst>
                                    </p:anim>
                                    <p:anim calcmode="lin" valueType="num">
                                      <p:cBhvr additive="base">
                                        <p:cTn id="131" dur="1000"/>
                                        <p:tgtEl>
                                          <p:spTgt spid="329"/>
                                        </p:tgtEl>
                                        <p:attrNameLst>
                                          <p:attrName>ppt_y</p:attrName>
                                        </p:attrNameLst>
                                      </p:cBhvr>
                                      <p:tavLst>
                                        <p:tav tm="0">
                                          <p:val>
                                            <p:strVal val="ppt_y"/>
                                          </p:val>
                                        </p:tav>
                                        <p:tav tm="100000">
                                          <p:val>
                                            <p:strVal val="ppt_y"/>
                                          </p:val>
                                        </p:tav>
                                      </p:tavLst>
                                    </p:anim>
                                    <p:set>
                                      <p:cBhvr>
                                        <p:cTn id="132" dur="1" fill="hold">
                                          <p:stCondLst>
                                            <p:cond delay="999"/>
                                          </p:stCondLst>
                                        </p:cTn>
                                        <p:tgtEl>
                                          <p:spTgt spid="329"/>
                                        </p:tgtEl>
                                        <p:attrNameLst>
                                          <p:attrName>style.visibility</p:attrName>
                                        </p:attrNameLst>
                                      </p:cBhvr>
                                      <p:to>
                                        <p:strVal val="hidden"/>
                                      </p:to>
                                    </p:set>
                                  </p:childTnLst>
                                </p:cTn>
                              </p:par>
                              <p:par>
                                <p:cTn id="133" presetID="2" presetClass="exit" presetSubtype="8" accel="100000" fill="hold" grpId="0" nodeType="withEffect">
                                  <p:stCondLst>
                                    <p:cond delay="200"/>
                                  </p:stCondLst>
                                  <p:childTnLst>
                                    <p:anim calcmode="lin" valueType="num">
                                      <p:cBhvr additive="base">
                                        <p:cTn id="134" dur="1000"/>
                                        <p:tgtEl>
                                          <p:spTgt spid="328"/>
                                        </p:tgtEl>
                                        <p:attrNameLst>
                                          <p:attrName>ppt_x</p:attrName>
                                        </p:attrNameLst>
                                      </p:cBhvr>
                                      <p:tavLst>
                                        <p:tav tm="0">
                                          <p:val>
                                            <p:strVal val="ppt_x"/>
                                          </p:val>
                                        </p:tav>
                                        <p:tav tm="100000">
                                          <p:val>
                                            <p:strVal val="0-ppt_w/2"/>
                                          </p:val>
                                        </p:tav>
                                      </p:tavLst>
                                    </p:anim>
                                    <p:anim calcmode="lin" valueType="num">
                                      <p:cBhvr additive="base">
                                        <p:cTn id="135" dur="1000"/>
                                        <p:tgtEl>
                                          <p:spTgt spid="328"/>
                                        </p:tgtEl>
                                        <p:attrNameLst>
                                          <p:attrName>ppt_y</p:attrName>
                                        </p:attrNameLst>
                                      </p:cBhvr>
                                      <p:tavLst>
                                        <p:tav tm="0">
                                          <p:val>
                                            <p:strVal val="ppt_y"/>
                                          </p:val>
                                        </p:tav>
                                        <p:tav tm="100000">
                                          <p:val>
                                            <p:strVal val="ppt_y"/>
                                          </p:val>
                                        </p:tav>
                                      </p:tavLst>
                                    </p:anim>
                                    <p:set>
                                      <p:cBhvr>
                                        <p:cTn id="136" dur="1" fill="hold">
                                          <p:stCondLst>
                                            <p:cond delay="999"/>
                                          </p:stCondLst>
                                        </p:cTn>
                                        <p:tgtEl>
                                          <p:spTgt spid="328"/>
                                        </p:tgtEl>
                                        <p:attrNameLst>
                                          <p:attrName>style.visibility</p:attrName>
                                        </p:attrNameLst>
                                      </p:cBhvr>
                                      <p:to>
                                        <p:strVal val="hidden"/>
                                      </p:to>
                                    </p:set>
                                  </p:childTnLst>
                                </p:cTn>
                              </p:par>
                              <p:par>
                                <p:cTn id="137" presetID="2" presetClass="exit" presetSubtype="8" accel="100000" fill="hold" grpId="0" nodeType="withEffect">
                                  <p:stCondLst>
                                    <p:cond delay="400"/>
                                  </p:stCondLst>
                                  <p:childTnLst>
                                    <p:anim calcmode="lin" valueType="num">
                                      <p:cBhvr additive="base">
                                        <p:cTn id="138" dur="1000"/>
                                        <p:tgtEl>
                                          <p:spTgt spid="327"/>
                                        </p:tgtEl>
                                        <p:attrNameLst>
                                          <p:attrName>ppt_x</p:attrName>
                                        </p:attrNameLst>
                                      </p:cBhvr>
                                      <p:tavLst>
                                        <p:tav tm="0">
                                          <p:val>
                                            <p:strVal val="ppt_x"/>
                                          </p:val>
                                        </p:tav>
                                        <p:tav tm="100000">
                                          <p:val>
                                            <p:strVal val="0-ppt_w/2"/>
                                          </p:val>
                                        </p:tav>
                                      </p:tavLst>
                                    </p:anim>
                                    <p:anim calcmode="lin" valueType="num">
                                      <p:cBhvr additive="base">
                                        <p:cTn id="139" dur="1000"/>
                                        <p:tgtEl>
                                          <p:spTgt spid="327"/>
                                        </p:tgtEl>
                                        <p:attrNameLst>
                                          <p:attrName>ppt_y</p:attrName>
                                        </p:attrNameLst>
                                      </p:cBhvr>
                                      <p:tavLst>
                                        <p:tav tm="0">
                                          <p:val>
                                            <p:strVal val="ppt_y"/>
                                          </p:val>
                                        </p:tav>
                                        <p:tav tm="100000">
                                          <p:val>
                                            <p:strVal val="ppt_y"/>
                                          </p:val>
                                        </p:tav>
                                      </p:tavLst>
                                    </p:anim>
                                    <p:set>
                                      <p:cBhvr>
                                        <p:cTn id="140" dur="1" fill="hold">
                                          <p:stCondLst>
                                            <p:cond delay="999"/>
                                          </p:stCondLst>
                                        </p:cTn>
                                        <p:tgtEl>
                                          <p:spTgt spid="327"/>
                                        </p:tgtEl>
                                        <p:attrNameLst>
                                          <p:attrName>style.visibility</p:attrName>
                                        </p:attrNameLst>
                                      </p:cBhvr>
                                      <p:to>
                                        <p:strVal val="hidden"/>
                                      </p:to>
                                    </p:set>
                                  </p:childTnLst>
                                </p:cTn>
                              </p:par>
                            </p:childTnLst>
                          </p:cTn>
                        </p:par>
                        <p:par>
                          <p:cTn id="141" fill="hold">
                            <p:stCondLst>
                              <p:cond delay="1400"/>
                            </p:stCondLst>
                            <p:childTnLst>
                              <p:par>
                                <p:cTn id="142" presetID="10" presetClass="entr" presetSubtype="0" fill="hold" nodeType="afterEffect">
                                  <p:stCondLst>
                                    <p:cond delay="250"/>
                                  </p:stCondLst>
                                  <p:childTnLst>
                                    <p:set>
                                      <p:cBhvr>
                                        <p:cTn id="143" dur="1" fill="hold">
                                          <p:stCondLst>
                                            <p:cond delay="0"/>
                                          </p:stCondLst>
                                        </p:cTn>
                                        <p:tgtEl>
                                          <p:spTgt spid="292"/>
                                        </p:tgtEl>
                                        <p:attrNameLst>
                                          <p:attrName>style.visibility</p:attrName>
                                        </p:attrNameLst>
                                      </p:cBhvr>
                                      <p:to>
                                        <p:strVal val="visible"/>
                                      </p:to>
                                    </p:set>
                                    <p:animEffect transition="in" filter="fade">
                                      <p:cBhvr>
                                        <p:cTn id="144" dur="500"/>
                                        <p:tgtEl>
                                          <p:spTgt spid="292"/>
                                        </p:tgtEl>
                                      </p:cBhvr>
                                    </p:animEffect>
                                  </p:childTnLst>
                                </p:cTn>
                              </p:par>
                              <p:par>
                                <p:cTn id="145" presetID="22" presetClass="entr" presetSubtype="8" fill="hold" nodeType="withEffect">
                                  <p:stCondLst>
                                    <p:cond delay="500"/>
                                  </p:stCondLst>
                                  <p:childTnLst>
                                    <p:set>
                                      <p:cBhvr>
                                        <p:cTn id="146" dur="1" fill="hold">
                                          <p:stCondLst>
                                            <p:cond delay="0"/>
                                          </p:stCondLst>
                                        </p:cTn>
                                        <p:tgtEl>
                                          <p:spTgt spid="282"/>
                                        </p:tgtEl>
                                        <p:attrNameLst>
                                          <p:attrName>style.visibility</p:attrName>
                                        </p:attrNameLst>
                                      </p:cBhvr>
                                      <p:to>
                                        <p:strVal val="visible"/>
                                      </p:to>
                                    </p:set>
                                    <p:animEffect transition="in" filter="wipe(left)">
                                      <p:cBhvr>
                                        <p:cTn id="147" dur="500"/>
                                        <p:tgtEl>
                                          <p:spTgt spid="282"/>
                                        </p:tgtEl>
                                      </p:cBhvr>
                                    </p:animEffect>
                                  </p:childTnLst>
                                </p:cTn>
                              </p:par>
                              <p:par>
                                <p:cTn id="148" presetID="10" presetClass="entr" presetSubtype="0" fill="hold" nodeType="withEffect">
                                  <p:stCondLst>
                                    <p:cond delay="750"/>
                                  </p:stCondLst>
                                  <p:childTnLst>
                                    <p:set>
                                      <p:cBhvr>
                                        <p:cTn id="149" dur="1" fill="hold">
                                          <p:stCondLst>
                                            <p:cond delay="0"/>
                                          </p:stCondLst>
                                        </p:cTn>
                                        <p:tgtEl>
                                          <p:spTgt spid="295"/>
                                        </p:tgtEl>
                                        <p:attrNameLst>
                                          <p:attrName>style.visibility</p:attrName>
                                        </p:attrNameLst>
                                      </p:cBhvr>
                                      <p:to>
                                        <p:strVal val="visible"/>
                                      </p:to>
                                    </p:set>
                                    <p:animEffect transition="in" filter="fade">
                                      <p:cBhvr>
                                        <p:cTn id="150" dur="500"/>
                                        <p:tgtEl>
                                          <p:spTgt spid="295"/>
                                        </p:tgtEl>
                                      </p:cBhvr>
                                    </p:animEffect>
                                  </p:childTnLst>
                                </p:cTn>
                              </p:par>
                              <p:par>
                                <p:cTn id="151" presetID="22" presetClass="entr" presetSubtype="8" fill="hold" nodeType="withEffect">
                                  <p:stCondLst>
                                    <p:cond delay="1000"/>
                                  </p:stCondLst>
                                  <p:childTnLst>
                                    <p:set>
                                      <p:cBhvr>
                                        <p:cTn id="152" dur="1" fill="hold">
                                          <p:stCondLst>
                                            <p:cond delay="0"/>
                                          </p:stCondLst>
                                        </p:cTn>
                                        <p:tgtEl>
                                          <p:spTgt spid="283"/>
                                        </p:tgtEl>
                                        <p:attrNameLst>
                                          <p:attrName>style.visibility</p:attrName>
                                        </p:attrNameLst>
                                      </p:cBhvr>
                                      <p:to>
                                        <p:strVal val="visible"/>
                                      </p:to>
                                    </p:set>
                                    <p:animEffect transition="in" filter="wipe(left)">
                                      <p:cBhvr>
                                        <p:cTn id="153" dur="500"/>
                                        <p:tgtEl>
                                          <p:spTgt spid="283"/>
                                        </p:tgtEl>
                                      </p:cBhvr>
                                    </p:animEffect>
                                  </p:childTnLst>
                                </p:cTn>
                              </p:par>
                              <p:par>
                                <p:cTn id="154" presetID="10" presetClass="entr" presetSubtype="0" fill="hold" nodeType="withEffect">
                                  <p:stCondLst>
                                    <p:cond delay="1250"/>
                                  </p:stCondLst>
                                  <p:childTnLst>
                                    <p:set>
                                      <p:cBhvr>
                                        <p:cTn id="155" dur="1" fill="hold">
                                          <p:stCondLst>
                                            <p:cond delay="0"/>
                                          </p:stCondLst>
                                        </p:cTn>
                                        <p:tgtEl>
                                          <p:spTgt spid="319"/>
                                        </p:tgtEl>
                                        <p:attrNameLst>
                                          <p:attrName>style.visibility</p:attrName>
                                        </p:attrNameLst>
                                      </p:cBhvr>
                                      <p:to>
                                        <p:strVal val="visible"/>
                                      </p:to>
                                    </p:set>
                                    <p:animEffect transition="in" filter="fade">
                                      <p:cBhvr>
                                        <p:cTn id="156" dur="500"/>
                                        <p:tgtEl>
                                          <p:spTgt spid="319"/>
                                        </p:tgtEl>
                                      </p:cBhvr>
                                    </p:animEffect>
                                  </p:childTnLst>
                                </p:cTn>
                              </p:par>
                              <p:par>
                                <p:cTn id="157" presetID="22" presetClass="entr" presetSubtype="1" fill="hold" nodeType="withEffect">
                                  <p:stCondLst>
                                    <p:cond delay="1500"/>
                                  </p:stCondLst>
                                  <p:childTnLst>
                                    <p:set>
                                      <p:cBhvr>
                                        <p:cTn id="158" dur="1" fill="hold">
                                          <p:stCondLst>
                                            <p:cond delay="0"/>
                                          </p:stCondLst>
                                        </p:cTn>
                                        <p:tgtEl>
                                          <p:spTgt spid="285"/>
                                        </p:tgtEl>
                                        <p:attrNameLst>
                                          <p:attrName>style.visibility</p:attrName>
                                        </p:attrNameLst>
                                      </p:cBhvr>
                                      <p:to>
                                        <p:strVal val="visible"/>
                                      </p:to>
                                    </p:set>
                                    <p:animEffect transition="in" filter="wipe(up)">
                                      <p:cBhvr>
                                        <p:cTn id="159" dur="500"/>
                                        <p:tgtEl>
                                          <p:spTgt spid="285"/>
                                        </p:tgtEl>
                                      </p:cBhvr>
                                    </p:animEffect>
                                  </p:childTnLst>
                                </p:cTn>
                              </p:par>
                              <p:par>
                                <p:cTn id="160" presetID="10" presetClass="entr" presetSubtype="0" fill="hold" nodeType="withEffect">
                                  <p:stCondLst>
                                    <p:cond delay="1750"/>
                                  </p:stCondLst>
                                  <p:childTnLst>
                                    <p:set>
                                      <p:cBhvr>
                                        <p:cTn id="161" dur="1" fill="hold">
                                          <p:stCondLst>
                                            <p:cond delay="0"/>
                                          </p:stCondLst>
                                        </p:cTn>
                                        <p:tgtEl>
                                          <p:spTgt spid="301"/>
                                        </p:tgtEl>
                                        <p:attrNameLst>
                                          <p:attrName>style.visibility</p:attrName>
                                        </p:attrNameLst>
                                      </p:cBhvr>
                                      <p:to>
                                        <p:strVal val="visible"/>
                                      </p:to>
                                    </p:set>
                                    <p:animEffect transition="in" filter="fade">
                                      <p:cBhvr>
                                        <p:cTn id="162" dur="500"/>
                                        <p:tgtEl>
                                          <p:spTgt spid="301"/>
                                        </p:tgtEl>
                                      </p:cBhvr>
                                    </p:animEffect>
                                  </p:childTnLst>
                                </p:cTn>
                              </p:par>
                              <p:par>
                                <p:cTn id="163" presetID="22" presetClass="entr" presetSubtype="8" fill="hold" nodeType="withEffect">
                                  <p:stCondLst>
                                    <p:cond delay="2000"/>
                                  </p:stCondLst>
                                  <p:childTnLst>
                                    <p:set>
                                      <p:cBhvr>
                                        <p:cTn id="164" dur="1" fill="hold">
                                          <p:stCondLst>
                                            <p:cond delay="0"/>
                                          </p:stCondLst>
                                        </p:cTn>
                                        <p:tgtEl>
                                          <p:spTgt spid="284"/>
                                        </p:tgtEl>
                                        <p:attrNameLst>
                                          <p:attrName>style.visibility</p:attrName>
                                        </p:attrNameLst>
                                      </p:cBhvr>
                                      <p:to>
                                        <p:strVal val="visible"/>
                                      </p:to>
                                    </p:set>
                                    <p:animEffect transition="in" filter="wipe(left)">
                                      <p:cBhvr>
                                        <p:cTn id="165" dur="500"/>
                                        <p:tgtEl>
                                          <p:spTgt spid="284"/>
                                        </p:tgtEl>
                                      </p:cBhvr>
                                    </p:animEffect>
                                  </p:childTnLst>
                                </p:cTn>
                              </p:par>
                              <p:par>
                                <p:cTn id="166" presetID="10" presetClass="entr" presetSubtype="0" fill="hold" nodeType="withEffect">
                                  <p:stCondLst>
                                    <p:cond delay="2250"/>
                                  </p:stCondLst>
                                  <p:childTnLst>
                                    <p:set>
                                      <p:cBhvr>
                                        <p:cTn id="167" dur="1" fill="hold">
                                          <p:stCondLst>
                                            <p:cond delay="0"/>
                                          </p:stCondLst>
                                        </p:cTn>
                                        <p:tgtEl>
                                          <p:spTgt spid="298"/>
                                        </p:tgtEl>
                                        <p:attrNameLst>
                                          <p:attrName>style.visibility</p:attrName>
                                        </p:attrNameLst>
                                      </p:cBhvr>
                                      <p:to>
                                        <p:strVal val="visible"/>
                                      </p:to>
                                    </p:set>
                                    <p:animEffect transition="in" filter="fade">
                                      <p:cBhvr>
                                        <p:cTn id="168" dur="500"/>
                                        <p:tgtEl>
                                          <p:spTgt spid="298"/>
                                        </p:tgtEl>
                                      </p:cBhvr>
                                    </p:animEffect>
                                  </p:childTnLst>
                                </p:cTn>
                              </p:par>
                              <p:par>
                                <p:cTn id="169" presetID="22" presetClass="entr" presetSubtype="1" fill="hold" nodeType="withEffect">
                                  <p:stCondLst>
                                    <p:cond delay="2750"/>
                                  </p:stCondLst>
                                  <p:childTnLst>
                                    <p:set>
                                      <p:cBhvr>
                                        <p:cTn id="170" dur="1" fill="hold">
                                          <p:stCondLst>
                                            <p:cond delay="0"/>
                                          </p:stCondLst>
                                        </p:cTn>
                                        <p:tgtEl>
                                          <p:spTgt spid="286"/>
                                        </p:tgtEl>
                                        <p:attrNameLst>
                                          <p:attrName>style.visibility</p:attrName>
                                        </p:attrNameLst>
                                      </p:cBhvr>
                                      <p:to>
                                        <p:strVal val="visible"/>
                                      </p:to>
                                    </p:set>
                                    <p:animEffect transition="in" filter="wipe(up)">
                                      <p:cBhvr>
                                        <p:cTn id="171" dur="500"/>
                                        <p:tgtEl>
                                          <p:spTgt spid="286"/>
                                        </p:tgtEl>
                                      </p:cBhvr>
                                    </p:animEffect>
                                  </p:childTnLst>
                                </p:cTn>
                              </p:par>
                              <p:par>
                                <p:cTn id="172" presetID="10" presetClass="entr" presetSubtype="0" fill="hold" nodeType="withEffect">
                                  <p:stCondLst>
                                    <p:cond delay="3000"/>
                                  </p:stCondLst>
                                  <p:childTnLst>
                                    <p:set>
                                      <p:cBhvr>
                                        <p:cTn id="173" dur="1" fill="hold">
                                          <p:stCondLst>
                                            <p:cond delay="0"/>
                                          </p:stCondLst>
                                        </p:cTn>
                                        <p:tgtEl>
                                          <p:spTgt spid="304"/>
                                        </p:tgtEl>
                                        <p:attrNameLst>
                                          <p:attrName>style.visibility</p:attrName>
                                        </p:attrNameLst>
                                      </p:cBhvr>
                                      <p:to>
                                        <p:strVal val="visible"/>
                                      </p:to>
                                    </p:set>
                                    <p:animEffect transition="in" filter="fade">
                                      <p:cBhvr>
                                        <p:cTn id="174" dur="500"/>
                                        <p:tgtEl>
                                          <p:spTgt spid="304"/>
                                        </p:tgtEl>
                                      </p:cBhvr>
                                    </p:animEffect>
                                  </p:childTnLst>
                                </p:cTn>
                              </p:par>
                              <p:par>
                                <p:cTn id="175" presetID="22" presetClass="entr" presetSubtype="8" fill="hold" nodeType="withEffect">
                                  <p:stCondLst>
                                    <p:cond delay="3500"/>
                                  </p:stCondLst>
                                  <p:childTnLst>
                                    <p:set>
                                      <p:cBhvr>
                                        <p:cTn id="176" dur="1" fill="hold">
                                          <p:stCondLst>
                                            <p:cond delay="0"/>
                                          </p:stCondLst>
                                        </p:cTn>
                                        <p:tgtEl>
                                          <p:spTgt spid="288"/>
                                        </p:tgtEl>
                                        <p:attrNameLst>
                                          <p:attrName>style.visibility</p:attrName>
                                        </p:attrNameLst>
                                      </p:cBhvr>
                                      <p:to>
                                        <p:strVal val="visible"/>
                                      </p:to>
                                    </p:set>
                                    <p:animEffect transition="in" filter="wipe(left)">
                                      <p:cBhvr>
                                        <p:cTn id="177" dur="500"/>
                                        <p:tgtEl>
                                          <p:spTgt spid="288"/>
                                        </p:tgtEl>
                                      </p:cBhvr>
                                    </p:animEffect>
                                  </p:childTnLst>
                                </p:cTn>
                              </p:par>
                              <p:par>
                                <p:cTn id="178" presetID="10" presetClass="entr" presetSubtype="0" fill="hold" nodeType="withEffect">
                                  <p:stCondLst>
                                    <p:cond delay="3750"/>
                                  </p:stCondLst>
                                  <p:childTnLst>
                                    <p:set>
                                      <p:cBhvr>
                                        <p:cTn id="179" dur="1" fill="hold">
                                          <p:stCondLst>
                                            <p:cond delay="0"/>
                                          </p:stCondLst>
                                        </p:cTn>
                                        <p:tgtEl>
                                          <p:spTgt spid="307"/>
                                        </p:tgtEl>
                                        <p:attrNameLst>
                                          <p:attrName>style.visibility</p:attrName>
                                        </p:attrNameLst>
                                      </p:cBhvr>
                                      <p:to>
                                        <p:strVal val="visible"/>
                                      </p:to>
                                    </p:set>
                                    <p:animEffect transition="in" filter="fade">
                                      <p:cBhvr>
                                        <p:cTn id="180" dur="500"/>
                                        <p:tgtEl>
                                          <p:spTgt spid="307"/>
                                        </p:tgtEl>
                                      </p:cBhvr>
                                    </p:animEffect>
                                  </p:childTnLst>
                                </p:cTn>
                              </p:par>
                              <p:par>
                                <p:cTn id="181" presetID="22" presetClass="entr" presetSubtype="8" fill="hold" nodeType="withEffect">
                                  <p:stCondLst>
                                    <p:cond delay="4000"/>
                                  </p:stCondLst>
                                  <p:childTnLst>
                                    <p:set>
                                      <p:cBhvr>
                                        <p:cTn id="182" dur="1" fill="hold">
                                          <p:stCondLst>
                                            <p:cond delay="0"/>
                                          </p:stCondLst>
                                        </p:cTn>
                                        <p:tgtEl>
                                          <p:spTgt spid="287"/>
                                        </p:tgtEl>
                                        <p:attrNameLst>
                                          <p:attrName>style.visibility</p:attrName>
                                        </p:attrNameLst>
                                      </p:cBhvr>
                                      <p:to>
                                        <p:strVal val="visible"/>
                                      </p:to>
                                    </p:set>
                                    <p:animEffect transition="in" filter="wipe(left)">
                                      <p:cBhvr>
                                        <p:cTn id="183" dur="500"/>
                                        <p:tgtEl>
                                          <p:spTgt spid="287"/>
                                        </p:tgtEl>
                                      </p:cBhvr>
                                    </p:animEffect>
                                  </p:childTnLst>
                                </p:cTn>
                              </p:par>
                              <p:par>
                                <p:cTn id="184" presetID="10" presetClass="entr" presetSubtype="0" fill="hold" nodeType="withEffect">
                                  <p:stCondLst>
                                    <p:cond delay="4250"/>
                                  </p:stCondLst>
                                  <p:childTnLst>
                                    <p:set>
                                      <p:cBhvr>
                                        <p:cTn id="185" dur="1" fill="hold">
                                          <p:stCondLst>
                                            <p:cond delay="0"/>
                                          </p:stCondLst>
                                        </p:cTn>
                                        <p:tgtEl>
                                          <p:spTgt spid="310"/>
                                        </p:tgtEl>
                                        <p:attrNameLst>
                                          <p:attrName>style.visibility</p:attrName>
                                        </p:attrNameLst>
                                      </p:cBhvr>
                                      <p:to>
                                        <p:strVal val="visible"/>
                                      </p:to>
                                    </p:set>
                                    <p:animEffect transition="in" filter="fade">
                                      <p:cBhvr>
                                        <p:cTn id="186" dur="500"/>
                                        <p:tgtEl>
                                          <p:spTgt spid="310"/>
                                        </p:tgtEl>
                                      </p:cBhvr>
                                    </p:animEffect>
                                  </p:childTnLst>
                                </p:cTn>
                              </p:par>
                              <p:par>
                                <p:cTn id="187" presetID="22" presetClass="entr" presetSubtype="8" fill="hold" nodeType="withEffect">
                                  <p:stCondLst>
                                    <p:cond delay="4500"/>
                                  </p:stCondLst>
                                  <p:childTnLst>
                                    <p:set>
                                      <p:cBhvr>
                                        <p:cTn id="188" dur="1" fill="hold">
                                          <p:stCondLst>
                                            <p:cond delay="0"/>
                                          </p:stCondLst>
                                        </p:cTn>
                                        <p:tgtEl>
                                          <p:spTgt spid="289"/>
                                        </p:tgtEl>
                                        <p:attrNameLst>
                                          <p:attrName>style.visibility</p:attrName>
                                        </p:attrNameLst>
                                      </p:cBhvr>
                                      <p:to>
                                        <p:strVal val="visible"/>
                                      </p:to>
                                    </p:set>
                                    <p:animEffect transition="in" filter="wipe(left)">
                                      <p:cBhvr>
                                        <p:cTn id="189" dur="500"/>
                                        <p:tgtEl>
                                          <p:spTgt spid="289"/>
                                        </p:tgtEl>
                                      </p:cBhvr>
                                    </p:animEffect>
                                  </p:childTnLst>
                                </p:cTn>
                              </p:par>
                              <p:par>
                                <p:cTn id="190" presetID="10" presetClass="entr" presetSubtype="0" fill="hold" nodeType="withEffect">
                                  <p:stCondLst>
                                    <p:cond delay="4750"/>
                                  </p:stCondLst>
                                  <p:childTnLst>
                                    <p:set>
                                      <p:cBhvr>
                                        <p:cTn id="191" dur="1" fill="hold">
                                          <p:stCondLst>
                                            <p:cond delay="0"/>
                                          </p:stCondLst>
                                        </p:cTn>
                                        <p:tgtEl>
                                          <p:spTgt spid="313"/>
                                        </p:tgtEl>
                                        <p:attrNameLst>
                                          <p:attrName>style.visibility</p:attrName>
                                        </p:attrNameLst>
                                      </p:cBhvr>
                                      <p:to>
                                        <p:strVal val="visible"/>
                                      </p:to>
                                    </p:set>
                                    <p:animEffect transition="in" filter="fade">
                                      <p:cBhvr>
                                        <p:cTn id="192" dur="500"/>
                                        <p:tgtEl>
                                          <p:spTgt spid="313"/>
                                        </p:tgtEl>
                                      </p:cBhvr>
                                    </p:animEffect>
                                  </p:childTnLst>
                                </p:cTn>
                              </p:par>
                              <p:par>
                                <p:cTn id="193" presetID="22" presetClass="entr" presetSubtype="8" fill="hold" nodeType="withEffect">
                                  <p:stCondLst>
                                    <p:cond delay="5000"/>
                                  </p:stCondLst>
                                  <p:childTnLst>
                                    <p:set>
                                      <p:cBhvr>
                                        <p:cTn id="194" dur="1" fill="hold">
                                          <p:stCondLst>
                                            <p:cond delay="0"/>
                                          </p:stCondLst>
                                        </p:cTn>
                                        <p:tgtEl>
                                          <p:spTgt spid="290"/>
                                        </p:tgtEl>
                                        <p:attrNameLst>
                                          <p:attrName>style.visibility</p:attrName>
                                        </p:attrNameLst>
                                      </p:cBhvr>
                                      <p:to>
                                        <p:strVal val="visible"/>
                                      </p:to>
                                    </p:set>
                                    <p:animEffect transition="in" filter="wipe(left)">
                                      <p:cBhvr>
                                        <p:cTn id="195" dur="500"/>
                                        <p:tgtEl>
                                          <p:spTgt spid="290"/>
                                        </p:tgtEl>
                                      </p:cBhvr>
                                    </p:animEffect>
                                  </p:childTnLst>
                                </p:cTn>
                              </p:par>
                              <p:par>
                                <p:cTn id="196" presetID="10" presetClass="entr" presetSubtype="0" fill="hold" nodeType="withEffect">
                                  <p:stCondLst>
                                    <p:cond delay="5250"/>
                                  </p:stCondLst>
                                  <p:childTnLst>
                                    <p:set>
                                      <p:cBhvr>
                                        <p:cTn id="197" dur="1" fill="hold">
                                          <p:stCondLst>
                                            <p:cond delay="0"/>
                                          </p:stCondLst>
                                        </p:cTn>
                                        <p:tgtEl>
                                          <p:spTgt spid="316"/>
                                        </p:tgtEl>
                                        <p:attrNameLst>
                                          <p:attrName>style.visibility</p:attrName>
                                        </p:attrNameLst>
                                      </p:cBhvr>
                                      <p:to>
                                        <p:strVal val="visible"/>
                                      </p:to>
                                    </p:set>
                                    <p:animEffect transition="in" filter="fade">
                                      <p:cBhvr>
                                        <p:cTn id="198" dur="500"/>
                                        <p:tgtEl>
                                          <p:spTgt spid="316"/>
                                        </p:tgtEl>
                                      </p:cBhvr>
                                    </p:animEffect>
                                  </p:childTnLst>
                                </p:cTn>
                              </p:par>
                              <p:par>
                                <p:cTn id="199" presetID="22" presetClass="entr" presetSubtype="4" fill="hold" nodeType="withEffect">
                                  <p:stCondLst>
                                    <p:cond delay="5500"/>
                                  </p:stCondLst>
                                  <p:childTnLst>
                                    <p:set>
                                      <p:cBhvr>
                                        <p:cTn id="200" dur="1" fill="hold">
                                          <p:stCondLst>
                                            <p:cond delay="0"/>
                                          </p:stCondLst>
                                        </p:cTn>
                                        <p:tgtEl>
                                          <p:spTgt spid="291"/>
                                        </p:tgtEl>
                                        <p:attrNameLst>
                                          <p:attrName>style.visibility</p:attrName>
                                        </p:attrNameLst>
                                      </p:cBhvr>
                                      <p:to>
                                        <p:strVal val="visible"/>
                                      </p:to>
                                    </p:set>
                                    <p:animEffect transition="in" filter="wipe(down)">
                                      <p:cBhvr>
                                        <p:cTn id="201" dur="500"/>
                                        <p:tgtEl>
                                          <p:spTgt spid="291"/>
                                        </p:tgtEl>
                                      </p:cBhvr>
                                    </p:animEffect>
                                  </p:childTnLst>
                                </p:cTn>
                              </p:par>
                              <p:par>
                                <p:cTn id="202" presetID="10" presetClass="entr" presetSubtype="0" fill="hold" nodeType="withEffect">
                                  <p:stCondLst>
                                    <p:cond delay="5750"/>
                                  </p:stCondLst>
                                  <p:childTnLst>
                                    <p:set>
                                      <p:cBhvr>
                                        <p:cTn id="203" dur="1" fill="hold">
                                          <p:stCondLst>
                                            <p:cond delay="0"/>
                                          </p:stCondLst>
                                        </p:cTn>
                                        <p:tgtEl>
                                          <p:spTgt spid="322"/>
                                        </p:tgtEl>
                                        <p:attrNameLst>
                                          <p:attrName>style.visibility</p:attrName>
                                        </p:attrNameLst>
                                      </p:cBhvr>
                                      <p:to>
                                        <p:strVal val="visible"/>
                                      </p:to>
                                    </p:set>
                                    <p:animEffect transition="in" filter="fade">
                                      <p:cBhvr>
                                        <p:cTn id="204" dur="500"/>
                                        <p:tgtEl>
                                          <p:spTgt spid="322"/>
                                        </p:tgtEl>
                                      </p:cBhvr>
                                    </p:animEffect>
                                  </p:childTnLst>
                                </p:cTn>
                              </p:par>
                            </p:childTnLst>
                          </p:cTn>
                        </p:par>
                      </p:childTnLst>
                    </p:cTn>
                  </p:par>
                  <p:par>
                    <p:cTn id="205" fill="hold">
                      <p:stCondLst>
                        <p:cond delay="indefinite"/>
                      </p:stCondLst>
                      <p:childTnLst>
                        <p:par>
                          <p:cTn id="206" fill="hold">
                            <p:stCondLst>
                              <p:cond delay="0"/>
                            </p:stCondLst>
                            <p:childTnLst>
                              <p:par>
                                <p:cTn id="207" presetID="22" presetClass="entr" presetSubtype="2" fill="hold" grpId="2" nodeType="clickEffect">
                                  <p:stCondLst>
                                    <p:cond delay="0"/>
                                  </p:stCondLst>
                                  <p:childTnLst>
                                    <p:set>
                                      <p:cBhvr>
                                        <p:cTn id="208" dur="1" fill="hold">
                                          <p:stCondLst>
                                            <p:cond delay="0"/>
                                          </p:stCondLst>
                                        </p:cTn>
                                        <p:tgtEl>
                                          <p:spTgt spid="119"/>
                                        </p:tgtEl>
                                        <p:attrNameLst>
                                          <p:attrName>style.visibility</p:attrName>
                                        </p:attrNameLst>
                                      </p:cBhvr>
                                      <p:to>
                                        <p:strVal val="visible"/>
                                      </p:to>
                                    </p:set>
                                    <p:animEffect transition="in" filter="wipe(right)">
                                      <p:cBhvr>
                                        <p:cTn id="20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53" grpId="0"/>
      <p:bldP spid="273" grpId="0" animBg="1"/>
      <p:bldP spid="274" grpId="0" animBg="1"/>
      <p:bldP spid="275" grpId="0" animBg="1"/>
      <p:bldP spid="276" grpId="0" animBg="1"/>
      <p:bldP spid="277" grpId="0" animBg="1"/>
      <p:bldP spid="278" grpId="0" animBg="1"/>
      <p:bldP spid="279" grpId="0" animBg="1"/>
      <p:bldP spid="280" grpId="0" animBg="1"/>
      <p:bldP spid="281" grpId="0" animBg="1"/>
      <p:bldP spid="325" grpId="0"/>
      <p:bldP spid="326" grpId="0" animBg="1"/>
      <p:bldP spid="326" grpId="1" animBg="1"/>
      <p:bldP spid="327" grpId="0" animBg="1"/>
      <p:bldP spid="327" grpId="1" animBg="1"/>
      <p:bldP spid="328" grpId="0" animBg="1"/>
      <p:bldP spid="328" grpId="1" animBg="1"/>
      <p:bldP spid="329" grpId="0" animBg="1"/>
      <p:bldP spid="329" grpId="1" animBg="1"/>
      <p:bldP spid="340" grpId="0"/>
      <p:bldP spid="330" grpId="0" animBg="1"/>
      <p:bldP spid="331" grpId="0" animBg="1"/>
      <p:bldP spid="332" grpId="0" animBg="1"/>
      <p:bldP spid="333" grpId="0" animBg="1"/>
      <p:bldP spid="334" grpId="0" animBg="1"/>
      <p:bldP spid="335" grpId="0" animBg="1"/>
      <p:bldP spid="336" grpId="0" animBg="1"/>
      <p:bldP spid="337" grpId="0" animBg="1"/>
      <p:bldP spid="338" grpId="0" animBg="1"/>
      <p:bldP spid="119" grpId="0" animBg="1"/>
      <p:bldP spid="119" grpId="1" animBg="1"/>
      <p:bldP spid="119" grpId="2" animBg="1"/>
      <p:bldP spid="111" grpId="0" animBg="1"/>
      <p:bldP spid="112" grpId="0" animBg="1"/>
      <p:bldP spid="113" grpId="0" animBg="1"/>
      <p:bldP spid="114" grpId="0" animBg="1"/>
      <p:bldP spid="115"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 y="487"/>
            <a:ext cx="3599078" cy="685703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20" name="Rectangle 19"/>
          <p:cNvSpPr/>
          <p:nvPr/>
        </p:nvSpPr>
        <p:spPr bwMode="auto">
          <a:xfrm>
            <a:off x="180157" y="487"/>
            <a:ext cx="12011844" cy="99466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spc="-29" dirty="0">
                <a:gradFill>
                  <a:gsLst>
                    <a:gs pos="60177">
                      <a:srgbClr val="0072C6"/>
                    </a:gs>
                    <a:gs pos="36283">
                      <a:srgbClr val="0072C6"/>
                    </a:gs>
                  </a:gsLst>
                  <a:lin ang="5400000" scaled="0"/>
                </a:gradFill>
              </a:rPr>
              <a:t>Experience 2B | Transform the Datacenter  </a:t>
            </a:r>
          </a:p>
          <a:p>
            <a:pPr indent="-169599" defTabSz="897084" fontAlgn="base">
              <a:lnSpc>
                <a:spcPct val="90000"/>
              </a:lnSpc>
              <a:spcBef>
                <a:spcPct val="0"/>
              </a:spcBef>
              <a:spcAft>
                <a:spcPct val="0"/>
              </a:spcAft>
            </a:pPr>
            <a:r>
              <a:rPr lang="en-US" sz="3529" spc="-49" dirty="0">
                <a:gradFill>
                  <a:gsLst>
                    <a:gs pos="93805">
                      <a:srgbClr val="191919"/>
                    </a:gs>
                    <a:gs pos="84071">
                      <a:srgbClr val="191919"/>
                    </a:gs>
                  </a:gsLst>
                  <a:lin ang="5400000" scaled="0"/>
                </a:gradFill>
                <a:latin typeface="Segoe UI Light"/>
              </a:rPr>
              <a:t>Service delivery</a:t>
            </a:r>
          </a:p>
        </p:txBody>
      </p:sp>
      <p:sp>
        <p:nvSpPr>
          <p:cNvPr id="21" name="Rectangle 20"/>
          <p:cNvSpPr/>
          <p:nvPr/>
        </p:nvSpPr>
        <p:spPr bwMode="auto">
          <a:xfrm>
            <a:off x="312163" y="1652661"/>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A. Self-service</a:t>
            </a:r>
          </a:p>
          <a:p>
            <a:pPr defTabSz="877449" fontAlgn="base">
              <a:lnSpc>
                <a:spcPct val="90000"/>
              </a:lnSpc>
              <a:spcBef>
                <a:spcPct val="0"/>
              </a:spcBef>
              <a:spcAft>
                <a:spcPct val="0"/>
              </a:spcAft>
              <a:defRPr/>
            </a:pPr>
            <a:endParaRPr lang="en-US" sz="588"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Centralize your processes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and controls for operational efficiency</a:t>
            </a:r>
          </a:p>
        </p:txBody>
      </p:sp>
      <p:sp>
        <p:nvSpPr>
          <p:cNvPr id="22" name="Rectangle 21"/>
          <p:cNvSpPr/>
          <p:nvPr/>
        </p:nvSpPr>
        <p:spPr bwMode="auto">
          <a:xfrm>
            <a:off x="312163" y="3238643"/>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B. Automation</a:t>
            </a: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Provides a consistent approach to management across clouds with workflow automation</a:t>
            </a:r>
          </a:p>
        </p:txBody>
      </p:sp>
      <p:sp>
        <p:nvSpPr>
          <p:cNvPr id="23" name="TextBox 22"/>
          <p:cNvSpPr txBox="1"/>
          <p:nvPr/>
        </p:nvSpPr>
        <p:spPr>
          <a:xfrm>
            <a:off x="3911241" y="1652661"/>
            <a:ext cx="8263527" cy="2149729"/>
          </a:xfrm>
          <a:prstGeom prst="rect">
            <a:avLst/>
          </a:prstGeom>
          <a:noFill/>
        </p:spPr>
        <p:txBody>
          <a:bodyPr wrap="square" lIns="179253" tIns="143402" rIns="179253" bIns="143402" rtlCol="0">
            <a:spAutoFit/>
          </a:bodyPr>
          <a:lstStyle/>
          <a:p>
            <a:pPr defTabSz="914367">
              <a:lnSpc>
                <a:spcPct val="90000"/>
              </a:lnSpc>
              <a:spcAft>
                <a:spcPts val="588"/>
              </a:spcAft>
            </a:pPr>
            <a:r>
              <a:rPr lang="en-US" sz="3529" dirty="0">
                <a:gradFill>
                  <a:gsLst>
                    <a:gs pos="60177">
                      <a:srgbClr val="0072C6"/>
                    </a:gs>
                    <a:gs pos="36283">
                      <a:srgbClr val="0072C6"/>
                    </a:gs>
                  </a:gsLst>
                </a:gradFill>
                <a:latin typeface="Segoe UI Light"/>
              </a:rPr>
              <a:t>E2B Scenarios: </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Solve problems with automated remediation</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Create and test a new </a:t>
            </a:r>
            <a:r>
              <a:rPr lang="en-US" sz="2745" dirty="0" err="1" smtClean="0">
                <a:gradFill>
                  <a:gsLst>
                    <a:gs pos="2917">
                      <a:srgbClr val="505050"/>
                    </a:gs>
                    <a:gs pos="30000">
                      <a:srgbClr val="505050"/>
                    </a:gs>
                  </a:gsLst>
                  <a:lin ang="5400000" scaled="0"/>
                </a:gradFill>
                <a:latin typeface="Segoe UI Light"/>
              </a:rPr>
              <a:t>Runbook</a:t>
            </a:r>
            <a:endParaRPr lang="en-US" sz="2745" dirty="0" smtClean="0">
              <a:gradFill>
                <a:gsLst>
                  <a:gs pos="2917">
                    <a:srgbClr val="505050"/>
                  </a:gs>
                  <a:gs pos="30000">
                    <a:srgbClr val="505050"/>
                  </a:gs>
                </a:gsLst>
                <a:lin ang="5400000" scaled="0"/>
              </a:gradFill>
              <a:latin typeface="Segoe UI Light"/>
            </a:endParaRP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Service Automation with SMA</a:t>
            </a:r>
            <a:endParaRPr lang="en-US" sz="2745" dirty="0">
              <a:gradFill>
                <a:gsLst>
                  <a:gs pos="2917">
                    <a:srgbClr val="505050"/>
                  </a:gs>
                  <a:gs pos="30000">
                    <a:srgbClr val="505050"/>
                  </a:gs>
                </a:gsLst>
                <a:lin ang="5400000" scaled="0"/>
              </a:gradFill>
              <a:latin typeface="Segoe UI Light"/>
            </a:endParaRPr>
          </a:p>
        </p:txBody>
      </p:sp>
      <p:sp>
        <p:nvSpPr>
          <p:cNvPr id="24" name="TextBox 23"/>
          <p:cNvSpPr txBox="1"/>
          <p:nvPr/>
        </p:nvSpPr>
        <p:spPr>
          <a:xfrm>
            <a:off x="0" y="5151015"/>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76991">
                      <a:srgbClr val="FFFFFF"/>
                    </a:gs>
                    <a:gs pos="60177">
                      <a:srgbClr val="FFFFFF"/>
                    </a:gs>
                  </a:gsLst>
                  <a:lin ang="0" scaled="0"/>
                </a:gradFill>
                <a:latin typeface="Segoe UI Light"/>
              </a:rPr>
              <a:t>30 minutes to complete this story—do not proceed to the next story</a:t>
            </a:r>
          </a:p>
        </p:txBody>
      </p:sp>
      <p:sp>
        <p:nvSpPr>
          <p:cNvPr id="25" name="TextBox 24"/>
          <p:cNvSpPr txBox="1"/>
          <p:nvPr/>
        </p:nvSpPr>
        <p:spPr>
          <a:xfrm>
            <a:off x="0" y="5922550"/>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76991">
                      <a:srgbClr val="FFFFFF"/>
                    </a:gs>
                    <a:gs pos="60177">
                      <a:srgbClr val="FFFFFF"/>
                    </a:gs>
                  </a:gsLst>
                  <a:lin ang="0" scaled="0"/>
                </a:gradFill>
                <a:latin typeface="Segoe UI Light"/>
              </a:rPr>
              <a:t>Q &amp; A @ 30 minutes</a:t>
            </a:r>
          </a:p>
        </p:txBody>
      </p:sp>
      <p:sp>
        <p:nvSpPr>
          <p:cNvPr id="26" name="Rectangle 25"/>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27" name="Rectangle 26"/>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8" name="Rectangle 27"/>
          <p:cNvSpPr/>
          <p:nvPr/>
        </p:nvSpPr>
        <p:spPr bwMode="auto">
          <a:xfrm>
            <a:off x="1" y="3430570"/>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9" name="Rectangle 28"/>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30" name="Rectangle 29"/>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82145325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27"/>
                                        </p:tgtEl>
                                        <p:attrNameLst>
                                          <p:attrName>ppt_x</p:attrName>
                                        </p:attrNameLst>
                                      </p:cBhvr>
                                      <p:tavLst>
                                        <p:tav tm="0">
                                          <p:val>
                                            <p:strVal val="ppt_x"/>
                                          </p:val>
                                        </p:tav>
                                        <p:tav tm="100000">
                                          <p:val>
                                            <p:strVal val="0-ppt_w/2"/>
                                          </p:val>
                                        </p:tav>
                                      </p:tavLst>
                                    </p:anim>
                                    <p:anim calcmode="lin" valueType="num">
                                      <p:cBhvr additive="base">
                                        <p:cTn id="7" dur="200"/>
                                        <p:tgtEl>
                                          <p:spTgt spid="27"/>
                                        </p:tgtEl>
                                        <p:attrNameLst>
                                          <p:attrName>ppt_y</p:attrName>
                                        </p:attrNameLst>
                                      </p:cBhvr>
                                      <p:tavLst>
                                        <p:tav tm="0">
                                          <p:val>
                                            <p:strVal val="ppt_y"/>
                                          </p:val>
                                        </p:tav>
                                        <p:tav tm="100000">
                                          <p:val>
                                            <p:strVal val="ppt_y"/>
                                          </p:val>
                                        </p:tav>
                                      </p:tavLst>
                                    </p:anim>
                                    <p:set>
                                      <p:cBhvr>
                                        <p:cTn id="8" dur="1" fill="hold">
                                          <p:stCondLst>
                                            <p:cond delay="199"/>
                                          </p:stCondLst>
                                        </p:cTn>
                                        <p:tgtEl>
                                          <p:spTgt spid="27"/>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200"/>
                                        <p:tgtEl>
                                          <p:spTgt spid="26"/>
                                        </p:tgtEl>
                                        <p:attrNameLst>
                                          <p:attrName>ppt_x</p:attrName>
                                        </p:attrNameLst>
                                      </p:cBhvr>
                                      <p:tavLst>
                                        <p:tav tm="0">
                                          <p:val>
                                            <p:strVal val="ppt_x"/>
                                          </p:val>
                                        </p:tav>
                                        <p:tav tm="100000">
                                          <p:val>
                                            <p:strVal val="0-ppt_w/2"/>
                                          </p:val>
                                        </p:tav>
                                      </p:tavLst>
                                    </p:anim>
                                    <p:anim calcmode="lin" valueType="num">
                                      <p:cBhvr additive="base">
                                        <p:cTn id="11" dur="200"/>
                                        <p:tgtEl>
                                          <p:spTgt spid="26"/>
                                        </p:tgtEl>
                                        <p:attrNameLst>
                                          <p:attrName>ppt_y</p:attrName>
                                        </p:attrNameLst>
                                      </p:cBhvr>
                                      <p:tavLst>
                                        <p:tav tm="0">
                                          <p:val>
                                            <p:strVal val="ppt_y"/>
                                          </p:val>
                                        </p:tav>
                                        <p:tav tm="100000">
                                          <p:val>
                                            <p:strVal val="ppt_y"/>
                                          </p:val>
                                        </p:tav>
                                      </p:tavLst>
                                    </p:anim>
                                    <p:set>
                                      <p:cBhvr>
                                        <p:cTn id="12" dur="1" fill="hold">
                                          <p:stCondLst>
                                            <p:cond delay="199"/>
                                          </p:stCondLst>
                                        </p:cTn>
                                        <p:tgtEl>
                                          <p:spTgt spid="26"/>
                                        </p:tgtEl>
                                        <p:attrNameLst>
                                          <p:attrName>style.visibility</p:attrName>
                                        </p:attrNameLst>
                                      </p:cBhvr>
                                      <p:to>
                                        <p:strVal val="hidden"/>
                                      </p:to>
                                    </p:set>
                                  </p:childTnLst>
                                </p:cTn>
                              </p:par>
                              <p:par>
                                <p:cTn id="13" presetID="2" presetClass="exit" presetSubtype="8" fill="hold" grpId="0" nodeType="withEffect">
                                  <p:stCondLst>
                                    <p:cond delay="100"/>
                                  </p:stCondLst>
                                  <p:childTnLst>
                                    <p:anim calcmode="lin" valueType="num">
                                      <p:cBhvr additive="base">
                                        <p:cTn id="14" dur="200"/>
                                        <p:tgtEl>
                                          <p:spTgt spid="28"/>
                                        </p:tgtEl>
                                        <p:attrNameLst>
                                          <p:attrName>ppt_x</p:attrName>
                                        </p:attrNameLst>
                                      </p:cBhvr>
                                      <p:tavLst>
                                        <p:tav tm="0">
                                          <p:val>
                                            <p:strVal val="ppt_x"/>
                                          </p:val>
                                        </p:tav>
                                        <p:tav tm="100000">
                                          <p:val>
                                            <p:strVal val="0-ppt_w/2"/>
                                          </p:val>
                                        </p:tav>
                                      </p:tavLst>
                                    </p:anim>
                                    <p:anim calcmode="lin" valueType="num">
                                      <p:cBhvr additive="base">
                                        <p:cTn id="15" dur="200"/>
                                        <p:tgtEl>
                                          <p:spTgt spid="28"/>
                                        </p:tgtEl>
                                        <p:attrNameLst>
                                          <p:attrName>ppt_y</p:attrName>
                                        </p:attrNameLst>
                                      </p:cBhvr>
                                      <p:tavLst>
                                        <p:tav tm="0">
                                          <p:val>
                                            <p:strVal val="ppt_y"/>
                                          </p:val>
                                        </p:tav>
                                        <p:tav tm="100000">
                                          <p:val>
                                            <p:strVal val="ppt_y"/>
                                          </p:val>
                                        </p:tav>
                                      </p:tavLst>
                                    </p:anim>
                                    <p:set>
                                      <p:cBhvr>
                                        <p:cTn id="16" dur="1" fill="hold">
                                          <p:stCondLst>
                                            <p:cond delay="199"/>
                                          </p:stCondLst>
                                        </p:cTn>
                                        <p:tgtEl>
                                          <p:spTgt spid="28"/>
                                        </p:tgtEl>
                                        <p:attrNameLst>
                                          <p:attrName>style.visibility</p:attrName>
                                        </p:attrNameLst>
                                      </p:cBhvr>
                                      <p:to>
                                        <p:strVal val="hidden"/>
                                      </p:to>
                                    </p:set>
                                  </p:childTnLst>
                                </p:cTn>
                              </p:par>
                              <p:par>
                                <p:cTn id="17" presetID="2" presetClass="exit" presetSubtype="8" fill="hold" grpId="0" nodeType="withEffect">
                                  <p:stCondLst>
                                    <p:cond delay="200"/>
                                  </p:stCondLst>
                                  <p:childTnLst>
                                    <p:anim calcmode="lin" valueType="num">
                                      <p:cBhvr additive="base">
                                        <p:cTn id="18" dur="200"/>
                                        <p:tgtEl>
                                          <p:spTgt spid="29"/>
                                        </p:tgtEl>
                                        <p:attrNameLst>
                                          <p:attrName>ppt_x</p:attrName>
                                        </p:attrNameLst>
                                      </p:cBhvr>
                                      <p:tavLst>
                                        <p:tav tm="0">
                                          <p:val>
                                            <p:strVal val="ppt_x"/>
                                          </p:val>
                                        </p:tav>
                                        <p:tav tm="100000">
                                          <p:val>
                                            <p:strVal val="0-ppt_w/2"/>
                                          </p:val>
                                        </p:tav>
                                      </p:tavLst>
                                    </p:anim>
                                    <p:anim calcmode="lin" valueType="num">
                                      <p:cBhvr additive="base">
                                        <p:cTn id="19" dur="200"/>
                                        <p:tgtEl>
                                          <p:spTgt spid="29"/>
                                        </p:tgtEl>
                                        <p:attrNameLst>
                                          <p:attrName>ppt_y</p:attrName>
                                        </p:attrNameLst>
                                      </p:cBhvr>
                                      <p:tavLst>
                                        <p:tav tm="0">
                                          <p:val>
                                            <p:strVal val="ppt_y"/>
                                          </p:val>
                                        </p:tav>
                                        <p:tav tm="100000">
                                          <p:val>
                                            <p:strVal val="ppt_y"/>
                                          </p:val>
                                        </p:tav>
                                      </p:tavLst>
                                    </p:anim>
                                    <p:set>
                                      <p:cBhvr>
                                        <p:cTn id="20" dur="1" fill="hold">
                                          <p:stCondLst>
                                            <p:cond delay="199"/>
                                          </p:stCondLst>
                                        </p:cTn>
                                        <p:tgtEl>
                                          <p:spTgt spid="29"/>
                                        </p:tgtEl>
                                        <p:attrNameLst>
                                          <p:attrName>style.visibility</p:attrName>
                                        </p:attrNameLst>
                                      </p:cBhvr>
                                      <p:to>
                                        <p:strVal val="hidden"/>
                                      </p:to>
                                    </p:set>
                                  </p:childTnLst>
                                </p:cTn>
                              </p:par>
                              <p:par>
                                <p:cTn id="21" presetID="2" presetClass="exit" presetSubtype="8" fill="hold" grpId="0" nodeType="withEffect">
                                  <p:stCondLst>
                                    <p:cond delay="300"/>
                                  </p:stCondLst>
                                  <p:childTnLst>
                                    <p:anim calcmode="lin" valueType="num">
                                      <p:cBhvr additive="base">
                                        <p:cTn id="22" dur="200"/>
                                        <p:tgtEl>
                                          <p:spTgt spid="30"/>
                                        </p:tgtEl>
                                        <p:attrNameLst>
                                          <p:attrName>ppt_x</p:attrName>
                                        </p:attrNameLst>
                                      </p:cBhvr>
                                      <p:tavLst>
                                        <p:tav tm="0">
                                          <p:val>
                                            <p:strVal val="ppt_x"/>
                                          </p:val>
                                        </p:tav>
                                        <p:tav tm="100000">
                                          <p:val>
                                            <p:strVal val="0-ppt_w/2"/>
                                          </p:val>
                                        </p:tav>
                                      </p:tavLst>
                                    </p:anim>
                                    <p:anim calcmode="lin" valueType="num">
                                      <p:cBhvr additive="base">
                                        <p:cTn id="23" dur="200"/>
                                        <p:tgtEl>
                                          <p:spTgt spid="30"/>
                                        </p:tgtEl>
                                        <p:attrNameLst>
                                          <p:attrName>ppt_y</p:attrName>
                                        </p:attrNameLst>
                                      </p:cBhvr>
                                      <p:tavLst>
                                        <p:tav tm="0">
                                          <p:val>
                                            <p:strVal val="ppt_y"/>
                                          </p:val>
                                        </p:tav>
                                        <p:tav tm="100000">
                                          <p:val>
                                            <p:strVal val="ppt_y"/>
                                          </p:val>
                                        </p:tav>
                                      </p:tavLst>
                                    </p:anim>
                                    <p:set>
                                      <p:cBhvr>
                                        <p:cTn id="24" dur="1" fill="hold">
                                          <p:stCondLst>
                                            <p:cond delay="199"/>
                                          </p:stCondLst>
                                        </p:cTn>
                                        <p:tgtEl>
                                          <p:spTgt spid="30"/>
                                        </p:tgtEl>
                                        <p:attrNameLst>
                                          <p:attrName>style.visibility</p:attrName>
                                        </p:attrNameLst>
                                      </p:cBhvr>
                                      <p:to>
                                        <p:strVal val="hidden"/>
                                      </p:to>
                                    </p:set>
                                  </p:childTnLst>
                                </p:cTn>
                              </p:par>
                              <p:par>
                                <p:cTn id="25" presetID="2" presetClass="entr" presetSubtype="8" decel="100000" fill="hold" grpId="0" nodeType="withEffect">
                                  <p:stCondLst>
                                    <p:cond delay="60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800" fill="hold"/>
                                        <p:tgtEl>
                                          <p:spTgt spid="14"/>
                                        </p:tgtEl>
                                        <p:attrNameLst>
                                          <p:attrName>ppt_x</p:attrName>
                                        </p:attrNameLst>
                                      </p:cBhvr>
                                      <p:tavLst>
                                        <p:tav tm="0">
                                          <p:val>
                                            <p:strVal val="0-#ppt_w/2"/>
                                          </p:val>
                                        </p:tav>
                                        <p:tav tm="100000">
                                          <p:val>
                                            <p:strVal val="#ppt_x"/>
                                          </p:val>
                                        </p:tav>
                                      </p:tavLst>
                                    </p:anim>
                                    <p:anim calcmode="lin" valueType="num">
                                      <p:cBhvr additive="base">
                                        <p:cTn id="28" dur="800" fill="hold"/>
                                        <p:tgtEl>
                                          <p:spTgt spid="14"/>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60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800" fill="hold"/>
                                        <p:tgtEl>
                                          <p:spTgt spid="20"/>
                                        </p:tgtEl>
                                        <p:attrNameLst>
                                          <p:attrName>ppt_x</p:attrName>
                                        </p:attrNameLst>
                                      </p:cBhvr>
                                      <p:tavLst>
                                        <p:tav tm="0">
                                          <p:val>
                                            <p:strVal val="0-#ppt_w/2"/>
                                          </p:val>
                                        </p:tav>
                                        <p:tav tm="100000">
                                          <p:val>
                                            <p:strVal val="#ppt_x"/>
                                          </p:val>
                                        </p:tav>
                                      </p:tavLst>
                                    </p:anim>
                                    <p:anim calcmode="lin" valueType="num">
                                      <p:cBhvr additive="base">
                                        <p:cTn id="32" dur="800" fill="hold"/>
                                        <p:tgtEl>
                                          <p:spTgt spid="20"/>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75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600" fill="hold"/>
                                        <p:tgtEl>
                                          <p:spTgt spid="21"/>
                                        </p:tgtEl>
                                        <p:attrNameLst>
                                          <p:attrName>ppt_x</p:attrName>
                                        </p:attrNameLst>
                                      </p:cBhvr>
                                      <p:tavLst>
                                        <p:tav tm="0">
                                          <p:val>
                                            <p:strVal val="1+#ppt_w/2"/>
                                          </p:val>
                                        </p:tav>
                                        <p:tav tm="100000">
                                          <p:val>
                                            <p:strVal val="#ppt_x"/>
                                          </p:val>
                                        </p:tav>
                                      </p:tavLst>
                                    </p:anim>
                                    <p:anim calcmode="lin" valueType="num">
                                      <p:cBhvr additive="base">
                                        <p:cTn id="36" dur="600" fill="hold"/>
                                        <p:tgtEl>
                                          <p:spTgt spid="21"/>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1850"/>
                                  </p:stCondLst>
                                  <p:childTnLst>
                                    <p:set>
                                      <p:cBhvr>
                                        <p:cTn id="38" dur="1" fill="hold">
                                          <p:stCondLst>
                                            <p:cond delay="0"/>
                                          </p:stCondLst>
                                        </p:cTn>
                                        <p:tgtEl>
                                          <p:spTgt spid="22"/>
                                        </p:tgtEl>
                                        <p:attrNameLst>
                                          <p:attrName>style.visibility</p:attrName>
                                        </p:attrNameLst>
                                      </p:cBhvr>
                                      <p:to>
                                        <p:strVal val="visible"/>
                                      </p:to>
                                    </p:set>
                                    <p:anim calcmode="lin" valueType="num">
                                      <p:cBhvr additive="base">
                                        <p:cTn id="39" dur="600" fill="hold"/>
                                        <p:tgtEl>
                                          <p:spTgt spid="22"/>
                                        </p:tgtEl>
                                        <p:attrNameLst>
                                          <p:attrName>ppt_x</p:attrName>
                                        </p:attrNameLst>
                                      </p:cBhvr>
                                      <p:tavLst>
                                        <p:tav tm="0">
                                          <p:val>
                                            <p:strVal val="1+#ppt_w/2"/>
                                          </p:val>
                                        </p:tav>
                                        <p:tav tm="100000">
                                          <p:val>
                                            <p:strVal val="#ppt_x"/>
                                          </p:val>
                                        </p:tav>
                                      </p:tavLst>
                                    </p:anim>
                                    <p:anim calcmode="lin" valueType="num">
                                      <p:cBhvr additive="base">
                                        <p:cTn id="40" dur="600" fill="hold"/>
                                        <p:tgtEl>
                                          <p:spTgt spid="22"/>
                                        </p:tgtEl>
                                        <p:attrNameLst>
                                          <p:attrName>ppt_y</p:attrName>
                                        </p:attrNameLst>
                                      </p:cBhvr>
                                      <p:tavLst>
                                        <p:tav tm="0">
                                          <p:val>
                                            <p:strVal val="#ppt_y"/>
                                          </p:val>
                                        </p:tav>
                                        <p:tav tm="100000">
                                          <p:val>
                                            <p:strVal val="#ppt_y"/>
                                          </p:val>
                                        </p:tav>
                                      </p:tavLst>
                                    </p:anim>
                                  </p:childTnLst>
                                </p:cTn>
                              </p:par>
                            </p:childTnLst>
                          </p:cTn>
                        </p:par>
                        <p:par>
                          <p:cTn id="41" fill="hold">
                            <p:stCondLst>
                              <p:cond delay="2450"/>
                            </p:stCondLst>
                            <p:childTnLst>
                              <p:par>
                                <p:cTn id="42" presetID="1" presetClass="emph" presetSubtype="2" fill="hold" nodeType="afterEffect">
                                  <p:stCondLst>
                                    <p:cond delay="0"/>
                                  </p:stCondLst>
                                  <p:childTnLst>
                                    <p:animClr clrSpc="rgb" dir="cw">
                                      <p:cBhvr>
                                        <p:cTn id="43" dur="1000" fill="hold"/>
                                        <p:tgtEl>
                                          <p:spTgt spid="22"/>
                                        </p:tgtEl>
                                        <p:attrNameLst>
                                          <p:attrName>fillcolor</p:attrName>
                                        </p:attrNameLst>
                                      </p:cBhvr>
                                      <p:to>
                                        <a:srgbClr val="0072C6"/>
                                      </p:to>
                                    </p:animClr>
                                    <p:set>
                                      <p:cBhvr>
                                        <p:cTn id="44" dur="1000" fill="hold"/>
                                        <p:tgtEl>
                                          <p:spTgt spid="22"/>
                                        </p:tgtEl>
                                        <p:attrNameLst>
                                          <p:attrName>fill.type</p:attrName>
                                        </p:attrNameLst>
                                      </p:cBhvr>
                                      <p:to>
                                        <p:strVal val="solid"/>
                                      </p:to>
                                    </p:set>
                                    <p:set>
                                      <p:cBhvr>
                                        <p:cTn id="45" dur="1000" fill="hold"/>
                                        <p:tgtEl>
                                          <p:spTgt spid="22"/>
                                        </p:tgtEl>
                                        <p:attrNameLst>
                                          <p:attrName>fill.on</p:attrName>
                                        </p:attrNameLst>
                                      </p:cBhvr>
                                      <p:to>
                                        <p:strVal val="true"/>
                                      </p:to>
                                    </p:set>
                                  </p:childTnLst>
                                </p:cTn>
                              </p:par>
                              <p:par>
                                <p:cTn id="46" presetID="3" presetClass="emph" presetSubtype="2" fill="hold" grpId="1" nodeType="withEffect">
                                  <p:stCondLst>
                                    <p:cond delay="0"/>
                                  </p:stCondLst>
                                  <p:childTnLst>
                                    <p:animClr clrSpc="rgb" dir="cw">
                                      <p:cBhvr override="childStyle">
                                        <p:cTn id="47" dur="500" fill="hold"/>
                                        <p:tgtEl>
                                          <p:spTgt spid="22"/>
                                        </p:tgtEl>
                                        <p:attrNameLst>
                                          <p:attrName>style.color</p:attrName>
                                        </p:attrNameLst>
                                      </p:cBhvr>
                                      <p:to>
                                        <a:srgbClr val="FFFFFF"/>
                                      </p:to>
                                    </p:animClr>
                                  </p:childTnLst>
                                </p:cTn>
                              </p:par>
                            </p:childTnLst>
                          </p:cTn>
                        </p:par>
                        <p:par>
                          <p:cTn id="48" fill="hold">
                            <p:stCondLst>
                              <p:cond delay="3450"/>
                            </p:stCondLst>
                            <p:childTnLst>
                              <p:par>
                                <p:cTn id="49" presetID="10" presetClass="entr" presetSubtype="0" fill="hold" grpId="0" nodeType="afterEffect">
                                  <p:stCondLst>
                                    <p:cond delay="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500"/>
                                        <p:tgtEl>
                                          <p:spTgt spid="23"/>
                                        </p:tgtEl>
                                      </p:cBhvr>
                                    </p:animEffect>
                                  </p:childTnLst>
                                </p:cTn>
                              </p:par>
                            </p:childTnLst>
                          </p:cTn>
                        </p:par>
                        <p:par>
                          <p:cTn id="52" fill="hold">
                            <p:stCondLst>
                              <p:cond delay="3950"/>
                            </p:stCondLst>
                            <p:childTnLst>
                              <p:par>
                                <p:cTn id="53" presetID="2" presetClass="entr" presetSubtype="8" decel="100000" fill="hold" grpId="0" nodeType="afterEffect">
                                  <p:stCondLst>
                                    <p:cond delay="0"/>
                                  </p:stCondLst>
                                  <p:childTnLst>
                                    <p:set>
                                      <p:cBhvr>
                                        <p:cTn id="54" dur="1" fill="hold">
                                          <p:stCondLst>
                                            <p:cond delay="0"/>
                                          </p:stCondLst>
                                        </p:cTn>
                                        <p:tgtEl>
                                          <p:spTgt spid="24"/>
                                        </p:tgtEl>
                                        <p:attrNameLst>
                                          <p:attrName>style.visibility</p:attrName>
                                        </p:attrNameLst>
                                      </p:cBhvr>
                                      <p:to>
                                        <p:strVal val="visible"/>
                                      </p:to>
                                    </p:set>
                                    <p:anim calcmode="lin" valueType="num">
                                      <p:cBhvr additive="base">
                                        <p:cTn id="55" dur="700" fill="hold"/>
                                        <p:tgtEl>
                                          <p:spTgt spid="24"/>
                                        </p:tgtEl>
                                        <p:attrNameLst>
                                          <p:attrName>ppt_x</p:attrName>
                                        </p:attrNameLst>
                                      </p:cBhvr>
                                      <p:tavLst>
                                        <p:tav tm="0">
                                          <p:val>
                                            <p:strVal val="0-#ppt_w/2"/>
                                          </p:val>
                                        </p:tav>
                                        <p:tav tm="100000">
                                          <p:val>
                                            <p:strVal val="#ppt_x"/>
                                          </p:val>
                                        </p:tav>
                                      </p:tavLst>
                                    </p:anim>
                                    <p:anim calcmode="lin" valueType="num">
                                      <p:cBhvr additive="base">
                                        <p:cTn id="56" dur="700" fill="hold"/>
                                        <p:tgtEl>
                                          <p:spTgt spid="24"/>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100"/>
                                  </p:stCondLst>
                                  <p:childTnLst>
                                    <p:set>
                                      <p:cBhvr>
                                        <p:cTn id="58" dur="1" fill="hold">
                                          <p:stCondLst>
                                            <p:cond delay="0"/>
                                          </p:stCondLst>
                                        </p:cTn>
                                        <p:tgtEl>
                                          <p:spTgt spid="25"/>
                                        </p:tgtEl>
                                        <p:attrNameLst>
                                          <p:attrName>style.visibility</p:attrName>
                                        </p:attrNameLst>
                                      </p:cBhvr>
                                      <p:to>
                                        <p:strVal val="visible"/>
                                      </p:to>
                                    </p:set>
                                    <p:anim calcmode="lin" valueType="num">
                                      <p:cBhvr additive="base">
                                        <p:cTn id="59" dur="700" fill="hold"/>
                                        <p:tgtEl>
                                          <p:spTgt spid="25"/>
                                        </p:tgtEl>
                                        <p:attrNameLst>
                                          <p:attrName>ppt_x</p:attrName>
                                        </p:attrNameLst>
                                      </p:cBhvr>
                                      <p:tavLst>
                                        <p:tav tm="0">
                                          <p:val>
                                            <p:strVal val="0-#ppt_w/2"/>
                                          </p:val>
                                        </p:tav>
                                        <p:tav tm="100000">
                                          <p:val>
                                            <p:strVal val="#ppt_x"/>
                                          </p:val>
                                        </p:tav>
                                      </p:tavLst>
                                    </p:anim>
                                    <p:anim calcmode="lin" valueType="num">
                                      <p:cBhvr additive="base">
                                        <p:cTn id="60" dur="7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0" grpId="0" animBg="1"/>
      <p:bldP spid="21" grpId="0" animBg="1"/>
      <p:bldP spid="22" grpId="0" animBg="1"/>
      <p:bldP spid="22" grpId="1" animBg="1"/>
      <p:bldP spid="23" grpId="0"/>
      <p:bldP spid="24" grpId="0" animBg="1"/>
      <p:bldP spid="25" grpId="0" animBg="1"/>
      <p:bldP spid="26" grpId="0" animBg="1"/>
      <p:bldP spid="27" grpId="0" animBg="1"/>
      <p:bldP spid="28" grpId="0" animBg="1"/>
      <p:bldP spid="29" grpId="0" animBg="1"/>
      <p:bldP spid="30"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9005" y="1339980"/>
            <a:ext cx="5657212" cy="2596077"/>
          </a:xfrm>
          <a:prstGeom prst="rect">
            <a:avLst/>
          </a:prstGeom>
        </p:spPr>
      </p:pic>
      <p:sp useBgFill="1">
        <p:nvSpPr>
          <p:cNvPr id="12" name="Rectangle 11"/>
          <p:cNvSpPr/>
          <p:nvPr/>
        </p:nvSpPr>
        <p:spPr bwMode="auto">
          <a:xfrm>
            <a:off x="-673100" y="1054457"/>
            <a:ext cx="6434138" cy="318734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itle 1"/>
          <p:cNvSpPr txBox="1">
            <a:spLocks/>
          </p:cNvSpPr>
          <p:nvPr/>
        </p:nvSpPr>
        <p:spPr>
          <a:xfrm>
            <a:off x="980494" y="1078818"/>
            <a:ext cx="5733225" cy="3135918"/>
          </a:xfrm>
          <a:prstGeom prst="rect">
            <a:avLst/>
          </a:prstGeom>
        </p:spPr>
        <p:txBody>
          <a:bodyPr vert="horz" wrap="square" lIns="143402" tIns="89627" rIns="143402" bIns="89627" rtlCol="0" anchor="ctr" anchorCtr="0">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882" dirty="0" smtClean="0">
                <a:gradFill>
                  <a:gsLst>
                    <a:gs pos="44248">
                      <a:srgbClr val="282828">
                        <a:lumMod val="90000"/>
                        <a:lumOff val="10000"/>
                      </a:srgbClr>
                    </a:gs>
                    <a:gs pos="74000">
                      <a:srgbClr val="282828">
                        <a:lumMod val="90000"/>
                        <a:lumOff val="10000"/>
                      </a:srgbClr>
                    </a:gs>
                  </a:gsLst>
                  <a:lin ang="5400000" scaled="0"/>
                </a:gradFill>
              </a:rPr>
              <a:t>IT </a:t>
            </a:r>
            <a:r>
              <a:rPr sz="5882" dirty="0">
                <a:gradFill>
                  <a:gsLst>
                    <a:gs pos="44248">
                      <a:srgbClr val="282828">
                        <a:lumMod val="90000"/>
                        <a:lumOff val="10000"/>
                      </a:srgbClr>
                    </a:gs>
                    <a:gs pos="74000">
                      <a:srgbClr val="282828">
                        <a:lumMod val="90000"/>
                        <a:lumOff val="10000"/>
                      </a:srgbClr>
                    </a:gs>
                  </a:gsLst>
                  <a:lin ang="5400000" scaled="0"/>
                </a:gradFill>
              </a:rPr>
              <a:t>Management</a:t>
            </a:r>
          </a:p>
        </p:txBody>
      </p:sp>
      <p:sp>
        <p:nvSpPr>
          <p:cNvPr id="62" name="Rectangle 61"/>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63" name="Rectangle 62"/>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4" name="Rectangle 63"/>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5" name="Rectangle 64"/>
          <p:cNvSpPr/>
          <p:nvPr/>
        </p:nvSpPr>
        <p:spPr bwMode="auto">
          <a:xfrm>
            <a:off x="1" y="1863852"/>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48673">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Management </a:t>
            </a:r>
            <a:endParaRPr lang="en-US" sz="1568" spc="-20" dirty="0">
              <a:gradFill>
                <a:gsLst>
                  <a:gs pos="48673">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6" name="Rectangle 65"/>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3180684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100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200" fill="hold"/>
                                        <p:tgtEl>
                                          <p:spTgt spid="63"/>
                                        </p:tgtEl>
                                        <p:attrNameLst>
                                          <p:attrName>ppt_x</p:attrName>
                                        </p:attrNameLst>
                                      </p:cBhvr>
                                      <p:tavLst>
                                        <p:tav tm="0">
                                          <p:val>
                                            <p:strVal val="0-#ppt_w/2"/>
                                          </p:val>
                                        </p:tav>
                                        <p:tav tm="100000">
                                          <p:val>
                                            <p:strVal val="#ppt_x"/>
                                          </p:val>
                                        </p:tav>
                                      </p:tavLst>
                                    </p:anim>
                                    <p:anim calcmode="lin" valueType="num">
                                      <p:cBhvr additive="base">
                                        <p:cTn id="8" dur="200" fill="hold"/>
                                        <p:tgtEl>
                                          <p:spTgt spid="6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62"/>
                                        </p:tgtEl>
                                        <p:attrNameLst>
                                          <p:attrName>style.visibility</p:attrName>
                                        </p:attrNameLst>
                                      </p:cBhvr>
                                      <p:to>
                                        <p:strVal val="visible"/>
                                      </p:to>
                                    </p:set>
                                    <p:anim calcmode="lin" valueType="num">
                                      <p:cBhvr additive="base">
                                        <p:cTn id="11" dur="200" fill="hold"/>
                                        <p:tgtEl>
                                          <p:spTgt spid="62"/>
                                        </p:tgtEl>
                                        <p:attrNameLst>
                                          <p:attrName>ppt_x</p:attrName>
                                        </p:attrNameLst>
                                      </p:cBhvr>
                                      <p:tavLst>
                                        <p:tav tm="0">
                                          <p:val>
                                            <p:strVal val="0-#ppt_w/2"/>
                                          </p:val>
                                        </p:tav>
                                        <p:tav tm="100000">
                                          <p:val>
                                            <p:strVal val="#ppt_x"/>
                                          </p:val>
                                        </p:tav>
                                      </p:tavLst>
                                    </p:anim>
                                    <p:anim calcmode="lin" valueType="num">
                                      <p:cBhvr additive="base">
                                        <p:cTn id="12" dur="200" fill="hold"/>
                                        <p:tgtEl>
                                          <p:spTgt spid="6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10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200" fill="hold"/>
                                        <p:tgtEl>
                                          <p:spTgt spid="64"/>
                                        </p:tgtEl>
                                        <p:attrNameLst>
                                          <p:attrName>ppt_x</p:attrName>
                                        </p:attrNameLst>
                                      </p:cBhvr>
                                      <p:tavLst>
                                        <p:tav tm="0">
                                          <p:val>
                                            <p:strVal val="0-#ppt_w/2"/>
                                          </p:val>
                                        </p:tav>
                                        <p:tav tm="100000">
                                          <p:val>
                                            <p:strVal val="#ppt_x"/>
                                          </p:val>
                                        </p:tav>
                                      </p:tavLst>
                                    </p:anim>
                                    <p:anim calcmode="lin" valueType="num">
                                      <p:cBhvr additive="base">
                                        <p:cTn id="16" dur="200" fill="hold"/>
                                        <p:tgtEl>
                                          <p:spTgt spid="64"/>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00"/>
                                  </p:stCondLst>
                                  <p:childTnLst>
                                    <p:set>
                                      <p:cBhvr>
                                        <p:cTn id="18" dur="1" fill="hold">
                                          <p:stCondLst>
                                            <p:cond delay="0"/>
                                          </p:stCondLst>
                                        </p:cTn>
                                        <p:tgtEl>
                                          <p:spTgt spid="65"/>
                                        </p:tgtEl>
                                        <p:attrNameLst>
                                          <p:attrName>style.visibility</p:attrName>
                                        </p:attrNameLst>
                                      </p:cBhvr>
                                      <p:to>
                                        <p:strVal val="visible"/>
                                      </p:to>
                                    </p:set>
                                    <p:anim calcmode="lin" valueType="num">
                                      <p:cBhvr additive="base">
                                        <p:cTn id="19" dur="200" fill="hold"/>
                                        <p:tgtEl>
                                          <p:spTgt spid="65"/>
                                        </p:tgtEl>
                                        <p:attrNameLst>
                                          <p:attrName>ppt_x</p:attrName>
                                        </p:attrNameLst>
                                      </p:cBhvr>
                                      <p:tavLst>
                                        <p:tav tm="0">
                                          <p:val>
                                            <p:strVal val="0-#ppt_w/2"/>
                                          </p:val>
                                        </p:tav>
                                        <p:tav tm="100000">
                                          <p:val>
                                            <p:strVal val="#ppt_x"/>
                                          </p:val>
                                        </p:tav>
                                      </p:tavLst>
                                    </p:anim>
                                    <p:anim calcmode="lin" valueType="num">
                                      <p:cBhvr additive="base">
                                        <p:cTn id="20" dur="200" fill="hold"/>
                                        <p:tgtEl>
                                          <p:spTgt spid="65"/>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200" fill="hold"/>
                                        <p:tgtEl>
                                          <p:spTgt spid="66"/>
                                        </p:tgtEl>
                                        <p:attrNameLst>
                                          <p:attrName>ppt_x</p:attrName>
                                        </p:attrNameLst>
                                      </p:cBhvr>
                                      <p:tavLst>
                                        <p:tav tm="0">
                                          <p:val>
                                            <p:strVal val="0-#ppt_w/2"/>
                                          </p:val>
                                        </p:tav>
                                        <p:tav tm="100000">
                                          <p:val>
                                            <p:strVal val="#ppt_x"/>
                                          </p:val>
                                        </p:tav>
                                      </p:tavLst>
                                    </p:anim>
                                    <p:anim calcmode="lin" valueType="num">
                                      <p:cBhvr additive="base">
                                        <p:cTn id="24" dur="200" fill="hold"/>
                                        <p:tgtEl>
                                          <p:spTgt spid="66"/>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750"/>
                                  </p:stCondLst>
                                  <p:childTnLst>
                                    <p:set>
                                      <p:cBhvr>
                                        <p:cTn id="26" dur="1" fill="hold">
                                          <p:stCondLst>
                                            <p:cond delay="0"/>
                                          </p:stCondLst>
                                        </p:cTn>
                                        <p:tgtEl>
                                          <p:spTgt spid="68"/>
                                        </p:tgtEl>
                                        <p:attrNameLst>
                                          <p:attrName>style.visibility</p:attrName>
                                        </p:attrNameLst>
                                      </p:cBhvr>
                                      <p:to>
                                        <p:strVal val="visible"/>
                                      </p:to>
                                    </p:set>
                                    <p:anim calcmode="lin" valueType="num">
                                      <p:cBhvr additive="base">
                                        <p:cTn id="27" dur="750" fill="hold"/>
                                        <p:tgtEl>
                                          <p:spTgt spid="68"/>
                                        </p:tgtEl>
                                        <p:attrNameLst>
                                          <p:attrName>ppt_x</p:attrName>
                                        </p:attrNameLst>
                                      </p:cBhvr>
                                      <p:tavLst>
                                        <p:tav tm="0">
                                          <p:val>
                                            <p:strVal val="0-#ppt_w/2"/>
                                          </p:val>
                                        </p:tav>
                                        <p:tav tm="100000">
                                          <p:val>
                                            <p:strVal val="#ppt_x"/>
                                          </p:val>
                                        </p:tav>
                                      </p:tavLst>
                                    </p:anim>
                                    <p:anim calcmode="lin" valueType="num">
                                      <p:cBhvr additive="base">
                                        <p:cTn id="28" dur="750" fill="hold"/>
                                        <p:tgtEl>
                                          <p:spTgt spid="68"/>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750" fill="hold"/>
                                        <p:tgtEl>
                                          <p:spTgt spid="11"/>
                                        </p:tgtEl>
                                        <p:attrNameLst>
                                          <p:attrName>ppt_x</p:attrName>
                                        </p:attrNameLst>
                                      </p:cBhvr>
                                      <p:tavLst>
                                        <p:tav tm="0">
                                          <p:val>
                                            <p:strVal val="0-#ppt_w/2"/>
                                          </p:val>
                                        </p:tav>
                                        <p:tav tm="100000">
                                          <p:val>
                                            <p:strVal val="#ppt_x"/>
                                          </p:val>
                                        </p:tav>
                                      </p:tavLst>
                                    </p:anim>
                                    <p:anim calcmode="lin" valueType="num">
                                      <p:cBhvr additive="base">
                                        <p:cTn id="32" dur="75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2" grpId="0" animBg="1"/>
      <p:bldP spid="63" grpId="0" animBg="1"/>
      <p:bldP spid="64" grpId="0" animBg="1"/>
      <p:bldP spid="65" grpId="0" animBg="1"/>
      <p:bldP spid="66"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Title 1"/>
          <p:cNvSpPr>
            <a:spLocks noGrp="1"/>
          </p:cNvSpPr>
          <p:nvPr>
            <p:ph type="title"/>
          </p:nvPr>
        </p:nvSpPr>
        <p:spPr>
          <a:xfrm>
            <a:off x="268928" y="4131"/>
            <a:ext cx="11653525" cy="532025"/>
          </a:xfrm>
        </p:spPr>
        <p:txBody>
          <a:bodyPr/>
          <a:lstStyle/>
          <a:p>
            <a:r>
              <a:rPr lang="en-US" sz="3137"/>
              <a:t>Microsoft Cloud Platform strategy overview</a:t>
            </a:r>
            <a:endParaRPr lang="en-US" sz="3137" dirty="0"/>
          </a:p>
        </p:txBody>
      </p:sp>
      <p:sp>
        <p:nvSpPr>
          <p:cNvPr id="55" name="Rectangle 54"/>
          <p:cNvSpPr/>
          <p:nvPr/>
        </p:nvSpPr>
        <p:spPr bwMode="auto">
          <a:xfrm>
            <a:off x="9235043" y="1008965"/>
            <a:ext cx="2609904" cy="5714708"/>
          </a:xfrm>
          <a:prstGeom prst="rect">
            <a:avLst/>
          </a:prstGeom>
          <a:solidFill>
            <a:srgbClr val="EFEFEF">
              <a:lumMod val="85000"/>
            </a:srgbClr>
          </a:solidFill>
          <a:ln w="10795" cap="flat" cmpd="sng" algn="ctr">
            <a:noFill/>
            <a:prstDash val="solid"/>
            <a:headEnd type="none" w="med" len="med"/>
            <a:tailEnd type="none" w="med" len="med"/>
          </a:ln>
          <a:effectLst/>
        </p:spPr>
        <p:txBody>
          <a:bodyPr lIns="0" tIns="45720" rIns="0" bIns="45720" anchor="ctr"/>
          <a:lstStyle/>
          <a:p>
            <a:pPr algn="ctr" defTabSz="914258" fontAlgn="base">
              <a:spcBef>
                <a:spcPct val="0"/>
              </a:spcBef>
              <a:spcAft>
                <a:spcPct val="0"/>
              </a:spcAft>
              <a:defRPr/>
            </a:pPr>
            <a:endParaRPr lang="en-US" sz="500" kern="0" dirty="0">
              <a:gradFill>
                <a:gsLst>
                  <a:gs pos="0">
                    <a:srgbClr val="FFFFFF"/>
                  </a:gs>
                  <a:gs pos="100000">
                    <a:srgbClr val="FFFFFF"/>
                  </a:gs>
                </a:gsLst>
                <a:lin ang="5400000" scaled="0"/>
              </a:gradFill>
              <a:ea typeface="ＭＳ Ｐゴシック" charset="0"/>
            </a:endParaRPr>
          </a:p>
        </p:txBody>
      </p:sp>
      <p:sp>
        <p:nvSpPr>
          <p:cNvPr id="56" name="TextBox 55"/>
          <p:cNvSpPr txBox="1"/>
          <p:nvPr/>
        </p:nvSpPr>
        <p:spPr>
          <a:xfrm>
            <a:off x="9009381" y="677481"/>
            <a:ext cx="3061228" cy="211649"/>
          </a:xfrm>
          <a:prstGeom prst="rect">
            <a:avLst/>
          </a:prstGeom>
          <a:noFill/>
        </p:spPr>
        <p:txBody>
          <a:bodyPr lIns="0" tIns="0" rIns="0" bIns="0">
            <a:spAutoFit/>
          </a:bodyPr>
          <a:lstStyle/>
          <a:p>
            <a:pPr algn="ctr" defTabSz="1218957">
              <a:defRPr/>
            </a:pPr>
            <a:r>
              <a:rPr lang="en-US" sz="1375" kern="0" dirty="0">
                <a:solidFill>
                  <a:srgbClr val="FFFFFF"/>
                </a:solidFill>
                <a:latin typeface="Segoe UI Light" pitchFamily="34" charset="0"/>
                <a:ea typeface="ＭＳ Ｐゴシック" charset="0"/>
              </a:rPr>
              <a:t>Close with CTA</a:t>
            </a:r>
          </a:p>
        </p:txBody>
      </p:sp>
      <p:sp>
        <p:nvSpPr>
          <p:cNvPr id="57" name="TextBox 56"/>
          <p:cNvSpPr txBox="1"/>
          <p:nvPr/>
        </p:nvSpPr>
        <p:spPr>
          <a:xfrm>
            <a:off x="9351189" y="1115538"/>
            <a:ext cx="2493758" cy="244398"/>
          </a:xfrm>
          <a:prstGeom prst="rect">
            <a:avLst/>
          </a:prstGeom>
          <a:noFill/>
        </p:spPr>
        <p:txBody>
          <a:bodyPr wrap="square"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765" kern="0" spc="0" dirty="0">
                <a:gradFill>
                  <a:gsLst>
                    <a:gs pos="0">
                      <a:srgbClr val="505050"/>
                    </a:gs>
                    <a:gs pos="86000">
                      <a:srgbClr val="505050"/>
                    </a:gs>
                  </a:gsLst>
                  <a:lin ang="5400000" scaled="0"/>
                </a:gradFill>
                <a:ea typeface="ＭＳ Ｐゴシック" charset="0"/>
              </a:rPr>
              <a:t>Cloud Platform next steps</a:t>
            </a:r>
            <a:endParaRPr lang="en-US" sz="1765" b="1" kern="0" spc="0" dirty="0">
              <a:gradFill>
                <a:gsLst>
                  <a:gs pos="0">
                    <a:srgbClr val="00188F"/>
                  </a:gs>
                  <a:gs pos="86000">
                    <a:srgbClr val="00188F"/>
                  </a:gs>
                </a:gsLst>
                <a:lin ang="5400000" scaled="0"/>
              </a:gradFill>
              <a:ea typeface="ＭＳ Ｐゴシック" charset="0"/>
            </a:endParaRPr>
          </a:p>
        </p:txBody>
      </p:sp>
      <p:sp>
        <p:nvSpPr>
          <p:cNvPr id="63" name="TextBox 62"/>
          <p:cNvSpPr txBox="1"/>
          <p:nvPr/>
        </p:nvSpPr>
        <p:spPr>
          <a:xfrm>
            <a:off x="9351189" y="2961005"/>
            <a:ext cx="2359230" cy="48879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765" kern="0" spc="0" dirty="0">
                <a:gradFill>
                  <a:gsLst>
                    <a:gs pos="0">
                      <a:srgbClr val="505050"/>
                    </a:gs>
                    <a:gs pos="86000">
                      <a:srgbClr val="505050"/>
                    </a:gs>
                  </a:gsLst>
                  <a:lin ang="5400000" scaled="0"/>
                </a:gradFill>
                <a:ea typeface="ＭＳ Ｐゴシック" charset="0"/>
              </a:rPr>
              <a:t>Optional single slides </a:t>
            </a:r>
            <a:br>
              <a:rPr lang="en-US" sz="1765" kern="0" spc="0" dirty="0">
                <a:gradFill>
                  <a:gsLst>
                    <a:gs pos="0">
                      <a:srgbClr val="505050"/>
                    </a:gs>
                    <a:gs pos="86000">
                      <a:srgbClr val="505050"/>
                    </a:gs>
                  </a:gsLst>
                  <a:lin ang="5400000" scaled="0"/>
                </a:gradFill>
                <a:ea typeface="ＭＳ Ｐゴシック" charset="0"/>
              </a:rPr>
            </a:br>
            <a:r>
              <a:rPr lang="en-US" sz="1765" kern="0" spc="0" dirty="0">
                <a:gradFill>
                  <a:gsLst>
                    <a:gs pos="0">
                      <a:srgbClr val="505050"/>
                    </a:gs>
                    <a:gs pos="86000">
                      <a:srgbClr val="505050"/>
                    </a:gs>
                  </a:gsLst>
                  <a:lin ang="5400000" scaled="0"/>
                </a:gradFill>
                <a:ea typeface="ＭＳ Ｐゴシック" charset="0"/>
              </a:rPr>
              <a:t>provide depth</a:t>
            </a:r>
            <a:endParaRPr lang="en-US" sz="1765" kern="0" spc="0" dirty="0">
              <a:gradFill>
                <a:gsLst>
                  <a:gs pos="0">
                    <a:srgbClr val="00188F"/>
                  </a:gs>
                  <a:gs pos="86000">
                    <a:srgbClr val="00188F"/>
                  </a:gs>
                </a:gsLst>
                <a:lin ang="5400000" scaled="0"/>
              </a:gradFill>
              <a:ea typeface="ＭＳ Ｐゴシック" charset="0"/>
            </a:endParaRPr>
          </a:p>
        </p:txBody>
      </p:sp>
      <p:sp>
        <p:nvSpPr>
          <p:cNvPr id="64" name="TextBox 63"/>
          <p:cNvSpPr txBox="1"/>
          <p:nvPr/>
        </p:nvSpPr>
        <p:spPr>
          <a:xfrm>
            <a:off x="9313427" y="6067611"/>
            <a:ext cx="1243080" cy="42329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defRPr/>
            </a:pPr>
            <a:r>
              <a:rPr lang="en-US" sz="1375" kern="0" spc="0" dirty="0">
                <a:gradFill>
                  <a:gsLst>
                    <a:gs pos="0">
                      <a:srgbClr val="505050"/>
                    </a:gs>
                    <a:gs pos="86000">
                      <a:srgbClr val="505050"/>
                    </a:gs>
                  </a:gsLst>
                  <a:lin ang="5400000" scaled="0"/>
                </a:gradFill>
                <a:ea typeface="ＭＳ Ｐゴシック" charset="0"/>
              </a:rPr>
              <a:t>Transform the datacenter</a:t>
            </a:r>
            <a:endParaRPr lang="en-US" sz="1375" kern="0" spc="0" dirty="0">
              <a:gradFill>
                <a:gsLst>
                  <a:gs pos="0">
                    <a:srgbClr val="00188F"/>
                  </a:gs>
                  <a:gs pos="86000">
                    <a:srgbClr val="00188F"/>
                  </a:gs>
                </a:gsLst>
                <a:lin ang="5400000" scaled="0"/>
              </a:gradFill>
              <a:ea typeface="ＭＳ Ｐゴシック" charset="0"/>
            </a:endParaRPr>
          </a:p>
        </p:txBody>
      </p:sp>
      <p:sp>
        <p:nvSpPr>
          <p:cNvPr id="65" name="TextBox 64"/>
          <p:cNvSpPr txBox="1"/>
          <p:nvPr/>
        </p:nvSpPr>
        <p:spPr>
          <a:xfrm>
            <a:off x="9305667" y="5445956"/>
            <a:ext cx="1243080" cy="42329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defRPr/>
            </a:pPr>
            <a:r>
              <a:rPr lang="en-US" sz="1375" kern="0" spc="0" dirty="0">
                <a:gradFill>
                  <a:gsLst>
                    <a:gs pos="0">
                      <a:srgbClr val="505050"/>
                    </a:gs>
                    <a:gs pos="86000">
                      <a:srgbClr val="505050"/>
                    </a:gs>
                  </a:gsLst>
                  <a:lin ang="5400000" scaled="0"/>
                </a:gradFill>
                <a:ea typeface="ＭＳ Ｐゴシック" charset="0"/>
              </a:rPr>
              <a:t>Data </a:t>
            </a:r>
            <a:br>
              <a:rPr lang="en-US" sz="1375" kern="0" spc="0" dirty="0">
                <a:gradFill>
                  <a:gsLst>
                    <a:gs pos="0">
                      <a:srgbClr val="505050"/>
                    </a:gs>
                    <a:gs pos="86000">
                      <a:srgbClr val="505050"/>
                    </a:gs>
                  </a:gsLst>
                  <a:lin ang="5400000" scaled="0"/>
                </a:gradFill>
                <a:ea typeface="ＭＳ Ｐゴシック" charset="0"/>
              </a:rPr>
            </a:br>
            <a:r>
              <a:rPr lang="en-US" sz="1375" kern="0" spc="0" dirty="0">
                <a:gradFill>
                  <a:gsLst>
                    <a:gs pos="0">
                      <a:srgbClr val="505050"/>
                    </a:gs>
                    <a:gs pos="86000">
                      <a:srgbClr val="505050"/>
                    </a:gs>
                  </a:gsLst>
                  <a:lin ang="5400000" scaled="0"/>
                </a:gradFill>
                <a:ea typeface="ＭＳ Ｐゴシック" charset="0"/>
              </a:rPr>
              <a:t>insights</a:t>
            </a:r>
            <a:endParaRPr lang="en-US" sz="1375" kern="0" spc="0" dirty="0">
              <a:gradFill>
                <a:gsLst>
                  <a:gs pos="0">
                    <a:srgbClr val="00188F"/>
                  </a:gs>
                  <a:gs pos="86000">
                    <a:srgbClr val="00188F"/>
                  </a:gs>
                </a:gsLst>
                <a:lin ang="5400000" scaled="0"/>
              </a:gradFill>
              <a:ea typeface="ＭＳ Ｐゴシック" charset="0"/>
            </a:endParaRPr>
          </a:p>
        </p:txBody>
      </p:sp>
      <p:sp>
        <p:nvSpPr>
          <p:cNvPr id="66" name="TextBox 65"/>
          <p:cNvSpPr txBox="1"/>
          <p:nvPr/>
        </p:nvSpPr>
        <p:spPr>
          <a:xfrm>
            <a:off x="9352847" y="3475857"/>
            <a:ext cx="1188806" cy="634946"/>
          </a:xfrm>
          <a:prstGeom prst="rect">
            <a:avLst/>
          </a:prstGeom>
          <a:noFill/>
        </p:spPr>
        <p:txBody>
          <a:bodyPr wrap="square"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defRPr/>
            </a:pPr>
            <a:r>
              <a:rPr lang="en-US" sz="1375" kern="0" spc="0" dirty="0">
                <a:gradFill>
                  <a:gsLst>
                    <a:gs pos="0">
                      <a:srgbClr val="505050"/>
                    </a:gs>
                    <a:gs pos="86000">
                      <a:srgbClr val="505050"/>
                    </a:gs>
                  </a:gsLst>
                  <a:lin ang="5400000" scaled="0"/>
                </a:gradFill>
                <a:ea typeface="ＭＳ Ｐゴシック" charset="0"/>
              </a:rPr>
              <a:t>Empower enterprise mobility</a:t>
            </a:r>
            <a:endParaRPr lang="en-US" sz="1375" kern="0" spc="0" dirty="0">
              <a:gradFill>
                <a:gsLst>
                  <a:gs pos="0">
                    <a:srgbClr val="00188F"/>
                  </a:gs>
                  <a:gs pos="86000">
                    <a:srgbClr val="00188F"/>
                  </a:gs>
                </a:gsLst>
                <a:lin ang="5400000" scaled="0"/>
              </a:gradFill>
              <a:ea typeface="ＭＳ Ｐゴシック" charset="0"/>
            </a:endParaRPr>
          </a:p>
        </p:txBody>
      </p:sp>
      <p:sp>
        <p:nvSpPr>
          <p:cNvPr id="67" name="TextBox 66"/>
          <p:cNvSpPr txBox="1"/>
          <p:nvPr/>
        </p:nvSpPr>
        <p:spPr>
          <a:xfrm>
            <a:off x="9352847" y="4674176"/>
            <a:ext cx="1243080" cy="634946"/>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defRPr/>
            </a:pPr>
            <a:r>
              <a:rPr lang="en-US" sz="1375" kern="0" spc="0" dirty="0">
                <a:gradFill>
                  <a:gsLst>
                    <a:gs pos="0">
                      <a:srgbClr val="505050"/>
                    </a:gs>
                    <a:gs pos="86000">
                      <a:srgbClr val="505050"/>
                    </a:gs>
                  </a:gsLst>
                  <a:lin ang="5400000" scaled="0"/>
                </a:gradFill>
                <a:ea typeface="ＭＳ Ｐゴシック" charset="0"/>
              </a:rPr>
              <a:t>Enable  </a:t>
            </a:r>
            <a:br>
              <a:rPr lang="en-US" sz="1375" kern="0" spc="0" dirty="0">
                <a:gradFill>
                  <a:gsLst>
                    <a:gs pos="0">
                      <a:srgbClr val="505050"/>
                    </a:gs>
                    <a:gs pos="86000">
                      <a:srgbClr val="505050"/>
                    </a:gs>
                  </a:gsLst>
                  <a:lin ang="5400000" scaled="0"/>
                </a:gradFill>
                <a:ea typeface="ＭＳ Ｐゴシック" charset="0"/>
              </a:rPr>
            </a:br>
            <a:r>
              <a:rPr lang="en-US" sz="1375" kern="0" spc="0" dirty="0">
                <a:gradFill>
                  <a:gsLst>
                    <a:gs pos="0">
                      <a:srgbClr val="505050"/>
                    </a:gs>
                    <a:gs pos="86000">
                      <a:srgbClr val="505050"/>
                    </a:gs>
                  </a:gsLst>
                  <a:lin ang="5400000" scaled="0"/>
                </a:gradFill>
                <a:ea typeface="ＭＳ Ｐゴシック" charset="0"/>
              </a:rPr>
              <a:t>application innovation</a:t>
            </a:r>
            <a:endParaRPr lang="en-US" sz="1375" kern="0" spc="0" dirty="0">
              <a:gradFill>
                <a:gsLst>
                  <a:gs pos="0">
                    <a:srgbClr val="00188F"/>
                  </a:gs>
                  <a:gs pos="86000">
                    <a:srgbClr val="00188F"/>
                  </a:gs>
                </a:gsLst>
                <a:lin ang="5400000" scaled="0"/>
              </a:gradFill>
              <a:ea typeface="ＭＳ Ｐゴシック" charset="0"/>
            </a:endParaRPr>
          </a:p>
        </p:txBody>
      </p:sp>
      <p:cxnSp>
        <p:nvCxnSpPr>
          <p:cNvPr id="69" name="Straight Connector 68"/>
          <p:cNvCxnSpPr/>
          <p:nvPr/>
        </p:nvCxnSpPr>
        <p:spPr>
          <a:xfrm flipH="1">
            <a:off x="9262668" y="5934764"/>
            <a:ext cx="1123644" cy="0"/>
          </a:xfrm>
          <a:prstGeom prst="line">
            <a:avLst/>
          </a:prstGeom>
          <a:ln w="31750">
            <a:solidFill>
              <a:srgbClr val="FFFFFF"/>
            </a:solidFill>
            <a:prstDash val="sysDot"/>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9261009" y="5328000"/>
            <a:ext cx="1123644" cy="0"/>
          </a:xfrm>
          <a:prstGeom prst="line">
            <a:avLst/>
          </a:prstGeom>
          <a:ln w="31750">
            <a:solidFill>
              <a:srgbClr val="FFFFFF"/>
            </a:solidFill>
            <a:prstDash val="sysDot"/>
            <a:headEnd type="none"/>
            <a:tailEnd type="none" w="lg" len="lg"/>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bwMode="auto">
          <a:xfrm>
            <a:off x="6320106" y="1008965"/>
            <a:ext cx="2609904" cy="5714708"/>
          </a:xfrm>
          <a:prstGeom prst="rect">
            <a:avLst/>
          </a:prstGeom>
          <a:solidFill>
            <a:srgbClr val="EFEFEF">
              <a:lumMod val="85000"/>
            </a:srgbClr>
          </a:solidFill>
          <a:ln w="10795" cap="flat" cmpd="sng" algn="ctr">
            <a:noFill/>
            <a:prstDash val="solid"/>
            <a:headEnd type="none" w="med" len="med"/>
            <a:tailEnd type="none" w="med" len="med"/>
          </a:ln>
          <a:effectLst/>
        </p:spPr>
        <p:txBody>
          <a:bodyPr lIns="0" tIns="45720" rIns="0" bIns="45720" anchor="ctr"/>
          <a:lstStyle/>
          <a:p>
            <a:pPr algn="ctr" defTabSz="914258" fontAlgn="base">
              <a:spcBef>
                <a:spcPct val="0"/>
              </a:spcBef>
              <a:spcAft>
                <a:spcPct val="0"/>
              </a:spcAft>
              <a:defRPr/>
            </a:pPr>
            <a:endParaRPr lang="en-US" sz="500" kern="0" dirty="0">
              <a:gradFill>
                <a:gsLst>
                  <a:gs pos="0">
                    <a:srgbClr val="FFFFFF"/>
                  </a:gs>
                  <a:gs pos="100000">
                    <a:srgbClr val="FFFFFF"/>
                  </a:gs>
                </a:gsLst>
                <a:lin ang="5400000" scaled="0"/>
              </a:gradFill>
              <a:ea typeface="ＭＳ Ｐゴシック" charset="0"/>
            </a:endParaRPr>
          </a:p>
        </p:txBody>
      </p:sp>
      <p:sp>
        <p:nvSpPr>
          <p:cNvPr id="74" name="TextBox 73"/>
          <p:cNvSpPr txBox="1"/>
          <p:nvPr/>
        </p:nvSpPr>
        <p:spPr>
          <a:xfrm>
            <a:off x="6315438" y="563047"/>
            <a:ext cx="2619241" cy="423297"/>
          </a:xfrm>
          <a:prstGeom prst="rect">
            <a:avLst/>
          </a:prstGeom>
          <a:noFill/>
        </p:spPr>
        <p:txBody>
          <a:bodyPr lIns="0" tIns="0" rIns="0" bIns="0">
            <a:spAutoFit/>
          </a:bodyPr>
          <a:lstStyle/>
          <a:p>
            <a:pPr algn="ctr" defTabSz="1218957">
              <a:defRPr/>
            </a:pPr>
            <a:r>
              <a:rPr lang="en-US" sz="1375" kern="0" dirty="0">
                <a:solidFill>
                  <a:srgbClr val="FFFFFF"/>
                </a:solidFill>
                <a:latin typeface="Segoe UI Light" pitchFamily="34" charset="0"/>
                <a:ea typeface="ＭＳ Ｐゴシック" charset="0"/>
              </a:rPr>
              <a:t>Cloud Platform benefits and customer case studies</a:t>
            </a:r>
          </a:p>
        </p:txBody>
      </p:sp>
      <p:sp>
        <p:nvSpPr>
          <p:cNvPr id="75" name="TextBox 74"/>
          <p:cNvSpPr txBox="1"/>
          <p:nvPr/>
        </p:nvSpPr>
        <p:spPr>
          <a:xfrm>
            <a:off x="6445192" y="1115535"/>
            <a:ext cx="2359231" cy="244398"/>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765" kern="0" spc="0" dirty="0">
                <a:gradFill>
                  <a:gsLst>
                    <a:gs pos="0">
                      <a:srgbClr val="505050"/>
                    </a:gs>
                    <a:gs pos="86000">
                      <a:srgbClr val="505050"/>
                    </a:gs>
                  </a:gsLst>
                  <a:lin ang="5400000" scaled="0"/>
                </a:gradFill>
                <a:ea typeface="ＭＳ Ｐゴシック" charset="0"/>
              </a:rPr>
              <a:t>Cloud Platform benefits</a:t>
            </a:r>
            <a:endParaRPr lang="en-US" sz="1765" kern="0" spc="0" dirty="0">
              <a:gradFill>
                <a:gsLst>
                  <a:gs pos="0">
                    <a:srgbClr val="00188F"/>
                  </a:gs>
                  <a:gs pos="86000">
                    <a:srgbClr val="00188F"/>
                  </a:gs>
                </a:gsLst>
                <a:lin ang="5400000" scaled="0"/>
              </a:gradFill>
              <a:ea typeface="ＭＳ Ｐゴシック" charset="0"/>
            </a:endParaRPr>
          </a:p>
        </p:txBody>
      </p:sp>
      <p:sp>
        <p:nvSpPr>
          <p:cNvPr id="80" name="TextBox 79"/>
          <p:cNvSpPr txBox="1"/>
          <p:nvPr/>
        </p:nvSpPr>
        <p:spPr>
          <a:xfrm>
            <a:off x="6445192" y="2870493"/>
            <a:ext cx="2359231" cy="244398"/>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765" kern="0" spc="0" dirty="0">
                <a:gradFill>
                  <a:gsLst>
                    <a:gs pos="0">
                      <a:srgbClr val="505050"/>
                    </a:gs>
                    <a:gs pos="86000">
                      <a:srgbClr val="505050"/>
                    </a:gs>
                  </a:gsLst>
                  <a:lin ang="5400000" scaled="0"/>
                </a:gradFill>
                <a:ea typeface="ＭＳ Ｐゴシック" charset="0"/>
              </a:rPr>
              <a:t>Customer case studies</a:t>
            </a:r>
            <a:endParaRPr lang="en-US" sz="1765" kern="0" spc="0" dirty="0">
              <a:gradFill>
                <a:gsLst>
                  <a:gs pos="0">
                    <a:srgbClr val="00188F"/>
                  </a:gs>
                  <a:gs pos="86000">
                    <a:srgbClr val="00188F"/>
                  </a:gs>
                </a:gsLst>
                <a:lin ang="5400000" scaled="0"/>
              </a:gradFill>
              <a:ea typeface="ＭＳ Ｐゴシック" charset="0"/>
            </a:endParaRPr>
          </a:p>
        </p:txBody>
      </p:sp>
      <p:sp>
        <p:nvSpPr>
          <p:cNvPr id="94" name="Rectangle 93"/>
          <p:cNvSpPr/>
          <p:nvPr/>
        </p:nvSpPr>
        <p:spPr bwMode="auto">
          <a:xfrm>
            <a:off x="441988" y="1008965"/>
            <a:ext cx="2611460" cy="5714708"/>
          </a:xfrm>
          <a:prstGeom prst="rect">
            <a:avLst/>
          </a:prstGeom>
          <a:solidFill>
            <a:srgbClr val="EFEFEF">
              <a:lumMod val="85000"/>
            </a:srgbClr>
          </a:solidFill>
          <a:ln w="10795" cap="flat" cmpd="sng" algn="ctr">
            <a:noFill/>
            <a:prstDash val="solid"/>
            <a:headEnd type="none" w="med" len="med"/>
            <a:tailEnd type="none" w="med" len="med"/>
          </a:ln>
          <a:effectLst/>
        </p:spPr>
        <p:txBody>
          <a:bodyPr lIns="0" tIns="45720" rIns="0" bIns="45720" anchor="ctr"/>
          <a:lstStyle/>
          <a:p>
            <a:pPr algn="ctr" defTabSz="914258" fontAlgn="base">
              <a:spcBef>
                <a:spcPct val="0"/>
              </a:spcBef>
              <a:spcAft>
                <a:spcPct val="0"/>
              </a:spcAft>
              <a:defRPr/>
            </a:pPr>
            <a:endParaRPr lang="en-US" sz="500" kern="0" dirty="0">
              <a:gradFill>
                <a:gsLst>
                  <a:gs pos="0">
                    <a:srgbClr val="FFFFFF"/>
                  </a:gs>
                  <a:gs pos="100000">
                    <a:srgbClr val="FFFFFF"/>
                  </a:gs>
                </a:gsLst>
                <a:lin ang="5400000" scaled="0"/>
              </a:gradFill>
              <a:ea typeface="ＭＳ Ｐゴシック" charset="0"/>
            </a:endParaRPr>
          </a:p>
        </p:txBody>
      </p:sp>
      <p:sp>
        <p:nvSpPr>
          <p:cNvPr id="95" name="TextBox 94"/>
          <p:cNvSpPr txBox="1"/>
          <p:nvPr/>
        </p:nvSpPr>
        <p:spPr>
          <a:xfrm>
            <a:off x="537102" y="1115538"/>
            <a:ext cx="2359231" cy="48879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765" kern="0" spc="0" dirty="0">
                <a:gradFill>
                  <a:gsLst>
                    <a:gs pos="0">
                      <a:srgbClr val="505050"/>
                    </a:gs>
                    <a:gs pos="86000">
                      <a:srgbClr val="505050"/>
                    </a:gs>
                  </a:gsLst>
                  <a:lin ang="5400000" scaled="0"/>
                </a:gradFill>
                <a:ea typeface="ＭＳ Ｐゴシック" charset="0"/>
              </a:rPr>
              <a:t>Enter from trends driving IT pressures and </a:t>
            </a:r>
            <a:r>
              <a:rPr lang="en-US" sz="1765" kern="0" spc="0" dirty="0" err="1">
                <a:gradFill>
                  <a:gsLst>
                    <a:gs pos="0">
                      <a:srgbClr val="505050"/>
                    </a:gs>
                    <a:gs pos="86000">
                      <a:srgbClr val="505050"/>
                    </a:gs>
                  </a:gsLst>
                  <a:lin ang="5400000" scaled="0"/>
                </a:gradFill>
                <a:ea typeface="ＭＳ Ｐゴシック" charset="0"/>
              </a:rPr>
              <a:t>opps</a:t>
            </a:r>
            <a:endParaRPr lang="en-US" sz="1765" kern="0" spc="0" dirty="0">
              <a:gradFill>
                <a:gsLst>
                  <a:gs pos="0">
                    <a:srgbClr val="00188F"/>
                  </a:gs>
                  <a:gs pos="86000">
                    <a:srgbClr val="00188F"/>
                  </a:gs>
                </a:gsLst>
                <a:lin ang="5400000" scaled="0"/>
              </a:gradFill>
              <a:ea typeface="ＭＳ Ｐゴシック" charset="0"/>
            </a:endParaRPr>
          </a:p>
        </p:txBody>
      </p:sp>
      <p:sp>
        <p:nvSpPr>
          <p:cNvPr id="96" name="TextBox 95"/>
          <p:cNvSpPr txBox="1"/>
          <p:nvPr/>
        </p:nvSpPr>
        <p:spPr>
          <a:xfrm>
            <a:off x="438876" y="641680"/>
            <a:ext cx="2619242" cy="211656"/>
          </a:xfrm>
          <a:prstGeom prst="rect">
            <a:avLst/>
          </a:prstGeom>
          <a:noFill/>
        </p:spPr>
        <p:txBody>
          <a:bodyPr lIns="0" tIns="0" rIns="0" bIns="0">
            <a:spAutoFit/>
          </a:bodyPr>
          <a:lstStyle/>
          <a:p>
            <a:pPr algn="ctr" defTabSz="1218957">
              <a:defRPr/>
            </a:pPr>
            <a:r>
              <a:rPr lang="en-US" sz="1375" kern="0" dirty="0">
                <a:solidFill>
                  <a:srgbClr val="FFFFFF"/>
                </a:solidFill>
                <a:latin typeface="Segoe UI Light" pitchFamily="34" charset="0"/>
                <a:ea typeface="ＭＳ Ｐゴシック" charset="0"/>
              </a:rPr>
              <a:t>Opening</a:t>
            </a:r>
          </a:p>
        </p:txBody>
      </p:sp>
      <p:sp>
        <p:nvSpPr>
          <p:cNvPr id="100" name="TextBox 99"/>
          <p:cNvSpPr txBox="1"/>
          <p:nvPr/>
        </p:nvSpPr>
        <p:spPr>
          <a:xfrm>
            <a:off x="537102" y="4642755"/>
            <a:ext cx="2359231" cy="48879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765" kern="0" spc="0" dirty="0">
                <a:gradFill>
                  <a:gsLst>
                    <a:gs pos="0">
                      <a:srgbClr val="505050"/>
                    </a:gs>
                    <a:gs pos="86000">
                      <a:srgbClr val="505050"/>
                    </a:gs>
                  </a:gsLst>
                  <a:lin ang="5400000" scaled="0"/>
                </a:gradFill>
                <a:ea typeface="ＭＳ Ｐゴシック" charset="0"/>
              </a:rPr>
              <a:t>Identify Microsoft Cloud Platform as the answer</a:t>
            </a:r>
          </a:p>
        </p:txBody>
      </p:sp>
      <p:sp>
        <p:nvSpPr>
          <p:cNvPr id="82" name="Rectangle 81"/>
          <p:cNvSpPr/>
          <p:nvPr/>
        </p:nvSpPr>
        <p:spPr bwMode="auto">
          <a:xfrm>
            <a:off x="3394277" y="1008965"/>
            <a:ext cx="2611460" cy="5714708"/>
          </a:xfrm>
          <a:prstGeom prst="rect">
            <a:avLst/>
          </a:prstGeom>
          <a:solidFill>
            <a:srgbClr val="EFEFEF">
              <a:lumMod val="85000"/>
            </a:srgbClr>
          </a:solidFill>
          <a:ln w="10795" cap="flat" cmpd="sng" algn="ctr">
            <a:noFill/>
            <a:prstDash val="solid"/>
            <a:headEnd type="none" w="med" len="med"/>
            <a:tailEnd type="none" w="med" len="med"/>
          </a:ln>
          <a:effectLst/>
        </p:spPr>
        <p:txBody>
          <a:bodyPr lIns="0" tIns="45720" rIns="0" bIns="45720" anchor="ctr"/>
          <a:lstStyle/>
          <a:p>
            <a:pPr algn="ctr" defTabSz="914258" fontAlgn="base">
              <a:spcBef>
                <a:spcPct val="0"/>
              </a:spcBef>
              <a:spcAft>
                <a:spcPct val="0"/>
              </a:spcAft>
              <a:defRPr/>
            </a:pPr>
            <a:endParaRPr lang="en-US" sz="500" kern="0" dirty="0">
              <a:gradFill>
                <a:gsLst>
                  <a:gs pos="0">
                    <a:srgbClr val="FFFFFF"/>
                  </a:gs>
                  <a:gs pos="100000">
                    <a:srgbClr val="FFFFFF"/>
                  </a:gs>
                </a:gsLst>
                <a:lin ang="5400000" scaled="0"/>
              </a:gradFill>
              <a:ea typeface="ＭＳ Ｐゴシック" charset="0"/>
            </a:endParaRPr>
          </a:p>
        </p:txBody>
      </p:sp>
      <p:sp>
        <p:nvSpPr>
          <p:cNvPr id="83" name="TextBox 82"/>
          <p:cNvSpPr txBox="1"/>
          <p:nvPr/>
        </p:nvSpPr>
        <p:spPr>
          <a:xfrm>
            <a:off x="3389607" y="535852"/>
            <a:ext cx="2619242" cy="423297"/>
          </a:xfrm>
          <a:prstGeom prst="rect">
            <a:avLst/>
          </a:prstGeom>
          <a:noFill/>
        </p:spPr>
        <p:txBody>
          <a:bodyPr lIns="0" tIns="0" rIns="0" bIns="0">
            <a:spAutoFit/>
          </a:bodyPr>
          <a:lstStyle/>
          <a:p>
            <a:pPr algn="ctr" defTabSz="1218957">
              <a:defRPr/>
            </a:pPr>
            <a:r>
              <a:rPr lang="en-US" sz="1375" kern="0" dirty="0">
                <a:solidFill>
                  <a:srgbClr val="FFFFFF"/>
                </a:solidFill>
                <a:latin typeface="Segoe UI Light" pitchFamily="34" charset="0"/>
                <a:ea typeface="ＭＳ Ｐゴシック" charset="0"/>
              </a:rPr>
              <a:t>Land why Microsoft</a:t>
            </a:r>
          </a:p>
          <a:p>
            <a:pPr algn="ctr" defTabSz="1218957">
              <a:defRPr/>
            </a:pPr>
            <a:r>
              <a:rPr lang="en-US" sz="1375" kern="0" dirty="0">
                <a:solidFill>
                  <a:srgbClr val="FFFFFF"/>
                </a:solidFill>
                <a:latin typeface="Segoe UI Light" pitchFamily="34" charset="0"/>
                <a:ea typeface="ＭＳ Ｐゴシック" charset="0"/>
              </a:rPr>
              <a:t>Microsoft-level differentiators</a:t>
            </a:r>
          </a:p>
        </p:txBody>
      </p:sp>
      <p:sp>
        <p:nvSpPr>
          <p:cNvPr id="84" name="TextBox 83"/>
          <p:cNvSpPr txBox="1"/>
          <p:nvPr/>
        </p:nvSpPr>
        <p:spPr>
          <a:xfrm>
            <a:off x="3460884" y="3141989"/>
            <a:ext cx="2544219" cy="42241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defRPr/>
            </a:pPr>
            <a:r>
              <a:rPr lang="en-US" sz="1372" kern="0" spc="0" dirty="0">
                <a:gradFill>
                  <a:gsLst>
                    <a:gs pos="0">
                      <a:srgbClr val="505050"/>
                    </a:gs>
                    <a:gs pos="86000">
                      <a:srgbClr val="505050"/>
                    </a:gs>
                  </a:gsLst>
                  <a:lin ang="5400000" scaled="0"/>
                </a:gradFill>
                <a:ea typeface="ＭＳ Ｐゴシック" charset="0"/>
              </a:rPr>
              <a:t>Enterprise-grade, </a:t>
            </a:r>
            <a:br>
              <a:rPr lang="en-US" sz="1372" kern="0" spc="0" dirty="0">
                <a:gradFill>
                  <a:gsLst>
                    <a:gs pos="0">
                      <a:srgbClr val="505050"/>
                    </a:gs>
                    <a:gs pos="86000">
                      <a:srgbClr val="505050"/>
                    </a:gs>
                  </a:gsLst>
                  <a:lin ang="5400000" scaled="0"/>
                </a:gradFill>
                <a:ea typeface="ＭＳ Ｐゴシック" charset="0"/>
              </a:rPr>
            </a:br>
            <a:r>
              <a:rPr lang="en-US" sz="1372" kern="0" spc="0" dirty="0">
                <a:gradFill>
                  <a:gsLst>
                    <a:gs pos="0">
                      <a:srgbClr val="505050"/>
                    </a:gs>
                    <a:gs pos="86000">
                      <a:srgbClr val="505050"/>
                    </a:gs>
                  </a:gsLst>
                  <a:lin ang="5400000" scaled="0"/>
                </a:gradFill>
                <a:ea typeface="ＭＳ Ｐゴシック" charset="0"/>
              </a:rPr>
              <a:t>comprehensive platform</a:t>
            </a:r>
          </a:p>
        </p:txBody>
      </p:sp>
      <p:sp>
        <p:nvSpPr>
          <p:cNvPr id="88" name="TextBox 87"/>
          <p:cNvSpPr txBox="1"/>
          <p:nvPr/>
        </p:nvSpPr>
        <p:spPr>
          <a:xfrm>
            <a:off x="3460884" y="4235001"/>
            <a:ext cx="2602745" cy="19008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372" kern="0" spc="0" dirty="0">
                <a:gradFill>
                  <a:gsLst>
                    <a:gs pos="0">
                      <a:srgbClr val="505050"/>
                    </a:gs>
                    <a:gs pos="86000">
                      <a:srgbClr val="505050"/>
                    </a:gs>
                  </a:gsLst>
                  <a:lin ang="5400000" scaled="0"/>
                </a:gradFill>
                <a:ea typeface="ＭＳ Ｐゴシック" charset="0"/>
              </a:rPr>
              <a:t>Private, public, and hybrid cloud</a:t>
            </a:r>
          </a:p>
        </p:txBody>
      </p:sp>
      <p:sp>
        <p:nvSpPr>
          <p:cNvPr id="89" name="TextBox 88"/>
          <p:cNvSpPr txBox="1"/>
          <p:nvPr/>
        </p:nvSpPr>
        <p:spPr>
          <a:xfrm>
            <a:off x="3460884" y="5040995"/>
            <a:ext cx="2602745" cy="19008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372" kern="0" spc="0" dirty="0">
                <a:gradFill>
                  <a:gsLst>
                    <a:gs pos="0">
                      <a:srgbClr val="505050"/>
                    </a:gs>
                    <a:gs pos="86000">
                      <a:srgbClr val="505050"/>
                    </a:gs>
                  </a:gsLst>
                  <a:lin ang="5400000" scaled="0"/>
                </a:gradFill>
                <a:ea typeface="ＭＳ Ｐゴシック" charset="0"/>
              </a:rPr>
              <a:t>Trusted, open, and flexible</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832" y="5221851"/>
            <a:ext cx="2392501" cy="1344636"/>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60885" y="4442039"/>
            <a:ext cx="988769" cy="555709"/>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2700" y="5256658"/>
            <a:ext cx="994390" cy="558869"/>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43745" y="1419243"/>
            <a:ext cx="2392499" cy="1344636"/>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54909" y="6048300"/>
            <a:ext cx="932896" cy="524308"/>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54909" y="5417525"/>
            <a:ext cx="932896" cy="524308"/>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54909" y="3503702"/>
            <a:ext cx="932896" cy="524308"/>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54909" y="4761816"/>
            <a:ext cx="932896" cy="524308"/>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28557" y="1446058"/>
            <a:ext cx="2392501" cy="1344636"/>
          </a:xfrm>
          <a:prstGeom prst="rect">
            <a:avLst/>
          </a:prstGeom>
        </p:spPr>
      </p:pic>
      <p:pic>
        <p:nvPicPr>
          <p:cNvPr id="19" name="Picture 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3832" y="1666504"/>
            <a:ext cx="2392501" cy="1344636"/>
          </a:xfrm>
          <a:prstGeom prst="rect">
            <a:avLst/>
          </a:prstGeom>
        </p:spPr>
      </p:pic>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03832" y="3101440"/>
            <a:ext cx="2392501" cy="1344636"/>
          </a:xfrm>
          <a:prstGeom prst="rect">
            <a:avLst/>
          </a:prstGeom>
        </p:spPr>
      </p:pic>
      <p:sp>
        <p:nvSpPr>
          <p:cNvPr id="46" name="TextBox 45"/>
          <p:cNvSpPr txBox="1"/>
          <p:nvPr/>
        </p:nvSpPr>
        <p:spPr>
          <a:xfrm>
            <a:off x="3501935" y="1079711"/>
            <a:ext cx="2359231" cy="244398"/>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765" kern="0" spc="0" dirty="0">
                <a:gradFill>
                  <a:gsLst>
                    <a:gs pos="0">
                      <a:srgbClr val="505050"/>
                    </a:gs>
                    <a:gs pos="86000">
                      <a:srgbClr val="505050"/>
                    </a:gs>
                  </a:gsLst>
                  <a:lin ang="5400000" scaled="0"/>
                </a:gradFill>
                <a:ea typeface="ＭＳ Ｐゴシック" charset="0"/>
              </a:rPr>
              <a:t>Cloud Platform </a:t>
            </a:r>
          </a:p>
        </p:txBody>
      </p:sp>
      <p:pic>
        <p:nvPicPr>
          <p:cNvPr id="47" name="Picture 4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68665" y="1337343"/>
            <a:ext cx="1730910" cy="972808"/>
          </a:xfrm>
          <a:prstGeom prst="rect">
            <a:avLst/>
          </a:prstGeom>
        </p:spPr>
      </p:pic>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60886" y="3600656"/>
            <a:ext cx="988769" cy="555709"/>
          </a:xfrm>
          <a:prstGeom prst="rect">
            <a:avLst/>
          </a:prstGeom>
        </p:spPr>
      </p:pic>
      <p:sp>
        <p:nvSpPr>
          <p:cNvPr id="49" name="TextBox 48"/>
          <p:cNvSpPr txBox="1"/>
          <p:nvPr/>
        </p:nvSpPr>
        <p:spPr>
          <a:xfrm>
            <a:off x="3454582" y="2318716"/>
            <a:ext cx="2544219" cy="211209"/>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defRPr/>
            </a:pPr>
            <a:r>
              <a:rPr lang="en-US" sz="1372" kern="0" spc="0" dirty="0">
                <a:gradFill>
                  <a:gsLst>
                    <a:gs pos="0">
                      <a:srgbClr val="505050"/>
                    </a:gs>
                    <a:gs pos="86000">
                      <a:srgbClr val="505050"/>
                    </a:gs>
                  </a:gsLst>
                  <a:lin ang="5400000" scaled="0"/>
                </a:gradFill>
                <a:ea typeface="ＭＳ Ｐゴシック" charset="0"/>
              </a:rPr>
              <a:t>Global scale</a:t>
            </a:r>
          </a:p>
        </p:txBody>
      </p:sp>
      <p:pic>
        <p:nvPicPr>
          <p:cNvPr id="51" name="Picture 5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470145" y="2558399"/>
            <a:ext cx="982410" cy="552135"/>
          </a:xfrm>
          <a:prstGeom prst="rect">
            <a:avLst/>
          </a:prstGeom>
        </p:spPr>
      </p:pic>
      <p:sp>
        <p:nvSpPr>
          <p:cNvPr id="52" name="TextBox 51"/>
          <p:cNvSpPr txBox="1"/>
          <p:nvPr/>
        </p:nvSpPr>
        <p:spPr>
          <a:xfrm>
            <a:off x="3466297" y="5878165"/>
            <a:ext cx="2602745" cy="190087"/>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372" kern="0" spc="0" dirty="0">
                <a:gradFill>
                  <a:gsLst>
                    <a:gs pos="0">
                      <a:srgbClr val="505050"/>
                    </a:gs>
                    <a:gs pos="86000">
                      <a:srgbClr val="505050"/>
                    </a:gs>
                  </a:gsLst>
                  <a:lin ang="5400000" scaled="0"/>
                </a:gradFill>
                <a:ea typeface="ＭＳ Ｐゴシック" charset="0"/>
              </a:rPr>
              <a:t>People-centered experiences</a:t>
            </a:r>
          </a:p>
        </p:txBody>
      </p:sp>
      <p:pic>
        <p:nvPicPr>
          <p:cNvPr id="53" name="Picture 5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460884" y="6097866"/>
            <a:ext cx="994389" cy="558869"/>
          </a:xfrm>
          <a:prstGeom prst="rect">
            <a:avLst/>
          </a:prstGeom>
        </p:spPr>
      </p:pic>
      <p:pic>
        <p:nvPicPr>
          <p:cNvPr id="54" name="Picture 5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478887" y="3126260"/>
            <a:ext cx="1250364" cy="702731"/>
          </a:xfrm>
          <a:prstGeom prst="rect">
            <a:avLst/>
          </a:prstGeom>
        </p:spPr>
      </p:pic>
      <p:pic>
        <p:nvPicPr>
          <p:cNvPr id="58" name="Picture 5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707022" y="3500247"/>
            <a:ext cx="1250364" cy="702731"/>
          </a:xfrm>
          <a:prstGeom prst="rect">
            <a:avLst/>
          </a:prstGeom>
        </p:spPr>
      </p:pic>
      <p:pic>
        <p:nvPicPr>
          <p:cNvPr id="59" name="Picture 5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998728" y="3887733"/>
            <a:ext cx="1250364" cy="702731"/>
          </a:xfrm>
          <a:prstGeom prst="rect">
            <a:avLst/>
          </a:prstGeom>
        </p:spPr>
      </p:pic>
      <p:pic>
        <p:nvPicPr>
          <p:cNvPr id="60" name="Picture 5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269893" y="4261720"/>
            <a:ext cx="1250364" cy="702731"/>
          </a:xfrm>
          <a:prstGeom prst="rect">
            <a:avLst/>
          </a:prstGeom>
        </p:spPr>
      </p:pic>
      <p:pic>
        <p:nvPicPr>
          <p:cNvPr id="61" name="Picture 60"/>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554304" y="4602410"/>
            <a:ext cx="1250364" cy="702731"/>
          </a:xfrm>
          <a:prstGeom prst="rect">
            <a:avLst/>
          </a:prstGeom>
        </p:spPr>
      </p:pic>
      <p:sp>
        <p:nvSpPr>
          <p:cNvPr id="62" name="TextBox 61"/>
          <p:cNvSpPr txBox="1"/>
          <p:nvPr/>
        </p:nvSpPr>
        <p:spPr>
          <a:xfrm>
            <a:off x="6514040" y="5382167"/>
            <a:ext cx="2359231" cy="244398"/>
          </a:xfrm>
          <a:prstGeom prst="rect">
            <a:avLst/>
          </a:prstGeom>
          <a:noFill/>
        </p:spPr>
        <p:txBody>
          <a:bodyPr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lnSpc>
                <a:spcPct val="90000"/>
              </a:lnSpc>
              <a:defRPr/>
            </a:pPr>
            <a:r>
              <a:rPr lang="en-US" sz="1765" kern="0" spc="0" dirty="0">
                <a:gradFill>
                  <a:gsLst>
                    <a:gs pos="0">
                      <a:srgbClr val="505050"/>
                    </a:gs>
                    <a:gs pos="86000">
                      <a:srgbClr val="505050"/>
                    </a:gs>
                  </a:gsLst>
                  <a:lin ang="5400000" scaled="0"/>
                </a:gradFill>
                <a:ea typeface="ＭＳ Ｐゴシック" charset="0"/>
              </a:rPr>
              <a:t>Customer momentum</a:t>
            </a:r>
          </a:p>
        </p:txBody>
      </p:sp>
      <p:pic>
        <p:nvPicPr>
          <p:cNvPr id="72" name="Picture 7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480771" y="5639798"/>
            <a:ext cx="1730909" cy="972808"/>
          </a:xfrm>
          <a:prstGeom prst="rect">
            <a:avLst/>
          </a:prstGeom>
        </p:spPr>
      </p:pic>
      <p:sp>
        <p:nvSpPr>
          <p:cNvPr id="77" name="TextBox 76"/>
          <p:cNvSpPr txBox="1"/>
          <p:nvPr/>
        </p:nvSpPr>
        <p:spPr>
          <a:xfrm>
            <a:off x="9338816" y="4176021"/>
            <a:ext cx="1527601" cy="423297"/>
          </a:xfrm>
          <a:prstGeom prst="rect">
            <a:avLst/>
          </a:prstGeom>
          <a:noFill/>
        </p:spPr>
        <p:txBody>
          <a:bodyPr wrap="square" lIns="0" tIns="0" rIns="0" bIns="0">
            <a:spAutoFit/>
          </a:bodyPr>
          <a:lstStyle>
            <a:defPPr>
              <a:defRPr lang="en-US"/>
            </a:defPPr>
            <a:lvl1pPr lvl="0" algn="ctr" defTabSz="1218987">
              <a:defRPr spc="-100">
                <a:ln w="3175">
                  <a:noFill/>
                </a:ln>
                <a:gradFill flip="none" rotWithShape="1">
                  <a:gsLst>
                    <a:gs pos="0">
                      <a:schemeClr val="tx1">
                        <a:lumMod val="65000"/>
                        <a:lumOff val="35000"/>
                      </a:schemeClr>
                    </a:gs>
                    <a:gs pos="86000">
                      <a:schemeClr val="tx1">
                        <a:lumMod val="65000"/>
                        <a:lumOff val="35000"/>
                      </a:schemeClr>
                    </a:gs>
                  </a:gsLst>
                  <a:lin ang="5400000" scaled="0"/>
                  <a:tileRect/>
                </a:gradFill>
                <a:latin typeface="Segoe UI Light" pitchFamily="34" charset="0"/>
                <a:cs typeface="Arial"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defRPr/>
            </a:pPr>
            <a:r>
              <a:rPr lang="en-US" sz="1375" kern="0" spc="0" dirty="0">
                <a:gradFill>
                  <a:gsLst>
                    <a:gs pos="0">
                      <a:srgbClr val="505050"/>
                    </a:gs>
                    <a:gs pos="86000">
                      <a:srgbClr val="505050"/>
                    </a:gs>
                  </a:gsLst>
                  <a:lin ang="5400000" scaled="0"/>
                </a:gradFill>
                <a:ea typeface="ＭＳ Ｐゴシック" charset="0"/>
              </a:rPr>
              <a:t>Create the Internet of Your Things</a:t>
            </a:r>
            <a:endParaRPr lang="en-US" sz="1375" kern="0" spc="0" dirty="0">
              <a:gradFill>
                <a:gsLst>
                  <a:gs pos="0">
                    <a:srgbClr val="00188F"/>
                  </a:gs>
                  <a:gs pos="86000">
                    <a:srgbClr val="00188F"/>
                  </a:gs>
                </a:gsLst>
                <a:lin ang="5400000" scaled="0"/>
              </a:gradFill>
              <a:ea typeface="ＭＳ Ｐゴシック" charset="0"/>
            </a:endParaRPr>
          </a:p>
        </p:txBody>
      </p:sp>
      <p:cxnSp>
        <p:nvCxnSpPr>
          <p:cNvPr id="78" name="Straight Connector 77"/>
          <p:cNvCxnSpPr/>
          <p:nvPr/>
        </p:nvCxnSpPr>
        <p:spPr>
          <a:xfrm flipH="1">
            <a:off x="9295817" y="4652987"/>
            <a:ext cx="1123644" cy="0"/>
          </a:xfrm>
          <a:prstGeom prst="line">
            <a:avLst/>
          </a:prstGeom>
          <a:ln w="31750">
            <a:solidFill>
              <a:srgbClr val="FFFFFF"/>
            </a:solidFill>
            <a:prstDash val="sysDot"/>
            <a:headEnd type="none"/>
            <a:tailEnd type="none" w="lg" len="lg"/>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754909" y="4126169"/>
            <a:ext cx="932895" cy="524308"/>
          </a:xfrm>
          <a:prstGeom prst="rect">
            <a:avLst/>
          </a:prstGeom>
        </p:spPr>
      </p:pic>
      <p:cxnSp>
        <p:nvCxnSpPr>
          <p:cNvPr id="81" name="Straight Connector 80"/>
          <p:cNvCxnSpPr/>
          <p:nvPr/>
        </p:nvCxnSpPr>
        <p:spPr>
          <a:xfrm flipH="1">
            <a:off x="9261009" y="4113114"/>
            <a:ext cx="1123644" cy="0"/>
          </a:xfrm>
          <a:prstGeom prst="line">
            <a:avLst/>
          </a:prstGeom>
          <a:ln w="31750">
            <a:solidFill>
              <a:srgbClr val="FFFFFF"/>
            </a:solidFill>
            <a:prstDash val="sysDot"/>
            <a:headEnd type="none"/>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005498"/>
      </p:ext>
    </p:extLst>
  </p:cSld>
  <p:clrMapOvr>
    <a:masterClrMapping/>
  </p:clrMapOvr>
  <mc:AlternateContent xmlns:mc="http://schemas.openxmlformats.org/markup-compatibility/2006">
    <mc:Choice xmlns:p14="http://schemas.microsoft.com/office/powerpoint/2010/main" Requires="p14">
      <p:transition spd="med" p14:dur="700">
        <p:wipe dir="r"/>
      </p:transition>
    </mc:Choice>
    <mc:Fallback>
      <p:transition spd="med">
        <p:wipe dir="r"/>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p:cNvCxnSpPr/>
          <p:nvPr/>
        </p:nvCxnSpPr>
        <p:spPr>
          <a:xfrm>
            <a:off x="6752813" y="3801894"/>
            <a:ext cx="0" cy="176815"/>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3960096" y="1991722"/>
            <a:ext cx="5247764" cy="717140"/>
          </a:xfrm>
          <a:prstGeom prst="rect">
            <a:avLst/>
          </a:prstGeom>
          <a:solidFill>
            <a:schemeClr val="accent3"/>
          </a:solidFill>
        </p:spPr>
        <p:txBody>
          <a:bodyPr wrap="square" lIns="89627" tIns="89627" rIns="0" bIns="89627" rtlCol="0">
            <a:noAutofit/>
          </a:bodyPr>
          <a:lstStyle/>
          <a:p>
            <a:pPr defTabSz="914206">
              <a:lnSpc>
                <a:spcPct val="90000"/>
              </a:lnSpc>
              <a:spcAft>
                <a:spcPts val="588"/>
              </a:spcAft>
            </a:pPr>
            <a:endParaRPr lang="en-US" sz="1200" dirty="0">
              <a:gradFill>
                <a:gsLst>
                  <a:gs pos="17219">
                    <a:srgbClr val="FFFFFF"/>
                  </a:gs>
                  <a:gs pos="32743">
                    <a:srgbClr val="FFFFFF"/>
                  </a:gs>
                </a:gsLst>
                <a:lin ang="5400000" scaled="0"/>
              </a:gradFill>
              <a:latin typeface="Segoe UI Semibold" panose="020B0702040204020203" pitchFamily="34" charset="0"/>
              <a:cs typeface="Segoe UI Semibold" panose="020B0702040204020203" pitchFamily="34" charset="0"/>
            </a:endParaRPr>
          </a:p>
        </p:txBody>
      </p:sp>
      <p:sp>
        <p:nvSpPr>
          <p:cNvPr id="298" name="Rectangle 297"/>
          <p:cNvSpPr/>
          <p:nvPr/>
        </p:nvSpPr>
        <p:spPr bwMode="auto">
          <a:xfrm>
            <a:off x="3734680" y="491"/>
            <a:ext cx="6005957" cy="19206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nvGrpSpPr>
          <p:cNvPr id="329" name="Group 328"/>
          <p:cNvGrpSpPr/>
          <p:nvPr/>
        </p:nvGrpSpPr>
        <p:grpSpPr>
          <a:xfrm>
            <a:off x="4018807" y="1988670"/>
            <a:ext cx="4783332" cy="717140"/>
            <a:chOff x="1312969" y="2043437"/>
            <a:chExt cx="4879249" cy="731520"/>
          </a:xfrm>
        </p:grpSpPr>
        <p:grpSp>
          <p:nvGrpSpPr>
            <p:cNvPr id="330" name="Group 329"/>
            <p:cNvGrpSpPr/>
            <p:nvPr/>
          </p:nvGrpSpPr>
          <p:grpSpPr>
            <a:xfrm>
              <a:off x="1312969" y="2043437"/>
              <a:ext cx="4265225" cy="731520"/>
              <a:chOff x="1312969" y="2043437"/>
              <a:chExt cx="4265225" cy="731520"/>
            </a:xfrm>
          </p:grpSpPr>
          <p:grpSp>
            <p:nvGrpSpPr>
              <p:cNvPr id="334" name="Group 333"/>
              <p:cNvGrpSpPr/>
              <p:nvPr/>
            </p:nvGrpSpPr>
            <p:grpSpPr>
              <a:xfrm>
                <a:off x="2854159" y="2250620"/>
                <a:ext cx="2724035" cy="292608"/>
                <a:chOff x="2854159" y="2250620"/>
                <a:chExt cx="2724035" cy="292608"/>
              </a:xfrm>
            </p:grpSpPr>
            <p:sp>
              <p:nvSpPr>
                <p:cNvPr id="336" name="Freeform 109"/>
                <p:cNvSpPr>
                  <a:spLocks noChangeAspect="1" noEditPoints="1"/>
                </p:cNvSpPr>
                <p:nvPr/>
              </p:nvSpPr>
              <p:spPr bwMode="auto">
                <a:xfrm>
                  <a:off x="5241347" y="2258496"/>
                  <a:ext cx="336847" cy="276856"/>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896191"/>
                  <a:endParaRPr lang="en-US" sz="1765">
                    <a:solidFill>
                      <a:srgbClr val="FFFFFF"/>
                    </a:solidFill>
                  </a:endParaRPr>
                </a:p>
              </p:txBody>
            </p:sp>
            <p:sp>
              <p:nvSpPr>
                <p:cNvPr id="337" name="Freeform 6"/>
                <p:cNvSpPr>
                  <a:spLocks noChangeAspect="1" noEditPoints="1"/>
                </p:cNvSpPr>
                <p:nvPr/>
              </p:nvSpPr>
              <p:spPr bwMode="auto">
                <a:xfrm>
                  <a:off x="4664338" y="2252623"/>
                  <a:ext cx="354195" cy="288602"/>
                </a:xfrm>
                <a:custGeom>
                  <a:avLst/>
                  <a:gdLst>
                    <a:gd name="T0" fmla="*/ 6 w 103"/>
                    <a:gd name="T1" fmla="*/ 13 h 84"/>
                    <a:gd name="T2" fmla="*/ 6 w 103"/>
                    <a:gd name="T3" fmla="*/ 78 h 84"/>
                    <a:gd name="T4" fmla="*/ 96 w 103"/>
                    <a:gd name="T5" fmla="*/ 78 h 84"/>
                    <a:gd name="T6" fmla="*/ 96 w 103"/>
                    <a:gd name="T7" fmla="*/ 13 h 84"/>
                    <a:gd name="T8" fmla="*/ 6 w 103"/>
                    <a:gd name="T9" fmla="*/ 13 h 84"/>
                    <a:gd name="T10" fmla="*/ 103 w 103"/>
                    <a:gd name="T11" fmla="*/ 0 h 84"/>
                    <a:gd name="T12" fmla="*/ 103 w 103"/>
                    <a:gd name="T13" fmla="*/ 84 h 84"/>
                    <a:gd name="T14" fmla="*/ 0 w 103"/>
                    <a:gd name="T15" fmla="*/ 84 h 84"/>
                    <a:gd name="T16" fmla="*/ 0 w 103"/>
                    <a:gd name="T17" fmla="*/ 0 h 84"/>
                    <a:gd name="T18" fmla="*/ 103 w 103"/>
                    <a:gd name="T19" fmla="*/ 0 h 84"/>
                    <a:gd name="T20" fmla="*/ 14 w 103"/>
                    <a:gd name="T21" fmla="*/ 26 h 84"/>
                    <a:gd name="T22" fmla="*/ 89 w 103"/>
                    <a:gd name="T23" fmla="*/ 26 h 84"/>
                    <a:gd name="T24" fmla="*/ 89 w 103"/>
                    <a:gd name="T25" fmla="*/ 35 h 84"/>
                    <a:gd name="T26" fmla="*/ 14 w 103"/>
                    <a:gd name="T27" fmla="*/ 35 h 84"/>
                    <a:gd name="T28" fmla="*/ 14 w 103"/>
                    <a:gd name="T29" fmla="*/ 26 h 84"/>
                    <a:gd name="T30" fmla="*/ 14 w 103"/>
                    <a:gd name="T31" fmla="*/ 26 h 84"/>
                    <a:gd name="T32" fmla="*/ 14 w 103"/>
                    <a:gd name="T33" fmla="*/ 44 h 84"/>
                    <a:gd name="T34" fmla="*/ 89 w 103"/>
                    <a:gd name="T35" fmla="*/ 44 h 84"/>
                    <a:gd name="T36" fmla="*/ 89 w 103"/>
                    <a:gd name="T37" fmla="*/ 53 h 84"/>
                    <a:gd name="T38" fmla="*/ 14 w 103"/>
                    <a:gd name="T39" fmla="*/ 53 h 84"/>
                    <a:gd name="T40" fmla="*/ 14 w 103"/>
                    <a:gd name="T41" fmla="*/ 44 h 84"/>
                    <a:gd name="T42" fmla="*/ 14 w 103"/>
                    <a:gd name="T43" fmla="*/ 44 h 84"/>
                    <a:gd name="T44" fmla="*/ 14 w 103"/>
                    <a:gd name="T45" fmla="*/ 62 h 84"/>
                    <a:gd name="T46" fmla="*/ 89 w 103"/>
                    <a:gd name="T47" fmla="*/ 62 h 84"/>
                    <a:gd name="T48" fmla="*/ 89 w 103"/>
                    <a:gd name="T49" fmla="*/ 71 h 84"/>
                    <a:gd name="T50" fmla="*/ 14 w 103"/>
                    <a:gd name="T51" fmla="*/ 71 h 84"/>
                    <a:gd name="T52" fmla="*/ 14 w 103"/>
                    <a:gd name="T53" fmla="*/ 62 h 84"/>
                    <a:gd name="T54" fmla="*/ 14 w 103"/>
                    <a:gd name="T55"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84">
                      <a:moveTo>
                        <a:pt x="6" y="13"/>
                      </a:moveTo>
                      <a:cubicBezTo>
                        <a:pt x="6" y="78"/>
                        <a:pt x="6" y="78"/>
                        <a:pt x="6" y="78"/>
                      </a:cubicBezTo>
                      <a:cubicBezTo>
                        <a:pt x="96" y="78"/>
                        <a:pt x="96" y="78"/>
                        <a:pt x="96" y="78"/>
                      </a:cubicBezTo>
                      <a:cubicBezTo>
                        <a:pt x="96" y="13"/>
                        <a:pt x="96" y="13"/>
                        <a:pt x="96" y="13"/>
                      </a:cubicBezTo>
                      <a:cubicBezTo>
                        <a:pt x="64" y="13"/>
                        <a:pt x="25" y="13"/>
                        <a:pt x="6" y="13"/>
                      </a:cubicBezTo>
                      <a:close/>
                      <a:moveTo>
                        <a:pt x="103" y="0"/>
                      </a:moveTo>
                      <a:cubicBezTo>
                        <a:pt x="103" y="84"/>
                        <a:pt x="103" y="84"/>
                        <a:pt x="103" y="84"/>
                      </a:cubicBezTo>
                      <a:cubicBezTo>
                        <a:pt x="0" y="84"/>
                        <a:pt x="0" y="84"/>
                        <a:pt x="0" y="84"/>
                      </a:cubicBezTo>
                      <a:cubicBezTo>
                        <a:pt x="0" y="0"/>
                        <a:pt x="0" y="0"/>
                        <a:pt x="0" y="0"/>
                      </a:cubicBezTo>
                      <a:cubicBezTo>
                        <a:pt x="42" y="0"/>
                        <a:pt x="77" y="0"/>
                        <a:pt x="103" y="0"/>
                      </a:cubicBezTo>
                      <a:close/>
                      <a:moveTo>
                        <a:pt x="14" y="26"/>
                      </a:moveTo>
                      <a:cubicBezTo>
                        <a:pt x="89" y="26"/>
                        <a:pt x="89" y="26"/>
                        <a:pt x="89" y="26"/>
                      </a:cubicBezTo>
                      <a:cubicBezTo>
                        <a:pt x="89" y="35"/>
                        <a:pt x="89" y="35"/>
                        <a:pt x="89" y="35"/>
                      </a:cubicBezTo>
                      <a:cubicBezTo>
                        <a:pt x="14" y="35"/>
                        <a:pt x="14" y="35"/>
                        <a:pt x="14" y="35"/>
                      </a:cubicBezTo>
                      <a:cubicBezTo>
                        <a:pt x="14" y="26"/>
                        <a:pt x="14" y="26"/>
                        <a:pt x="14" y="26"/>
                      </a:cubicBezTo>
                      <a:cubicBezTo>
                        <a:pt x="14" y="26"/>
                        <a:pt x="14" y="26"/>
                        <a:pt x="14" y="26"/>
                      </a:cubicBezTo>
                      <a:close/>
                      <a:moveTo>
                        <a:pt x="14" y="44"/>
                      </a:moveTo>
                      <a:cubicBezTo>
                        <a:pt x="89" y="44"/>
                        <a:pt x="89" y="44"/>
                        <a:pt x="89" y="44"/>
                      </a:cubicBezTo>
                      <a:cubicBezTo>
                        <a:pt x="89" y="53"/>
                        <a:pt x="89" y="53"/>
                        <a:pt x="89" y="53"/>
                      </a:cubicBezTo>
                      <a:cubicBezTo>
                        <a:pt x="14" y="53"/>
                        <a:pt x="14" y="53"/>
                        <a:pt x="14" y="53"/>
                      </a:cubicBezTo>
                      <a:cubicBezTo>
                        <a:pt x="14" y="44"/>
                        <a:pt x="14" y="44"/>
                        <a:pt x="14" y="44"/>
                      </a:cubicBezTo>
                      <a:cubicBezTo>
                        <a:pt x="14" y="44"/>
                        <a:pt x="14" y="44"/>
                        <a:pt x="14" y="44"/>
                      </a:cubicBezTo>
                      <a:close/>
                      <a:moveTo>
                        <a:pt x="14" y="62"/>
                      </a:moveTo>
                      <a:cubicBezTo>
                        <a:pt x="89" y="62"/>
                        <a:pt x="89" y="62"/>
                        <a:pt x="89" y="62"/>
                      </a:cubicBezTo>
                      <a:cubicBezTo>
                        <a:pt x="89" y="71"/>
                        <a:pt x="89" y="71"/>
                        <a:pt x="89" y="71"/>
                      </a:cubicBezTo>
                      <a:cubicBezTo>
                        <a:pt x="14" y="71"/>
                        <a:pt x="14" y="71"/>
                        <a:pt x="14" y="71"/>
                      </a:cubicBezTo>
                      <a:cubicBezTo>
                        <a:pt x="14" y="62"/>
                        <a:pt x="14" y="62"/>
                        <a:pt x="14" y="62"/>
                      </a:cubicBezTo>
                      <a:cubicBezTo>
                        <a:pt x="14" y="62"/>
                        <a:pt x="14" y="62"/>
                        <a:pt x="14" y="62"/>
                      </a:cubicBezTo>
                      <a:close/>
                    </a:path>
                  </a:pathLst>
                </a:custGeom>
                <a:solidFill>
                  <a:schemeClr val="bg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2" fontAlgn="base">
                    <a:lnSpc>
                      <a:spcPct val="90000"/>
                    </a:lnSpc>
                    <a:spcBef>
                      <a:spcPct val="0"/>
                    </a:spcBef>
                    <a:spcAft>
                      <a:spcPct val="0"/>
                    </a:spcAft>
                  </a:pPr>
                  <a:endParaRPr lang="en-US" sz="980">
                    <a:gradFill>
                      <a:gsLst>
                        <a:gs pos="97345">
                          <a:srgbClr val="FFFFFF"/>
                        </a:gs>
                        <a:gs pos="84071">
                          <a:srgbClr val="FFFFFF"/>
                        </a:gs>
                      </a:gsLst>
                      <a:lin ang="5400000" scaled="0"/>
                    </a:gradFill>
                  </a:endParaRPr>
                </a:p>
              </p:txBody>
            </p:sp>
            <p:grpSp>
              <p:nvGrpSpPr>
                <p:cNvPr id="338" name="Group 337"/>
                <p:cNvGrpSpPr/>
                <p:nvPr/>
              </p:nvGrpSpPr>
              <p:grpSpPr>
                <a:xfrm>
                  <a:off x="2854159" y="2253917"/>
                  <a:ext cx="452634" cy="286014"/>
                  <a:chOff x="5508983" y="7444236"/>
                  <a:chExt cx="547687" cy="346076"/>
                </a:xfrm>
              </p:grpSpPr>
              <p:sp>
                <p:nvSpPr>
                  <p:cNvPr id="349" name="Freeform 9"/>
                  <p:cNvSpPr>
                    <a:spLocks/>
                  </p:cNvSpPr>
                  <p:nvPr/>
                </p:nvSpPr>
                <p:spPr bwMode="auto">
                  <a:xfrm>
                    <a:off x="5508983" y="7658549"/>
                    <a:ext cx="87312" cy="131763"/>
                  </a:xfrm>
                  <a:custGeom>
                    <a:avLst/>
                    <a:gdLst>
                      <a:gd name="T0" fmla="*/ 0 w 55"/>
                      <a:gd name="T1" fmla="*/ 0 h 83"/>
                      <a:gd name="T2" fmla="*/ 55 w 55"/>
                      <a:gd name="T3" fmla="*/ 0 h 83"/>
                      <a:gd name="T4" fmla="*/ 55 w 55"/>
                      <a:gd name="T5" fmla="*/ 83 h 83"/>
                      <a:gd name="T6" fmla="*/ 0 w 55"/>
                      <a:gd name="T7" fmla="*/ 83 h 83"/>
                      <a:gd name="T8" fmla="*/ 0 w 55"/>
                      <a:gd name="T9" fmla="*/ 0 h 83"/>
                      <a:gd name="T10" fmla="*/ 0 w 55"/>
                      <a:gd name="T11" fmla="*/ 0 h 83"/>
                      <a:gd name="T12" fmla="*/ 0 w 5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5" h="83">
                        <a:moveTo>
                          <a:pt x="0" y="0"/>
                        </a:moveTo>
                        <a:lnTo>
                          <a:pt x="55" y="0"/>
                        </a:lnTo>
                        <a:lnTo>
                          <a:pt x="55" y="83"/>
                        </a:lnTo>
                        <a:lnTo>
                          <a:pt x="0" y="83"/>
                        </a:lnTo>
                        <a:lnTo>
                          <a:pt x="0" y="0"/>
                        </a:lnTo>
                        <a:lnTo>
                          <a:pt x="0" y="0"/>
                        </a:lnTo>
                        <a:lnTo>
                          <a:pt x="0" y="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54" name="Freeform 10"/>
                  <p:cNvSpPr>
                    <a:spLocks/>
                  </p:cNvSpPr>
                  <p:nvPr/>
                </p:nvSpPr>
                <p:spPr bwMode="auto">
                  <a:xfrm>
                    <a:off x="5628045" y="7495036"/>
                    <a:ext cx="84137" cy="295275"/>
                  </a:xfrm>
                  <a:custGeom>
                    <a:avLst/>
                    <a:gdLst>
                      <a:gd name="T0" fmla="*/ 0 w 53"/>
                      <a:gd name="T1" fmla="*/ 186 h 186"/>
                      <a:gd name="T2" fmla="*/ 53 w 53"/>
                      <a:gd name="T3" fmla="*/ 186 h 186"/>
                      <a:gd name="T4" fmla="*/ 53 w 53"/>
                      <a:gd name="T5" fmla="*/ 0 h 186"/>
                      <a:gd name="T6" fmla="*/ 0 w 53"/>
                      <a:gd name="T7" fmla="*/ 0 h 186"/>
                      <a:gd name="T8" fmla="*/ 0 w 53"/>
                      <a:gd name="T9" fmla="*/ 186 h 186"/>
                      <a:gd name="T10" fmla="*/ 0 w 53"/>
                      <a:gd name="T11" fmla="*/ 186 h 186"/>
                      <a:gd name="T12" fmla="*/ 0 w 53"/>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53" h="186">
                        <a:moveTo>
                          <a:pt x="0" y="186"/>
                        </a:moveTo>
                        <a:lnTo>
                          <a:pt x="53" y="186"/>
                        </a:lnTo>
                        <a:lnTo>
                          <a:pt x="53" y="0"/>
                        </a:lnTo>
                        <a:lnTo>
                          <a:pt x="0" y="0"/>
                        </a:lnTo>
                        <a:lnTo>
                          <a:pt x="0" y="186"/>
                        </a:lnTo>
                        <a:lnTo>
                          <a:pt x="0" y="186"/>
                        </a:lnTo>
                        <a:lnTo>
                          <a:pt x="0" y="18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55" name="Freeform 11"/>
                  <p:cNvSpPr>
                    <a:spLocks/>
                  </p:cNvSpPr>
                  <p:nvPr/>
                </p:nvSpPr>
                <p:spPr bwMode="auto">
                  <a:xfrm>
                    <a:off x="5742345" y="7549011"/>
                    <a:ext cx="84137" cy="241300"/>
                  </a:xfrm>
                  <a:custGeom>
                    <a:avLst/>
                    <a:gdLst>
                      <a:gd name="T0" fmla="*/ 0 w 53"/>
                      <a:gd name="T1" fmla="*/ 152 h 152"/>
                      <a:gd name="T2" fmla="*/ 53 w 53"/>
                      <a:gd name="T3" fmla="*/ 152 h 152"/>
                      <a:gd name="T4" fmla="*/ 53 w 53"/>
                      <a:gd name="T5" fmla="*/ 0 h 152"/>
                      <a:gd name="T6" fmla="*/ 0 w 53"/>
                      <a:gd name="T7" fmla="*/ 0 h 152"/>
                      <a:gd name="T8" fmla="*/ 0 w 53"/>
                      <a:gd name="T9" fmla="*/ 152 h 152"/>
                      <a:gd name="T10" fmla="*/ 0 w 53"/>
                      <a:gd name="T11" fmla="*/ 152 h 152"/>
                      <a:gd name="T12" fmla="*/ 0 w 53"/>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53" h="152">
                        <a:moveTo>
                          <a:pt x="0" y="152"/>
                        </a:moveTo>
                        <a:lnTo>
                          <a:pt x="53" y="152"/>
                        </a:lnTo>
                        <a:lnTo>
                          <a:pt x="53" y="0"/>
                        </a:lnTo>
                        <a:lnTo>
                          <a:pt x="0" y="0"/>
                        </a:lnTo>
                        <a:lnTo>
                          <a:pt x="0" y="152"/>
                        </a:lnTo>
                        <a:lnTo>
                          <a:pt x="0" y="152"/>
                        </a:lnTo>
                        <a:lnTo>
                          <a:pt x="0" y="152"/>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56" name="Freeform 12"/>
                  <p:cNvSpPr>
                    <a:spLocks/>
                  </p:cNvSpPr>
                  <p:nvPr/>
                </p:nvSpPr>
                <p:spPr bwMode="auto">
                  <a:xfrm>
                    <a:off x="5853470" y="7709349"/>
                    <a:ext cx="87312" cy="80963"/>
                  </a:xfrm>
                  <a:custGeom>
                    <a:avLst/>
                    <a:gdLst>
                      <a:gd name="T0" fmla="*/ 0 w 55"/>
                      <a:gd name="T1" fmla="*/ 51 h 51"/>
                      <a:gd name="T2" fmla="*/ 55 w 55"/>
                      <a:gd name="T3" fmla="*/ 51 h 51"/>
                      <a:gd name="T4" fmla="*/ 55 w 55"/>
                      <a:gd name="T5" fmla="*/ 0 h 51"/>
                      <a:gd name="T6" fmla="*/ 0 w 55"/>
                      <a:gd name="T7" fmla="*/ 0 h 51"/>
                      <a:gd name="T8" fmla="*/ 0 w 55"/>
                      <a:gd name="T9" fmla="*/ 51 h 51"/>
                      <a:gd name="T10" fmla="*/ 0 w 55"/>
                      <a:gd name="T11" fmla="*/ 51 h 51"/>
                      <a:gd name="T12" fmla="*/ 0 w 5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5" h="51">
                        <a:moveTo>
                          <a:pt x="0" y="51"/>
                        </a:moveTo>
                        <a:lnTo>
                          <a:pt x="55" y="51"/>
                        </a:lnTo>
                        <a:lnTo>
                          <a:pt x="55" y="0"/>
                        </a:lnTo>
                        <a:lnTo>
                          <a:pt x="0" y="0"/>
                        </a:lnTo>
                        <a:lnTo>
                          <a:pt x="0" y="51"/>
                        </a:lnTo>
                        <a:lnTo>
                          <a:pt x="0" y="51"/>
                        </a:lnTo>
                        <a:lnTo>
                          <a:pt x="0" y="51"/>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57" name="Freeform 13"/>
                  <p:cNvSpPr>
                    <a:spLocks/>
                  </p:cNvSpPr>
                  <p:nvPr/>
                </p:nvSpPr>
                <p:spPr bwMode="auto">
                  <a:xfrm>
                    <a:off x="5972533" y="7444236"/>
                    <a:ext cx="84137" cy="346075"/>
                  </a:xfrm>
                  <a:custGeom>
                    <a:avLst/>
                    <a:gdLst>
                      <a:gd name="T0" fmla="*/ 0 w 53"/>
                      <a:gd name="T1" fmla="*/ 218 h 218"/>
                      <a:gd name="T2" fmla="*/ 53 w 53"/>
                      <a:gd name="T3" fmla="*/ 218 h 218"/>
                      <a:gd name="T4" fmla="*/ 53 w 53"/>
                      <a:gd name="T5" fmla="*/ 0 h 218"/>
                      <a:gd name="T6" fmla="*/ 0 w 53"/>
                      <a:gd name="T7" fmla="*/ 0 h 218"/>
                      <a:gd name="T8" fmla="*/ 0 w 53"/>
                      <a:gd name="T9" fmla="*/ 218 h 218"/>
                      <a:gd name="T10" fmla="*/ 0 w 53"/>
                      <a:gd name="T11" fmla="*/ 218 h 218"/>
                      <a:gd name="T12" fmla="*/ 0 w 53"/>
                      <a:gd name="T13" fmla="*/ 218 h 218"/>
                    </a:gdLst>
                    <a:ahLst/>
                    <a:cxnLst>
                      <a:cxn ang="0">
                        <a:pos x="T0" y="T1"/>
                      </a:cxn>
                      <a:cxn ang="0">
                        <a:pos x="T2" y="T3"/>
                      </a:cxn>
                      <a:cxn ang="0">
                        <a:pos x="T4" y="T5"/>
                      </a:cxn>
                      <a:cxn ang="0">
                        <a:pos x="T6" y="T7"/>
                      </a:cxn>
                      <a:cxn ang="0">
                        <a:pos x="T8" y="T9"/>
                      </a:cxn>
                      <a:cxn ang="0">
                        <a:pos x="T10" y="T11"/>
                      </a:cxn>
                      <a:cxn ang="0">
                        <a:pos x="T12" y="T13"/>
                      </a:cxn>
                    </a:cxnLst>
                    <a:rect l="0" t="0" r="r" b="b"/>
                    <a:pathLst>
                      <a:path w="53" h="218">
                        <a:moveTo>
                          <a:pt x="0" y="218"/>
                        </a:moveTo>
                        <a:lnTo>
                          <a:pt x="53" y="218"/>
                        </a:lnTo>
                        <a:lnTo>
                          <a:pt x="53" y="0"/>
                        </a:lnTo>
                        <a:lnTo>
                          <a:pt x="0" y="0"/>
                        </a:lnTo>
                        <a:lnTo>
                          <a:pt x="0" y="218"/>
                        </a:lnTo>
                        <a:lnTo>
                          <a:pt x="0" y="218"/>
                        </a:lnTo>
                        <a:lnTo>
                          <a:pt x="0" y="218"/>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339" name="Group 338"/>
                <p:cNvGrpSpPr/>
                <p:nvPr/>
              </p:nvGrpSpPr>
              <p:grpSpPr>
                <a:xfrm>
                  <a:off x="3529607" y="2250620"/>
                  <a:ext cx="301752" cy="292608"/>
                  <a:chOff x="6341768" y="1610449"/>
                  <a:chExt cx="301752" cy="292608"/>
                </a:xfrm>
              </p:grpSpPr>
              <p:sp>
                <p:nvSpPr>
                  <p:cNvPr id="347" name="Freeform 17"/>
                  <p:cNvSpPr>
                    <a:spLocks/>
                  </p:cNvSpPr>
                  <p:nvPr/>
                </p:nvSpPr>
                <p:spPr bwMode="auto">
                  <a:xfrm>
                    <a:off x="6341768" y="1636229"/>
                    <a:ext cx="270265" cy="266828"/>
                  </a:xfrm>
                  <a:custGeom>
                    <a:avLst/>
                    <a:gdLst>
                      <a:gd name="T0" fmla="*/ 42 w 85"/>
                      <a:gd name="T1" fmla="*/ 42 h 85"/>
                      <a:gd name="T2" fmla="*/ 85 w 85"/>
                      <a:gd name="T3" fmla="*/ 42 h 85"/>
                      <a:gd name="T4" fmla="*/ 42 w 85"/>
                      <a:gd name="T5" fmla="*/ 85 h 85"/>
                      <a:gd name="T6" fmla="*/ 0 w 85"/>
                      <a:gd name="T7" fmla="*/ 42 h 85"/>
                      <a:gd name="T8" fmla="*/ 42 w 85"/>
                      <a:gd name="T9" fmla="*/ 0 h 85"/>
                      <a:gd name="T10" fmla="*/ 42 w 85"/>
                      <a:gd name="T11" fmla="*/ 42 h 85"/>
                      <a:gd name="T12" fmla="*/ 42 w 85"/>
                      <a:gd name="T13" fmla="*/ 42 h 85"/>
                    </a:gdLst>
                    <a:ahLst/>
                    <a:cxnLst>
                      <a:cxn ang="0">
                        <a:pos x="T0" y="T1"/>
                      </a:cxn>
                      <a:cxn ang="0">
                        <a:pos x="T2" y="T3"/>
                      </a:cxn>
                      <a:cxn ang="0">
                        <a:pos x="T4" y="T5"/>
                      </a:cxn>
                      <a:cxn ang="0">
                        <a:pos x="T6" y="T7"/>
                      </a:cxn>
                      <a:cxn ang="0">
                        <a:pos x="T8" y="T9"/>
                      </a:cxn>
                      <a:cxn ang="0">
                        <a:pos x="T10" y="T11"/>
                      </a:cxn>
                      <a:cxn ang="0">
                        <a:pos x="T12" y="T13"/>
                      </a:cxn>
                    </a:cxnLst>
                    <a:rect l="0" t="0" r="r" b="b"/>
                    <a:pathLst>
                      <a:path w="85" h="85">
                        <a:moveTo>
                          <a:pt x="42" y="42"/>
                        </a:moveTo>
                        <a:cubicBezTo>
                          <a:pt x="85" y="42"/>
                          <a:pt x="85" y="42"/>
                          <a:pt x="85" y="42"/>
                        </a:cubicBezTo>
                        <a:cubicBezTo>
                          <a:pt x="85" y="66"/>
                          <a:pt x="66" y="85"/>
                          <a:pt x="42" y="85"/>
                        </a:cubicBezTo>
                        <a:cubicBezTo>
                          <a:pt x="20" y="85"/>
                          <a:pt x="0" y="66"/>
                          <a:pt x="0" y="42"/>
                        </a:cubicBezTo>
                        <a:cubicBezTo>
                          <a:pt x="0" y="19"/>
                          <a:pt x="20" y="0"/>
                          <a:pt x="42" y="0"/>
                        </a:cubicBezTo>
                        <a:cubicBezTo>
                          <a:pt x="42" y="42"/>
                          <a:pt x="42" y="42"/>
                          <a:pt x="42" y="42"/>
                        </a:cubicBezTo>
                        <a:cubicBezTo>
                          <a:pt x="42" y="42"/>
                          <a:pt x="42" y="42"/>
                          <a:pt x="42"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48" name="Freeform 18"/>
                  <p:cNvSpPr>
                    <a:spLocks/>
                  </p:cNvSpPr>
                  <p:nvPr/>
                </p:nvSpPr>
                <p:spPr bwMode="auto">
                  <a:xfrm>
                    <a:off x="6507076" y="1610449"/>
                    <a:ext cx="136444" cy="135348"/>
                  </a:xfrm>
                  <a:custGeom>
                    <a:avLst/>
                    <a:gdLst>
                      <a:gd name="T0" fmla="*/ 0 w 43"/>
                      <a:gd name="T1" fmla="*/ 43 h 43"/>
                      <a:gd name="T2" fmla="*/ 43 w 43"/>
                      <a:gd name="T3" fmla="*/ 43 h 43"/>
                      <a:gd name="T4" fmla="*/ 0 w 43"/>
                      <a:gd name="T5" fmla="*/ 0 h 43"/>
                      <a:gd name="T6" fmla="*/ 0 w 43"/>
                      <a:gd name="T7" fmla="*/ 43 h 43"/>
                      <a:gd name="T8" fmla="*/ 0 w 43"/>
                      <a:gd name="T9" fmla="*/ 43 h 43"/>
                    </a:gdLst>
                    <a:ahLst/>
                    <a:cxnLst>
                      <a:cxn ang="0">
                        <a:pos x="T0" y="T1"/>
                      </a:cxn>
                      <a:cxn ang="0">
                        <a:pos x="T2" y="T3"/>
                      </a:cxn>
                      <a:cxn ang="0">
                        <a:pos x="T4" y="T5"/>
                      </a:cxn>
                      <a:cxn ang="0">
                        <a:pos x="T6" y="T7"/>
                      </a:cxn>
                      <a:cxn ang="0">
                        <a:pos x="T8" y="T9"/>
                      </a:cxn>
                    </a:cxnLst>
                    <a:rect l="0" t="0" r="r" b="b"/>
                    <a:pathLst>
                      <a:path w="43" h="43">
                        <a:moveTo>
                          <a:pt x="0" y="43"/>
                        </a:moveTo>
                        <a:cubicBezTo>
                          <a:pt x="43" y="43"/>
                          <a:pt x="43" y="43"/>
                          <a:pt x="43" y="43"/>
                        </a:cubicBezTo>
                        <a:cubicBezTo>
                          <a:pt x="43" y="20"/>
                          <a:pt x="24" y="0"/>
                          <a:pt x="0" y="0"/>
                        </a:cubicBezTo>
                        <a:cubicBezTo>
                          <a:pt x="0" y="43"/>
                          <a:pt x="0" y="43"/>
                          <a:pt x="0" y="43"/>
                        </a:cubicBezTo>
                        <a:cubicBezTo>
                          <a:pt x="0" y="43"/>
                          <a:pt x="0" y="43"/>
                          <a:pt x="0"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340" name="Group 339"/>
                <p:cNvGrpSpPr/>
                <p:nvPr/>
              </p:nvGrpSpPr>
              <p:grpSpPr>
                <a:xfrm>
                  <a:off x="4054173" y="2282624"/>
                  <a:ext cx="387351" cy="228600"/>
                  <a:chOff x="6797771" y="7529995"/>
                  <a:chExt cx="387351" cy="228600"/>
                </a:xfrm>
              </p:grpSpPr>
              <p:sp>
                <p:nvSpPr>
                  <p:cNvPr id="341" name="Freeform 22"/>
                  <p:cNvSpPr>
                    <a:spLocks/>
                  </p:cNvSpPr>
                  <p:nvPr/>
                </p:nvSpPr>
                <p:spPr bwMode="auto">
                  <a:xfrm>
                    <a:off x="6872384" y="7714145"/>
                    <a:ext cx="238125" cy="44450"/>
                  </a:xfrm>
                  <a:custGeom>
                    <a:avLst/>
                    <a:gdLst>
                      <a:gd name="T0" fmla="*/ 76 w 76"/>
                      <a:gd name="T1" fmla="*/ 14 h 14"/>
                      <a:gd name="T2" fmla="*/ 0 w 76"/>
                      <a:gd name="T3" fmla="*/ 14 h 14"/>
                      <a:gd name="T4" fmla="*/ 0 w 76"/>
                      <a:gd name="T5" fmla="*/ 0 h 14"/>
                      <a:gd name="T6" fmla="*/ 76 w 76"/>
                      <a:gd name="T7" fmla="*/ 0 h 14"/>
                      <a:gd name="T8" fmla="*/ 76 w 76"/>
                      <a:gd name="T9" fmla="*/ 14 h 14"/>
                      <a:gd name="T10" fmla="*/ 76 w 76"/>
                      <a:gd name="T11" fmla="*/ 14 h 14"/>
                    </a:gdLst>
                    <a:ahLst/>
                    <a:cxnLst>
                      <a:cxn ang="0">
                        <a:pos x="T0" y="T1"/>
                      </a:cxn>
                      <a:cxn ang="0">
                        <a:pos x="T2" y="T3"/>
                      </a:cxn>
                      <a:cxn ang="0">
                        <a:pos x="T4" y="T5"/>
                      </a:cxn>
                      <a:cxn ang="0">
                        <a:pos x="T6" y="T7"/>
                      </a:cxn>
                      <a:cxn ang="0">
                        <a:pos x="T8" y="T9"/>
                      </a:cxn>
                      <a:cxn ang="0">
                        <a:pos x="T10" y="T11"/>
                      </a:cxn>
                    </a:cxnLst>
                    <a:rect l="0" t="0" r="r" b="b"/>
                    <a:pathLst>
                      <a:path w="76" h="14">
                        <a:moveTo>
                          <a:pt x="76" y="14"/>
                        </a:moveTo>
                        <a:cubicBezTo>
                          <a:pt x="0" y="14"/>
                          <a:pt x="0" y="14"/>
                          <a:pt x="0" y="14"/>
                        </a:cubicBezTo>
                        <a:cubicBezTo>
                          <a:pt x="0" y="0"/>
                          <a:pt x="0" y="0"/>
                          <a:pt x="0" y="0"/>
                        </a:cubicBezTo>
                        <a:cubicBezTo>
                          <a:pt x="76" y="0"/>
                          <a:pt x="76" y="0"/>
                          <a:pt x="76" y="0"/>
                        </a:cubicBezTo>
                        <a:cubicBezTo>
                          <a:pt x="76" y="14"/>
                          <a:pt x="76" y="14"/>
                          <a:pt x="76" y="14"/>
                        </a:cubicBezTo>
                        <a:cubicBezTo>
                          <a:pt x="76" y="14"/>
                          <a:pt x="76" y="14"/>
                          <a:pt x="76"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42" name="Freeform 23"/>
                  <p:cNvSpPr>
                    <a:spLocks/>
                  </p:cNvSpPr>
                  <p:nvPr/>
                </p:nvSpPr>
                <p:spPr bwMode="auto">
                  <a:xfrm>
                    <a:off x="6872384" y="7529995"/>
                    <a:ext cx="271463" cy="44450"/>
                  </a:xfrm>
                  <a:custGeom>
                    <a:avLst/>
                    <a:gdLst>
                      <a:gd name="T0" fmla="*/ 87 w 87"/>
                      <a:gd name="T1" fmla="*/ 0 h 14"/>
                      <a:gd name="T2" fmla="*/ 0 w 87"/>
                      <a:gd name="T3" fmla="*/ 0 h 14"/>
                      <a:gd name="T4" fmla="*/ 0 w 87"/>
                      <a:gd name="T5" fmla="*/ 14 h 14"/>
                      <a:gd name="T6" fmla="*/ 87 w 87"/>
                      <a:gd name="T7" fmla="*/ 14 h 14"/>
                      <a:gd name="T8" fmla="*/ 87 w 87"/>
                      <a:gd name="T9" fmla="*/ 0 h 14"/>
                      <a:gd name="T10" fmla="*/ 87 w 87"/>
                      <a:gd name="T11" fmla="*/ 0 h 14"/>
                    </a:gdLst>
                    <a:ahLst/>
                    <a:cxnLst>
                      <a:cxn ang="0">
                        <a:pos x="T0" y="T1"/>
                      </a:cxn>
                      <a:cxn ang="0">
                        <a:pos x="T2" y="T3"/>
                      </a:cxn>
                      <a:cxn ang="0">
                        <a:pos x="T4" y="T5"/>
                      </a:cxn>
                      <a:cxn ang="0">
                        <a:pos x="T6" y="T7"/>
                      </a:cxn>
                      <a:cxn ang="0">
                        <a:pos x="T8" y="T9"/>
                      </a:cxn>
                      <a:cxn ang="0">
                        <a:pos x="T10" y="T11"/>
                      </a:cxn>
                    </a:cxnLst>
                    <a:rect l="0" t="0" r="r" b="b"/>
                    <a:pathLst>
                      <a:path w="87" h="14">
                        <a:moveTo>
                          <a:pt x="87" y="0"/>
                        </a:moveTo>
                        <a:cubicBezTo>
                          <a:pt x="0" y="0"/>
                          <a:pt x="0" y="0"/>
                          <a:pt x="0" y="0"/>
                        </a:cubicBezTo>
                        <a:cubicBezTo>
                          <a:pt x="0" y="14"/>
                          <a:pt x="0" y="14"/>
                          <a:pt x="0" y="14"/>
                        </a:cubicBezTo>
                        <a:cubicBezTo>
                          <a:pt x="87" y="14"/>
                          <a:pt x="87" y="14"/>
                          <a:pt x="87" y="14"/>
                        </a:cubicBezTo>
                        <a:cubicBezTo>
                          <a:pt x="87" y="0"/>
                          <a:pt x="87" y="0"/>
                          <a:pt x="87" y="0"/>
                        </a:cubicBezTo>
                        <a:cubicBezTo>
                          <a:pt x="87" y="0"/>
                          <a:pt x="87" y="0"/>
                          <a:pt x="8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43" name="Freeform 24"/>
                  <p:cNvSpPr>
                    <a:spLocks/>
                  </p:cNvSpPr>
                  <p:nvPr/>
                </p:nvSpPr>
                <p:spPr bwMode="auto">
                  <a:xfrm>
                    <a:off x="6872384" y="7618895"/>
                    <a:ext cx="312738" cy="50800"/>
                  </a:xfrm>
                  <a:custGeom>
                    <a:avLst/>
                    <a:gdLst>
                      <a:gd name="T0" fmla="*/ 100 w 100"/>
                      <a:gd name="T1" fmla="*/ 0 h 16"/>
                      <a:gd name="T2" fmla="*/ 0 w 100"/>
                      <a:gd name="T3" fmla="*/ 0 h 16"/>
                      <a:gd name="T4" fmla="*/ 0 w 100"/>
                      <a:gd name="T5" fmla="*/ 16 h 16"/>
                      <a:gd name="T6" fmla="*/ 100 w 100"/>
                      <a:gd name="T7" fmla="*/ 16 h 16"/>
                      <a:gd name="T8" fmla="*/ 100 w 100"/>
                      <a:gd name="T9" fmla="*/ 0 h 16"/>
                      <a:gd name="T10" fmla="*/ 100 w 100"/>
                      <a:gd name="T11" fmla="*/ 0 h 16"/>
                    </a:gdLst>
                    <a:ahLst/>
                    <a:cxnLst>
                      <a:cxn ang="0">
                        <a:pos x="T0" y="T1"/>
                      </a:cxn>
                      <a:cxn ang="0">
                        <a:pos x="T2" y="T3"/>
                      </a:cxn>
                      <a:cxn ang="0">
                        <a:pos x="T4" y="T5"/>
                      </a:cxn>
                      <a:cxn ang="0">
                        <a:pos x="T6" y="T7"/>
                      </a:cxn>
                      <a:cxn ang="0">
                        <a:pos x="T8" y="T9"/>
                      </a:cxn>
                      <a:cxn ang="0">
                        <a:pos x="T10" y="T11"/>
                      </a:cxn>
                    </a:cxnLst>
                    <a:rect l="0" t="0" r="r" b="b"/>
                    <a:pathLst>
                      <a:path w="100" h="16">
                        <a:moveTo>
                          <a:pt x="100" y="0"/>
                        </a:moveTo>
                        <a:cubicBezTo>
                          <a:pt x="0" y="0"/>
                          <a:pt x="0" y="0"/>
                          <a:pt x="0" y="0"/>
                        </a:cubicBezTo>
                        <a:cubicBezTo>
                          <a:pt x="0" y="16"/>
                          <a:pt x="0" y="16"/>
                          <a:pt x="0" y="16"/>
                        </a:cubicBezTo>
                        <a:cubicBezTo>
                          <a:pt x="100" y="16"/>
                          <a:pt x="100" y="16"/>
                          <a:pt x="100" y="16"/>
                        </a:cubicBezTo>
                        <a:cubicBezTo>
                          <a:pt x="100" y="0"/>
                          <a:pt x="100" y="0"/>
                          <a:pt x="100" y="0"/>
                        </a:cubicBezTo>
                        <a:cubicBezTo>
                          <a:pt x="100" y="0"/>
                          <a:pt x="100"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44" name="Freeform 25"/>
                  <p:cNvSpPr>
                    <a:spLocks/>
                  </p:cNvSpPr>
                  <p:nvPr/>
                </p:nvSpPr>
                <p:spPr bwMode="auto">
                  <a:xfrm>
                    <a:off x="6797771" y="7529995"/>
                    <a:ext cx="47625" cy="44450"/>
                  </a:xfrm>
                  <a:custGeom>
                    <a:avLst/>
                    <a:gdLst>
                      <a:gd name="T0" fmla="*/ 7 w 15"/>
                      <a:gd name="T1" fmla="*/ 14 h 14"/>
                      <a:gd name="T2" fmla="*/ 15 w 15"/>
                      <a:gd name="T3" fmla="*/ 6 h 14"/>
                      <a:gd name="T4" fmla="*/ 7 w 15"/>
                      <a:gd name="T5" fmla="*/ 0 h 14"/>
                      <a:gd name="T6" fmla="*/ 0 w 15"/>
                      <a:gd name="T7" fmla="*/ 6 h 14"/>
                      <a:gd name="T8" fmla="*/ 7 w 15"/>
                      <a:gd name="T9" fmla="*/ 14 h 14"/>
                    </a:gdLst>
                    <a:ahLst/>
                    <a:cxnLst>
                      <a:cxn ang="0">
                        <a:pos x="T0" y="T1"/>
                      </a:cxn>
                      <a:cxn ang="0">
                        <a:pos x="T2" y="T3"/>
                      </a:cxn>
                      <a:cxn ang="0">
                        <a:pos x="T4" y="T5"/>
                      </a:cxn>
                      <a:cxn ang="0">
                        <a:pos x="T6" y="T7"/>
                      </a:cxn>
                      <a:cxn ang="0">
                        <a:pos x="T8" y="T9"/>
                      </a:cxn>
                    </a:cxnLst>
                    <a:rect l="0" t="0" r="r" b="b"/>
                    <a:pathLst>
                      <a:path w="15" h="14">
                        <a:moveTo>
                          <a:pt x="7" y="14"/>
                        </a:moveTo>
                        <a:cubicBezTo>
                          <a:pt x="12" y="14"/>
                          <a:pt x="15" y="11"/>
                          <a:pt x="15" y="6"/>
                        </a:cubicBezTo>
                        <a:cubicBezTo>
                          <a:pt x="15" y="3"/>
                          <a:pt x="12" y="0"/>
                          <a:pt x="7" y="0"/>
                        </a:cubicBezTo>
                        <a:cubicBezTo>
                          <a:pt x="4" y="0"/>
                          <a:pt x="0" y="3"/>
                          <a:pt x="0" y="6"/>
                        </a:cubicBezTo>
                        <a:cubicBezTo>
                          <a:pt x="0" y="11"/>
                          <a:pt x="4" y="14"/>
                          <a:pt x="7"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45" name="Freeform 26"/>
                  <p:cNvSpPr>
                    <a:spLocks/>
                  </p:cNvSpPr>
                  <p:nvPr/>
                </p:nvSpPr>
                <p:spPr bwMode="auto">
                  <a:xfrm>
                    <a:off x="6797771" y="7618895"/>
                    <a:ext cx="47625" cy="50800"/>
                  </a:xfrm>
                  <a:custGeom>
                    <a:avLst/>
                    <a:gdLst>
                      <a:gd name="T0" fmla="*/ 7 w 15"/>
                      <a:gd name="T1" fmla="*/ 0 h 16"/>
                      <a:gd name="T2" fmla="*/ 0 w 15"/>
                      <a:gd name="T3" fmla="*/ 8 h 16"/>
                      <a:gd name="T4" fmla="*/ 7 w 15"/>
                      <a:gd name="T5" fmla="*/ 16 h 16"/>
                      <a:gd name="T6" fmla="*/ 15 w 15"/>
                      <a:gd name="T7" fmla="*/ 8 h 16"/>
                      <a:gd name="T8" fmla="*/ 7 w 15"/>
                      <a:gd name="T9" fmla="*/ 0 h 16"/>
                    </a:gdLst>
                    <a:ahLst/>
                    <a:cxnLst>
                      <a:cxn ang="0">
                        <a:pos x="T0" y="T1"/>
                      </a:cxn>
                      <a:cxn ang="0">
                        <a:pos x="T2" y="T3"/>
                      </a:cxn>
                      <a:cxn ang="0">
                        <a:pos x="T4" y="T5"/>
                      </a:cxn>
                      <a:cxn ang="0">
                        <a:pos x="T6" y="T7"/>
                      </a:cxn>
                      <a:cxn ang="0">
                        <a:pos x="T8" y="T9"/>
                      </a:cxn>
                    </a:cxnLst>
                    <a:rect l="0" t="0" r="r" b="b"/>
                    <a:pathLst>
                      <a:path w="15" h="16">
                        <a:moveTo>
                          <a:pt x="7" y="0"/>
                        </a:moveTo>
                        <a:cubicBezTo>
                          <a:pt x="4" y="0"/>
                          <a:pt x="0" y="3"/>
                          <a:pt x="0" y="8"/>
                        </a:cubicBezTo>
                        <a:cubicBezTo>
                          <a:pt x="0" y="13"/>
                          <a:pt x="4" y="16"/>
                          <a:pt x="7" y="16"/>
                        </a:cubicBezTo>
                        <a:cubicBezTo>
                          <a:pt x="12" y="16"/>
                          <a:pt x="15" y="13"/>
                          <a:pt x="15" y="8"/>
                        </a:cubicBezTo>
                        <a:cubicBezTo>
                          <a:pt x="15" y="3"/>
                          <a:pt x="12"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346" name="Freeform 27"/>
                  <p:cNvSpPr>
                    <a:spLocks/>
                  </p:cNvSpPr>
                  <p:nvPr/>
                </p:nvSpPr>
                <p:spPr bwMode="auto">
                  <a:xfrm>
                    <a:off x="6797771" y="7714145"/>
                    <a:ext cx="47625" cy="44450"/>
                  </a:xfrm>
                  <a:custGeom>
                    <a:avLst/>
                    <a:gdLst>
                      <a:gd name="T0" fmla="*/ 7 w 15"/>
                      <a:gd name="T1" fmla="*/ 0 h 14"/>
                      <a:gd name="T2" fmla="*/ 0 w 15"/>
                      <a:gd name="T3" fmla="*/ 7 h 14"/>
                      <a:gd name="T4" fmla="*/ 7 w 15"/>
                      <a:gd name="T5" fmla="*/ 14 h 14"/>
                      <a:gd name="T6" fmla="*/ 15 w 15"/>
                      <a:gd name="T7" fmla="*/ 7 h 14"/>
                      <a:gd name="T8" fmla="*/ 7 w 15"/>
                      <a:gd name="T9" fmla="*/ 0 h 14"/>
                    </a:gdLst>
                    <a:ahLst/>
                    <a:cxnLst>
                      <a:cxn ang="0">
                        <a:pos x="T0" y="T1"/>
                      </a:cxn>
                      <a:cxn ang="0">
                        <a:pos x="T2" y="T3"/>
                      </a:cxn>
                      <a:cxn ang="0">
                        <a:pos x="T4" y="T5"/>
                      </a:cxn>
                      <a:cxn ang="0">
                        <a:pos x="T6" y="T7"/>
                      </a:cxn>
                      <a:cxn ang="0">
                        <a:pos x="T8" y="T9"/>
                      </a:cxn>
                    </a:cxnLst>
                    <a:rect l="0" t="0" r="r" b="b"/>
                    <a:pathLst>
                      <a:path w="15" h="14">
                        <a:moveTo>
                          <a:pt x="7" y="0"/>
                        </a:moveTo>
                        <a:cubicBezTo>
                          <a:pt x="4" y="0"/>
                          <a:pt x="0" y="3"/>
                          <a:pt x="0" y="7"/>
                        </a:cubicBezTo>
                        <a:cubicBezTo>
                          <a:pt x="0" y="11"/>
                          <a:pt x="4" y="14"/>
                          <a:pt x="7" y="14"/>
                        </a:cubicBezTo>
                        <a:cubicBezTo>
                          <a:pt x="12" y="14"/>
                          <a:pt x="15" y="11"/>
                          <a:pt x="15" y="7"/>
                        </a:cubicBezTo>
                        <a:cubicBezTo>
                          <a:pt x="15" y="3"/>
                          <a:pt x="12"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sp>
            <p:nvSpPr>
              <p:cNvPr id="335" name="TextBox 334"/>
              <p:cNvSpPr txBox="1"/>
              <p:nvPr/>
            </p:nvSpPr>
            <p:spPr>
              <a:xfrm>
                <a:off x="1312969" y="2043437"/>
                <a:ext cx="1241869" cy="731520"/>
              </a:xfrm>
              <a:prstGeom prst="rect">
                <a:avLst/>
              </a:prstGeom>
              <a:noFill/>
            </p:spPr>
            <p:txBody>
              <a:bodyPr wrap="square" lIns="89642" tIns="89642" rIns="0" bIns="89642" rtlCol="0">
                <a:noAutofit/>
              </a:bodyPr>
              <a:lstStyle/>
              <a:p>
                <a:pPr defTabSz="914206">
                  <a:lnSpc>
                    <a:spcPct val="90000"/>
                  </a:lnSpc>
                  <a:spcAft>
                    <a:spcPts val="588"/>
                  </a:spcAft>
                </a:pPr>
                <a:r>
                  <a:rPr lang="en-US" sz="1078" dirty="0">
                    <a:gradFill>
                      <a:gsLst>
                        <a:gs pos="17219">
                          <a:srgbClr val="FFFFFF"/>
                        </a:gs>
                        <a:gs pos="32743">
                          <a:srgbClr val="FFFFFF"/>
                        </a:gs>
                      </a:gsLst>
                      <a:lin ang="5400000" scaled="0"/>
                    </a:gradFill>
                    <a:latin typeface="Segoe UI Semibold" panose="020B0702040204020203" pitchFamily="34" charset="0"/>
                  </a:rPr>
                  <a:t>App, </a:t>
                </a:r>
                <a:br>
                  <a:rPr lang="en-US" sz="1078" dirty="0">
                    <a:gradFill>
                      <a:gsLst>
                        <a:gs pos="17219">
                          <a:srgbClr val="FFFFFF"/>
                        </a:gs>
                        <a:gs pos="32743">
                          <a:srgbClr val="FFFFFF"/>
                        </a:gs>
                      </a:gsLst>
                      <a:lin ang="5400000" scaled="0"/>
                    </a:gradFill>
                    <a:latin typeface="Segoe UI Semibold" panose="020B0702040204020203" pitchFamily="34" charset="0"/>
                  </a:rPr>
                </a:br>
                <a:r>
                  <a:rPr lang="en-US" sz="1078" dirty="0">
                    <a:gradFill>
                      <a:gsLst>
                        <a:gs pos="17219">
                          <a:srgbClr val="FFFFFF"/>
                        </a:gs>
                        <a:gs pos="32743">
                          <a:srgbClr val="FFFFFF"/>
                        </a:gs>
                      </a:gsLst>
                      <a:lin ang="5400000" scaled="0"/>
                    </a:gradFill>
                    <a:latin typeface="Segoe UI Semibold" panose="020B0702040204020203" pitchFamily="34" charset="0"/>
                  </a:rPr>
                  <a:t>SLA(s)</a:t>
                </a:r>
              </a:p>
            </p:txBody>
          </p:sp>
        </p:grpSp>
        <p:grpSp>
          <p:nvGrpSpPr>
            <p:cNvPr id="331" name="Group 330"/>
            <p:cNvGrpSpPr/>
            <p:nvPr/>
          </p:nvGrpSpPr>
          <p:grpSpPr>
            <a:xfrm>
              <a:off x="5827888" y="2242438"/>
              <a:ext cx="364330" cy="323240"/>
              <a:chOff x="2195513" y="-1231900"/>
              <a:chExt cx="1055688" cy="936625"/>
            </a:xfrm>
            <a:solidFill>
              <a:schemeClr val="bg1"/>
            </a:solidFill>
          </p:grpSpPr>
          <p:sp>
            <p:nvSpPr>
              <p:cNvPr id="332" name="Freeform 5"/>
              <p:cNvSpPr>
                <a:spLocks noEditPoints="1"/>
              </p:cNvSpPr>
              <p:nvPr/>
            </p:nvSpPr>
            <p:spPr bwMode="auto">
              <a:xfrm>
                <a:off x="2578101" y="-938213"/>
                <a:ext cx="673100" cy="642938"/>
              </a:xfrm>
              <a:custGeom>
                <a:avLst/>
                <a:gdLst>
                  <a:gd name="T0" fmla="*/ 1400 w 1451"/>
                  <a:gd name="T1" fmla="*/ 622 h 1384"/>
                  <a:gd name="T2" fmla="*/ 639 w 1451"/>
                  <a:gd name="T3" fmla="*/ 0 h 1384"/>
                  <a:gd name="T4" fmla="*/ 611 w 1451"/>
                  <a:gd name="T5" fmla="*/ 6 h 1384"/>
                  <a:gd name="T6" fmla="*/ 252 w 1451"/>
                  <a:gd name="T7" fmla="*/ 157 h 1384"/>
                  <a:gd name="T8" fmla="*/ 252 w 1451"/>
                  <a:gd name="T9" fmla="*/ 157 h 1384"/>
                  <a:gd name="T10" fmla="*/ 174 w 1451"/>
                  <a:gd name="T11" fmla="*/ 235 h 1384"/>
                  <a:gd name="T12" fmla="*/ 51 w 1451"/>
                  <a:gd name="T13" fmla="*/ 762 h 1384"/>
                  <a:gd name="T14" fmla="*/ 807 w 1451"/>
                  <a:gd name="T15" fmla="*/ 1384 h 1384"/>
                  <a:gd name="T16" fmla="*/ 840 w 1451"/>
                  <a:gd name="T17" fmla="*/ 1384 h 1384"/>
                  <a:gd name="T18" fmla="*/ 1199 w 1451"/>
                  <a:gd name="T19" fmla="*/ 1227 h 1384"/>
                  <a:gd name="T20" fmla="*/ 1271 w 1451"/>
                  <a:gd name="T21" fmla="*/ 1154 h 1384"/>
                  <a:gd name="T22" fmla="*/ 1271 w 1451"/>
                  <a:gd name="T23" fmla="*/ 1154 h 1384"/>
                  <a:gd name="T24" fmla="*/ 1400 w 1451"/>
                  <a:gd name="T25" fmla="*/ 622 h 1384"/>
                  <a:gd name="T26" fmla="*/ 902 w 1451"/>
                  <a:gd name="T27" fmla="*/ 818 h 1384"/>
                  <a:gd name="T28" fmla="*/ 818 w 1451"/>
                  <a:gd name="T29" fmla="*/ 852 h 1384"/>
                  <a:gd name="T30" fmla="*/ 745 w 1451"/>
                  <a:gd name="T31" fmla="*/ 728 h 1384"/>
                  <a:gd name="T32" fmla="*/ 527 w 1451"/>
                  <a:gd name="T33" fmla="*/ 863 h 1384"/>
                  <a:gd name="T34" fmla="*/ 465 w 1451"/>
                  <a:gd name="T35" fmla="*/ 784 h 1384"/>
                  <a:gd name="T36" fmla="*/ 695 w 1451"/>
                  <a:gd name="T37" fmla="*/ 639 h 1384"/>
                  <a:gd name="T38" fmla="*/ 471 w 1451"/>
                  <a:gd name="T39" fmla="*/ 235 h 1384"/>
                  <a:gd name="T40" fmla="*/ 555 w 1451"/>
                  <a:gd name="T41" fmla="*/ 202 h 1384"/>
                  <a:gd name="T42" fmla="*/ 773 w 1451"/>
                  <a:gd name="T43" fmla="*/ 588 h 1384"/>
                  <a:gd name="T44" fmla="*/ 874 w 1451"/>
                  <a:gd name="T45" fmla="*/ 521 h 1384"/>
                  <a:gd name="T46" fmla="*/ 936 w 1451"/>
                  <a:gd name="T47" fmla="*/ 605 h 1384"/>
                  <a:gd name="T48" fmla="*/ 824 w 1451"/>
                  <a:gd name="T49" fmla="*/ 678 h 1384"/>
                  <a:gd name="T50" fmla="*/ 902 w 1451"/>
                  <a:gd name="T51" fmla="*/ 818 h 1384"/>
                  <a:gd name="T52" fmla="*/ 902 w 1451"/>
                  <a:gd name="T53" fmla="*/ 818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1" h="1384">
                    <a:moveTo>
                      <a:pt x="1400" y="622"/>
                    </a:moveTo>
                    <a:cubicBezTo>
                      <a:pt x="1316" y="275"/>
                      <a:pt x="980" y="0"/>
                      <a:pt x="639" y="0"/>
                    </a:cubicBezTo>
                    <a:cubicBezTo>
                      <a:pt x="628" y="0"/>
                      <a:pt x="622" y="0"/>
                      <a:pt x="611" y="6"/>
                    </a:cubicBezTo>
                    <a:cubicBezTo>
                      <a:pt x="460" y="11"/>
                      <a:pt x="336" y="67"/>
                      <a:pt x="252" y="157"/>
                    </a:cubicBezTo>
                    <a:cubicBezTo>
                      <a:pt x="252" y="157"/>
                      <a:pt x="252" y="157"/>
                      <a:pt x="252" y="157"/>
                    </a:cubicBezTo>
                    <a:cubicBezTo>
                      <a:pt x="174" y="235"/>
                      <a:pt x="174" y="235"/>
                      <a:pt x="174" y="235"/>
                    </a:cubicBezTo>
                    <a:cubicBezTo>
                      <a:pt x="51" y="364"/>
                      <a:pt x="0" y="555"/>
                      <a:pt x="51" y="762"/>
                    </a:cubicBezTo>
                    <a:cubicBezTo>
                      <a:pt x="129" y="1115"/>
                      <a:pt x="465" y="1384"/>
                      <a:pt x="807" y="1384"/>
                    </a:cubicBezTo>
                    <a:cubicBezTo>
                      <a:pt x="818" y="1384"/>
                      <a:pt x="829" y="1384"/>
                      <a:pt x="840" y="1384"/>
                    </a:cubicBezTo>
                    <a:cubicBezTo>
                      <a:pt x="986" y="1378"/>
                      <a:pt x="1109" y="1322"/>
                      <a:pt x="1199" y="1227"/>
                    </a:cubicBezTo>
                    <a:cubicBezTo>
                      <a:pt x="1271" y="1154"/>
                      <a:pt x="1271" y="1154"/>
                      <a:pt x="1271" y="1154"/>
                    </a:cubicBezTo>
                    <a:cubicBezTo>
                      <a:pt x="1271" y="1154"/>
                      <a:pt x="1271" y="1154"/>
                      <a:pt x="1271" y="1154"/>
                    </a:cubicBezTo>
                    <a:cubicBezTo>
                      <a:pt x="1395" y="1025"/>
                      <a:pt x="1451" y="835"/>
                      <a:pt x="1400" y="622"/>
                    </a:cubicBezTo>
                    <a:close/>
                    <a:moveTo>
                      <a:pt x="902" y="818"/>
                    </a:moveTo>
                    <a:cubicBezTo>
                      <a:pt x="818" y="852"/>
                      <a:pt x="818" y="852"/>
                      <a:pt x="818" y="852"/>
                    </a:cubicBezTo>
                    <a:cubicBezTo>
                      <a:pt x="745" y="728"/>
                      <a:pt x="745" y="728"/>
                      <a:pt x="745" y="728"/>
                    </a:cubicBezTo>
                    <a:cubicBezTo>
                      <a:pt x="527" y="863"/>
                      <a:pt x="527" y="863"/>
                      <a:pt x="527" y="863"/>
                    </a:cubicBezTo>
                    <a:cubicBezTo>
                      <a:pt x="465" y="784"/>
                      <a:pt x="465" y="784"/>
                      <a:pt x="465" y="784"/>
                    </a:cubicBezTo>
                    <a:cubicBezTo>
                      <a:pt x="695" y="639"/>
                      <a:pt x="695" y="639"/>
                      <a:pt x="695" y="639"/>
                    </a:cubicBezTo>
                    <a:cubicBezTo>
                      <a:pt x="471" y="235"/>
                      <a:pt x="471" y="235"/>
                      <a:pt x="471" y="235"/>
                    </a:cubicBezTo>
                    <a:cubicBezTo>
                      <a:pt x="555" y="202"/>
                      <a:pt x="555" y="202"/>
                      <a:pt x="555" y="202"/>
                    </a:cubicBezTo>
                    <a:cubicBezTo>
                      <a:pt x="773" y="588"/>
                      <a:pt x="773" y="588"/>
                      <a:pt x="773" y="588"/>
                    </a:cubicBezTo>
                    <a:cubicBezTo>
                      <a:pt x="874" y="521"/>
                      <a:pt x="874" y="521"/>
                      <a:pt x="874" y="521"/>
                    </a:cubicBezTo>
                    <a:cubicBezTo>
                      <a:pt x="936" y="605"/>
                      <a:pt x="936" y="605"/>
                      <a:pt x="936" y="605"/>
                    </a:cubicBezTo>
                    <a:cubicBezTo>
                      <a:pt x="824" y="678"/>
                      <a:pt x="824" y="678"/>
                      <a:pt x="824" y="678"/>
                    </a:cubicBezTo>
                    <a:cubicBezTo>
                      <a:pt x="902" y="818"/>
                      <a:pt x="902" y="818"/>
                      <a:pt x="902" y="818"/>
                    </a:cubicBezTo>
                    <a:cubicBezTo>
                      <a:pt x="902" y="818"/>
                      <a:pt x="902" y="818"/>
                      <a:pt x="902"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333" name="Freeform 6"/>
              <p:cNvSpPr>
                <a:spLocks noEditPoints="1"/>
              </p:cNvSpPr>
              <p:nvPr/>
            </p:nvSpPr>
            <p:spPr bwMode="auto">
              <a:xfrm>
                <a:off x="2195513" y="-1231900"/>
                <a:ext cx="692150" cy="762000"/>
              </a:xfrm>
              <a:custGeom>
                <a:avLst/>
                <a:gdLst>
                  <a:gd name="T0" fmla="*/ 1313 w 1492"/>
                  <a:gd name="T1" fmla="*/ 185 h 1642"/>
                  <a:gd name="T2" fmla="*/ 1034 w 1492"/>
                  <a:gd name="T3" fmla="*/ 67 h 1642"/>
                  <a:gd name="T4" fmla="*/ 1151 w 1492"/>
                  <a:gd name="T5" fmla="*/ 84 h 1642"/>
                  <a:gd name="T6" fmla="*/ 1224 w 1492"/>
                  <a:gd name="T7" fmla="*/ 185 h 1642"/>
                  <a:gd name="T8" fmla="*/ 1151 w 1492"/>
                  <a:gd name="T9" fmla="*/ 274 h 1642"/>
                  <a:gd name="T10" fmla="*/ 498 w 1492"/>
                  <a:gd name="T11" fmla="*/ 185 h 1642"/>
                  <a:gd name="T12" fmla="*/ 218 w 1492"/>
                  <a:gd name="T13" fmla="*/ 67 h 1642"/>
                  <a:gd name="T14" fmla="*/ 341 w 1492"/>
                  <a:gd name="T15" fmla="*/ 84 h 1642"/>
                  <a:gd name="T16" fmla="*/ 408 w 1492"/>
                  <a:gd name="T17" fmla="*/ 185 h 1642"/>
                  <a:gd name="T18" fmla="*/ 341 w 1492"/>
                  <a:gd name="T19" fmla="*/ 274 h 1642"/>
                  <a:gd name="T20" fmla="*/ 73 w 1492"/>
                  <a:gd name="T21" fmla="*/ 185 h 1642"/>
                  <a:gd name="T22" fmla="*/ 0 w 1492"/>
                  <a:gd name="T23" fmla="*/ 1574 h 1642"/>
                  <a:gd name="T24" fmla="*/ 866 w 1492"/>
                  <a:gd name="T25" fmla="*/ 1642 h 1642"/>
                  <a:gd name="T26" fmla="*/ 554 w 1492"/>
                  <a:gd name="T27" fmla="*/ 1535 h 1642"/>
                  <a:gd name="T28" fmla="*/ 760 w 1492"/>
                  <a:gd name="T29" fmla="*/ 1266 h 1642"/>
                  <a:gd name="T30" fmla="*/ 554 w 1492"/>
                  <a:gd name="T31" fmla="*/ 1188 h 1642"/>
                  <a:gd name="T32" fmla="*/ 855 w 1492"/>
                  <a:gd name="T33" fmla="*/ 896 h 1642"/>
                  <a:gd name="T34" fmla="*/ 554 w 1492"/>
                  <a:gd name="T35" fmla="*/ 818 h 1642"/>
                  <a:gd name="T36" fmla="*/ 939 w 1492"/>
                  <a:gd name="T37" fmla="*/ 549 h 1642"/>
                  <a:gd name="T38" fmla="*/ 1006 w 1492"/>
                  <a:gd name="T39" fmla="*/ 728 h 1642"/>
                  <a:gd name="T40" fmla="*/ 1017 w 1492"/>
                  <a:gd name="T41" fmla="*/ 549 h 1642"/>
                  <a:gd name="T42" fmla="*/ 1425 w 1492"/>
                  <a:gd name="T43" fmla="*/ 543 h 1642"/>
                  <a:gd name="T44" fmla="*/ 1492 w 1492"/>
                  <a:gd name="T45" fmla="*/ 543 h 1642"/>
                  <a:gd name="T46" fmla="*/ 1420 w 1492"/>
                  <a:gd name="T47" fmla="*/ 185 h 1642"/>
                  <a:gd name="T48" fmla="*/ 107 w 1492"/>
                  <a:gd name="T49" fmla="*/ 1535 h 1642"/>
                  <a:gd name="T50" fmla="*/ 475 w 1492"/>
                  <a:gd name="T51" fmla="*/ 1266 h 1642"/>
                  <a:gd name="T52" fmla="*/ 475 w 1492"/>
                  <a:gd name="T53" fmla="*/ 1535 h 1642"/>
                  <a:gd name="T54" fmla="*/ 107 w 1492"/>
                  <a:gd name="T55" fmla="*/ 1188 h 1642"/>
                  <a:gd name="T56" fmla="*/ 475 w 1492"/>
                  <a:gd name="T57" fmla="*/ 896 h 1642"/>
                  <a:gd name="T58" fmla="*/ 475 w 1492"/>
                  <a:gd name="T59" fmla="*/ 1188 h 1642"/>
                  <a:gd name="T60" fmla="*/ 107 w 1492"/>
                  <a:gd name="T61" fmla="*/ 818 h 1642"/>
                  <a:gd name="T62" fmla="*/ 475 w 1492"/>
                  <a:gd name="T63" fmla="*/ 549 h 1642"/>
                  <a:gd name="T64" fmla="*/ 475 w 1492"/>
                  <a:gd name="T65" fmla="*/ 818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2" h="1642">
                    <a:moveTo>
                      <a:pt x="1420" y="185"/>
                    </a:moveTo>
                    <a:cubicBezTo>
                      <a:pt x="1313" y="185"/>
                      <a:pt x="1313" y="185"/>
                      <a:pt x="1313" y="185"/>
                    </a:cubicBezTo>
                    <a:cubicBezTo>
                      <a:pt x="1308" y="84"/>
                      <a:pt x="1241" y="0"/>
                      <a:pt x="1151" y="0"/>
                    </a:cubicBezTo>
                    <a:cubicBezTo>
                      <a:pt x="1107" y="0"/>
                      <a:pt x="1062" y="28"/>
                      <a:pt x="1034" y="67"/>
                    </a:cubicBezTo>
                    <a:cubicBezTo>
                      <a:pt x="1107" y="112"/>
                      <a:pt x="1107" y="112"/>
                      <a:pt x="1107" y="112"/>
                    </a:cubicBezTo>
                    <a:cubicBezTo>
                      <a:pt x="1118" y="95"/>
                      <a:pt x="1135" y="84"/>
                      <a:pt x="1151" y="84"/>
                    </a:cubicBezTo>
                    <a:cubicBezTo>
                      <a:pt x="1190" y="84"/>
                      <a:pt x="1224" y="129"/>
                      <a:pt x="1224" y="179"/>
                    </a:cubicBezTo>
                    <a:cubicBezTo>
                      <a:pt x="1224" y="185"/>
                      <a:pt x="1224" y="185"/>
                      <a:pt x="1224" y="185"/>
                    </a:cubicBezTo>
                    <a:cubicBezTo>
                      <a:pt x="1224" y="185"/>
                      <a:pt x="1224" y="185"/>
                      <a:pt x="1224" y="185"/>
                    </a:cubicBezTo>
                    <a:cubicBezTo>
                      <a:pt x="1218" y="235"/>
                      <a:pt x="1190" y="274"/>
                      <a:pt x="1151" y="274"/>
                    </a:cubicBezTo>
                    <a:cubicBezTo>
                      <a:pt x="1118" y="274"/>
                      <a:pt x="1084" y="235"/>
                      <a:pt x="1084" y="185"/>
                    </a:cubicBezTo>
                    <a:cubicBezTo>
                      <a:pt x="498" y="185"/>
                      <a:pt x="498" y="185"/>
                      <a:pt x="498" y="185"/>
                    </a:cubicBezTo>
                    <a:cubicBezTo>
                      <a:pt x="498" y="84"/>
                      <a:pt x="425" y="0"/>
                      <a:pt x="341" y="0"/>
                    </a:cubicBezTo>
                    <a:cubicBezTo>
                      <a:pt x="291" y="0"/>
                      <a:pt x="246" y="28"/>
                      <a:pt x="218" y="67"/>
                    </a:cubicBezTo>
                    <a:cubicBezTo>
                      <a:pt x="291" y="112"/>
                      <a:pt x="291" y="112"/>
                      <a:pt x="291" y="112"/>
                    </a:cubicBezTo>
                    <a:cubicBezTo>
                      <a:pt x="302" y="95"/>
                      <a:pt x="319" y="84"/>
                      <a:pt x="341" y="84"/>
                    </a:cubicBezTo>
                    <a:cubicBezTo>
                      <a:pt x="380" y="84"/>
                      <a:pt x="408" y="129"/>
                      <a:pt x="408" y="179"/>
                    </a:cubicBezTo>
                    <a:cubicBezTo>
                      <a:pt x="408" y="185"/>
                      <a:pt x="408" y="185"/>
                      <a:pt x="408" y="185"/>
                    </a:cubicBezTo>
                    <a:cubicBezTo>
                      <a:pt x="408" y="185"/>
                      <a:pt x="408" y="185"/>
                      <a:pt x="408" y="185"/>
                    </a:cubicBezTo>
                    <a:cubicBezTo>
                      <a:pt x="408" y="235"/>
                      <a:pt x="375" y="274"/>
                      <a:pt x="341" y="274"/>
                    </a:cubicBezTo>
                    <a:cubicBezTo>
                      <a:pt x="302" y="274"/>
                      <a:pt x="274" y="235"/>
                      <a:pt x="269" y="185"/>
                    </a:cubicBezTo>
                    <a:cubicBezTo>
                      <a:pt x="73" y="185"/>
                      <a:pt x="73" y="185"/>
                      <a:pt x="73" y="185"/>
                    </a:cubicBezTo>
                    <a:cubicBezTo>
                      <a:pt x="34" y="185"/>
                      <a:pt x="0" y="218"/>
                      <a:pt x="0" y="258"/>
                    </a:cubicBezTo>
                    <a:cubicBezTo>
                      <a:pt x="0" y="1574"/>
                      <a:pt x="0" y="1574"/>
                      <a:pt x="0" y="1574"/>
                    </a:cubicBezTo>
                    <a:cubicBezTo>
                      <a:pt x="0" y="1614"/>
                      <a:pt x="34" y="1642"/>
                      <a:pt x="73" y="1642"/>
                    </a:cubicBezTo>
                    <a:cubicBezTo>
                      <a:pt x="866" y="1642"/>
                      <a:pt x="866" y="1642"/>
                      <a:pt x="866" y="1642"/>
                    </a:cubicBezTo>
                    <a:cubicBezTo>
                      <a:pt x="850" y="1608"/>
                      <a:pt x="833" y="1574"/>
                      <a:pt x="816" y="1535"/>
                    </a:cubicBezTo>
                    <a:cubicBezTo>
                      <a:pt x="554" y="1535"/>
                      <a:pt x="554" y="1535"/>
                      <a:pt x="554" y="1535"/>
                    </a:cubicBezTo>
                    <a:cubicBezTo>
                      <a:pt x="554" y="1266"/>
                      <a:pt x="554" y="1266"/>
                      <a:pt x="554" y="1266"/>
                    </a:cubicBezTo>
                    <a:cubicBezTo>
                      <a:pt x="760" y="1266"/>
                      <a:pt x="760" y="1266"/>
                      <a:pt x="760" y="1266"/>
                    </a:cubicBezTo>
                    <a:cubicBezTo>
                      <a:pt x="760" y="1238"/>
                      <a:pt x="760" y="1216"/>
                      <a:pt x="760" y="1188"/>
                    </a:cubicBezTo>
                    <a:cubicBezTo>
                      <a:pt x="554" y="1188"/>
                      <a:pt x="554" y="1188"/>
                      <a:pt x="554" y="1188"/>
                    </a:cubicBezTo>
                    <a:cubicBezTo>
                      <a:pt x="554" y="896"/>
                      <a:pt x="554" y="896"/>
                      <a:pt x="554" y="896"/>
                    </a:cubicBezTo>
                    <a:cubicBezTo>
                      <a:pt x="855" y="896"/>
                      <a:pt x="855" y="896"/>
                      <a:pt x="855" y="896"/>
                    </a:cubicBezTo>
                    <a:cubicBezTo>
                      <a:pt x="872" y="868"/>
                      <a:pt x="894" y="846"/>
                      <a:pt x="917" y="818"/>
                    </a:cubicBezTo>
                    <a:cubicBezTo>
                      <a:pt x="554" y="818"/>
                      <a:pt x="554" y="818"/>
                      <a:pt x="554" y="818"/>
                    </a:cubicBezTo>
                    <a:cubicBezTo>
                      <a:pt x="554" y="549"/>
                      <a:pt x="554" y="549"/>
                      <a:pt x="554" y="549"/>
                    </a:cubicBezTo>
                    <a:cubicBezTo>
                      <a:pt x="939" y="549"/>
                      <a:pt x="939" y="549"/>
                      <a:pt x="939" y="549"/>
                    </a:cubicBezTo>
                    <a:cubicBezTo>
                      <a:pt x="939" y="795"/>
                      <a:pt x="939" y="795"/>
                      <a:pt x="939" y="795"/>
                    </a:cubicBezTo>
                    <a:cubicBezTo>
                      <a:pt x="1006" y="728"/>
                      <a:pt x="1006" y="728"/>
                      <a:pt x="1006" y="728"/>
                    </a:cubicBezTo>
                    <a:cubicBezTo>
                      <a:pt x="1012" y="723"/>
                      <a:pt x="1012" y="717"/>
                      <a:pt x="1017" y="717"/>
                    </a:cubicBezTo>
                    <a:cubicBezTo>
                      <a:pt x="1017" y="549"/>
                      <a:pt x="1017" y="549"/>
                      <a:pt x="1017" y="549"/>
                    </a:cubicBezTo>
                    <a:cubicBezTo>
                      <a:pt x="1375" y="549"/>
                      <a:pt x="1375" y="549"/>
                      <a:pt x="1375" y="549"/>
                    </a:cubicBezTo>
                    <a:cubicBezTo>
                      <a:pt x="1392" y="549"/>
                      <a:pt x="1408" y="543"/>
                      <a:pt x="1425" y="543"/>
                    </a:cubicBezTo>
                    <a:cubicBezTo>
                      <a:pt x="1436" y="543"/>
                      <a:pt x="1448" y="543"/>
                      <a:pt x="1459" y="543"/>
                    </a:cubicBezTo>
                    <a:cubicBezTo>
                      <a:pt x="1470" y="543"/>
                      <a:pt x="1481" y="543"/>
                      <a:pt x="1492" y="543"/>
                    </a:cubicBezTo>
                    <a:cubicBezTo>
                      <a:pt x="1492" y="258"/>
                      <a:pt x="1492" y="258"/>
                      <a:pt x="1492" y="258"/>
                    </a:cubicBezTo>
                    <a:cubicBezTo>
                      <a:pt x="1492" y="218"/>
                      <a:pt x="1459" y="185"/>
                      <a:pt x="1420" y="185"/>
                    </a:cubicBezTo>
                    <a:close/>
                    <a:moveTo>
                      <a:pt x="475" y="1535"/>
                    </a:moveTo>
                    <a:cubicBezTo>
                      <a:pt x="107" y="1535"/>
                      <a:pt x="107" y="1535"/>
                      <a:pt x="107" y="1535"/>
                    </a:cubicBezTo>
                    <a:cubicBezTo>
                      <a:pt x="107" y="1266"/>
                      <a:pt x="107" y="1266"/>
                      <a:pt x="107" y="1266"/>
                    </a:cubicBezTo>
                    <a:cubicBezTo>
                      <a:pt x="475" y="1266"/>
                      <a:pt x="475" y="1266"/>
                      <a:pt x="475" y="1266"/>
                    </a:cubicBezTo>
                    <a:cubicBezTo>
                      <a:pt x="475" y="1535"/>
                      <a:pt x="475" y="1535"/>
                      <a:pt x="475" y="1535"/>
                    </a:cubicBezTo>
                    <a:cubicBezTo>
                      <a:pt x="475" y="1535"/>
                      <a:pt x="475" y="1535"/>
                      <a:pt x="475" y="1535"/>
                    </a:cubicBezTo>
                    <a:close/>
                    <a:moveTo>
                      <a:pt x="475" y="1188"/>
                    </a:moveTo>
                    <a:cubicBezTo>
                      <a:pt x="107" y="1188"/>
                      <a:pt x="107" y="1188"/>
                      <a:pt x="107" y="1188"/>
                    </a:cubicBezTo>
                    <a:cubicBezTo>
                      <a:pt x="107" y="896"/>
                      <a:pt x="107" y="896"/>
                      <a:pt x="107" y="896"/>
                    </a:cubicBezTo>
                    <a:cubicBezTo>
                      <a:pt x="475" y="896"/>
                      <a:pt x="475" y="896"/>
                      <a:pt x="475" y="896"/>
                    </a:cubicBezTo>
                    <a:cubicBezTo>
                      <a:pt x="475" y="1188"/>
                      <a:pt x="475" y="1188"/>
                      <a:pt x="475" y="1188"/>
                    </a:cubicBezTo>
                    <a:cubicBezTo>
                      <a:pt x="475" y="1188"/>
                      <a:pt x="475" y="1188"/>
                      <a:pt x="475" y="1188"/>
                    </a:cubicBezTo>
                    <a:close/>
                    <a:moveTo>
                      <a:pt x="475" y="818"/>
                    </a:moveTo>
                    <a:cubicBezTo>
                      <a:pt x="107" y="818"/>
                      <a:pt x="107" y="818"/>
                      <a:pt x="107" y="818"/>
                    </a:cubicBezTo>
                    <a:cubicBezTo>
                      <a:pt x="107" y="549"/>
                      <a:pt x="107" y="549"/>
                      <a:pt x="107" y="549"/>
                    </a:cubicBezTo>
                    <a:cubicBezTo>
                      <a:pt x="475" y="549"/>
                      <a:pt x="475" y="549"/>
                      <a:pt x="475" y="549"/>
                    </a:cubicBezTo>
                    <a:cubicBezTo>
                      <a:pt x="475" y="818"/>
                      <a:pt x="475" y="818"/>
                      <a:pt x="475" y="818"/>
                    </a:cubicBezTo>
                    <a:cubicBezTo>
                      <a:pt x="475" y="818"/>
                      <a:pt x="475" y="818"/>
                      <a:pt x="475"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grpSp>
      </p:grpSp>
      <p:grpSp>
        <p:nvGrpSpPr>
          <p:cNvPr id="7" name="Top banner"/>
          <p:cNvGrpSpPr/>
          <p:nvPr/>
        </p:nvGrpSpPr>
        <p:grpSpPr>
          <a:xfrm>
            <a:off x="1175070" y="297133"/>
            <a:ext cx="11028769" cy="1517673"/>
            <a:chOff x="1198631" y="302595"/>
            <a:chExt cx="11249918" cy="1548108"/>
          </a:xfrm>
        </p:grpSpPr>
        <p:sp>
          <p:nvSpPr>
            <p:cNvPr id="22" name="Rectangle 21"/>
            <p:cNvSpPr/>
            <p:nvPr/>
          </p:nvSpPr>
          <p:spPr bwMode="auto">
            <a:xfrm>
              <a:off x="1198631" y="302595"/>
              <a:ext cx="7556977" cy="1006754"/>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33" name="Rectangle 32"/>
            <p:cNvSpPr/>
            <p:nvPr/>
          </p:nvSpPr>
          <p:spPr bwMode="auto">
            <a:xfrm>
              <a:off x="8794750" y="302844"/>
              <a:ext cx="3641724" cy="10065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765" dirty="0" smtClean="0">
                  <a:gradFill>
                    <a:gsLst>
                      <a:gs pos="24779">
                        <a:srgbClr val="FFFFFF"/>
                      </a:gs>
                      <a:gs pos="57000">
                        <a:srgbClr val="FFFFFF"/>
                      </a:gs>
                    </a:gsLst>
                    <a:lin ang="5400000" scaled="0"/>
                  </a:gradFill>
                </a:rPr>
                <a:t>Log Analytics, </a:t>
              </a:r>
              <a:br>
                <a:rPr lang="en-US" sz="1765" dirty="0" smtClean="0">
                  <a:gradFill>
                    <a:gsLst>
                      <a:gs pos="24779">
                        <a:srgbClr val="FFFFFF"/>
                      </a:gs>
                      <a:gs pos="57000">
                        <a:srgbClr val="FFFFFF"/>
                      </a:gs>
                    </a:gsLst>
                    <a:lin ang="5400000" scaled="0"/>
                  </a:gradFill>
                </a:rPr>
              </a:br>
              <a:r>
                <a:rPr lang="en-US" sz="1765" dirty="0" smtClean="0">
                  <a:gradFill>
                    <a:gsLst>
                      <a:gs pos="24779">
                        <a:srgbClr val="FFFFFF"/>
                      </a:gs>
                      <a:gs pos="57000">
                        <a:srgbClr val="FFFFFF"/>
                      </a:gs>
                    </a:gsLst>
                    <a:lin ang="5400000" scaled="0"/>
                  </a:gradFill>
                </a:rPr>
                <a:t>App Insights</a:t>
              </a:r>
              <a:endParaRPr lang="en-US" sz="1765" dirty="0">
                <a:gradFill>
                  <a:gsLst>
                    <a:gs pos="24779">
                      <a:srgbClr val="FFFFFF"/>
                    </a:gs>
                    <a:gs pos="57000">
                      <a:srgbClr val="FFFFFF"/>
                    </a:gs>
                  </a:gsLst>
                  <a:lin ang="5400000" scaled="0"/>
                </a:gradFill>
              </a:endParaRPr>
            </a:p>
          </p:txBody>
        </p:sp>
        <p:grpSp>
          <p:nvGrpSpPr>
            <p:cNvPr id="6" name="Group 5"/>
            <p:cNvGrpSpPr/>
            <p:nvPr/>
          </p:nvGrpSpPr>
          <p:grpSpPr>
            <a:xfrm>
              <a:off x="1199591" y="1337306"/>
              <a:ext cx="11248958" cy="513397"/>
              <a:chOff x="1199591" y="1337306"/>
              <a:chExt cx="11248958" cy="513397"/>
            </a:xfrm>
          </p:grpSpPr>
          <p:sp>
            <p:nvSpPr>
              <p:cNvPr id="30" name="Rectangle 29"/>
              <p:cNvSpPr/>
              <p:nvPr/>
            </p:nvSpPr>
            <p:spPr bwMode="auto">
              <a:xfrm>
                <a:off x="1199591" y="1337306"/>
                <a:ext cx="11236883" cy="5019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72" name="Rectangle 171"/>
              <p:cNvSpPr/>
              <p:nvPr/>
            </p:nvSpPr>
            <p:spPr bwMode="auto">
              <a:xfrm>
                <a:off x="1199594" y="1337306"/>
                <a:ext cx="11236880" cy="501975"/>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3" name="TextBox 172"/>
              <p:cNvSpPr txBox="1"/>
              <p:nvPr/>
            </p:nvSpPr>
            <p:spPr>
              <a:xfrm>
                <a:off x="1199594" y="1357449"/>
                <a:ext cx="11248955" cy="493254"/>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400" dirty="0" smtClean="0">
                    <a:gradFill>
                      <a:gsLst>
                        <a:gs pos="77876">
                          <a:srgbClr val="FFFFFF"/>
                        </a:gs>
                        <a:gs pos="30000">
                          <a:srgbClr val="FFFFFF"/>
                        </a:gs>
                      </a:gsLst>
                      <a:lin ang="5400000" scaled="0"/>
                    </a:gradFill>
                  </a:rPr>
                  <a:t>System </a:t>
                </a:r>
                <a:r>
                  <a:rPr lang="en-US" sz="1400" dirty="0">
                    <a:gradFill>
                      <a:gsLst>
                        <a:gs pos="77876">
                          <a:srgbClr val="FFFFFF"/>
                        </a:gs>
                        <a:gs pos="30000">
                          <a:srgbClr val="FFFFFF"/>
                        </a:gs>
                      </a:gsLst>
                      <a:lin ang="5400000" scaled="0"/>
                    </a:gradFill>
                  </a:rPr>
                  <a:t>Center 2012 R2 | </a:t>
                </a:r>
                <a:r>
                  <a:rPr lang="en-US" sz="1400" dirty="0" smtClean="0">
                    <a:gradFill>
                      <a:gsLst>
                        <a:gs pos="77876">
                          <a:srgbClr val="FFFFFF"/>
                        </a:gs>
                        <a:gs pos="30000">
                          <a:srgbClr val="FFFFFF"/>
                        </a:gs>
                      </a:gsLst>
                      <a:lin ang="5400000" scaled="0"/>
                    </a:gradFill>
                  </a:rPr>
                  <a:t>Operations Management Suite | Microsoft Azure | Visual Studio</a:t>
                </a:r>
                <a:endParaRPr lang="en-US" sz="1400" dirty="0">
                  <a:gradFill>
                    <a:gsLst>
                      <a:gs pos="77876">
                        <a:srgbClr val="FFFFFF"/>
                      </a:gs>
                      <a:gs pos="30000">
                        <a:srgbClr val="FFFFFF"/>
                      </a:gs>
                    </a:gsLst>
                    <a:lin ang="5400000" scaled="0"/>
                  </a:gradFill>
                </a:endParaRPr>
              </a:p>
            </p:txBody>
          </p:sp>
        </p:grpSp>
      </p:grpSp>
      <p:grpSp>
        <p:nvGrpSpPr>
          <p:cNvPr id="300" name="luis"/>
          <p:cNvGrpSpPr/>
          <p:nvPr/>
        </p:nvGrpSpPr>
        <p:grpSpPr>
          <a:xfrm>
            <a:off x="1176012" y="298063"/>
            <a:ext cx="771705" cy="986067"/>
            <a:chOff x="1192144" y="303543"/>
            <a:chExt cx="787179" cy="1005840"/>
          </a:xfrm>
        </p:grpSpPr>
        <p:sp>
          <p:nvSpPr>
            <p:cNvPr id="301" name="Rectangle 300"/>
            <p:cNvSpPr/>
            <p:nvPr/>
          </p:nvSpPr>
          <p:spPr bwMode="auto">
            <a:xfrm>
              <a:off x="1192144" y="303543"/>
              <a:ext cx="787179" cy="100584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Luis</a:t>
              </a:r>
            </a:p>
          </p:txBody>
        </p:sp>
        <p:sp>
          <p:nvSpPr>
            <p:cNvPr id="302" name="Isosceles Triangle 301"/>
            <p:cNvSpPr/>
            <p:nvPr/>
          </p:nvSpPr>
          <p:spPr bwMode="auto">
            <a:xfrm rot="16200000">
              <a:off x="1857948" y="1142133"/>
              <a:ext cx="150281" cy="92468"/>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pic>
          <p:nvPicPr>
            <p:cNvPr id="303" name="Picture 2"/>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15119" t="52728" r="69691" b="22899"/>
            <a:stretch/>
          </p:blipFill>
          <p:spPr bwMode="auto">
            <a:xfrm>
              <a:off x="1214010" y="323906"/>
              <a:ext cx="740664" cy="740664"/>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1" name="Sarani"/>
          <p:cNvGrpSpPr/>
          <p:nvPr/>
        </p:nvGrpSpPr>
        <p:grpSpPr>
          <a:xfrm>
            <a:off x="1176011" y="298063"/>
            <a:ext cx="771705" cy="986067"/>
            <a:chOff x="1192144" y="303543"/>
            <a:chExt cx="787179" cy="1005840"/>
          </a:xfrm>
        </p:grpSpPr>
        <p:sp>
          <p:nvSpPr>
            <p:cNvPr id="192" name="Rectangle 191"/>
            <p:cNvSpPr/>
            <p:nvPr/>
          </p:nvSpPr>
          <p:spPr bwMode="auto">
            <a:xfrm>
              <a:off x="1192144" y="303543"/>
              <a:ext cx="787179" cy="100584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err="1">
                  <a:gradFill>
                    <a:gsLst>
                      <a:gs pos="99107">
                        <a:srgbClr val="FFFFFF"/>
                      </a:gs>
                      <a:gs pos="84071">
                        <a:srgbClr val="FFFFFF"/>
                      </a:gs>
                    </a:gsLst>
                    <a:lin ang="5400000" scaled="0"/>
                  </a:gradFill>
                  <a:latin typeface="Segoe UI Semibold" panose="020B0702040204020203" pitchFamily="34" charset="0"/>
                </a:rPr>
                <a:t>Sarani</a:t>
              </a:r>
              <a:endParaRPr lang="en-US" sz="1078" spc="-20" dirty="0">
                <a:gradFill>
                  <a:gsLst>
                    <a:gs pos="99107">
                      <a:srgbClr val="FFFFFF"/>
                    </a:gs>
                    <a:gs pos="84071">
                      <a:srgbClr val="FFFFFF"/>
                    </a:gs>
                  </a:gsLst>
                  <a:lin ang="5400000" scaled="0"/>
                </a:gradFill>
                <a:latin typeface="Segoe UI Semibold" panose="020B0702040204020203" pitchFamily="34" charset="0"/>
              </a:endParaRPr>
            </a:p>
          </p:txBody>
        </p:sp>
        <p:sp>
          <p:nvSpPr>
            <p:cNvPr id="196" name="Isosceles Triangle 195"/>
            <p:cNvSpPr/>
            <p:nvPr/>
          </p:nvSpPr>
          <p:spPr bwMode="auto">
            <a:xfrm rot="16200000">
              <a:off x="1857948" y="1142133"/>
              <a:ext cx="150281" cy="92468"/>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pic>
          <p:nvPicPr>
            <p:cNvPr id="197"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52714" t="54043" r="32096" b="21584"/>
            <a:stretch/>
          </p:blipFill>
          <p:spPr bwMode="auto">
            <a:xfrm>
              <a:off x="1214010" y="323906"/>
              <a:ext cx="740664" cy="740664"/>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09" name="rebecca"/>
          <p:cNvGrpSpPr/>
          <p:nvPr/>
        </p:nvGrpSpPr>
        <p:grpSpPr>
          <a:xfrm>
            <a:off x="1176012" y="298063"/>
            <a:ext cx="771705" cy="986067"/>
            <a:chOff x="1192144" y="303543"/>
            <a:chExt cx="787179" cy="1005840"/>
          </a:xfrm>
        </p:grpSpPr>
        <p:sp>
          <p:nvSpPr>
            <p:cNvPr id="310" name="Rectangle 309"/>
            <p:cNvSpPr/>
            <p:nvPr/>
          </p:nvSpPr>
          <p:spPr bwMode="auto">
            <a:xfrm>
              <a:off x="1192144" y="303543"/>
              <a:ext cx="787179" cy="100584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ebecca</a:t>
              </a:r>
            </a:p>
          </p:txBody>
        </p:sp>
        <p:sp>
          <p:nvSpPr>
            <p:cNvPr id="311" name="Isosceles Triangle 310"/>
            <p:cNvSpPr/>
            <p:nvPr/>
          </p:nvSpPr>
          <p:spPr bwMode="auto">
            <a:xfrm rot="16200000">
              <a:off x="1857948" y="1142133"/>
              <a:ext cx="150281" cy="92468"/>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pic>
          <p:nvPicPr>
            <p:cNvPr id="312"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34061" t="53474" r="50749" b="22153"/>
            <a:stretch/>
          </p:blipFill>
          <p:spPr bwMode="auto">
            <a:xfrm>
              <a:off x="1214010" y="323906"/>
              <a:ext cx="740664" cy="740664"/>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4" name="Q1"/>
          <p:cNvSpPr/>
          <p:nvPr/>
        </p:nvSpPr>
        <p:spPr bwMode="auto">
          <a:xfrm>
            <a:off x="1939918" y="297138"/>
            <a:ext cx="6643574" cy="568988"/>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Richard, we’ve received notice that customers in Australia are unable to check out on the e-Commerce site.”</a:t>
            </a:r>
            <a:endParaRPr lang="en-NZ" sz="1372" dirty="0">
              <a:gradFill>
                <a:gsLst>
                  <a:gs pos="13274">
                    <a:srgbClr val="282828">
                      <a:lumMod val="90000"/>
                      <a:lumOff val="10000"/>
                    </a:srgbClr>
                  </a:gs>
                  <a:gs pos="27434">
                    <a:srgbClr val="282828">
                      <a:lumMod val="90000"/>
                      <a:lumOff val="10000"/>
                    </a:srgbClr>
                  </a:gs>
                </a:gsLst>
                <a:lin ang="16200000" scaled="1"/>
              </a:gradFill>
            </a:endParaRPr>
          </a:p>
        </p:txBody>
      </p:sp>
      <p:sp>
        <p:nvSpPr>
          <p:cNvPr id="305" name="Q2"/>
          <p:cNvSpPr/>
          <p:nvPr/>
        </p:nvSpPr>
        <p:spPr bwMode="auto">
          <a:xfrm>
            <a:off x="1925925" y="280919"/>
            <a:ext cx="6643574" cy="568988"/>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No problems here. We monitor both the servers and the web app 24/7—I don’t see any issues. Must be user-error.”</a:t>
            </a:r>
            <a:endParaRPr lang="en-NZ" sz="1372" dirty="0">
              <a:gradFill>
                <a:gsLst>
                  <a:gs pos="13274">
                    <a:srgbClr val="282828">
                      <a:lumMod val="90000"/>
                      <a:lumOff val="10000"/>
                    </a:srgbClr>
                  </a:gs>
                  <a:gs pos="27434">
                    <a:srgbClr val="282828">
                      <a:lumMod val="90000"/>
                      <a:lumOff val="10000"/>
                    </a:srgbClr>
                  </a:gs>
                </a:gsLst>
                <a:lin ang="16200000" scaled="1"/>
              </a:gradFill>
            </a:endParaRPr>
          </a:p>
        </p:txBody>
      </p:sp>
      <p:sp>
        <p:nvSpPr>
          <p:cNvPr id="308" name="Q3"/>
          <p:cNvSpPr/>
          <p:nvPr/>
        </p:nvSpPr>
        <p:spPr bwMode="auto">
          <a:xfrm>
            <a:off x="1925925" y="280919"/>
            <a:ext cx="6643574" cy="561179"/>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What we really need to do is simulate what an actual user sees when they hit the site. You’ve probably got a network routing problem somewhere.”</a:t>
            </a:r>
            <a:endParaRPr lang="en-NZ" sz="1372" dirty="0">
              <a:gradFill>
                <a:gsLst>
                  <a:gs pos="13274">
                    <a:srgbClr val="282828">
                      <a:lumMod val="90000"/>
                      <a:lumOff val="10000"/>
                    </a:srgbClr>
                  </a:gs>
                  <a:gs pos="27434">
                    <a:srgbClr val="282828">
                      <a:lumMod val="90000"/>
                      <a:lumOff val="10000"/>
                    </a:srgbClr>
                  </a:gs>
                </a:gsLst>
                <a:lin ang="16200000" scaled="1"/>
              </a:gradFill>
            </a:endParaRPr>
          </a:p>
        </p:txBody>
      </p:sp>
      <p:sp>
        <p:nvSpPr>
          <p:cNvPr id="198" name="Q4"/>
          <p:cNvSpPr/>
          <p:nvPr/>
        </p:nvSpPr>
        <p:spPr bwMode="auto">
          <a:xfrm>
            <a:off x="1948659" y="297134"/>
            <a:ext cx="6634833" cy="751161"/>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We should use Operations Management Suite, </a:t>
            </a:r>
            <a:r>
              <a:rPr lang="en-US" sz="1372" dirty="0" smtClean="0">
                <a:gradFill>
                  <a:gsLst>
                    <a:gs pos="13274">
                      <a:srgbClr val="282828">
                        <a:lumMod val="90000"/>
                        <a:lumOff val="10000"/>
                      </a:srgbClr>
                    </a:gs>
                    <a:gs pos="27434">
                      <a:srgbClr val="282828">
                        <a:lumMod val="90000"/>
                        <a:lumOff val="10000"/>
                      </a:srgbClr>
                    </a:gs>
                  </a:gsLst>
                  <a:lin ang="16200000" scaled="1"/>
                </a:gradFill>
              </a:rPr>
              <a:t>Application Insights…</a:t>
            </a:r>
            <a:r>
              <a:rPr lang="en-NZ" sz="1372" dirty="0" smtClean="0">
                <a:gradFill>
                  <a:gsLst>
                    <a:gs pos="13274">
                      <a:srgbClr val="282828">
                        <a:lumMod val="90000"/>
                        <a:lumOff val="10000"/>
                      </a:srgbClr>
                    </a:gs>
                    <a:gs pos="27434">
                      <a:srgbClr val="282828">
                        <a:lumMod val="90000"/>
                        <a:lumOff val="10000"/>
                      </a:srgbClr>
                    </a:gs>
                  </a:gsLst>
                  <a:lin ang="16200000" scaled="1"/>
                </a:gradFill>
              </a:rPr>
              <a:t> </a:t>
            </a:r>
            <a:r>
              <a:rPr lang="en-US" sz="1372" dirty="0">
                <a:gradFill>
                  <a:gsLst>
                    <a:gs pos="13274">
                      <a:srgbClr val="282828">
                        <a:lumMod val="90000"/>
                        <a:lumOff val="10000"/>
                      </a:srgbClr>
                    </a:gs>
                    <a:gs pos="27434">
                      <a:srgbClr val="282828">
                        <a:lumMod val="90000"/>
                        <a:lumOff val="10000"/>
                      </a:srgbClr>
                    </a:gs>
                  </a:gsLst>
                  <a:lin ang="16200000" scaled="1"/>
                </a:gradFill>
              </a:rPr>
              <a:t>we’ll be </a:t>
            </a:r>
            <a:r>
              <a:rPr lang="en-US" sz="1372" dirty="0" smtClean="0">
                <a:gradFill>
                  <a:gsLst>
                    <a:gs pos="13274">
                      <a:srgbClr val="282828">
                        <a:lumMod val="90000"/>
                        <a:lumOff val="10000"/>
                      </a:srgbClr>
                    </a:gs>
                    <a:gs pos="27434">
                      <a:srgbClr val="282828">
                        <a:lumMod val="90000"/>
                        <a:lumOff val="10000"/>
                      </a:srgbClr>
                    </a:gs>
                  </a:gsLst>
                  <a:lin ang="16200000" scaled="1"/>
                </a:gradFill>
              </a:rPr>
              <a:t/>
            </a:r>
            <a:br>
              <a:rPr lang="en-US" sz="1372" dirty="0" smtClean="0">
                <a:gradFill>
                  <a:gsLst>
                    <a:gs pos="13274">
                      <a:srgbClr val="282828">
                        <a:lumMod val="90000"/>
                        <a:lumOff val="10000"/>
                      </a:srgbClr>
                    </a:gs>
                    <a:gs pos="27434">
                      <a:srgbClr val="282828">
                        <a:lumMod val="90000"/>
                        <a:lumOff val="10000"/>
                      </a:srgbClr>
                    </a:gs>
                  </a:gsLst>
                  <a:lin ang="16200000" scaled="1"/>
                </a:gradFill>
              </a:rPr>
            </a:br>
            <a:r>
              <a:rPr lang="en-US" sz="1372" dirty="0" smtClean="0">
                <a:gradFill>
                  <a:gsLst>
                    <a:gs pos="13274">
                      <a:srgbClr val="282828">
                        <a:lumMod val="90000"/>
                        <a:lumOff val="10000"/>
                      </a:srgbClr>
                    </a:gs>
                    <a:gs pos="27434">
                      <a:srgbClr val="282828">
                        <a:lumMod val="90000"/>
                        <a:lumOff val="10000"/>
                      </a:srgbClr>
                    </a:gs>
                  </a:gsLst>
                  <a:lin ang="16200000" scaled="1"/>
                </a:gradFill>
              </a:rPr>
              <a:t>able </a:t>
            </a:r>
            <a:r>
              <a:rPr lang="en-US" sz="1372" dirty="0">
                <a:gradFill>
                  <a:gsLst>
                    <a:gs pos="13274">
                      <a:srgbClr val="282828">
                        <a:lumMod val="90000"/>
                        <a:lumOff val="10000"/>
                      </a:srgbClr>
                    </a:gs>
                    <a:gs pos="27434">
                      <a:srgbClr val="282828">
                        <a:lumMod val="90000"/>
                        <a:lumOff val="10000"/>
                      </a:srgbClr>
                    </a:gs>
                  </a:gsLst>
                  <a:lin ang="16200000" scaled="1"/>
                </a:gradFill>
              </a:rPr>
              <a:t>to create synthetic workloads that run a full purchase and checkout against </a:t>
            </a:r>
            <a:r>
              <a:rPr lang="en-US" sz="1372" dirty="0" smtClean="0">
                <a:gradFill>
                  <a:gsLst>
                    <a:gs pos="13274">
                      <a:srgbClr val="282828">
                        <a:lumMod val="90000"/>
                        <a:lumOff val="10000"/>
                      </a:srgbClr>
                    </a:gs>
                    <a:gs pos="27434">
                      <a:srgbClr val="282828">
                        <a:lumMod val="90000"/>
                        <a:lumOff val="10000"/>
                      </a:srgbClr>
                    </a:gs>
                  </a:gsLst>
                  <a:lin ang="16200000" scaled="1"/>
                </a:gradFill>
              </a:rPr>
              <a:t/>
            </a:r>
            <a:br>
              <a:rPr lang="en-US" sz="1372" dirty="0" smtClean="0">
                <a:gradFill>
                  <a:gsLst>
                    <a:gs pos="13274">
                      <a:srgbClr val="282828">
                        <a:lumMod val="90000"/>
                        <a:lumOff val="10000"/>
                      </a:srgbClr>
                    </a:gs>
                    <a:gs pos="27434">
                      <a:srgbClr val="282828">
                        <a:lumMod val="90000"/>
                        <a:lumOff val="10000"/>
                      </a:srgbClr>
                    </a:gs>
                  </a:gsLst>
                  <a:lin ang="16200000" scaled="1"/>
                </a:gradFill>
              </a:rPr>
            </a:br>
            <a:r>
              <a:rPr lang="en-US" sz="1372" dirty="0" smtClean="0">
                <a:gradFill>
                  <a:gsLst>
                    <a:gs pos="13274">
                      <a:srgbClr val="282828">
                        <a:lumMod val="90000"/>
                        <a:lumOff val="10000"/>
                      </a:srgbClr>
                    </a:gs>
                    <a:gs pos="27434">
                      <a:srgbClr val="282828">
                        <a:lumMod val="90000"/>
                        <a:lumOff val="10000"/>
                      </a:srgbClr>
                    </a:gs>
                  </a:gsLst>
                  <a:lin ang="16200000" scaled="1"/>
                </a:gradFill>
              </a:rPr>
              <a:t>the </a:t>
            </a:r>
            <a:r>
              <a:rPr lang="en-US" sz="1372" dirty="0">
                <a:gradFill>
                  <a:gsLst>
                    <a:gs pos="13274">
                      <a:srgbClr val="282828">
                        <a:lumMod val="90000"/>
                        <a:lumOff val="10000"/>
                      </a:srgbClr>
                    </a:gs>
                    <a:gs pos="27434">
                      <a:srgbClr val="282828">
                        <a:lumMod val="90000"/>
                        <a:lumOff val="10000"/>
                      </a:srgbClr>
                    </a:gs>
                  </a:gsLst>
                  <a:lin ang="16200000" scaled="1"/>
                </a:gradFill>
              </a:rPr>
              <a:t>commerce app.”</a:t>
            </a:r>
            <a:endParaRPr lang="en-NZ" sz="1372" dirty="0">
              <a:gradFill>
                <a:gsLst>
                  <a:gs pos="13274">
                    <a:srgbClr val="282828">
                      <a:lumMod val="90000"/>
                      <a:lumOff val="10000"/>
                    </a:srgbClr>
                  </a:gs>
                  <a:gs pos="27434">
                    <a:srgbClr val="282828">
                      <a:lumMod val="90000"/>
                      <a:lumOff val="10000"/>
                    </a:srgbClr>
                  </a:gs>
                </a:gsLst>
                <a:lin ang="16200000" scaled="1"/>
              </a:gradFill>
            </a:endParaRPr>
          </a:p>
        </p:txBody>
      </p:sp>
      <p:sp>
        <p:nvSpPr>
          <p:cNvPr id="199" name="Q5"/>
          <p:cNvSpPr/>
          <p:nvPr/>
        </p:nvSpPr>
        <p:spPr bwMode="auto">
          <a:xfrm>
            <a:off x="1925925" y="280919"/>
            <a:ext cx="6634833" cy="751267"/>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Luis will be able to have a dashboard on our SharePoint site server where he can check his app status 24/7. We can also use Global Service Monitor to initiate Rebecca’s request and experience what an actual user experiences.”</a:t>
            </a:r>
            <a:endParaRPr lang="en-NZ" sz="1372" dirty="0">
              <a:gradFill>
                <a:gsLst>
                  <a:gs pos="13274">
                    <a:srgbClr val="282828">
                      <a:lumMod val="90000"/>
                      <a:lumOff val="10000"/>
                    </a:srgbClr>
                  </a:gs>
                  <a:gs pos="27434">
                    <a:srgbClr val="282828">
                      <a:lumMod val="90000"/>
                      <a:lumOff val="10000"/>
                    </a:srgbClr>
                  </a:gs>
                </a:gsLst>
                <a:lin ang="16200000" scaled="1"/>
              </a:gradFill>
            </a:endParaRPr>
          </a:p>
        </p:txBody>
      </p:sp>
      <p:sp>
        <p:nvSpPr>
          <p:cNvPr id="317" name="Q6"/>
          <p:cNvSpPr/>
          <p:nvPr/>
        </p:nvSpPr>
        <p:spPr bwMode="auto">
          <a:xfrm>
            <a:off x="1925925" y="280919"/>
            <a:ext cx="6657568" cy="751267"/>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16200000" scaled="1"/>
                </a:gradFill>
              </a:rPr>
              <a:t>“Luis, we found and fixed that problem with the commerce app. Using System Center and GSM, I was able to simulate real customer traffic from around the world, and found that a malformed URL was causing the issue… </a:t>
            </a:r>
            <a:r>
              <a:rPr lang="en-US" sz="1372" dirty="0" smtClean="0">
                <a:gradFill>
                  <a:gsLst>
                    <a:gs pos="13274">
                      <a:srgbClr val="282828">
                        <a:lumMod val="90000"/>
                        <a:lumOff val="10000"/>
                      </a:srgbClr>
                    </a:gs>
                    <a:gs pos="27434">
                      <a:srgbClr val="282828">
                        <a:lumMod val="90000"/>
                        <a:lumOff val="10000"/>
                      </a:srgbClr>
                    </a:gs>
                  </a:gsLst>
                  <a:lin ang="16200000" scaled="1"/>
                </a:gradFill>
              </a:rPr>
              <a:t>There was </a:t>
            </a:r>
            <a:r>
              <a:rPr lang="en-US" sz="1372" dirty="0">
                <a:gradFill>
                  <a:gsLst>
                    <a:gs pos="13274">
                      <a:srgbClr val="282828">
                        <a:lumMod val="90000"/>
                        <a:lumOff val="10000"/>
                      </a:srgbClr>
                    </a:gs>
                    <a:gs pos="27434">
                      <a:srgbClr val="282828">
                        <a:lumMod val="90000"/>
                        <a:lumOff val="10000"/>
                      </a:srgbClr>
                    </a:gs>
                  </a:gsLst>
                  <a:lin ang="16200000" scaled="1"/>
                </a:gradFill>
              </a:rPr>
              <a:t>a typo”</a:t>
            </a:r>
            <a:endParaRPr lang="en-NZ" sz="1372" dirty="0">
              <a:gradFill>
                <a:gsLst>
                  <a:gs pos="13274">
                    <a:srgbClr val="282828">
                      <a:lumMod val="90000"/>
                      <a:lumOff val="10000"/>
                    </a:srgbClr>
                  </a:gs>
                  <a:gs pos="27434">
                    <a:srgbClr val="282828">
                      <a:lumMod val="90000"/>
                      <a:lumOff val="10000"/>
                    </a:srgbClr>
                  </a:gs>
                </a:gsLst>
                <a:lin ang="16200000" scaled="1"/>
              </a:gradFill>
            </a:endParaRPr>
          </a:p>
        </p:txBody>
      </p:sp>
      <p:grpSp>
        <p:nvGrpSpPr>
          <p:cNvPr id="323" name="Richard"/>
          <p:cNvGrpSpPr>
            <a:grpSpLocks noChangeAspect="1"/>
          </p:cNvGrpSpPr>
          <p:nvPr/>
        </p:nvGrpSpPr>
        <p:grpSpPr>
          <a:xfrm>
            <a:off x="1176012" y="298063"/>
            <a:ext cx="771705" cy="986067"/>
            <a:chOff x="1192144" y="1221871"/>
            <a:chExt cx="822960" cy="1051560"/>
          </a:xfrm>
        </p:grpSpPr>
        <p:grpSp>
          <p:nvGrpSpPr>
            <p:cNvPr id="324" name="Group 323"/>
            <p:cNvGrpSpPr/>
            <p:nvPr/>
          </p:nvGrpSpPr>
          <p:grpSpPr>
            <a:xfrm>
              <a:off x="1192144" y="1221871"/>
              <a:ext cx="822960" cy="1051560"/>
              <a:chOff x="2257477" y="1518442"/>
              <a:chExt cx="822960" cy="1051560"/>
            </a:xfrm>
          </p:grpSpPr>
          <p:sp>
            <p:nvSpPr>
              <p:cNvPr id="326" name="Rectangle 325"/>
              <p:cNvSpPr/>
              <p:nvPr/>
            </p:nvSpPr>
            <p:spPr bwMode="auto">
              <a:xfrm>
                <a:off x="2257477" y="1518442"/>
                <a:ext cx="822960" cy="105156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327" name="Picture 4"/>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l="75748" t="27538" r="7225" b="45284"/>
              <a:stretch/>
            </p:blipFill>
            <p:spPr bwMode="auto">
              <a:xfrm>
                <a:off x="2280337"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25" name="Isosceles Triangle 324"/>
            <p:cNvSpPr/>
            <p:nvPr/>
          </p:nvSpPr>
          <p:spPr bwMode="auto">
            <a:xfrm rot="16200000">
              <a:off x="188821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sp>
        <p:nvSpPr>
          <p:cNvPr id="171" name="Blue banner"/>
          <p:cNvSpPr/>
          <p:nvPr/>
        </p:nvSpPr>
        <p:spPr bwMode="auto">
          <a:xfrm>
            <a:off x="1176012" y="294432"/>
            <a:ext cx="11027827" cy="99011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765" dirty="0">
                <a:gradFill>
                  <a:gsLst>
                    <a:gs pos="24779">
                      <a:srgbClr val="FFFFFF"/>
                    </a:gs>
                    <a:gs pos="57000">
                      <a:srgbClr val="FFFFFF"/>
                    </a:gs>
                  </a:gsLst>
                  <a:lin ang="5400000" scaled="0"/>
                </a:gradFill>
              </a:rPr>
              <a:t>360 degree monitoring of traditional .NET, Java and Web Apps </a:t>
            </a:r>
          </a:p>
        </p:txBody>
      </p:sp>
      <p:grpSp>
        <p:nvGrpSpPr>
          <p:cNvPr id="5" name="Side boxes"/>
          <p:cNvGrpSpPr/>
          <p:nvPr/>
        </p:nvGrpSpPr>
        <p:grpSpPr>
          <a:xfrm>
            <a:off x="1" y="487"/>
            <a:ext cx="986067" cy="6857027"/>
            <a:chOff x="0" y="0"/>
            <a:chExt cx="1005840" cy="6994525"/>
          </a:xfrm>
        </p:grpSpPr>
        <p:sp>
          <p:nvSpPr>
            <p:cNvPr id="176" name="Rectangle 175"/>
            <p:cNvSpPr/>
            <p:nvPr/>
          </p:nvSpPr>
          <p:spPr bwMode="auto">
            <a:xfrm>
              <a:off x="0" y="0"/>
              <a:ext cx="1005840" cy="6994525"/>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177" name="Rectangle 176"/>
            <p:cNvSpPr/>
            <p:nvPr/>
          </p:nvSpPr>
          <p:spPr bwMode="auto">
            <a:xfrm>
              <a:off x="0" y="5096998"/>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78" name="Rectangle 177"/>
            <p:cNvSpPr/>
            <p:nvPr/>
          </p:nvSpPr>
          <p:spPr bwMode="auto">
            <a:xfrm>
              <a:off x="0" y="3498863"/>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79" name="Rectangle 178"/>
            <p:cNvSpPr/>
            <p:nvPr/>
          </p:nvSpPr>
          <p:spPr bwMode="auto">
            <a:xfrm>
              <a:off x="0" y="1900729"/>
              <a:ext cx="1005840" cy="1554480"/>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48673">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Management </a:t>
              </a:r>
              <a:endParaRPr lang="en-US" sz="1568" spc="-20" dirty="0">
                <a:gradFill>
                  <a:gsLst>
                    <a:gs pos="48673">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180" name="Rectangle 179"/>
            <p:cNvSpPr/>
            <p:nvPr/>
          </p:nvSpPr>
          <p:spPr bwMode="auto">
            <a:xfrm>
              <a:off x="0" y="302595"/>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grpSp>
      <p:grpSp>
        <p:nvGrpSpPr>
          <p:cNvPr id="12" name="Monitor"/>
          <p:cNvGrpSpPr/>
          <p:nvPr/>
        </p:nvGrpSpPr>
        <p:grpSpPr>
          <a:xfrm>
            <a:off x="1153564" y="1938482"/>
            <a:ext cx="2204620" cy="1892042"/>
            <a:chOff x="1176694" y="2024481"/>
            <a:chExt cx="2248827" cy="1929981"/>
          </a:xfrm>
        </p:grpSpPr>
        <p:sp>
          <p:nvSpPr>
            <p:cNvPr id="185" name="Freeform 5"/>
            <p:cNvSpPr>
              <a:spLocks noEditPoints="1"/>
            </p:cNvSpPr>
            <p:nvPr/>
          </p:nvSpPr>
          <p:spPr bwMode="auto">
            <a:xfrm>
              <a:off x="1176694" y="2024481"/>
              <a:ext cx="2248827" cy="1929981"/>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solidFill>
              <a:srgbClr val="B2B2B2"/>
            </a:solidFill>
            <a:ln w="38100">
              <a:solidFill>
                <a:schemeClr val="bg1"/>
              </a:solid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11" name="Freeform 5"/>
            <p:cNvSpPr>
              <a:spLocks noEditPoints="1"/>
            </p:cNvSpPr>
            <p:nvPr/>
          </p:nvSpPr>
          <p:spPr bwMode="auto">
            <a:xfrm>
              <a:off x="1389859" y="2214893"/>
              <a:ext cx="257036" cy="394094"/>
            </a:xfrm>
            <a:custGeom>
              <a:avLst/>
              <a:gdLst>
                <a:gd name="T0" fmla="*/ 3672 w 3672"/>
                <a:gd name="T1" fmla="*/ 1713 h 5630"/>
                <a:gd name="T2" fmla="*/ 1959 w 3672"/>
                <a:gd name="T3" fmla="*/ 1713 h 5630"/>
                <a:gd name="T4" fmla="*/ 1959 w 3672"/>
                <a:gd name="T5" fmla="*/ 0 h 5630"/>
                <a:gd name="T6" fmla="*/ 3672 w 3672"/>
                <a:gd name="T7" fmla="*/ 0 h 5630"/>
                <a:gd name="T8" fmla="*/ 3672 w 3672"/>
                <a:gd name="T9" fmla="*/ 1713 h 5630"/>
                <a:gd name="T10" fmla="*/ 3672 w 3672"/>
                <a:gd name="T11" fmla="*/ 1713 h 5630"/>
                <a:gd name="T12" fmla="*/ 3672 w 3672"/>
                <a:gd name="T13" fmla="*/ 1713 h 5630"/>
                <a:gd name="T14" fmla="*/ 1536 w 3672"/>
                <a:gd name="T15" fmla="*/ 178 h 5630"/>
                <a:gd name="T16" fmla="*/ 177 w 3672"/>
                <a:gd name="T17" fmla="*/ 178 h 5630"/>
                <a:gd name="T18" fmla="*/ 177 w 3672"/>
                <a:gd name="T19" fmla="*/ 1533 h 5630"/>
                <a:gd name="T20" fmla="*/ 1536 w 3672"/>
                <a:gd name="T21" fmla="*/ 1533 h 5630"/>
                <a:gd name="T22" fmla="*/ 1536 w 3672"/>
                <a:gd name="T23" fmla="*/ 178 h 5630"/>
                <a:gd name="T24" fmla="*/ 1536 w 3672"/>
                <a:gd name="T25" fmla="*/ 178 h 5630"/>
                <a:gd name="T26" fmla="*/ 1536 w 3672"/>
                <a:gd name="T27" fmla="*/ 178 h 5630"/>
                <a:gd name="T28" fmla="*/ 1713 w 3672"/>
                <a:gd name="T29" fmla="*/ 0 h 5630"/>
                <a:gd name="T30" fmla="*/ 1713 w 3672"/>
                <a:gd name="T31" fmla="*/ 1713 h 5630"/>
                <a:gd name="T32" fmla="*/ 0 w 3672"/>
                <a:gd name="T33" fmla="*/ 1713 h 5630"/>
                <a:gd name="T34" fmla="*/ 0 w 3672"/>
                <a:gd name="T35" fmla="*/ 0 h 5630"/>
                <a:gd name="T36" fmla="*/ 1713 w 3672"/>
                <a:gd name="T37" fmla="*/ 0 h 5630"/>
                <a:gd name="T38" fmla="*/ 1713 w 3672"/>
                <a:gd name="T39" fmla="*/ 0 h 5630"/>
                <a:gd name="T40" fmla="*/ 1713 w 3672"/>
                <a:gd name="T41" fmla="*/ 0 h 5630"/>
                <a:gd name="T42" fmla="*/ 1713 w 3672"/>
                <a:gd name="T43" fmla="*/ 0 h 5630"/>
                <a:gd name="T44" fmla="*/ 1536 w 3672"/>
                <a:gd name="T45" fmla="*/ 4097 h 5630"/>
                <a:gd name="T46" fmla="*/ 177 w 3672"/>
                <a:gd name="T47" fmla="*/ 4097 h 5630"/>
                <a:gd name="T48" fmla="*/ 177 w 3672"/>
                <a:gd name="T49" fmla="*/ 5452 h 5630"/>
                <a:gd name="T50" fmla="*/ 1536 w 3672"/>
                <a:gd name="T51" fmla="*/ 5452 h 5630"/>
                <a:gd name="T52" fmla="*/ 1536 w 3672"/>
                <a:gd name="T53" fmla="*/ 4097 h 5630"/>
                <a:gd name="T54" fmla="*/ 1536 w 3672"/>
                <a:gd name="T55" fmla="*/ 4097 h 5630"/>
                <a:gd name="T56" fmla="*/ 1536 w 3672"/>
                <a:gd name="T57" fmla="*/ 4097 h 5630"/>
                <a:gd name="T58" fmla="*/ 1713 w 3672"/>
                <a:gd name="T59" fmla="*/ 3917 h 5630"/>
                <a:gd name="T60" fmla="*/ 1713 w 3672"/>
                <a:gd name="T61" fmla="*/ 5630 h 5630"/>
                <a:gd name="T62" fmla="*/ 0 w 3672"/>
                <a:gd name="T63" fmla="*/ 5630 h 5630"/>
                <a:gd name="T64" fmla="*/ 0 w 3672"/>
                <a:gd name="T65" fmla="*/ 3917 h 5630"/>
                <a:gd name="T66" fmla="*/ 1713 w 3672"/>
                <a:gd name="T67" fmla="*/ 3917 h 5630"/>
                <a:gd name="T68" fmla="*/ 1713 w 3672"/>
                <a:gd name="T69" fmla="*/ 3917 h 5630"/>
                <a:gd name="T70" fmla="*/ 1713 w 3672"/>
                <a:gd name="T71" fmla="*/ 3917 h 5630"/>
                <a:gd name="T72" fmla="*/ 1713 w 3672"/>
                <a:gd name="T73" fmla="*/ 3917 h 5630"/>
                <a:gd name="T74" fmla="*/ 3495 w 3672"/>
                <a:gd name="T75" fmla="*/ 2136 h 5630"/>
                <a:gd name="T76" fmla="*/ 177 w 3672"/>
                <a:gd name="T77" fmla="*/ 2136 h 5630"/>
                <a:gd name="T78" fmla="*/ 177 w 3672"/>
                <a:gd name="T79" fmla="*/ 3494 h 5630"/>
                <a:gd name="T80" fmla="*/ 3495 w 3672"/>
                <a:gd name="T81" fmla="*/ 3494 h 5630"/>
                <a:gd name="T82" fmla="*/ 3495 w 3672"/>
                <a:gd name="T83" fmla="*/ 2136 h 5630"/>
                <a:gd name="T84" fmla="*/ 3495 w 3672"/>
                <a:gd name="T85" fmla="*/ 2136 h 5630"/>
                <a:gd name="T86" fmla="*/ 3495 w 3672"/>
                <a:gd name="T87" fmla="*/ 2136 h 5630"/>
                <a:gd name="T88" fmla="*/ 3672 w 3672"/>
                <a:gd name="T89" fmla="*/ 1956 h 5630"/>
                <a:gd name="T90" fmla="*/ 3672 w 3672"/>
                <a:gd name="T91" fmla="*/ 3674 h 5630"/>
                <a:gd name="T92" fmla="*/ 0 w 3672"/>
                <a:gd name="T93" fmla="*/ 3674 h 5630"/>
                <a:gd name="T94" fmla="*/ 0 w 3672"/>
                <a:gd name="T95" fmla="*/ 1956 h 5630"/>
                <a:gd name="T96" fmla="*/ 3672 w 3672"/>
                <a:gd name="T97" fmla="*/ 1956 h 5630"/>
                <a:gd name="T98" fmla="*/ 3672 w 3672"/>
                <a:gd name="T99" fmla="*/ 1956 h 5630"/>
                <a:gd name="T100" fmla="*/ 3672 w 3672"/>
                <a:gd name="T101" fmla="*/ 1956 h 5630"/>
                <a:gd name="T102" fmla="*/ 3672 w 3672"/>
                <a:gd name="T103" fmla="*/ 1956 h 5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2" h="5630">
                  <a:moveTo>
                    <a:pt x="3672" y="1713"/>
                  </a:moveTo>
                  <a:lnTo>
                    <a:pt x="1959" y="1713"/>
                  </a:lnTo>
                  <a:lnTo>
                    <a:pt x="1959" y="0"/>
                  </a:lnTo>
                  <a:lnTo>
                    <a:pt x="3672" y="0"/>
                  </a:lnTo>
                  <a:lnTo>
                    <a:pt x="3672" y="1713"/>
                  </a:lnTo>
                  <a:lnTo>
                    <a:pt x="3672" y="1713"/>
                  </a:lnTo>
                  <a:lnTo>
                    <a:pt x="3672" y="1713"/>
                  </a:lnTo>
                  <a:close/>
                  <a:moveTo>
                    <a:pt x="1536" y="178"/>
                  </a:moveTo>
                  <a:lnTo>
                    <a:pt x="177" y="178"/>
                  </a:lnTo>
                  <a:lnTo>
                    <a:pt x="177" y="1533"/>
                  </a:lnTo>
                  <a:lnTo>
                    <a:pt x="1536" y="1533"/>
                  </a:lnTo>
                  <a:lnTo>
                    <a:pt x="1536" y="178"/>
                  </a:lnTo>
                  <a:lnTo>
                    <a:pt x="1536" y="178"/>
                  </a:lnTo>
                  <a:lnTo>
                    <a:pt x="1536" y="178"/>
                  </a:lnTo>
                  <a:close/>
                  <a:moveTo>
                    <a:pt x="1713" y="0"/>
                  </a:moveTo>
                  <a:lnTo>
                    <a:pt x="1713" y="1713"/>
                  </a:lnTo>
                  <a:lnTo>
                    <a:pt x="0" y="1713"/>
                  </a:lnTo>
                  <a:lnTo>
                    <a:pt x="0" y="0"/>
                  </a:lnTo>
                  <a:lnTo>
                    <a:pt x="1713" y="0"/>
                  </a:lnTo>
                  <a:lnTo>
                    <a:pt x="1713" y="0"/>
                  </a:lnTo>
                  <a:lnTo>
                    <a:pt x="1713" y="0"/>
                  </a:lnTo>
                  <a:lnTo>
                    <a:pt x="1713" y="0"/>
                  </a:lnTo>
                  <a:close/>
                  <a:moveTo>
                    <a:pt x="1536" y="4097"/>
                  </a:moveTo>
                  <a:lnTo>
                    <a:pt x="177" y="4097"/>
                  </a:lnTo>
                  <a:lnTo>
                    <a:pt x="177" y="5452"/>
                  </a:lnTo>
                  <a:lnTo>
                    <a:pt x="1536" y="5452"/>
                  </a:lnTo>
                  <a:lnTo>
                    <a:pt x="1536" y="4097"/>
                  </a:lnTo>
                  <a:lnTo>
                    <a:pt x="1536" y="4097"/>
                  </a:lnTo>
                  <a:lnTo>
                    <a:pt x="1536" y="4097"/>
                  </a:lnTo>
                  <a:close/>
                  <a:moveTo>
                    <a:pt x="1713" y="3917"/>
                  </a:moveTo>
                  <a:lnTo>
                    <a:pt x="1713" y="5630"/>
                  </a:lnTo>
                  <a:lnTo>
                    <a:pt x="0" y="5630"/>
                  </a:lnTo>
                  <a:lnTo>
                    <a:pt x="0" y="3917"/>
                  </a:lnTo>
                  <a:lnTo>
                    <a:pt x="1713" y="3917"/>
                  </a:lnTo>
                  <a:lnTo>
                    <a:pt x="1713" y="3917"/>
                  </a:lnTo>
                  <a:lnTo>
                    <a:pt x="1713" y="3917"/>
                  </a:lnTo>
                  <a:lnTo>
                    <a:pt x="1713" y="3917"/>
                  </a:lnTo>
                  <a:close/>
                  <a:moveTo>
                    <a:pt x="3495" y="2136"/>
                  </a:moveTo>
                  <a:lnTo>
                    <a:pt x="177" y="2136"/>
                  </a:lnTo>
                  <a:lnTo>
                    <a:pt x="177" y="3494"/>
                  </a:lnTo>
                  <a:lnTo>
                    <a:pt x="3495" y="3494"/>
                  </a:lnTo>
                  <a:lnTo>
                    <a:pt x="3495" y="2136"/>
                  </a:lnTo>
                  <a:lnTo>
                    <a:pt x="3495" y="2136"/>
                  </a:lnTo>
                  <a:lnTo>
                    <a:pt x="3495" y="2136"/>
                  </a:lnTo>
                  <a:close/>
                  <a:moveTo>
                    <a:pt x="3672" y="1956"/>
                  </a:moveTo>
                  <a:lnTo>
                    <a:pt x="3672" y="3674"/>
                  </a:lnTo>
                  <a:lnTo>
                    <a:pt x="0" y="3674"/>
                  </a:lnTo>
                  <a:lnTo>
                    <a:pt x="0" y="1956"/>
                  </a:lnTo>
                  <a:lnTo>
                    <a:pt x="3672" y="1956"/>
                  </a:lnTo>
                  <a:lnTo>
                    <a:pt x="3672" y="1956"/>
                  </a:lnTo>
                  <a:lnTo>
                    <a:pt x="3672" y="1956"/>
                  </a:lnTo>
                  <a:lnTo>
                    <a:pt x="3672" y="1956"/>
                  </a:lnTo>
                  <a:close/>
                </a:path>
              </a:pathLst>
            </a:custGeom>
            <a:solidFill>
              <a:srgbClr val="B2B2B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grpSp>
      <p:sp>
        <p:nvSpPr>
          <p:cNvPr id="13" name="Clock face"/>
          <p:cNvSpPr/>
          <p:nvPr/>
        </p:nvSpPr>
        <p:spPr bwMode="auto">
          <a:xfrm>
            <a:off x="1774175" y="2309944"/>
            <a:ext cx="989802" cy="989802"/>
          </a:xfrm>
          <a:prstGeom prst="ellipse">
            <a:avLst/>
          </a:prstGeom>
          <a:solidFill>
            <a:schemeClr val="bg1"/>
          </a:solidFill>
          <a:ln w="38100">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843882" y="2374110"/>
            <a:ext cx="850388" cy="850388"/>
            <a:chOff x="1880855" y="2426871"/>
            <a:chExt cx="867440" cy="867440"/>
          </a:xfrm>
        </p:grpSpPr>
        <p:sp>
          <p:nvSpPr>
            <p:cNvPr id="16" name="Oval 15"/>
            <p:cNvSpPr/>
            <p:nvPr/>
          </p:nvSpPr>
          <p:spPr bwMode="auto">
            <a:xfrm>
              <a:off x="1880855" y="2426871"/>
              <a:ext cx="867440" cy="86744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p:cNvCxnSpPr/>
            <p:nvPr/>
          </p:nvCxnSpPr>
          <p:spPr>
            <a:xfrm flipV="1">
              <a:off x="2319313" y="2460025"/>
              <a:ext cx="0" cy="401620"/>
            </a:xfrm>
            <a:prstGeom prst="line">
              <a:avLst/>
            </a:prstGeom>
            <a:ln w="38100">
              <a:solidFill>
                <a:srgbClr val="B2B2B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3" name="Group 192"/>
          <p:cNvGrpSpPr/>
          <p:nvPr/>
        </p:nvGrpSpPr>
        <p:grpSpPr>
          <a:xfrm>
            <a:off x="1843882" y="2374558"/>
            <a:ext cx="850388" cy="850388"/>
            <a:chOff x="1880855" y="2426871"/>
            <a:chExt cx="867440" cy="867440"/>
          </a:xfrm>
        </p:grpSpPr>
        <p:sp>
          <p:nvSpPr>
            <p:cNvPr id="194" name="Oval 193"/>
            <p:cNvSpPr/>
            <p:nvPr/>
          </p:nvSpPr>
          <p:spPr bwMode="auto">
            <a:xfrm>
              <a:off x="1880855" y="2426871"/>
              <a:ext cx="867440" cy="86744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95" name="Straight Connector 194"/>
            <p:cNvCxnSpPr/>
            <p:nvPr/>
          </p:nvCxnSpPr>
          <p:spPr>
            <a:xfrm>
              <a:off x="2301107" y="2865329"/>
              <a:ext cx="228891" cy="0"/>
            </a:xfrm>
            <a:prstGeom prst="line">
              <a:avLst/>
            </a:prstGeom>
            <a:ln w="38100">
              <a:solidFill>
                <a:srgbClr val="B2B2B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369" name="Straight Connector 368"/>
          <p:cNvCxnSpPr/>
          <p:nvPr/>
        </p:nvCxnSpPr>
        <p:spPr>
          <a:xfrm flipV="1">
            <a:off x="6581317" y="3049184"/>
            <a:ext cx="3784735" cy="1"/>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6582689" y="3052234"/>
            <a:ext cx="0" cy="482350"/>
          </a:xfrm>
          <a:prstGeom prst="line">
            <a:avLst/>
          </a:prstGeom>
          <a:ln w="22225" cap="sq">
            <a:solidFill>
              <a:schemeClr val="tx1"/>
            </a:solidFill>
            <a:prstDash val="sysDot"/>
            <a:miter lim="800000"/>
            <a:headEnd type="none" w="sm" len="sm"/>
            <a:tailEnd type="triangle"/>
          </a:ln>
        </p:spPr>
        <p:style>
          <a:lnRef idx="1">
            <a:schemeClr val="accent1"/>
          </a:lnRef>
          <a:fillRef idx="0">
            <a:schemeClr val="accent1"/>
          </a:fillRef>
          <a:effectRef idx="0">
            <a:schemeClr val="accent1"/>
          </a:effectRef>
          <a:fontRef idx="minor">
            <a:schemeClr val="tx1"/>
          </a:fontRef>
        </p:style>
      </p:cxnSp>
      <p:grpSp>
        <p:nvGrpSpPr>
          <p:cNvPr id="61" name="App screen"/>
          <p:cNvGrpSpPr/>
          <p:nvPr/>
        </p:nvGrpSpPr>
        <p:grpSpPr>
          <a:xfrm>
            <a:off x="1330004" y="2092467"/>
            <a:ext cx="1873232" cy="1295306"/>
            <a:chOff x="1356673" y="2133929"/>
            <a:chExt cx="1910794" cy="1321280"/>
          </a:xfrm>
        </p:grpSpPr>
        <p:grpSp>
          <p:nvGrpSpPr>
            <p:cNvPr id="282" name="App screen for monitor"/>
            <p:cNvGrpSpPr/>
            <p:nvPr/>
          </p:nvGrpSpPr>
          <p:grpSpPr>
            <a:xfrm>
              <a:off x="1356673" y="2133929"/>
              <a:ext cx="1910794" cy="1321280"/>
              <a:chOff x="1356673" y="2133929"/>
              <a:chExt cx="1910794" cy="1321280"/>
            </a:xfrm>
          </p:grpSpPr>
          <p:sp>
            <p:nvSpPr>
              <p:cNvPr id="281" name="Rectangle 280"/>
              <p:cNvSpPr/>
              <p:nvPr/>
            </p:nvSpPr>
            <p:spPr bwMode="auto">
              <a:xfrm>
                <a:off x="1356673" y="2133929"/>
                <a:ext cx="1910794" cy="1321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Freeform 5"/>
              <p:cNvSpPr>
                <a:spLocks noEditPoints="1"/>
              </p:cNvSpPr>
              <p:nvPr/>
            </p:nvSpPr>
            <p:spPr bwMode="auto">
              <a:xfrm>
                <a:off x="1766523" y="2447491"/>
                <a:ext cx="411149" cy="630385"/>
              </a:xfrm>
              <a:custGeom>
                <a:avLst/>
                <a:gdLst>
                  <a:gd name="T0" fmla="*/ 3672 w 3672"/>
                  <a:gd name="T1" fmla="*/ 1713 h 5630"/>
                  <a:gd name="T2" fmla="*/ 1959 w 3672"/>
                  <a:gd name="T3" fmla="*/ 1713 h 5630"/>
                  <a:gd name="T4" fmla="*/ 1959 w 3672"/>
                  <a:gd name="T5" fmla="*/ 0 h 5630"/>
                  <a:gd name="T6" fmla="*/ 3672 w 3672"/>
                  <a:gd name="T7" fmla="*/ 0 h 5630"/>
                  <a:gd name="T8" fmla="*/ 3672 w 3672"/>
                  <a:gd name="T9" fmla="*/ 1713 h 5630"/>
                  <a:gd name="T10" fmla="*/ 3672 w 3672"/>
                  <a:gd name="T11" fmla="*/ 1713 h 5630"/>
                  <a:gd name="T12" fmla="*/ 3672 w 3672"/>
                  <a:gd name="T13" fmla="*/ 1713 h 5630"/>
                  <a:gd name="T14" fmla="*/ 1536 w 3672"/>
                  <a:gd name="T15" fmla="*/ 178 h 5630"/>
                  <a:gd name="T16" fmla="*/ 177 w 3672"/>
                  <a:gd name="T17" fmla="*/ 178 h 5630"/>
                  <a:gd name="T18" fmla="*/ 177 w 3672"/>
                  <a:gd name="T19" fmla="*/ 1533 h 5630"/>
                  <a:gd name="T20" fmla="*/ 1536 w 3672"/>
                  <a:gd name="T21" fmla="*/ 1533 h 5630"/>
                  <a:gd name="T22" fmla="*/ 1536 w 3672"/>
                  <a:gd name="T23" fmla="*/ 178 h 5630"/>
                  <a:gd name="T24" fmla="*/ 1536 w 3672"/>
                  <a:gd name="T25" fmla="*/ 178 h 5630"/>
                  <a:gd name="T26" fmla="*/ 1536 w 3672"/>
                  <a:gd name="T27" fmla="*/ 178 h 5630"/>
                  <a:gd name="T28" fmla="*/ 1713 w 3672"/>
                  <a:gd name="T29" fmla="*/ 0 h 5630"/>
                  <a:gd name="T30" fmla="*/ 1713 w 3672"/>
                  <a:gd name="T31" fmla="*/ 1713 h 5630"/>
                  <a:gd name="T32" fmla="*/ 0 w 3672"/>
                  <a:gd name="T33" fmla="*/ 1713 h 5630"/>
                  <a:gd name="T34" fmla="*/ 0 w 3672"/>
                  <a:gd name="T35" fmla="*/ 0 h 5630"/>
                  <a:gd name="T36" fmla="*/ 1713 w 3672"/>
                  <a:gd name="T37" fmla="*/ 0 h 5630"/>
                  <a:gd name="T38" fmla="*/ 1713 w 3672"/>
                  <a:gd name="T39" fmla="*/ 0 h 5630"/>
                  <a:gd name="T40" fmla="*/ 1713 w 3672"/>
                  <a:gd name="T41" fmla="*/ 0 h 5630"/>
                  <a:gd name="T42" fmla="*/ 1713 w 3672"/>
                  <a:gd name="T43" fmla="*/ 0 h 5630"/>
                  <a:gd name="T44" fmla="*/ 1536 w 3672"/>
                  <a:gd name="T45" fmla="*/ 4097 h 5630"/>
                  <a:gd name="T46" fmla="*/ 177 w 3672"/>
                  <a:gd name="T47" fmla="*/ 4097 h 5630"/>
                  <a:gd name="T48" fmla="*/ 177 w 3672"/>
                  <a:gd name="T49" fmla="*/ 5452 h 5630"/>
                  <a:gd name="T50" fmla="*/ 1536 w 3672"/>
                  <a:gd name="T51" fmla="*/ 5452 h 5630"/>
                  <a:gd name="T52" fmla="*/ 1536 w 3672"/>
                  <a:gd name="T53" fmla="*/ 4097 h 5630"/>
                  <a:gd name="T54" fmla="*/ 1536 w 3672"/>
                  <a:gd name="T55" fmla="*/ 4097 h 5630"/>
                  <a:gd name="T56" fmla="*/ 1536 w 3672"/>
                  <a:gd name="T57" fmla="*/ 4097 h 5630"/>
                  <a:gd name="T58" fmla="*/ 1713 w 3672"/>
                  <a:gd name="T59" fmla="*/ 3917 h 5630"/>
                  <a:gd name="T60" fmla="*/ 1713 w 3672"/>
                  <a:gd name="T61" fmla="*/ 5630 h 5630"/>
                  <a:gd name="T62" fmla="*/ 0 w 3672"/>
                  <a:gd name="T63" fmla="*/ 5630 h 5630"/>
                  <a:gd name="T64" fmla="*/ 0 w 3672"/>
                  <a:gd name="T65" fmla="*/ 3917 h 5630"/>
                  <a:gd name="T66" fmla="*/ 1713 w 3672"/>
                  <a:gd name="T67" fmla="*/ 3917 h 5630"/>
                  <a:gd name="T68" fmla="*/ 1713 w 3672"/>
                  <a:gd name="T69" fmla="*/ 3917 h 5630"/>
                  <a:gd name="T70" fmla="*/ 1713 w 3672"/>
                  <a:gd name="T71" fmla="*/ 3917 h 5630"/>
                  <a:gd name="T72" fmla="*/ 1713 w 3672"/>
                  <a:gd name="T73" fmla="*/ 3917 h 5630"/>
                  <a:gd name="T74" fmla="*/ 3495 w 3672"/>
                  <a:gd name="T75" fmla="*/ 2136 h 5630"/>
                  <a:gd name="T76" fmla="*/ 177 w 3672"/>
                  <a:gd name="T77" fmla="*/ 2136 h 5630"/>
                  <a:gd name="T78" fmla="*/ 177 w 3672"/>
                  <a:gd name="T79" fmla="*/ 3494 h 5630"/>
                  <a:gd name="T80" fmla="*/ 3495 w 3672"/>
                  <a:gd name="T81" fmla="*/ 3494 h 5630"/>
                  <a:gd name="T82" fmla="*/ 3495 w 3672"/>
                  <a:gd name="T83" fmla="*/ 2136 h 5630"/>
                  <a:gd name="T84" fmla="*/ 3495 w 3672"/>
                  <a:gd name="T85" fmla="*/ 2136 h 5630"/>
                  <a:gd name="T86" fmla="*/ 3495 w 3672"/>
                  <a:gd name="T87" fmla="*/ 2136 h 5630"/>
                  <a:gd name="T88" fmla="*/ 3672 w 3672"/>
                  <a:gd name="T89" fmla="*/ 1956 h 5630"/>
                  <a:gd name="T90" fmla="*/ 3672 w 3672"/>
                  <a:gd name="T91" fmla="*/ 3674 h 5630"/>
                  <a:gd name="T92" fmla="*/ 0 w 3672"/>
                  <a:gd name="T93" fmla="*/ 3674 h 5630"/>
                  <a:gd name="T94" fmla="*/ 0 w 3672"/>
                  <a:gd name="T95" fmla="*/ 1956 h 5630"/>
                  <a:gd name="T96" fmla="*/ 3672 w 3672"/>
                  <a:gd name="T97" fmla="*/ 1956 h 5630"/>
                  <a:gd name="T98" fmla="*/ 3672 w 3672"/>
                  <a:gd name="T99" fmla="*/ 1956 h 5630"/>
                  <a:gd name="T100" fmla="*/ 3672 w 3672"/>
                  <a:gd name="T101" fmla="*/ 1956 h 5630"/>
                  <a:gd name="T102" fmla="*/ 3672 w 3672"/>
                  <a:gd name="T103" fmla="*/ 1956 h 5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2" h="5630">
                    <a:moveTo>
                      <a:pt x="3672" y="1713"/>
                    </a:moveTo>
                    <a:lnTo>
                      <a:pt x="1959" y="1713"/>
                    </a:lnTo>
                    <a:lnTo>
                      <a:pt x="1959" y="0"/>
                    </a:lnTo>
                    <a:lnTo>
                      <a:pt x="3672" y="0"/>
                    </a:lnTo>
                    <a:lnTo>
                      <a:pt x="3672" y="1713"/>
                    </a:lnTo>
                    <a:lnTo>
                      <a:pt x="3672" y="1713"/>
                    </a:lnTo>
                    <a:lnTo>
                      <a:pt x="3672" y="1713"/>
                    </a:lnTo>
                    <a:close/>
                    <a:moveTo>
                      <a:pt x="1536" y="178"/>
                    </a:moveTo>
                    <a:lnTo>
                      <a:pt x="177" y="178"/>
                    </a:lnTo>
                    <a:lnTo>
                      <a:pt x="177" y="1533"/>
                    </a:lnTo>
                    <a:lnTo>
                      <a:pt x="1536" y="1533"/>
                    </a:lnTo>
                    <a:lnTo>
                      <a:pt x="1536" y="178"/>
                    </a:lnTo>
                    <a:lnTo>
                      <a:pt x="1536" y="178"/>
                    </a:lnTo>
                    <a:lnTo>
                      <a:pt x="1536" y="178"/>
                    </a:lnTo>
                    <a:close/>
                    <a:moveTo>
                      <a:pt x="1713" y="0"/>
                    </a:moveTo>
                    <a:lnTo>
                      <a:pt x="1713" y="1713"/>
                    </a:lnTo>
                    <a:lnTo>
                      <a:pt x="0" y="1713"/>
                    </a:lnTo>
                    <a:lnTo>
                      <a:pt x="0" y="0"/>
                    </a:lnTo>
                    <a:lnTo>
                      <a:pt x="1713" y="0"/>
                    </a:lnTo>
                    <a:lnTo>
                      <a:pt x="1713" y="0"/>
                    </a:lnTo>
                    <a:lnTo>
                      <a:pt x="1713" y="0"/>
                    </a:lnTo>
                    <a:lnTo>
                      <a:pt x="1713" y="0"/>
                    </a:lnTo>
                    <a:close/>
                    <a:moveTo>
                      <a:pt x="1536" y="4097"/>
                    </a:moveTo>
                    <a:lnTo>
                      <a:pt x="177" y="4097"/>
                    </a:lnTo>
                    <a:lnTo>
                      <a:pt x="177" y="5452"/>
                    </a:lnTo>
                    <a:lnTo>
                      <a:pt x="1536" y="5452"/>
                    </a:lnTo>
                    <a:lnTo>
                      <a:pt x="1536" y="4097"/>
                    </a:lnTo>
                    <a:lnTo>
                      <a:pt x="1536" y="4097"/>
                    </a:lnTo>
                    <a:lnTo>
                      <a:pt x="1536" y="4097"/>
                    </a:lnTo>
                    <a:close/>
                    <a:moveTo>
                      <a:pt x="1713" y="3917"/>
                    </a:moveTo>
                    <a:lnTo>
                      <a:pt x="1713" y="5630"/>
                    </a:lnTo>
                    <a:lnTo>
                      <a:pt x="0" y="5630"/>
                    </a:lnTo>
                    <a:lnTo>
                      <a:pt x="0" y="3917"/>
                    </a:lnTo>
                    <a:lnTo>
                      <a:pt x="1713" y="3917"/>
                    </a:lnTo>
                    <a:lnTo>
                      <a:pt x="1713" y="3917"/>
                    </a:lnTo>
                    <a:lnTo>
                      <a:pt x="1713" y="3917"/>
                    </a:lnTo>
                    <a:lnTo>
                      <a:pt x="1713" y="3917"/>
                    </a:lnTo>
                    <a:close/>
                    <a:moveTo>
                      <a:pt x="3495" y="2136"/>
                    </a:moveTo>
                    <a:lnTo>
                      <a:pt x="177" y="2136"/>
                    </a:lnTo>
                    <a:lnTo>
                      <a:pt x="177" y="3494"/>
                    </a:lnTo>
                    <a:lnTo>
                      <a:pt x="3495" y="3494"/>
                    </a:lnTo>
                    <a:lnTo>
                      <a:pt x="3495" y="2136"/>
                    </a:lnTo>
                    <a:lnTo>
                      <a:pt x="3495" y="2136"/>
                    </a:lnTo>
                    <a:lnTo>
                      <a:pt x="3495" y="2136"/>
                    </a:lnTo>
                    <a:close/>
                    <a:moveTo>
                      <a:pt x="3672" y="1956"/>
                    </a:moveTo>
                    <a:lnTo>
                      <a:pt x="3672" y="3674"/>
                    </a:lnTo>
                    <a:lnTo>
                      <a:pt x="0" y="3674"/>
                    </a:lnTo>
                    <a:lnTo>
                      <a:pt x="0" y="1956"/>
                    </a:lnTo>
                    <a:lnTo>
                      <a:pt x="3672" y="1956"/>
                    </a:lnTo>
                    <a:lnTo>
                      <a:pt x="3672" y="1956"/>
                    </a:lnTo>
                    <a:lnTo>
                      <a:pt x="3672" y="1956"/>
                    </a:lnTo>
                    <a:lnTo>
                      <a:pt x="3672" y="1956"/>
                    </a:lnTo>
                    <a:close/>
                  </a:path>
                </a:pathLst>
              </a:custGeom>
              <a:solidFill>
                <a:srgbClr val="B2B2B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grpSp>
        <p:sp>
          <p:nvSpPr>
            <p:cNvPr id="60" name="TextBox 59"/>
            <p:cNvSpPr txBox="1"/>
            <p:nvPr/>
          </p:nvSpPr>
          <p:spPr>
            <a:xfrm>
              <a:off x="2140374" y="2276400"/>
              <a:ext cx="736978" cy="960263"/>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4705" dirty="0">
                  <a:gradFill>
                    <a:gsLst>
                      <a:gs pos="79646">
                        <a:srgbClr val="FF0000"/>
                      </a:gs>
                      <a:gs pos="30000">
                        <a:srgbClr val="FF0000"/>
                      </a:gs>
                    </a:gsLst>
                    <a:lin ang="5400000" scaled="0"/>
                  </a:gradFill>
                </a:rPr>
                <a:t>!</a:t>
              </a:r>
            </a:p>
          </p:txBody>
        </p:sp>
      </p:grpSp>
      <p:sp>
        <p:nvSpPr>
          <p:cNvPr id="62" name="Mask"/>
          <p:cNvSpPr/>
          <p:nvPr/>
        </p:nvSpPr>
        <p:spPr bwMode="auto">
          <a:xfrm>
            <a:off x="2252141" y="2370872"/>
            <a:ext cx="380262" cy="5933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72" name="Check mark"/>
          <p:cNvSpPr txBox="1"/>
          <p:nvPr/>
        </p:nvSpPr>
        <p:spPr>
          <a:xfrm>
            <a:off x="2155937" y="2392736"/>
            <a:ext cx="663532" cy="789211"/>
          </a:xfrm>
          <a:prstGeom prst="rect">
            <a:avLst/>
          </a:prstGeom>
          <a:noFill/>
        </p:spPr>
        <p:txBody>
          <a:bodyPr wrap="square" lIns="152328" tIns="121861" rIns="152328" bIns="121861" rtlCol="0">
            <a:spAutoFit/>
          </a:bodyPr>
          <a:lstStyle/>
          <a:p>
            <a:pPr defTabSz="914367">
              <a:lnSpc>
                <a:spcPct val="90000"/>
              </a:lnSpc>
            </a:pPr>
            <a:r>
              <a:rPr lang="en-US" sz="3921" b="1" dirty="0">
                <a:solidFill>
                  <a:srgbClr val="BAD80A">
                    <a:lumMod val="75000"/>
                  </a:srgbClr>
                </a:solidFill>
                <a:sym typeface="Wingdings" panose="05000000000000000000" pitchFamily="2" charset="2"/>
              </a:rPr>
              <a:t></a:t>
            </a:r>
            <a:endParaRPr lang="en-US" sz="3921" b="1" dirty="0">
              <a:solidFill>
                <a:srgbClr val="BAD80A">
                  <a:lumMod val="75000"/>
                </a:srgbClr>
              </a:solidFill>
            </a:endParaRPr>
          </a:p>
        </p:txBody>
      </p:sp>
      <p:cxnSp>
        <p:nvCxnSpPr>
          <p:cNvPr id="283" name="Straight Connector 282"/>
          <p:cNvCxnSpPr/>
          <p:nvPr/>
        </p:nvCxnSpPr>
        <p:spPr>
          <a:xfrm>
            <a:off x="10366052" y="4806950"/>
            <a:ext cx="0" cy="279400"/>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flipV="1">
            <a:off x="6622256" y="5081692"/>
            <a:ext cx="3750469" cy="13986"/>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flipV="1">
            <a:off x="6583978" y="4057650"/>
            <a:ext cx="0" cy="1028700"/>
          </a:xfrm>
          <a:prstGeom prst="line">
            <a:avLst/>
          </a:prstGeom>
          <a:ln w="22225" cap="sq">
            <a:solidFill>
              <a:schemeClr val="tx1"/>
            </a:solidFill>
            <a:prstDash val="sysDot"/>
            <a:miter lim="800000"/>
            <a:headEnd type="none" w="sm" len="sm"/>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5535255" y="3534581"/>
            <a:ext cx="2097447" cy="5213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a:t>
            </a:r>
          </a:p>
        </p:txBody>
      </p:sp>
      <p:sp>
        <p:nvSpPr>
          <p:cNvPr id="99" name="Freeform 5"/>
          <p:cNvSpPr>
            <a:spLocks noEditPoints="1"/>
          </p:cNvSpPr>
          <p:nvPr/>
        </p:nvSpPr>
        <p:spPr bwMode="auto">
          <a:xfrm>
            <a:off x="7304295" y="3653760"/>
            <a:ext cx="184541" cy="282943"/>
          </a:xfrm>
          <a:custGeom>
            <a:avLst/>
            <a:gdLst>
              <a:gd name="T0" fmla="*/ 3672 w 3672"/>
              <a:gd name="T1" fmla="*/ 1713 h 5630"/>
              <a:gd name="T2" fmla="*/ 1959 w 3672"/>
              <a:gd name="T3" fmla="*/ 1713 h 5630"/>
              <a:gd name="T4" fmla="*/ 1959 w 3672"/>
              <a:gd name="T5" fmla="*/ 0 h 5630"/>
              <a:gd name="T6" fmla="*/ 3672 w 3672"/>
              <a:gd name="T7" fmla="*/ 0 h 5630"/>
              <a:gd name="T8" fmla="*/ 3672 w 3672"/>
              <a:gd name="T9" fmla="*/ 1713 h 5630"/>
              <a:gd name="T10" fmla="*/ 3672 w 3672"/>
              <a:gd name="T11" fmla="*/ 1713 h 5630"/>
              <a:gd name="T12" fmla="*/ 3672 w 3672"/>
              <a:gd name="T13" fmla="*/ 1713 h 5630"/>
              <a:gd name="T14" fmla="*/ 1536 w 3672"/>
              <a:gd name="T15" fmla="*/ 178 h 5630"/>
              <a:gd name="T16" fmla="*/ 177 w 3672"/>
              <a:gd name="T17" fmla="*/ 178 h 5630"/>
              <a:gd name="T18" fmla="*/ 177 w 3672"/>
              <a:gd name="T19" fmla="*/ 1533 h 5630"/>
              <a:gd name="T20" fmla="*/ 1536 w 3672"/>
              <a:gd name="T21" fmla="*/ 1533 h 5630"/>
              <a:gd name="T22" fmla="*/ 1536 w 3672"/>
              <a:gd name="T23" fmla="*/ 178 h 5630"/>
              <a:gd name="T24" fmla="*/ 1536 w 3672"/>
              <a:gd name="T25" fmla="*/ 178 h 5630"/>
              <a:gd name="T26" fmla="*/ 1536 w 3672"/>
              <a:gd name="T27" fmla="*/ 178 h 5630"/>
              <a:gd name="T28" fmla="*/ 1713 w 3672"/>
              <a:gd name="T29" fmla="*/ 0 h 5630"/>
              <a:gd name="T30" fmla="*/ 1713 w 3672"/>
              <a:gd name="T31" fmla="*/ 1713 h 5630"/>
              <a:gd name="T32" fmla="*/ 0 w 3672"/>
              <a:gd name="T33" fmla="*/ 1713 h 5630"/>
              <a:gd name="T34" fmla="*/ 0 w 3672"/>
              <a:gd name="T35" fmla="*/ 0 h 5630"/>
              <a:gd name="T36" fmla="*/ 1713 w 3672"/>
              <a:gd name="T37" fmla="*/ 0 h 5630"/>
              <a:gd name="T38" fmla="*/ 1713 w 3672"/>
              <a:gd name="T39" fmla="*/ 0 h 5630"/>
              <a:gd name="T40" fmla="*/ 1713 w 3672"/>
              <a:gd name="T41" fmla="*/ 0 h 5630"/>
              <a:gd name="T42" fmla="*/ 1713 w 3672"/>
              <a:gd name="T43" fmla="*/ 0 h 5630"/>
              <a:gd name="T44" fmla="*/ 1536 w 3672"/>
              <a:gd name="T45" fmla="*/ 4097 h 5630"/>
              <a:gd name="T46" fmla="*/ 177 w 3672"/>
              <a:gd name="T47" fmla="*/ 4097 h 5630"/>
              <a:gd name="T48" fmla="*/ 177 w 3672"/>
              <a:gd name="T49" fmla="*/ 5452 h 5630"/>
              <a:gd name="T50" fmla="*/ 1536 w 3672"/>
              <a:gd name="T51" fmla="*/ 5452 h 5630"/>
              <a:gd name="T52" fmla="*/ 1536 w 3672"/>
              <a:gd name="T53" fmla="*/ 4097 h 5630"/>
              <a:gd name="T54" fmla="*/ 1536 w 3672"/>
              <a:gd name="T55" fmla="*/ 4097 h 5630"/>
              <a:gd name="T56" fmla="*/ 1536 w 3672"/>
              <a:gd name="T57" fmla="*/ 4097 h 5630"/>
              <a:gd name="T58" fmla="*/ 1713 w 3672"/>
              <a:gd name="T59" fmla="*/ 3917 h 5630"/>
              <a:gd name="T60" fmla="*/ 1713 w 3672"/>
              <a:gd name="T61" fmla="*/ 5630 h 5630"/>
              <a:gd name="T62" fmla="*/ 0 w 3672"/>
              <a:gd name="T63" fmla="*/ 5630 h 5630"/>
              <a:gd name="T64" fmla="*/ 0 w 3672"/>
              <a:gd name="T65" fmla="*/ 3917 h 5630"/>
              <a:gd name="T66" fmla="*/ 1713 w 3672"/>
              <a:gd name="T67" fmla="*/ 3917 h 5630"/>
              <a:gd name="T68" fmla="*/ 1713 w 3672"/>
              <a:gd name="T69" fmla="*/ 3917 h 5630"/>
              <a:gd name="T70" fmla="*/ 1713 w 3672"/>
              <a:gd name="T71" fmla="*/ 3917 h 5630"/>
              <a:gd name="T72" fmla="*/ 1713 w 3672"/>
              <a:gd name="T73" fmla="*/ 3917 h 5630"/>
              <a:gd name="T74" fmla="*/ 3495 w 3672"/>
              <a:gd name="T75" fmla="*/ 2136 h 5630"/>
              <a:gd name="T76" fmla="*/ 177 w 3672"/>
              <a:gd name="T77" fmla="*/ 2136 h 5630"/>
              <a:gd name="T78" fmla="*/ 177 w 3672"/>
              <a:gd name="T79" fmla="*/ 3494 h 5630"/>
              <a:gd name="T80" fmla="*/ 3495 w 3672"/>
              <a:gd name="T81" fmla="*/ 3494 h 5630"/>
              <a:gd name="T82" fmla="*/ 3495 w 3672"/>
              <a:gd name="T83" fmla="*/ 2136 h 5630"/>
              <a:gd name="T84" fmla="*/ 3495 w 3672"/>
              <a:gd name="T85" fmla="*/ 2136 h 5630"/>
              <a:gd name="T86" fmla="*/ 3495 w 3672"/>
              <a:gd name="T87" fmla="*/ 2136 h 5630"/>
              <a:gd name="T88" fmla="*/ 3672 w 3672"/>
              <a:gd name="T89" fmla="*/ 1956 h 5630"/>
              <a:gd name="T90" fmla="*/ 3672 w 3672"/>
              <a:gd name="T91" fmla="*/ 3674 h 5630"/>
              <a:gd name="T92" fmla="*/ 0 w 3672"/>
              <a:gd name="T93" fmla="*/ 3674 h 5630"/>
              <a:gd name="T94" fmla="*/ 0 w 3672"/>
              <a:gd name="T95" fmla="*/ 1956 h 5630"/>
              <a:gd name="T96" fmla="*/ 3672 w 3672"/>
              <a:gd name="T97" fmla="*/ 1956 h 5630"/>
              <a:gd name="T98" fmla="*/ 3672 w 3672"/>
              <a:gd name="T99" fmla="*/ 1956 h 5630"/>
              <a:gd name="T100" fmla="*/ 3672 w 3672"/>
              <a:gd name="T101" fmla="*/ 1956 h 5630"/>
              <a:gd name="T102" fmla="*/ 3672 w 3672"/>
              <a:gd name="T103" fmla="*/ 1956 h 5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2" h="5630">
                <a:moveTo>
                  <a:pt x="3672" y="1713"/>
                </a:moveTo>
                <a:lnTo>
                  <a:pt x="1959" y="1713"/>
                </a:lnTo>
                <a:lnTo>
                  <a:pt x="1959" y="0"/>
                </a:lnTo>
                <a:lnTo>
                  <a:pt x="3672" y="0"/>
                </a:lnTo>
                <a:lnTo>
                  <a:pt x="3672" y="1713"/>
                </a:lnTo>
                <a:lnTo>
                  <a:pt x="3672" y="1713"/>
                </a:lnTo>
                <a:lnTo>
                  <a:pt x="3672" y="1713"/>
                </a:lnTo>
                <a:close/>
                <a:moveTo>
                  <a:pt x="1536" y="178"/>
                </a:moveTo>
                <a:lnTo>
                  <a:pt x="177" y="178"/>
                </a:lnTo>
                <a:lnTo>
                  <a:pt x="177" y="1533"/>
                </a:lnTo>
                <a:lnTo>
                  <a:pt x="1536" y="1533"/>
                </a:lnTo>
                <a:lnTo>
                  <a:pt x="1536" y="178"/>
                </a:lnTo>
                <a:lnTo>
                  <a:pt x="1536" y="178"/>
                </a:lnTo>
                <a:lnTo>
                  <a:pt x="1536" y="178"/>
                </a:lnTo>
                <a:close/>
                <a:moveTo>
                  <a:pt x="1713" y="0"/>
                </a:moveTo>
                <a:lnTo>
                  <a:pt x="1713" y="1713"/>
                </a:lnTo>
                <a:lnTo>
                  <a:pt x="0" y="1713"/>
                </a:lnTo>
                <a:lnTo>
                  <a:pt x="0" y="0"/>
                </a:lnTo>
                <a:lnTo>
                  <a:pt x="1713" y="0"/>
                </a:lnTo>
                <a:lnTo>
                  <a:pt x="1713" y="0"/>
                </a:lnTo>
                <a:lnTo>
                  <a:pt x="1713" y="0"/>
                </a:lnTo>
                <a:lnTo>
                  <a:pt x="1713" y="0"/>
                </a:lnTo>
                <a:close/>
                <a:moveTo>
                  <a:pt x="1536" y="4097"/>
                </a:moveTo>
                <a:lnTo>
                  <a:pt x="177" y="4097"/>
                </a:lnTo>
                <a:lnTo>
                  <a:pt x="177" y="5452"/>
                </a:lnTo>
                <a:lnTo>
                  <a:pt x="1536" y="5452"/>
                </a:lnTo>
                <a:lnTo>
                  <a:pt x="1536" y="4097"/>
                </a:lnTo>
                <a:lnTo>
                  <a:pt x="1536" y="4097"/>
                </a:lnTo>
                <a:lnTo>
                  <a:pt x="1536" y="4097"/>
                </a:lnTo>
                <a:close/>
                <a:moveTo>
                  <a:pt x="1713" y="3917"/>
                </a:moveTo>
                <a:lnTo>
                  <a:pt x="1713" y="5630"/>
                </a:lnTo>
                <a:lnTo>
                  <a:pt x="0" y="5630"/>
                </a:lnTo>
                <a:lnTo>
                  <a:pt x="0" y="3917"/>
                </a:lnTo>
                <a:lnTo>
                  <a:pt x="1713" y="3917"/>
                </a:lnTo>
                <a:lnTo>
                  <a:pt x="1713" y="3917"/>
                </a:lnTo>
                <a:lnTo>
                  <a:pt x="1713" y="3917"/>
                </a:lnTo>
                <a:lnTo>
                  <a:pt x="1713" y="3917"/>
                </a:lnTo>
                <a:close/>
                <a:moveTo>
                  <a:pt x="3495" y="2136"/>
                </a:moveTo>
                <a:lnTo>
                  <a:pt x="177" y="2136"/>
                </a:lnTo>
                <a:lnTo>
                  <a:pt x="177" y="3494"/>
                </a:lnTo>
                <a:lnTo>
                  <a:pt x="3495" y="3494"/>
                </a:lnTo>
                <a:lnTo>
                  <a:pt x="3495" y="2136"/>
                </a:lnTo>
                <a:lnTo>
                  <a:pt x="3495" y="2136"/>
                </a:lnTo>
                <a:lnTo>
                  <a:pt x="3495" y="2136"/>
                </a:lnTo>
                <a:close/>
                <a:moveTo>
                  <a:pt x="3672" y="1956"/>
                </a:moveTo>
                <a:lnTo>
                  <a:pt x="3672" y="3674"/>
                </a:lnTo>
                <a:lnTo>
                  <a:pt x="0" y="3674"/>
                </a:lnTo>
                <a:lnTo>
                  <a:pt x="0" y="1956"/>
                </a:lnTo>
                <a:lnTo>
                  <a:pt x="3672" y="1956"/>
                </a:lnTo>
                <a:lnTo>
                  <a:pt x="3672" y="1956"/>
                </a:lnTo>
                <a:lnTo>
                  <a:pt x="3672" y="1956"/>
                </a:lnTo>
                <a:lnTo>
                  <a:pt x="3672" y="195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cxnSp>
        <p:nvCxnSpPr>
          <p:cNvPr id="113" name="Straight Connector 112"/>
          <p:cNvCxnSpPr/>
          <p:nvPr/>
        </p:nvCxnSpPr>
        <p:spPr>
          <a:xfrm>
            <a:off x="10366052" y="3047683"/>
            <a:ext cx="0" cy="176815"/>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8753285" y="3132152"/>
            <a:ext cx="3239058" cy="1696320"/>
            <a:chOff x="8187277" y="3107437"/>
            <a:chExt cx="3730925" cy="1953915"/>
          </a:xfrm>
        </p:grpSpPr>
        <p:sp>
          <p:nvSpPr>
            <p:cNvPr id="118" name="Freeform 539"/>
            <p:cNvSpPr>
              <a:spLocks noChangeAspect="1"/>
            </p:cNvSpPr>
            <p:nvPr/>
          </p:nvSpPr>
          <p:spPr bwMode="auto">
            <a:xfrm>
              <a:off x="8187277" y="3107437"/>
              <a:ext cx="3730925" cy="195391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w="34925">
              <a:solidFill>
                <a:schemeClr val="bg1"/>
              </a:solidFill>
            </a:ln>
            <a:extLst/>
          </p:spPr>
          <p:txBody>
            <a:bodyPr vert="horz" wrap="square" lIns="179285" tIns="537855" rIns="0" bIns="134464" numCol="1" anchor="ctr" anchorCtr="0" compatLnSpc="1">
              <a:prstTxWarp prst="textNoShape">
                <a:avLst/>
              </a:prstTxWarp>
            </a:bodyPr>
            <a:lstStyle/>
            <a:p>
              <a:pPr algn="ctr" defTabSz="914206">
                <a:lnSpc>
                  <a:spcPct val="90000"/>
                </a:lnSpc>
              </a:pPr>
              <a:endParaRPr lang="en-US" sz="1400" dirty="0">
                <a:gradFill>
                  <a:gsLst>
                    <a:gs pos="17219">
                      <a:srgbClr val="FFFFFF"/>
                    </a:gs>
                    <a:gs pos="32743">
                      <a:srgbClr val="FFFFFF"/>
                    </a:gs>
                  </a:gsLst>
                  <a:lin ang="5400000" scaled="0"/>
                </a:gradFill>
                <a:latin typeface="Segoe UI Semibold" panose="020B0702040204020203" pitchFamily="34" charset="0"/>
              </a:endParaRPr>
            </a:p>
          </p:txBody>
        </p:sp>
        <p:sp>
          <p:nvSpPr>
            <p:cNvPr id="119" name="TextBox 118"/>
            <p:cNvSpPr txBox="1"/>
            <p:nvPr/>
          </p:nvSpPr>
          <p:spPr>
            <a:xfrm>
              <a:off x="9295370" y="3612426"/>
              <a:ext cx="1172629" cy="275204"/>
            </a:xfrm>
            <a:custGeom>
              <a:avLst/>
              <a:gdLst>
                <a:gd name="connsiteX0" fmla="*/ 84711 w 1834723"/>
                <a:gd name="connsiteY0" fmla="*/ 0 h 275204"/>
                <a:gd name="connsiteX1" fmla="*/ 1750011 w 1834723"/>
                <a:gd name="connsiteY1" fmla="*/ 0 h 275204"/>
                <a:gd name="connsiteX2" fmla="*/ 1768329 w 1834723"/>
                <a:gd name="connsiteY2" fmla="*/ 32076 h 275204"/>
                <a:gd name="connsiteX3" fmla="*/ 1822142 w 1834723"/>
                <a:gd name="connsiteY3" fmla="*/ 196853 h 275204"/>
                <a:gd name="connsiteX4" fmla="*/ 1834723 w 1834723"/>
                <a:gd name="connsiteY4" fmla="*/ 275204 h 275204"/>
                <a:gd name="connsiteX5" fmla="*/ 0 w 1834723"/>
                <a:gd name="connsiteY5" fmla="*/ 275204 h 275204"/>
                <a:gd name="connsiteX6" fmla="*/ 12580 w 1834723"/>
                <a:gd name="connsiteY6" fmla="*/ 196853 h 275204"/>
                <a:gd name="connsiteX7" fmla="*/ 66394 w 1834723"/>
                <a:gd name="connsiteY7" fmla="*/ 32076 h 275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723" h="275204">
                  <a:moveTo>
                    <a:pt x="84711" y="0"/>
                  </a:moveTo>
                  <a:lnTo>
                    <a:pt x="1750011" y="0"/>
                  </a:lnTo>
                  <a:lnTo>
                    <a:pt x="1768329" y="32076"/>
                  </a:lnTo>
                  <a:cubicBezTo>
                    <a:pt x="1791695" y="84587"/>
                    <a:pt x="1809840" y="139709"/>
                    <a:pt x="1822142" y="196853"/>
                  </a:cubicBezTo>
                  <a:lnTo>
                    <a:pt x="1834723" y="275204"/>
                  </a:lnTo>
                  <a:lnTo>
                    <a:pt x="0" y="275204"/>
                  </a:lnTo>
                  <a:lnTo>
                    <a:pt x="12580" y="196853"/>
                  </a:lnTo>
                  <a:cubicBezTo>
                    <a:pt x="24883" y="139709"/>
                    <a:pt x="43027" y="84587"/>
                    <a:pt x="66394" y="32076"/>
                  </a:cubicBezTo>
                  <a:close/>
                </a:path>
              </a:pathLst>
            </a:custGeom>
            <a:noFill/>
          </p:spPr>
          <p:txBody>
            <a:bodyPr wrap="square" lIns="182880" tIns="146304" rIns="182880" bIns="146304" rtlCol="0" anchor="ctr" anchorCtr="0">
              <a:noAutofit/>
            </a:bodyPr>
            <a:lstStyle/>
            <a:p>
              <a:pPr algn="ctr" defTabSz="914206">
                <a:lnSpc>
                  <a:spcPct val="90000"/>
                </a:lnSpc>
                <a:spcAft>
                  <a:spcPts val="600"/>
                </a:spcAft>
              </a:pPr>
              <a:r>
                <a:rPr lang="en-US" sz="1400" dirty="0">
                  <a:gradFill>
                    <a:gsLst>
                      <a:gs pos="17219">
                        <a:srgbClr val="FFFFFF"/>
                      </a:gs>
                      <a:gs pos="32743">
                        <a:srgbClr val="FFFFFF"/>
                      </a:gs>
                    </a:gsLst>
                    <a:lin ang="5400000" scaled="0"/>
                  </a:gradFill>
                  <a:latin typeface="Segoe UI Semibold" panose="020B0702040204020203" pitchFamily="34" charset="0"/>
                </a:rPr>
                <a:t>AZURE</a:t>
              </a:r>
            </a:p>
          </p:txBody>
        </p:sp>
      </p:grpSp>
      <p:sp>
        <p:nvSpPr>
          <p:cNvPr id="116" name="Freeform 539"/>
          <p:cNvSpPr>
            <a:spLocks noChangeAspect="1"/>
          </p:cNvSpPr>
          <p:nvPr/>
        </p:nvSpPr>
        <p:spPr bwMode="auto">
          <a:xfrm>
            <a:off x="8914618" y="3931860"/>
            <a:ext cx="1510982" cy="79131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3"/>
          </a:solidFill>
          <a:ln w="34925">
            <a:solidFill>
              <a:schemeClr val="bg1"/>
            </a:solidFill>
          </a:ln>
          <a:extLst/>
        </p:spPr>
        <p:txBody>
          <a:bodyPr vert="horz" wrap="square" lIns="179285" tIns="537855" rIns="0" bIns="134464" numCol="1" anchor="ctr" anchorCtr="0" compatLnSpc="1">
            <a:prstTxWarp prst="textNoShape">
              <a:avLst/>
            </a:prstTxWarp>
          </a:bodyPr>
          <a:lstStyle/>
          <a:p>
            <a:pPr marL="114300" indent="-57150" defTabSz="914206">
              <a:lnSpc>
                <a:spcPct val="90000"/>
              </a:lnSpc>
            </a:pPr>
            <a:r>
              <a:rPr lang="en-US" sz="1400" dirty="0" smtClean="0">
                <a:gradFill>
                  <a:gsLst>
                    <a:gs pos="17219">
                      <a:srgbClr val="FFFFFF"/>
                    </a:gs>
                    <a:gs pos="32743">
                      <a:srgbClr val="FFFFFF"/>
                    </a:gs>
                  </a:gsLst>
                  <a:lin ang="5400000" scaled="0"/>
                </a:gradFill>
                <a:latin typeface="Segoe UI Semibold" panose="020B0702040204020203" pitchFamily="34" charset="0"/>
              </a:rPr>
              <a:t>App Insights</a:t>
            </a:r>
            <a:endParaRPr lang="en-US" sz="1400" dirty="0">
              <a:gradFill>
                <a:gsLst>
                  <a:gs pos="17219">
                    <a:srgbClr val="FFFFFF"/>
                  </a:gs>
                  <a:gs pos="32743">
                    <a:srgbClr val="FFFFFF"/>
                  </a:gs>
                </a:gsLst>
                <a:lin ang="5400000" scaled="0"/>
              </a:gradFill>
              <a:latin typeface="Segoe UI Semibold" panose="020B0702040204020203" pitchFamily="34" charset="0"/>
            </a:endParaRPr>
          </a:p>
        </p:txBody>
      </p:sp>
      <p:sp>
        <p:nvSpPr>
          <p:cNvPr id="117" name="Freeform 539"/>
          <p:cNvSpPr>
            <a:spLocks noChangeAspect="1"/>
          </p:cNvSpPr>
          <p:nvPr/>
        </p:nvSpPr>
        <p:spPr bwMode="auto">
          <a:xfrm>
            <a:off x="10184258" y="4183011"/>
            <a:ext cx="1828800" cy="957756"/>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5">
              <a:lumMod val="50000"/>
            </a:schemeClr>
          </a:solidFill>
          <a:ln w="34925">
            <a:solidFill>
              <a:schemeClr val="bg1"/>
            </a:solidFill>
            <a:prstDash val="solid"/>
          </a:ln>
          <a:extLst/>
        </p:spPr>
        <p:txBody>
          <a:bodyPr vert="horz" wrap="square" lIns="0" tIns="537855" rIns="0" bIns="134464" numCol="1" anchor="ctr" anchorCtr="0" compatLnSpc="1">
            <a:prstTxWarp prst="textNoShape">
              <a:avLst/>
            </a:prstTxWarp>
          </a:bodyPr>
          <a:lstStyle/>
          <a:p>
            <a:pPr marL="457200" indent="-55563" defTabSz="914206">
              <a:lnSpc>
                <a:spcPct val="90000"/>
              </a:lnSpc>
            </a:pPr>
            <a:r>
              <a:rPr lang="en-US" sz="1400" dirty="0">
                <a:gradFill>
                  <a:gsLst>
                    <a:gs pos="17219">
                      <a:srgbClr val="FFFFFF"/>
                    </a:gs>
                    <a:gs pos="32743">
                      <a:srgbClr val="FFFFFF"/>
                    </a:gs>
                  </a:gsLst>
                  <a:lin ang="5400000" scaled="0"/>
                </a:gradFill>
                <a:latin typeface="Segoe UI Semibold" panose="020B0702040204020203" pitchFamily="34" charset="0"/>
              </a:rPr>
              <a:t>Log Analytics</a:t>
            </a:r>
          </a:p>
        </p:txBody>
      </p:sp>
    </p:spTree>
    <p:extLst>
      <p:ext uri="{BB962C8B-B14F-4D97-AF65-F5344CB8AC3E}">
        <p14:creationId xmlns:p14="http://schemas.microsoft.com/office/powerpoint/2010/main" val="2821728429"/>
      </p:ext>
    </p:extLst>
  </p:cSld>
  <p:clrMapOvr>
    <a:masterClrMapping/>
  </p:clrMapOvr>
  <mc:AlternateContent xmlns:mc="http://schemas.openxmlformats.org/markup-compatibility/2006" xmlns:p14="http://schemas.microsoft.com/office/powerpoint/2010/main">
    <mc:Choice Requires="p14">
      <p:transition spd="slow" p14:dur="80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71"/>
                                        </p:tgtEl>
                                        <p:attrNameLst>
                                          <p:attrName>style.visibility</p:attrName>
                                        </p:attrNameLst>
                                      </p:cBhvr>
                                      <p:to>
                                        <p:strVal val="visible"/>
                                      </p:to>
                                    </p:set>
                                    <p:anim calcmode="lin" valueType="num">
                                      <p:cBhvr additive="base">
                                        <p:cTn id="7" dur="700" fill="hold"/>
                                        <p:tgtEl>
                                          <p:spTgt spid="171"/>
                                        </p:tgtEl>
                                        <p:attrNameLst>
                                          <p:attrName>ppt_x</p:attrName>
                                        </p:attrNameLst>
                                      </p:cBhvr>
                                      <p:tavLst>
                                        <p:tav tm="0">
                                          <p:val>
                                            <p:strVal val="0-#ppt_w/2"/>
                                          </p:val>
                                        </p:tav>
                                        <p:tav tm="100000">
                                          <p:val>
                                            <p:strVal val="#ppt_x"/>
                                          </p:val>
                                        </p:tav>
                                      </p:tavLst>
                                    </p:anim>
                                    <p:anim calcmode="lin" valueType="num">
                                      <p:cBhvr additive="base">
                                        <p:cTn id="8" dur="700" fill="hold"/>
                                        <p:tgtEl>
                                          <p:spTgt spid="17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00" fill="hold"/>
                                        <p:tgtEl>
                                          <p:spTgt spid="7"/>
                                        </p:tgtEl>
                                        <p:attrNameLst>
                                          <p:attrName>ppt_x</p:attrName>
                                        </p:attrNameLst>
                                      </p:cBhvr>
                                      <p:tavLst>
                                        <p:tav tm="0">
                                          <p:val>
                                            <p:strVal val="0-#ppt_w/2"/>
                                          </p:val>
                                        </p:tav>
                                        <p:tav tm="100000">
                                          <p:val>
                                            <p:strVal val="#ppt_x"/>
                                          </p:val>
                                        </p:tav>
                                      </p:tavLst>
                                    </p:anim>
                                    <p:anim calcmode="lin" valueType="num">
                                      <p:cBhvr additive="base">
                                        <p:cTn id="12" dur="700" fill="hold"/>
                                        <p:tgtEl>
                                          <p:spTgt spid="7"/>
                                        </p:tgtEl>
                                        <p:attrNameLst>
                                          <p:attrName>ppt_y</p:attrName>
                                        </p:attrNameLst>
                                      </p:cBhvr>
                                      <p:tavLst>
                                        <p:tav tm="0">
                                          <p:val>
                                            <p:strVal val="#ppt_y"/>
                                          </p:val>
                                        </p:tav>
                                        <p:tav tm="100000">
                                          <p:val>
                                            <p:strVal val="#ppt_y"/>
                                          </p:val>
                                        </p:tav>
                                      </p:tavLst>
                                    </p:anim>
                                  </p:childTnLst>
                                </p:cTn>
                              </p:par>
                            </p:childTnLst>
                          </p:cTn>
                        </p:par>
                        <p:par>
                          <p:cTn id="13" fill="hold">
                            <p:stCondLst>
                              <p:cond delay="700"/>
                            </p:stCondLst>
                            <p:childTnLst>
                              <p:par>
                                <p:cTn id="14" presetID="1" presetClass="entr" presetSubtype="0" fill="hold" grpId="1" nodeType="afterEffect">
                                  <p:stCondLst>
                                    <p:cond delay="0"/>
                                  </p:stCondLst>
                                  <p:childTnLst>
                                    <p:set>
                                      <p:cBhvr>
                                        <p:cTn id="15" dur="1" fill="hold">
                                          <p:stCondLst>
                                            <p:cond delay="0"/>
                                          </p:stCondLst>
                                        </p:cTn>
                                        <p:tgtEl>
                                          <p:spTgt spid="304"/>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00"/>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22" presetClass="exit" presetSubtype="8" fill="hold" grpId="1" nodeType="clickEffect">
                                  <p:stCondLst>
                                    <p:cond delay="0"/>
                                  </p:stCondLst>
                                  <p:childTnLst>
                                    <p:animEffect transition="out" filter="wipe(left)">
                                      <p:cBhvr>
                                        <p:cTn id="21" dur="500"/>
                                        <p:tgtEl>
                                          <p:spTgt spid="171"/>
                                        </p:tgtEl>
                                      </p:cBhvr>
                                    </p:animEffect>
                                    <p:set>
                                      <p:cBhvr>
                                        <p:cTn id="22" dur="1" fill="hold">
                                          <p:stCondLst>
                                            <p:cond delay="499"/>
                                          </p:stCondLst>
                                        </p:cTn>
                                        <p:tgtEl>
                                          <p:spTgt spid="171"/>
                                        </p:tgtEl>
                                        <p:attrNameLst>
                                          <p:attrName>style.visibility</p:attrName>
                                        </p:attrNameLst>
                                      </p:cBhvr>
                                      <p:to>
                                        <p:strVal val="hidden"/>
                                      </p:to>
                                    </p:set>
                                  </p:childTnLst>
                                </p:cTn>
                              </p:par>
                              <p:par>
                                <p:cTn id="23" presetID="10"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par>
                                <p:cTn id="30" presetID="10"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nodeType="withEffect">
                                  <p:stCondLst>
                                    <p:cond delay="0"/>
                                  </p:stCondLst>
                                  <p:childTnLst>
                                    <p:set>
                                      <p:cBhvr>
                                        <p:cTn id="34" dur="1" fill="hold">
                                          <p:stCondLst>
                                            <p:cond delay="0"/>
                                          </p:stCondLst>
                                        </p:cTn>
                                        <p:tgtEl>
                                          <p:spTgt spid="193"/>
                                        </p:tgtEl>
                                        <p:attrNameLst>
                                          <p:attrName>style.visibility</p:attrName>
                                        </p:attrNameLst>
                                      </p:cBhvr>
                                      <p:to>
                                        <p:strVal val="visible"/>
                                      </p:to>
                                    </p:set>
                                    <p:animEffect transition="in" filter="fade">
                                      <p:cBhvr>
                                        <p:cTn id="35" dur="500"/>
                                        <p:tgtEl>
                                          <p:spTgt spid="193"/>
                                        </p:tgtEl>
                                      </p:cBhvr>
                                    </p:animEffect>
                                  </p:childTnLst>
                                </p:cTn>
                              </p:par>
                              <p:par>
                                <p:cTn id="36" presetID="8" presetClass="emph" presetSubtype="0" fill="hold" nodeType="withEffect">
                                  <p:stCondLst>
                                    <p:cond delay="0"/>
                                  </p:stCondLst>
                                  <p:childTnLst>
                                    <p:animRot by="21600000">
                                      <p:cBhvr>
                                        <p:cTn id="37" dur="2500" fill="hold"/>
                                        <p:tgtEl>
                                          <p:spTgt spid="193"/>
                                        </p:tgtEl>
                                        <p:attrNameLst>
                                          <p:attrName>r</p:attrName>
                                        </p:attrNameLst>
                                      </p:cBhvr>
                                    </p:animRot>
                                  </p:childTnLst>
                                </p:cTn>
                              </p:par>
                              <p:par>
                                <p:cTn id="38" presetID="8" presetClass="emph" presetSubtype="0" fill="hold" nodeType="withEffect">
                                  <p:stCondLst>
                                    <p:cond delay="0"/>
                                  </p:stCondLst>
                                  <p:childTnLst>
                                    <p:animRot by="43200000">
                                      <p:cBhvr>
                                        <p:cTn id="39" dur="2500" fill="hold"/>
                                        <p:tgtEl>
                                          <p:spTgt spid="17"/>
                                        </p:tgtEl>
                                        <p:attrNameLst>
                                          <p:attrName>r</p:attrName>
                                        </p:attrNameLst>
                                      </p:cBhvr>
                                    </p:animRot>
                                  </p:childTnLst>
                                </p:cTn>
                              </p:par>
                            </p:childTnLst>
                          </p:cTn>
                        </p:par>
                        <p:par>
                          <p:cTn id="40" fill="hold">
                            <p:stCondLst>
                              <p:cond delay="3000"/>
                            </p:stCondLst>
                            <p:childTnLst>
                              <p:par>
                                <p:cTn id="41" presetID="8" presetClass="emph" presetSubtype="0" autoRev="1" fill="hold" nodeType="afterEffect">
                                  <p:stCondLst>
                                    <p:cond delay="0"/>
                                  </p:stCondLst>
                                  <p:childTnLst>
                                    <p:animRot by="-5400000">
                                      <p:cBhvr>
                                        <p:cTn id="42" dur="1000" fill="hold"/>
                                        <p:tgtEl>
                                          <p:spTgt spid="17"/>
                                        </p:tgtEl>
                                        <p:attrNameLst>
                                          <p:attrName>r</p:attrName>
                                        </p:attrNameLst>
                                      </p:cBhvr>
                                    </p:animRot>
                                  </p:childTnLst>
                                </p:cTn>
                              </p:par>
                              <p:par>
                                <p:cTn id="43" presetID="10" presetClass="entr" presetSubtype="0" fill="hold"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05"/>
                                        </p:tgtEl>
                                        <p:attrNameLst>
                                          <p:attrName>style.visibility</p:attrName>
                                        </p:attrNameLst>
                                      </p:cBhvr>
                                      <p:to>
                                        <p:strVal val="visible"/>
                                      </p:to>
                                    </p:set>
                                    <p:animEffect transition="in" filter="fade">
                                      <p:cBhvr>
                                        <p:cTn id="50" dur="500"/>
                                        <p:tgtEl>
                                          <p:spTgt spid="305"/>
                                        </p:tgtEl>
                                      </p:cBhvr>
                                    </p:animEffect>
                                  </p:childTnLst>
                                </p:cTn>
                              </p:par>
                              <p:par>
                                <p:cTn id="51" presetID="10" presetClass="entr" presetSubtype="0" fill="hold" nodeType="withEffect">
                                  <p:stCondLst>
                                    <p:cond delay="0"/>
                                  </p:stCondLst>
                                  <p:childTnLst>
                                    <p:set>
                                      <p:cBhvr>
                                        <p:cTn id="52" dur="1" fill="hold">
                                          <p:stCondLst>
                                            <p:cond delay="0"/>
                                          </p:stCondLst>
                                        </p:cTn>
                                        <p:tgtEl>
                                          <p:spTgt spid="323"/>
                                        </p:tgtEl>
                                        <p:attrNameLst>
                                          <p:attrName>style.visibility</p:attrName>
                                        </p:attrNameLst>
                                      </p:cBhvr>
                                      <p:to>
                                        <p:strVal val="visible"/>
                                      </p:to>
                                    </p:set>
                                    <p:animEffect transition="in" filter="fade">
                                      <p:cBhvr>
                                        <p:cTn id="53" dur="500"/>
                                        <p:tgtEl>
                                          <p:spTgt spid="323"/>
                                        </p:tgtEl>
                                      </p:cBhvr>
                                    </p:animEffect>
                                  </p:childTnLst>
                                </p:cTn>
                              </p:par>
                              <p:par>
                                <p:cTn id="54" presetID="10" presetClass="exit" presetSubtype="0" fill="hold" grpId="0" nodeType="withEffect">
                                  <p:stCondLst>
                                    <p:cond delay="0"/>
                                  </p:stCondLst>
                                  <p:childTnLst>
                                    <p:animEffect transition="out" filter="fade">
                                      <p:cBhvr>
                                        <p:cTn id="55" dur="300"/>
                                        <p:tgtEl>
                                          <p:spTgt spid="304"/>
                                        </p:tgtEl>
                                      </p:cBhvr>
                                    </p:animEffect>
                                    <p:set>
                                      <p:cBhvr>
                                        <p:cTn id="56" dur="1" fill="hold">
                                          <p:stCondLst>
                                            <p:cond delay="299"/>
                                          </p:stCondLst>
                                        </p:cTn>
                                        <p:tgtEl>
                                          <p:spTgt spid="304"/>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309"/>
                                        </p:tgtEl>
                                        <p:attrNameLst>
                                          <p:attrName>style.visibility</p:attrName>
                                        </p:attrNameLst>
                                      </p:cBhvr>
                                      <p:to>
                                        <p:strVal val="visible"/>
                                      </p:to>
                                    </p:set>
                                    <p:animEffect transition="in" filter="fade">
                                      <p:cBhvr>
                                        <p:cTn id="61" dur="500"/>
                                        <p:tgtEl>
                                          <p:spTgt spid="309"/>
                                        </p:tgtEl>
                                      </p:cBhvr>
                                    </p:animEffect>
                                  </p:childTnLst>
                                </p:cTn>
                              </p:par>
                              <p:par>
                                <p:cTn id="62" presetID="10" presetClass="exit" presetSubtype="0" fill="hold" grpId="1" nodeType="withEffect">
                                  <p:stCondLst>
                                    <p:cond delay="0"/>
                                  </p:stCondLst>
                                  <p:childTnLst>
                                    <p:animEffect transition="out" filter="fade">
                                      <p:cBhvr>
                                        <p:cTn id="63" dur="300"/>
                                        <p:tgtEl>
                                          <p:spTgt spid="305"/>
                                        </p:tgtEl>
                                      </p:cBhvr>
                                    </p:animEffect>
                                    <p:set>
                                      <p:cBhvr>
                                        <p:cTn id="64" dur="1" fill="hold">
                                          <p:stCondLst>
                                            <p:cond delay="299"/>
                                          </p:stCondLst>
                                        </p:cTn>
                                        <p:tgtEl>
                                          <p:spTgt spid="305"/>
                                        </p:tgtEl>
                                        <p:attrNameLst>
                                          <p:attrName>style.visibility</p:attrName>
                                        </p:attrNameLst>
                                      </p:cBhvr>
                                      <p:to>
                                        <p:strVal val="hidden"/>
                                      </p:to>
                                    </p:set>
                                  </p:childTnLst>
                                </p:cTn>
                              </p:par>
                              <p:par>
                                <p:cTn id="65" presetID="10" presetClass="entr" presetSubtype="0" fill="hold" grpId="0" nodeType="withEffect">
                                  <p:stCondLst>
                                    <p:cond delay="0"/>
                                  </p:stCondLst>
                                  <p:childTnLst>
                                    <p:set>
                                      <p:cBhvr>
                                        <p:cTn id="66" dur="1" fill="hold">
                                          <p:stCondLst>
                                            <p:cond delay="0"/>
                                          </p:stCondLst>
                                        </p:cTn>
                                        <p:tgtEl>
                                          <p:spTgt spid="308"/>
                                        </p:tgtEl>
                                        <p:attrNameLst>
                                          <p:attrName>style.visibility</p:attrName>
                                        </p:attrNameLst>
                                      </p:cBhvr>
                                      <p:to>
                                        <p:strVal val="visible"/>
                                      </p:to>
                                    </p:set>
                                    <p:animEffect transition="in" filter="fade">
                                      <p:cBhvr>
                                        <p:cTn id="67" dur="500"/>
                                        <p:tgtEl>
                                          <p:spTgt spid="308"/>
                                        </p:tgtEl>
                                      </p:cBhvr>
                                    </p:animEffect>
                                  </p:childTnLst>
                                </p:cTn>
                              </p:par>
                              <p:par>
                                <p:cTn id="68" presetID="10" presetClass="exit" presetSubtype="0" fill="hold" nodeType="withEffect">
                                  <p:stCondLst>
                                    <p:cond delay="0"/>
                                  </p:stCondLst>
                                  <p:childTnLst>
                                    <p:animEffect transition="out" filter="fade">
                                      <p:cBhvr>
                                        <p:cTn id="69" dur="300"/>
                                        <p:tgtEl>
                                          <p:spTgt spid="323"/>
                                        </p:tgtEl>
                                      </p:cBhvr>
                                    </p:animEffect>
                                    <p:set>
                                      <p:cBhvr>
                                        <p:cTn id="70" dur="1" fill="hold">
                                          <p:stCondLst>
                                            <p:cond delay="299"/>
                                          </p:stCondLst>
                                        </p:cTn>
                                        <p:tgtEl>
                                          <p:spTgt spid="323"/>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294"/>
                                        </p:tgtEl>
                                        <p:attrNameLst>
                                          <p:attrName>style.visibility</p:attrName>
                                        </p:attrNameLst>
                                      </p:cBhvr>
                                      <p:to>
                                        <p:strVal val="visible"/>
                                      </p:to>
                                    </p:set>
                                    <p:animEffect transition="in" filter="fade">
                                      <p:cBhvr>
                                        <p:cTn id="75" dur="500"/>
                                        <p:tgtEl>
                                          <p:spTgt spid="294"/>
                                        </p:tgtEl>
                                      </p:cBhvr>
                                    </p:animEffect>
                                  </p:childTnLst>
                                </p:cTn>
                              </p:par>
                              <p:par>
                                <p:cTn id="76" presetID="10" presetClass="entr" presetSubtype="0" fill="hold" nodeType="withEffect">
                                  <p:stCondLst>
                                    <p:cond delay="0"/>
                                  </p:stCondLst>
                                  <p:childTnLst>
                                    <p:set>
                                      <p:cBhvr>
                                        <p:cTn id="77" dur="1" fill="hold">
                                          <p:stCondLst>
                                            <p:cond delay="0"/>
                                          </p:stCondLst>
                                        </p:cTn>
                                        <p:tgtEl>
                                          <p:spTgt spid="329"/>
                                        </p:tgtEl>
                                        <p:attrNameLst>
                                          <p:attrName>style.visibility</p:attrName>
                                        </p:attrNameLst>
                                      </p:cBhvr>
                                      <p:to>
                                        <p:strVal val="visible"/>
                                      </p:to>
                                    </p:set>
                                    <p:animEffect transition="in" filter="fade">
                                      <p:cBhvr>
                                        <p:cTn id="78" dur="500"/>
                                        <p:tgtEl>
                                          <p:spTgt spid="329"/>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98"/>
                                        </p:tgtEl>
                                        <p:attrNameLst>
                                          <p:attrName>style.visibility</p:attrName>
                                        </p:attrNameLst>
                                      </p:cBhvr>
                                      <p:to>
                                        <p:strVal val="visible"/>
                                      </p:to>
                                    </p:set>
                                    <p:animEffect transition="in" filter="fade">
                                      <p:cBhvr>
                                        <p:cTn id="81" dur="500"/>
                                        <p:tgtEl>
                                          <p:spTgt spid="198"/>
                                        </p:tgtEl>
                                      </p:cBhvr>
                                    </p:animEffect>
                                  </p:childTnLst>
                                </p:cTn>
                              </p:par>
                              <p:par>
                                <p:cTn id="82" presetID="10" presetClass="entr" presetSubtype="0" fill="hold" nodeType="withEffect">
                                  <p:stCondLst>
                                    <p:cond delay="0"/>
                                  </p:stCondLst>
                                  <p:childTnLst>
                                    <p:set>
                                      <p:cBhvr>
                                        <p:cTn id="83" dur="1" fill="hold">
                                          <p:stCondLst>
                                            <p:cond delay="0"/>
                                          </p:stCondLst>
                                        </p:cTn>
                                        <p:tgtEl>
                                          <p:spTgt spid="191"/>
                                        </p:tgtEl>
                                        <p:attrNameLst>
                                          <p:attrName>style.visibility</p:attrName>
                                        </p:attrNameLst>
                                      </p:cBhvr>
                                      <p:to>
                                        <p:strVal val="visible"/>
                                      </p:to>
                                    </p:set>
                                    <p:animEffect transition="in" filter="fade">
                                      <p:cBhvr>
                                        <p:cTn id="84" dur="500"/>
                                        <p:tgtEl>
                                          <p:spTgt spid="191"/>
                                        </p:tgtEl>
                                      </p:cBhvr>
                                    </p:animEffect>
                                  </p:childTnLst>
                                </p:cTn>
                              </p:par>
                              <p:par>
                                <p:cTn id="85" presetID="10" presetClass="exit" presetSubtype="0" fill="hold" nodeType="withEffect">
                                  <p:stCondLst>
                                    <p:cond delay="0"/>
                                  </p:stCondLst>
                                  <p:childTnLst>
                                    <p:animEffect transition="out" filter="fade">
                                      <p:cBhvr>
                                        <p:cTn id="86" dur="300"/>
                                        <p:tgtEl>
                                          <p:spTgt spid="309"/>
                                        </p:tgtEl>
                                      </p:cBhvr>
                                    </p:animEffect>
                                    <p:set>
                                      <p:cBhvr>
                                        <p:cTn id="87" dur="1" fill="hold">
                                          <p:stCondLst>
                                            <p:cond delay="299"/>
                                          </p:stCondLst>
                                        </p:cTn>
                                        <p:tgtEl>
                                          <p:spTgt spid="309"/>
                                        </p:tgtEl>
                                        <p:attrNameLst>
                                          <p:attrName>style.visibility</p:attrName>
                                        </p:attrNameLst>
                                      </p:cBhvr>
                                      <p:to>
                                        <p:strVal val="hidden"/>
                                      </p:to>
                                    </p:set>
                                  </p:childTnLst>
                                </p:cTn>
                              </p:par>
                              <p:par>
                                <p:cTn id="88" presetID="10" presetClass="exit" presetSubtype="0" fill="hold" grpId="1" nodeType="withEffect">
                                  <p:stCondLst>
                                    <p:cond delay="0"/>
                                  </p:stCondLst>
                                  <p:childTnLst>
                                    <p:animEffect transition="out" filter="fade">
                                      <p:cBhvr>
                                        <p:cTn id="89" dur="300"/>
                                        <p:tgtEl>
                                          <p:spTgt spid="308"/>
                                        </p:tgtEl>
                                      </p:cBhvr>
                                    </p:animEffect>
                                    <p:set>
                                      <p:cBhvr>
                                        <p:cTn id="90" dur="1" fill="hold">
                                          <p:stCondLst>
                                            <p:cond delay="299"/>
                                          </p:stCondLst>
                                        </p:cTn>
                                        <p:tgtEl>
                                          <p:spTgt spid="308"/>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499"/>
                                          </p:stCondLst>
                                        </p:cTn>
                                        <p:tgtEl>
                                          <p:spTgt spid="115"/>
                                        </p:tgtEl>
                                        <p:attrNameLst>
                                          <p:attrName>style.visibility</p:attrName>
                                        </p:attrNameLst>
                                      </p:cBhvr>
                                      <p:to>
                                        <p:strVal val="visible"/>
                                      </p:to>
                                    </p:set>
                                  </p:childTnLst>
                                </p:cTn>
                              </p:par>
                              <p:par>
                                <p:cTn id="95" presetID="6" presetClass="emph" presetSubtype="0" decel="100000" autoRev="1" fill="hold" nodeType="withEffect">
                                  <p:stCondLst>
                                    <p:cond delay="0"/>
                                  </p:stCondLst>
                                  <p:childTnLst>
                                    <p:animScale>
                                      <p:cBhvr>
                                        <p:cTn id="96" dur="500" fill="hold"/>
                                        <p:tgtEl>
                                          <p:spTgt spid="115"/>
                                        </p:tgtEl>
                                      </p:cBhvr>
                                      <p:by x="0" y="0"/>
                                    </p:animScale>
                                  </p:childTnLst>
                                </p:cTn>
                              </p:par>
                              <p:par>
                                <p:cTn id="97" presetID="1" presetClass="entr" presetSubtype="0" fill="hold" grpId="0" nodeType="withEffect">
                                  <p:stCondLst>
                                    <p:cond delay="0"/>
                                  </p:stCondLst>
                                  <p:childTnLst>
                                    <p:set>
                                      <p:cBhvr>
                                        <p:cTn id="98" dur="1" fill="hold">
                                          <p:stCondLst>
                                            <p:cond delay="499"/>
                                          </p:stCondLst>
                                        </p:cTn>
                                        <p:tgtEl>
                                          <p:spTgt spid="116"/>
                                        </p:tgtEl>
                                        <p:attrNameLst>
                                          <p:attrName>style.visibility</p:attrName>
                                        </p:attrNameLst>
                                      </p:cBhvr>
                                      <p:to>
                                        <p:strVal val="visible"/>
                                      </p:to>
                                    </p:set>
                                  </p:childTnLst>
                                </p:cTn>
                              </p:par>
                              <p:par>
                                <p:cTn id="99" presetID="6" presetClass="emph" presetSubtype="0" decel="100000" autoRev="1" fill="hold" grpId="1" nodeType="withEffect">
                                  <p:stCondLst>
                                    <p:cond delay="0"/>
                                  </p:stCondLst>
                                  <p:childTnLst>
                                    <p:animScale>
                                      <p:cBhvr>
                                        <p:cTn id="100" dur="500" fill="hold"/>
                                        <p:tgtEl>
                                          <p:spTgt spid="116"/>
                                        </p:tgtEl>
                                      </p:cBhvr>
                                      <p:by x="0" y="0"/>
                                    </p:animScale>
                                  </p:childTnLst>
                                </p:cTn>
                              </p:par>
                              <p:par>
                                <p:cTn id="101" presetID="1" presetClass="entr" presetSubtype="0" fill="hold" grpId="0" nodeType="withEffect">
                                  <p:stCondLst>
                                    <p:cond delay="0"/>
                                  </p:stCondLst>
                                  <p:childTnLst>
                                    <p:set>
                                      <p:cBhvr>
                                        <p:cTn id="102" dur="1" fill="hold">
                                          <p:stCondLst>
                                            <p:cond delay="499"/>
                                          </p:stCondLst>
                                        </p:cTn>
                                        <p:tgtEl>
                                          <p:spTgt spid="117"/>
                                        </p:tgtEl>
                                        <p:attrNameLst>
                                          <p:attrName>style.visibility</p:attrName>
                                        </p:attrNameLst>
                                      </p:cBhvr>
                                      <p:to>
                                        <p:strVal val="visible"/>
                                      </p:to>
                                    </p:set>
                                  </p:childTnLst>
                                </p:cTn>
                              </p:par>
                              <p:par>
                                <p:cTn id="103" presetID="6" presetClass="emph" presetSubtype="0" decel="100000" autoRev="1" fill="hold" grpId="1" nodeType="withEffect">
                                  <p:stCondLst>
                                    <p:cond delay="0"/>
                                  </p:stCondLst>
                                  <p:childTnLst>
                                    <p:animScale>
                                      <p:cBhvr>
                                        <p:cTn id="104" dur="500" fill="hold"/>
                                        <p:tgtEl>
                                          <p:spTgt spid="117"/>
                                        </p:tgtEl>
                                      </p:cBhvr>
                                      <p:by x="0" y="0"/>
                                    </p:animScale>
                                  </p:childTnLst>
                                </p:cTn>
                              </p:par>
                              <p:par>
                                <p:cTn id="105" presetID="10" presetClass="entr" presetSubtype="0" fill="hold" grpId="0" nodeType="withEffect">
                                  <p:stCondLst>
                                    <p:cond delay="0"/>
                                  </p:stCondLst>
                                  <p:childTnLst>
                                    <p:set>
                                      <p:cBhvr>
                                        <p:cTn id="106" dur="1" fill="hold">
                                          <p:stCondLst>
                                            <p:cond delay="0"/>
                                          </p:stCondLst>
                                        </p:cTn>
                                        <p:tgtEl>
                                          <p:spTgt spid="14"/>
                                        </p:tgtEl>
                                        <p:attrNameLst>
                                          <p:attrName>style.visibility</p:attrName>
                                        </p:attrNameLst>
                                      </p:cBhvr>
                                      <p:to>
                                        <p:strVal val="visible"/>
                                      </p:to>
                                    </p:set>
                                    <p:animEffect transition="in" filter="fade">
                                      <p:cBhvr>
                                        <p:cTn id="107" dur="500"/>
                                        <p:tgtEl>
                                          <p:spTgt spid="14"/>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4" fill="hold" nodeType="clickEffect">
                                  <p:stCondLst>
                                    <p:cond delay="0"/>
                                  </p:stCondLst>
                                  <p:childTnLst>
                                    <p:set>
                                      <p:cBhvr>
                                        <p:cTn id="111" dur="1" fill="hold">
                                          <p:stCondLst>
                                            <p:cond delay="0"/>
                                          </p:stCondLst>
                                        </p:cTn>
                                        <p:tgtEl>
                                          <p:spTgt spid="49"/>
                                        </p:tgtEl>
                                        <p:attrNameLst>
                                          <p:attrName>style.visibility</p:attrName>
                                        </p:attrNameLst>
                                      </p:cBhvr>
                                      <p:to>
                                        <p:strVal val="visible"/>
                                      </p:to>
                                    </p:set>
                                    <p:animEffect transition="in" filter="wipe(down)">
                                      <p:cBhvr>
                                        <p:cTn id="112" dur="300"/>
                                        <p:tgtEl>
                                          <p:spTgt spid="49"/>
                                        </p:tgtEl>
                                      </p:cBhvr>
                                    </p:animEffect>
                                  </p:childTnLst>
                                </p:cTn>
                              </p:par>
                              <p:par>
                                <p:cTn id="113" presetID="22" presetClass="entr" presetSubtype="4" fill="hold" nodeType="withEffect">
                                  <p:stCondLst>
                                    <p:cond delay="0"/>
                                  </p:stCondLst>
                                  <p:childTnLst>
                                    <p:set>
                                      <p:cBhvr>
                                        <p:cTn id="114" dur="1" fill="hold">
                                          <p:stCondLst>
                                            <p:cond delay="0"/>
                                          </p:stCondLst>
                                        </p:cTn>
                                        <p:tgtEl>
                                          <p:spTgt spid="113"/>
                                        </p:tgtEl>
                                        <p:attrNameLst>
                                          <p:attrName>style.visibility</p:attrName>
                                        </p:attrNameLst>
                                      </p:cBhvr>
                                      <p:to>
                                        <p:strVal val="visible"/>
                                      </p:to>
                                    </p:set>
                                    <p:animEffect transition="in" filter="wipe(down)">
                                      <p:cBhvr>
                                        <p:cTn id="115" dur="300"/>
                                        <p:tgtEl>
                                          <p:spTgt spid="113"/>
                                        </p:tgtEl>
                                      </p:cBhvr>
                                    </p:animEffect>
                                  </p:childTnLst>
                                </p:cTn>
                              </p:par>
                            </p:childTnLst>
                          </p:cTn>
                        </p:par>
                        <p:par>
                          <p:cTn id="116" fill="hold">
                            <p:stCondLst>
                              <p:cond delay="300"/>
                            </p:stCondLst>
                            <p:childTnLst>
                              <p:par>
                                <p:cTn id="117" presetID="22" presetClass="entr" presetSubtype="2" fill="hold" nodeType="afterEffect">
                                  <p:stCondLst>
                                    <p:cond delay="0"/>
                                  </p:stCondLst>
                                  <p:childTnLst>
                                    <p:set>
                                      <p:cBhvr>
                                        <p:cTn id="118" dur="1" fill="hold">
                                          <p:stCondLst>
                                            <p:cond delay="0"/>
                                          </p:stCondLst>
                                        </p:cTn>
                                        <p:tgtEl>
                                          <p:spTgt spid="369"/>
                                        </p:tgtEl>
                                        <p:attrNameLst>
                                          <p:attrName>style.visibility</p:attrName>
                                        </p:attrNameLst>
                                      </p:cBhvr>
                                      <p:to>
                                        <p:strVal val="visible"/>
                                      </p:to>
                                    </p:set>
                                    <p:animEffect transition="in" filter="wipe(right)">
                                      <p:cBhvr>
                                        <p:cTn id="119" dur="500"/>
                                        <p:tgtEl>
                                          <p:spTgt spid="369"/>
                                        </p:tgtEl>
                                      </p:cBhvr>
                                    </p:animEffect>
                                  </p:childTnLst>
                                </p:cTn>
                              </p:par>
                            </p:childTnLst>
                          </p:cTn>
                        </p:par>
                        <p:par>
                          <p:cTn id="120" fill="hold">
                            <p:stCondLst>
                              <p:cond delay="800"/>
                            </p:stCondLst>
                            <p:childTnLst>
                              <p:par>
                                <p:cTn id="121" presetID="22" presetClass="entr" presetSubtype="1" fill="hold" nodeType="afterEffect">
                                  <p:stCondLst>
                                    <p:cond delay="0"/>
                                  </p:stCondLst>
                                  <p:childTnLst>
                                    <p:set>
                                      <p:cBhvr>
                                        <p:cTn id="122" dur="1" fill="hold">
                                          <p:stCondLst>
                                            <p:cond delay="0"/>
                                          </p:stCondLst>
                                        </p:cTn>
                                        <p:tgtEl>
                                          <p:spTgt spid="58"/>
                                        </p:tgtEl>
                                        <p:attrNameLst>
                                          <p:attrName>style.visibility</p:attrName>
                                        </p:attrNameLst>
                                      </p:cBhvr>
                                      <p:to>
                                        <p:strVal val="visible"/>
                                      </p:to>
                                    </p:set>
                                    <p:animEffect transition="in" filter="wipe(up)">
                                      <p:cBhvr>
                                        <p:cTn id="123" dur="300"/>
                                        <p:tgtEl>
                                          <p:spTgt spid="58"/>
                                        </p:tgtEl>
                                      </p:cBhvr>
                                    </p:animEffect>
                                  </p:childTnLst>
                                </p:cTn>
                              </p:par>
                            </p:childTnLst>
                          </p:cTn>
                        </p:par>
                      </p:childTnLst>
                    </p:cTn>
                  </p:par>
                  <p:par>
                    <p:cTn id="124" fill="hold">
                      <p:stCondLst>
                        <p:cond delay="indefinite"/>
                      </p:stCondLst>
                      <p:childTnLst>
                        <p:par>
                          <p:cTn id="125" fill="hold">
                            <p:stCondLst>
                              <p:cond delay="0"/>
                            </p:stCondLst>
                            <p:childTnLst>
                              <p:par>
                                <p:cTn id="126" presetID="22" presetClass="entr" presetSubtype="1" fill="hold" nodeType="clickEffect">
                                  <p:stCondLst>
                                    <p:cond delay="0"/>
                                  </p:stCondLst>
                                  <p:childTnLst>
                                    <p:set>
                                      <p:cBhvr>
                                        <p:cTn id="127" dur="1" fill="hold">
                                          <p:stCondLst>
                                            <p:cond delay="0"/>
                                          </p:stCondLst>
                                        </p:cTn>
                                        <p:tgtEl>
                                          <p:spTgt spid="283"/>
                                        </p:tgtEl>
                                        <p:attrNameLst>
                                          <p:attrName>style.visibility</p:attrName>
                                        </p:attrNameLst>
                                      </p:cBhvr>
                                      <p:to>
                                        <p:strVal val="visible"/>
                                      </p:to>
                                    </p:set>
                                    <p:animEffect transition="in" filter="wipe(up)">
                                      <p:cBhvr>
                                        <p:cTn id="128" dur="300"/>
                                        <p:tgtEl>
                                          <p:spTgt spid="283"/>
                                        </p:tgtEl>
                                      </p:cBhvr>
                                    </p:animEffect>
                                  </p:childTnLst>
                                </p:cTn>
                              </p:par>
                            </p:childTnLst>
                          </p:cTn>
                        </p:par>
                        <p:par>
                          <p:cTn id="129" fill="hold">
                            <p:stCondLst>
                              <p:cond delay="300"/>
                            </p:stCondLst>
                            <p:childTnLst>
                              <p:par>
                                <p:cTn id="130" presetID="22" presetClass="entr" presetSubtype="2" fill="hold" nodeType="afterEffect">
                                  <p:stCondLst>
                                    <p:cond delay="0"/>
                                  </p:stCondLst>
                                  <p:childTnLst>
                                    <p:set>
                                      <p:cBhvr>
                                        <p:cTn id="131" dur="1" fill="hold">
                                          <p:stCondLst>
                                            <p:cond delay="0"/>
                                          </p:stCondLst>
                                        </p:cTn>
                                        <p:tgtEl>
                                          <p:spTgt spid="284"/>
                                        </p:tgtEl>
                                        <p:attrNameLst>
                                          <p:attrName>style.visibility</p:attrName>
                                        </p:attrNameLst>
                                      </p:cBhvr>
                                      <p:to>
                                        <p:strVal val="visible"/>
                                      </p:to>
                                    </p:set>
                                    <p:animEffect transition="in" filter="wipe(right)">
                                      <p:cBhvr>
                                        <p:cTn id="132" dur="500"/>
                                        <p:tgtEl>
                                          <p:spTgt spid="284"/>
                                        </p:tgtEl>
                                      </p:cBhvr>
                                    </p:animEffect>
                                  </p:childTnLst>
                                </p:cTn>
                              </p:par>
                            </p:childTnLst>
                          </p:cTn>
                        </p:par>
                        <p:par>
                          <p:cTn id="133" fill="hold">
                            <p:stCondLst>
                              <p:cond delay="800"/>
                            </p:stCondLst>
                            <p:childTnLst>
                              <p:par>
                                <p:cTn id="134" presetID="22" presetClass="entr" presetSubtype="4" fill="hold" nodeType="afterEffect">
                                  <p:stCondLst>
                                    <p:cond delay="0"/>
                                  </p:stCondLst>
                                  <p:childTnLst>
                                    <p:set>
                                      <p:cBhvr>
                                        <p:cTn id="135" dur="1" fill="hold">
                                          <p:stCondLst>
                                            <p:cond delay="0"/>
                                          </p:stCondLst>
                                        </p:cTn>
                                        <p:tgtEl>
                                          <p:spTgt spid="285"/>
                                        </p:tgtEl>
                                        <p:attrNameLst>
                                          <p:attrName>style.visibility</p:attrName>
                                        </p:attrNameLst>
                                      </p:cBhvr>
                                      <p:to>
                                        <p:strVal val="visible"/>
                                      </p:to>
                                    </p:set>
                                    <p:animEffect transition="in" filter="wipe(down)">
                                      <p:cBhvr>
                                        <p:cTn id="136" dur="300"/>
                                        <p:tgtEl>
                                          <p:spTgt spid="285"/>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199"/>
                                        </p:tgtEl>
                                        <p:attrNameLst>
                                          <p:attrName>style.visibility</p:attrName>
                                        </p:attrNameLst>
                                      </p:cBhvr>
                                      <p:to>
                                        <p:strVal val="visible"/>
                                      </p:to>
                                    </p:set>
                                    <p:animEffect transition="in" filter="fade">
                                      <p:cBhvr>
                                        <p:cTn id="141" dur="500"/>
                                        <p:tgtEl>
                                          <p:spTgt spid="199"/>
                                        </p:tgtEl>
                                      </p:cBhvr>
                                    </p:animEffect>
                                  </p:childTnLst>
                                </p:cTn>
                              </p:par>
                              <p:par>
                                <p:cTn id="142" presetID="10" presetClass="exit" presetSubtype="0" fill="hold" grpId="1" nodeType="withEffect">
                                  <p:stCondLst>
                                    <p:cond delay="0"/>
                                  </p:stCondLst>
                                  <p:childTnLst>
                                    <p:animEffect transition="out" filter="fade">
                                      <p:cBhvr>
                                        <p:cTn id="143" dur="300"/>
                                        <p:tgtEl>
                                          <p:spTgt spid="198"/>
                                        </p:tgtEl>
                                      </p:cBhvr>
                                    </p:animEffect>
                                    <p:set>
                                      <p:cBhvr>
                                        <p:cTn id="144" dur="1" fill="hold">
                                          <p:stCondLst>
                                            <p:cond delay="299"/>
                                          </p:stCondLst>
                                        </p:cTn>
                                        <p:tgtEl>
                                          <p:spTgt spid="198"/>
                                        </p:tgtEl>
                                        <p:attrNameLst>
                                          <p:attrName>style.visibility</p:attrName>
                                        </p:attrNameLst>
                                      </p:cBhvr>
                                      <p:to>
                                        <p:strVal val="hidden"/>
                                      </p:to>
                                    </p:set>
                                  </p:childTnLst>
                                </p:cTn>
                              </p:par>
                            </p:childTnLst>
                          </p:cTn>
                        </p:par>
                      </p:childTnLst>
                    </p:cTn>
                  </p:par>
                  <p:par>
                    <p:cTn id="145" fill="hold">
                      <p:stCondLst>
                        <p:cond delay="indefinite"/>
                      </p:stCondLst>
                      <p:childTnLst>
                        <p:par>
                          <p:cTn id="146" fill="hold">
                            <p:stCondLst>
                              <p:cond delay="0"/>
                            </p:stCondLst>
                            <p:childTnLst>
                              <p:par>
                                <p:cTn id="147" presetID="10" presetClass="exit" presetSubtype="0" fill="hold" grpId="1" nodeType="clickEffect">
                                  <p:stCondLst>
                                    <p:cond delay="0"/>
                                  </p:stCondLst>
                                  <p:childTnLst>
                                    <p:animEffect transition="out" filter="fade">
                                      <p:cBhvr>
                                        <p:cTn id="148" dur="300"/>
                                        <p:tgtEl>
                                          <p:spTgt spid="199"/>
                                        </p:tgtEl>
                                      </p:cBhvr>
                                    </p:animEffect>
                                    <p:set>
                                      <p:cBhvr>
                                        <p:cTn id="149" dur="1" fill="hold">
                                          <p:stCondLst>
                                            <p:cond delay="299"/>
                                          </p:stCondLst>
                                        </p:cTn>
                                        <p:tgtEl>
                                          <p:spTgt spid="199"/>
                                        </p:tgtEl>
                                        <p:attrNameLst>
                                          <p:attrName>style.visibility</p:attrName>
                                        </p:attrNameLst>
                                      </p:cBhvr>
                                      <p:to>
                                        <p:strVal val="hidden"/>
                                      </p:to>
                                    </p:set>
                                  </p:childTnLst>
                                </p:cTn>
                              </p:par>
                              <p:par>
                                <p:cTn id="150" presetID="10" presetClass="entr" presetSubtype="0" fill="hold" grpId="0" nodeType="withEffect">
                                  <p:stCondLst>
                                    <p:cond delay="0"/>
                                  </p:stCondLst>
                                  <p:childTnLst>
                                    <p:set>
                                      <p:cBhvr>
                                        <p:cTn id="151" dur="1" fill="hold">
                                          <p:stCondLst>
                                            <p:cond delay="0"/>
                                          </p:stCondLst>
                                        </p:cTn>
                                        <p:tgtEl>
                                          <p:spTgt spid="317"/>
                                        </p:tgtEl>
                                        <p:attrNameLst>
                                          <p:attrName>style.visibility</p:attrName>
                                        </p:attrNameLst>
                                      </p:cBhvr>
                                      <p:to>
                                        <p:strVal val="visible"/>
                                      </p:to>
                                    </p:set>
                                    <p:animEffect transition="in" filter="fade">
                                      <p:cBhvr>
                                        <p:cTn id="152" dur="500"/>
                                        <p:tgtEl>
                                          <p:spTgt spid="317"/>
                                        </p:tgtEl>
                                      </p:cBhvr>
                                    </p:animEffect>
                                  </p:childTnLst>
                                </p:cTn>
                              </p:par>
                              <p:par>
                                <p:cTn id="153" presetID="10" presetClass="entr" presetSubtype="0" fill="hold" nodeType="withEffect">
                                  <p:stCondLst>
                                    <p:cond delay="0"/>
                                  </p:stCondLst>
                                  <p:childTnLst>
                                    <p:set>
                                      <p:cBhvr>
                                        <p:cTn id="154" dur="1" fill="hold">
                                          <p:stCondLst>
                                            <p:cond delay="0"/>
                                          </p:stCondLst>
                                        </p:cTn>
                                        <p:tgtEl>
                                          <p:spTgt spid="323"/>
                                        </p:tgtEl>
                                        <p:attrNameLst>
                                          <p:attrName>style.visibility</p:attrName>
                                        </p:attrNameLst>
                                      </p:cBhvr>
                                      <p:to>
                                        <p:strVal val="visible"/>
                                      </p:to>
                                    </p:set>
                                    <p:animEffect transition="in" filter="fade">
                                      <p:cBhvr>
                                        <p:cTn id="155" dur="500"/>
                                        <p:tgtEl>
                                          <p:spTgt spid="323"/>
                                        </p:tgtEl>
                                      </p:cBhvr>
                                    </p:animEffect>
                                  </p:childTnLst>
                                </p:cTn>
                              </p:par>
                            </p:childTnLst>
                          </p:cTn>
                        </p:par>
                        <p:par>
                          <p:cTn id="156" fill="hold">
                            <p:stCondLst>
                              <p:cond delay="1300"/>
                            </p:stCondLst>
                            <p:childTnLst>
                              <p:par>
                                <p:cTn id="157" presetID="10" presetClass="entr" presetSubtype="0" fill="hold" grpId="0" nodeType="afterEffect">
                                  <p:stCondLst>
                                    <p:cond delay="0"/>
                                  </p:stCondLst>
                                  <p:childTnLst>
                                    <p:set>
                                      <p:cBhvr>
                                        <p:cTn id="158" dur="1" fill="hold">
                                          <p:stCondLst>
                                            <p:cond delay="0"/>
                                          </p:stCondLst>
                                        </p:cTn>
                                        <p:tgtEl>
                                          <p:spTgt spid="62"/>
                                        </p:tgtEl>
                                        <p:attrNameLst>
                                          <p:attrName>style.visibility</p:attrName>
                                        </p:attrNameLst>
                                      </p:cBhvr>
                                      <p:to>
                                        <p:strVal val="visible"/>
                                      </p:to>
                                    </p:set>
                                    <p:animEffect transition="in" filter="fade">
                                      <p:cBhvr>
                                        <p:cTn id="159" dur="500"/>
                                        <p:tgtEl>
                                          <p:spTgt spid="62"/>
                                        </p:tgtEl>
                                      </p:cBhvr>
                                    </p:animEffect>
                                  </p:childTnLst>
                                </p:cTn>
                              </p:par>
                            </p:childTnLst>
                          </p:cTn>
                        </p:par>
                        <p:par>
                          <p:cTn id="160" fill="hold">
                            <p:stCondLst>
                              <p:cond delay="1800"/>
                            </p:stCondLst>
                            <p:childTnLst>
                              <p:par>
                                <p:cTn id="161" presetID="53" presetClass="entr" presetSubtype="16" fill="hold" grpId="0" nodeType="afterEffect">
                                  <p:stCondLst>
                                    <p:cond delay="0"/>
                                  </p:stCondLst>
                                  <p:childTnLst>
                                    <p:set>
                                      <p:cBhvr>
                                        <p:cTn id="162" dur="1" fill="hold">
                                          <p:stCondLst>
                                            <p:cond delay="0"/>
                                          </p:stCondLst>
                                        </p:cTn>
                                        <p:tgtEl>
                                          <p:spTgt spid="372"/>
                                        </p:tgtEl>
                                        <p:attrNameLst>
                                          <p:attrName>style.visibility</p:attrName>
                                        </p:attrNameLst>
                                      </p:cBhvr>
                                      <p:to>
                                        <p:strVal val="visible"/>
                                      </p:to>
                                    </p:set>
                                    <p:anim calcmode="lin" valueType="num">
                                      <p:cBhvr>
                                        <p:cTn id="163" dur="250" fill="hold"/>
                                        <p:tgtEl>
                                          <p:spTgt spid="372"/>
                                        </p:tgtEl>
                                        <p:attrNameLst>
                                          <p:attrName>ppt_w</p:attrName>
                                        </p:attrNameLst>
                                      </p:cBhvr>
                                      <p:tavLst>
                                        <p:tav tm="0">
                                          <p:val>
                                            <p:fltVal val="0"/>
                                          </p:val>
                                        </p:tav>
                                        <p:tav tm="100000">
                                          <p:val>
                                            <p:strVal val="#ppt_w"/>
                                          </p:val>
                                        </p:tav>
                                      </p:tavLst>
                                    </p:anim>
                                    <p:anim calcmode="lin" valueType="num">
                                      <p:cBhvr>
                                        <p:cTn id="164" dur="250" fill="hold"/>
                                        <p:tgtEl>
                                          <p:spTgt spid="372"/>
                                        </p:tgtEl>
                                        <p:attrNameLst>
                                          <p:attrName>ppt_h</p:attrName>
                                        </p:attrNameLst>
                                      </p:cBhvr>
                                      <p:tavLst>
                                        <p:tav tm="0">
                                          <p:val>
                                            <p:fltVal val="0"/>
                                          </p:val>
                                        </p:tav>
                                        <p:tav tm="100000">
                                          <p:val>
                                            <p:strVal val="#ppt_h"/>
                                          </p:val>
                                        </p:tav>
                                      </p:tavLst>
                                    </p:anim>
                                    <p:animEffect transition="in" filter="fade">
                                      <p:cBhvr>
                                        <p:cTn id="165" dur="250"/>
                                        <p:tgtEl>
                                          <p:spTgt spid="372"/>
                                        </p:tgtEl>
                                      </p:cBhvr>
                                    </p:animEffect>
                                  </p:childTnLst>
                                </p:cTn>
                              </p:par>
                              <p:par>
                                <p:cTn id="166" presetID="6" presetClass="emph" presetSubtype="0" decel="100000" fill="hold" grpId="1" nodeType="withEffect">
                                  <p:stCondLst>
                                    <p:cond delay="100"/>
                                  </p:stCondLst>
                                  <p:childTnLst>
                                    <p:animScale>
                                      <p:cBhvr>
                                        <p:cTn id="167" dur="250" fill="hold"/>
                                        <p:tgtEl>
                                          <p:spTgt spid="372"/>
                                        </p:tgtEl>
                                      </p:cBhvr>
                                      <p:by x="110000" y="110000"/>
                                    </p:animScale>
                                  </p:childTnLst>
                                </p:cTn>
                              </p:par>
                              <p:par>
                                <p:cTn id="168" presetID="6" presetClass="emph" presetSubtype="0" decel="100000" fill="hold" grpId="2" nodeType="withEffect">
                                  <p:stCondLst>
                                    <p:cond delay="200"/>
                                  </p:stCondLst>
                                  <p:childTnLst>
                                    <p:animScale>
                                      <p:cBhvr>
                                        <p:cTn id="169" dur="250" fill="hold"/>
                                        <p:tgtEl>
                                          <p:spTgt spid="372"/>
                                        </p:tgtEl>
                                      </p:cBhvr>
                                      <p:by x="91000" y="91000"/>
                                    </p:animScale>
                                  </p:childTnLst>
                                </p:cTn>
                              </p:par>
                            </p:childTnLst>
                          </p:cTn>
                        </p:par>
                      </p:childTnLst>
                    </p:cTn>
                  </p:par>
                  <p:par>
                    <p:cTn id="170" fill="hold">
                      <p:stCondLst>
                        <p:cond delay="indefinite"/>
                      </p:stCondLst>
                      <p:childTnLst>
                        <p:par>
                          <p:cTn id="171" fill="hold">
                            <p:stCondLst>
                              <p:cond delay="0"/>
                            </p:stCondLst>
                            <p:childTnLst>
                              <p:par>
                                <p:cTn id="172" presetID="22" presetClass="entr" presetSubtype="2" fill="hold" grpId="2" nodeType="clickEffect">
                                  <p:stCondLst>
                                    <p:cond delay="0"/>
                                  </p:stCondLst>
                                  <p:childTnLst>
                                    <p:set>
                                      <p:cBhvr>
                                        <p:cTn id="173" dur="1" fill="hold">
                                          <p:stCondLst>
                                            <p:cond delay="0"/>
                                          </p:stCondLst>
                                        </p:cTn>
                                        <p:tgtEl>
                                          <p:spTgt spid="171"/>
                                        </p:tgtEl>
                                        <p:attrNameLst>
                                          <p:attrName>style.visibility</p:attrName>
                                        </p:attrNameLst>
                                      </p:cBhvr>
                                      <p:to>
                                        <p:strVal val="visible"/>
                                      </p:to>
                                    </p:set>
                                    <p:animEffect transition="in" filter="wipe(right)">
                                      <p:cBhvr>
                                        <p:cTn id="174" dur="500"/>
                                        <p:tgtEl>
                                          <p:spTgt spid="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 grpId="0" animBg="1"/>
      <p:bldP spid="304" grpId="0"/>
      <p:bldP spid="304" grpId="1"/>
      <p:bldP spid="305" grpId="0"/>
      <p:bldP spid="305" grpId="1"/>
      <p:bldP spid="308" grpId="0"/>
      <p:bldP spid="308" grpId="1"/>
      <p:bldP spid="198" grpId="0"/>
      <p:bldP spid="198" grpId="1"/>
      <p:bldP spid="199" grpId="0"/>
      <p:bldP spid="199" grpId="1"/>
      <p:bldP spid="317" grpId="0"/>
      <p:bldP spid="171" grpId="0" animBg="1"/>
      <p:bldP spid="171" grpId="1" animBg="1"/>
      <p:bldP spid="171" grpId="2" animBg="1"/>
      <p:bldP spid="13" grpId="0" animBg="1"/>
      <p:bldP spid="62" grpId="0" animBg="1"/>
      <p:bldP spid="372" grpId="0"/>
      <p:bldP spid="372" grpId="1"/>
      <p:bldP spid="372" grpId="2"/>
      <p:bldP spid="14" grpId="0" animBg="1"/>
      <p:bldP spid="116" grpId="0" animBg="1"/>
      <p:bldP spid="116" grpId="1" animBg="1"/>
      <p:bldP spid="117" grpId="0" animBg="1"/>
      <p:bldP spid="117" grpId="1"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 y="487"/>
            <a:ext cx="3599078" cy="685703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4" name="Rectangle 13"/>
          <p:cNvSpPr/>
          <p:nvPr/>
        </p:nvSpPr>
        <p:spPr bwMode="auto">
          <a:xfrm>
            <a:off x="180157" y="487"/>
            <a:ext cx="12011844" cy="99466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spc="-29" dirty="0">
                <a:gradFill>
                  <a:gsLst>
                    <a:gs pos="67257">
                      <a:srgbClr val="0072C6"/>
                    </a:gs>
                    <a:gs pos="36283">
                      <a:srgbClr val="0072C6"/>
                    </a:gs>
                  </a:gsLst>
                  <a:lin ang="5400000" scaled="0"/>
                </a:gradFill>
              </a:rPr>
              <a:t>Experience 3A | Transform the Datacenter </a:t>
            </a:r>
          </a:p>
          <a:p>
            <a:pPr indent="-169599" defTabSz="897084" fontAlgn="base">
              <a:lnSpc>
                <a:spcPct val="90000"/>
              </a:lnSpc>
              <a:spcBef>
                <a:spcPct val="0"/>
              </a:spcBef>
              <a:spcAft>
                <a:spcPct val="0"/>
              </a:spcAft>
            </a:pPr>
            <a:r>
              <a:rPr lang="en-US" sz="3529" spc="-49" dirty="0" smtClean="0">
                <a:gradFill>
                  <a:gsLst>
                    <a:gs pos="93805">
                      <a:srgbClr val="191919"/>
                    </a:gs>
                    <a:gs pos="84071">
                      <a:srgbClr val="191919"/>
                    </a:gs>
                  </a:gsLst>
                  <a:lin ang="5400000" scaled="0"/>
                </a:gradFill>
                <a:latin typeface="Segoe UI Light"/>
              </a:rPr>
              <a:t>IT </a:t>
            </a:r>
            <a:r>
              <a:rPr lang="en-US" sz="3529" spc="-49" dirty="0">
                <a:gradFill>
                  <a:gsLst>
                    <a:gs pos="93805">
                      <a:srgbClr val="191919"/>
                    </a:gs>
                    <a:gs pos="84071">
                      <a:srgbClr val="191919"/>
                    </a:gs>
                  </a:gsLst>
                  <a:lin ang="5400000" scaled="0"/>
                </a:gradFill>
                <a:latin typeface="Segoe UI Light"/>
              </a:rPr>
              <a:t>management</a:t>
            </a:r>
          </a:p>
        </p:txBody>
      </p:sp>
      <p:sp>
        <p:nvSpPr>
          <p:cNvPr id="20" name="Rectangle 19"/>
          <p:cNvSpPr/>
          <p:nvPr/>
        </p:nvSpPr>
        <p:spPr bwMode="auto">
          <a:xfrm>
            <a:off x="307976" y="1716472"/>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A. </a:t>
            </a:r>
            <a:r>
              <a:rPr lang="en-US" sz="1372" b="1" kern="0" dirty="0" smtClean="0">
                <a:gradFill>
                  <a:gsLst>
                    <a:gs pos="83178">
                      <a:srgbClr val="505050"/>
                    </a:gs>
                    <a:gs pos="45000">
                      <a:srgbClr val="505050"/>
                    </a:gs>
                  </a:gsLst>
                  <a:lin ang="5400000" scaled="0"/>
                </a:gradFill>
                <a:latin typeface="Calibri" panose="020F0502020204030204"/>
              </a:rPr>
              <a:t>App Insights</a:t>
            </a:r>
            <a:endParaRPr lang="en-US" sz="1372"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endParaRPr lang="en-US" sz="588"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Ensure application health regardless of their location</a:t>
            </a:r>
          </a:p>
        </p:txBody>
      </p:sp>
      <p:sp>
        <p:nvSpPr>
          <p:cNvPr id="21" name="Rectangle 20"/>
          <p:cNvSpPr/>
          <p:nvPr/>
        </p:nvSpPr>
        <p:spPr bwMode="auto">
          <a:xfrm>
            <a:off x="322439" y="3238643"/>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B. </a:t>
            </a:r>
            <a:r>
              <a:rPr lang="en-US" sz="1372" b="1" kern="0" dirty="0" smtClean="0">
                <a:gradFill>
                  <a:gsLst>
                    <a:gs pos="83178">
                      <a:srgbClr val="505050"/>
                    </a:gs>
                    <a:gs pos="45000">
                      <a:srgbClr val="505050"/>
                    </a:gs>
                  </a:gsLst>
                  <a:lin ang="5400000" scaled="0"/>
                </a:gradFill>
                <a:latin typeface="Calibri" panose="020F0502020204030204"/>
              </a:rPr>
              <a:t>Log Analytics</a:t>
            </a:r>
            <a:endParaRPr lang="en-US" sz="1372"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smtClean="0">
                <a:gradFill>
                  <a:gsLst>
                    <a:gs pos="83178">
                      <a:srgbClr val="505050"/>
                    </a:gs>
                    <a:gs pos="45000">
                      <a:srgbClr val="505050"/>
                    </a:gs>
                  </a:gsLst>
                  <a:lin ang="5400000" scaled="0"/>
                </a:gradFill>
                <a:latin typeface="Calibri" panose="020F0502020204030204"/>
              </a:rPr>
              <a:t>Gain operation insight on workload and infrastructure across any OS and any Cloud</a:t>
            </a:r>
            <a:endParaRPr lang="en-US" sz="1175" kern="0" dirty="0">
              <a:gradFill>
                <a:gsLst>
                  <a:gs pos="83178">
                    <a:srgbClr val="505050"/>
                  </a:gs>
                  <a:gs pos="45000">
                    <a:srgbClr val="505050"/>
                  </a:gs>
                </a:gsLst>
                <a:lin ang="5400000" scaled="0"/>
              </a:gradFill>
              <a:latin typeface="Calibri" panose="020F0502020204030204"/>
            </a:endParaRPr>
          </a:p>
        </p:txBody>
      </p:sp>
      <p:sp>
        <p:nvSpPr>
          <p:cNvPr id="22" name="TextBox 21"/>
          <p:cNvSpPr txBox="1"/>
          <p:nvPr/>
        </p:nvSpPr>
        <p:spPr>
          <a:xfrm>
            <a:off x="3911241" y="1652662"/>
            <a:ext cx="8263527" cy="2149729"/>
          </a:xfrm>
          <a:prstGeom prst="rect">
            <a:avLst/>
          </a:prstGeom>
          <a:noFill/>
        </p:spPr>
        <p:txBody>
          <a:bodyPr wrap="square" lIns="179253" tIns="143402" rIns="179253" bIns="143402" rtlCol="0">
            <a:spAutoFit/>
          </a:bodyPr>
          <a:lstStyle/>
          <a:p>
            <a:pPr defTabSz="914367">
              <a:lnSpc>
                <a:spcPct val="90000"/>
              </a:lnSpc>
              <a:spcAft>
                <a:spcPts val="588"/>
              </a:spcAft>
            </a:pPr>
            <a:r>
              <a:rPr lang="en-US" sz="3529" dirty="0">
                <a:gradFill>
                  <a:gsLst>
                    <a:gs pos="67257">
                      <a:srgbClr val="0072C6"/>
                    </a:gs>
                    <a:gs pos="36283">
                      <a:srgbClr val="0072C6"/>
                    </a:gs>
                  </a:gsLst>
                </a:gradFill>
                <a:latin typeface="Segoe UI Light"/>
              </a:rPr>
              <a:t>E3A Scenarios: </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Availability</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Configuring alerts</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Usage data</a:t>
            </a:r>
          </a:p>
        </p:txBody>
      </p:sp>
      <p:sp>
        <p:nvSpPr>
          <p:cNvPr id="23" name="TextBox 22"/>
          <p:cNvSpPr txBox="1"/>
          <p:nvPr/>
        </p:nvSpPr>
        <p:spPr>
          <a:xfrm>
            <a:off x="0" y="5151015"/>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15044">
                      <a:srgbClr val="FFFFFF"/>
                    </a:gs>
                    <a:gs pos="45000">
                      <a:srgbClr val="FFFFFF"/>
                    </a:gs>
                  </a:gsLst>
                  <a:lin ang="5400000" scaled="0"/>
                </a:gradFill>
                <a:latin typeface="Segoe UI Light"/>
              </a:rPr>
              <a:t>30 minutes to complete this story—do not proceed to the next story</a:t>
            </a:r>
          </a:p>
        </p:txBody>
      </p:sp>
      <p:sp>
        <p:nvSpPr>
          <p:cNvPr id="24" name="TextBox 23"/>
          <p:cNvSpPr txBox="1"/>
          <p:nvPr/>
        </p:nvSpPr>
        <p:spPr>
          <a:xfrm>
            <a:off x="0" y="5922550"/>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15044">
                      <a:srgbClr val="FFFFFF"/>
                    </a:gs>
                    <a:gs pos="45000">
                      <a:srgbClr val="FFFFFF"/>
                    </a:gs>
                  </a:gsLst>
                  <a:lin ang="5400000" scaled="0"/>
                </a:gradFill>
                <a:latin typeface="Segoe UI Light"/>
              </a:rPr>
              <a:t>Q &amp; A @ 30 minutes</a:t>
            </a:r>
          </a:p>
        </p:txBody>
      </p:sp>
      <p:sp>
        <p:nvSpPr>
          <p:cNvPr id="25" name="Rectangle 24"/>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26" name="Rectangle 25"/>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7" name="Rectangle 26"/>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8" name="Rectangle 27"/>
          <p:cNvSpPr/>
          <p:nvPr/>
        </p:nvSpPr>
        <p:spPr bwMode="auto">
          <a:xfrm>
            <a:off x="1" y="1863852"/>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Management </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9" name="Rectangle 28"/>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387002904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26"/>
                                        </p:tgtEl>
                                        <p:attrNameLst>
                                          <p:attrName>ppt_x</p:attrName>
                                        </p:attrNameLst>
                                      </p:cBhvr>
                                      <p:tavLst>
                                        <p:tav tm="0">
                                          <p:val>
                                            <p:strVal val="ppt_x"/>
                                          </p:val>
                                        </p:tav>
                                        <p:tav tm="100000">
                                          <p:val>
                                            <p:strVal val="0-ppt_w/2"/>
                                          </p:val>
                                        </p:tav>
                                      </p:tavLst>
                                    </p:anim>
                                    <p:anim calcmode="lin" valueType="num">
                                      <p:cBhvr additive="base">
                                        <p:cTn id="7" dur="200"/>
                                        <p:tgtEl>
                                          <p:spTgt spid="26"/>
                                        </p:tgtEl>
                                        <p:attrNameLst>
                                          <p:attrName>ppt_y</p:attrName>
                                        </p:attrNameLst>
                                      </p:cBhvr>
                                      <p:tavLst>
                                        <p:tav tm="0">
                                          <p:val>
                                            <p:strVal val="ppt_y"/>
                                          </p:val>
                                        </p:tav>
                                        <p:tav tm="100000">
                                          <p:val>
                                            <p:strVal val="ppt_y"/>
                                          </p:val>
                                        </p:tav>
                                      </p:tavLst>
                                    </p:anim>
                                    <p:set>
                                      <p:cBhvr>
                                        <p:cTn id="8" dur="1" fill="hold">
                                          <p:stCondLst>
                                            <p:cond delay="199"/>
                                          </p:stCondLst>
                                        </p:cTn>
                                        <p:tgtEl>
                                          <p:spTgt spid="26"/>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200"/>
                                        <p:tgtEl>
                                          <p:spTgt spid="25"/>
                                        </p:tgtEl>
                                        <p:attrNameLst>
                                          <p:attrName>ppt_x</p:attrName>
                                        </p:attrNameLst>
                                      </p:cBhvr>
                                      <p:tavLst>
                                        <p:tav tm="0">
                                          <p:val>
                                            <p:strVal val="ppt_x"/>
                                          </p:val>
                                        </p:tav>
                                        <p:tav tm="100000">
                                          <p:val>
                                            <p:strVal val="0-ppt_w/2"/>
                                          </p:val>
                                        </p:tav>
                                      </p:tavLst>
                                    </p:anim>
                                    <p:anim calcmode="lin" valueType="num">
                                      <p:cBhvr additive="base">
                                        <p:cTn id="11" dur="200"/>
                                        <p:tgtEl>
                                          <p:spTgt spid="25"/>
                                        </p:tgtEl>
                                        <p:attrNameLst>
                                          <p:attrName>ppt_y</p:attrName>
                                        </p:attrNameLst>
                                      </p:cBhvr>
                                      <p:tavLst>
                                        <p:tav tm="0">
                                          <p:val>
                                            <p:strVal val="ppt_y"/>
                                          </p:val>
                                        </p:tav>
                                        <p:tav tm="100000">
                                          <p:val>
                                            <p:strVal val="ppt_y"/>
                                          </p:val>
                                        </p:tav>
                                      </p:tavLst>
                                    </p:anim>
                                    <p:set>
                                      <p:cBhvr>
                                        <p:cTn id="12" dur="1" fill="hold">
                                          <p:stCondLst>
                                            <p:cond delay="199"/>
                                          </p:stCondLst>
                                        </p:cTn>
                                        <p:tgtEl>
                                          <p:spTgt spid="25"/>
                                        </p:tgtEl>
                                        <p:attrNameLst>
                                          <p:attrName>style.visibility</p:attrName>
                                        </p:attrNameLst>
                                      </p:cBhvr>
                                      <p:to>
                                        <p:strVal val="hidden"/>
                                      </p:to>
                                    </p:set>
                                  </p:childTnLst>
                                </p:cTn>
                              </p:par>
                              <p:par>
                                <p:cTn id="13" presetID="2" presetClass="exit" presetSubtype="8" fill="hold" grpId="0" nodeType="withEffect">
                                  <p:stCondLst>
                                    <p:cond delay="100"/>
                                  </p:stCondLst>
                                  <p:childTnLst>
                                    <p:anim calcmode="lin" valueType="num">
                                      <p:cBhvr additive="base">
                                        <p:cTn id="14" dur="200"/>
                                        <p:tgtEl>
                                          <p:spTgt spid="27"/>
                                        </p:tgtEl>
                                        <p:attrNameLst>
                                          <p:attrName>ppt_x</p:attrName>
                                        </p:attrNameLst>
                                      </p:cBhvr>
                                      <p:tavLst>
                                        <p:tav tm="0">
                                          <p:val>
                                            <p:strVal val="ppt_x"/>
                                          </p:val>
                                        </p:tav>
                                        <p:tav tm="100000">
                                          <p:val>
                                            <p:strVal val="0-ppt_w/2"/>
                                          </p:val>
                                        </p:tav>
                                      </p:tavLst>
                                    </p:anim>
                                    <p:anim calcmode="lin" valueType="num">
                                      <p:cBhvr additive="base">
                                        <p:cTn id="15" dur="200"/>
                                        <p:tgtEl>
                                          <p:spTgt spid="27"/>
                                        </p:tgtEl>
                                        <p:attrNameLst>
                                          <p:attrName>ppt_y</p:attrName>
                                        </p:attrNameLst>
                                      </p:cBhvr>
                                      <p:tavLst>
                                        <p:tav tm="0">
                                          <p:val>
                                            <p:strVal val="ppt_y"/>
                                          </p:val>
                                        </p:tav>
                                        <p:tav tm="100000">
                                          <p:val>
                                            <p:strVal val="ppt_y"/>
                                          </p:val>
                                        </p:tav>
                                      </p:tavLst>
                                    </p:anim>
                                    <p:set>
                                      <p:cBhvr>
                                        <p:cTn id="16" dur="1" fill="hold">
                                          <p:stCondLst>
                                            <p:cond delay="199"/>
                                          </p:stCondLst>
                                        </p:cTn>
                                        <p:tgtEl>
                                          <p:spTgt spid="27"/>
                                        </p:tgtEl>
                                        <p:attrNameLst>
                                          <p:attrName>style.visibility</p:attrName>
                                        </p:attrNameLst>
                                      </p:cBhvr>
                                      <p:to>
                                        <p:strVal val="hidden"/>
                                      </p:to>
                                    </p:set>
                                  </p:childTnLst>
                                </p:cTn>
                              </p:par>
                              <p:par>
                                <p:cTn id="17" presetID="2" presetClass="exit" presetSubtype="8" fill="hold" grpId="0" nodeType="withEffect">
                                  <p:stCondLst>
                                    <p:cond delay="200"/>
                                  </p:stCondLst>
                                  <p:childTnLst>
                                    <p:anim calcmode="lin" valueType="num">
                                      <p:cBhvr additive="base">
                                        <p:cTn id="18" dur="200"/>
                                        <p:tgtEl>
                                          <p:spTgt spid="28"/>
                                        </p:tgtEl>
                                        <p:attrNameLst>
                                          <p:attrName>ppt_x</p:attrName>
                                        </p:attrNameLst>
                                      </p:cBhvr>
                                      <p:tavLst>
                                        <p:tav tm="0">
                                          <p:val>
                                            <p:strVal val="ppt_x"/>
                                          </p:val>
                                        </p:tav>
                                        <p:tav tm="100000">
                                          <p:val>
                                            <p:strVal val="0-ppt_w/2"/>
                                          </p:val>
                                        </p:tav>
                                      </p:tavLst>
                                    </p:anim>
                                    <p:anim calcmode="lin" valueType="num">
                                      <p:cBhvr additive="base">
                                        <p:cTn id="19" dur="200"/>
                                        <p:tgtEl>
                                          <p:spTgt spid="28"/>
                                        </p:tgtEl>
                                        <p:attrNameLst>
                                          <p:attrName>ppt_y</p:attrName>
                                        </p:attrNameLst>
                                      </p:cBhvr>
                                      <p:tavLst>
                                        <p:tav tm="0">
                                          <p:val>
                                            <p:strVal val="ppt_y"/>
                                          </p:val>
                                        </p:tav>
                                        <p:tav tm="100000">
                                          <p:val>
                                            <p:strVal val="ppt_y"/>
                                          </p:val>
                                        </p:tav>
                                      </p:tavLst>
                                    </p:anim>
                                    <p:set>
                                      <p:cBhvr>
                                        <p:cTn id="20" dur="1" fill="hold">
                                          <p:stCondLst>
                                            <p:cond delay="199"/>
                                          </p:stCondLst>
                                        </p:cTn>
                                        <p:tgtEl>
                                          <p:spTgt spid="28"/>
                                        </p:tgtEl>
                                        <p:attrNameLst>
                                          <p:attrName>style.visibility</p:attrName>
                                        </p:attrNameLst>
                                      </p:cBhvr>
                                      <p:to>
                                        <p:strVal val="hidden"/>
                                      </p:to>
                                    </p:set>
                                  </p:childTnLst>
                                </p:cTn>
                              </p:par>
                              <p:par>
                                <p:cTn id="21" presetID="2" presetClass="exit" presetSubtype="8" fill="hold" grpId="0" nodeType="withEffect">
                                  <p:stCondLst>
                                    <p:cond delay="300"/>
                                  </p:stCondLst>
                                  <p:childTnLst>
                                    <p:anim calcmode="lin" valueType="num">
                                      <p:cBhvr additive="base">
                                        <p:cTn id="22" dur="200"/>
                                        <p:tgtEl>
                                          <p:spTgt spid="29"/>
                                        </p:tgtEl>
                                        <p:attrNameLst>
                                          <p:attrName>ppt_x</p:attrName>
                                        </p:attrNameLst>
                                      </p:cBhvr>
                                      <p:tavLst>
                                        <p:tav tm="0">
                                          <p:val>
                                            <p:strVal val="ppt_x"/>
                                          </p:val>
                                        </p:tav>
                                        <p:tav tm="100000">
                                          <p:val>
                                            <p:strVal val="0-ppt_w/2"/>
                                          </p:val>
                                        </p:tav>
                                      </p:tavLst>
                                    </p:anim>
                                    <p:anim calcmode="lin" valueType="num">
                                      <p:cBhvr additive="base">
                                        <p:cTn id="23" dur="200"/>
                                        <p:tgtEl>
                                          <p:spTgt spid="29"/>
                                        </p:tgtEl>
                                        <p:attrNameLst>
                                          <p:attrName>ppt_y</p:attrName>
                                        </p:attrNameLst>
                                      </p:cBhvr>
                                      <p:tavLst>
                                        <p:tav tm="0">
                                          <p:val>
                                            <p:strVal val="ppt_y"/>
                                          </p:val>
                                        </p:tav>
                                        <p:tav tm="100000">
                                          <p:val>
                                            <p:strVal val="ppt_y"/>
                                          </p:val>
                                        </p:tav>
                                      </p:tavLst>
                                    </p:anim>
                                    <p:set>
                                      <p:cBhvr>
                                        <p:cTn id="24" dur="1" fill="hold">
                                          <p:stCondLst>
                                            <p:cond delay="199"/>
                                          </p:stCondLst>
                                        </p:cTn>
                                        <p:tgtEl>
                                          <p:spTgt spid="29"/>
                                        </p:tgtEl>
                                        <p:attrNameLst>
                                          <p:attrName>style.visibility</p:attrName>
                                        </p:attrNameLst>
                                      </p:cBhvr>
                                      <p:to>
                                        <p:strVal val="hidden"/>
                                      </p:to>
                                    </p:set>
                                  </p:childTnLst>
                                </p:cTn>
                              </p:par>
                              <p:par>
                                <p:cTn id="25" presetID="2" presetClass="entr" presetSubtype="8" decel="100000" fill="hold" grpId="0" nodeType="withEffect">
                                  <p:stCondLst>
                                    <p:cond delay="6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800" fill="hold"/>
                                        <p:tgtEl>
                                          <p:spTgt spid="13"/>
                                        </p:tgtEl>
                                        <p:attrNameLst>
                                          <p:attrName>ppt_x</p:attrName>
                                        </p:attrNameLst>
                                      </p:cBhvr>
                                      <p:tavLst>
                                        <p:tav tm="0">
                                          <p:val>
                                            <p:strVal val="0-#ppt_w/2"/>
                                          </p:val>
                                        </p:tav>
                                        <p:tav tm="100000">
                                          <p:val>
                                            <p:strVal val="#ppt_x"/>
                                          </p:val>
                                        </p:tav>
                                      </p:tavLst>
                                    </p:anim>
                                    <p:anim calcmode="lin" valueType="num">
                                      <p:cBhvr additive="base">
                                        <p:cTn id="28" dur="8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6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800" fill="hold"/>
                                        <p:tgtEl>
                                          <p:spTgt spid="14"/>
                                        </p:tgtEl>
                                        <p:attrNameLst>
                                          <p:attrName>ppt_x</p:attrName>
                                        </p:attrNameLst>
                                      </p:cBhvr>
                                      <p:tavLst>
                                        <p:tav tm="0">
                                          <p:val>
                                            <p:strVal val="0-#ppt_w/2"/>
                                          </p:val>
                                        </p:tav>
                                        <p:tav tm="100000">
                                          <p:val>
                                            <p:strVal val="#ppt_x"/>
                                          </p:val>
                                        </p:tav>
                                      </p:tavLst>
                                    </p:anim>
                                    <p:anim calcmode="lin" valueType="num">
                                      <p:cBhvr additive="base">
                                        <p:cTn id="32" dur="800" fill="hold"/>
                                        <p:tgtEl>
                                          <p:spTgt spid="14"/>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600" fill="hold"/>
                                        <p:tgtEl>
                                          <p:spTgt spid="20"/>
                                        </p:tgtEl>
                                        <p:attrNameLst>
                                          <p:attrName>ppt_x</p:attrName>
                                        </p:attrNameLst>
                                      </p:cBhvr>
                                      <p:tavLst>
                                        <p:tav tm="0">
                                          <p:val>
                                            <p:strVal val="1+#ppt_w/2"/>
                                          </p:val>
                                        </p:tav>
                                        <p:tav tm="100000">
                                          <p:val>
                                            <p:strVal val="#ppt_x"/>
                                          </p:val>
                                        </p:tav>
                                      </p:tavLst>
                                    </p:anim>
                                    <p:anim calcmode="lin" valueType="num">
                                      <p:cBhvr additive="base">
                                        <p:cTn id="36" dur="6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185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600" fill="hold"/>
                                        <p:tgtEl>
                                          <p:spTgt spid="21"/>
                                        </p:tgtEl>
                                        <p:attrNameLst>
                                          <p:attrName>ppt_x</p:attrName>
                                        </p:attrNameLst>
                                      </p:cBhvr>
                                      <p:tavLst>
                                        <p:tav tm="0">
                                          <p:val>
                                            <p:strVal val="1+#ppt_w/2"/>
                                          </p:val>
                                        </p:tav>
                                        <p:tav tm="100000">
                                          <p:val>
                                            <p:strVal val="#ppt_x"/>
                                          </p:val>
                                        </p:tav>
                                      </p:tavLst>
                                    </p:anim>
                                    <p:anim calcmode="lin" valueType="num">
                                      <p:cBhvr additive="base">
                                        <p:cTn id="40" dur="600" fill="hold"/>
                                        <p:tgtEl>
                                          <p:spTgt spid="21"/>
                                        </p:tgtEl>
                                        <p:attrNameLst>
                                          <p:attrName>ppt_y</p:attrName>
                                        </p:attrNameLst>
                                      </p:cBhvr>
                                      <p:tavLst>
                                        <p:tav tm="0">
                                          <p:val>
                                            <p:strVal val="#ppt_y"/>
                                          </p:val>
                                        </p:tav>
                                        <p:tav tm="100000">
                                          <p:val>
                                            <p:strVal val="#ppt_y"/>
                                          </p:val>
                                        </p:tav>
                                      </p:tavLst>
                                    </p:anim>
                                  </p:childTnLst>
                                </p:cTn>
                              </p:par>
                            </p:childTnLst>
                          </p:cTn>
                        </p:par>
                        <p:par>
                          <p:cTn id="41" fill="hold">
                            <p:stCondLst>
                              <p:cond delay="2450"/>
                            </p:stCondLst>
                            <p:childTnLst>
                              <p:par>
                                <p:cTn id="42" presetID="1" presetClass="emph" presetSubtype="2" fill="hold" nodeType="afterEffect">
                                  <p:stCondLst>
                                    <p:cond delay="0"/>
                                  </p:stCondLst>
                                  <p:childTnLst>
                                    <p:animClr clrSpc="rgb" dir="cw">
                                      <p:cBhvr>
                                        <p:cTn id="43" dur="1000" fill="hold"/>
                                        <p:tgtEl>
                                          <p:spTgt spid="20"/>
                                        </p:tgtEl>
                                        <p:attrNameLst>
                                          <p:attrName>fillcolor</p:attrName>
                                        </p:attrNameLst>
                                      </p:cBhvr>
                                      <p:to>
                                        <a:srgbClr val="0072C6"/>
                                      </p:to>
                                    </p:animClr>
                                    <p:set>
                                      <p:cBhvr>
                                        <p:cTn id="44" dur="1000" fill="hold"/>
                                        <p:tgtEl>
                                          <p:spTgt spid="20"/>
                                        </p:tgtEl>
                                        <p:attrNameLst>
                                          <p:attrName>fill.type</p:attrName>
                                        </p:attrNameLst>
                                      </p:cBhvr>
                                      <p:to>
                                        <p:strVal val="solid"/>
                                      </p:to>
                                    </p:set>
                                    <p:set>
                                      <p:cBhvr>
                                        <p:cTn id="45" dur="1000" fill="hold"/>
                                        <p:tgtEl>
                                          <p:spTgt spid="20"/>
                                        </p:tgtEl>
                                        <p:attrNameLst>
                                          <p:attrName>fill.on</p:attrName>
                                        </p:attrNameLst>
                                      </p:cBhvr>
                                      <p:to>
                                        <p:strVal val="true"/>
                                      </p:to>
                                    </p:set>
                                  </p:childTnLst>
                                </p:cTn>
                              </p:par>
                              <p:par>
                                <p:cTn id="46" presetID="3" presetClass="emph" presetSubtype="2" fill="hold" grpId="1" nodeType="withEffect">
                                  <p:stCondLst>
                                    <p:cond delay="0"/>
                                  </p:stCondLst>
                                  <p:childTnLst>
                                    <p:animClr clrSpc="rgb" dir="cw">
                                      <p:cBhvr override="childStyle">
                                        <p:cTn id="47" dur="500" fill="hold"/>
                                        <p:tgtEl>
                                          <p:spTgt spid="20"/>
                                        </p:tgtEl>
                                        <p:attrNameLst>
                                          <p:attrName>style.color</p:attrName>
                                        </p:attrNameLst>
                                      </p:cBhvr>
                                      <p:to>
                                        <a:srgbClr val="FFFFFF"/>
                                      </p:to>
                                    </p:animClr>
                                  </p:childTnLst>
                                </p:cTn>
                              </p:par>
                            </p:childTnLst>
                          </p:cTn>
                        </p:par>
                        <p:par>
                          <p:cTn id="48" fill="hold">
                            <p:stCondLst>
                              <p:cond delay="3450"/>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par>
                          <p:cTn id="52" fill="hold">
                            <p:stCondLst>
                              <p:cond delay="3950"/>
                            </p:stCondLst>
                            <p:childTnLst>
                              <p:par>
                                <p:cTn id="53" presetID="2" presetClass="entr" presetSubtype="8" decel="10000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700" fill="hold"/>
                                        <p:tgtEl>
                                          <p:spTgt spid="23"/>
                                        </p:tgtEl>
                                        <p:attrNameLst>
                                          <p:attrName>ppt_x</p:attrName>
                                        </p:attrNameLst>
                                      </p:cBhvr>
                                      <p:tavLst>
                                        <p:tav tm="0">
                                          <p:val>
                                            <p:strVal val="0-#ppt_w/2"/>
                                          </p:val>
                                        </p:tav>
                                        <p:tav tm="100000">
                                          <p:val>
                                            <p:strVal val="#ppt_x"/>
                                          </p:val>
                                        </p:tav>
                                      </p:tavLst>
                                    </p:anim>
                                    <p:anim calcmode="lin" valueType="num">
                                      <p:cBhvr additive="base">
                                        <p:cTn id="56" dur="700" fill="hold"/>
                                        <p:tgtEl>
                                          <p:spTgt spid="23"/>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10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700" fill="hold"/>
                                        <p:tgtEl>
                                          <p:spTgt spid="24"/>
                                        </p:tgtEl>
                                        <p:attrNameLst>
                                          <p:attrName>ppt_x</p:attrName>
                                        </p:attrNameLst>
                                      </p:cBhvr>
                                      <p:tavLst>
                                        <p:tav tm="0">
                                          <p:val>
                                            <p:strVal val="0-#ppt_w/2"/>
                                          </p:val>
                                        </p:tav>
                                        <p:tav tm="100000">
                                          <p:val>
                                            <p:strVal val="#ppt_x"/>
                                          </p:val>
                                        </p:tav>
                                      </p:tavLst>
                                    </p:anim>
                                    <p:anim calcmode="lin" valueType="num">
                                      <p:cBhvr additive="base">
                                        <p:cTn id="60" dur="7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20" grpId="0" animBg="1"/>
      <p:bldP spid="20" grpId="1" animBg="1"/>
      <p:bldP spid="21" grpId="0" animBg="1"/>
      <p:bldP spid="22" grpId="0"/>
      <p:bldP spid="23" grpId="0" animBg="1"/>
      <p:bldP spid="24" grpId="0" animBg="1"/>
      <p:bldP spid="25" grpId="0" animBg="1"/>
      <p:bldP spid="26" grpId="0" animBg="1"/>
      <p:bldP spid="27" grpId="0" animBg="1"/>
      <p:bldP spid="28" grpId="0" animBg="1"/>
      <p:bldP spid="29"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0" name="Straight Connector 319"/>
          <p:cNvCxnSpPr/>
          <p:nvPr/>
        </p:nvCxnSpPr>
        <p:spPr>
          <a:xfrm>
            <a:off x="10366052" y="3047683"/>
            <a:ext cx="0" cy="176815"/>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V="1">
            <a:off x="6583978" y="4057650"/>
            <a:ext cx="0" cy="2257425"/>
          </a:xfrm>
          <a:prstGeom prst="line">
            <a:avLst/>
          </a:prstGeom>
          <a:ln w="22225" cap="sq">
            <a:solidFill>
              <a:schemeClr val="tx1"/>
            </a:solidFill>
            <a:prstDash val="sysDot"/>
            <a:miter lim="800000"/>
            <a:headEnd type="none" w="sm" len="sm"/>
            <a:tailEnd type="triangle"/>
          </a:ln>
        </p:spPr>
        <p:style>
          <a:lnRef idx="1">
            <a:schemeClr val="accent1"/>
          </a:lnRef>
          <a:fillRef idx="0">
            <a:schemeClr val="accent1"/>
          </a:fillRef>
          <a:effectRef idx="0">
            <a:schemeClr val="accent1"/>
          </a:effectRef>
          <a:fontRef idx="minor">
            <a:schemeClr val="tx1"/>
          </a:fontRef>
        </p:style>
      </p:cxnSp>
      <p:sp>
        <p:nvSpPr>
          <p:cNvPr id="321" name="Freeform 320"/>
          <p:cNvSpPr/>
          <p:nvPr/>
        </p:nvSpPr>
        <p:spPr bwMode="auto">
          <a:xfrm>
            <a:off x="2933700" y="4320540"/>
            <a:ext cx="7305675" cy="1889760"/>
          </a:xfrm>
          <a:custGeom>
            <a:avLst/>
            <a:gdLst>
              <a:gd name="connsiteX0" fmla="*/ 1743075 w 7305675"/>
              <a:gd name="connsiteY0" fmla="*/ 0 h 1889760"/>
              <a:gd name="connsiteX1" fmla="*/ 5572125 w 7305675"/>
              <a:gd name="connsiteY1" fmla="*/ 0 h 1889760"/>
              <a:gd name="connsiteX2" fmla="*/ 5572125 w 7305675"/>
              <a:gd name="connsiteY2" fmla="*/ 621534 h 1889760"/>
              <a:gd name="connsiteX3" fmla="*/ 7305675 w 7305675"/>
              <a:gd name="connsiteY3" fmla="*/ 621534 h 1889760"/>
              <a:gd name="connsiteX4" fmla="*/ 7305675 w 7305675"/>
              <a:gd name="connsiteY4" fmla="*/ 1889760 h 1889760"/>
              <a:gd name="connsiteX5" fmla="*/ 0 w 7305675"/>
              <a:gd name="connsiteY5" fmla="*/ 1889760 h 1889760"/>
              <a:gd name="connsiteX6" fmla="*/ 0 w 7305675"/>
              <a:gd name="connsiteY6" fmla="*/ 621534 h 1889760"/>
              <a:gd name="connsiteX7" fmla="*/ 1743075 w 7305675"/>
              <a:gd name="connsiteY7" fmla="*/ 621534 h 188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05675" h="1889760">
                <a:moveTo>
                  <a:pt x="1743075" y="0"/>
                </a:moveTo>
                <a:lnTo>
                  <a:pt x="5572125" y="0"/>
                </a:lnTo>
                <a:lnTo>
                  <a:pt x="5572125" y="621534"/>
                </a:lnTo>
                <a:lnTo>
                  <a:pt x="7305675" y="621534"/>
                </a:lnTo>
                <a:lnTo>
                  <a:pt x="7305675" y="1889760"/>
                </a:lnTo>
                <a:lnTo>
                  <a:pt x="0" y="1889760"/>
                </a:lnTo>
                <a:lnTo>
                  <a:pt x="0" y="621534"/>
                </a:lnTo>
                <a:lnTo>
                  <a:pt x="1743075" y="621534"/>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 name="Main header"/>
          <p:cNvGrpSpPr/>
          <p:nvPr/>
        </p:nvGrpSpPr>
        <p:grpSpPr>
          <a:xfrm>
            <a:off x="1162828" y="297133"/>
            <a:ext cx="11029172" cy="1506478"/>
            <a:chOff x="1186144" y="302595"/>
            <a:chExt cx="11250330" cy="1536686"/>
          </a:xfrm>
        </p:grpSpPr>
        <p:grpSp>
          <p:nvGrpSpPr>
            <p:cNvPr id="3" name="Group 2"/>
            <p:cNvGrpSpPr/>
            <p:nvPr/>
          </p:nvGrpSpPr>
          <p:grpSpPr>
            <a:xfrm>
              <a:off x="1186144" y="302595"/>
              <a:ext cx="11250330" cy="1536686"/>
              <a:chOff x="1186144" y="302595"/>
              <a:chExt cx="11250330" cy="1536686"/>
            </a:xfrm>
          </p:grpSpPr>
          <p:sp>
            <p:nvSpPr>
              <p:cNvPr id="139" name="Rectangle 138"/>
              <p:cNvSpPr/>
              <p:nvPr/>
            </p:nvSpPr>
            <p:spPr bwMode="auto">
              <a:xfrm>
                <a:off x="1192143" y="302595"/>
                <a:ext cx="7563466" cy="1006754"/>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39" name="Rectangle 38"/>
              <p:cNvSpPr/>
              <p:nvPr/>
            </p:nvSpPr>
            <p:spPr bwMode="auto">
              <a:xfrm>
                <a:off x="8794750" y="302844"/>
                <a:ext cx="3641724" cy="10065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765" dirty="0">
                    <a:gradFill>
                      <a:gsLst>
                        <a:gs pos="37168">
                          <a:srgbClr val="FFFFFF"/>
                        </a:gs>
                        <a:gs pos="57000">
                          <a:srgbClr val="FFFFFF"/>
                        </a:gs>
                      </a:gsLst>
                      <a:lin ang="5400000" scaled="0"/>
                    </a:gradFill>
                  </a:rPr>
                  <a:t>Identify database health by using SQL Database monitoring </a:t>
                </a:r>
              </a:p>
              <a:p>
                <a:pPr defTabSz="914102" fontAlgn="base">
                  <a:lnSpc>
                    <a:spcPct val="90000"/>
                  </a:lnSpc>
                  <a:spcBef>
                    <a:spcPct val="0"/>
                  </a:spcBef>
                  <a:spcAft>
                    <a:spcPct val="0"/>
                  </a:spcAft>
                </a:pPr>
                <a:endParaRPr lang="en-US" sz="1765" dirty="0">
                  <a:gradFill>
                    <a:gsLst>
                      <a:gs pos="37168">
                        <a:srgbClr val="FFFFFF"/>
                      </a:gs>
                      <a:gs pos="57000">
                        <a:srgbClr val="FFFFFF"/>
                      </a:gs>
                    </a:gsLst>
                    <a:lin ang="5400000" scaled="0"/>
                  </a:gradFill>
                </a:endParaRPr>
              </a:p>
            </p:txBody>
          </p:sp>
          <p:sp>
            <p:nvSpPr>
              <p:cNvPr id="79" name="Rectangle 78"/>
              <p:cNvSpPr/>
              <p:nvPr/>
            </p:nvSpPr>
            <p:spPr bwMode="auto">
              <a:xfrm>
                <a:off x="1186144" y="1337306"/>
                <a:ext cx="11250329" cy="501975"/>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p:cNvSpPr txBox="1"/>
              <p:nvPr/>
            </p:nvSpPr>
            <p:spPr>
              <a:xfrm>
                <a:off x="1214010" y="1322216"/>
                <a:ext cx="11191696" cy="493253"/>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400" dirty="0" smtClean="0">
                    <a:gradFill>
                      <a:gsLst>
                        <a:gs pos="77876">
                          <a:srgbClr val="FFFFFF"/>
                        </a:gs>
                        <a:gs pos="30000">
                          <a:srgbClr val="FFFFFF"/>
                        </a:gs>
                      </a:gsLst>
                      <a:lin ang="5400000" scaled="0"/>
                    </a:gradFill>
                  </a:rPr>
                  <a:t>System Center 2012 R2  |  </a:t>
                </a:r>
                <a:r>
                  <a:rPr lang="en-US" sz="1400" dirty="0">
                    <a:gradFill>
                      <a:gsLst>
                        <a:gs pos="77876">
                          <a:srgbClr val="FFFFFF"/>
                        </a:gs>
                        <a:gs pos="30000">
                          <a:srgbClr val="FFFFFF"/>
                        </a:gs>
                      </a:gsLst>
                      <a:lin ang="5400000" scaled="0"/>
                    </a:gradFill>
                  </a:rPr>
                  <a:t>Operations Management Suite </a:t>
                </a:r>
                <a:r>
                  <a:rPr lang="en-US" sz="1400" dirty="0" smtClean="0">
                    <a:gradFill>
                      <a:gsLst>
                        <a:gs pos="77876">
                          <a:srgbClr val="FFFFFF"/>
                        </a:gs>
                        <a:gs pos="30000">
                          <a:srgbClr val="FFFFFF"/>
                        </a:gs>
                      </a:gsLst>
                      <a:lin ang="5400000" scaled="0"/>
                    </a:gradFill>
                  </a:rPr>
                  <a:t> |  Virtual </a:t>
                </a:r>
                <a:r>
                  <a:rPr lang="en-US" sz="1400" dirty="0">
                    <a:gradFill>
                      <a:gsLst>
                        <a:gs pos="77876">
                          <a:srgbClr val="FFFFFF"/>
                        </a:gs>
                        <a:gs pos="30000">
                          <a:srgbClr val="FFFFFF"/>
                        </a:gs>
                      </a:gsLst>
                      <a:lin ang="5400000" scaled="0"/>
                    </a:gradFill>
                  </a:rPr>
                  <a:t>Machine </a:t>
                </a:r>
                <a:r>
                  <a:rPr lang="en-US" sz="1400" dirty="0" smtClean="0">
                    <a:gradFill>
                      <a:gsLst>
                        <a:gs pos="77876">
                          <a:srgbClr val="FFFFFF"/>
                        </a:gs>
                        <a:gs pos="30000">
                          <a:srgbClr val="FFFFFF"/>
                        </a:gs>
                      </a:gsLst>
                      <a:lin ang="5400000" scaled="0"/>
                    </a:gradFill>
                  </a:rPr>
                  <a:t>Manager </a:t>
                </a:r>
                <a:r>
                  <a:rPr lang="en-US" sz="1400" dirty="0">
                    <a:gradFill>
                      <a:gsLst>
                        <a:gs pos="77876">
                          <a:srgbClr val="FFFFFF"/>
                        </a:gs>
                        <a:gs pos="30000">
                          <a:srgbClr val="FFFFFF"/>
                        </a:gs>
                      </a:gsLst>
                      <a:lin ang="5400000" scaled="0"/>
                    </a:gradFill>
                  </a:rPr>
                  <a:t>|  Microsoft SQL Server </a:t>
                </a:r>
              </a:p>
            </p:txBody>
          </p:sp>
        </p:grpSp>
        <p:grpSp>
          <p:nvGrpSpPr>
            <p:cNvPr id="141" name="Group 140"/>
            <p:cNvGrpSpPr>
              <a:grpSpLocks noChangeAspect="1"/>
            </p:cNvGrpSpPr>
            <p:nvPr/>
          </p:nvGrpSpPr>
          <p:grpSpPr>
            <a:xfrm>
              <a:off x="1192144" y="303543"/>
              <a:ext cx="787179" cy="1005840"/>
              <a:chOff x="1192144" y="1221871"/>
              <a:chExt cx="822960" cy="1051560"/>
            </a:xfrm>
          </p:grpSpPr>
          <p:grpSp>
            <p:nvGrpSpPr>
              <p:cNvPr id="143" name="Group 142"/>
              <p:cNvGrpSpPr/>
              <p:nvPr/>
            </p:nvGrpSpPr>
            <p:grpSpPr>
              <a:xfrm>
                <a:off x="1192144" y="1221871"/>
                <a:ext cx="822960" cy="1051560"/>
                <a:chOff x="2257477" y="1518442"/>
                <a:chExt cx="822960" cy="1051560"/>
              </a:xfrm>
            </p:grpSpPr>
            <p:sp>
              <p:nvSpPr>
                <p:cNvPr id="145" name="Rectangle 144"/>
                <p:cNvSpPr/>
                <p:nvPr/>
              </p:nvSpPr>
              <p:spPr bwMode="auto">
                <a:xfrm>
                  <a:off x="2257477" y="1518442"/>
                  <a:ext cx="822960" cy="105156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410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146"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75748" t="27538" r="7225" b="45284"/>
                <a:stretch/>
              </p:blipFill>
              <p:spPr bwMode="auto">
                <a:xfrm>
                  <a:off x="2280337"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4" name="Isosceles Triangle 143"/>
              <p:cNvSpPr/>
              <p:nvPr/>
            </p:nvSpPr>
            <p:spPr bwMode="auto">
              <a:xfrm rot="16200000">
                <a:off x="188821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grpSp>
      <p:sp>
        <p:nvSpPr>
          <p:cNvPr id="23" name="Rectangle 22"/>
          <p:cNvSpPr/>
          <p:nvPr/>
        </p:nvSpPr>
        <p:spPr>
          <a:xfrm>
            <a:off x="6581317" y="1248037"/>
            <a:ext cx="5942757" cy="4546598"/>
          </a:xfrm>
          <a:prstGeom prst="rect">
            <a:avLst/>
          </a:prstGeom>
          <a:noFill/>
        </p:spPr>
      </p:sp>
      <p:sp>
        <p:nvSpPr>
          <p:cNvPr id="140" name="Q1"/>
          <p:cNvSpPr txBox="1"/>
          <p:nvPr/>
        </p:nvSpPr>
        <p:spPr>
          <a:xfrm>
            <a:off x="1931010" y="314741"/>
            <a:ext cx="6634684" cy="724143"/>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13274">
                      <a:srgbClr val="282828">
                        <a:lumMod val="90000"/>
                        <a:lumOff val="10000"/>
                      </a:srgbClr>
                    </a:gs>
                    <a:gs pos="27434">
                      <a:srgbClr val="282828">
                        <a:lumMod val="90000"/>
                        <a:lumOff val="10000"/>
                      </a:srgbClr>
                    </a:gs>
                  </a:gsLst>
                  <a:lin ang="16200000" scaled="1"/>
                </a:gradFill>
              </a:rPr>
              <a:t>“I have notice from end users and confirmation from Operations Manager that our SharePoint application is having issues.”</a:t>
            </a:r>
            <a:r>
              <a:rPr lang="en-NZ" sz="1176" dirty="0">
                <a:gradFill>
                  <a:gsLst>
                    <a:gs pos="13274">
                      <a:srgbClr val="282828">
                        <a:lumMod val="90000"/>
                        <a:lumOff val="10000"/>
                      </a:srgbClr>
                    </a:gs>
                    <a:gs pos="27434">
                      <a:srgbClr val="282828">
                        <a:lumMod val="90000"/>
                        <a:lumOff val="10000"/>
                      </a:srgbClr>
                    </a:gs>
                  </a:gsLst>
                  <a:lin ang="16200000" scaled="1"/>
                </a:gradFill>
              </a:rPr>
              <a:t/>
            </a:r>
            <a:br>
              <a:rPr lang="en-NZ" sz="1176" dirty="0">
                <a:gradFill>
                  <a:gsLst>
                    <a:gs pos="13274">
                      <a:srgbClr val="282828">
                        <a:lumMod val="90000"/>
                        <a:lumOff val="10000"/>
                      </a:srgbClr>
                    </a:gs>
                    <a:gs pos="27434">
                      <a:srgbClr val="282828">
                        <a:lumMod val="90000"/>
                        <a:lumOff val="10000"/>
                      </a:srgbClr>
                    </a:gs>
                  </a:gsLst>
                  <a:lin ang="16200000" scaled="1"/>
                </a:gradFill>
              </a:rPr>
            </a:br>
            <a:endParaRPr lang="en-NZ" sz="1176" dirty="0">
              <a:gradFill>
                <a:gsLst>
                  <a:gs pos="13274">
                    <a:srgbClr val="282828">
                      <a:lumMod val="90000"/>
                      <a:lumOff val="10000"/>
                    </a:srgbClr>
                  </a:gs>
                  <a:gs pos="27434">
                    <a:srgbClr val="282828">
                      <a:lumMod val="90000"/>
                      <a:lumOff val="10000"/>
                    </a:srgbClr>
                  </a:gs>
                </a:gsLst>
                <a:lin ang="16200000" scaled="1"/>
              </a:gradFill>
            </a:endParaRPr>
          </a:p>
        </p:txBody>
      </p:sp>
      <p:sp>
        <p:nvSpPr>
          <p:cNvPr id="129" name="Q2"/>
          <p:cNvSpPr txBox="1"/>
          <p:nvPr/>
        </p:nvSpPr>
        <p:spPr>
          <a:xfrm>
            <a:off x="1918978" y="278646"/>
            <a:ext cx="6634684" cy="941386"/>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13274">
                      <a:srgbClr val="282828">
                        <a:lumMod val="90000"/>
                        <a:lumOff val="10000"/>
                      </a:srgbClr>
                    </a:gs>
                    <a:gs pos="27434">
                      <a:srgbClr val="282828">
                        <a:lumMod val="90000"/>
                        <a:lumOff val="10000"/>
                      </a:srgbClr>
                    </a:gs>
                  </a:gsLst>
                  <a:lin ang="16200000" scaled="1"/>
                </a:gradFill>
              </a:rPr>
              <a:t>“Because SQL Server has an add in to Operations Manager, I can now see that SQL workload capacity is the root issue.  I can remediate by scaling out this SQL Server by using Service Templates in Virtual Machine Manger.” </a:t>
            </a:r>
            <a:br>
              <a:rPr lang="en-NZ" sz="1372" dirty="0">
                <a:gradFill>
                  <a:gsLst>
                    <a:gs pos="13274">
                      <a:srgbClr val="282828">
                        <a:lumMod val="90000"/>
                        <a:lumOff val="10000"/>
                      </a:srgbClr>
                    </a:gs>
                    <a:gs pos="27434">
                      <a:srgbClr val="282828">
                        <a:lumMod val="90000"/>
                        <a:lumOff val="10000"/>
                      </a:srgbClr>
                    </a:gs>
                  </a:gsLst>
                  <a:lin ang="16200000" scaled="1"/>
                </a:gradFill>
              </a:rPr>
            </a:br>
            <a:endParaRPr lang="en-NZ" sz="1372" dirty="0">
              <a:gradFill>
                <a:gsLst>
                  <a:gs pos="13274">
                    <a:srgbClr val="282828">
                      <a:lumMod val="90000"/>
                      <a:lumOff val="10000"/>
                    </a:srgbClr>
                  </a:gs>
                  <a:gs pos="27434">
                    <a:srgbClr val="282828">
                      <a:lumMod val="90000"/>
                      <a:lumOff val="10000"/>
                    </a:srgbClr>
                  </a:gs>
                </a:gsLst>
                <a:lin ang="16200000" scaled="1"/>
              </a:gradFill>
            </a:endParaRPr>
          </a:p>
        </p:txBody>
      </p:sp>
      <p:sp>
        <p:nvSpPr>
          <p:cNvPr id="130" name="Q3"/>
          <p:cNvSpPr txBox="1"/>
          <p:nvPr/>
        </p:nvSpPr>
        <p:spPr>
          <a:xfrm>
            <a:off x="1931010" y="314741"/>
            <a:ext cx="6634684" cy="751299"/>
          </a:xfrm>
          <a:prstGeom prst="rect">
            <a:avLst/>
          </a:prstGeom>
          <a:noFill/>
        </p:spPr>
        <p:txBody>
          <a:bodyPr wrap="square" lIns="89642" tIns="89642" rIns="89642" bIns="89642" rtlCol="0">
            <a:spAutoFit/>
          </a:bodyPr>
          <a:lstStyle/>
          <a:p>
            <a:pPr defTabSz="914206" fontAlgn="base">
              <a:lnSpc>
                <a:spcPct val="90000"/>
              </a:lnSpc>
              <a:spcBef>
                <a:spcPct val="0"/>
              </a:spcBef>
              <a:spcAft>
                <a:spcPts val="588"/>
              </a:spcAft>
            </a:pPr>
            <a:r>
              <a:rPr lang="en-NZ" sz="1372" dirty="0">
                <a:gradFill>
                  <a:gsLst>
                    <a:gs pos="13274">
                      <a:srgbClr val="282828">
                        <a:lumMod val="90000"/>
                        <a:lumOff val="10000"/>
                      </a:srgbClr>
                    </a:gs>
                    <a:gs pos="27434">
                      <a:srgbClr val="282828">
                        <a:lumMod val="90000"/>
                        <a:lumOff val="10000"/>
                      </a:srgbClr>
                    </a:gs>
                  </a:gsLst>
                  <a:lin ang="16200000" scaled="1"/>
                </a:gradFill>
              </a:rPr>
              <a:t>“For this particular situation, I was able to quickly identify why this application was performing sub par. I can continue to use Operations Manager to ensure my SLAs continue to be met.”</a:t>
            </a:r>
          </a:p>
        </p:txBody>
      </p:sp>
      <p:sp>
        <p:nvSpPr>
          <p:cNvPr id="73" name="Blue banner"/>
          <p:cNvSpPr/>
          <p:nvPr/>
        </p:nvSpPr>
        <p:spPr bwMode="auto">
          <a:xfrm>
            <a:off x="1162829" y="256170"/>
            <a:ext cx="11026023" cy="1026177"/>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a:r>
              <a:rPr lang="en-US" sz="1765" dirty="0">
                <a:gradFill>
                  <a:gsLst>
                    <a:gs pos="37168">
                      <a:srgbClr val="FFFFFF"/>
                    </a:gs>
                    <a:gs pos="57000">
                      <a:srgbClr val="FFFFFF"/>
                    </a:gs>
                  </a:gsLst>
                  <a:lin ang="5400000" scaled="0"/>
                </a:gradFill>
              </a:rPr>
              <a:t>Assess your SQL workload with best practices in the cloud</a:t>
            </a:r>
          </a:p>
        </p:txBody>
      </p:sp>
      <p:sp>
        <p:nvSpPr>
          <p:cNvPr id="74" name="Rectangle 73"/>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75" name="Rectangle 74"/>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76" name="Rectangle 75"/>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77" name="Rectangle 76"/>
          <p:cNvSpPr/>
          <p:nvPr/>
        </p:nvSpPr>
        <p:spPr bwMode="auto">
          <a:xfrm>
            <a:off x="1" y="1863852"/>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4602">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Management </a:t>
            </a:r>
            <a:endParaRPr lang="en-US" sz="1568" spc="-20" dirty="0">
              <a:gradFill>
                <a:gsLst>
                  <a:gs pos="6460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78" name="Rectangle 77"/>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
        <p:nvSpPr>
          <p:cNvPr id="194" name="TextBox 193"/>
          <p:cNvSpPr txBox="1"/>
          <p:nvPr/>
        </p:nvSpPr>
        <p:spPr>
          <a:xfrm>
            <a:off x="3960096" y="1991722"/>
            <a:ext cx="5247764" cy="717140"/>
          </a:xfrm>
          <a:prstGeom prst="rect">
            <a:avLst/>
          </a:prstGeom>
          <a:solidFill>
            <a:schemeClr val="accent3"/>
          </a:solidFill>
        </p:spPr>
        <p:txBody>
          <a:bodyPr wrap="square" lIns="89627" tIns="89627" rIns="0" bIns="89627" rtlCol="0">
            <a:noAutofit/>
          </a:bodyPr>
          <a:lstStyle/>
          <a:p>
            <a:pPr defTabSz="914206">
              <a:lnSpc>
                <a:spcPct val="90000"/>
              </a:lnSpc>
              <a:spcAft>
                <a:spcPts val="588"/>
              </a:spcAft>
            </a:pPr>
            <a:endParaRPr lang="en-US" sz="1200" dirty="0">
              <a:gradFill>
                <a:gsLst>
                  <a:gs pos="17219">
                    <a:srgbClr val="FFFFFF"/>
                  </a:gs>
                  <a:gs pos="32743">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195" name="Group 194"/>
          <p:cNvGrpSpPr/>
          <p:nvPr/>
        </p:nvGrpSpPr>
        <p:grpSpPr>
          <a:xfrm>
            <a:off x="4018807" y="1988670"/>
            <a:ext cx="4783332" cy="717140"/>
            <a:chOff x="1312969" y="2043437"/>
            <a:chExt cx="4879249" cy="731520"/>
          </a:xfrm>
        </p:grpSpPr>
        <p:grpSp>
          <p:nvGrpSpPr>
            <p:cNvPr id="196" name="Group 195"/>
            <p:cNvGrpSpPr/>
            <p:nvPr/>
          </p:nvGrpSpPr>
          <p:grpSpPr>
            <a:xfrm>
              <a:off x="1312969" y="2043437"/>
              <a:ext cx="4265225" cy="731520"/>
              <a:chOff x="1312969" y="2043437"/>
              <a:chExt cx="4265225" cy="731520"/>
            </a:xfrm>
          </p:grpSpPr>
          <p:grpSp>
            <p:nvGrpSpPr>
              <p:cNvPr id="200" name="Group 199"/>
              <p:cNvGrpSpPr/>
              <p:nvPr/>
            </p:nvGrpSpPr>
            <p:grpSpPr>
              <a:xfrm>
                <a:off x="2854159" y="2250620"/>
                <a:ext cx="2724035" cy="292608"/>
                <a:chOff x="2854159" y="2250620"/>
                <a:chExt cx="2724035" cy="292608"/>
              </a:xfrm>
            </p:grpSpPr>
            <p:sp>
              <p:nvSpPr>
                <p:cNvPr id="202" name="Freeform 109"/>
                <p:cNvSpPr>
                  <a:spLocks noChangeAspect="1" noEditPoints="1"/>
                </p:cNvSpPr>
                <p:nvPr/>
              </p:nvSpPr>
              <p:spPr bwMode="auto">
                <a:xfrm>
                  <a:off x="5241347" y="2258496"/>
                  <a:ext cx="336847" cy="276856"/>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896191"/>
                  <a:endParaRPr lang="en-US" sz="1765">
                    <a:solidFill>
                      <a:srgbClr val="FFFFFF"/>
                    </a:solidFill>
                  </a:endParaRPr>
                </a:p>
              </p:txBody>
            </p:sp>
            <p:sp>
              <p:nvSpPr>
                <p:cNvPr id="203" name="Freeform 6"/>
                <p:cNvSpPr>
                  <a:spLocks noChangeAspect="1" noEditPoints="1"/>
                </p:cNvSpPr>
                <p:nvPr/>
              </p:nvSpPr>
              <p:spPr bwMode="auto">
                <a:xfrm>
                  <a:off x="4664338" y="2252623"/>
                  <a:ext cx="354195" cy="288602"/>
                </a:xfrm>
                <a:custGeom>
                  <a:avLst/>
                  <a:gdLst>
                    <a:gd name="T0" fmla="*/ 6 w 103"/>
                    <a:gd name="T1" fmla="*/ 13 h 84"/>
                    <a:gd name="T2" fmla="*/ 6 w 103"/>
                    <a:gd name="T3" fmla="*/ 78 h 84"/>
                    <a:gd name="T4" fmla="*/ 96 w 103"/>
                    <a:gd name="T5" fmla="*/ 78 h 84"/>
                    <a:gd name="T6" fmla="*/ 96 w 103"/>
                    <a:gd name="T7" fmla="*/ 13 h 84"/>
                    <a:gd name="T8" fmla="*/ 6 w 103"/>
                    <a:gd name="T9" fmla="*/ 13 h 84"/>
                    <a:gd name="T10" fmla="*/ 103 w 103"/>
                    <a:gd name="T11" fmla="*/ 0 h 84"/>
                    <a:gd name="T12" fmla="*/ 103 w 103"/>
                    <a:gd name="T13" fmla="*/ 84 h 84"/>
                    <a:gd name="T14" fmla="*/ 0 w 103"/>
                    <a:gd name="T15" fmla="*/ 84 h 84"/>
                    <a:gd name="T16" fmla="*/ 0 w 103"/>
                    <a:gd name="T17" fmla="*/ 0 h 84"/>
                    <a:gd name="T18" fmla="*/ 103 w 103"/>
                    <a:gd name="T19" fmla="*/ 0 h 84"/>
                    <a:gd name="T20" fmla="*/ 14 w 103"/>
                    <a:gd name="T21" fmla="*/ 26 h 84"/>
                    <a:gd name="T22" fmla="*/ 89 w 103"/>
                    <a:gd name="T23" fmla="*/ 26 h 84"/>
                    <a:gd name="T24" fmla="*/ 89 w 103"/>
                    <a:gd name="T25" fmla="*/ 35 h 84"/>
                    <a:gd name="T26" fmla="*/ 14 w 103"/>
                    <a:gd name="T27" fmla="*/ 35 h 84"/>
                    <a:gd name="T28" fmla="*/ 14 w 103"/>
                    <a:gd name="T29" fmla="*/ 26 h 84"/>
                    <a:gd name="T30" fmla="*/ 14 w 103"/>
                    <a:gd name="T31" fmla="*/ 26 h 84"/>
                    <a:gd name="T32" fmla="*/ 14 w 103"/>
                    <a:gd name="T33" fmla="*/ 44 h 84"/>
                    <a:gd name="T34" fmla="*/ 89 w 103"/>
                    <a:gd name="T35" fmla="*/ 44 h 84"/>
                    <a:gd name="T36" fmla="*/ 89 w 103"/>
                    <a:gd name="T37" fmla="*/ 53 h 84"/>
                    <a:gd name="T38" fmla="*/ 14 w 103"/>
                    <a:gd name="T39" fmla="*/ 53 h 84"/>
                    <a:gd name="T40" fmla="*/ 14 w 103"/>
                    <a:gd name="T41" fmla="*/ 44 h 84"/>
                    <a:gd name="T42" fmla="*/ 14 w 103"/>
                    <a:gd name="T43" fmla="*/ 44 h 84"/>
                    <a:gd name="T44" fmla="*/ 14 w 103"/>
                    <a:gd name="T45" fmla="*/ 62 h 84"/>
                    <a:gd name="T46" fmla="*/ 89 w 103"/>
                    <a:gd name="T47" fmla="*/ 62 h 84"/>
                    <a:gd name="T48" fmla="*/ 89 w 103"/>
                    <a:gd name="T49" fmla="*/ 71 h 84"/>
                    <a:gd name="T50" fmla="*/ 14 w 103"/>
                    <a:gd name="T51" fmla="*/ 71 h 84"/>
                    <a:gd name="T52" fmla="*/ 14 w 103"/>
                    <a:gd name="T53" fmla="*/ 62 h 84"/>
                    <a:gd name="T54" fmla="*/ 14 w 103"/>
                    <a:gd name="T55"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84">
                      <a:moveTo>
                        <a:pt x="6" y="13"/>
                      </a:moveTo>
                      <a:cubicBezTo>
                        <a:pt x="6" y="78"/>
                        <a:pt x="6" y="78"/>
                        <a:pt x="6" y="78"/>
                      </a:cubicBezTo>
                      <a:cubicBezTo>
                        <a:pt x="96" y="78"/>
                        <a:pt x="96" y="78"/>
                        <a:pt x="96" y="78"/>
                      </a:cubicBezTo>
                      <a:cubicBezTo>
                        <a:pt x="96" y="13"/>
                        <a:pt x="96" y="13"/>
                        <a:pt x="96" y="13"/>
                      </a:cubicBezTo>
                      <a:cubicBezTo>
                        <a:pt x="64" y="13"/>
                        <a:pt x="25" y="13"/>
                        <a:pt x="6" y="13"/>
                      </a:cubicBezTo>
                      <a:close/>
                      <a:moveTo>
                        <a:pt x="103" y="0"/>
                      </a:moveTo>
                      <a:cubicBezTo>
                        <a:pt x="103" y="84"/>
                        <a:pt x="103" y="84"/>
                        <a:pt x="103" y="84"/>
                      </a:cubicBezTo>
                      <a:cubicBezTo>
                        <a:pt x="0" y="84"/>
                        <a:pt x="0" y="84"/>
                        <a:pt x="0" y="84"/>
                      </a:cubicBezTo>
                      <a:cubicBezTo>
                        <a:pt x="0" y="0"/>
                        <a:pt x="0" y="0"/>
                        <a:pt x="0" y="0"/>
                      </a:cubicBezTo>
                      <a:cubicBezTo>
                        <a:pt x="42" y="0"/>
                        <a:pt x="77" y="0"/>
                        <a:pt x="103" y="0"/>
                      </a:cubicBezTo>
                      <a:close/>
                      <a:moveTo>
                        <a:pt x="14" y="26"/>
                      </a:moveTo>
                      <a:cubicBezTo>
                        <a:pt x="89" y="26"/>
                        <a:pt x="89" y="26"/>
                        <a:pt x="89" y="26"/>
                      </a:cubicBezTo>
                      <a:cubicBezTo>
                        <a:pt x="89" y="35"/>
                        <a:pt x="89" y="35"/>
                        <a:pt x="89" y="35"/>
                      </a:cubicBezTo>
                      <a:cubicBezTo>
                        <a:pt x="14" y="35"/>
                        <a:pt x="14" y="35"/>
                        <a:pt x="14" y="35"/>
                      </a:cubicBezTo>
                      <a:cubicBezTo>
                        <a:pt x="14" y="26"/>
                        <a:pt x="14" y="26"/>
                        <a:pt x="14" y="26"/>
                      </a:cubicBezTo>
                      <a:cubicBezTo>
                        <a:pt x="14" y="26"/>
                        <a:pt x="14" y="26"/>
                        <a:pt x="14" y="26"/>
                      </a:cubicBezTo>
                      <a:close/>
                      <a:moveTo>
                        <a:pt x="14" y="44"/>
                      </a:moveTo>
                      <a:cubicBezTo>
                        <a:pt x="89" y="44"/>
                        <a:pt x="89" y="44"/>
                        <a:pt x="89" y="44"/>
                      </a:cubicBezTo>
                      <a:cubicBezTo>
                        <a:pt x="89" y="53"/>
                        <a:pt x="89" y="53"/>
                        <a:pt x="89" y="53"/>
                      </a:cubicBezTo>
                      <a:cubicBezTo>
                        <a:pt x="14" y="53"/>
                        <a:pt x="14" y="53"/>
                        <a:pt x="14" y="53"/>
                      </a:cubicBezTo>
                      <a:cubicBezTo>
                        <a:pt x="14" y="44"/>
                        <a:pt x="14" y="44"/>
                        <a:pt x="14" y="44"/>
                      </a:cubicBezTo>
                      <a:cubicBezTo>
                        <a:pt x="14" y="44"/>
                        <a:pt x="14" y="44"/>
                        <a:pt x="14" y="44"/>
                      </a:cubicBezTo>
                      <a:close/>
                      <a:moveTo>
                        <a:pt x="14" y="62"/>
                      </a:moveTo>
                      <a:cubicBezTo>
                        <a:pt x="89" y="62"/>
                        <a:pt x="89" y="62"/>
                        <a:pt x="89" y="62"/>
                      </a:cubicBezTo>
                      <a:cubicBezTo>
                        <a:pt x="89" y="71"/>
                        <a:pt x="89" y="71"/>
                        <a:pt x="89" y="71"/>
                      </a:cubicBezTo>
                      <a:cubicBezTo>
                        <a:pt x="14" y="71"/>
                        <a:pt x="14" y="71"/>
                        <a:pt x="14" y="71"/>
                      </a:cubicBezTo>
                      <a:cubicBezTo>
                        <a:pt x="14" y="62"/>
                        <a:pt x="14" y="62"/>
                        <a:pt x="14" y="62"/>
                      </a:cubicBezTo>
                      <a:cubicBezTo>
                        <a:pt x="14" y="62"/>
                        <a:pt x="14" y="62"/>
                        <a:pt x="14" y="62"/>
                      </a:cubicBezTo>
                      <a:close/>
                    </a:path>
                  </a:pathLst>
                </a:custGeom>
                <a:solidFill>
                  <a:schemeClr val="bg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2" fontAlgn="base">
                    <a:lnSpc>
                      <a:spcPct val="90000"/>
                    </a:lnSpc>
                    <a:spcBef>
                      <a:spcPct val="0"/>
                    </a:spcBef>
                    <a:spcAft>
                      <a:spcPct val="0"/>
                    </a:spcAft>
                  </a:pPr>
                  <a:endParaRPr lang="en-US" sz="980">
                    <a:gradFill>
                      <a:gsLst>
                        <a:gs pos="97345">
                          <a:srgbClr val="FFFFFF"/>
                        </a:gs>
                        <a:gs pos="84071">
                          <a:srgbClr val="FFFFFF"/>
                        </a:gs>
                      </a:gsLst>
                      <a:lin ang="5400000" scaled="0"/>
                    </a:gradFill>
                  </a:endParaRPr>
                </a:p>
              </p:txBody>
            </p:sp>
            <p:grpSp>
              <p:nvGrpSpPr>
                <p:cNvPr id="204" name="Group 203"/>
                <p:cNvGrpSpPr/>
                <p:nvPr/>
              </p:nvGrpSpPr>
              <p:grpSpPr>
                <a:xfrm>
                  <a:off x="2854159" y="2253917"/>
                  <a:ext cx="452634" cy="286014"/>
                  <a:chOff x="5508983" y="7444236"/>
                  <a:chExt cx="547687" cy="346076"/>
                </a:xfrm>
              </p:grpSpPr>
              <p:sp>
                <p:nvSpPr>
                  <p:cNvPr id="215" name="Freeform 9"/>
                  <p:cNvSpPr>
                    <a:spLocks/>
                  </p:cNvSpPr>
                  <p:nvPr/>
                </p:nvSpPr>
                <p:spPr bwMode="auto">
                  <a:xfrm>
                    <a:off x="5508983" y="7658549"/>
                    <a:ext cx="87312" cy="131763"/>
                  </a:xfrm>
                  <a:custGeom>
                    <a:avLst/>
                    <a:gdLst>
                      <a:gd name="T0" fmla="*/ 0 w 55"/>
                      <a:gd name="T1" fmla="*/ 0 h 83"/>
                      <a:gd name="T2" fmla="*/ 55 w 55"/>
                      <a:gd name="T3" fmla="*/ 0 h 83"/>
                      <a:gd name="T4" fmla="*/ 55 w 55"/>
                      <a:gd name="T5" fmla="*/ 83 h 83"/>
                      <a:gd name="T6" fmla="*/ 0 w 55"/>
                      <a:gd name="T7" fmla="*/ 83 h 83"/>
                      <a:gd name="T8" fmla="*/ 0 w 55"/>
                      <a:gd name="T9" fmla="*/ 0 h 83"/>
                      <a:gd name="T10" fmla="*/ 0 w 55"/>
                      <a:gd name="T11" fmla="*/ 0 h 83"/>
                      <a:gd name="T12" fmla="*/ 0 w 5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5" h="83">
                        <a:moveTo>
                          <a:pt x="0" y="0"/>
                        </a:moveTo>
                        <a:lnTo>
                          <a:pt x="55" y="0"/>
                        </a:lnTo>
                        <a:lnTo>
                          <a:pt x="55" y="83"/>
                        </a:lnTo>
                        <a:lnTo>
                          <a:pt x="0" y="83"/>
                        </a:lnTo>
                        <a:lnTo>
                          <a:pt x="0" y="0"/>
                        </a:lnTo>
                        <a:lnTo>
                          <a:pt x="0" y="0"/>
                        </a:lnTo>
                        <a:lnTo>
                          <a:pt x="0" y="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16" name="Freeform 10"/>
                  <p:cNvSpPr>
                    <a:spLocks/>
                  </p:cNvSpPr>
                  <p:nvPr/>
                </p:nvSpPr>
                <p:spPr bwMode="auto">
                  <a:xfrm>
                    <a:off x="5628045" y="7495036"/>
                    <a:ext cx="84137" cy="295275"/>
                  </a:xfrm>
                  <a:custGeom>
                    <a:avLst/>
                    <a:gdLst>
                      <a:gd name="T0" fmla="*/ 0 w 53"/>
                      <a:gd name="T1" fmla="*/ 186 h 186"/>
                      <a:gd name="T2" fmla="*/ 53 w 53"/>
                      <a:gd name="T3" fmla="*/ 186 h 186"/>
                      <a:gd name="T4" fmla="*/ 53 w 53"/>
                      <a:gd name="T5" fmla="*/ 0 h 186"/>
                      <a:gd name="T6" fmla="*/ 0 w 53"/>
                      <a:gd name="T7" fmla="*/ 0 h 186"/>
                      <a:gd name="T8" fmla="*/ 0 w 53"/>
                      <a:gd name="T9" fmla="*/ 186 h 186"/>
                      <a:gd name="T10" fmla="*/ 0 w 53"/>
                      <a:gd name="T11" fmla="*/ 186 h 186"/>
                      <a:gd name="T12" fmla="*/ 0 w 53"/>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53" h="186">
                        <a:moveTo>
                          <a:pt x="0" y="186"/>
                        </a:moveTo>
                        <a:lnTo>
                          <a:pt x="53" y="186"/>
                        </a:lnTo>
                        <a:lnTo>
                          <a:pt x="53" y="0"/>
                        </a:lnTo>
                        <a:lnTo>
                          <a:pt x="0" y="0"/>
                        </a:lnTo>
                        <a:lnTo>
                          <a:pt x="0" y="186"/>
                        </a:lnTo>
                        <a:lnTo>
                          <a:pt x="0" y="186"/>
                        </a:lnTo>
                        <a:lnTo>
                          <a:pt x="0" y="18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17" name="Freeform 11"/>
                  <p:cNvSpPr>
                    <a:spLocks/>
                  </p:cNvSpPr>
                  <p:nvPr/>
                </p:nvSpPr>
                <p:spPr bwMode="auto">
                  <a:xfrm>
                    <a:off x="5742345" y="7549011"/>
                    <a:ext cx="84137" cy="241300"/>
                  </a:xfrm>
                  <a:custGeom>
                    <a:avLst/>
                    <a:gdLst>
                      <a:gd name="T0" fmla="*/ 0 w 53"/>
                      <a:gd name="T1" fmla="*/ 152 h 152"/>
                      <a:gd name="T2" fmla="*/ 53 w 53"/>
                      <a:gd name="T3" fmla="*/ 152 h 152"/>
                      <a:gd name="T4" fmla="*/ 53 w 53"/>
                      <a:gd name="T5" fmla="*/ 0 h 152"/>
                      <a:gd name="T6" fmla="*/ 0 w 53"/>
                      <a:gd name="T7" fmla="*/ 0 h 152"/>
                      <a:gd name="T8" fmla="*/ 0 w 53"/>
                      <a:gd name="T9" fmla="*/ 152 h 152"/>
                      <a:gd name="T10" fmla="*/ 0 w 53"/>
                      <a:gd name="T11" fmla="*/ 152 h 152"/>
                      <a:gd name="T12" fmla="*/ 0 w 53"/>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53" h="152">
                        <a:moveTo>
                          <a:pt x="0" y="152"/>
                        </a:moveTo>
                        <a:lnTo>
                          <a:pt x="53" y="152"/>
                        </a:lnTo>
                        <a:lnTo>
                          <a:pt x="53" y="0"/>
                        </a:lnTo>
                        <a:lnTo>
                          <a:pt x="0" y="0"/>
                        </a:lnTo>
                        <a:lnTo>
                          <a:pt x="0" y="152"/>
                        </a:lnTo>
                        <a:lnTo>
                          <a:pt x="0" y="152"/>
                        </a:lnTo>
                        <a:lnTo>
                          <a:pt x="0" y="152"/>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18" name="Freeform 12"/>
                  <p:cNvSpPr>
                    <a:spLocks/>
                  </p:cNvSpPr>
                  <p:nvPr/>
                </p:nvSpPr>
                <p:spPr bwMode="auto">
                  <a:xfrm>
                    <a:off x="5853470" y="7709349"/>
                    <a:ext cx="87312" cy="80963"/>
                  </a:xfrm>
                  <a:custGeom>
                    <a:avLst/>
                    <a:gdLst>
                      <a:gd name="T0" fmla="*/ 0 w 55"/>
                      <a:gd name="T1" fmla="*/ 51 h 51"/>
                      <a:gd name="T2" fmla="*/ 55 w 55"/>
                      <a:gd name="T3" fmla="*/ 51 h 51"/>
                      <a:gd name="T4" fmla="*/ 55 w 55"/>
                      <a:gd name="T5" fmla="*/ 0 h 51"/>
                      <a:gd name="T6" fmla="*/ 0 w 55"/>
                      <a:gd name="T7" fmla="*/ 0 h 51"/>
                      <a:gd name="T8" fmla="*/ 0 w 55"/>
                      <a:gd name="T9" fmla="*/ 51 h 51"/>
                      <a:gd name="T10" fmla="*/ 0 w 55"/>
                      <a:gd name="T11" fmla="*/ 51 h 51"/>
                      <a:gd name="T12" fmla="*/ 0 w 5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5" h="51">
                        <a:moveTo>
                          <a:pt x="0" y="51"/>
                        </a:moveTo>
                        <a:lnTo>
                          <a:pt x="55" y="51"/>
                        </a:lnTo>
                        <a:lnTo>
                          <a:pt x="55" y="0"/>
                        </a:lnTo>
                        <a:lnTo>
                          <a:pt x="0" y="0"/>
                        </a:lnTo>
                        <a:lnTo>
                          <a:pt x="0" y="51"/>
                        </a:lnTo>
                        <a:lnTo>
                          <a:pt x="0" y="51"/>
                        </a:lnTo>
                        <a:lnTo>
                          <a:pt x="0" y="51"/>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19" name="Freeform 13"/>
                  <p:cNvSpPr>
                    <a:spLocks/>
                  </p:cNvSpPr>
                  <p:nvPr/>
                </p:nvSpPr>
                <p:spPr bwMode="auto">
                  <a:xfrm>
                    <a:off x="5972533" y="7444236"/>
                    <a:ext cx="84137" cy="346075"/>
                  </a:xfrm>
                  <a:custGeom>
                    <a:avLst/>
                    <a:gdLst>
                      <a:gd name="T0" fmla="*/ 0 w 53"/>
                      <a:gd name="T1" fmla="*/ 218 h 218"/>
                      <a:gd name="T2" fmla="*/ 53 w 53"/>
                      <a:gd name="T3" fmla="*/ 218 h 218"/>
                      <a:gd name="T4" fmla="*/ 53 w 53"/>
                      <a:gd name="T5" fmla="*/ 0 h 218"/>
                      <a:gd name="T6" fmla="*/ 0 w 53"/>
                      <a:gd name="T7" fmla="*/ 0 h 218"/>
                      <a:gd name="T8" fmla="*/ 0 w 53"/>
                      <a:gd name="T9" fmla="*/ 218 h 218"/>
                      <a:gd name="T10" fmla="*/ 0 w 53"/>
                      <a:gd name="T11" fmla="*/ 218 h 218"/>
                      <a:gd name="T12" fmla="*/ 0 w 53"/>
                      <a:gd name="T13" fmla="*/ 218 h 218"/>
                    </a:gdLst>
                    <a:ahLst/>
                    <a:cxnLst>
                      <a:cxn ang="0">
                        <a:pos x="T0" y="T1"/>
                      </a:cxn>
                      <a:cxn ang="0">
                        <a:pos x="T2" y="T3"/>
                      </a:cxn>
                      <a:cxn ang="0">
                        <a:pos x="T4" y="T5"/>
                      </a:cxn>
                      <a:cxn ang="0">
                        <a:pos x="T6" y="T7"/>
                      </a:cxn>
                      <a:cxn ang="0">
                        <a:pos x="T8" y="T9"/>
                      </a:cxn>
                      <a:cxn ang="0">
                        <a:pos x="T10" y="T11"/>
                      </a:cxn>
                      <a:cxn ang="0">
                        <a:pos x="T12" y="T13"/>
                      </a:cxn>
                    </a:cxnLst>
                    <a:rect l="0" t="0" r="r" b="b"/>
                    <a:pathLst>
                      <a:path w="53" h="218">
                        <a:moveTo>
                          <a:pt x="0" y="218"/>
                        </a:moveTo>
                        <a:lnTo>
                          <a:pt x="53" y="218"/>
                        </a:lnTo>
                        <a:lnTo>
                          <a:pt x="53" y="0"/>
                        </a:lnTo>
                        <a:lnTo>
                          <a:pt x="0" y="0"/>
                        </a:lnTo>
                        <a:lnTo>
                          <a:pt x="0" y="218"/>
                        </a:lnTo>
                        <a:lnTo>
                          <a:pt x="0" y="218"/>
                        </a:lnTo>
                        <a:lnTo>
                          <a:pt x="0" y="218"/>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205" name="Group 204"/>
                <p:cNvGrpSpPr/>
                <p:nvPr/>
              </p:nvGrpSpPr>
              <p:grpSpPr>
                <a:xfrm>
                  <a:off x="3529607" y="2250620"/>
                  <a:ext cx="301752" cy="292608"/>
                  <a:chOff x="6341768" y="1610449"/>
                  <a:chExt cx="301752" cy="292608"/>
                </a:xfrm>
              </p:grpSpPr>
              <p:sp>
                <p:nvSpPr>
                  <p:cNvPr id="213" name="Freeform 17"/>
                  <p:cNvSpPr>
                    <a:spLocks/>
                  </p:cNvSpPr>
                  <p:nvPr/>
                </p:nvSpPr>
                <p:spPr bwMode="auto">
                  <a:xfrm>
                    <a:off x="6341768" y="1636229"/>
                    <a:ext cx="270265" cy="266828"/>
                  </a:xfrm>
                  <a:custGeom>
                    <a:avLst/>
                    <a:gdLst>
                      <a:gd name="T0" fmla="*/ 42 w 85"/>
                      <a:gd name="T1" fmla="*/ 42 h 85"/>
                      <a:gd name="T2" fmla="*/ 85 w 85"/>
                      <a:gd name="T3" fmla="*/ 42 h 85"/>
                      <a:gd name="T4" fmla="*/ 42 w 85"/>
                      <a:gd name="T5" fmla="*/ 85 h 85"/>
                      <a:gd name="T6" fmla="*/ 0 w 85"/>
                      <a:gd name="T7" fmla="*/ 42 h 85"/>
                      <a:gd name="T8" fmla="*/ 42 w 85"/>
                      <a:gd name="T9" fmla="*/ 0 h 85"/>
                      <a:gd name="T10" fmla="*/ 42 w 85"/>
                      <a:gd name="T11" fmla="*/ 42 h 85"/>
                      <a:gd name="T12" fmla="*/ 42 w 85"/>
                      <a:gd name="T13" fmla="*/ 42 h 85"/>
                    </a:gdLst>
                    <a:ahLst/>
                    <a:cxnLst>
                      <a:cxn ang="0">
                        <a:pos x="T0" y="T1"/>
                      </a:cxn>
                      <a:cxn ang="0">
                        <a:pos x="T2" y="T3"/>
                      </a:cxn>
                      <a:cxn ang="0">
                        <a:pos x="T4" y="T5"/>
                      </a:cxn>
                      <a:cxn ang="0">
                        <a:pos x="T6" y="T7"/>
                      </a:cxn>
                      <a:cxn ang="0">
                        <a:pos x="T8" y="T9"/>
                      </a:cxn>
                      <a:cxn ang="0">
                        <a:pos x="T10" y="T11"/>
                      </a:cxn>
                      <a:cxn ang="0">
                        <a:pos x="T12" y="T13"/>
                      </a:cxn>
                    </a:cxnLst>
                    <a:rect l="0" t="0" r="r" b="b"/>
                    <a:pathLst>
                      <a:path w="85" h="85">
                        <a:moveTo>
                          <a:pt x="42" y="42"/>
                        </a:moveTo>
                        <a:cubicBezTo>
                          <a:pt x="85" y="42"/>
                          <a:pt x="85" y="42"/>
                          <a:pt x="85" y="42"/>
                        </a:cubicBezTo>
                        <a:cubicBezTo>
                          <a:pt x="85" y="66"/>
                          <a:pt x="66" y="85"/>
                          <a:pt x="42" y="85"/>
                        </a:cubicBezTo>
                        <a:cubicBezTo>
                          <a:pt x="20" y="85"/>
                          <a:pt x="0" y="66"/>
                          <a:pt x="0" y="42"/>
                        </a:cubicBezTo>
                        <a:cubicBezTo>
                          <a:pt x="0" y="19"/>
                          <a:pt x="20" y="0"/>
                          <a:pt x="42" y="0"/>
                        </a:cubicBezTo>
                        <a:cubicBezTo>
                          <a:pt x="42" y="42"/>
                          <a:pt x="42" y="42"/>
                          <a:pt x="42" y="42"/>
                        </a:cubicBezTo>
                        <a:cubicBezTo>
                          <a:pt x="42" y="42"/>
                          <a:pt x="42" y="42"/>
                          <a:pt x="42"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14" name="Freeform 18"/>
                  <p:cNvSpPr>
                    <a:spLocks/>
                  </p:cNvSpPr>
                  <p:nvPr/>
                </p:nvSpPr>
                <p:spPr bwMode="auto">
                  <a:xfrm>
                    <a:off x="6507076" y="1610449"/>
                    <a:ext cx="136444" cy="135348"/>
                  </a:xfrm>
                  <a:custGeom>
                    <a:avLst/>
                    <a:gdLst>
                      <a:gd name="T0" fmla="*/ 0 w 43"/>
                      <a:gd name="T1" fmla="*/ 43 h 43"/>
                      <a:gd name="T2" fmla="*/ 43 w 43"/>
                      <a:gd name="T3" fmla="*/ 43 h 43"/>
                      <a:gd name="T4" fmla="*/ 0 w 43"/>
                      <a:gd name="T5" fmla="*/ 0 h 43"/>
                      <a:gd name="T6" fmla="*/ 0 w 43"/>
                      <a:gd name="T7" fmla="*/ 43 h 43"/>
                      <a:gd name="T8" fmla="*/ 0 w 43"/>
                      <a:gd name="T9" fmla="*/ 43 h 43"/>
                    </a:gdLst>
                    <a:ahLst/>
                    <a:cxnLst>
                      <a:cxn ang="0">
                        <a:pos x="T0" y="T1"/>
                      </a:cxn>
                      <a:cxn ang="0">
                        <a:pos x="T2" y="T3"/>
                      </a:cxn>
                      <a:cxn ang="0">
                        <a:pos x="T4" y="T5"/>
                      </a:cxn>
                      <a:cxn ang="0">
                        <a:pos x="T6" y="T7"/>
                      </a:cxn>
                      <a:cxn ang="0">
                        <a:pos x="T8" y="T9"/>
                      </a:cxn>
                    </a:cxnLst>
                    <a:rect l="0" t="0" r="r" b="b"/>
                    <a:pathLst>
                      <a:path w="43" h="43">
                        <a:moveTo>
                          <a:pt x="0" y="43"/>
                        </a:moveTo>
                        <a:cubicBezTo>
                          <a:pt x="43" y="43"/>
                          <a:pt x="43" y="43"/>
                          <a:pt x="43" y="43"/>
                        </a:cubicBezTo>
                        <a:cubicBezTo>
                          <a:pt x="43" y="20"/>
                          <a:pt x="24" y="0"/>
                          <a:pt x="0" y="0"/>
                        </a:cubicBezTo>
                        <a:cubicBezTo>
                          <a:pt x="0" y="43"/>
                          <a:pt x="0" y="43"/>
                          <a:pt x="0" y="43"/>
                        </a:cubicBezTo>
                        <a:cubicBezTo>
                          <a:pt x="0" y="43"/>
                          <a:pt x="0" y="43"/>
                          <a:pt x="0"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nvGrpSpPr>
                <p:cNvPr id="206" name="Group 205"/>
                <p:cNvGrpSpPr/>
                <p:nvPr/>
              </p:nvGrpSpPr>
              <p:grpSpPr>
                <a:xfrm>
                  <a:off x="4054173" y="2282624"/>
                  <a:ext cx="387351" cy="228600"/>
                  <a:chOff x="6797771" y="7529995"/>
                  <a:chExt cx="387351" cy="228600"/>
                </a:xfrm>
              </p:grpSpPr>
              <p:sp>
                <p:nvSpPr>
                  <p:cNvPr id="207" name="Freeform 22"/>
                  <p:cNvSpPr>
                    <a:spLocks/>
                  </p:cNvSpPr>
                  <p:nvPr/>
                </p:nvSpPr>
                <p:spPr bwMode="auto">
                  <a:xfrm>
                    <a:off x="6872384" y="7714145"/>
                    <a:ext cx="238125" cy="44450"/>
                  </a:xfrm>
                  <a:custGeom>
                    <a:avLst/>
                    <a:gdLst>
                      <a:gd name="T0" fmla="*/ 76 w 76"/>
                      <a:gd name="T1" fmla="*/ 14 h 14"/>
                      <a:gd name="T2" fmla="*/ 0 w 76"/>
                      <a:gd name="T3" fmla="*/ 14 h 14"/>
                      <a:gd name="T4" fmla="*/ 0 w 76"/>
                      <a:gd name="T5" fmla="*/ 0 h 14"/>
                      <a:gd name="T6" fmla="*/ 76 w 76"/>
                      <a:gd name="T7" fmla="*/ 0 h 14"/>
                      <a:gd name="T8" fmla="*/ 76 w 76"/>
                      <a:gd name="T9" fmla="*/ 14 h 14"/>
                      <a:gd name="T10" fmla="*/ 76 w 76"/>
                      <a:gd name="T11" fmla="*/ 14 h 14"/>
                    </a:gdLst>
                    <a:ahLst/>
                    <a:cxnLst>
                      <a:cxn ang="0">
                        <a:pos x="T0" y="T1"/>
                      </a:cxn>
                      <a:cxn ang="0">
                        <a:pos x="T2" y="T3"/>
                      </a:cxn>
                      <a:cxn ang="0">
                        <a:pos x="T4" y="T5"/>
                      </a:cxn>
                      <a:cxn ang="0">
                        <a:pos x="T6" y="T7"/>
                      </a:cxn>
                      <a:cxn ang="0">
                        <a:pos x="T8" y="T9"/>
                      </a:cxn>
                      <a:cxn ang="0">
                        <a:pos x="T10" y="T11"/>
                      </a:cxn>
                    </a:cxnLst>
                    <a:rect l="0" t="0" r="r" b="b"/>
                    <a:pathLst>
                      <a:path w="76" h="14">
                        <a:moveTo>
                          <a:pt x="76" y="14"/>
                        </a:moveTo>
                        <a:cubicBezTo>
                          <a:pt x="0" y="14"/>
                          <a:pt x="0" y="14"/>
                          <a:pt x="0" y="14"/>
                        </a:cubicBezTo>
                        <a:cubicBezTo>
                          <a:pt x="0" y="0"/>
                          <a:pt x="0" y="0"/>
                          <a:pt x="0" y="0"/>
                        </a:cubicBezTo>
                        <a:cubicBezTo>
                          <a:pt x="76" y="0"/>
                          <a:pt x="76" y="0"/>
                          <a:pt x="76" y="0"/>
                        </a:cubicBezTo>
                        <a:cubicBezTo>
                          <a:pt x="76" y="14"/>
                          <a:pt x="76" y="14"/>
                          <a:pt x="76" y="14"/>
                        </a:cubicBezTo>
                        <a:cubicBezTo>
                          <a:pt x="76" y="14"/>
                          <a:pt x="76" y="14"/>
                          <a:pt x="76"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08" name="Freeform 23"/>
                  <p:cNvSpPr>
                    <a:spLocks/>
                  </p:cNvSpPr>
                  <p:nvPr/>
                </p:nvSpPr>
                <p:spPr bwMode="auto">
                  <a:xfrm>
                    <a:off x="6872384" y="7529995"/>
                    <a:ext cx="271463" cy="44450"/>
                  </a:xfrm>
                  <a:custGeom>
                    <a:avLst/>
                    <a:gdLst>
                      <a:gd name="T0" fmla="*/ 87 w 87"/>
                      <a:gd name="T1" fmla="*/ 0 h 14"/>
                      <a:gd name="T2" fmla="*/ 0 w 87"/>
                      <a:gd name="T3" fmla="*/ 0 h 14"/>
                      <a:gd name="T4" fmla="*/ 0 w 87"/>
                      <a:gd name="T5" fmla="*/ 14 h 14"/>
                      <a:gd name="T6" fmla="*/ 87 w 87"/>
                      <a:gd name="T7" fmla="*/ 14 h 14"/>
                      <a:gd name="T8" fmla="*/ 87 w 87"/>
                      <a:gd name="T9" fmla="*/ 0 h 14"/>
                      <a:gd name="T10" fmla="*/ 87 w 87"/>
                      <a:gd name="T11" fmla="*/ 0 h 14"/>
                    </a:gdLst>
                    <a:ahLst/>
                    <a:cxnLst>
                      <a:cxn ang="0">
                        <a:pos x="T0" y="T1"/>
                      </a:cxn>
                      <a:cxn ang="0">
                        <a:pos x="T2" y="T3"/>
                      </a:cxn>
                      <a:cxn ang="0">
                        <a:pos x="T4" y="T5"/>
                      </a:cxn>
                      <a:cxn ang="0">
                        <a:pos x="T6" y="T7"/>
                      </a:cxn>
                      <a:cxn ang="0">
                        <a:pos x="T8" y="T9"/>
                      </a:cxn>
                      <a:cxn ang="0">
                        <a:pos x="T10" y="T11"/>
                      </a:cxn>
                    </a:cxnLst>
                    <a:rect l="0" t="0" r="r" b="b"/>
                    <a:pathLst>
                      <a:path w="87" h="14">
                        <a:moveTo>
                          <a:pt x="87" y="0"/>
                        </a:moveTo>
                        <a:cubicBezTo>
                          <a:pt x="0" y="0"/>
                          <a:pt x="0" y="0"/>
                          <a:pt x="0" y="0"/>
                        </a:cubicBezTo>
                        <a:cubicBezTo>
                          <a:pt x="0" y="14"/>
                          <a:pt x="0" y="14"/>
                          <a:pt x="0" y="14"/>
                        </a:cubicBezTo>
                        <a:cubicBezTo>
                          <a:pt x="87" y="14"/>
                          <a:pt x="87" y="14"/>
                          <a:pt x="87" y="14"/>
                        </a:cubicBezTo>
                        <a:cubicBezTo>
                          <a:pt x="87" y="0"/>
                          <a:pt x="87" y="0"/>
                          <a:pt x="87" y="0"/>
                        </a:cubicBezTo>
                        <a:cubicBezTo>
                          <a:pt x="87" y="0"/>
                          <a:pt x="87" y="0"/>
                          <a:pt x="8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09" name="Freeform 24"/>
                  <p:cNvSpPr>
                    <a:spLocks/>
                  </p:cNvSpPr>
                  <p:nvPr/>
                </p:nvSpPr>
                <p:spPr bwMode="auto">
                  <a:xfrm>
                    <a:off x="6872384" y="7618895"/>
                    <a:ext cx="312738" cy="50800"/>
                  </a:xfrm>
                  <a:custGeom>
                    <a:avLst/>
                    <a:gdLst>
                      <a:gd name="T0" fmla="*/ 100 w 100"/>
                      <a:gd name="T1" fmla="*/ 0 h 16"/>
                      <a:gd name="T2" fmla="*/ 0 w 100"/>
                      <a:gd name="T3" fmla="*/ 0 h 16"/>
                      <a:gd name="T4" fmla="*/ 0 w 100"/>
                      <a:gd name="T5" fmla="*/ 16 h 16"/>
                      <a:gd name="T6" fmla="*/ 100 w 100"/>
                      <a:gd name="T7" fmla="*/ 16 h 16"/>
                      <a:gd name="T8" fmla="*/ 100 w 100"/>
                      <a:gd name="T9" fmla="*/ 0 h 16"/>
                      <a:gd name="T10" fmla="*/ 100 w 100"/>
                      <a:gd name="T11" fmla="*/ 0 h 16"/>
                    </a:gdLst>
                    <a:ahLst/>
                    <a:cxnLst>
                      <a:cxn ang="0">
                        <a:pos x="T0" y="T1"/>
                      </a:cxn>
                      <a:cxn ang="0">
                        <a:pos x="T2" y="T3"/>
                      </a:cxn>
                      <a:cxn ang="0">
                        <a:pos x="T4" y="T5"/>
                      </a:cxn>
                      <a:cxn ang="0">
                        <a:pos x="T6" y="T7"/>
                      </a:cxn>
                      <a:cxn ang="0">
                        <a:pos x="T8" y="T9"/>
                      </a:cxn>
                      <a:cxn ang="0">
                        <a:pos x="T10" y="T11"/>
                      </a:cxn>
                    </a:cxnLst>
                    <a:rect l="0" t="0" r="r" b="b"/>
                    <a:pathLst>
                      <a:path w="100" h="16">
                        <a:moveTo>
                          <a:pt x="100" y="0"/>
                        </a:moveTo>
                        <a:cubicBezTo>
                          <a:pt x="0" y="0"/>
                          <a:pt x="0" y="0"/>
                          <a:pt x="0" y="0"/>
                        </a:cubicBezTo>
                        <a:cubicBezTo>
                          <a:pt x="0" y="16"/>
                          <a:pt x="0" y="16"/>
                          <a:pt x="0" y="16"/>
                        </a:cubicBezTo>
                        <a:cubicBezTo>
                          <a:pt x="100" y="16"/>
                          <a:pt x="100" y="16"/>
                          <a:pt x="100" y="16"/>
                        </a:cubicBezTo>
                        <a:cubicBezTo>
                          <a:pt x="100" y="0"/>
                          <a:pt x="100" y="0"/>
                          <a:pt x="100" y="0"/>
                        </a:cubicBezTo>
                        <a:cubicBezTo>
                          <a:pt x="100" y="0"/>
                          <a:pt x="100" y="0"/>
                          <a:pt x="1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10" name="Freeform 25"/>
                  <p:cNvSpPr>
                    <a:spLocks/>
                  </p:cNvSpPr>
                  <p:nvPr/>
                </p:nvSpPr>
                <p:spPr bwMode="auto">
                  <a:xfrm>
                    <a:off x="6797771" y="7529995"/>
                    <a:ext cx="47625" cy="44450"/>
                  </a:xfrm>
                  <a:custGeom>
                    <a:avLst/>
                    <a:gdLst>
                      <a:gd name="T0" fmla="*/ 7 w 15"/>
                      <a:gd name="T1" fmla="*/ 14 h 14"/>
                      <a:gd name="T2" fmla="*/ 15 w 15"/>
                      <a:gd name="T3" fmla="*/ 6 h 14"/>
                      <a:gd name="T4" fmla="*/ 7 w 15"/>
                      <a:gd name="T5" fmla="*/ 0 h 14"/>
                      <a:gd name="T6" fmla="*/ 0 w 15"/>
                      <a:gd name="T7" fmla="*/ 6 h 14"/>
                      <a:gd name="T8" fmla="*/ 7 w 15"/>
                      <a:gd name="T9" fmla="*/ 14 h 14"/>
                    </a:gdLst>
                    <a:ahLst/>
                    <a:cxnLst>
                      <a:cxn ang="0">
                        <a:pos x="T0" y="T1"/>
                      </a:cxn>
                      <a:cxn ang="0">
                        <a:pos x="T2" y="T3"/>
                      </a:cxn>
                      <a:cxn ang="0">
                        <a:pos x="T4" y="T5"/>
                      </a:cxn>
                      <a:cxn ang="0">
                        <a:pos x="T6" y="T7"/>
                      </a:cxn>
                      <a:cxn ang="0">
                        <a:pos x="T8" y="T9"/>
                      </a:cxn>
                    </a:cxnLst>
                    <a:rect l="0" t="0" r="r" b="b"/>
                    <a:pathLst>
                      <a:path w="15" h="14">
                        <a:moveTo>
                          <a:pt x="7" y="14"/>
                        </a:moveTo>
                        <a:cubicBezTo>
                          <a:pt x="12" y="14"/>
                          <a:pt x="15" y="11"/>
                          <a:pt x="15" y="6"/>
                        </a:cubicBezTo>
                        <a:cubicBezTo>
                          <a:pt x="15" y="3"/>
                          <a:pt x="12" y="0"/>
                          <a:pt x="7" y="0"/>
                        </a:cubicBezTo>
                        <a:cubicBezTo>
                          <a:pt x="4" y="0"/>
                          <a:pt x="0" y="3"/>
                          <a:pt x="0" y="6"/>
                        </a:cubicBezTo>
                        <a:cubicBezTo>
                          <a:pt x="0" y="11"/>
                          <a:pt x="4" y="14"/>
                          <a:pt x="7"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11" name="Freeform 26"/>
                  <p:cNvSpPr>
                    <a:spLocks/>
                  </p:cNvSpPr>
                  <p:nvPr/>
                </p:nvSpPr>
                <p:spPr bwMode="auto">
                  <a:xfrm>
                    <a:off x="6797771" y="7618895"/>
                    <a:ext cx="47625" cy="50800"/>
                  </a:xfrm>
                  <a:custGeom>
                    <a:avLst/>
                    <a:gdLst>
                      <a:gd name="T0" fmla="*/ 7 w 15"/>
                      <a:gd name="T1" fmla="*/ 0 h 16"/>
                      <a:gd name="T2" fmla="*/ 0 w 15"/>
                      <a:gd name="T3" fmla="*/ 8 h 16"/>
                      <a:gd name="T4" fmla="*/ 7 w 15"/>
                      <a:gd name="T5" fmla="*/ 16 h 16"/>
                      <a:gd name="T6" fmla="*/ 15 w 15"/>
                      <a:gd name="T7" fmla="*/ 8 h 16"/>
                      <a:gd name="T8" fmla="*/ 7 w 15"/>
                      <a:gd name="T9" fmla="*/ 0 h 16"/>
                    </a:gdLst>
                    <a:ahLst/>
                    <a:cxnLst>
                      <a:cxn ang="0">
                        <a:pos x="T0" y="T1"/>
                      </a:cxn>
                      <a:cxn ang="0">
                        <a:pos x="T2" y="T3"/>
                      </a:cxn>
                      <a:cxn ang="0">
                        <a:pos x="T4" y="T5"/>
                      </a:cxn>
                      <a:cxn ang="0">
                        <a:pos x="T6" y="T7"/>
                      </a:cxn>
                      <a:cxn ang="0">
                        <a:pos x="T8" y="T9"/>
                      </a:cxn>
                    </a:cxnLst>
                    <a:rect l="0" t="0" r="r" b="b"/>
                    <a:pathLst>
                      <a:path w="15" h="16">
                        <a:moveTo>
                          <a:pt x="7" y="0"/>
                        </a:moveTo>
                        <a:cubicBezTo>
                          <a:pt x="4" y="0"/>
                          <a:pt x="0" y="3"/>
                          <a:pt x="0" y="8"/>
                        </a:cubicBezTo>
                        <a:cubicBezTo>
                          <a:pt x="0" y="13"/>
                          <a:pt x="4" y="16"/>
                          <a:pt x="7" y="16"/>
                        </a:cubicBezTo>
                        <a:cubicBezTo>
                          <a:pt x="12" y="16"/>
                          <a:pt x="15" y="13"/>
                          <a:pt x="15" y="8"/>
                        </a:cubicBezTo>
                        <a:cubicBezTo>
                          <a:pt x="15" y="3"/>
                          <a:pt x="12"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sp>
                <p:nvSpPr>
                  <p:cNvPr id="212" name="Freeform 27"/>
                  <p:cNvSpPr>
                    <a:spLocks/>
                  </p:cNvSpPr>
                  <p:nvPr/>
                </p:nvSpPr>
                <p:spPr bwMode="auto">
                  <a:xfrm>
                    <a:off x="6797771" y="7714145"/>
                    <a:ext cx="47625" cy="44450"/>
                  </a:xfrm>
                  <a:custGeom>
                    <a:avLst/>
                    <a:gdLst>
                      <a:gd name="T0" fmla="*/ 7 w 15"/>
                      <a:gd name="T1" fmla="*/ 0 h 14"/>
                      <a:gd name="T2" fmla="*/ 0 w 15"/>
                      <a:gd name="T3" fmla="*/ 7 h 14"/>
                      <a:gd name="T4" fmla="*/ 7 w 15"/>
                      <a:gd name="T5" fmla="*/ 14 h 14"/>
                      <a:gd name="T6" fmla="*/ 15 w 15"/>
                      <a:gd name="T7" fmla="*/ 7 h 14"/>
                      <a:gd name="T8" fmla="*/ 7 w 15"/>
                      <a:gd name="T9" fmla="*/ 0 h 14"/>
                    </a:gdLst>
                    <a:ahLst/>
                    <a:cxnLst>
                      <a:cxn ang="0">
                        <a:pos x="T0" y="T1"/>
                      </a:cxn>
                      <a:cxn ang="0">
                        <a:pos x="T2" y="T3"/>
                      </a:cxn>
                      <a:cxn ang="0">
                        <a:pos x="T4" y="T5"/>
                      </a:cxn>
                      <a:cxn ang="0">
                        <a:pos x="T6" y="T7"/>
                      </a:cxn>
                      <a:cxn ang="0">
                        <a:pos x="T8" y="T9"/>
                      </a:cxn>
                    </a:cxnLst>
                    <a:rect l="0" t="0" r="r" b="b"/>
                    <a:pathLst>
                      <a:path w="15" h="14">
                        <a:moveTo>
                          <a:pt x="7" y="0"/>
                        </a:moveTo>
                        <a:cubicBezTo>
                          <a:pt x="4" y="0"/>
                          <a:pt x="0" y="3"/>
                          <a:pt x="0" y="7"/>
                        </a:cubicBezTo>
                        <a:cubicBezTo>
                          <a:pt x="0" y="11"/>
                          <a:pt x="4" y="14"/>
                          <a:pt x="7" y="14"/>
                        </a:cubicBezTo>
                        <a:cubicBezTo>
                          <a:pt x="12" y="14"/>
                          <a:pt x="15" y="11"/>
                          <a:pt x="15" y="7"/>
                        </a:cubicBezTo>
                        <a:cubicBezTo>
                          <a:pt x="15" y="3"/>
                          <a:pt x="12"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sz="1765">
                      <a:solidFill>
                        <a:srgbClr val="505050"/>
                      </a:solidFill>
                    </a:endParaRPr>
                  </a:p>
                </p:txBody>
              </p:sp>
            </p:grpSp>
          </p:grpSp>
          <p:sp>
            <p:nvSpPr>
              <p:cNvPr id="201" name="TextBox 200"/>
              <p:cNvSpPr txBox="1"/>
              <p:nvPr/>
            </p:nvSpPr>
            <p:spPr>
              <a:xfrm>
                <a:off x="1312969" y="2043437"/>
                <a:ext cx="1241869" cy="731520"/>
              </a:xfrm>
              <a:prstGeom prst="rect">
                <a:avLst/>
              </a:prstGeom>
              <a:noFill/>
            </p:spPr>
            <p:txBody>
              <a:bodyPr wrap="square" lIns="89642" tIns="89642" rIns="0" bIns="89642" rtlCol="0">
                <a:noAutofit/>
              </a:bodyPr>
              <a:lstStyle/>
              <a:p>
                <a:pPr defTabSz="914206">
                  <a:lnSpc>
                    <a:spcPct val="90000"/>
                  </a:lnSpc>
                  <a:spcAft>
                    <a:spcPts val="588"/>
                  </a:spcAft>
                </a:pPr>
                <a:r>
                  <a:rPr lang="en-US" sz="1078" dirty="0">
                    <a:gradFill>
                      <a:gsLst>
                        <a:gs pos="17219">
                          <a:srgbClr val="FFFFFF"/>
                        </a:gs>
                        <a:gs pos="32743">
                          <a:srgbClr val="FFFFFF"/>
                        </a:gs>
                      </a:gsLst>
                      <a:lin ang="5400000" scaled="0"/>
                    </a:gradFill>
                    <a:latin typeface="Segoe UI Semibold" panose="020B0702040204020203" pitchFamily="34" charset="0"/>
                  </a:rPr>
                  <a:t>App, </a:t>
                </a:r>
                <a:br>
                  <a:rPr lang="en-US" sz="1078" dirty="0">
                    <a:gradFill>
                      <a:gsLst>
                        <a:gs pos="17219">
                          <a:srgbClr val="FFFFFF"/>
                        </a:gs>
                        <a:gs pos="32743">
                          <a:srgbClr val="FFFFFF"/>
                        </a:gs>
                      </a:gsLst>
                      <a:lin ang="5400000" scaled="0"/>
                    </a:gradFill>
                    <a:latin typeface="Segoe UI Semibold" panose="020B0702040204020203" pitchFamily="34" charset="0"/>
                  </a:rPr>
                </a:br>
                <a:r>
                  <a:rPr lang="en-US" sz="1078" dirty="0">
                    <a:gradFill>
                      <a:gsLst>
                        <a:gs pos="17219">
                          <a:srgbClr val="FFFFFF"/>
                        </a:gs>
                        <a:gs pos="32743">
                          <a:srgbClr val="FFFFFF"/>
                        </a:gs>
                      </a:gsLst>
                      <a:lin ang="5400000" scaled="0"/>
                    </a:gradFill>
                    <a:latin typeface="Segoe UI Semibold" panose="020B0702040204020203" pitchFamily="34" charset="0"/>
                  </a:rPr>
                  <a:t>SLA(s)</a:t>
                </a:r>
              </a:p>
            </p:txBody>
          </p:sp>
        </p:grpSp>
        <p:grpSp>
          <p:nvGrpSpPr>
            <p:cNvPr id="197" name="Group 196"/>
            <p:cNvGrpSpPr/>
            <p:nvPr/>
          </p:nvGrpSpPr>
          <p:grpSpPr>
            <a:xfrm>
              <a:off x="5827888" y="2242438"/>
              <a:ext cx="364330" cy="323240"/>
              <a:chOff x="2195513" y="-1231900"/>
              <a:chExt cx="1055688" cy="936625"/>
            </a:xfrm>
            <a:solidFill>
              <a:schemeClr val="bg1"/>
            </a:solidFill>
          </p:grpSpPr>
          <p:sp>
            <p:nvSpPr>
              <p:cNvPr id="198" name="Freeform 5"/>
              <p:cNvSpPr>
                <a:spLocks noEditPoints="1"/>
              </p:cNvSpPr>
              <p:nvPr/>
            </p:nvSpPr>
            <p:spPr bwMode="auto">
              <a:xfrm>
                <a:off x="2578101" y="-938213"/>
                <a:ext cx="673100" cy="642938"/>
              </a:xfrm>
              <a:custGeom>
                <a:avLst/>
                <a:gdLst>
                  <a:gd name="T0" fmla="*/ 1400 w 1451"/>
                  <a:gd name="T1" fmla="*/ 622 h 1384"/>
                  <a:gd name="T2" fmla="*/ 639 w 1451"/>
                  <a:gd name="T3" fmla="*/ 0 h 1384"/>
                  <a:gd name="T4" fmla="*/ 611 w 1451"/>
                  <a:gd name="T5" fmla="*/ 6 h 1384"/>
                  <a:gd name="T6" fmla="*/ 252 w 1451"/>
                  <a:gd name="T7" fmla="*/ 157 h 1384"/>
                  <a:gd name="T8" fmla="*/ 252 w 1451"/>
                  <a:gd name="T9" fmla="*/ 157 h 1384"/>
                  <a:gd name="T10" fmla="*/ 174 w 1451"/>
                  <a:gd name="T11" fmla="*/ 235 h 1384"/>
                  <a:gd name="T12" fmla="*/ 51 w 1451"/>
                  <a:gd name="T13" fmla="*/ 762 h 1384"/>
                  <a:gd name="T14" fmla="*/ 807 w 1451"/>
                  <a:gd name="T15" fmla="*/ 1384 h 1384"/>
                  <a:gd name="T16" fmla="*/ 840 w 1451"/>
                  <a:gd name="T17" fmla="*/ 1384 h 1384"/>
                  <a:gd name="T18" fmla="*/ 1199 w 1451"/>
                  <a:gd name="T19" fmla="*/ 1227 h 1384"/>
                  <a:gd name="T20" fmla="*/ 1271 w 1451"/>
                  <a:gd name="T21" fmla="*/ 1154 h 1384"/>
                  <a:gd name="T22" fmla="*/ 1271 w 1451"/>
                  <a:gd name="T23" fmla="*/ 1154 h 1384"/>
                  <a:gd name="T24" fmla="*/ 1400 w 1451"/>
                  <a:gd name="T25" fmla="*/ 622 h 1384"/>
                  <a:gd name="T26" fmla="*/ 902 w 1451"/>
                  <a:gd name="T27" fmla="*/ 818 h 1384"/>
                  <a:gd name="T28" fmla="*/ 818 w 1451"/>
                  <a:gd name="T29" fmla="*/ 852 h 1384"/>
                  <a:gd name="T30" fmla="*/ 745 w 1451"/>
                  <a:gd name="T31" fmla="*/ 728 h 1384"/>
                  <a:gd name="T32" fmla="*/ 527 w 1451"/>
                  <a:gd name="T33" fmla="*/ 863 h 1384"/>
                  <a:gd name="T34" fmla="*/ 465 w 1451"/>
                  <a:gd name="T35" fmla="*/ 784 h 1384"/>
                  <a:gd name="T36" fmla="*/ 695 w 1451"/>
                  <a:gd name="T37" fmla="*/ 639 h 1384"/>
                  <a:gd name="T38" fmla="*/ 471 w 1451"/>
                  <a:gd name="T39" fmla="*/ 235 h 1384"/>
                  <a:gd name="T40" fmla="*/ 555 w 1451"/>
                  <a:gd name="T41" fmla="*/ 202 h 1384"/>
                  <a:gd name="T42" fmla="*/ 773 w 1451"/>
                  <a:gd name="T43" fmla="*/ 588 h 1384"/>
                  <a:gd name="T44" fmla="*/ 874 w 1451"/>
                  <a:gd name="T45" fmla="*/ 521 h 1384"/>
                  <a:gd name="T46" fmla="*/ 936 w 1451"/>
                  <a:gd name="T47" fmla="*/ 605 h 1384"/>
                  <a:gd name="T48" fmla="*/ 824 w 1451"/>
                  <a:gd name="T49" fmla="*/ 678 h 1384"/>
                  <a:gd name="T50" fmla="*/ 902 w 1451"/>
                  <a:gd name="T51" fmla="*/ 818 h 1384"/>
                  <a:gd name="T52" fmla="*/ 902 w 1451"/>
                  <a:gd name="T53" fmla="*/ 818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1" h="1384">
                    <a:moveTo>
                      <a:pt x="1400" y="622"/>
                    </a:moveTo>
                    <a:cubicBezTo>
                      <a:pt x="1316" y="275"/>
                      <a:pt x="980" y="0"/>
                      <a:pt x="639" y="0"/>
                    </a:cubicBezTo>
                    <a:cubicBezTo>
                      <a:pt x="628" y="0"/>
                      <a:pt x="622" y="0"/>
                      <a:pt x="611" y="6"/>
                    </a:cubicBezTo>
                    <a:cubicBezTo>
                      <a:pt x="460" y="11"/>
                      <a:pt x="336" y="67"/>
                      <a:pt x="252" y="157"/>
                    </a:cubicBezTo>
                    <a:cubicBezTo>
                      <a:pt x="252" y="157"/>
                      <a:pt x="252" y="157"/>
                      <a:pt x="252" y="157"/>
                    </a:cubicBezTo>
                    <a:cubicBezTo>
                      <a:pt x="174" y="235"/>
                      <a:pt x="174" y="235"/>
                      <a:pt x="174" y="235"/>
                    </a:cubicBezTo>
                    <a:cubicBezTo>
                      <a:pt x="51" y="364"/>
                      <a:pt x="0" y="555"/>
                      <a:pt x="51" y="762"/>
                    </a:cubicBezTo>
                    <a:cubicBezTo>
                      <a:pt x="129" y="1115"/>
                      <a:pt x="465" y="1384"/>
                      <a:pt x="807" y="1384"/>
                    </a:cubicBezTo>
                    <a:cubicBezTo>
                      <a:pt x="818" y="1384"/>
                      <a:pt x="829" y="1384"/>
                      <a:pt x="840" y="1384"/>
                    </a:cubicBezTo>
                    <a:cubicBezTo>
                      <a:pt x="986" y="1378"/>
                      <a:pt x="1109" y="1322"/>
                      <a:pt x="1199" y="1227"/>
                    </a:cubicBezTo>
                    <a:cubicBezTo>
                      <a:pt x="1271" y="1154"/>
                      <a:pt x="1271" y="1154"/>
                      <a:pt x="1271" y="1154"/>
                    </a:cubicBezTo>
                    <a:cubicBezTo>
                      <a:pt x="1271" y="1154"/>
                      <a:pt x="1271" y="1154"/>
                      <a:pt x="1271" y="1154"/>
                    </a:cubicBezTo>
                    <a:cubicBezTo>
                      <a:pt x="1395" y="1025"/>
                      <a:pt x="1451" y="835"/>
                      <a:pt x="1400" y="622"/>
                    </a:cubicBezTo>
                    <a:close/>
                    <a:moveTo>
                      <a:pt x="902" y="818"/>
                    </a:moveTo>
                    <a:cubicBezTo>
                      <a:pt x="818" y="852"/>
                      <a:pt x="818" y="852"/>
                      <a:pt x="818" y="852"/>
                    </a:cubicBezTo>
                    <a:cubicBezTo>
                      <a:pt x="745" y="728"/>
                      <a:pt x="745" y="728"/>
                      <a:pt x="745" y="728"/>
                    </a:cubicBezTo>
                    <a:cubicBezTo>
                      <a:pt x="527" y="863"/>
                      <a:pt x="527" y="863"/>
                      <a:pt x="527" y="863"/>
                    </a:cubicBezTo>
                    <a:cubicBezTo>
                      <a:pt x="465" y="784"/>
                      <a:pt x="465" y="784"/>
                      <a:pt x="465" y="784"/>
                    </a:cubicBezTo>
                    <a:cubicBezTo>
                      <a:pt x="695" y="639"/>
                      <a:pt x="695" y="639"/>
                      <a:pt x="695" y="639"/>
                    </a:cubicBezTo>
                    <a:cubicBezTo>
                      <a:pt x="471" y="235"/>
                      <a:pt x="471" y="235"/>
                      <a:pt x="471" y="235"/>
                    </a:cubicBezTo>
                    <a:cubicBezTo>
                      <a:pt x="555" y="202"/>
                      <a:pt x="555" y="202"/>
                      <a:pt x="555" y="202"/>
                    </a:cubicBezTo>
                    <a:cubicBezTo>
                      <a:pt x="773" y="588"/>
                      <a:pt x="773" y="588"/>
                      <a:pt x="773" y="588"/>
                    </a:cubicBezTo>
                    <a:cubicBezTo>
                      <a:pt x="874" y="521"/>
                      <a:pt x="874" y="521"/>
                      <a:pt x="874" y="521"/>
                    </a:cubicBezTo>
                    <a:cubicBezTo>
                      <a:pt x="936" y="605"/>
                      <a:pt x="936" y="605"/>
                      <a:pt x="936" y="605"/>
                    </a:cubicBezTo>
                    <a:cubicBezTo>
                      <a:pt x="824" y="678"/>
                      <a:pt x="824" y="678"/>
                      <a:pt x="824" y="678"/>
                    </a:cubicBezTo>
                    <a:cubicBezTo>
                      <a:pt x="902" y="818"/>
                      <a:pt x="902" y="818"/>
                      <a:pt x="902" y="818"/>
                    </a:cubicBezTo>
                    <a:cubicBezTo>
                      <a:pt x="902" y="818"/>
                      <a:pt x="902" y="818"/>
                      <a:pt x="902"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199" name="Freeform 6"/>
              <p:cNvSpPr>
                <a:spLocks noEditPoints="1"/>
              </p:cNvSpPr>
              <p:nvPr/>
            </p:nvSpPr>
            <p:spPr bwMode="auto">
              <a:xfrm>
                <a:off x="2195513" y="-1231900"/>
                <a:ext cx="692150" cy="762000"/>
              </a:xfrm>
              <a:custGeom>
                <a:avLst/>
                <a:gdLst>
                  <a:gd name="T0" fmla="*/ 1313 w 1492"/>
                  <a:gd name="T1" fmla="*/ 185 h 1642"/>
                  <a:gd name="T2" fmla="*/ 1034 w 1492"/>
                  <a:gd name="T3" fmla="*/ 67 h 1642"/>
                  <a:gd name="T4" fmla="*/ 1151 w 1492"/>
                  <a:gd name="T5" fmla="*/ 84 h 1642"/>
                  <a:gd name="T6" fmla="*/ 1224 w 1492"/>
                  <a:gd name="T7" fmla="*/ 185 h 1642"/>
                  <a:gd name="T8" fmla="*/ 1151 w 1492"/>
                  <a:gd name="T9" fmla="*/ 274 h 1642"/>
                  <a:gd name="T10" fmla="*/ 498 w 1492"/>
                  <a:gd name="T11" fmla="*/ 185 h 1642"/>
                  <a:gd name="T12" fmla="*/ 218 w 1492"/>
                  <a:gd name="T13" fmla="*/ 67 h 1642"/>
                  <a:gd name="T14" fmla="*/ 341 w 1492"/>
                  <a:gd name="T15" fmla="*/ 84 h 1642"/>
                  <a:gd name="T16" fmla="*/ 408 w 1492"/>
                  <a:gd name="T17" fmla="*/ 185 h 1642"/>
                  <a:gd name="T18" fmla="*/ 341 w 1492"/>
                  <a:gd name="T19" fmla="*/ 274 h 1642"/>
                  <a:gd name="T20" fmla="*/ 73 w 1492"/>
                  <a:gd name="T21" fmla="*/ 185 h 1642"/>
                  <a:gd name="T22" fmla="*/ 0 w 1492"/>
                  <a:gd name="T23" fmla="*/ 1574 h 1642"/>
                  <a:gd name="T24" fmla="*/ 866 w 1492"/>
                  <a:gd name="T25" fmla="*/ 1642 h 1642"/>
                  <a:gd name="T26" fmla="*/ 554 w 1492"/>
                  <a:gd name="T27" fmla="*/ 1535 h 1642"/>
                  <a:gd name="T28" fmla="*/ 760 w 1492"/>
                  <a:gd name="T29" fmla="*/ 1266 h 1642"/>
                  <a:gd name="T30" fmla="*/ 554 w 1492"/>
                  <a:gd name="T31" fmla="*/ 1188 h 1642"/>
                  <a:gd name="T32" fmla="*/ 855 w 1492"/>
                  <a:gd name="T33" fmla="*/ 896 h 1642"/>
                  <a:gd name="T34" fmla="*/ 554 w 1492"/>
                  <a:gd name="T35" fmla="*/ 818 h 1642"/>
                  <a:gd name="T36" fmla="*/ 939 w 1492"/>
                  <a:gd name="T37" fmla="*/ 549 h 1642"/>
                  <a:gd name="T38" fmla="*/ 1006 w 1492"/>
                  <a:gd name="T39" fmla="*/ 728 h 1642"/>
                  <a:gd name="T40" fmla="*/ 1017 w 1492"/>
                  <a:gd name="T41" fmla="*/ 549 h 1642"/>
                  <a:gd name="T42" fmla="*/ 1425 w 1492"/>
                  <a:gd name="T43" fmla="*/ 543 h 1642"/>
                  <a:gd name="T44" fmla="*/ 1492 w 1492"/>
                  <a:gd name="T45" fmla="*/ 543 h 1642"/>
                  <a:gd name="T46" fmla="*/ 1420 w 1492"/>
                  <a:gd name="T47" fmla="*/ 185 h 1642"/>
                  <a:gd name="T48" fmla="*/ 107 w 1492"/>
                  <a:gd name="T49" fmla="*/ 1535 h 1642"/>
                  <a:gd name="T50" fmla="*/ 475 w 1492"/>
                  <a:gd name="T51" fmla="*/ 1266 h 1642"/>
                  <a:gd name="T52" fmla="*/ 475 w 1492"/>
                  <a:gd name="T53" fmla="*/ 1535 h 1642"/>
                  <a:gd name="T54" fmla="*/ 107 w 1492"/>
                  <a:gd name="T55" fmla="*/ 1188 h 1642"/>
                  <a:gd name="T56" fmla="*/ 475 w 1492"/>
                  <a:gd name="T57" fmla="*/ 896 h 1642"/>
                  <a:gd name="T58" fmla="*/ 475 w 1492"/>
                  <a:gd name="T59" fmla="*/ 1188 h 1642"/>
                  <a:gd name="T60" fmla="*/ 107 w 1492"/>
                  <a:gd name="T61" fmla="*/ 818 h 1642"/>
                  <a:gd name="T62" fmla="*/ 475 w 1492"/>
                  <a:gd name="T63" fmla="*/ 549 h 1642"/>
                  <a:gd name="T64" fmla="*/ 475 w 1492"/>
                  <a:gd name="T65" fmla="*/ 818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2" h="1642">
                    <a:moveTo>
                      <a:pt x="1420" y="185"/>
                    </a:moveTo>
                    <a:cubicBezTo>
                      <a:pt x="1313" y="185"/>
                      <a:pt x="1313" y="185"/>
                      <a:pt x="1313" y="185"/>
                    </a:cubicBezTo>
                    <a:cubicBezTo>
                      <a:pt x="1308" y="84"/>
                      <a:pt x="1241" y="0"/>
                      <a:pt x="1151" y="0"/>
                    </a:cubicBezTo>
                    <a:cubicBezTo>
                      <a:pt x="1107" y="0"/>
                      <a:pt x="1062" y="28"/>
                      <a:pt x="1034" y="67"/>
                    </a:cubicBezTo>
                    <a:cubicBezTo>
                      <a:pt x="1107" y="112"/>
                      <a:pt x="1107" y="112"/>
                      <a:pt x="1107" y="112"/>
                    </a:cubicBezTo>
                    <a:cubicBezTo>
                      <a:pt x="1118" y="95"/>
                      <a:pt x="1135" y="84"/>
                      <a:pt x="1151" y="84"/>
                    </a:cubicBezTo>
                    <a:cubicBezTo>
                      <a:pt x="1190" y="84"/>
                      <a:pt x="1224" y="129"/>
                      <a:pt x="1224" y="179"/>
                    </a:cubicBezTo>
                    <a:cubicBezTo>
                      <a:pt x="1224" y="185"/>
                      <a:pt x="1224" y="185"/>
                      <a:pt x="1224" y="185"/>
                    </a:cubicBezTo>
                    <a:cubicBezTo>
                      <a:pt x="1224" y="185"/>
                      <a:pt x="1224" y="185"/>
                      <a:pt x="1224" y="185"/>
                    </a:cubicBezTo>
                    <a:cubicBezTo>
                      <a:pt x="1218" y="235"/>
                      <a:pt x="1190" y="274"/>
                      <a:pt x="1151" y="274"/>
                    </a:cubicBezTo>
                    <a:cubicBezTo>
                      <a:pt x="1118" y="274"/>
                      <a:pt x="1084" y="235"/>
                      <a:pt x="1084" y="185"/>
                    </a:cubicBezTo>
                    <a:cubicBezTo>
                      <a:pt x="498" y="185"/>
                      <a:pt x="498" y="185"/>
                      <a:pt x="498" y="185"/>
                    </a:cubicBezTo>
                    <a:cubicBezTo>
                      <a:pt x="498" y="84"/>
                      <a:pt x="425" y="0"/>
                      <a:pt x="341" y="0"/>
                    </a:cubicBezTo>
                    <a:cubicBezTo>
                      <a:pt x="291" y="0"/>
                      <a:pt x="246" y="28"/>
                      <a:pt x="218" y="67"/>
                    </a:cubicBezTo>
                    <a:cubicBezTo>
                      <a:pt x="291" y="112"/>
                      <a:pt x="291" y="112"/>
                      <a:pt x="291" y="112"/>
                    </a:cubicBezTo>
                    <a:cubicBezTo>
                      <a:pt x="302" y="95"/>
                      <a:pt x="319" y="84"/>
                      <a:pt x="341" y="84"/>
                    </a:cubicBezTo>
                    <a:cubicBezTo>
                      <a:pt x="380" y="84"/>
                      <a:pt x="408" y="129"/>
                      <a:pt x="408" y="179"/>
                    </a:cubicBezTo>
                    <a:cubicBezTo>
                      <a:pt x="408" y="185"/>
                      <a:pt x="408" y="185"/>
                      <a:pt x="408" y="185"/>
                    </a:cubicBezTo>
                    <a:cubicBezTo>
                      <a:pt x="408" y="185"/>
                      <a:pt x="408" y="185"/>
                      <a:pt x="408" y="185"/>
                    </a:cubicBezTo>
                    <a:cubicBezTo>
                      <a:pt x="408" y="235"/>
                      <a:pt x="375" y="274"/>
                      <a:pt x="341" y="274"/>
                    </a:cubicBezTo>
                    <a:cubicBezTo>
                      <a:pt x="302" y="274"/>
                      <a:pt x="274" y="235"/>
                      <a:pt x="269" y="185"/>
                    </a:cubicBezTo>
                    <a:cubicBezTo>
                      <a:pt x="73" y="185"/>
                      <a:pt x="73" y="185"/>
                      <a:pt x="73" y="185"/>
                    </a:cubicBezTo>
                    <a:cubicBezTo>
                      <a:pt x="34" y="185"/>
                      <a:pt x="0" y="218"/>
                      <a:pt x="0" y="258"/>
                    </a:cubicBezTo>
                    <a:cubicBezTo>
                      <a:pt x="0" y="1574"/>
                      <a:pt x="0" y="1574"/>
                      <a:pt x="0" y="1574"/>
                    </a:cubicBezTo>
                    <a:cubicBezTo>
                      <a:pt x="0" y="1614"/>
                      <a:pt x="34" y="1642"/>
                      <a:pt x="73" y="1642"/>
                    </a:cubicBezTo>
                    <a:cubicBezTo>
                      <a:pt x="866" y="1642"/>
                      <a:pt x="866" y="1642"/>
                      <a:pt x="866" y="1642"/>
                    </a:cubicBezTo>
                    <a:cubicBezTo>
                      <a:pt x="850" y="1608"/>
                      <a:pt x="833" y="1574"/>
                      <a:pt x="816" y="1535"/>
                    </a:cubicBezTo>
                    <a:cubicBezTo>
                      <a:pt x="554" y="1535"/>
                      <a:pt x="554" y="1535"/>
                      <a:pt x="554" y="1535"/>
                    </a:cubicBezTo>
                    <a:cubicBezTo>
                      <a:pt x="554" y="1266"/>
                      <a:pt x="554" y="1266"/>
                      <a:pt x="554" y="1266"/>
                    </a:cubicBezTo>
                    <a:cubicBezTo>
                      <a:pt x="760" y="1266"/>
                      <a:pt x="760" y="1266"/>
                      <a:pt x="760" y="1266"/>
                    </a:cubicBezTo>
                    <a:cubicBezTo>
                      <a:pt x="760" y="1238"/>
                      <a:pt x="760" y="1216"/>
                      <a:pt x="760" y="1188"/>
                    </a:cubicBezTo>
                    <a:cubicBezTo>
                      <a:pt x="554" y="1188"/>
                      <a:pt x="554" y="1188"/>
                      <a:pt x="554" y="1188"/>
                    </a:cubicBezTo>
                    <a:cubicBezTo>
                      <a:pt x="554" y="896"/>
                      <a:pt x="554" y="896"/>
                      <a:pt x="554" y="896"/>
                    </a:cubicBezTo>
                    <a:cubicBezTo>
                      <a:pt x="855" y="896"/>
                      <a:pt x="855" y="896"/>
                      <a:pt x="855" y="896"/>
                    </a:cubicBezTo>
                    <a:cubicBezTo>
                      <a:pt x="872" y="868"/>
                      <a:pt x="894" y="846"/>
                      <a:pt x="917" y="818"/>
                    </a:cubicBezTo>
                    <a:cubicBezTo>
                      <a:pt x="554" y="818"/>
                      <a:pt x="554" y="818"/>
                      <a:pt x="554" y="818"/>
                    </a:cubicBezTo>
                    <a:cubicBezTo>
                      <a:pt x="554" y="549"/>
                      <a:pt x="554" y="549"/>
                      <a:pt x="554" y="549"/>
                    </a:cubicBezTo>
                    <a:cubicBezTo>
                      <a:pt x="939" y="549"/>
                      <a:pt x="939" y="549"/>
                      <a:pt x="939" y="549"/>
                    </a:cubicBezTo>
                    <a:cubicBezTo>
                      <a:pt x="939" y="795"/>
                      <a:pt x="939" y="795"/>
                      <a:pt x="939" y="795"/>
                    </a:cubicBezTo>
                    <a:cubicBezTo>
                      <a:pt x="1006" y="728"/>
                      <a:pt x="1006" y="728"/>
                      <a:pt x="1006" y="728"/>
                    </a:cubicBezTo>
                    <a:cubicBezTo>
                      <a:pt x="1012" y="723"/>
                      <a:pt x="1012" y="717"/>
                      <a:pt x="1017" y="717"/>
                    </a:cubicBezTo>
                    <a:cubicBezTo>
                      <a:pt x="1017" y="549"/>
                      <a:pt x="1017" y="549"/>
                      <a:pt x="1017" y="549"/>
                    </a:cubicBezTo>
                    <a:cubicBezTo>
                      <a:pt x="1375" y="549"/>
                      <a:pt x="1375" y="549"/>
                      <a:pt x="1375" y="549"/>
                    </a:cubicBezTo>
                    <a:cubicBezTo>
                      <a:pt x="1392" y="549"/>
                      <a:pt x="1408" y="543"/>
                      <a:pt x="1425" y="543"/>
                    </a:cubicBezTo>
                    <a:cubicBezTo>
                      <a:pt x="1436" y="543"/>
                      <a:pt x="1448" y="543"/>
                      <a:pt x="1459" y="543"/>
                    </a:cubicBezTo>
                    <a:cubicBezTo>
                      <a:pt x="1470" y="543"/>
                      <a:pt x="1481" y="543"/>
                      <a:pt x="1492" y="543"/>
                    </a:cubicBezTo>
                    <a:cubicBezTo>
                      <a:pt x="1492" y="258"/>
                      <a:pt x="1492" y="258"/>
                      <a:pt x="1492" y="258"/>
                    </a:cubicBezTo>
                    <a:cubicBezTo>
                      <a:pt x="1492" y="218"/>
                      <a:pt x="1459" y="185"/>
                      <a:pt x="1420" y="185"/>
                    </a:cubicBezTo>
                    <a:close/>
                    <a:moveTo>
                      <a:pt x="475" y="1535"/>
                    </a:moveTo>
                    <a:cubicBezTo>
                      <a:pt x="107" y="1535"/>
                      <a:pt x="107" y="1535"/>
                      <a:pt x="107" y="1535"/>
                    </a:cubicBezTo>
                    <a:cubicBezTo>
                      <a:pt x="107" y="1266"/>
                      <a:pt x="107" y="1266"/>
                      <a:pt x="107" y="1266"/>
                    </a:cubicBezTo>
                    <a:cubicBezTo>
                      <a:pt x="475" y="1266"/>
                      <a:pt x="475" y="1266"/>
                      <a:pt x="475" y="1266"/>
                    </a:cubicBezTo>
                    <a:cubicBezTo>
                      <a:pt x="475" y="1535"/>
                      <a:pt x="475" y="1535"/>
                      <a:pt x="475" y="1535"/>
                    </a:cubicBezTo>
                    <a:cubicBezTo>
                      <a:pt x="475" y="1535"/>
                      <a:pt x="475" y="1535"/>
                      <a:pt x="475" y="1535"/>
                    </a:cubicBezTo>
                    <a:close/>
                    <a:moveTo>
                      <a:pt x="475" y="1188"/>
                    </a:moveTo>
                    <a:cubicBezTo>
                      <a:pt x="107" y="1188"/>
                      <a:pt x="107" y="1188"/>
                      <a:pt x="107" y="1188"/>
                    </a:cubicBezTo>
                    <a:cubicBezTo>
                      <a:pt x="107" y="896"/>
                      <a:pt x="107" y="896"/>
                      <a:pt x="107" y="896"/>
                    </a:cubicBezTo>
                    <a:cubicBezTo>
                      <a:pt x="475" y="896"/>
                      <a:pt x="475" y="896"/>
                      <a:pt x="475" y="896"/>
                    </a:cubicBezTo>
                    <a:cubicBezTo>
                      <a:pt x="475" y="1188"/>
                      <a:pt x="475" y="1188"/>
                      <a:pt x="475" y="1188"/>
                    </a:cubicBezTo>
                    <a:cubicBezTo>
                      <a:pt x="475" y="1188"/>
                      <a:pt x="475" y="1188"/>
                      <a:pt x="475" y="1188"/>
                    </a:cubicBezTo>
                    <a:close/>
                    <a:moveTo>
                      <a:pt x="475" y="818"/>
                    </a:moveTo>
                    <a:cubicBezTo>
                      <a:pt x="107" y="818"/>
                      <a:pt x="107" y="818"/>
                      <a:pt x="107" y="818"/>
                    </a:cubicBezTo>
                    <a:cubicBezTo>
                      <a:pt x="107" y="549"/>
                      <a:pt x="107" y="549"/>
                      <a:pt x="107" y="549"/>
                    </a:cubicBezTo>
                    <a:cubicBezTo>
                      <a:pt x="475" y="549"/>
                      <a:pt x="475" y="549"/>
                      <a:pt x="475" y="549"/>
                    </a:cubicBezTo>
                    <a:cubicBezTo>
                      <a:pt x="475" y="818"/>
                      <a:pt x="475" y="818"/>
                      <a:pt x="475" y="818"/>
                    </a:cubicBezTo>
                    <a:cubicBezTo>
                      <a:pt x="475" y="818"/>
                      <a:pt x="475" y="818"/>
                      <a:pt x="475"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grpSp>
      </p:grpSp>
      <p:grpSp>
        <p:nvGrpSpPr>
          <p:cNvPr id="220" name="Monitor"/>
          <p:cNvGrpSpPr/>
          <p:nvPr/>
        </p:nvGrpSpPr>
        <p:grpSpPr>
          <a:xfrm>
            <a:off x="1153564" y="1938482"/>
            <a:ext cx="2204620" cy="1892042"/>
            <a:chOff x="1176694" y="2024481"/>
            <a:chExt cx="2248827" cy="1929981"/>
          </a:xfrm>
        </p:grpSpPr>
        <p:sp>
          <p:nvSpPr>
            <p:cNvPr id="221" name="Freeform 5"/>
            <p:cNvSpPr>
              <a:spLocks noEditPoints="1"/>
            </p:cNvSpPr>
            <p:nvPr/>
          </p:nvSpPr>
          <p:spPr bwMode="auto">
            <a:xfrm>
              <a:off x="1176694" y="2024481"/>
              <a:ext cx="2248827" cy="1929981"/>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solidFill>
              <a:srgbClr val="B2B2B2"/>
            </a:solidFill>
            <a:ln w="38100">
              <a:solidFill>
                <a:schemeClr val="bg1"/>
              </a:solid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sp>
          <p:nvSpPr>
            <p:cNvPr id="222" name="Freeform 5"/>
            <p:cNvSpPr>
              <a:spLocks noEditPoints="1"/>
            </p:cNvSpPr>
            <p:nvPr/>
          </p:nvSpPr>
          <p:spPr bwMode="auto">
            <a:xfrm>
              <a:off x="1389859" y="2214893"/>
              <a:ext cx="257036" cy="394094"/>
            </a:xfrm>
            <a:custGeom>
              <a:avLst/>
              <a:gdLst>
                <a:gd name="T0" fmla="*/ 3672 w 3672"/>
                <a:gd name="T1" fmla="*/ 1713 h 5630"/>
                <a:gd name="T2" fmla="*/ 1959 w 3672"/>
                <a:gd name="T3" fmla="*/ 1713 h 5630"/>
                <a:gd name="T4" fmla="*/ 1959 w 3672"/>
                <a:gd name="T5" fmla="*/ 0 h 5630"/>
                <a:gd name="T6" fmla="*/ 3672 w 3672"/>
                <a:gd name="T7" fmla="*/ 0 h 5630"/>
                <a:gd name="T8" fmla="*/ 3672 w 3672"/>
                <a:gd name="T9" fmla="*/ 1713 h 5630"/>
                <a:gd name="T10" fmla="*/ 3672 w 3672"/>
                <a:gd name="T11" fmla="*/ 1713 h 5630"/>
                <a:gd name="T12" fmla="*/ 3672 w 3672"/>
                <a:gd name="T13" fmla="*/ 1713 h 5630"/>
                <a:gd name="T14" fmla="*/ 1536 w 3672"/>
                <a:gd name="T15" fmla="*/ 178 h 5630"/>
                <a:gd name="T16" fmla="*/ 177 w 3672"/>
                <a:gd name="T17" fmla="*/ 178 h 5630"/>
                <a:gd name="T18" fmla="*/ 177 w 3672"/>
                <a:gd name="T19" fmla="*/ 1533 h 5630"/>
                <a:gd name="T20" fmla="*/ 1536 w 3672"/>
                <a:gd name="T21" fmla="*/ 1533 h 5630"/>
                <a:gd name="T22" fmla="*/ 1536 w 3672"/>
                <a:gd name="T23" fmla="*/ 178 h 5630"/>
                <a:gd name="T24" fmla="*/ 1536 w 3672"/>
                <a:gd name="T25" fmla="*/ 178 h 5630"/>
                <a:gd name="T26" fmla="*/ 1536 w 3672"/>
                <a:gd name="T27" fmla="*/ 178 h 5630"/>
                <a:gd name="T28" fmla="*/ 1713 w 3672"/>
                <a:gd name="T29" fmla="*/ 0 h 5630"/>
                <a:gd name="T30" fmla="*/ 1713 w 3672"/>
                <a:gd name="T31" fmla="*/ 1713 h 5630"/>
                <a:gd name="T32" fmla="*/ 0 w 3672"/>
                <a:gd name="T33" fmla="*/ 1713 h 5630"/>
                <a:gd name="T34" fmla="*/ 0 w 3672"/>
                <a:gd name="T35" fmla="*/ 0 h 5630"/>
                <a:gd name="T36" fmla="*/ 1713 w 3672"/>
                <a:gd name="T37" fmla="*/ 0 h 5630"/>
                <a:gd name="T38" fmla="*/ 1713 w 3672"/>
                <a:gd name="T39" fmla="*/ 0 h 5630"/>
                <a:gd name="T40" fmla="*/ 1713 w 3672"/>
                <a:gd name="T41" fmla="*/ 0 h 5630"/>
                <a:gd name="T42" fmla="*/ 1713 w 3672"/>
                <a:gd name="T43" fmla="*/ 0 h 5630"/>
                <a:gd name="T44" fmla="*/ 1536 w 3672"/>
                <a:gd name="T45" fmla="*/ 4097 h 5630"/>
                <a:gd name="T46" fmla="*/ 177 w 3672"/>
                <a:gd name="T47" fmla="*/ 4097 h 5630"/>
                <a:gd name="T48" fmla="*/ 177 w 3672"/>
                <a:gd name="T49" fmla="*/ 5452 h 5630"/>
                <a:gd name="T50" fmla="*/ 1536 w 3672"/>
                <a:gd name="T51" fmla="*/ 5452 h 5630"/>
                <a:gd name="T52" fmla="*/ 1536 w 3672"/>
                <a:gd name="T53" fmla="*/ 4097 h 5630"/>
                <a:gd name="T54" fmla="*/ 1536 w 3672"/>
                <a:gd name="T55" fmla="*/ 4097 h 5630"/>
                <a:gd name="T56" fmla="*/ 1536 w 3672"/>
                <a:gd name="T57" fmla="*/ 4097 h 5630"/>
                <a:gd name="T58" fmla="*/ 1713 w 3672"/>
                <a:gd name="T59" fmla="*/ 3917 h 5630"/>
                <a:gd name="T60" fmla="*/ 1713 w 3672"/>
                <a:gd name="T61" fmla="*/ 5630 h 5630"/>
                <a:gd name="T62" fmla="*/ 0 w 3672"/>
                <a:gd name="T63" fmla="*/ 5630 h 5630"/>
                <a:gd name="T64" fmla="*/ 0 w 3672"/>
                <a:gd name="T65" fmla="*/ 3917 h 5630"/>
                <a:gd name="T66" fmla="*/ 1713 w 3672"/>
                <a:gd name="T67" fmla="*/ 3917 h 5630"/>
                <a:gd name="T68" fmla="*/ 1713 w 3672"/>
                <a:gd name="T69" fmla="*/ 3917 h 5630"/>
                <a:gd name="T70" fmla="*/ 1713 w 3672"/>
                <a:gd name="T71" fmla="*/ 3917 h 5630"/>
                <a:gd name="T72" fmla="*/ 1713 w 3672"/>
                <a:gd name="T73" fmla="*/ 3917 h 5630"/>
                <a:gd name="T74" fmla="*/ 3495 w 3672"/>
                <a:gd name="T75" fmla="*/ 2136 h 5630"/>
                <a:gd name="T76" fmla="*/ 177 w 3672"/>
                <a:gd name="T77" fmla="*/ 2136 h 5630"/>
                <a:gd name="T78" fmla="*/ 177 w 3672"/>
                <a:gd name="T79" fmla="*/ 3494 h 5630"/>
                <a:gd name="T80" fmla="*/ 3495 w 3672"/>
                <a:gd name="T81" fmla="*/ 3494 h 5630"/>
                <a:gd name="T82" fmla="*/ 3495 w 3672"/>
                <a:gd name="T83" fmla="*/ 2136 h 5630"/>
                <a:gd name="T84" fmla="*/ 3495 w 3672"/>
                <a:gd name="T85" fmla="*/ 2136 h 5630"/>
                <a:gd name="T86" fmla="*/ 3495 w 3672"/>
                <a:gd name="T87" fmla="*/ 2136 h 5630"/>
                <a:gd name="T88" fmla="*/ 3672 w 3672"/>
                <a:gd name="T89" fmla="*/ 1956 h 5630"/>
                <a:gd name="T90" fmla="*/ 3672 w 3672"/>
                <a:gd name="T91" fmla="*/ 3674 h 5630"/>
                <a:gd name="T92" fmla="*/ 0 w 3672"/>
                <a:gd name="T93" fmla="*/ 3674 h 5630"/>
                <a:gd name="T94" fmla="*/ 0 w 3672"/>
                <a:gd name="T95" fmla="*/ 1956 h 5630"/>
                <a:gd name="T96" fmla="*/ 3672 w 3672"/>
                <a:gd name="T97" fmla="*/ 1956 h 5630"/>
                <a:gd name="T98" fmla="*/ 3672 w 3672"/>
                <a:gd name="T99" fmla="*/ 1956 h 5630"/>
                <a:gd name="T100" fmla="*/ 3672 w 3672"/>
                <a:gd name="T101" fmla="*/ 1956 h 5630"/>
                <a:gd name="T102" fmla="*/ 3672 w 3672"/>
                <a:gd name="T103" fmla="*/ 1956 h 5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2" h="5630">
                  <a:moveTo>
                    <a:pt x="3672" y="1713"/>
                  </a:moveTo>
                  <a:lnTo>
                    <a:pt x="1959" y="1713"/>
                  </a:lnTo>
                  <a:lnTo>
                    <a:pt x="1959" y="0"/>
                  </a:lnTo>
                  <a:lnTo>
                    <a:pt x="3672" y="0"/>
                  </a:lnTo>
                  <a:lnTo>
                    <a:pt x="3672" y="1713"/>
                  </a:lnTo>
                  <a:lnTo>
                    <a:pt x="3672" y="1713"/>
                  </a:lnTo>
                  <a:lnTo>
                    <a:pt x="3672" y="1713"/>
                  </a:lnTo>
                  <a:close/>
                  <a:moveTo>
                    <a:pt x="1536" y="178"/>
                  </a:moveTo>
                  <a:lnTo>
                    <a:pt x="177" y="178"/>
                  </a:lnTo>
                  <a:lnTo>
                    <a:pt x="177" y="1533"/>
                  </a:lnTo>
                  <a:lnTo>
                    <a:pt x="1536" y="1533"/>
                  </a:lnTo>
                  <a:lnTo>
                    <a:pt x="1536" y="178"/>
                  </a:lnTo>
                  <a:lnTo>
                    <a:pt x="1536" y="178"/>
                  </a:lnTo>
                  <a:lnTo>
                    <a:pt x="1536" y="178"/>
                  </a:lnTo>
                  <a:close/>
                  <a:moveTo>
                    <a:pt x="1713" y="0"/>
                  </a:moveTo>
                  <a:lnTo>
                    <a:pt x="1713" y="1713"/>
                  </a:lnTo>
                  <a:lnTo>
                    <a:pt x="0" y="1713"/>
                  </a:lnTo>
                  <a:lnTo>
                    <a:pt x="0" y="0"/>
                  </a:lnTo>
                  <a:lnTo>
                    <a:pt x="1713" y="0"/>
                  </a:lnTo>
                  <a:lnTo>
                    <a:pt x="1713" y="0"/>
                  </a:lnTo>
                  <a:lnTo>
                    <a:pt x="1713" y="0"/>
                  </a:lnTo>
                  <a:lnTo>
                    <a:pt x="1713" y="0"/>
                  </a:lnTo>
                  <a:close/>
                  <a:moveTo>
                    <a:pt x="1536" y="4097"/>
                  </a:moveTo>
                  <a:lnTo>
                    <a:pt x="177" y="4097"/>
                  </a:lnTo>
                  <a:lnTo>
                    <a:pt x="177" y="5452"/>
                  </a:lnTo>
                  <a:lnTo>
                    <a:pt x="1536" y="5452"/>
                  </a:lnTo>
                  <a:lnTo>
                    <a:pt x="1536" y="4097"/>
                  </a:lnTo>
                  <a:lnTo>
                    <a:pt x="1536" y="4097"/>
                  </a:lnTo>
                  <a:lnTo>
                    <a:pt x="1536" y="4097"/>
                  </a:lnTo>
                  <a:close/>
                  <a:moveTo>
                    <a:pt x="1713" y="3917"/>
                  </a:moveTo>
                  <a:lnTo>
                    <a:pt x="1713" y="5630"/>
                  </a:lnTo>
                  <a:lnTo>
                    <a:pt x="0" y="5630"/>
                  </a:lnTo>
                  <a:lnTo>
                    <a:pt x="0" y="3917"/>
                  </a:lnTo>
                  <a:lnTo>
                    <a:pt x="1713" y="3917"/>
                  </a:lnTo>
                  <a:lnTo>
                    <a:pt x="1713" y="3917"/>
                  </a:lnTo>
                  <a:lnTo>
                    <a:pt x="1713" y="3917"/>
                  </a:lnTo>
                  <a:lnTo>
                    <a:pt x="1713" y="3917"/>
                  </a:lnTo>
                  <a:close/>
                  <a:moveTo>
                    <a:pt x="3495" y="2136"/>
                  </a:moveTo>
                  <a:lnTo>
                    <a:pt x="177" y="2136"/>
                  </a:lnTo>
                  <a:lnTo>
                    <a:pt x="177" y="3494"/>
                  </a:lnTo>
                  <a:lnTo>
                    <a:pt x="3495" y="3494"/>
                  </a:lnTo>
                  <a:lnTo>
                    <a:pt x="3495" y="2136"/>
                  </a:lnTo>
                  <a:lnTo>
                    <a:pt x="3495" y="2136"/>
                  </a:lnTo>
                  <a:lnTo>
                    <a:pt x="3495" y="2136"/>
                  </a:lnTo>
                  <a:close/>
                  <a:moveTo>
                    <a:pt x="3672" y="1956"/>
                  </a:moveTo>
                  <a:lnTo>
                    <a:pt x="3672" y="3674"/>
                  </a:lnTo>
                  <a:lnTo>
                    <a:pt x="0" y="3674"/>
                  </a:lnTo>
                  <a:lnTo>
                    <a:pt x="0" y="1956"/>
                  </a:lnTo>
                  <a:lnTo>
                    <a:pt x="3672" y="1956"/>
                  </a:lnTo>
                  <a:lnTo>
                    <a:pt x="3672" y="1956"/>
                  </a:lnTo>
                  <a:lnTo>
                    <a:pt x="3672" y="1956"/>
                  </a:lnTo>
                  <a:lnTo>
                    <a:pt x="3672" y="1956"/>
                  </a:lnTo>
                  <a:close/>
                </a:path>
              </a:pathLst>
            </a:custGeom>
            <a:solidFill>
              <a:srgbClr val="B2B2B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grpSp>
      <p:sp>
        <p:nvSpPr>
          <p:cNvPr id="223" name="Clock face"/>
          <p:cNvSpPr/>
          <p:nvPr/>
        </p:nvSpPr>
        <p:spPr bwMode="auto">
          <a:xfrm>
            <a:off x="1774175" y="2309944"/>
            <a:ext cx="989802" cy="989802"/>
          </a:xfrm>
          <a:prstGeom prst="ellipse">
            <a:avLst/>
          </a:prstGeom>
          <a:solidFill>
            <a:schemeClr val="bg1"/>
          </a:solidFill>
          <a:ln w="38100">
            <a:solidFill>
              <a:srgbClr val="B2B2B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4" name="Group 223"/>
          <p:cNvGrpSpPr/>
          <p:nvPr/>
        </p:nvGrpSpPr>
        <p:grpSpPr>
          <a:xfrm>
            <a:off x="1843882" y="2374110"/>
            <a:ext cx="850388" cy="850388"/>
            <a:chOff x="1880855" y="2426871"/>
            <a:chExt cx="867440" cy="867440"/>
          </a:xfrm>
        </p:grpSpPr>
        <p:sp>
          <p:nvSpPr>
            <p:cNvPr id="225" name="Oval 224"/>
            <p:cNvSpPr/>
            <p:nvPr/>
          </p:nvSpPr>
          <p:spPr bwMode="auto">
            <a:xfrm>
              <a:off x="1880855" y="2426871"/>
              <a:ext cx="867440" cy="86744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6" name="Straight Connector 225"/>
            <p:cNvCxnSpPr/>
            <p:nvPr/>
          </p:nvCxnSpPr>
          <p:spPr>
            <a:xfrm flipV="1">
              <a:off x="2319313" y="2460025"/>
              <a:ext cx="0" cy="401620"/>
            </a:xfrm>
            <a:prstGeom prst="line">
              <a:avLst/>
            </a:prstGeom>
            <a:ln w="38100">
              <a:solidFill>
                <a:srgbClr val="B2B2B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7" name="Group 226"/>
          <p:cNvGrpSpPr/>
          <p:nvPr/>
        </p:nvGrpSpPr>
        <p:grpSpPr>
          <a:xfrm>
            <a:off x="1843882" y="2374558"/>
            <a:ext cx="850388" cy="850388"/>
            <a:chOff x="1880855" y="2426871"/>
            <a:chExt cx="867440" cy="867440"/>
          </a:xfrm>
        </p:grpSpPr>
        <p:sp>
          <p:nvSpPr>
            <p:cNvPr id="228" name="Oval 227"/>
            <p:cNvSpPr/>
            <p:nvPr/>
          </p:nvSpPr>
          <p:spPr bwMode="auto">
            <a:xfrm>
              <a:off x="1880855" y="2426871"/>
              <a:ext cx="867440" cy="86744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9" name="Straight Connector 228"/>
            <p:cNvCxnSpPr/>
            <p:nvPr/>
          </p:nvCxnSpPr>
          <p:spPr>
            <a:xfrm>
              <a:off x="2301107" y="2865329"/>
              <a:ext cx="228891" cy="0"/>
            </a:xfrm>
            <a:prstGeom prst="line">
              <a:avLst/>
            </a:prstGeom>
            <a:ln w="38100">
              <a:solidFill>
                <a:srgbClr val="B2B2B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3" name="App screen"/>
          <p:cNvGrpSpPr/>
          <p:nvPr/>
        </p:nvGrpSpPr>
        <p:grpSpPr>
          <a:xfrm>
            <a:off x="1330004" y="2092467"/>
            <a:ext cx="1873232" cy="1295306"/>
            <a:chOff x="1356673" y="2133929"/>
            <a:chExt cx="1910794" cy="1321280"/>
          </a:xfrm>
        </p:grpSpPr>
        <p:grpSp>
          <p:nvGrpSpPr>
            <p:cNvPr id="234" name="App screen for monitor"/>
            <p:cNvGrpSpPr/>
            <p:nvPr/>
          </p:nvGrpSpPr>
          <p:grpSpPr>
            <a:xfrm>
              <a:off x="1356673" y="2133929"/>
              <a:ext cx="1910794" cy="1321280"/>
              <a:chOff x="1356673" y="2133929"/>
              <a:chExt cx="1910794" cy="1321280"/>
            </a:xfrm>
          </p:grpSpPr>
          <p:sp>
            <p:nvSpPr>
              <p:cNvPr id="236" name="Rectangle 235"/>
              <p:cNvSpPr/>
              <p:nvPr/>
            </p:nvSpPr>
            <p:spPr bwMode="auto">
              <a:xfrm>
                <a:off x="1356673" y="2133929"/>
                <a:ext cx="1910794" cy="13212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Freeform 5"/>
              <p:cNvSpPr>
                <a:spLocks noEditPoints="1"/>
              </p:cNvSpPr>
              <p:nvPr/>
            </p:nvSpPr>
            <p:spPr bwMode="auto">
              <a:xfrm>
                <a:off x="1766523" y="2447491"/>
                <a:ext cx="411149" cy="630385"/>
              </a:xfrm>
              <a:custGeom>
                <a:avLst/>
                <a:gdLst>
                  <a:gd name="T0" fmla="*/ 3672 w 3672"/>
                  <a:gd name="T1" fmla="*/ 1713 h 5630"/>
                  <a:gd name="T2" fmla="*/ 1959 w 3672"/>
                  <a:gd name="T3" fmla="*/ 1713 h 5630"/>
                  <a:gd name="T4" fmla="*/ 1959 w 3672"/>
                  <a:gd name="T5" fmla="*/ 0 h 5630"/>
                  <a:gd name="T6" fmla="*/ 3672 w 3672"/>
                  <a:gd name="T7" fmla="*/ 0 h 5630"/>
                  <a:gd name="T8" fmla="*/ 3672 w 3672"/>
                  <a:gd name="T9" fmla="*/ 1713 h 5630"/>
                  <a:gd name="T10" fmla="*/ 3672 w 3672"/>
                  <a:gd name="T11" fmla="*/ 1713 h 5630"/>
                  <a:gd name="T12" fmla="*/ 3672 w 3672"/>
                  <a:gd name="T13" fmla="*/ 1713 h 5630"/>
                  <a:gd name="T14" fmla="*/ 1536 w 3672"/>
                  <a:gd name="T15" fmla="*/ 178 h 5630"/>
                  <a:gd name="T16" fmla="*/ 177 w 3672"/>
                  <a:gd name="T17" fmla="*/ 178 h 5630"/>
                  <a:gd name="T18" fmla="*/ 177 w 3672"/>
                  <a:gd name="T19" fmla="*/ 1533 h 5630"/>
                  <a:gd name="T20" fmla="*/ 1536 w 3672"/>
                  <a:gd name="T21" fmla="*/ 1533 h 5630"/>
                  <a:gd name="T22" fmla="*/ 1536 w 3672"/>
                  <a:gd name="T23" fmla="*/ 178 h 5630"/>
                  <a:gd name="T24" fmla="*/ 1536 w 3672"/>
                  <a:gd name="T25" fmla="*/ 178 h 5630"/>
                  <a:gd name="T26" fmla="*/ 1536 w 3672"/>
                  <a:gd name="T27" fmla="*/ 178 h 5630"/>
                  <a:gd name="T28" fmla="*/ 1713 w 3672"/>
                  <a:gd name="T29" fmla="*/ 0 h 5630"/>
                  <a:gd name="T30" fmla="*/ 1713 w 3672"/>
                  <a:gd name="T31" fmla="*/ 1713 h 5630"/>
                  <a:gd name="T32" fmla="*/ 0 w 3672"/>
                  <a:gd name="T33" fmla="*/ 1713 h 5630"/>
                  <a:gd name="T34" fmla="*/ 0 w 3672"/>
                  <a:gd name="T35" fmla="*/ 0 h 5630"/>
                  <a:gd name="T36" fmla="*/ 1713 w 3672"/>
                  <a:gd name="T37" fmla="*/ 0 h 5630"/>
                  <a:gd name="T38" fmla="*/ 1713 w 3672"/>
                  <a:gd name="T39" fmla="*/ 0 h 5630"/>
                  <a:gd name="T40" fmla="*/ 1713 w 3672"/>
                  <a:gd name="T41" fmla="*/ 0 h 5630"/>
                  <a:gd name="T42" fmla="*/ 1713 w 3672"/>
                  <a:gd name="T43" fmla="*/ 0 h 5630"/>
                  <a:gd name="T44" fmla="*/ 1536 w 3672"/>
                  <a:gd name="T45" fmla="*/ 4097 h 5630"/>
                  <a:gd name="T46" fmla="*/ 177 w 3672"/>
                  <a:gd name="T47" fmla="*/ 4097 h 5630"/>
                  <a:gd name="T48" fmla="*/ 177 w 3672"/>
                  <a:gd name="T49" fmla="*/ 5452 h 5630"/>
                  <a:gd name="T50" fmla="*/ 1536 w 3672"/>
                  <a:gd name="T51" fmla="*/ 5452 h 5630"/>
                  <a:gd name="T52" fmla="*/ 1536 w 3672"/>
                  <a:gd name="T53" fmla="*/ 4097 h 5630"/>
                  <a:gd name="T54" fmla="*/ 1536 w 3672"/>
                  <a:gd name="T55" fmla="*/ 4097 h 5630"/>
                  <a:gd name="T56" fmla="*/ 1536 w 3672"/>
                  <a:gd name="T57" fmla="*/ 4097 h 5630"/>
                  <a:gd name="T58" fmla="*/ 1713 w 3672"/>
                  <a:gd name="T59" fmla="*/ 3917 h 5630"/>
                  <a:gd name="T60" fmla="*/ 1713 w 3672"/>
                  <a:gd name="T61" fmla="*/ 5630 h 5630"/>
                  <a:gd name="T62" fmla="*/ 0 w 3672"/>
                  <a:gd name="T63" fmla="*/ 5630 h 5630"/>
                  <a:gd name="T64" fmla="*/ 0 w 3672"/>
                  <a:gd name="T65" fmla="*/ 3917 h 5630"/>
                  <a:gd name="T66" fmla="*/ 1713 w 3672"/>
                  <a:gd name="T67" fmla="*/ 3917 h 5630"/>
                  <a:gd name="T68" fmla="*/ 1713 w 3672"/>
                  <a:gd name="T69" fmla="*/ 3917 h 5630"/>
                  <a:gd name="T70" fmla="*/ 1713 w 3672"/>
                  <a:gd name="T71" fmla="*/ 3917 h 5630"/>
                  <a:gd name="T72" fmla="*/ 1713 w 3672"/>
                  <a:gd name="T73" fmla="*/ 3917 h 5630"/>
                  <a:gd name="T74" fmla="*/ 3495 w 3672"/>
                  <a:gd name="T75" fmla="*/ 2136 h 5630"/>
                  <a:gd name="T76" fmla="*/ 177 w 3672"/>
                  <a:gd name="T77" fmla="*/ 2136 h 5630"/>
                  <a:gd name="T78" fmla="*/ 177 w 3672"/>
                  <a:gd name="T79" fmla="*/ 3494 h 5630"/>
                  <a:gd name="T80" fmla="*/ 3495 w 3672"/>
                  <a:gd name="T81" fmla="*/ 3494 h 5630"/>
                  <a:gd name="T82" fmla="*/ 3495 w 3672"/>
                  <a:gd name="T83" fmla="*/ 2136 h 5630"/>
                  <a:gd name="T84" fmla="*/ 3495 w 3672"/>
                  <a:gd name="T85" fmla="*/ 2136 h 5630"/>
                  <a:gd name="T86" fmla="*/ 3495 w 3672"/>
                  <a:gd name="T87" fmla="*/ 2136 h 5630"/>
                  <a:gd name="T88" fmla="*/ 3672 w 3672"/>
                  <a:gd name="T89" fmla="*/ 1956 h 5630"/>
                  <a:gd name="T90" fmla="*/ 3672 w 3672"/>
                  <a:gd name="T91" fmla="*/ 3674 h 5630"/>
                  <a:gd name="T92" fmla="*/ 0 w 3672"/>
                  <a:gd name="T93" fmla="*/ 3674 h 5630"/>
                  <a:gd name="T94" fmla="*/ 0 w 3672"/>
                  <a:gd name="T95" fmla="*/ 1956 h 5630"/>
                  <a:gd name="T96" fmla="*/ 3672 w 3672"/>
                  <a:gd name="T97" fmla="*/ 1956 h 5630"/>
                  <a:gd name="T98" fmla="*/ 3672 w 3672"/>
                  <a:gd name="T99" fmla="*/ 1956 h 5630"/>
                  <a:gd name="T100" fmla="*/ 3672 w 3672"/>
                  <a:gd name="T101" fmla="*/ 1956 h 5630"/>
                  <a:gd name="T102" fmla="*/ 3672 w 3672"/>
                  <a:gd name="T103" fmla="*/ 1956 h 5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2" h="5630">
                    <a:moveTo>
                      <a:pt x="3672" y="1713"/>
                    </a:moveTo>
                    <a:lnTo>
                      <a:pt x="1959" y="1713"/>
                    </a:lnTo>
                    <a:lnTo>
                      <a:pt x="1959" y="0"/>
                    </a:lnTo>
                    <a:lnTo>
                      <a:pt x="3672" y="0"/>
                    </a:lnTo>
                    <a:lnTo>
                      <a:pt x="3672" y="1713"/>
                    </a:lnTo>
                    <a:lnTo>
                      <a:pt x="3672" y="1713"/>
                    </a:lnTo>
                    <a:lnTo>
                      <a:pt x="3672" y="1713"/>
                    </a:lnTo>
                    <a:close/>
                    <a:moveTo>
                      <a:pt x="1536" y="178"/>
                    </a:moveTo>
                    <a:lnTo>
                      <a:pt x="177" y="178"/>
                    </a:lnTo>
                    <a:lnTo>
                      <a:pt x="177" y="1533"/>
                    </a:lnTo>
                    <a:lnTo>
                      <a:pt x="1536" y="1533"/>
                    </a:lnTo>
                    <a:lnTo>
                      <a:pt x="1536" y="178"/>
                    </a:lnTo>
                    <a:lnTo>
                      <a:pt x="1536" y="178"/>
                    </a:lnTo>
                    <a:lnTo>
                      <a:pt x="1536" y="178"/>
                    </a:lnTo>
                    <a:close/>
                    <a:moveTo>
                      <a:pt x="1713" y="0"/>
                    </a:moveTo>
                    <a:lnTo>
                      <a:pt x="1713" y="1713"/>
                    </a:lnTo>
                    <a:lnTo>
                      <a:pt x="0" y="1713"/>
                    </a:lnTo>
                    <a:lnTo>
                      <a:pt x="0" y="0"/>
                    </a:lnTo>
                    <a:lnTo>
                      <a:pt x="1713" y="0"/>
                    </a:lnTo>
                    <a:lnTo>
                      <a:pt x="1713" y="0"/>
                    </a:lnTo>
                    <a:lnTo>
                      <a:pt x="1713" y="0"/>
                    </a:lnTo>
                    <a:lnTo>
                      <a:pt x="1713" y="0"/>
                    </a:lnTo>
                    <a:close/>
                    <a:moveTo>
                      <a:pt x="1536" y="4097"/>
                    </a:moveTo>
                    <a:lnTo>
                      <a:pt x="177" y="4097"/>
                    </a:lnTo>
                    <a:lnTo>
                      <a:pt x="177" y="5452"/>
                    </a:lnTo>
                    <a:lnTo>
                      <a:pt x="1536" y="5452"/>
                    </a:lnTo>
                    <a:lnTo>
                      <a:pt x="1536" y="4097"/>
                    </a:lnTo>
                    <a:lnTo>
                      <a:pt x="1536" y="4097"/>
                    </a:lnTo>
                    <a:lnTo>
                      <a:pt x="1536" y="4097"/>
                    </a:lnTo>
                    <a:close/>
                    <a:moveTo>
                      <a:pt x="1713" y="3917"/>
                    </a:moveTo>
                    <a:lnTo>
                      <a:pt x="1713" y="5630"/>
                    </a:lnTo>
                    <a:lnTo>
                      <a:pt x="0" y="5630"/>
                    </a:lnTo>
                    <a:lnTo>
                      <a:pt x="0" y="3917"/>
                    </a:lnTo>
                    <a:lnTo>
                      <a:pt x="1713" y="3917"/>
                    </a:lnTo>
                    <a:lnTo>
                      <a:pt x="1713" y="3917"/>
                    </a:lnTo>
                    <a:lnTo>
                      <a:pt x="1713" y="3917"/>
                    </a:lnTo>
                    <a:lnTo>
                      <a:pt x="1713" y="3917"/>
                    </a:lnTo>
                    <a:close/>
                    <a:moveTo>
                      <a:pt x="3495" y="2136"/>
                    </a:moveTo>
                    <a:lnTo>
                      <a:pt x="177" y="2136"/>
                    </a:lnTo>
                    <a:lnTo>
                      <a:pt x="177" y="3494"/>
                    </a:lnTo>
                    <a:lnTo>
                      <a:pt x="3495" y="3494"/>
                    </a:lnTo>
                    <a:lnTo>
                      <a:pt x="3495" y="2136"/>
                    </a:lnTo>
                    <a:lnTo>
                      <a:pt x="3495" y="2136"/>
                    </a:lnTo>
                    <a:lnTo>
                      <a:pt x="3495" y="2136"/>
                    </a:lnTo>
                    <a:close/>
                    <a:moveTo>
                      <a:pt x="3672" y="1956"/>
                    </a:moveTo>
                    <a:lnTo>
                      <a:pt x="3672" y="3674"/>
                    </a:lnTo>
                    <a:lnTo>
                      <a:pt x="0" y="3674"/>
                    </a:lnTo>
                    <a:lnTo>
                      <a:pt x="0" y="1956"/>
                    </a:lnTo>
                    <a:lnTo>
                      <a:pt x="3672" y="1956"/>
                    </a:lnTo>
                    <a:lnTo>
                      <a:pt x="3672" y="1956"/>
                    </a:lnTo>
                    <a:lnTo>
                      <a:pt x="3672" y="1956"/>
                    </a:lnTo>
                    <a:lnTo>
                      <a:pt x="3672" y="1956"/>
                    </a:lnTo>
                    <a:close/>
                  </a:path>
                </a:pathLst>
              </a:custGeom>
              <a:solidFill>
                <a:srgbClr val="B2B2B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grpSp>
        <p:sp>
          <p:nvSpPr>
            <p:cNvPr id="235" name="TextBox 234"/>
            <p:cNvSpPr txBox="1"/>
            <p:nvPr/>
          </p:nvSpPr>
          <p:spPr>
            <a:xfrm>
              <a:off x="2140374" y="2276400"/>
              <a:ext cx="736978" cy="960263"/>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4705" dirty="0">
                  <a:gradFill>
                    <a:gsLst>
                      <a:gs pos="79646">
                        <a:srgbClr val="FF0000"/>
                      </a:gs>
                      <a:gs pos="30000">
                        <a:srgbClr val="FF0000"/>
                      </a:gs>
                    </a:gsLst>
                    <a:lin ang="5400000" scaled="0"/>
                  </a:gradFill>
                </a:rPr>
                <a:t>!</a:t>
              </a:r>
            </a:p>
          </p:txBody>
        </p:sp>
      </p:grpSp>
      <p:sp>
        <p:nvSpPr>
          <p:cNvPr id="238" name="Mask"/>
          <p:cNvSpPr/>
          <p:nvPr/>
        </p:nvSpPr>
        <p:spPr bwMode="auto">
          <a:xfrm>
            <a:off x="2252141" y="2370872"/>
            <a:ext cx="380262" cy="5933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Check mark"/>
          <p:cNvSpPr txBox="1"/>
          <p:nvPr/>
        </p:nvSpPr>
        <p:spPr>
          <a:xfrm>
            <a:off x="2155937" y="2392736"/>
            <a:ext cx="663532" cy="789211"/>
          </a:xfrm>
          <a:prstGeom prst="rect">
            <a:avLst/>
          </a:prstGeom>
          <a:noFill/>
        </p:spPr>
        <p:txBody>
          <a:bodyPr wrap="square" lIns="152328" tIns="121861" rIns="152328" bIns="121861" rtlCol="0">
            <a:spAutoFit/>
          </a:bodyPr>
          <a:lstStyle/>
          <a:p>
            <a:pPr defTabSz="914367">
              <a:lnSpc>
                <a:spcPct val="90000"/>
              </a:lnSpc>
            </a:pPr>
            <a:r>
              <a:rPr lang="en-US" sz="3921" b="1" dirty="0">
                <a:solidFill>
                  <a:srgbClr val="BAD80A">
                    <a:lumMod val="75000"/>
                  </a:srgbClr>
                </a:solidFill>
                <a:sym typeface="Wingdings" panose="05000000000000000000" pitchFamily="2" charset="2"/>
              </a:rPr>
              <a:t></a:t>
            </a:r>
            <a:endParaRPr lang="en-US" sz="3921" b="1" dirty="0">
              <a:solidFill>
                <a:srgbClr val="BAD80A">
                  <a:lumMod val="75000"/>
                </a:srgbClr>
              </a:solidFill>
            </a:endParaRPr>
          </a:p>
        </p:txBody>
      </p:sp>
      <p:cxnSp>
        <p:nvCxnSpPr>
          <p:cNvPr id="137" name="Straight Connector 136"/>
          <p:cNvCxnSpPr/>
          <p:nvPr/>
        </p:nvCxnSpPr>
        <p:spPr>
          <a:xfrm>
            <a:off x="6582689" y="3052234"/>
            <a:ext cx="0" cy="482350"/>
          </a:xfrm>
          <a:prstGeom prst="line">
            <a:avLst/>
          </a:prstGeom>
          <a:ln w="22225" cap="sq">
            <a:solidFill>
              <a:schemeClr val="tx1"/>
            </a:solidFill>
            <a:prstDash val="sysDot"/>
            <a:miter lim="800000"/>
            <a:headEnd type="none" w="sm" len="sm"/>
            <a:tailEnd type="triangl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bwMode="auto">
          <a:xfrm>
            <a:off x="5531458" y="3534581"/>
            <a:ext cx="2097447" cy="5213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a:t>
            </a:r>
          </a:p>
        </p:txBody>
      </p:sp>
      <p:sp>
        <p:nvSpPr>
          <p:cNvPr id="149" name="Freeform 5"/>
          <p:cNvSpPr>
            <a:spLocks noEditPoints="1"/>
          </p:cNvSpPr>
          <p:nvPr/>
        </p:nvSpPr>
        <p:spPr bwMode="auto">
          <a:xfrm>
            <a:off x="7304295" y="3653760"/>
            <a:ext cx="184541" cy="282943"/>
          </a:xfrm>
          <a:custGeom>
            <a:avLst/>
            <a:gdLst>
              <a:gd name="T0" fmla="*/ 3672 w 3672"/>
              <a:gd name="T1" fmla="*/ 1713 h 5630"/>
              <a:gd name="T2" fmla="*/ 1959 w 3672"/>
              <a:gd name="T3" fmla="*/ 1713 h 5630"/>
              <a:gd name="T4" fmla="*/ 1959 w 3672"/>
              <a:gd name="T5" fmla="*/ 0 h 5630"/>
              <a:gd name="T6" fmla="*/ 3672 w 3672"/>
              <a:gd name="T7" fmla="*/ 0 h 5630"/>
              <a:gd name="T8" fmla="*/ 3672 w 3672"/>
              <a:gd name="T9" fmla="*/ 1713 h 5630"/>
              <a:gd name="T10" fmla="*/ 3672 w 3672"/>
              <a:gd name="T11" fmla="*/ 1713 h 5630"/>
              <a:gd name="T12" fmla="*/ 3672 w 3672"/>
              <a:gd name="T13" fmla="*/ 1713 h 5630"/>
              <a:gd name="T14" fmla="*/ 1536 w 3672"/>
              <a:gd name="T15" fmla="*/ 178 h 5630"/>
              <a:gd name="T16" fmla="*/ 177 w 3672"/>
              <a:gd name="T17" fmla="*/ 178 h 5630"/>
              <a:gd name="T18" fmla="*/ 177 w 3672"/>
              <a:gd name="T19" fmla="*/ 1533 h 5630"/>
              <a:gd name="T20" fmla="*/ 1536 w 3672"/>
              <a:gd name="T21" fmla="*/ 1533 h 5630"/>
              <a:gd name="T22" fmla="*/ 1536 w 3672"/>
              <a:gd name="T23" fmla="*/ 178 h 5630"/>
              <a:gd name="T24" fmla="*/ 1536 w 3672"/>
              <a:gd name="T25" fmla="*/ 178 h 5630"/>
              <a:gd name="T26" fmla="*/ 1536 w 3672"/>
              <a:gd name="T27" fmla="*/ 178 h 5630"/>
              <a:gd name="T28" fmla="*/ 1713 w 3672"/>
              <a:gd name="T29" fmla="*/ 0 h 5630"/>
              <a:gd name="T30" fmla="*/ 1713 w 3672"/>
              <a:gd name="T31" fmla="*/ 1713 h 5630"/>
              <a:gd name="T32" fmla="*/ 0 w 3672"/>
              <a:gd name="T33" fmla="*/ 1713 h 5630"/>
              <a:gd name="T34" fmla="*/ 0 w 3672"/>
              <a:gd name="T35" fmla="*/ 0 h 5630"/>
              <a:gd name="T36" fmla="*/ 1713 w 3672"/>
              <a:gd name="T37" fmla="*/ 0 h 5630"/>
              <a:gd name="T38" fmla="*/ 1713 w 3672"/>
              <a:gd name="T39" fmla="*/ 0 h 5630"/>
              <a:gd name="T40" fmla="*/ 1713 w 3672"/>
              <a:gd name="T41" fmla="*/ 0 h 5630"/>
              <a:gd name="T42" fmla="*/ 1713 w 3672"/>
              <a:gd name="T43" fmla="*/ 0 h 5630"/>
              <a:gd name="T44" fmla="*/ 1536 w 3672"/>
              <a:gd name="T45" fmla="*/ 4097 h 5630"/>
              <a:gd name="T46" fmla="*/ 177 w 3672"/>
              <a:gd name="T47" fmla="*/ 4097 h 5630"/>
              <a:gd name="T48" fmla="*/ 177 w 3672"/>
              <a:gd name="T49" fmla="*/ 5452 h 5630"/>
              <a:gd name="T50" fmla="*/ 1536 w 3672"/>
              <a:gd name="T51" fmla="*/ 5452 h 5630"/>
              <a:gd name="T52" fmla="*/ 1536 w 3672"/>
              <a:gd name="T53" fmla="*/ 4097 h 5630"/>
              <a:gd name="T54" fmla="*/ 1536 w 3672"/>
              <a:gd name="T55" fmla="*/ 4097 h 5630"/>
              <a:gd name="T56" fmla="*/ 1536 w 3672"/>
              <a:gd name="T57" fmla="*/ 4097 h 5630"/>
              <a:gd name="T58" fmla="*/ 1713 w 3672"/>
              <a:gd name="T59" fmla="*/ 3917 h 5630"/>
              <a:gd name="T60" fmla="*/ 1713 w 3672"/>
              <a:gd name="T61" fmla="*/ 5630 h 5630"/>
              <a:gd name="T62" fmla="*/ 0 w 3672"/>
              <a:gd name="T63" fmla="*/ 5630 h 5630"/>
              <a:gd name="T64" fmla="*/ 0 w 3672"/>
              <a:gd name="T65" fmla="*/ 3917 h 5630"/>
              <a:gd name="T66" fmla="*/ 1713 w 3672"/>
              <a:gd name="T67" fmla="*/ 3917 h 5630"/>
              <a:gd name="T68" fmla="*/ 1713 w 3672"/>
              <a:gd name="T69" fmla="*/ 3917 h 5630"/>
              <a:gd name="T70" fmla="*/ 1713 w 3672"/>
              <a:gd name="T71" fmla="*/ 3917 h 5630"/>
              <a:gd name="T72" fmla="*/ 1713 w 3672"/>
              <a:gd name="T73" fmla="*/ 3917 h 5630"/>
              <a:gd name="T74" fmla="*/ 3495 w 3672"/>
              <a:gd name="T75" fmla="*/ 2136 h 5630"/>
              <a:gd name="T76" fmla="*/ 177 w 3672"/>
              <a:gd name="T77" fmla="*/ 2136 h 5630"/>
              <a:gd name="T78" fmla="*/ 177 w 3672"/>
              <a:gd name="T79" fmla="*/ 3494 h 5630"/>
              <a:gd name="T80" fmla="*/ 3495 w 3672"/>
              <a:gd name="T81" fmla="*/ 3494 h 5630"/>
              <a:gd name="T82" fmla="*/ 3495 w 3672"/>
              <a:gd name="T83" fmla="*/ 2136 h 5630"/>
              <a:gd name="T84" fmla="*/ 3495 w 3672"/>
              <a:gd name="T85" fmla="*/ 2136 h 5630"/>
              <a:gd name="T86" fmla="*/ 3495 w 3672"/>
              <a:gd name="T87" fmla="*/ 2136 h 5630"/>
              <a:gd name="T88" fmla="*/ 3672 w 3672"/>
              <a:gd name="T89" fmla="*/ 1956 h 5630"/>
              <a:gd name="T90" fmla="*/ 3672 w 3672"/>
              <a:gd name="T91" fmla="*/ 3674 h 5630"/>
              <a:gd name="T92" fmla="*/ 0 w 3672"/>
              <a:gd name="T93" fmla="*/ 3674 h 5630"/>
              <a:gd name="T94" fmla="*/ 0 w 3672"/>
              <a:gd name="T95" fmla="*/ 1956 h 5630"/>
              <a:gd name="T96" fmla="*/ 3672 w 3672"/>
              <a:gd name="T97" fmla="*/ 1956 h 5630"/>
              <a:gd name="T98" fmla="*/ 3672 w 3672"/>
              <a:gd name="T99" fmla="*/ 1956 h 5630"/>
              <a:gd name="T100" fmla="*/ 3672 w 3672"/>
              <a:gd name="T101" fmla="*/ 1956 h 5630"/>
              <a:gd name="T102" fmla="*/ 3672 w 3672"/>
              <a:gd name="T103" fmla="*/ 1956 h 5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2" h="5630">
                <a:moveTo>
                  <a:pt x="3672" y="1713"/>
                </a:moveTo>
                <a:lnTo>
                  <a:pt x="1959" y="1713"/>
                </a:lnTo>
                <a:lnTo>
                  <a:pt x="1959" y="0"/>
                </a:lnTo>
                <a:lnTo>
                  <a:pt x="3672" y="0"/>
                </a:lnTo>
                <a:lnTo>
                  <a:pt x="3672" y="1713"/>
                </a:lnTo>
                <a:lnTo>
                  <a:pt x="3672" y="1713"/>
                </a:lnTo>
                <a:lnTo>
                  <a:pt x="3672" y="1713"/>
                </a:lnTo>
                <a:close/>
                <a:moveTo>
                  <a:pt x="1536" y="178"/>
                </a:moveTo>
                <a:lnTo>
                  <a:pt x="177" y="178"/>
                </a:lnTo>
                <a:lnTo>
                  <a:pt x="177" y="1533"/>
                </a:lnTo>
                <a:lnTo>
                  <a:pt x="1536" y="1533"/>
                </a:lnTo>
                <a:lnTo>
                  <a:pt x="1536" y="178"/>
                </a:lnTo>
                <a:lnTo>
                  <a:pt x="1536" y="178"/>
                </a:lnTo>
                <a:lnTo>
                  <a:pt x="1536" y="178"/>
                </a:lnTo>
                <a:close/>
                <a:moveTo>
                  <a:pt x="1713" y="0"/>
                </a:moveTo>
                <a:lnTo>
                  <a:pt x="1713" y="1713"/>
                </a:lnTo>
                <a:lnTo>
                  <a:pt x="0" y="1713"/>
                </a:lnTo>
                <a:lnTo>
                  <a:pt x="0" y="0"/>
                </a:lnTo>
                <a:lnTo>
                  <a:pt x="1713" y="0"/>
                </a:lnTo>
                <a:lnTo>
                  <a:pt x="1713" y="0"/>
                </a:lnTo>
                <a:lnTo>
                  <a:pt x="1713" y="0"/>
                </a:lnTo>
                <a:lnTo>
                  <a:pt x="1713" y="0"/>
                </a:lnTo>
                <a:close/>
                <a:moveTo>
                  <a:pt x="1536" y="4097"/>
                </a:moveTo>
                <a:lnTo>
                  <a:pt x="177" y="4097"/>
                </a:lnTo>
                <a:lnTo>
                  <a:pt x="177" y="5452"/>
                </a:lnTo>
                <a:lnTo>
                  <a:pt x="1536" y="5452"/>
                </a:lnTo>
                <a:lnTo>
                  <a:pt x="1536" y="4097"/>
                </a:lnTo>
                <a:lnTo>
                  <a:pt x="1536" y="4097"/>
                </a:lnTo>
                <a:lnTo>
                  <a:pt x="1536" y="4097"/>
                </a:lnTo>
                <a:close/>
                <a:moveTo>
                  <a:pt x="1713" y="3917"/>
                </a:moveTo>
                <a:lnTo>
                  <a:pt x="1713" y="5630"/>
                </a:lnTo>
                <a:lnTo>
                  <a:pt x="0" y="5630"/>
                </a:lnTo>
                <a:lnTo>
                  <a:pt x="0" y="3917"/>
                </a:lnTo>
                <a:lnTo>
                  <a:pt x="1713" y="3917"/>
                </a:lnTo>
                <a:lnTo>
                  <a:pt x="1713" y="3917"/>
                </a:lnTo>
                <a:lnTo>
                  <a:pt x="1713" y="3917"/>
                </a:lnTo>
                <a:lnTo>
                  <a:pt x="1713" y="3917"/>
                </a:lnTo>
                <a:close/>
                <a:moveTo>
                  <a:pt x="3495" y="2136"/>
                </a:moveTo>
                <a:lnTo>
                  <a:pt x="177" y="2136"/>
                </a:lnTo>
                <a:lnTo>
                  <a:pt x="177" y="3494"/>
                </a:lnTo>
                <a:lnTo>
                  <a:pt x="3495" y="3494"/>
                </a:lnTo>
                <a:lnTo>
                  <a:pt x="3495" y="2136"/>
                </a:lnTo>
                <a:lnTo>
                  <a:pt x="3495" y="2136"/>
                </a:lnTo>
                <a:lnTo>
                  <a:pt x="3495" y="2136"/>
                </a:lnTo>
                <a:close/>
                <a:moveTo>
                  <a:pt x="3672" y="1956"/>
                </a:moveTo>
                <a:lnTo>
                  <a:pt x="3672" y="3674"/>
                </a:lnTo>
                <a:lnTo>
                  <a:pt x="0" y="3674"/>
                </a:lnTo>
                <a:lnTo>
                  <a:pt x="0" y="1956"/>
                </a:lnTo>
                <a:lnTo>
                  <a:pt x="3672" y="1956"/>
                </a:lnTo>
                <a:lnTo>
                  <a:pt x="3672" y="1956"/>
                </a:lnTo>
                <a:lnTo>
                  <a:pt x="3672" y="1956"/>
                </a:lnTo>
                <a:lnTo>
                  <a:pt x="3672" y="195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282828"/>
              </a:solidFill>
            </a:endParaRPr>
          </a:p>
        </p:txBody>
      </p:sp>
      <p:grpSp>
        <p:nvGrpSpPr>
          <p:cNvPr id="5" name="Group 4"/>
          <p:cNvGrpSpPr/>
          <p:nvPr/>
        </p:nvGrpSpPr>
        <p:grpSpPr>
          <a:xfrm>
            <a:off x="8753285" y="3132152"/>
            <a:ext cx="3239058" cy="1696320"/>
            <a:chOff x="8187277" y="3107437"/>
            <a:chExt cx="3730925" cy="1953915"/>
          </a:xfrm>
        </p:grpSpPr>
        <p:grpSp>
          <p:nvGrpSpPr>
            <p:cNvPr id="105" name="Group 104"/>
            <p:cNvGrpSpPr/>
            <p:nvPr/>
          </p:nvGrpSpPr>
          <p:grpSpPr>
            <a:xfrm>
              <a:off x="8187277" y="3107437"/>
              <a:ext cx="3730925" cy="1953915"/>
              <a:chOff x="8187277" y="3107437"/>
              <a:chExt cx="3730925" cy="1953915"/>
            </a:xfrm>
          </p:grpSpPr>
          <p:sp>
            <p:nvSpPr>
              <p:cNvPr id="106" name="Freeform 539"/>
              <p:cNvSpPr>
                <a:spLocks noChangeAspect="1"/>
              </p:cNvSpPr>
              <p:nvPr/>
            </p:nvSpPr>
            <p:spPr bwMode="auto">
              <a:xfrm>
                <a:off x="8187277" y="3107437"/>
                <a:ext cx="3730925" cy="195391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w="34925">
                <a:solidFill>
                  <a:schemeClr val="bg1"/>
                </a:solidFill>
              </a:ln>
              <a:extLst/>
            </p:spPr>
            <p:txBody>
              <a:bodyPr vert="horz" wrap="square" lIns="179285" tIns="537855" rIns="0" bIns="134464" numCol="1" anchor="ctr" anchorCtr="0" compatLnSpc="1">
                <a:prstTxWarp prst="textNoShape">
                  <a:avLst/>
                </a:prstTxWarp>
              </a:bodyPr>
              <a:lstStyle/>
              <a:p>
                <a:pPr algn="ctr" defTabSz="914206">
                  <a:lnSpc>
                    <a:spcPct val="90000"/>
                  </a:lnSpc>
                </a:pPr>
                <a:endParaRPr lang="en-US" sz="1400" dirty="0">
                  <a:gradFill>
                    <a:gsLst>
                      <a:gs pos="17219">
                        <a:srgbClr val="FFFFFF"/>
                      </a:gs>
                      <a:gs pos="32743">
                        <a:srgbClr val="FFFFFF"/>
                      </a:gs>
                    </a:gsLst>
                    <a:lin ang="5400000" scaled="0"/>
                  </a:gradFill>
                  <a:latin typeface="Segoe UI Semibold" panose="020B0702040204020203" pitchFamily="34" charset="0"/>
                </a:endParaRPr>
              </a:p>
            </p:txBody>
          </p:sp>
          <p:sp>
            <p:nvSpPr>
              <p:cNvPr id="107" name="TextBox 106"/>
              <p:cNvSpPr txBox="1"/>
              <p:nvPr/>
            </p:nvSpPr>
            <p:spPr>
              <a:xfrm>
                <a:off x="9295370" y="3612426"/>
                <a:ext cx="1172629" cy="275204"/>
              </a:xfrm>
              <a:custGeom>
                <a:avLst/>
                <a:gdLst>
                  <a:gd name="connsiteX0" fmla="*/ 84711 w 1834723"/>
                  <a:gd name="connsiteY0" fmla="*/ 0 h 275204"/>
                  <a:gd name="connsiteX1" fmla="*/ 1750011 w 1834723"/>
                  <a:gd name="connsiteY1" fmla="*/ 0 h 275204"/>
                  <a:gd name="connsiteX2" fmla="*/ 1768329 w 1834723"/>
                  <a:gd name="connsiteY2" fmla="*/ 32076 h 275204"/>
                  <a:gd name="connsiteX3" fmla="*/ 1822142 w 1834723"/>
                  <a:gd name="connsiteY3" fmla="*/ 196853 h 275204"/>
                  <a:gd name="connsiteX4" fmla="*/ 1834723 w 1834723"/>
                  <a:gd name="connsiteY4" fmla="*/ 275204 h 275204"/>
                  <a:gd name="connsiteX5" fmla="*/ 0 w 1834723"/>
                  <a:gd name="connsiteY5" fmla="*/ 275204 h 275204"/>
                  <a:gd name="connsiteX6" fmla="*/ 12580 w 1834723"/>
                  <a:gd name="connsiteY6" fmla="*/ 196853 h 275204"/>
                  <a:gd name="connsiteX7" fmla="*/ 66394 w 1834723"/>
                  <a:gd name="connsiteY7" fmla="*/ 32076 h 275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723" h="275204">
                    <a:moveTo>
                      <a:pt x="84711" y="0"/>
                    </a:moveTo>
                    <a:lnTo>
                      <a:pt x="1750011" y="0"/>
                    </a:lnTo>
                    <a:lnTo>
                      <a:pt x="1768329" y="32076"/>
                    </a:lnTo>
                    <a:cubicBezTo>
                      <a:pt x="1791695" y="84587"/>
                      <a:pt x="1809840" y="139709"/>
                      <a:pt x="1822142" y="196853"/>
                    </a:cubicBezTo>
                    <a:lnTo>
                      <a:pt x="1834723" y="275204"/>
                    </a:lnTo>
                    <a:lnTo>
                      <a:pt x="0" y="275204"/>
                    </a:lnTo>
                    <a:lnTo>
                      <a:pt x="12580" y="196853"/>
                    </a:lnTo>
                    <a:cubicBezTo>
                      <a:pt x="24883" y="139709"/>
                      <a:pt x="43027" y="84587"/>
                      <a:pt x="66394" y="32076"/>
                    </a:cubicBezTo>
                    <a:close/>
                  </a:path>
                </a:pathLst>
              </a:custGeom>
              <a:noFill/>
            </p:spPr>
            <p:txBody>
              <a:bodyPr wrap="square" lIns="182880" tIns="146304" rIns="182880" bIns="146304" rtlCol="0" anchor="ctr" anchorCtr="0">
                <a:noAutofit/>
              </a:bodyPr>
              <a:lstStyle/>
              <a:p>
                <a:pPr algn="ctr" defTabSz="914206">
                  <a:lnSpc>
                    <a:spcPct val="90000"/>
                  </a:lnSpc>
                  <a:spcAft>
                    <a:spcPts val="600"/>
                  </a:spcAft>
                </a:pPr>
                <a:r>
                  <a:rPr lang="en-US" sz="1400" dirty="0">
                    <a:gradFill>
                      <a:gsLst>
                        <a:gs pos="17219">
                          <a:srgbClr val="FFFFFF"/>
                        </a:gs>
                        <a:gs pos="32743">
                          <a:srgbClr val="FFFFFF"/>
                        </a:gs>
                      </a:gsLst>
                      <a:lin ang="5400000" scaled="0"/>
                    </a:gradFill>
                    <a:latin typeface="Segoe UI Semibold" panose="020B0702040204020203" pitchFamily="34" charset="0"/>
                  </a:rPr>
                  <a:t>AZURE</a:t>
                </a:r>
              </a:p>
            </p:txBody>
          </p:sp>
        </p:grpSp>
        <p:sp>
          <p:nvSpPr>
            <p:cNvPr id="150" name="Freeform 539"/>
            <p:cNvSpPr>
              <a:spLocks noChangeAspect="1"/>
            </p:cNvSpPr>
            <p:nvPr/>
          </p:nvSpPr>
          <p:spPr bwMode="auto">
            <a:xfrm>
              <a:off x="8373109" y="4028585"/>
              <a:ext cx="1740432" cy="911478"/>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3"/>
            </a:solidFill>
            <a:ln w="34925">
              <a:solidFill>
                <a:schemeClr val="bg1"/>
              </a:solidFill>
            </a:ln>
            <a:extLst/>
          </p:spPr>
          <p:txBody>
            <a:bodyPr vert="horz" wrap="square" lIns="179285" tIns="537855" rIns="0" bIns="134464" numCol="1" anchor="ctr" anchorCtr="0" compatLnSpc="1">
              <a:prstTxWarp prst="textNoShape">
                <a:avLst/>
              </a:prstTxWarp>
            </a:bodyPr>
            <a:lstStyle/>
            <a:p>
              <a:pPr marL="114300" indent="-57150" defTabSz="914206">
                <a:lnSpc>
                  <a:spcPct val="90000"/>
                </a:lnSpc>
              </a:pPr>
              <a:r>
                <a:rPr lang="en-US" sz="1400" dirty="0" smtClean="0">
                  <a:gradFill>
                    <a:gsLst>
                      <a:gs pos="17219">
                        <a:srgbClr val="FFFFFF"/>
                      </a:gs>
                      <a:gs pos="32743">
                        <a:srgbClr val="FFFFFF"/>
                      </a:gs>
                    </a:gsLst>
                    <a:lin ang="5400000" scaled="0"/>
                  </a:gradFill>
                  <a:latin typeface="Segoe UI Semibold" panose="020B0702040204020203" pitchFamily="34" charset="0"/>
                </a:rPr>
                <a:t>App Insights</a:t>
              </a:r>
              <a:endParaRPr lang="en-US" sz="1400" dirty="0">
                <a:gradFill>
                  <a:gsLst>
                    <a:gs pos="17219">
                      <a:srgbClr val="FFFFFF"/>
                    </a:gs>
                    <a:gs pos="32743">
                      <a:srgbClr val="FFFFFF"/>
                    </a:gs>
                  </a:gsLst>
                  <a:lin ang="5400000" scaled="0"/>
                </a:gradFill>
                <a:latin typeface="Segoe UI Semibold" panose="020B0702040204020203" pitchFamily="34" charset="0"/>
              </a:endParaRPr>
            </a:p>
          </p:txBody>
        </p:sp>
      </p:grpSp>
      <p:grpSp>
        <p:nvGrpSpPr>
          <p:cNvPr id="252" name="Group 251"/>
          <p:cNvGrpSpPr/>
          <p:nvPr/>
        </p:nvGrpSpPr>
        <p:grpSpPr>
          <a:xfrm>
            <a:off x="4803679" y="4420773"/>
            <a:ext cx="3575243" cy="521301"/>
            <a:chOff x="4792210" y="4392198"/>
            <a:chExt cx="3575243" cy="521301"/>
          </a:xfrm>
        </p:grpSpPr>
        <p:sp>
          <p:nvSpPr>
            <p:cNvPr id="253" name="Rectangle 252"/>
            <p:cNvSpPr/>
            <p:nvPr/>
          </p:nvSpPr>
          <p:spPr bwMode="auto">
            <a:xfrm>
              <a:off x="4792210" y="4392198"/>
              <a:ext cx="3575243" cy="52130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a:t>
              </a:r>
            </a:p>
          </p:txBody>
        </p:sp>
        <p:grpSp>
          <p:nvGrpSpPr>
            <p:cNvPr id="254" name="Group 4"/>
            <p:cNvGrpSpPr>
              <a:grpSpLocks noChangeAspect="1"/>
            </p:cNvGrpSpPr>
            <p:nvPr/>
          </p:nvGrpSpPr>
          <p:grpSpPr bwMode="auto">
            <a:xfrm>
              <a:off x="7893312" y="4508855"/>
              <a:ext cx="343003" cy="314761"/>
              <a:chOff x="1411" y="-71"/>
              <a:chExt cx="4858" cy="4458"/>
            </a:xfrm>
            <a:solidFill>
              <a:schemeClr val="bg1"/>
            </a:solidFill>
          </p:grpSpPr>
          <p:sp>
            <p:nvSpPr>
              <p:cNvPr id="255" name="Freeform 5"/>
              <p:cNvSpPr>
                <a:spLocks noEditPoints="1"/>
              </p:cNvSpPr>
              <p:nvPr/>
            </p:nvSpPr>
            <p:spPr bwMode="auto">
              <a:xfrm>
                <a:off x="1411" y="537"/>
                <a:ext cx="3238" cy="3239"/>
              </a:xfrm>
              <a:custGeom>
                <a:avLst/>
                <a:gdLst>
                  <a:gd name="T0" fmla="*/ 1241 w 1369"/>
                  <a:gd name="T1" fmla="*/ 1047 h 1369"/>
                  <a:gd name="T2" fmla="*/ 1179 w 1369"/>
                  <a:gd name="T3" fmla="*/ 843 h 1369"/>
                  <a:gd name="T4" fmla="*/ 1362 w 1369"/>
                  <a:gd name="T5" fmla="*/ 806 h 1369"/>
                  <a:gd name="T6" fmla="*/ 1369 w 1369"/>
                  <a:gd name="T7" fmla="*/ 587 h 1369"/>
                  <a:gd name="T8" fmla="*/ 1344 w 1369"/>
                  <a:gd name="T9" fmla="*/ 555 h 1369"/>
                  <a:gd name="T10" fmla="*/ 1145 w 1369"/>
                  <a:gd name="T11" fmla="*/ 443 h 1369"/>
                  <a:gd name="T12" fmla="*/ 1238 w 1369"/>
                  <a:gd name="T13" fmla="*/ 321 h 1369"/>
                  <a:gd name="T14" fmla="*/ 1091 w 1369"/>
                  <a:gd name="T15" fmla="*/ 129 h 1369"/>
                  <a:gd name="T16" fmla="*/ 1047 w 1369"/>
                  <a:gd name="T17" fmla="*/ 128 h 1369"/>
                  <a:gd name="T18" fmla="*/ 841 w 1369"/>
                  <a:gd name="T19" fmla="*/ 190 h 1369"/>
                  <a:gd name="T20" fmla="*/ 805 w 1369"/>
                  <a:gd name="T21" fmla="*/ 8 h 1369"/>
                  <a:gd name="T22" fmla="*/ 585 w 1369"/>
                  <a:gd name="T23" fmla="*/ 0 h 1369"/>
                  <a:gd name="T24" fmla="*/ 528 w 1369"/>
                  <a:gd name="T25" fmla="*/ 190 h 1369"/>
                  <a:gd name="T26" fmla="*/ 323 w 1369"/>
                  <a:gd name="T27" fmla="*/ 128 h 1369"/>
                  <a:gd name="T28" fmla="*/ 216 w 1369"/>
                  <a:gd name="T29" fmla="*/ 184 h 1369"/>
                  <a:gd name="T30" fmla="*/ 121 w 1369"/>
                  <a:gd name="T31" fmla="*/ 300 h 1369"/>
                  <a:gd name="T32" fmla="*/ 224 w 1369"/>
                  <a:gd name="T33" fmla="*/ 445 h 1369"/>
                  <a:gd name="T34" fmla="*/ 24 w 1369"/>
                  <a:gd name="T35" fmla="*/ 552 h 1369"/>
                  <a:gd name="T36" fmla="*/ 0 w 1369"/>
                  <a:gd name="T37" fmla="*/ 584 h 1369"/>
                  <a:gd name="T38" fmla="*/ 7 w 1369"/>
                  <a:gd name="T39" fmla="*/ 803 h 1369"/>
                  <a:gd name="T40" fmla="*/ 188 w 1369"/>
                  <a:gd name="T41" fmla="*/ 839 h 1369"/>
                  <a:gd name="T42" fmla="*/ 175 w 1369"/>
                  <a:gd name="T43" fmla="*/ 992 h 1369"/>
                  <a:gd name="T44" fmla="*/ 124 w 1369"/>
                  <a:gd name="T45" fmla="*/ 1069 h 1369"/>
                  <a:gd name="T46" fmla="*/ 300 w 1369"/>
                  <a:gd name="T47" fmla="*/ 1248 h 1369"/>
                  <a:gd name="T48" fmla="*/ 448 w 1369"/>
                  <a:gd name="T49" fmla="*/ 1146 h 1369"/>
                  <a:gd name="T50" fmla="*/ 553 w 1369"/>
                  <a:gd name="T51" fmla="*/ 1343 h 1369"/>
                  <a:gd name="T52" fmla="*/ 585 w 1369"/>
                  <a:gd name="T53" fmla="*/ 1369 h 1369"/>
                  <a:gd name="T54" fmla="*/ 816 w 1369"/>
                  <a:gd name="T55" fmla="*/ 1344 h 1369"/>
                  <a:gd name="T56" fmla="*/ 923 w 1369"/>
                  <a:gd name="T57" fmla="*/ 1145 h 1369"/>
                  <a:gd name="T58" fmla="*/ 1069 w 1369"/>
                  <a:gd name="T59" fmla="*/ 1248 h 1369"/>
                  <a:gd name="T60" fmla="*/ 1241 w 1369"/>
                  <a:gd name="T61" fmla="*/ 1089 h 1369"/>
                  <a:gd name="T62" fmla="*/ 878 w 1369"/>
                  <a:gd name="T63" fmla="*/ 878 h 1369"/>
                  <a:gd name="T64" fmla="*/ 491 w 1369"/>
                  <a:gd name="T65" fmla="*/ 878 h 1369"/>
                  <a:gd name="T66" fmla="*/ 491 w 1369"/>
                  <a:gd name="T67" fmla="*/ 491 h 1369"/>
                  <a:gd name="T68" fmla="*/ 878 w 1369"/>
                  <a:gd name="T69" fmla="*/ 491 h 1369"/>
                  <a:gd name="T70" fmla="*/ 878 w 1369"/>
                  <a:gd name="T71" fmla="*/ 878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9" h="1369">
                    <a:moveTo>
                      <a:pt x="1249" y="1069"/>
                    </a:moveTo>
                    <a:cubicBezTo>
                      <a:pt x="1249" y="1062"/>
                      <a:pt x="1246" y="1054"/>
                      <a:pt x="1241" y="1047"/>
                    </a:cubicBezTo>
                    <a:cubicBezTo>
                      <a:pt x="1201" y="999"/>
                      <a:pt x="1169" y="958"/>
                      <a:pt x="1145" y="924"/>
                    </a:cubicBezTo>
                    <a:cubicBezTo>
                      <a:pt x="1160" y="895"/>
                      <a:pt x="1171" y="868"/>
                      <a:pt x="1179" y="843"/>
                    </a:cubicBezTo>
                    <a:cubicBezTo>
                      <a:pt x="1345" y="817"/>
                      <a:pt x="1345" y="817"/>
                      <a:pt x="1345" y="817"/>
                    </a:cubicBezTo>
                    <a:cubicBezTo>
                      <a:pt x="1351" y="816"/>
                      <a:pt x="1357" y="813"/>
                      <a:pt x="1362" y="806"/>
                    </a:cubicBezTo>
                    <a:cubicBezTo>
                      <a:pt x="1367" y="799"/>
                      <a:pt x="1369" y="792"/>
                      <a:pt x="1369" y="785"/>
                    </a:cubicBezTo>
                    <a:cubicBezTo>
                      <a:pt x="1369" y="587"/>
                      <a:pt x="1369" y="587"/>
                      <a:pt x="1369" y="587"/>
                    </a:cubicBezTo>
                    <a:cubicBezTo>
                      <a:pt x="1369" y="579"/>
                      <a:pt x="1367" y="572"/>
                      <a:pt x="1362" y="566"/>
                    </a:cubicBezTo>
                    <a:cubicBezTo>
                      <a:pt x="1357" y="560"/>
                      <a:pt x="1351" y="556"/>
                      <a:pt x="1344" y="555"/>
                    </a:cubicBezTo>
                    <a:cubicBezTo>
                      <a:pt x="1181" y="530"/>
                      <a:pt x="1181" y="530"/>
                      <a:pt x="1181" y="530"/>
                    </a:cubicBezTo>
                    <a:cubicBezTo>
                      <a:pt x="1173" y="506"/>
                      <a:pt x="1161" y="477"/>
                      <a:pt x="1145" y="443"/>
                    </a:cubicBezTo>
                    <a:cubicBezTo>
                      <a:pt x="1155" y="427"/>
                      <a:pt x="1171" y="406"/>
                      <a:pt x="1193" y="378"/>
                    </a:cubicBezTo>
                    <a:cubicBezTo>
                      <a:pt x="1214" y="351"/>
                      <a:pt x="1229" y="332"/>
                      <a:pt x="1238" y="321"/>
                    </a:cubicBezTo>
                    <a:cubicBezTo>
                      <a:pt x="1243" y="314"/>
                      <a:pt x="1245" y="307"/>
                      <a:pt x="1245" y="300"/>
                    </a:cubicBezTo>
                    <a:cubicBezTo>
                      <a:pt x="1245" y="281"/>
                      <a:pt x="1194" y="224"/>
                      <a:pt x="1091" y="129"/>
                    </a:cubicBezTo>
                    <a:cubicBezTo>
                      <a:pt x="1084" y="123"/>
                      <a:pt x="1077" y="121"/>
                      <a:pt x="1069" y="121"/>
                    </a:cubicBezTo>
                    <a:cubicBezTo>
                      <a:pt x="1060" y="121"/>
                      <a:pt x="1053" y="123"/>
                      <a:pt x="1047" y="128"/>
                    </a:cubicBezTo>
                    <a:cubicBezTo>
                      <a:pt x="921" y="223"/>
                      <a:pt x="921" y="223"/>
                      <a:pt x="921" y="223"/>
                    </a:cubicBezTo>
                    <a:cubicBezTo>
                      <a:pt x="892" y="208"/>
                      <a:pt x="865" y="197"/>
                      <a:pt x="841" y="190"/>
                    </a:cubicBezTo>
                    <a:cubicBezTo>
                      <a:pt x="816" y="26"/>
                      <a:pt x="816" y="26"/>
                      <a:pt x="816" y="26"/>
                    </a:cubicBezTo>
                    <a:cubicBezTo>
                      <a:pt x="815" y="19"/>
                      <a:pt x="812" y="13"/>
                      <a:pt x="805" y="8"/>
                    </a:cubicBezTo>
                    <a:cubicBezTo>
                      <a:pt x="799" y="2"/>
                      <a:pt x="792" y="0"/>
                      <a:pt x="784" y="0"/>
                    </a:cubicBezTo>
                    <a:cubicBezTo>
                      <a:pt x="585" y="0"/>
                      <a:pt x="585" y="0"/>
                      <a:pt x="585" y="0"/>
                    </a:cubicBezTo>
                    <a:cubicBezTo>
                      <a:pt x="569" y="0"/>
                      <a:pt x="558" y="8"/>
                      <a:pt x="553" y="25"/>
                    </a:cubicBezTo>
                    <a:cubicBezTo>
                      <a:pt x="544" y="58"/>
                      <a:pt x="536" y="113"/>
                      <a:pt x="528" y="190"/>
                    </a:cubicBezTo>
                    <a:cubicBezTo>
                      <a:pt x="498" y="200"/>
                      <a:pt x="470" y="211"/>
                      <a:pt x="446" y="224"/>
                    </a:cubicBezTo>
                    <a:cubicBezTo>
                      <a:pt x="323" y="128"/>
                      <a:pt x="323" y="128"/>
                      <a:pt x="323" y="128"/>
                    </a:cubicBezTo>
                    <a:cubicBezTo>
                      <a:pt x="316" y="123"/>
                      <a:pt x="308" y="121"/>
                      <a:pt x="300" y="121"/>
                    </a:cubicBezTo>
                    <a:cubicBezTo>
                      <a:pt x="287" y="121"/>
                      <a:pt x="259" y="142"/>
                      <a:pt x="216" y="184"/>
                    </a:cubicBezTo>
                    <a:cubicBezTo>
                      <a:pt x="173" y="226"/>
                      <a:pt x="144" y="258"/>
                      <a:pt x="128" y="279"/>
                    </a:cubicBezTo>
                    <a:cubicBezTo>
                      <a:pt x="123" y="285"/>
                      <a:pt x="121" y="292"/>
                      <a:pt x="121" y="300"/>
                    </a:cubicBezTo>
                    <a:cubicBezTo>
                      <a:pt x="121" y="307"/>
                      <a:pt x="123" y="314"/>
                      <a:pt x="128" y="322"/>
                    </a:cubicBezTo>
                    <a:cubicBezTo>
                      <a:pt x="168" y="370"/>
                      <a:pt x="200" y="411"/>
                      <a:pt x="224" y="445"/>
                    </a:cubicBezTo>
                    <a:cubicBezTo>
                      <a:pt x="209" y="474"/>
                      <a:pt x="198" y="501"/>
                      <a:pt x="190" y="526"/>
                    </a:cubicBezTo>
                    <a:cubicBezTo>
                      <a:pt x="24" y="552"/>
                      <a:pt x="24" y="552"/>
                      <a:pt x="24" y="552"/>
                    </a:cubicBezTo>
                    <a:cubicBezTo>
                      <a:pt x="18" y="552"/>
                      <a:pt x="12" y="556"/>
                      <a:pt x="7" y="563"/>
                    </a:cubicBezTo>
                    <a:cubicBezTo>
                      <a:pt x="2" y="570"/>
                      <a:pt x="0" y="577"/>
                      <a:pt x="0" y="584"/>
                    </a:cubicBezTo>
                    <a:cubicBezTo>
                      <a:pt x="0" y="782"/>
                      <a:pt x="0" y="782"/>
                      <a:pt x="0" y="782"/>
                    </a:cubicBezTo>
                    <a:cubicBezTo>
                      <a:pt x="0" y="790"/>
                      <a:pt x="2" y="797"/>
                      <a:pt x="7" y="803"/>
                    </a:cubicBezTo>
                    <a:cubicBezTo>
                      <a:pt x="12" y="809"/>
                      <a:pt x="18" y="812"/>
                      <a:pt x="25" y="813"/>
                    </a:cubicBezTo>
                    <a:cubicBezTo>
                      <a:pt x="188" y="839"/>
                      <a:pt x="188" y="839"/>
                      <a:pt x="188" y="839"/>
                    </a:cubicBezTo>
                    <a:cubicBezTo>
                      <a:pt x="197" y="866"/>
                      <a:pt x="209" y="895"/>
                      <a:pt x="225" y="926"/>
                    </a:cubicBezTo>
                    <a:cubicBezTo>
                      <a:pt x="214" y="942"/>
                      <a:pt x="197" y="964"/>
                      <a:pt x="175" y="992"/>
                    </a:cubicBezTo>
                    <a:cubicBezTo>
                      <a:pt x="153" y="1019"/>
                      <a:pt x="138" y="1038"/>
                      <a:pt x="131" y="1048"/>
                    </a:cubicBezTo>
                    <a:cubicBezTo>
                      <a:pt x="126" y="1055"/>
                      <a:pt x="124" y="1062"/>
                      <a:pt x="124" y="1069"/>
                    </a:cubicBezTo>
                    <a:cubicBezTo>
                      <a:pt x="124" y="1088"/>
                      <a:pt x="175" y="1145"/>
                      <a:pt x="278" y="1240"/>
                    </a:cubicBezTo>
                    <a:cubicBezTo>
                      <a:pt x="285" y="1246"/>
                      <a:pt x="293" y="1248"/>
                      <a:pt x="300" y="1248"/>
                    </a:cubicBezTo>
                    <a:cubicBezTo>
                      <a:pt x="310" y="1248"/>
                      <a:pt x="317" y="1246"/>
                      <a:pt x="322" y="1241"/>
                    </a:cubicBezTo>
                    <a:cubicBezTo>
                      <a:pt x="448" y="1146"/>
                      <a:pt x="448" y="1146"/>
                      <a:pt x="448" y="1146"/>
                    </a:cubicBezTo>
                    <a:cubicBezTo>
                      <a:pt x="477" y="1161"/>
                      <a:pt x="504" y="1172"/>
                      <a:pt x="528" y="1179"/>
                    </a:cubicBezTo>
                    <a:cubicBezTo>
                      <a:pt x="553" y="1343"/>
                      <a:pt x="553" y="1343"/>
                      <a:pt x="553" y="1343"/>
                    </a:cubicBezTo>
                    <a:cubicBezTo>
                      <a:pt x="554" y="1350"/>
                      <a:pt x="557" y="1356"/>
                      <a:pt x="564" y="1361"/>
                    </a:cubicBezTo>
                    <a:cubicBezTo>
                      <a:pt x="570" y="1367"/>
                      <a:pt x="577" y="1369"/>
                      <a:pt x="585" y="1369"/>
                    </a:cubicBezTo>
                    <a:cubicBezTo>
                      <a:pt x="784" y="1369"/>
                      <a:pt x="784" y="1369"/>
                      <a:pt x="784" y="1369"/>
                    </a:cubicBezTo>
                    <a:cubicBezTo>
                      <a:pt x="800" y="1369"/>
                      <a:pt x="811" y="1361"/>
                      <a:pt x="816" y="1344"/>
                    </a:cubicBezTo>
                    <a:cubicBezTo>
                      <a:pt x="825" y="1310"/>
                      <a:pt x="833" y="1255"/>
                      <a:pt x="841" y="1178"/>
                    </a:cubicBezTo>
                    <a:cubicBezTo>
                      <a:pt x="869" y="1169"/>
                      <a:pt x="897" y="1158"/>
                      <a:pt x="923" y="1145"/>
                    </a:cubicBezTo>
                    <a:cubicBezTo>
                      <a:pt x="1046" y="1241"/>
                      <a:pt x="1046" y="1241"/>
                      <a:pt x="1046" y="1241"/>
                    </a:cubicBezTo>
                    <a:cubicBezTo>
                      <a:pt x="1053" y="1246"/>
                      <a:pt x="1061" y="1248"/>
                      <a:pt x="1069" y="1248"/>
                    </a:cubicBezTo>
                    <a:cubicBezTo>
                      <a:pt x="1082" y="1248"/>
                      <a:pt x="1110" y="1227"/>
                      <a:pt x="1153" y="1185"/>
                    </a:cubicBezTo>
                    <a:cubicBezTo>
                      <a:pt x="1195" y="1142"/>
                      <a:pt x="1225" y="1110"/>
                      <a:pt x="1241" y="1089"/>
                    </a:cubicBezTo>
                    <a:cubicBezTo>
                      <a:pt x="1246" y="1084"/>
                      <a:pt x="1249" y="1077"/>
                      <a:pt x="1249" y="1069"/>
                    </a:cubicBezTo>
                    <a:close/>
                    <a:moveTo>
                      <a:pt x="878" y="878"/>
                    </a:moveTo>
                    <a:cubicBezTo>
                      <a:pt x="825" y="932"/>
                      <a:pt x="760" y="958"/>
                      <a:pt x="685" y="958"/>
                    </a:cubicBezTo>
                    <a:cubicBezTo>
                      <a:pt x="609" y="958"/>
                      <a:pt x="544" y="932"/>
                      <a:pt x="491" y="878"/>
                    </a:cubicBezTo>
                    <a:cubicBezTo>
                      <a:pt x="437" y="825"/>
                      <a:pt x="411" y="760"/>
                      <a:pt x="411" y="684"/>
                    </a:cubicBezTo>
                    <a:cubicBezTo>
                      <a:pt x="411" y="609"/>
                      <a:pt x="437" y="544"/>
                      <a:pt x="491" y="491"/>
                    </a:cubicBezTo>
                    <a:cubicBezTo>
                      <a:pt x="544" y="437"/>
                      <a:pt x="609" y="411"/>
                      <a:pt x="685" y="411"/>
                    </a:cubicBezTo>
                    <a:cubicBezTo>
                      <a:pt x="760" y="411"/>
                      <a:pt x="825" y="437"/>
                      <a:pt x="878" y="491"/>
                    </a:cubicBezTo>
                    <a:cubicBezTo>
                      <a:pt x="932" y="544"/>
                      <a:pt x="958" y="609"/>
                      <a:pt x="958" y="684"/>
                    </a:cubicBezTo>
                    <a:cubicBezTo>
                      <a:pt x="958" y="760"/>
                      <a:pt x="932" y="825"/>
                      <a:pt x="878" y="8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6"/>
              <p:cNvSpPr>
                <a:spLocks noEditPoints="1"/>
              </p:cNvSpPr>
              <p:nvPr/>
            </p:nvSpPr>
            <p:spPr bwMode="auto">
              <a:xfrm>
                <a:off x="4325" y="2522"/>
                <a:ext cx="1944" cy="1865"/>
              </a:xfrm>
              <a:custGeom>
                <a:avLst/>
                <a:gdLst>
                  <a:gd name="T0" fmla="*/ 663 w 822"/>
                  <a:gd name="T1" fmla="*/ 285 h 788"/>
                  <a:gd name="T2" fmla="*/ 631 w 822"/>
                  <a:gd name="T3" fmla="*/ 230 h 788"/>
                  <a:gd name="T4" fmla="*/ 685 w 822"/>
                  <a:gd name="T5" fmla="*/ 82 h 788"/>
                  <a:gd name="T6" fmla="*/ 681 w 822"/>
                  <a:gd name="T7" fmla="*/ 74 h 788"/>
                  <a:gd name="T8" fmla="*/ 548 w 822"/>
                  <a:gd name="T9" fmla="*/ 0 h 788"/>
                  <a:gd name="T10" fmla="*/ 542 w 822"/>
                  <a:gd name="T11" fmla="*/ 2 h 788"/>
                  <a:gd name="T12" fmla="*/ 443 w 822"/>
                  <a:gd name="T13" fmla="*/ 122 h 788"/>
                  <a:gd name="T14" fmla="*/ 411 w 822"/>
                  <a:gd name="T15" fmla="*/ 119 h 788"/>
                  <a:gd name="T16" fmla="*/ 379 w 822"/>
                  <a:gd name="T17" fmla="*/ 122 h 788"/>
                  <a:gd name="T18" fmla="*/ 324 w 822"/>
                  <a:gd name="T19" fmla="*/ 49 h 788"/>
                  <a:gd name="T20" fmla="*/ 274 w 822"/>
                  <a:gd name="T21" fmla="*/ 0 h 788"/>
                  <a:gd name="T22" fmla="*/ 242 w 822"/>
                  <a:gd name="T23" fmla="*/ 17 h 788"/>
                  <a:gd name="T24" fmla="*/ 179 w 822"/>
                  <a:gd name="T25" fmla="*/ 53 h 788"/>
                  <a:gd name="T26" fmla="*/ 142 w 822"/>
                  <a:gd name="T27" fmla="*/ 75 h 788"/>
                  <a:gd name="T28" fmla="*/ 137 w 822"/>
                  <a:gd name="T29" fmla="*/ 82 h 788"/>
                  <a:gd name="T30" fmla="*/ 192 w 822"/>
                  <a:gd name="T31" fmla="*/ 230 h 788"/>
                  <a:gd name="T32" fmla="*/ 160 w 822"/>
                  <a:gd name="T33" fmla="*/ 285 h 788"/>
                  <a:gd name="T34" fmla="*/ 0 w 822"/>
                  <a:gd name="T35" fmla="*/ 318 h 788"/>
                  <a:gd name="T36" fmla="*/ 0 w 822"/>
                  <a:gd name="T37" fmla="*/ 468 h 788"/>
                  <a:gd name="T38" fmla="*/ 160 w 822"/>
                  <a:gd name="T39" fmla="*/ 501 h 788"/>
                  <a:gd name="T40" fmla="*/ 192 w 822"/>
                  <a:gd name="T41" fmla="*/ 557 h 788"/>
                  <a:gd name="T42" fmla="*/ 137 w 822"/>
                  <a:gd name="T43" fmla="*/ 705 h 788"/>
                  <a:gd name="T44" fmla="*/ 142 w 822"/>
                  <a:gd name="T45" fmla="*/ 712 h 788"/>
                  <a:gd name="T46" fmla="*/ 274 w 822"/>
                  <a:gd name="T47" fmla="*/ 788 h 788"/>
                  <a:gd name="T48" fmla="*/ 324 w 822"/>
                  <a:gd name="T49" fmla="*/ 738 h 788"/>
                  <a:gd name="T50" fmla="*/ 379 w 822"/>
                  <a:gd name="T51" fmla="*/ 665 h 788"/>
                  <a:gd name="T52" fmla="*/ 411 w 822"/>
                  <a:gd name="T53" fmla="*/ 667 h 788"/>
                  <a:gd name="T54" fmla="*/ 443 w 822"/>
                  <a:gd name="T55" fmla="*/ 665 h 788"/>
                  <a:gd name="T56" fmla="*/ 499 w 822"/>
                  <a:gd name="T57" fmla="*/ 738 h 788"/>
                  <a:gd name="T58" fmla="*/ 548 w 822"/>
                  <a:gd name="T59" fmla="*/ 788 h 788"/>
                  <a:gd name="T60" fmla="*/ 681 w 822"/>
                  <a:gd name="T61" fmla="*/ 712 h 788"/>
                  <a:gd name="T62" fmla="*/ 685 w 822"/>
                  <a:gd name="T63" fmla="*/ 705 h 788"/>
                  <a:gd name="T64" fmla="*/ 631 w 822"/>
                  <a:gd name="T65" fmla="*/ 557 h 788"/>
                  <a:gd name="T66" fmla="*/ 663 w 822"/>
                  <a:gd name="T67" fmla="*/ 501 h 788"/>
                  <a:gd name="T68" fmla="*/ 822 w 822"/>
                  <a:gd name="T69" fmla="*/ 468 h 788"/>
                  <a:gd name="T70" fmla="*/ 822 w 822"/>
                  <a:gd name="T71" fmla="*/ 318 h 788"/>
                  <a:gd name="T72" fmla="*/ 663 w 822"/>
                  <a:gd name="T73" fmla="*/ 285 h 788"/>
                  <a:gd name="T74" fmla="*/ 508 w 822"/>
                  <a:gd name="T75" fmla="*/ 490 h 788"/>
                  <a:gd name="T76" fmla="*/ 411 w 822"/>
                  <a:gd name="T77" fmla="*/ 530 h 788"/>
                  <a:gd name="T78" fmla="*/ 315 w 822"/>
                  <a:gd name="T79" fmla="*/ 490 h 788"/>
                  <a:gd name="T80" fmla="*/ 274 w 822"/>
                  <a:gd name="T81" fmla="*/ 393 h 788"/>
                  <a:gd name="T82" fmla="*/ 315 w 822"/>
                  <a:gd name="T83" fmla="*/ 297 h 788"/>
                  <a:gd name="T84" fmla="*/ 411 w 822"/>
                  <a:gd name="T85" fmla="*/ 256 h 788"/>
                  <a:gd name="T86" fmla="*/ 508 w 822"/>
                  <a:gd name="T87" fmla="*/ 297 h 788"/>
                  <a:gd name="T88" fmla="*/ 548 w 822"/>
                  <a:gd name="T89" fmla="*/ 393 h 788"/>
                  <a:gd name="T90" fmla="*/ 508 w 822"/>
                  <a:gd name="T91" fmla="*/ 49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2" h="788">
                    <a:moveTo>
                      <a:pt x="663" y="285"/>
                    </a:moveTo>
                    <a:cubicBezTo>
                      <a:pt x="654" y="265"/>
                      <a:pt x="643" y="246"/>
                      <a:pt x="631" y="230"/>
                    </a:cubicBezTo>
                    <a:cubicBezTo>
                      <a:pt x="667" y="149"/>
                      <a:pt x="685" y="100"/>
                      <a:pt x="685" y="82"/>
                    </a:cubicBezTo>
                    <a:cubicBezTo>
                      <a:pt x="685" y="79"/>
                      <a:pt x="684" y="77"/>
                      <a:pt x="681" y="74"/>
                    </a:cubicBezTo>
                    <a:cubicBezTo>
                      <a:pt x="595" y="25"/>
                      <a:pt x="551" y="0"/>
                      <a:pt x="548" y="0"/>
                    </a:cubicBezTo>
                    <a:cubicBezTo>
                      <a:pt x="542" y="2"/>
                      <a:pt x="542" y="2"/>
                      <a:pt x="542" y="2"/>
                    </a:cubicBezTo>
                    <a:cubicBezTo>
                      <a:pt x="513" y="31"/>
                      <a:pt x="480" y="71"/>
                      <a:pt x="443" y="122"/>
                    </a:cubicBezTo>
                    <a:cubicBezTo>
                      <a:pt x="429" y="120"/>
                      <a:pt x="419" y="119"/>
                      <a:pt x="411" y="119"/>
                    </a:cubicBezTo>
                    <a:cubicBezTo>
                      <a:pt x="404" y="119"/>
                      <a:pt x="394" y="120"/>
                      <a:pt x="379" y="122"/>
                    </a:cubicBezTo>
                    <a:cubicBezTo>
                      <a:pt x="369" y="107"/>
                      <a:pt x="351" y="83"/>
                      <a:pt x="324" y="49"/>
                    </a:cubicBezTo>
                    <a:cubicBezTo>
                      <a:pt x="297" y="16"/>
                      <a:pt x="280" y="0"/>
                      <a:pt x="274" y="0"/>
                    </a:cubicBezTo>
                    <a:cubicBezTo>
                      <a:pt x="273" y="0"/>
                      <a:pt x="262" y="5"/>
                      <a:pt x="242" y="17"/>
                    </a:cubicBezTo>
                    <a:cubicBezTo>
                      <a:pt x="222" y="28"/>
                      <a:pt x="201" y="40"/>
                      <a:pt x="179" y="53"/>
                    </a:cubicBezTo>
                    <a:cubicBezTo>
                      <a:pt x="157" y="66"/>
                      <a:pt x="145" y="73"/>
                      <a:pt x="142" y="75"/>
                    </a:cubicBezTo>
                    <a:cubicBezTo>
                      <a:pt x="139" y="77"/>
                      <a:pt x="137" y="79"/>
                      <a:pt x="137" y="82"/>
                    </a:cubicBezTo>
                    <a:cubicBezTo>
                      <a:pt x="137" y="100"/>
                      <a:pt x="156" y="149"/>
                      <a:pt x="192" y="230"/>
                    </a:cubicBezTo>
                    <a:cubicBezTo>
                      <a:pt x="180" y="246"/>
                      <a:pt x="169" y="265"/>
                      <a:pt x="160" y="285"/>
                    </a:cubicBezTo>
                    <a:cubicBezTo>
                      <a:pt x="54" y="296"/>
                      <a:pt x="0" y="307"/>
                      <a:pt x="0" y="318"/>
                    </a:cubicBezTo>
                    <a:cubicBezTo>
                      <a:pt x="0" y="468"/>
                      <a:pt x="0" y="468"/>
                      <a:pt x="0" y="468"/>
                    </a:cubicBezTo>
                    <a:cubicBezTo>
                      <a:pt x="0" y="480"/>
                      <a:pt x="54" y="491"/>
                      <a:pt x="160" y="501"/>
                    </a:cubicBezTo>
                    <a:cubicBezTo>
                      <a:pt x="168" y="521"/>
                      <a:pt x="179" y="539"/>
                      <a:pt x="192" y="557"/>
                    </a:cubicBezTo>
                    <a:cubicBezTo>
                      <a:pt x="156" y="638"/>
                      <a:pt x="137" y="687"/>
                      <a:pt x="137" y="705"/>
                    </a:cubicBezTo>
                    <a:cubicBezTo>
                      <a:pt x="137" y="708"/>
                      <a:pt x="139" y="710"/>
                      <a:pt x="142" y="712"/>
                    </a:cubicBezTo>
                    <a:cubicBezTo>
                      <a:pt x="229" y="763"/>
                      <a:pt x="273" y="788"/>
                      <a:pt x="274" y="788"/>
                    </a:cubicBezTo>
                    <a:cubicBezTo>
                      <a:pt x="280" y="788"/>
                      <a:pt x="297" y="771"/>
                      <a:pt x="324" y="738"/>
                    </a:cubicBezTo>
                    <a:cubicBezTo>
                      <a:pt x="351" y="704"/>
                      <a:pt x="369" y="680"/>
                      <a:pt x="379" y="665"/>
                    </a:cubicBezTo>
                    <a:cubicBezTo>
                      <a:pt x="394" y="667"/>
                      <a:pt x="404" y="667"/>
                      <a:pt x="411" y="667"/>
                    </a:cubicBezTo>
                    <a:cubicBezTo>
                      <a:pt x="419" y="667"/>
                      <a:pt x="429" y="667"/>
                      <a:pt x="443" y="665"/>
                    </a:cubicBezTo>
                    <a:cubicBezTo>
                      <a:pt x="453" y="680"/>
                      <a:pt x="472" y="704"/>
                      <a:pt x="499" y="738"/>
                    </a:cubicBezTo>
                    <a:cubicBezTo>
                      <a:pt x="526" y="771"/>
                      <a:pt x="543" y="788"/>
                      <a:pt x="548" y="788"/>
                    </a:cubicBezTo>
                    <a:cubicBezTo>
                      <a:pt x="550" y="788"/>
                      <a:pt x="594" y="763"/>
                      <a:pt x="681" y="712"/>
                    </a:cubicBezTo>
                    <a:cubicBezTo>
                      <a:pt x="684" y="710"/>
                      <a:pt x="685" y="708"/>
                      <a:pt x="685" y="705"/>
                    </a:cubicBezTo>
                    <a:cubicBezTo>
                      <a:pt x="685" y="687"/>
                      <a:pt x="667" y="638"/>
                      <a:pt x="631" y="557"/>
                    </a:cubicBezTo>
                    <a:cubicBezTo>
                      <a:pt x="644" y="539"/>
                      <a:pt x="654" y="521"/>
                      <a:pt x="663" y="501"/>
                    </a:cubicBezTo>
                    <a:cubicBezTo>
                      <a:pt x="769" y="491"/>
                      <a:pt x="822" y="480"/>
                      <a:pt x="822" y="468"/>
                    </a:cubicBezTo>
                    <a:cubicBezTo>
                      <a:pt x="822" y="318"/>
                      <a:pt x="822" y="318"/>
                      <a:pt x="822" y="318"/>
                    </a:cubicBezTo>
                    <a:cubicBezTo>
                      <a:pt x="822" y="307"/>
                      <a:pt x="769" y="296"/>
                      <a:pt x="663" y="285"/>
                    </a:cubicBezTo>
                    <a:close/>
                    <a:moveTo>
                      <a:pt x="508" y="490"/>
                    </a:moveTo>
                    <a:cubicBezTo>
                      <a:pt x="481" y="517"/>
                      <a:pt x="449" y="530"/>
                      <a:pt x="411" y="530"/>
                    </a:cubicBezTo>
                    <a:cubicBezTo>
                      <a:pt x="374" y="530"/>
                      <a:pt x="341" y="517"/>
                      <a:pt x="315" y="490"/>
                    </a:cubicBezTo>
                    <a:cubicBezTo>
                      <a:pt x="288" y="463"/>
                      <a:pt x="274" y="431"/>
                      <a:pt x="274" y="393"/>
                    </a:cubicBezTo>
                    <a:cubicBezTo>
                      <a:pt x="274" y="356"/>
                      <a:pt x="288" y="324"/>
                      <a:pt x="315" y="297"/>
                    </a:cubicBezTo>
                    <a:cubicBezTo>
                      <a:pt x="342" y="270"/>
                      <a:pt x="374" y="256"/>
                      <a:pt x="411" y="256"/>
                    </a:cubicBezTo>
                    <a:cubicBezTo>
                      <a:pt x="448" y="256"/>
                      <a:pt x="481" y="270"/>
                      <a:pt x="508" y="297"/>
                    </a:cubicBezTo>
                    <a:cubicBezTo>
                      <a:pt x="535" y="324"/>
                      <a:pt x="548" y="356"/>
                      <a:pt x="548" y="393"/>
                    </a:cubicBezTo>
                    <a:cubicBezTo>
                      <a:pt x="548" y="431"/>
                      <a:pt x="535" y="463"/>
                      <a:pt x="508"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7"/>
              <p:cNvSpPr>
                <a:spLocks noEditPoints="1"/>
              </p:cNvSpPr>
              <p:nvPr/>
            </p:nvSpPr>
            <p:spPr bwMode="auto">
              <a:xfrm>
                <a:off x="4325" y="-71"/>
                <a:ext cx="1944" cy="1864"/>
              </a:xfrm>
              <a:custGeom>
                <a:avLst/>
                <a:gdLst>
                  <a:gd name="T0" fmla="*/ 663 w 822"/>
                  <a:gd name="T1" fmla="*/ 285 h 788"/>
                  <a:gd name="T2" fmla="*/ 631 w 822"/>
                  <a:gd name="T3" fmla="*/ 230 h 788"/>
                  <a:gd name="T4" fmla="*/ 685 w 822"/>
                  <a:gd name="T5" fmla="*/ 82 h 788"/>
                  <a:gd name="T6" fmla="*/ 681 w 822"/>
                  <a:gd name="T7" fmla="*/ 75 h 788"/>
                  <a:gd name="T8" fmla="*/ 548 w 822"/>
                  <a:gd name="T9" fmla="*/ 0 h 788"/>
                  <a:gd name="T10" fmla="*/ 542 w 822"/>
                  <a:gd name="T11" fmla="*/ 2 h 788"/>
                  <a:gd name="T12" fmla="*/ 443 w 822"/>
                  <a:gd name="T13" fmla="*/ 122 h 788"/>
                  <a:gd name="T14" fmla="*/ 411 w 822"/>
                  <a:gd name="T15" fmla="*/ 120 h 788"/>
                  <a:gd name="T16" fmla="*/ 379 w 822"/>
                  <a:gd name="T17" fmla="*/ 122 h 788"/>
                  <a:gd name="T18" fmla="*/ 324 w 822"/>
                  <a:gd name="T19" fmla="*/ 50 h 788"/>
                  <a:gd name="T20" fmla="*/ 274 w 822"/>
                  <a:gd name="T21" fmla="*/ 0 h 788"/>
                  <a:gd name="T22" fmla="*/ 242 w 822"/>
                  <a:gd name="T23" fmla="*/ 17 h 788"/>
                  <a:gd name="T24" fmla="*/ 179 w 822"/>
                  <a:gd name="T25" fmla="*/ 53 h 788"/>
                  <a:gd name="T26" fmla="*/ 142 w 822"/>
                  <a:gd name="T27" fmla="*/ 75 h 788"/>
                  <a:gd name="T28" fmla="*/ 137 w 822"/>
                  <a:gd name="T29" fmla="*/ 82 h 788"/>
                  <a:gd name="T30" fmla="*/ 192 w 822"/>
                  <a:gd name="T31" fmla="*/ 230 h 788"/>
                  <a:gd name="T32" fmla="*/ 160 w 822"/>
                  <a:gd name="T33" fmla="*/ 285 h 788"/>
                  <a:gd name="T34" fmla="*/ 0 w 822"/>
                  <a:gd name="T35" fmla="*/ 319 h 788"/>
                  <a:gd name="T36" fmla="*/ 0 w 822"/>
                  <a:gd name="T37" fmla="*/ 468 h 788"/>
                  <a:gd name="T38" fmla="*/ 160 w 822"/>
                  <a:gd name="T39" fmla="*/ 502 h 788"/>
                  <a:gd name="T40" fmla="*/ 192 w 822"/>
                  <a:gd name="T41" fmla="*/ 557 h 788"/>
                  <a:gd name="T42" fmla="*/ 137 w 822"/>
                  <a:gd name="T43" fmla="*/ 705 h 788"/>
                  <a:gd name="T44" fmla="*/ 142 w 822"/>
                  <a:gd name="T45" fmla="*/ 712 h 788"/>
                  <a:gd name="T46" fmla="*/ 274 w 822"/>
                  <a:gd name="T47" fmla="*/ 788 h 788"/>
                  <a:gd name="T48" fmla="*/ 324 w 822"/>
                  <a:gd name="T49" fmla="*/ 738 h 788"/>
                  <a:gd name="T50" fmla="*/ 379 w 822"/>
                  <a:gd name="T51" fmla="*/ 665 h 788"/>
                  <a:gd name="T52" fmla="*/ 411 w 822"/>
                  <a:gd name="T53" fmla="*/ 668 h 788"/>
                  <a:gd name="T54" fmla="*/ 443 w 822"/>
                  <a:gd name="T55" fmla="*/ 665 h 788"/>
                  <a:gd name="T56" fmla="*/ 499 w 822"/>
                  <a:gd name="T57" fmla="*/ 738 h 788"/>
                  <a:gd name="T58" fmla="*/ 548 w 822"/>
                  <a:gd name="T59" fmla="*/ 788 h 788"/>
                  <a:gd name="T60" fmla="*/ 681 w 822"/>
                  <a:gd name="T61" fmla="*/ 712 h 788"/>
                  <a:gd name="T62" fmla="*/ 685 w 822"/>
                  <a:gd name="T63" fmla="*/ 705 h 788"/>
                  <a:gd name="T64" fmla="*/ 631 w 822"/>
                  <a:gd name="T65" fmla="*/ 557 h 788"/>
                  <a:gd name="T66" fmla="*/ 663 w 822"/>
                  <a:gd name="T67" fmla="*/ 502 h 788"/>
                  <a:gd name="T68" fmla="*/ 822 w 822"/>
                  <a:gd name="T69" fmla="*/ 468 h 788"/>
                  <a:gd name="T70" fmla="*/ 822 w 822"/>
                  <a:gd name="T71" fmla="*/ 319 h 788"/>
                  <a:gd name="T72" fmla="*/ 663 w 822"/>
                  <a:gd name="T73" fmla="*/ 285 h 788"/>
                  <a:gd name="T74" fmla="*/ 508 w 822"/>
                  <a:gd name="T75" fmla="*/ 490 h 788"/>
                  <a:gd name="T76" fmla="*/ 411 w 822"/>
                  <a:gd name="T77" fmla="*/ 531 h 788"/>
                  <a:gd name="T78" fmla="*/ 315 w 822"/>
                  <a:gd name="T79" fmla="*/ 490 h 788"/>
                  <a:gd name="T80" fmla="*/ 274 w 822"/>
                  <a:gd name="T81" fmla="*/ 394 h 788"/>
                  <a:gd name="T82" fmla="*/ 315 w 822"/>
                  <a:gd name="T83" fmla="*/ 297 h 788"/>
                  <a:gd name="T84" fmla="*/ 411 w 822"/>
                  <a:gd name="T85" fmla="*/ 257 h 788"/>
                  <a:gd name="T86" fmla="*/ 508 w 822"/>
                  <a:gd name="T87" fmla="*/ 297 h 788"/>
                  <a:gd name="T88" fmla="*/ 548 w 822"/>
                  <a:gd name="T89" fmla="*/ 394 h 788"/>
                  <a:gd name="T90" fmla="*/ 508 w 822"/>
                  <a:gd name="T91" fmla="*/ 49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2" h="788">
                    <a:moveTo>
                      <a:pt x="663" y="285"/>
                    </a:moveTo>
                    <a:cubicBezTo>
                      <a:pt x="654" y="265"/>
                      <a:pt x="643" y="246"/>
                      <a:pt x="631" y="230"/>
                    </a:cubicBezTo>
                    <a:cubicBezTo>
                      <a:pt x="667" y="149"/>
                      <a:pt x="685" y="100"/>
                      <a:pt x="685" y="82"/>
                    </a:cubicBezTo>
                    <a:cubicBezTo>
                      <a:pt x="685" y="79"/>
                      <a:pt x="684" y="77"/>
                      <a:pt x="681" y="75"/>
                    </a:cubicBezTo>
                    <a:cubicBezTo>
                      <a:pt x="595" y="25"/>
                      <a:pt x="551" y="0"/>
                      <a:pt x="548" y="0"/>
                    </a:cubicBezTo>
                    <a:cubicBezTo>
                      <a:pt x="542" y="2"/>
                      <a:pt x="542" y="2"/>
                      <a:pt x="542" y="2"/>
                    </a:cubicBezTo>
                    <a:cubicBezTo>
                      <a:pt x="513" y="31"/>
                      <a:pt x="480" y="71"/>
                      <a:pt x="443" y="122"/>
                    </a:cubicBezTo>
                    <a:cubicBezTo>
                      <a:pt x="429" y="120"/>
                      <a:pt x="419" y="120"/>
                      <a:pt x="411" y="120"/>
                    </a:cubicBezTo>
                    <a:cubicBezTo>
                      <a:pt x="404" y="120"/>
                      <a:pt x="394" y="120"/>
                      <a:pt x="379" y="122"/>
                    </a:cubicBezTo>
                    <a:cubicBezTo>
                      <a:pt x="369" y="107"/>
                      <a:pt x="351" y="83"/>
                      <a:pt x="324" y="50"/>
                    </a:cubicBezTo>
                    <a:cubicBezTo>
                      <a:pt x="297" y="16"/>
                      <a:pt x="280" y="0"/>
                      <a:pt x="274" y="0"/>
                    </a:cubicBezTo>
                    <a:cubicBezTo>
                      <a:pt x="273" y="0"/>
                      <a:pt x="262" y="5"/>
                      <a:pt x="242" y="17"/>
                    </a:cubicBezTo>
                    <a:cubicBezTo>
                      <a:pt x="222" y="28"/>
                      <a:pt x="201" y="40"/>
                      <a:pt x="179" y="53"/>
                    </a:cubicBezTo>
                    <a:cubicBezTo>
                      <a:pt x="157" y="66"/>
                      <a:pt x="145" y="73"/>
                      <a:pt x="142" y="75"/>
                    </a:cubicBezTo>
                    <a:cubicBezTo>
                      <a:pt x="139" y="77"/>
                      <a:pt x="137" y="79"/>
                      <a:pt x="137" y="82"/>
                    </a:cubicBezTo>
                    <a:cubicBezTo>
                      <a:pt x="137" y="100"/>
                      <a:pt x="156" y="149"/>
                      <a:pt x="192" y="230"/>
                    </a:cubicBezTo>
                    <a:cubicBezTo>
                      <a:pt x="180" y="246"/>
                      <a:pt x="169" y="265"/>
                      <a:pt x="160" y="285"/>
                    </a:cubicBezTo>
                    <a:cubicBezTo>
                      <a:pt x="54" y="296"/>
                      <a:pt x="0" y="307"/>
                      <a:pt x="0" y="319"/>
                    </a:cubicBezTo>
                    <a:cubicBezTo>
                      <a:pt x="0" y="468"/>
                      <a:pt x="0" y="468"/>
                      <a:pt x="0" y="468"/>
                    </a:cubicBezTo>
                    <a:cubicBezTo>
                      <a:pt x="0" y="480"/>
                      <a:pt x="54" y="491"/>
                      <a:pt x="160" y="502"/>
                    </a:cubicBezTo>
                    <a:cubicBezTo>
                      <a:pt x="168" y="521"/>
                      <a:pt x="179" y="539"/>
                      <a:pt x="192" y="557"/>
                    </a:cubicBezTo>
                    <a:cubicBezTo>
                      <a:pt x="156" y="638"/>
                      <a:pt x="137" y="687"/>
                      <a:pt x="137" y="705"/>
                    </a:cubicBezTo>
                    <a:cubicBezTo>
                      <a:pt x="137" y="708"/>
                      <a:pt x="139" y="710"/>
                      <a:pt x="142" y="712"/>
                    </a:cubicBezTo>
                    <a:cubicBezTo>
                      <a:pt x="229" y="763"/>
                      <a:pt x="273" y="788"/>
                      <a:pt x="274" y="788"/>
                    </a:cubicBezTo>
                    <a:cubicBezTo>
                      <a:pt x="280" y="788"/>
                      <a:pt x="297" y="772"/>
                      <a:pt x="324" y="738"/>
                    </a:cubicBezTo>
                    <a:cubicBezTo>
                      <a:pt x="351" y="705"/>
                      <a:pt x="369" y="680"/>
                      <a:pt x="379" y="665"/>
                    </a:cubicBezTo>
                    <a:cubicBezTo>
                      <a:pt x="394" y="667"/>
                      <a:pt x="404" y="668"/>
                      <a:pt x="411" y="668"/>
                    </a:cubicBezTo>
                    <a:cubicBezTo>
                      <a:pt x="419" y="668"/>
                      <a:pt x="429" y="667"/>
                      <a:pt x="443" y="665"/>
                    </a:cubicBezTo>
                    <a:cubicBezTo>
                      <a:pt x="453" y="680"/>
                      <a:pt x="472" y="705"/>
                      <a:pt x="499" y="738"/>
                    </a:cubicBezTo>
                    <a:cubicBezTo>
                      <a:pt x="526" y="772"/>
                      <a:pt x="543" y="788"/>
                      <a:pt x="548" y="788"/>
                    </a:cubicBezTo>
                    <a:cubicBezTo>
                      <a:pt x="550" y="788"/>
                      <a:pt x="594" y="763"/>
                      <a:pt x="681" y="712"/>
                    </a:cubicBezTo>
                    <a:cubicBezTo>
                      <a:pt x="684" y="710"/>
                      <a:pt x="685" y="708"/>
                      <a:pt x="685" y="705"/>
                    </a:cubicBezTo>
                    <a:cubicBezTo>
                      <a:pt x="685" y="687"/>
                      <a:pt x="667" y="638"/>
                      <a:pt x="631" y="557"/>
                    </a:cubicBezTo>
                    <a:cubicBezTo>
                      <a:pt x="644" y="539"/>
                      <a:pt x="654" y="521"/>
                      <a:pt x="663" y="502"/>
                    </a:cubicBezTo>
                    <a:cubicBezTo>
                      <a:pt x="769" y="491"/>
                      <a:pt x="822" y="480"/>
                      <a:pt x="822" y="468"/>
                    </a:cubicBezTo>
                    <a:cubicBezTo>
                      <a:pt x="822" y="319"/>
                      <a:pt x="822" y="319"/>
                      <a:pt x="822" y="319"/>
                    </a:cubicBezTo>
                    <a:cubicBezTo>
                      <a:pt x="822" y="307"/>
                      <a:pt x="769" y="296"/>
                      <a:pt x="663" y="285"/>
                    </a:cubicBezTo>
                    <a:close/>
                    <a:moveTo>
                      <a:pt x="508" y="490"/>
                    </a:moveTo>
                    <a:cubicBezTo>
                      <a:pt x="481" y="517"/>
                      <a:pt x="449" y="531"/>
                      <a:pt x="411" y="531"/>
                    </a:cubicBezTo>
                    <a:cubicBezTo>
                      <a:pt x="374" y="531"/>
                      <a:pt x="341" y="517"/>
                      <a:pt x="315" y="490"/>
                    </a:cubicBezTo>
                    <a:cubicBezTo>
                      <a:pt x="288" y="464"/>
                      <a:pt x="274" y="431"/>
                      <a:pt x="274" y="394"/>
                    </a:cubicBezTo>
                    <a:cubicBezTo>
                      <a:pt x="274" y="356"/>
                      <a:pt x="288" y="324"/>
                      <a:pt x="315" y="297"/>
                    </a:cubicBezTo>
                    <a:cubicBezTo>
                      <a:pt x="342" y="270"/>
                      <a:pt x="374" y="257"/>
                      <a:pt x="411" y="257"/>
                    </a:cubicBezTo>
                    <a:cubicBezTo>
                      <a:pt x="448" y="257"/>
                      <a:pt x="481" y="270"/>
                      <a:pt x="508" y="297"/>
                    </a:cubicBezTo>
                    <a:cubicBezTo>
                      <a:pt x="535" y="324"/>
                      <a:pt x="548" y="356"/>
                      <a:pt x="548" y="394"/>
                    </a:cubicBezTo>
                    <a:cubicBezTo>
                      <a:pt x="548" y="431"/>
                      <a:pt x="535" y="464"/>
                      <a:pt x="508"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270" name="Straight Connector 269"/>
          <p:cNvCxnSpPr/>
          <p:nvPr/>
        </p:nvCxnSpPr>
        <p:spPr>
          <a:xfrm flipV="1">
            <a:off x="6581317" y="3049184"/>
            <a:ext cx="3781883" cy="1"/>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10366052" y="4806950"/>
            <a:ext cx="0" cy="1498600"/>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V="1">
            <a:off x="6622256" y="6310396"/>
            <a:ext cx="3756184" cy="14007"/>
          </a:xfrm>
          <a:prstGeom prst="line">
            <a:avLst/>
          </a:prstGeom>
          <a:ln w="22225" cap="sq">
            <a:solidFill>
              <a:schemeClr val="tx1"/>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3056656" y="5016893"/>
            <a:ext cx="7058894" cy="1102326"/>
            <a:chOff x="3056656" y="5016893"/>
            <a:chExt cx="7058894" cy="1102326"/>
          </a:xfrm>
        </p:grpSpPr>
        <p:sp>
          <p:nvSpPr>
            <p:cNvPr id="306" name="Freeform 305"/>
            <p:cNvSpPr/>
            <p:nvPr/>
          </p:nvSpPr>
          <p:spPr bwMode="auto">
            <a:xfrm>
              <a:off x="6618303" y="5016893"/>
              <a:ext cx="3497247" cy="521301"/>
            </a:xfrm>
            <a:custGeom>
              <a:avLst/>
              <a:gdLst>
                <a:gd name="connsiteX0" fmla="*/ 0 w 3824289"/>
                <a:gd name="connsiteY0" fmla="*/ 0 h 521301"/>
                <a:gd name="connsiteX1" fmla="*/ 1945012 w 3824289"/>
                <a:gd name="connsiteY1" fmla="*/ 0 h 521301"/>
                <a:gd name="connsiteX2" fmla="*/ 3714735 w 3824289"/>
                <a:gd name="connsiteY2" fmla="*/ 0 h 521301"/>
                <a:gd name="connsiteX3" fmla="*/ 3824289 w 3824289"/>
                <a:gd name="connsiteY3" fmla="*/ 0 h 521301"/>
                <a:gd name="connsiteX4" fmla="*/ 3824289 w 3824289"/>
                <a:gd name="connsiteY4" fmla="*/ 521301 h 521301"/>
                <a:gd name="connsiteX5" fmla="*/ 3714735 w 3824289"/>
                <a:gd name="connsiteY5" fmla="*/ 521301 h 521301"/>
                <a:gd name="connsiteX6" fmla="*/ 1945012 w 3824289"/>
                <a:gd name="connsiteY6" fmla="*/ 521301 h 521301"/>
                <a:gd name="connsiteX7" fmla="*/ 0 w 3824289"/>
                <a:gd name="connsiteY7" fmla="*/ 521301 h 52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4289" h="521301">
                  <a:moveTo>
                    <a:pt x="0" y="0"/>
                  </a:moveTo>
                  <a:lnTo>
                    <a:pt x="1945012" y="0"/>
                  </a:lnTo>
                  <a:lnTo>
                    <a:pt x="3714735" y="0"/>
                  </a:lnTo>
                  <a:lnTo>
                    <a:pt x="3824289" y="0"/>
                  </a:lnTo>
                  <a:lnTo>
                    <a:pt x="3824289" y="521301"/>
                  </a:lnTo>
                  <a:lnTo>
                    <a:pt x="3714735" y="521301"/>
                  </a:lnTo>
                  <a:lnTo>
                    <a:pt x="1945012" y="521301"/>
                  </a:lnTo>
                  <a:lnTo>
                    <a:pt x="0" y="52130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nable </a:t>
              </a:r>
              <a:r>
                <a:rPr lang="en-US" sz="12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ackup </a:t>
              </a:r>
              <a:r>
                <a:rPr lang="en-US" sz="12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Disaster Recovery</a:t>
              </a:r>
            </a:p>
          </p:txBody>
        </p:sp>
        <p:sp>
          <p:nvSpPr>
            <p:cNvPr id="304" name="Freeform 303"/>
            <p:cNvSpPr/>
            <p:nvPr/>
          </p:nvSpPr>
          <p:spPr bwMode="auto">
            <a:xfrm>
              <a:off x="3056657" y="5016893"/>
              <a:ext cx="3502152" cy="521301"/>
            </a:xfrm>
            <a:custGeom>
              <a:avLst/>
              <a:gdLst>
                <a:gd name="connsiteX0" fmla="*/ 0 w 3828676"/>
                <a:gd name="connsiteY0" fmla="*/ 0 h 521301"/>
                <a:gd name="connsiteX1" fmla="*/ 1950009 w 3828676"/>
                <a:gd name="connsiteY1" fmla="*/ 0 h 521301"/>
                <a:gd name="connsiteX2" fmla="*/ 3063656 w 3828676"/>
                <a:gd name="connsiteY2" fmla="*/ 0 h 521301"/>
                <a:gd name="connsiteX3" fmla="*/ 3828676 w 3828676"/>
                <a:gd name="connsiteY3" fmla="*/ 0 h 521301"/>
                <a:gd name="connsiteX4" fmla="*/ 3828676 w 3828676"/>
                <a:gd name="connsiteY4" fmla="*/ 521301 h 521301"/>
                <a:gd name="connsiteX5" fmla="*/ 3063656 w 3828676"/>
                <a:gd name="connsiteY5" fmla="*/ 521301 h 521301"/>
                <a:gd name="connsiteX6" fmla="*/ 1950009 w 3828676"/>
                <a:gd name="connsiteY6" fmla="*/ 521301 h 521301"/>
                <a:gd name="connsiteX7" fmla="*/ 0 w 3828676"/>
                <a:gd name="connsiteY7" fmla="*/ 521301 h 52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8676" h="521301">
                  <a:moveTo>
                    <a:pt x="0" y="0"/>
                  </a:moveTo>
                  <a:lnTo>
                    <a:pt x="1950009" y="0"/>
                  </a:lnTo>
                  <a:lnTo>
                    <a:pt x="3063656" y="0"/>
                  </a:lnTo>
                  <a:lnTo>
                    <a:pt x="3828676" y="0"/>
                  </a:lnTo>
                  <a:lnTo>
                    <a:pt x="3828676" y="521301"/>
                  </a:lnTo>
                  <a:lnTo>
                    <a:pt x="3063656" y="521301"/>
                  </a:lnTo>
                  <a:lnTo>
                    <a:pt x="1950009" y="521301"/>
                  </a:lnTo>
                  <a:lnTo>
                    <a:pt x="0" y="52130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liver IT insights</a:t>
              </a:r>
            </a:p>
          </p:txBody>
        </p:sp>
        <p:sp>
          <p:nvSpPr>
            <p:cNvPr id="307" name="Freeform 306"/>
            <p:cNvSpPr/>
            <p:nvPr/>
          </p:nvSpPr>
          <p:spPr bwMode="auto">
            <a:xfrm>
              <a:off x="6618303" y="5597918"/>
              <a:ext cx="3497247" cy="521301"/>
            </a:xfrm>
            <a:custGeom>
              <a:avLst/>
              <a:gdLst>
                <a:gd name="connsiteX0" fmla="*/ 0 w 3824289"/>
                <a:gd name="connsiteY0" fmla="*/ 0 h 521301"/>
                <a:gd name="connsiteX1" fmla="*/ 1945012 w 3824289"/>
                <a:gd name="connsiteY1" fmla="*/ 0 h 521301"/>
                <a:gd name="connsiteX2" fmla="*/ 3373071 w 3824289"/>
                <a:gd name="connsiteY2" fmla="*/ 0 h 521301"/>
                <a:gd name="connsiteX3" fmla="*/ 3824289 w 3824289"/>
                <a:gd name="connsiteY3" fmla="*/ 0 h 521301"/>
                <a:gd name="connsiteX4" fmla="*/ 3824289 w 3824289"/>
                <a:gd name="connsiteY4" fmla="*/ 521301 h 521301"/>
                <a:gd name="connsiteX5" fmla="*/ 3373071 w 3824289"/>
                <a:gd name="connsiteY5" fmla="*/ 521301 h 521301"/>
                <a:gd name="connsiteX6" fmla="*/ 1945012 w 3824289"/>
                <a:gd name="connsiteY6" fmla="*/ 521301 h 521301"/>
                <a:gd name="connsiteX7" fmla="*/ 0 w 3824289"/>
                <a:gd name="connsiteY7" fmla="*/ 521301 h 52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4289" h="521301">
                  <a:moveTo>
                    <a:pt x="0" y="0"/>
                  </a:moveTo>
                  <a:lnTo>
                    <a:pt x="1945012" y="0"/>
                  </a:lnTo>
                  <a:lnTo>
                    <a:pt x="3373071" y="0"/>
                  </a:lnTo>
                  <a:lnTo>
                    <a:pt x="3824289" y="0"/>
                  </a:lnTo>
                  <a:lnTo>
                    <a:pt x="3824289" y="521301"/>
                  </a:lnTo>
                  <a:lnTo>
                    <a:pt x="3373071" y="521301"/>
                  </a:lnTo>
                  <a:lnTo>
                    <a:pt x="1945012" y="521301"/>
                  </a:lnTo>
                  <a:lnTo>
                    <a:pt x="0" y="52130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hampion security</a:t>
              </a:r>
            </a:p>
          </p:txBody>
        </p:sp>
        <p:sp>
          <p:nvSpPr>
            <p:cNvPr id="305" name="Freeform 304"/>
            <p:cNvSpPr/>
            <p:nvPr/>
          </p:nvSpPr>
          <p:spPr bwMode="auto">
            <a:xfrm>
              <a:off x="3056656" y="5597918"/>
              <a:ext cx="3502152" cy="521301"/>
            </a:xfrm>
            <a:custGeom>
              <a:avLst/>
              <a:gdLst>
                <a:gd name="connsiteX0" fmla="*/ 0 w 3828677"/>
                <a:gd name="connsiteY0" fmla="*/ 0 h 521301"/>
                <a:gd name="connsiteX1" fmla="*/ 1950010 w 3828677"/>
                <a:gd name="connsiteY1" fmla="*/ 0 h 521301"/>
                <a:gd name="connsiteX2" fmla="*/ 3156261 w 3828677"/>
                <a:gd name="connsiteY2" fmla="*/ 0 h 521301"/>
                <a:gd name="connsiteX3" fmla="*/ 3828677 w 3828677"/>
                <a:gd name="connsiteY3" fmla="*/ 0 h 521301"/>
                <a:gd name="connsiteX4" fmla="*/ 3828677 w 3828677"/>
                <a:gd name="connsiteY4" fmla="*/ 521301 h 521301"/>
                <a:gd name="connsiteX5" fmla="*/ 3156261 w 3828677"/>
                <a:gd name="connsiteY5" fmla="*/ 521301 h 521301"/>
                <a:gd name="connsiteX6" fmla="*/ 1950010 w 3828677"/>
                <a:gd name="connsiteY6" fmla="*/ 521301 h 521301"/>
                <a:gd name="connsiteX7" fmla="*/ 0 w 3828677"/>
                <a:gd name="connsiteY7" fmla="*/ 521301 h 52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8677" h="521301">
                  <a:moveTo>
                    <a:pt x="0" y="0"/>
                  </a:moveTo>
                  <a:lnTo>
                    <a:pt x="1950010" y="0"/>
                  </a:lnTo>
                  <a:lnTo>
                    <a:pt x="3156261" y="0"/>
                  </a:lnTo>
                  <a:lnTo>
                    <a:pt x="3828677" y="0"/>
                  </a:lnTo>
                  <a:lnTo>
                    <a:pt x="3828677" y="521301"/>
                  </a:lnTo>
                  <a:lnTo>
                    <a:pt x="3156261" y="521301"/>
                  </a:lnTo>
                  <a:lnTo>
                    <a:pt x="1950010" y="521301"/>
                  </a:lnTo>
                  <a:lnTo>
                    <a:pt x="0" y="521301"/>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mprove operational efficiency</a:t>
              </a:r>
            </a:p>
          </p:txBody>
        </p:sp>
        <p:sp>
          <p:nvSpPr>
            <p:cNvPr id="308" name="Freeform 11"/>
            <p:cNvSpPr>
              <a:spLocks noEditPoints="1"/>
            </p:cNvSpPr>
            <p:nvPr/>
          </p:nvSpPr>
          <p:spPr bwMode="auto">
            <a:xfrm>
              <a:off x="9671908" y="5689906"/>
              <a:ext cx="295680" cy="337324"/>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5"/>
            <p:cNvSpPr>
              <a:spLocks noEditPoints="1"/>
            </p:cNvSpPr>
            <p:nvPr/>
          </p:nvSpPr>
          <p:spPr bwMode="auto">
            <a:xfrm>
              <a:off x="6095565" y="5721550"/>
              <a:ext cx="346392" cy="274036"/>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4" name="Group 8"/>
            <p:cNvGrpSpPr>
              <a:grpSpLocks noChangeAspect="1"/>
            </p:cNvGrpSpPr>
            <p:nvPr/>
          </p:nvGrpSpPr>
          <p:grpSpPr bwMode="auto">
            <a:xfrm>
              <a:off x="9702579" y="5085502"/>
              <a:ext cx="234338" cy="384083"/>
              <a:chOff x="2464" y="-33"/>
              <a:chExt cx="2676" cy="4386"/>
            </a:xfrm>
            <a:solidFill>
              <a:schemeClr val="bg1"/>
            </a:solidFill>
          </p:grpSpPr>
          <p:sp>
            <p:nvSpPr>
              <p:cNvPr id="33" name="Freeform 9"/>
              <p:cNvSpPr>
                <a:spLocks/>
              </p:cNvSpPr>
              <p:nvPr/>
            </p:nvSpPr>
            <p:spPr bwMode="auto">
              <a:xfrm>
                <a:off x="2464" y="800"/>
                <a:ext cx="2676" cy="3553"/>
              </a:xfrm>
              <a:custGeom>
                <a:avLst/>
                <a:gdLst>
                  <a:gd name="T0" fmla="*/ 976 w 1130"/>
                  <a:gd name="T1" fmla="*/ 663 h 1502"/>
                  <a:gd name="T2" fmla="*/ 609 w 1130"/>
                  <a:gd name="T3" fmla="*/ 626 h 1502"/>
                  <a:gd name="T4" fmla="*/ 595 w 1130"/>
                  <a:gd name="T5" fmla="*/ 98 h 1502"/>
                  <a:gd name="T6" fmla="*/ 498 w 1130"/>
                  <a:gd name="T7" fmla="*/ 0 h 1502"/>
                  <a:gd name="T8" fmla="*/ 423 w 1130"/>
                  <a:gd name="T9" fmla="*/ 98 h 1502"/>
                  <a:gd name="T10" fmla="*/ 423 w 1130"/>
                  <a:gd name="T11" fmla="*/ 839 h 1502"/>
                  <a:gd name="T12" fmla="*/ 279 w 1130"/>
                  <a:gd name="T13" fmla="*/ 677 h 1502"/>
                  <a:gd name="T14" fmla="*/ 51 w 1130"/>
                  <a:gd name="T15" fmla="*/ 631 h 1502"/>
                  <a:gd name="T16" fmla="*/ 130 w 1130"/>
                  <a:gd name="T17" fmla="*/ 784 h 1502"/>
                  <a:gd name="T18" fmla="*/ 516 w 1130"/>
                  <a:gd name="T19" fmla="*/ 1340 h 1502"/>
                  <a:gd name="T20" fmla="*/ 581 w 1130"/>
                  <a:gd name="T21" fmla="*/ 1423 h 1502"/>
                  <a:gd name="T22" fmla="*/ 623 w 1130"/>
                  <a:gd name="T23" fmla="*/ 1456 h 1502"/>
                  <a:gd name="T24" fmla="*/ 781 w 1130"/>
                  <a:gd name="T25" fmla="*/ 1502 h 1502"/>
                  <a:gd name="T26" fmla="*/ 1079 w 1130"/>
                  <a:gd name="T27" fmla="*/ 1229 h 1502"/>
                  <a:gd name="T28" fmla="*/ 1079 w 1130"/>
                  <a:gd name="T29" fmla="*/ 1215 h 1502"/>
                  <a:gd name="T30" fmla="*/ 1130 w 1130"/>
                  <a:gd name="T31" fmla="*/ 779 h 1502"/>
                  <a:gd name="T32" fmla="*/ 976 w 1130"/>
                  <a:gd name="T33" fmla="*/ 66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0" h="1502">
                    <a:moveTo>
                      <a:pt x="976" y="663"/>
                    </a:moveTo>
                    <a:cubicBezTo>
                      <a:pt x="609" y="626"/>
                      <a:pt x="609" y="626"/>
                      <a:pt x="609" y="626"/>
                    </a:cubicBezTo>
                    <a:cubicBezTo>
                      <a:pt x="609" y="450"/>
                      <a:pt x="595" y="274"/>
                      <a:pt x="595" y="98"/>
                    </a:cubicBezTo>
                    <a:cubicBezTo>
                      <a:pt x="595" y="47"/>
                      <a:pt x="549" y="0"/>
                      <a:pt x="498" y="0"/>
                    </a:cubicBezTo>
                    <a:cubicBezTo>
                      <a:pt x="442" y="0"/>
                      <a:pt x="423" y="47"/>
                      <a:pt x="423" y="98"/>
                    </a:cubicBezTo>
                    <a:cubicBezTo>
                      <a:pt x="423" y="329"/>
                      <a:pt x="423" y="608"/>
                      <a:pt x="423" y="839"/>
                    </a:cubicBezTo>
                    <a:cubicBezTo>
                      <a:pt x="395" y="798"/>
                      <a:pt x="279" y="677"/>
                      <a:pt x="279" y="677"/>
                    </a:cubicBezTo>
                    <a:cubicBezTo>
                      <a:pt x="242" y="626"/>
                      <a:pt x="112" y="594"/>
                      <a:pt x="51" y="631"/>
                    </a:cubicBezTo>
                    <a:cubicBezTo>
                      <a:pt x="0" y="659"/>
                      <a:pt x="93" y="733"/>
                      <a:pt x="130" y="784"/>
                    </a:cubicBezTo>
                    <a:cubicBezTo>
                      <a:pt x="270" y="969"/>
                      <a:pt x="377" y="1155"/>
                      <a:pt x="516" y="1340"/>
                    </a:cubicBezTo>
                    <a:cubicBezTo>
                      <a:pt x="535" y="1372"/>
                      <a:pt x="553" y="1400"/>
                      <a:pt x="581" y="1423"/>
                    </a:cubicBezTo>
                    <a:cubicBezTo>
                      <a:pt x="595" y="1437"/>
                      <a:pt x="609" y="1451"/>
                      <a:pt x="623" y="1456"/>
                    </a:cubicBezTo>
                    <a:cubicBezTo>
                      <a:pt x="670" y="1484"/>
                      <a:pt x="725" y="1502"/>
                      <a:pt x="781" y="1502"/>
                    </a:cubicBezTo>
                    <a:cubicBezTo>
                      <a:pt x="939" y="1502"/>
                      <a:pt x="1065" y="1382"/>
                      <a:pt x="1079" y="1229"/>
                    </a:cubicBezTo>
                    <a:cubicBezTo>
                      <a:pt x="1079" y="1224"/>
                      <a:pt x="1079" y="1220"/>
                      <a:pt x="1079" y="1215"/>
                    </a:cubicBezTo>
                    <a:cubicBezTo>
                      <a:pt x="1130" y="779"/>
                      <a:pt x="1130" y="779"/>
                      <a:pt x="1130" y="779"/>
                    </a:cubicBezTo>
                    <a:cubicBezTo>
                      <a:pt x="1130" y="724"/>
                      <a:pt x="1032" y="663"/>
                      <a:pt x="976" y="6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p:cNvSpPr>
              <p:nvPr/>
            </p:nvSpPr>
            <p:spPr bwMode="auto">
              <a:xfrm>
                <a:off x="2542" y="-33"/>
                <a:ext cx="2136" cy="2098"/>
              </a:xfrm>
              <a:custGeom>
                <a:avLst/>
                <a:gdLst>
                  <a:gd name="T0" fmla="*/ 335 w 902"/>
                  <a:gd name="T1" fmla="*/ 887 h 887"/>
                  <a:gd name="T2" fmla="*/ 335 w 902"/>
                  <a:gd name="T3" fmla="*/ 780 h 887"/>
                  <a:gd name="T4" fmla="*/ 102 w 902"/>
                  <a:gd name="T5" fmla="*/ 450 h 887"/>
                  <a:gd name="T6" fmla="*/ 451 w 902"/>
                  <a:gd name="T7" fmla="*/ 102 h 887"/>
                  <a:gd name="T8" fmla="*/ 805 w 902"/>
                  <a:gd name="T9" fmla="*/ 450 h 887"/>
                  <a:gd name="T10" fmla="*/ 633 w 902"/>
                  <a:gd name="T11" fmla="*/ 752 h 887"/>
                  <a:gd name="T12" fmla="*/ 637 w 902"/>
                  <a:gd name="T13" fmla="*/ 864 h 887"/>
                  <a:gd name="T14" fmla="*/ 902 w 902"/>
                  <a:gd name="T15" fmla="*/ 450 h 887"/>
                  <a:gd name="T16" fmla="*/ 451 w 902"/>
                  <a:gd name="T17" fmla="*/ 0 h 887"/>
                  <a:gd name="T18" fmla="*/ 0 w 902"/>
                  <a:gd name="T19" fmla="*/ 450 h 887"/>
                  <a:gd name="T20" fmla="*/ 335 w 902"/>
                  <a:gd name="T21" fmla="*/ 887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2" h="887">
                    <a:moveTo>
                      <a:pt x="335" y="887"/>
                    </a:moveTo>
                    <a:cubicBezTo>
                      <a:pt x="335" y="850"/>
                      <a:pt x="335" y="817"/>
                      <a:pt x="335" y="780"/>
                    </a:cubicBezTo>
                    <a:cubicBezTo>
                      <a:pt x="200" y="734"/>
                      <a:pt x="102" y="604"/>
                      <a:pt x="102" y="450"/>
                    </a:cubicBezTo>
                    <a:cubicBezTo>
                      <a:pt x="102" y="255"/>
                      <a:pt x="260" y="102"/>
                      <a:pt x="451" y="102"/>
                    </a:cubicBezTo>
                    <a:cubicBezTo>
                      <a:pt x="647" y="102"/>
                      <a:pt x="805" y="255"/>
                      <a:pt x="805" y="450"/>
                    </a:cubicBezTo>
                    <a:cubicBezTo>
                      <a:pt x="805" y="580"/>
                      <a:pt x="735" y="692"/>
                      <a:pt x="633" y="752"/>
                    </a:cubicBezTo>
                    <a:cubicBezTo>
                      <a:pt x="633" y="789"/>
                      <a:pt x="633" y="826"/>
                      <a:pt x="637" y="864"/>
                    </a:cubicBezTo>
                    <a:cubicBezTo>
                      <a:pt x="795" y="794"/>
                      <a:pt x="902" y="636"/>
                      <a:pt x="902" y="450"/>
                    </a:cubicBezTo>
                    <a:cubicBezTo>
                      <a:pt x="902" y="204"/>
                      <a:pt x="702" y="0"/>
                      <a:pt x="451" y="0"/>
                    </a:cubicBezTo>
                    <a:cubicBezTo>
                      <a:pt x="204" y="0"/>
                      <a:pt x="0" y="204"/>
                      <a:pt x="0" y="450"/>
                    </a:cubicBezTo>
                    <a:cubicBezTo>
                      <a:pt x="0" y="659"/>
                      <a:pt x="144" y="831"/>
                      <a:pt x="335"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9" name="Freeform 20"/>
            <p:cNvSpPr>
              <a:spLocks noEditPoints="1"/>
            </p:cNvSpPr>
            <p:nvPr/>
          </p:nvSpPr>
          <p:spPr bwMode="auto">
            <a:xfrm>
              <a:off x="6094117" y="5118322"/>
              <a:ext cx="349288" cy="318442"/>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01" name="Freeform 539"/>
          <p:cNvSpPr>
            <a:spLocks noChangeAspect="1"/>
          </p:cNvSpPr>
          <p:nvPr/>
        </p:nvSpPr>
        <p:spPr bwMode="auto">
          <a:xfrm>
            <a:off x="10165970" y="4183012"/>
            <a:ext cx="1830958" cy="958886"/>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5">
              <a:lumMod val="50000"/>
            </a:schemeClr>
          </a:solidFill>
          <a:ln w="34925">
            <a:solidFill>
              <a:schemeClr val="bg1"/>
            </a:solidFill>
            <a:prstDash val="solid"/>
          </a:ln>
          <a:extLst/>
        </p:spPr>
        <p:txBody>
          <a:bodyPr vert="horz" wrap="square" lIns="0" tIns="537855" rIns="0" bIns="134464" numCol="1" anchor="ctr" anchorCtr="0" compatLnSpc="1">
            <a:prstTxWarp prst="textNoShape">
              <a:avLst/>
            </a:prstTxWarp>
          </a:bodyPr>
          <a:lstStyle/>
          <a:p>
            <a:pPr marL="457200" indent="-55563" defTabSz="914206">
              <a:lnSpc>
                <a:spcPct val="90000"/>
              </a:lnSpc>
            </a:pPr>
            <a:r>
              <a:rPr lang="en-US" sz="1400" dirty="0" smtClean="0">
                <a:gradFill>
                  <a:gsLst>
                    <a:gs pos="17219">
                      <a:srgbClr val="FFFFFF"/>
                    </a:gs>
                    <a:gs pos="32743">
                      <a:srgbClr val="FFFFFF"/>
                    </a:gs>
                  </a:gsLst>
                  <a:lin ang="5400000" scaled="0"/>
                </a:gradFill>
                <a:latin typeface="Segoe UI Semibold" panose="020B0702040204020203" pitchFamily="34" charset="0"/>
              </a:rPr>
              <a:t>Log Analytics</a:t>
            </a:r>
            <a:endParaRPr lang="en-US" sz="1400" dirty="0">
              <a:gradFill>
                <a:gsLst>
                  <a:gs pos="17219">
                    <a:srgbClr val="FFFFFF"/>
                  </a:gs>
                  <a:gs pos="32743">
                    <a:srgbClr val="FFFFFF"/>
                  </a:gs>
                </a:gsLst>
                <a:lin ang="5400000" scaled="0"/>
              </a:gradFill>
              <a:latin typeface="Segoe UI Semibold" panose="020B0702040204020203" pitchFamily="34" charset="0"/>
            </a:endParaRPr>
          </a:p>
        </p:txBody>
      </p:sp>
    </p:spTree>
    <p:extLst>
      <p:ext uri="{BB962C8B-B14F-4D97-AF65-F5344CB8AC3E}">
        <p14:creationId xmlns:p14="http://schemas.microsoft.com/office/powerpoint/2010/main" val="156229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200" fill="hold"/>
                                        <p:tgtEl>
                                          <p:spTgt spid="75"/>
                                        </p:tgtEl>
                                        <p:attrNameLst>
                                          <p:attrName>ppt_x</p:attrName>
                                        </p:attrNameLst>
                                      </p:cBhvr>
                                      <p:tavLst>
                                        <p:tav tm="0">
                                          <p:val>
                                            <p:strVal val="0-#ppt_w/2"/>
                                          </p:val>
                                        </p:tav>
                                        <p:tav tm="100000">
                                          <p:val>
                                            <p:strVal val="#ppt_x"/>
                                          </p:val>
                                        </p:tav>
                                      </p:tavLst>
                                    </p:anim>
                                    <p:anim calcmode="lin" valueType="num">
                                      <p:cBhvr additive="base">
                                        <p:cTn id="8" dur="200" fill="hold"/>
                                        <p:tgtEl>
                                          <p:spTgt spid="7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74"/>
                                        </p:tgtEl>
                                        <p:attrNameLst>
                                          <p:attrName>style.visibility</p:attrName>
                                        </p:attrNameLst>
                                      </p:cBhvr>
                                      <p:to>
                                        <p:strVal val="visible"/>
                                      </p:to>
                                    </p:set>
                                    <p:anim calcmode="lin" valueType="num">
                                      <p:cBhvr additive="base">
                                        <p:cTn id="11" dur="200" fill="hold"/>
                                        <p:tgtEl>
                                          <p:spTgt spid="74"/>
                                        </p:tgtEl>
                                        <p:attrNameLst>
                                          <p:attrName>ppt_x</p:attrName>
                                        </p:attrNameLst>
                                      </p:cBhvr>
                                      <p:tavLst>
                                        <p:tav tm="0">
                                          <p:val>
                                            <p:strVal val="0-#ppt_w/2"/>
                                          </p:val>
                                        </p:tav>
                                        <p:tav tm="100000">
                                          <p:val>
                                            <p:strVal val="#ppt_x"/>
                                          </p:val>
                                        </p:tav>
                                      </p:tavLst>
                                    </p:anim>
                                    <p:anim calcmode="lin" valueType="num">
                                      <p:cBhvr additive="base">
                                        <p:cTn id="12" dur="200" fill="hold"/>
                                        <p:tgtEl>
                                          <p:spTgt spid="7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
                                  </p:stCondLst>
                                  <p:childTnLst>
                                    <p:set>
                                      <p:cBhvr>
                                        <p:cTn id="14" dur="1" fill="hold">
                                          <p:stCondLst>
                                            <p:cond delay="0"/>
                                          </p:stCondLst>
                                        </p:cTn>
                                        <p:tgtEl>
                                          <p:spTgt spid="76"/>
                                        </p:tgtEl>
                                        <p:attrNameLst>
                                          <p:attrName>style.visibility</p:attrName>
                                        </p:attrNameLst>
                                      </p:cBhvr>
                                      <p:to>
                                        <p:strVal val="visible"/>
                                      </p:to>
                                    </p:set>
                                    <p:anim calcmode="lin" valueType="num">
                                      <p:cBhvr additive="base">
                                        <p:cTn id="15" dur="200" fill="hold"/>
                                        <p:tgtEl>
                                          <p:spTgt spid="76"/>
                                        </p:tgtEl>
                                        <p:attrNameLst>
                                          <p:attrName>ppt_x</p:attrName>
                                        </p:attrNameLst>
                                      </p:cBhvr>
                                      <p:tavLst>
                                        <p:tav tm="0">
                                          <p:val>
                                            <p:strVal val="0-#ppt_w/2"/>
                                          </p:val>
                                        </p:tav>
                                        <p:tav tm="100000">
                                          <p:val>
                                            <p:strVal val="#ppt_x"/>
                                          </p:val>
                                        </p:tav>
                                      </p:tavLst>
                                    </p:anim>
                                    <p:anim calcmode="lin" valueType="num">
                                      <p:cBhvr additive="base">
                                        <p:cTn id="16" dur="200" fill="hold"/>
                                        <p:tgtEl>
                                          <p:spTgt spid="76"/>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00"/>
                                  </p:stCondLst>
                                  <p:childTnLst>
                                    <p:set>
                                      <p:cBhvr>
                                        <p:cTn id="18" dur="1" fill="hold">
                                          <p:stCondLst>
                                            <p:cond delay="0"/>
                                          </p:stCondLst>
                                        </p:cTn>
                                        <p:tgtEl>
                                          <p:spTgt spid="77"/>
                                        </p:tgtEl>
                                        <p:attrNameLst>
                                          <p:attrName>style.visibility</p:attrName>
                                        </p:attrNameLst>
                                      </p:cBhvr>
                                      <p:to>
                                        <p:strVal val="visible"/>
                                      </p:to>
                                    </p:set>
                                    <p:anim calcmode="lin" valueType="num">
                                      <p:cBhvr additive="base">
                                        <p:cTn id="19" dur="200" fill="hold"/>
                                        <p:tgtEl>
                                          <p:spTgt spid="77"/>
                                        </p:tgtEl>
                                        <p:attrNameLst>
                                          <p:attrName>ppt_x</p:attrName>
                                        </p:attrNameLst>
                                      </p:cBhvr>
                                      <p:tavLst>
                                        <p:tav tm="0">
                                          <p:val>
                                            <p:strVal val="0-#ppt_w/2"/>
                                          </p:val>
                                        </p:tav>
                                        <p:tav tm="100000">
                                          <p:val>
                                            <p:strVal val="#ppt_x"/>
                                          </p:val>
                                        </p:tav>
                                      </p:tavLst>
                                    </p:anim>
                                    <p:anim calcmode="lin" valueType="num">
                                      <p:cBhvr additive="base">
                                        <p:cTn id="20" dur="200" fill="hold"/>
                                        <p:tgtEl>
                                          <p:spTgt spid="77"/>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300"/>
                                  </p:stCondLst>
                                  <p:childTnLst>
                                    <p:set>
                                      <p:cBhvr>
                                        <p:cTn id="22" dur="1" fill="hold">
                                          <p:stCondLst>
                                            <p:cond delay="0"/>
                                          </p:stCondLst>
                                        </p:cTn>
                                        <p:tgtEl>
                                          <p:spTgt spid="78"/>
                                        </p:tgtEl>
                                        <p:attrNameLst>
                                          <p:attrName>style.visibility</p:attrName>
                                        </p:attrNameLst>
                                      </p:cBhvr>
                                      <p:to>
                                        <p:strVal val="visible"/>
                                      </p:to>
                                    </p:set>
                                    <p:anim calcmode="lin" valueType="num">
                                      <p:cBhvr additive="base">
                                        <p:cTn id="23" dur="200" fill="hold"/>
                                        <p:tgtEl>
                                          <p:spTgt spid="78"/>
                                        </p:tgtEl>
                                        <p:attrNameLst>
                                          <p:attrName>ppt_x</p:attrName>
                                        </p:attrNameLst>
                                      </p:cBhvr>
                                      <p:tavLst>
                                        <p:tav tm="0">
                                          <p:val>
                                            <p:strVal val="0-#ppt_w/2"/>
                                          </p:val>
                                        </p:tav>
                                        <p:tav tm="100000">
                                          <p:val>
                                            <p:strVal val="#ppt_x"/>
                                          </p:val>
                                        </p:tav>
                                      </p:tavLst>
                                    </p:anim>
                                    <p:anim calcmode="lin" valueType="num">
                                      <p:cBhvr additive="base">
                                        <p:cTn id="24" dur="200" fill="hold"/>
                                        <p:tgtEl>
                                          <p:spTgt spid="78"/>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2" presetClass="entr" presetSubtype="8" decel="100000"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additive="base">
                                        <p:cTn id="28" dur="700" fill="hold"/>
                                        <p:tgtEl>
                                          <p:spTgt spid="7"/>
                                        </p:tgtEl>
                                        <p:attrNameLst>
                                          <p:attrName>ppt_x</p:attrName>
                                        </p:attrNameLst>
                                      </p:cBhvr>
                                      <p:tavLst>
                                        <p:tav tm="0">
                                          <p:val>
                                            <p:strVal val="0-#ppt_w/2"/>
                                          </p:val>
                                        </p:tav>
                                        <p:tav tm="100000">
                                          <p:val>
                                            <p:strVal val="#ppt_x"/>
                                          </p:val>
                                        </p:tav>
                                      </p:tavLst>
                                    </p:anim>
                                    <p:anim calcmode="lin" valueType="num">
                                      <p:cBhvr additive="base">
                                        <p:cTn id="29" dur="700" fill="hold"/>
                                        <p:tgtEl>
                                          <p:spTgt spid="7"/>
                                        </p:tgtEl>
                                        <p:attrNameLst>
                                          <p:attrName>ppt_y</p:attrName>
                                        </p:attrNameLst>
                                      </p:cBhvr>
                                      <p:tavLst>
                                        <p:tav tm="0">
                                          <p:val>
                                            <p:strVal val="#ppt_y"/>
                                          </p:val>
                                        </p:tav>
                                        <p:tav tm="100000">
                                          <p:val>
                                            <p:strVal val="#ppt_y"/>
                                          </p:val>
                                        </p:tav>
                                      </p:tavLst>
                                    </p:anim>
                                  </p:childTnLst>
                                </p:cTn>
                              </p:par>
                              <p:par>
                                <p:cTn id="30" presetID="2" presetClass="entr" presetSubtype="8" decel="100000"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additive="base">
                                        <p:cTn id="32" dur="700" fill="hold"/>
                                        <p:tgtEl>
                                          <p:spTgt spid="73"/>
                                        </p:tgtEl>
                                        <p:attrNameLst>
                                          <p:attrName>ppt_x</p:attrName>
                                        </p:attrNameLst>
                                      </p:cBhvr>
                                      <p:tavLst>
                                        <p:tav tm="0">
                                          <p:val>
                                            <p:strVal val="0-#ppt_w/2"/>
                                          </p:val>
                                        </p:tav>
                                        <p:tav tm="100000">
                                          <p:val>
                                            <p:strVal val="#ppt_x"/>
                                          </p:val>
                                        </p:tav>
                                      </p:tavLst>
                                    </p:anim>
                                    <p:anim calcmode="lin" valueType="num">
                                      <p:cBhvr additive="base">
                                        <p:cTn id="33" dur="700" fill="hold"/>
                                        <p:tgtEl>
                                          <p:spTgt spid="73"/>
                                        </p:tgtEl>
                                        <p:attrNameLst>
                                          <p:attrName>ppt_y</p:attrName>
                                        </p:attrNameLst>
                                      </p:cBhvr>
                                      <p:tavLst>
                                        <p:tav tm="0">
                                          <p:val>
                                            <p:strVal val="#ppt_y"/>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xit" presetSubtype="8" fill="hold" grpId="1" nodeType="clickEffect">
                                  <p:stCondLst>
                                    <p:cond delay="0"/>
                                  </p:stCondLst>
                                  <p:childTnLst>
                                    <p:animEffect transition="out" filter="wipe(left)">
                                      <p:cBhvr>
                                        <p:cTn id="37" dur="500"/>
                                        <p:tgtEl>
                                          <p:spTgt spid="73"/>
                                        </p:tgtEl>
                                      </p:cBhvr>
                                    </p:animEffect>
                                    <p:set>
                                      <p:cBhvr>
                                        <p:cTn id="38" dur="1" fill="hold">
                                          <p:stCondLst>
                                            <p:cond delay="499"/>
                                          </p:stCondLst>
                                        </p:cTn>
                                        <p:tgtEl>
                                          <p:spTgt spid="73"/>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500"/>
                                        <p:tgtEl>
                                          <p:spTgt spid="14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94"/>
                                        </p:tgtEl>
                                        <p:attrNameLst>
                                          <p:attrName>style.visibility</p:attrName>
                                        </p:attrNameLst>
                                      </p:cBhvr>
                                      <p:to>
                                        <p:strVal val="visible"/>
                                      </p:to>
                                    </p:set>
                                    <p:animEffect transition="in" filter="fade">
                                      <p:cBhvr>
                                        <p:cTn id="47" dur="500"/>
                                        <p:tgtEl>
                                          <p:spTgt spid="194"/>
                                        </p:tgtEl>
                                      </p:cBhvr>
                                    </p:animEffect>
                                  </p:childTnLst>
                                </p:cTn>
                              </p:par>
                              <p:par>
                                <p:cTn id="48" presetID="10" presetClass="entr" presetSubtype="0" fill="hold" nodeType="withEffect">
                                  <p:stCondLst>
                                    <p:cond delay="0"/>
                                  </p:stCondLst>
                                  <p:childTnLst>
                                    <p:set>
                                      <p:cBhvr>
                                        <p:cTn id="49" dur="1" fill="hold">
                                          <p:stCondLst>
                                            <p:cond delay="0"/>
                                          </p:stCondLst>
                                        </p:cTn>
                                        <p:tgtEl>
                                          <p:spTgt spid="195"/>
                                        </p:tgtEl>
                                        <p:attrNameLst>
                                          <p:attrName>style.visibility</p:attrName>
                                        </p:attrNameLst>
                                      </p:cBhvr>
                                      <p:to>
                                        <p:strVal val="visible"/>
                                      </p:to>
                                    </p:set>
                                    <p:animEffect transition="in" filter="fade">
                                      <p:cBhvr>
                                        <p:cTn id="50" dur="500"/>
                                        <p:tgtEl>
                                          <p:spTgt spid="195"/>
                                        </p:tgtEl>
                                      </p:cBhvr>
                                    </p:animEffect>
                                  </p:childTnLst>
                                </p:cTn>
                              </p:par>
                              <p:par>
                                <p:cTn id="51" presetID="10" presetClass="entr" presetSubtype="0" fill="hold" nodeType="withEffect">
                                  <p:stCondLst>
                                    <p:cond delay="0"/>
                                  </p:stCondLst>
                                  <p:childTnLst>
                                    <p:set>
                                      <p:cBhvr>
                                        <p:cTn id="52" dur="1" fill="hold">
                                          <p:stCondLst>
                                            <p:cond delay="0"/>
                                          </p:stCondLst>
                                        </p:cTn>
                                        <p:tgtEl>
                                          <p:spTgt spid="220"/>
                                        </p:tgtEl>
                                        <p:attrNameLst>
                                          <p:attrName>style.visibility</p:attrName>
                                        </p:attrNameLst>
                                      </p:cBhvr>
                                      <p:to>
                                        <p:strVal val="visible"/>
                                      </p:to>
                                    </p:set>
                                    <p:animEffect transition="in" filter="fade">
                                      <p:cBhvr>
                                        <p:cTn id="53" dur="500"/>
                                        <p:tgtEl>
                                          <p:spTgt spid="22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23"/>
                                        </p:tgtEl>
                                        <p:attrNameLst>
                                          <p:attrName>style.visibility</p:attrName>
                                        </p:attrNameLst>
                                      </p:cBhvr>
                                      <p:to>
                                        <p:strVal val="visible"/>
                                      </p:to>
                                    </p:set>
                                    <p:animEffect transition="in" filter="fade">
                                      <p:cBhvr>
                                        <p:cTn id="56" dur="500"/>
                                        <p:tgtEl>
                                          <p:spTgt spid="223"/>
                                        </p:tgtEl>
                                      </p:cBhvr>
                                    </p:animEffect>
                                  </p:childTnLst>
                                </p:cTn>
                              </p:par>
                              <p:par>
                                <p:cTn id="57" presetID="10" presetClass="entr" presetSubtype="0" fill="hold" nodeType="withEffect">
                                  <p:stCondLst>
                                    <p:cond delay="0"/>
                                  </p:stCondLst>
                                  <p:childTnLst>
                                    <p:set>
                                      <p:cBhvr>
                                        <p:cTn id="58" dur="1" fill="hold">
                                          <p:stCondLst>
                                            <p:cond delay="0"/>
                                          </p:stCondLst>
                                        </p:cTn>
                                        <p:tgtEl>
                                          <p:spTgt spid="224"/>
                                        </p:tgtEl>
                                        <p:attrNameLst>
                                          <p:attrName>style.visibility</p:attrName>
                                        </p:attrNameLst>
                                      </p:cBhvr>
                                      <p:to>
                                        <p:strVal val="visible"/>
                                      </p:to>
                                    </p:set>
                                    <p:animEffect transition="in" filter="fade">
                                      <p:cBhvr>
                                        <p:cTn id="59" dur="500"/>
                                        <p:tgtEl>
                                          <p:spTgt spid="224"/>
                                        </p:tgtEl>
                                      </p:cBhvr>
                                    </p:animEffect>
                                  </p:childTnLst>
                                </p:cTn>
                              </p:par>
                              <p:par>
                                <p:cTn id="60" presetID="10" presetClass="entr" presetSubtype="0" fill="hold" nodeType="withEffect">
                                  <p:stCondLst>
                                    <p:cond delay="0"/>
                                  </p:stCondLst>
                                  <p:childTnLst>
                                    <p:set>
                                      <p:cBhvr>
                                        <p:cTn id="61" dur="1" fill="hold">
                                          <p:stCondLst>
                                            <p:cond delay="0"/>
                                          </p:stCondLst>
                                        </p:cTn>
                                        <p:tgtEl>
                                          <p:spTgt spid="227"/>
                                        </p:tgtEl>
                                        <p:attrNameLst>
                                          <p:attrName>style.visibility</p:attrName>
                                        </p:attrNameLst>
                                      </p:cBhvr>
                                      <p:to>
                                        <p:strVal val="visible"/>
                                      </p:to>
                                    </p:set>
                                    <p:animEffect transition="in" filter="fade">
                                      <p:cBhvr>
                                        <p:cTn id="62" dur="500"/>
                                        <p:tgtEl>
                                          <p:spTgt spid="227"/>
                                        </p:tgtEl>
                                      </p:cBhvr>
                                    </p:animEffect>
                                  </p:childTnLst>
                                </p:cTn>
                              </p:par>
                              <p:par>
                                <p:cTn id="63" presetID="10" presetClass="entr" presetSubtype="0" fill="hold" nodeType="withEffect">
                                  <p:stCondLst>
                                    <p:cond delay="0"/>
                                  </p:stCondLst>
                                  <p:childTnLst>
                                    <p:set>
                                      <p:cBhvr>
                                        <p:cTn id="64" dur="1" fill="hold">
                                          <p:stCondLst>
                                            <p:cond delay="0"/>
                                          </p:stCondLst>
                                        </p:cTn>
                                        <p:tgtEl>
                                          <p:spTgt spid="5"/>
                                        </p:tgtEl>
                                        <p:attrNameLst>
                                          <p:attrName>style.visibility</p:attrName>
                                        </p:attrNameLst>
                                      </p:cBhvr>
                                      <p:to>
                                        <p:strVal val="visible"/>
                                      </p:to>
                                    </p:set>
                                    <p:animEffect transition="in" filter="fade">
                                      <p:cBhvr>
                                        <p:cTn id="65" dur="500"/>
                                        <p:tgtEl>
                                          <p:spTgt spid="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01"/>
                                        </p:tgtEl>
                                        <p:attrNameLst>
                                          <p:attrName>style.visibility</p:attrName>
                                        </p:attrNameLst>
                                      </p:cBhvr>
                                      <p:to>
                                        <p:strVal val="visible"/>
                                      </p:to>
                                    </p:set>
                                    <p:animEffect transition="in" filter="fade">
                                      <p:cBhvr>
                                        <p:cTn id="68" dur="500"/>
                                        <p:tgtEl>
                                          <p:spTgt spid="101"/>
                                        </p:tgtEl>
                                      </p:cBhvr>
                                    </p:animEffect>
                                  </p:childTnLst>
                                </p:cTn>
                              </p:par>
                              <p:par>
                                <p:cTn id="69" presetID="10" presetClass="entr" presetSubtype="0" fill="hold" nodeType="withEffect">
                                  <p:stCondLst>
                                    <p:cond delay="0"/>
                                  </p:stCondLst>
                                  <p:childTnLst>
                                    <p:set>
                                      <p:cBhvr>
                                        <p:cTn id="70" dur="1" fill="hold">
                                          <p:stCondLst>
                                            <p:cond delay="0"/>
                                          </p:stCondLst>
                                        </p:cTn>
                                        <p:tgtEl>
                                          <p:spTgt spid="320"/>
                                        </p:tgtEl>
                                        <p:attrNameLst>
                                          <p:attrName>style.visibility</p:attrName>
                                        </p:attrNameLst>
                                      </p:cBhvr>
                                      <p:to>
                                        <p:strVal val="visible"/>
                                      </p:to>
                                    </p:set>
                                    <p:animEffect transition="in" filter="fade">
                                      <p:cBhvr>
                                        <p:cTn id="71" dur="500"/>
                                        <p:tgtEl>
                                          <p:spTgt spid="320"/>
                                        </p:tgtEl>
                                      </p:cBhvr>
                                    </p:animEffect>
                                  </p:childTnLst>
                                </p:cTn>
                              </p:par>
                              <p:par>
                                <p:cTn id="72" presetID="10" presetClass="entr" presetSubtype="0" fill="hold" nodeType="withEffect">
                                  <p:stCondLst>
                                    <p:cond delay="0"/>
                                  </p:stCondLst>
                                  <p:childTnLst>
                                    <p:set>
                                      <p:cBhvr>
                                        <p:cTn id="73" dur="1" fill="hold">
                                          <p:stCondLst>
                                            <p:cond delay="0"/>
                                          </p:stCondLst>
                                        </p:cTn>
                                        <p:tgtEl>
                                          <p:spTgt spid="270"/>
                                        </p:tgtEl>
                                        <p:attrNameLst>
                                          <p:attrName>style.visibility</p:attrName>
                                        </p:attrNameLst>
                                      </p:cBhvr>
                                      <p:to>
                                        <p:strVal val="visible"/>
                                      </p:to>
                                    </p:set>
                                    <p:animEffect transition="in" filter="fade">
                                      <p:cBhvr>
                                        <p:cTn id="74" dur="500"/>
                                        <p:tgtEl>
                                          <p:spTgt spid="27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48"/>
                                        </p:tgtEl>
                                        <p:attrNameLst>
                                          <p:attrName>style.visibility</p:attrName>
                                        </p:attrNameLst>
                                      </p:cBhvr>
                                      <p:to>
                                        <p:strVal val="visible"/>
                                      </p:to>
                                    </p:set>
                                    <p:animEffect transition="in" filter="fade">
                                      <p:cBhvr>
                                        <p:cTn id="77" dur="500"/>
                                        <p:tgtEl>
                                          <p:spTgt spid="148"/>
                                        </p:tgtEl>
                                      </p:cBhvr>
                                    </p:animEffect>
                                  </p:childTnLst>
                                </p:cTn>
                              </p:par>
                              <p:par>
                                <p:cTn id="78" presetID="10" presetClass="entr" presetSubtype="0" fill="hold" nodeType="withEffect">
                                  <p:stCondLst>
                                    <p:cond delay="0"/>
                                  </p:stCondLst>
                                  <p:childTnLst>
                                    <p:set>
                                      <p:cBhvr>
                                        <p:cTn id="79" dur="1" fill="hold">
                                          <p:stCondLst>
                                            <p:cond delay="0"/>
                                          </p:stCondLst>
                                        </p:cTn>
                                        <p:tgtEl>
                                          <p:spTgt spid="137"/>
                                        </p:tgtEl>
                                        <p:attrNameLst>
                                          <p:attrName>style.visibility</p:attrName>
                                        </p:attrNameLst>
                                      </p:cBhvr>
                                      <p:to>
                                        <p:strVal val="visible"/>
                                      </p:to>
                                    </p:set>
                                    <p:animEffect transition="in" filter="fade">
                                      <p:cBhvr>
                                        <p:cTn id="80" dur="500"/>
                                        <p:tgtEl>
                                          <p:spTgt spid="137"/>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9"/>
                                        </p:tgtEl>
                                        <p:attrNameLst>
                                          <p:attrName>style.visibility</p:attrName>
                                        </p:attrNameLst>
                                      </p:cBhvr>
                                      <p:to>
                                        <p:strVal val="visible"/>
                                      </p:to>
                                    </p:set>
                                    <p:animEffect transition="in" filter="fade">
                                      <p:cBhvr>
                                        <p:cTn id="83" dur="500"/>
                                        <p:tgtEl>
                                          <p:spTgt spid="149"/>
                                        </p:tgtEl>
                                      </p:cBhvr>
                                    </p:animEffect>
                                  </p:childTnLst>
                                </p:cTn>
                              </p:par>
                              <p:par>
                                <p:cTn id="84" presetID="10" presetClass="entr" presetSubtype="0" fill="hold" nodeType="withEffect">
                                  <p:stCondLst>
                                    <p:cond delay="0"/>
                                  </p:stCondLst>
                                  <p:childTnLst>
                                    <p:set>
                                      <p:cBhvr>
                                        <p:cTn id="85" dur="1" fill="hold">
                                          <p:stCondLst>
                                            <p:cond delay="0"/>
                                          </p:stCondLst>
                                        </p:cTn>
                                        <p:tgtEl>
                                          <p:spTgt spid="233"/>
                                        </p:tgtEl>
                                        <p:attrNameLst>
                                          <p:attrName>style.visibility</p:attrName>
                                        </p:attrNameLst>
                                      </p:cBhvr>
                                      <p:to>
                                        <p:strVal val="visible"/>
                                      </p:to>
                                    </p:set>
                                    <p:animEffect transition="in" filter="fade">
                                      <p:cBhvr>
                                        <p:cTn id="86" dur="500"/>
                                        <p:tgtEl>
                                          <p:spTgt spid="233"/>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38"/>
                                        </p:tgtEl>
                                        <p:attrNameLst>
                                          <p:attrName>style.visibility</p:attrName>
                                        </p:attrNameLst>
                                      </p:cBhvr>
                                      <p:to>
                                        <p:strVal val="visible"/>
                                      </p:to>
                                    </p:set>
                                    <p:animEffect transition="in" filter="fade">
                                      <p:cBhvr>
                                        <p:cTn id="89" dur="500"/>
                                        <p:tgtEl>
                                          <p:spTgt spid="23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239"/>
                                        </p:tgtEl>
                                        <p:attrNameLst>
                                          <p:attrName>style.visibility</p:attrName>
                                        </p:attrNameLst>
                                      </p:cBhvr>
                                      <p:to>
                                        <p:strVal val="visible"/>
                                      </p:to>
                                    </p:set>
                                    <p:animEffect transition="in" filter="fade">
                                      <p:cBhvr>
                                        <p:cTn id="92" dur="500"/>
                                        <p:tgtEl>
                                          <p:spTgt spid="239"/>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xit" presetSubtype="0" fill="hold" grpId="1" nodeType="clickEffect">
                                  <p:stCondLst>
                                    <p:cond delay="0"/>
                                  </p:stCondLst>
                                  <p:childTnLst>
                                    <p:animEffect transition="out" filter="fade">
                                      <p:cBhvr>
                                        <p:cTn id="96" dur="500"/>
                                        <p:tgtEl>
                                          <p:spTgt spid="140"/>
                                        </p:tgtEl>
                                      </p:cBhvr>
                                    </p:animEffect>
                                    <p:set>
                                      <p:cBhvr>
                                        <p:cTn id="97" dur="1" fill="hold">
                                          <p:stCondLst>
                                            <p:cond delay="499"/>
                                          </p:stCondLst>
                                        </p:cTn>
                                        <p:tgtEl>
                                          <p:spTgt spid="140"/>
                                        </p:tgtEl>
                                        <p:attrNameLst>
                                          <p:attrName>style.visibility</p:attrName>
                                        </p:attrNameLst>
                                      </p:cBhvr>
                                      <p:to>
                                        <p:strVal val="hidden"/>
                                      </p:to>
                                    </p:set>
                                  </p:childTnLst>
                                </p:cTn>
                              </p:par>
                              <p:par>
                                <p:cTn id="98" presetID="10" presetClass="entr" presetSubtype="0" fill="hold" grpId="0" nodeType="withEffect">
                                  <p:stCondLst>
                                    <p:cond delay="0"/>
                                  </p:stCondLst>
                                  <p:childTnLst>
                                    <p:set>
                                      <p:cBhvr>
                                        <p:cTn id="99" dur="1" fill="hold">
                                          <p:stCondLst>
                                            <p:cond delay="0"/>
                                          </p:stCondLst>
                                        </p:cTn>
                                        <p:tgtEl>
                                          <p:spTgt spid="129"/>
                                        </p:tgtEl>
                                        <p:attrNameLst>
                                          <p:attrName>style.visibility</p:attrName>
                                        </p:attrNameLst>
                                      </p:cBhvr>
                                      <p:to>
                                        <p:strVal val="visible"/>
                                      </p:to>
                                    </p:set>
                                    <p:animEffect transition="in" filter="fade">
                                      <p:cBhvr>
                                        <p:cTn id="100" dur="500"/>
                                        <p:tgtEl>
                                          <p:spTgt spid="129"/>
                                        </p:tgtEl>
                                      </p:cBhvr>
                                    </p:animEffect>
                                  </p:childTnLst>
                                </p:cTn>
                              </p:par>
                              <p:par>
                                <p:cTn id="101" presetID="1" presetClass="entr" presetSubtype="0" fill="hold" nodeType="withEffect">
                                  <p:stCondLst>
                                    <p:cond delay="0"/>
                                  </p:stCondLst>
                                  <p:childTnLst>
                                    <p:set>
                                      <p:cBhvr>
                                        <p:cTn id="102" dur="1" fill="hold">
                                          <p:stCondLst>
                                            <p:cond delay="499"/>
                                          </p:stCondLst>
                                        </p:cTn>
                                        <p:tgtEl>
                                          <p:spTgt spid="252"/>
                                        </p:tgtEl>
                                        <p:attrNameLst>
                                          <p:attrName>style.visibility</p:attrName>
                                        </p:attrNameLst>
                                      </p:cBhvr>
                                      <p:to>
                                        <p:strVal val="visible"/>
                                      </p:to>
                                    </p:set>
                                  </p:childTnLst>
                                </p:cTn>
                              </p:par>
                              <p:par>
                                <p:cTn id="103" presetID="6" presetClass="emph" presetSubtype="0" decel="100000" autoRev="1" fill="hold" nodeType="withEffect">
                                  <p:stCondLst>
                                    <p:cond delay="0"/>
                                  </p:stCondLst>
                                  <p:childTnLst>
                                    <p:animScale>
                                      <p:cBhvr>
                                        <p:cTn id="104" dur="500" fill="hold"/>
                                        <p:tgtEl>
                                          <p:spTgt spid="252"/>
                                        </p:tgtEl>
                                      </p:cBhvr>
                                      <p:by x="0" y="0"/>
                                    </p:animScale>
                                  </p:childTnLst>
                                </p:cTn>
                              </p:par>
                            </p:childTnLst>
                          </p:cTn>
                        </p:par>
                        <p:par>
                          <p:cTn id="105" fill="hold">
                            <p:stCondLst>
                              <p:cond delay="1000"/>
                            </p:stCondLst>
                            <p:childTnLst>
                              <p:par>
                                <p:cTn id="106" presetID="22" presetClass="entr" presetSubtype="1" fill="hold" grpId="0" nodeType="afterEffect">
                                  <p:stCondLst>
                                    <p:cond delay="0"/>
                                  </p:stCondLst>
                                  <p:childTnLst>
                                    <p:set>
                                      <p:cBhvr>
                                        <p:cTn id="107" dur="1" fill="hold">
                                          <p:stCondLst>
                                            <p:cond delay="0"/>
                                          </p:stCondLst>
                                        </p:cTn>
                                        <p:tgtEl>
                                          <p:spTgt spid="321"/>
                                        </p:tgtEl>
                                        <p:attrNameLst>
                                          <p:attrName>style.visibility</p:attrName>
                                        </p:attrNameLst>
                                      </p:cBhvr>
                                      <p:to>
                                        <p:strVal val="visible"/>
                                      </p:to>
                                    </p:set>
                                    <p:animEffect transition="in" filter="wipe(up)">
                                      <p:cBhvr>
                                        <p:cTn id="108" dur="500"/>
                                        <p:tgtEl>
                                          <p:spTgt spid="321"/>
                                        </p:tgtEl>
                                      </p:cBhvr>
                                    </p:animEffect>
                                  </p:childTnLst>
                                </p:cTn>
                              </p:par>
                              <p:par>
                                <p:cTn id="109" presetID="1" presetClass="entr" presetSubtype="0" fill="hold" nodeType="withEffect">
                                  <p:stCondLst>
                                    <p:cond delay="0"/>
                                  </p:stCondLst>
                                  <p:childTnLst>
                                    <p:set>
                                      <p:cBhvr>
                                        <p:cTn id="110" dur="1" fill="hold">
                                          <p:stCondLst>
                                            <p:cond delay="499"/>
                                          </p:stCondLst>
                                        </p:cTn>
                                        <p:tgtEl>
                                          <p:spTgt spid="47"/>
                                        </p:tgtEl>
                                        <p:attrNameLst>
                                          <p:attrName>style.visibility</p:attrName>
                                        </p:attrNameLst>
                                      </p:cBhvr>
                                      <p:to>
                                        <p:strVal val="visible"/>
                                      </p:to>
                                    </p:set>
                                  </p:childTnLst>
                                </p:cTn>
                              </p:par>
                              <p:par>
                                <p:cTn id="111" presetID="6" presetClass="emph" presetSubtype="0" decel="100000" autoRev="1" fill="hold" nodeType="withEffect">
                                  <p:stCondLst>
                                    <p:cond delay="0"/>
                                  </p:stCondLst>
                                  <p:childTnLst>
                                    <p:animScale>
                                      <p:cBhvr>
                                        <p:cTn id="112" dur="500" fill="hold"/>
                                        <p:tgtEl>
                                          <p:spTgt spid="47"/>
                                        </p:tgtEl>
                                      </p:cBhvr>
                                      <p:by x="0" y="0"/>
                                    </p:animScale>
                                  </p:childTnLst>
                                </p:cTn>
                              </p:par>
                            </p:childTnLst>
                          </p:cTn>
                        </p:par>
                        <p:par>
                          <p:cTn id="113" fill="hold">
                            <p:stCondLst>
                              <p:cond delay="2000"/>
                            </p:stCondLst>
                            <p:childTnLst>
                              <p:par>
                                <p:cTn id="114" presetID="22" presetClass="entr" presetSubtype="1" fill="hold" nodeType="afterEffect">
                                  <p:stCondLst>
                                    <p:cond delay="0"/>
                                  </p:stCondLst>
                                  <p:childTnLst>
                                    <p:set>
                                      <p:cBhvr>
                                        <p:cTn id="115" dur="1" fill="hold">
                                          <p:stCondLst>
                                            <p:cond delay="0"/>
                                          </p:stCondLst>
                                        </p:cTn>
                                        <p:tgtEl>
                                          <p:spTgt spid="271"/>
                                        </p:tgtEl>
                                        <p:attrNameLst>
                                          <p:attrName>style.visibility</p:attrName>
                                        </p:attrNameLst>
                                      </p:cBhvr>
                                      <p:to>
                                        <p:strVal val="visible"/>
                                      </p:to>
                                    </p:set>
                                    <p:animEffect transition="in" filter="wipe(up)">
                                      <p:cBhvr>
                                        <p:cTn id="116" dur="250"/>
                                        <p:tgtEl>
                                          <p:spTgt spid="271"/>
                                        </p:tgtEl>
                                      </p:cBhvr>
                                    </p:animEffect>
                                  </p:childTnLst>
                                </p:cTn>
                              </p:par>
                              <p:par>
                                <p:cTn id="117" presetID="22" presetClass="entr" presetSubtype="2" fill="hold" nodeType="withEffect">
                                  <p:stCondLst>
                                    <p:cond delay="0"/>
                                  </p:stCondLst>
                                  <p:childTnLst>
                                    <p:set>
                                      <p:cBhvr>
                                        <p:cTn id="118" dur="1" fill="hold">
                                          <p:stCondLst>
                                            <p:cond delay="0"/>
                                          </p:stCondLst>
                                        </p:cTn>
                                        <p:tgtEl>
                                          <p:spTgt spid="142"/>
                                        </p:tgtEl>
                                        <p:attrNameLst>
                                          <p:attrName>style.visibility</p:attrName>
                                        </p:attrNameLst>
                                      </p:cBhvr>
                                      <p:to>
                                        <p:strVal val="visible"/>
                                      </p:to>
                                    </p:set>
                                    <p:animEffect transition="in" filter="wipe(right)">
                                      <p:cBhvr>
                                        <p:cTn id="119" dur="250"/>
                                        <p:tgtEl>
                                          <p:spTgt spid="142"/>
                                        </p:tgtEl>
                                      </p:cBhvr>
                                    </p:animEffect>
                                  </p:childTnLst>
                                </p:cTn>
                              </p:par>
                              <p:par>
                                <p:cTn id="120" presetID="22" presetClass="entr" presetSubtype="4" fill="hold" nodeType="withEffect">
                                  <p:stCondLst>
                                    <p:cond delay="0"/>
                                  </p:stCondLst>
                                  <p:childTnLst>
                                    <p:set>
                                      <p:cBhvr>
                                        <p:cTn id="121" dur="1" fill="hold">
                                          <p:stCondLst>
                                            <p:cond delay="0"/>
                                          </p:stCondLst>
                                        </p:cTn>
                                        <p:tgtEl>
                                          <p:spTgt spid="147"/>
                                        </p:tgtEl>
                                        <p:attrNameLst>
                                          <p:attrName>style.visibility</p:attrName>
                                        </p:attrNameLst>
                                      </p:cBhvr>
                                      <p:to>
                                        <p:strVal val="visible"/>
                                      </p:to>
                                    </p:set>
                                    <p:animEffect transition="in" filter="wipe(down)">
                                      <p:cBhvr>
                                        <p:cTn id="122" dur="250"/>
                                        <p:tgtEl>
                                          <p:spTgt spid="147"/>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xit" presetSubtype="0" fill="hold" grpId="1" nodeType="clickEffect">
                                  <p:stCondLst>
                                    <p:cond delay="0"/>
                                  </p:stCondLst>
                                  <p:childTnLst>
                                    <p:animEffect transition="out" filter="fade">
                                      <p:cBhvr>
                                        <p:cTn id="126" dur="500"/>
                                        <p:tgtEl>
                                          <p:spTgt spid="129"/>
                                        </p:tgtEl>
                                      </p:cBhvr>
                                    </p:animEffect>
                                    <p:set>
                                      <p:cBhvr>
                                        <p:cTn id="127" dur="1" fill="hold">
                                          <p:stCondLst>
                                            <p:cond delay="499"/>
                                          </p:stCondLst>
                                        </p:cTn>
                                        <p:tgtEl>
                                          <p:spTgt spid="129"/>
                                        </p:tgtEl>
                                        <p:attrNameLst>
                                          <p:attrName>style.visibility</p:attrName>
                                        </p:attrNameLst>
                                      </p:cBhvr>
                                      <p:to>
                                        <p:strVal val="hidden"/>
                                      </p:to>
                                    </p:set>
                                  </p:childTnLst>
                                </p:cTn>
                              </p:par>
                              <p:par>
                                <p:cTn id="128" presetID="10" presetClass="entr" presetSubtype="0" fill="hold" grpId="0" nodeType="withEffect">
                                  <p:stCondLst>
                                    <p:cond delay="0"/>
                                  </p:stCondLst>
                                  <p:childTnLst>
                                    <p:set>
                                      <p:cBhvr>
                                        <p:cTn id="129" dur="1" fill="hold">
                                          <p:stCondLst>
                                            <p:cond delay="0"/>
                                          </p:stCondLst>
                                        </p:cTn>
                                        <p:tgtEl>
                                          <p:spTgt spid="130"/>
                                        </p:tgtEl>
                                        <p:attrNameLst>
                                          <p:attrName>style.visibility</p:attrName>
                                        </p:attrNameLst>
                                      </p:cBhvr>
                                      <p:to>
                                        <p:strVal val="visible"/>
                                      </p:to>
                                    </p:set>
                                    <p:animEffect transition="in" filter="fade">
                                      <p:cBhvr>
                                        <p:cTn id="130" dur="500"/>
                                        <p:tgtEl>
                                          <p:spTgt spid="130"/>
                                        </p:tgtEl>
                                      </p:cBhvr>
                                    </p:animEffect>
                                  </p:childTnLst>
                                </p:cTn>
                              </p:par>
                            </p:childTnLst>
                          </p:cTn>
                        </p:par>
                      </p:childTnLst>
                    </p:cTn>
                  </p:par>
                  <p:par>
                    <p:cTn id="131" fill="hold">
                      <p:stCondLst>
                        <p:cond delay="indefinite"/>
                      </p:stCondLst>
                      <p:childTnLst>
                        <p:par>
                          <p:cTn id="132" fill="hold">
                            <p:stCondLst>
                              <p:cond delay="0"/>
                            </p:stCondLst>
                            <p:childTnLst>
                              <p:par>
                                <p:cTn id="133" presetID="22" presetClass="entr" presetSubtype="2" fill="hold" grpId="2" nodeType="clickEffect">
                                  <p:stCondLst>
                                    <p:cond delay="0"/>
                                  </p:stCondLst>
                                  <p:childTnLst>
                                    <p:set>
                                      <p:cBhvr>
                                        <p:cTn id="134" dur="1" fill="hold">
                                          <p:stCondLst>
                                            <p:cond delay="0"/>
                                          </p:stCondLst>
                                        </p:cTn>
                                        <p:tgtEl>
                                          <p:spTgt spid="73"/>
                                        </p:tgtEl>
                                        <p:attrNameLst>
                                          <p:attrName>style.visibility</p:attrName>
                                        </p:attrNameLst>
                                      </p:cBhvr>
                                      <p:to>
                                        <p:strVal val="visible"/>
                                      </p:to>
                                    </p:set>
                                    <p:animEffect transition="in" filter="wipe(right)">
                                      <p:cBhvr>
                                        <p:cTn id="135"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1" grpId="0" animBg="1"/>
      <p:bldP spid="140" grpId="0"/>
      <p:bldP spid="140" grpId="1"/>
      <p:bldP spid="129" grpId="0"/>
      <p:bldP spid="129" grpId="1"/>
      <p:bldP spid="130" grpId="0"/>
      <p:bldP spid="73" grpId="0" animBg="1"/>
      <p:bldP spid="73" grpId="1" animBg="1"/>
      <p:bldP spid="73" grpId="2" animBg="1"/>
      <p:bldP spid="74" grpId="0" animBg="1"/>
      <p:bldP spid="75" grpId="0" animBg="1"/>
      <p:bldP spid="76" grpId="0" animBg="1"/>
      <p:bldP spid="77" grpId="0" animBg="1"/>
      <p:bldP spid="78" grpId="0" animBg="1"/>
      <p:bldP spid="194" grpId="0" animBg="1"/>
      <p:bldP spid="223" grpId="0" animBg="1"/>
      <p:bldP spid="238" grpId="0" animBg="1"/>
      <p:bldP spid="239" grpId="0"/>
      <p:bldP spid="148" grpId="0" animBg="1"/>
      <p:bldP spid="149" grpId="0" animBg="1"/>
      <p:bldP spid="101"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 y="487"/>
            <a:ext cx="3599078" cy="685703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4" name="Rectangle 13"/>
          <p:cNvSpPr/>
          <p:nvPr/>
        </p:nvSpPr>
        <p:spPr bwMode="auto">
          <a:xfrm>
            <a:off x="180157" y="487"/>
            <a:ext cx="12011844" cy="99466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spc="-29" dirty="0">
                <a:gradFill>
                  <a:gsLst>
                    <a:gs pos="69027">
                      <a:srgbClr val="0072C6"/>
                    </a:gs>
                    <a:gs pos="36283">
                      <a:srgbClr val="0072C6"/>
                    </a:gs>
                  </a:gsLst>
                  <a:lin ang="5400000" scaled="0"/>
                </a:gradFill>
              </a:rPr>
              <a:t>Experience 3B | Transform the Datacenter</a:t>
            </a:r>
          </a:p>
          <a:p>
            <a:pPr indent="-169599" defTabSz="897084" fontAlgn="base">
              <a:lnSpc>
                <a:spcPct val="90000"/>
              </a:lnSpc>
              <a:spcBef>
                <a:spcPct val="0"/>
              </a:spcBef>
              <a:spcAft>
                <a:spcPct val="0"/>
              </a:spcAft>
            </a:pPr>
            <a:r>
              <a:rPr lang="en-US" sz="3529" spc="-49" dirty="0" smtClean="0">
                <a:gradFill>
                  <a:gsLst>
                    <a:gs pos="93805">
                      <a:srgbClr val="191919"/>
                    </a:gs>
                    <a:gs pos="84071">
                      <a:srgbClr val="191919"/>
                    </a:gs>
                  </a:gsLst>
                  <a:lin ang="5400000" scaled="0"/>
                </a:gradFill>
                <a:latin typeface="Segoe UI Light"/>
              </a:rPr>
              <a:t>IT </a:t>
            </a:r>
            <a:r>
              <a:rPr lang="en-US" sz="3529" spc="-49" dirty="0">
                <a:gradFill>
                  <a:gsLst>
                    <a:gs pos="93805">
                      <a:srgbClr val="191919"/>
                    </a:gs>
                    <a:gs pos="84071">
                      <a:srgbClr val="191919"/>
                    </a:gs>
                  </a:gsLst>
                  <a:lin ang="5400000" scaled="0"/>
                </a:gradFill>
                <a:latin typeface="Segoe UI Light"/>
              </a:rPr>
              <a:t>management</a:t>
            </a:r>
          </a:p>
        </p:txBody>
      </p:sp>
      <p:sp>
        <p:nvSpPr>
          <p:cNvPr id="20" name="Rectangle 19"/>
          <p:cNvSpPr/>
          <p:nvPr/>
        </p:nvSpPr>
        <p:spPr bwMode="auto">
          <a:xfrm>
            <a:off x="312165" y="1652661"/>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A. Application </a:t>
            </a:r>
            <a:r>
              <a:rPr lang="en-US" sz="1372" b="1" kern="0" dirty="0" smtClean="0">
                <a:gradFill>
                  <a:gsLst>
                    <a:gs pos="83178">
                      <a:srgbClr val="505050"/>
                    </a:gs>
                    <a:gs pos="45000">
                      <a:srgbClr val="505050"/>
                    </a:gs>
                  </a:gsLst>
                  <a:lin ang="5400000" scaled="0"/>
                </a:gradFill>
                <a:latin typeface="Calibri" panose="020F0502020204030204"/>
              </a:rPr>
              <a:t>Insights</a:t>
            </a:r>
            <a:endParaRPr lang="en-US" sz="1372"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endParaRPr lang="en-US" sz="588"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Ensure application health regardless of their location</a:t>
            </a:r>
          </a:p>
        </p:txBody>
      </p:sp>
      <p:sp>
        <p:nvSpPr>
          <p:cNvPr id="21" name="Rectangle 20"/>
          <p:cNvSpPr/>
          <p:nvPr/>
        </p:nvSpPr>
        <p:spPr bwMode="auto">
          <a:xfrm>
            <a:off x="322440" y="3238643"/>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B. </a:t>
            </a:r>
            <a:r>
              <a:rPr lang="en-US" sz="1372" b="1" kern="0" dirty="0" smtClean="0">
                <a:gradFill>
                  <a:gsLst>
                    <a:gs pos="83178">
                      <a:srgbClr val="505050"/>
                    </a:gs>
                    <a:gs pos="45000">
                      <a:srgbClr val="505050"/>
                    </a:gs>
                  </a:gsLst>
                  <a:lin ang="5400000" scaled="0"/>
                </a:gradFill>
                <a:latin typeface="Calibri" panose="020F0502020204030204"/>
              </a:rPr>
              <a:t>Log Analytics</a:t>
            </a:r>
            <a:endParaRPr lang="en-US" sz="1372"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smtClean="0">
                <a:gradFill>
                  <a:gsLst>
                    <a:gs pos="83178">
                      <a:srgbClr val="505050"/>
                    </a:gs>
                    <a:gs pos="45000">
                      <a:srgbClr val="505050"/>
                    </a:gs>
                  </a:gsLst>
                  <a:lin ang="5400000" scaled="0"/>
                </a:gradFill>
                <a:latin typeface="Calibri" panose="020F0502020204030204"/>
              </a:rPr>
              <a:t>Gain operational insight on workload and infrastructure across any OS and any Cloud</a:t>
            </a:r>
            <a:endParaRPr lang="en-US" sz="1175" kern="0" dirty="0">
              <a:gradFill>
                <a:gsLst>
                  <a:gs pos="83178">
                    <a:srgbClr val="505050"/>
                  </a:gs>
                  <a:gs pos="45000">
                    <a:srgbClr val="505050"/>
                  </a:gs>
                </a:gsLst>
                <a:lin ang="5400000" scaled="0"/>
              </a:gradFill>
              <a:latin typeface="Calibri" panose="020F0502020204030204"/>
            </a:endParaRPr>
          </a:p>
        </p:txBody>
      </p:sp>
      <p:sp>
        <p:nvSpPr>
          <p:cNvPr id="22" name="TextBox 21"/>
          <p:cNvSpPr txBox="1"/>
          <p:nvPr/>
        </p:nvSpPr>
        <p:spPr>
          <a:xfrm>
            <a:off x="3911241" y="1652662"/>
            <a:ext cx="8263527" cy="2614472"/>
          </a:xfrm>
          <a:prstGeom prst="rect">
            <a:avLst/>
          </a:prstGeom>
          <a:noFill/>
        </p:spPr>
        <p:txBody>
          <a:bodyPr wrap="square" lIns="179253" tIns="143402" rIns="179253" bIns="143402" rtlCol="0">
            <a:spAutoFit/>
          </a:bodyPr>
          <a:lstStyle/>
          <a:p>
            <a:pPr defTabSz="914367">
              <a:lnSpc>
                <a:spcPct val="90000"/>
              </a:lnSpc>
              <a:spcAft>
                <a:spcPts val="588"/>
              </a:spcAft>
            </a:pPr>
            <a:r>
              <a:rPr lang="en-US" sz="3529" dirty="0">
                <a:gradFill>
                  <a:gsLst>
                    <a:gs pos="69027">
                      <a:srgbClr val="0072C6"/>
                    </a:gs>
                    <a:gs pos="36283">
                      <a:srgbClr val="0072C6"/>
                    </a:gs>
                  </a:gsLst>
                </a:gradFill>
                <a:latin typeface="Segoe UI Light"/>
              </a:rPr>
              <a:t>E3B Scenarios: </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Log analytics</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Weblog insights</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Security and audit</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Assessment solutions</a:t>
            </a:r>
            <a:endParaRPr lang="en-US" sz="2745" dirty="0">
              <a:gradFill>
                <a:gsLst>
                  <a:gs pos="2917">
                    <a:srgbClr val="505050"/>
                  </a:gs>
                  <a:gs pos="30000">
                    <a:srgbClr val="505050"/>
                  </a:gs>
                </a:gsLst>
                <a:lin ang="5400000" scaled="0"/>
              </a:gradFill>
              <a:latin typeface="Segoe UI Light"/>
            </a:endParaRPr>
          </a:p>
        </p:txBody>
      </p:sp>
      <p:sp>
        <p:nvSpPr>
          <p:cNvPr id="23" name="TextBox 22"/>
          <p:cNvSpPr txBox="1"/>
          <p:nvPr/>
        </p:nvSpPr>
        <p:spPr>
          <a:xfrm>
            <a:off x="0" y="5151015"/>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35398">
                      <a:srgbClr val="FFFFFF"/>
                    </a:gs>
                    <a:gs pos="84071">
                      <a:srgbClr val="FFFFFF"/>
                    </a:gs>
                  </a:gsLst>
                  <a:lin ang="5400000" scaled="0"/>
                </a:gradFill>
                <a:latin typeface="Segoe UI Light"/>
              </a:rPr>
              <a:t>30 minutes to complete this story—do not proceed to the next story</a:t>
            </a:r>
          </a:p>
        </p:txBody>
      </p:sp>
      <p:sp>
        <p:nvSpPr>
          <p:cNvPr id="24" name="TextBox 23"/>
          <p:cNvSpPr txBox="1"/>
          <p:nvPr/>
        </p:nvSpPr>
        <p:spPr>
          <a:xfrm>
            <a:off x="0" y="5922550"/>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35398">
                      <a:srgbClr val="FFFFFF"/>
                    </a:gs>
                    <a:gs pos="84071">
                      <a:srgbClr val="FFFFFF"/>
                    </a:gs>
                  </a:gsLst>
                  <a:lin ang="5400000" scaled="0"/>
                </a:gradFill>
                <a:latin typeface="Segoe UI Light"/>
              </a:rPr>
              <a:t>Q &amp; A @ 30 minutes</a:t>
            </a:r>
          </a:p>
        </p:txBody>
      </p:sp>
      <p:sp>
        <p:nvSpPr>
          <p:cNvPr id="25" name="Rectangle 24"/>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26" name="Rectangle 25"/>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7" name="Rectangle 26"/>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8" name="Rectangle 27"/>
          <p:cNvSpPr/>
          <p:nvPr/>
        </p:nvSpPr>
        <p:spPr bwMode="auto">
          <a:xfrm>
            <a:off x="1" y="1863852"/>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p>
        </p:txBody>
      </p:sp>
      <p:sp>
        <p:nvSpPr>
          <p:cNvPr id="29" name="Rectangle 28"/>
          <p:cNvSpPr/>
          <p:nvPr/>
        </p:nvSpPr>
        <p:spPr bwMode="auto">
          <a:xfrm>
            <a:off x="1" y="297134"/>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p>
        </p:txBody>
      </p:sp>
    </p:spTree>
    <p:extLst>
      <p:ext uri="{BB962C8B-B14F-4D97-AF65-F5344CB8AC3E}">
        <p14:creationId xmlns:p14="http://schemas.microsoft.com/office/powerpoint/2010/main" val="87916348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26"/>
                                        </p:tgtEl>
                                        <p:attrNameLst>
                                          <p:attrName>ppt_x</p:attrName>
                                        </p:attrNameLst>
                                      </p:cBhvr>
                                      <p:tavLst>
                                        <p:tav tm="0">
                                          <p:val>
                                            <p:strVal val="ppt_x"/>
                                          </p:val>
                                        </p:tav>
                                        <p:tav tm="100000">
                                          <p:val>
                                            <p:strVal val="0-ppt_w/2"/>
                                          </p:val>
                                        </p:tav>
                                      </p:tavLst>
                                    </p:anim>
                                    <p:anim calcmode="lin" valueType="num">
                                      <p:cBhvr additive="base">
                                        <p:cTn id="7" dur="200"/>
                                        <p:tgtEl>
                                          <p:spTgt spid="26"/>
                                        </p:tgtEl>
                                        <p:attrNameLst>
                                          <p:attrName>ppt_y</p:attrName>
                                        </p:attrNameLst>
                                      </p:cBhvr>
                                      <p:tavLst>
                                        <p:tav tm="0">
                                          <p:val>
                                            <p:strVal val="ppt_y"/>
                                          </p:val>
                                        </p:tav>
                                        <p:tav tm="100000">
                                          <p:val>
                                            <p:strVal val="ppt_y"/>
                                          </p:val>
                                        </p:tav>
                                      </p:tavLst>
                                    </p:anim>
                                    <p:set>
                                      <p:cBhvr>
                                        <p:cTn id="8" dur="1" fill="hold">
                                          <p:stCondLst>
                                            <p:cond delay="199"/>
                                          </p:stCondLst>
                                        </p:cTn>
                                        <p:tgtEl>
                                          <p:spTgt spid="26"/>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200"/>
                                        <p:tgtEl>
                                          <p:spTgt spid="25"/>
                                        </p:tgtEl>
                                        <p:attrNameLst>
                                          <p:attrName>ppt_x</p:attrName>
                                        </p:attrNameLst>
                                      </p:cBhvr>
                                      <p:tavLst>
                                        <p:tav tm="0">
                                          <p:val>
                                            <p:strVal val="ppt_x"/>
                                          </p:val>
                                        </p:tav>
                                        <p:tav tm="100000">
                                          <p:val>
                                            <p:strVal val="0-ppt_w/2"/>
                                          </p:val>
                                        </p:tav>
                                      </p:tavLst>
                                    </p:anim>
                                    <p:anim calcmode="lin" valueType="num">
                                      <p:cBhvr additive="base">
                                        <p:cTn id="11" dur="200"/>
                                        <p:tgtEl>
                                          <p:spTgt spid="25"/>
                                        </p:tgtEl>
                                        <p:attrNameLst>
                                          <p:attrName>ppt_y</p:attrName>
                                        </p:attrNameLst>
                                      </p:cBhvr>
                                      <p:tavLst>
                                        <p:tav tm="0">
                                          <p:val>
                                            <p:strVal val="ppt_y"/>
                                          </p:val>
                                        </p:tav>
                                        <p:tav tm="100000">
                                          <p:val>
                                            <p:strVal val="ppt_y"/>
                                          </p:val>
                                        </p:tav>
                                      </p:tavLst>
                                    </p:anim>
                                    <p:set>
                                      <p:cBhvr>
                                        <p:cTn id="12" dur="1" fill="hold">
                                          <p:stCondLst>
                                            <p:cond delay="199"/>
                                          </p:stCondLst>
                                        </p:cTn>
                                        <p:tgtEl>
                                          <p:spTgt spid="25"/>
                                        </p:tgtEl>
                                        <p:attrNameLst>
                                          <p:attrName>style.visibility</p:attrName>
                                        </p:attrNameLst>
                                      </p:cBhvr>
                                      <p:to>
                                        <p:strVal val="hidden"/>
                                      </p:to>
                                    </p:set>
                                  </p:childTnLst>
                                </p:cTn>
                              </p:par>
                              <p:par>
                                <p:cTn id="13" presetID="2" presetClass="exit" presetSubtype="8" fill="hold" grpId="0" nodeType="withEffect">
                                  <p:stCondLst>
                                    <p:cond delay="100"/>
                                  </p:stCondLst>
                                  <p:childTnLst>
                                    <p:anim calcmode="lin" valueType="num">
                                      <p:cBhvr additive="base">
                                        <p:cTn id="14" dur="200"/>
                                        <p:tgtEl>
                                          <p:spTgt spid="27"/>
                                        </p:tgtEl>
                                        <p:attrNameLst>
                                          <p:attrName>ppt_x</p:attrName>
                                        </p:attrNameLst>
                                      </p:cBhvr>
                                      <p:tavLst>
                                        <p:tav tm="0">
                                          <p:val>
                                            <p:strVal val="ppt_x"/>
                                          </p:val>
                                        </p:tav>
                                        <p:tav tm="100000">
                                          <p:val>
                                            <p:strVal val="0-ppt_w/2"/>
                                          </p:val>
                                        </p:tav>
                                      </p:tavLst>
                                    </p:anim>
                                    <p:anim calcmode="lin" valueType="num">
                                      <p:cBhvr additive="base">
                                        <p:cTn id="15" dur="200"/>
                                        <p:tgtEl>
                                          <p:spTgt spid="27"/>
                                        </p:tgtEl>
                                        <p:attrNameLst>
                                          <p:attrName>ppt_y</p:attrName>
                                        </p:attrNameLst>
                                      </p:cBhvr>
                                      <p:tavLst>
                                        <p:tav tm="0">
                                          <p:val>
                                            <p:strVal val="ppt_y"/>
                                          </p:val>
                                        </p:tav>
                                        <p:tav tm="100000">
                                          <p:val>
                                            <p:strVal val="ppt_y"/>
                                          </p:val>
                                        </p:tav>
                                      </p:tavLst>
                                    </p:anim>
                                    <p:set>
                                      <p:cBhvr>
                                        <p:cTn id="16" dur="1" fill="hold">
                                          <p:stCondLst>
                                            <p:cond delay="199"/>
                                          </p:stCondLst>
                                        </p:cTn>
                                        <p:tgtEl>
                                          <p:spTgt spid="27"/>
                                        </p:tgtEl>
                                        <p:attrNameLst>
                                          <p:attrName>style.visibility</p:attrName>
                                        </p:attrNameLst>
                                      </p:cBhvr>
                                      <p:to>
                                        <p:strVal val="hidden"/>
                                      </p:to>
                                    </p:set>
                                  </p:childTnLst>
                                </p:cTn>
                              </p:par>
                              <p:par>
                                <p:cTn id="17" presetID="2" presetClass="exit" presetSubtype="8" fill="hold" grpId="0" nodeType="withEffect">
                                  <p:stCondLst>
                                    <p:cond delay="200"/>
                                  </p:stCondLst>
                                  <p:childTnLst>
                                    <p:anim calcmode="lin" valueType="num">
                                      <p:cBhvr additive="base">
                                        <p:cTn id="18" dur="200"/>
                                        <p:tgtEl>
                                          <p:spTgt spid="28"/>
                                        </p:tgtEl>
                                        <p:attrNameLst>
                                          <p:attrName>ppt_x</p:attrName>
                                        </p:attrNameLst>
                                      </p:cBhvr>
                                      <p:tavLst>
                                        <p:tav tm="0">
                                          <p:val>
                                            <p:strVal val="ppt_x"/>
                                          </p:val>
                                        </p:tav>
                                        <p:tav tm="100000">
                                          <p:val>
                                            <p:strVal val="0-ppt_w/2"/>
                                          </p:val>
                                        </p:tav>
                                      </p:tavLst>
                                    </p:anim>
                                    <p:anim calcmode="lin" valueType="num">
                                      <p:cBhvr additive="base">
                                        <p:cTn id="19" dur="200"/>
                                        <p:tgtEl>
                                          <p:spTgt spid="28"/>
                                        </p:tgtEl>
                                        <p:attrNameLst>
                                          <p:attrName>ppt_y</p:attrName>
                                        </p:attrNameLst>
                                      </p:cBhvr>
                                      <p:tavLst>
                                        <p:tav tm="0">
                                          <p:val>
                                            <p:strVal val="ppt_y"/>
                                          </p:val>
                                        </p:tav>
                                        <p:tav tm="100000">
                                          <p:val>
                                            <p:strVal val="ppt_y"/>
                                          </p:val>
                                        </p:tav>
                                      </p:tavLst>
                                    </p:anim>
                                    <p:set>
                                      <p:cBhvr>
                                        <p:cTn id="20" dur="1" fill="hold">
                                          <p:stCondLst>
                                            <p:cond delay="199"/>
                                          </p:stCondLst>
                                        </p:cTn>
                                        <p:tgtEl>
                                          <p:spTgt spid="28"/>
                                        </p:tgtEl>
                                        <p:attrNameLst>
                                          <p:attrName>style.visibility</p:attrName>
                                        </p:attrNameLst>
                                      </p:cBhvr>
                                      <p:to>
                                        <p:strVal val="hidden"/>
                                      </p:to>
                                    </p:set>
                                  </p:childTnLst>
                                </p:cTn>
                              </p:par>
                              <p:par>
                                <p:cTn id="21" presetID="2" presetClass="exit" presetSubtype="8" fill="hold" grpId="0" nodeType="withEffect">
                                  <p:stCondLst>
                                    <p:cond delay="300"/>
                                  </p:stCondLst>
                                  <p:childTnLst>
                                    <p:anim calcmode="lin" valueType="num">
                                      <p:cBhvr additive="base">
                                        <p:cTn id="22" dur="200"/>
                                        <p:tgtEl>
                                          <p:spTgt spid="29"/>
                                        </p:tgtEl>
                                        <p:attrNameLst>
                                          <p:attrName>ppt_x</p:attrName>
                                        </p:attrNameLst>
                                      </p:cBhvr>
                                      <p:tavLst>
                                        <p:tav tm="0">
                                          <p:val>
                                            <p:strVal val="ppt_x"/>
                                          </p:val>
                                        </p:tav>
                                        <p:tav tm="100000">
                                          <p:val>
                                            <p:strVal val="0-ppt_w/2"/>
                                          </p:val>
                                        </p:tav>
                                      </p:tavLst>
                                    </p:anim>
                                    <p:anim calcmode="lin" valueType="num">
                                      <p:cBhvr additive="base">
                                        <p:cTn id="23" dur="200"/>
                                        <p:tgtEl>
                                          <p:spTgt spid="29"/>
                                        </p:tgtEl>
                                        <p:attrNameLst>
                                          <p:attrName>ppt_y</p:attrName>
                                        </p:attrNameLst>
                                      </p:cBhvr>
                                      <p:tavLst>
                                        <p:tav tm="0">
                                          <p:val>
                                            <p:strVal val="ppt_y"/>
                                          </p:val>
                                        </p:tav>
                                        <p:tav tm="100000">
                                          <p:val>
                                            <p:strVal val="ppt_y"/>
                                          </p:val>
                                        </p:tav>
                                      </p:tavLst>
                                    </p:anim>
                                    <p:set>
                                      <p:cBhvr>
                                        <p:cTn id="24" dur="1" fill="hold">
                                          <p:stCondLst>
                                            <p:cond delay="199"/>
                                          </p:stCondLst>
                                        </p:cTn>
                                        <p:tgtEl>
                                          <p:spTgt spid="29"/>
                                        </p:tgtEl>
                                        <p:attrNameLst>
                                          <p:attrName>style.visibility</p:attrName>
                                        </p:attrNameLst>
                                      </p:cBhvr>
                                      <p:to>
                                        <p:strVal val="hidden"/>
                                      </p:to>
                                    </p:set>
                                  </p:childTnLst>
                                </p:cTn>
                              </p:par>
                              <p:par>
                                <p:cTn id="25" presetID="2" presetClass="entr" presetSubtype="8" decel="100000" fill="hold" grpId="0" nodeType="withEffect">
                                  <p:stCondLst>
                                    <p:cond delay="6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800" fill="hold"/>
                                        <p:tgtEl>
                                          <p:spTgt spid="13"/>
                                        </p:tgtEl>
                                        <p:attrNameLst>
                                          <p:attrName>ppt_x</p:attrName>
                                        </p:attrNameLst>
                                      </p:cBhvr>
                                      <p:tavLst>
                                        <p:tav tm="0">
                                          <p:val>
                                            <p:strVal val="0-#ppt_w/2"/>
                                          </p:val>
                                        </p:tav>
                                        <p:tav tm="100000">
                                          <p:val>
                                            <p:strVal val="#ppt_x"/>
                                          </p:val>
                                        </p:tav>
                                      </p:tavLst>
                                    </p:anim>
                                    <p:anim calcmode="lin" valueType="num">
                                      <p:cBhvr additive="base">
                                        <p:cTn id="28" dur="8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6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800" fill="hold"/>
                                        <p:tgtEl>
                                          <p:spTgt spid="14"/>
                                        </p:tgtEl>
                                        <p:attrNameLst>
                                          <p:attrName>ppt_x</p:attrName>
                                        </p:attrNameLst>
                                      </p:cBhvr>
                                      <p:tavLst>
                                        <p:tav tm="0">
                                          <p:val>
                                            <p:strVal val="0-#ppt_w/2"/>
                                          </p:val>
                                        </p:tav>
                                        <p:tav tm="100000">
                                          <p:val>
                                            <p:strVal val="#ppt_x"/>
                                          </p:val>
                                        </p:tav>
                                      </p:tavLst>
                                    </p:anim>
                                    <p:anim calcmode="lin" valueType="num">
                                      <p:cBhvr additive="base">
                                        <p:cTn id="32" dur="800" fill="hold"/>
                                        <p:tgtEl>
                                          <p:spTgt spid="14"/>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600" fill="hold"/>
                                        <p:tgtEl>
                                          <p:spTgt spid="20"/>
                                        </p:tgtEl>
                                        <p:attrNameLst>
                                          <p:attrName>ppt_x</p:attrName>
                                        </p:attrNameLst>
                                      </p:cBhvr>
                                      <p:tavLst>
                                        <p:tav tm="0">
                                          <p:val>
                                            <p:strVal val="1+#ppt_w/2"/>
                                          </p:val>
                                        </p:tav>
                                        <p:tav tm="100000">
                                          <p:val>
                                            <p:strVal val="#ppt_x"/>
                                          </p:val>
                                        </p:tav>
                                      </p:tavLst>
                                    </p:anim>
                                    <p:anim calcmode="lin" valueType="num">
                                      <p:cBhvr additive="base">
                                        <p:cTn id="36" dur="6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185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600" fill="hold"/>
                                        <p:tgtEl>
                                          <p:spTgt spid="21"/>
                                        </p:tgtEl>
                                        <p:attrNameLst>
                                          <p:attrName>ppt_x</p:attrName>
                                        </p:attrNameLst>
                                      </p:cBhvr>
                                      <p:tavLst>
                                        <p:tav tm="0">
                                          <p:val>
                                            <p:strVal val="1+#ppt_w/2"/>
                                          </p:val>
                                        </p:tav>
                                        <p:tav tm="100000">
                                          <p:val>
                                            <p:strVal val="#ppt_x"/>
                                          </p:val>
                                        </p:tav>
                                      </p:tavLst>
                                    </p:anim>
                                    <p:anim calcmode="lin" valueType="num">
                                      <p:cBhvr additive="base">
                                        <p:cTn id="40" dur="600" fill="hold"/>
                                        <p:tgtEl>
                                          <p:spTgt spid="21"/>
                                        </p:tgtEl>
                                        <p:attrNameLst>
                                          <p:attrName>ppt_y</p:attrName>
                                        </p:attrNameLst>
                                      </p:cBhvr>
                                      <p:tavLst>
                                        <p:tav tm="0">
                                          <p:val>
                                            <p:strVal val="#ppt_y"/>
                                          </p:val>
                                        </p:tav>
                                        <p:tav tm="100000">
                                          <p:val>
                                            <p:strVal val="#ppt_y"/>
                                          </p:val>
                                        </p:tav>
                                      </p:tavLst>
                                    </p:anim>
                                  </p:childTnLst>
                                </p:cTn>
                              </p:par>
                            </p:childTnLst>
                          </p:cTn>
                        </p:par>
                        <p:par>
                          <p:cTn id="41" fill="hold">
                            <p:stCondLst>
                              <p:cond delay="2450"/>
                            </p:stCondLst>
                            <p:childTnLst>
                              <p:par>
                                <p:cTn id="42" presetID="1" presetClass="emph" presetSubtype="2" fill="hold" nodeType="afterEffect">
                                  <p:stCondLst>
                                    <p:cond delay="0"/>
                                  </p:stCondLst>
                                  <p:childTnLst>
                                    <p:animClr clrSpc="rgb" dir="cw">
                                      <p:cBhvr>
                                        <p:cTn id="43" dur="1000" fill="hold"/>
                                        <p:tgtEl>
                                          <p:spTgt spid="21"/>
                                        </p:tgtEl>
                                        <p:attrNameLst>
                                          <p:attrName>fillcolor</p:attrName>
                                        </p:attrNameLst>
                                      </p:cBhvr>
                                      <p:to>
                                        <a:srgbClr val="0072C6"/>
                                      </p:to>
                                    </p:animClr>
                                    <p:set>
                                      <p:cBhvr>
                                        <p:cTn id="44" dur="1000" fill="hold"/>
                                        <p:tgtEl>
                                          <p:spTgt spid="21"/>
                                        </p:tgtEl>
                                        <p:attrNameLst>
                                          <p:attrName>fill.type</p:attrName>
                                        </p:attrNameLst>
                                      </p:cBhvr>
                                      <p:to>
                                        <p:strVal val="solid"/>
                                      </p:to>
                                    </p:set>
                                    <p:set>
                                      <p:cBhvr>
                                        <p:cTn id="45" dur="1000" fill="hold"/>
                                        <p:tgtEl>
                                          <p:spTgt spid="21"/>
                                        </p:tgtEl>
                                        <p:attrNameLst>
                                          <p:attrName>fill.on</p:attrName>
                                        </p:attrNameLst>
                                      </p:cBhvr>
                                      <p:to>
                                        <p:strVal val="true"/>
                                      </p:to>
                                    </p:set>
                                  </p:childTnLst>
                                </p:cTn>
                              </p:par>
                              <p:par>
                                <p:cTn id="46" presetID="3" presetClass="emph" presetSubtype="2" fill="hold" grpId="1" nodeType="withEffect">
                                  <p:stCondLst>
                                    <p:cond delay="0"/>
                                  </p:stCondLst>
                                  <p:childTnLst>
                                    <p:animClr clrSpc="rgb" dir="cw">
                                      <p:cBhvr override="childStyle">
                                        <p:cTn id="47" dur="500" fill="hold"/>
                                        <p:tgtEl>
                                          <p:spTgt spid="21"/>
                                        </p:tgtEl>
                                        <p:attrNameLst>
                                          <p:attrName>style.color</p:attrName>
                                        </p:attrNameLst>
                                      </p:cBhvr>
                                      <p:to>
                                        <a:srgbClr val="FFFFFF"/>
                                      </p:to>
                                    </p:animClr>
                                  </p:childTnLst>
                                </p:cTn>
                              </p:par>
                            </p:childTnLst>
                          </p:cTn>
                        </p:par>
                        <p:par>
                          <p:cTn id="48" fill="hold">
                            <p:stCondLst>
                              <p:cond delay="3450"/>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par>
                          <p:cTn id="52" fill="hold">
                            <p:stCondLst>
                              <p:cond delay="3950"/>
                            </p:stCondLst>
                            <p:childTnLst>
                              <p:par>
                                <p:cTn id="53" presetID="2" presetClass="entr" presetSubtype="8" decel="10000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700" fill="hold"/>
                                        <p:tgtEl>
                                          <p:spTgt spid="23"/>
                                        </p:tgtEl>
                                        <p:attrNameLst>
                                          <p:attrName>ppt_x</p:attrName>
                                        </p:attrNameLst>
                                      </p:cBhvr>
                                      <p:tavLst>
                                        <p:tav tm="0">
                                          <p:val>
                                            <p:strVal val="0-#ppt_w/2"/>
                                          </p:val>
                                        </p:tav>
                                        <p:tav tm="100000">
                                          <p:val>
                                            <p:strVal val="#ppt_x"/>
                                          </p:val>
                                        </p:tav>
                                      </p:tavLst>
                                    </p:anim>
                                    <p:anim calcmode="lin" valueType="num">
                                      <p:cBhvr additive="base">
                                        <p:cTn id="56" dur="700" fill="hold"/>
                                        <p:tgtEl>
                                          <p:spTgt spid="23"/>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10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700" fill="hold"/>
                                        <p:tgtEl>
                                          <p:spTgt spid="24"/>
                                        </p:tgtEl>
                                        <p:attrNameLst>
                                          <p:attrName>ppt_x</p:attrName>
                                        </p:attrNameLst>
                                      </p:cBhvr>
                                      <p:tavLst>
                                        <p:tav tm="0">
                                          <p:val>
                                            <p:strVal val="0-#ppt_w/2"/>
                                          </p:val>
                                        </p:tav>
                                        <p:tav tm="100000">
                                          <p:val>
                                            <p:strVal val="#ppt_x"/>
                                          </p:val>
                                        </p:tav>
                                      </p:tavLst>
                                    </p:anim>
                                    <p:anim calcmode="lin" valueType="num">
                                      <p:cBhvr additive="base">
                                        <p:cTn id="60" dur="7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20" grpId="0" animBg="1"/>
      <p:bldP spid="21" grpId="0" animBg="1"/>
      <p:bldP spid="21" grpId="1" animBg="1"/>
      <p:bldP spid="22" grpId="0"/>
      <p:bldP spid="23" grpId="0" animBg="1"/>
      <p:bldP spid="24" grpId="0" animBg="1"/>
      <p:bldP spid="25" grpId="0" animBg="1"/>
      <p:bldP spid="26" grpId="0" animBg="1"/>
      <p:bldP spid="27" grpId="0" animBg="1"/>
      <p:bldP spid="28" grpId="0" animBg="1"/>
      <p:bldP spid="29"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9005" y="298580"/>
            <a:ext cx="5657212" cy="2596077"/>
          </a:xfrm>
          <a:prstGeom prst="rect">
            <a:avLst/>
          </a:prstGeom>
        </p:spPr>
      </p:pic>
      <p:sp useBgFill="1">
        <p:nvSpPr>
          <p:cNvPr id="11" name="Rectangle 10"/>
          <p:cNvSpPr/>
          <p:nvPr/>
        </p:nvSpPr>
        <p:spPr bwMode="auto">
          <a:xfrm>
            <a:off x="-673100" y="13057"/>
            <a:ext cx="6434138" cy="318734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itle 1"/>
          <p:cNvSpPr txBox="1">
            <a:spLocks/>
          </p:cNvSpPr>
          <p:nvPr/>
        </p:nvSpPr>
        <p:spPr>
          <a:xfrm>
            <a:off x="980494" y="-363256"/>
            <a:ext cx="5733225" cy="3135918"/>
          </a:xfrm>
          <a:prstGeom prst="rect">
            <a:avLst/>
          </a:prstGeom>
        </p:spPr>
        <p:txBody>
          <a:bodyPr vert="horz" wrap="square" lIns="143402" tIns="89627" rIns="143402" bIns="89627" rtlCol="0" anchor="ctr" anchorCtr="0">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058" dirty="0" smtClean="0">
                <a:gradFill>
                  <a:gsLst>
                    <a:gs pos="62832">
                      <a:srgbClr val="282828">
                        <a:lumMod val="90000"/>
                        <a:lumOff val="10000"/>
                      </a:srgbClr>
                    </a:gs>
                    <a:gs pos="84071">
                      <a:srgbClr val="282828">
                        <a:lumMod val="90000"/>
                        <a:lumOff val="10000"/>
                      </a:srgbClr>
                    </a:gs>
                  </a:gsLst>
                  <a:lin ang="5400000" scaled="0"/>
                </a:gradFill>
              </a:rPr>
              <a:t>Data Protection</a:t>
            </a:r>
            <a:endParaRPr lang="en-US" sz="7058" dirty="0">
              <a:gradFill>
                <a:gsLst>
                  <a:gs pos="62832">
                    <a:srgbClr val="282828">
                      <a:lumMod val="90000"/>
                      <a:lumOff val="10000"/>
                    </a:srgbClr>
                  </a:gs>
                  <a:gs pos="84071">
                    <a:srgbClr val="282828">
                      <a:lumMod val="90000"/>
                      <a:lumOff val="10000"/>
                    </a:srgbClr>
                  </a:gs>
                </a:gsLst>
                <a:lin ang="5400000" scaled="0"/>
              </a:gradFill>
            </a:endParaRPr>
          </a:p>
        </p:txBody>
      </p:sp>
      <p:sp>
        <p:nvSpPr>
          <p:cNvPr id="62" name="Rectangle 61"/>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63" name="Rectangle 62"/>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4" name="Rectangle 63"/>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5" name="Rectangle 64"/>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42478">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a:gradFill>
                  <a:gsLst>
                    <a:gs pos="42478">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p>
        </p:txBody>
      </p:sp>
      <p:sp>
        <p:nvSpPr>
          <p:cNvPr id="66" name="Rectangle 65"/>
          <p:cNvSpPr/>
          <p:nvPr/>
        </p:nvSpPr>
        <p:spPr bwMode="auto">
          <a:xfrm>
            <a:off x="1" y="297134"/>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Tree>
    <p:extLst>
      <p:ext uri="{BB962C8B-B14F-4D97-AF65-F5344CB8AC3E}">
        <p14:creationId xmlns:p14="http://schemas.microsoft.com/office/powerpoint/2010/main" val="311272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100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200" fill="hold"/>
                                        <p:tgtEl>
                                          <p:spTgt spid="63"/>
                                        </p:tgtEl>
                                        <p:attrNameLst>
                                          <p:attrName>ppt_x</p:attrName>
                                        </p:attrNameLst>
                                      </p:cBhvr>
                                      <p:tavLst>
                                        <p:tav tm="0">
                                          <p:val>
                                            <p:strVal val="0-#ppt_w/2"/>
                                          </p:val>
                                        </p:tav>
                                        <p:tav tm="100000">
                                          <p:val>
                                            <p:strVal val="#ppt_x"/>
                                          </p:val>
                                        </p:tav>
                                      </p:tavLst>
                                    </p:anim>
                                    <p:anim calcmode="lin" valueType="num">
                                      <p:cBhvr additive="base">
                                        <p:cTn id="8" dur="200" fill="hold"/>
                                        <p:tgtEl>
                                          <p:spTgt spid="6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62"/>
                                        </p:tgtEl>
                                        <p:attrNameLst>
                                          <p:attrName>style.visibility</p:attrName>
                                        </p:attrNameLst>
                                      </p:cBhvr>
                                      <p:to>
                                        <p:strVal val="visible"/>
                                      </p:to>
                                    </p:set>
                                    <p:anim calcmode="lin" valueType="num">
                                      <p:cBhvr additive="base">
                                        <p:cTn id="11" dur="300" fill="hold"/>
                                        <p:tgtEl>
                                          <p:spTgt spid="62"/>
                                        </p:tgtEl>
                                        <p:attrNameLst>
                                          <p:attrName>ppt_x</p:attrName>
                                        </p:attrNameLst>
                                      </p:cBhvr>
                                      <p:tavLst>
                                        <p:tav tm="0">
                                          <p:val>
                                            <p:strVal val="0-#ppt_w/2"/>
                                          </p:val>
                                        </p:tav>
                                        <p:tav tm="100000">
                                          <p:val>
                                            <p:strVal val="#ppt_x"/>
                                          </p:val>
                                        </p:tav>
                                      </p:tavLst>
                                    </p:anim>
                                    <p:anim calcmode="lin" valueType="num">
                                      <p:cBhvr additive="base">
                                        <p:cTn id="12" dur="300" fill="hold"/>
                                        <p:tgtEl>
                                          <p:spTgt spid="6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10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200" fill="hold"/>
                                        <p:tgtEl>
                                          <p:spTgt spid="64"/>
                                        </p:tgtEl>
                                        <p:attrNameLst>
                                          <p:attrName>ppt_x</p:attrName>
                                        </p:attrNameLst>
                                      </p:cBhvr>
                                      <p:tavLst>
                                        <p:tav tm="0">
                                          <p:val>
                                            <p:strVal val="0-#ppt_w/2"/>
                                          </p:val>
                                        </p:tav>
                                        <p:tav tm="100000">
                                          <p:val>
                                            <p:strVal val="#ppt_x"/>
                                          </p:val>
                                        </p:tav>
                                      </p:tavLst>
                                    </p:anim>
                                    <p:anim calcmode="lin" valueType="num">
                                      <p:cBhvr additive="base">
                                        <p:cTn id="16" dur="200" fill="hold"/>
                                        <p:tgtEl>
                                          <p:spTgt spid="64"/>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00"/>
                                  </p:stCondLst>
                                  <p:childTnLst>
                                    <p:set>
                                      <p:cBhvr>
                                        <p:cTn id="18" dur="1" fill="hold">
                                          <p:stCondLst>
                                            <p:cond delay="0"/>
                                          </p:stCondLst>
                                        </p:cTn>
                                        <p:tgtEl>
                                          <p:spTgt spid="65"/>
                                        </p:tgtEl>
                                        <p:attrNameLst>
                                          <p:attrName>style.visibility</p:attrName>
                                        </p:attrNameLst>
                                      </p:cBhvr>
                                      <p:to>
                                        <p:strVal val="visible"/>
                                      </p:to>
                                    </p:set>
                                    <p:anim calcmode="lin" valueType="num">
                                      <p:cBhvr additive="base">
                                        <p:cTn id="19" dur="200" fill="hold"/>
                                        <p:tgtEl>
                                          <p:spTgt spid="65"/>
                                        </p:tgtEl>
                                        <p:attrNameLst>
                                          <p:attrName>ppt_x</p:attrName>
                                        </p:attrNameLst>
                                      </p:cBhvr>
                                      <p:tavLst>
                                        <p:tav tm="0">
                                          <p:val>
                                            <p:strVal val="0-#ppt_w/2"/>
                                          </p:val>
                                        </p:tav>
                                        <p:tav tm="100000">
                                          <p:val>
                                            <p:strVal val="#ppt_x"/>
                                          </p:val>
                                        </p:tav>
                                      </p:tavLst>
                                    </p:anim>
                                    <p:anim calcmode="lin" valueType="num">
                                      <p:cBhvr additive="base">
                                        <p:cTn id="20" dur="200" fill="hold"/>
                                        <p:tgtEl>
                                          <p:spTgt spid="65"/>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200" fill="hold"/>
                                        <p:tgtEl>
                                          <p:spTgt spid="66"/>
                                        </p:tgtEl>
                                        <p:attrNameLst>
                                          <p:attrName>ppt_x</p:attrName>
                                        </p:attrNameLst>
                                      </p:cBhvr>
                                      <p:tavLst>
                                        <p:tav tm="0">
                                          <p:val>
                                            <p:strVal val="0-#ppt_w/2"/>
                                          </p:val>
                                        </p:tav>
                                        <p:tav tm="100000">
                                          <p:val>
                                            <p:strVal val="#ppt_x"/>
                                          </p:val>
                                        </p:tav>
                                      </p:tavLst>
                                    </p:anim>
                                    <p:anim calcmode="lin" valueType="num">
                                      <p:cBhvr additive="base">
                                        <p:cTn id="24" dur="200" fill="hold"/>
                                        <p:tgtEl>
                                          <p:spTgt spid="66"/>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750"/>
                                  </p:stCondLst>
                                  <p:childTnLst>
                                    <p:set>
                                      <p:cBhvr>
                                        <p:cTn id="26" dur="1" fill="hold">
                                          <p:stCondLst>
                                            <p:cond delay="0"/>
                                          </p:stCondLst>
                                        </p:cTn>
                                        <p:tgtEl>
                                          <p:spTgt spid="68"/>
                                        </p:tgtEl>
                                        <p:attrNameLst>
                                          <p:attrName>style.visibility</p:attrName>
                                        </p:attrNameLst>
                                      </p:cBhvr>
                                      <p:to>
                                        <p:strVal val="visible"/>
                                      </p:to>
                                    </p:set>
                                    <p:anim calcmode="lin" valueType="num">
                                      <p:cBhvr additive="base">
                                        <p:cTn id="27" dur="750" fill="hold"/>
                                        <p:tgtEl>
                                          <p:spTgt spid="68"/>
                                        </p:tgtEl>
                                        <p:attrNameLst>
                                          <p:attrName>ppt_x</p:attrName>
                                        </p:attrNameLst>
                                      </p:cBhvr>
                                      <p:tavLst>
                                        <p:tav tm="0">
                                          <p:val>
                                            <p:strVal val="0-#ppt_w/2"/>
                                          </p:val>
                                        </p:tav>
                                        <p:tav tm="100000">
                                          <p:val>
                                            <p:strVal val="#ppt_x"/>
                                          </p:val>
                                        </p:tav>
                                      </p:tavLst>
                                    </p:anim>
                                    <p:anim calcmode="lin" valueType="num">
                                      <p:cBhvr additive="base">
                                        <p:cTn id="28" dur="750" fill="hold"/>
                                        <p:tgtEl>
                                          <p:spTgt spid="68"/>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175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750" fill="hold"/>
                                        <p:tgtEl>
                                          <p:spTgt spid="10"/>
                                        </p:tgtEl>
                                        <p:attrNameLst>
                                          <p:attrName>ppt_x</p:attrName>
                                        </p:attrNameLst>
                                      </p:cBhvr>
                                      <p:tavLst>
                                        <p:tav tm="0">
                                          <p:val>
                                            <p:strVal val="0-#ppt_w/2"/>
                                          </p:val>
                                        </p:tav>
                                        <p:tav tm="100000">
                                          <p:val>
                                            <p:strVal val="#ppt_x"/>
                                          </p:val>
                                        </p:tav>
                                      </p:tavLst>
                                    </p:anim>
                                    <p:anim calcmode="lin" valueType="num">
                                      <p:cBhvr additive="base">
                                        <p:cTn id="32"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2" grpId="0" animBg="1"/>
      <p:bldP spid="63" grpId="0" animBg="1"/>
      <p:bldP spid="64" grpId="0" animBg="1"/>
      <p:bldP spid="65" grpId="0" animBg="1"/>
      <p:bldP spid="66"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Main header"/>
          <p:cNvGrpSpPr/>
          <p:nvPr/>
        </p:nvGrpSpPr>
        <p:grpSpPr>
          <a:xfrm>
            <a:off x="1189038" y="521491"/>
            <a:ext cx="11026023" cy="1519324"/>
            <a:chOff x="1189356" y="302595"/>
            <a:chExt cx="11247118" cy="1549790"/>
          </a:xfrm>
        </p:grpSpPr>
        <p:sp>
          <p:nvSpPr>
            <p:cNvPr id="25" name="Rectangle 24"/>
            <p:cNvSpPr/>
            <p:nvPr/>
          </p:nvSpPr>
          <p:spPr bwMode="auto">
            <a:xfrm>
              <a:off x="1192143" y="302595"/>
              <a:ext cx="7559971" cy="1006754"/>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nvGrpSpPr>
            <p:cNvPr id="74" name="brad"/>
            <p:cNvGrpSpPr/>
            <p:nvPr/>
          </p:nvGrpSpPr>
          <p:grpSpPr>
            <a:xfrm>
              <a:off x="1192144" y="303513"/>
              <a:ext cx="787179" cy="1005840"/>
              <a:chOff x="1192144" y="303543"/>
              <a:chExt cx="787179" cy="1005840"/>
            </a:xfrm>
          </p:grpSpPr>
          <p:sp>
            <p:nvSpPr>
              <p:cNvPr id="75" name="Rectangle 74"/>
              <p:cNvSpPr/>
              <p:nvPr/>
            </p:nvSpPr>
            <p:spPr bwMode="auto">
              <a:xfrm>
                <a:off x="1192144" y="303543"/>
                <a:ext cx="787179" cy="100584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94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Brad</a:t>
                </a:r>
              </a:p>
            </p:txBody>
          </p:sp>
          <p:sp>
            <p:nvSpPr>
              <p:cNvPr id="76" name="Isosceles Triangle 75"/>
              <p:cNvSpPr/>
              <p:nvPr/>
            </p:nvSpPr>
            <p:spPr bwMode="auto">
              <a:xfrm rot="16200000">
                <a:off x="1857948" y="1142133"/>
                <a:ext cx="150281" cy="92468"/>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pic>
            <p:nvPicPr>
              <p:cNvPr id="77"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53980" t="26521" r="28993" b="46301"/>
              <a:stretch/>
            </p:blipFill>
            <p:spPr bwMode="auto">
              <a:xfrm>
                <a:off x="1214010" y="323906"/>
                <a:ext cx="740664" cy="740664"/>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 3"/>
            <p:cNvGrpSpPr/>
            <p:nvPr/>
          </p:nvGrpSpPr>
          <p:grpSpPr>
            <a:xfrm>
              <a:off x="1189356" y="302844"/>
              <a:ext cx="11247118" cy="1549541"/>
              <a:chOff x="1189356" y="302844"/>
              <a:chExt cx="11247118" cy="1549541"/>
            </a:xfrm>
          </p:grpSpPr>
          <p:sp>
            <p:nvSpPr>
              <p:cNvPr id="33" name="Rectangle 32"/>
              <p:cNvSpPr/>
              <p:nvPr/>
            </p:nvSpPr>
            <p:spPr bwMode="auto">
              <a:xfrm>
                <a:off x="8794750" y="302844"/>
                <a:ext cx="3641724" cy="10065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765" dirty="0">
                    <a:gradFill>
                      <a:gsLst>
                        <a:gs pos="37168">
                          <a:srgbClr val="FFFFFF"/>
                        </a:gs>
                        <a:gs pos="57000">
                          <a:srgbClr val="FFFFFF"/>
                        </a:gs>
                      </a:gsLst>
                      <a:lin ang="5400000" scaled="0"/>
                    </a:gradFill>
                  </a:rPr>
                  <a:t>Ensure high application availability and automated Disaster Recovery</a:t>
                </a:r>
              </a:p>
            </p:txBody>
          </p:sp>
          <p:grpSp>
            <p:nvGrpSpPr>
              <p:cNvPr id="3" name="Group 2"/>
              <p:cNvGrpSpPr/>
              <p:nvPr/>
            </p:nvGrpSpPr>
            <p:grpSpPr>
              <a:xfrm>
                <a:off x="1189356" y="1322216"/>
                <a:ext cx="11247117" cy="530169"/>
                <a:chOff x="1189356" y="1322216"/>
                <a:chExt cx="11247117" cy="530169"/>
              </a:xfrm>
            </p:grpSpPr>
            <p:sp>
              <p:nvSpPr>
                <p:cNvPr id="23" name="Rectangle 22"/>
                <p:cNvSpPr/>
                <p:nvPr/>
              </p:nvSpPr>
              <p:spPr bwMode="auto">
                <a:xfrm>
                  <a:off x="1192142" y="1337306"/>
                  <a:ext cx="11244331" cy="5019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10" name="TextBox 109"/>
                <p:cNvSpPr txBox="1"/>
                <p:nvPr/>
              </p:nvSpPr>
              <p:spPr>
                <a:xfrm>
                  <a:off x="6677202" y="1335320"/>
                  <a:ext cx="5759271" cy="517065"/>
                </a:xfrm>
                <a:prstGeom prst="rect">
                  <a:avLst/>
                </a:prstGeom>
                <a:noFill/>
              </p:spPr>
              <p:txBody>
                <a:bodyPr wrap="square" lIns="179285" tIns="143428" rIns="179285" bIns="143428" rtlCol="0">
                  <a:spAutoFit/>
                </a:bodyPr>
                <a:lstStyle/>
                <a:p>
                  <a:pPr algn="ctr" defTabSz="914206">
                    <a:lnSpc>
                      <a:spcPct val="90000"/>
                    </a:lnSpc>
                    <a:spcAft>
                      <a:spcPts val="588"/>
                    </a:spcAft>
                  </a:pPr>
                  <a:r>
                    <a:rPr lang="en-US" sz="1568" dirty="0">
                      <a:gradFill>
                        <a:gsLst>
                          <a:gs pos="2917">
                            <a:srgbClr val="505050"/>
                          </a:gs>
                          <a:gs pos="30000">
                            <a:srgbClr val="505050"/>
                          </a:gs>
                        </a:gsLst>
                        <a:lin ang="5400000" scaled="0"/>
                      </a:gradFill>
                    </a:rPr>
                    <a:t>High Availability | Hyper-V Replication | Disaster Recovery</a:t>
                  </a:r>
                </a:p>
              </p:txBody>
            </p:sp>
            <p:sp>
              <p:nvSpPr>
                <p:cNvPr id="90" name="Rectangle 89"/>
                <p:cNvSpPr/>
                <p:nvPr/>
              </p:nvSpPr>
              <p:spPr bwMode="auto">
                <a:xfrm>
                  <a:off x="1189356" y="1337306"/>
                  <a:ext cx="5479802" cy="501975"/>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1" name="TextBox 90"/>
                <p:cNvSpPr txBox="1"/>
                <p:nvPr/>
              </p:nvSpPr>
              <p:spPr>
                <a:xfrm>
                  <a:off x="1380491" y="1322216"/>
                  <a:ext cx="5108362" cy="5170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gradFill>
                        <a:gsLst>
                          <a:gs pos="77876">
                            <a:srgbClr val="FFFFFF"/>
                          </a:gs>
                          <a:gs pos="30000">
                            <a:srgbClr val="FFFFFF"/>
                          </a:gs>
                        </a:gsLst>
                        <a:lin ang="5400000" scaled="0"/>
                      </a:gradFill>
                    </a:rPr>
                    <a:t>Windows Server 2012 R2</a:t>
                  </a:r>
                </a:p>
              </p:txBody>
            </p:sp>
          </p:grpSp>
        </p:grpSp>
      </p:grpSp>
      <p:grpSp>
        <p:nvGrpSpPr>
          <p:cNvPr id="35" name="Group 34"/>
          <p:cNvGrpSpPr/>
          <p:nvPr/>
        </p:nvGrpSpPr>
        <p:grpSpPr>
          <a:xfrm>
            <a:off x="8719281" y="3454935"/>
            <a:ext cx="1523922" cy="1523922"/>
            <a:chOff x="1180765" y="2125662"/>
            <a:chExt cx="1943162" cy="1943163"/>
          </a:xfrm>
        </p:grpSpPr>
        <p:sp>
          <p:nvSpPr>
            <p:cNvPr id="36" name="TextBox 35"/>
            <p:cNvSpPr txBox="1"/>
            <p:nvPr/>
          </p:nvSpPr>
          <p:spPr>
            <a:xfrm>
              <a:off x="1180765" y="2125662"/>
              <a:ext cx="1943162" cy="1943163"/>
            </a:xfrm>
            <a:prstGeom prst="rect">
              <a:avLst/>
            </a:prstGeom>
            <a:solidFill>
              <a:schemeClr val="bg1">
                <a:lumMod val="95000"/>
              </a:schemeClr>
            </a:solidFill>
          </p:spPr>
          <p:txBody>
            <a:bodyPr wrap="square" lIns="179285" tIns="143428" rIns="179285" bIns="143428" rtlCol="0">
              <a:noAutofit/>
            </a:bodyPr>
            <a:lstStyle>
              <a:defPPr>
                <a:defRPr lang="en-US"/>
              </a:defPPr>
              <a:lvl1pPr defTabSz="731162" fontAlgn="base">
                <a:lnSpc>
                  <a:spcPct val="90000"/>
                </a:lnSpc>
                <a:spcBef>
                  <a:spcPct val="0"/>
                </a:spcBef>
                <a:spcAft>
                  <a:spcPct val="0"/>
                </a:spcAft>
                <a:defRPr sz="1440">
                  <a:gradFill>
                    <a:gsLst>
                      <a:gs pos="24167">
                        <a:srgbClr val="505050"/>
                      </a:gs>
                      <a:gs pos="72000">
                        <a:srgbClr val="505050"/>
                      </a:gs>
                    </a:gsLst>
                    <a:lin ang="5400000" scaled="1"/>
                  </a:gradFill>
                  <a:cs typeface="Segoe UI" pitchFamily="34" charset="0"/>
                </a:defRPr>
              </a:lvl1pPr>
            </a:lstStyle>
            <a:p>
              <a:r>
                <a:rPr lang="en-US" sz="1568" dirty="0"/>
                <a:t>Physical server 3</a:t>
              </a:r>
            </a:p>
          </p:txBody>
        </p:sp>
        <p:sp>
          <p:nvSpPr>
            <p:cNvPr id="37" name="Freeform 36"/>
            <p:cNvSpPr>
              <a:spLocks noChangeAspect="1" noEditPoints="1"/>
            </p:cNvSpPr>
            <p:nvPr/>
          </p:nvSpPr>
          <p:spPr bwMode="black">
            <a:xfrm>
              <a:off x="2546635" y="3078855"/>
              <a:ext cx="403965" cy="81462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ln>
            <a:extLst/>
          </p:spPr>
          <p:txBody>
            <a:bodyPr vert="horz" wrap="square" lIns="71712" tIns="35856" rIns="71712" bIns="35856" numCol="1" anchor="t" anchorCtr="0" compatLnSpc="1">
              <a:prstTxWarp prst="textNoShape">
                <a:avLst/>
              </a:prstTxWarp>
            </a:bodyPr>
            <a:lstStyle/>
            <a:p>
              <a:pPr defTabSz="716632" fontAlgn="base">
                <a:spcBef>
                  <a:spcPct val="0"/>
                </a:spcBef>
                <a:spcAft>
                  <a:spcPct val="0"/>
                </a:spcAft>
              </a:pPr>
              <a:endParaRPr lang="en-US" sz="1372" dirty="0">
                <a:solidFill>
                  <a:srgbClr val="505050"/>
                </a:solidFill>
                <a:cs typeface="Segoe UI" pitchFamily="34" charset="0"/>
              </a:endParaRPr>
            </a:p>
          </p:txBody>
        </p:sp>
      </p:grpSp>
      <p:grpSp>
        <p:nvGrpSpPr>
          <p:cNvPr id="38" name="Group 37"/>
          <p:cNvGrpSpPr/>
          <p:nvPr/>
        </p:nvGrpSpPr>
        <p:grpSpPr>
          <a:xfrm>
            <a:off x="2939149" y="4392190"/>
            <a:ext cx="1523922" cy="1523922"/>
            <a:chOff x="1180765" y="4360730"/>
            <a:chExt cx="1943162" cy="1943163"/>
          </a:xfrm>
        </p:grpSpPr>
        <p:sp>
          <p:nvSpPr>
            <p:cNvPr id="39" name="TextBox 38"/>
            <p:cNvSpPr txBox="1"/>
            <p:nvPr/>
          </p:nvSpPr>
          <p:spPr>
            <a:xfrm>
              <a:off x="1180765" y="4360730"/>
              <a:ext cx="1943162" cy="1943163"/>
            </a:xfrm>
            <a:prstGeom prst="rect">
              <a:avLst/>
            </a:prstGeom>
            <a:solidFill>
              <a:schemeClr val="bg1">
                <a:lumMod val="95000"/>
              </a:schemeClr>
            </a:solidFill>
          </p:spPr>
          <p:txBody>
            <a:bodyPr wrap="square" lIns="179285" tIns="143428" rIns="179285" bIns="143428" rtlCol="0">
              <a:noAutofit/>
            </a:bodyPr>
            <a:lstStyle>
              <a:defPPr>
                <a:defRPr lang="en-US"/>
              </a:defPPr>
              <a:lvl1pPr defTabSz="731162" fontAlgn="base">
                <a:lnSpc>
                  <a:spcPct val="90000"/>
                </a:lnSpc>
                <a:spcBef>
                  <a:spcPct val="0"/>
                </a:spcBef>
                <a:spcAft>
                  <a:spcPct val="0"/>
                </a:spcAft>
                <a:defRPr sz="1440">
                  <a:gradFill>
                    <a:gsLst>
                      <a:gs pos="24167">
                        <a:srgbClr val="505050"/>
                      </a:gs>
                      <a:gs pos="72000">
                        <a:srgbClr val="505050"/>
                      </a:gs>
                    </a:gsLst>
                    <a:lin ang="5400000" scaled="1"/>
                  </a:gradFill>
                  <a:cs typeface="Segoe UI" pitchFamily="34" charset="0"/>
                </a:defRPr>
              </a:lvl1pPr>
            </a:lstStyle>
            <a:p>
              <a:r>
                <a:rPr lang="en-US" sz="1568" dirty="0"/>
                <a:t>Physical server 2</a:t>
              </a:r>
            </a:p>
          </p:txBody>
        </p:sp>
        <p:sp>
          <p:nvSpPr>
            <p:cNvPr id="40" name="Freeform 39"/>
            <p:cNvSpPr>
              <a:spLocks noChangeAspect="1" noEditPoints="1"/>
            </p:cNvSpPr>
            <p:nvPr/>
          </p:nvSpPr>
          <p:spPr bwMode="black">
            <a:xfrm>
              <a:off x="2550066" y="5313923"/>
              <a:ext cx="403965" cy="81462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ln>
            <a:extLst/>
          </p:spPr>
          <p:txBody>
            <a:bodyPr vert="horz" wrap="square" lIns="71712" tIns="35856" rIns="71712" bIns="35856" numCol="1" anchor="t" anchorCtr="0" compatLnSpc="1">
              <a:prstTxWarp prst="textNoShape">
                <a:avLst/>
              </a:prstTxWarp>
            </a:bodyPr>
            <a:lstStyle/>
            <a:p>
              <a:pPr defTabSz="716632" fontAlgn="base">
                <a:spcBef>
                  <a:spcPct val="0"/>
                </a:spcBef>
                <a:spcAft>
                  <a:spcPct val="0"/>
                </a:spcAft>
              </a:pPr>
              <a:endParaRPr lang="en-US" sz="1372" dirty="0">
                <a:solidFill>
                  <a:srgbClr val="505050"/>
                </a:solidFill>
                <a:cs typeface="Segoe UI" pitchFamily="34" charset="0"/>
              </a:endParaRPr>
            </a:p>
          </p:txBody>
        </p:sp>
      </p:grpSp>
      <p:grpSp>
        <p:nvGrpSpPr>
          <p:cNvPr id="41" name="Group 40"/>
          <p:cNvGrpSpPr/>
          <p:nvPr/>
        </p:nvGrpSpPr>
        <p:grpSpPr>
          <a:xfrm>
            <a:off x="2939149" y="2764165"/>
            <a:ext cx="1523922" cy="1523922"/>
            <a:chOff x="1180765" y="2125662"/>
            <a:chExt cx="1943162" cy="1943163"/>
          </a:xfrm>
        </p:grpSpPr>
        <p:sp>
          <p:nvSpPr>
            <p:cNvPr id="42" name="TextBox 41"/>
            <p:cNvSpPr txBox="1"/>
            <p:nvPr/>
          </p:nvSpPr>
          <p:spPr>
            <a:xfrm>
              <a:off x="1180765" y="2125662"/>
              <a:ext cx="1943162" cy="1943163"/>
            </a:xfrm>
            <a:prstGeom prst="rect">
              <a:avLst/>
            </a:prstGeom>
            <a:solidFill>
              <a:schemeClr val="bg1">
                <a:lumMod val="95000"/>
              </a:schemeClr>
            </a:solidFill>
          </p:spPr>
          <p:txBody>
            <a:bodyPr wrap="square" lIns="179285" tIns="143428" rIns="179285" bIns="143428" rtlCol="0">
              <a:noAutofit/>
            </a:bodyPr>
            <a:lstStyle/>
            <a:p>
              <a:pPr defTabSz="716632" fontAlgn="base">
                <a:lnSpc>
                  <a:spcPct val="90000"/>
                </a:lnSpc>
                <a:spcBef>
                  <a:spcPct val="0"/>
                </a:spcBef>
                <a:spcAft>
                  <a:spcPct val="0"/>
                </a:spcAft>
              </a:pPr>
              <a:r>
                <a:rPr lang="en-US" sz="1568" dirty="0">
                  <a:gradFill>
                    <a:gsLst>
                      <a:gs pos="24167">
                        <a:srgbClr val="505050"/>
                      </a:gs>
                      <a:gs pos="72000">
                        <a:srgbClr val="505050"/>
                      </a:gs>
                    </a:gsLst>
                    <a:lin ang="5400000" scaled="1"/>
                  </a:gradFill>
                  <a:cs typeface="Segoe UI" pitchFamily="34" charset="0"/>
                </a:rPr>
                <a:t>Physical server 1</a:t>
              </a:r>
            </a:p>
          </p:txBody>
        </p:sp>
        <p:sp>
          <p:nvSpPr>
            <p:cNvPr id="43" name="Freeform 42"/>
            <p:cNvSpPr>
              <a:spLocks noChangeAspect="1" noEditPoints="1"/>
            </p:cNvSpPr>
            <p:nvPr/>
          </p:nvSpPr>
          <p:spPr bwMode="black">
            <a:xfrm>
              <a:off x="2550066" y="3078855"/>
              <a:ext cx="403965" cy="81462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ln>
            <a:extLst/>
          </p:spPr>
          <p:txBody>
            <a:bodyPr vert="horz" wrap="square" lIns="71712" tIns="35856" rIns="71712" bIns="35856" numCol="1" anchor="t" anchorCtr="0" compatLnSpc="1">
              <a:prstTxWarp prst="textNoShape">
                <a:avLst/>
              </a:prstTxWarp>
            </a:bodyPr>
            <a:lstStyle/>
            <a:p>
              <a:pPr defTabSz="716632" fontAlgn="base">
                <a:spcBef>
                  <a:spcPct val="0"/>
                </a:spcBef>
                <a:spcAft>
                  <a:spcPct val="0"/>
                </a:spcAft>
              </a:pPr>
              <a:endParaRPr lang="en-US" sz="1372" dirty="0">
                <a:solidFill>
                  <a:srgbClr val="505050"/>
                </a:solidFill>
                <a:cs typeface="Segoe UI" pitchFamily="34" charset="0"/>
              </a:endParaRPr>
            </a:p>
          </p:txBody>
        </p:sp>
      </p:grpSp>
      <p:pic>
        <p:nvPicPr>
          <p:cNvPr id="44" name="Picture 43"/>
          <p:cNvPicPr>
            <a:picLocks noChangeAspect="1"/>
          </p:cNvPicPr>
          <p:nvPr/>
        </p:nvPicPr>
        <p:blipFill>
          <a:blip r:embed="rId4" cstate="email">
            <a:duotone>
              <a:prstClr val="black"/>
              <a:schemeClr val="tx1">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4551564" y="3410120"/>
            <a:ext cx="1170466" cy="1645541"/>
          </a:xfrm>
          <a:prstGeom prst="rect">
            <a:avLst/>
          </a:prstGeom>
        </p:spPr>
      </p:pic>
      <p:pic>
        <p:nvPicPr>
          <p:cNvPr id="45" name="Picture 44"/>
          <p:cNvPicPr>
            <a:picLocks noChangeAspect="1"/>
          </p:cNvPicPr>
          <p:nvPr/>
        </p:nvPicPr>
        <p:blipFill>
          <a:blip r:embed="rId6" cstate="email">
            <a:duotone>
              <a:prstClr val="black"/>
              <a:schemeClr val="tx1">
                <a:tint val="45000"/>
                <a:satMod val="400000"/>
              </a:schemeClr>
            </a:duotone>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7428864" y="3341658"/>
            <a:ext cx="1219162" cy="1714001"/>
          </a:xfrm>
          <a:prstGeom prst="rect">
            <a:avLst/>
          </a:prstGeom>
        </p:spPr>
      </p:pic>
      <p:sp>
        <p:nvSpPr>
          <p:cNvPr id="46" name="TextBox 45"/>
          <p:cNvSpPr txBox="1"/>
          <p:nvPr/>
        </p:nvSpPr>
        <p:spPr>
          <a:xfrm>
            <a:off x="2939148" y="2203976"/>
            <a:ext cx="2081584" cy="564219"/>
          </a:xfrm>
          <a:prstGeom prst="rect">
            <a:avLst/>
          </a:prstGeom>
          <a:noFill/>
        </p:spPr>
        <p:txBody>
          <a:bodyPr wrap="square" lIns="143328" tIns="114662" rIns="143328" bIns="114662" rtlCol="0">
            <a:spAutoFit/>
          </a:bodyPr>
          <a:lstStyle>
            <a:defPPr>
              <a:defRPr lang="en-US"/>
            </a:defPPr>
            <a:lvl1pPr>
              <a:lnSpc>
                <a:spcPct val="90000"/>
              </a:lnSpc>
              <a:defRPr>
                <a:gradFill>
                  <a:gsLst>
                    <a:gs pos="24167">
                      <a:schemeClr val="tx1"/>
                    </a:gs>
                    <a:gs pos="72000">
                      <a:schemeClr val="tx1"/>
                    </a:gs>
                  </a:gsLst>
                  <a:lin ang="5400000" scaled="1"/>
                </a:gradFill>
              </a:defRPr>
            </a:lvl1pPr>
          </a:lstStyle>
          <a:p>
            <a:pPr defTabSz="716632" fontAlgn="base">
              <a:spcBef>
                <a:spcPct val="0"/>
              </a:spcBef>
              <a:spcAft>
                <a:spcPct val="0"/>
              </a:spcAft>
            </a:pPr>
            <a:r>
              <a:rPr lang="en-US" sz="2353" spc="-24" dirty="0">
                <a:gradFill>
                  <a:gsLst>
                    <a:gs pos="24167">
                      <a:srgbClr val="505050"/>
                    </a:gs>
                    <a:gs pos="72000">
                      <a:srgbClr val="505050"/>
                    </a:gs>
                  </a:gsLst>
                  <a:lin ang="5400000" scaled="1"/>
                </a:gradFill>
                <a:latin typeface="Segoe UI Light"/>
                <a:cs typeface="Segoe UI" pitchFamily="34" charset="0"/>
              </a:rPr>
              <a:t>Site A</a:t>
            </a:r>
          </a:p>
        </p:txBody>
      </p:sp>
      <p:sp>
        <p:nvSpPr>
          <p:cNvPr id="47" name="TextBox 46"/>
          <p:cNvSpPr txBox="1"/>
          <p:nvPr/>
        </p:nvSpPr>
        <p:spPr>
          <a:xfrm>
            <a:off x="8719281" y="2885180"/>
            <a:ext cx="1256406" cy="564219"/>
          </a:xfrm>
          <a:prstGeom prst="rect">
            <a:avLst/>
          </a:prstGeom>
          <a:noFill/>
        </p:spPr>
        <p:txBody>
          <a:bodyPr wrap="square" lIns="143328" tIns="114662" rIns="143328" bIns="114662" rtlCol="0">
            <a:spAutoFit/>
          </a:bodyPr>
          <a:lstStyle>
            <a:defPPr>
              <a:defRPr lang="en-US"/>
            </a:defPPr>
            <a:lvl1pPr>
              <a:lnSpc>
                <a:spcPct val="90000"/>
              </a:lnSpc>
              <a:defRPr>
                <a:gradFill>
                  <a:gsLst>
                    <a:gs pos="24167">
                      <a:schemeClr val="tx1"/>
                    </a:gs>
                    <a:gs pos="72000">
                      <a:schemeClr val="tx1"/>
                    </a:gs>
                  </a:gsLst>
                  <a:lin ang="5400000" scaled="1"/>
                </a:gradFill>
              </a:defRPr>
            </a:lvl1pPr>
          </a:lstStyle>
          <a:p>
            <a:pPr defTabSz="716632" fontAlgn="base">
              <a:spcBef>
                <a:spcPct val="0"/>
              </a:spcBef>
              <a:spcAft>
                <a:spcPct val="0"/>
              </a:spcAft>
            </a:pPr>
            <a:r>
              <a:rPr lang="en-US" sz="2353" spc="-24" dirty="0">
                <a:gradFill>
                  <a:gsLst>
                    <a:gs pos="24167">
                      <a:srgbClr val="505050"/>
                    </a:gs>
                    <a:gs pos="72000">
                      <a:srgbClr val="505050"/>
                    </a:gs>
                  </a:gsLst>
                  <a:lin ang="5400000" scaled="1"/>
                </a:gradFill>
                <a:latin typeface="Segoe UI Light"/>
                <a:cs typeface="Segoe UI" pitchFamily="34" charset="0"/>
              </a:rPr>
              <a:t>Site B</a:t>
            </a:r>
          </a:p>
        </p:txBody>
      </p:sp>
      <p:sp>
        <p:nvSpPr>
          <p:cNvPr id="48" name="TextBox 47"/>
          <p:cNvSpPr txBox="1"/>
          <p:nvPr/>
        </p:nvSpPr>
        <p:spPr>
          <a:xfrm>
            <a:off x="5817270" y="4308328"/>
            <a:ext cx="1740286" cy="1660740"/>
          </a:xfrm>
          <a:prstGeom prst="rect">
            <a:avLst/>
          </a:prstGeom>
          <a:noFill/>
        </p:spPr>
        <p:txBody>
          <a:bodyPr wrap="square" lIns="0" tIns="114662" rIns="0" bIns="114662" rtlCol="0">
            <a:spAutoFit/>
          </a:bodyPr>
          <a:lstStyle/>
          <a:p>
            <a:pPr defTabSz="716632" fontAlgn="base">
              <a:lnSpc>
                <a:spcPct val="90000"/>
              </a:lnSpc>
              <a:spcBef>
                <a:spcPts val="471"/>
              </a:spcBef>
              <a:spcAft>
                <a:spcPct val="0"/>
              </a:spcAft>
            </a:pPr>
            <a:r>
              <a:rPr lang="en-US" sz="1568" dirty="0">
                <a:gradFill>
                  <a:gsLst>
                    <a:gs pos="24167">
                      <a:srgbClr val="505050"/>
                    </a:gs>
                    <a:gs pos="72000">
                      <a:srgbClr val="505050"/>
                    </a:gs>
                  </a:gsLst>
                  <a:lin ang="5400000" scaled="1"/>
                </a:gradFill>
                <a:cs typeface="Segoe UI" pitchFamily="34" charset="0"/>
              </a:rPr>
              <a:t>Hyper-V Replica</a:t>
            </a:r>
          </a:p>
          <a:p>
            <a:pPr defTabSz="716632" fontAlgn="base">
              <a:lnSpc>
                <a:spcPct val="90000"/>
              </a:lnSpc>
              <a:spcBef>
                <a:spcPts val="471"/>
              </a:spcBef>
              <a:spcAft>
                <a:spcPct val="0"/>
              </a:spcAft>
            </a:pPr>
            <a:r>
              <a:rPr lang="en-US" sz="1568" dirty="0">
                <a:gradFill>
                  <a:gsLst>
                    <a:gs pos="24167">
                      <a:srgbClr val="505050"/>
                    </a:gs>
                    <a:gs pos="72000">
                      <a:srgbClr val="505050"/>
                    </a:gs>
                  </a:gsLst>
                  <a:lin ang="5400000" scaled="1"/>
                </a:gradFill>
                <a:latin typeface="Segoe UI Semibold" panose="020B0702040204020203" pitchFamily="34" charset="0"/>
                <a:cs typeface="Segoe UI" pitchFamily="34" charset="0"/>
              </a:rPr>
              <a:t>OR</a:t>
            </a:r>
          </a:p>
          <a:p>
            <a:pPr defTabSz="716632" fontAlgn="base">
              <a:lnSpc>
                <a:spcPct val="90000"/>
              </a:lnSpc>
              <a:spcBef>
                <a:spcPts val="471"/>
              </a:spcBef>
              <a:spcAft>
                <a:spcPct val="0"/>
              </a:spcAft>
            </a:pPr>
            <a:r>
              <a:rPr lang="en-US" sz="1568" dirty="0">
                <a:gradFill>
                  <a:gsLst>
                    <a:gs pos="24167">
                      <a:srgbClr val="505050"/>
                    </a:gs>
                    <a:gs pos="72000">
                      <a:srgbClr val="505050"/>
                    </a:gs>
                  </a:gsLst>
                  <a:lin ang="5400000" scaled="1"/>
                </a:gradFill>
                <a:cs typeface="Segoe UI" pitchFamily="34" charset="0"/>
              </a:rPr>
              <a:t>Synchronous or asynchronous replication between storage systems</a:t>
            </a:r>
          </a:p>
        </p:txBody>
      </p:sp>
      <p:cxnSp>
        <p:nvCxnSpPr>
          <p:cNvPr id="49" name="Straight Arrow Connector 48"/>
          <p:cNvCxnSpPr/>
          <p:nvPr/>
        </p:nvCxnSpPr>
        <p:spPr bwMode="auto">
          <a:xfrm>
            <a:off x="5803312" y="4197384"/>
            <a:ext cx="1544270" cy="1271"/>
          </a:xfrm>
          <a:prstGeom prst="straightConnector1">
            <a:avLst/>
          </a:prstGeom>
          <a:ln w="952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bwMode="auto">
          <a:xfrm flipH="1">
            <a:off x="5803310" y="4197384"/>
            <a:ext cx="1544270" cy="1271"/>
          </a:xfrm>
          <a:prstGeom prst="straightConnector1">
            <a:avLst/>
          </a:prstGeom>
          <a:ln w="9525">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52" name="Freeform 6"/>
          <p:cNvSpPr>
            <a:spLocks noChangeAspect="1" noEditPoints="1"/>
          </p:cNvSpPr>
          <p:nvPr/>
        </p:nvSpPr>
        <p:spPr bwMode="auto">
          <a:xfrm>
            <a:off x="3093292" y="4546970"/>
            <a:ext cx="1215636" cy="1214363"/>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solidFill>
            <a:schemeClr val="accent3">
              <a:alpha val="82000"/>
            </a:schemeClr>
          </a:solidFill>
          <a:ln>
            <a:noFill/>
          </a:ln>
          <a:extLst/>
        </p:spPr>
        <p:txBody>
          <a:bodyPr vert="horz" wrap="square" lIns="71665" tIns="35832" rIns="71665" bIns="35832" numCol="1" anchor="t" anchorCtr="0" compatLnSpc="1">
            <a:prstTxWarp prst="textNoShape">
              <a:avLst/>
            </a:prstTxWarp>
          </a:bodyPr>
          <a:lstStyle/>
          <a:p>
            <a:pPr defTabSz="716632" fontAlgn="base">
              <a:spcBef>
                <a:spcPct val="0"/>
              </a:spcBef>
              <a:spcAft>
                <a:spcPct val="0"/>
              </a:spcAft>
            </a:pPr>
            <a:endParaRPr lang="en-US" sz="1372">
              <a:solidFill>
                <a:srgbClr val="505050"/>
              </a:solidFill>
              <a:cs typeface="Segoe UI" pitchFamily="34" charset="0"/>
            </a:endParaRPr>
          </a:p>
        </p:txBody>
      </p:sp>
      <p:grpSp>
        <p:nvGrpSpPr>
          <p:cNvPr id="53" name="Group 52"/>
          <p:cNvGrpSpPr/>
          <p:nvPr/>
        </p:nvGrpSpPr>
        <p:grpSpPr>
          <a:xfrm>
            <a:off x="3534176" y="5474184"/>
            <a:ext cx="404502" cy="369489"/>
            <a:chOff x="1820969" y="5405656"/>
            <a:chExt cx="412613" cy="376898"/>
          </a:xfrm>
        </p:grpSpPr>
        <p:sp>
          <p:nvSpPr>
            <p:cNvPr id="54" name="Freeform 6"/>
            <p:cNvSpPr>
              <a:spLocks noChangeAspect="1" noEditPoints="1"/>
            </p:cNvSpPr>
            <p:nvPr/>
          </p:nvSpPr>
          <p:spPr bwMode="auto">
            <a:xfrm>
              <a:off x="1866571" y="5412006"/>
              <a:ext cx="316663" cy="275267"/>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1"/>
            </a:solidFill>
            <a:ln>
              <a:noFill/>
            </a:ln>
          </p:spPr>
          <p:txBody>
            <a:bodyPr vert="horz" wrap="square" lIns="71665" tIns="35832" rIns="71665" bIns="35832" numCol="1" anchor="t" anchorCtr="0" compatLnSpc="1">
              <a:prstTxWarp prst="textNoShape">
                <a:avLst/>
              </a:prstTxWarp>
            </a:bodyPr>
            <a:lstStyle/>
            <a:p>
              <a:pPr defTabSz="716632" fontAlgn="base">
                <a:spcBef>
                  <a:spcPct val="0"/>
                </a:spcBef>
                <a:spcAft>
                  <a:spcPct val="0"/>
                </a:spcAft>
              </a:pPr>
              <a:endParaRPr lang="en-US" sz="1372">
                <a:solidFill>
                  <a:srgbClr val="505050"/>
                </a:solidFill>
                <a:cs typeface="Segoe UI" pitchFamily="34" charset="0"/>
              </a:endParaRPr>
            </a:p>
          </p:txBody>
        </p:sp>
        <p:grpSp>
          <p:nvGrpSpPr>
            <p:cNvPr id="55" name="Group 54"/>
            <p:cNvGrpSpPr/>
            <p:nvPr/>
          </p:nvGrpSpPr>
          <p:grpSpPr>
            <a:xfrm>
              <a:off x="1820969" y="5405656"/>
              <a:ext cx="412613" cy="376898"/>
              <a:chOff x="1820969" y="5405656"/>
              <a:chExt cx="412613" cy="376898"/>
            </a:xfrm>
          </p:grpSpPr>
          <p:sp>
            <p:nvSpPr>
              <p:cNvPr id="56" name="Oval 55"/>
              <p:cNvSpPr/>
              <p:nvPr/>
            </p:nvSpPr>
            <p:spPr bwMode="auto">
              <a:xfrm>
                <a:off x="1948466" y="5510019"/>
                <a:ext cx="154972" cy="1573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588" dirty="0">
                  <a:gradFill>
                    <a:gsLst>
                      <a:gs pos="84071">
                        <a:srgbClr val="00BCF2"/>
                      </a:gs>
                      <a:gs pos="57000">
                        <a:srgbClr val="00BCF2"/>
                      </a:gs>
                    </a:gsLst>
                    <a:lin ang="5400000" scaled="0"/>
                  </a:gradFill>
                </a:endParaRPr>
              </a:p>
            </p:txBody>
          </p:sp>
          <p:sp>
            <p:nvSpPr>
              <p:cNvPr id="57" name="TextBox 56"/>
              <p:cNvSpPr txBox="1"/>
              <p:nvPr/>
            </p:nvSpPr>
            <p:spPr>
              <a:xfrm>
                <a:off x="1820969" y="5405656"/>
                <a:ext cx="412613" cy="376898"/>
              </a:xfrm>
              <a:prstGeom prst="rect">
                <a:avLst/>
              </a:prstGeom>
              <a:noFill/>
            </p:spPr>
            <p:txBody>
              <a:bodyPr wrap="none" lIns="179285" tIns="143428" rIns="179285" bIns="143428" rtlCol="0">
                <a:spAutoFit/>
              </a:bodyPr>
              <a:lstStyle/>
              <a:p>
                <a:pPr defTabSz="914367">
                  <a:lnSpc>
                    <a:spcPct val="90000"/>
                  </a:lnSpc>
                  <a:spcAft>
                    <a:spcPts val="588"/>
                  </a:spcAft>
                </a:pPr>
                <a:r>
                  <a:rPr lang="en-US" sz="588" b="1" dirty="0">
                    <a:gradFill>
                      <a:gsLst>
                        <a:gs pos="2917">
                          <a:srgbClr val="282828"/>
                        </a:gs>
                        <a:gs pos="30000">
                          <a:srgbClr val="282828"/>
                        </a:gs>
                      </a:gsLst>
                      <a:lin ang="5400000" scaled="0"/>
                    </a:gradFill>
                  </a:rPr>
                  <a:t>1</a:t>
                </a:r>
              </a:p>
            </p:txBody>
          </p:sp>
        </p:grpSp>
      </p:grpSp>
      <p:grpSp>
        <p:nvGrpSpPr>
          <p:cNvPr id="58" name="Group 57"/>
          <p:cNvGrpSpPr/>
          <p:nvPr/>
        </p:nvGrpSpPr>
        <p:grpSpPr>
          <a:xfrm>
            <a:off x="3534176" y="5153321"/>
            <a:ext cx="406073" cy="371123"/>
            <a:chOff x="1820969" y="5078359"/>
            <a:chExt cx="414216" cy="378565"/>
          </a:xfrm>
        </p:grpSpPr>
        <p:sp>
          <p:nvSpPr>
            <p:cNvPr id="59" name="Freeform 6"/>
            <p:cNvSpPr>
              <a:spLocks noChangeAspect="1" noEditPoints="1"/>
            </p:cNvSpPr>
            <p:nvPr/>
          </p:nvSpPr>
          <p:spPr bwMode="auto">
            <a:xfrm>
              <a:off x="1866571" y="5086167"/>
              <a:ext cx="316663" cy="275267"/>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5"/>
            </a:solidFill>
            <a:ln>
              <a:noFill/>
            </a:ln>
          </p:spPr>
          <p:txBody>
            <a:bodyPr vert="horz" wrap="square" lIns="71665" tIns="35832" rIns="71665" bIns="35832" numCol="1" anchor="t" anchorCtr="0" compatLnSpc="1">
              <a:prstTxWarp prst="textNoShape">
                <a:avLst/>
              </a:prstTxWarp>
            </a:bodyPr>
            <a:lstStyle/>
            <a:p>
              <a:pPr defTabSz="716632" fontAlgn="base">
                <a:spcBef>
                  <a:spcPct val="0"/>
                </a:spcBef>
                <a:spcAft>
                  <a:spcPct val="0"/>
                </a:spcAft>
              </a:pPr>
              <a:endParaRPr lang="en-US" sz="1372">
                <a:solidFill>
                  <a:srgbClr val="505050"/>
                </a:solidFill>
                <a:cs typeface="Segoe UI" pitchFamily="34" charset="0"/>
              </a:endParaRPr>
            </a:p>
          </p:txBody>
        </p:sp>
        <p:grpSp>
          <p:nvGrpSpPr>
            <p:cNvPr id="60" name="Group 59"/>
            <p:cNvGrpSpPr/>
            <p:nvPr/>
          </p:nvGrpSpPr>
          <p:grpSpPr>
            <a:xfrm>
              <a:off x="1820969" y="5078359"/>
              <a:ext cx="414216" cy="378565"/>
              <a:chOff x="1820969" y="5405656"/>
              <a:chExt cx="414216" cy="378565"/>
            </a:xfrm>
          </p:grpSpPr>
          <p:sp>
            <p:nvSpPr>
              <p:cNvPr id="61" name="Oval 60"/>
              <p:cNvSpPr/>
              <p:nvPr/>
            </p:nvSpPr>
            <p:spPr bwMode="auto">
              <a:xfrm>
                <a:off x="1948466" y="5510019"/>
                <a:ext cx="154972" cy="15735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588" dirty="0">
                  <a:gradFill>
                    <a:gsLst>
                      <a:gs pos="84071">
                        <a:srgbClr val="00BCF2"/>
                      </a:gs>
                      <a:gs pos="57000">
                        <a:srgbClr val="00BCF2"/>
                      </a:gs>
                    </a:gsLst>
                    <a:lin ang="5400000" scaled="0"/>
                  </a:gradFill>
                </a:endParaRPr>
              </a:p>
            </p:txBody>
          </p:sp>
          <p:sp>
            <p:nvSpPr>
              <p:cNvPr id="62" name="TextBox 61"/>
              <p:cNvSpPr txBox="1"/>
              <p:nvPr/>
            </p:nvSpPr>
            <p:spPr>
              <a:xfrm>
                <a:off x="1820969" y="5405656"/>
                <a:ext cx="414216" cy="378565"/>
              </a:xfrm>
              <a:prstGeom prst="rect">
                <a:avLst/>
              </a:prstGeom>
              <a:noFill/>
            </p:spPr>
            <p:txBody>
              <a:bodyPr wrap="none" lIns="179285" tIns="143428" rIns="179285" bIns="143428" rtlCol="0">
                <a:spAutoFit/>
              </a:bodyPr>
              <a:lstStyle/>
              <a:p>
                <a:pPr defTabSz="914367">
                  <a:lnSpc>
                    <a:spcPct val="90000"/>
                  </a:lnSpc>
                  <a:spcAft>
                    <a:spcPts val="588"/>
                  </a:spcAft>
                </a:pPr>
                <a:r>
                  <a:rPr lang="en-US" sz="588" b="1" dirty="0">
                    <a:solidFill>
                      <a:srgbClr val="FFFFFF"/>
                    </a:solidFill>
                  </a:rPr>
                  <a:t>2</a:t>
                </a:r>
              </a:p>
            </p:txBody>
          </p:sp>
        </p:grpSp>
      </p:grpSp>
      <p:grpSp>
        <p:nvGrpSpPr>
          <p:cNvPr id="63" name="Group 62"/>
          <p:cNvGrpSpPr/>
          <p:nvPr/>
        </p:nvGrpSpPr>
        <p:grpSpPr>
          <a:xfrm>
            <a:off x="3534176" y="3862702"/>
            <a:ext cx="406073" cy="371123"/>
            <a:chOff x="1820969" y="3761860"/>
            <a:chExt cx="414216" cy="378565"/>
          </a:xfrm>
        </p:grpSpPr>
        <p:sp>
          <p:nvSpPr>
            <p:cNvPr id="64" name="Freeform 6"/>
            <p:cNvSpPr>
              <a:spLocks noChangeAspect="1" noEditPoints="1"/>
            </p:cNvSpPr>
            <p:nvPr/>
          </p:nvSpPr>
          <p:spPr bwMode="auto">
            <a:xfrm>
              <a:off x="1866571" y="3765001"/>
              <a:ext cx="316663" cy="275267"/>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1"/>
            </a:solidFill>
            <a:ln>
              <a:noFill/>
            </a:ln>
          </p:spPr>
          <p:txBody>
            <a:bodyPr vert="horz" wrap="square" lIns="71665" tIns="35832" rIns="71665" bIns="35832" numCol="1" anchor="t" anchorCtr="0" compatLnSpc="1">
              <a:prstTxWarp prst="textNoShape">
                <a:avLst/>
              </a:prstTxWarp>
            </a:bodyPr>
            <a:lstStyle/>
            <a:p>
              <a:pPr defTabSz="716632" fontAlgn="base">
                <a:spcBef>
                  <a:spcPct val="0"/>
                </a:spcBef>
                <a:spcAft>
                  <a:spcPct val="0"/>
                </a:spcAft>
              </a:pPr>
              <a:endParaRPr lang="en-US" sz="1372">
                <a:solidFill>
                  <a:srgbClr val="505050"/>
                </a:solidFill>
                <a:cs typeface="Segoe UI" pitchFamily="34" charset="0"/>
              </a:endParaRPr>
            </a:p>
          </p:txBody>
        </p:sp>
        <p:grpSp>
          <p:nvGrpSpPr>
            <p:cNvPr id="65" name="Group 64"/>
            <p:cNvGrpSpPr/>
            <p:nvPr/>
          </p:nvGrpSpPr>
          <p:grpSpPr>
            <a:xfrm>
              <a:off x="1820969" y="3761860"/>
              <a:ext cx="414216" cy="378565"/>
              <a:chOff x="1820969" y="5405656"/>
              <a:chExt cx="414216" cy="378565"/>
            </a:xfrm>
          </p:grpSpPr>
          <p:sp>
            <p:nvSpPr>
              <p:cNvPr id="66" name="Oval 65"/>
              <p:cNvSpPr/>
              <p:nvPr/>
            </p:nvSpPr>
            <p:spPr bwMode="auto">
              <a:xfrm>
                <a:off x="1948466" y="5510019"/>
                <a:ext cx="154972" cy="15735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588" dirty="0">
                  <a:gradFill>
                    <a:gsLst>
                      <a:gs pos="84071">
                        <a:srgbClr val="00BCF2"/>
                      </a:gs>
                      <a:gs pos="57000">
                        <a:srgbClr val="00BCF2"/>
                      </a:gs>
                    </a:gsLst>
                    <a:lin ang="5400000" scaled="0"/>
                  </a:gradFill>
                </a:endParaRPr>
              </a:p>
            </p:txBody>
          </p:sp>
          <p:sp>
            <p:nvSpPr>
              <p:cNvPr id="67" name="TextBox 66"/>
              <p:cNvSpPr txBox="1"/>
              <p:nvPr/>
            </p:nvSpPr>
            <p:spPr>
              <a:xfrm>
                <a:off x="1820969" y="5405656"/>
                <a:ext cx="414216" cy="378565"/>
              </a:xfrm>
              <a:prstGeom prst="rect">
                <a:avLst/>
              </a:prstGeom>
              <a:noFill/>
            </p:spPr>
            <p:txBody>
              <a:bodyPr wrap="none" lIns="179285" tIns="143428" rIns="179285" bIns="143428" rtlCol="0">
                <a:spAutoFit/>
              </a:bodyPr>
              <a:lstStyle/>
              <a:p>
                <a:pPr defTabSz="914367">
                  <a:lnSpc>
                    <a:spcPct val="90000"/>
                  </a:lnSpc>
                  <a:spcAft>
                    <a:spcPts val="588"/>
                  </a:spcAft>
                </a:pPr>
                <a:r>
                  <a:rPr lang="en-US" sz="588" b="1" dirty="0">
                    <a:gradFill>
                      <a:gsLst>
                        <a:gs pos="2917">
                          <a:srgbClr val="282828"/>
                        </a:gs>
                        <a:gs pos="30000">
                          <a:srgbClr val="282828"/>
                        </a:gs>
                      </a:gsLst>
                      <a:lin ang="5400000" scaled="0"/>
                    </a:gradFill>
                  </a:rPr>
                  <a:t>3</a:t>
                </a:r>
              </a:p>
            </p:txBody>
          </p:sp>
        </p:grpSp>
      </p:grpSp>
      <p:grpSp>
        <p:nvGrpSpPr>
          <p:cNvPr id="68" name="Group 67"/>
          <p:cNvGrpSpPr/>
          <p:nvPr/>
        </p:nvGrpSpPr>
        <p:grpSpPr>
          <a:xfrm>
            <a:off x="3531064" y="3539627"/>
            <a:ext cx="406073" cy="371123"/>
            <a:chOff x="1817794" y="3432307"/>
            <a:chExt cx="414216" cy="378565"/>
          </a:xfrm>
        </p:grpSpPr>
        <p:sp>
          <p:nvSpPr>
            <p:cNvPr id="69" name="Freeform 6"/>
            <p:cNvSpPr>
              <a:spLocks noChangeAspect="1" noEditPoints="1"/>
            </p:cNvSpPr>
            <p:nvPr/>
          </p:nvSpPr>
          <p:spPr bwMode="auto">
            <a:xfrm>
              <a:off x="1866571" y="3439162"/>
              <a:ext cx="316663" cy="275267"/>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chemeClr val="accent5"/>
            </a:solidFill>
            <a:ln>
              <a:noFill/>
            </a:ln>
          </p:spPr>
          <p:txBody>
            <a:bodyPr vert="horz" wrap="square" lIns="71665" tIns="35832" rIns="71665" bIns="35832" numCol="1" anchor="t" anchorCtr="0" compatLnSpc="1">
              <a:prstTxWarp prst="textNoShape">
                <a:avLst/>
              </a:prstTxWarp>
            </a:bodyPr>
            <a:lstStyle/>
            <a:p>
              <a:pPr defTabSz="716632" fontAlgn="base">
                <a:spcBef>
                  <a:spcPct val="0"/>
                </a:spcBef>
                <a:spcAft>
                  <a:spcPct val="0"/>
                </a:spcAft>
              </a:pPr>
              <a:endParaRPr lang="en-US" sz="1372">
                <a:solidFill>
                  <a:srgbClr val="505050"/>
                </a:solidFill>
                <a:cs typeface="Segoe UI" pitchFamily="34" charset="0"/>
              </a:endParaRPr>
            </a:p>
          </p:txBody>
        </p:sp>
        <p:grpSp>
          <p:nvGrpSpPr>
            <p:cNvPr id="70" name="Group 69"/>
            <p:cNvGrpSpPr/>
            <p:nvPr/>
          </p:nvGrpSpPr>
          <p:grpSpPr>
            <a:xfrm>
              <a:off x="1817794" y="3432307"/>
              <a:ext cx="414216" cy="378565"/>
              <a:chOff x="1820969" y="5405656"/>
              <a:chExt cx="414216" cy="378565"/>
            </a:xfrm>
          </p:grpSpPr>
          <p:sp>
            <p:nvSpPr>
              <p:cNvPr id="71" name="Oval 70"/>
              <p:cNvSpPr/>
              <p:nvPr/>
            </p:nvSpPr>
            <p:spPr bwMode="auto">
              <a:xfrm>
                <a:off x="1948466" y="5510019"/>
                <a:ext cx="154972" cy="157356"/>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588" dirty="0">
                  <a:gradFill>
                    <a:gsLst>
                      <a:gs pos="84071">
                        <a:srgbClr val="00BCF2"/>
                      </a:gs>
                      <a:gs pos="57000">
                        <a:srgbClr val="00BCF2"/>
                      </a:gs>
                    </a:gsLst>
                    <a:lin ang="5400000" scaled="0"/>
                  </a:gradFill>
                </a:endParaRPr>
              </a:p>
            </p:txBody>
          </p:sp>
          <p:sp>
            <p:nvSpPr>
              <p:cNvPr id="72" name="TextBox 71"/>
              <p:cNvSpPr txBox="1"/>
              <p:nvPr/>
            </p:nvSpPr>
            <p:spPr>
              <a:xfrm>
                <a:off x="1820969" y="5405656"/>
                <a:ext cx="414216" cy="378565"/>
              </a:xfrm>
              <a:prstGeom prst="rect">
                <a:avLst/>
              </a:prstGeom>
              <a:noFill/>
            </p:spPr>
            <p:txBody>
              <a:bodyPr wrap="none" lIns="179285" tIns="143428" rIns="179285" bIns="143428" rtlCol="0">
                <a:spAutoFit/>
              </a:bodyPr>
              <a:lstStyle/>
              <a:p>
                <a:pPr defTabSz="914367">
                  <a:lnSpc>
                    <a:spcPct val="90000"/>
                  </a:lnSpc>
                  <a:spcAft>
                    <a:spcPts val="588"/>
                  </a:spcAft>
                </a:pPr>
                <a:r>
                  <a:rPr lang="en-US" sz="588" b="1" dirty="0">
                    <a:solidFill>
                      <a:srgbClr val="FFFFFF"/>
                    </a:solidFill>
                  </a:rPr>
                  <a:t>4</a:t>
                </a:r>
              </a:p>
            </p:txBody>
          </p:sp>
        </p:grpSp>
      </p:grpSp>
      <p:grpSp>
        <p:nvGrpSpPr>
          <p:cNvPr id="78" name="Richard"/>
          <p:cNvGrpSpPr>
            <a:grpSpLocks noChangeAspect="1"/>
          </p:cNvGrpSpPr>
          <p:nvPr/>
        </p:nvGrpSpPr>
        <p:grpSpPr>
          <a:xfrm>
            <a:off x="1197285" y="526659"/>
            <a:ext cx="771705" cy="986067"/>
            <a:chOff x="1192144" y="1221871"/>
            <a:chExt cx="822960" cy="1051560"/>
          </a:xfrm>
        </p:grpSpPr>
        <p:grpSp>
          <p:nvGrpSpPr>
            <p:cNvPr id="79" name="Group 78"/>
            <p:cNvGrpSpPr/>
            <p:nvPr/>
          </p:nvGrpSpPr>
          <p:grpSpPr>
            <a:xfrm>
              <a:off x="1192144" y="1221871"/>
              <a:ext cx="822960" cy="1051560"/>
              <a:chOff x="2257477" y="1518442"/>
              <a:chExt cx="822960" cy="1051560"/>
            </a:xfrm>
          </p:grpSpPr>
          <p:sp>
            <p:nvSpPr>
              <p:cNvPr id="81" name="Rectangle 80"/>
              <p:cNvSpPr/>
              <p:nvPr/>
            </p:nvSpPr>
            <p:spPr bwMode="auto">
              <a:xfrm>
                <a:off x="2257477" y="1518442"/>
                <a:ext cx="822960" cy="105156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410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82" name="Picture 4"/>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l="75748" t="27538" r="7225" b="45284"/>
              <a:stretch/>
            </p:blipFill>
            <p:spPr bwMode="auto">
              <a:xfrm>
                <a:off x="2280337"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0" name="Isosceles Triangle 79"/>
            <p:cNvSpPr/>
            <p:nvPr/>
          </p:nvSpPr>
          <p:spPr bwMode="auto">
            <a:xfrm rot="16200000">
              <a:off x="188821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sp>
        <p:nvSpPr>
          <p:cNvPr id="73" name="Q1"/>
          <p:cNvSpPr txBox="1"/>
          <p:nvPr/>
        </p:nvSpPr>
        <p:spPr>
          <a:xfrm>
            <a:off x="1979706" y="525733"/>
            <a:ext cx="6628936" cy="561179"/>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372" dirty="0">
                <a:gradFill>
                  <a:gsLst>
                    <a:gs pos="13274">
                      <a:srgbClr val="282828">
                        <a:lumMod val="90000"/>
                        <a:lumOff val="10000"/>
                      </a:srgbClr>
                    </a:gs>
                    <a:gs pos="27434">
                      <a:srgbClr val="282828">
                        <a:lumMod val="90000"/>
                        <a:lumOff val="10000"/>
                      </a:srgbClr>
                    </a:gs>
                  </a:gsLst>
                  <a:lin ang="5400000" scaled="1"/>
                </a:gradFill>
              </a:rPr>
              <a:t>“I want a better disaster recovery solution in place that helps improve business continuity during planned and unplanned failures.”</a:t>
            </a:r>
          </a:p>
        </p:txBody>
      </p:sp>
      <p:sp>
        <p:nvSpPr>
          <p:cNvPr id="83" name="Q2"/>
          <p:cNvSpPr txBox="1"/>
          <p:nvPr/>
        </p:nvSpPr>
        <p:spPr>
          <a:xfrm>
            <a:off x="1990426" y="533346"/>
            <a:ext cx="6618216" cy="669801"/>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176" dirty="0">
                <a:gradFill>
                  <a:gsLst>
                    <a:gs pos="13274">
                      <a:srgbClr val="282828">
                        <a:lumMod val="90000"/>
                        <a:lumOff val="10000"/>
                      </a:srgbClr>
                    </a:gs>
                    <a:gs pos="27434">
                      <a:srgbClr val="282828">
                        <a:lumMod val="90000"/>
                        <a:lumOff val="10000"/>
                      </a:srgbClr>
                    </a:gs>
                  </a:gsLst>
                  <a:lin ang="5400000" scaled="1"/>
                </a:gradFill>
              </a:rPr>
              <a:t>“Don’t worry—I set up a new continuously available cluster with Windows Server to handle any server outage and enabled replication to our </a:t>
            </a:r>
            <a:r>
              <a:rPr lang="en-US" sz="1176" dirty="0" err="1">
                <a:gradFill>
                  <a:gsLst>
                    <a:gs pos="13274">
                      <a:srgbClr val="282828">
                        <a:lumMod val="90000"/>
                        <a:lumOff val="10000"/>
                      </a:srgbClr>
                    </a:gs>
                    <a:gs pos="27434">
                      <a:srgbClr val="282828">
                        <a:lumMod val="90000"/>
                        <a:lumOff val="10000"/>
                      </a:srgbClr>
                    </a:gs>
                  </a:gsLst>
                  <a:lin ang="5400000" scaled="1"/>
                </a:gradFill>
              </a:rPr>
              <a:t>Hoster</a:t>
            </a:r>
            <a:r>
              <a:rPr lang="en-US" sz="1176" dirty="0">
                <a:gradFill>
                  <a:gsLst>
                    <a:gs pos="13274">
                      <a:srgbClr val="282828">
                        <a:lumMod val="90000"/>
                        <a:lumOff val="10000"/>
                      </a:srgbClr>
                    </a:gs>
                    <a:gs pos="27434">
                      <a:srgbClr val="282828">
                        <a:lumMod val="90000"/>
                        <a:lumOff val="10000"/>
                      </a:srgbClr>
                    </a:gs>
                  </a:gsLst>
                  <a:lin ang="5400000" scaled="1"/>
                </a:gradFill>
              </a:rPr>
              <a:t> using Hyper-V replica. We now have a great disaster recovery solution in place and it is all included with Windows Server 2012</a:t>
            </a:r>
            <a:r>
              <a:rPr lang="en-US" sz="1176" dirty="0" smtClean="0">
                <a:gradFill>
                  <a:gsLst>
                    <a:gs pos="13274">
                      <a:srgbClr val="282828">
                        <a:lumMod val="90000"/>
                        <a:lumOff val="10000"/>
                      </a:srgbClr>
                    </a:gs>
                    <a:gs pos="27434">
                      <a:srgbClr val="282828">
                        <a:lumMod val="90000"/>
                        <a:lumOff val="10000"/>
                      </a:srgbClr>
                    </a:gs>
                  </a:gsLst>
                  <a:lin ang="5400000" scaled="1"/>
                </a:gradFill>
              </a:rPr>
              <a:t>.”  </a:t>
            </a:r>
            <a:endParaRPr lang="en-US" sz="1176" dirty="0">
              <a:gradFill>
                <a:gsLst>
                  <a:gs pos="13274">
                    <a:srgbClr val="282828">
                      <a:lumMod val="90000"/>
                      <a:lumOff val="10000"/>
                    </a:srgbClr>
                  </a:gs>
                  <a:gs pos="27434">
                    <a:srgbClr val="282828">
                      <a:lumMod val="90000"/>
                      <a:lumOff val="10000"/>
                    </a:srgbClr>
                  </a:gs>
                </a:gsLst>
                <a:lin ang="5400000" scaled="1"/>
              </a:gradFill>
            </a:endParaRPr>
          </a:p>
        </p:txBody>
      </p:sp>
      <p:sp>
        <p:nvSpPr>
          <p:cNvPr id="51" name="Freeform 6"/>
          <p:cNvSpPr>
            <a:spLocks noChangeAspect="1" noEditPoints="1"/>
          </p:cNvSpPr>
          <p:nvPr/>
        </p:nvSpPr>
        <p:spPr bwMode="auto">
          <a:xfrm>
            <a:off x="2896263" y="2908436"/>
            <a:ext cx="2866408" cy="2863405"/>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solidFill>
            <a:schemeClr val="accent3">
              <a:alpha val="82000"/>
            </a:schemeClr>
          </a:solidFill>
          <a:ln>
            <a:noFill/>
          </a:ln>
          <a:extLst/>
        </p:spPr>
        <p:txBody>
          <a:bodyPr vert="horz" wrap="square" lIns="71665" tIns="35832" rIns="71665" bIns="35832" numCol="1" anchor="t" anchorCtr="0" compatLnSpc="1">
            <a:prstTxWarp prst="textNoShape">
              <a:avLst/>
            </a:prstTxWarp>
          </a:bodyPr>
          <a:lstStyle/>
          <a:p>
            <a:pPr defTabSz="716632" fontAlgn="base">
              <a:spcBef>
                <a:spcPct val="0"/>
              </a:spcBef>
              <a:spcAft>
                <a:spcPct val="0"/>
              </a:spcAft>
            </a:pPr>
            <a:endParaRPr lang="en-US" sz="1372">
              <a:solidFill>
                <a:srgbClr val="505050"/>
              </a:solidFill>
              <a:cs typeface="Segoe UI" pitchFamily="34" charset="0"/>
            </a:endParaRPr>
          </a:p>
        </p:txBody>
      </p:sp>
      <p:sp useBgFill="1">
        <p:nvSpPr>
          <p:cNvPr id="92" name="Rectangle 91"/>
          <p:cNvSpPr/>
          <p:nvPr/>
        </p:nvSpPr>
        <p:spPr bwMode="auto">
          <a:xfrm>
            <a:off x="1084973" y="2000490"/>
            <a:ext cx="10812462" cy="451461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7"/>
          <p:cNvGrpSpPr/>
          <p:nvPr/>
        </p:nvGrpSpPr>
        <p:grpSpPr>
          <a:xfrm>
            <a:off x="1848165" y="2791153"/>
            <a:ext cx="3033796" cy="3431235"/>
            <a:chOff x="5434693" y="1164497"/>
            <a:chExt cx="2564419" cy="2900370"/>
          </a:xfrm>
        </p:grpSpPr>
        <p:sp>
          <p:nvSpPr>
            <p:cNvPr id="94" name="Freeform 9"/>
            <p:cNvSpPr>
              <a:spLocks/>
            </p:cNvSpPr>
            <p:nvPr/>
          </p:nvSpPr>
          <p:spPr bwMode="auto">
            <a:xfrm>
              <a:off x="5763781" y="3362695"/>
              <a:ext cx="829916" cy="70217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1400" tIns="45701" rIns="91400" bIns="45701" numCol="1" anchor="t" anchorCtr="0" compatLnSpc="1">
              <a:prstTxWarp prst="textNoShape">
                <a:avLst/>
              </a:prstTxWarp>
            </a:bodyPr>
            <a:lstStyle/>
            <a:p>
              <a:pPr defTabSz="913990"/>
              <a:endParaRPr lang="en-US">
                <a:solidFill>
                  <a:srgbClr val="505050"/>
                </a:solidFill>
              </a:endParaRPr>
            </a:p>
          </p:txBody>
        </p:sp>
        <p:sp>
          <p:nvSpPr>
            <p:cNvPr id="95" name="Rectangle 5"/>
            <p:cNvSpPr>
              <a:spLocks noChangeArrowheads="1"/>
            </p:cNvSpPr>
            <p:nvPr/>
          </p:nvSpPr>
          <p:spPr bwMode="auto">
            <a:xfrm>
              <a:off x="7095166" y="3500265"/>
              <a:ext cx="492915" cy="564602"/>
            </a:xfrm>
            <a:prstGeom prst="rect">
              <a:avLst/>
            </a:prstGeom>
            <a:solidFill>
              <a:schemeClr val="bg2"/>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96" name="Rectangle 5"/>
            <p:cNvSpPr>
              <a:spLocks noChangeArrowheads="1"/>
            </p:cNvSpPr>
            <p:nvPr/>
          </p:nvSpPr>
          <p:spPr bwMode="auto">
            <a:xfrm>
              <a:off x="6740084" y="3270714"/>
              <a:ext cx="611525" cy="794153"/>
            </a:xfrm>
            <a:prstGeom prst="rect">
              <a:avLst/>
            </a:prstGeom>
            <a:solidFill>
              <a:schemeClr val="bg1">
                <a:lumMod val="65000"/>
              </a:schemeClr>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97" name="Left-Right Arrow 12"/>
            <p:cNvSpPr/>
            <p:nvPr/>
          </p:nvSpPr>
          <p:spPr bwMode="auto">
            <a:xfrm rot="16200000">
              <a:off x="6522736" y="2417508"/>
              <a:ext cx="434695" cy="235972"/>
            </a:xfrm>
            <a:prstGeom prst="lef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8" tIns="143240" rIns="179048" bIns="143240" numCol="1" spcCol="0" rtlCol="0" fromWordArt="0" anchor="t" anchorCtr="0" forceAA="0" compatLnSpc="1">
              <a:prstTxWarp prst="textNoShape">
                <a:avLst/>
              </a:prstTxWarp>
              <a:noAutofit/>
            </a:bodyPr>
            <a:lstStyle/>
            <a:p>
              <a:pPr algn="ctr" defTabSz="9128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98" name="Group 14"/>
            <p:cNvGrpSpPr/>
            <p:nvPr/>
          </p:nvGrpSpPr>
          <p:grpSpPr>
            <a:xfrm>
              <a:off x="5434693" y="1164497"/>
              <a:ext cx="2564419" cy="1139910"/>
              <a:chOff x="616226" y="1630760"/>
              <a:chExt cx="4052841" cy="1801531"/>
            </a:xfrm>
          </p:grpSpPr>
          <p:sp>
            <p:nvSpPr>
              <p:cNvPr id="117" name="Freeform 95"/>
              <p:cNvSpPr>
                <a:spLocks/>
              </p:cNvSpPr>
              <p:nvPr/>
            </p:nvSpPr>
            <p:spPr bwMode="auto">
              <a:xfrm flipH="1">
                <a:off x="616226" y="2000990"/>
                <a:ext cx="1806576" cy="106269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8" name="Freeform 95"/>
              <p:cNvSpPr>
                <a:spLocks/>
              </p:cNvSpPr>
              <p:nvPr/>
            </p:nvSpPr>
            <p:spPr bwMode="auto">
              <a:xfrm flipH="1">
                <a:off x="3075029" y="1792342"/>
                <a:ext cx="1594038" cy="106269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kern="0">
                  <a:solidFill>
                    <a:srgbClr val="505050"/>
                  </a:solidFill>
                </a:endParaRPr>
              </a:p>
            </p:txBody>
          </p:sp>
          <p:sp>
            <p:nvSpPr>
              <p:cNvPr id="120" name="TextBox 69"/>
              <p:cNvSpPr txBox="1"/>
              <p:nvPr/>
            </p:nvSpPr>
            <p:spPr>
              <a:xfrm>
                <a:off x="1588313" y="2418610"/>
                <a:ext cx="2235120" cy="904795"/>
              </a:xfrm>
              <a:prstGeom prst="rect">
                <a:avLst/>
              </a:prstGeom>
              <a:noFill/>
              <a:ln>
                <a:noFill/>
              </a:ln>
            </p:spPr>
            <p:txBody>
              <a:bodyPr wrap="none" lIns="179183" tIns="143347" rIns="179183" bIns="143347" rtlCol="0">
                <a:spAutoFit/>
              </a:bodyPr>
              <a:lstStyle/>
              <a:p>
                <a:pPr algn="ctr" defTabSz="913127">
                  <a:lnSpc>
                    <a:spcPct val="90000"/>
                  </a:lnSpc>
                  <a:spcAft>
                    <a:spcPts val="588"/>
                  </a:spcAft>
                </a:pPr>
                <a:r>
                  <a:rPr lang="en-US" sz="1400" kern="0" dirty="0">
                    <a:gradFill>
                      <a:gsLst>
                        <a:gs pos="2917">
                          <a:schemeClr val="bg1"/>
                        </a:gs>
                        <a:gs pos="100000">
                          <a:schemeClr val="bg1"/>
                        </a:gs>
                      </a:gsLst>
                      <a:lin ang="5400000" scaled="0"/>
                    </a:gradFill>
                  </a:rPr>
                  <a:t>Microsoft Azure </a:t>
                </a:r>
                <a:br>
                  <a:rPr lang="en-US" sz="1400" kern="0" dirty="0">
                    <a:gradFill>
                      <a:gsLst>
                        <a:gs pos="2917">
                          <a:schemeClr val="bg1"/>
                        </a:gs>
                        <a:gs pos="100000">
                          <a:schemeClr val="bg1"/>
                        </a:gs>
                      </a:gsLst>
                      <a:lin ang="5400000" scaled="0"/>
                    </a:gradFill>
                  </a:rPr>
                </a:br>
                <a:r>
                  <a:rPr lang="en-US" sz="1400" kern="0" dirty="0">
                    <a:gradFill>
                      <a:gsLst>
                        <a:gs pos="2917">
                          <a:schemeClr val="bg1"/>
                        </a:gs>
                        <a:gs pos="100000">
                          <a:schemeClr val="bg1"/>
                        </a:gs>
                      </a:gsLst>
                      <a:lin ang="5400000" scaled="0"/>
                    </a:gradFill>
                  </a:rPr>
                  <a:t>Site Recovery</a:t>
                </a:r>
              </a:p>
            </p:txBody>
          </p:sp>
        </p:grpSp>
        <p:grpSp>
          <p:nvGrpSpPr>
            <p:cNvPr id="99" name="Group 15"/>
            <p:cNvGrpSpPr/>
            <p:nvPr/>
          </p:nvGrpSpPr>
          <p:grpSpPr>
            <a:xfrm>
              <a:off x="5816441" y="2770750"/>
              <a:ext cx="1229796" cy="1294097"/>
              <a:chOff x="231353" y="3682859"/>
              <a:chExt cx="1640193" cy="1725961"/>
            </a:xfrm>
          </p:grpSpPr>
          <p:sp>
            <p:nvSpPr>
              <p:cNvPr id="104" name="TextBox 20"/>
              <p:cNvSpPr txBox="1"/>
              <p:nvPr/>
            </p:nvSpPr>
            <p:spPr>
              <a:xfrm>
                <a:off x="231353" y="4626793"/>
                <a:ext cx="780609" cy="473485"/>
              </a:xfrm>
              <a:prstGeom prst="rect">
                <a:avLst/>
              </a:prstGeom>
              <a:noFill/>
            </p:spPr>
            <p:txBody>
              <a:bodyPr wrap="square" lIns="0" tIns="146242" rIns="0" bIns="146242" rtlCol="0">
                <a:spAutoFit/>
              </a:bodyPr>
              <a:lstStyle/>
              <a:p>
                <a:pPr algn="r" defTabSz="913990">
                  <a:lnSpc>
                    <a:spcPct val="90000"/>
                  </a:lnSpc>
                  <a:spcAft>
                    <a:spcPts val="600"/>
                  </a:spcAft>
                </a:pPr>
                <a:endParaRPr lang="en-US" sz="900" b="1" kern="0" dirty="0">
                  <a:gradFill>
                    <a:gsLst>
                      <a:gs pos="2917">
                        <a:srgbClr val="505050"/>
                      </a:gs>
                      <a:gs pos="30000">
                        <a:srgbClr val="505050"/>
                      </a:gs>
                    </a:gsLst>
                    <a:lin ang="5400000" scaled="0"/>
                  </a:gradFill>
                </a:endParaRPr>
              </a:p>
            </p:txBody>
          </p:sp>
          <p:grpSp>
            <p:nvGrpSpPr>
              <p:cNvPr id="105" name="Group 21"/>
              <p:cNvGrpSpPr/>
              <p:nvPr/>
            </p:nvGrpSpPr>
            <p:grpSpPr>
              <a:xfrm>
                <a:off x="1055947" y="4111804"/>
                <a:ext cx="815599" cy="1297016"/>
                <a:chOff x="13103226" y="2763958"/>
                <a:chExt cx="1039812" cy="1616572"/>
              </a:xfrm>
            </p:grpSpPr>
            <p:sp>
              <p:nvSpPr>
                <p:cNvPr id="107" name="Rectangle 5"/>
                <p:cNvSpPr>
                  <a:spLocks noChangeArrowheads="1"/>
                </p:cNvSpPr>
                <p:nvPr/>
              </p:nvSpPr>
              <p:spPr bwMode="auto">
                <a:xfrm>
                  <a:off x="13103226" y="2763958"/>
                  <a:ext cx="1039812" cy="1616572"/>
                </a:xfrm>
                <a:prstGeom prst="rect">
                  <a:avLst/>
                </a:prstGeom>
                <a:solidFill>
                  <a:schemeClr val="accent5"/>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10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10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11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11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113"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114"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115"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sp>
              <p:nvSpPr>
                <p:cNvPr id="116"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1400" tIns="45701" rIns="91400" bIns="45701" numCol="1" anchor="t" anchorCtr="0" compatLnSpc="1">
                  <a:prstTxWarp prst="textNoShape">
                    <a:avLst/>
                  </a:prstTxWarp>
                </a:bodyPr>
                <a:lstStyle/>
                <a:p>
                  <a:pPr defTabSz="913990"/>
                  <a:endParaRPr lang="en-US" sz="1600">
                    <a:solidFill>
                      <a:srgbClr val="000000"/>
                    </a:solidFill>
                  </a:endParaRPr>
                </a:p>
              </p:txBody>
            </p:sp>
          </p:grpSp>
          <p:sp>
            <p:nvSpPr>
              <p:cNvPr id="106" name="Rectangle 23"/>
              <p:cNvSpPr/>
              <p:nvPr/>
            </p:nvSpPr>
            <p:spPr bwMode="auto">
              <a:xfrm>
                <a:off x="1055947" y="3682859"/>
                <a:ext cx="815076" cy="430383"/>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t" anchorCtr="0" forceAA="0" compatLnSpc="1">
                <a:prstTxWarp prst="textNoShape">
                  <a:avLst/>
                </a:prstTxWarp>
                <a:noAutofit/>
              </a:bodyPr>
              <a:lstStyle/>
              <a:p>
                <a:pPr algn="ctr" defTabSz="932054"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0" name="Group 16"/>
            <p:cNvGrpSpPr/>
            <p:nvPr/>
          </p:nvGrpSpPr>
          <p:grpSpPr>
            <a:xfrm>
              <a:off x="7641209" y="3786572"/>
              <a:ext cx="144646" cy="277698"/>
              <a:chOff x="7791149" y="4987730"/>
              <a:chExt cx="192916" cy="370370"/>
            </a:xfrm>
          </p:grpSpPr>
          <p:sp>
            <p:nvSpPr>
              <p:cNvPr id="10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505050"/>
                  </a:solidFill>
                </a:endParaRPr>
              </a:p>
            </p:txBody>
          </p:sp>
          <p:sp>
            <p:nvSpPr>
              <p:cNvPr id="102" name="Oval 39"/>
              <p:cNvSpPr>
                <a:spLocks noChangeArrowheads="1"/>
              </p:cNvSpPr>
              <p:nvPr/>
            </p:nvSpPr>
            <p:spPr bwMode="auto">
              <a:xfrm>
                <a:off x="7791149" y="5086397"/>
                <a:ext cx="192916" cy="19144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505050"/>
                  </a:solidFill>
                </a:endParaRPr>
              </a:p>
            </p:txBody>
          </p:sp>
          <p:sp>
            <p:nvSpPr>
              <p:cNvPr id="103" name="Oval 40"/>
              <p:cNvSpPr>
                <a:spLocks noChangeArrowheads="1"/>
              </p:cNvSpPr>
              <p:nvPr/>
            </p:nvSpPr>
            <p:spPr bwMode="auto">
              <a:xfrm>
                <a:off x="7817656" y="4987730"/>
                <a:ext cx="140637" cy="140637"/>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505050"/>
                  </a:solidFill>
                </a:endParaRPr>
              </a:p>
            </p:txBody>
          </p:sp>
        </p:grpSp>
      </p:grpSp>
      <p:grpSp>
        <p:nvGrpSpPr>
          <p:cNvPr id="32" name="Group 31"/>
          <p:cNvGrpSpPr/>
          <p:nvPr/>
        </p:nvGrpSpPr>
        <p:grpSpPr>
          <a:xfrm>
            <a:off x="5649165" y="2542370"/>
            <a:ext cx="5601308" cy="4009199"/>
            <a:chOff x="5649165" y="2542370"/>
            <a:chExt cx="5601308" cy="4009199"/>
          </a:xfrm>
        </p:grpSpPr>
        <p:sp>
          <p:nvSpPr>
            <p:cNvPr id="122" name="Rectangle 121"/>
            <p:cNvSpPr/>
            <p:nvPr/>
          </p:nvSpPr>
          <p:spPr bwMode="auto">
            <a:xfrm>
              <a:off x="5649165" y="2542370"/>
              <a:ext cx="5601308" cy="3810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p:nvPr/>
          </p:nvGrpSpPr>
          <p:grpSpPr>
            <a:xfrm>
              <a:off x="6023204" y="4201326"/>
              <a:ext cx="468000" cy="902121"/>
              <a:chOff x="5637851" y="2760859"/>
              <a:chExt cx="344149" cy="663385"/>
            </a:xfrm>
          </p:grpSpPr>
          <p:sp>
            <p:nvSpPr>
              <p:cNvPr id="142" name="TextBox 141"/>
              <p:cNvSpPr txBox="1"/>
              <p:nvPr/>
            </p:nvSpPr>
            <p:spPr>
              <a:xfrm>
                <a:off x="5637851" y="2760859"/>
                <a:ext cx="333054" cy="166209"/>
              </a:xfrm>
              <a:prstGeom prst="rect">
                <a:avLst/>
              </a:prstGeom>
              <a:noFill/>
            </p:spPr>
            <p:txBody>
              <a:bodyPr wrap="square" lIns="0" tIns="0" rIns="0" bIns="0" rtlCol="0">
                <a:spAutoFit/>
              </a:bodyPr>
              <a:lstStyle/>
              <a:p>
                <a:pPr marL="0" marR="0" lvl="0" indent="0" algn="r" defTabSz="932581" eaLnBrk="1" fontAlgn="auto" latinLnBrk="0" hangingPunct="1">
                  <a:lnSpc>
                    <a:spcPct val="90000"/>
                  </a:lnSpc>
                  <a:spcBef>
                    <a:spcPts val="0"/>
                  </a:spcBef>
                  <a:spcAft>
                    <a:spcPts val="0"/>
                  </a:spcAft>
                  <a:buClrTx/>
                  <a:buSzTx/>
                  <a:buFontTx/>
                  <a:buNone/>
                  <a:tabLst/>
                  <a:defRPr/>
                </a:pPr>
                <a:r>
                  <a:rPr kumimoji="0" lang="en-US" sz="1632" b="0" i="0" u="none" strike="noStrike" kern="0" cap="none" spc="-52" normalizeH="0" baseline="0" noProof="0" dirty="0" smtClean="0">
                    <a:ln>
                      <a:noFill/>
                    </a:ln>
                    <a:solidFill>
                      <a:srgbClr val="505050"/>
                    </a:solidFill>
                    <a:effectLst/>
                    <a:uLnTx/>
                    <a:uFillTx/>
                  </a:rPr>
                  <a:t>DPM</a:t>
                </a:r>
                <a:endParaRPr kumimoji="0" lang="en-US" sz="1632" b="0" i="0" u="none" strike="noStrike" kern="0" cap="none" spc="-52" normalizeH="0" baseline="-25000" noProof="0" dirty="0" smtClean="0">
                  <a:ln>
                    <a:noFill/>
                  </a:ln>
                  <a:solidFill>
                    <a:srgbClr val="505050"/>
                  </a:solidFill>
                  <a:effectLst/>
                  <a:uLnTx/>
                  <a:uFillTx/>
                </a:endParaRPr>
              </a:p>
            </p:txBody>
          </p:sp>
          <p:sp>
            <p:nvSpPr>
              <p:cNvPr id="140" name="Can 139"/>
              <p:cNvSpPr/>
              <p:nvPr/>
            </p:nvSpPr>
            <p:spPr bwMode="auto">
              <a:xfrm>
                <a:off x="5637851" y="2961352"/>
                <a:ext cx="344149" cy="462892"/>
              </a:xfrm>
              <a:prstGeom prst="can">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marL="0" marR="0" lvl="0" indent="0" algn="ctr" defTabSz="1268069" eaLnBrk="1" fontAlgn="base" latinLnBrk="0" hangingPunct="1">
                  <a:lnSpc>
                    <a:spcPct val="90000"/>
                  </a:lnSpc>
                  <a:spcBef>
                    <a:spcPct val="0"/>
                  </a:spcBef>
                  <a:spcAft>
                    <a:spcPct val="0"/>
                  </a:spcAft>
                  <a:buClrTx/>
                  <a:buSzTx/>
                  <a:buFontTx/>
                  <a:buNone/>
                  <a:tabLst/>
                  <a:defRPr/>
                </a:pPr>
                <a:endParaRPr kumimoji="0" lang="en-US" sz="3264"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0" name="Group 129"/>
            <p:cNvGrpSpPr/>
            <p:nvPr/>
          </p:nvGrpSpPr>
          <p:grpSpPr>
            <a:xfrm>
              <a:off x="6023206" y="2764948"/>
              <a:ext cx="1550898" cy="854024"/>
              <a:chOff x="2629767" y="2540878"/>
              <a:chExt cx="1788199" cy="984697"/>
            </a:xfrm>
          </p:grpSpPr>
          <p:sp>
            <p:nvSpPr>
              <p:cNvPr id="137"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9629" tIns="44815" rIns="89629" bIns="44815" numCol="1" anchor="b" anchorCtr="1" compatLnSpc="1">
                <a:prstTxWarp prst="textNoShape">
                  <a:avLst/>
                </a:prstTxWarp>
              </a:bodyPr>
              <a:lstStyle/>
              <a:p>
                <a:pPr marL="0" marR="0" lvl="0" indent="0" defTabSz="914073"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pic>
            <p:nvPicPr>
              <p:cNvPr id="138" name="Picture 137"/>
              <p:cNvPicPr>
                <a:picLocks noChangeAspect="1"/>
              </p:cNvPicPr>
              <p:nvPr/>
            </p:nvPicPr>
            <p:blipFill>
              <a:blip r:embed="rId9"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cxnSp>
          <p:nvCxnSpPr>
            <p:cNvPr id="131" name="Straight Arrow Connector 130"/>
            <p:cNvCxnSpPr/>
            <p:nvPr/>
          </p:nvCxnSpPr>
          <p:spPr>
            <a:xfrm>
              <a:off x="6819040" y="5098256"/>
              <a:ext cx="0" cy="481002"/>
            </a:xfrm>
            <a:prstGeom prst="straightConnector1">
              <a:avLst/>
            </a:prstGeom>
            <a:noFill/>
            <a:ln w="38100" cap="flat" cmpd="sng" algn="ctr">
              <a:solidFill>
                <a:srgbClr val="505050"/>
              </a:solidFill>
              <a:prstDash val="solid"/>
              <a:headEnd type="none"/>
              <a:tailEnd type="triangle"/>
            </a:ln>
            <a:effectLst/>
          </p:spPr>
        </p:cxnSp>
        <p:grpSp>
          <p:nvGrpSpPr>
            <p:cNvPr id="132" name="Group 131"/>
            <p:cNvGrpSpPr/>
            <p:nvPr/>
          </p:nvGrpSpPr>
          <p:grpSpPr>
            <a:xfrm>
              <a:off x="6504090" y="5586652"/>
              <a:ext cx="1876147" cy="609531"/>
              <a:chOff x="5970905" y="4419600"/>
              <a:chExt cx="1379645" cy="448225"/>
            </a:xfrm>
          </p:grpSpPr>
          <p:sp>
            <p:nvSpPr>
              <p:cNvPr id="135" name="Freeform 63"/>
              <p:cNvSpPr>
                <a:spLocks noEditPoints="1"/>
              </p:cNvSpPr>
              <p:nvPr/>
            </p:nvSpPr>
            <p:spPr bwMode="auto">
              <a:xfrm>
                <a:off x="5970905" y="4419600"/>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rgbClr val="0072C6"/>
              </a:solidFill>
              <a:ln>
                <a:noFill/>
              </a:ln>
            </p:spPr>
            <p:txBody>
              <a:bodyPr vert="horz" wrap="square" lIns="124297" tIns="62148" rIns="124297" bIns="62148" numCol="1" anchor="t" anchorCtr="0" compatLnSpc="1">
                <a:prstTxWarp prst="textNoShape">
                  <a:avLst/>
                </a:prstTxWarp>
              </a:bodyPr>
              <a:lstStyle/>
              <a:p>
                <a:pPr marL="0" marR="0" lvl="0" indent="0" defTabSz="1242980" eaLnBrk="1" fontAlgn="base" latinLnBrk="0" hangingPunct="1">
                  <a:lnSpc>
                    <a:spcPct val="100000"/>
                  </a:lnSpc>
                  <a:spcBef>
                    <a:spcPct val="0"/>
                  </a:spcBef>
                  <a:spcAft>
                    <a:spcPct val="0"/>
                  </a:spcAft>
                  <a:buClrTx/>
                  <a:buSzTx/>
                  <a:buFontTx/>
                  <a:buNone/>
                  <a:tabLst/>
                  <a:defRPr/>
                </a:pPr>
                <a:endParaRPr kumimoji="0" lang="en-US" sz="2174" b="0" i="0" u="none" strike="noStrike" kern="0" cap="none" spc="-41" normalizeH="0" baseline="0" noProof="0" dirty="0" smtClean="0">
                  <a:ln>
                    <a:noFill/>
                  </a:ln>
                  <a:solidFill>
                    <a:srgbClr val="505050"/>
                  </a:solidFill>
                  <a:effectLst/>
                  <a:uLnTx/>
                  <a:uFillTx/>
                  <a:cs typeface="Segoe UI" panose="020B0502040204020203" pitchFamily="34" charset="0"/>
                </a:endParaRPr>
              </a:p>
            </p:txBody>
          </p:sp>
          <p:sp>
            <p:nvSpPr>
              <p:cNvPr id="136" name="TextBox 135"/>
              <p:cNvSpPr txBox="1"/>
              <p:nvPr/>
            </p:nvSpPr>
            <p:spPr>
              <a:xfrm>
                <a:off x="6483997" y="4509387"/>
                <a:ext cx="866553" cy="285171"/>
              </a:xfrm>
              <a:prstGeom prst="rect">
                <a:avLst/>
              </a:prstGeom>
              <a:noFill/>
            </p:spPr>
            <p:txBody>
              <a:bodyPr wrap="square" lIns="0" tIns="0" rIns="0" bIns="0" rtlCol="0">
                <a:spAutoFit/>
              </a:bodyPr>
              <a:lstStyle/>
              <a:p>
                <a:pPr marL="0" marR="0" lvl="0" indent="0" defTabSz="932581" eaLnBrk="1" fontAlgn="auto" latinLnBrk="0" hangingPunct="1">
                  <a:lnSpc>
                    <a:spcPct val="90000"/>
                  </a:lnSpc>
                  <a:spcBef>
                    <a:spcPts val="0"/>
                  </a:spcBef>
                  <a:spcAft>
                    <a:spcPts val="0"/>
                  </a:spcAft>
                  <a:buClrTx/>
                  <a:buSzTx/>
                  <a:buFontTx/>
                  <a:buNone/>
                  <a:tabLst/>
                  <a:defRPr/>
                </a:pPr>
                <a:r>
                  <a:rPr kumimoji="0" lang="en-US" sz="1400" b="0" i="0" u="none" strike="noStrike" kern="0" cap="none" spc="-52" normalizeH="0" baseline="0" noProof="0" dirty="0" smtClean="0">
                    <a:ln>
                      <a:noFill/>
                    </a:ln>
                    <a:solidFill>
                      <a:srgbClr val="505050"/>
                    </a:solidFill>
                    <a:effectLst/>
                    <a:uLnTx/>
                    <a:uFillTx/>
                  </a:rPr>
                  <a:t>Tape-based backup</a:t>
                </a:r>
                <a:endParaRPr kumimoji="0" lang="en-US" sz="1400" b="0" i="0" u="none" strike="noStrike" kern="0" cap="none" spc="-52" normalizeH="0" baseline="-25000" noProof="0" dirty="0" smtClean="0">
                  <a:ln>
                    <a:noFill/>
                  </a:ln>
                  <a:solidFill>
                    <a:srgbClr val="505050"/>
                  </a:solidFill>
                  <a:effectLst/>
                  <a:uLnTx/>
                  <a:uFillTx/>
                </a:endParaRPr>
              </a:p>
            </p:txBody>
          </p:sp>
        </p:grpSp>
        <p:cxnSp>
          <p:nvCxnSpPr>
            <p:cNvPr id="133" name="Straight Arrow Connector 132"/>
            <p:cNvCxnSpPr/>
            <p:nvPr/>
          </p:nvCxnSpPr>
          <p:spPr>
            <a:xfrm flipV="1">
              <a:off x="6819040" y="3621870"/>
              <a:ext cx="0" cy="515678"/>
            </a:xfrm>
            <a:prstGeom prst="straightConnector1">
              <a:avLst/>
            </a:prstGeom>
            <a:noFill/>
            <a:ln w="38100" cap="flat" cmpd="sng" algn="ctr">
              <a:solidFill>
                <a:srgbClr val="505050"/>
              </a:solidFill>
              <a:prstDash val="solid"/>
              <a:headEnd type="none"/>
              <a:tailEnd type="triangle"/>
            </a:ln>
            <a:effectLst/>
          </p:spPr>
        </p:cxnSp>
        <p:sp>
          <p:nvSpPr>
            <p:cNvPr id="134" name="Title 1"/>
            <p:cNvSpPr txBox="1">
              <a:spLocks/>
            </p:cNvSpPr>
            <p:nvPr/>
          </p:nvSpPr>
          <p:spPr>
            <a:xfrm flipV="1">
              <a:off x="7976013" y="2634022"/>
              <a:ext cx="737917" cy="391754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28286" b="0" i="0" u="none" strike="noStrike" kern="1200" cap="none" spc="-100" normalizeH="0" baseline="0" noProof="0" dirty="0">
                  <a:ln w="3175">
                    <a:noFill/>
                  </a:ln>
                  <a:solidFill>
                    <a:srgbClr val="0072C6"/>
                  </a:solidFill>
                  <a:effectLst/>
                  <a:uLnTx/>
                  <a:uFillTx/>
                  <a:latin typeface="Segoe UI Light"/>
                  <a:ea typeface="+mn-ea"/>
                  <a:cs typeface="Arial" charset="0"/>
                </a:rPr>
                <a:t>}</a:t>
              </a:r>
            </a:p>
          </p:txBody>
        </p:sp>
        <p:grpSp>
          <p:nvGrpSpPr>
            <p:cNvPr id="29" name="Group 28"/>
            <p:cNvGrpSpPr/>
            <p:nvPr/>
          </p:nvGrpSpPr>
          <p:grpSpPr>
            <a:xfrm>
              <a:off x="8753686" y="2896685"/>
              <a:ext cx="2328652" cy="3181947"/>
              <a:chOff x="8753686" y="2896685"/>
              <a:chExt cx="2328652" cy="3181947"/>
            </a:xfrm>
          </p:grpSpPr>
          <p:sp>
            <p:nvSpPr>
              <p:cNvPr id="143" name="Freeform 17"/>
              <p:cNvSpPr>
                <a:spLocks noEditPoints="1"/>
              </p:cNvSpPr>
              <p:nvPr/>
            </p:nvSpPr>
            <p:spPr bwMode="auto">
              <a:xfrm>
                <a:off x="8759218" y="4056959"/>
                <a:ext cx="1647807" cy="363428"/>
              </a:xfrm>
              <a:custGeom>
                <a:avLst/>
                <a:gdLst>
                  <a:gd name="T0" fmla="*/ 0 w 1546"/>
                  <a:gd name="T1" fmla="*/ 35 h 339"/>
                  <a:gd name="T2" fmla="*/ 133 w 1546"/>
                  <a:gd name="T3" fmla="*/ 113 h 339"/>
                  <a:gd name="T4" fmla="*/ 125 w 1546"/>
                  <a:gd name="T5" fmla="*/ 174 h 339"/>
                  <a:gd name="T6" fmla="*/ 131 w 1546"/>
                  <a:gd name="T7" fmla="*/ 239 h 339"/>
                  <a:gd name="T8" fmla="*/ 219 w 1546"/>
                  <a:gd name="T9" fmla="*/ 68 h 339"/>
                  <a:gd name="T10" fmla="*/ 241 w 1546"/>
                  <a:gd name="T11" fmla="*/ 110 h 339"/>
                  <a:gd name="T12" fmla="*/ 214 w 1546"/>
                  <a:gd name="T13" fmla="*/ 114 h 339"/>
                  <a:gd name="T14" fmla="*/ 236 w 1546"/>
                  <a:gd name="T15" fmla="*/ 183 h 339"/>
                  <a:gd name="T16" fmla="*/ 222 w 1546"/>
                  <a:gd name="T17" fmla="*/ 221 h 339"/>
                  <a:gd name="T18" fmla="*/ 262 w 1546"/>
                  <a:gd name="T19" fmla="*/ 191 h 339"/>
                  <a:gd name="T20" fmla="*/ 220 w 1546"/>
                  <a:gd name="T21" fmla="*/ 270 h 339"/>
                  <a:gd name="T22" fmla="*/ 332 w 1546"/>
                  <a:gd name="T23" fmla="*/ 68 h 339"/>
                  <a:gd name="T24" fmla="*/ 272 w 1546"/>
                  <a:gd name="T25" fmla="*/ 97 h 339"/>
                  <a:gd name="T26" fmla="*/ 325 w 1546"/>
                  <a:gd name="T27" fmla="*/ 120 h 339"/>
                  <a:gd name="T28" fmla="*/ 303 w 1546"/>
                  <a:gd name="T29" fmla="*/ 161 h 339"/>
                  <a:gd name="T30" fmla="*/ 301 w 1546"/>
                  <a:gd name="T31" fmla="*/ 114 h 339"/>
                  <a:gd name="T32" fmla="*/ 325 w 1546"/>
                  <a:gd name="T33" fmla="*/ 238 h 339"/>
                  <a:gd name="T34" fmla="*/ 273 w 1546"/>
                  <a:gd name="T35" fmla="*/ 243 h 339"/>
                  <a:gd name="T36" fmla="*/ 278 w 1546"/>
                  <a:gd name="T37" fmla="*/ 224 h 339"/>
                  <a:gd name="T38" fmla="*/ 292 w 1546"/>
                  <a:gd name="T39" fmla="*/ 187 h 339"/>
                  <a:gd name="T40" fmla="*/ 321 w 1546"/>
                  <a:gd name="T41" fmla="*/ 192 h 339"/>
                  <a:gd name="T42" fmla="*/ 1369 w 1546"/>
                  <a:gd name="T43" fmla="*/ 126 h 339"/>
                  <a:gd name="T44" fmla="*/ 1279 w 1546"/>
                  <a:gd name="T45" fmla="*/ 141 h 339"/>
                  <a:gd name="T46" fmla="*/ 1368 w 1546"/>
                  <a:gd name="T47" fmla="*/ 275 h 339"/>
                  <a:gd name="T48" fmla="*/ 1269 w 1546"/>
                  <a:gd name="T49" fmla="*/ 323 h 339"/>
                  <a:gd name="T50" fmla="*/ 1392 w 1546"/>
                  <a:gd name="T51" fmla="*/ 267 h 339"/>
                  <a:gd name="T52" fmla="*/ 1324 w 1546"/>
                  <a:gd name="T53" fmla="*/ 253 h 339"/>
                  <a:gd name="T54" fmla="*/ 1369 w 1546"/>
                  <a:gd name="T55" fmla="*/ 183 h 339"/>
                  <a:gd name="T56" fmla="*/ 544 w 1546"/>
                  <a:gd name="T57" fmla="*/ 248 h 339"/>
                  <a:gd name="T58" fmla="*/ 539 w 1546"/>
                  <a:gd name="T59" fmla="*/ 68 h 339"/>
                  <a:gd name="T60" fmla="*/ 533 w 1546"/>
                  <a:gd name="T61" fmla="*/ 156 h 339"/>
                  <a:gd name="T62" fmla="*/ 942 w 1546"/>
                  <a:gd name="T63" fmla="*/ 179 h 339"/>
                  <a:gd name="T64" fmla="*/ 919 w 1546"/>
                  <a:gd name="T65" fmla="*/ 264 h 339"/>
                  <a:gd name="T66" fmla="*/ 846 w 1546"/>
                  <a:gd name="T67" fmla="*/ 187 h 339"/>
                  <a:gd name="T68" fmla="*/ 822 w 1546"/>
                  <a:gd name="T69" fmla="*/ 57 h 339"/>
                  <a:gd name="T70" fmla="*/ 915 w 1546"/>
                  <a:gd name="T71" fmla="*/ 126 h 339"/>
                  <a:gd name="T72" fmla="*/ 1485 w 1546"/>
                  <a:gd name="T73" fmla="*/ 253 h 339"/>
                  <a:gd name="T74" fmla="*/ 1522 w 1546"/>
                  <a:gd name="T75" fmla="*/ 133 h 339"/>
                  <a:gd name="T76" fmla="*/ 1474 w 1546"/>
                  <a:gd name="T77" fmla="*/ 273 h 339"/>
                  <a:gd name="T78" fmla="*/ 1531 w 1546"/>
                  <a:gd name="T79" fmla="*/ 241 h 339"/>
                  <a:gd name="T80" fmla="*/ 1445 w 1546"/>
                  <a:gd name="T81" fmla="*/ 184 h 339"/>
                  <a:gd name="T82" fmla="*/ 982 w 1546"/>
                  <a:gd name="T83" fmla="*/ 134 h 339"/>
                  <a:gd name="T84" fmla="*/ 1055 w 1546"/>
                  <a:gd name="T85" fmla="*/ 179 h 339"/>
                  <a:gd name="T86" fmla="*/ 984 w 1546"/>
                  <a:gd name="T87" fmla="*/ 267 h 339"/>
                  <a:gd name="T88" fmla="*/ 1056 w 1546"/>
                  <a:gd name="T89" fmla="*/ 270 h 339"/>
                  <a:gd name="T90" fmla="*/ 1046 w 1546"/>
                  <a:gd name="T91" fmla="*/ 240 h 339"/>
                  <a:gd name="T92" fmla="*/ 1039 w 1546"/>
                  <a:gd name="T93" fmla="*/ 200 h 339"/>
                  <a:gd name="T94" fmla="*/ 1235 w 1546"/>
                  <a:gd name="T95" fmla="*/ 264 h 339"/>
                  <a:gd name="T96" fmla="*/ 1211 w 1546"/>
                  <a:gd name="T97" fmla="*/ 188 h 339"/>
                  <a:gd name="T98" fmla="*/ 1138 w 1546"/>
                  <a:gd name="T99" fmla="*/ 264 h 339"/>
                  <a:gd name="T100" fmla="*/ 1138 w 1546"/>
                  <a:gd name="T101" fmla="*/ 126 h 339"/>
                  <a:gd name="T102" fmla="*/ 1233 w 1546"/>
                  <a:gd name="T103" fmla="*/ 165 h 339"/>
                  <a:gd name="T104" fmla="*/ 675 w 1546"/>
                  <a:gd name="T105" fmla="*/ 265 h 339"/>
                  <a:gd name="T106" fmla="*/ 618 w 1546"/>
                  <a:gd name="T107" fmla="*/ 215 h 339"/>
                  <a:gd name="T108" fmla="*/ 576 w 1546"/>
                  <a:gd name="T109" fmla="*/ 270 h 339"/>
                  <a:gd name="T110" fmla="*/ 582 w 1546"/>
                  <a:gd name="T111" fmla="*/ 126 h 339"/>
                  <a:gd name="T112" fmla="*/ 636 w 1546"/>
                  <a:gd name="T113" fmla="*/ 154 h 339"/>
                  <a:gd name="T114" fmla="*/ 676 w 1546"/>
                  <a:gd name="T115" fmla="*/ 130 h 339"/>
                  <a:gd name="T116" fmla="*/ 784 w 1546"/>
                  <a:gd name="T117" fmla="*/ 147 h 339"/>
                  <a:gd name="T118" fmla="*/ 795 w 1546"/>
                  <a:gd name="T119" fmla="*/ 243 h 339"/>
                  <a:gd name="T120" fmla="*/ 692 w 1546"/>
                  <a:gd name="T121" fmla="*/ 17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6" h="339">
                    <a:moveTo>
                      <a:pt x="0" y="302"/>
                    </a:moveTo>
                    <a:cubicBezTo>
                      <a:pt x="65" y="313"/>
                      <a:pt x="131" y="325"/>
                      <a:pt x="196" y="337"/>
                    </a:cubicBezTo>
                    <a:cubicBezTo>
                      <a:pt x="196" y="224"/>
                      <a:pt x="196" y="112"/>
                      <a:pt x="196" y="0"/>
                    </a:cubicBezTo>
                    <a:cubicBezTo>
                      <a:pt x="130" y="12"/>
                      <a:pt x="65" y="23"/>
                      <a:pt x="0" y="35"/>
                    </a:cubicBezTo>
                    <a:cubicBezTo>
                      <a:pt x="0" y="124"/>
                      <a:pt x="0" y="213"/>
                      <a:pt x="0" y="302"/>
                    </a:cubicBezTo>
                    <a:close/>
                    <a:moveTo>
                      <a:pt x="58" y="90"/>
                    </a:moveTo>
                    <a:cubicBezTo>
                      <a:pt x="83" y="89"/>
                      <a:pt x="108" y="87"/>
                      <a:pt x="133" y="85"/>
                    </a:cubicBezTo>
                    <a:cubicBezTo>
                      <a:pt x="133" y="95"/>
                      <a:pt x="133" y="104"/>
                      <a:pt x="133" y="113"/>
                    </a:cubicBezTo>
                    <a:cubicBezTo>
                      <a:pt x="118" y="113"/>
                      <a:pt x="103" y="113"/>
                      <a:pt x="87" y="113"/>
                    </a:cubicBezTo>
                    <a:cubicBezTo>
                      <a:pt x="87" y="124"/>
                      <a:pt x="87" y="135"/>
                      <a:pt x="87" y="146"/>
                    </a:cubicBezTo>
                    <a:cubicBezTo>
                      <a:pt x="100" y="146"/>
                      <a:pt x="113" y="146"/>
                      <a:pt x="125" y="146"/>
                    </a:cubicBezTo>
                    <a:cubicBezTo>
                      <a:pt x="125" y="156"/>
                      <a:pt x="125" y="165"/>
                      <a:pt x="125" y="174"/>
                    </a:cubicBezTo>
                    <a:cubicBezTo>
                      <a:pt x="113" y="174"/>
                      <a:pt x="100" y="174"/>
                      <a:pt x="87" y="174"/>
                    </a:cubicBezTo>
                    <a:cubicBezTo>
                      <a:pt x="87" y="185"/>
                      <a:pt x="87" y="195"/>
                      <a:pt x="87" y="206"/>
                    </a:cubicBezTo>
                    <a:cubicBezTo>
                      <a:pt x="102" y="207"/>
                      <a:pt x="116" y="208"/>
                      <a:pt x="131" y="210"/>
                    </a:cubicBezTo>
                    <a:cubicBezTo>
                      <a:pt x="131" y="219"/>
                      <a:pt x="131" y="229"/>
                      <a:pt x="131" y="239"/>
                    </a:cubicBezTo>
                    <a:cubicBezTo>
                      <a:pt x="107" y="237"/>
                      <a:pt x="82" y="234"/>
                      <a:pt x="58" y="231"/>
                    </a:cubicBezTo>
                    <a:cubicBezTo>
                      <a:pt x="58" y="184"/>
                      <a:pt x="58" y="138"/>
                      <a:pt x="58" y="90"/>
                    </a:cubicBezTo>
                    <a:close/>
                    <a:moveTo>
                      <a:pt x="332" y="68"/>
                    </a:moveTo>
                    <a:cubicBezTo>
                      <a:pt x="295" y="68"/>
                      <a:pt x="257" y="68"/>
                      <a:pt x="219" y="68"/>
                    </a:cubicBezTo>
                    <a:cubicBezTo>
                      <a:pt x="218" y="68"/>
                      <a:pt x="216" y="68"/>
                      <a:pt x="214" y="68"/>
                    </a:cubicBezTo>
                    <a:cubicBezTo>
                      <a:pt x="214" y="77"/>
                      <a:pt x="214" y="85"/>
                      <a:pt x="214" y="92"/>
                    </a:cubicBezTo>
                    <a:cubicBezTo>
                      <a:pt x="218" y="93"/>
                      <a:pt x="222" y="93"/>
                      <a:pt x="224" y="95"/>
                    </a:cubicBezTo>
                    <a:cubicBezTo>
                      <a:pt x="230" y="99"/>
                      <a:pt x="235" y="105"/>
                      <a:pt x="241" y="110"/>
                    </a:cubicBezTo>
                    <a:cubicBezTo>
                      <a:pt x="241" y="111"/>
                      <a:pt x="242" y="113"/>
                      <a:pt x="242" y="114"/>
                    </a:cubicBezTo>
                    <a:cubicBezTo>
                      <a:pt x="239" y="117"/>
                      <a:pt x="237" y="120"/>
                      <a:pt x="233" y="125"/>
                    </a:cubicBezTo>
                    <a:cubicBezTo>
                      <a:pt x="230" y="121"/>
                      <a:pt x="228" y="118"/>
                      <a:pt x="225" y="116"/>
                    </a:cubicBezTo>
                    <a:cubicBezTo>
                      <a:pt x="222" y="114"/>
                      <a:pt x="218" y="114"/>
                      <a:pt x="214" y="114"/>
                    </a:cubicBezTo>
                    <a:cubicBezTo>
                      <a:pt x="214" y="129"/>
                      <a:pt x="214" y="143"/>
                      <a:pt x="214" y="157"/>
                    </a:cubicBezTo>
                    <a:cubicBezTo>
                      <a:pt x="214" y="158"/>
                      <a:pt x="215" y="160"/>
                      <a:pt x="216" y="161"/>
                    </a:cubicBezTo>
                    <a:cubicBezTo>
                      <a:pt x="222" y="167"/>
                      <a:pt x="228" y="172"/>
                      <a:pt x="234" y="178"/>
                    </a:cubicBezTo>
                    <a:cubicBezTo>
                      <a:pt x="235" y="180"/>
                      <a:pt x="236" y="182"/>
                      <a:pt x="236" y="183"/>
                    </a:cubicBezTo>
                    <a:cubicBezTo>
                      <a:pt x="234" y="186"/>
                      <a:pt x="232" y="185"/>
                      <a:pt x="230" y="184"/>
                    </a:cubicBezTo>
                    <a:cubicBezTo>
                      <a:pt x="225" y="181"/>
                      <a:pt x="220" y="178"/>
                      <a:pt x="214" y="175"/>
                    </a:cubicBezTo>
                    <a:cubicBezTo>
                      <a:pt x="214" y="192"/>
                      <a:pt x="214" y="208"/>
                      <a:pt x="214" y="226"/>
                    </a:cubicBezTo>
                    <a:cubicBezTo>
                      <a:pt x="217" y="224"/>
                      <a:pt x="220" y="223"/>
                      <a:pt x="222" y="221"/>
                    </a:cubicBezTo>
                    <a:cubicBezTo>
                      <a:pt x="235" y="209"/>
                      <a:pt x="247" y="197"/>
                      <a:pt x="259" y="185"/>
                    </a:cubicBezTo>
                    <a:cubicBezTo>
                      <a:pt x="260" y="183"/>
                      <a:pt x="262" y="184"/>
                      <a:pt x="263" y="183"/>
                    </a:cubicBezTo>
                    <a:cubicBezTo>
                      <a:pt x="264" y="185"/>
                      <a:pt x="264" y="186"/>
                      <a:pt x="264" y="188"/>
                    </a:cubicBezTo>
                    <a:cubicBezTo>
                      <a:pt x="264" y="189"/>
                      <a:pt x="263" y="190"/>
                      <a:pt x="262" y="191"/>
                    </a:cubicBezTo>
                    <a:cubicBezTo>
                      <a:pt x="251" y="207"/>
                      <a:pt x="241" y="222"/>
                      <a:pt x="230" y="237"/>
                    </a:cubicBezTo>
                    <a:cubicBezTo>
                      <a:pt x="226" y="242"/>
                      <a:pt x="222" y="247"/>
                      <a:pt x="214" y="245"/>
                    </a:cubicBezTo>
                    <a:cubicBezTo>
                      <a:pt x="214" y="254"/>
                      <a:pt x="214" y="262"/>
                      <a:pt x="214" y="270"/>
                    </a:cubicBezTo>
                    <a:cubicBezTo>
                      <a:pt x="216" y="270"/>
                      <a:pt x="218" y="270"/>
                      <a:pt x="220" y="270"/>
                    </a:cubicBezTo>
                    <a:cubicBezTo>
                      <a:pt x="257" y="270"/>
                      <a:pt x="294" y="270"/>
                      <a:pt x="332" y="270"/>
                    </a:cubicBezTo>
                    <a:cubicBezTo>
                      <a:pt x="345" y="270"/>
                      <a:pt x="350" y="265"/>
                      <a:pt x="350" y="252"/>
                    </a:cubicBezTo>
                    <a:cubicBezTo>
                      <a:pt x="350" y="197"/>
                      <a:pt x="350" y="142"/>
                      <a:pt x="350" y="86"/>
                    </a:cubicBezTo>
                    <a:cubicBezTo>
                      <a:pt x="350" y="73"/>
                      <a:pt x="345" y="68"/>
                      <a:pt x="332" y="68"/>
                    </a:cubicBezTo>
                    <a:close/>
                    <a:moveTo>
                      <a:pt x="240" y="154"/>
                    </a:moveTo>
                    <a:cubicBezTo>
                      <a:pt x="239" y="155"/>
                      <a:pt x="237" y="155"/>
                      <a:pt x="235" y="156"/>
                    </a:cubicBezTo>
                    <a:cubicBezTo>
                      <a:pt x="235" y="154"/>
                      <a:pt x="234" y="152"/>
                      <a:pt x="235" y="151"/>
                    </a:cubicBezTo>
                    <a:cubicBezTo>
                      <a:pt x="245" y="131"/>
                      <a:pt x="258" y="114"/>
                      <a:pt x="272" y="97"/>
                    </a:cubicBezTo>
                    <a:cubicBezTo>
                      <a:pt x="275" y="95"/>
                      <a:pt x="279" y="94"/>
                      <a:pt x="282" y="93"/>
                    </a:cubicBezTo>
                    <a:cubicBezTo>
                      <a:pt x="294" y="93"/>
                      <a:pt x="306" y="93"/>
                      <a:pt x="318" y="93"/>
                    </a:cubicBezTo>
                    <a:cubicBezTo>
                      <a:pt x="324" y="93"/>
                      <a:pt x="325" y="95"/>
                      <a:pt x="325" y="101"/>
                    </a:cubicBezTo>
                    <a:cubicBezTo>
                      <a:pt x="326" y="107"/>
                      <a:pt x="325" y="113"/>
                      <a:pt x="325" y="120"/>
                    </a:cubicBezTo>
                    <a:cubicBezTo>
                      <a:pt x="325" y="126"/>
                      <a:pt x="326" y="133"/>
                      <a:pt x="325" y="139"/>
                    </a:cubicBezTo>
                    <a:cubicBezTo>
                      <a:pt x="325" y="142"/>
                      <a:pt x="324" y="144"/>
                      <a:pt x="323" y="146"/>
                    </a:cubicBezTo>
                    <a:cubicBezTo>
                      <a:pt x="318" y="151"/>
                      <a:pt x="314" y="155"/>
                      <a:pt x="310" y="160"/>
                    </a:cubicBezTo>
                    <a:cubicBezTo>
                      <a:pt x="308" y="162"/>
                      <a:pt x="306" y="163"/>
                      <a:pt x="303" y="161"/>
                    </a:cubicBezTo>
                    <a:cubicBezTo>
                      <a:pt x="294" y="155"/>
                      <a:pt x="294" y="155"/>
                      <a:pt x="301" y="147"/>
                    </a:cubicBezTo>
                    <a:cubicBezTo>
                      <a:pt x="303" y="145"/>
                      <a:pt x="304" y="143"/>
                      <a:pt x="304" y="140"/>
                    </a:cubicBezTo>
                    <a:cubicBezTo>
                      <a:pt x="305" y="133"/>
                      <a:pt x="304" y="126"/>
                      <a:pt x="304" y="118"/>
                    </a:cubicBezTo>
                    <a:cubicBezTo>
                      <a:pt x="304" y="115"/>
                      <a:pt x="304" y="114"/>
                      <a:pt x="301" y="114"/>
                    </a:cubicBezTo>
                    <a:cubicBezTo>
                      <a:pt x="300" y="114"/>
                      <a:pt x="300" y="114"/>
                      <a:pt x="299" y="114"/>
                    </a:cubicBezTo>
                    <a:cubicBezTo>
                      <a:pt x="285" y="112"/>
                      <a:pt x="275" y="117"/>
                      <a:pt x="266" y="128"/>
                    </a:cubicBezTo>
                    <a:cubicBezTo>
                      <a:pt x="258" y="137"/>
                      <a:pt x="249" y="145"/>
                      <a:pt x="240" y="154"/>
                    </a:cubicBezTo>
                    <a:close/>
                    <a:moveTo>
                      <a:pt x="325" y="238"/>
                    </a:moveTo>
                    <a:cubicBezTo>
                      <a:pt x="325" y="244"/>
                      <a:pt x="324" y="246"/>
                      <a:pt x="318" y="246"/>
                    </a:cubicBezTo>
                    <a:cubicBezTo>
                      <a:pt x="311" y="246"/>
                      <a:pt x="305" y="246"/>
                      <a:pt x="299" y="246"/>
                    </a:cubicBezTo>
                    <a:cubicBezTo>
                      <a:pt x="292" y="246"/>
                      <a:pt x="286" y="246"/>
                      <a:pt x="279" y="246"/>
                    </a:cubicBezTo>
                    <a:cubicBezTo>
                      <a:pt x="277" y="245"/>
                      <a:pt x="275" y="245"/>
                      <a:pt x="273" y="243"/>
                    </a:cubicBezTo>
                    <a:cubicBezTo>
                      <a:pt x="268" y="239"/>
                      <a:pt x="263" y="234"/>
                      <a:pt x="258" y="230"/>
                    </a:cubicBezTo>
                    <a:cubicBezTo>
                      <a:pt x="256" y="228"/>
                      <a:pt x="256" y="226"/>
                      <a:pt x="258" y="224"/>
                    </a:cubicBezTo>
                    <a:cubicBezTo>
                      <a:pt x="266" y="213"/>
                      <a:pt x="263" y="214"/>
                      <a:pt x="272" y="222"/>
                    </a:cubicBezTo>
                    <a:cubicBezTo>
                      <a:pt x="274" y="223"/>
                      <a:pt x="276" y="224"/>
                      <a:pt x="278" y="224"/>
                    </a:cubicBezTo>
                    <a:cubicBezTo>
                      <a:pt x="286" y="225"/>
                      <a:pt x="293" y="224"/>
                      <a:pt x="300" y="225"/>
                    </a:cubicBezTo>
                    <a:cubicBezTo>
                      <a:pt x="304" y="225"/>
                      <a:pt x="305" y="223"/>
                      <a:pt x="304" y="220"/>
                    </a:cubicBezTo>
                    <a:cubicBezTo>
                      <a:pt x="304" y="219"/>
                      <a:pt x="304" y="217"/>
                      <a:pt x="304" y="215"/>
                    </a:cubicBezTo>
                    <a:cubicBezTo>
                      <a:pt x="304" y="199"/>
                      <a:pt x="304" y="199"/>
                      <a:pt x="292" y="187"/>
                    </a:cubicBezTo>
                    <a:cubicBezTo>
                      <a:pt x="283" y="178"/>
                      <a:pt x="274" y="169"/>
                      <a:pt x="264" y="160"/>
                    </a:cubicBezTo>
                    <a:cubicBezTo>
                      <a:pt x="263" y="159"/>
                      <a:pt x="263" y="157"/>
                      <a:pt x="263" y="155"/>
                    </a:cubicBezTo>
                    <a:cubicBezTo>
                      <a:pt x="265" y="155"/>
                      <a:pt x="267" y="154"/>
                      <a:pt x="268" y="155"/>
                    </a:cubicBezTo>
                    <a:cubicBezTo>
                      <a:pt x="287" y="165"/>
                      <a:pt x="305" y="178"/>
                      <a:pt x="321" y="192"/>
                    </a:cubicBezTo>
                    <a:cubicBezTo>
                      <a:pt x="324" y="195"/>
                      <a:pt x="326" y="198"/>
                      <a:pt x="326" y="203"/>
                    </a:cubicBezTo>
                    <a:cubicBezTo>
                      <a:pt x="325" y="214"/>
                      <a:pt x="326" y="226"/>
                      <a:pt x="325" y="238"/>
                    </a:cubicBezTo>
                    <a:close/>
                    <a:moveTo>
                      <a:pt x="1392" y="126"/>
                    </a:moveTo>
                    <a:cubicBezTo>
                      <a:pt x="1384" y="126"/>
                      <a:pt x="1377" y="126"/>
                      <a:pt x="1369" y="126"/>
                    </a:cubicBezTo>
                    <a:cubicBezTo>
                      <a:pt x="1369" y="132"/>
                      <a:pt x="1369" y="138"/>
                      <a:pt x="1369" y="145"/>
                    </a:cubicBezTo>
                    <a:cubicBezTo>
                      <a:pt x="1365" y="141"/>
                      <a:pt x="1363" y="138"/>
                      <a:pt x="1360" y="135"/>
                    </a:cubicBezTo>
                    <a:cubicBezTo>
                      <a:pt x="1356" y="132"/>
                      <a:pt x="1353" y="129"/>
                      <a:pt x="1349" y="127"/>
                    </a:cubicBezTo>
                    <a:cubicBezTo>
                      <a:pt x="1327" y="117"/>
                      <a:pt x="1296" y="123"/>
                      <a:pt x="1279" y="141"/>
                    </a:cubicBezTo>
                    <a:cubicBezTo>
                      <a:pt x="1256" y="166"/>
                      <a:pt x="1255" y="215"/>
                      <a:pt x="1267" y="241"/>
                    </a:cubicBezTo>
                    <a:cubicBezTo>
                      <a:pt x="1286" y="282"/>
                      <a:pt x="1345" y="284"/>
                      <a:pt x="1367" y="249"/>
                    </a:cubicBezTo>
                    <a:cubicBezTo>
                      <a:pt x="1367" y="248"/>
                      <a:pt x="1368" y="247"/>
                      <a:pt x="1369" y="246"/>
                    </a:cubicBezTo>
                    <a:cubicBezTo>
                      <a:pt x="1369" y="256"/>
                      <a:pt x="1369" y="266"/>
                      <a:pt x="1368" y="275"/>
                    </a:cubicBezTo>
                    <a:cubicBezTo>
                      <a:pt x="1365" y="299"/>
                      <a:pt x="1351" y="313"/>
                      <a:pt x="1327" y="317"/>
                    </a:cubicBezTo>
                    <a:cubicBezTo>
                      <a:pt x="1308" y="320"/>
                      <a:pt x="1291" y="315"/>
                      <a:pt x="1274" y="307"/>
                    </a:cubicBezTo>
                    <a:cubicBezTo>
                      <a:pt x="1273" y="306"/>
                      <a:pt x="1271" y="305"/>
                      <a:pt x="1269" y="305"/>
                    </a:cubicBezTo>
                    <a:cubicBezTo>
                      <a:pt x="1269" y="311"/>
                      <a:pt x="1269" y="317"/>
                      <a:pt x="1269" y="323"/>
                    </a:cubicBezTo>
                    <a:cubicBezTo>
                      <a:pt x="1269" y="327"/>
                      <a:pt x="1271" y="329"/>
                      <a:pt x="1274" y="330"/>
                    </a:cubicBezTo>
                    <a:cubicBezTo>
                      <a:pt x="1293" y="338"/>
                      <a:pt x="1313" y="339"/>
                      <a:pt x="1333" y="336"/>
                    </a:cubicBezTo>
                    <a:cubicBezTo>
                      <a:pt x="1349" y="334"/>
                      <a:pt x="1363" y="329"/>
                      <a:pt x="1374" y="317"/>
                    </a:cubicBezTo>
                    <a:cubicBezTo>
                      <a:pt x="1387" y="303"/>
                      <a:pt x="1392" y="285"/>
                      <a:pt x="1392" y="267"/>
                    </a:cubicBezTo>
                    <a:cubicBezTo>
                      <a:pt x="1392" y="221"/>
                      <a:pt x="1392" y="175"/>
                      <a:pt x="1392" y="129"/>
                    </a:cubicBezTo>
                    <a:cubicBezTo>
                      <a:pt x="1392" y="128"/>
                      <a:pt x="1392" y="127"/>
                      <a:pt x="1392" y="126"/>
                    </a:cubicBezTo>
                    <a:close/>
                    <a:moveTo>
                      <a:pt x="1363" y="230"/>
                    </a:moveTo>
                    <a:cubicBezTo>
                      <a:pt x="1355" y="246"/>
                      <a:pt x="1342" y="254"/>
                      <a:pt x="1324" y="253"/>
                    </a:cubicBezTo>
                    <a:cubicBezTo>
                      <a:pt x="1307" y="253"/>
                      <a:pt x="1295" y="245"/>
                      <a:pt x="1289" y="229"/>
                    </a:cubicBezTo>
                    <a:cubicBezTo>
                      <a:pt x="1279" y="207"/>
                      <a:pt x="1280" y="183"/>
                      <a:pt x="1293" y="162"/>
                    </a:cubicBezTo>
                    <a:cubicBezTo>
                      <a:pt x="1302" y="145"/>
                      <a:pt x="1321" y="139"/>
                      <a:pt x="1339" y="144"/>
                    </a:cubicBezTo>
                    <a:cubicBezTo>
                      <a:pt x="1356" y="148"/>
                      <a:pt x="1369" y="164"/>
                      <a:pt x="1369" y="183"/>
                    </a:cubicBezTo>
                    <a:cubicBezTo>
                      <a:pt x="1369" y="187"/>
                      <a:pt x="1369" y="191"/>
                      <a:pt x="1369" y="195"/>
                    </a:cubicBezTo>
                    <a:cubicBezTo>
                      <a:pt x="1369" y="207"/>
                      <a:pt x="1369" y="219"/>
                      <a:pt x="1363" y="230"/>
                    </a:cubicBezTo>
                    <a:close/>
                    <a:moveTo>
                      <a:pt x="462" y="248"/>
                    </a:moveTo>
                    <a:cubicBezTo>
                      <a:pt x="489" y="248"/>
                      <a:pt x="516" y="248"/>
                      <a:pt x="544" y="248"/>
                    </a:cubicBezTo>
                    <a:cubicBezTo>
                      <a:pt x="544" y="256"/>
                      <a:pt x="544" y="262"/>
                      <a:pt x="544" y="269"/>
                    </a:cubicBezTo>
                    <a:cubicBezTo>
                      <a:pt x="509" y="269"/>
                      <a:pt x="473" y="269"/>
                      <a:pt x="437" y="269"/>
                    </a:cubicBezTo>
                    <a:cubicBezTo>
                      <a:pt x="437" y="203"/>
                      <a:pt x="437" y="136"/>
                      <a:pt x="437" y="68"/>
                    </a:cubicBezTo>
                    <a:cubicBezTo>
                      <a:pt x="472" y="68"/>
                      <a:pt x="505" y="68"/>
                      <a:pt x="539" y="68"/>
                    </a:cubicBezTo>
                    <a:cubicBezTo>
                      <a:pt x="539" y="75"/>
                      <a:pt x="539" y="82"/>
                      <a:pt x="539" y="90"/>
                    </a:cubicBezTo>
                    <a:cubicBezTo>
                      <a:pt x="513" y="90"/>
                      <a:pt x="488" y="90"/>
                      <a:pt x="461" y="90"/>
                    </a:cubicBezTo>
                    <a:cubicBezTo>
                      <a:pt x="461" y="112"/>
                      <a:pt x="461" y="134"/>
                      <a:pt x="461" y="156"/>
                    </a:cubicBezTo>
                    <a:cubicBezTo>
                      <a:pt x="485" y="156"/>
                      <a:pt x="509" y="156"/>
                      <a:pt x="533" y="156"/>
                    </a:cubicBezTo>
                    <a:cubicBezTo>
                      <a:pt x="533" y="164"/>
                      <a:pt x="533" y="171"/>
                      <a:pt x="533" y="178"/>
                    </a:cubicBezTo>
                    <a:cubicBezTo>
                      <a:pt x="510" y="178"/>
                      <a:pt x="486" y="178"/>
                      <a:pt x="462" y="178"/>
                    </a:cubicBezTo>
                    <a:cubicBezTo>
                      <a:pt x="462" y="202"/>
                      <a:pt x="462" y="225"/>
                      <a:pt x="462" y="248"/>
                    </a:cubicBezTo>
                    <a:close/>
                    <a:moveTo>
                      <a:pt x="942" y="179"/>
                    </a:moveTo>
                    <a:cubicBezTo>
                      <a:pt x="942" y="208"/>
                      <a:pt x="942" y="237"/>
                      <a:pt x="942" y="266"/>
                    </a:cubicBezTo>
                    <a:cubicBezTo>
                      <a:pt x="942" y="267"/>
                      <a:pt x="942" y="268"/>
                      <a:pt x="942" y="269"/>
                    </a:cubicBezTo>
                    <a:cubicBezTo>
                      <a:pt x="934" y="269"/>
                      <a:pt x="927" y="269"/>
                      <a:pt x="919" y="269"/>
                    </a:cubicBezTo>
                    <a:cubicBezTo>
                      <a:pt x="919" y="268"/>
                      <a:pt x="919" y="266"/>
                      <a:pt x="919" y="264"/>
                    </a:cubicBezTo>
                    <a:cubicBezTo>
                      <a:pt x="919" y="237"/>
                      <a:pt x="919" y="210"/>
                      <a:pt x="918" y="182"/>
                    </a:cubicBezTo>
                    <a:cubicBezTo>
                      <a:pt x="918" y="177"/>
                      <a:pt x="918" y="172"/>
                      <a:pt x="916" y="168"/>
                    </a:cubicBezTo>
                    <a:cubicBezTo>
                      <a:pt x="911" y="143"/>
                      <a:pt x="882" y="133"/>
                      <a:pt x="862" y="150"/>
                    </a:cubicBezTo>
                    <a:cubicBezTo>
                      <a:pt x="851" y="159"/>
                      <a:pt x="846" y="172"/>
                      <a:pt x="846" y="187"/>
                    </a:cubicBezTo>
                    <a:cubicBezTo>
                      <a:pt x="845" y="212"/>
                      <a:pt x="845" y="238"/>
                      <a:pt x="845" y="264"/>
                    </a:cubicBezTo>
                    <a:cubicBezTo>
                      <a:pt x="845" y="266"/>
                      <a:pt x="845" y="267"/>
                      <a:pt x="845" y="270"/>
                    </a:cubicBezTo>
                    <a:cubicBezTo>
                      <a:pt x="837" y="270"/>
                      <a:pt x="830" y="270"/>
                      <a:pt x="822" y="270"/>
                    </a:cubicBezTo>
                    <a:cubicBezTo>
                      <a:pt x="822" y="199"/>
                      <a:pt x="822" y="128"/>
                      <a:pt x="822" y="57"/>
                    </a:cubicBezTo>
                    <a:cubicBezTo>
                      <a:pt x="830" y="57"/>
                      <a:pt x="837" y="57"/>
                      <a:pt x="845" y="57"/>
                    </a:cubicBezTo>
                    <a:cubicBezTo>
                      <a:pt x="845" y="87"/>
                      <a:pt x="845" y="118"/>
                      <a:pt x="845" y="149"/>
                    </a:cubicBezTo>
                    <a:cubicBezTo>
                      <a:pt x="847" y="147"/>
                      <a:pt x="848" y="146"/>
                      <a:pt x="849" y="144"/>
                    </a:cubicBezTo>
                    <a:cubicBezTo>
                      <a:pt x="867" y="119"/>
                      <a:pt x="896" y="119"/>
                      <a:pt x="915" y="126"/>
                    </a:cubicBezTo>
                    <a:cubicBezTo>
                      <a:pt x="930" y="132"/>
                      <a:pt x="937" y="144"/>
                      <a:pt x="940" y="159"/>
                    </a:cubicBezTo>
                    <a:cubicBezTo>
                      <a:pt x="941" y="166"/>
                      <a:pt x="942" y="173"/>
                      <a:pt x="942" y="179"/>
                    </a:cubicBezTo>
                    <a:close/>
                    <a:moveTo>
                      <a:pt x="1531" y="241"/>
                    </a:moveTo>
                    <a:cubicBezTo>
                      <a:pt x="1517" y="250"/>
                      <a:pt x="1502" y="255"/>
                      <a:pt x="1485" y="253"/>
                    </a:cubicBezTo>
                    <a:cubicBezTo>
                      <a:pt x="1460" y="252"/>
                      <a:pt x="1443" y="232"/>
                      <a:pt x="1445" y="204"/>
                    </a:cubicBezTo>
                    <a:cubicBezTo>
                      <a:pt x="1478" y="204"/>
                      <a:pt x="1512" y="204"/>
                      <a:pt x="1546" y="204"/>
                    </a:cubicBezTo>
                    <a:cubicBezTo>
                      <a:pt x="1546" y="193"/>
                      <a:pt x="1546" y="184"/>
                      <a:pt x="1544" y="174"/>
                    </a:cubicBezTo>
                    <a:cubicBezTo>
                      <a:pt x="1542" y="158"/>
                      <a:pt x="1536" y="143"/>
                      <a:pt x="1522" y="133"/>
                    </a:cubicBezTo>
                    <a:cubicBezTo>
                      <a:pt x="1494" y="112"/>
                      <a:pt x="1451" y="122"/>
                      <a:pt x="1432" y="153"/>
                    </a:cubicBezTo>
                    <a:cubicBezTo>
                      <a:pt x="1420" y="172"/>
                      <a:pt x="1417" y="194"/>
                      <a:pt x="1421" y="217"/>
                    </a:cubicBezTo>
                    <a:cubicBezTo>
                      <a:pt x="1423" y="225"/>
                      <a:pt x="1426" y="234"/>
                      <a:pt x="1429" y="242"/>
                    </a:cubicBezTo>
                    <a:cubicBezTo>
                      <a:pt x="1438" y="260"/>
                      <a:pt x="1454" y="270"/>
                      <a:pt x="1474" y="273"/>
                    </a:cubicBezTo>
                    <a:cubicBezTo>
                      <a:pt x="1494" y="275"/>
                      <a:pt x="1514" y="273"/>
                      <a:pt x="1531" y="262"/>
                    </a:cubicBezTo>
                    <a:cubicBezTo>
                      <a:pt x="1533" y="261"/>
                      <a:pt x="1535" y="260"/>
                      <a:pt x="1535" y="258"/>
                    </a:cubicBezTo>
                    <a:cubicBezTo>
                      <a:pt x="1536" y="252"/>
                      <a:pt x="1535" y="245"/>
                      <a:pt x="1535" y="238"/>
                    </a:cubicBezTo>
                    <a:cubicBezTo>
                      <a:pt x="1533" y="239"/>
                      <a:pt x="1532" y="240"/>
                      <a:pt x="1531" y="241"/>
                    </a:cubicBezTo>
                    <a:close/>
                    <a:moveTo>
                      <a:pt x="1446" y="177"/>
                    </a:moveTo>
                    <a:cubicBezTo>
                      <a:pt x="1450" y="162"/>
                      <a:pt x="1458" y="149"/>
                      <a:pt x="1474" y="144"/>
                    </a:cubicBezTo>
                    <a:cubicBezTo>
                      <a:pt x="1501" y="136"/>
                      <a:pt x="1523" y="153"/>
                      <a:pt x="1521" y="184"/>
                    </a:cubicBezTo>
                    <a:cubicBezTo>
                      <a:pt x="1496" y="184"/>
                      <a:pt x="1470" y="184"/>
                      <a:pt x="1445" y="184"/>
                    </a:cubicBezTo>
                    <a:cubicBezTo>
                      <a:pt x="1445" y="182"/>
                      <a:pt x="1445" y="179"/>
                      <a:pt x="1446" y="177"/>
                    </a:cubicBezTo>
                    <a:close/>
                    <a:moveTo>
                      <a:pt x="1079" y="166"/>
                    </a:moveTo>
                    <a:cubicBezTo>
                      <a:pt x="1078" y="144"/>
                      <a:pt x="1066" y="129"/>
                      <a:pt x="1047" y="124"/>
                    </a:cubicBezTo>
                    <a:cubicBezTo>
                      <a:pt x="1024" y="119"/>
                      <a:pt x="1003" y="124"/>
                      <a:pt x="982" y="134"/>
                    </a:cubicBezTo>
                    <a:cubicBezTo>
                      <a:pt x="981" y="135"/>
                      <a:pt x="980" y="136"/>
                      <a:pt x="980" y="137"/>
                    </a:cubicBezTo>
                    <a:cubicBezTo>
                      <a:pt x="980" y="144"/>
                      <a:pt x="980" y="151"/>
                      <a:pt x="980" y="160"/>
                    </a:cubicBezTo>
                    <a:cubicBezTo>
                      <a:pt x="992" y="149"/>
                      <a:pt x="1006" y="144"/>
                      <a:pt x="1021" y="142"/>
                    </a:cubicBezTo>
                    <a:cubicBezTo>
                      <a:pt x="1044" y="140"/>
                      <a:pt x="1060" y="156"/>
                      <a:pt x="1055" y="179"/>
                    </a:cubicBezTo>
                    <a:cubicBezTo>
                      <a:pt x="1046" y="180"/>
                      <a:pt x="1037" y="181"/>
                      <a:pt x="1028" y="182"/>
                    </a:cubicBezTo>
                    <a:cubicBezTo>
                      <a:pt x="1016" y="184"/>
                      <a:pt x="1002" y="185"/>
                      <a:pt x="990" y="191"/>
                    </a:cubicBezTo>
                    <a:cubicBezTo>
                      <a:pt x="975" y="198"/>
                      <a:pt x="967" y="210"/>
                      <a:pt x="966" y="226"/>
                    </a:cubicBezTo>
                    <a:cubicBezTo>
                      <a:pt x="964" y="243"/>
                      <a:pt x="969" y="257"/>
                      <a:pt x="984" y="267"/>
                    </a:cubicBezTo>
                    <a:cubicBezTo>
                      <a:pt x="1006" y="280"/>
                      <a:pt x="1037" y="274"/>
                      <a:pt x="1052" y="253"/>
                    </a:cubicBezTo>
                    <a:cubicBezTo>
                      <a:pt x="1053" y="252"/>
                      <a:pt x="1054" y="250"/>
                      <a:pt x="1055" y="249"/>
                    </a:cubicBezTo>
                    <a:cubicBezTo>
                      <a:pt x="1056" y="249"/>
                      <a:pt x="1056" y="249"/>
                      <a:pt x="1056" y="249"/>
                    </a:cubicBezTo>
                    <a:cubicBezTo>
                      <a:pt x="1056" y="256"/>
                      <a:pt x="1056" y="263"/>
                      <a:pt x="1056" y="270"/>
                    </a:cubicBezTo>
                    <a:cubicBezTo>
                      <a:pt x="1064" y="270"/>
                      <a:pt x="1071" y="270"/>
                      <a:pt x="1079" y="270"/>
                    </a:cubicBezTo>
                    <a:cubicBezTo>
                      <a:pt x="1079" y="258"/>
                      <a:pt x="1079" y="248"/>
                      <a:pt x="1079" y="237"/>
                    </a:cubicBezTo>
                    <a:cubicBezTo>
                      <a:pt x="1079" y="213"/>
                      <a:pt x="1080" y="190"/>
                      <a:pt x="1079" y="166"/>
                    </a:cubicBezTo>
                    <a:close/>
                    <a:moveTo>
                      <a:pt x="1046" y="240"/>
                    </a:moveTo>
                    <a:cubicBezTo>
                      <a:pt x="1035" y="252"/>
                      <a:pt x="1023" y="256"/>
                      <a:pt x="1008" y="252"/>
                    </a:cubicBezTo>
                    <a:cubicBezTo>
                      <a:pt x="997" y="250"/>
                      <a:pt x="990" y="242"/>
                      <a:pt x="989" y="232"/>
                    </a:cubicBezTo>
                    <a:cubicBezTo>
                      <a:pt x="989" y="218"/>
                      <a:pt x="993" y="210"/>
                      <a:pt x="1005" y="206"/>
                    </a:cubicBezTo>
                    <a:cubicBezTo>
                      <a:pt x="1016" y="203"/>
                      <a:pt x="1028" y="202"/>
                      <a:pt x="1039" y="200"/>
                    </a:cubicBezTo>
                    <a:cubicBezTo>
                      <a:pt x="1044" y="199"/>
                      <a:pt x="1050" y="198"/>
                      <a:pt x="1056" y="197"/>
                    </a:cubicBezTo>
                    <a:cubicBezTo>
                      <a:pt x="1057" y="213"/>
                      <a:pt x="1057" y="228"/>
                      <a:pt x="1046" y="240"/>
                    </a:cubicBezTo>
                    <a:close/>
                    <a:moveTo>
                      <a:pt x="1235" y="183"/>
                    </a:moveTo>
                    <a:cubicBezTo>
                      <a:pt x="1235" y="210"/>
                      <a:pt x="1235" y="237"/>
                      <a:pt x="1235" y="264"/>
                    </a:cubicBezTo>
                    <a:cubicBezTo>
                      <a:pt x="1235" y="266"/>
                      <a:pt x="1235" y="267"/>
                      <a:pt x="1235" y="270"/>
                    </a:cubicBezTo>
                    <a:cubicBezTo>
                      <a:pt x="1227" y="270"/>
                      <a:pt x="1219" y="270"/>
                      <a:pt x="1211" y="270"/>
                    </a:cubicBezTo>
                    <a:cubicBezTo>
                      <a:pt x="1211" y="268"/>
                      <a:pt x="1211" y="266"/>
                      <a:pt x="1211" y="264"/>
                    </a:cubicBezTo>
                    <a:cubicBezTo>
                      <a:pt x="1211" y="239"/>
                      <a:pt x="1212" y="214"/>
                      <a:pt x="1211" y="188"/>
                    </a:cubicBezTo>
                    <a:cubicBezTo>
                      <a:pt x="1211" y="182"/>
                      <a:pt x="1211" y="176"/>
                      <a:pt x="1209" y="170"/>
                    </a:cubicBezTo>
                    <a:cubicBezTo>
                      <a:pt x="1204" y="143"/>
                      <a:pt x="1175" y="133"/>
                      <a:pt x="1154" y="151"/>
                    </a:cubicBezTo>
                    <a:cubicBezTo>
                      <a:pt x="1143" y="160"/>
                      <a:pt x="1138" y="172"/>
                      <a:pt x="1138" y="187"/>
                    </a:cubicBezTo>
                    <a:cubicBezTo>
                      <a:pt x="1138" y="213"/>
                      <a:pt x="1138" y="238"/>
                      <a:pt x="1138" y="264"/>
                    </a:cubicBezTo>
                    <a:cubicBezTo>
                      <a:pt x="1138" y="266"/>
                      <a:pt x="1138" y="267"/>
                      <a:pt x="1138" y="270"/>
                    </a:cubicBezTo>
                    <a:cubicBezTo>
                      <a:pt x="1130" y="270"/>
                      <a:pt x="1123" y="270"/>
                      <a:pt x="1115" y="270"/>
                    </a:cubicBezTo>
                    <a:cubicBezTo>
                      <a:pt x="1115" y="222"/>
                      <a:pt x="1115" y="174"/>
                      <a:pt x="1115" y="126"/>
                    </a:cubicBezTo>
                    <a:cubicBezTo>
                      <a:pt x="1123" y="126"/>
                      <a:pt x="1130" y="126"/>
                      <a:pt x="1138" y="126"/>
                    </a:cubicBezTo>
                    <a:cubicBezTo>
                      <a:pt x="1138" y="133"/>
                      <a:pt x="1138" y="141"/>
                      <a:pt x="1138" y="149"/>
                    </a:cubicBezTo>
                    <a:cubicBezTo>
                      <a:pt x="1141" y="145"/>
                      <a:pt x="1143" y="143"/>
                      <a:pt x="1146" y="140"/>
                    </a:cubicBezTo>
                    <a:cubicBezTo>
                      <a:pt x="1163" y="119"/>
                      <a:pt x="1193" y="119"/>
                      <a:pt x="1209" y="127"/>
                    </a:cubicBezTo>
                    <a:cubicBezTo>
                      <a:pt x="1225" y="135"/>
                      <a:pt x="1231" y="149"/>
                      <a:pt x="1233" y="165"/>
                    </a:cubicBezTo>
                    <a:cubicBezTo>
                      <a:pt x="1234" y="171"/>
                      <a:pt x="1235" y="177"/>
                      <a:pt x="1235" y="183"/>
                    </a:cubicBezTo>
                    <a:close/>
                    <a:moveTo>
                      <a:pt x="633" y="195"/>
                    </a:moveTo>
                    <a:cubicBezTo>
                      <a:pt x="631" y="198"/>
                      <a:pt x="631" y="200"/>
                      <a:pt x="633" y="203"/>
                    </a:cubicBezTo>
                    <a:cubicBezTo>
                      <a:pt x="647" y="223"/>
                      <a:pt x="661" y="244"/>
                      <a:pt x="675" y="265"/>
                    </a:cubicBezTo>
                    <a:cubicBezTo>
                      <a:pt x="676" y="266"/>
                      <a:pt x="676" y="268"/>
                      <a:pt x="678" y="270"/>
                    </a:cubicBezTo>
                    <a:cubicBezTo>
                      <a:pt x="669" y="270"/>
                      <a:pt x="661" y="270"/>
                      <a:pt x="653" y="270"/>
                    </a:cubicBezTo>
                    <a:cubicBezTo>
                      <a:pt x="652" y="270"/>
                      <a:pt x="650" y="268"/>
                      <a:pt x="649" y="266"/>
                    </a:cubicBezTo>
                    <a:cubicBezTo>
                      <a:pt x="639" y="249"/>
                      <a:pt x="628" y="232"/>
                      <a:pt x="618" y="215"/>
                    </a:cubicBezTo>
                    <a:cubicBezTo>
                      <a:pt x="618" y="215"/>
                      <a:pt x="617" y="214"/>
                      <a:pt x="616" y="212"/>
                    </a:cubicBezTo>
                    <a:cubicBezTo>
                      <a:pt x="615" y="214"/>
                      <a:pt x="614" y="216"/>
                      <a:pt x="613" y="217"/>
                    </a:cubicBezTo>
                    <a:cubicBezTo>
                      <a:pt x="603" y="233"/>
                      <a:pt x="593" y="250"/>
                      <a:pt x="583" y="266"/>
                    </a:cubicBezTo>
                    <a:cubicBezTo>
                      <a:pt x="581" y="269"/>
                      <a:pt x="579" y="270"/>
                      <a:pt x="576" y="270"/>
                    </a:cubicBezTo>
                    <a:cubicBezTo>
                      <a:pt x="569" y="270"/>
                      <a:pt x="562" y="270"/>
                      <a:pt x="554" y="270"/>
                    </a:cubicBezTo>
                    <a:cubicBezTo>
                      <a:pt x="571" y="246"/>
                      <a:pt x="587" y="223"/>
                      <a:pt x="603" y="199"/>
                    </a:cubicBezTo>
                    <a:cubicBezTo>
                      <a:pt x="587" y="175"/>
                      <a:pt x="572" y="151"/>
                      <a:pt x="556" y="126"/>
                    </a:cubicBezTo>
                    <a:cubicBezTo>
                      <a:pt x="565" y="126"/>
                      <a:pt x="573" y="126"/>
                      <a:pt x="582" y="126"/>
                    </a:cubicBezTo>
                    <a:cubicBezTo>
                      <a:pt x="583" y="126"/>
                      <a:pt x="584" y="128"/>
                      <a:pt x="585" y="129"/>
                    </a:cubicBezTo>
                    <a:cubicBezTo>
                      <a:pt x="595" y="147"/>
                      <a:pt x="604" y="164"/>
                      <a:pt x="614" y="181"/>
                    </a:cubicBezTo>
                    <a:cubicBezTo>
                      <a:pt x="615" y="183"/>
                      <a:pt x="616" y="184"/>
                      <a:pt x="617" y="186"/>
                    </a:cubicBezTo>
                    <a:cubicBezTo>
                      <a:pt x="624" y="175"/>
                      <a:pt x="630" y="165"/>
                      <a:pt x="636" y="154"/>
                    </a:cubicBezTo>
                    <a:cubicBezTo>
                      <a:pt x="641" y="146"/>
                      <a:pt x="646" y="137"/>
                      <a:pt x="651" y="129"/>
                    </a:cubicBezTo>
                    <a:cubicBezTo>
                      <a:pt x="653" y="127"/>
                      <a:pt x="654" y="126"/>
                      <a:pt x="657" y="126"/>
                    </a:cubicBezTo>
                    <a:cubicBezTo>
                      <a:pt x="664" y="126"/>
                      <a:pt x="671" y="126"/>
                      <a:pt x="679" y="126"/>
                    </a:cubicBezTo>
                    <a:cubicBezTo>
                      <a:pt x="678" y="127"/>
                      <a:pt x="677" y="129"/>
                      <a:pt x="676" y="130"/>
                    </a:cubicBezTo>
                    <a:cubicBezTo>
                      <a:pt x="662" y="152"/>
                      <a:pt x="648" y="173"/>
                      <a:pt x="633" y="195"/>
                    </a:cubicBezTo>
                    <a:close/>
                    <a:moveTo>
                      <a:pt x="796" y="134"/>
                    </a:moveTo>
                    <a:cubicBezTo>
                      <a:pt x="795" y="140"/>
                      <a:pt x="796" y="146"/>
                      <a:pt x="796" y="153"/>
                    </a:cubicBezTo>
                    <a:cubicBezTo>
                      <a:pt x="791" y="151"/>
                      <a:pt x="788" y="149"/>
                      <a:pt x="784" y="147"/>
                    </a:cubicBezTo>
                    <a:cubicBezTo>
                      <a:pt x="749" y="132"/>
                      <a:pt x="714" y="153"/>
                      <a:pt x="711" y="191"/>
                    </a:cubicBezTo>
                    <a:cubicBezTo>
                      <a:pt x="711" y="199"/>
                      <a:pt x="711" y="208"/>
                      <a:pt x="713" y="216"/>
                    </a:cubicBezTo>
                    <a:cubicBezTo>
                      <a:pt x="719" y="244"/>
                      <a:pt x="744" y="259"/>
                      <a:pt x="773" y="252"/>
                    </a:cubicBezTo>
                    <a:cubicBezTo>
                      <a:pt x="780" y="250"/>
                      <a:pt x="787" y="246"/>
                      <a:pt x="795" y="243"/>
                    </a:cubicBezTo>
                    <a:cubicBezTo>
                      <a:pt x="795" y="249"/>
                      <a:pt x="795" y="256"/>
                      <a:pt x="795" y="262"/>
                    </a:cubicBezTo>
                    <a:cubicBezTo>
                      <a:pt x="795" y="263"/>
                      <a:pt x="793" y="264"/>
                      <a:pt x="792" y="265"/>
                    </a:cubicBezTo>
                    <a:cubicBezTo>
                      <a:pt x="752" y="285"/>
                      <a:pt x="691" y="271"/>
                      <a:pt x="687" y="207"/>
                    </a:cubicBezTo>
                    <a:cubicBezTo>
                      <a:pt x="686" y="194"/>
                      <a:pt x="688" y="182"/>
                      <a:pt x="692" y="170"/>
                    </a:cubicBezTo>
                    <a:cubicBezTo>
                      <a:pt x="702" y="141"/>
                      <a:pt x="727" y="123"/>
                      <a:pt x="759" y="122"/>
                    </a:cubicBezTo>
                    <a:cubicBezTo>
                      <a:pt x="770" y="122"/>
                      <a:pt x="781" y="123"/>
                      <a:pt x="792" y="128"/>
                    </a:cubicBezTo>
                    <a:cubicBezTo>
                      <a:pt x="794" y="129"/>
                      <a:pt x="796" y="130"/>
                      <a:pt x="796" y="134"/>
                    </a:cubicBezTo>
                    <a:close/>
                  </a:path>
                </a:pathLst>
              </a:custGeom>
              <a:solidFill>
                <a:srgbClr val="0474C6"/>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p:txBody>
          </p:sp>
          <p:sp>
            <p:nvSpPr>
              <p:cNvPr id="144" name="Freeform 5"/>
              <p:cNvSpPr>
                <a:spLocks noEditPoints="1"/>
              </p:cNvSpPr>
              <p:nvPr/>
            </p:nvSpPr>
            <p:spPr bwMode="auto">
              <a:xfrm>
                <a:off x="8759218" y="4665485"/>
                <a:ext cx="1792101" cy="360037"/>
              </a:xfrm>
              <a:custGeom>
                <a:avLst/>
                <a:gdLst>
                  <a:gd name="T0" fmla="*/ 271 w 1687"/>
                  <a:gd name="T1" fmla="*/ 82 h 337"/>
                  <a:gd name="T2" fmla="*/ 348 w 1687"/>
                  <a:gd name="T3" fmla="*/ 192 h 337"/>
                  <a:gd name="T4" fmla="*/ 238 w 1687"/>
                  <a:gd name="T5" fmla="*/ 291 h 337"/>
                  <a:gd name="T6" fmla="*/ 260 w 1687"/>
                  <a:gd name="T7" fmla="*/ 232 h 337"/>
                  <a:gd name="T8" fmla="*/ 301 w 1687"/>
                  <a:gd name="T9" fmla="*/ 141 h 337"/>
                  <a:gd name="T10" fmla="*/ 215 w 1687"/>
                  <a:gd name="T11" fmla="*/ 80 h 337"/>
                  <a:gd name="T12" fmla="*/ 579 w 1687"/>
                  <a:gd name="T13" fmla="*/ 62 h 337"/>
                  <a:gd name="T14" fmla="*/ 602 w 1687"/>
                  <a:gd name="T15" fmla="*/ 265 h 337"/>
                  <a:gd name="T16" fmla="*/ 676 w 1687"/>
                  <a:gd name="T17" fmla="*/ 191 h 337"/>
                  <a:gd name="T18" fmla="*/ 699 w 1687"/>
                  <a:gd name="T19" fmla="*/ 181 h 337"/>
                  <a:gd name="T20" fmla="*/ 602 w 1687"/>
                  <a:gd name="T21" fmla="*/ 143 h 337"/>
                  <a:gd name="T22" fmla="*/ 453 w 1687"/>
                  <a:gd name="T23" fmla="*/ 156 h 337"/>
                  <a:gd name="T24" fmla="*/ 469 w 1687"/>
                  <a:gd name="T25" fmla="*/ 250 h 337"/>
                  <a:gd name="T26" fmla="*/ 549 w 1687"/>
                  <a:gd name="T27" fmla="*/ 231 h 337"/>
                  <a:gd name="T28" fmla="*/ 496 w 1687"/>
                  <a:gd name="T29" fmla="*/ 86 h 337"/>
                  <a:gd name="T30" fmla="*/ 1468 w 1687"/>
                  <a:gd name="T31" fmla="*/ 126 h 337"/>
                  <a:gd name="T32" fmla="*/ 1488 w 1687"/>
                  <a:gd name="T33" fmla="*/ 265 h 337"/>
                  <a:gd name="T34" fmla="*/ 1561 w 1687"/>
                  <a:gd name="T35" fmla="*/ 265 h 337"/>
                  <a:gd name="T36" fmla="*/ 1583 w 1687"/>
                  <a:gd name="T37" fmla="*/ 164 h 337"/>
                  <a:gd name="T38" fmla="*/ 1651 w 1687"/>
                  <a:gd name="T39" fmla="*/ 237 h 337"/>
                  <a:gd name="T40" fmla="*/ 1687 w 1687"/>
                  <a:gd name="T41" fmla="*/ 142 h 337"/>
                  <a:gd name="T42" fmla="*/ 1651 w 1687"/>
                  <a:gd name="T43" fmla="*/ 87 h 337"/>
                  <a:gd name="T44" fmla="*/ 1624 w 1687"/>
                  <a:gd name="T45" fmla="*/ 126 h 337"/>
                  <a:gd name="T46" fmla="*/ 1623 w 1687"/>
                  <a:gd name="T47" fmla="*/ 146 h 337"/>
                  <a:gd name="T48" fmla="*/ 1687 w 1687"/>
                  <a:gd name="T49" fmla="*/ 266 h 337"/>
                  <a:gd name="T50" fmla="*/ 898 w 1687"/>
                  <a:gd name="T51" fmla="*/ 149 h 337"/>
                  <a:gd name="T52" fmla="*/ 872 w 1687"/>
                  <a:gd name="T53" fmla="*/ 129 h 337"/>
                  <a:gd name="T54" fmla="*/ 895 w 1687"/>
                  <a:gd name="T55" fmla="*/ 263 h 337"/>
                  <a:gd name="T56" fmla="*/ 947 w 1687"/>
                  <a:gd name="T57" fmla="*/ 130 h 337"/>
                  <a:gd name="T58" fmla="*/ 1403 w 1687"/>
                  <a:gd name="T59" fmla="*/ 192 h 337"/>
                  <a:gd name="T60" fmla="*/ 1426 w 1687"/>
                  <a:gd name="T61" fmla="*/ 198 h 337"/>
                  <a:gd name="T62" fmla="*/ 1415 w 1687"/>
                  <a:gd name="T63" fmla="*/ 89 h 337"/>
                  <a:gd name="T64" fmla="*/ 0 w 1687"/>
                  <a:gd name="T65" fmla="*/ 298 h 337"/>
                  <a:gd name="T66" fmla="*/ 197 w 1687"/>
                  <a:gd name="T67" fmla="*/ 169 h 337"/>
                  <a:gd name="T68" fmla="*/ 100 w 1687"/>
                  <a:gd name="T69" fmla="*/ 122 h 337"/>
                  <a:gd name="T70" fmla="*/ 64 w 1687"/>
                  <a:gd name="T71" fmla="*/ 166 h 337"/>
                  <a:gd name="T72" fmla="*/ 75 w 1687"/>
                  <a:gd name="T73" fmla="*/ 214 h 337"/>
                  <a:gd name="T74" fmla="*/ 123 w 1687"/>
                  <a:gd name="T75" fmla="*/ 213 h 337"/>
                  <a:gd name="T76" fmla="*/ 1128 w 1687"/>
                  <a:gd name="T77" fmla="*/ 265 h 337"/>
                  <a:gd name="T78" fmla="*/ 1104 w 1687"/>
                  <a:gd name="T79" fmla="*/ 169 h 337"/>
                  <a:gd name="T80" fmla="*/ 1228 w 1687"/>
                  <a:gd name="T81" fmla="*/ 123 h 337"/>
                  <a:gd name="T82" fmla="*/ 1128 w 1687"/>
                  <a:gd name="T83" fmla="*/ 131 h 337"/>
                  <a:gd name="T84" fmla="*/ 1170 w 1687"/>
                  <a:gd name="T85" fmla="*/ 91 h 337"/>
                  <a:gd name="T86" fmla="*/ 989 w 1687"/>
                  <a:gd name="T87" fmla="*/ 243 h 337"/>
                  <a:gd name="T88" fmla="*/ 1004 w 1687"/>
                  <a:gd name="T89" fmla="*/ 273 h 337"/>
                  <a:gd name="T90" fmla="*/ 1073 w 1687"/>
                  <a:gd name="T91" fmla="*/ 169 h 337"/>
                  <a:gd name="T92" fmla="*/ 978 w 1687"/>
                  <a:gd name="T93" fmla="*/ 184 h 337"/>
                  <a:gd name="T94" fmla="*/ 1366 w 1687"/>
                  <a:gd name="T95" fmla="*/ 238 h 337"/>
                  <a:gd name="T96" fmla="*/ 1343 w 1687"/>
                  <a:gd name="T97" fmla="*/ 131 h 337"/>
                  <a:gd name="T98" fmla="*/ 1309 w 1687"/>
                  <a:gd name="T99" fmla="*/ 142 h 337"/>
                  <a:gd name="T100" fmla="*/ 1351 w 1687"/>
                  <a:gd name="T101" fmla="*/ 197 h 337"/>
                  <a:gd name="T102" fmla="*/ 813 w 1687"/>
                  <a:gd name="T103" fmla="*/ 247 h 337"/>
                  <a:gd name="T104" fmla="*/ 807 w 1687"/>
                  <a:gd name="T105" fmla="*/ 179 h 337"/>
                  <a:gd name="T106" fmla="*/ 736 w 1687"/>
                  <a:gd name="T107" fmla="*/ 159 h 337"/>
                  <a:gd name="T108" fmla="*/ 836 w 1687"/>
                  <a:gd name="T109" fmla="*/ 174 h 337"/>
                  <a:gd name="T110" fmla="*/ 747 w 1687"/>
                  <a:gd name="T111" fmla="*/ 224 h 337"/>
                  <a:gd name="T112" fmla="*/ 809 w 1687"/>
                  <a:gd name="T113" fmla="*/ 19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7" h="337">
                    <a:moveTo>
                      <a:pt x="215" y="80"/>
                    </a:moveTo>
                    <a:cubicBezTo>
                      <a:pt x="215" y="73"/>
                      <a:pt x="216" y="67"/>
                      <a:pt x="215" y="60"/>
                    </a:cubicBezTo>
                    <a:cubicBezTo>
                      <a:pt x="215" y="58"/>
                      <a:pt x="216" y="56"/>
                      <a:pt x="218" y="55"/>
                    </a:cubicBezTo>
                    <a:cubicBezTo>
                      <a:pt x="228" y="46"/>
                      <a:pt x="242" y="44"/>
                      <a:pt x="253" y="50"/>
                    </a:cubicBezTo>
                    <a:cubicBezTo>
                      <a:pt x="265" y="57"/>
                      <a:pt x="271" y="68"/>
                      <a:pt x="271" y="82"/>
                    </a:cubicBezTo>
                    <a:cubicBezTo>
                      <a:pt x="271" y="85"/>
                      <a:pt x="272" y="87"/>
                      <a:pt x="275" y="88"/>
                    </a:cubicBezTo>
                    <a:cubicBezTo>
                      <a:pt x="294" y="98"/>
                      <a:pt x="308" y="113"/>
                      <a:pt x="317" y="132"/>
                    </a:cubicBezTo>
                    <a:cubicBezTo>
                      <a:pt x="318" y="134"/>
                      <a:pt x="318" y="136"/>
                      <a:pt x="321" y="136"/>
                    </a:cubicBezTo>
                    <a:cubicBezTo>
                      <a:pt x="336" y="134"/>
                      <a:pt x="348" y="142"/>
                      <a:pt x="354" y="154"/>
                    </a:cubicBezTo>
                    <a:cubicBezTo>
                      <a:pt x="360" y="167"/>
                      <a:pt x="357" y="182"/>
                      <a:pt x="348" y="192"/>
                    </a:cubicBezTo>
                    <a:cubicBezTo>
                      <a:pt x="340" y="200"/>
                      <a:pt x="332" y="203"/>
                      <a:pt x="321" y="202"/>
                    </a:cubicBezTo>
                    <a:cubicBezTo>
                      <a:pt x="319" y="202"/>
                      <a:pt x="318" y="202"/>
                      <a:pt x="317" y="204"/>
                    </a:cubicBezTo>
                    <a:cubicBezTo>
                      <a:pt x="308" y="225"/>
                      <a:pt x="294" y="241"/>
                      <a:pt x="273" y="250"/>
                    </a:cubicBezTo>
                    <a:cubicBezTo>
                      <a:pt x="270" y="251"/>
                      <a:pt x="271" y="253"/>
                      <a:pt x="271" y="255"/>
                    </a:cubicBezTo>
                    <a:cubicBezTo>
                      <a:pt x="272" y="275"/>
                      <a:pt x="257" y="291"/>
                      <a:pt x="238" y="291"/>
                    </a:cubicBezTo>
                    <a:cubicBezTo>
                      <a:pt x="234" y="291"/>
                      <a:pt x="230" y="290"/>
                      <a:pt x="226" y="288"/>
                    </a:cubicBezTo>
                    <a:cubicBezTo>
                      <a:pt x="219" y="285"/>
                      <a:pt x="215" y="281"/>
                      <a:pt x="215" y="272"/>
                    </a:cubicBezTo>
                    <a:cubicBezTo>
                      <a:pt x="216" y="261"/>
                      <a:pt x="216" y="249"/>
                      <a:pt x="215" y="238"/>
                    </a:cubicBezTo>
                    <a:cubicBezTo>
                      <a:pt x="215" y="235"/>
                      <a:pt x="216" y="233"/>
                      <a:pt x="219" y="231"/>
                    </a:cubicBezTo>
                    <a:cubicBezTo>
                      <a:pt x="231" y="221"/>
                      <a:pt x="248" y="222"/>
                      <a:pt x="260" y="232"/>
                    </a:cubicBezTo>
                    <a:cubicBezTo>
                      <a:pt x="262" y="234"/>
                      <a:pt x="264" y="234"/>
                      <a:pt x="267" y="233"/>
                    </a:cubicBezTo>
                    <a:cubicBezTo>
                      <a:pt x="283" y="225"/>
                      <a:pt x="294" y="213"/>
                      <a:pt x="301" y="197"/>
                    </a:cubicBezTo>
                    <a:cubicBezTo>
                      <a:pt x="302" y="195"/>
                      <a:pt x="302" y="193"/>
                      <a:pt x="301" y="191"/>
                    </a:cubicBezTo>
                    <a:cubicBezTo>
                      <a:pt x="289" y="177"/>
                      <a:pt x="289" y="161"/>
                      <a:pt x="300" y="147"/>
                    </a:cubicBezTo>
                    <a:cubicBezTo>
                      <a:pt x="302" y="145"/>
                      <a:pt x="303" y="143"/>
                      <a:pt x="301" y="141"/>
                    </a:cubicBezTo>
                    <a:cubicBezTo>
                      <a:pt x="294" y="124"/>
                      <a:pt x="282" y="112"/>
                      <a:pt x="266" y="104"/>
                    </a:cubicBezTo>
                    <a:cubicBezTo>
                      <a:pt x="264" y="103"/>
                      <a:pt x="262" y="103"/>
                      <a:pt x="260" y="105"/>
                    </a:cubicBezTo>
                    <a:cubicBezTo>
                      <a:pt x="248" y="116"/>
                      <a:pt x="231" y="117"/>
                      <a:pt x="218" y="106"/>
                    </a:cubicBezTo>
                    <a:cubicBezTo>
                      <a:pt x="216" y="105"/>
                      <a:pt x="215" y="103"/>
                      <a:pt x="215" y="100"/>
                    </a:cubicBezTo>
                    <a:cubicBezTo>
                      <a:pt x="216" y="93"/>
                      <a:pt x="215" y="87"/>
                      <a:pt x="215" y="80"/>
                    </a:cubicBezTo>
                    <a:close/>
                    <a:moveTo>
                      <a:pt x="602" y="143"/>
                    </a:moveTo>
                    <a:cubicBezTo>
                      <a:pt x="602" y="116"/>
                      <a:pt x="602" y="88"/>
                      <a:pt x="602" y="61"/>
                    </a:cubicBezTo>
                    <a:cubicBezTo>
                      <a:pt x="602" y="58"/>
                      <a:pt x="602" y="56"/>
                      <a:pt x="598" y="56"/>
                    </a:cubicBezTo>
                    <a:cubicBezTo>
                      <a:pt x="593" y="57"/>
                      <a:pt x="589" y="57"/>
                      <a:pt x="584" y="56"/>
                    </a:cubicBezTo>
                    <a:cubicBezTo>
                      <a:pt x="580" y="56"/>
                      <a:pt x="579" y="58"/>
                      <a:pt x="579" y="62"/>
                    </a:cubicBezTo>
                    <a:cubicBezTo>
                      <a:pt x="579" y="126"/>
                      <a:pt x="579" y="190"/>
                      <a:pt x="579" y="254"/>
                    </a:cubicBezTo>
                    <a:cubicBezTo>
                      <a:pt x="579" y="258"/>
                      <a:pt x="579" y="262"/>
                      <a:pt x="579" y="266"/>
                    </a:cubicBezTo>
                    <a:cubicBezTo>
                      <a:pt x="579" y="269"/>
                      <a:pt x="580" y="270"/>
                      <a:pt x="583" y="270"/>
                    </a:cubicBezTo>
                    <a:cubicBezTo>
                      <a:pt x="588" y="270"/>
                      <a:pt x="593" y="270"/>
                      <a:pt x="598" y="270"/>
                    </a:cubicBezTo>
                    <a:cubicBezTo>
                      <a:pt x="601" y="270"/>
                      <a:pt x="602" y="269"/>
                      <a:pt x="602" y="265"/>
                    </a:cubicBezTo>
                    <a:cubicBezTo>
                      <a:pt x="602" y="239"/>
                      <a:pt x="602" y="213"/>
                      <a:pt x="602" y="187"/>
                    </a:cubicBezTo>
                    <a:cubicBezTo>
                      <a:pt x="602" y="175"/>
                      <a:pt x="606" y="164"/>
                      <a:pt x="614" y="154"/>
                    </a:cubicBezTo>
                    <a:cubicBezTo>
                      <a:pt x="625" y="143"/>
                      <a:pt x="637" y="140"/>
                      <a:pt x="652" y="143"/>
                    </a:cubicBezTo>
                    <a:cubicBezTo>
                      <a:pt x="666" y="147"/>
                      <a:pt x="671" y="157"/>
                      <a:pt x="674" y="170"/>
                    </a:cubicBezTo>
                    <a:cubicBezTo>
                      <a:pt x="675" y="177"/>
                      <a:pt x="676" y="184"/>
                      <a:pt x="676" y="191"/>
                    </a:cubicBezTo>
                    <a:cubicBezTo>
                      <a:pt x="676" y="215"/>
                      <a:pt x="676" y="240"/>
                      <a:pt x="675" y="265"/>
                    </a:cubicBezTo>
                    <a:cubicBezTo>
                      <a:pt x="675" y="269"/>
                      <a:pt x="677" y="270"/>
                      <a:pt x="681" y="270"/>
                    </a:cubicBezTo>
                    <a:cubicBezTo>
                      <a:pt x="686" y="270"/>
                      <a:pt x="690" y="270"/>
                      <a:pt x="695" y="270"/>
                    </a:cubicBezTo>
                    <a:cubicBezTo>
                      <a:pt x="698" y="270"/>
                      <a:pt x="699" y="269"/>
                      <a:pt x="699" y="265"/>
                    </a:cubicBezTo>
                    <a:cubicBezTo>
                      <a:pt x="699" y="237"/>
                      <a:pt x="699" y="209"/>
                      <a:pt x="699" y="181"/>
                    </a:cubicBezTo>
                    <a:cubicBezTo>
                      <a:pt x="699" y="174"/>
                      <a:pt x="698" y="167"/>
                      <a:pt x="697" y="160"/>
                    </a:cubicBezTo>
                    <a:cubicBezTo>
                      <a:pt x="694" y="147"/>
                      <a:pt x="688" y="135"/>
                      <a:pt x="675" y="128"/>
                    </a:cubicBezTo>
                    <a:cubicBezTo>
                      <a:pt x="656" y="117"/>
                      <a:pt x="628" y="122"/>
                      <a:pt x="612" y="137"/>
                    </a:cubicBezTo>
                    <a:cubicBezTo>
                      <a:pt x="609" y="141"/>
                      <a:pt x="606" y="145"/>
                      <a:pt x="602" y="149"/>
                    </a:cubicBezTo>
                    <a:cubicBezTo>
                      <a:pt x="602" y="147"/>
                      <a:pt x="602" y="145"/>
                      <a:pt x="602" y="143"/>
                    </a:cubicBezTo>
                    <a:close/>
                    <a:moveTo>
                      <a:pt x="541" y="75"/>
                    </a:moveTo>
                    <a:cubicBezTo>
                      <a:pt x="541" y="72"/>
                      <a:pt x="541" y="71"/>
                      <a:pt x="538" y="70"/>
                    </a:cubicBezTo>
                    <a:cubicBezTo>
                      <a:pt x="532" y="68"/>
                      <a:pt x="526" y="66"/>
                      <a:pt x="520" y="66"/>
                    </a:cubicBezTo>
                    <a:cubicBezTo>
                      <a:pt x="503" y="64"/>
                      <a:pt x="485" y="64"/>
                      <a:pt x="469" y="71"/>
                    </a:cubicBezTo>
                    <a:cubicBezTo>
                      <a:pt x="429" y="89"/>
                      <a:pt x="430" y="136"/>
                      <a:pt x="453" y="156"/>
                    </a:cubicBezTo>
                    <a:cubicBezTo>
                      <a:pt x="463" y="165"/>
                      <a:pt x="474" y="172"/>
                      <a:pt x="485" y="178"/>
                    </a:cubicBezTo>
                    <a:cubicBezTo>
                      <a:pt x="496" y="184"/>
                      <a:pt x="507" y="191"/>
                      <a:pt x="516" y="200"/>
                    </a:cubicBezTo>
                    <a:cubicBezTo>
                      <a:pt x="525" y="209"/>
                      <a:pt x="527" y="220"/>
                      <a:pt x="523" y="232"/>
                    </a:cubicBezTo>
                    <a:cubicBezTo>
                      <a:pt x="520" y="243"/>
                      <a:pt x="511" y="248"/>
                      <a:pt x="500" y="251"/>
                    </a:cubicBezTo>
                    <a:cubicBezTo>
                      <a:pt x="490" y="253"/>
                      <a:pt x="480" y="252"/>
                      <a:pt x="469" y="250"/>
                    </a:cubicBezTo>
                    <a:cubicBezTo>
                      <a:pt x="458" y="247"/>
                      <a:pt x="447" y="242"/>
                      <a:pt x="437" y="234"/>
                    </a:cubicBezTo>
                    <a:cubicBezTo>
                      <a:pt x="437" y="242"/>
                      <a:pt x="438" y="250"/>
                      <a:pt x="437" y="257"/>
                    </a:cubicBezTo>
                    <a:cubicBezTo>
                      <a:pt x="437" y="261"/>
                      <a:pt x="438" y="263"/>
                      <a:pt x="442" y="265"/>
                    </a:cubicBezTo>
                    <a:cubicBezTo>
                      <a:pt x="464" y="273"/>
                      <a:pt x="486" y="277"/>
                      <a:pt x="509" y="270"/>
                    </a:cubicBezTo>
                    <a:cubicBezTo>
                      <a:pt x="529" y="265"/>
                      <a:pt x="544" y="253"/>
                      <a:pt x="549" y="231"/>
                    </a:cubicBezTo>
                    <a:cubicBezTo>
                      <a:pt x="553" y="209"/>
                      <a:pt x="546" y="191"/>
                      <a:pt x="528" y="178"/>
                    </a:cubicBezTo>
                    <a:cubicBezTo>
                      <a:pt x="517" y="169"/>
                      <a:pt x="505" y="162"/>
                      <a:pt x="493" y="155"/>
                    </a:cubicBezTo>
                    <a:cubicBezTo>
                      <a:pt x="485" y="151"/>
                      <a:pt x="477" y="146"/>
                      <a:pt x="471" y="139"/>
                    </a:cubicBezTo>
                    <a:cubicBezTo>
                      <a:pt x="456" y="124"/>
                      <a:pt x="461" y="100"/>
                      <a:pt x="480" y="90"/>
                    </a:cubicBezTo>
                    <a:cubicBezTo>
                      <a:pt x="485" y="88"/>
                      <a:pt x="490" y="87"/>
                      <a:pt x="496" y="86"/>
                    </a:cubicBezTo>
                    <a:cubicBezTo>
                      <a:pt x="512" y="86"/>
                      <a:pt x="527" y="88"/>
                      <a:pt x="541" y="99"/>
                    </a:cubicBezTo>
                    <a:cubicBezTo>
                      <a:pt x="541" y="90"/>
                      <a:pt x="541" y="82"/>
                      <a:pt x="541" y="75"/>
                    </a:cubicBezTo>
                    <a:close/>
                    <a:moveTo>
                      <a:pt x="1488" y="129"/>
                    </a:moveTo>
                    <a:cubicBezTo>
                      <a:pt x="1488" y="127"/>
                      <a:pt x="1488" y="125"/>
                      <a:pt x="1484" y="126"/>
                    </a:cubicBezTo>
                    <a:cubicBezTo>
                      <a:pt x="1479" y="126"/>
                      <a:pt x="1474" y="126"/>
                      <a:pt x="1468" y="126"/>
                    </a:cubicBezTo>
                    <a:cubicBezTo>
                      <a:pt x="1465" y="126"/>
                      <a:pt x="1465" y="127"/>
                      <a:pt x="1465" y="129"/>
                    </a:cubicBezTo>
                    <a:cubicBezTo>
                      <a:pt x="1465" y="175"/>
                      <a:pt x="1465" y="220"/>
                      <a:pt x="1465" y="266"/>
                    </a:cubicBezTo>
                    <a:cubicBezTo>
                      <a:pt x="1465" y="269"/>
                      <a:pt x="1466" y="270"/>
                      <a:pt x="1469" y="270"/>
                    </a:cubicBezTo>
                    <a:cubicBezTo>
                      <a:pt x="1474" y="270"/>
                      <a:pt x="1478" y="270"/>
                      <a:pt x="1483" y="270"/>
                    </a:cubicBezTo>
                    <a:cubicBezTo>
                      <a:pt x="1487" y="270"/>
                      <a:pt x="1488" y="269"/>
                      <a:pt x="1488" y="265"/>
                    </a:cubicBezTo>
                    <a:cubicBezTo>
                      <a:pt x="1488" y="239"/>
                      <a:pt x="1488" y="212"/>
                      <a:pt x="1488" y="186"/>
                    </a:cubicBezTo>
                    <a:cubicBezTo>
                      <a:pt x="1488" y="172"/>
                      <a:pt x="1493" y="160"/>
                      <a:pt x="1504" y="151"/>
                    </a:cubicBezTo>
                    <a:cubicBezTo>
                      <a:pt x="1525" y="133"/>
                      <a:pt x="1553" y="142"/>
                      <a:pt x="1559" y="169"/>
                    </a:cubicBezTo>
                    <a:cubicBezTo>
                      <a:pt x="1561" y="175"/>
                      <a:pt x="1561" y="182"/>
                      <a:pt x="1561" y="188"/>
                    </a:cubicBezTo>
                    <a:cubicBezTo>
                      <a:pt x="1561" y="214"/>
                      <a:pt x="1561" y="239"/>
                      <a:pt x="1561" y="265"/>
                    </a:cubicBezTo>
                    <a:cubicBezTo>
                      <a:pt x="1561" y="269"/>
                      <a:pt x="1562" y="270"/>
                      <a:pt x="1566" y="270"/>
                    </a:cubicBezTo>
                    <a:cubicBezTo>
                      <a:pt x="1571" y="270"/>
                      <a:pt x="1575" y="270"/>
                      <a:pt x="1580" y="270"/>
                    </a:cubicBezTo>
                    <a:cubicBezTo>
                      <a:pt x="1584" y="270"/>
                      <a:pt x="1584" y="269"/>
                      <a:pt x="1584" y="265"/>
                    </a:cubicBezTo>
                    <a:cubicBezTo>
                      <a:pt x="1584" y="237"/>
                      <a:pt x="1584" y="209"/>
                      <a:pt x="1584" y="180"/>
                    </a:cubicBezTo>
                    <a:cubicBezTo>
                      <a:pt x="1584" y="175"/>
                      <a:pt x="1584" y="169"/>
                      <a:pt x="1583" y="164"/>
                    </a:cubicBezTo>
                    <a:cubicBezTo>
                      <a:pt x="1577" y="131"/>
                      <a:pt x="1555" y="118"/>
                      <a:pt x="1524" y="123"/>
                    </a:cubicBezTo>
                    <a:cubicBezTo>
                      <a:pt x="1508" y="126"/>
                      <a:pt x="1497" y="135"/>
                      <a:pt x="1488" y="149"/>
                    </a:cubicBezTo>
                    <a:cubicBezTo>
                      <a:pt x="1488" y="142"/>
                      <a:pt x="1488" y="136"/>
                      <a:pt x="1488" y="129"/>
                    </a:cubicBezTo>
                    <a:close/>
                    <a:moveTo>
                      <a:pt x="1681" y="252"/>
                    </a:moveTo>
                    <a:cubicBezTo>
                      <a:pt x="1667" y="257"/>
                      <a:pt x="1654" y="251"/>
                      <a:pt x="1651" y="237"/>
                    </a:cubicBezTo>
                    <a:cubicBezTo>
                      <a:pt x="1651" y="234"/>
                      <a:pt x="1651" y="232"/>
                      <a:pt x="1651" y="229"/>
                    </a:cubicBezTo>
                    <a:cubicBezTo>
                      <a:pt x="1651" y="203"/>
                      <a:pt x="1651" y="176"/>
                      <a:pt x="1651" y="150"/>
                    </a:cubicBezTo>
                    <a:cubicBezTo>
                      <a:pt x="1651" y="147"/>
                      <a:pt x="1651" y="146"/>
                      <a:pt x="1655" y="146"/>
                    </a:cubicBezTo>
                    <a:cubicBezTo>
                      <a:pt x="1664" y="146"/>
                      <a:pt x="1674" y="146"/>
                      <a:pt x="1683" y="146"/>
                    </a:cubicBezTo>
                    <a:cubicBezTo>
                      <a:pt x="1686" y="146"/>
                      <a:pt x="1687" y="145"/>
                      <a:pt x="1687" y="142"/>
                    </a:cubicBezTo>
                    <a:cubicBezTo>
                      <a:pt x="1687" y="138"/>
                      <a:pt x="1687" y="134"/>
                      <a:pt x="1687" y="129"/>
                    </a:cubicBezTo>
                    <a:cubicBezTo>
                      <a:pt x="1687" y="126"/>
                      <a:pt x="1686" y="126"/>
                      <a:pt x="1683" y="126"/>
                    </a:cubicBezTo>
                    <a:cubicBezTo>
                      <a:pt x="1674" y="126"/>
                      <a:pt x="1664" y="126"/>
                      <a:pt x="1655" y="126"/>
                    </a:cubicBezTo>
                    <a:cubicBezTo>
                      <a:pt x="1651" y="126"/>
                      <a:pt x="1650" y="125"/>
                      <a:pt x="1651" y="121"/>
                    </a:cubicBezTo>
                    <a:cubicBezTo>
                      <a:pt x="1651" y="110"/>
                      <a:pt x="1651" y="99"/>
                      <a:pt x="1651" y="87"/>
                    </a:cubicBezTo>
                    <a:cubicBezTo>
                      <a:pt x="1651" y="85"/>
                      <a:pt x="1651" y="83"/>
                      <a:pt x="1647" y="84"/>
                    </a:cubicBezTo>
                    <a:cubicBezTo>
                      <a:pt x="1641" y="86"/>
                      <a:pt x="1636" y="88"/>
                      <a:pt x="1630" y="90"/>
                    </a:cubicBezTo>
                    <a:cubicBezTo>
                      <a:pt x="1628" y="90"/>
                      <a:pt x="1627" y="91"/>
                      <a:pt x="1627" y="94"/>
                    </a:cubicBezTo>
                    <a:cubicBezTo>
                      <a:pt x="1627" y="103"/>
                      <a:pt x="1627" y="113"/>
                      <a:pt x="1627" y="122"/>
                    </a:cubicBezTo>
                    <a:cubicBezTo>
                      <a:pt x="1627" y="125"/>
                      <a:pt x="1627" y="126"/>
                      <a:pt x="1624" y="126"/>
                    </a:cubicBezTo>
                    <a:cubicBezTo>
                      <a:pt x="1618" y="126"/>
                      <a:pt x="1612" y="126"/>
                      <a:pt x="1606" y="126"/>
                    </a:cubicBezTo>
                    <a:cubicBezTo>
                      <a:pt x="1603" y="126"/>
                      <a:pt x="1602" y="126"/>
                      <a:pt x="1602" y="129"/>
                    </a:cubicBezTo>
                    <a:cubicBezTo>
                      <a:pt x="1602" y="133"/>
                      <a:pt x="1602" y="138"/>
                      <a:pt x="1602" y="143"/>
                    </a:cubicBezTo>
                    <a:cubicBezTo>
                      <a:pt x="1602" y="145"/>
                      <a:pt x="1603" y="146"/>
                      <a:pt x="1605" y="146"/>
                    </a:cubicBezTo>
                    <a:cubicBezTo>
                      <a:pt x="1611" y="146"/>
                      <a:pt x="1617" y="146"/>
                      <a:pt x="1623" y="146"/>
                    </a:cubicBezTo>
                    <a:cubicBezTo>
                      <a:pt x="1626" y="145"/>
                      <a:pt x="1627" y="146"/>
                      <a:pt x="1627" y="150"/>
                    </a:cubicBezTo>
                    <a:cubicBezTo>
                      <a:pt x="1627" y="178"/>
                      <a:pt x="1627" y="206"/>
                      <a:pt x="1627" y="233"/>
                    </a:cubicBezTo>
                    <a:cubicBezTo>
                      <a:pt x="1627" y="244"/>
                      <a:pt x="1630" y="254"/>
                      <a:pt x="1637" y="263"/>
                    </a:cubicBezTo>
                    <a:cubicBezTo>
                      <a:pt x="1648" y="276"/>
                      <a:pt x="1673" y="275"/>
                      <a:pt x="1685" y="270"/>
                    </a:cubicBezTo>
                    <a:cubicBezTo>
                      <a:pt x="1686" y="269"/>
                      <a:pt x="1687" y="268"/>
                      <a:pt x="1687" y="266"/>
                    </a:cubicBezTo>
                    <a:cubicBezTo>
                      <a:pt x="1687" y="261"/>
                      <a:pt x="1687" y="255"/>
                      <a:pt x="1687" y="249"/>
                    </a:cubicBezTo>
                    <a:cubicBezTo>
                      <a:pt x="1685" y="250"/>
                      <a:pt x="1683" y="251"/>
                      <a:pt x="1681" y="252"/>
                    </a:cubicBezTo>
                    <a:close/>
                    <a:moveTo>
                      <a:pt x="947" y="130"/>
                    </a:moveTo>
                    <a:cubicBezTo>
                      <a:pt x="948" y="125"/>
                      <a:pt x="945" y="124"/>
                      <a:pt x="941" y="124"/>
                    </a:cubicBezTo>
                    <a:cubicBezTo>
                      <a:pt x="921" y="121"/>
                      <a:pt x="906" y="130"/>
                      <a:pt x="898" y="149"/>
                    </a:cubicBezTo>
                    <a:cubicBezTo>
                      <a:pt x="897" y="151"/>
                      <a:pt x="897" y="153"/>
                      <a:pt x="895" y="154"/>
                    </a:cubicBezTo>
                    <a:cubicBezTo>
                      <a:pt x="895" y="145"/>
                      <a:pt x="895" y="137"/>
                      <a:pt x="895" y="129"/>
                    </a:cubicBezTo>
                    <a:cubicBezTo>
                      <a:pt x="895" y="127"/>
                      <a:pt x="895" y="126"/>
                      <a:pt x="892" y="126"/>
                    </a:cubicBezTo>
                    <a:cubicBezTo>
                      <a:pt x="886" y="126"/>
                      <a:pt x="880" y="126"/>
                      <a:pt x="875" y="126"/>
                    </a:cubicBezTo>
                    <a:cubicBezTo>
                      <a:pt x="872" y="126"/>
                      <a:pt x="872" y="127"/>
                      <a:pt x="872" y="129"/>
                    </a:cubicBezTo>
                    <a:cubicBezTo>
                      <a:pt x="872" y="134"/>
                      <a:pt x="872" y="140"/>
                      <a:pt x="872" y="146"/>
                    </a:cubicBezTo>
                    <a:cubicBezTo>
                      <a:pt x="872" y="185"/>
                      <a:pt x="872" y="225"/>
                      <a:pt x="872" y="265"/>
                    </a:cubicBezTo>
                    <a:cubicBezTo>
                      <a:pt x="872" y="269"/>
                      <a:pt x="872" y="270"/>
                      <a:pt x="876" y="270"/>
                    </a:cubicBezTo>
                    <a:cubicBezTo>
                      <a:pt x="880" y="270"/>
                      <a:pt x="884" y="270"/>
                      <a:pt x="888" y="270"/>
                    </a:cubicBezTo>
                    <a:cubicBezTo>
                      <a:pt x="895" y="270"/>
                      <a:pt x="895" y="270"/>
                      <a:pt x="895" y="263"/>
                    </a:cubicBezTo>
                    <a:cubicBezTo>
                      <a:pt x="895" y="241"/>
                      <a:pt x="895" y="218"/>
                      <a:pt x="895" y="195"/>
                    </a:cubicBezTo>
                    <a:cubicBezTo>
                      <a:pt x="895" y="185"/>
                      <a:pt x="897" y="175"/>
                      <a:pt x="901" y="165"/>
                    </a:cubicBezTo>
                    <a:cubicBezTo>
                      <a:pt x="906" y="156"/>
                      <a:pt x="912" y="147"/>
                      <a:pt x="924" y="145"/>
                    </a:cubicBezTo>
                    <a:cubicBezTo>
                      <a:pt x="932" y="144"/>
                      <a:pt x="939" y="145"/>
                      <a:pt x="947" y="149"/>
                    </a:cubicBezTo>
                    <a:cubicBezTo>
                      <a:pt x="947" y="142"/>
                      <a:pt x="947" y="136"/>
                      <a:pt x="947" y="130"/>
                    </a:cubicBezTo>
                    <a:close/>
                    <a:moveTo>
                      <a:pt x="1426" y="131"/>
                    </a:moveTo>
                    <a:cubicBezTo>
                      <a:pt x="1426" y="126"/>
                      <a:pt x="1425" y="125"/>
                      <a:pt x="1421" y="126"/>
                    </a:cubicBezTo>
                    <a:cubicBezTo>
                      <a:pt x="1416" y="126"/>
                      <a:pt x="1412" y="126"/>
                      <a:pt x="1408" y="126"/>
                    </a:cubicBezTo>
                    <a:cubicBezTo>
                      <a:pt x="1404" y="125"/>
                      <a:pt x="1402" y="126"/>
                      <a:pt x="1403" y="130"/>
                    </a:cubicBezTo>
                    <a:cubicBezTo>
                      <a:pt x="1403" y="151"/>
                      <a:pt x="1403" y="171"/>
                      <a:pt x="1403" y="192"/>
                    </a:cubicBezTo>
                    <a:cubicBezTo>
                      <a:pt x="1403" y="216"/>
                      <a:pt x="1403" y="240"/>
                      <a:pt x="1403" y="265"/>
                    </a:cubicBezTo>
                    <a:cubicBezTo>
                      <a:pt x="1402" y="269"/>
                      <a:pt x="1404" y="270"/>
                      <a:pt x="1408" y="270"/>
                    </a:cubicBezTo>
                    <a:cubicBezTo>
                      <a:pt x="1412" y="270"/>
                      <a:pt x="1417" y="270"/>
                      <a:pt x="1421" y="270"/>
                    </a:cubicBezTo>
                    <a:cubicBezTo>
                      <a:pt x="1425" y="270"/>
                      <a:pt x="1426" y="269"/>
                      <a:pt x="1426" y="265"/>
                    </a:cubicBezTo>
                    <a:cubicBezTo>
                      <a:pt x="1426" y="243"/>
                      <a:pt x="1426" y="220"/>
                      <a:pt x="1426" y="198"/>
                    </a:cubicBezTo>
                    <a:cubicBezTo>
                      <a:pt x="1426" y="176"/>
                      <a:pt x="1426" y="153"/>
                      <a:pt x="1426" y="131"/>
                    </a:cubicBezTo>
                    <a:close/>
                    <a:moveTo>
                      <a:pt x="1430" y="74"/>
                    </a:moveTo>
                    <a:cubicBezTo>
                      <a:pt x="1430" y="66"/>
                      <a:pt x="1423" y="59"/>
                      <a:pt x="1415" y="59"/>
                    </a:cubicBezTo>
                    <a:cubicBezTo>
                      <a:pt x="1406" y="59"/>
                      <a:pt x="1399" y="66"/>
                      <a:pt x="1399" y="74"/>
                    </a:cubicBezTo>
                    <a:cubicBezTo>
                      <a:pt x="1399" y="83"/>
                      <a:pt x="1406" y="89"/>
                      <a:pt x="1415" y="89"/>
                    </a:cubicBezTo>
                    <a:cubicBezTo>
                      <a:pt x="1423" y="89"/>
                      <a:pt x="1430" y="83"/>
                      <a:pt x="1430" y="74"/>
                    </a:cubicBezTo>
                    <a:close/>
                    <a:moveTo>
                      <a:pt x="197" y="332"/>
                    </a:moveTo>
                    <a:cubicBezTo>
                      <a:pt x="197" y="336"/>
                      <a:pt x="196" y="337"/>
                      <a:pt x="192" y="336"/>
                    </a:cubicBezTo>
                    <a:cubicBezTo>
                      <a:pt x="129" y="325"/>
                      <a:pt x="66" y="314"/>
                      <a:pt x="4" y="303"/>
                    </a:cubicBezTo>
                    <a:cubicBezTo>
                      <a:pt x="0" y="302"/>
                      <a:pt x="0" y="301"/>
                      <a:pt x="0" y="298"/>
                    </a:cubicBezTo>
                    <a:cubicBezTo>
                      <a:pt x="0" y="212"/>
                      <a:pt x="0" y="126"/>
                      <a:pt x="0" y="39"/>
                    </a:cubicBezTo>
                    <a:cubicBezTo>
                      <a:pt x="0" y="36"/>
                      <a:pt x="1" y="35"/>
                      <a:pt x="4" y="35"/>
                    </a:cubicBezTo>
                    <a:cubicBezTo>
                      <a:pt x="67" y="23"/>
                      <a:pt x="129" y="12"/>
                      <a:pt x="191" y="1"/>
                    </a:cubicBezTo>
                    <a:cubicBezTo>
                      <a:pt x="196" y="0"/>
                      <a:pt x="197" y="1"/>
                      <a:pt x="197" y="6"/>
                    </a:cubicBezTo>
                    <a:cubicBezTo>
                      <a:pt x="197" y="60"/>
                      <a:pt x="197" y="114"/>
                      <a:pt x="197" y="169"/>
                    </a:cubicBezTo>
                    <a:cubicBezTo>
                      <a:pt x="197" y="223"/>
                      <a:pt x="197" y="278"/>
                      <a:pt x="197" y="332"/>
                    </a:cubicBezTo>
                    <a:close/>
                    <a:moveTo>
                      <a:pt x="106" y="164"/>
                    </a:moveTo>
                    <a:cubicBezTo>
                      <a:pt x="100" y="160"/>
                      <a:pt x="94" y="156"/>
                      <a:pt x="87" y="151"/>
                    </a:cubicBezTo>
                    <a:cubicBezTo>
                      <a:pt x="80" y="146"/>
                      <a:pt x="78" y="138"/>
                      <a:pt x="81" y="131"/>
                    </a:cubicBezTo>
                    <a:cubicBezTo>
                      <a:pt x="84" y="124"/>
                      <a:pt x="91" y="121"/>
                      <a:pt x="100" y="122"/>
                    </a:cubicBezTo>
                    <a:cubicBezTo>
                      <a:pt x="107" y="123"/>
                      <a:pt x="114" y="126"/>
                      <a:pt x="120" y="130"/>
                    </a:cubicBezTo>
                    <a:cubicBezTo>
                      <a:pt x="120" y="121"/>
                      <a:pt x="120" y="113"/>
                      <a:pt x="120" y="104"/>
                    </a:cubicBezTo>
                    <a:cubicBezTo>
                      <a:pt x="120" y="102"/>
                      <a:pt x="119" y="101"/>
                      <a:pt x="117" y="101"/>
                    </a:cubicBezTo>
                    <a:cubicBezTo>
                      <a:pt x="105" y="97"/>
                      <a:pt x="93" y="97"/>
                      <a:pt x="82" y="101"/>
                    </a:cubicBezTo>
                    <a:cubicBezTo>
                      <a:pt x="56" y="109"/>
                      <a:pt x="47" y="143"/>
                      <a:pt x="64" y="166"/>
                    </a:cubicBezTo>
                    <a:cubicBezTo>
                      <a:pt x="69" y="172"/>
                      <a:pt x="75" y="176"/>
                      <a:pt x="81" y="180"/>
                    </a:cubicBezTo>
                    <a:cubicBezTo>
                      <a:pt x="87" y="184"/>
                      <a:pt x="93" y="187"/>
                      <a:pt x="96" y="193"/>
                    </a:cubicBezTo>
                    <a:cubicBezTo>
                      <a:pt x="99" y="198"/>
                      <a:pt x="100" y="203"/>
                      <a:pt x="97" y="209"/>
                    </a:cubicBezTo>
                    <a:cubicBezTo>
                      <a:pt x="95" y="214"/>
                      <a:pt x="90" y="215"/>
                      <a:pt x="84" y="215"/>
                    </a:cubicBezTo>
                    <a:cubicBezTo>
                      <a:pt x="81" y="215"/>
                      <a:pt x="78" y="215"/>
                      <a:pt x="75" y="214"/>
                    </a:cubicBezTo>
                    <a:cubicBezTo>
                      <a:pt x="68" y="212"/>
                      <a:pt x="62" y="207"/>
                      <a:pt x="56" y="201"/>
                    </a:cubicBezTo>
                    <a:cubicBezTo>
                      <a:pt x="56" y="210"/>
                      <a:pt x="57" y="218"/>
                      <a:pt x="56" y="226"/>
                    </a:cubicBezTo>
                    <a:cubicBezTo>
                      <a:pt x="56" y="229"/>
                      <a:pt x="57" y="231"/>
                      <a:pt x="60" y="233"/>
                    </a:cubicBezTo>
                    <a:cubicBezTo>
                      <a:pt x="68" y="237"/>
                      <a:pt x="77" y="239"/>
                      <a:pt x="86" y="239"/>
                    </a:cubicBezTo>
                    <a:cubicBezTo>
                      <a:pt x="105" y="240"/>
                      <a:pt x="119" y="230"/>
                      <a:pt x="123" y="213"/>
                    </a:cubicBezTo>
                    <a:cubicBezTo>
                      <a:pt x="128" y="193"/>
                      <a:pt x="123" y="176"/>
                      <a:pt x="106" y="164"/>
                    </a:cubicBezTo>
                    <a:close/>
                    <a:moveTo>
                      <a:pt x="1167" y="193"/>
                    </a:moveTo>
                    <a:cubicBezTo>
                      <a:pt x="1155" y="194"/>
                      <a:pt x="1144" y="194"/>
                      <a:pt x="1132" y="194"/>
                    </a:cubicBezTo>
                    <a:cubicBezTo>
                      <a:pt x="1129" y="194"/>
                      <a:pt x="1128" y="194"/>
                      <a:pt x="1128" y="198"/>
                    </a:cubicBezTo>
                    <a:cubicBezTo>
                      <a:pt x="1128" y="220"/>
                      <a:pt x="1128" y="243"/>
                      <a:pt x="1128" y="265"/>
                    </a:cubicBezTo>
                    <a:cubicBezTo>
                      <a:pt x="1128" y="269"/>
                      <a:pt x="1127" y="270"/>
                      <a:pt x="1123" y="270"/>
                    </a:cubicBezTo>
                    <a:cubicBezTo>
                      <a:pt x="1118" y="270"/>
                      <a:pt x="1113" y="270"/>
                      <a:pt x="1108" y="270"/>
                    </a:cubicBezTo>
                    <a:cubicBezTo>
                      <a:pt x="1104" y="270"/>
                      <a:pt x="1104" y="268"/>
                      <a:pt x="1104" y="265"/>
                    </a:cubicBezTo>
                    <a:cubicBezTo>
                      <a:pt x="1104" y="235"/>
                      <a:pt x="1104" y="206"/>
                      <a:pt x="1104" y="176"/>
                    </a:cubicBezTo>
                    <a:cubicBezTo>
                      <a:pt x="1104" y="173"/>
                      <a:pt x="1104" y="171"/>
                      <a:pt x="1104" y="169"/>
                    </a:cubicBezTo>
                    <a:cubicBezTo>
                      <a:pt x="1104" y="137"/>
                      <a:pt x="1104" y="105"/>
                      <a:pt x="1104" y="73"/>
                    </a:cubicBezTo>
                    <a:cubicBezTo>
                      <a:pt x="1104" y="69"/>
                      <a:pt x="1105" y="68"/>
                      <a:pt x="1109" y="68"/>
                    </a:cubicBezTo>
                    <a:cubicBezTo>
                      <a:pt x="1127" y="68"/>
                      <a:pt x="1144" y="68"/>
                      <a:pt x="1162" y="68"/>
                    </a:cubicBezTo>
                    <a:cubicBezTo>
                      <a:pt x="1179" y="68"/>
                      <a:pt x="1196" y="72"/>
                      <a:pt x="1209" y="83"/>
                    </a:cubicBezTo>
                    <a:cubicBezTo>
                      <a:pt x="1222" y="94"/>
                      <a:pt x="1227" y="108"/>
                      <a:pt x="1228" y="123"/>
                    </a:cubicBezTo>
                    <a:cubicBezTo>
                      <a:pt x="1230" y="161"/>
                      <a:pt x="1205" y="189"/>
                      <a:pt x="1167" y="193"/>
                    </a:cubicBezTo>
                    <a:close/>
                    <a:moveTo>
                      <a:pt x="1170" y="91"/>
                    </a:moveTo>
                    <a:cubicBezTo>
                      <a:pt x="1158" y="89"/>
                      <a:pt x="1145" y="90"/>
                      <a:pt x="1132" y="90"/>
                    </a:cubicBezTo>
                    <a:cubicBezTo>
                      <a:pt x="1129" y="90"/>
                      <a:pt x="1128" y="90"/>
                      <a:pt x="1128" y="94"/>
                    </a:cubicBezTo>
                    <a:cubicBezTo>
                      <a:pt x="1128" y="106"/>
                      <a:pt x="1128" y="119"/>
                      <a:pt x="1128" y="131"/>
                    </a:cubicBezTo>
                    <a:cubicBezTo>
                      <a:pt x="1128" y="143"/>
                      <a:pt x="1128" y="156"/>
                      <a:pt x="1128" y="168"/>
                    </a:cubicBezTo>
                    <a:cubicBezTo>
                      <a:pt x="1128" y="171"/>
                      <a:pt x="1129" y="172"/>
                      <a:pt x="1132" y="172"/>
                    </a:cubicBezTo>
                    <a:cubicBezTo>
                      <a:pt x="1141" y="172"/>
                      <a:pt x="1151" y="172"/>
                      <a:pt x="1161" y="172"/>
                    </a:cubicBezTo>
                    <a:cubicBezTo>
                      <a:pt x="1185" y="170"/>
                      <a:pt x="1200" y="158"/>
                      <a:pt x="1202" y="136"/>
                    </a:cubicBezTo>
                    <a:cubicBezTo>
                      <a:pt x="1205" y="113"/>
                      <a:pt x="1196" y="95"/>
                      <a:pt x="1170" y="91"/>
                    </a:cubicBezTo>
                    <a:close/>
                    <a:moveTo>
                      <a:pt x="1075" y="201"/>
                    </a:moveTo>
                    <a:cubicBezTo>
                      <a:pt x="1075" y="205"/>
                      <a:pt x="1073" y="204"/>
                      <a:pt x="1071" y="204"/>
                    </a:cubicBezTo>
                    <a:cubicBezTo>
                      <a:pt x="1040" y="204"/>
                      <a:pt x="1010" y="204"/>
                      <a:pt x="980" y="204"/>
                    </a:cubicBezTo>
                    <a:cubicBezTo>
                      <a:pt x="973" y="204"/>
                      <a:pt x="974" y="204"/>
                      <a:pt x="974" y="210"/>
                    </a:cubicBezTo>
                    <a:cubicBezTo>
                      <a:pt x="975" y="223"/>
                      <a:pt x="979" y="234"/>
                      <a:pt x="989" y="243"/>
                    </a:cubicBezTo>
                    <a:cubicBezTo>
                      <a:pt x="1001" y="253"/>
                      <a:pt x="1015" y="255"/>
                      <a:pt x="1030" y="253"/>
                    </a:cubicBezTo>
                    <a:cubicBezTo>
                      <a:pt x="1043" y="251"/>
                      <a:pt x="1054" y="246"/>
                      <a:pt x="1065" y="238"/>
                    </a:cubicBezTo>
                    <a:cubicBezTo>
                      <a:pt x="1065" y="245"/>
                      <a:pt x="1065" y="251"/>
                      <a:pt x="1065" y="257"/>
                    </a:cubicBezTo>
                    <a:cubicBezTo>
                      <a:pt x="1065" y="260"/>
                      <a:pt x="1063" y="261"/>
                      <a:pt x="1061" y="262"/>
                    </a:cubicBezTo>
                    <a:cubicBezTo>
                      <a:pt x="1044" y="273"/>
                      <a:pt x="1024" y="275"/>
                      <a:pt x="1004" y="273"/>
                    </a:cubicBezTo>
                    <a:cubicBezTo>
                      <a:pt x="986" y="271"/>
                      <a:pt x="972" y="262"/>
                      <a:pt x="962" y="247"/>
                    </a:cubicBezTo>
                    <a:cubicBezTo>
                      <a:pt x="956" y="237"/>
                      <a:pt x="952" y="227"/>
                      <a:pt x="951" y="216"/>
                    </a:cubicBezTo>
                    <a:cubicBezTo>
                      <a:pt x="948" y="195"/>
                      <a:pt x="950" y="175"/>
                      <a:pt x="960" y="156"/>
                    </a:cubicBezTo>
                    <a:cubicBezTo>
                      <a:pt x="980" y="119"/>
                      <a:pt x="1020" y="116"/>
                      <a:pt x="1045" y="129"/>
                    </a:cubicBezTo>
                    <a:cubicBezTo>
                      <a:pt x="1061" y="137"/>
                      <a:pt x="1069" y="152"/>
                      <a:pt x="1073" y="169"/>
                    </a:cubicBezTo>
                    <a:cubicBezTo>
                      <a:pt x="1075" y="180"/>
                      <a:pt x="1075" y="190"/>
                      <a:pt x="1075" y="201"/>
                    </a:cubicBezTo>
                    <a:close/>
                    <a:moveTo>
                      <a:pt x="1051" y="181"/>
                    </a:moveTo>
                    <a:cubicBezTo>
                      <a:pt x="1051" y="152"/>
                      <a:pt x="1031" y="137"/>
                      <a:pt x="1006" y="143"/>
                    </a:cubicBezTo>
                    <a:cubicBezTo>
                      <a:pt x="989" y="147"/>
                      <a:pt x="978" y="163"/>
                      <a:pt x="974" y="181"/>
                    </a:cubicBezTo>
                    <a:cubicBezTo>
                      <a:pt x="974" y="185"/>
                      <a:pt x="976" y="184"/>
                      <a:pt x="978" y="184"/>
                    </a:cubicBezTo>
                    <a:cubicBezTo>
                      <a:pt x="989" y="184"/>
                      <a:pt x="1001" y="184"/>
                      <a:pt x="1012" y="184"/>
                    </a:cubicBezTo>
                    <a:cubicBezTo>
                      <a:pt x="1024" y="184"/>
                      <a:pt x="1036" y="184"/>
                      <a:pt x="1047" y="184"/>
                    </a:cubicBezTo>
                    <a:cubicBezTo>
                      <a:pt x="1049" y="184"/>
                      <a:pt x="1051" y="185"/>
                      <a:pt x="1051" y="181"/>
                    </a:cubicBezTo>
                    <a:close/>
                    <a:moveTo>
                      <a:pt x="1375" y="196"/>
                    </a:moveTo>
                    <a:cubicBezTo>
                      <a:pt x="1375" y="212"/>
                      <a:pt x="1373" y="225"/>
                      <a:pt x="1366" y="238"/>
                    </a:cubicBezTo>
                    <a:cubicBezTo>
                      <a:pt x="1351" y="264"/>
                      <a:pt x="1328" y="274"/>
                      <a:pt x="1299" y="273"/>
                    </a:cubicBezTo>
                    <a:cubicBezTo>
                      <a:pt x="1261" y="272"/>
                      <a:pt x="1235" y="245"/>
                      <a:pt x="1233" y="205"/>
                    </a:cubicBezTo>
                    <a:cubicBezTo>
                      <a:pt x="1233" y="192"/>
                      <a:pt x="1234" y="179"/>
                      <a:pt x="1238" y="167"/>
                    </a:cubicBezTo>
                    <a:cubicBezTo>
                      <a:pt x="1248" y="139"/>
                      <a:pt x="1272" y="123"/>
                      <a:pt x="1303" y="122"/>
                    </a:cubicBezTo>
                    <a:cubicBezTo>
                      <a:pt x="1317" y="122"/>
                      <a:pt x="1330" y="124"/>
                      <a:pt x="1343" y="131"/>
                    </a:cubicBezTo>
                    <a:cubicBezTo>
                      <a:pt x="1361" y="142"/>
                      <a:pt x="1370" y="159"/>
                      <a:pt x="1374" y="180"/>
                    </a:cubicBezTo>
                    <a:cubicBezTo>
                      <a:pt x="1375" y="186"/>
                      <a:pt x="1375" y="191"/>
                      <a:pt x="1375" y="196"/>
                    </a:cubicBezTo>
                    <a:close/>
                    <a:moveTo>
                      <a:pt x="1351" y="197"/>
                    </a:moveTo>
                    <a:cubicBezTo>
                      <a:pt x="1351" y="191"/>
                      <a:pt x="1350" y="184"/>
                      <a:pt x="1349" y="177"/>
                    </a:cubicBezTo>
                    <a:cubicBezTo>
                      <a:pt x="1344" y="156"/>
                      <a:pt x="1330" y="144"/>
                      <a:pt x="1309" y="142"/>
                    </a:cubicBezTo>
                    <a:cubicBezTo>
                      <a:pt x="1287" y="141"/>
                      <a:pt x="1269" y="151"/>
                      <a:pt x="1261" y="171"/>
                    </a:cubicBezTo>
                    <a:cubicBezTo>
                      <a:pt x="1257" y="183"/>
                      <a:pt x="1256" y="195"/>
                      <a:pt x="1257" y="208"/>
                    </a:cubicBezTo>
                    <a:cubicBezTo>
                      <a:pt x="1260" y="238"/>
                      <a:pt x="1280" y="255"/>
                      <a:pt x="1310" y="253"/>
                    </a:cubicBezTo>
                    <a:cubicBezTo>
                      <a:pt x="1326" y="252"/>
                      <a:pt x="1338" y="245"/>
                      <a:pt x="1345" y="230"/>
                    </a:cubicBezTo>
                    <a:cubicBezTo>
                      <a:pt x="1350" y="220"/>
                      <a:pt x="1351" y="209"/>
                      <a:pt x="1351" y="197"/>
                    </a:cubicBezTo>
                    <a:close/>
                    <a:moveTo>
                      <a:pt x="836" y="265"/>
                    </a:moveTo>
                    <a:cubicBezTo>
                      <a:pt x="836" y="269"/>
                      <a:pt x="836" y="270"/>
                      <a:pt x="832" y="270"/>
                    </a:cubicBezTo>
                    <a:cubicBezTo>
                      <a:pt x="827" y="270"/>
                      <a:pt x="822" y="270"/>
                      <a:pt x="817" y="270"/>
                    </a:cubicBezTo>
                    <a:cubicBezTo>
                      <a:pt x="814" y="270"/>
                      <a:pt x="813" y="269"/>
                      <a:pt x="813" y="266"/>
                    </a:cubicBezTo>
                    <a:cubicBezTo>
                      <a:pt x="813" y="260"/>
                      <a:pt x="813" y="254"/>
                      <a:pt x="813" y="247"/>
                    </a:cubicBezTo>
                    <a:cubicBezTo>
                      <a:pt x="812" y="249"/>
                      <a:pt x="812" y="249"/>
                      <a:pt x="811" y="250"/>
                    </a:cubicBezTo>
                    <a:cubicBezTo>
                      <a:pt x="797" y="271"/>
                      <a:pt x="775" y="279"/>
                      <a:pt x="751" y="271"/>
                    </a:cubicBezTo>
                    <a:cubicBezTo>
                      <a:pt x="732" y="265"/>
                      <a:pt x="721" y="249"/>
                      <a:pt x="722" y="228"/>
                    </a:cubicBezTo>
                    <a:cubicBezTo>
                      <a:pt x="724" y="205"/>
                      <a:pt x="737" y="191"/>
                      <a:pt x="761" y="186"/>
                    </a:cubicBezTo>
                    <a:cubicBezTo>
                      <a:pt x="776" y="183"/>
                      <a:pt x="792" y="182"/>
                      <a:pt x="807" y="179"/>
                    </a:cubicBezTo>
                    <a:cubicBezTo>
                      <a:pt x="813" y="178"/>
                      <a:pt x="813" y="179"/>
                      <a:pt x="813" y="172"/>
                    </a:cubicBezTo>
                    <a:cubicBezTo>
                      <a:pt x="813" y="170"/>
                      <a:pt x="812" y="167"/>
                      <a:pt x="812" y="165"/>
                    </a:cubicBezTo>
                    <a:cubicBezTo>
                      <a:pt x="808" y="148"/>
                      <a:pt x="796" y="140"/>
                      <a:pt x="777" y="142"/>
                    </a:cubicBezTo>
                    <a:cubicBezTo>
                      <a:pt x="763" y="144"/>
                      <a:pt x="751" y="149"/>
                      <a:pt x="740" y="157"/>
                    </a:cubicBezTo>
                    <a:cubicBezTo>
                      <a:pt x="739" y="158"/>
                      <a:pt x="738" y="159"/>
                      <a:pt x="736" y="159"/>
                    </a:cubicBezTo>
                    <a:cubicBezTo>
                      <a:pt x="736" y="152"/>
                      <a:pt x="737" y="145"/>
                      <a:pt x="736" y="139"/>
                    </a:cubicBezTo>
                    <a:cubicBezTo>
                      <a:pt x="736" y="136"/>
                      <a:pt x="737" y="135"/>
                      <a:pt x="739" y="134"/>
                    </a:cubicBezTo>
                    <a:cubicBezTo>
                      <a:pt x="759" y="124"/>
                      <a:pt x="780" y="119"/>
                      <a:pt x="803" y="124"/>
                    </a:cubicBezTo>
                    <a:cubicBezTo>
                      <a:pt x="822" y="128"/>
                      <a:pt x="832" y="142"/>
                      <a:pt x="835" y="160"/>
                    </a:cubicBezTo>
                    <a:cubicBezTo>
                      <a:pt x="836" y="164"/>
                      <a:pt x="836" y="169"/>
                      <a:pt x="836" y="174"/>
                    </a:cubicBezTo>
                    <a:cubicBezTo>
                      <a:pt x="836" y="204"/>
                      <a:pt x="836" y="235"/>
                      <a:pt x="836" y="265"/>
                    </a:cubicBezTo>
                    <a:close/>
                    <a:moveTo>
                      <a:pt x="809" y="198"/>
                    </a:moveTo>
                    <a:cubicBezTo>
                      <a:pt x="804" y="198"/>
                      <a:pt x="800" y="199"/>
                      <a:pt x="795" y="200"/>
                    </a:cubicBezTo>
                    <a:cubicBezTo>
                      <a:pt x="784" y="202"/>
                      <a:pt x="772" y="202"/>
                      <a:pt x="761" y="206"/>
                    </a:cubicBezTo>
                    <a:cubicBezTo>
                      <a:pt x="752" y="210"/>
                      <a:pt x="748" y="215"/>
                      <a:pt x="747" y="224"/>
                    </a:cubicBezTo>
                    <a:cubicBezTo>
                      <a:pt x="745" y="234"/>
                      <a:pt x="747" y="242"/>
                      <a:pt x="756" y="248"/>
                    </a:cubicBezTo>
                    <a:cubicBezTo>
                      <a:pt x="767" y="256"/>
                      <a:pt x="786" y="255"/>
                      <a:pt x="798" y="245"/>
                    </a:cubicBezTo>
                    <a:cubicBezTo>
                      <a:pt x="809" y="236"/>
                      <a:pt x="814" y="223"/>
                      <a:pt x="813" y="208"/>
                    </a:cubicBezTo>
                    <a:cubicBezTo>
                      <a:pt x="813" y="206"/>
                      <a:pt x="813" y="203"/>
                      <a:pt x="813" y="201"/>
                    </a:cubicBezTo>
                    <a:cubicBezTo>
                      <a:pt x="814" y="198"/>
                      <a:pt x="812" y="197"/>
                      <a:pt x="809" y="198"/>
                    </a:cubicBezTo>
                    <a:close/>
                  </a:path>
                </a:pathLst>
              </a:custGeom>
              <a:solidFill>
                <a:srgbClr val="0072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5" name="Freeform 53"/>
              <p:cNvSpPr>
                <a:spLocks noEditPoints="1"/>
              </p:cNvSpPr>
              <p:nvPr/>
            </p:nvSpPr>
            <p:spPr bwMode="auto">
              <a:xfrm>
                <a:off x="8758610" y="3478719"/>
                <a:ext cx="1510973" cy="333142"/>
              </a:xfrm>
              <a:custGeom>
                <a:avLst/>
                <a:gdLst>
                  <a:gd name="T0" fmla="*/ 372 w 1709"/>
                  <a:gd name="T1" fmla="*/ 0 h 375"/>
                  <a:gd name="T2" fmla="*/ 160 w 1709"/>
                  <a:gd name="T3" fmla="*/ 193 h 375"/>
                  <a:gd name="T4" fmla="*/ 158 w 1709"/>
                  <a:gd name="T5" fmla="*/ 31 h 375"/>
                  <a:gd name="T6" fmla="*/ 375 w 1709"/>
                  <a:gd name="T7" fmla="*/ 183 h 375"/>
                  <a:gd name="T8" fmla="*/ 176 w 1709"/>
                  <a:gd name="T9" fmla="*/ 347 h 375"/>
                  <a:gd name="T10" fmla="*/ 740 w 1709"/>
                  <a:gd name="T11" fmla="*/ 115 h 375"/>
                  <a:gd name="T12" fmla="*/ 653 w 1709"/>
                  <a:gd name="T13" fmla="*/ 92 h 375"/>
                  <a:gd name="T14" fmla="*/ 583 w 1709"/>
                  <a:gd name="T15" fmla="*/ 212 h 375"/>
                  <a:gd name="T16" fmla="*/ 514 w 1709"/>
                  <a:gd name="T17" fmla="*/ 75 h 375"/>
                  <a:gd name="T18" fmla="*/ 525 w 1709"/>
                  <a:gd name="T19" fmla="*/ 207 h 375"/>
                  <a:gd name="T20" fmla="*/ 606 w 1709"/>
                  <a:gd name="T21" fmla="*/ 220 h 375"/>
                  <a:gd name="T22" fmla="*/ 684 w 1709"/>
                  <a:gd name="T23" fmla="*/ 300 h 375"/>
                  <a:gd name="T24" fmla="*/ 1448 w 1709"/>
                  <a:gd name="T25" fmla="*/ 300 h 375"/>
                  <a:gd name="T26" fmla="*/ 1520 w 1709"/>
                  <a:gd name="T27" fmla="*/ 284 h 375"/>
                  <a:gd name="T28" fmla="*/ 1573 w 1709"/>
                  <a:gd name="T29" fmla="*/ 141 h 375"/>
                  <a:gd name="T30" fmla="*/ 1509 w 1709"/>
                  <a:gd name="T31" fmla="*/ 166 h 375"/>
                  <a:gd name="T32" fmla="*/ 1438 w 1709"/>
                  <a:gd name="T33" fmla="*/ 269 h 375"/>
                  <a:gd name="T34" fmla="*/ 1394 w 1709"/>
                  <a:gd name="T35" fmla="*/ 205 h 375"/>
                  <a:gd name="T36" fmla="*/ 940 w 1709"/>
                  <a:gd name="T37" fmla="*/ 135 h 375"/>
                  <a:gd name="T38" fmla="*/ 890 w 1709"/>
                  <a:gd name="T39" fmla="*/ 300 h 375"/>
                  <a:gd name="T40" fmla="*/ 972 w 1709"/>
                  <a:gd name="T41" fmla="*/ 200 h 375"/>
                  <a:gd name="T42" fmla="*/ 997 w 1709"/>
                  <a:gd name="T43" fmla="*/ 188 h 375"/>
                  <a:gd name="T44" fmla="*/ 1614 w 1709"/>
                  <a:gd name="T45" fmla="*/ 203 h 375"/>
                  <a:gd name="T46" fmla="*/ 1638 w 1709"/>
                  <a:gd name="T47" fmla="*/ 281 h 375"/>
                  <a:gd name="T48" fmla="*/ 1700 w 1709"/>
                  <a:gd name="T49" fmla="*/ 282 h 375"/>
                  <a:gd name="T50" fmla="*/ 1672 w 1709"/>
                  <a:gd name="T51" fmla="*/ 158 h 375"/>
                  <a:gd name="T52" fmla="*/ 823 w 1709"/>
                  <a:gd name="T53" fmla="*/ 300 h 375"/>
                  <a:gd name="T54" fmla="*/ 829 w 1709"/>
                  <a:gd name="T55" fmla="*/ 84 h 375"/>
                  <a:gd name="T56" fmla="*/ 166 w 1709"/>
                  <a:gd name="T57" fmla="*/ 344 h 375"/>
                  <a:gd name="T58" fmla="*/ 1175 w 1709"/>
                  <a:gd name="T59" fmla="*/ 298 h 375"/>
                  <a:gd name="T60" fmla="*/ 1175 w 1709"/>
                  <a:gd name="T61" fmla="*/ 64 h 375"/>
                  <a:gd name="T62" fmla="*/ 802 w 1709"/>
                  <a:gd name="T63" fmla="*/ 300 h 375"/>
                  <a:gd name="T64" fmla="*/ 800 w 1709"/>
                  <a:gd name="T65" fmla="*/ 139 h 375"/>
                  <a:gd name="T66" fmla="*/ 972 w 1709"/>
                  <a:gd name="T67" fmla="*/ 298 h 375"/>
                  <a:gd name="T68" fmla="*/ 706 w 1709"/>
                  <a:gd name="T69" fmla="*/ 300 h 375"/>
                  <a:gd name="T70" fmla="*/ 488 w 1709"/>
                  <a:gd name="T71" fmla="*/ 75 h 375"/>
                  <a:gd name="T72" fmla="*/ 1526 w 1709"/>
                  <a:gd name="T73" fmla="*/ 300 h 375"/>
                  <a:gd name="T74" fmla="*/ 647 w 1709"/>
                  <a:gd name="T75" fmla="*/ 75 h 375"/>
                  <a:gd name="T76" fmla="*/ 1366 w 1709"/>
                  <a:gd name="T77" fmla="*/ 213 h 375"/>
                  <a:gd name="T78" fmla="*/ 947 w 1709"/>
                  <a:gd name="T79" fmla="*/ 136 h 375"/>
                  <a:gd name="T80" fmla="*/ 810 w 1709"/>
                  <a:gd name="T81" fmla="*/ 70 h 375"/>
                  <a:gd name="T82" fmla="*/ 1293 w 1709"/>
                  <a:gd name="T83" fmla="*/ 304 h 375"/>
                  <a:gd name="T84" fmla="*/ 1366 w 1709"/>
                  <a:gd name="T85" fmla="*/ 210 h 375"/>
                  <a:gd name="T86" fmla="*/ 1027 w 1709"/>
                  <a:gd name="T87" fmla="*/ 213 h 375"/>
                  <a:gd name="T88" fmla="*/ 1279 w 1709"/>
                  <a:gd name="T89" fmla="*/ 136 h 375"/>
                  <a:gd name="T90" fmla="*/ 1093 w 1709"/>
                  <a:gd name="T91" fmla="*/ 136 h 375"/>
                  <a:gd name="T92" fmla="*/ 1028 w 1709"/>
                  <a:gd name="T93" fmla="*/ 240 h 375"/>
                  <a:gd name="T94" fmla="*/ 1681 w 1709"/>
                  <a:gd name="T95" fmla="*/ 262 h 375"/>
                  <a:gd name="T96" fmla="*/ 1642 w 1709"/>
                  <a:gd name="T97" fmla="*/ 304 h 375"/>
                  <a:gd name="T98" fmla="*/ 1121 w 1709"/>
                  <a:gd name="T99" fmla="*/ 299 h 375"/>
                  <a:gd name="T100" fmla="*/ 1028 w 1709"/>
                  <a:gd name="T101" fmla="*/ 240 h 375"/>
                  <a:gd name="T102" fmla="*/ 1046 w 1709"/>
                  <a:gd name="T103" fmla="*/ 161 h 375"/>
                  <a:gd name="T104" fmla="*/ 1149 w 1709"/>
                  <a:gd name="T105" fmla="*/ 159 h 375"/>
                  <a:gd name="T106" fmla="*/ 1083 w 1709"/>
                  <a:gd name="T107" fmla="*/ 162 h 375"/>
                  <a:gd name="T108" fmla="*/ 1328 w 1709"/>
                  <a:gd name="T109" fmla="*/ 294 h 375"/>
                  <a:gd name="T110" fmla="*/ 1209 w 1709"/>
                  <a:gd name="T111" fmla="*/ 241 h 375"/>
                  <a:gd name="T112" fmla="*/ 1249 w 1709"/>
                  <a:gd name="T113" fmla="*/ 144 h 375"/>
                  <a:gd name="T114" fmla="*/ 1365 w 1709"/>
                  <a:gd name="T115" fmla="*/ 207 h 375"/>
                  <a:gd name="T116" fmla="*/ 1294 w 1709"/>
                  <a:gd name="T117" fmla="*/ 28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9" h="375">
                    <a:moveTo>
                      <a:pt x="375" y="185"/>
                    </a:moveTo>
                    <a:cubicBezTo>
                      <a:pt x="374" y="185"/>
                      <a:pt x="373" y="185"/>
                      <a:pt x="372" y="185"/>
                    </a:cubicBezTo>
                    <a:cubicBezTo>
                      <a:pt x="304" y="185"/>
                      <a:pt x="237" y="185"/>
                      <a:pt x="169" y="185"/>
                    </a:cubicBezTo>
                    <a:cubicBezTo>
                      <a:pt x="167" y="185"/>
                      <a:pt x="166" y="184"/>
                      <a:pt x="166" y="182"/>
                    </a:cubicBezTo>
                    <a:cubicBezTo>
                      <a:pt x="166" y="132"/>
                      <a:pt x="166" y="82"/>
                      <a:pt x="166" y="32"/>
                    </a:cubicBezTo>
                    <a:cubicBezTo>
                      <a:pt x="166" y="30"/>
                      <a:pt x="167" y="29"/>
                      <a:pt x="169" y="29"/>
                    </a:cubicBezTo>
                    <a:cubicBezTo>
                      <a:pt x="185" y="27"/>
                      <a:pt x="202" y="24"/>
                      <a:pt x="218" y="22"/>
                    </a:cubicBezTo>
                    <a:cubicBezTo>
                      <a:pt x="235" y="20"/>
                      <a:pt x="251" y="18"/>
                      <a:pt x="267" y="15"/>
                    </a:cubicBezTo>
                    <a:cubicBezTo>
                      <a:pt x="284" y="13"/>
                      <a:pt x="300" y="11"/>
                      <a:pt x="317" y="8"/>
                    </a:cubicBezTo>
                    <a:cubicBezTo>
                      <a:pt x="332" y="6"/>
                      <a:pt x="347" y="4"/>
                      <a:pt x="362" y="2"/>
                    </a:cubicBezTo>
                    <a:cubicBezTo>
                      <a:pt x="366" y="2"/>
                      <a:pt x="369" y="2"/>
                      <a:pt x="372" y="0"/>
                    </a:cubicBezTo>
                    <a:cubicBezTo>
                      <a:pt x="373" y="0"/>
                      <a:pt x="374" y="0"/>
                      <a:pt x="375" y="0"/>
                    </a:cubicBezTo>
                    <a:cubicBezTo>
                      <a:pt x="375" y="1"/>
                      <a:pt x="375" y="2"/>
                      <a:pt x="375" y="3"/>
                    </a:cubicBezTo>
                    <a:cubicBezTo>
                      <a:pt x="375" y="63"/>
                      <a:pt x="375" y="123"/>
                      <a:pt x="375" y="182"/>
                    </a:cubicBezTo>
                    <a:cubicBezTo>
                      <a:pt x="375" y="183"/>
                      <a:pt x="375" y="184"/>
                      <a:pt x="375" y="185"/>
                    </a:cubicBezTo>
                    <a:close/>
                    <a:moveTo>
                      <a:pt x="0" y="323"/>
                    </a:moveTo>
                    <a:cubicBezTo>
                      <a:pt x="1" y="323"/>
                      <a:pt x="2" y="323"/>
                      <a:pt x="2" y="323"/>
                    </a:cubicBezTo>
                    <a:cubicBezTo>
                      <a:pt x="19" y="325"/>
                      <a:pt x="37" y="328"/>
                      <a:pt x="54" y="330"/>
                    </a:cubicBezTo>
                    <a:cubicBezTo>
                      <a:pt x="71" y="332"/>
                      <a:pt x="88" y="335"/>
                      <a:pt x="106" y="337"/>
                    </a:cubicBezTo>
                    <a:cubicBezTo>
                      <a:pt x="123" y="340"/>
                      <a:pt x="141" y="342"/>
                      <a:pt x="158" y="345"/>
                    </a:cubicBezTo>
                    <a:cubicBezTo>
                      <a:pt x="160" y="345"/>
                      <a:pt x="160" y="345"/>
                      <a:pt x="160" y="343"/>
                    </a:cubicBezTo>
                    <a:cubicBezTo>
                      <a:pt x="160" y="293"/>
                      <a:pt x="160" y="243"/>
                      <a:pt x="160" y="193"/>
                    </a:cubicBezTo>
                    <a:cubicBezTo>
                      <a:pt x="160" y="191"/>
                      <a:pt x="160" y="191"/>
                      <a:pt x="158" y="191"/>
                    </a:cubicBezTo>
                    <a:cubicBezTo>
                      <a:pt x="106" y="191"/>
                      <a:pt x="55" y="191"/>
                      <a:pt x="3" y="191"/>
                    </a:cubicBezTo>
                    <a:cubicBezTo>
                      <a:pt x="2" y="191"/>
                      <a:pt x="1" y="191"/>
                      <a:pt x="0" y="191"/>
                    </a:cubicBezTo>
                    <a:cubicBezTo>
                      <a:pt x="0" y="235"/>
                      <a:pt x="0" y="279"/>
                      <a:pt x="0" y="323"/>
                    </a:cubicBezTo>
                    <a:close/>
                    <a:moveTo>
                      <a:pt x="0" y="185"/>
                    </a:moveTo>
                    <a:cubicBezTo>
                      <a:pt x="1" y="185"/>
                      <a:pt x="2" y="185"/>
                      <a:pt x="3" y="185"/>
                    </a:cubicBezTo>
                    <a:cubicBezTo>
                      <a:pt x="54" y="185"/>
                      <a:pt x="106" y="185"/>
                      <a:pt x="158" y="185"/>
                    </a:cubicBezTo>
                    <a:cubicBezTo>
                      <a:pt x="160" y="185"/>
                      <a:pt x="160" y="184"/>
                      <a:pt x="160" y="182"/>
                    </a:cubicBezTo>
                    <a:cubicBezTo>
                      <a:pt x="160" y="150"/>
                      <a:pt x="160" y="118"/>
                      <a:pt x="160" y="86"/>
                    </a:cubicBezTo>
                    <a:cubicBezTo>
                      <a:pt x="160" y="68"/>
                      <a:pt x="160" y="50"/>
                      <a:pt x="160" y="32"/>
                    </a:cubicBezTo>
                    <a:cubicBezTo>
                      <a:pt x="160" y="31"/>
                      <a:pt x="160" y="30"/>
                      <a:pt x="158" y="31"/>
                    </a:cubicBezTo>
                    <a:cubicBezTo>
                      <a:pt x="152" y="32"/>
                      <a:pt x="146" y="32"/>
                      <a:pt x="139" y="33"/>
                    </a:cubicBezTo>
                    <a:cubicBezTo>
                      <a:pt x="126" y="35"/>
                      <a:pt x="113" y="37"/>
                      <a:pt x="99" y="39"/>
                    </a:cubicBezTo>
                    <a:cubicBezTo>
                      <a:pt x="86" y="41"/>
                      <a:pt x="72" y="43"/>
                      <a:pt x="59" y="44"/>
                    </a:cubicBezTo>
                    <a:cubicBezTo>
                      <a:pt x="44" y="47"/>
                      <a:pt x="30" y="49"/>
                      <a:pt x="15" y="51"/>
                    </a:cubicBezTo>
                    <a:cubicBezTo>
                      <a:pt x="10" y="51"/>
                      <a:pt x="5" y="52"/>
                      <a:pt x="0" y="52"/>
                    </a:cubicBezTo>
                    <a:cubicBezTo>
                      <a:pt x="0" y="97"/>
                      <a:pt x="0" y="141"/>
                      <a:pt x="0" y="185"/>
                    </a:cubicBezTo>
                    <a:close/>
                    <a:moveTo>
                      <a:pt x="375" y="182"/>
                    </a:moveTo>
                    <a:cubicBezTo>
                      <a:pt x="375" y="122"/>
                      <a:pt x="375" y="61"/>
                      <a:pt x="375" y="0"/>
                    </a:cubicBezTo>
                    <a:cubicBezTo>
                      <a:pt x="375" y="0"/>
                      <a:pt x="375" y="0"/>
                      <a:pt x="375" y="0"/>
                    </a:cubicBezTo>
                    <a:cubicBezTo>
                      <a:pt x="375" y="1"/>
                      <a:pt x="375" y="2"/>
                      <a:pt x="375" y="2"/>
                    </a:cubicBezTo>
                    <a:cubicBezTo>
                      <a:pt x="375" y="62"/>
                      <a:pt x="375" y="122"/>
                      <a:pt x="375" y="183"/>
                    </a:cubicBezTo>
                    <a:cubicBezTo>
                      <a:pt x="375" y="183"/>
                      <a:pt x="375" y="184"/>
                      <a:pt x="375" y="185"/>
                    </a:cubicBezTo>
                    <a:cubicBezTo>
                      <a:pt x="376" y="184"/>
                      <a:pt x="375" y="183"/>
                      <a:pt x="375" y="182"/>
                    </a:cubicBezTo>
                    <a:close/>
                    <a:moveTo>
                      <a:pt x="375" y="373"/>
                    </a:moveTo>
                    <a:cubicBezTo>
                      <a:pt x="375" y="313"/>
                      <a:pt x="375" y="253"/>
                      <a:pt x="375" y="193"/>
                    </a:cubicBezTo>
                    <a:cubicBezTo>
                      <a:pt x="375" y="191"/>
                      <a:pt x="375" y="191"/>
                      <a:pt x="373" y="191"/>
                    </a:cubicBezTo>
                    <a:cubicBezTo>
                      <a:pt x="305" y="191"/>
                      <a:pt x="237" y="191"/>
                      <a:pt x="169" y="191"/>
                    </a:cubicBezTo>
                    <a:cubicBezTo>
                      <a:pt x="166" y="191"/>
                      <a:pt x="166" y="191"/>
                      <a:pt x="166" y="193"/>
                    </a:cubicBezTo>
                    <a:cubicBezTo>
                      <a:pt x="166" y="221"/>
                      <a:pt x="166" y="250"/>
                      <a:pt x="166" y="278"/>
                    </a:cubicBezTo>
                    <a:cubicBezTo>
                      <a:pt x="166" y="300"/>
                      <a:pt x="166" y="322"/>
                      <a:pt x="166" y="344"/>
                    </a:cubicBezTo>
                    <a:cubicBezTo>
                      <a:pt x="166" y="345"/>
                      <a:pt x="166" y="346"/>
                      <a:pt x="168" y="346"/>
                    </a:cubicBezTo>
                    <a:cubicBezTo>
                      <a:pt x="170" y="346"/>
                      <a:pt x="173" y="347"/>
                      <a:pt x="176" y="347"/>
                    </a:cubicBezTo>
                    <a:cubicBezTo>
                      <a:pt x="190" y="349"/>
                      <a:pt x="205" y="351"/>
                      <a:pt x="219" y="353"/>
                    </a:cubicBezTo>
                    <a:cubicBezTo>
                      <a:pt x="234" y="355"/>
                      <a:pt x="248" y="357"/>
                      <a:pt x="262" y="359"/>
                    </a:cubicBezTo>
                    <a:cubicBezTo>
                      <a:pt x="278" y="361"/>
                      <a:pt x="293" y="363"/>
                      <a:pt x="309" y="366"/>
                    </a:cubicBezTo>
                    <a:cubicBezTo>
                      <a:pt x="322" y="368"/>
                      <a:pt x="336" y="369"/>
                      <a:pt x="349" y="371"/>
                    </a:cubicBezTo>
                    <a:cubicBezTo>
                      <a:pt x="358" y="372"/>
                      <a:pt x="366" y="374"/>
                      <a:pt x="375" y="375"/>
                    </a:cubicBezTo>
                    <a:cubicBezTo>
                      <a:pt x="375" y="374"/>
                      <a:pt x="375" y="373"/>
                      <a:pt x="375" y="373"/>
                    </a:cubicBezTo>
                    <a:close/>
                    <a:moveTo>
                      <a:pt x="777" y="75"/>
                    </a:moveTo>
                    <a:cubicBezTo>
                      <a:pt x="769" y="75"/>
                      <a:pt x="760" y="75"/>
                      <a:pt x="752" y="75"/>
                    </a:cubicBezTo>
                    <a:cubicBezTo>
                      <a:pt x="751" y="75"/>
                      <a:pt x="750" y="75"/>
                      <a:pt x="750" y="75"/>
                    </a:cubicBezTo>
                    <a:cubicBezTo>
                      <a:pt x="748" y="82"/>
                      <a:pt x="746" y="88"/>
                      <a:pt x="745" y="95"/>
                    </a:cubicBezTo>
                    <a:cubicBezTo>
                      <a:pt x="743" y="102"/>
                      <a:pt x="741" y="108"/>
                      <a:pt x="740" y="115"/>
                    </a:cubicBezTo>
                    <a:cubicBezTo>
                      <a:pt x="738" y="121"/>
                      <a:pt x="736" y="127"/>
                      <a:pt x="735" y="133"/>
                    </a:cubicBezTo>
                    <a:cubicBezTo>
                      <a:pt x="732" y="142"/>
                      <a:pt x="730" y="152"/>
                      <a:pt x="727" y="162"/>
                    </a:cubicBezTo>
                    <a:cubicBezTo>
                      <a:pt x="725" y="170"/>
                      <a:pt x="723" y="178"/>
                      <a:pt x="721" y="186"/>
                    </a:cubicBezTo>
                    <a:cubicBezTo>
                      <a:pt x="718" y="196"/>
                      <a:pt x="716" y="205"/>
                      <a:pt x="713" y="215"/>
                    </a:cubicBezTo>
                    <a:cubicBezTo>
                      <a:pt x="711" y="221"/>
                      <a:pt x="710" y="227"/>
                      <a:pt x="708" y="233"/>
                    </a:cubicBezTo>
                    <a:cubicBezTo>
                      <a:pt x="706" y="240"/>
                      <a:pt x="705" y="247"/>
                      <a:pt x="703" y="254"/>
                    </a:cubicBezTo>
                    <a:cubicBezTo>
                      <a:pt x="702" y="257"/>
                      <a:pt x="701" y="260"/>
                      <a:pt x="700" y="263"/>
                    </a:cubicBezTo>
                    <a:cubicBezTo>
                      <a:pt x="700" y="263"/>
                      <a:pt x="699" y="263"/>
                      <a:pt x="699" y="262"/>
                    </a:cubicBezTo>
                    <a:cubicBezTo>
                      <a:pt x="696" y="251"/>
                      <a:pt x="693" y="240"/>
                      <a:pt x="690" y="229"/>
                    </a:cubicBezTo>
                    <a:cubicBezTo>
                      <a:pt x="684" y="206"/>
                      <a:pt x="678" y="183"/>
                      <a:pt x="671" y="160"/>
                    </a:cubicBezTo>
                    <a:cubicBezTo>
                      <a:pt x="665" y="137"/>
                      <a:pt x="659" y="115"/>
                      <a:pt x="653" y="92"/>
                    </a:cubicBezTo>
                    <a:cubicBezTo>
                      <a:pt x="651" y="86"/>
                      <a:pt x="650" y="81"/>
                      <a:pt x="648" y="75"/>
                    </a:cubicBezTo>
                    <a:cubicBezTo>
                      <a:pt x="648" y="75"/>
                      <a:pt x="648" y="75"/>
                      <a:pt x="647" y="75"/>
                    </a:cubicBezTo>
                    <a:cubicBezTo>
                      <a:pt x="639" y="75"/>
                      <a:pt x="631" y="75"/>
                      <a:pt x="623" y="75"/>
                    </a:cubicBezTo>
                    <a:cubicBezTo>
                      <a:pt x="621" y="79"/>
                      <a:pt x="620" y="83"/>
                      <a:pt x="619" y="88"/>
                    </a:cubicBezTo>
                    <a:cubicBezTo>
                      <a:pt x="617" y="95"/>
                      <a:pt x="615" y="102"/>
                      <a:pt x="613" y="110"/>
                    </a:cubicBezTo>
                    <a:cubicBezTo>
                      <a:pt x="611" y="115"/>
                      <a:pt x="609" y="121"/>
                      <a:pt x="608" y="127"/>
                    </a:cubicBezTo>
                    <a:cubicBezTo>
                      <a:pt x="606" y="132"/>
                      <a:pt x="605" y="137"/>
                      <a:pt x="603" y="143"/>
                    </a:cubicBezTo>
                    <a:cubicBezTo>
                      <a:pt x="601" y="149"/>
                      <a:pt x="600" y="155"/>
                      <a:pt x="598" y="161"/>
                    </a:cubicBezTo>
                    <a:cubicBezTo>
                      <a:pt x="596" y="167"/>
                      <a:pt x="594" y="174"/>
                      <a:pt x="592" y="181"/>
                    </a:cubicBezTo>
                    <a:cubicBezTo>
                      <a:pt x="590" y="187"/>
                      <a:pt x="589" y="193"/>
                      <a:pt x="587" y="199"/>
                    </a:cubicBezTo>
                    <a:cubicBezTo>
                      <a:pt x="586" y="203"/>
                      <a:pt x="584" y="208"/>
                      <a:pt x="583" y="212"/>
                    </a:cubicBezTo>
                    <a:cubicBezTo>
                      <a:pt x="581" y="217"/>
                      <a:pt x="580" y="221"/>
                      <a:pt x="579" y="226"/>
                    </a:cubicBezTo>
                    <a:cubicBezTo>
                      <a:pt x="578" y="230"/>
                      <a:pt x="576" y="235"/>
                      <a:pt x="575" y="240"/>
                    </a:cubicBezTo>
                    <a:cubicBezTo>
                      <a:pt x="574" y="245"/>
                      <a:pt x="572" y="250"/>
                      <a:pt x="571" y="254"/>
                    </a:cubicBezTo>
                    <a:cubicBezTo>
                      <a:pt x="570" y="257"/>
                      <a:pt x="569" y="260"/>
                      <a:pt x="568" y="263"/>
                    </a:cubicBezTo>
                    <a:cubicBezTo>
                      <a:pt x="568" y="262"/>
                      <a:pt x="568" y="262"/>
                      <a:pt x="568" y="261"/>
                    </a:cubicBezTo>
                    <a:cubicBezTo>
                      <a:pt x="564" y="249"/>
                      <a:pt x="561" y="237"/>
                      <a:pt x="557" y="225"/>
                    </a:cubicBezTo>
                    <a:cubicBezTo>
                      <a:pt x="552" y="206"/>
                      <a:pt x="547" y="188"/>
                      <a:pt x="542" y="169"/>
                    </a:cubicBezTo>
                    <a:cubicBezTo>
                      <a:pt x="539" y="157"/>
                      <a:pt x="535" y="145"/>
                      <a:pt x="532" y="133"/>
                    </a:cubicBezTo>
                    <a:cubicBezTo>
                      <a:pt x="528" y="118"/>
                      <a:pt x="524" y="103"/>
                      <a:pt x="519" y="88"/>
                    </a:cubicBezTo>
                    <a:cubicBezTo>
                      <a:pt x="518" y="84"/>
                      <a:pt x="517" y="80"/>
                      <a:pt x="516" y="75"/>
                    </a:cubicBezTo>
                    <a:cubicBezTo>
                      <a:pt x="516" y="75"/>
                      <a:pt x="515" y="75"/>
                      <a:pt x="514" y="75"/>
                    </a:cubicBezTo>
                    <a:cubicBezTo>
                      <a:pt x="506" y="75"/>
                      <a:pt x="497" y="75"/>
                      <a:pt x="489" y="75"/>
                    </a:cubicBezTo>
                    <a:cubicBezTo>
                      <a:pt x="488" y="75"/>
                      <a:pt x="488" y="75"/>
                      <a:pt x="487" y="75"/>
                    </a:cubicBezTo>
                    <a:cubicBezTo>
                      <a:pt x="487" y="76"/>
                      <a:pt x="488" y="77"/>
                      <a:pt x="488" y="79"/>
                    </a:cubicBezTo>
                    <a:cubicBezTo>
                      <a:pt x="490" y="85"/>
                      <a:pt x="492" y="92"/>
                      <a:pt x="494" y="98"/>
                    </a:cubicBezTo>
                    <a:cubicBezTo>
                      <a:pt x="495" y="103"/>
                      <a:pt x="497" y="108"/>
                      <a:pt x="498" y="113"/>
                    </a:cubicBezTo>
                    <a:cubicBezTo>
                      <a:pt x="499" y="118"/>
                      <a:pt x="501" y="123"/>
                      <a:pt x="502" y="128"/>
                    </a:cubicBezTo>
                    <a:cubicBezTo>
                      <a:pt x="504" y="133"/>
                      <a:pt x="505" y="138"/>
                      <a:pt x="507" y="143"/>
                    </a:cubicBezTo>
                    <a:cubicBezTo>
                      <a:pt x="509" y="149"/>
                      <a:pt x="510" y="156"/>
                      <a:pt x="512" y="162"/>
                    </a:cubicBezTo>
                    <a:cubicBezTo>
                      <a:pt x="514" y="167"/>
                      <a:pt x="515" y="172"/>
                      <a:pt x="517" y="177"/>
                    </a:cubicBezTo>
                    <a:cubicBezTo>
                      <a:pt x="518" y="182"/>
                      <a:pt x="519" y="187"/>
                      <a:pt x="521" y="192"/>
                    </a:cubicBezTo>
                    <a:cubicBezTo>
                      <a:pt x="522" y="197"/>
                      <a:pt x="524" y="202"/>
                      <a:pt x="525" y="207"/>
                    </a:cubicBezTo>
                    <a:cubicBezTo>
                      <a:pt x="527" y="213"/>
                      <a:pt x="529" y="220"/>
                      <a:pt x="531" y="226"/>
                    </a:cubicBezTo>
                    <a:cubicBezTo>
                      <a:pt x="533" y="232"/>
                      <a:pt x="534" y="238"/>
                      <a:pt x="536" y="244"/>
                    </a:cubicBezTo>
                    <a:cubicBezTo>
                      <a:pt x="538" y="250"/>
                      <a:pt x="540" y="257"/>
                      <a:pt x="542" y="263"/>
                    </a:cubicBezTo>
                    <a:cubicBezTo>
                      <a:pt x="544" y="269"/>
                      <a:pt x="545" y="275"/>
                      <a:pt x="547" y="281"/>
                    </a:cubicBezTo>
                    <a:cubicBezTo>
                      <a:pt x="549" y="287"/>
                      <a:pt x="551" y="293"/>
                      <a:pt x="552" y="299"/>
                    </a:cubicBezTo>
                    <a:cubicBezTo>
                      <a:pt x="553" y="300"/>
                      <a:pt x="554" y="300"/>
                      <a:pt x="554" y="300"/>
                    </a:cubicBezTo>
                    <a:cubicBezTo>
                      <a:pt x="564" y="300"/>
                      <a:pt x="573" y="300"/>
                      <a:pt x="582" y="300"/>
                    </a:cubicBezTo>
                    <a:cubicBezTo>
                      <a:pt x="583" y="300"/>
                      <a:pt x="583" y="300"/>
                      <a:pt x="584" y="300"/>
                    </a:cubicBezTo>
                    <a:cubicBezTo>
                      <a:pt x="584" y="299"/>
                      <a:pt x="584" y="299"/>
                      <a:pt x="584" y="299"/>
                    </a:cubicBezTo>
                    <a:cubicBezTo>
                      <a:pt x="586" y="292"/>
                      <a:pt x="587" y="285"/>
                      <a:pt x="589" y="279"/>
                    </a:cubicBezTo>
                    <a:cubicBezTo>
                      <a:pt x="595" y="259"/>
                      <a:pt x="600" y="240"/>
                      <a:pt x="606" y="220"/>
                    </a:cubicBezTo>
                    <a:cubicBezTo>
                      <a:pt x="611" y="204"/>
                      <a:pt x="615" y="188"/>
                      <a:pt x="619" y="172"/>
                    </a:cubicBezTo>
                    <a:cubicBezTo>
                      <a:pt x="624" y="157"/>
                      <a:pt x="628" y="143"/>
                      <a:pt x="632" y="128"/>
                    </a:cubicBezTo>
                    <a:cubicBezTo>
                      <a:pt x="633" y="126"/>
                      <a:pt x="633" y="124"/>
                      <a:pt x="634" y="122"/>
                    </a:cubicBezTo>
                    <a:cubicBezTo>
                      <a:pt x="634" y="122"/>
                      <a:pt x="634" y="122"/>
                      <a:pt x="634" y="122"/>
                    </a:cubicBezTo>
                    <a:cubicBezTo>
                      <a:pt x="637" y="131"/>
                      <a:pt x="639" y="140"/>
                      <a:pt x="642" y="149"/>
                    </a:cubicBezTo>
                    <a:cubicBezTo>
                      <a:pt x="644" y="158"/>
                      <a:pt x="647" y="168"/>
                      <a:pt x="650" y="177"/>
                    </a:cubicBezTo>
                    <a:cubicBezTo>
                      <a:pt x="653" y="187"/>
                      <a:pt x="655" y="198"/>
                      <a:pt x="658" y="208"/>
                    </a:cubicBezTo>
                    <a:cubicBezTo>
                      <a:pt x="661" y="217"/>
                      <a:pt x="664" y="227"/>
                      <a:pt x="666" y="236"/>
                    </a:cubicBezTo>
                    <a:cubicBezTo>
                      <a:pt x="669" y="246"/>
                      <a:pt x="672" y="257"/>
                      <a:pt x="675" y="267"/>
                    </a:cubicBezTo>
                    <a:cubicBezTo>
                      <a:pt x="676" y="272"/>
                      <a:pt x="678" y="277"/>
                      <a:pt x="679" y="283"/>
                    </a:cubicBezTo>
                    <a:cubicBezTo>
                      <a:pt x="681" y="289"/>
                      <a:pt x="683" y="294"/>
                      <a:pt x="684" y="300"/>
                    </a:cubicBezTo>
                    <a:cubicBezTo>
                      <a:pt x="685" y="300"/>
                      <a:pt x="685" y="300"/>
                      <a:pt x="685" y="300"/>
                    </a:cubicBezTo>
                    <a:cubicBezTo>
                      <a:pt x="695" y="300"/>
                      <a:pt x="705" y="300"/>
                      <a:pt x="714" y="300"/>
                    </a:cubicBezTo>
                    <a:cubicBezTo>
                      <a:pt x="715" y="300"/>
                      <a:pt x="715" y="300"/>
                      <a:pt x="715" y="300"/>
                    </a:cubicBezTo>
                    <a:cubicBezTo>
                      <a:pt x="718" y="291"/>
                      <a:pt x="720" y="283"/>
                      <a:pt x="723" y="275"/>
                    </a:cubicBezTo>
                    <a:cubicBezTo>
                      <a:pt x="728" y="255"/>
                      <a:pt x="733" y="236"/>
                      <a:pt x="739" y="217"/>
                    </a:cubicBezTo>
                    <a:cubicBezTo>
                      <a:pt x="745" y="197"/>
                      <a:pt x="750" y="176"/>
                      <a:pt x="756" y="155"/>
                    </a:cubicBezTo>
                    <a:cubicBezTo>
                      <a:pt x="762" y="135"/>
                      <a:pt x="768" y="115"/>
                      <a:pt x="773" y="95"/>
                    </a:cubicBezTo>
                    <a:cubicBezTo>
                      <a:pt x="775" y="88"/>
                      <a:pt x="777" y="82"/>
                      <a:pt x="779" y="76"/>
                    </a:cubicBezTo>
                    <a:cubicBezTo>
                      <a:pt x="778" y="75"/>
                      <a:pt x="778" y="75"/>
                      <a:pt x="777" y="75"/>
                    </a:cubicBezTo>
                    <a:close/>
                    <a:moveTo>
                      <a:pt x="1424" y="300"/>
                    </a:moveTo>
                    <a:cubicBezTo>
                      <a:pt x="1432" y="300"/>
                      <a:pt x="1440" y="300"/>
                      <a:pt x="1448" y="300"/>
                    </a:cubicBezTo>
                    <a:cubicBezTo>
                      <a:pt x="1448" y="300"/>
                      <a:pt x="1449" y="300"/>
                      <a:pt x="1449" y="300"/>
                    </a:cubicBezTo>
                    <a:cubicBezTo>
                      <a:pt x="1450" y="296"/>
                      <a:pt x="1452" y="292"/>
                      <a:pt x="1453" y="288"/>
                    </a:cubicBezTo>
                    <a:cubicBezTo>
                      <a:pt x="1457" y="273"/>
                      <a:pt x="1462" y="258"/>
                      <a:pt x="1467" y="243"/>
                    </a:cubicBezTo>
                    <a:cubicBezTo>
                      <a:pt x="1474" y="221"/>
                      <a:pt x="1480" y="199"/>
                      <a:pt x="1487" y="178"/>
                    </a:cubicBezTo>
                    <a:cubicBezTo>
                      <a:pt x="1487" y="177"/>
                      <a:pt x="1487" y="176"/>
                      <a:pt x="1488" y="176"/>
                    </a:cubicBezTo>
                    <a:cubicBezTo>
                      <a:pt x="1490" y="181"/>
                      <a:pt x="1492" y="187"/>
                      <a:pt x="1493" y="193"/>
                    </a:cubicBezTo>
                    <a:cubicBezTo>
                      <a:pt x="1495" y="200"/>
                      <a:pt x="1497" y="207"/>
                      <a:pt x="1499" y="213"/>
                    </a:cubicBezTo>
                    <a:cubicBezTo>
                      <a:pt x="1501" y="221"/>
                      <a:pt x="1504" y="229"/>
                      <a:pt x="1506" y="237"/>
                    </a:cubicBezTo>
                    <a:cubicBezTo>
                      <a:pt x="1507" y="242"/>
                      <a:pt x="1509" y="246"/>
                      <a:pt x="1510" y="250"/>
                    </a:cubicBezTo>
                    <a:cubicBezTo>
                      <a:pt x="1512" y="256"/>
                      <a:pt x="1513" y="262"/>
                      <a:pt x="1515" y="267"/>
                    </a:cubicBezTo>
                    <a:cubicBezTo>
                      <a:pt x="1516" y="273"/>
                      <a:pt x="1518" y="278"/>
                      <a:pt x="1520" y="284"/>
                    </a:cubicBezTo>
                    <a:cubicBezTo>
                      <a:pt x="1521" y="289"/>
                      <a:pt x="1523" y="294"/>
                      <a:pt x="1524" y="300"/>
                    </a:cubicBezTo>
                    <a:cubicBezTo>
                      <a:pt x="1525" y="300"/>
                      <a:pt x="1525" y="300"/>
                      <a:pt x="1526" y="300"/>
                    </a:cubicBezTo>
                    <a:cubicBezTo>
                      <a:pt x="1534" y="300"/>
                      <a:pt x="1542" y="300"/>
                      <a:pt x="1550" y="300"/>
                    </a:cubicBezTo>
                    <a:cubicBezTo>
                      <a:pt x="1550" y="300"/>
                      <a:pt x="1551" y="300"/>
                      <a:pt x="1551" y="300"/>
                    </a:cubicBezTo>
                    <a:cubicBezTo>
                      <a:pt x="1556" y="285"/>
                      <a:pt x="1560" y="270"/>
                      <a:pt x="1565" y="254"/>
                    </a:cubicBezTo>
                    <a:cubicBezTo>
                      <a:pt x="1569" y="241"/>
                      <a:pt x="1573" y="228"/>
                      <a:pt x="1577" y="214"/>
                    </a:cubicBezTo>
                    <a:cubicBezTo>
                      <a:pt x="1582" y="196"/>
                      <a:pt x="1588" y="178"/>
                      <a:pt x="1593" y="160"/>
                    </a:cubicBezTo>
                    <a:cubicBezTo>
                      <a:pt x="1595" y="154"/>
                      <a:pt x="1597" y="147"/>
                      <a:pt x="1599" y="141"/>
                    </a:cubicBezTo>
                    <a:cubicBezTo>
                      <a:pt x="1599" y="140"/>
                      <a:pt x="1599" y="139"/>
                      <a:pt x="1598" y="139"/>
                    </a:cubicBezTo>
                    <a:cubicBezTo>
                      <a:pt x="1590" y="139"/>
                      <a:pt x="1583" y="139"/>
                      <a:pt x="1575" y="139"/>
                    </a:cubicBezTo>
                    <a:cubicBezTo>
                      <a:pt x="1574" y="139"/>
                      <a:pt x="1573" y="139"/>
                      <a:pt x="1573" y="141"/>
                    </a:cubicBezTo>
                    <a:cubicBezTo>
                      <a:pt x="1572" y="146"/>
                      <a:pt x="1570" y="152"/>
                      <a:pt x="1569" y="157"/>
                    </a:cubicBezTo>
                    <a:cubicBezTo>
                      <a:pt x="1566" y="166"/>
                      <a:pt x="1564" y="175"/>
                      <a:pt x="1562" y="183"/>
                    </a:cubicBezTo>
                    <a:cubicBezTo>
                      <a:pt x="1560" y="189"/>
                      <a:pt x="1558" y="196"/>
                      <a:pt x="1557" y="202"/>
                    </a:cubicBezTo>
                    <a:cubicBezTo>
                      <a:pt x="1555" y="209"/>
                      <a:pt x="1553" y="216"/>
                      <a:pt x="1551" y="223"/>
                    </a:cubicBezTo>
                    <a:cubicBezTo>
                      <a:pt x="1549" y="231"/>
                      <a:pt x="1547" y="238"/>
                      <a:pt x="1545" y="246"/>
                    </a:cubicBezTo>
                    <a:cubicBezTo>
                      <a:pt x="1543" y="253"/>
                      <a:pt x="1541" y="261"/>
                      <a:pt x="1539" y="268"/>
                    </a:cubicBezTo>
                    <a:cubicBezTo>
                      <a:pt x="1539" y="268"/>
                      <a:pt x="1538" y="269"/>
                      <a:pt x="1538" y="269"/>
                    </a:cubicBezTo>
                    <a:cubicBezTo>
                      <a:pt x="1537" y="269"/>
                      <a:pt x="1537" y="268"/>
                      <a:pt x="1537" y="268"/>
                    </a:cubicBezTo>
                    <a:cubicBezTo>
                      <a:pt x="1535" y="260"/>
                      <a:pt x="1533" y="251"/>
                      <a:pt x="1530" y="243"/>
                    </a:cubicBezTo>
                    <a:cubicBezTo>
                      <a:pt x="1527" y="230"/>
                      <a:pt x="1523" y="217"/>
                      <a:pt x="1519" y="204"/>
                    </a:cubicBezTo>
                    <a:cubicBezTo>
                      <a:pt x="1516" y="191"/>
                      <a:pt x="1513" y="179"/>
                      <a:pt x="1509" y="166"/>
                    </a:cubicBezTo>
                    <a:cubicBezTo>
                      <a:pt x="1507" y="158"/>
                      <a:pt x="1504" y="149"/>
                      <a:pt x="1502" y="141"/>
                    </a:cubicBezTo>
                    <a:cubicBezTo>
                      <a:pt x="1502" y="140"/>
                      <a:pt x="1502" y="139"/>
                      <a:pt x="1500" y="139"/>
                    </a:cubicBezTo>
                    <a:cubicBezTo>
                      <a:pt x="1493" y="139"/>
                      <a:pt x="1486" y="139"/>
                      <a:pt x="1479" y="139"/>
                    </a:cubicBezTo>
                    <a:cubicBezTo>
                      <a:pt x="1478" y="139"/>
                      <a:pt x="1478" y="140"/>
                      <a:pt x="1477" y="141"/>
                    </a:cubicBezTo>
                    <a:cubicBezTo>
                      <a:pt x="1476" y="145"/>
                      <a:pt x="1475" y="149"/>
                      <a:pt x="1474" y="153"/>
                    </a:cubicBezTo>
                    <a:cubicBezTo>
                      <a:pt x="1471" y="161"/>
                      <a:pt x="1469" y="170"/>
                      <a:pt x="1466" y="178"/>
                    </a:cubicBezTo>
                    <a:cubicBezTo>
                      <a:pt x="1464" y="186"/>
                      <a:pt x="1461" y="194"/>
                      <a:pt x="1459" y="202"/>
                    </a:cubicBezTo>
                    <a:cubicBezTo>
                      <a:pt x="1456" y="210"/>
                      <a:pt x="1454" y="218"/>
                      <a:pt x="1451" y="226"/>
                    </a:cubicBezTo>
                    <a:cubicBezTo>
                      <a:pt x="1449" y="235"/>
                      <a:pt x="1446" y="243"/>
                      <a:pt x="1443" y="252"/>
                    </a:cubicBezTo>
                    <a:cubicBezTo>
                      <a:pt x="1442" y="257"/>
                      <a:pt x="1440" y="262"/>
                      <a:pt x="1439" y="268"/>
                    </a:cubicBezTo>
                    <a:cubicBezTo>
                      <a:pt x="1438" y="268"/>
                      <a:pt x="1439" y="269"/>
                      <a:pt x="1438" y="269"/>
                    </a:cubicBezTo>
                    <a:cubicBezTo>
                      <a:pt x="1437" y="269"/>
                      <a:pt x="1437" y="268"/>
                      <a:pt x="1437" y="267"/>
                    </a:cubicBezTo>
                    <a:cubicBezTo>
                      <a:pt x="1436" y="263"/>
                      <a:pt x="1434" y="259"/>
                      <a:pt x="1433" y="254"/>
                    </a:cubicBezTo>
                    <a:cubicBezTo>
                      <a:pt x="1428" y="234"/>
                      <a:pt x="1422" y="215"/>
                      <a:pt x="1417" y="195"/>
                    </a:cubicBezTo>
                    <a:cubicBezTo>
                      <a:pt x="1412" y="177"/>
                      <a:pt x="1407" y="159"/>
                      <a:pt x="1402" y="141"/>
                    </a:cubicBezTo>
                    <a:cubicBezTo>
                      <a:pt x="1402" y="140"/>
                      <a:pt x="1401" y="139"/>
                      <a:pt x="1400" y="139"/>
                    </a:cubicBezTo>
                    <a:cubicBezTo>
                      <a:pt x="1392" y="139"/>
                      <a:pt x="1384" y="139"/>
                      <a:pt x="1376" y="139"/>
                    </a:cubicBezTo>
                    <a:cubicBezTo>
                      <a:pt x="1375" y="139"/>
                      <a:pt x="1375" y="140"/>
                      <a:pt x="1375" y="141"/>
                    </a:cubicBezTo>
                    <a:cubicBezTo>
                      <a:pt x="1377" y="148"/>
                      <a:pt x="1379" y="155"/>
                      <a:pt x="1381" y="162"/>
                    </a:cubicBezTo>
                    <a:cubicBezTo>
                      <a:pt x="1383" y="166"/>
                      <a:pt x="1384" y="170"/>
                      <a:pt x="1385" y="174"/>
                    </a:cubicBezTo>
                    <a:cubicBezTo>
                      <a:pt x="1387" y="180"/>
                      <a:pt x="1389" y="185"/>
                      <a:pt x="1390" y="191"/>
                    </a:cubicBezTo>
                    <a:cubicBezTo>
                      <a:pt x="1392" y="195"/>
                      <a:pt x="1393" y="200"/>
                      <a:pt x="1394" y="205"/>
                    </a:cubicBezTo>
                    <a:cubicBezTo>
                      <a:pt x="1396" y="210"/>
                      <a:pt x="1398" y="216"/>
                      <a:pt x="1399" y="221"/>
                    </a:cubicBezTo>
                    <a:cubicBezTo>
                      <a:pt x="1400" y="224"/>
                      <a:pt x="1401" y="228"/>
                      <a:pt x="1402" y="231"/>
                    </a:cubicBezTo>
                    <a:cubicBezTo>
                      <a:pt x="1404" y="236"/>
                      <a:pt x="1406" y="242"/>
                      <a:pt x="1407" y="247"/>
                    </a:cubicBezTo>
                    <a:cubicBezTo>
                      <a:pt x="1408" y="251"/>
                      <a:pt x="1409" y="255"/>
                      <a:pt x="1411" y="258"/>
                    </a:cubicBezTo>
                    <a:cubicBezTo>
                      <a:pt x="1412" y="263"/>
                      <a:pt x="1414" y="269"/>
                      <a:pt x="1415" y="274"/>
                    </a:cubicBezTo>
                    <a:cubicBezTo>
                      <a:pt x="1416" y="277"/>
                      <a:pt x="1417" y="281"/>
                      <a:pt x="1418" y="285"/>
                    </a:cubicBezTo>
                    <a:cubicBezTo>
                      <a:pt x="1420" y="290"/>
                      <a:pt x="1422" y="295"/>
                      <a:pt x="1423" y="300"/>
                    </a:cubicBezTo>
                    <a:cubicBezTo>
                      <a:pt x="1423" y="300"/>
                      <a:pt x="1424" y="300"/>
                      <a:pt x="1424" y="300"/>
                    </a:cubicBezTo>
                    <a:close/>
                    <a:moveTo>
                      <a:pt x="950" y="136"/>
                    </a:moveTo>
                    <a:cubicBezTo>
                      <a:pt x="949" y="136"/>
                      <a:pt x="948" y="136"/>
                      <a:pt x="947" y="136"/>
                    </a:cubicBezTo>
                    <a:cubicBezTo>
                      <a:pt x="945" y="135"/>
                      <a:pt x="942" y="135"/>
                      <a:pt x="940" y="135"/>
                    </a:cubicBezTo>
                    <a:cubicBezTo>
                      <a:pt x="939" y="136"/>
                      <a:pt x="938" y="136"/>
                      <a:pt x="937" y="136"/>
                    </a:cubicBezTo>
                    <a:cubicBezTo>
                      <a:pt x="936" y="136"/>
                      <a:pt x="935" y="136"/>
                      <a:pt x="935" y="136"/>
                    </a:cubicBezTo>
                    <a:cubicBezTo>
                      <a:pt x="915" y="138"/>
                      <a:pt x="900" y="149"/>
                      <a:pt x="890" y="166"/>
                    </a:cubicBezTo>
                    <a:cubicBezTo>
                      <a:pt x="890" y="157"/>
                      <a:pt x="890" y="149"/>
                      <a:pt x="890" y="141"/>
                    </a:cubicBezTo>
                    <a:cubicBezTo>
                      <a:pt x="890" y="140"/>
                      <a:pt x="890" y="139"/>
                      <a:pt x="888" y="139"/>
                    </a:cubicBezTo>
                    <a:cubicBezTo>
                      <a:pt x="881" y="139"/>
                      <a:pt x="874" y="139"/>
                      <a:pt x="866" y="139"/>
                    </a:cubicBezTo>
                    <a:cubicBezTo>
                      <a:pt x="865" y="139"/>
                      <a:pt x="864" y="140"/>
                      <a:pt x="864" y="141"/>
                    </a:cubicBezTo>
                    <a:cubicBezTo>
                      <a:pt x="864" y="194"/>
                      <a:pt x="864" y="247"/>
                      <a:pt x="864" y="300"/>
                    </a:cubicBezTo>
                    <a:cubicBezTo>
                      <a:pt x="864" y="300"/>
                      <a:pt x="865" y="300"/>
                      <a:pt x="865" y="300"/>
                    </a:cubicBezTo>
                    <a:cubicBezTo>
                      <a:pt x="873" y="300"/>
                      <a:pt x="881" y="300"/>
                      <a:pt x="890" y="300"/>
                    </a:cubicBezTo>
                    <a:cubicBezTo>
                      <a:pt x="890" y="300"/>
                      <a:pt x="890" y="300"/>
                      <a:pt x="890" y="300"/>
                    </a:cubicBezTo>
                    <a:cubicBezTo>
                      <a:pt x="890" y="270"/>
                      <a:pt x="890" y="240"/>
                      <a:pt x="890" y="210"/>
                    </a:cubicBezTo>
                    <a:cubicBezTo>
                      <a:pt x="890" y="209"/>
                      <a:pt x="890" y="209"/>
                      <a:pt x="890" y="208"/>
                    </a:cubicBezTo>
                    <a:cubicBezTo>
                      <a:pt x="891" y="206"/>
                      <a:pt x="890" y="205"/>
                      <a:pt x="891" y="203"/>
                    </a:cubicBezTo>
                    <a:cubicBezTo>
                      <a:pt x="891" y="201"/>
                      <a:pt x="891" y="200"/>
                      <a:pt x="891" y="198"/>
                    </a:cubicBezTo>
                    <a:cubicBezTo>
                      <a:pt x="893" y="184"/>
                      <a:pt x="899" y="173"/>
                      <a:pt x="910" y="165"/>
                    </a:cubicBezTo>
                    <a:cubicBezTo>
                      <a:pt x="916" y="161"/>
                      <a:pt x="922" y="159"/>
                      <a:pt x="929" y="158"/>
                    </a:cubicBezTo>
                    <a:cubicBezTo>
                      <a:pt x="929" y="158"/>
                      <a:pt x="930" y="158"/>
                      <a:pt x="931" y="158"/>
                    </a:cubicBezTo>
                    <a:cubicBezTo>
                      <a:pt x="935" y="157"/>
                      <a:pt x="939" y="158"/>
                      <a:pt x="943" y="158"/>
                    </a:cubicBezTo>
                    <a:cubicBezTo>
                      <a:pt x="951" y="160"/>
                      <a:pt x="958" y="164"/>
                      <a:pt x="963" y="171"/>
                    </a:cubicBezTo>
                    <a:cubicBezTo>
                      <a:pt x="968" y="179"/>
                      <a:pt x="970" y="188"/>
                      <a:pt x="971" y="197"/>
                    </a:cubicBezTo>
                    <a:cubicBezTo>
                      <a:pt x="972" y="198"/>
                      <a:pt x="971" y="199"/>
                      <a:pt x="972" y="200"/>
                    </a:cubicBezTo>
                    <a:cubicBezTo>
                      <a:pt x="972" y="201"/>
                      <a:pt x="972" y="202"/>
                      <a:pt x="972" y="203"/>
                    </a:cubicBezTo>
                    <a:cubicBezTo>
                      <a:pt x="972" y="204"/>
                      <a:pt x="972" y="205"/>
                      <a:pt x="972" y="206"/>
                    </a:cubicBezTo>
                    <a:cubicBezTo>
                      <a:pt x="972" y="237"/>
                      <a:pt x="972" y="267"/>
                      <a:pt x="972" y="298"/>
                    </a:cubicBezTo>
                    <a:cubicBezTo>
                      <a:pt x="972" y="300"/>
                      <a:pt x="972" y="300"/>
                      <a:pt x="974" y="300"/>
                    </a:cubicBezTo>
                    <a:cubicBezTo>
                      <a:pt x="981" y="300"/>
                      <a:pt x="989" y="300"/>
                      <a:pt x="996" y="300"/>
                    </a:cubicBezTo>
                    <a:cubicBezTo>
                      <a:pt x="997" y="300"/>
                      <a:pt x="997" y="300"/>
                      <a:pt x="998" y="300"/>
                    </a:cubicBezTo>
                    <a:cubicBezTo>
                      <a:pt x="998" y="294"/>
                      <a:pt x="998" y="288"/>
                      <a:pt x="998" y="282"/>
                    </a:cubicBezTo>
                    <a:cubicBezTo>
                      <a:pt x="998" y="254"/>
                      <a:pt x="998" y="227"/>
                      <a:pt x="998" y="199"/>
                    </a:cubicBezTo>
                    <a:cubicBezTo>
                      <a:pt x="997" y="198"/>
                      <a:pt x="998" y="196"/>
                      <a:pt x="998" y="194"/>
                    </a:cubicBezTo>
                    <a:cubicBezTo>
                      <a:pt x="998" y="193"/>
                      <a:pt x="998" y="192"/>
                      <a:pt x="997" y="191"/>
                    </a:cubicBezTo>
                    <a:cubicBezTo>
                      <a:pt x="997" y="190"/>
                      <a:pt x="997" y="189"/>
                      <a:pt x="997" y="188"/>
                    </a:cubicBezTo>
                    <a:cubicBezTo>
                      <a:pt x="997" y="186"/>
                      <a:pt x="996" y="183"/>
                      <a:pt x="996" y="181"/>
                    </a:cubicBezTo>
                    <a:cubicBezTo>
                      <a:pt x="994" y="172"/>
                      <a:pt x="992" y="164"/>
                      <a:pt x="987" y="157"/>
                    </a:cubicBezTo>
                    <a:cubicBezTo>
                      <a:pt x="982" y="150"/>
                      <a:pt x="976" y="144"/>
                      <a:pt x="967" y="140"/>
                    </a:cubicBezTo>
                    <a:cubicBezTo>
                      <a:pt x="963" y="138"/>
                      <a:pt x="957" y="137"/>
                      <a:pt x="952" y="136"/>
                    </a:cubicBezTo>
                    <a:cubicBezTo>
                      <a:pt x="951" y="136"/>
                      <a:pt x="951" y="136"/>
                      <a:pt x="950" y="136"/>
                    </a:cubicBezTo>
                    <a:close/>
                    <a:moveTo>
                      <a:pt x="1663" y="136"/>
                    </a:moveTo>
                    <a:cubicBezTo>
                      <a:pt x="1654" y="136"/>
                      <a:pt x="1645" y="138"/>
                      <a:pt x="1637" y="141"/>
                    </a:cubicBezTo>
                    <a:cubicBezTo>
                      <a:pt x="1628" y="145"/>
                      <a:pt x="1621" y="152"/>
                      <a:pt x="1616" y="160"/>
                    </a:cubicBezTo>
                    <a:cubicBezTo>
                      <a:pt x="1612" y="165"/>
                      <a:pt x="1610" y="170"/>
                      <a:pt x="1610" y="176"/>
                    </a:cubicBezTo>
                    <a:cubicBezTo>
                      <a:pt x="1609" y="181"/>
                      <a:pt x="1609" y="186"/>
                      <a:pt x="1610" y="192"/>
                    </a:cubicBezTo>
                    <a:cubicBezTo>
                      <a:pt x="1611" y="196"/>
                      <a:pt x="1612" y="200"/>
                      <a:pt x="1614" y="203"/>
                    </a:cubicBezTo>
                    <a:cubicBezTo>
                      <a:pt x="1617" y="210"/>
                      <a:pt x="1623" y="215"/>
                      <a:pt x="1629" y="219"/>
                    </a:cubicBezTo>
                    <a:cubicBezTo>
                      <a:pt x="1635" y="223"/>
                      <a:pt x="1641" y="226"/>
                      <a:pt x="1648" y="229"/>
                    </a:cubicBezTo>
                    <a:cubicBezTo>
                      <a:pt x="1657" y="233"/>
                      <a:pt x="1666" y="237"/>
                      <a:pt x="1674" y="244"/>
                    </a:cubicBezTo>
                    <a:cubicBezTo>
                      <a:pt x="1678" y="247"/>
                      <a:pt x="1681" y="251"/>
                      <a:pt x="1681" y="257"/>
                    </a:cubicBezTo>
                    <a:cubicBezTo>
                      <a:pt x="1682" y="258"/>
                      <a:pt x="1681" y="258"/>
                      <a:pt x="1682" y="259"/>
                    </a:cubicBezTo>
                    <a:cubicBezTo>
                      <a:pt x="1682" y="259"/>
                      <a:pt x="1682" y="260"/>
                      <a:pt x="1682" y="260"/>
                    </a:cubicBezTo>
                    <a:cubicBezTo>
                      <a:pt x="1681" y="261"/>
                      <a:pt x="1682" y="262"/>
                      <a:pt x="1681" y="262"/>
                    </a:cubicBezTo>
                    <a:cubicBezTo>
                      <a:pt x="1681" y="266"/>
                      <a:pt x="1680" y="270"/>
                      <a:pt x="1678" y="273"/>
                    </a:cubicBezTo>
                    <a:cubicBezTo>
                      <a:pt x="1671" y="280"/>
                      <a:pt x="1663" y="282"/>
                      <a:pt x="1654" y="282"/>
                    </a:cubicBezTo>
                    <a:cubicBezTo>
                      <a:pt x="1652" y="282"/>
                      <a:pt x="1650" y="282"/>
                      <a:pt x="1649" y="282"/>
                    </a:cubicBezTo>
                    <a:cubicBezTo>
                      <a:pt x="1645" y="282"/>
                      <a:pt x="1641" y="281"/>
                      <a:pt x="1638" y="281"/>
                    </a:cubicBezTo>
                    <a:cubicBezTo>
                      <a:pt x="1629" y="279"/>
                      <a:pt x="1620" y="275"/>
                      <a:pt x="1613" y="269"/>
                    </a:cubicBezTo>
                    <a:cubicBezTo>
                      <a:pt x="1612" y="268"/>
                      <a:pt x="1611" y="267"/>
                      <a:pt x="1609" y="267"/>
                    </a:cubicBezTo>
                    <a:cubicBezTo>
                      <a:pt x="1609" y="276"/>
                      <a:pt x="1609" y="284"/>
                      <a:pt x="1609" y="293"/>
                    </a:cubicBezTo>
                    <a:cubicBezTo>
                      <a:pt x="1609" y="294"/>
                      <a:pt x="1610" y="295"/>
                      <a:pt x="1610" y="295"/>
                    </a:cubicBezTo>
                    <a:cubicBezTo>
                      <a:pt x="1614" y="297"/>
                      <a:pt x="1617" y="298"/>
                      <a:pt x="1621" y="299"/>
                    </a:cubicBezTo>
                    <a:cubicBezTo>
                      <a:pt x="1627" y="302"/>
                      <a:pt x="1635" y="303"/>
                      <a:pt x="1642" y="304"/>
                    </a:cubicBezTo>
                    <a:cubicBezTo>
                      <a:pt x="1643" y="304"/>
                      <a:pt x="1643" y="304"/>
                      <a:pt x="1644" y="304"/>
                    </a:cubicBezTo>
                    <a:cubicBezTo>
                      <a:pt x="1648" y="304"/>
                      <a:pt x="1651" y="304"/>
                      <a:pt x="1654" y="304"/>
                    </a:cubicBezTo>
                    <a:cubicBezTo>
                      <a:pt x="1655" y="304"/>
                      <a:pt x="1656" y="304"/>
                      <a:pt x="1657" y="304"/>
                    </a:cubicBezTo>
                    <a:cubicBezTo>
                      <a:pt x="1663" y="303"/>
                      <a:pt x="1669" y="302"/>
                      <a:pt x="1674" y="300"/>
                    </a:cubicBezTo>
                    <a:cubicBezTo>
                      <a:pt x="1685" y="297"/>
                      <a:pt x="1694" y="291"/>
                      <a:pt x="1700" y="282"/>
                    </a:cubicBezTo>
                    <a:cubicBezTo>
                      <a:pt x="1705" y="276"/>
                      <a:pt x="1707" y="269"/>
                      <a:pt x="1708" y="261"/>
                    </a:cubicBezTo>
                    <a:cubicBezTo>
                      <a:pt x="1708" y="260"/>
                      <a:pt x="1708" y="259"/>
                      <a:pt x="1708" y="259"/>
                    </a:cubicBezTo>
                    <a:cubicBezTo>
                      <a:pt x="1708" y="258"/>
                      <a:pt x="1708" y="257"/>
                      <a:pt x="1708" y="256"/>
                    </a:cubicBezTo>
                    <a:cubicBezTo>
                      <a:pt x="1708" y="255"/>
                      <a:pt x="1708" y="254"/>
                      <a:pt x="1708" y="253"/>
                    </a:cubicBezTo>
                    <a:cubicBezTo>
                      <a:pt x="1708" y="252"/>
                      <a:pt x="1708" y="251"/>
                      <a:pt x="1708" y="250"/>
                    </a:cubicBezTo>
                    <a:cubicBezTo>
                      <a:pt x="1707" y="241"/>
                      <a:pt x="1703" y="234"/>
                      <a:pt x="1697" y="228"/>
                    </a:cubicBezTo>
                    <a:cubicBezTo>
                      <a:pt x="1689" y="220"/>
                      <a:pt x="1678" y="215"/>
                      <a:pt x="1667" y="210"/>
                    </a:cubicBezTo>
                    <a:cubicBezTo>
                      <a:pt x="1660" y="207"/>
                      <a:pt x="1652" y="203"/>
                      <a:pt x="1645" y="199"/>
                    </a:cubicBezTo>
                    <a:cubicBezTo>
                      <a:pt x="1637" y="193"/>
                      <a:pt x="1635" y="184"/>
                      <a:pt x="1637" y="175"/>
                    </a:cubicBezTo>
                    <a:cubicBezTo>
                      <a:pt x="1638" y="167"/>
                      <a:pt x="1644" y="163"/>
                      <a:pt x="1651" y="160"/>
                    </a:cubicBezTo>
                    <a:cubicBezTo>
                      <a:pt x="1658" y="157"/>
                      <a:pt x="1665" y="157"/>
                      <a:pt x="1672" y="158"/>
                    </a:cubicBezTo>
                    <a:cubicBezTo>
                      <a:pt x="1681" y="159"/>
                      <a:pt x="1689" y="162"/>
                      <a:pt x="1696" y="166"/>
                    </a:cubicBezTo>
                    <a:cubicBezTo>
                      <a:pt x="1697" y="167"/>
                      <a:pt x="1699" y="168"/>
                      <a:pt x="1701" y="169"/>
                    </a:cubicBezTo>
                    <a:cubicBezTo>
                      <a:pt x="1701" y="161"/>
                      <a:pt x="1701" y="153"/>
                      <a:pt x="1701" y="145"/>
                    </a:cubicBezTo>
                    <a:cubicBezTo>
                      <a:pt x="1701" y="143"/>
                      <a:pt x="1700" y="143"/>
                      <a:pt x="1699" y="142"/>
                    </a:cubicBezTo>
                    <a:cubicBezTo>
                      <a:pt x="1690" y="138"/>
                      <a:pt x="1680" y="136"/>
                      <a:pt x="1670" y="136"/>
                    </a:cubicBezTo>
                    <a:cubicBezTo>
                      <a:pt x="1668" y="135"/>
                      <a:pt x="1665" y="135"/>
                      <a:pt x="1663" y="136"/>
                    </a:cubicBezTo>
                    <a:close/>
                    <a:moveTo>
                      <a:pt x="800" y="142"/>
                    </a:moveTo>
                    <a:cubicBezTo>
                      <a:pt x="800" y="162"/>
                      <a:pt x="800" y="183"/>
                      <a:pt x="800" y="204"/>
                    </a:cubicBezTo>
                    <a:cubicBezTo>
                      <a:pt x="800" y="235"/>
                      <a:pt x="800" y="266"/>
                      <a:pt x="800" y="297"/>
                    </a:cubicBezTo>
                    <a:cubicBezTo>
                      <a:pt x="800" y="300"/>
                      <a:pt x="800" y="300"/>
                      <a:pt x="803" y="300"/>
                    </a:cubicBezTo>
                    <a:cubicBezTo>
                      <a:pt x="810" y="300"/>
                      <a:pt x="816" y="300"/>
                      <a:pt x="823" y="300"/>
                    </a:cubicBezTo>
                    <a:cubicBezTo>
                      <a:pt x="826" y="300"/>
                      <a:pt x="826" y="300"/>
                      <a:pt x="826" y="297"/>
                    </a:cubicBezTo>
                    <a:cubicBezTo>
                      <a:pt x="826" y="246"/>
                      <a:pt x="826" y="194"/>
                      <a:pt x="826" y="142"/>
                    </a:cubicBezTo>
                    <a:cubicBezTo>
                      <a:pt x="826" y="141"/>
                      <a:pt x="826" y="140"/>
                      <a:pt x="826" y="139"/>
                    </a:cubicBezTo>
                    <a:cubicBezTo>
                      <a:pt x="817" y="139"/>
                      <a:pt x="809" y="139"/>
                      <a:pt x="800" y="139"/>
                    </a:cubicBezTo>
                    <a:cubicBezTo>
                      <a:pt x="800" y="140"/>
                      <a:pt x="800" y="141"/>
                      <a:pt x="800" y="142"/>
                    </a:cubicBezTo>
                    <a:close/>
                    <a:moveTo>
                      <a:pt x="810" y="70"/>
                    </a:moveTo>
                    <a:cubicBezTo>
                      <a:pt x="805" y="71"/>
                      <a:pt x="801" y="73"/>
                      <a:pt x="798" y="78"/>
                    </a:cubicBezTo>
                    <a:cubicBezTo>
                      <a:pt x="796" y="81"/>
                      <a:pt x="795" y="85"/>
                      <a:pt x="796" y="90"/>
                    </a:cubicBezTo>
                    <a:cubicBezTo>
                      <a:pt x="796" y="94"/>
                      <a:pt x="798" y="97"/>
                      <a:pt x="801" y="99"/>
                    </a:cubicBezTo>
                    <a:cubicBezTo>
                      <a:pt x="805" y="104"/>
                      <a:pt x="811" y="104"/>
                      <a:pt x="817" y="103"/>
                    </a:cubicBezTo>
                    <a:cubicBezTo>
                      <a:pt x="825" y="101"/>
                      <a:pt x="831" y="92"/>
                      <a:pt x="829" y="84"/>
                    </a:cubicBezTo>
                    <a:cubicBezTo>
                      <a:pt x="827" y="76"/>
                      <a:pt x="822" y="72"/>
                      <a:pt x="814" y="70"/>
                    </a:cubicBezTo>
                    <a:cubicBezTo>
                      <a:pt x="813" y="70"/>
                      <a:pt x="812" y="70"/>
                      <a:pt x="810" y="70"/>
                    </a:cubicBezTo>
                    <a:close/>
                    <a:moveTo>
                      <a:pt x="375" y="372"/>
                    </a:moveTo>
                    <a:cubicBezTo>
                      <a:pt x="375" y="313"/>
                      <a:pt x="375" y="253"/>
                      <a:pt x="375" y="193"/>
                    </a:cubicBezTo>
                    <a:cubicBezTo>
                      <a:pt x="375" y="191"/>
                      <a:pt x="375" y="191"/>
                      <a:pt x="373" y="191"/>
                    </a:cubicBezTo>
                    <a:cubicBezTo>
                      <a:pt x="305" y="191"/>
                      <a:pt x="237" y="191"/>
                      <a:pt x="169" y="191"/>
                    </a:cubicBezTo>
                    <a:cubicBezTo>
                      <a:pt x="166" y="191"/>
                      <a:pt x="166" y="191"/>
                      <a:pt x="166" y="193"/>
                    </a:cubicBezTo>
                    <a:cubicBezTo>
                      <a:pt x="166" y="243"/>
                      <a:pt x="166" y="293"/>
                      <a:pt x="166" y="343"/>
                    </a:cubicBezTo>
                    <a:cubicBezTo>
                      <a:pt x="166" y="344"/>
                      <a:pt x="166" y="344"/>
                      <a:pt x="166" y="344"/>
                    </a:cubicBezTo>
                    <a:cubicBezTo>
                      <a:pt x="166" y="346"/>
                      <a:pt x="166" y="346"/>
                      <a:pt x="168" y="346"/>
                    </a:cubicBezTo>
                    <a:cubicBezTo>
                      <a:pt x="166" y="346"/>
                      <a:pt x="166" y="345"/>
                      <a:pt x="166" y="344"/>
                    </a:cubicBezTo>
                    <a:cubicBezTo>
                      <a:pt x="166" y="293"/>
                      <a:pt x="166" y="243"/>
                      <a:pt x="166" y="193"/>
                    </a:cubicBezTo>
                    <a:cubicBezTo>
                      <a:pt x="166" y="191"/>
                      <a:pt x="167" y="191"/>
                      <a:pt x="169" y="191"/>
                    </a:cubicBezTo>
                    <a:cubicBezTo>
                      <a:pt x="237" y="191"/>
                      <a:pt x="304" y="191"/>
                      <a:pt x="372" y="191"/>
                    </a:cubicBezTo>
                    <a:cubicBezTo>
                      <a:pt x="374" y="191"/>
                      <a:pt x="375" y="191"/>
                      <a:pt x="375" y="193"/>
                    </a:cubicBezTo>
                    <a:cubicBezTo>
                      <a:pt x="375" y="253"/>
                      <a:pt x="375" y="313"/>
                      <a:pt x="375" y="372"/>
                    </a:cubicBezTo>
                    <a:cubicBezTo>
                      <a:pt x="375" y="373"/>
                      <a:pt x="375" y="374"/>
                      <a:pt x="375" y="375"/>
                    </a:cubicBezTo>
                    <a:cubicBezTo>
                      <a:pt x="376" y="374"/>
                      <a:pt x="375" y="373"/>
                      <a:pt x="375" y="372"/>
                    </a:cubicBezTo>
                    <a:close/>
                    <a:moveTo>
                      <a:pt x="1149" y="298"/>
                    </a:moveTo>
                    <a:cubicBezTo>
                      <a:pt x="1149" y="300"/>
                      <a:pt x="1149" y="300"/>
                      <a:pt x="1151" y="300"/>
                    </a:cubicBezTo>
                    <a:cubicBezTo>
                      <a:pt x="1158" y="300"/>
                      <a:pt x="1165" y="300"/>
                      <a:pt x="1172" y="300"/>
                    </a:cubicBezTo>
                    <a:cubicBezTo>
                      <a:pt x="1175" y="300"/>
                      <a:pt x="1175" y="300"/>
                      <a:pt x="1175" y="298"/>
                    </a:cubicBezTo>
                    <a:cubicBezTo>
                      <a:pt x="1175" y="243"/>
                      <a:pt x="1175" y="189"/>
                      <a:pt x="1175" y="134"/>
                    </a:cubicBezTo>
                    <a:cubicBezTo>
                      <a:pt x="1175" y="111"/>
                      <a:pt x="1175" y="88"/>
                      <a:pt x="1175" y="64"/>
                    </a:cubicBezTo>
                    <a:cubicBezTo>
                      <a:pt x="1175" y="62"/>
                      <a:pt x="1175" y="62"/>
                      <a:pt x="1173" y="62"/>
                    </a:cubicBezTo>
                    <a:cubicBezTo>
                      <a:pt x="1166" y="62"/>
                      <a:pt x="1159" y="62"/>
                      <a:pt x="1151" y="62"/>
                    </a:cubicBezTo>
                    <a:cubicBezTo>
                      <a:pt x="1149" y="62"/>
                      <a:pt x="1149" y="62"/>
                      <a:pt x="1149" y="65"/>
                    </a:cubicBezTo>
                    <a:cubicBezTo>
                      <a:pt x="1149" y="97"/>
                      <a:pt x="1149" y="129"/>
                      <a:pt x="1149" y="161"/>
                    </a:cubicBezTo>
                    <a:cubicBezTo>
                      <a:pt x="1149" y="161"/>
                      <a:pt x="1149" y="160"/>
                      <a:pt x="1149" y="159"/>
                    </a:cubicBezTo>
                    <a:cubicBezTo>
                      <a:pt x="1149" y="127"/>
                      <a:pt x="1149" y="96"/>
                      <a:pt x="1149" y="64"/>
                    </a:cubicBezTo>
                    <a:cubicBezTo>
                      <a:pt x="1149" y="63"/>
                      <a:pt x="1149" y="62"/>
                      <a:pt x="1151" y="62"/>
                    </a:cubicBezTo>
                    <a:cubicBezTo>
                      <a:pt x="1158" y="62"/>
                      <a:pt x="1166" y="62"/>
                      <a:pt x="1173" y="62"/>
                    </a:cubicBezTo>
                    <a:cubicBezTo>
                      <a:pt x="1175" y="62"/>
                      <a:pt x="1175" y="63"/>
                      <a:pt x="1175" y="64"/>
                    </a:cubicBezTo>
                    <a:cubicBezTo>
                      <a:pt x="1175" y="73"/>
                      <a:pt x="1175" y="82"/>
                      <a:pt x="1175" y="91"/>
                    </a:cubicBezTo>
                    <a:cubicBezTo>
                      <a:pt x="1175" y="160"/>
                      <a:pt x="1175" y="229"/>
                      <a:pt x="1175" y="298"/>
                    </a:cubicBezTo>
                    <a:cubicBezTo>
                      <a:pt x="1175" y="299"/>
                      <a:pt x="1175" y="300"/>
                      <a:pt x="1173" y="300"/>
                    </a:cubicBezTo>
                    <a:cubicBezTo>
                      <a:pt x="1166" y="300"/>
                      <a:pt x="1158" y="300"/>
                      <a:pt x="1151" y="300"/>
                    </a:cubicBezTo>
                    <a:cubicBezTo>
                      <a:pt x="1149" y="300"/>
                      <a:pt x="1149" y="299"/>
                      <a:pt x="1149" y="298"/>
                    </a:cubicBezTo>
                    <a:cubicBezTo>
                      <a:pt x="1149" y="291"/>
                      <a:pt x="1149" y="284"/>
                      <a:pt x="1149" y="278"/>
                    </a:cubicBezTo>
                    <a:cubicBezTo>
                      <a:pt x="1149" y="276"/>
                      <a:pt x="1149" y="275"/>
                      <a:pt x="1149" y="273"/>
                    </a:cubicBezTo>
                    <a:cubicBezTo>
                      <a:pt x="1149" y="281"/>
                      <a:pt x="1149" y="290"/>
                      <a:pt x="1149" y="298"/>
                    </a:cubicBezTo>
                    <a:close/>
                    <a:moveTo>
                      <a:pt x="800" y="141"/>
                    </a:moveTo>
                    <a:cubicBezTo>
                      <a:pt x="800" y="194"/>
                      <a:pt x="800" y="246"/>
                      <a:pt x="800" y="298"/>
                    </a:cubicBezTo>
                    <a:cubicBezTo>
                      <a:pt x="800" y="300"/>
                      <a:pt x="800" y="300"/>
                      <a:pt x="802" y="300"/>
                    </a:cubicBezTo>
                    <a:cubicBezTo>
                      <a:pt x="809" y="300"/>
                      <a:pt x="816" y="300"/>
                      <a:pt x="824" y="300"/>
                    </a:cubicBezTo>
                    <a:cubicBezTo>
                      <a:pt x="826" y="300"/>
                      <a:pt x="826" y="300"/>
                      <a:pt x="826" y="298"/>
                    </a:cubicBezTo>
                    <a:cubicBezTo>
                      <a:pt x="826" y="246"/>
                      <a:pt x="826" y="194"/>
                      <a:pt x="826" y="142"/>
                    </a:cubicBezTo>
                    <a:cubicBezTo>
                      <a:pt x="826" y="141"/>
                      <a:pt x="826" y="140"/>
                      <a:pt x="826" y="139"/>
                    </a:cubicBezTo>
                    <a:cubicBezTo>
                      <a:pt x="826" y="140"/>
                      <a:pt x="826" y="140"/>
                      <a:pt x="826" y="141"/>
                    </a:cubicBezTo>
                    <a:cubicBezTo>
                      <a:pt x="826" y="193"/>
                      <a:pt x="826" y="246"/>
                      <a:pt x="826" y="298"/>
                    </a:cubicBezTo>
                    <a:cubicBezTo>
                      <a:pt x="826" y="300"/>
                      <a:pt x="825" y="300"/>
                      <a:pt x="824" y="300"/>
                    </a:cubicBezTo>
                    <a:cubicBezTo>
                      <a:pt x="817" y="300"/>
                      <a:pt x="810" y="300"/>
                      <a:pt x="802" y="300"/>
                    </a:cubicBezTo>
                    <a:cubicBezTo>
                      <a:pt x="800" y="300"/>
                      <a:pt x="800" y="299"/>
                      <a:pt x="800" y="298"/>
                    </a:cubicBezTo>
                    <a:cubicBezTo>
                      <a:pt x="800" y="246"/>
                      <a:pt x="800" y="194"/>
                      <a:pt x="800" y="142"/>
                    </a:cubicBezTo>
                    <a:cubicBezTo>
                      <a:pt x="800" y="141"/>
                      <a:pt x="800" y="140"/>
                      <a:pt x="800" y="139"/>
                    </a:cubicBezTo>
                    <a:cubicBezTo>
                      <a:pt x="800" y="140"/>
                      <a:pt x="800" y="141"/>
                      <a:pt x="800" y="141"/>
                    </a:cubicBezTo>
                    <a:close/>
                    <a:moveTo>
                      <a:pt x="972" y="298"/>
                    </a:moveTo>
                    <a:cubicBezTo>
                      <a:pt x="972" y="300"/>
                      <a:pt x="972" y="300"/>
                      <a:pt x="974" y="300"/>
                    </a:cubicBezTo>
                    <a:cubicBezTo>
                      <a:pt x="981" y="300"/>
                      <a:pt x="989" y="300"/>
                      <a:pt x="996" y="300"/>
                    </a:cubicBezTo>
                    <a:cubicBezTo>
                      <a:pt x="997" y="300"/>
                      <a:pt x="997" y="301"/>
                      <a:pt x="998" y="300"/>
                    </a:cubicBezTo>
                    <a:cubicBezTo>
                      <a:pt x="997" y="300"/>
                      <a:pt x="996" y="300"/>
                      <a:pt x="996" y="300"/>
                    </a:cubicBezTo>
                    <a:cubicBezTo>
                      <a:pt x="988" y="300"/>
                      <a:pt x="981" y="300"/>
                      <a:pt x="974" y="300"/>
                    </a:cubicBezTo>
                    <a:cubicBezTo>
                      <a:pt x="972" y="300"/>
                      <a:pt x="972" y="299"/>
                      <a:pt x="972" y="298"/>
                    </a:cubicBezTo>
                    <a:cubicBezTo>
                      <a:pt x="972" y="267"/>
                      <a:pt x="972" y="236"/>
                      <a:pt x="972" y="206"/>
                    </a:cubicBezTo>
                    <a:cubicBezTo>
                      <a:pt x="972" y="205"/>
                      <a:pt x="972" y="204"/>
                      <a:pt x="972" y="203"/>
                    </a:cubicBezTo>
                    <a:cubicBezTo>
                      <a:pt x="972" y="235"/>
                      <a:pt x="972" y="267"/>
                      <a:pt x="972" y="298"/>
                    </a:cubicBezTo>
                    <a:close/>
                    <a:moveTo>
                      <a:pt x="554" y="300"/>
                    </a:moveTo>
                    <a:cubicBezTo>
                      <a:pt x="563" y="300"/>
                      <a:pt x="573" y="300"/>
                      <a:pt x="582" y="300"/>
                    </a:cubicBezTo>
                    <a:cubicBezTo>
                      <a:pt x="582" y="300"/>
                      <a:pt x="583" y="301"/>
                      <a:pt x="584" y="300"/>
                    </a:cubicBezTo>
                    <a:cubicBezTo>
                      <a:pt x="583" y="300"/>
                      <a:pt x="583" y="300"/>
                      <a:pt x="583" y="300"/>
                    </a:cubicBezTo>
                    <a:cubicBezTo>
                      <a:pt x="573" y="300"/>
                      <a:pt x="563" y="300"/>
                      <a:pt x="554" y="300"/>
                    </a:cubicBezTo>
                    <a:cubicBezTo>
                      <a:pt x="553" y="300"/>
                      <a:pt x="553" y="300"/>
                      <a:pt x="552" y="299"/>
                    </a:cubicBezTo>
                    <a:cubicBezTo>
                      <a:pt x="553" y="301"/>
                      <a:pt x="554" y="300"/>
                      <a:pt x="554" y="300"/>
                    </a:cubicBezTo>
                    <a:close/>
                    <a:moveTo>
                      <a:pt x="686" y="300"/>
                    </a:moveTo>
                    <a:cubicBezTo>
                      <a:pt x="695" y="300"/>
                      <a:pt x="704" y="300"/>
                      <a:pt x="714" y="300"/>
                    </a:cubicBezTo>
                    <a:cubicBezTo>
                      <a:pt x="714" y="300"/>
                      <a:pt x="715" y="301"/>
                      <a:pt x="715" y="300"/>
                    </a:cubicBezTo>
                    <a:cubicBezTo>
                      <a:pt x="712" y="300"/>
                      <a:pt x="709" y="300"/>
                      <a:pt x="706" y="300"/>
                    </a:cubicBezTo>
                    <a:cubicBezTo>
                      <a:pt x="699" y="300"/>
                      <a:pt x="691" y="300"/>
                      <a:pt x="684" y="300"/>
                    </a:cubicBezTo>
                    <a:cubicBezTo>
                      <a:pt x="685" y="301"/>
                      <a:pt x="686" y="300"/>
                      <a:pt x="686" y="300"/>
                    </a:cubicBezTo>
                    <a:close/>
                    <a:moveTo>
                      <a:pt x="777" y="75"/>
                    </a:moveTo>
                    <a:cubicBezTo>
                      <a:pt x="769" y="75"/>
                      <a:pt x="760" y="75"/>
                      <a:pt x="752" y="75"/>
                    </a:cubicBezTo>
                    <a:cubicBezTo>
                      <a:pt x="751" y="75"/>
                      <a:pt x="750" y="75"/>
                      <a:pt x="750" y="75"/>
                    </a:cubicBezTo>
                    <a:cubicBezTo>
                      <a:pt x="750" y="75"/>
                      <a:pt x="751" y="75"/>
                      <a:pt x="752" y="75"/>
                    </a:cubicBezTo>
                    <a:cubicBezTo>
                      <a:pt x="760" y="75"/>
                      <a:pt x="769" y="75"/>
                      <a:pt x="777" y="75"/>
                    </a:cubicBezTo>
                    <a:cubicBezTo>
                      <a:pt x="778" y="75"/>
                      <a:pt x="779" y="75"/>
                      <a:pt x="779" y="76"/>
                    </a:cubicBezTo>
                    <a:cubicBezTo>
                      <a:pt x="779" y="74"/>
                      <a:pt x="778" y="75"/>
                      <a:pt x="777" y="75"/>
                    </a:cubicBezTo>
                    <a:close/>
                    <a:moveTo>
                      <a:pt x="514" y="75"/>
                    </a:moveTo>
                    <a:cubicBezTo>
                      <a:pt x="506" y="75"/>
                      <a:pt x="497" y="75"/>
                      <a:pt x="488" y="75"/>
                    </a:cubicBezTo>
                    <a:cubicBezTo>
                      <a:pt x="488" y="75"/>
                      <a:pt x="487" y="74"/>
                      <a:pt x="487" y="75"/>
                    </a:cubicBezTo>
                    <a:cubicBezTo>
                      <a:pt x="487" y="75"/>
                      <a:pt x="488" y="75"/>
                      <a:pt x="488" y="75"/>
                    </a:cubicBezTo>
                    <a:cubicBezTo>
                      <a:pt x="497" y="75"/>
                      <a:pt x="506" y="75"/>
                      <a:pt x="515" y="75"/>
                    </a:cubicBezTo>
                    <a:cubicBezTo>
                      <a:pt x="515" y="75"/>
                      <a:pt x="516" y="75"/>
                      <a:pt x="516" y="75"/>
                    </a:cubicBezTo>
                    <a:cubicBezTo>
                      <a:pt x="516" y="75"/>
                      <a:pt x="515" y="75"/>
                      <a:pt x="514" y="75"/>
                    </a:cubicBezTo>
                    <a:close/>
                    <a:moveTo>
                      <a:pt x="1526" y="300"/>
                    </a:moveTo>
                    <a:cubicBezTo>
                      <a:pt x="1534" y="300"/>
                      <a:pt x="1542" y="300"/>
                      <a:pt x="1550" y="300"/>
                    </a:cubicBezTo>
                    <a:cubicBezTo>
                      <a:pt x="1550" y="300"/>
                      <a:pt x="1551" y="300"/>
                      <a:pt x="1551" y="300"/>
                    </a:cubicBezTo>
                    <a:cubicBezTo>
                      <a:pt x="1544" y="300"/>
                      <a:pt x="1538" y="300"/>
                      <a:pt x="1531" y="300"/>
                    </a:cubicBezTo>
                    <a:cubicBezTo>
                      <a:pt x="1529" y="300"/>
                      <a:pt x="1526" y="300"/>
                      <a:pt x="1524" y="300"/>
                    </a:cubicBezTo>
                    <a:cubicBezTo>
                      <a:pt x="1524" y="301"/>
                      <a:pt x="1525" y="300"/>
                      <a:pt x="1526" y="300"/>
                    </a:cubicBezTo>
                    <a:close/>
                    <a:moveTo>
                      <a:pt x="1424" y="300"/>
                    </a:moveTo>
                    <a:cubicBezTo>
                      <a:pt x="1432" y="300"/>
                      <a:pt x="1440" y="300"/>
                      <a:pt x="1448" y="300"/>
                    </a:cubicBezTo>
                    <a:cubicBezTo>
                      <a:pt x="1448" y="300"/>
                      <a:pt x="1449" y="300"/>
                      <a:pt x="1449" y="300"/>
                    </a:cubicBezTo>
                    <a:cubicBezTo>
                      <a:pt x="1440" y="300"/>
                      <a:pt x="1432" y="300"/>
                      <a:pt x="1423" y="300"/>
                    </a:cubicBezTo>
                    <a:cubicBezTo>
                      <a:pt x="1423" y="300"/>
                      <a:pt x="1424" y="300"/>
                      <a:pt x="1424" y="300"/>
                    </a:cubicBezTo>
                    <a:close/>
                    <a:moveTo>
                      <a:pt x="647" y="75"/>
                    </a:moveTo>
                    <a:cubicBezTo>
                      <a:pt x="639" y="75"/>
                      <a:pt x="632" y="75"/>
                      <a:pt x="624" y="75"/>
                    </a:cubicBezTo>
                    <a:cubicBezTo>
                      <a:pt x="624" y="75"/>
                      <a:pt x="623" y="75"/>
                      <a:pt x="623" y="75"/>
                    </a:cubicBezTo>
                    <a:cubicBezTo>
                      <a:pt x="631" y="75"/>
                      <a:pt x="639" y="75"/>
                      <a:pt x="647" y="75"/>
                    </a:cubicBezTo>
                    <a:cubicBezTo>
                      <a:pt x="647" y="75"/>
                      <a:pt x="648" y="75"/>
                      <a:pt x="648" y="75"/>
                    </a:cubicBezTo>
                    <a:cubicBezTo>
                      <a:pt x="648" y="75"/>
                      <a:pt x="647" y="75"/>
                      <a:pt x="647" y="75"/>
                    </a:cubicBezTo>
                    <a:close/>
                    <a:moveTo>
                      <a:pt x="866" y="300"/>
                    </a:moveTo>
                    <a:cubicBezTo>
                      <a:pt x="874" y="300"/>
                      <a:pt x="881" y="300"/>
                      <a:pt x="888" y="300"/>
                    </a:cubicBezTo>
                    <a:cubicBezTo>
                      <a:pt x="889" y="300"/>
                      <a:pt x="890" y="300"/>
                      <a:pt x="890" y="300"/>
                    </a:cubicBezTo>
                    <a:cubicBezTo>
                      <a:pt x="882" y="300"/>
                      <a:pt x="873" y="300"/>
                      <a:pt x="864" y="300"/>
                    </a:cubicBezTo>
                    <a:cubicBezTo>
                      <a:pt x="865" y="300"/>
                      <a:pt x="865" y="300"/>
                      <a:pt x="866" y="300"/>
                    </a:cubicBezTo>
                    <a:close/>
                    <a:moveTo>
                      <a:pt x="1027" y="230"/>
                    </a:moveTo>
                    <a:cubicBezTo>
                      <a:pt x="1027" y="225"/>
                      <a:pt x="1027" y="221"/>
                      <a:pt x="1027" y="217"/>
                    </a:cubicBezTo>
                    <a:cubicBezTo>
                      <a:pt x="1026" y="221"/>
                      <a:pt x="1026" y="225"/>
                      <a:pt x="1027" y="230"/>
                    </a:cubicBezTo>
                    <a:close/>
                    <a:moveTo>
                      <a:pt x="1366" y="213"/>
                    </a:moveTo>
                    <a:cubicBezTo>
                      <a:pt x="1366" y="217"/>
                      <a:pt x="1366" y="221"/>
                      <a:pt x="1366" y="225"/>
                    </a:cubicBezTo>
                    <a:cubicBezTo>
                      <a:pt x="1366" y="221"/>
                      <a:pt x="1366" y="217"/>
                      <a:pt x="1366" y="213"/>
                    </a:cubicBezTo>
                    <a:close/>
                    <a:moveTo>
                      <a:pt x="1285" y="136"/>
                    </a:moveTo>
                    <a:cubicBezTo>
                      <a:pt x="1288" y="136"/>
                      <a:pt x="1291" y="135"/>
                      <a:pt x="1294" y="135"/>
                    </a:cubicBezTo>
                    <a:cubicBezTo>
                      <a:pt x="1291" y="135"/>
                      <a:pt x="1288" y="135"/>
                      <a:pt x="1285" y="136"/>
                    </a:cubicBezTo>
                    <a:close/>
                    <a:moveTo>
                      <a:pt x="1663" y="136"/>
                    </a:moveTo>
                    <a:cubicBezTo>
                      <a:pt x="1665" y="136"/>
                      <a:pt x="1668" y="136"/>
                      <a:pt x="1670" y="136"/>
                    </a:cubicBezTo>
                    <a:cubicBezTo>
                      <a:pt x="1668" y="135"/>
                      <a:pt x="1665" y="135"/>
                      <a:pt x="1663" y="136"/>
                    </a:cubicBezTo>
                    <a:close/>
                    <a:moveTo>
                      <a:pt x="1096" y="136"/>
                    </a:moveTo>
                    <a:cubicBezTo>
                      <a:pt x="1099" y="136"/>
                      <a:pt x="1101" y="135"/>
                      <a:pt x="1104" y="135"/>
                    </a:cubicBezTo>
                    <a:cubicBezTo>
                      <a:pt x="1101" y="135"/>
                      <a:pt x="1099" y="135"/>
                      <a:pt x="1096" y="136"/>
                    </a:cubicBezTo>
                    <a:close/>
                    <a:moveTo>
                      <a:pt x="940" y="135"/>
                    </a:moveTo>
                    <a:cubicBezTo>
                      <a:pt x="942" y="135"/>
                      <a:pt x="945" y="136"/>
                      <a:pt x="947" y="136"/>
                    </a:cubicBezTo>
                    <a:cubicBezTo>
                      <a:pt x="945" y="135"/>
                      <a:pt x="942" y="135"/>
                      <a:pt x="940" y="135"/>
                    </a:cubicBezTo>
                    <a:close/>
                    <a:moveTo>
                      <a:pt x="998" y="194"/>
                    </a:moveTo>
                    <a:cubicBezTo>
                      <a:pt x="998" y="196"/>
                      <a:pt x="998" y="198"/>
                      <a:pt x="998" y="199"/>
                    </a:cubicBezTo>
                    <a:cubicBezTo>
                      <a:pt x="998" y="198"/>
                      <a:pt x="998" y="196"/>
                      <a:pt x="998" y="194"/>
                    </a:cubicBezTo>
                    <a:close/>
                    <a:moveTo>
                      <a:pt x="891" y="203"/>
                    </a:moveTo>
                    <a:cubicBezTo>
                      <a:pt x="890" y="205"/>
                      <a:pt x="890" y="206"/>
                      <a:pt x="890" y="208"/>
                    </a:cubicBezTo>
                    <a:cubicBezTo>
                      <a:pt x="891" y="206"/>
                      <a:pt x="890" y="205"/>
                      <a:pt x="891" y="203"/>
                    </a:cubicBezTo>
                    <a:close/>
                    <a:moveTo>
                      <a:pt x="1649" y="282"/>
                    </a:moveTo>
                    <a:cubicBezTo>
                      <a:pt x="1650" y="282"/>
                      <a:pt x="1652" y="282"/>
                      <a:pt x="1654" y="282"/>
                    </a:cubicBezTo>
                    <a:cubicBezTo>
                      <a:pt x="1652" y="282"/>
                      <a:pt x="1650" y="282"/>
                      <a:pt x="1649" y="282"/>
                    </a:cubicBezTo>
                    <a:close/>
                    <a:moveTo>
                      <a:pt x="810" y="70"/>
                    </a:moveTo>
                    <a:cubicBezTo>
                      <a:pt x="812" y="70"/>
                      <a:pt x="813" y="70"/>
                      <a:pt x="814" y="70"/>
                    </a:cubicBezTo>
                    <a:cubicBezTo>
                      <a:pt x="813" y="70"/>
                      <a:pt x="812" y="70"/>
                      <a:pt x="810" y="70"/>
                    </a:cubicBezTo>
                    <a:close/>
                    <a:moveTo>
                      <a:pt x="1208" y="230"/>
                    </a:moveTo>
                    <a:cubicBezTo>
                      <a:pt x="1208" y="229"/>
                      <a:pt x="1208" y="227"/>
                      <a:pt x="1208" y="226"/>
                    </a:cubicBezTo>
                    <a:cubicBezTo>
                      <a:pt x="1208" y="227"/>
                      <a:pt x="1207" y="229"/>
                      <a:pt x="1208" y="230"/>
                    </a:cubicBezTo>
                    <a:close/>
                    <a:moveTo>
                      <a:pt x="1282" y="304"/>
                    </a:moveTo>
                    <a:cubicBezTo>
                      <a:pt x="1281" y="304"/>
                      <a:pt x="1280" y="304"/>
                      <a:pt x="1278" y="304"/>
                    </a:cubicBezTo>
                    <a:cubicBezTo>
                      <a:pt x="1280" y="304"/>
                      <a:pt x="1281" y="304"/>
                      <a:pt x="1282" y="304"/>
                    </a:cubicBezTo>
                    <a:close/>
                    <a:moveTo>
                      <a:pt x="1293" y="304"/>
                    </a:moveTo>
                    <a:cubicBezTo>
                      <a:pt x="1292" y="304"/>
                      <a:pt x="1290" y="304"/>
                      <a:pt x="1289" y="304"/>
                    </a:cubicBezTo>
                    <a:cubicBezTo>
                      <a:pt x="1290" y="304"/>
                      <a:pt x="1292" y="304"/>
                      <a:pt x="1293" y="304"/>
                    </a:cubicBezTo>
                    <a:close/>
                    <a:moveTo>
                      <a:pt x="1208" y="217"/>
                    </a:moveTo>
                    <a:cubicBezTo>
                      <a:pt x="1208" y="215"/>
                      <a:pt x="1208" y="214"/>
                      <a:pt x="1208" y="213"/>
                    </a:cubicBezTo>
                    <a:cubicBezTo>
                      <a:pt x="1207" y="214"/>
                      <a:pt x="1208" y="215"/>
                      <a:pt x="1208" y="217"/>
                    </a:cubicBezTo>
                    <a:close/>
                    <a:moveTo>
                      <a:pt x="1091" y="304"/>
                    </a:moveTo>
                    <a:cubicBezTo>
                      <a:pt x="1089" y="304"/>
                      <a:pt x="1088" y="304"/>
                      <a:pt x="1087" y="304"/>
                    </a:cubicBezTo>
                    <a:cubicBezTo>
                      <a:pt x="1088" y="304"/>
                      <a:pt x="1089" y="304"/>
                      <a:pt x="1091" y="304"/>
                    </a:cubicBezTo>
                    <a:close/>
                    <a:moveTo>
                      <a:pt x="1100" y="304"/>
                    </a:moveTo>
                    <a:cubicBezTo>
                      <a:pt x="1099" y="304"/>
                      <a:pt x="1098" y="304"/>
                      <a:pt x="1096" y="304"/>
                    </a:cubicBezTo>
                    <a:cubicBezTo>
                      <a:pt x="1098" y="304"/>
                      <a:pt x="1099" y="304"/>
                      <a:pt x="1100" y="304"/>
                    </a:cubicBezTo>
                    <a:close/>
                    <a:moveTo>
                      <a:pt x="1365" y="207"/>
                    </a:moveTo>
                    <a:cubicBezTo>
                      <a:pt x="1365" y="208"/>
                      <a:pt x="1365" y="209"/>
                      <a:pt x="1366" y="210"/>
                    </a:cubicBezTo>
                    <a:cubicBezTo>
                      <a:pt x="1365" y="209"/>
                      <a:pt x="1366" y="208"/>
                      <a:pt x="1365" y="207"/>
                    </a:cubicBezTo>
                    <a:close/>
                    <a:moveTo>
                      <a:pt x="997" y="188"/>
                    </a:moveTo>
                    <a:cubicBezTo>
                      <a:pt x="997" y="189"/>
                      <a:pt x="997" y="190"/>
                      <a:pt x="997" y="191"/>
                    </a:cubicBezTo>
                    <a:cubicBezTo>
                      <a:pt x="997" y="190"/>
                      <a:pt x="998" y="189"/>
                      <a:pt x="997" y="188"/>
                    </a:cubicBezTo>
                    <a:close/>
                    <a:moveTo>
                      <a:pt x="1027" y="236"/>
                    </a:moveTo>
                    <a:cubicBezTo>
                      <a:pt x="1027" y="235"/>
                      <a:pt x="1027" y="234"/>
                      <a:pt x="1027" y="233"/>
                    </a:cubicBezTo>
                    <a:cubicBezTo>
                      <a:pt x="1027" y="234"/>
                      <a:pt x="1027" y="235"/>
                      <a:pt x="1027" y="236"/>
                    </a:cubicBezTo>
                    <a:close/>
                    <a:moveTo>
                      <a:pt x="1208" y="210"/>
                    </a:moveTo>
                    <a:cubicBezTo>
                      <a:pt x="1208" y="209"/>
                      <a:pt x="1208" y="208"/>
                      <a:pt x="1208" y="208"/>
                    </a:cubicBezTo>
                    <a:cubicBezTo>
                      <a:pt x="1208" y="208"/>
                      <a:pt x="1208" y="209"/>
                      <a:pt x="1208" y="210"/>
                    </a:cubicBezTo>
                    <a:close/>
                    <a:moveTo>
                      <a:pt x="1027" y="213"/>
                    </a:moveTo>
                    <a:cubicBezTo>
                      <a:pt x="1027" y="213"/>
                      <a:pt x="1027" y="212"/>
                      <a:pt x="1027" y="211"/>
                    </a:cubicBezTo>
                    <a:cubicBezTo>
                      <a:pt x="1027" y="212"/>
                      <a:pt x="1027" y="213"/>
                      <a:pt x="1027" y="213"/>
                    </a:cubicBezTo>
                    <a:close/>
                    <a:moveTo>
                      <a:pt x="1297" y="136"/>
                    </a:moveTo>
                    <a:cubicBezTo>
                      <a:pt x="1298" y="136"/>
                      <a:pt x="1299" y="136"/>
                      <a:pt x="1300" y="136"/>
                    </a:cubicBezTo>
                    <a:cubicBezTo>
                      <a:pt x="1299" y="135"/>
                      <a:pt x="1298" y="136"/>
                      <a:pt x="1297" y="136"/>
                    </a:cubicBezTo>
                    <a:close/>
                    <a:moveTo>
                      <a:pt x="1708" y="253"/>
                    </a:moveTo>
                    <a:cubicBezTo>
                      <a:pt x="1708" y="254"/>
                      <a:pt x="1708" y="255"/>
                      <a:pt x="1708" y="256"/>
                    </a:cubicBezTo>
                    <a:cubicBezTo>
                      <a:pt x="1708" y="255"/>
                      <a:pt x="1709" y="254"/>
                      <a:pt x="1708" y="253"/>
                    </a:cubicBezTo>
                    <a:close/>
                    <a:moveTo>
                      <a:pt x="1279" y="136"/>
                    </a:moveTo>
                    <a:cubicBezTo>
                      <a:pt x="1280" y="136"/>
                      <a:pt x="1280" y="136"/>
                      <a:pt x="1281" y="136"/>
                    </a:cubicBezTo>
                    <a:cubicBezTo>
                      <a:pt x="1280" y="136"/>
                      <a:pt x="1279" y="135"/>
                      <a:pt x="1279" y="136"/>
                    </a:cubicBezTo>
                    <a:close/>
                    <a:moveTo>
                      <a:pt x="1366" y="228"/>
                    </a:moveTo>
                    <a:cubicBezTo>
                      <a:pt x="1365" y="229"/>
                      <a:pt x="1365" y="230"/>
                      <a:pt x="1365" y="231"/>
                    </a:cubicBezTo>
                    <a:cubicBezTo>
                      <a:pt x="1366" y="230"/>
                      <a:pt x="1365" y="229"/>
                      <a:pt x="1366" y="228"/>
                    </a:cubicBezTo>
                    <a:close/>
                    <a:moveTo>
                      <a:pt x="935" y="136"/>
                    </a:moveTo>
                    <a:cubicBezTo>
                      <a:pt x="935" y="136"/>
                      <a:pt x="936" y="136"/>
                      <a:pt x="937" y="136"/>
                    </a:cubicBezTo>
                    <a:cubicBezTo>
                      <a:pt x="936" y="136"/>
                      <a:pt x="935" y="135"/>
                      <a:pt x="935" y="136"/>
                    </a:cubicBezTo>
                    <a:close/>
                    <a:moveTo>
                      <a:pt x="950" y="136"/>
                    </a:moveTo>
                    <a:cubicBezTo>
                      <a:pt x="951" y="136"/>
                      <a:pt x="951" y="136"/>
                      <a:pt x="952" y="136"/>
                    </a:cubicBezTo>
                    <a:cubicBezTo>
                      <a:pt x="951" y="135"/>
                      <a:pt x="951" y="136"/>
                      <a:pt x="950" y="136"/>
                    </a:cubicBezTo>
                    <a:close/>
                    <a:moveTo>
                      <a:pt x="1091" y="136"/>
                    </a:moveTo>
                    <a:cubicBezTo>
                      <a:pt x="1092" y="136"/>
                      <a:pt x="1093" y="136"/>
                      <a:pt x="1093" y="136"/>
                    </a:cubicBezTo>
                    <a:cubicBezTo>
                      <a:pt x="1092" y="136"/>
                      <a:pt x="1092" y="135"/>
                      <a:pt x="1091" y="136"/>
                    </a:cubicBezTo>
                    <a:close/>
                    <a:moveTo>
                      <a:pt x="1107" y="136"/>
                    </a:moveTo>
                    <a:cubicBezTo>
                      <a:pt x="1108" y="136"/>
                      <a:pt x="1109" y="136"/>
                      <a:pt x="1109" y="136"/>
                    </a:cubicBezTo>
                    <a:cubicBezTo>
                      <a:pt x="1109" y="135"/>
                      <a:pt x="1108" y="136"/>
                      <a:pt x="1107" y="136"/>
                    </a:cubicBezTo>
                    <a:close/>
                    <a:moveTo>
                      <a:pt x="972" y="200"/>
                    </a:moveTo>
                    <a:cubicBezTo>
                      <a:pt x="972" y="199"/>
                      <a:pt x="972" y="198"/>
                      <a:pt x="971" y="197"/>
                    </a:cubicBezTo>
                    <a:cubicBezTo>
                      <a:pt x="971" y="198"/>
                      <a:pt x="971" y="199"/>
                      <a:pt x="972" y="200"/>
                    </a:cubicBezTo>
                    <a:close/>
                    <a:moveTo>
                      <a:pt x="931" y="158"/>
                    </a:moveTo>
                    <a:cubicBezTo>
                      <a:pt x="930" y="158"/>
                      <a:pt x="929" y="158"/>
                      <a:pt x="929" y="158"/>
                    </a:cubicBezTo>
                    <a:cubicBezTo>
                      <a:pt x="930" y="158"/>
                      <a:pt x="930" y="158"/>
                      <a:pt x="931" y="158"/>
                    </a:cubicBezTo>
                    <a:close/>
                    <a:moveTo>
                      <a:pt x="1028" y="240"/>
                    </a:moveTo>
                    <a:cubicBezTo>
                      <a:pt x="1028" y="239"/>
                      <a:pt x="1028" y="239"/>
                      <a:pt x="1027" y="238"/>
                    </a:cubicBezTo>
                    <a:cubicBezTo>
                      <a:pt x="1027" y="239"/>
                      <a:pt x="1027" y="239"/>
                      <a:pt x="1028" y="240"/>
                    </a:cubicBezTo>
                    <a:close/>
                    <a:moveTo>
                      <a:pt x="1682" y="259"/>
                    </a:moveTo>
                    <a:cubicBezTo>
                      <a:pt x="1682" y="258"/>
                      <a:pt x="1682" y="258"/>
                      <a:pt x="1681" y="257"/>
                    </a:cubicBezTo>
                    <a:cubicBezTo>
                      <a:pt x="1681" y="258"/>
                      <a:pt x="1681" y="258"/>
                      <a:pt x="1682" y="259"/>
                    </a:cubicBezTo>
                    <a:close/>
                    <a:moveTo>
                      <a:pt x="1708" y="259"/>
                    </a:moveTo>
                    <a:cubicBezTo>
                      <a:pt x="1708" y="259"/>
                      <a:pt x="1708" y="260"/>
                      <a:pt x="1708" y="261"/>
                    </a:cubicBezTo>
                    <a:cubicBezTo>
                      <a:pt x="1709" y="260"/>
                      <a:pt x="1708" y="259"/>
                      <a:pt x="1708" y="259"/>
                    </a:cubicBezTo>
                    <a:close/>
                    <a:moveTo>
                      <a:pt x="1681" y="262"/>
                    </a:moveTo>
                    <a:cubicBezTo>
                      <a:pt x="1682" y="262"/>
                      <a:pt x="1682" y="261"/>
                      <a:pt x="1682" y="260"/>
                    </a:cubicBezTo>
                    <a:cubicBezTo>
                      <a:pt x="1681" y="261"/>
                      <a:pt x="1681" y="262"/>
                      <a:pt x="1681" y="262"/>
                    </a:cubicBezTo>
                    <a:close/>
                    <a:moveTo>
                      <a:pt x="1027" y="209"/>
                    </a:moveTo>
                    <a:cubicBezTo>
                      <a:pt x="1028" y="208"/>
                      <a:pt x="1028" y="207"/>
                      <a:pt x="1028" y="207"/>
                    </a:cubicBezTo>
                    <a:cubicBezTo>
                      <a:pt x="1027" y="207"/>
                      <a:pt x="1027" y="208"/>
                      <a:pt x="1027" y="209"/>
                    </a:cubicBezTo>
                    <a:close/>
                    <a:moveTo>
                      <a:pt x="1276" y="304"/>
                    </a:moveTo>
                    <a:cubicBezTo>
                      <a:pt x="1275" y="303"/>
                      <a:pt x="1274" y="303"/>
                      <a:pt x="1274" y="303"/>
                    </a:cubicBezTo>
                    <a:cubicBezTo>
                      <a:pt x="1274" y="304"/>
                      <a:pt x="1275" y="304"/>
                      <a:pt x="1276" y="304"/>
                    </a:cubicBezTo>
                    <a:close/>
                    <a:moveTo>
                      <a:pt x="1208" y="235"/>
                    </a:moveTo>
                    <a:cubicBezTo>
                      <a:pt x="1208" y="234"/>
                      <a:pt x="1208" y="233"/>
                      <a:pt x="1208" y="232"/>
                    </a:cubicBezTo>
                    <a:cubicBezTo>
                      <a:pt x="1208" y="233"/>
                      <a:pt x="1208" y="234"/>
                      <a:pt x="1208" y="235"/>
                    </a:cubicBezTo>
                    <a:close/>
                    <a:moveTo>
                      <a:pt x="1644" y="304"/>
                    </a:moveTo>
                    <a:cubicBezTo>
                      <a:pt x="1643" y="304"/>
                      <a:pt x="1643" y="304"/>
                      <a:pt x="1642" y="304"/>
                    </a:cubicBezTo>
                    <a:cubicBezTo>
                      <a:pt x="1643" y="304"/>
                      <a:pt x="1643" y="304"/>
                      <a:pt x="1644" y="304"/>
                    </a:cubicBezTo>
                    <a:close/>
                    <a:moveTo>
                      <a:pt x="1657" y="304"/>
                    </a:moveTo>
                    <a:cubicBezTo>
                      <a:pt x="1656" y="304"/>
                      <a:pt x="1655" y="304"/>
                      <a:pt x="1654" y="304"/>
                    </a:cubicBezTo>
                    <a:cubicBezTo>
                      <a:pt x="1655" y="304"/>
                      <a:pt x="1656" y="304"/>
                      <a:pt x="1657" y="304"/>
                    </a:cubicBezTo>
                    <a:close/>
                    <a:moveTo>
                      <a:pt x="1172" y="300"/>
                    </a:moveTo>
                    <a:cubicBezTo>
                      <a:pt x="1165" y="300"/>
                      <a:pt x="1158" y="300"/>
                      <a:pt x="1152" y="300"/>
                    </a:cubicBezTo>
                    <a:cubicBezTo>
                      <a:pt x="1149" y="300"/>
                      <a:pt x="1149" y="300"/>
                      <a:pt x="1149" y="297"/>
                    </a:cubicBezTo>
                    <a:cubicBezTo>
                      <a:pt x="1149" y="290"/>
                      <a:pt x="1149" y="283"/>
                      <a:pt x="1149" y="275"/>
                    </a:cubicBezTo>
                    <a:cubicBezTo>
                      <a:pt x="1149" y="274"/>
                      <a:pt x="1149" y="274"/>
                      <a:pt x="1149" y="273"/>
                    </a:cubicBezTo>
                    <a:cubicBezTo>
                      <a:pt x="1148" y="273"/>
                      <a:pt x="1148" y="274"/>
                      <a:pt x="1147" y="275"/>
                    </a:cubicBezTo>
                    <a:cubicBezTo>
                      <a:pt x="1141" y="286"/>
                      <a:pt x="1132" y="294"/>
                      <a:pt x="1121" y="299"/>
                    </a:cubicBezTo>
                    <a:cubicBezTo>
                      <a:pt x="1116" y="301"/>
                      <a:pt x="1110" y="302"/>
                      <a:pt x="1105" y="303"/>
                    </a:cubicBezTo>
                    <a:cubicBezTo>
                      <a:pt x="1103" y="303"/>
                      <a:pt x="1102" y="304"/>
                      <a:pt x="1100" y="304"/>
                    </a:cubicBezTo>
                    <a:cubicBezTo>
                      <a:pt x="1099" y="304"/>
                      <a:pt x="1098" y="304"/>
                      <a:pt x="1096" y="304"/>
                    </a:cubicBezTo>
                    <a:cubicBezTo>
                      <a:pt x="1094" y="304"/>
                      <a:pt x="1093" y="304"/>
                      <a:pt x="1091" y="304"/>
                    </a:cubicBezTo>
                    <a:cubicBezTo>
                      <a:pt x="1089" y="304"/>
                      <a:pt x="1088" y="304"/>
                      <a:pt x="1087" y="304"/>
                    </a:cubicBezTo>
                    <a:cubicBezTo>
                      <a:pt x="1079" y="303"/>
                      <a:pt x="1071" y="301"/>
                      <a:pt x="1063" y="297"/>
                    </a:cubicBezTo>
                    <a:cubicBezTo>
                      <a:pt x="1059" y="295"/>
                      <a:pt x="1054" y="292"/>
                      <a:pt x="1051" y="288"/>
                    </a:cubicBezTo>
                    <a:cubicBezTo>
                      <a:pt x="1045" y="284"/>
                      <a:pt x="1041" y="278"/>
                      <a:pt x="1038" y="272"/>
                    </a:cubicBezTo>
                    <a:cubicBezTo>
                      <a:pt x="1035" y="267"/>
                      <a:pt x="1033" y="262"/>
                      <a:pt x="1031" y="256"/>
                    </a:cubicBezTo>
                    <a:cubicBezTo>
                      <a:pt x="1030" y="252"/>
                      <a:pt x="1029" y="247"/>
                      <a:pt x="1028" y="243"/>
                    </a:cubicBezTo>
                    <a:cubicBezTo>
                      <a:pt x="1028" y="242"/>
                      <a:pt x="1028" y="241"/>
                      <a:pt x="1028" y="240"/>
                    </a:cubicBezTo>
                    <a:cubicBezTo>
                      <a:pt x="1027" y="239"/>
                      <a:pt x="1028" y="239"/>
                      <a:pt x="1027" y="238"/>
                    </a:cubicBezTo>
                    <a:cubicBezTo>
                      <a:pt x="1027" y="237"/>
                      <a:pt x="1027" y="237"/>
                      <a:pt x="1027" y="236"/>
                    </a:cubicBezTo>
                    <a:cubicBezTo>
                      <a:pt x="1027" y="235"/>
                      <a:pt x="1027" y="234"/>
                      <a:pt x="1027" y="233"/>
                    </a:cubicBezTo>
                    <a:cubicBezTo>
                      <a:pt x="1027" y="232"/>
                      <a:pt x="1027" y="231"/>
                      <a:pt x="1027" y="230"/>
                    </a:cubicBezTo>
                    <a:cubicBezTo>
                      <a:pt x="1027" y="225"/>
                      <a:pt x="1027" y="221"/>
                      <a:pt x="1027" y="217"/>
                    </a:cubicBezTo>
                    <a:cubicBezTo>
                      <a:pt x="1027" y="216"/>
                      <a:pt x="1027" y="215"/>
                      <a:pt x="1027" y="213"/>
                    </a:cubicBezTo>
                    <a:cubicBezTo>
                      <a:pt x="1027" y="213"/>
                      <a:pt x="1027" y="212"/>
                      <a:pt x="1027" y="211"/>
                    </a:cubicBezTo>
                    <a:cubicBezTo>
                      <a:pt x="1027" y="210"/>
                      <a:pt x="1027" y="210"/>
                      <a:pt x="1027" y="209"/>
                    </a:cubicBezTo>
                    <a:cubicBezTo>
                      <a:pt x="1028" y="208"/>
                      <a:pt x="1027" y="207"/>
                      <a:pt x="1028" y="207"/>
                    </a:cubicBezTo>
                    <a:cubicBezTo>
                      <a:pt x="1029" y="199"/>
                      <a:pt x="1030" y="191"/>
                      <a:pt x="1033" y="183"/>
                    </a:cubicBezTo>
                    <a:cubicBezTo>
                      <a:pt x="1036" y="175"/>
                      <a:pt x="1040" y="168"/>
                      <a:pt x="1046" y="161"/>
                    </a:cubicBezTo>
                    <a:cubicBezTo>
                      <a:pt x="1052" y="153"/>
                      <a:pt x="1060" y="146"/>
                      <a:pt x="1069" y="142"/>
                    </a:cubicBezTo>
                    <a:cubicBezTo>
                      <a:pt x="1076" y="139"/>
                      <a:pt x="1083" y="137"/>
                      <a:pt x="1091" y="136"/>
                    </a:cubicBezTo>
                    <a:cubicBezTo>
                      <a:pt x="1092" y="136"/>
                      <a:pt x="1093" y="136"/>
                      <a:pt x="1093" y="136"/>
                    </a:cubicBezTo>
                    <a:cubicBezTo>
                      <a:pt x="1094" y="136"/>
                      <a:pt x="1095" y="136"/>
                      <a:pt x="1096" y="136"/>
                    </a:cubicBezTo>
                    <a:cubicBezTo>
                      <a:pt x="1099" y="135"/>
                      <a:pt x="1101" y="135"/>
                      <a:pt x="1104" y="135"/>
                    </a:cubicBezTo>
                    <a:cubicBezTo>
                      <a:pt x="1105" y="136"/>
                      <a:pt x="1106" y="136"/>
                      <a:pt x="1107" y="136"/>
                    </a:cubicBezTo>
                    <a:cubicBezTo>
                      <a:pt x="1108" y="136"/>
                      <a:pt x="1109" y="136"/>
                      <a:pt x="1109" y="136"/>
                    </a:cubicBezTo>
                    <a:cubicBezTo>
                      <a:pt x="1118" y="137"/>
                      <a:pt x="1126" y="140"/>
                      <a:pt x="1133" y="145"/>
                    </a:cubicBezTo>
                    <a:cubicBezTo>
                      <a:pt x="1139" y="149"/>
                      <a:pt x="1144" y="154"/>
                      <a:pt x="1148" y="160"/>
                    </a:cubicBezTo>
                    <a:cubicBezTo>
                      <a:pt x="1148" y="161"/>
                      <a:pt x="1148" y="161"/>
                      <a:pt x="1149" y="161"/>
                    </a:cubicBezTo>
                    <a:cubicBezTo>
                      <a:pt x="1149" y="161"/>
                      <a:pt x="1149" y="160"/>
                      <a:pt x="1149" y="159"/>
                    </a:cubicBezTo>
                    <a:cubicBezTo>
                      <a:pt x="1149" y="128"/>
                      <a:pt x="1149" y="96"/>
                      <a:pt x="1149" y="65"/>
                    </a:cubicBezTo>
                    <a:cubicBezTo>
                      <a:pt x="1149" y="62"/>
                      <a:pt x="1149" y="62"/>
                      <a:pt x="1152" y="62"/>
                    </a:cubicBezTo>
                    <a:cubicBezTo>
                      <a:pt x="1159" y="62"/>
                      <a:pt x="1166" y="62"/>
                      <a:pt x="1173" y="62"/>
                    </a:cubicBezTo>
                    <a:cubicBezTo>
                      <a:pt x="1175" y="62"/>
                      <a:pt x="1175" y="62"/>
                      <a:pt x="1175" y="64"/>
                    </a:cubicBezTo>
                    <a:cubicBezTo>
                      <a:pt x="1175" y="66"/>
                      <a:pt x="1175" y="68"/>
                      <a:pt x="1175" y="70"/>
                    </a:cubicBezTo>
                    <a:cubicBezTo>
                      <a:pt x="1175" y="146"/>
                      <a:pt x="1175" y="222"/>
                      <a:pt x="1175" y="297"/>
                    </a:cubicBezTo>
                    <a:cubicBezTo>
                      <a:pt x="1175" y="300"/>
                      <a:pt x="1175" y="300"/>
                      <a:pt x="1172" y="300"/>
                    </a:cubicBezTo>
                    <a:close/>
                    <a:moveTo>
                      <a:pt x="1149" y="217"/>
                    </a:moveTo>
                    <a:cubicBezTo>
                      <a:pt x="1149" y="212"/>
                      <a:pt x="1149" y="207"/>
                      <a:pt x="1149" y="203"/>
                    </a:cubicBezTo>
                    <a:cubicBezTo>
                      <a:pt x="1149" y="198"/>
                      <a:pt x="1149" y="194"/>
                      <a:pt x="1147" y="190"/>
                    </a:cubicBezTo>
                    <a:cubicBezTo>
                      <a:pt x="1140" y="163"/>
                      <a:pt x="1110" y="150"/>
                      <a:pt x="1083" y="162"/>
                    </a:cubicBezTo>
                    <a:cubicBezTo>
                      <a:pt x="1070" y="168"/>
                      <a:pt x="1062" y="179"/>
                      <a:pt x="1058" y="192"/>
                    </a:cubicBezTo>
                    <a:cubicBezTo>
                      <a:pt x="1052" y="208"/>
                      <a:pt x="1052" y="224"/>
                      <a:pt x="1055" y="241"/>
                    </a:cubicBezTo>
                    <a:cubicBezTo>
                      <a:pt x="1057" y="253"/>
                      <a:pt x="1062" y="264"/>
                      <a:pt x="1072" y="271"/>
                    </a:cubicBezTo>
                    <a:cubicBezTo>
                      <a:pt x="1086" y="283"/>
                      <a:pt x="1102" y="285"/>
                      <a:pt x="1119" y="278"/>
                    </a:cubicBezTo>
                    <a:cubicBezTo>
                      <a:pt x="1136" y="271"/>
                      <a:pt x="1145" y="258"/>
                      <a:pt x="1148" y="240"/>
                    </a:cubicBezTo>
                    <a:cubicBezTo>
                      <a:pt x="1150" y="232"/>
                      <a:pt x="1149" y="224"/>
                      <a:pt x="1149" y="217"/>
                    </a:cubicBezTo>
                    <a:close/>
                    <a:moveTo>
                      <a:pt x="1366" y="225"/>
                    </a:moveTo>
                    <a:cubicBezTo>
                      <a:pt x="1366" y="226"/>
                      <a:pt x="1366" y="227"/>
                      <a:pt x="1366" y="228"/>
                    </a:cubicBezTo>
                    <a:cubicBezTo>
                      <a:pt x="1365" y="229"/>
                      <a:pt x="1366" y="230"/>
                      <a:pt x="1365" y="231"/>
                    </a:cubicBezTo>
                    <a:cubicBezTo>
                      <a:pt x="1364" y="242"/>
                      <a:pt x="1361" y="253"/>
                      <a:pt x="1356" y="263"/>
                    </a:cubicBezTo>
                    <a:cubicBezTo>
                      <a:pt x="1349" y="276"/>
                      <a:pt x="1340" y="286"/>
                      <a:pt x="1328" y="294"/>
                    </a:cubicBezTo>
                    <a:cubicBezTo>
                      <a:pt x="1319" y="299"/>
                      <a:pt x="1310" y="302"/>
                      <a:pt x="1301" y="303"/>
                    </a:cubicBezTo>
                    <a:cubicBezTo>
                      <a:pt x="1298" y="303"/>
                      <a:pt x="1296" y="303"/>
                      <a:pt x="1293" y="304"/>
                    </a:cubicBezTo>
                    <a:cubicBezTo>
                      <a:pt x="1292" y="304"/>
                      <a:pt x="1290" y="304"/>
                      <a:pt x="1289" y="304"/>
                    </a:cubicBezTo>
                    <a:cubicBezTo>
                      <a:pt x="1287" y="304"/>
                      <a:pt x="1285" y="304"/>
                      <a:pt x="1282" y="304"/>
                    </a:cubicBezTo>
                    <a:cubicBezTo>
                      <a:pt x="1281" y="304"/>
                      <a:pt x="1280" y="304"/>
                      <a:pt x="1278" y="304"/>
                    </a:cubicBezTo>
                    <a:cubicBezTo>
                      <a:pt x="1277" y="304"/>
                      <a:pt x="1277" y="304"/>
                      <a:pt x="1276" y="304"/>
                    </a:cubicBezTo>
                    <a:cubicBezTo>
                      <a:pt x="1275" y="303"/>
                      <a:pt x="1274" y="304"/>
                      <a:pt x="1274" y="303"/>
                    </a:cubicBezTo>
                    <a:cubicBezTo>
                      <a:pt x="1264" y="302"/>
                      <a:pt x="1256" y="300"/>
                      <a:pt x="1247" y="296"/>
                    </a:cubicBezTo>
                    <a:cubicBezTo>
                      <a:pt x="1242" y="293"/>
                      <a:pt x="1236" y="289"/>
                      <a:pt x="1231" y="284"/>
                    </a:cubicBezTo>
                    <a:cubicBezTo>
                      <a:pt x="1224" y="277"/>
                      <a:pt x="1219" y="269"/>
                      <a:pt x="1215" y="260"/>
                    </a:cubicBezTo>
                    <a:cubicBezTo>
                      <a:pt x="1212" y="254"/>
                      <a:pt x="1210" y="248"/>
                      <a:pt x="1209" y="241"/>
                    </a:cubicBezTo>
                    <a:cubicBezTo>
                      <a:pt x="1209" y="239"/>
                      <a:pt x="1208" y="237"/>
                      <a:pt x="1208" y="235"/>
                    </a:cubicBezTo>
                    <a:cubicBezTo>
                      <a:pt x="1208" y="234"/>
                      <a:pt x="1208" y="233"/>
                      <a:pt x="1208" y="232"/>
                    </a:cubicBezTo>
                    <a:cubicBezTo>
                      <a:pt x="1208" y="232"/>
                      <a:pt x="1208" y="231"/>
                      <a:pt x="1208" y="230"/>
                    </a:cubicBezTo>
                    <a:cubicBezTo>
                      <a:pt x="1208" y="229"/>
                      <a:pt x="1208" y="227"/>
                      <a:pt x="1208" y="226"/>
                    </a:cubicBezTo>
                    <a:cubicBezTo>
                      <a:pt x="1208" y="223"/>
                      <a:pt x="1208" y="220"/>
                      <a:pt x="1208" y="217"/>
                    </a:cubicBezTo>
                    <a:cubicBezTo>
                      <a:pt x="1208" y="215"/>
                      <a:pt x="1208" y="214"/>
                      <a:pt x="1208" y="213"/>
                    </a:cubicBezTo>
                    <a:cubicBezTo>
                      <a:pt x="1208" y="212"/>
                      <a:pt x="1208" y="211"/>
                      <a:pt x="1208" y="210"/>
                    </a:cubicBezTo>
                    <a:cubicBezTo>
                      <a:pt x="1208" y="209"/>
                      <a:pt x="1208" y="208"/>
                      <a:pt x="1208" y="208"/>
                    </a:cubicBezTo>
                    <a:cubicBezTo>
                      <a:pt x="1209" y="200"/>
                      <a:pt x="1211" y="192"/>
                      <a:pt x="1213" y="184"/>
                    </a:cubicBezTo>
                    <a:cubicBezTo>
                      <a:pt x="1216" y="176"/>
                      <a:pt x="1220" y="169"/>
                      <a:pt x="1226" y="162"/>
                    </a:cubicBezTo>
                    <a:cubicBezTo>
                      <a:pt x="1233" y="155"/>
                      <a:pt x="1240" y="148"/>
                      <a:pt x="1249" y="144"/>
                    </a:cubicBezTo>
                    <a:cubicBezTo>
                      <a:pt x="1257" y="140"/>
                      <a:pt x="1266" y="137"/>
                      <a:pt x="1275" y="136"/>
                    </a:cubicBezTo>
                    <a:cubicBezTo>
                      <a:pt x="1276" y="136"/>
                      <a:pt x="1278" y="136"/>
                      <a:pt x="1279" y="136"/>
                    </a:cubicBezTo>
                    <a:cubicBezTo>
                      <a:pt x="1279" y="136"/>
                      <a:pt x="1280" y="136"/>
                      <a:pt x="1281" y="136"/>
                    </a:cubicBezTo>
                    <a:cubicBezTo>
                      <a:pt x="1282" y="136"/>
                      <a:pt x="1284" y="136"/>
                      <a:pt x="1285" y="136"/>
                    </a:cubicBezTo>
                    <a:cubicBezTo>
                      <a:pt x="1288" y="135"/>
                      <a:pt x="1291" y="135"/>
                      <a:pt x="1294" y="135"/>
                    </a:cubicBezTo>
                    <a:cubicBezTo>
                      <a:pt x="1295" y="136"/>
                      <a:pt x="1296" y="136"/>
                      <a:pt x="1297" y="136"/>
                    </a:cubicBezTo>
                    <a:cubicBezTo>
                      <a:pt x="1298" y="136"/>
                      <a:pt x="1299" y="136"/>
                      <a:pt x="1300" y="136"/>
                    </a:cubicBezTo>
                    <a:cubicBezTo>
                      <a:pt x="1309" y="137"/>
                      <a:pt x="1318" y="139"/>
                      <a:pt x="1327" y="144"/>
                    </a:cubicBezTo>
                    <a:cubicBezTo>
                      <a:pt x="1341" y="151"/>
                      <a:pt x="1351" y="162"/>
                      <a:pt x="1358" y="177"/>
                    </a:cubicBezTo>
                    <a:cubicBezTo>
                      <a:pt x="1361" y="185"/>
                      <a:pt x="1363" y="194"/>
                      <a:pt x="1365" y="202"/>
                    </a:cubicBezTo>
                    <a:cubicBezTo>
                      <a:pt x="1365" y="204"/>
                      <a:pt x="1365" y="205"/>
                      <a:pt x="1365" y="207"/>
                    </a:cubicBezTo>
                    <a:cubicBezTo>
                      <a:pt x="1366" y="208"/>
                      <a:pt x="1365" y="209"/>
                      <a:pt x="1366" y="210"/>
                    </a:cubicBezTo>
                    <a:cubicBezTo>
                      <a:pt x="1366" y="211"/>
                      <a:pt x="1366" y="212"/>
                      <a:pt x="1366" y="213"/>
                    </a:cubicBezTo>
                    <a:cubicBezTo>
                      <a:pt x="1366" y="217"/>
                      <a:pt x="1366" y="221"/>
                      <a:pt x="1366" y="225"/>
                    </a:cubicBezTo>
                    <a:close/>
                    <a:moveTo>
                      <a:pt x="1339" y="220"/>
                    </a:moveTo>
                    <a:cubicBezTo>
                      <a:pt x="1339" y="210"/>
                      <a:pt x="1338" y="200"/>
                      <a:pt x="1335" y="191"/>
                    </a:cubicBezTo>
                    <a:cubicBezTo>
                      <a:pt x="1331" y="178"/>
                      <a:pt x="1324" y="168"/>
                      <a:pt x="1311" y="162"/>
                    </a:cubicBezTo>
                    <a:cubicBezTo>
                      <a:pt x="1303" y="158"/>
                      <a:pt x="1295" y="157"/>
                      <a:pt x="1286" y="158"/>
                    </a:cubicBezTo>
                    <a:cubicBezTo>
                      <a:pt x="1264" y="158"/>
                      <a:pt x="1247" y="169"/>
                      <a:pt x="1239" y="189"/>
                    </a:cubicBezTo>
                    <a:cubicBezTo>
                      <a:pt x="1232" y="209"/>
                      <a:pt x="1232" y="229"/>
                      <a:pt x="1238" y="248"/>
                    </a:cubicBezTo>
                    <a:cubicBezTo>
                      <a:pt x="1243" y="262"/>
                      <a:pt x="1252" y="272"/>
                      <a:pt x="1265" y="278"/>
                    </a:cubicBezTo>
                    <a:cubicBezTo>
                      <a:pt x="1274" y="282"/>
                      <a:pt x="1284" y="283"/>
                      <a:pt x="1294" y="282"/>
                    </a:cubicBezTo>
                    <a:cubicBezTo>
                      <a:pt x="1312" y="280"/>
                      <a:pt x="1325" y="271"/>
                      <a:pt x="1333" y="255"/>
                    </a:cubicBezTo>
                    <a:cubicBezTo>
                      <a:pt x="1338" y="244"/>
                      <a:pt x="1339" y="232"/>
                      <a:pt x="1339" y="22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6" name="Freeform 41"/>
              <p:cNvSpPr>
                <a:spLocks noEditPoints="1"/>
              </p:cNvSpPr>
              <p:nvPr/>
            </p:nvSpPr>
            <p:spPr bwMode="auto">
              <a:xfrm>
                <a:off x="8756661" y="2896685"/>
                <a:ext cx="2325677" cy="336936"/>
              </a:xfrm>
              <a:custGeom>
                <a:avLst/>
                <a:gdLst>
                  <a:gd name="T0" fmla="*/ 457 w 1810"/>
                  <a:gd name="T1" fmla="*/ 81 h 259"/>
                  <a:gd name="T2" fmla="*/ 435 w 1810"/>
                  <a:gd name="T3" fmla="*/ 99 h 259"/>
                  <a:gd name="T4" fmla="*/ 513 w 1810"/>
                  <a:gd name="T5" fmla="*/ 145 h 259"/>
                  <a:gd name="T6" fmla="*/ 729 w 1810"/>
                  <a:gd name="T7" fmla="*/ 105 h 259"/>
                  <a:gd name="T8" fmla="*/ 792 w 1810"/>
                  <a:gd name="T9" fmla="*/ 106 h 259"/>
                  <a:gd name="T10" fmla="*/ 981 w 1810"/>
                  <a:gd name="T11" fmla="*/ 194 h 259"/>
                  <a:gd name="T12" fmla="*/ 1076 w 1810"/>
                  <a:gd name="T13" fmla="*/ 202 h 259"/>
                  <a:gd name="T14" fmla="*/ 1062 w 1810"/>
                  <a:gd name="T15" fmla="*/ 173 h 259"/>
                  <a:gd name="T16" fmla="*/ 1436 w 1810"/>
                  <a:gd name="T17" fmla="*/ 119 h 259"/>
                  <a:gd name="T18" fmla="*/ 1355 w 1810"/>
                  <a:gd name="T19" fmla="*/ 193 h 259"/>
                  <a:gd name="T20" fmla="*/ 1439 w 1810"/>
                  <a:gd name="T21" fmla="*/ 130 h 259"/>
                  <a:gd name="T22" fmla="*/ 1653 w 1810"/>
                  <a:gd name="T23" fmla="*/ 105 h 259"/>
                  <a:gd name="T24" fmla="*/ 1715 w 1810"/>
                  <a:gd name="T25" fmla="*/ 188 h 259"/>
                  <a:gd name="T26" fmla="*/ 1248 w 1810"/>
                  <a:gd name="T27" fmla="*/ 70 h 259"/>
                  <a:gd name="T28" fmla="*/ 1295 w 1810"/>
                  <a:gd name="T29" fmla="*/ 191 h 259"/>
                  <a:gd name="T30" fmla="*/ 1315 w 1810"/>
                  <a:gd name="T31" fmla="*/ 138 h 259"/>
                  <a:gd name="T32" fmla="*/ 848 w 1810"/>
                  <a:gd name="T33" fmla="*/ 191 h 259"/>
                  <a:gd name="T34" fmla="*/ 930 w 1810"/>
                  <a:gd name="T35" fmla="*/ 107 h 259"/>
                  <a:gd name="T36" fmla="*/ 687 w 1810"/>
                  <a:gd name="T37" fmla="*/ 113 h 259"/>
                  <a:gd name="T38" fmla="*/ 1542 w 1810"/>
                  <a:gd name="T39" fmla="*/ 137 h 259"/>
                  <a:gd name="T40" fmla="*/ 1621 w 1810"/>
                  <a:gd name="T41" fmla="*/ 121 h 259"/>
                  <a:gd name="T42" fmla="*/ 1561 w 1810"/>
                  <a:gd name="T43" fmla="*/ 137 h 259"/>
                  <a:gd name="T44" fmla="*/ 1150 w 1810"/>
                  <a:gd name="T45" fmla="*/ 142 h 259"/>
                  <a:gd name="T46" fmla="*/ 1131 w 1810"/>
                  <a:gd name="T47" fmla="*/ 153 h 259"/>
                  <a:gd name="T48" fmla="*/ 1481 w 1810"/>
                  <a:gd name="T49" fmla="*/ 114 h 259"/>
                  <a:gd name="T50" fmla="*/ 574 w 1810"/>
                  <a:gd name="T51" fmla="*/ 56 h 259"/>
                  <a:gd name="T52" fmla="*/ 987 w 1810"/>
                  <a:gd name="T53" fmla="*/ 207 h 259"/>
                  <a:gd name="T54" fmla="*/ 1344 w 1810"/>
                  <a:gd name="T55" fmla="*/ 164 h 259"/>
                  <a:gd name="T56" fmla="*/ 1311 w 1810"/>
                  <a:gd name="T57" fmla="*/ 50 h 259"/>
                  <a:gd name="T58" fmla="*/ 1635 w 1810"/>
                  <a:gd name="T59" fmla="*/ 168 h 259"/>
                  <a:gd name="T60" fmla="*/ 749 w 1810"/>
                  <a:gd name="T61" fmla="*/ 95 h 259"/>
                  <a:gd name="T62" fmla="*/ 1347 w 1810"/>
                  <a:gd name="T63" fmla="*/ 175 h 259"/>
                  <a:gd name="T64" fmla="*/ 1022 w 1810"/>
                  <a:gd name="T65" fmla="*/ 99 h 259"/>
                  <a:gd name="T66" fmla="*/ 1106 w 1810"/>
                  <a:gd name="T67" fmla="*/ 102 h 259"/>
                  <a:gd name="T68" fmla="*/ 1277 w 1810"/>
                  <a:gd name="T69" fmla="*/ 50 h 259"/>
                  <a:gd name="T70" fmla="*/ 1607 w 1810"/>
                  <a:gd name="T71" fmla="*/ 156 h 259"/>
                  <a:gd name="T72" fmla="*/ 1006 w 1810"/>
                  <a:gd name="T73" fmla="*/ 154 h 259"/>
                  <a:gd name="T74" fmla="*/ 1039 w 1810"/>
                  <a:gd name="T75" fmla="*/ 150 h 259"/>
                  <a:gd name="T76" fmla="*/ 995 w 1810"/>
                  <a:gd name="T77" fmla="*/ 182 h 259"/>
                  <a:gd name="T78" fmla="*/ 408 w 1810"/>
                  <a:gd name="T79" fmla="*/ 193 h 259"/>
                  <a:gd name="T80" fmla="*/ 1568 w 1810"/>
                  <a:gd name="T81" fmla="*/ 207 h 259"/>
                  <a:gd name="T82" fmla="*/ 440 w 1810"/>
                  <a:gd name="T83" fmla="*/ 87 h 259"/>
                  <a:gd name="T84" fmla="*/ 522 w 1810"/>
                  <a:gd name="T85" fmla="*/ 115 h 259"/>
                  <a:gd name="T86" fmla="*/ 842 w 1810"/>
                  <a:gd name="T87" fmla="*/ 124 h 259"/>
                  <a:gd name="T88" fmla="*/ 1272 w 1810"/>
                  <a:gd name="T89" fmla="*/ 132 h 259"/>
                  <a:gd name="T90" fmla="*/ 513 w 1810"/>
                  <a:gd name="T91" fmla="*/ 146 h 259"/>
                  <a:gd name="T92" fmla="*/ 1178 w 1810"/>
                  <a:gd name="T93" fmla="*/ 161 h 259"/>
                  <a:gd name="T94" fmla="*/ 1598 w 1810"/>
                  <a:gd name="T95" fmla="*/ 178 h 259"/>
                  <a:gd name="T96" fmla="*/ 1250 w 1810"/>
                  <a:gd name="T97" fmla="*/ 67 h 259"/>
                  <a:gd name="T98" fmla="*/ 1352 w 1810"/>
                  <a:gd name="T99" fmla="*/ 188 h 259"/>
                  <a:gd name="T100" fmla="*/ 793 w 1810"/>
                  <a:gd name="T101" fmla="*/ 192 h 259"/>
                  <a:gd name="T102" fmla="*/ 1374 w 1810"/>
                  <a:gd name="T103" fmla="*/ 97 h 259"/>
                  <a:gd name="T104" fmla="*/ 1310 w 1810"/>
                  <a:gd name="T105" fmla="*/ 203 h 259"/>
                  <a:gd name="T106" fmla="*/ 1662 w 1810"/>
                  <a:gd name="T107" fmla="*/ 206 h 259"/>
                  <a:gd name="T108" fmla="*/ 1532 w 1810"/>
                  <a:gd name="T109" fmla="*/ 111 h 259"/>
                  <a:gd name="T110" fmla="*/ 1299 w 1810"/>
                  <a:gd name="T111" fmla="*/ 126 h 259"/>
                  <a:gd name="T112" fmla="*/ 1667 w 1810"/>
                  <a:gd name="T113" fmla="*/ 188 h 259"/>
                  <a:gd name="T114" fmla="*/ 1363 w 1810"/>
                  <a:gd name="T115" fmla="*/ 104 h 259"/>
                  <a:gd name="T116" fmla="*/ 626 w 1810"/>
                  <a:gd name="T117" fmla="*/ 103 h 259"/>
                  <a:gd name="T118" fmla="*/ 1175 w 1810"/>
                  <a:gd name="T119" fmla="*/ 198 h 259"/>
                  <a:gd name="T120" fmla="*/ 623 w 1810"/>
                  <a:gd name="T121" fmla="*/ 122 h 259"/>
                  <a:gd name="T122" fmla="*/ 1251 w 1810"/>
                  <a:gd name="T123" fmla="*/ 66 h 259"/>
                  <a:gd name="T124" fmla="*/ 1126 w 1810"/>
                  <a:gd name="T125" fmla="*/ 15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0" h="259">
                    <a:moveTo>
                      <a:pt x="260" y="0"/>
                    </a:moveTo>
                    <a:cubicBezTo>
                      <a:pt x="260" y="1"/>
                      <a:pt x="260" y="2"/>
                      <a:pt x="260" y="3"/>
                    </a:cubicBezTo>
                    <a:cubicBezTo>
                      <a:pt x="260" y="43"/>
                      <a:pt x="260" y="84"/>
                      <a:pt x="260" y="124"/>
                    </a:cubicBezTo>
                    <a:cubicBezTo>
                      <a:pt x="260" y="128"/>
                      <a:pt x="260" y="127"/>
                      <a:pt x="257" y="127"/>
                    </a:cubicBezTo>
                    <a:cubicBezTo>
                      <a:pt x="211" y="127"/>
                      <a:pt x="165" y="127"/>
                      <a:pt x="119" y="127"/>
                    </a:cubicBezTo>
                    <a:cubicBezTo>
                      <a:pt x="118" y="127"/>
                      <a:pt x="118" y="127"/>
                      <a:pt x="117" y="127"/>
                    </a:cubicBezTo>
                    <a:cubicBezTo>
                      <a:pt x="116" y="127"/>
                      <a:pt x="115" y="127"/>
                      <a:pt x="115" y="125"/>
                    </a:cubicBezTo>
                    <a:cubicBezTo>
                      <a:pt x="116" y="125"/>
                      <a:pt x="115" y="124"/>
                      <a:pt x="115" y="124"/>
                    </a:cubicBezTo>
                    <a:cubicBezTo>
                      <a:pt x="115" y="90"/>
                      <a:pt x="115" y="57"/>
                      <a:pt x="115" y="23"/>
                    </a:cubicBezTo>
                    <a:cubicBezTo>
                      <a:pt x="115" y="23"/>
                      <a:pt x="116" y="22"/>
                      <a:pt x="115" y="22"/>
                    </a:cubicBezTo>
                    <a:cubicBezTo>
                      <a:pt x="115" y="20"/>
                      <a:pt x="116" y="20"/>
                      <a:pt x="117" y="20"/>
                    </a:cubicBezTo>
                    <a:cubicBezTo>
                      <a:pt x="124" y="19"/>
                      <a:pt x="130" y="18"/>
                      <a:pt x="137" y="17"/>
                    </a:cubicBezTo>
                    <a:cubicBezTo>
                      <a:pt x="148" y="15"/>
                      <a:pt x="160" y="14"/>
                      <a:pt x="172" y="12"/>
                    </a:cubicBezTo>
                    <a:cubicBezTo>
                      <a:pt x="183" y="10"/>
                      <a:pt x="195" y="9"/>
                      <a:pt x="207" y="7"/>
                    </a:cubicBezTo>
                    <a:cubicBezTo>
                      <a:pt x="219" y="5"/>
                      <a:pt x="230" y="4"/>
                      <a:pt x="242" y="2"/>
                    </a:cubicBezTo>
                    <a:cubicBezTo>
                      <a:pt x="248" y="1"/>
                      <a:pt x="254" y="1"/>
                      <a:pt x="260" y="0"/>
                    </a:cubicBezTo>
                    <a:close/>
                    <a:moveTo>
                      <a:pt x="260" y="255"/>
                    </a:moveTo>
                    <a:cubicBezTo>
                      <a:pt x="260" y="215"/>
                      <a:pt x="260" y="175"/>
                      <a:pt x="260" y="135"/>
                    </a:cubicBezTo>
                    <a:cubicBezTo>
                      <a:pt x="260" y="134"/>
                      <a:pt x="260" y="134"/>
                      <a:pt x="260" y="133"/>
                    </a:cubicBezTo>
                    <a:cubicBezTo>
                      <a:pt x="260" y="132"/>
                      <a:pt x="260" y="131"/>
                      <a:pt x="258" y="131"/>
                    </a:cubicBezTo>
                    <a:cubicBezTo>
                      <a:pt x="258" y="132"/>
                      <a:pt x="257" y="131"/>
                      <a:pt x="257" y="131"/>
                    </a:cubicBezTo>
                    <a:cubicBezTo>
                      <a:pt x="211" y="131"/>
                      <a:pt x="165" y="131"/>
                      <a:pt x="119" y="131"/>
                    </a:cubicBezTo>
                    <a:cubicBezTo>
                      <a:pt x="115" y="131"/>
                      <a:pt x="115" y="131"/>
                      <a:pt x="115" y="135"/>
                    </a:cubicBezTo>
                    <a:cubicBezTo>
                      <a:pt x="115" y="168"/>
                      <a:pt x="115" y="202"/>
                      <a:pt x="115" y="236"/>
                    </a:cubicBezTo>
                    <a:cubicBezTo>
                      <a:pt x="115" y="236"/>
                      <a:pt x="116" y="236"/>
                      <a:pt x="115" y="237"/>
                    </a:cubicBezTo>
                    <a:cubicBezTo>
                      <a:pt x="115" y="238"/>
                      <a:pt x="116" y="239"/>
                      <a:pt x="117" y="239"/>
                    </a:cubicBezTo>
                    <a:cubicBezTo>
                      <a:pt x="125" y="240"/>
                      <a:pt x="132" y="241"/>
                      <a:pt x="139" y="242"/>
                    </a:cubicBezTo>
                    <a:cubicBezTo>
                      <a:pt x="151" y="244"/>
                      <a:pt x="163" y="245"/>
                      <a:pt x="174" y="247"/>
                    </a:cubicBezTo>
                    <a:cubicBezTo>
                      <a:pt x="186" y="249"/>
                      <a:pt x="198" y="250"/>
                      <a:pt x="209" y="252"/>
                    </a:cubicBezTo>
                    <a:cubicBezTo>
                      <a:pt x="221" y="253"/>
                      <a:pt x="233" y="255"/>
                      <a:pt x="244" y="257"/>
                    </a:cubicBezTo>
                    <a:cubicBezTo>
                      <a:pt x="249" y="257"/>
                      <a:pt x="254" y="258"/>
                      <a:pt x="260" y="259"/>
                    </a:cubicBezTo>
                    <a:cubicBezTo>
                      <a:pt x="260" y="258"/>
                      <a:pt x="260" y="256"/>
                      <a:pt x="260" y="255"/>
                    </a:cubicBezTo>
                    <a:close/>
                    <a:moveTo>
                      <a:pt x="92" y="23"/>
                    </a:moveTo>
                    <a:cubicBezTo>
                      <a:pt x="81" y="25"/>
                      <a:pt x="71" y="26"/>
                      <a:pt x="61" y="27"/>
                    </a:cubicBezTo>
                    <a:cubicBezTo>
                      <a:pt x="49" y="29"/>
                      <a:pt x="37" y="31"/>
                      <a:pt x="25" y="32"/>
                    </a:cubicBezTo>
                    <a:cubicBezTo>
                      <a:pt x="18" y="33"/>
                      <a:pt x="10" y="35"/>
                      <a:pt x="3" y="36"/>
                    </a:cubicBezTo>
                    <a:cubicBezTo>
                      <a:pt x="1" y="36"/>
                      <a:pt x="0" y="36"/>
                      <a:pt x="1" y="38"/>
                    </a:cubicBezTo>
                    <a:cubicBezTo>
                      <a:pt x="1" y="38"/>
                      <a:pt x="1" y="39"/>
                      <a:pt x="1" y="39"/>
                    </a:cubicBezTo>
                    <a:cubicBezTo>
                      <a:pt x="1" y="67"/>
                      <a:pt x="1" y="96"/>
                      <a:pt x="1" y="124"/>
                    </a:cubicBezTo>
                    <a:cubicBezTo>
                      <a:pt x="1" y="128"/>
                      <a:pt x="0" y="127"/>
                      <a:pt x="4" y="127"/>
                    </a:cubicBezTo>
                    <a:cubicBezTo>
                      <a:pt x="39" y="127"/>
                      <a:pt x="73" y="127"/>
                      <a:pt x="108" y="127"/>
                    </a:cubicBezTo>
                    <a:cubicBezTo>
                      <a:pt x="112" y="127"/>
                      <a:pt x="111" y="128"/>
                      <a:pt x="111" y="124"/>
                    </a:cubicBezTo>
                    <a:cubicBezTo>
                      <a:pt x="111" y="91"/>
                      <a:pt x="111" y="57"/>
                      <a:pt x="111" y="24"/>
                    </a:cubicBezTo>
                    <a:cubicBezTo>
                      <a:pt x="111" y="23"/>
                      <a:pt x="111" y="22"/>
                      <a:pt x="111" y="20"/>
                    </a:cubicBezTo>
                    <a:cubicBezTo>
                      <a:pt x="104" y="21"/>
                      <a:pt x="98" y="22"/>
                      <a:pt x="92" y="23"/>
                    </a:cubicBezTo>
                    <a:close/>
                    <a:moveTo>
                      <a:pt x="111" y="237"/>
                    </a:moveTo>
                    <a:cubicBezTo>
                      <a:pt x="111" y="203"/>
                      <a:pt x="111" y="168"/>
                      <a:pt x="111" y="133"/>
                    </a:cubicBezTo>
                    <a:cubicBezTo>
                      <a:pt x="111" y="131"/>
                      <a:pt x="111" y="131"/>
                      <a:pt x="109" y="131"/>
                    </a:cubicBezTo>
                    <a:cubicBezTo>
                      <a:pt x="74" y="131"/>
                      <a:pt x="38" y="131"/>
                      <a:pt x="3" y="131"/>
                    </a:cubicBezTo>
                    <a:cubicBezTo>
                      <a:pt x="1" y="131"/>
                      <a:pt x="1" y="131"/>
                      <a:pt x="1" y="134"/>
                    </a:cubicBezTo>
                    <a:cubicBezTo>
                      <a:pt x="1" y="163"/>
                      <a:pt x="1" y="192"/>
                      <a:pt x="1" y="220"/>
                    </a:cubicBezTo>
                    <a:cubicBezTo>
                      <a:pt x="1" y="223"/>
                      <a:pt x="1" y="223"/>
                      <a:pt x="3" y="223"/>
                    </a:cubicBezTo>
                    <a:cubicBezTo>
                      <a:pt x="12" y="224"/>
                      <a:pt x="21" y="226"/>
                      <a:pt x="30" y="227"/>
                    </a:cubicBezTo>
                    <a:cubicBezTo>
                      <a:pt x="42" y="228"/>
                      <a:pt x="53" y="230"/>
                      <a:pt x="65" y="232"/>
                    </a:cubicBezTo>
                    <a:cubicBezTo>
                      <a:pt x="76" y="233"/>
                      <a:pt x="88" y="235"/>
                      <a:pt x="100" y="237"/>
                    </a:cubicBezTo>
                    <a:cubicBezTo>
                      <a:pt x="104" y="237"/>
                      <a:pt x="107" y="238"/>
                      <a:pt x="111" y="238"/>
                    </a:cubicBezTo>
                    <a:cubicBezTo>
                      <a:pt x="111" y="237"/>
                      <a:pt x="111" y="237"/>
                      <a:pt x="111" y="237"/>
                    </a:cubicBezTo>
                    <a:close/>
                    <a:moveTo>
                      <a:pt x="502" y="118"/>
                    </a:moveTo>
                    <a:cubicBezTo>
                      <a:pt x="502" y="118"/>
                      <a:pt x="502" y="119"/>
                      <a:pt x="502" y="119"/>
                    </a:cubicBezTo>
                    <a:cubicBezTo>
                      <a:pt x="501" y="119"/>
                      <a:pt x="502" y="120"/>
                      <a:pt x="501" y="121"/>
                    </a:cubicBezTo>
                    <a:cubicBezTo>
                      <a:pt x="501" y="121"/>
                      <a:pt x="501" y="121"/>
                      <a:pt x="501" y="121"/>
                    </a:cubicBezTo>
                    <a:cubicBezTo>
                      <a:pt x="501" y="121"/>
                      <a:pt x="501" y="122"/>
                      <a:pt x="501" y="122"/>
                    </a:cubicBezTo>
                    <a:cubicBezTo>
                      <a:pt x="501" y="123"/>
                      <a:pt x="501" y="123"/>
                      <a:pt x="501" y="123"/>
                    </a:cubicBezTo>
                    <a:cubicBezTo>
                      <a:pt x="501" y="123"/>
                      <a:pt x="501" y="123"/>
                      <a:pt x="501" y="123"/>
                    </a:cubicBezTo>
                    <a:cubicBezTo>
                      <a:pt x="500" y="123"/>
                      <a:pt x="500" y="124"/>
                      <a:pt x="500" y="125"/>
                    </a:cubicBezTo>
                    <a:cubicBezTo>
                      <a:pt x="500" y="125"/>
                      <a:pt x="500" y="125"/>
                      <a:pt x="500" y="125"/>
                    </a:cubicBezTo>
                    <a:cubicBezTo>
                      <a:pt x="500" y="126"/>
                      <a:pt x="500" y="126"/>
                      <a:pt x="499" y="127"/>
                    </a:cubicBezTo>
                    <a:cubicBezTo>
                      <a:pt x="500" y="127"/>
                      <a:pt x="500" y="127"/>
                      <a:pt x="499" y="127"/>
                    </a:cubicBezTo>
                    <a:cubicBezTo>
                      <a:pt x="499" y="128"/>
                      <a:pt x="499" y="129"/>
                      <a:pt x="499" y="129"/>
                    </a:cubicBezTo>
                    <a:cubicBezTo>
                      <a:pt x="499" y="129"/>
                      <a:pt x="499" y="129"/>
                      <a:pt x="499" y="129"/>
                    </a:cubicBezTo>
                    <a:cubicBezTo>
                      <a:pt x="498" y="130"/>
                      <a:pt x="499" y="131"/>
                      <a:pt x="498" y="131"/>
                    </a:cubicBezTo>
                    <a:cubicBezTo>
                      <a:pt x="498" y="131"/>
                      <a:pt x="498" y="131"/>
                      <a:pt x="498" y="131"/>
                    </a:cubicBezTo>
                    <a:cubicBezTo>
                      <a:pt x="498" y="131"/>
                      <a:pt x="498" y="131"/>
                      <a:pt x="498" y="131"/>
                    </a:cubicBezTo>
                    <a:cubicBezTo>
                      <a:pt x="498" y="132"/>
                      <a:pt x="498" y="133"/>
                      <a:pt x="498" y="133"/>
                    </a:cubicBezTo>
                    <a:cubicBezTo>
                      <a:pt x="498" y="134"/>
                      <a:pt x="498" y="134"/>
                      <a:pt x="498" y="134"/>
                    </a:cubicBezTo>
                    <a:cubicBezTo>
                      <a:pt x="497" y="134"/>
                      <a:pt x="498" y="135"/>
                      <a:pt x="497" y="136"/>
                    </a:cubicBezTo>
                    <a:cubicBezTo>
                      <a:pt x="497" y="136"/>
                      <a:pt x="497" y="136"/>
                      <a:pt x="497" y="136"/>
                    </a:cubicBezTo>
                    <a:cubicBezTo>
                      <a:pt x="497" y="137"/>
                      <a:pt x="497" y="137"/>
                      <a:pt x="497" y="138"/>
                    </a:cubicBezTo>
                    <a:cubicBezTo>
                      <a:pt x="497" y="138"/>
                      <a:pt x="497" y="138"/>
                      <a:pt x="497" y="138"/>
                    </a:cubicBezTo>
                    <a:cubicBezTo>
                      <a:pt x="496" y="138"/>
                      <a:pt x="496" y="139"/>
                      <a:pt x="496" y="140"/>
                    </a:cubicBezTo>
                    <a:cubicBezTo>
                      <a:pt x="496" y="140"/>
                      <a:pt x="496" y="140"/>
                      <a:pt x="496" y="140"/>
                    </a:cubicBezTo>
                    <a:cubicBezTo>
                      <a:pt x="496" y="140"/>
                      <a:pt x="496" y="140"/>
                      <a:pt x="496" y="140"/>
                    </a:cubicBezTo>
                    <a:cubicBezTo>
                      <a:pt x="495" y="141"/>
                      <a:pt x="496" y="141"/>
                      <a:pt x="495" y="142"/>
                    </a:cubicBezTo>
                    <a:cubicBezTo>
                      <a:pt x="496" y="142"/>
                      <a:pt x="496" y="142"/>
                      <a:pt x="495" y="142"/>
                    </a:cubicBezTo>
                    <a:cubicBezTo>
                      <a:pt x="495" y="143"/>
                      <a:pt x="495" y="144"/>
                      <a:pt x="495" y="144"/>
                    </a:cubicBezTo>
                    <a:cubicBezTo>
                      <a:pt x="495" y="144"/>
                      <a:pt x="495" y="145"/>
                      <a:pt x="495" y="145"/>
                    </a:cubicBezTo>
                    <a:cubicBezTo>
                      <a:pt x="494" y="145"/>
                      <a:pt x="495" y="146"/>
                      <a:pt x="494" y="146"/>
                    </a:cubicBezTo>
                    <a:cubicBezTo>
                      <a:pt x="494" y="146"/>
                      <a:pt x="494" y="146"/>
                      <a:pt x="494" y="146"/>
                    </a:cubicBezTo>
                    <a:cubicBezTo>
                      <a:pt x="494" y="147"/>
                      <a:pt x="494" y="148"/>
                      <a:pt x="494" y="149"/>
                    </a:cubicBezTo>
                    <a:cubicBezTo>
                      <a:pt x="494" y="149"/>
                      <a:pt x="494" y="149"/>
                      <a:pt x="494" y="149"/>
                    </a:cubicBezTo>
                    <a:cubicBezTo>
                      <a:pt x="493" y="149"/>
                      <a:pt x="494" y="150"/>
                      <a:pt x="493" y="151"/>
                    </a:cubicBezTo>
                    <a:cubicBezTo>
                      <a:pt x="493" y="151"/>
                      <a:pt x="493" y="151"/>
                      <a:pt x="493" y="151"/>
                    </a:cubicBezTo>
                    <a:cubicBezTo>
                      <a:pt x="493" y="152"/>
                      <a:pt x="493" y="152"/>
                      <a:pt x="493" y="153"/>
                    </a:cubicBezTo>
                    <a:cubicBezTo>
                      <a:pt x="493" y="153"/>
                      <a:pt x="493" y="153"/>
                      <a:pt x="492" y="153"/>
                    </a:cubicBezTo>
                    <a:cubicBezTo>
                      <a:pt x="492" y="154"/>
                      <a:pt x="492" y="155"/>
                      <a:pt x="492" y="155"/>
                    </a:cubicBezTo>
                    <a:cubicBezTo>
                      <a:pt x="492" y="155"/>
                      <a:pt x="492" y="156"/>
                      <a:pt x="492" y="156"/>
                    </a:cubicBezTo>
                    <a:cubicBezTo>
                      <a:pt x="491" y="156"/>
                      <a:pt x="492" y="157"/>
                      <a:pt x="491" y="157"/>
                    </a:cubicBezTo>
                    <a:cubicBezTo>
                      <a:pt x="491" y="157"/>
                      <a:pt x="491" y="157"/>
                      <a:pt x="491" y="157"/>
                    </a:cubicBezTo>
                    <a:cubicBezTo>
                      <a:pt x="491" y="158"/>
                      <a:pt x="491" y="159"/>
                      <a:pt x="491" y="159"/>
                    </a:cubicBezTo>
                    <a:cubicBezTo>
                      <a:pt x="491" y="160"/>
                      <a:pt x="491" y="160"/>
                      <a:pt x="491" y="160"/>
                    </a:cubicBezTo>
                    <a:cubicBezTo>
                      <a:pt x="491" y="160"/>
                      <a:pt x="491" y="160"/>
                      <a:pt x="491" y="160"/>
                    </a:cubicBezTo>
                    <a:cubicBezTo>
                      <a:pt x="490" y="160"/>
                      <a:pt x="491" y="161"/>
                      <a:pt x="490" y="162"/>
                    </a:cubicBezTo>
                    <a:cubicBezTo>
                      <a:pt x="490" y="162"/>
                      <a:pt x="490" y="162"/>
                      <a:pt x="490" y="162"/>
                    </a:cubicBezTo>
                    <a:cubicBezTo>
                      <a:pt x="490" y="163"/>
                      <a:pt x="490" y="163"/>
                      <a:pt x="490" y="164"/>
                    </a:cubicBezTo>
                    <a:cubicBezTo>
                      <a:pt x="490" y="164"/>
                      <a:pt x="490" y="164"/>
                      <a:pt x="490" y="164"/>
                    </a:cubicBezTo>
                    <a:cubicBezTo>
                      <a:pt x="489" y="165"/>
                      <a:pt x="490" y="166"/>
                      <a:pt x="489" y="166"/>
                    </a:cubicBezTo>
                    <a:cubicBezTo>
                      <a:pt x="489" y="166"/>
                      <a:pt x="489" y="166"/>
                      <a:pt x="489" y="166"/>
                    </a:cubicBezTo>
                    <a:cubicBezTo>
                      <a:pt x="489" y="167"/>
                      <a:pt x="489" y="167"/>
                      <a:pt x="489" y="168"/>
                    </a:cubicBezTo>
                    <a:cubicBezTo>
                      <a:pt x="489" y="168"/>
                      <a:pt x="489" y="168"/>
                      <a:pt x="489" y="168"/>
                    </a:cubicBezTo>
                    <a:cubicBezTo>
                      <a:pt x="488" y="168"/>
                      <a:pt x="488" y="168"/>
                      <a:pt x="488" y="168"/>
                    </a:cubicBezTo>
                    <a:cubicBezTo>
                      <a:pt x="488" y="169"/>
                      <a:pt x="488" y="170"/>
                      <a:pt x="488" y="170"/>
                    </a:cubicBezTo>
                    <a:cubicBezTo>
                      <a:pt x="488" y="170"/>
                      <a:pt x="488" y="171"/>
                      <a:pt x="488" y="171"/>
                    </a:cubicBezTo>
                    <a:cubicBezTo>
                      <a:pt x="487" y="171"/>
                      <a:pt x="488" y="172"/>
                      <a:pt x="487" y="172"/>
                    </a:cubicBezTo>
                    <a:cubicBezTo>
                      <a:pt x="487" y="173"/>
                      <a:pt x="487" y="173"/>
                      <a:pt x="487" y="173"/>
                    </a:cubicBezTo>
                    <a:cubicBezTo>
                      <a:pt x="487" y="173"/>
                      <a:pt x="487" y="174"/>
                      <a:pt x="487" y="175"/>
                    </a:cubicBezTo>
                    <a:cubicBezTo>
                      <a:pt x="487" y="175"/>
                      <a:pt x="487" y="175"/>
                      <a:pt x="487" y="175"/>
                    </a:cubicBezTo>
                    <a:cubicBezTo>
                      <a:pt x="486" y="175"/>
                      <a:pt x="487" y="176"/>
                      <a:pt x="486" y="177"/>
                    </a:cubicBezTo>
                    <a:cubicBezTo>
                      <a:pt x="486" y="177"/>
                      <a:pt x="486" y="177"/>
                      <a:pt x="486" y="177"/>
                    </a:cubicBezTo>
                    <a:cubicBezTo>
                      <a:pt x="486" y="177"/>
                      <a:pt x="486" y="177"/>
                      <a:pt x="486" y="177"/>
                    </a:cubicBezTo>
                    <a:cubicBezTo>
                      <a:pt x="486" y="177"/>
                      <a:pt x="486" y="178"/>
                      <a:pt x="486" y="179"/>
                    </a:cubicBezTo>
                    <a:cubicBezTo>
                      <a:pt x="486" y="179"/>
                      <a:pt x="486" y="179"/>
                      <a:pt x="486" y="179"/>
                    </a:cubicBezTo>
                    <a:cubicBezTo>
                      <a:pt x="485" y="179"/>
                      <a:pt x="485" y="181"/>
                      <a:pt x="484" y="180"/>
                    </a:cubicBezTo>
                    <a:cubicBezTo>
                      <a:pt x="484" y="180"/>
                      <a:pt x="484" y="180"/>
                      <a:pt x="484" y="180"/>
                    </a:cubicBezTo>
                    <a:cubicBezTo>
                      <a:pt x="484" y="179"/>
                      <a:pt x="484" y="179"/>
                      <a:pt x="484" y="178"/>
                    </a:cubicBezTo>
                    <a:cubicBezTo>
                      <a:pt x="484" y="178"/>
                      <a:pt x="484" y="178"/>
                      <a:pt x="484" y="178"/>
                    </a:cubicBezTo>
                    <a:cubicBezTo>
                      <a:pt x="483" y="177"/>
                      <a:pt x="484" y="176"/>
                      <a:pt x="483" y="176"/>
                    </a:cubicBezTo>
                    <a:cubicBezTo>
                      <a:pt x="483" y="176"/>
                      <a:pt x="483" y="176"/>
                      <a:pt x="483" y="176"/>
                    </a:cubicBezTo>
                    <a:cubicBezTo>
                      <a:pt x="483" y="175"/>
                      <a:pt x="483" y="175"/>
                      <a:pt x="483" y="175"/>
                    </a:cubicBezTo>
                    <a:cubicBezTo>
                      <a:pt x="483" y="175"/>
                      <a:pt x="483" y="174"/>
                      <a:pt x="483" y="174"/>
                    </a:cubicBezTo>
                    <a:cubicBezTo>
                      <a:pt x="483" y="174"/>
                      <a:pt x="483" y="174"/>
                      <a:pt x="483" y="174"/>
                    </a:cubicBezTo>
                    <a:cubicBezTo>
                      <a:pt x="482" y="173"/>
                      <a:pt x="483" y="172"/>
                      <a:pt x="482" y="172"/>
                    </a:cubicBezTo>
                    <a:cubicBezTo>
                      <a:pt x="482" y="172"/>
                      <a:pt x="482" y="172"/>
                      <a:pt x="482" y="171"/>
                    </a:cubicBezTo>
                    <a:cubicBezTo>
                      <a:pt x="482" y="171"/>
                      <a:pt x="482" y="170"/>
                      <a:pt x="482" y="169"/>
                    </a:cubicBezTo>
                    <a:cubicBezTo>
                      <a:pt x="481" y="169"/>
                      <a:pt x="481" y="169"/>
                      <a:pt x="481" y="169"/>
                    </a:cubicBezTo>
                    <a:cubicBezTo>
                      <a:pt x="482" y="169"/>
                      <a:pt x="482" y="169"/>
                      <a:pt x="482" y="169"/>
                    </a:cubicBezTo>
                    <a:cubicBezTo>
                      <a:pt x="481" y="169"/>
                      <a:pt x="482" y="168"/>
                      <a:pt x="481" y="167"/>
                    </a:cubicBezTo>
                    <a:cubicBezTo>
                      <a:pt x="481" y="167"/>
                      <a:pt x="481" y="167"/>
                      <a:pt x="481" y="167"/>
                    </a:cubicBezTo>
                    <a:cubicBezTo>
                      <a:pt x="481" y="167"/>
                      <a:pt x="481" y="166"/>
                      <a:pt x="480" y="165"/>
                    </a:cubicBezTo>
                    <a:cubicBezTo>
                      <a:pt x="480" y="165"/>
                      <a:pt x="480" y="165"/>
                      <a:pt x="480" y="165"/>
                    </a:cubicBezTo>
                    <a:cubicBezTo>
                      <a:pt x="480" y="164"/>
                      <a:pt x="480" y="164"/>
                      <a:pt x="480" y="163"/>
                    </a:cubicBezTo>
                    <a:cubicBezTo>
                      <a:pt x="480" y="163"/>
                      <a:pt x="480" y="163"/>
                      <a:pt x="480" y="163"/>
                    </a:cubicBezTo>
                    <a:cubicBezTo>
                      <a:pt x="480" y="163"/>
                      <a:pt x="480" y="163"/>
                      <a:pt x="480" y="163"/>
                    </a:cubicBezTo>
                    <a:cubicBezTo>
                      <a:pt x="479" y="162"/>
                      <a:pt x="480" y="161"/>
                      <a:pt x="479" y="161"/>
                    </a:cubicBezTo>
                    <a:cubicBezTo>
                      <a:pt x="479" y="161"/>
                      <a:pt x="479" y="161"/>
                      <a:pt x="479" y="161"/>
                    </a:cubicBezTo>
                    <a:cubicBezTo>
                      <a:pt x="479" y="160"/>
                      <a:pt x="479" y="160"/>
                      <a:pt x="479" y="159"/>
                    </a:cubicBezTo>
                    <a:cubicBezTo>
                      <a:pt x="479" y="159"/>
                      <a:pt x="479" y="159"/>
                      <a:pt x="479" y="159"/>
                    </a:cubicBezTo>
                    <a:cubicBezTo>
                      <a:pt x="478" y="158"/>
                      <a:pt x="479" y="157"/>
                      <a:pt x="478" y="157"/>
                    </a:cubicBezTo>
                    <a:cubicBezTo>
                      <a:pt x="478" y="157"/>
                      <a:pt x="478" y="157"/>
                      <a:pt x="478" y="157"/>
                    </a:cubicBezTo>
                    <a:cubicBezTo>
                      <a:pt x="478" y="156"/>
                      <a:pt x="478" y="156"/>
                      <a:pt x="478" y="156"/>
                    </a:cubicBezTo>
                    <a:cubicBezTo>
                      <a:pt x="478" y="156"/>
                      <a:pt x="478" y="155"/>
                      <a:pt x="478" y="154"/>
                    </a:cubicBezTo>
                    <a:cubicBezTo>
                      <a:pt x="478" y="155"/>
                      <a:pt x="478" y="155"/>
                      <a:pt x="478" y="155"/>
                    </a:cubicBezTo>
                    <a:cubicBezTo>
                      <a:pt x="477" y="154"/>
                      <a:pt x="477" y="153"/>
                      <a:pt x="477" y="153"/>
                    </a:cubicBezTo>
                    <a:cubicBezTo>
                      <a:pt x="477" y="153"/>
                      <a:pt x="477" y="153"/>
                      <a:pt x="477" y="152"/>
                    </a:cubicBezTo>
                    <a:cubicBezTo>
                      <a:pt x="477" y="152"/>
                      <a:pt x="477" y="151"/>
                      <a:pt x="476" y="150"/>
                    </a:cubicBezTo>
                    <a:cubicBezTo>
                      <a:pt x="476" y="150"/>
                      <a:pt x="476" y="150"/>
                      <a:pt x="476" y="150"/>
                    </a:cubicBezTo>
                    <a:cubicBezTo>
                      <a:pt x="476" y="150"/>
                      <a:pt x="476" y="150"/>
                      <a:pt x="476" y="150"/>
                    </a:cubicBezTo>
                    <a:cubicBezTo>
                      <a:pt x="476" y="150"/>
                      <a:pt x="476" y="149"/>
                      <a:pt x="476" y="148"/>
                    </a:cubicBezTo>
                    <a:cubicBezTo>
                      <a:pt x="476" y="148"/>
                      <a:pt x="476" y="148"/>
                      <a:pt x="476" y="148"/>
                    </a:cubicBezTo>
                    <a:cubicBezTo>
                      <a:pt x="475" y="148"/>
                      <a:pt x="476" y="147"/>
                      <a:pt x="475" y="146"/>
                    </a:cubicBezTo>
                    <a:cubicBezTo>
                      <a:pt x="475" y="146"/>
                      <a:pt x="475" y="146"/>
                      <a:pt x="475" y="146"/>
                    </a:cubicBezTo>
                    <a:cubicBezTo>
                      <a:pt x="475" y="145"/>
                      <a:pt x="475" y="145"/>
                      <a:pt x="475" y="144"/>
                    </a:cubicBezTo>
                    <a:cubicBezTo>
                      <a:pt x="475" y="144"/>
                      <a:pt x="475" y="144"/>
                      <a:pt x="475" y="144"/>
                    </a:cubicBezTo>
                    <a:cubicBezTo>
                      <a:pt x="475" y="144"/>
                      <a:pt x="475" y="144"/>
                      <a:pt x="475" y="144"/>
                    </a:cubicBezTo>
                    <a:cubicBezTo>
                      <a:pt x="474" y="143"/>
                      <a:pt x="475" y="142"/>
                      <a:pt x="474" y="142"/>
                    </a:cubicBezTo>
                    <a:cubicBezTo>
                      <a:pt x="474" y="142"/>
                      <a:pt x="474" y="142"/>
                      <a:pt x="474" y="142"/>
                    </a:cubicBezTo>
                    <a:cubicBezTo>
                      <a:pt x="474" y="141"/>
                      <a:pt x="474" y="141"/>
                      <a:pt x="474" y="140"/>
                    </a:cubicBezTo>
                    <a:cubicBezTo>
                      <a:pt x="473" y="140"/>
                      <a:pt x="473" y="140"/>
                      <a:pt x="473" y="140"/>
                    </a:cubicBezTo>
                    <a:cubicBezTo>
                      <a:pt x="473" y="139"/>
                      <a:pt x="473" y="138"/>
                      <a:pt x="473" y="138"/>
                    </a:cubicBezTo>
                    <a:cubicBezTo>
                      <a:pt x="473" y="138"/>
                      <a:pt x="473" y="138"/>
                      <a:pt x="473" y="138"/>
                    </a:cubicBezTo>
                    <a:cubicBezTo>
                      <a:pt x="473" y="137"/>
                      <a:pt x="473" y="137"/>
                      <a:pt x="473" y="137"/>
                    </a:cubicBezTo>
                    <a:cubicBezTo>
                      <a:pt x="473" y="137"/>
                      <a:pt x="473" y="136"/>
                      <a:pt x="472" y="135"/>
                    </a:cubicBezTo>
                    <a:cubicBezTo>
                      <a:pt x="472" y="136"/>
                      <a:pt x="472" y="136"/>
                      <a:pt x="472" y="136"/>
                    </a:cubicBezTo>
                    <a:cubicBezTo>
                      <a:pt x="472" y="135"/>
                      <a:pt x="472" y="134"/>
                      <a:pt x="472" y="134"/>
                    </a:cubicBezTo>
                    <a:cubicBezTo>
                      <a:pt x="472" y="134"/>
                      <a:pt x="472" y="134"/>
                      <a:pt x="472" y="133"/>
                    </a:cubicBezTo>
                    <a:cubicBezTo>
                      <a:pt x="471" y="133"/>
                      <a:pt x="472" y="132"/>
                      <a:pt x="471" y="131"/>
                    </a:cubicBezTo>
                    <a:cubicBezTo>
                      <a:pt x="471" y="131"/>
                      <a:pt x="471" y="131"/>
                      <a:pt x="471" y="131"/>
                    </a:cubicBezTo>
                    <a:cubicBezTo>
                      <a:pt x="471" y="131"/>
                      <a:pt x="471" y="130"/>
                      <a:pt x="471" y="130"/>
                    </a:cubicBezTo>
                    <a:cubicBezTo>
                      <a:pt x="471" y="130"/>
                      <a:pt x="471" y="129"/>
                      <a:pt x="471" y="129"/>
                    </a:cubicBezTo>
                    <a:cubicBezTo>
                      <a:pt x="470" y="129"/>
                      <a:pt x="471" y="128"/>
                      <a:pt x="470" y="127"/>
                    </a:cubicBezTo>
                    <a:cubicBezTo>
                      <a:pt x="470" y="127"/>
                      <a:pt x="470" y="127"/>
                      <a:pt x="470" y="127"/>
                    </a:cubicBezTo>
                    <a:cubicBezTo>
                      <a:pt x="470" y="126"/>
                      <a:pt x="470" y="126"/>
                      <a:pt x="469" y="125"/>
                    </a:cubicBezTo>
                    <a:cubicBezTo>
                      <a:pt x="469" y="125"/>
                      <a:pt x="469" y="125"/>
                      <a:pt x="469" y="125"/>
                    </a:cubicBezTo>
                    <a:cubicBezTo>
                      <a:pt x="469" y="125"/>
                      <a:pt x="469" y="124"/>
                      <a:pt x="469" y="123"/>
                    </a:cubicBezTo>
                    <a:cubicBezTo>
                      <a:pt x="469" y="123"/>
                      <a:pt x="469" y="123"/>
                      <a:pt x="469" y="123"/>
                    </a:cubicBezTo>
                    <a:cubicBezTo>
                      <a:pt x="468" y="122"/>
                      <a:pt x="469" y="122"/>
                      <a:pt x="468" y="121"/>
                    </a:cubicBezTo>
                    <a:cubicBezTo>
                      <a:pt x="468" y="121"/>
                      <a:pt x="468" y="121"/>
                      <a:pt x="468" y="121"/>
                    </a:cubicBezTo>
                    <a:cubicBezTo>
                      <a:pt x="468" y="120"/>
                      <a:pt x="468" y="119"/>
                      <a:pt x="468" y="119"/>
                    </a:cubicBezTo>
                    <a:cubicBezTo>
                      <a:pt x="468" y="119"/>
                      <a:pt x="468" y="119"/>
                      <a:pt x="468" y="119"/>
                    </a:cubicBezTo>
                    <a:cubicBezTo>
                      <a:pt x="467" y="118"/>
                      <a:pt x="468" y="118"/>
                      <a:pt x="467" y="117"/>
                    </a:cubicBezTo>
                    <a:cubicBezTo>
                      <a:pt x="467" y="117"/>
                      <a:pt x="467" y="117"/>
                      <a:pt x="467" y="117"/>
                    </a:cubicBezTo>
                    <a:cubicBezTo>
                      <a:pt x="467" y="116"/>
                      <a:pt x="467" y="115"/>
                      <a:pt x="467" y="115"/>
                    </a:cubicBezTo>
                    <a:cubicBezTo>
                      <a:pt x="466" y="115"/>
                      <a:pt x="466" y="115"/>
                      <a:pt x="467" y="114"/>
                    </a:cubicBezTo>
                    <a:cubicBezTo>
                      <a:pt x="466" y="114"/>
                      <a:pt x="467" y="113"/>
                      <a:pt x="466" y="112"/>
                    </a:cubicBezTo>
                    <a:cubicBezTo>
                      <a:pt x="466" y="112"/>
                      <a:pt x="466" y="112"/>
                      <a:pt x="466" y="112"/>
                    </a:cubicBezTo>
                    <a:cubicBezTo>
                      <a:pt x="466" y="112"/>
                      <a:pt x="466" y="111"/>
                      <a:pt x="466" y="111"/>
                    </a:cubicBezTo>
                    <a:cubicBezTo>
                      <a:pt x="465" y="111"/>
                      <a:pt x="465" y="110"/>
                      <a:pt x="465" y="110"/>
                    </a:cubicBezTo>
                    <a:cubicBezTo>
                      <a:pt x="465" y="110"/>
                      <a:pt x="465" y="109"/>
                      <a:pt x="465" y="108"/>
                    </a:cubicBezTo>
                    <a:cubicBezTo>
                      <a:pt x="465" y="108"/>
                      <a:pt x="465" y="108"/>
                      <a:pt x="465" y="108"/>
                    </a:cubicBezTo>
                    <a:cubicBezTo>
                      <a:pt x="464" y="107"/>
                      <a:pt x="465" y="107"/>
                      <a:pt x="464" y="106"/>
                    </a:cubicBezTo>
                    <a:cubicBezTo>
                      <a:pt x="464" y="106"/>
                      <a:pt x="464" y="106"/>
                      <a:pt x="464" y="106"/>
                    </a:cubicBezTo>
                    <a:cubicBezTo>
                      <a:pt x="464" y="106"/>
                      <a:pt x="464" y="105"/>
                      <a:pt x="464" y="104"/>
                    </a:cubicBezTo>
                    <a:cubicBezTo>
                      <a:pt x="464" y="104"/>
                      <a:pt x="464" y="104"/>
                      <a:pt x="464" y="104"/>
                    </a:cubicBezTo>
                    <a:cubicBezTo>
                      <a:pt x="463" y="103"/>
                      <a:pt x="464" y="103"/>
                      <a:pt x="463" y="102"/>
                    </a:cubicBezTo>
                    <a:cubicBezTo>
                      <a:pt x="463" y="102"/>
                      <a:pt x="463" y="102"/>
                      <a:pt x="463" y="102"/>
                    </a:cubicBezTo>
                    <a:cubicBezTo>
                      <a:pt x="463" y="101"/>
                      <a:pt x="463" y="100"/>
                      <a:pt x="463" y="100"/>
                    </a:cubicBezTo>
                    <a:cubicBezTo>
                      <a:pt x="463" y="100"/>
                      <a:pt x="463" y="100"/>
                      <a:pt x="463" y="100"/>
                    </a:cubicBezTo>
                    <a:cubicBezTo>
                      <a:pt x="462" y="99"/>
                      <a:pt x="462" y="99"/>
                      <a:pt x="462" y="98"/>
                    </a:cubicBezTo>
                    <a:cubicBezTo>
                      <a:pt x="462" y="98"/>
                      <a:pt x="462" y="98"/>
                      <a:pt x="462" y="98"/>
                    </a:cubicBezTo>
                    <a:cubicBezTo>
                      <a:pt x="462" y="97"/>
                      <a:pt x="462" y="96"/>
                      <a:pt x="461" y="96"/>
                    </a:cubicBezTo>
                    <a:cubicBezTo>
                      <a:pt x="461" y="96"/>
                      <a:pt x="461" y="96"/>
                      <a:pt x="461" y="95"/>
                    </a:cubicBezTo>
                    <a:cubicBezTo>
                      <a:pt x="461" y="95"/>
                      <a:pt x="461" y="94"/>
                      <a:pt x="461" y="93"/>
                    </a:cubicBezTo>
                    <a:cubicBezTo>
                      <a:pt x="461" y="93"/>
                      <a:pt x="461" y="93"/>
                      <a:pt x="461" y="93"/>
                    </a:cubicBezTo>
                    <a:cubicBezTo>
                      <a:pt x="460" y="93"/>
                      <a:pt x="461" y="92"/>
                      <a:pt x="460" y="92"/>
                    </a:cubicBezTo>
                    <a:cubicBezTo>
                      <a:pt x="460" y="92"/>
                      <a:pt x="460" y="91"/>
                      <a:pt x="460" y="91"/>
                    </a:cubicBezTo>
                    <a:cubicBezTo>
                      <a:pt x="460" y="91"/>
                      <a:pt x="460" y="90"/>
                      <a:pt x="460" y="89"/>
                    </a:cubicBezTo>
                    <a:cubicBezTo>
                      <a:pt x="460" y="89"/>
                      <a:pt x="460" y="89"/>
                      <a:pt x="460" y="89"/>
                    </a:cubicBezTo>
                    <a:cubicBezTo>
                      <a:pt x="459" y="88"/>
                      <a:pt x="460" y="88"/>
                      <a:pt x="459" y="87"/>
                    </a:cubicBezTo>
                    <a:cubicBezTo>
                      <a:pt x="459" y="87"/>
                      <a:pt x="459" y="87"/>
                      <a:pt x="459" y="87"/>
                    </a:cubicBezTo>
                    <a:cubicBezTo>
                      <a:pt x="459" y="87"/>
                      <a:pt x="459" y="86"/>
                      <a:pt x="459" y="85"/>
                    </a:cubicBezTo>
                    <a:cubicBezTo>
                      <a:pt x="458" y="85"/>
                      <a:pt x="458" y="85"/>
                      <a:pt x="459" y="85"/>
                    </a:cubicBezTo>
                    <a:cubicBezTo>
                      <a:pt x="458" y="84"/>
                      <a:pt x="458" y="84"/>
                      <a:pt x="458" y="83"/>
                    </a:cubicBezTo>
                    <a:cubicBezTo>
                      <a:pt x="458" y="83"/>
                      <a:pt x="458" y="83"/>
                      <a:pt x="458" y="83"/>
                    </a:cubicBezTo>
                    <a:cubicBezTo>
                      <a:pt x="458" y="82"/>
                      <a:pt x="458" y="81"/>
                      <a:pt x="457" y="81"/>
                    </a:cubicBezTo>
                    <a:cubicBezTo>
                      <a:pt x="457" y="81"/>
                      <a:pt x="457" y="81"/>
                      <a:pt x="457" y="81"/>
                    </a:cubicBezTo>
                    <a:cubicBezTo>
                      <a:pt x="457" y="80"/>
                      <a:pt x="457" y="80"/>
                      <a:pt x="457" y="79"/>
                    </a:cubicBezTo>
                    <a:cubicBezTo>
                      <a:pt x="457" y="79"/>
                      <a:pt x="457" y="79"/>
                      <a:pt x="457" y="79"/>
                    </a:cubicBezTo>
                    <a:cubicBezTo>
                      <a:pt x="456" y="78"/>
                      <a:pt x="457" y="77"/>
                      <a:pt x="456" y="77"/>
                    </a:cubicBezTo>
                    <a:cubicBezTo>
                      <a:pt x="456" y="77"/>
                      <a:pt x="456" y="77"/>
                      <a:pt x="456" y="76"/>
                    </a:cubicBezTo>
                    <a:cubicBezTo>
                      <a:pt x="456" y="76"/>
                      <a:pt x="456" y="75"/>
                      <a:pt x="456" y="74"/>
                    </a:cubicBezTo>
                    <a:cubicBezTo>
                      <a:pt x="456" y="74"/>
                      <a:pt x="456" y="74"/>
                      <a:pt x="456" y="74"/>
                    </a:cubicBezTo>
                    <a:cubicBezTo>
                      <a:pt x="455" y="74"/>
                      <a:pt x="456" y="73"/>
                      <a:pt x="455" y="73"/>
                    </a:cubicBezTo>
                    <a:cubicBezTo>
                      <a:pt x="455" y="73"/>
                      <a:pt x="455" y="72"/>
                      <a:pt x="455" y="72"/>
                    </a:cubicBezTo>
                    <a:cubicBezTo>
                      <a:pt x="455" y="72"/>
                      <a:pt x="455" y="71"/>
                      <a:pt x="455" y="70"/>
                    </a:cubicBezTo>
                    <a:cubicBezTo>
                      <a:pt x="454" y="70"/>
                      <a:pt x="454" y="70"/>
                      <a:pt x="454" y="70"/>
                    </a:cubicBezTo>
                    <a:cubicBezTo>
                      <a:pt x="454" y="69"/>
                      <a:pt x="454" y="69"/>
                      <a:pt x="454" y="68"/>
                    </a:cubicBezTo>
                    <a:cubicBezTo>
                      <a:pt x="454" y="68"/>
                      <a:pt x="454" y="68"/>
                      <a:pt x="454" y="68"/>
                    </a:cubicBezTo>
                    <a:cubicBezTo>
                      <a:pt x="453" y="68"/>
                      <a:pt x="454" y="67"/>
                      <a:pt x="453" y="66"/>
                    </a:cubicBezTo>
                    <a:cubicBezTo>
                      <a:pt x="453" y="66"/>
                      <a:pt x="453" y="66"/>
                      <a:pt x="453" y="66"/>
                    </a:cubicBezTo>
                    <a:cubicBezTo>
                      <a:pt x="453" y="65"/>
                      <a:pt x="453" y="65"/>
                      <a:pt x="453" y="64"/>
                    </a:cubicBezTo>
                    <a:cubicBezTo>
                      <a:pt x="453" y="64"/>
                      <a:pt x="453" y="64"/>
                      <a:pt x="453" y="64"/>
                    </a:cubicBezTo>
                    <a:cubicBezTo>
                      <a:pt x="453" y="64"/>
                      <a:pt x="453" y="64"/>
                      <a:pt x="453" y="64"/>
                    </a:cubicBezTo>
                    <a:cubicBezTo>
                      <a:pt x="452" y="63"/>
                      <a:pt x="453" y="62"/>
                      <a:pt x="452" y="62"/>
                    </a:cubicBezTo>
                    <a:cubicBezTo>
                      <a:pt x="452" y="62"/>
                      <a:pt x="452" y="62"/>
                      <a:pt x="452" y="62"/>
                    </a:cubicBezTo>
                    <a:cubicBezTo>
                      <a:pt x="452" y="61"/>
                      <a:pt x="452" y="61"/>
                      <a:pt x="452" y="60"/>
                    </a:cubicBezTo>
                    <a:cubicBezTo>
                      <a:pt x="452" y="60"/>
                      <a:pt x="451" y="60"/>
                      <a:pt x="452" y="60"/>
                    </a:cubicBezTo>
                    <a:cubicBezTo>
                      <a:pt x="451" y="59"/>
                      <a:pt x="452" y="58"/>
                      <a:pt x="451" y="58"/>
                    </a:cubicBezTo>
                    <a:cubicBezTo>
                      <a:pt x="451" y="58"/>
                      <a:pt x="451" y="58"/>
                      <a:pt x="451" y="58"/>
                    </a:cubicBezTo>
                    <a:cubicBezTo>
                      <a:pt x="451" y="57"/>
                      <a:pt x="451" y="57"/>
                      <a:pt x="451" y="57"/>
                    </a:cubicBezTo>
                    <a:cubicBezTo>
                      <a:pt x="451" y="57"/>
                      <a:pt x="451" y="56"/>
                      <a:pt x="450" y="55"/>
                    </a:cubicBezTo>
                    <a:cubicBezTo>
                      <a:pt x="450" y="55"/>
                      <a:pt x="450" y="55"/>
                      <a:pt x="450" y="55"/>
                    </a:cubicBezTo>
                    <a:cubicBezTo>
                      <a:pt x="450" y="55"/>
                      <a:pt x="450" y="54"/>
                      <a:pt x="450" y="54"/>
                    </a:cubicBezTo>
                    <a:cubicBezTo>
                      <a:pt x="450" y="54"/>
                      <a:pt x="450" y="53"/>
                      <a:pt x="450" y="53"/>
                    </a:cubicBezTo>
                    <a:cubicBezTo>
                      <a:pt x="449" y="53"/>
                      <a:pt x="450" y="52"/>
                      <a:pt x="449" y="51"/>
                    </a:cubicBezTo>
                    <a:cubicBezTo>
                      <a:pt x="449" y="52"/>
                      <a:pt x="449" y="52"/>
                      <a:pt x="449" y="52"/>
                    </a:cubicBezTo>
                    <a:cubicBezTo>
                      <a:pt x="444" y="51"/>
                      <a:pt x="438" y="51"/>
                      <a:pt x="432" y="51"/>
                    </a:cubicBezTo>
                    <a:cubicBezTo>
                      <a:pt x="431" y="51"/>
                      <a:pt x="431" y="52"/>
                      <a:pt x="431" y="53"/>
                    </a:cubicBezTo>
                    <a:cubicBezTo>
                      <a:pt x="431" y="53"/>
                      <a:pt x="431" y="53"/>
                      <a:pt x="431" y="53"/>
                    </a:cubicBezTo>
                    <a:cubicBezTo>
                      <a:pt x="431" y="54"/>
                      <a:pt x="431" y="54"/>
                      <a:pt x="430" y="55"/>
                    </a:cubicBezTo>
                    <a:cubicBezTo>
                      <a:pt x="430" y="55"/>
                      <a:pt x="430" y="55"/>
                      <a:pt x="430" y="55"/>
                    </a:cubicBezTo>
                    <a:cubicBezTo>
                      <a:pt x="430" y="55"/>
                      <a:pt x="430" y="55"/>
                      <a:pt x="430" y="55"/>
                    </a:cubicBezTo>
                    <a:cubicBezTo>
                      <a:pt x="430" y="55"/>
                      <a:pt x="430" y="56"/>
                      <a:pt x="430" y="57"/>
                    </a:cubicBezTo>
                    <a:cubicBezTo>
                      <a:pt x="430" y="57"/>
                      <a:pt x="430" y="57"/>
                      <a:pt x="430" y="57"/>
                    </a:cubicBezTo>
                    <a:cubicBezTo>
                      <a:pt x="429" y="57"/>
                      <a:pt x="430" y="58"/>
                      <a:pt x="429" y="59"/>
                    </a:cubicBezTo>
                    <a:cubicBezTo>
                      <a:pt x="429" y="59"/>
                      <a:pt x="429" y="59"/>
                      <a:pt x="429" y="59"/>
                    </a:cubicBezTo>
                    <a:cubicBezTo>
                      <a:pt x="429" y="59"/>
                      <a:pt x="429" y="60"/>
                      <a:pt x="429" y="61"/>
                    </a:cubicBezTo>
                    <a:cubicBezTo>
                      <a:pt x="429" y="61"/>
                      <a:pt x="429" y="61"/>
                      <a:pt x="429" y="61"/>
                    </a:cubicBezTo>
                    <a:cubicBezTo>
                      <a:pt x="428" y="61"/>
                      <a:pt x="428" y="62"/>
                      <a:pt x="428" y="63"/>
                    </a:cubicBezTo>
                    <a:cubicBezTo>
                      <a:pt x="428" y="63"/>
                      <a:pt x="428" y="63"/>
                      <a:pt x="428" y="63"/>
                    </a:cubicBezTo>
                    <a:cubicBezTo>
                      <a:pt x="428" y="63"/>
                      <a:pt x="428" y="64"/>
                      <a:pt x="427" y="65"/>
                    </a:cubicBezTo>
                    <a:cubicBezTo>
                      <a:pt x="427" y="65"/>
                      <a:pt x="427" y="65"/>
                      <a:pt x="427" y="65"/>
                    </a:cubicBezTo>
                    <a:cubicBezTo>
                      <a:pt x="427" y="65"/>
                      <a:pt x="427" y="66"/>
                      <a:pt x="427" y="67"/>
                    </a:cubicBezTo>
                    <a:cubicBezTo>
                      <a:pt x="427" y="67"/>
                      <a:pt x="427" y="67"/>
                      <a:pt x="427" y="67"/>
                    </a:cubicBezTo>
                    <a:cubicBezTo>
                      <a:pt x="426" y="67"/>
                      <a:pt x="427" y="68"/>
                      <a:pt x="426" y="69"/>
                    </a:cubicBezTo>
                    <a:cubicBezTo>
                      <a:pt x="426" y="69"/>
                      <a:pt x="426" y="69"/>
                      <a:pt x="426" y="69"/>
                    </a:cubicBezTo>
                    <a:cubicBezTo>
                      <a:pt x="426" y="69"/>
                      <a:pt x="426" y="70"/>
                      <a:pt x="426" y="71"/>
                    </a:cubicBezTo>
                    <a:cubicBezTo>
                      <a:pt x="426" y="71"/>
                      <a:pt x="426" y="72"/>
                      <a:pt x="425" y="72"/>
                    </a:cubicBezTo>
                    <a:cubicBezTo>
                      <a:pt x="415" y="108"/>
                      <a:pt x="405" y="143"/>
                      <a:pt x="395" y="179"/>
                    </a:cubicBezTo>
                    <a:cubicBezTo>
                      <a:pt x="394" y="180"/>
                      <a:pt x="394" y="180"/>
                      <a:pt x="394" y="181"/>
                    </a:cubicBezTo>
                    <a:cubicBezTo>
                      <a:pt x="393" y="180"/>
                      <a:pt x="393" y="180"/>
                      <a:pt x="393" y="179"/>
                    </a:cubicBezTo>
                    <a:cubicBezTo>
                      <a:pt x="386" y="153"/>
                      <a:pt x="379" y="128"/>
                      <a:pt x="372" y="102"/>
                    </a:cubicBezTo>
                    <a:cubicBezTo>
                      <a:pt x="367" y="86"/>
                      <a:pt x="363" y="70"/>
                      <a:pt x="358" y="54"/>
                    </a:cubicBezTo>
                    <a:cubicBezTo>
                      <a:pt x="358" y="51"/>
                      <a:pt x="358" y="51"/>
                      <a:pt x="355" y="51"/>
                    </a:cubicBezTo>
                    <a:cubicBezTo>
                      <a:pt x="351" y="51"/>
                      <a:pt x="347" y="51"/>
                      <a:pt x="343" y="51"/>
                    </a:cubicBezTo>
                    <a:cubicBezTo>
                      <a:pt x="341" y="51"/>
                      <a:pt x="340" y="51"/>
                      <a:pt x="338" y="51"/>
                    </a:cubicBezTo>
                    <a:cubicBezTo>
                      <a:pt x="338" y="53"/>
                      <a:pt x="338" y="53"/>
                      <a:pt x="338" y="54"/>
                    </a:cubicBezTo>
                    <a:cubicBezTo>
                      <a:pt x="348" y="89"/>
                      <a:pt x="358" y="123"/>
                      <a:pt x="368" y="157"/>
                    </a:cubicBezTo>
                    <a:cubicBezTo>
                      <a:pt x="370" y="162"/>
                      <a:pt x="372" y="168"/>
                      <a:pt x="373" y="173"/>
                    </a:cubicBezTo>
                    <a:cubicBezTo>
                      <a:pt x="373" y="173"/>
                      <a:pt x="373" y="174"/>
                      <a:pt x="373" y="175"/>
                    </a:cubicBezTo>
                    <a:cubicBezTo>
                      <a:pt x="373" y="175"/>
                      <a:pt x="373" y="175"/>
                      <a:pt x="373" y="175"/>
                    </a:cubicBezTo>
                    <a:cubicBezTo>
                      <a:pt x="373" y="175"/>
                      <a:pt x="373" y="175"/>
                      <a:pt x="373" y="175"/>
                    </a:cubicBezTo>
                    <a:cubicBezTo>
                      <a:pt x="374" y="175"/>
                      <a:pt x="374" y="176"/>
                      <a:pt x="374" y="176"/>
                    </a:cubicBezTo>
                    <a:cubicBezTo>
                      <a:pt x="374" y="176"/>
                      <a:pt x="374" y="177"/>
                      <a:pt x="374" y="177"/>
                    </a:cubicBezTo>
                    <a:cubicBezTo>
                      <a:pt x="374" y="177"/>
                      <a:pt x="374" y="178"/>
                      <a:pt x="374" y="179"/>
                    </a:cubicBezTo>
                    <a:cubicBezTo>
                      <a:pt x="374" y="179"/>
                      <a:pt x="374" y="179"/>
                      <a:pt x="374" y="179"/>
                    </a:cubicBezTo>
                    <a:cubicBezTo>
                      <a:pt x="375" y="179"/>
                      <a:pt x="375" y="180"/>
                      <a:pt x="375" y="180"/>
                    </a:cubicBezTo>
                    <a:cubicBezTo>
                      <a:pt x="375" y="180"/>
                      <a:pt x="375" y="181"/>
                      <a:pt x="375" y="181"/>
                    </a:cubicBezTo>
                    <a:cubicBezTo>
                      <a:pt x="375" y="181"/>
                      <a:pt x="375" y="182"/>
                      <a:pt x="376" y="183"/>
                    </a:cubicBezTo>
                    <a:cubicBezTo>
                      <a:pt x="376" y="183"/>
                      <a:pt x="376" y="183"/>
                      <a:pt x="376" y="183"/>
                    </a:cubicBezTo>
                    <a:cubicBezTo>
                      <a:pt x="376" y="183"/>
                      <a:pt x="376" y="184"/>
                      <a:pt x="376" y="184"/>
                    </a:cubicBezTo>
                    <a:cubicBezTo>
                      <a:pt x="376" y="185"/>
                      <a:pt x="376" y="185"/>
                      <a:pt x="376" y="185"/>
                    </a:cubicBezTo>
                    <a:cubicBezTo>
                      <a:pt x="376" y="185"/>
                      <a:pt x="376" y="185"/>
                      <a:pt x="376" y="185"/>
                    </a:cubicBezTo>
                    <a:cubicBezTo>
                      <a:pt x="376" y="185"/>
                      <a:pt x="376" y="186"/>
                      <a:pt x="377" y="186"/>
                    </a:cubicBezTo>
                    <a:cubicBezTo>
                      <a:pt x="377" y="186"/>
                      <a:pt x="377" y="186"/>
                      <a:pt x="377" y="187"/>
                    </a:cubicBezTo>
                    <a:cubicBezTo>
                      <a:pt x="377" y="187"/>
                      <a:pt x="377" y="188"/>
                      <a:pt x="377" y="188"/>
                    </a:cubicBezTo>
                    <a:cubicBezTo>
                      <a:pt x="377" y="189"/>
                      <a:pt x="377" y="189"/>
                      <a:pt x="377" y="189"/>
                    </a:cubicBezTo>
                    <a:cubicBezTo>
                      <a:pt x="377" y="189"/>
                      <a:pt x="377" y="189"/>
                      <a:pt x="377" y="189"/>
                    </a:cubicBezTo>
                    <a:cubicBezTo>
                      <a:pt x="378" y="189"/>
                      <a:pt x="378" y="190"/>
                      <a:pt x="378" y="190"/>
                    </a:cubicBezTo>
                    <a:cubicBezTo>
                      <a:pt x="378" y="190"/>
                      <a:pt x="378" y="190"/>
                      <a:pt x="378" y="191"/>
                    </a:cubicBezTo>
                    <a:cubicBezTo>
                      <a:pt x="378" y="191"/>
                      <a:pt x="378" y="192"/>
                      <a:pt x="379" y="192"/>
                    </a:cubicBezTo>
                    <a:cubicBezTo>
                      <a:pt x="379" y="192"/>
                      <a:pt x="379" y="192"/>
                      <a:pt x="379" y="192"/>
                    </a:cubicBezTo>
                    <a:cubicBezTo>
                      <a:pt x="379" y="193"/>
                      <a:pt x="379" y="194"/>
                      <a:pt x="379" y="194"/>
                    </a:cubicBezTo>
                    <a:cubicBezTo>
                      <a:pt x="379" y="194"/>
                      <a:pt x="379" y="194"/>
                      <a:pt x="379" y="195"/>
                    </a:cubicBezTo>
                    <a:cubicBezTo>
                      <a:pt x="380" y="195"/>
                      <a:pt x="379" y="196"/>
                      <a:pt x="380" y="197"/>
                    </a:cubicBezTo>
                    <a:cubicBezTo>
                      <a:pt x="380" y="196"/>
                      <a:pt x="380" y="196"/>
                      <a:pt x="380" y="196"/>
                    </a:cubicBezTo>
                    <a:cubicBezTo>
                      <a:pt x="380" y="197"/>
                      <a:pt x="380" y="198"/>
                      <a:pt x="380" y="198"/>
                    </a:cubicBezTo>
                    <a:cubicBezTo>
                      <a:pt x="380" y="198"/>
                      <a:pt x="380" y="198"/>
                      <a:pt x="380" y="198"/>
                    </a:cubicBezTo>
                    <a:cubicBezTo>
                      <a:pt x="380" y="199"/>
                      <a:pt x="380" y="199"/>
                      <a:pt x="380" y="199"/>
                    </a:cubicBezTo>
                    <a:cubicBezTo>
                      <a:pt x="380" y="199"/>
                      <a:pt x="380" y="200"/>
                      <a:pt x="381" y="200"/>
                    </a:cubicBezTo>
                    <a:cubicBezTo>
                      <a:pt x="381" y="200"/>
                      <a:pt x="381" y="200"/>
                      <a:pt x="381" y="200"/>
                    </a:cubicBezTo>
                    <a:cubicBezTo>
                      <a:pt x="381" y="201"/>
                      <a:pt x="381" y="202"/>
                      <a:pt x="381" y="202"/>
                    </a:cubicBezTo>
                    <a:cubicBezTo>
                      <a:pt x="382" y="202"/>
                      <a:pt x="382" y="202"/>
                      <a:pt x="382" y="202"/>
                    </a:cubicBezTo>
                    <a:cubicBezTo>
                      <a:pt x="381" y="203"/>
                      <a:pt x="381" y="203"/>
                      <a:pt x="381" y="203"/>
                    </a:cubicBezTo>
                    <a:cubicBezTo>
                      <a:pt x="382" y="203"/>
                      <a:pt x="382" y="204"/>
                      <a:pt x="382" y="204"/>
                    </a:cubicBezTo>
                    <a:cubicBezTo>
                      <a:pt x="382" y="204"/>
                      <a:pt x="382" y="204"/>
                      <a:pt x="382" y="204"/>
                    </a:cubicBezTo>
                    <a:cubicBezTo>
                      <a:pt x="382" y="205"/>
                      <a:pt x="382" y="206"/>
                      <a:pt x="383" y="206"/>
                    </a:cubicBezTo>
                    <a:cubicBezTo>
                      <a:pt x="383" y="206"/>
                      <a:pt x="383" y="206"/>
                      <a:pt x="383" y="206"/>
                    </a:cubicBezTo>
                    <a:cubicBezTo>
                      <a:pt x="383" y="208"/>
                      <a:pt x="385" y="207"/>
                      <a:pt x="386" y="207"/>
                    </a:cubicBezTo>
                    <a:cubicBezTo>
                      <a:pt x="392" y="207"/>
                      <a:pt x="398" y="208"/>
                      <a:pt x="404" y="207"/>
                    </a:cubicBezTo>
                    <a:cubicBezTo>
                      <a:pt x="404" y="207"/>
                      <a:pt x="404" y="207"/>
                      <a:pt x="404" y="207"/>
                    </a:cubicBezTo>
                    <a:cubicBezTo>
                      <a:pt x="405" y="206"/>
                      <a:pt x="404" y="206"/>
                      <a:pt x="405" y="205"/>
                    </a:cubicBezTo>
                    <a:cubicBezTo>
                      <a:pt x="405" y="205"/>
                      <a:pt x="405" y="205"/>
                      <a:pt x="405" y="205"/>
                    </a:cubicBezTo>
                    <a:cubicBezTo>
                      <a:pt x="405" y="205"/>
                      <a:pt x="405" y="204"/>
                      <a:pt x="406" y="203"/>
                    </a:cubicBezTo>
                    <a:cubicBezTo>
                      <a:pt x="405" y="203"/>
                      <a:pt x="405" y="203"/>
                      <a:pt x="406" y="203"/>
                    </a:cubicBezTo>
                    <a:cubicBezTo>
                      <a:pt x="406" y="202"/>
                      <a:pt x="406" y="202"/>
                      <a:pt x="406" y="201"/>
                    </a:cubicBezTo>
                    <a:cubicBezTo>
                      <a:pt x="406" y="201"/>
                      <a:pt x="406" y="201"/>
                      <a:pt x="406" y="201"/>
                    </a:cubicBezTo>
                    <a:cubicBezTo>
                      <a:pt x="407" y="201"/>
                      <a:pt x="406" y="200"/>
                      <a:pt x="407" y="199"/>
                    </a:cubicBezTo>
                    <a:cubicBezTo>
                      <a:pt x="407" y="199"/>
                      <a:pt x="407" y="199"/>
                      <a:pt x="407" y="199"/>
                    </a:cubicBezTo>
                    <a:cubicBezTo>
                      <a:pt x="407" y="198"/>
                      <a:pt x="407" y="198"/>
                      <a:pt x="407" y="197"/>
                    </a:cubicBezTo>
                    <a:cubicBezTo>
                      <a:pt x="407" y="197"/>
                      <a:pt x="407" y="197"/>
                      <a:pt x="407" y="197"/>
                    </a:cubicBezTo>
                    <a:cubicBezTo>
                      <a:pt x="408" y="197"/>
                      <a:pt x="407" y="196"/>
                      <a:pt x="408" y="195"/>
                    </a:cubicBezTo>
                    <a:cubicBezTo>
                      <a:pt x="408" y="195"/>
                      <a:pt x="408" y="195"/>
                      <a:pt x="408" y="195"/>
                    </a:cubicBezTo>
                    <a:cubicBezTo>
                      <a:pt x="408" y="194"/>
                      <a:pt x="408" y="194"/>
                      <a:pt x="408" y="193"/>
                    </a:cubicBezTo>
                    <a:cubicBezTo>
                      <a:pt x="408" y="193"/>
                      <a:pt x="408" y="193"/>
                      <a:pt x="409" y="192"/>
                    </a:cubicBezTo>
                    <a:cubicBezTo>
                      <a:pt x="409" y="192"/>
                      <a:pt x="409" y="192"/>
                      <a:pt x="409" y="191"/>
                    </a:cubicBezTo>
                    <a:cubicBezTo>
                      <a:pt x="409" y="191"/>
                      <a:pt x="409" y="191"/>
                      <a:pt x="409" y="191"/>
                    </a:cubicBezTo>
                    <a:cubicBezTo>
                      <a:pt x="409" y="191"/>
                      <a:pt x="409" y="191"/>
                      <a:pt x="409" y="191"/>
                    </a:cubicBezTo>
                    <a:cubicBezTo>
                      <a:pt x="410" y="190"/>
                      <a:pt x="409" y="189"/>
                      <a:pt x="410" y="189"/>
                    </a:cubicBezTo>
                    <a:cubicBezTo>
                      <a:pt x="409" y="189"/>
                      <a:pt x="409" y="189"/>
                      <a:pt x="410" y="188"/>
                    </a:cubicBezTo>
                    <a:cubicBezTo>
                      <a:pt x="410" y="188"/>
                      <a:pt x="410" y="188"/>
                      <a:pt x="410" y="187"/>
                    </a:cubicBezTo>
                    <a:cubicBezTo>
                      <a:pt x="410" y="187"/>
                      <a:pt x="410" y="187"/>
                      <a:pt x="410" y="187"/>
                    </a:cubicBezTo>
                    <a:cubicBezTo>
                      <a:pt x="410" y="187"/>
                      <a:pt x="410" y="187"/>
                      <a:pt x="410" y="187"/>
                    </a:cubicBezTo>
                    <a:cubicBezTo>
                      <a:pt x="411" y="186"/>
                      <a:pt x="410" y="185"/>
                      <a:pt x="411" y="185"/>
                    </a:cubicBezTo>
                    <a:cubicBezTo>
                      <a:pt x="411" y="185"/>
                      <a:pt x="411" y="185"/>
                      <a:pt x="411" y="184"/>
                    </a:cubicBezTo>
                    <a:cubicBezTo>
                      <a:pt x="411" y="184"/>
                      <a:pt x="411" y="183"/>
                      <a:pt x="411" y="183"/>
                    </a:cubicBezTo>
                    <a:cubicBezTo>
                      <a:pt x="411" y="183"/>
                      <a:pt x="411" y="183"/>
                      <a:pt x="411" y="183"/>
                    </a:cubicBezTo>
                    <a:cubicBezTo>
                      <a:pt x="411" y="183"/>
                      <a:pt x="411" y="183"/>
                      <a:pt x="411" y="183"/>
                    </a:cubicBezTo>
                    <a:cubicBezTo>
                      <a:pt x="412" y="182"/>
                      <a:pt x="411" y="181"/>
                      <a:pt x="412" y="181"/>
                    </a:cubicBezTo>
                    <a:cubicBezTo>
                      <a:pt x="412" y="181"/>
                      <a:pt x="412" y="181"/>
                      <a:pt x="412" y="180"/>
                    </a:cubicBezTo>
                    <a:cubicBezTo>
                      <a:pt x="412" y="180"/>
                      <a:pt x="412" y="179"/>
                      <a:pt x="412" y="179"/>
                    </a:cubicBezTo>
                    <a:cubicBezTo>
                      <a:pt x="412" y="179"/>
                      <a:pt x="412" y="179"/>
                      <a:pt x="412" y="179"/>
                    </a:cubicBezTo>
                    <a:cubicBezTo>
                      <a:pt x="413" y="178"/>
                      <a:pt x="413" y="177"/>
                      <a:pt x="413" y="177"/>
                    </a:cubicBezTo>
                    <a:cubicBezTo>
                      <a:pt x="413" y="177"/>
                      <a:pt x="413" y="176"/>
                      <a:pt x="413" y="176"/>
                    </a:cubicBezTo>
                    <a:cubicBezTo>
                      <a:pt x="414" y="176"/>
                      <a:pt x="413" y="175"/>
                      <a:pt x="414" y="175"/>
                    </a:cubicBezTo>
                    <a:cubicBezTo>
                      <a:pt x="414" y="175"/>
                      <a:pt x="414" y="175"/>
                      <a:pt x="414" y="175"/>
                    </a:cubicBezTo>
                    <a:cubicBezTo>
                      <a:pt x="414" y="174"/>
                      <a:pt x="414" y="173"/>
                      <a:pt x="414" y="173"/>
                    </a:cubicBezTo>
                    <a:cubicBezTo>
                      <a:pt x="414" y="173"/>
                      <a:pt x="414" y="172"/>
                      <a:pt x="414" y="172"/>
                    </a:cubicBezTo>
                    <a:cubicBezTo>
                      <a:pt x="415" y="172"/>
                      <a:pt x="414" y="171"/>
                      <a:pt x="415" y="171"/>
                    </a:cubicBezTo>
                    <a:cubicBezTo>
                      <a:pt x="415" y="171"/>
                      <a:pt x="415" y="171"/>
                      <a:pt x="415" y="171"/>
                    </a:cubicBezTo>
                    <a:cubicBezTo>
                      <a:pt x="415" y="170"/>
                      <a:pt x="415" y="169"/>
                      <a:pt x="415" y="169"/>
                    </a:cubicBezTo>
                    <a:cubicBezTo>
                      <a:pt x="415" y="169"/>
                      <a:pt x="415" y="168"/>
                      <a:pt x="415" y="168"/>
                    </a:cubicBezTo>
                    <a:cubicBezTo>
                      <a:pt x="416" y="168"/>
                      <a:pt x="415" y="167"/>
                      <a:pt x="416" y="166"/>
                    </a:cubicBezTo>
                    <a:cubicBezTo>
                      <a:pt x="416" y="166"/>
                      <a:pt x="416" y="166"/>
                      <a:pt x="416" y="166"/>
                    </a:cubicBezTo>
                    <a:cubicBezTo>
                      <a:pt x="416" y="166"/>
                      <a:pt x="416" y="165"/>
                      <a:pt x="416" y="165"/>
                    </a:cubicBezTo>
                    <a:cubicBezTo>
                      <a:pt x="416" y="164"/>
                      <a:pt x="416" y="164"/>
                      <a:pt x="416" y="164"/>
                    </a:cubicBezTo>
                    <a:cubicBezTo>
                      <a:pt x="417" y="164"/>
                      <a:pt x="417" y="164"/>
                      <a:pt x="417" y="164"/>
                    </a:cubicBezTo>
                    <a:cubicBezTo>
                      <a:pt x="417" y="164"/>
                      <a:pt x="417" y="163"/>
                      <a:pt x="417" y="162"/>
                    </a:cubicBezTo>
                    <a:cubicBezTo>
                      <a:pt x="417" y="162"/>
                      <a:pt x="417" y="162"/>
                      <a:pt x="417" y="162"/>
                    </a:cubicBezTo>
                    <a:cubicBezTo>
                      <a:pt x="417" y="162"/>
                      <a:pt x="417" y="161"/>
                      <a:pt x="418" y="161"/>
                    </a:cubicBezTo>
                    <a:cubicBezTo>
                      <a:pt x="418" y="160"/>
                      <a:pt x="418" y="160"/>
                      <a:pt x="418" y="160"/>
                    </a:cubicBezTo>
                    <a:cubicBezTo>
                      <a:pt x="418" y="160"/>
                      <a:pt x="418" y="160"/>
                      <a:pt x="418" y="160"/>
                    </a:cubicBezTo>
                    <a:cubicBezTo>
                      <a:pt x="418" y="160"/>
                      <a:pt x="418" y="159"/>
                      <a:pt x="418" y="158"/>
                    </a:cubicBezTo>
                    <a:cubicBezTo>
                      <a:pt x="418" y="158"/>
                      <a:pt x="418" y="158"/>
                      <a:pt x="418" y="158"/>
                    </a:cubicBezTo>
                    <a:cubicBezTo>
                      <a:pt x="419" y="157"/>
                      <a:pt x="419" y="157"/>
                      <a:pt x="419" y="156"/>
                    </a:cubicBezTo>
                    <a:cubicBezTo>
                      <a:pt x="419" y="156"/>
                      <a:pt x="419" y="156"/>
                      <a:pt x="419" y="156"/>
                    </a:cubicBezTo>
                    <a:cubicBezTo>
                      <a:pt x="419" y="156"/>
                      <a:pt x="419" y="156"/>
                      <a:pt x="419" y="156"/>
                    </a:cubicBezTo>
                    <a:cubicBezTo>
                      <a:pt x="419" y="156"/>
                      <a:pt x="419" y="155"/>
                      <a:pt x="419" y="154"/>
                    </a:cubicBezTo>
                    <a:cubicBezTo>
                      <a:pt x="419" y="154"/>
                      <a:pt x="419" y="154"/>
                      <a:pt x="419" y="154"/>
                    </a:cubicBezTo>
                    <a:cubicBezTo>
                      <a:pt x="420" y="153"/>
                      <a:pt x="419" y="153"/>
                      <a:pt x="420" y="152"/>
                    </a:cubicBezTo>
                    <a:cubicBezTo>
                      <a:pt x="420" y="152"/>
                      <a:pt x="420" y="152"/>
                      <a:pt x="420" y="152"/>
                    </a:cubicBezTo>
                    <a:cubicBezTo>
                      <a:pt x="420" y="152"/>
                      <a:pt x="420" y="151"/>
                      <a:pt x="420" y="150"/>
                    </a:cubicBezTo>
                    <a:cubicBezTo>
                      <a:pt x="420" y="150"/>
                      <a:pt x="420" y="150"/>
                      <a:pt x="421" y="150"/>
                    </a:cubicBezTo>
                    <a:cubicBezTo>
                      <a:pt x="421" y="149"/>
                      <a:pt x="421" y="149"/>
                      <a:pt x="421" y="148"/>
                    </a:cubicBezTo>
                    <a:cubicBezTo>
                      <a:pt x="421" y="148"/>
                      <a:pt x="421" y="148"/>
                      <a:pt x="421" y="148"/>
                    </a:cubicBezTo>
                    <a:cubicBezTo>
                      <a:pt x="422" y="148"/>
                      <a:pt x="421" y="147"/>
                      <a:pt x="422" y="146"/>
                    </a:cubicBezTo>
                    <a:cubicBezTo>
                      <a:pt x="422" y="146"/>
                      <a:pt x="422" y="146"/>
                      <a:pt x="422" y="146"/>
                    </a:cubicBezTo>
                    <a:cubicBezTo>
                      <a:pt x="422" y="145"/>
                      <a:pt x="422" y="145"/>
                      <a:pt x="422" y="144"/>
                    </a:cubicBezTo>
                    <a:cubicBezTo>
                      <a:pt x="422" y="144"/>
                      <a:pt x="422" y="144"/>
                      <a:pt x="422" y="144"/>
                    </a:cubicBezTo>
                    <a:cubicBezTo>
                      <a:pt x="423" y="144"/>
                      <a:pt x="422" y="143"/>
                      <a:pt x="423" y="142"/>
                    </a:cubicBezTo>
                    <a:cubicBezTo>
                      <a:pt x="423" y="142"/>
                      <a:pt x="423" y="142"/>
                      <a:pt x="423" y="142"/>
                    </a:cubicBezTo>
                    <a:cubicBezTo>
                      <a:pt x="423" y="141"/>
                      <a:pt x="423" y="141"/>
                      <a:pt x="423" y="140"/>
                    </a:cubicBezTo>
                    <a:cubicBezTo>
                      <a:pt x="423" y="140"/>
                      <a:pt x="423" y="140"/>
                      <a:pt x="423" y="139"/>
                    </a:cubicBezTo>
                    <a:cubicBezTo>
                      <a:pt x="424" y="139"/>
                      <a:pt x="424" y="139"/>
                      <a:pt x="424" y="138"/>
                    </a:cubicBezTo>
                    <a:cubicBezTo>
                      <a:pt x="424" y="138"/>
                      <a:pt x="424" y="138"/>
                      <a:pt x="424" y="138"/>
                    </a:cubicBezTo>
                    <a:cubicBezTo>
                      <a:pt x="424" y="138"/>
                      <a:pt x="424" y="138"/>
                      <a:pt x="424" y="138"/>
                    </a:cubicBezTo>
                    <a:cubicBezTo>
                      <a:pt x="424" y="137"/>
                      <a:pt x="424" y="136"/>
                      <a:pt x="425" y="136"/>
                    </a:cubicBezTo>
                    <a:cubicBezTo>
                      <a:pt x="424" y="136"/>
                      <a:pt x="424" y="136"/>
                      <a:pt x="425" y="135"/>
                    </a:cubicBezTo>
                    <a:cubicBezTo>
                      <a:pt x="425" y="135"/>
                      <a:pt x="425" y="135"/>
                      <a:pt x="425" y="134"/>
                    </a:cubicBezTo>
                    <a:cubicBezTo>
                      <a:pt x="425" y="134"/>
                      <a:pt x="425" y="134"/>
                      <a:pt x="425" y="134"/>
                    </a:cubicBezTo>
                    <a:cubicBezTo>
                      <a:pt x="425" y="134"/>
                      <a:pt x="425" y="134"/>
                      <a:pt x="425" y="134"/>
                    </a:cubicBezTo>
                    <a:cubicBezTo>
                      <a:pt x="426" y="133"/>
                      <a:pt x="425" y="132"/>
                      <a:pt x="426" y="132"/>
                    </a:cubicBezTo>
                    <a:cubicBezTo>
                      <a:pt x="426" y="132"/>
                      <a:pt x="426" y="132"/>
                      <a:pt x="426" y="131"/>
                    </a:cubicBezTo>
                    <a:cubicBezTo>
                      <a:pt x="426" y="131"/>
                      <a:pt x="426" y="130"/>
                      <a:pt x="426" y="130"/>
                    </a:cubicBezTo>
                    <a:cubicBezTo>
                      <a:pt x="426" y="130"/>
                      <a:pt x="426" y="130"/>
                      <a:pt x="426" y="130"/>
                    </a:cubicBezTo>
                    <a:cubicBezTo>
                      <a:pt x="426" y="130"/>
                      <a:pt x="426" y="130"/>
                      <a:pt x="426" y="130"/>
                    </a:cubicBezTo>
                    <a:cubicBezTo>
                      <a:pt x="427" y="129"/>
                      <a:pt x="426" y="128"/>
                      <a:pt x="427" y="128"/>
                    </a:cubicBezTo>
                    <a:cubicBezTo>
                      <a:pt x="427" y="128"/>
                      <a:pt x="427" y="128"/>
                      <a:pt x="427" y="127"/>
                    </a:cubicBezTo>
                    <a:cubicBezTo>
                      <a:pt x="427" y="127"/>
                      <a:pt x="427" y="126"/>
                      <a:pt x="427" y="126"/>
                    </a:cubicBezTo>
                    <a:cubicBezTo>
                      <a:pt x="427" y="126"/>
                      <a:pt x="427" y="126"/>
                      <a:pt x="427" y="126"/>
                    </a:cubicBezTo>
                    <a:cubicBezTo>
                      <a:pt x="428" y="125"/>
                      <a:pt x="428" y="124"/>
                      <a:pt x="428" y="124"/>
                    </a:cubicBezTo>
                    <a:cubicBezTo>
                      <a:pt x="428" y="124"/>
                      <a:pt x="428" y="123"/>
                      <a:pt x="428" y="123"/>
                    </a:cubicBezTo>
                    <a:cubicBezTo>
                      <a:pt x="429" y="123"/>
                      <a:pt x="428" y="122"/>
                      <a:pt x="429" y="122"/>
                    </a:cubicBezTo>
                    <a:cubicBezTo>
                      <a:pt x="429" y="122"/>
                      <a:pt x="429" y="122"/>
                      <a:pt x="429" y="122"/>
                    </a:cubicBezTo>
                    <a:cubicBezTo>
                      <a:pt x="429" y="121"/>
                      <a:pt x="429" y="120"/>
                      <a:pt x="429" y="120"/>
                    </a:cubicBezTo>
                    <a:cubicBezTo>
                      <a:pt x="429" y="120"/>
                      <a:pt x="429" y="119"/>
                      <a:pt x="429" y="119"/>
                    </a:cubicBezTo>
                    <a:cubicBezTo>
                      <a:pt x="430" y="119"/>
                      <a:pt x="429" y="118"/>
                      <a:pt x="430" y="118"/>
                    </a:cubicBezTo>
                    <a:cubicBezTo>
                      <a:pt x="430" y="118"/>
                      <a:pt x="430" y="118"/>
                      <a:pt x="430" y="118"/>
                    </a:cubicBezTo>
                    <a:cubicBezTo>
                      <a:pt x="430" y="117"/>
                      <a:pt x="430" y="116"/>
                      <a:pt x="430" y="116"/>
                    </a:cubicBezTo>
                    <a:cubicBezTo>
                      <a:pt x="430" y="116"/>
                      <a:pt x="430" y="115"/>
                      <a:pt x="430" y="115"/>
                    </a:cubicBezTo>
                    <a:cubicBezTo>
                      <a:pt x="431" y="115"/>
                      <a:pt x="430" y="114"/>
                      <a:pt x="431" y="113"/>
                    </a:cubicBezTo>
                    <a:cubicBezTo>
                      <a:pt x="431" y="113"/>
                      <a:pt x="431" y="113"/>
                      <a:pt x="431" y="113"/>
                    </a:cubicBezTo>
                    <a:cubicBezTo>
                      <a:pt x="431" y="113"/>
                      <a:pt x="431" y="112"/>
                      <a:pt x="431" y="112"/>
                    </a:cubicBezTo>
                    <a:cubicBezTo>
                      <a:pt x="431" y="111"/>
                      <a:pt x="431" y="111"/>
                      <a:pt x="431" y="111"/>
                    </a:cubicBezTo>
                    <a:cubicBezTo>
                      <a:pt x="431" y="111"/>
                      <a:pt x="431" y="111"/>
                      <a:pt x="431" y="111"/>
                    </a:cubicBezTo>
                    <a:cubicBezTo>
                      <a:pt x="432" y="111"/>
                      <a:pt x="432" y="110"/>
                      <a:pt x="432" y="109"/>
                    </a:cubicBezTo>
                    <a:cubicBezTo>
                      <a:pt x="432" y="109"/>
                      <a:pt x="432" y="109"/>
                      <a:pt x="432" y="109"/>
                    </a:cubicBezTo>
                    <a:cubicBezTo>
                      <a:pt x="432" y="109"/>
                      <a:pt x="432" y="108"/>
                      <a:pt x="433" y="108"/>
                    </a:cubicBezTo>
                    <a:cubicBezTo>
                      <a:pt x="432" y="107"/>
                      <a:pt x="432" y="107"/>
                      <a:pt x="432" y="107"/>
                    </a:cubicBezTo>
                    <a:cubicBezTo>
                      <a:pt x="433" y="107"/>
                      <a:pt x="433" y="107"/>
                      <a:pt x="433" y="107"/>
                    </a:cubicBezTo>
                    <a:cubicBezTo>
                      <a:pt x="433" y="107"/>
                      <a:pt x="433" y="106"/>
                      <a:pt x="433" y="105"/>
                    </a:cubicBezTo>
                    <a:cubicBezTo>
                      <a:pt x="433" y="105"/>
                      <a:pt x="433" y="105"/>
                      <a:pt x="433" y="105"/>
                    </a:cubicBezTo>
                    <a:cubicBezTo>
                      <a:pt x="434" y="105"/>
                      <a:pt x="434" y="104"/>
                      <a:pt x="434" y="104"/>
                    </a:cubicBezTo>
                    <a:cubicBezTo>
                      <a:pt x="434" y="103"/>
                      <a:pt x="434" y="103"/>
                      <a:pt x="434" y="103"/>
                    </a:cubicBezTo>
                    <a:cubicBezTo>
                      <a:pt x="434" y="103"/>
                      <a:pt x="434" y="103"/>
                      <a:pt x="434" y="103"/>
                    </a:cubicBezTo>
                    <a:cubicBezTo>
                      <a:pt x="434" y="103"/>
                      <a:pt x="434" y="102"/>
                      <a:pt x="434" y="101"/>
                    </a:cubicBezTo>
                    <a:cubicBezTo>
                      <a:pt x="434" y="101"/>
                      <a:pt x="434" y="101"/>
                      <a:pt x="434" y="101"/>
                    </a:cubicBezTo>
                    <a:cubicBezTo>
                      <a:pt x="435" y="100"/>
                      <a:pt x="434" y="100"/>
                      <a:pt x="435" y="99"/>
                    </a:cubicBezTo>
                    <a:cubicBezTo>
                      <a:pt x="435" y="99"/>
                      <a:pt x="435" y="99"/>
                      <a:pt x="435" y="99"/>
                    </a:cubicBezTo>
                    <a:cubicBezTo>
                      <a:pt x="435" y="99"/>
                      <a:pt x="435" y="98"/>
                      <a:pt x="435" y="97"/>
                    </a:cubicBezTo>
                    <a:cubicBezTo>
                      <a:pt x="435" y="97"/>
                      <a:pt x="435" y="97"/>
                      <a:pt x="436" y="97"/>
                    </a:cubicBezTo>
                    <a:cubicBezTo>
                      <a:pt x="436" y="96"/>
                      <a:pt x="436" y="96"/>
                      <a:pt x="436" y="95"/>
                    </a:cubicBezTo>
                    <a:cubicBezTo>
                      <a:pt x="436" y="95"/>
                      <a:pt x="436" y="95"/>
                      <a:pt x="436" y="95"/>
                    </a:cubicBezTo>
                    <a:cubicBezTo>
                      <a:pt x="437" y="95"/>
                      <a:pt x="436" y="94"/>
                      <a:pt x="437" y="93"/>
                    </a:cubicBezTo>
                    <a:cubicBezTo>
                      <a:pt x="436" y="93"/>
                      <a:pt x="437" y="93"/>
                      <a:pt x="437" y="93"/>
                    </a:cubicBezTo>
                    <a:cubicBezTo>
                      <a:pt x="437" y="92"/>
                      <a:pt x="437" y="92"/>
                      <a:pt x="437" y="91"/>
                    </a:cubicBezTo>
                    <a:cubicBezTo>
                      <a:pt x="437" y="91"/>
                      <a:pt x="437" y="91"/>
                      <a:pt x="437" y="91"/>
                    </a:cubicBezTo>
                    <a:cubicBezTo>
                      <a:pt x="438" y="91"/>
                      <a:pt x="437" y="90"/>
                      <a:pt x="438" y="89"/>
                    </a:cubicBezTo>
                    <a:cubicBezTo>
                      <a:pt x="438" y="89"/>
                      <a:pt x="438" y="89"/>
                      <a:pt x="438" y="89"/>
                    </a:cubicBezTo>
                    <a:cubicBezTo>
                      <a:pt x="438" y="88"/>
                      <a:pt x="438" y="88"/>
                      <a:pt x="438" y="87"/>
                    </a:cubicBezTo>
                    <a:cubicBezTo>
                      <a:pt x="438" y="87"/>
                      <a:pt x="438" y="87"/>
                      <a:pt x="438" y="87"/>
                    </a:cubicBezTo>
                    <a:cubicBezTo>
                      <a:pt x="439" y="86"/>
                      <a:pt x="439" y="86"/>
                      <a:pt x="439" y="85"/>
                    </a:cubicBezTo>
                    <a:cubicBezTo>
                      <a:pt x="439" y="85"/>
                      <a:pt x="439" y="85"/>
                      <a:pt x="439" y="85"/>
                    </a:cubicBezTo>
                    <a:cubicBezTo>
                      <a:pt x="439" y="85"/>
                      <a:pt x="439" y="85"/>
                      <a:pt x="439" y="85"/>
                    </a:cubicBezTo>
                    <a:cubicBezTo>
                      <a:pt x="439" y="85"/>
                      <a:pt x="439" y="85"/>
                      <a:pt x="440" y="85"/>
                    </a:cubicBezTo>
                    <a:cubicBezTo>
                      <a:pt x="440" y="85"/>
                      <a:pt x="440" y="85"/>
                      <a:pt x="440" y="85"/>
                    </a:cubicBezTo>
                    <a:cubicBezTo>
                      <a:pt x="440" y="86"/>
                      <a:pt x="440" y="87"/>
                      <a:pt x="440" y="87"/>
                    </a:cubicBezTo>
                    <a:cubicBezTo>
                      <a:pt x="440" y="87"/>
                      <a:pt x="440" y="87"/>
                      <a:pt x="440" y="87"/>
                    </a:cubicBezTo>
                    <a:cubicBezTo>
                      <a:pt x="441" y="88"/>
                      <a:pt x="440" y="88"/>
                      <a:pt x="441" y="89"/>
                    </a:cubicBezTo>
                    <a:cubicBezTo>
                      <a:pt x="441" y="89"/>
                      <a:pt x="441" y="89"/>
                      <a:pt x="441" y="89"/>
                    </a:cubicBezTo>
                    <a:cubicBezTo>
                      <a:pt x="441" y="90"/>
                      <a:pt x="441" y="91"/>
                      <a:pt x="441" y="91"/>
                    </a:cubicBezTo>
                    <a:cubicBezTo>
                      <a:pt x="441" y="91"/>
                      <a:pt x="441" y="91"/>
                      <a:pt x="441" y="91"/>
                    </a:cubicBezTo>
                    <a:cubicBezTo>
                      <a:pt x="442" y="92"/>
                      <a:pt x="441" y="92"/>
                      <a:pt x="442" y="93"/>
                    </a:cubicBezTo>
                    <a:cubicBezTo>
                      <a:pt x="442" y="93"/>
                      <a:pt x="442" y="93"/>
                      <a:pt x="442" y="93"/>
                    </a:cubicBezTo>
                    <a:cubicBezTo>
                      <a:pt x="442" y="94"/>
                      <a:pt x="442" y="95"/>
                      <a:pt x="442" y="95"/>
                    </a:cubicBezTo>
                    <a:cubicBezTo>
                      <a:pt x="443" y="95"/>
                      <a:pt x="443" y="95"/>
                      <a:pt x="443" y="95"/>
                    </a:cubicBezTo>
                    <a:cubicBezTo>
                      <a:pt x="443" y="95"/>
                      <a:pt x="443" y="95"/>
                      <a:pt x="443" y="95"/>
                    </a:cubicBezTo>
                    <a:cubicBezTo>
                      <a:pt x="443" y="96"/>
                      <a:pt x="443" y="96"/>
                      <a:pt x="443" y="97"/>
                    </a:cubicBezTo>
                    <a:cubicBezTo>
                      <a:pt x="443" y="97"/>
                      <a:pt x="443" y="97"/>
                      <a:pt x="443" y="97"/>
                    </a:cubicBezTo>
                    <a:cubicBezTo>
                      <a:pt x="443" y="98"/>
                      <a:pt x="443" y="99"/>
                      <a:pt x="444" y="99"/>
                    </a:cubicBezTo>
                    <a:cubicBezTo>
                      <a:pt x="444" y="99"/>
                      <a:pt x="444" y="99"/>
                      <a:pt x="444" y="99"/>
                    </a:cubicBezTo>
                    <a:cubicBezTo>
                      <a:pt x="444" y="100"/>
                      <a:pt x="444" y="100"/>
                      <a:pt x="444" y="100"/>
                    </a:cubicBezTo>
                    <a:cubicBezTo>
                      <a:pt x="444" y="100"/>
                      <a:pt x="444" y="100"/>
                      <a:pt x="444" y="101"/>
                    </a:cubicBezTo>
                    <a:cubicBezTo>
                      <a:pt x="444" y="101"/>
                      <a:pt x="444" y="101"/>
                      <a:pt x="444" y="101"/>
                    </a:cubicBezTo>
                    <a:cubicBezTo>
                      <a:pt x="445" y="102"/>
                      <a:pt x="444" y="103"/>
                      <a:pt x="445" y="103"/>
                    </a:cubicBezTo>
                    <a:cubicBezTo>
                      <a:pt x="445" y="103"/>
                      <a:pt x="445" y="103"/>
                      <a:pt x="445" y="104"/>
                    </a:cubicBezTo>
                    <a:cubicBezTo>
                      <a:pt x="445" y="104"/>
                      <a:pt x="445" y="105"/>
                      <a:pt x="445" y="106"/>
                    </a:cubicBezTo>
                    <a:cubicBezTo>
                      <a:pt x="445" y="105"/>
                      <a:pt x="445" y="105"/>
                      <a:pt x="445" y="105"/>
                    </a:cubicBezTo>
                    <a:cubicBezTo>
                      <a:pt x="446" y="106"/>
                      <a:pt x="445" y="107"/>
                      <a:pt x="446" y="107"/>
                    </a:cubicBezTo>
                    <a:cubicBezTo>
                      <a:pt x="446" y="107"/>
                      <a:pt x="446" y="107"/>
                      <a:pt x="446" y="108"/>
                    </a:cubicBezTo>
                    <a:cubicBezTo>
                      <a:pt x="446" y="108"/>
                      <a:pt x="446" y="109"/>
                      <a:pt x="446" y="110"/>
                    </a:cubicBezTo>
                    <a:cubicBezTo>
                      <a:pt x="446" y="110"/>
                      <a:pt x="446" y="110"/>
                      <a:pt x="446" y="110"/>
                    </a:cubicBezTo>
                    <a:cubicBezTo>
                      <a:pt x="447" y="110"/>
                      <a:pt x="447" y="111"/>
                      <a:pt x="447" y="111"/>
                    </a:cubicBezTo>
                    <a:cubicBezTo>
                      <a:pt x="447" y="111"/>
                      <a:pt x="447" y="112"/>
                      <a:pt x="447" y="112"/>
                    </a:cubicBezTo>
                    <a:cubicBezTo>
                      <a:pt x="447" y="112"/>
                      <a:pt x="447" y="113"/>
                      <a:pt x="448" y="114"/>
                    </a:cubicBezTo>
                    <a:cubicBezTo>
                      <a:pt x="448" y="114"/>
                      <a:pt x="448" y="114"/>
                      <a:pt x="448" y="114"/>
                    </a:cubicBezTo>
                    <a:cubicBezTo>
                      <a:pt x="448" y="114"/>
                      <a:pt x="448" y="114"/>
                      <a:pt x="448" y="114"/>
                    </a:cubicBezTo>
                    <a:cubicBezTo>
                      <a:pt x="448" y="114"/>
                      <a:pt x="448" y="115"/>
                      <a:pt x="448" y="115"/>
                    </a:cubicBezTo>
                    <a:cubicBezTo>
                      <a:pt x="448" y="115"/>
                      <a:pt x="448" y="116"/>
                      <a:pt x="448" y="116"/>
                    </a:cubicBezTo>
                    <a:cubicBezTo>
                      <a:pt x="449" y="116"/>
                      <a:pt x="448" y="117"/>
                      <a:pt x="449" y="118"/>
                    </a:cubicBezTo>
                    <a:cubicBezTo>
                      <a:pt x="449" y="118"/>
                      <a:pt x="449" y="118"/>
                      <a:pt x="449" y="118"/>
                    </a:cubicBezTo>
                    <a:cubicBezTo>
                      <a:pt x="449" y="118"/>
                      <a:pt x="449" y="118"/>
                      <a:pt x="449" y="118"/>
                    </a:cubicBezTo>
                    <a:cubicBezTo>
                      <a:pt x="449" y="118"/>
                      <a:pt x="449" y="119"/>
                      <a:pt x="449" y="119"/>
                    </a:cubicBezTo>
                    <a:cubicBezTo>
                      <a:pt x="449" y="119"/>
                      <a:pt x="449" y="120"/>
                      <a:pt x="449" y="120"/>
                    </a:cubicBezTo>
                    <a:cubicBezTo>
                      <a:pt x="450" y="120"/>
                      <a:pt x="449" y="121"/>
                      <a:pt x="450" y="122"/>
                    </a:cubicBezTo>
                    <a:cubicBezTo>
                      <a:pt x="450" y="122"/>
                      <a:pt x="450" y="122"/>
                      <a:pt x="450" y="122"/>
                    </a:cubicBezTo>
                    <a:cubicBezTo>
                      <a:pt x="450" y="122"/>
                      <a:pt x="450" y="122"/>
                      <a:pt x="450" y="122"/>
                    </a:cubicBezTo>
                    <a:cubicBezTo>
                      <a:pt x="450" y="123"/>
                      <a:pt x="450" y="123"/>
                      <a:pt x="451" y="124"/>
                    </a:cubicBezTo>
                    <a:cubicBezTo>
                      <a:pt x="451" y="124"/>
                      <a:pt x="451" y="124"/>
                      <a:pt x="451" y="124"/>
                    </a:cubicBezTo>
                    <a:cubicBezTo>
                      <a:pt x="451" y="124"/>
                      <a:pt x="451" y="125"/>
                      <a:pt x="451" y="126"/>
                    </a:cubicBezTo>
                    <a:cubicBezTo>
                      <a:pt x="451" y="126"/>
                      <a:pt x="451" y="126"/>
                      <a:pt x="451" y="126"/>
                    </a:cubicBezTo>
                    <a:cubicBezTo>
                      <a:pt x="451" y="127"/>
                      <a:pt x="451" y="127"/>
                      <a:pt x="452" y="128"/>
                    </a:cubicBezTo>
                    <a:cubicBezTo>
                      <a:pt x="452" y="128"/>
                      <a:pt x="452" y="128"/>
                      <a:pt x="452" y="128"/>
                    </a:cubicBezTo>
                    <a:cubicBezTo>
                      <a:pt x="452" y="128"/>
                      <a:pt x="452" y="129"/>
                      <a:pt x="452" y="130"/>
                    </a:cubicBezTo>
                    <a:cubicBezTo>
                      <a:pt x="452" y="130"/>
                      <a:pt x="452" y="130"/>
                      <a:pt x="452" y="130"/>
                    </a:cubicBezTo>
                    <a:cubicBezTo>
                      <a:pt x="453" y="131"/>
                      <a:pt x="452" y="131"/>
                      <a:pt x="453" y="132"/>
                    </a:cubicBezTo>
                    <a:cubicBezTo>
                      <a:pt x="453" y="132"/>
                      <a:pt x="453" y="132"/>
                      <a:pt x="453" y="132"/>
                    </a:cubicBezTo>
                    <a:cubicBezTo>
                      <a:pt x="453" y="132"/>
                      <a:pt x="453" y="133"/>
                      <a:pt x="453" y="134"/>
                    </a:cubicBezTo>
                    <a:cubicBezTo>
                      <a:pt x="453" y="134"/>
                      <a:pt x="454" y="134"/>
                      <a:pt x="453" y="134"/>
                    </a:cubicBezTo>
                    <a:cubicBezTo>
                      <a:pt x="454" y="135"/>
                      <a:pt x="453" y="136"/>
                      <a:pt x="454" y="136"/>
                    </a:cubicBezTo>
                    <a:cubicBezTo>
                      <a:pt x="454" y="136"/>
                      <a:pt x="454" y="136"/>
                      <a:pt x="454" y="136"/>
                    </a:cubicBezTo>
                    <a:cubicBezTo>
                      <a:pt x="454" y="136"/>
                      <a:pt x="454" y="136"/>
                      <a:pt x="454" y="136"/>
                    </a:cubicBezTo>
                    <a:cubicBezTo>
                      <a:pt x="454" y="137"/>
                      <a:pt x="454" y="137"/>
                      <a:pt x="454" y="138"/>
                    </a:cubicBezTo>
                    <a:cubicBezTo>
                      <a:pt x="455" y="138"/>
                      <a:pt x="455" y="138"/>
                      <a:pt x="455" y="138"/>
                    </a:cubicBezTo>
                    <a:cubicBezTo>
                      <a:pt x="455" y="139"/>
                      <a:pt x="455" y="140"/>
                      <a:pt x="455" y="140"/>
                    </a:cubicBezTo>
                    <a:cubicBezTo>
                      <a:pt x="455" y="140"/>
                      <a:pt x="455" y="140"/>
                      <a:pt x="455" y="140"/>
                    </a:cubicBezTo>
                    <a:cubicBezTo>
                      <a:pt x="455" y="140"/>
                      <a:pt x="455" y="140"/>
                      <a:pt x="455" y="140"/>
                    </a:cubicBezTo>
                    <a:cubicBezTo>
                      <a:pt x="455" y="141"/>
                      <a:pt x="455" y="141"/>
                      <a:pt x="456" y="142"/>
                    </a:cubicBezTo>
                    <a:cubicBezTo>
                      <a:pt x="456" y="142"/>
                      <a:pt x="456" y="142"/>
                      <a:pt x="456" y="142"/>
                    </a:cubicBezTo>
                    <a:cubicBezTo>
                      <a:pt x="456" y="143"/>
                      <a:pt x="456" y="144"/>
                      <a:pt x="456" y="144"/>
                    </a:cubicBezTo>
                    <a:cubicBezTo>
                      <a:pt x="456" y="144"/>
                      <a:pt x="456" y="144"/>
                      <a:pt x="456" y="144"/>
                    </a:cubicBezTo>
                    <a:cubicBezTo>
                      <a:pt x="457" y="145"/>
                      <a:pt x="456" y="146"/>
                      <a:pt x="457" y="146"/>
                    </a:cubicBezTo>
                    <a:cubicBezTo>
                      <a:pt x="457" y="146"/>
                      <a:pt x="457" y="146"/>
                      <a:pt x="457" y="146"/>
                    </a:cubicBezTo>
                    <a:cubicBezTo>
                      <a:pt x="457" y="147"/>
                      <a:pt x="457" y="148"/>
                      <a:pt x="457" y="148"/>
                    </a:cubicBezTo>
                    <a:cubicBezTo>
                      <a:pt x="458" y="148"/>
                      <a:pt x="458" y="148"/>
                      <a:pt x="457" y="149"/>
                    </a:cubicBezTo>
                    <a:cubicBezTo>
                      <a:pt x="458" y="149"/>
                      <a:pt x="457" y="150"/>
                      <a:pt x="458" y="150"/>
                    </a:cubicBezTo>
                    <a:cubicBezTo>
                      <a:pt x="458" y="150"/>
                      <a:pt x="458" y="150"/>
                      <a:pt x="458" y="150"/>
                    </a:cubicBezTo>
                    <a:cubicBezTo>
                      <a:pt x="458" y="151"/>
                      <a:pt x="458" y="152"/>
                      <a:pt x="459" y="152"/>
                    </a:cubicBezTo>
                    <a:cubicBezTo>
                      <a:pt x="459" y="152"/>
                      <a:pt x="459" y="152"/>
                      <a:pt x="459" y="153"/>
                    </a:cubicBezTo>
                    <a:cubicBezTo>
                      <a:pt x="459" y="153"/>
                      <a:pt x="459" y="154"/>
                      <a:pt x="459" y="154"/>
                    </a:cubicBezTo>
                    <a:cubicBezTo>
                      <a:pt x="459" y="155"/>
                      <a:pt x="459" y="155"/>
                      <a:pt x="459" y="155"/>
                    </a:cubicBezTo>
                    <a:cubicBezTo>
                      <a:pt x="459" y="155"/>
                      <a:pt x="459" y="155"/>
                      <a:pt x="459" y="155"/>
                    </a:cubicBezTo>
                    <a:cubicBezTo>
                      <a:pt x="459" y="155"/>
                      <a:pt x="459" y="156"/>
                      <a:pt x="460" y="156"/>
                    </a:cubicBezTo>
                    <a:cubicBezTo>
                      <a:pt x="460" y="156"/>
                      <a:pt x="460" y="156"/>
                      <a:pt x="460" y="157"/>
                    </a:cubicBezTo>
                    <a:cubicBezTo>
                      <a:pt x="460" y="157"/>
                      <a:pt x="460" y="158"/>
                      <a:pt x="460" y="159"/>
                    </a:cubicBezTo>
                    <a:cubicBezTo>
                      <a:pt x="460" y="159"/>
                      <a:pt x="460" y="159"/>
                      <a:pt x="460" y="159"/>
                    </a:cubicBezTo>
                    <a:cubicBezTo>
                      <a:pt x="460" y="159"/>
                      <a:pt x="460" y="159"/>
                      <a:pt x="460" y="159"/>
                    </a:cubicBezTo>
                    <a:cubicBezTo>
                      <a:pt x="461" y="159"/>
                      <a:pt x="461" y="160"/>
                      <a:pt x="461" y="160"/>
                    </a:cubicBezTo>
                    <a:cubicBezTo>
                      <a:pt x="461" y="160"/>
                      <a:pt x="461" y="161"/>
                      <a:pt x="461" y="161"/>
                    </a:cubicBezTo>
                    <a:cubicBezTo>
                      <a:pt x="461" y="161"/>
                      <a:pt x="461" y="162"/>
                      <a:pt x="461" y="163"/>
                    </a:cubicBezTo>
                    <a:cubicBezTo>
                      <a:pt x="462" y="163"/>
                      <a:pt x="462" y="163"/>
                      <a:pt x="462" y="163"/>
                    </a:cubicBezTo>
                    <a:cubicBezTo>
                      <a:pt x="462" y="163"/>
                      <a:pt x="462" y="163"/>
                      <a:pt x="462" y="163"/>
                    </a:cubicBezTo>
                    <a:cubicBezTo>
                      <a:pt x="462" y="163"/>
                      <a:pt x="462" y="164"/>
                      <a:pt x="462" y="165"/>
                    </a:cubicBezTo>
                    <a:cubicBezTo>
                      <a:pt x="462" y="165"/>
                      <a:pt x="462" y="165"/>
                      <a:pt x="462" y="165"/>
                    </a:cubicBezTo>
                    <a:cubicBezTo>
                      <a:pt x="463" y="165"/>
                      <a:pt x="462" y="166"/>
                      <a:pt x="463" y="167"/>
                    </a:cubicBezTo>
                    <a:cubicBezTo>
                      <a:pt x="463" y="167"/>
                      <a:pt x="463" y="167"/>
                      <a:pt x="463" y="167"/>
                    </a:cubicBezTo>
                    <a:cubicBezTo>
                      <a:pt x="463" y="168"/>
                      <a:pt x="463" y="168"/>
                      <a:pt x="463" y="169"/>
                    </a:cubicBezTo>
                    <a:cubicBezTo>
                      <a:pt x="463" y="169"/>
                      <a:pt x="463" y="169"/>
                      <a:pt x="463" y="169"/>
                    </a:cubicBezTo>
                    <a:cubicBezTo>
                      <a:pt x="464" y="169"/>
                      <a:pt x="463" y="170"/>
                      <a:pt x="464" y="171"/>
                    </a:cubicBezTo>
                    <a:cubicBezTo>
                      <a:pt x="464" y="171"/>
                      <a:pt x="464" y="171"/>
                      <a:pt x="464" y="171"/>
                    </a:cubicBezTo>
                    <a:cubicBezTo>
                      <a:pt x="464" y="172"/>
                      <a:pt x="464" y="172"/>
                      <a:pt x="464" y="173"/>
                    </a:cubicBezTo>
                    <a:cubicBezTo>
                      <a:pt x="464" y="173"/>
                      <a:pt x="464" y="173"/>
                      <a:pt x="464" y="173"/>
                    </a:cubicBezTo>
                    <a:cubicBezTo>
                      <a:pt x="465" y="173"/>
                      <a:pt x="464" y="174"/>
                      <a:pt x="465" y="175"/>
                    </a:cubicBezTo>
                    <a:cubicBezTo>
                      <a:pt x="465" y="175"/>
                      <a:pt x="465" y="175"/>
                      <a:pt x="465" y="175"/>
                    </a:cubicBezTo>
                    <a:cubicBezTo>
                      <a:pt x="465" y="176"/>
                      <a:pt x="465" y="176"/>
                      <a:pt x="465" y="177"/>
                    </a:cubicBezTo>
                    <a:cubicBezTo>
                      <a:pt x="466" y="177"/>
                      <a:pt x="466" y="177"/>
                      <a:pt x="466" y="177"/>
                    </a:cubicBezTo>
                    <a:cubicBezTo>
                      <a:pt x="466" y="177"/>
                      <a:pt x="466" y="177"/>
                      <a:pt x="466" y="177"/>
                    </a:cubicBezTo>
                    <a:cubicBezTo>
                      <a:pt x="466" y="178"/>
                      <a:pt x="466" y="178"/>
                      <a:pt x="466" y="179"/>
                    </a:cubicBezTo>
                    <a:cubicBezTo>
                      <a:pt x="466" y="179"/>
                      <a:pt x="466" y="179"/>
                      <a:pt x="466" y="179"/>
                    </a:cubicBezTo>
                    <a:cubicBezTo>
                      <a:pt x="467" y="180"/>
                      <a:pt x="466" y="180"/>
                      <a:pt x="467" y="181"/>
                    </a:cubicBezTo>
                    <a:cubicBezTo>
                      <a:pt x="467" y="181"/>
                      <a:pt x="467" y="181"/>
                      <a:pt x="467" y="181"/>
                    </a:cubicBezTo>
                    <a:cubicBezTo>
                      <a:pt x="467" y="181"/>
                      <a:pt x="467" y="181"/>
                      <a:pt x="467" y="181"/>
                    </a:cubicBezTo>
                    <a:cubicBezTo>
                      <a:pt x="467" y="182"/>
                      <a:pt x="467" y="182"/>
                      <a:pt x="467" y="183"/>
                    </a:cubicBezTo>
                    <a:cubicBezTo>
                      <a:pt x="467" y="183"/>
                      <a:pt x="467" y="183"/>
                      <a:pt x="467" y="183"/>
                    </a:cubicBezTo>
                    <a:cubicBezTo>
                      <a:pt x="468" y="184"/>
                      <a:pt x="467" y="184"/>
                      <a:pt x="468" y="185"/>
                    </a:cubicBezTo>
                    <a:cubicBezTo>
                      <a:pt x="468" y="185"/>
                      <a:pt x="468" y="185"/>
                      <a:pt x="468" y="185"/>
                    </a:cubicBezTo>
                    <a:cubicBezTo>
                      <a:pt x="468" y="186"/>
                      <a:pt x="468" y="187"/>
                      <a:pt x="468" y="187"/>
                    </a:cubicBezTo>
                    <a:cubicBezTo>
                      <a:pt x="468" y="187"/>
                      <a:pt x="468" y="187"/>
                      <a:pt x="468" y="187"/>
                    </a:cubicBezTo>
                    <a:cubicBezTo>
                      <a:pt x="469" y="188"/>
                      <a:pt x="468" y="189"/>
                      <a:pt x="469" y="189"/>
                    </a:cubicBezTo>
                    <a:cubicBezTo>
                      <a:pt x="469" y="189"/>
                      <a:pt x="469" y="189"/>
                      <a:pt x="469" y="189"/>
                    </a:cubicBezTo>
                    <a:cubicBezTo>
                      <a:pt x="469" y="190"/>
                      <a:pt x="469" y="191"/>
                      <a:pt x="470" y="191"/>
                    </a:cubicBezTo>
                    <a:cubicBezTo>
                      <a:pt x="470" y="191"/>
                      <a:pt x="470" y="191"/>
                      <a:pt x="470" y="191"/>
                    </a:cubicBezTo>
                    <a:cubicBezTo>
                      <a:pt x="470" y="192"/>
                      <a:pt x="470" y="193"/>
                      <a:pt x="470" y="193"/>
                    </a:cubicBezTo>
                    <a:cubicBezTo>
                      <a:pt x="470" y="193"/>
                      <a:pt x="470" y="193"/>
                      <a:pt x="470" y="193"/>
                    </a:cubicBezTo>
                    <a:cubicBezTo>
                      <a:pt x="471" y="194"/>
                      <a:pt x="470" y="195"/>
                      <a:pt x="471" y="195"/>
                    </a:cubicBezTo>
                    <a:cubicBezTo>
                      <a:pt x="471" y="195"/>
                      <a:pt x="471" y="195"/>
                      <a:pt x="471" y="195"/>
                    </a:cubicBezTo>
                    <a:cubicBezTo>
                      <a:pt x="471" y="196"/>
                      <a:pt x="471" y="196"/>
                      <a:pt x="471" y="196"/>
                    </a:cubicBezTo>
                    <a:cubicBezTo>
                      <a:pt x="471" y="196"/>
                      <a:pt x="471" y="197"/>
                      <a:pt x="471" y="197"/>
                    </a:cubicBezTo>
                    <a:cubicBezTo>
                      <a:pt x="471" y="197"/>
                      <a:pt x="471" y="197"/>
                      <a:pt x="471" y="198"/>
                    </a:cubicBezTo>
                    <a:cubicBezTo>
                      <a:pt x="472" y="198"/>
                      <a:pt x="471" y="199"/>
                      <a:pt x="472" y="199"/>
                    </a:cubicBezTo>
                    <a:cubicBezTo>
                      <a:pt x="472" y="200"/>
                      <a:pt x="472" y="200"/>
                      <a:pt x="472" y="200"/>
                    </a:cubicBezTo>
                    <a:cubicBezTo>
                      <a:pt x="472" y="200"/>
                      <a:pt x="472" y="200"/>
                      <a:pt x="472" y="200"/>
                    </a:cubicBezTo>
                    <a:cubicBezTo>
                      <a:pt x="472" y="200"/>
                      <a:pt x="472" y="201"/>
                      <a:pt x="472" y="201"/>
                    </a:cubicBezTo>
                    <a:cubicBezTo>
                      <a:pt x="472" y="201"/>
                      <a:pt x="473" y="201"/>
                      <a:pt x="472" y="202"/>
                    </a:cubicBezTo>
                    <a:cubicBezTo>
                      <a:pt x="473" y="202"/>
                      <a:pt x="472" y="203"/>
                      <a:pt x="473" y="203"/>
                    </a:cubicBezTo>
                    <a:cubicBezTo>
                      <a:pt x="473" y="204"/>
                      <a:pt x="473" y="204"/>
                      <a:pt x="473" y="204"/>
                    </a:cubicBezTo>
                    <a:cubicBezTo>
                      <a:pt x="473" y="204"/>
                      <a:pt x="473" y="204"/>
                      <a:pt x="473" y="204"/>
                    </a:cubicBezTo>
                    <a:cubicBezTo>
                      <a:pt x="473" y="204"/>
                      <a:pt x="473" y="205"/>
                      <a:pt x="474" y="206"/>
                    </a:cubicBezTo>
                    <a:cubicBezTo>
                      <a:pt x="474" y="206"/>
                      <a:pt x="474" y="206"/>
                      <a:pt x="474" y="206"/>
                    </a:cubicBezTo>
                    <a:cubicBezTo>
                      <a:pt x="474" y="207"/>
                      <a:pt x="475" y="207"/>
                      <a:pt x="476" y="207"/>
                    </a:cubicBezTo>
                    <a:cubicBezTo>
                      <a:pt x="482" y="207"/>
                      <a:pt x="488" y="207"/>
                      <a:pt x="494" y="207"/>
                    </a:cubicBezTo>
                    <a:cubicBezTo>
                      <a:pt x="495" y="207"/>
                      <a:pt x="496" y="207"/>
                      <a:pt x="496" y="207"/>
                    </a:cubicBezTo>
                    <a:cubicBezTo>
                      <a:pt x="496" y="206"/>
                      <a:pt x="496" y="206"/>
                      <a:pt x="496" y="206"/>
                    </a:cubicBezTo>
                    <a:cubicBezTo>
                      <a:pt x="496" y="206"/>
                      <a:pt x="496" y="205"/>
                      <a:pt x="497" y="205"/>
                    </a:cubicBezTo>
                    <a:cubicBezTo>
                      <a:pt x="497" y="205"/>
                      <a:pt x="497" y="205"/>
                      <a:pt x="497" y="205"/>
                    </a:cubicBezTo>
                    <a:cubicBezTo>
                      <a:pt x="497" y="204"/>
                      <a:pt x="497" y="203"/>
                      <a:pt x="497" y="203"/>
                    </a:cubicBezTo>
                    <a:cubicBezTo>
                      <a:pt x="497" y="202"/>
                      <a:pt x="497" y="202"/>
                      <a:pt x="497" y="202"/>
                    </a:cubicBezTo>
                    <a:cubicBezTo>
                      <a:pt x="498" y="202"/>
                      <a:pt x="497" y="201"/>
                      <a:pt x="498" y="200"/>
                    </a:cubicBezTo>
                    <a:cubicBezTo>
                      <a:pt x="498" y="200"/>
                      <a:pt x="498" y="200"/>
                      <a:pt x="498" y="200"/>
                    </a:cubicBezTo>
                    <a:cubicBezTo>
                      <a:pt x="498" y="200"/>
                      <a:pt x="498" y="199"/>
                      <a:pt x="498" y="199"/>
                    </a:cubicBezTo>
                    <a:cubicBezTo>
                      <a:pt x="498" y="198"/>
                      <a:pt x="498" y="198"/>
                      <a:pt x="498" y="198"/>
                    </a:cubicBezTo>
                    <a:cubicBezTo>
                      <a:pt x="498" y="198"/>
                      <a:pt x="498" y="198"/>
                      <a:pt x="498" y="198"/>
                    </a:cubicBezTo>
                    <a:cubicBezTo>
                      <a:pt x="499" y="198"/>
                      <a:pt x="498" y="197"/>
                      <a:pt x="499" y="196"/>
                    </a:cubicBezTo>
                    <a:cubicBezTo>
                      <a:pt x="499" y="196"/>
                      <a:pt x="499" y="196"/>
                      <a:pt x="499" y="196"/>
                    </a:cubicBezTo>
                    <a:cubicBezTo>
                      <a:pt x="499" y="195"/>
                      <a:pt x="499" y="195"/>
                      <a:pt x="499" y="195"/>
                    </a:cubicBezTo>
                    <a:cubicBezTo>
                      <a:pt x="499" y="194"/>
                      <a:pt x="499" y="194"/>
                      <a:pt x="499" y="194"/>
                    </a:cubicBezTo>
                    <a:cubicBezTo>
                      <a:pt x="499" y="194"/>
                      <a:pt x="499" y="194"/>
                      <a:pt x="499" y="194"/>
                    </a:cubicBezTo>
                    <a:cubicBezTo>
                      <a:pt x="500" y="194"/>
                      <a:pt x="500" y="193"/>
                      <a:pt x="500" y="192"/>
                    </a:cubicBezTo>
                    <a:cubicBezTo>
                      <a:pt x="500" y="192"/>
                      <a:pt x="500" y="192"/>
                      <a:pt x="500" y="192"/>
                    </a:cubicBezTo>
                    <a:cubicBezTo>
                      <a:pt x="500" y="191"/>
                      <a:pt x="500" y="191"/>
                      <a:pt x="501" y="190"/>
                    </a:cubicBezTo>
                    <a:cubicBezTo>
                      <a:pt x="500" y="190"/>
                      <a:pt x="500" y="190"/>
                      <a:pt x="500" y="190"/>
                    </a:cubicBezTo>
                    <a:cubicBezTo>
                      <a:pt x="501" y="190"/>
                      <a:pt x="501" y="190"/>
                      <a:pt x="501" y="190"/>
                    </a:cubicBezTo>
                    <a:cubicBezTo>
                      <a:pt x="501" y="190"/>
                      <a:pt x="501" y="189"/>
                      <a:pt x="501" y="188"/>
                    </a:cubicBezTo>
                    <a:cubicBezTo>
                      <a:pt x="501" y="188"/>
                      <a:pt x="501" y="188"/>
                      <a:pt x="501" y="188"/>
                    </a:cubicBezTo>
                    <a:cubicBezTo>
                      <a:pt x="502" y="187"/>
                      <a:pt x="501" y="187"/>
                      <a:pt x="502" y="186"/>
                    </a:cubicBezTo>
                    <a:cubicBezTo>
                      <a:pt x="502" y="186"/>
                      <a:pt x="502" y="186"/>
                      <a:pt x="502" y="186"/>
                    </a:cubicBezTo>
                    <a:cubicBezTo>
                      <a:pt x="502" y="186"/>
                      <a:pt x="502" y="185"/>
                      <a:pt x="502" y="184"/>
                    </a:cubicBezTo>
                    <a:cubicBezTo>
                      <a:pt x="502" y="184"/>
                      <a:pt x="502" y="184"/>
                      <a:pt x="502" y="184"/>
                    </a:cubicBezTo>
                    <a:cubicBezTo>
                      <a:pt x="503" y="183"/>
                      <a:pt x="502" y="183"/>
                      <a:pt x="503" y="182"/>
                    </a:cubicBezTo>
                    <a:cubicBezTo>
                      <a:pt x="503" y="182"/>
                      <a:pt x="503" y="182"/>
                      <a:pt x="503" y="182"/>
                    </a:cubicBezTo>
                    <a:cubicBezTo>
                      <a:pt x="503" y="182"/>
                      <a:pt x="503" y="181"/>
                      <a:pt x="503" y="180"/>
                    </a:cubicBezTo>
                    <a:cubicBezTo>
                      <a:pt x="503" y="180"/>
                      <a:pt x="503" y="180"/>
                      <a:pt x="503" y="180"/>
                    </a:cubicBezTo>
                    <a:cubicBezTo>
                      <a:pt x="504" y="179"/>
                      <a:pt x="504" y="179"/>
                      <a:pt x="504" y="178"/>
                    </a:cubicBezTo>
                    <a:cubicBezTo>
                      <a:pt x="504" y="178"/>
                      <a:pt x="504" y="178"/>
                      <a:pt x="504" y="178"/>
                    </a:cubicBezTo>
                    <a:cubicBezTo>
                      <a:pt x="505" y="178"/>
                      <a:pt x="504" y="177"/>
                      <a:pt x="505" y="176"/>
                    </a:cubicBezTo>
                    <a:cubicBezTo>
                      <a:pt x="504" y="176"/>
                      <a:pt x="504" y="176"/>
                      <a:pt x="505" y="176"/>
                    </a:cubicBezTo>
                    <a:cubicBezTo>
                      <a:pt x="505" y="175"/>
                      <a:pt x="505" y="174"/>
                      <a:pt x="505" y="174"/>
                    </a:cubicBezTo>
                    <a:cubicBezTo>
                      <a:pt x="505" y="174"/>
                      <a:pt x="505" y="174"/>
                      <a:pt x="505" y="173"/>
                    </a:cubicBezTo>
                    <a:cubicBezTo>
                      <a:pt x="506" y="173"/>
                      <a:pt x="506" y="173"/>
                      <a:pt x="506" y="172"/>
                    </a:cubicBezTo>
                    <a:cubicBezTo>
                      <a:pt x="506" y="172"/>
                      <a:pt x="506" y="172"/>
                      <a:pt x="506" y="172"/>
                    </a:cubicBezTo>
                    <a:cubicBezTo>
                      <a:pt x="506" y="172"/>
                      <a:pt x="506" y="172"/>
                      <a:pt x="506" y="172"/>
                    </a:cubicBezTo>
                    <a:cubicBezTo>
                      <a:pt x="506" y="171"/>
                      <a:pt x="506" y="170"/>
                      <a:pt x="506" y="170"/>
                    </a:cubicBezTo>
                    <a:cubicBezTo>
                      <a:pt x="506" y="170"/>
                      <a:pt x="506" y="170"/>
                      <a:pt x="506" y="169"/>
                    </a:cubicBezTo>
                    <a:cubicBezTo>
                      <a:pt x="507" y="169"/>
                      <a:pt x="507" y="169"/>
                      <a:pt x="507" y="168"/>
                    </a:cubicBezTo>
                    <a:cubicBezTo>
                      <a:pt x="507" y="168"/>
                      <a:pt x="507" y="168"/>
                      <a:pt x="507" y="168"/>
                    </a:cubicBezTo>
                    <a:cubicBezTo>
                      <a:pt x="507" y="168"/>
                      <a:pt x="507" y="168"/>
                      <a:pt x="507" y="168"/>
                    </a:cubicBezTo>
                    <a:cubicBezTo>
                      <a:pt x="507" y="167"/>
                      <a:pt x="507" y="166"/>
                      <a:pt x="507" y="166"/>
                    </a:cubicBezTo>
                    <a:cubicBezTo>
                      <a:pt x="507" y="166"/>
                      <a:pt x="507" y="166"/>
                      <a:pt x="508" y="165"/>
                    </a:cubicBezTo>
                    <a:cubicBezTo>
                      <a:pt x="508" y="165"/>
                      <a:pt x="508" y="164"/>
                      <a:pt x="508" y="164"/>
                    </a:cubicBezTo>
                    <a:cubicBezTo>
                      <a:pt x="508" y="164"/>
                      <a:pt x="508" y="164"/>
                      <a:pt x="508" y="164"/>
                    </a:cubicBezTo>
                    <a:cubicBezTo>
                      <a:pt x="508" y="164"/>
                      <a:pt x="508" y="164"/>
                      <a:pt x="508" y="164"/>
                    </a:cubicBezTo>
                    <a:cubicBezTo>
                      <a:pt x="509" y="163"/>
                      <a:pt x="508" y="162"/>
                      <a:pt x="509" y="162"/>
                    </a:cubicBezTo>
                    <a:cubicBezTo>
                      <a:pt x="508" y="162"/>
                      <a:pt x="509" y="161"/>
                      <a:pt x="509" y="161"/>
                    </a:cubicBezTo>
                    <a:cubicBezTo>
                      <a:pt x="509" y="161"/>
                      <a:pt x="509" y="160"/>
                      <a:pt x="509" y="160"/>
                    </a:cubicBezTo>
                    <a:cubicBezTo>
                      <a:pt x="509" y="160"/>
                      <a:pt x="509" y="160"/>
                      <a:pt x="509" y="160"/>
                    </a:cubicBezTo>
                    <a:cubicBezTo>
                      <a:pt x="510" y="159"/>
                      <a:pt x="509" y="158"/>
                      <a:pt x="510" y="158"/>
                    </a:cubicBezTo>
                    <a:cubicBezTo>
                      <a:pt x="510" y="158"/>
                      <a:pt x="510" y="157"/>
                      <a:pt x="510" y="157"/>
                    </a:cubicBezTo>
                    <a:cubicBezTo>
                      <a:pt x="510" y="157"/>
                      <a:pt x="510" y="156"/>
                      <a:pt x="510" y="156"/>
                    </a:cubicBezTo>
                    <a:cubicBezTo>
                      <a:pt x="510" y="156"/>
                      <a:pt x="510" y="156"/>
                      <a:pt x="510" y="156"/>
                    </a:cubicBezTo>
                    <a:cubicBezTo>
                      <a:pt x="511" y="155"/>
                      <a:pt x="511" y="154"/>
                      <a:pt x="511" y="154"/>
                    </a:cubicBezTo>
                    <a:cubicBezTo>
                      <a:pt x="511" y="154"/>
                      <a:pt x="511" y="153"/>
                      <a:pt x="511" y="153"/>
                    </a:cubicBezTo>
                    <a:cubicBezTo>
                      <a:pt x="511" y="153"/>
                      <a:pt x="511" y="152"/>
                      <a:pt x="511" y="152"/>
                    </a:cubicBezTo>
                    <a:cubicBezTo>
                      <a:pt x="511" y="151"/>
                      <a:pt x="511" y="151"/>
                      <a:pt x="512" y="151"/>
                    </a:cubicBezTo>
                    <a:cubicBezTo>
                      <a:pt x="512" y="151"/>
                      <a:pt x="512" y="150"/>
                      <a:pt x="512" y="150"/>
                    </a:cubicBezTo>
                    <a:cubicBezTo>
                      <a:pt x="512" y="149"/>
                      <a:pt x="512" y="149"/>
                      <a:pt x="512" y="149"/>
                    </a:cubicBezTo>
                    <a:cubicBezTo>
                      <a:pt x="512" y="149"/>
                      <a:pt x="512" y="149"/>
                      <a:pt x="512" y="149"/>
                    </a:cubicBezTo>
                    <a:cubicBezTo>
                      <a:pt x="513" y="149"/>
                      <a:pt x="512" y="148"/>
                      <a:pt x="513" y="147"/>
                    </a:cubicBezTo>
                    <a:cubicBezTo>
                      <a:pt x="513" y="147"/>
                      <a:pt x="513" y="147"/>
                      <a:pt x="513" y="147"/>
                    </a:cubicBezTo>
                    <a:cubicBezTo>
                      <a:pt x="513" y="147"/>
                      <a:pt x="513" y="146"/>
                      <a:pt x="513" y="146"/>
                    </a:cubicBezTo>
                    <a:cubicBezTo>
                      <a:pt x="513" y="145"/>
                      <a:pt x="513" y="145"/>
                      <a:pt x="513" y="145"/>
                    </a:cubicBezTo>
                    <a:cubicBezTo>
                      <a:pt x="513" y="145"/>
                      <a:pt x="513" y="145"/>
                      <a:pt x="513" y="145"/>
                    </a:cubicBezTo>
                    <a:cubicBezTo>
                      <a:pt x="514" y="145"/>
                      <a:pt x="513" y="144"/>
                      <a:pt x="514" y="143"/>
                    </a:cubicBezTo>
                    <a:cubicBezTo>
                      <a:pt x="514" y="143"/>
                      <a:pt x="514" y="143"/>
                      <a:pt x="514" y="143"/>
                    </a:cubicBezTo>
                    <a:cubicBezTo>
                      <a:pt x="514" y="143"/>
                      <a:pt x="514" y="142"/>
                      <a:pt x="514" y="142"/>
                    </a:cubicBezTo>
                    <a:cubicBezTo>
                      <a:pt x="514" y="141"/>
                      <a:pt x="514" y="141"/>
                      <a:pt x="514" y="141"/>
                    </a:cubicBezTo>
                    <a:cubicBezTo>
                      <a:pt x="514" y="141"/>
                      <a:pt x="514" y="141"/>
                      <a:pt x="514" y="141"/>
                    </a:cubicBezTo>
                    <a:cubicBezTo>
                      <a:pt x="515" y="141"/>
                      <a:pt x="515" y="140"/>
                      <a:pt x="515" y="139"/>
                    </a:cubicBezTo>
                    <a:cubicBezTo>
                      <a:pt x="515" y="139"/>
                      <a:pt x="515" y="139"/>
                      <a:pt x="515" y="139"/>
                    </a:cubicBezTo>
                    <a:cubicBezTo>
                      <a:pt x="515" y="138"/>
                      <a:pt x="515" y="138"/>
                      <a:pt x="516" y="137"/>
                    </a:cubicBezTo>
                    <a:cubicBezTo>
                      <a:pt x="516" y="137"/>
                      <a:pt x="516" y="137"/>
                      <a:pt x="516" y="137"/>
                    </a:cubicBezTo>
                    <a:cubicBezTo>
                      <a:pt x="516" y="137"/>
                      <a:pt x="516" y="136"/>
                      <a:pt x="516" y="135"/>
                    </a:cubicBezTo>
                    <a:cubicBezTo>
                      <a:pt x="516" y="135"/>
                      <a:pt x="516" y="135"/>
                      <a:pt x="516" y="135"/>
                    </a:cubicBezTo>
                    <a:cubicBezTo>
                      <a:pt x="517" y="134"/>
                      <a:pt x="516" y="134"/>
                      <a:pt x="517" y="133"/>
                    </a:cubicBezTo>
                    <a:cubicBezTo>
                      <a:pt x="517" y="133"/>
                      <a:pt x="517" y="133"/>
                      <a:pt x="517" y="133"/>
                    </a:cubicBezTo>
                    <a:cubicBezTo>
                      <a:pt x="517" y="133"/>
                      <a:pt x="517" y="132"/>
                      <a:pt x="517" y="131"/>
                    </a:cubicBezTo>
                    <a:cubicBezTo>
                      <a:pt x="517" y="131"/>
                      <a:pt x="517" y="131"/>
                      <a:pt x="517" y="131"/>
                    </a:cubicBezTo>
                    <a:cubicBezTo>
                      <a:pt x="518" y="130"/>
                      <a:pt x="517" y="130"/>
                      <a:pt x="518" y="129"/>
                    </a:cubicBezTo>
                    <a:cubicBezTo>
                      <a:pt x="518" y="129"/>
                      <a:pt x="518" y="129"/>
                      <a:pt x="518" y="129"/>
                    </a:cubicBezTo>
                    <a:cubicBezTo>
                      <a:pt x="518" y="129"/>
                      <a:pt x="518" y="128"/>
                      <a:pt x="518" y="127"/>
                    </a:cubicBezTo>
                    <a:cubicBezTo>
                      <a:pt x="518" y="127"/>
                      <a:pt x="518" y="127"/>
                      <a:pt x="518" y="127"/>
                    </a:cubicBezTo>
                    <a:cubicBezTo>
                      <a:pt x="519" y="126"/>
                      <a:pt x="519" y="126"/>
                      <a:pt x="519" y="125"/>
                    </a:cubicBezTo>
                    <a:cubicBezTo>
                      <a:pt x="519" y="125"/>
                      <a:pt x="519" y="125"/>
                      <a:pt x="519" y="125"/>
                    </a:cubicBezTo>
                    <a:cubicBezTo>
                      <a:pt x="519" y="124"/>
                      <a:pt x="519" y="124"/>
                      <a:pt x="520" y="123"/>
                    </a:cubicBezTo>
                    <a:cubicBezTo>
                      <a:pt x="519" y="123"/>
                      <a:pt x="519" y="123"/>
                      <a:pt x="519" y="123"/>
                    </a:cubicBezTo>
                    <a:cubicBezTo>
                      <a:pt x="520" y="123"/>
                      <a:pt x="520" y="123"/>
                      <a:pt x="520" y="123"/>
                    </a:cubicBezTo>
                    <a:cubicBezTo>
                      <a:pt x="520" y="122"/>
                      <a:pt x="520" y="122"/>
                      <a:pt x="520" y="121"/>
                    </a:cubicBezTo>
                    <a:cubicBezTo>
                      <a:pt x="520" y="121"/>
                      <a:pt x="520" y="121"/>
                      <a:pt x="520" y="120"/>
                    </a:cubicBezTo>
                    <a:cubicBezTo>
                      <a:pt x="520" y="120"/>
                      <a:pt x="521" y="120"/>
                      <a:pt x="521" y="119"/>
                    </a:cubicBezTo>
                    <a:cubicBezTo>
                      <a:pt x="521" y="119"/>
                      <a:pt x="521" y="119"/>
                      <a:pt x="521" y="119"/>
                    </a:cubicBezTo>
                    <a:cubicBezTo>
                      <a:pt x="521" y="119"/>
                      <a:pt x="521" y="119"/>
                      <a:pt x="521" y="119"/>
                    </a:cubicBezTo>
                    <a:cubicBezTo>
                      <a:pt x="521" y="118"/>
                      <a:pt x="521" y="117"/>
                      <a:pt x="521" y="117"/>
                    </a:cubicBezTo>
                    <a:cubicBezTo>
                      <a:pt x="521" y="117"/>
                      <a:pt x="521" y="117"/>
                      <a:pt x="521" y="116"/>
                    </a:cubicBezTo>
                    <a:cubicBezTo>
                      <a:pt x="522" y="116"/>
                      <a:pt x="522" y="116"/>
                      <a:pt x="522" y="115"/>
                    </a:cubicBezTo>
                    <a:cubicBezTo>
                      <a:pt x="522" y="115"/>
                      <a:pt x="522" y="115"/>
                      <a:pt x="522" y="115"/>
                    </a:cubicBezTo>
                    <a:cubicBezTo>
                      <a:pt x="522" y="115"/>
                      <a:pt x="522" y="115"/>
                      <a:pt x="522" y="115"/>
                    </a:cubicBezTo>
                    <a:cubicBezTo>
                      <a:pt x="522" y="114"/>
                      <a:pt x="522" y="113"/>
                      <a:pt x="522" y="113"/>
                    </a:cubicBezTo>
                    <a:cubicBezTo>
                      <a:pt x="522" y="113"/>
                      <a:pt x="522" y="113"/>
                      <a:pt x="523" y="112"/>
                    </a:cubicBezTo>
                    <a:cubicBezTo>
                      <a:pt x="523" y="112"/>
                      <a:pt x="523" y="111"/>
                      <a:pt x="523" y="111"/>
                    </a:cubicBezTo>
                    <a:cubicBezTo>
                      <a:pt x="523" y="111"/>
                      <a:pt x="523" y="111"/>
                      <a:pt x="523" y="111"/>
                    </a:cubicBezTo>
                    <a:cubicBezTo>
                      <a:pt x="524" y="110"/>
                      <a:pt x="523" y="109"/>
                      <a:pt x="524" y="109"/>
                    </a:cubicBezTo>
                    <a:cubicBezTo>
                      <a:pt x="523" y="109"/>
                      <a:pt x="523" y="109"/>
                      <a:pt x="524" y="108"/>
                    </a:cubicBezTo>
                    <a:cubicBezTo>
                      <a:pt x="524" y="108"/>
                      <a:pt x="524" y="107"/>
                      <a:pt x="524" y="107"/>
                    </a:cubicBezTo>
                    <a:cubicBezTo>
                      <a:pt x="524" y="107"/>
                      <a:pt x="524" y="107"/>
                      <a:pt x="524" y="107"/>
                    </a:cubicBezTo>
                    <a:cubicBezTo>
                      <a:pt x="525" y="106"/>
                      <a:pt x="524" y="105"/>
                      <a:pt x="525" y="105"/>
                    </a:cubicBezTo>
                    <a:cubicBezTo>
                      <a:pt x="525" y="105"/>
                      <a:pt x="525" y="104"/>
                      <a:pt x="525" y="104"/>
                    </a:cubicBezTo>
                    <a:cubicBezTo>
                      <a:pt x="525" y="104"/>
                      <a:pt x="525" y="103"/>
                      <a:pt x="525" y="103"/>
                    </a:cubicBezTo>
                    <a:cubicBezTo>
                      <a:pt x="525" y="103"/>
                      <a:pt x="525" y="103"/>
                      <a:pt x="525" y="103"/>
                    </a:cubicBezTo>
                    <a:cubicBezTo>
                      <a:pt x="526" y="102"/>
                      <a:pt x="526" y="101"/>
                      <a:pt x="526" y="101"/>
                    </a:cubicBezTo>
                    <a:cubicBezTo>
                      <a:pt x="526" y="100"/>
                      <a:pt x="526" y="100"/>
                      <a:pt x="526" y="100"/>
                    </a:cubicBezTo>
                    <a:cubicBezTo>
                      <a:pt x="526" y="100"/>
                      <a:pt x="526" y="100"/>
                      <a:pt x="526" y="100"/>
                    </a:cubicBezTo>
                    <a:cubicBezTo>
                      <a:pt x="526" y="100"/>
                      <a:pt x="526" y="99"/>
                      <a:pt x="526" y="99"/>
                    </a:cubicBezTo>
                    <a:cubicBezTo>
                      <a:pt x="526" y="98"/>
                      <a:pt x="526" y="98"/>
                      <a:pt x="527" y="98"/>
                    </a:cubicBezTo>
                    <a:cubicBezTo>
                      <a:pt x="527" y="98"/>
                      <a:pt x="527" y="97"/>
                      <a:pt x="527" y="97"/>
                    </a:cubicBezTo>
                    <a:cubicBezTo>
                      <a:pt x="527" y="96"/>
                      <a:pt x="527" y="96"/>
                      <a:pt x="527" y="96"/>
                    </a:cubicBezTo>
                    <a:cubicBezTo>
                      <a:pt x="527" y="96"/>
                      <a:pt x="527" y="96"/>
                      <a:pt x="527" y="96"/>
                    </a:cubicBezTo>
                    <a:cubicBezTo>
                      <a:pt x="528" y="96"/>
                      <a:pt x="527" y="95"/>
                      <a:pt x="528" y="94"/>
                    </a:cubicBezTo>
                    <a:cubicBezTo>
                      <a:pt x="528" y="94"/>
                      <a:pt x="528" y="94"/>
                      <a:pt x="528" y="94"/>
                    </a:cubicBezTo>
                    <a:cubicBezTo>
                      <a:pt x="528" y="94"/>
                      <a:pt x="528" y="93"/>
                      <a:pt x="528" y="93"/>
                    </a:cubicBezTo>
                    <a:cubicBezTo>
                      <a:pt x="528" y="92"/>
                      <a:pt x="528" y="92"/>
                      <a:pt x="528" y="92"/>
                    </a:cubicBezTo>
                    <a:cubicBezTo>
                      <a:pt x="528" y="92"/>
                      <a:pt x="528" y="92"/>
                      <a:pt x="528" y="92"/>
                    </a:cubicBezTo>
                    <a:cubicBezTo>
                      <a:pt x="529" y="92"/>
                      <a:pt x="528" y="91"/>
                      <a:pt x="529" y="90"/>
                    </a:cubicBezTo>
                    <a:cubicBezTo>
                      <a:pt x="529" y="90"/>
                      <a:pt x="529" y="90"/>
                      <a:pt x="529" y="90"/>
                    </a:cubicBezTo>
                    <a:cubicBezTo>
                      <a:pt x="529" y="89"/>
                      <a:pt x="529" y="89"/>
                      <a:pt x="529" y="88"/>
                    </a:cubicBezTo>
                    <a:cubicBezTo>
                      <a:pt x="529" y="88"/>
                      <a:pt x="529" y="88"/>
                      <a:pt x="529" y="88"/>
                    </a:cubicBezTo>
                    <a:cubicBezTo>
                      <a:pt x="530" y="88"/>
                      <a:pt x="530" y="87"/>
                      <a:pt x="530" y="86"/>
                    </a:cubicBezTo>
                    <a:cubicBezTo>
                      <a:pt x="530" y="86"/>
                      <a:pt x="530" y="86"/>
                      <a:pt x="530" y="86"/>
                    </a:cubicBezTo>
                    <a:cubicBezTo>
                      <a:pt x="530" y="85"/>
                      <a:pt x="530" y="85"/>
                      <a:pt x="531" y="84"/>
                    </a:cubicBezTo>
                    <a:cubicBezTo>
                      <a:pt x="531" y="84"/>
                      <a:pt x="531" y="84"/>
                      <a:pt x="531" y="84"/>
                    </a:cubicBezTo>
                    <a:cubicBezTo>
                      <a:pt x="531" y="84"/>
                      <a:pt x="531" y="83"/>
                      <a:pt x="531" y="82"/>
                    </a:cubicBezTo>
                    <a:cubicBezTo>
                      <a:pt x="531" y="82"/>
                      <a:pt x="531" y="82"/>
                      <a:pt x="531" y="82"/>
                    </a:cubicBezTo>
                    <a:cubicBezTo>
                      <a:pt x="532" y="81"/>
                      <a:pt x="531" y="81"/>
                      <a:pt x="532" y="80"/>
                    </a:cubicBezTo>
                    <a:cubicBezTo>
                      <a:pt x="532" y="80"/>
                      <a:pt x="532" y="80"/>
                      <a:pt x="532" y="80"/>
                    </a:cubicBezTo>
                    <a:cubicBezTo>
                      <a:pt x="532" y="80"/>
                      <a:pt x="532" y="79"/>
                      <a:pt x="532" y="78"/>
                    </a:cubicBezTo>
                    <a:cubicBezTo>
                      <a:pt x="532" y="78"/>
                      <a:pt x="532" y="78"/>
                      <a:pt x="532" y="78"/>
                    </a:cubicBezTo>
                    <a:cubicBezTo>
                      <a:pt x="533" y="77"/>
                      <a:pt x="532" y="77"/>
                      <a:pt x="533" y="76"/>
                    </a:cubicBezTo>
                    <a:cubicBezTo>
                      <a:pt x="533" y="76"/>
                      <a:pt x="533" y="76"/>
                      <a:pt x="533" y="76"/>
                    </a:cubicBezTo>
                    <a:cubicBezTo>
                      <a:pt x="533" y="75"/>
                      <a:pt x="533" y="75"/>
                      <a:pt x="533" y="74"/>
                    </a:cubicBezTo>
                    <a:cubicBezTo>
                      <a:pt x="533" y="74"/>
                      <a:pt x="533" y="74"/>
                      <a:pt x="533" y="74"/>
                    </a:cubicBezTo>
                    <a:cubicBezTo>
                      <a:pt x="533" y="74"/>
                      <a:pt x="533" y="74"/>
                      <a:pt x="533" y="74"/>
                    </a:cubicBezTo>
                    <a:cubicBezTo>
                      <a:pt x="534" y="73"/>
                      <a:pt x="534" y="73"/>
                      <a:pt x="534" y="72"/>
                    </a:cubicBezTo>
                    <a:cubicBezTo>
                      <a:pt x="534" y="72"/>
                      <a:pt x="534" y="72"/>
                      <a:pt x="534" y="72"/>
                    </a:cubicBezTo>
                    <a:cubicBezTo>
                      <a:pt x="534" y="71"/>
                      <a:pt x="534" y="71"/>
                      <a:pt x="534" y="70"/>
                    </a:cubicBezTo>
                    <a:cubicBezTo>
                      <a:pt x="534" y="70"/>
                      <a:pt x="534" y="70"/>
                      <a:pt x="534" y="70"/>
                    </a:cubicBezTo>
                    <a:cubicBezTo>
                      <a:pt x="535" y="70"/>
                      <a:pt x="535" y="70"/>
                      <a:pt x="535" y="70"/>
                    </a:cubicBezTo>
                    <a:cubicBezTo>
                      <a:pt x="535" y="69"/>
                      <a:pt x="535" y="69"/>
                      <a:pt x="535" y="68"/>
                    </a:cubicBezTo>
                    <a:cubicBezTo>
                      <a:pt x="535" y="68"/>
                      <a:pt x="535" y="68"/>
                      <a:pt x="535" y="68"/>
                    </a:cubicBezTo>
                    <a:cubicBezTo>
                      <a:pt x="535" y="67"/>
                      <a:pt x="536" y="67"/>
                      <a:pt x="536" y="66"/>
                    </a:cubicBezTo>
                    <a:cubicBezTo>
                      <a:pt x="536" y="66"/>
                      <a:pt x="536" y="66"/>
                      <a:pt x="536" y="66"/>
                    </a:cubicBezTo>
                    <a:cubicBezTo>
                      <a:pt x="536" y="66"/>
                      <a:pt x="536" y="66"/>
                      <a:pt x="536" y="66"/>
                    </a:cubicBezTo>
                    <a:cubicBezTo>
                      <a:pt x="536" y="65"/>
                      <a:pt x="536" y="64"/>
                      <a:pt x="536" y="64"/>
                    </a:cubicBezTo>
                    <a:cubicBezTo>
                      <a:pt x="536" y="64"/>
                      <a:pt x="536" y="64"/>
                      <a:pt x="536" y="63"/>
                    </a:cubicBezTo>
                    <a:cubicBezTo>
                      <a:pt x="537" y="63"/>
                      <a:pt x="536" y="62"/>
                      <a:pt x="537" y="62"/>
                    </a:cubicBezTo>
                    <a:cubicBezTo>
                      <a:pt x="537" y="62"/>
                      <a:pt x="537" y="62"/>
                      <a:pt x="537" y="62"/>
                    </a:cubicBezTo>
                    <a:cubicBezTo>
                      <a:pt x="537" y="61"/>
                      <a:pt x="537" y="60"/>
                      <a:pt x="537" y="60"/>
                    </a:cubicBezTo>
                    <a:cubicBezTo>
                      <a:pt x="537" y="60"/>
                      <a:pt x="537" y="60"/>
                      <a:pt x="537" y="59"/>
                    </a:cubicBezTo>
                    <a:cubicBezTo>
                      <a:pt x="538" y="59"/>
                      <a:pt x="538" y="58"/>
                      <a:pt x="538" y="58"/>
                    </a:cubicBezTo>
                    <a:cubicBezTo>
                      <a:pt x="538" y="58"/>
                      <a:pt x="538" y="58"/>
                      <a:pt x="538" y="58"/>
                    </a:cubicBezTo>
                    <a:cubicBezTo>
                      <a:pt x="539" y="57"/>
                      <a:pt x="538" y="56"/>
                      <a:pt x="539" y="56"/>
                    </a:cubicBezTo>
                    <a:cubicBezTo>
                      <a:pt x="538" y="56"/>
                      <a:pt x="538" y="56"/>
                      <a:pt x="539" y="55"/>
                    </a:cubicBezTo>
                    <a:cubicBezTo>
                      <a:pt x="539" y="55"/>
                      <a:pt x="539" y="54"/>
                      <a:pt x="539" y="54"/>
                    </a:cubicBezTo>
                    <a:cubicBezTo>
                      <a:pt x="539" y="54"/>
                      <a:pt x="539" y="54"/>
                      <a:pt x="539" y="54"/>
                    </a:cubicBezTo>
                    <a:cubicBezTo>
                      <a:pt x="540" y="52"/>
                      <a:pt x="539" y="51"/>
                      <a:pt x="537" y="51"/>
                    </a:cubicBezTo>
                    <a:cubicBezTo>
                      <a:pt x="534" y="51"/>
                      <a:pt x="530" y="51"/>
                      <a:pt x="527" y="51"/>
                    </a:cubicBezTo>
                    <a:cubicBezTo>
                      <a:pt x="525" y="51"/>
                      <a:pt x="522" y="51"/>
                      <a:pt x="520" y="52"/>
                    </a:cubicBezTo>
                    <a:cubicBezTo>
                      <a:pt x="520" y="51"/>
                      <a:pt x="520" y="51"/>
                      <a:pt x="520" y="51"/>
                    </a:cubicBezTo>
                    <a:cubicBezTo>
                      <a:pt x="519" y="52"/>
                      <a:pt x="520" y="53"/>
                      <a:pt x="519" y="53"/>
                    </a:cubicBezTo>
                    <a:cubicBezTo>
                      <a:pt x="519" y="53"/>
                      <a:pt x="519" y="54"/>
                      <a:pt x="519" y="54"/>
                    </a:cubicBezTo>
                    <a:cubicBezTo>
                      <a:pt x="519" y="54"/>
                      <a:pt x="519" y="55"/>
                      <a:pt x="518" y="55"/>
                    </a:cubicBezTo>
                    <a:cubicBezTo>
                      <a:pt x="518" y="55"/>
                      <a:pt x="518" y="55"/>
                      <a:pt x="518" y="55"/>
                    </a:cubicBezTo>
                    <a:cubicBezTo>
                      <a:pt x="518" y="56"/>
                      <a:pt x="518" y="57"/>
                      <a:pt x="518" y="57"/>
                    </a:cubicBezTo>
                    <a:cubicBezTo>
                      <a:pt x="518" y="58"/>
                      <a:pt x="518" y="58"/>
                      <a:pt x="518" y="58"/>
                    </a:cubicBezTo>
                    <a:cubicBezTo>
                      <a:pt x="518" y="58"/>
                      <a:pt x="518" y="58"/>
                      <a:pt x="518" y="58"/>
                    </a:cubicBezTo>
                    <a:cubicBezTo>
                      <a:pt x="517" y="58"/>
                      <a:pt x="518" y="59"/>
                      <a:pt x="517" y="60"/>
                    </a:cubicBezTo>
                    <a:cubicBezTo>
                      <a:pt x="517" y="60"/>
                      <a:pt x="517" y="60"/>
                      <a:pt x="517" y="60"/>
                    </a:cubicBezTo>
                    <a:cubicBezTo>
                      <a:pt x="517" y="61"/>
                      <a:pt x="517" y="61"/>
                      <a:pt x="517" y="62"/>
                    </a:cubicBezTo>
                    <a:cubicBezTo>
                      <a:pt x="517" y="62"/>
                      <a:pt x="517" y="62"/>
                      <a:pt x="517" y="62"/>
                    </a:cubicBezTo>
                    <a:cubicBezTo>
                      <a:pt x="516" y="63"/>
                      <a:pt x="517" y="64"/>
                      <a:pt x="516" y="64"/>
                    </a:cubicBezTo>
                    <a:cubicBezTo>
                      <a:pt x="516" y="64"/>
                      <a:pt x="516" y="64"/>
                      <a:pt x="516" y="64"/>
                    </a:cubicBezTo>
                    <a:cubicBezTo>
                      <a:pt x="516" y="65"/>
                      <a:pt x="516" y="65"/>
                      <a:pt x="516" y="66"/>
                    </a:cubicBezTo>
                    <a:cubicBezTo>
                      <a:pt x="516" y="66"/>
                      <a:pt x="516" y="66"/>
                      <a:pt x="516" y="66"/>
                    </a:cubicBezTo>
                    <a:cubicBezTo>
                      <a:pt x="516" y="66"/>
                      <a:pt x="516" y="66"/>
                      <a:pt x="516" y="66"/>
                    </a:cubicBezTo>
                    <a:cubicBezTo>
                      <a:pt x="515" y="67"/>
                      <a:pt x="515" y="68"/>
                      <a:pt x="515" y="68"/>
                    </a:cubicBezTo>
                    <a:cubicBezTo>
                      <a:pt x="515" y="68"/>
                      <a:pt x="515" y="69"/>
                      <a:pt x="515" y="69"/>
                    </a:cubicBezTo>
                    <a:cubicBezTo>
                      <a:pt x="515" y="69"/>
                      <a:pt x="515" y="70"/>
                      <a:pt x="514" y="71"/>
                    </a:cubicBezTo>
                    <a:cubicBezTo>
                      <a:pt x="515" y="71"/>
                      <a:pt x="515" y="71"/>
                      <a:pt x="514" y="71"/>
                    </a:cubicBezTo>
                    <a:cubicBezTo>
                      <a:pt x="514" y="71"/>
                      <a:pt x="514" y="72"/>
                      <a:pt x="514" y="73"/>
                    </a:cubicBezTo>
                    <a:cubicBezTo>
                      <a:pt x="514" y="73"/>
                      <a:pt x="514" y="73"/>
                      <a:pt x="514" y="73"/>
                    </a:cubicBezTo>
                    <a:cubicBezTo>
                      <a:pt x="513" y="73"/>
                      <a:pt x="514" y="74"/>
                      <a:pt x="513" y="75"/>
                    </a:cubicBezTo>
                    <a:cubicBezTo>
                      <a:pt x="513" y="75"/>
                      <a:pt x="513" y="75"/>
                      <a:pt x="513" y="75"/>
                    </a:cubicBezTo>
                    <a:cubicBezTo>
                      <a:pt x="513" y="76"/>
                      <a:pt x="513" y="76"/>
                      <a:pt x="513" y="77"/>
                    </a:cubicBezTo>
                    <a:cubicBezTo>
                      <a:pt x="513" y="77"/>
                      <a:pt x="513" y="77"/>
                      <a:pt x="513" y="77"/>
                    </a:cubicBezTo>
                    <a:cubicBezTo>
                      <a:pt x="512" y="78"/>
                      <a:pt x="513" y="79"/>
                      <a:pt x="512" y="79"/>
                    </a:cubicBezTo>
                    <a:cubicBezTo>
                      <a:pt x="512" y="79"/>
                      <a:pt x="512" y="80"/>
                      <a:pt x="512" y="80"/>
                    </a:cubicBezTo>
                    <a:cubicBezTo>
                      <a:pt x="512" y="80"/>
                      <a:pt x="512" y="81"/>
                      <a:pt x="512" y="81"/>
                    </a:cubicBezTo>
                    <a:cubicBezTo>
                      <a:pt x="512" y="82"/>
                      <a:pt x="512" y="82"/>
                      <a:pt x="511" y="82"/>
                    </a:cubicBezTo>
                    <a:cubicBezTo>
                      <a:pt x="511" y="82"/>
                      <a:pt x="511" y="83"/>
                      <a:pt x="511" y="84"/>
                    </a:cubicBezTo>
                    <a:cubicBezTo>
                      <a:pt x="511" y="84"/>
                      <a:pt x="511" y="84"/>
                      <a:pt x="511" y="84"/>
                    </a:cubicBezTo>
                    <a:cubicBezTo>
                      <a:pt x="510" y="84"/>
                      <a:pt x="511" y="85"/>
                      <a:pt x="510" y="86"/>
                    </a:cubicBezTo>
                    <a:cubicBezTo>
                      <a:pt x="511" y="86"/>
                      <a:pt x="511" y="86"/>
                      <a:pt x="511" y="86"/>
                    </a:cubicBezTo>
                    <a:cubicBezTo>
                      <a:pt x="510" y="86"/>
                      <a:pt x="510" y="86"/>
                      <a:pt x="510" y="86"/>
                    </a:cubicBezTo>
                    <a:cubicBezTo>
                      <a:pt x="510" y="86"/>
                      <a:pt x="510" y="87"/>
                      <a:pt x="510" y="88"/>
                    </a:cubicBezTo>
                    <a:cubicBezTo>
                      <a:pt x="510" y="88"/>
                      <a:pt x="510" y="88"/>
                      <a:pt x="510" y="88"/>
                    </a:cubicBezTo>
                    <a:cubicBezTo>
                      <a:pt x="509" y="89"/>
                      <a:pt x="510" y="90"/>
                      <a:pt x="509" y="90"/>
                    </a:cubicBezTo>
                    <a:cubicBezTo>
                      <a:pt x="509" y="90"/>
                      <a:pt x="509" y="90"/>
                      <a:pt x="509" y="91"/>
                    </a:cubicBezTo>
                    <a:cubicBezTo>
                      <a:pt x="509" y="91"/>
                      <a:pt x="509" y="92"/>
                      <a:pt x="509" y="92"/>
                    </a:cubicBezTo>
                    <a:cubicBezTo>
                      <a:pt x="509" y="92"/>
                      <a:pt x="509" y="92"/>
                      <a:pt x="509" y="92"/>
                    </a:cubicBezTo>
                    <a:cubicBezTo>
                      <a:pt x="508" y="93"/>
                      <a:pt x="508" y="94"/>
                      <a:pt x="508" y="94"/>
                    </a:cubicBezTo>
                    <a:cubicBezTo>
                      <a:pt x="508" y="94"/>
                      <a:pt x="508" y="94"/>
                      <a:pt x="508" y="94"/>
                    </a:cubicBezTo>
                    <a:cubicBezTo>
                      <a:pt x="508" y="95"/>
                      <a:pt x="508" y="95"/>
                      <a:pt x="508" y="95"/>
                    </a:cubicBezTo>
                    <a:cubicBezTo>
                      <a:pt x="508" y="95"/>
                      <a:pt x="508" y="96"/>
                      <a:pt x="508" y="96"/>
                    </a:cubicBezTo>
                    <a:cubicBezTo>
                      <a:pt x="508" y="97"/>
                      <a:pt x="508" y="97"/>
                      <a:pt x="507" y="97"/>
                    </a:cubicBezTo>
                    <a:cubicBezTo>
                      <a:pt x="507" y="97"/>
                      <a:pt x="507" y="98"/>
                      <a:pt x="507" y="99"/>
                    </a:cubicBezTo>
                    <a:cubicBezTo>
                      <a:pt x="507" y="99"/>
                      <a:pt x="507" y="99"/>
                      <a:pt x="507" y="99"/>
                    </a:cubicBezTo>
                    <a:cubicBezTo>
                      <a:pt x="506" y="100"/>
                      <a:pt x="507" y="100"/>
                      <a:pt x="506" y="101"/>
                    </a:cubicBezTo>
                    <a:cubicBezTo>
                      <a:pt x="506" y="101"/>
                      <a:pt x="506" y="101"/>
                      <a:pt x="506" y="101"/>
                    </a:cubicBezTo>
                    <a:cubicBezTo>
                      <a:pt x="506" y="102"/>
                      <a:pt x="506" y="102"/>
                      <a:pt x="506" y="103"/>
                    </a:cubicBezTo>
                    <a:cubicBezTo>
                      <a:pt x="506" y="103"/>
                      <a:pt x="506" y="103"/>
                      <a:pt x="506" y="103"/>
                    </a:cubicBezTo>
                    <a:cubicBezTo>
                      <a:pt x="506" y="103"/>
                      <a:pt x="506" y="103"/>
                      <a:pt x="506" y="103"/>
                    </a:cubicBezTo>
                    <a:cubicBezTo>
                      <a:pt x="505" y="104"/>
                      <a:pt x="506" y="105"/>
                      <a:pt x="505" y="105"/>
                    </a:cubicBezTo>
                    <a:cubicBezTo>
                      <a:pt x="505" y="105"/>
                      <a:pt x="505" y="105"/>
                      <a:pt x="505" y="106"/>
                    </a:cubicBezTo>
                    <a:cubicBezTo>
                      <a:pt x="505" y="106"/>
                      <a:pt x="505" y="107"/>
                      <a:pt x="505" y="107"/>
                    </a:cubicBezTo>
                    <a:cubicBezTo>
                      <a:pt x="505" y="108"/>
                      <a:pt x="505" y="108"/>
                      <a:pt x="505" y="108"/>
                    </a:cubicBezTo>
                    <a:cubicBezTo>
                      <a:pt x="504" y="108"/>
                      <a:pt x="505" y="109"/>
                      <a:pt x="504" y="110"/>
                    </a:cubicBezTo>
                    <a:cubicBezTo>
                      <a:pt x="504" y="110"/>
                      <a:pt x="504" y="110"/>
                      <a:pt x="504" y="110"/>
                    </a:cubicBezTo>
                    <a:cubicBezTo>
                      <a:pt x="503" y="110"/>
                      <a:pt x="504" y="111"/>
                      <a:pt x="503" y="112"/>
                    </a:cubicBezTo>
                    <a:cubicBezTo>
                      <a:pt x="503" y="112"/>
                      <a:pt x="503" y="112"/>
                      <a:pt x="503" y="112"/>
                    </a:cubicBezTo>
                    <a:cubicBezTo>
                      <a:pt x="503" y="112"/>
                      <a:pt x="503" y="113"/>
                      <a:pt x="503" y="114"/>
                    </a:cubicBezTo>
                    <a:cubicBezTo>
                      <a:pt x="503" y="114"/>
                      <a:pt x="503" y="114"/>
                      <a:pt x="503" y="114"/>
                    </a:cubicBezTo>
                    <a:cubicBezTo>
                      <a:pt x="502" y="115"/>
                      <a:pt x="503" y="115"/>
                      <a:pt x="502" y="116"/>
                    </a:cubicBezTo>
                    <a:cubicBezTo>
                      <a:pt x="502" y="116"/>
                      <a:pt x="502" y="116"/>
                      <a:pt x="502" y="116"/>
                    </a:cubicBezTo>
                    <a:cubicBezTo>
                      <a:pt x="502" y="117"/>
                      <a:pt x="502" y="118"/>
                      <a:pt x="502" y="118"/>
                    </a:cubicBezTo>
                    <a:close/>
                    <a:moveTo>
                      <a:pt x="778" y="96"/>
                    </a:moveTo>
                    <a:cubicBezTo>
                      <a:pt x="778" y="96"/>
                      <a:pt x="778" y="96"/>
                      <a:pt x="778" y="96"/>
                    </a:cubicBezTo>
                    <a:cubicBezTo>
                      <a:pt x="778" y="95"/>
                      <a:pt x="777" y="95"/>
                      <a:pt x="777" y="95"/>
                    </a:cubicBezTo>
                    <a:cubicBezTo>
                      <a:pt x="777" y="95"/>
                      <a:pt x="777" y="95"/>
                      <a:pt x="777" y="95"/>
                    </a:cubicBezTo>
                    <a:cubicBezTo>
                      <a:pt x="776" y="95"/>
                      <a:pt x="776" y="95"/>
                      <a:pt x="776" y="95"/>
                    </a:cubicBezTo>
                    <a:cubicBezTo>
                      <a:pt x="776" y="95"/>
                      <a:pt x="775" y="95"/>
                      <a:pt x="775" y="95"/>
                    </a:cubicBezTo>
                    <a:cubicBezTo>
                      <a:pt x="775" y="95"/>
                      <a:pt x="774" y="95"/>
                      <a:pt x="774" y="95"/>
                    </a:cubicBezTo>
                    <a:cubicBezTo>
                      <a:pt x="774" y="94"/>
                      <a:pt x="773" y="94"/>
                      <a:pt x="773" y="94"/>
                    </a:cubicBezTo>
                    <a:cubicBezTo>
                      <a:pt x="772" y="94"/>
                      <a:pt x="772" y="94"/>
                      <a:pt x="772" y="94"/>
                    </a:cubicBezTo>
                    <a:cubicBezTo>
                      <a:pt x="771" y="93"/>
                      <a:pt x="770" y="94"/>
                      <a:pt x="769" y="93"/>
                    </a:cubicBezTo>
                    <a:cubicBezTo>
                      <a:pt x="769" y="93"/>
                      <a:pt x="768" y="93"/>
                      <a:pt x="768" y="93"/>
                    </a:cubicBezTo>
                    <a:cubicBezTo>
                      <a:pt x="764" y="93"/>
                      <a:pt x="760" y="93"/>
                      <a:pt x="756" y="93"/>
                    </a:cubicBezTo>
                    <a:cubicBezTo>
                      <a:pt x="755" y="94"/>
                      <a:pt x="755" y="94"/>
                      <a:pt x="754" y="94"/>
                    </a:cubicBezTo>
                    <a:cubicBezTo>
                      <a:pt x="753" y="94"/>
                      <a:pt x="752" y="94"/>
                      <a:pt x="752" y="94"/>
                    </a:cubicBezTo>
                    <a:cubicBezTo>
                      <a:pt x="751" y="94"/>
                      <a:pt x="751" y="94"/>
                      <a:pt x="751" y="94"/>
                    </a:cubicBezTo>
                    <a:cubicBezTo>
                      <a:pt x="750" y="94"/>
                      <a:pt x="749" y="94"/>
                      <a:pt x="749" y="95"/>
                    </a:cubicBezTo>
                    <a:cubicBezTo>
                      <a:pt x="749" y="95"/>
                      <a:pt x="749" y="95"/>
                      <a:pt x="748" y="95"/>
                    </a:cubicBezTo>
                    <a:cubicBezTo>
                      <a:pt x="748" y="95"/>
                      <a:pt x="747" y="95"/>
                      <a:pt x="747" y="95"/>
                    </a:cubicBezTo>
                    <a:cubicBezTo>
                      <a:pt x="747" y="95"/>
                      <a:pt x="747" y="95"/>
                      <a:pt x="747" y="95"/>
                    </a:cubicBezTo>
                    <a:cubicBezTo>
                      <a:pt x="746" y="96"/>
                      <a:pt x="745" y="95"/>
                      <a:pt x="745" y="96"/>
                    </a:cubicBezTo>
                    <a:cubicBezTo>
                      <a:pt x="745" y="96"/>
                      <a:pt x="745" y="96"/>
                      <a:pt x="745" y="96"/>
                    </a:cubicBezTo>
                    <a:cubicBezTo>
                      <a:pt x="744" y="96"/>
                      <a:pt x="744" y="96"/>
                      <a:pt x="744" y="96"/>
                    </a:cubicBezTo>
                    <a:cubicBezTo>
                      <a:pt x="743" y="96"/>
                      <a:pt x="743" y="96"/>
                      <a:pt x="743" y="96"/>
                    </a:cubicBezTo>
                    <a:cubicBezTo>
                      <a:pt x="743" y="97"/>
                      <a:pt x="742" y="97"/>
                      <a:pt x="742" y="97"/>
                    </a:cubicBezTo>
                    <a:cubicBezTo>
                      <a:pt x="742" y="97"/>
                      <a:pt x="742" y="97"/>
                      <a:pt x="742" y="97"/>
                    </a:cubicBezTo>
                    <a:cubicBezTo>
                      <a:pt x="742" y="97"/>
                      <a:pt x="741" y="97"/>
                      <a:pt x="741" y="97"/>
                    </a:cubicBezTo>
                    <a:cubicBezTo>
                      <a:pt x="741" y="98"/>
                      <a:pt x="741" y="98"/>
                      <a:pt x="740" y="98"/>
                    </a:cubicBezTo>
                    <a:cubicBezTo>
                      <a:pt x="740" y="98"/>
                      <a:pt x="740" y="98"/>
                      <a:pt x="740" y="98"/>
                    </a:cubicBezTo>
                    <a:cubicBezTo>
                      <a:pt x="740" y="98"/>
                      <a:pt x="739" y="98"/>
                      <a:pt x="739" y="98"/>
                    </a:cubicBezTo>
                    <a:cubicBezTo>
                      <a:pt x="739" y="98"/>
                      <a:pt x="739" y="98"/>
                      <a:pt x="738" y="99"/>
                    </a:cubicBezTo>
                    <a:cubicBezTo>
                      <a:pt x="738" y="99"/>
                      <a:pt x="738" y="99"/>
                      <a:pt x="738" y="99"/>
                    </a:cubicBezTo>
                    <a:cubicBezTo>
                      <a:pt x="738" y="99"/>
                      <a:pt x="738" y="99"/>
                      <a:pt x="737" y="99"/>
                    </a:cubicBezTo>
                    <a:cubicBezTo>
                      <a:pt x="737" y="99"/>
                      <a:pt x="737" y="99"/>
                      <a:pt x="737" y="99"/>
                    </a:cubicBezTo>
                    <a:cubicBezTo>
                      <a:pt x="737" y="100"/>
                      <a:pt x="736" y="99"/>
                      <a:pt x="736" y="100"/>
                    </a:cubicBezTo>
                    <a:cubicBezTo>
                      <a:pt x="736" y="100"/>
                      <a:pt x="736" y="100"/>
                      <a:pt x="736" y="100"/>
                    </a:cubicBezTo>
                    <a:cubicBezTo>
                      <a:pt x="736" y="100"/>
                      <a:pt x="736" y="100"/>
                      <a:pt x="736" y="100"/>
                    </a:cubicBezTo>
                    <a:cubicBezTo>
                      <a:pt x="735" y="100"/>
                      <a:pt x="735" y="100"/>
                      <a:pt x="735" y="100"/>
                    </a:cubicBezTo>
                    <a:cubicBezTo>
                      <a:pt x="735" y="101"/>
                      <a:pt x="735" y="101"/>
                      <a:pt x="734" y="101"/>
                    </a:cubicBezTo>
                    <a:cubicBezTo>
                      <a:pt x="734" y="101"/>
                      <a:pt x="734" y="101"/>
                      <a:pt x="734" y="101"/>
                    </a:cubicBezTo>
                    <a:cubicBezTo>
                      <a:pt x="734" y="101"/>
                      <a:pt x="734" y="101"/>
                      <a:pt x="734" y="101"/>
                    </a:cubicBezTo>
                    <a:cubicBezTo>
                      <a:pt x="734" y="101"/>
                      <a:pt x="734" y="101"/>
                      <a:pt x="734" y="101"/>
                    </a:cubicBezTo>
                    <a:cubicBezTo>
                      <a:pt x="734" y="102"/>
                      <a:pt x="733" y="102"/>
                      <a:pt x="733" y="102"/>
                    </a:cubicBezTo>
                    <a:cubicBezTo>
                      <a:pt x="733" y="102"/>
                      <a:pt x="733" y="102"/>
                      <a:pt x="733" y="102"/>
                    </a:cubicBezTo>
                    <a:cubicBezTo>
                      <a:pt x="732" y="102"/>
                      <a:pt x="732" y="102"/>
                      <a:pt x="732" y="103"/>
                    </a:cubicBezTo>
                    <a:cubicBezTo>
                      <a:pt x="732" y="103"/>
                      <a:pt x="732" y="103"/>
                      <a:pt x="732" y="103"/>
                    </a:cubicBezTo>
                    <a:cubicBezTo>
                      <a:pt x="732" y="103"/>
                      <a:pt x="732" y="103"/>
                      <a:pt x="732" y="103"/>
                    </a:cubicBezTo>
                    <a:cubicBezTo>
                      <a:pt x="731" y="103"/>
                      <a:pt x="731" y="103"/>
                      <a:pt x="731" y="103"/>
                    </a:cubicBezTo>
                    <a:cubicBezTo>
                      <a:pt x="731" y="103"/>
                      <a:pt x="731" y="104"/>
                      <a:pt x="731" y="104"/>
                    </a:cubicBezTo>
                    <a:cubicBezTo>
                      <a:pt x="731" y="104"/>
                      <a:pt x="731" y="104"/>
                      <a:pt x="731" y="104"/>
                    </a:cubicBezTo>
                    <a:cubicBezTo>
                      <a:pt x="731" y="104"/>
                      <a:pt x="730" y="104"/>
                      <a:pt x="730" y="105"/>
                    </a:cubicBezTo>
                    <a:cubicBezTo>
                      <a:pt x="730" y="105"/>
                      <a:pt x="730" y="105"/>
                      <a:pt x="730" y="105"/>
                    </a:cubicBezTo>
                    <a:cubicBezTo>
                      <a:pt x="730" y="105"/>
                      <a:pt x="729" y="105"/>
                      <a:pt x="729" y="105"/>
                    </a:cubicBezTo>
                    <a:cubicBezTo>
                      <a:pt x="729" y="105"/>
                      <a:pt x="729" y="105"/>
                      <a:pt x="729" y="105"/>
                    </a:cubicBezTo>
                    <a:cubicBezTo>
                      <a:pt x="729" y="105"/>
                      <a:pt x="729" y="105"/>
                      <a:pt x="729" y="106"/>
                    </a:cubicBezTo>
                    <a:cubicBezTo>
                      <a:pt x="729" y="106"/>
                      <a:pt x="729" y="106"/>
                      <a:pt x="729" y="106"/>
                    </a:cubicBezTo>
                    <a:cubicBezTo>
                      <a:pt x="728" y="106"/>
                      <a:pt x="728" y="106"/>
                      <a:pt x="728" y="106"/>
                    </a:cubicBezTo>
                    <a:cubicBezTo>
                      <a:pt x="728" y="106"/>
                      <a:pt x="728" y="106"/>
                      <a:pt x="728" y="106"/>
                    </a:cubicBezTo>
                    <a:cubicBezTo>
                      <a:pt x="728" y="106"/>
                      <a:pt x="728" y="106"/>
                      <a:pt x="728" y="107"/>
                    </a:cubicBezTo>
                    <a:cubicBezTo>
                      <a:pt x="728" y="107"/>
                      <a:pt x="728" y="107"/>
                      <a:pt x="728" y="107"/>
                    </a:cubicBezTo>
                    <a:cubicBezTo>
                      <a:pt x="727" y="107"/>
                      <a:pt x="727" y="107"/>
                      <a:pt x="727" y="107"/>
                    </a:cubicBezTo>
                    <a:cubicBezTo>
                      <a:pt x="727" y="107"/>
                      <a:pt x="727" y="107"/>
                      <a:pt x="727" y="107"/>
                    </a:cubicBezTo>
                    <a:cubicBezTo>
                      <a:pt x="727" y="107"/>
                      <a:pt x="726" y="108"/>
                      <a:pt x="726" y="108"/>
                    </a:cubicBezTo>
                    <a:cubicBezTo>
                      <a:pt x="727" y="108"/>
                      <a:pt x="727" y="108"/>
                      <a:pt x="727" y="108"/>
                    </a:cubicBezTo>
                    <a:cubicBezTo>
                      <a:pt x="726" y="108"/>
                      <a:pt x="726" y="109"/>
                      <a:pt x="725" y="110"/>
                    </a:cubicBezTo>
                    <a:cubicBezTo>
                      <a:pt x="725" y="110"/>
                      <a:pt x="725" y="110"/>
                      <a:pt x="725" y="110"/>
                    </a:cubicBezTo>
                    <a:cubicBezTo>
                      <a:pt x="725" y="110"/>
                      <a:pt x="725" y="110"/>
                      <a:pt x="725" y="110"/>
                    </a:cubicBezTo>
                    <a:cubicBezTo>
                      <a:pt x="725" y="110"/>
                      <a:pt x="725" y="110"/>
                      <a:pt x="725" y="110"/>
                    </a:cubicBezTo>
                    <a:cubicBezTo>
                      <a:pt x="724" y="110"/>
                      <a:pt x="724" y="111"/>
                      <a:pt x="724" y="111"/>
                    </a:cubicBezTo>
                    <a:cubicBezTo>
                      <a:pt x="724" y="111"/>
                      <a:pt x="724" y="111"/>
                      <a:pt x="724" y="111"/>
                    </a:cubicBezTo>
                    <a:cubicBezTo>
                      <a:pt x="724" y="111"/>
                      <a:pt x="724" y="111"/>
                      <a:pt x="724" y="111"/>
                    </a:cubicBezTo>
                    <a:cubicBezTo>
                      <a:pt x="724" y="111"/>
                      <a:pt x="724" y="111"/>
                      <a:pt x="724" y="111"/>
                    </a:cubicBezTo>
                    <a:cubicBezTo>
                      <a:pt x="723" y="112"/>
                      <a:pt x="723" y="112"/>
                      <a:pt x="723" y="112"/>
                    </a:cubicBezTo>
                    <a:cubicBezTo>
                      <a:pt x="723" y="112"/>
                      <a:pt x="723" y="112"/>
                      <a:pt x="723" y="112"/>
                    </a:cubicBezTo>
                    <a:cubicBezTo>
                      <a:pt x="723" y="113"/>
                      <a:pt x="722" y="113"/>
                      <a:pt x="722" y="113"/>
                    </a:cubicBezTo>
                    <a:cubicBezTo>
                      <a:pt x="722" y="113"/>
                      <a:pt x="722" y="113"/>
                      <a:pt x="722" y="113"/>
                    </a:cubicBezTo>
                    <a:cubicBezTo>
                      <a:pt x="722" y="113"/>
                      <a:pt x="722" y="114"/>
                      <a:pt x="722" y="114"/>
                    </a:cubicBezTo>
                    <a:cubicBezTo>
                      <a:pt x="722" y="114"/>
                      <a:pt x="722" y="114"/>
                      <a:pt x="722" y="114"/>
                    </a:cubicBezTo>
                    <a:cubicBezTo>
                      <a:pt x="722" y="114"/>
                      <a:pt x="721" y="115"/>
                      <a:pt x="721" y="115"/>
                    </a:cubicBezTo>
                    <a:cubicBezTo>
                      <a:pt x="721" y="115"/>
                      <a:pt x="721" y="115"/>
                      <a:pt x="721" y="115"/>
                    </a:cubicBezTo>
                    <a:cubicBezTo>
                      <a:pt x="721" y="115"/>
                      <a:pt x="721" y="116"/>
                      <a:pt x="721" y="116"/>
                    </a:cubicBezTo>
                    <a:cubicBezTo>
                      <a:pt x="721" y="116"/>
                      <a:pt x="721" y="116"/>
                      <a:pt x="721" y="116"/>
                    </a:cubicBezTo>
                    <a:cubicBezTo>
                      <a:pt x="720" y="116"/>
                      <a:pt x="720" y="116"/>
                      <a:pt x="720" y="117"/>
                    </a:cubicBezTo>
                    <a:cubicBezTo>
                      <a:pt x="720" y="117"/>
                      <a:pt x="720" y="117"/>
                      <a:pt x="720" y="117"/>
                    </a:cubicBezTo>
                    <a:cubicBezTo>
                      <a:pt x="720" y="117"/>
                      <a:pt x="720" y="117"/>
                      <a:pt x="719" y="118"/>
                    </a:cubicBezTo>
                    <a:cubicBezTo>
                      <a:pt x="719" y="118"/>
                      <a:pt x="719" y="118"/>
                      <a:pt x="719" y="118"/>
                    </a:cubicBezTo>
                    <a:cubicBezTo>
                      <a:pt x="719" y="118"/>
                      <a:pt x="719" y="118"/>
                      <a:pt x="719" y="119"/>
                    </a:cubicBezTo>
                    <a:cubicBezTo>
                      <a:pt x="719" y="119"/>
                      <a:pt x="719" y="119"/>
                      <a:pt x="719" y="119"/>
                    </a:cubicBezTo>
                    <a:cubicBezTo>
                      <a:pt x="719" y="119"/>
                      <a:pt x="719" y="120"/>
                      <a:pt x="718" y="120"/>
                    </a:cubicBezTo>
                    <a:cubicBezTo>
                      <a:pt x="718" y="120"/>
                      <a:pt x="718" y="120"/>
                      <a:pt x="718" y="120"/>
                    </a:cubicBezTo>
                    <a:cubicBezTo>
                      <a:pt x="718" y="120"/>
                      <a:pt x="718" y="121"/>
                      <a:pt x="718" y="121"/>
                    </a:cubicBezTo>
                    <a:cubicBezTo>
                      <a:pt x="718" y="121"/>
                      <a:pt x="718" y="121"/>
                      <a:pt x="718" y="121"/>
                    </a:cubicBezTo>
                    <a:cubicBezTo>
                      <a:pt x="717" y="121"/>
                      <a:pt x="717" y="122"/>
                      <a:pt x="717" y="122"/>
                    </a:cubicBezTo>
                    <a:cubicBezTo>
                      <a:pt x="717" y="122"/>
                      <a:pt x="717" y="122"/>
                      <a:pt x="717" y="122"/>
                    </a:cubicBezTo>
                    <a:cubicBezTo>
                      <a:pt x="717" y="123"/>
                      <a:pt x="717" y="123"/>
                      <a:pt x="717" y="123"/>
                    </a:cubicBezTo>
                    <a:cubicBezTo>
                      <a:pt x="717" y="123"/>
                      <a:pt x="717" y="123"/>
                      <a:pt x="717" y="123"/>
                    </a:cubicBezTo>
                    <a:cubicBezTo>
                      <a:pt x="716" y="124"/>
                      <a:pt x="717" y="125"/>
                      <a:pt x="716" y="125"/>
                    </a:cubicBezTo>
                    <a:cubicBezTo>
                      <a:pt x="716" y="125"/>
                      <a:pt x="716" y="125"/>
                      <a:pt x="716" y="125"/>
                    </a:cubicBezTo>
                    <a:cubicBezTo>
                      <a:pt x="716" y="125"/>
                      <a:pt x="716" y="126"/>
                      <a:pt x="715" y="126"/>
                    </a:cubicBezTo>
                    <a:cubicBezTo>
                      <a:pt x="716" y="127"/>
                      <a:pt x="715" y="127"/>
                      <a:pt x="715" y="127"/>
                    </a:cubicBezTo>
                    <a:cubicBezTo>
                      <a:pt x="715" y="127"/>
                      <a:pt x="715" y="128"/>
                      <a:pt x="715" y="128"/>
                    </a:cubicBezTo>
                    <a:cubicBezTo>
                      <a:pt x="715" y="128"/>
                      <a:pt x="715" y="128"/>
                      <a:pt x="715" y="128"/>
                    </a:cubicBezTo>
                    <a:cubicBezTo>
                      <a:pt x="714" y="129"/>
                      <a:pt x="715" y="129"/>
                      <a:pt x="714" y="130"/>
                    </a:cubicBezTo>
                    <a:cubicBezTo>
                      <a:pt x="714" y="130"/>
                      <a:pt x="714" y="130"/>
                      <a:pt x="714" y="130"/>
                    </a:cubicBezTo>
                    <a:cubicBezTo>
                      <a:pt x="714" y="131"/>
                      <a:pt x="714" y="132"/>
                      <a:pt x="714" y="132"/>
                    </a:cubicBezTo>
                    <a:cubicBezTo>
                      <a:pt x="714" y="132"/>
                      <a:pt x="714" y="132"/>
                      <a:pt x="714" y="132"/>
                    </a:cubicBezTo>
                    <a:cubicBezTo>
                      <a:pt x="713" y="133"/>
                      <a:pt x="714" y="134"/>
                      <a:pt x="713" y="134"/>
                    </a:cubicBezTo>
                    <a:cubicBezTo>
                      <a:pt x="713" y="134"/>
                      <a:pt x="713" y="134"/>
                      <a:pt x="713" y="134"/>
                    </a:cubicBezTo>
                    <a:cubicBezTo>
                      <a:pt x="713" y="135"/>
                      <a:pt x="713" y="136"/>
                      <a:pt x="713" y="137"/>
                    </a:cubicBezTo>
                    <a:cubicBezTo>
                      <a:pt x="713" y="137"/>
                      <a:pt x="713" y="137"/>
                      <a:pt x="713" y="137"/>
                    </a:cubicBezTo>
                    <a:cubicBezTo>
                      <a:pt x="713" y="137"/>
                      <a:pt x="713" y="137"/>
                      <a:pt x="713" y="137"/>
                    </a:cubicBezTo>
                    <a:cubicBezTo>
                      <a:pt x="712" y="138"/>
                      <a:pt x="713" y="139"/>
                      <a:pt x="712" y="140"/>
                    </a:cubicBezTo>
                    <a:cubicBezTo>
                      <a:pt x="712" y="141"/>
                      <a:pt x="712" y="141"/>
                      <a:pt x="712" y="141"/>
                    </a:cubicBezTo>
                    <a:cubicBezTo>
                      <a:pt x="711" y="142"/>
                      <a:pt x="712" y="144"/>
                      <a:pt x="711" y="145"/>
                    </a:cubicBezTo>
                    <a:cubicBezTo>
                      <a:pt x="712" y="145"/>
                      <a:pt x="712" y="146"/>
                      <a:pt x="711" y="146"/>
                    </a:cubicBezTo>
                    <a:cubicBezTo>
                      <a:pt x="711" y="151"/>
                      <a:pt x="711" y="156"/>
                      <a:pt x="711" y="161"/>
                    </a:cubicBezTo>
                    <a:cubicBezTo>
                      <a:pt x="712" y="162"/>
                      <a:pt x="712" y="163"/>
                      <a:pt x="711" y="163"/>
                    </a:cubicBezTo>
                    <a:cubicBezTo>
                      <a:pt x="712" y="165"/>
                      <a:pt x="711" y="166"/>
                      <a:pt x="712" y="167"/>
                    </a:cubicBezTo>
                    <a:cubicBezTo>
                      <a:pt x="712" y="167"/>
                      <a:pt x="712" y="167"/>
                      <a:pt x="712" y="168"/>
                    </a:cubicBezTo>
                    <a:cubicBezTo>
                      <a:pt x="713" y="169"/>
                      <a:pt x="712" y="170"/>
                      <a:pt x="713" y="171"/>
                    </a:cubicBezTo>
                    <a:cubicBezTo>
                      <a:pt x="713" y="171"/>
                      <a:pt x="713" y="171"/>
                      <a:pt x="713" y="171"/>
                    </a:cubicBezTo>
                    <a:cubicBezTo>
                      <a:pt x="713" y="172"/>
                      <a:pt x="713" y="172"/>
                      <a:pt x="713" y="173"/>
                    </a:cubicBezTo>
                    <a:cubicBezTo>
                      <a:pt x="713" y="173"/>
                      <a:pt x="713" y="173"/>
                      <a:pt x="713" y="173"/>
                    </a:cubicBezTo>
                    <a:cubicBezTo>
                      <a:pt x="714" y="174"/>
                      <a:pt x="713" y="175"/>
                      <a:pt x="714" y="175"/>
                    </a:cubicBezTo>
                    <a:cubicBezTo>
                      <a:pt x="714" y="175"/>
                      <a:pt x="714" y="175"/>
                      <a:pt x="714" y="176"/>
                    </a:cubicBezTo>
                    <a:cubicBezTo>
                      <a:pt x="714" y="176"/>
                      <a:pt x="714" y="177"/>
                      <a:pt x="714" y="177"/>
                    </a:cubicBezTo>
                    <a:cubicBezTo>
                      <a:pt x="714" y="177"/>
                      <a:pt x="714" y="177"/>
                      <a:pt x="714" y="177"/>
                    </a:cubicBezTo>
                    <a:cubicBezTo>
                      <a:pt x="715" y="178"/>
                      <a:pt x="714" y="179"/>
                      <a:pt x="715" y="179"/>
                    </a:cubicBezTo>
                    <a:cubicBezTo>
                      <a:pt x="715" y="179"/>
                      <a:pt x="715" y="179"/>
                      <a:pt x="715" y="179"/>
                    </a:cubicBezTo>
                    <a:cubicBezTo>
                      <a:pt x="715" y="180"/>
                      <a:pt x="715" y="181"/>
                      <a:pt x="715" y="181"/>
                    </a:cubicBezTo>
                    <a:cubicBezTo>
                      <a:pt x="715" y="181"/>
                      <a:pt x="715" y="181"/>
                      <a:pt x="715" y="181"/>
                    </a:cubicBezTo>
                    <a:cubicBezTo>
                      <a:pt x="716" y="181"/>
                      <a:pt x="716" y="182"/>
                      <a:pt x="716" y="182"/>
                    </a:cubicBezTo>
                    <a:cubicBezTo>
                      <a:pt x="716" y="182"/>
                      <a:pt x="716" y="182"/>
                      <a:pt x="716" y="182"/>
                    </a:cubicBezTo>
                    <a:cubicBezTo>
                      <a:pt x="716" y="182"/>
                      <a:pt x="716" y="183"/>
                      <a:pt x="716" y="183"/>
                    </a:cubicBezTo>
                    <a:cubicBezTo>
                      <a:pt x="717" y="183"/>
                      <a:pt x="717" y="183"/>
                      <a:pt x="717" y="184"/>
                    </a:cubicBezTo>
                    <a:cubicBezTo>
                      <a:pt x="717" y="184"/>
                      <a:pt x="717" y="185"/>
                      <a:pt x="717" y="185"/>
                    </a:cubicBezTo>
                    <a:cubicBezTo>
                      <a:pt x="717" y="185"/>
                      <a:pt x="717" y="185"/>
                      <a:pt x="717" y="185"/>
                    </a:cubicBezTo>
                    <a:cubicBezTo>
                      <a:pt x="717" y="185"/>
                      <a:pt x="717" y="186"/>
                      <a:pt x="718" y="186"/>
                    </a:cubicBezTo>
                    <a:cubicBezTo>
                      <a:pt x="718" y="186"/>
                      <a:pt x="718" y="186"/>
                      <a:pt x="718" y="186"/>
                    </a:cubicBezTo>
                    <a:cubicBezTo>
                      <a:pt x="718" y="186"/>
                      <a:pt x="718" y="187"/>
                      <a:pt x="718" y="187"/>
                    </a:cubicBezTo>
                    <a:cubicBezTo>
                      <a:pt x="718" y="187"/>
                      <a:pt x="718" y="187"/>
                      <a:pt x="718" y="187"/>
                    </a:cubicBezTo>
                    <a:cubicBezTo>
                      <a:pt x="718" y="187"/>
                      <a:pt x="719" y="188"/>
                      <a:pt x="719" y="188"/>
                    </a:cubicBezTo>
                    <a:cubicBezTo>
                      <a:pt x="719" y="188"/>
                      <a:pt x="719" y="188"/>
                      <a:pt x="719" y="188"/>
                    </a:cubicBezTo>
                    <a:cubicBezTo>
                      <a:pt x="719" y="188"/>
                      <a:pt x="719" y="189"/>
                      <a:pt x="719" y="189"/>
                    </a:cubicBezTo>
                    <a:cubicBezTo>
                      <a:pt x="719" y="189"/>
                      <a:pt x="719" y="189"/>
                      <a:pt x="719" y="189"/>
                    </a:cubicBezTo>
                    <a:cubicBezTo>
                      <a:pt x="720" y="189"/>
                      <a:pt x="720" y="190"/>
                      <a:pt x="720" y="190"/>
                    </a:cubicBezTo>
                    <a:cubicBezTo>
                      <a:pt x="720" y="190"/>
                      <a:pt x="720" y="190"/>
                      <a:pt x="720" y="190"/>
                    </a:cubicBezTo>
                    <a:cubicBezTo>
                      <a:pt x="720" y="190"/>
                      <a:pt x="720" y="191"/>
                      <a:pt x="721" y="191"/>
                    </a:cubicBezTo>
                    <a:cubicBezTo>
                      <a:pt x="721" y="191"/>
                      <a:pt x="721" y="191"/>
                      <a:pt x="721" y="191"/>
                    </a:cubicBezTo>
                    <a:cubicBezTo>
                      <a:pt x="721" y="191"/>
                      <a:pt x="721" y="192"/>
                      <a:pt x="721" y="192"/>
                    </a:cubicBezTo>
                    <a:cubicBezTo>
                      <a:pt x="721" y="192"/>
                      <a:pt x="721" y="192"/>
                      <a:pt x="721" y="192"/>
                    </a:cubicBezTo>
                    <a:cubicBezTo>
                      <a:pt x="721" y="192"/>
                      <a:pt x="722" y="192"/>
                      <a:pt x="722" y="192"/>
                    </a:cubicBezTo>
                    <a:cubicBezTo>
                      <a:pt x="722" y="192"/>
                      <a:pt x="722" y="192"/>
                      <a:pt x="722" y="192"/>
                    </a:cubicBezTo>
                    <a:cubicBezTo>
                      <a:pt x="722" y="193"/>
                      <a:pt x="722" y="194"/>
                      <a:pt x="723" y="194"/>
                    </a:cubicBezTo>
                    <a:cubicBezTo>
                      <a:pt x="723" y="194"/>
                      <a:pt x="723" y="194"/>
                      <a:pt x="723" y="194"/>
                    </a:cubicBezTo>
                    <a:cubicBezTo>
                      <a:pt x="723" y="194"/>
                      <a:pt x="723" y="195"/>
                      <a:pt x="724" y="195"/>
                    </a:cubicBezTo>
                    <a:cubicBezTo>
                      <a:pt x="723" y="195"/>
                      <a:pt x="723" y="195"/>
                      <a:pt x="723" y="195"/>
                    </a:cubicBezTo>
                    <a:cubicBezTo>
                      <a:pt x="724" y="195"/>
                      <a:pt x="724" y="195"/>
                      <a:pt x="724" y="195"/>
                    </a:cubicBezTo>
                    <a:cubicBezTo>
                      <a:pt x="724" y="195"/>
                      <a:pt x="724" y="195"/>
                      <a:pt x="724" y="195"/>
                    </a:cubicBezTo>
                    <a:cubicBezTo>
                      <a:pt x="724" y="196"/>
                      <a:pt x="724" y="196"/>
                      <a:pt x="725" y="196"/>
                    </a:cubicBezTo>
                    <a:cubicBezTo>
                      <a:pt x="725" y="196"/>
                      <a:pt x="725" y="196"/>
                      <a:pt x="725" y="196"/>
                    </a:cubicBezTo>
                    <a:cubicBezTo>
                      <a:pt x="726" y="197"/>
                      <a:pt x="727" y="199"/>
                      <a:pt x="729" y="200"/>
                    </a:cubicBezTo>
                    <a:cubicBezTo>
                      <a:pt x="729" y="200"/>
                      <a:pt x="729" y="200"/>
                      <a:pt x="729" y="200"/>
                    </a:cubicBezTo>
                    <a:cubicBezTo>
                      <a:pt x="729" y="200"/>
                      <a:pt x="729" y="200"/>
                      <a:pt x="729" y="201"/>
                    </a:cubicBezTo>
                    <a:cubicBezTo>
                      <a:pt x="729" y="201"/>
                      <a:pt x="729" y="201"/>
                      <a:pt x="729" y="201"/>
                    </a:cubicBezTo>
                    <a:cubicBezTo>
                      <a:pt x="729" y="201"/>
                      <a:pt x="730" y="201"/>
                      <a:pt x="730" y="201"/>
                    </a:cubicBezTo>
                    <a:cubicBezTo>
                      <a:pt x="730" y="201"/>
                      <a:pt x="730" y="201"/>
                      <a:pt x="730" y="201"/>
                    </a:cubicBezTo>
                    <a:cubicBezTo>
                      <a:pt x="730" y="201"/>
                      <a:pt x="730" y="202"/>
                      <a:pt x="731" y="202"/>
                    </a:cubicBezTo>
                    <a:cubicBezTo>
                      <a:pt x="730" y="202"/>
                      <a:pt x="730" y="202"/>
                      <a:pt x="730" y="202"/>
                    </a:cubicBezTo>
                    <a:cubicBezTo>
                      <a:pt x="731" y="202"/>
                      <a:pt x="731" y="202"/>
                      <a:pt x="731" y="202"/>
                    </a:cubicBezTo>
                    <a:cubicBezTo>
                      <a:pt x="732" y="202"/>
                      <a:pt x="732" y="202"/>
                      <a:pt x="732" y="202"/>
                    </a:cubicBezTo>
                    <a:cubicBezTo>
                      <a:pt x="732" y="202"/>
                      <a:pt x="732" y="203"/>
                      <a:pt x="732" y="203"/>
                    </a:cubicBezTo>
                    <a:cubicBezTo>
                      <a:pt x="732" y="203"/>
                      <a:pt x="732" y="203"/>
                      <a:pt x="732" y="203"/>
                    </a:cubicBezTo>
                    <a:cubicBezTo>
                      <a:pt x="732" y="203"/>
                      <a:pt x="733" y="203"/>
                      <a:pt x="733" y="203"/>
                    </a:cubicBezTo>
                    <a:cubicBezTo>
                      <a:pt x="733" y="203"/>
                      <a:pt x="733" y="203"/>
                      <a:pt x="733" y="203"/>
                    </a:cubicBezTo>
                    <a:cubicBezTo>
                      <a:pt x="733" y="204"/>
                      <a:pt x="734" y="204"/>
                      <a:pt x="734" y="204"/>
                    </a:cubicBezTo>
                    <a:cubicBezTo>
                      <a:pt x="734" y="204"/>
                      <a:pt x="734" y="204"/>
                      <a:pt x="734" y="204"/>
                    </a:cubicBezTo>
                    <a:cubicBezTo>
                      <a:pt x="734" y="204"/>
                      <a:pt x="735" y="204"/>
                      <a:pt x="735" y="205"/>
                    </a:cubicBezTo>
                    <a:cubicBezTo>
                      <a:pt x="735" y="205"/>
                      <a:pt x="735" y="205"/>
                      <a:pt x="735" y="205"/>
                    </a:cubicBezTo>
                    <a:cubicBezTo>
                      <a:pt x="735" y="205"/>
                      <a:pt x="736" y="205"/>
                      <a:pt x="736" y="205"/>
                    </a:cubicBezTo>
                    <a:cubicBezTo>
                      <a:pt x="736" y="205"/>
                      <a:pt x="736" y="205"/>
                      <a:pt x="736" y="205"/>
                    </a:cubicBezTo>
                    <a:cubicBezTo>
                      <a:pt x="736" y="205"/>
                      <a:pt x="737" y="205"/>
                      <a:pt x="737" y="206"/>
                    </a:cubicBezTo>
                    <a:cubicBezTo>
                      <a:pt x="737" y="206"/>
                      <a:pt x="737" y="206"/>
                      <a:pt x="737" y="206"/>
                    </a:cubicBezTo>
                    <a:cubicBezTo>
                      <a:pt x="738" y="206"/>
                      <a:pt x="738" y="206"/>
                      <a:pt x="738" y="206"/>
                    </a:cubicBezTo>
                    <a:cubicBezTo>
                      <a:pt x="738" y="206"/>
                      <a:pt x="738" y="206"/>
                      <a:pt x="738" y="206"/>
                    </a:cubicBezTo>
                    <a:cubicBezTo>
                      <a:pt x="739" y="207"/>
                      <a:pt x="739" y="207"/>
                      <a:pt x="740" y="207"/>
                    </a:cubicBezTo>
                    <a:cubicBezTo>
                      <a:pt x="740" y="207"/>
                      <a:pt x="740" y="207"/>
                      <a:pt x="740" y="207"/>
                    </a:cubicBezTo>
                    <a:cubicBezTo>
                      <a:pt x="740" y="207"/>
                      <a:pt x="741" y="207"/>
                      <a:pt x="741" y="207"/>
                    </a:cubicBezTo>
                    <a:cubicBezTo>
                      <a:pt x="741" y="207"/>
                      <a:pt x="741" y="207"/>
                      <a:pt x="741" y="207"/>
                    </a:cubicBezTo>
                    <a:cubicBezTo>
                      <a:pt x="742" y="208"/>
                      <a:pt x="743" y="208"/>
                      <a:pt x="743" y="208"/>
                    </a:cubicBezTo>
                    <a:cubicBezTo>
                      <a:pt x="743" y="208"/>
                      <a:pt x="743" y="208"/>
                      <a:pt x="743" y="208"/>
                    </a:cubicBezTo>
                    <a:cubicBezTo>
                      <a:pt x="744" y="209"/>
                      <a:pt x="744" y="208"/>
                      <a:pt x="745" y="209"/>
                    </a:cubicBezTo>
                    <a:cubicBezTo>
                      <a:pt x="745" y="208"/>
                      <a:pt x="745" y="208"/>
                      <a:pt x="745" y="208"/>
                    </a:cubicBezTo>
                    <a:cubicBezTo>
                      <a:pt x="745" y="209"/>
                      <a:pt x="745" y="209"/>
                      <a:pt x="745" y="209"/>
                    </a:cubicBezTo>
                    <a:cubicBezTo>
                      <a:pt x="746" y="209"/>
                      <a:pt x="747" y="209"/>
                      <a:pt x="748" y="209"/>
                    </a:cubicBezTo>
                    <a:cubicBezTo>
                      <a:pt x="748" y="209"/>
                      <a:pt x="748" y="209"/>
                      <a:pt x="748" y="209"/>
                    </a:cubicBezTo>
                    <a:cubicBezTo>
                      <a:pt x="749" y="210"/>
                      <a:pt x="750" y="209"/>
                      <a:pt x="751" y="210"/>
                    </a:cubicBezTo>
                    <a:cubicBezTo>
                      <a:pt x="752" y="210"/>
                      <a:pt x="752" y="210"/>
                      <a:pt x="752" y="210"/>
                    </a:cubicBezTo>
                    <a:cubicBezTo>
                      <a:pt x="756" y="210"/>
                      <a:pt x="759" y="210"/>
                      <a:pt x="763" y="210"/>
                    </a:cubicBezTo>
                    <a:cubicBezTo>
                      <a:pt x="763" y="210"/>
                      <a:pt x="763" y="210"/>
                      <a:pt x="764" y="210"/>
                    </a:cubicBezTo>
                    <a:cubicBezTo>
                      <a:pt x="765" y="209"/>
                      <a:pt x="766" y="210"/>
                      <a:pt x="767" y="209"/>
                    </a:cubicBezTo>
                    <a:cubicBezTo>
                      <a:pt x="767" y="209"/>
                      <a:pt x="767" y="209"/>
                      <a:pt x="767" y="209"/>
                    </a:cubicBezTo>
                    <a:cubicBezTo>
                      <a:pt x="767" y="209"/>
                      <a:pt x="767" y="209"/>
                      <a:pt x="767" y="209"/>
                    </a:cubicBezTo>
                    <a:cubicBezTo>
                      <a:pt x="768" y="209"/>
                      <a:pt x="769" y="209"/>
                      <a:pt x="770" y="209"/>
                    </a:cubicBezTo>
                    <a:cubicBezTo>
                      <a:pt x="770" y="208"/>
                      <a:pt x="770" y="208"/>
                      <a:pt x="770" y="208"/>
                    </a:cubicBezTo>
                    <a:cubicBezTo>
                      <a:pt x="770" y="209"/>
                      <a:pt x="770" y="209"/>
                      <a:pt x="770" y="209"/>
                    </a:cubicBezTo>
                    <a:cubicBezTo>
                      <a:pt x="770" y="208"/>
                      <a:pt x="771" y="209"/>
                      <a:pt x="772" y="208"/>
                    </a:cubicBezTo>
                    <a:cubicBezTo>
                      <a:pt x="772" y="208"/>
                      <a:pt x="772" y="208"/>
                      <a:pt x="772" y="208"/>
                    </a:cubicBezTo>
                    <a:cubicBezTo>
                      <a:pt x="772" y="208"/>
                      <a:pt x="773" y="208"/>
                      <a:pt x="774" y="207"/>
                    </a:cubicBezTo>
                    <a:cubicBezTo>
                      <a:pt x="774" y="207"/>
                      <a:pt x="774" y="207"/>
                      <a:pt x="774" y="207"/>
                    </a:cubicBezTo>
                    <a:cubicBezTo>
                      <a:pt x="774" y="207"/>
                      <a:pt x="775" y="207"/>
                      <a:pt x="775" y="207"/>
                    </a:cubicBezTo>
                    <a:cubicBezTo>
                      <a:pt x="775" y="207"/>
                      <a:pt x="775" y="207"/>
                      <a:pt x="775" y="207"/>
                    </a:cubicBezTo>
                    <a:cubicBezTo>
                      <a:pt x="776" y="207"/>
                      <a:pt x="776" y="207"/>
                      <a:pt x="776" y="206"/>
                    </a:cubicBezTo>
                    <a:cubicBezTo>
                      <a:pt x="776" y="206"/>
                      <a:pt x="776" y="206"/>
                      <a:pt x="776" y="206"/>
                    </a:cubicBezTo>
                    <a:cubicBezTo>
                      <a:pt x="777" y="206"/>
                      <a:pt x="777" y="206"/>
                      <a:pt x="778" y="206"/>
                    </a:cubicBezTo>
                    <a:cubicBezTo>
                      <a:pt x="778" y="206"/>
                      <a:pt x="778" y="206"/>
                      <a:pt x="778" y="206"/>
                    </a:cubicBezTo>
                    <a:cubicBezTo>
                      <a:pt x="778" y="205"/>
                      <a:pt x="778" y="205"/>
                      <a:pt x="779" y="205"/>
                    </a:cubicBezTo>
                    <a:cubicBezTo>
                      <a:pt x="779" y="205"/>
                      <a:pt x="779" y="205"/>
                      <a:pt x="779" y="205"/>
                    </a:cubicBezTo>
                    <a:cubicBezTo>
                      <a:pt x="779" y="205"/>
                      <a:pt x="780" y="205"/>
                      <a:pt x="780" y="205"/>
                    </a:cubicBezTo>
                    <a:cubicBezTo>
                      <a:pt x="780" y="205"/>
                      <a:pt x="780" y="205"/>
                      <a:pt x="780" y="205"/>
                    </a:cubicBezTo>
                    <a:cubicBezTo>
                      <a:pt x="780" y="204"/>
                      <a:pt x="781" y="204"/>
                      <a:pt x="781" y="204"/>
                    </a:cubicBezTo>
                    <a:cubicBezTo>
                      <a:pt x="781" y="204"/>
                      <a:pt x="781" y="204"/>
                      <a:pt x="781" y="204"/>
                    </a:cubicBezTo>
                    <a:cubicBezTo>
                      <a:pt x="781" y="204"/>
                      <a:pt x="781" y="204"/>
                      <a:pt x="782" y="203"/>
                    </a:cubicBezTo>
                    <a:cubicBezTo>
                      <a:pt x="782" y="203"/>
                      <a:pt x="782" y="203"/>
                      <a:pt x="782" y="203"/>
                    </a:cubicBezTo>
                    <a:cubicBezTo>
                      <a:pt x="782" y="203"/>
                      <a:pt x="783" y="203"/>
                      <a:pt x="783" y="203"/>
                    </a:cubicBezTo>
                    <a:cubicBezTo>
                      <a:pt x="783" y="203"/>
                      <a:pt x="783" y="203"/>
                      <a:pt x="783" y="203"/>
                    </a:cubicBezTo>
                    <a:cubicBezTo>
                      <a:pt x="783" y="203"/>
                      <a:pt x="783" y="202"/>
                      <a:pt x="783" y="202"/>
                    </a:cubicBezTo>
                    <a:cubicBezTo>
                      <a:pt x="783" y="202"/>
                      <a:pt x="783" y="202"/>
                      <a:pt x="783" y="202"/>
                    </a:cubicBezTo>
                    <a:cubicBezTo>
                      <a:pt x="784" y="202"/>
                      <a:pt x="784" y="202"/>
                      <a:pt x="784" y="202"/>
                    </a:cubicBezTo>
                    <a:cubicBezTo>
                      <a:pt x="784" y="202"/>
                      <a:pt x="784" y="202"/>
                      <a:pt x="784" y="202"/>
                    </a:cubicBezTo>
                    <a:cubicBezTo>
                      <a:pt x="785" y="202"/>
                      <a:pt x="785" y="201"/>
                      <a:pt x="785" y="201"/>
                    </a:cubicBezTo>
                    <a:cubicBezTo>
                      <a:pt x="785" y="201"/>
                      <a:pt x="785" y="201"/>
                      <a:pt x="785" y="201"/>
                    </a:cubicBezTo>
                    <a:cubicBezTo>
                      <a:pt x="785" y="201"/>
                      <a:pt x="785" y="201"/>
                      <a:pt x="786" y="201"/>
                    </a:cubicBezTo>
                    <a:cubicBezTo>
                      <a:pt x="786" y="201"/>
                      <a:pt x="786" y="201"/>
                      <a:pt x="786" y="201"/>
                    </a:cubicBezTo>
                    <a:cubicBezTo>
                      <a:pt x="786" y="200"/>
                      <a:pt x="786" y="200"/>
                      <a:pt x="786" y="200"/>
                    </a:cubicBezTo>
                    <a:cubicBezTo>
                      <a:pt x="786" y="200"/>
                      <a:pt x="786" y="200"/>
                      <a:pt x="786" y="200"/>
                    </a:cubicBezTo>
                    <a:cubicBezTo>
                      <a:pt x="788" y="199"/>
                      <a:pt x="789" y="198"/>
                      <a:pt x="790" y="197"/>
                    </a:cubicBezTo>
                    <a:cubicBezTo>
                      <a:pt x="790" y="197"/>
                      <a:pt x="790" y="197"/>
                      <a:pt x="790" y="197"/>
                    </a:cubicBezTo>
                    <a:cubicBezTo>
                      <a:pt x="790" y="196"/>
                      <a:pt x="790" y="196"/>
                      <a:pt x="790" y="196"/>
                    </a:cubicBezTo>
                    <a:cubicBezTo>
                      <a:pt x="790" y="196"/>
                      <a:pt x="790" y="196"/>
                      <a:pt x="790" y="196"/>
                    </a:cubicBezTo>
                    <a:cubicBezTo>
                      <a:pt x="790" y="196"/>
                      <a:pt x="791" y="196"/>
                      <a:pt x="791" y="195"/>
                    </a:cubicBezTo>
                    <a:cubicBezTo>
                      <a:pt x="791" y="195"/>
                      <a:pt x="791" y="195"/>
                      <a:pt x="791" y="195"/>
                    </a:cubicBezTo>
                    <a:cubicBezTo>
                      <a:pt x="791" y="195"/>
                      <a:pt x="791" y="195"/>
                      <a:pt x="791" y="195"/>
                    </a:cubicBezTo>
                    <a:cubicBezTo>
                      <a:pt x="791" y="195"/>
                      <a:pt x="791" y="195"/>
                      <a:pt x="791" y="195"/>
                    </a:cubicBezTo>
                    <a:cubicBezTo>
                      <a:pt x="792" y="194"/>
                      <a:pt x="792" y="194"/>
                      <a:pt x="793" y="193"/>
                    </a:cubicBezTo>
                    <a:cubicBezTo>
                      <a:pt x="793" y="193"/>
                      <a:pt x="793" y="193"/>
                      <a:pt x="793" y="193"/>
                    </a:cubicBezTo>
                    <a:cubicBezTo>
                      <a:pt x="793" y="193"/>
                      <a:pt x="793" y="193"/>
                      <a:pt x="793" y="192"/>
                    </a:cubicBezTo>
                    <a:cubicBezTo>
                      <a:pt x="793" y="192"/>
                      <a:pt x="793" y="192"/>
                      <a:pt x="793" y="192"/>
                    </a:cubicBezTo>
                    <a:cubicBezTo>
                      <a:pt x="793" y="192"/>
                      <a:pt x="793" y="192"/>
                      <a:pt x="794" y="191"/>
                    </a:cubicBezTo>
                    <a:cubicBezTo>
                      <a:pt x="794" y="191"/>
                      <a:pt x="794" y="191"/>
                      <a:pt x="794" y="191"/>
                    </a:cubicBezTo>
                    <a:cubicBezTo>
                      <a:pt x="794" y="191"/>
                      <a:pt x="794" y="191"/>
                      <a:pt x="794" y="191"/>
                    </a:cubicBezTo>
                    <a:cubicBezTo>
                      <a:pt x="794" y="191"/>
                      <a:pt x="794" y="191"/>
                      <a:pt x="794" y="191"/>
                    </a:cubicBezTo>
                    <a:cubicBezTo>
                      <a:pt x="795" y="190"/>
                      <a:pt x="795" y="190"/>
                      <a:pt x="795" y="190"/>
                    </a:cubicBezTo>
                    <a:cubicBezTo>
                      <a:pt x="795" y="190"/>
                      <a:pt x="795" y="190"/>
                      <a:pt x="795" y="190"/>
                    </a:cubicBezTo>
                    <a:cubicBezTo>
                      <a:pt x="796" y="190"/>
                      <a:pt x="796" y="191"/>
                      <a:pt x="796" y="192"/>
                    </a:cubicBezTo>
                    <a:cubicBezTo>
                      <a:pt x="796" y="195"/>
                      <a:pt x="796" y="198"/>
                      <a:pt x="796" y="201"/>
                    </a:cubicBezTo>
                    <a:cubicBezTo>
                      <a:pt x="796" y="207"/>
                      <a:pt x="796" y="207"/>
                      <a:pt x="802" y="207"/>
                    </a:cubicBezTo>
                    <a:cubicBezTo>
                      <a:pt x="806" y="207"/>
                      <a:pt x="810" y="208"/>
                      <a:pt x="814" y="207"/>
                    </a:cubicBezTo>
                    <a:cubicBezTo>
                      <a:pt x="814" y="206"/>
                      <a:pt x="814" y="205"/>
                      <a:pt x="814" y="204"/>
                    </a:cubicBezTo>
                    <a:cubicBezTo>
                      <a:pt x="814" y="151"/>
                      <a:pt x="814" y="98"/>
                      <a:pt x="814" y="45"/>
                    </a:cubicBezTo>
                    <a:cubicBezTo>
                      <a:pt x="814" y="44"/>
                      <a:pt x="814" y="44"/>
                      <a:pt x="814" y="43"/>
                    </a:cubicBezTo>
                    <a:cubicBezTo>
                      <a:pt x="813" y="42"/>
                      <a:pt x="812" y="42"/>
                      <a:pt x="812" y="42"/>
                    </a:cubicBezTo>
                    <a:cubicBezTo>
                      <a:pt x="807" y="42"/>
                      <a:pt x="803" y="43"/>
                      <a:pt x="798" y="42"/>
                    </a:cubicBezTo>
                    <a:cubicBezTo>
                      <a:pt x="796" y="42"/>
                      <a:pt x="796" y="43"/>
                      <a:pt x="796" y="45"/>
                    </a:cubicBezTo>
                    <a:cubicBezTo>
                      <a:pt x="796" y="53"/>
                      <a:pt x="796" y="61"/>
                      <a:pt x="796" y="70"/>
                    </a:cubicBezTo>
                    <a:cubicBezTo>
                      <a:pt x="796" y="82"/>
                      <a:pt x="796" y="94"/>
                      <a:pt x="796" y="107"/>
                    </a:cubicBezTo>
                    <a:cubicBezTo>
                      <a:pt x="796" y="108"/>
                      <a:pt x="797" y="109"/>
                      <a:pt x="795" y="110"/>
                    </a:cubicBezTo>
                    <a:cubicBezTo>
                      <a:pt x="795" y="110"/>
                      <a:pt x="795" y="110"/>
                      <a:pt x="795" y="110"/>
                    </a:cubicBezTo>
                    <a:cubicBezTo>
                      <a:pt x="795" y="109"/>
                      <a:pt x="794" y="109"/>
                      <a:pt x="794" y="109"/>
                    </a:cubicBezTo>
                    <a:cubicBezTo>
                      <a:pt x="794" y="109"/>
                      <a:pt x="794" y="109"/>
                      <a:pt x="794" y="109"/>
                    </a:cubicBezTo>
                    <a:cubicBezTo>
                      <a:pt x="794" y="109"/>
                      <a:pt x="794" y="108"/>
                      <a:pt x="794" y="108"/>
                    </a:cubicBezTo>
                    <a:cubicBezTo>
                      <a:pt x="794" y="108"/>
                      <a:pt x="794" y="108"/>
                      <a:pt x="794" y="108"/>
                    </a:cubicBezTo>
                    <a:cubicBezTo>
                      <a:pt x="794" y="108"/>
                      <a:pt x="793" y="107"/>
                      <a:pt x="793" y="107"/>
                    </a:cubicBezTo>
                    <a:cubicBezTo>
                      <a:pt x="793" y="107"/>
                      <a:pt x="793" y="107"/>
                      <a:pt x="793" y="107"/>
                    </a:cubicBezTo>
                    <a:cubicBezTo>
                      <a:pt x="793" y="107"/>
                      <a:pt x="793" y="107"/>
                      <a:pt x="793" y="107"/>
                    </a:cubicBezTo>
                    <a:cubicBezTo>
                      <a:pt x="793" y="107"/>
                      <a:pt x="793" y="107"/>
                      <a:pt x="793" y="107"/>
                    </a:cubicBezTo>
                    <a:cubicBezTo>
                      <a:pt x="792" y="106"/>
                      <a:pt x="792" y="106"/>
                      <a:pt x="792" y="106"/>
                    </a:cubicBezTo>
                    <a:cubicBezTo>
                      <a:pt x="792" y="106"/>
                      <a:pt x="792" y="106"/>
                      <a:pt x="792" y="106"/>
                    </a:cubicBezTo>
                    <a:cubicBezTo>
                      <a:pt x="792" y="105"/>
                      <a:pt x="792" y="105"/>
                      <a:pt x="791" y="105"/>
                    </a:cubicBezTo>
                    <a:cubicBezTo>
                      <a:pt x="791" y="105"/>
                      <a:pt x="791" y="105"/>
                      <a:pt x="791" y="105"/>
                    </a:cubicBezTo>
                    <a:cubicBezTo>
                      <a:pt x="791" y="105"/>
                      <a:pt x="791" y="105"/>
                      <a:pt x="791" y="104"/>
                    </a:cubicBezTo>
                    <a:cubicBezTo>
                      <a:pt x="791" y="104"/>
                      <a:pt x="791" y="104"/>
                      <a:pt x="791" y="104"/>
                    </a:cubicBezTo>
                    <a:cubicBezTo>
                      <a:pt x="791" y="104"/>
                      <a:pt x="790" y="104"/>
                      <a:pt x="790" y="104"/>
                    </a:cubicBezTo>
                    <a:cubicBezTo>
                      <a:pt x="790" y="104"/>
                      <a:pt x="790" y="104"/>
                      <a:pt x="790" y="104"/>
                    </a:cubicBezTo>
                    <a:cubicBezTo>
                      <a:pt x="790" y="104"/>
                      <a:pt x="790" y="103"/>
                      <a:pt x="790" y="103"/>
                    </a:cubicBezTo>
                    <a:cubicBezTo>
                      <a:pt x="790" y="103"/>
                      <a:pt x="790" y="103"/>
                      <a:pt x="790" y="103"/>
                    </a:cubicBezTo>
                    <a:cubicBezTo>
                      <a:pt x="789" y="103"/>
                      <a:pt x="789" y="103"/>
                      <a:pt x="789" y="103"/>
                    </a:cubicBezTo>
                    <a:cubicBezTo>
                      <a:pt x="789" y="103"/>
                      <a:pt x="789" y="103"/>
                      <a:pt x="789" y="103"/>
                    </a:cubicBezTo>
                    <a:cubicBezTo>
                      <a:pt x="789" y="102"/>
                      <a:pt x="789" y="102"/>
                      <a:pt x="788" y="102"/>
                    </a:cubicBezTo>
                    <a:cubicBezTo>
                      <a:pt x="788" y="102"/>
                      <a:pt x="788" y="102"/>
                      <a:pt x="788" y="102"/>
                    </a:cubicBezTo>
                    <a:cubicBezTo>
                      <a:pt x="788" y="102"/>
                      <a:pt x="788" y="102"/>
                      <a:pt x="788" y="102"/>
                    </a:cubicBezTo>
                    <a:cubicBezTo>
                      <a:pt x="788" y="102"/>
                      <a:pt x="788" y="102"/>
                      <a:pt x="788" y="102"/>
                    </a:cubicBezTo>
                    <a:cubicBezTo>
                      <a:pt x="788" y="101"/>
                      <a:pt x="788" y="101"/>
                      <a:pt x="787" y="101"/>
                    </a:cubicBezTo>
                    <a:cubicBezTo>
                      <a:pt x="787" y="101"/>
                      <a:pt x="787" y="101"/>
                      <a:pt x="787" y="101"/>
                    </a:cubicBezTo>
                    <a:cubicBezTo>
                      <a:pt x="787" y="101"/>
                      <a:pt x="786" y="101"/>
                      <a:pt x="786" y="100"/>
                    </a:cubicBezTo>
                    <a:cubicBezTo>
                      <a:pt x="786" y="100"/>
                      <a:pt x="786" y="100"/>
                      <a:pt x="786" y="100"/>
                    </a:cubicBezTo>
                    <a:cubicBezTo>
                      <a:pt x="786" y="100"/>
                      <a:pt x="786" y="100"/>
                      <a:pt x="786" y="100"/>
                    </a:cubicBezTo>
                    <a:cubicBezTo>
                      <a:pt x="786" y="100"/>
                      <a:pt x="786" y="100"/>
                      <a:pt x="786" y="100"/>
                    </a:cubicBezTo>
                    <a:cubicBezTo>
                      <a:pt x="785" y="100"/>
                      <a:pt x="785" y="99"/>
                      <a:pt x="785" y="99"/>
                    </a:cubicBezTo>
                    <a:cubicBezTo>
                      <a:pt x="785" y="99"/>
                      <a:pt x="785" y="99"/>
                      <a:pt x="784" y="99"/>
                    </a:cubicBezTo>
                    <a:cubicBezTo>
                      <a:pt x="784" y="99"/>
                      <a:pt x="784" y="99"/>
                      <a:pt x="784" y="99"/>
                    </a:cubicBezTo>
                    <a:cubicBezTo>
                      <a:pt x="784" y="99"/>
                      <a:pt x="784" y="99"/>
                      <a:pt x="784" y="99"/>
                    </a:cubicBezTo>
                    <a:cubicBezTo>
                      <a:pt x="784" y="98"/>
                      <a:pt x="783" y="98"/>
                      <a:pt x="783" y="98"/>
                    </a:cubicBezTo>
                    <a:cubicBezTo>
                      <a:pt x="783" y="98"/>
                      <a:pt x="783" y="98"/>
                      <a:pt x="783" y="98"/>
                    </a:cubicBezTo>
                    <a:cubicBezTo>
                      <a:pt x="783" y="98"/>
                      <a:pt x="782" y="98"/>
                      <a:pt x="782" y="98"/>
                    </a:cubicBezTo>
                    <a:cubicBezTo>
                      <a:pt x="782" y="98"/>
                      <a:pt x="782" y="98"/>
                      <a:pt x="782" y="97"/>
                    </a:cubicBezTo>
                    <a:cubicBezTo>
                      <a:pt x="781" y="97"/>
                      <a:pt x="781" y="97"/>
                      <a:pt x="781" y="97"/>
                    </a:cubicBezTo>
                    <a:cubicBezTo>
                      <a:pt x="781" y="97"/>
                      <a:pt x="781" y="97"/>
                      <a:pt x="780" y="97"/>
                    </a:cubicBezTo>
                    <a:cubicBezTo>
                      <a:pt x="780" y="97"/>
                      <a:pt x="780" y="96"/>
                      <a:pt x="780" y="96"/>
                    </a:cubicBezTo>
                    <a:cubicBezTo>
                      <a:pt x="780" y="96"/>
                      <a:pt x="779" y="96"/>
                      <a:pt x="779" y="96"/>
                    </a:cubicBezTo>
                    <a:cubicBezTo>
                      <a:pt x="779" y="96"/>
                      <a:pt x="778" y="96"/>
                      <a:pt x="778" y="96"/>
                    </a:cubicBezTo>
                    <a:close/>
                    <a:moveTo>
                      <a:pt x="990" y="164"/>
                    </a:moveTo>
                    <a:cubicBezTo>
                      <a:pt x="989" y="164"/>
                      <a:pt x="989" y="164"/>
                      <a:pt x="989" y="164"/>
                    </a:cubicBezTo>
                    <a:cubicBezTo>
                      <a:pt x="989" y="163"/>
                      <a:pt x="989" y="163"/>
                      <a:pt x="989" y="163"/>
                    </a:cubicBezTo>
                    <a:cubicBezTo>
                      <a:pt x="989" y="163"/>
                      <a:pt x="989" y="162"/>
                      <a:pt x="989" y="161"/>
                    </a:cubicBezTo>
                    <a:cubicBezTo>
                      <a:pt x="989" y="161"/>
                      <a:pt x="989" y="161"/>
                      <a:pt x="989" y="161"/>
                    </a:cubicBezTo>
                    <a:cubicBezTo>
                      <a:pt x="988" y="161"/>
                      <a:pt x="989" y="160"/>
                      <a:pt x="988" y="160"/>
                    </a:cubicBezTo>
                    <a:cubicBezTo>
                      <a:pt x="988" y="160"/>
                      <a:pt x="988" y="159"/>
                      <a:pt x="988" y="159"/>
                    </a:cubicBezTo>
                    <a:cubicBezTo>
                      <a:pt x="988" y="159"/>
                      <a:pt x="988" y="158"/>
                      <a:pt x="988" y="157"/>
                    </a:cubicBezTo>
                    <a:cubicBezTo>
                      <a:pt x="988" y="157"/>
                      <a:pt x="988" y="157"/>
                      <a:pt x="988" y="157"/>
                    </a:cubicBezTo>
                    <a:cubicBezTo>
                      <a:pt x="987" y="157"/>
                      <a:pt x="988" y="156"/>
                      <a:pt x="987" y="156"/>
                    </a:cubicBezTo>
                    <a:cubicBezTo>
                      <a:pt x="987" y="156"/>
                      <a:pt x="987" y="155"/>
                      <a:pt x="987" y="155"/>
                    </a:cubicBezTo>
                    <a:cubicBezTo>
                      <a:pt x="987" y="155"/>
                      <a:pt x="987" y="154"/>
                      <a:pt x="987" y="153"/>
                    </a:cubicBezTo>
                    <a:cubicBezTo>
                      <a:pt x="986" y="153"/>
                      <a:pt x="986" y="153"/>
                      <a:pt x="987" y="153"/>
                    </a:cubicBezTo>
                    <a:cubicBezTo>
                      <a:pt x="986" y="152"/>
                      <a:pt x="987" y="152"/>
                      <a:pt x="986" y="151"/>
                    </a:cubicBezTo>
                    <a:cubicBezTo>
                      <a:pt x="986" y="151"/>
                      <a:pt x="986" y="151"/>
                      <a:pt x="986" y="151"/>
                    </a:cubicBezTo>
                    <a:cubicBezTo>
                      <a:pt x="986" y="151"/>
                      <a:pt x="986" y="150"/>
                      <a:pt x="986" y="149"/>
                    </a:cubicBezTo>
                    <a:cubicBezTo>
                      <a:pt x="985" y="149"/>
                      <a:pt x="985" y="149"/>
                      <a:pt x="985" y="149"/>
                    </a:cubicBezTo>
                    <a:cubicBezTo>
                      <a:pt x="985" y="148"/>
                      <a:pt x="985" y="148"/>
                      <a:pt x="985" y="147"/>
                    </a:cubicBezTo>
                    <a:cubicBezTo>
                      <a:pt x="985" y="147"/>
                      <a:pt x="985" y="147"/>
                      <a:pt x="985" y="147"/>
                    </a:cubicBezTo>
                    <a:cubicBezTo>
                      <a:pt x="984" y="146"/>
                      <a:pt x="985" y="145"/>
                      <a:pt x="984" y="145"/>
                    </a:cubicBezTo>
                    <a:cubicBezTo>
                      <a:pt x="984" y="145"/>
                      <a:pt x="984" y="145"/>
                      <a:pt x="984" y="145"/>
                    </a:cubicBezTo>
                    <a:cubicBezTo>
                      <a:pt x="984" y="144"/>
                      <a:pt x="984" y="143"/>
                      <a:pt x="984" y="143"/>
                    </a:cubicBezTo>
                    <a:cubicBezTo>
                      <a:pt x="984" y="143"/>
                      <a:pt x="984" y="143"/>
                      <a:pt x="984" y="143"/>
                    </a:cubicBezTo>
                    <a:cubicBezTo>
                      <a:pt x="983" y="142"/>
                      <a:pt x="984" y="141"/>
                      <a:pt x="983" y="141"/>
                    </a:cubicBezTo>
                    <a:cubicBezTo>
                      <a:pt x="983" y="141"/>
                      <a:pt x="983" y="140"/>
                      <a:pt x="983" y="140"/>
                    </a:cubicBezTo>
                    <a:cubicBezTo>
                      <a:pt x="983" y="140"/>
                      <a:pt x="983" y="139"/>
                      <a:pt x="983" y="138"/>
                    </a:cubicBezTo>
                    <a:cubicBezTo>
                      <a:pt x="983" y="138"/>
                      <a:pt x="983" y="138"/>
                      <a:pt x="983" y="138"/>
                    </a:cubicBezTo>
                    <a:cubicBezTo>
                      <a:pt x="982" y="138"/>
                      <a:pt x="983" y="137"/>
                      <a:pt x="982" y="137"/>
                    </a:cubicBezTo>
                    <a:cubicBezTo>
                      <a:pt x="982" y="137"/>
                      <a:pt x="982" y="136"/>
                      <a:pt x="982" y="136"/>
                    </a:cubicBezTo>
                    <a:cubicBezTo>
                      <a:pt x="982" y="136"/>
                      <a:pt x="982" y="135"/>
                      <a:pt x="981" y="134"/>
                    </a:cubicBezTo>
                    <a:cubicBezTo>
                      <a:pt x="981" y="134"/>
                      <a:pt x="981" y="134"/>
                      <a:pt x="981" y="134"/>
                    </a:cubicBezTo>
                    <a:cubicBezTo>
                      <a:pt x="981" y="133"/>
                      <a:pt x="981" y="133"/>
                      <a:pt x="981" y="132"/>
                    </a:cubicBezTo>
                    <a:cubicBezTo>
                      <a:pt x="981" y="132"/>
                      <a:pt x="981" y="132"/>
                      <a:pt x="981" y="132"/>
                    </a:cubicBezTo>
                    <a:cubicBezTo>
                      <a:pt x="980" y="132"/>
                      <a:pt x="981" y="131"/>
                      <a:pt x="980" y="130"/>
                    </a:cubicBezTo>
                    <a:cubicBezTo>
                      <a:pt x="980" y="130"/>
                      <a:pt x="980" y="130"/>
                      <a:pt x="980" y="130"/>
                    </a:cubicBezTo>
                    <a:cubicBezTo>
                      <a:pt x="980" y="129"/>
                      <a:pt x="980" y="129"/>
                      <a:pt x="980" y="128"/>
                    </a:cubicBezTo>
                    <a:cubicBezTo>
                      <a:pt x="980" y="128"/>
                      <a:pt x="980" y="128"/>
                      <a:pt x="980" y="128"/>
                    </a:cubicBezTo>
                    <a:cubicBezTo>
                      <a:pt x="980" y="128"/>
                      <a:pt x="980" y="128"/>
                      <a:pt x="980" y="128"/>
                    </a:cubicBezTo>
                    <a:cubicBezTo>
                      <a:pt x="979" y="127"/>
                      <a:pt x="980" y="126"/>
                      <a:pt x="979" y="126"/>
                    </a:cubicBezTo>
                    <a:cubicBezTo>
                      <a:pt x="979" y="126"/>
                      <a:pt x="979" y="126"/>
                      <a:pt x="979" y="126"/>
                    </a:cubicBezTo>
                    <a:cubicBezTo>
                      <a:pt x="979" y="125"/>
                      <a:pt x="979" y="124"/>
                      <a:pt x="979" y="124"/>
                    </a:cubicBezTo>
                    <a:cubicBezTo>
                      <a:pt x="978" y="124"/>
                      <a:pt x="978" y="124"/>
                      <a:pt x="979" y="124"/>
                    </a:cubicBezTo>
                    <a:cubicBezTo>
                      <a:pt x="978" y="123"/>
                      <a:pt x="978" y="122"/>
                      <a:pt x="978" y="122"/>
                    </a:cubicBezTo>
                    <a:cubicBezTo>
                      <a:pt x="978" y="122"/>
                      <a:pt x="978" y="122"/>
                      <a:pt x="978" y="122"/>
                    </a:cubicBezTo>
                    <a:cubicBezTo>
                      <a:pt x="978" y="121"/>
                      <a:pt x="978" y="121"/>
                      <a:pt x="978" y="121"/>
                    </a:cubicBezTo>
                    <a:cubicBezTo>
                      <a:pt x="978" y="121"/>
                      <a:pt x="978" y="120"/>
                      <a:pt x="977" y="119"/>
                    </a:cubicBezTo>
                    <a:cubicBezTo>
                      <a:pt x="977" y="119"/>
                      <a:pt x="977" y="119"/>
                      <a:pt x="977" y="119"/>
                    </a:cubicBezTo>
                    <a:cubicBezTo>
                      <a:pt x="977" y="119"/>
                      <a:pt x="977" y="118"/>
                      <a:pt x="977" y="118"/>
                    </a:cubicBezTo>
                    <a:cubicBezTo>
                      <a:pt x="977" y="118"/>
                      <a:pt x="977" y="117"/>
                      <a:pt x="977" y="117"/>
                    </a:cubicBezTo>
                    <a:cubicBezTo>
                      <a:pt x="976" y="117"/>
                      <a:pt x="977" y="116"/>
                      <a:pt x="976" y="115"/>
                    </a:cubicBezTo>
                    <a:cubicBezTo>
                      <a:pt x="976" y="115"/>
                      <a:pt x="976" y="115"/>
                      <a:pt x="976" y="115"/>
                    </a:cubicBezTo>
                    <a:cubicBezTo>
                      <a:pt x="976" y="115"/>
                      <a:pt x="976" y="115"/>
                      <a:pt x="976" y="115"/>
                    </a:cubicBezTo>
                    <a:cubicBezTo>
                      <a:pt x="976" y="114"/>
                      <a:pt x="976" y="114"/>
                      <a:pt x="976" y="113"/>
                    </a:cubicBezTo>
                    <a:cubicBezTo>
                      <a:pt x="976" y="113"/>
                      <a:pt x="976" y="113"/>
                      <a:pt x="976" y="113"/>
                    </a:cubicBezTo>
                    <a:cubicBezTo>
                      <a:pt x="975" y="113"/>
                      <a:pt x="976" y="112"/>
                      <a:pt x="975" y="111"/>
                    </a:cubicBezTo>
                    <a:cubicBezTo>
                      <a:pt x="975" y="111"/>
                      <a:pt x="975" y="111"/>
                      <a:pt x="975" y="111"/>
                    </a:cubicBezTo>
                    <a:cubicBezTo>
                      <a:pt x="975" y="110"/>
                      <a:pt x="975" y="110"/>
                      <a:pt x="975" y="109"/>
                    </a:cubicBezTo>
                    <a:cubicBezTo>
                      <a:pt x="974" y="109"/>
                      <a:pt x="974" y="109"/>
                      <a:pt x="974" y="109"/>
                    </a:cubicBezTo>
                    <a:cubicBezTo>
                      <a:pt x="974" y="109"/>
                      <a:pt x="974" y="109"/>
                      <a:pt x="974" y="109"/>
                    </a:cubicBezTo>
                    <a:cubicBezTo>
                      <a:pt x="974" y="108"/>
                      <a:pt x="974" y="107"/>
                      <a:pt x="974" y="107"/>
                    </a:cubicBezTo>
                    <a:cubicBezTo>
                      <a:pt x="974" y="107"/>
                      <a:pt x="974" y="107"/>
                      <a:pt x="974" y="107"/>
                    </a:cubicBezTo>
                    <a:cubicBezTo>
                      <a:pt x="973" y="106"/>
                      <a:pt x="974" y="105"/>
                      <a:pt x="973" y="105"/>
                    </a:cubicBezTo>
                    <a:cubicBezTo>
                      <a:pt x="973" y="105"/>
                      <a:pt x="973" y="105"/>
                      <a:pt x="973" y="105"/>
                    </a:cubicBezTo>
                    <a:cubicBezTo>
                      <a:pt x="973" y="104"/>
                      <a:pt x="973" y="103"/>
                      <a:pt x="973" y="103"/>
                    </a:cubicBezTo>
                    <a:cubicBezTo>
                      <a:pt x="973" y="103"/>
                      <a:pt x="973" y="103"/>
                      <a:pt x="973" y="103"/>
                    </a:cubicBezTo>
                    <a:cubicBezTo>
                      <a:pt x="973" y="102"/>
                      <a:pt x="973" y="102"/>
                      <a:pt x="973" y="102"/>
                    </a:cubicBezTo>
                    <a:cubicBezTo>
                      <a:pt x="972" y="102"/>
                      <a:pt x="973" y="101"/>
                      <a:pt x="972" y="100"/>
                    </a:cubicBezTo>
                    <a:cubicBezTo>
                      <a:pt x="972" y="100"/>
                      <a:pt x="972" y="100"/>
                      <a:pt x="972" y="100"/>
                    </a:cubicBezTo>
                    <a:cubicBezTo>
                      <a:pt x="972" y="100"/>
                      <a:pt x="972" y="99"/>
                      <a:pt x="972" y="99"/>
                    </a:cubicBezTo>
                    <a:cubicBezTo>
                      <a:pt x="972" y="99"/>
                      <a:pt x="971" y="98"/>
                      <a:pt x="972" y="98"/>
                    </a:cubicBezTo>
                    <a:cubicBezTo>
                      <a:pt x="971" y="98"/>
                      <a:pt x="972" y="97"/>
                      <a:pt x="971" y="96"/>
                    </a:cubicBezTo>
                    <a:cubicBezTo>
                      <a:pt x="970" y="96"/>
                      <a:pt x="969" y="96"/>
                      <a:pt x="968" y="96"/>
                    </a:cubicBezTo>
                    <a:cubicBezTo>
                      <a:pt x="963" y="96"/>
                      <a:pt x="958" y="96"/>
                      <a:pt x="952" y="96"/>
                    </a:cubicBezTo>
                    <a:cubicBezTo>
                      <a:pt x="952" y="96"/>
                      <a:pt x="952" y="96"/>
                      <a:pt x="952" y="97"/>
                    </a:cubicBezTo>
                    <a:cubicBezTo>
                      <a:pt x="952" y="97"/>
                      <a:pt x="952" y="97"/>
                      <a:pt x="952" y="97"/>
                    </a:cubicBezTo>
                    <a:cubicBezTo>
                      <a:pt x="953" y="97"/>
                      <a:pt x="952" y="98"/>
                      <a:pt x="953" y="99"/>
                    </a:cubicBezTo>
                    <a:cubicBezTo>
                      <a:pt x="953" y="99"/>
                      <a:pt x="953" y="99"/>
                      <a:pt x="953" y="99"/>
                    </a:cubicBezTo>
                    <a:cubicBezTo>
                      <a:pt x="953" y="99"/>
                      <a:pt x="953" y="99"/>
                      <a:pt x="953" y="99"/>
                    </a:cubicBezTo>
                    <a:cubicBezTo>
                      <a:pt x="953" y="99"/>
                      <a:pt x="953" y="100"/>
                      <a:pt x="953" y="100"/>
                    </a:cubicBezTo>
                    <a:cubicBezTo>
                      <a:pt x="953" y="100"/>
                      <a:pt x="953" y="101"/>
                      <a:pt x="953" y="101"/>
                    </a:cubicBezTo>
                    <a:cubicBezTo>
                      <a:pt x="954" y="101"/>
                      <a:pt x="953" y="102"/>
                      <a:pt x="954" y="103"/>
                    </a:cubicBezTo>
                    <a:cubicBezTo>
                      <a:pt x="954" y="103"/>
                      <a:pt x="954" y="103"/>
                      <a:pt x="954" y="103"/>
                    </a:cubicBezTo>
                    <a:cubicBezTo>
                      <a:pt x="954" y="103"/>
                      <a:pt x="954" y="104"/>
                      <a:pt x="954" y="104"/>
                    </a:cubicBezTo>
                    <a:cubicBezTo>
                      <a:pt x="955" y="105"/>
                      <a:pt x="955" y="105"/>
                      <a:pt x="955" y="105"/>
                    </a:cubicBezTo>
                    <a:cubicBezTo>
                      <a:pt x="954" y="105"/>
                      <a:pt x="954" y="105"/>
                      <a:pt x="954" y="105"/>
                    </a:cubicBezTo>
                    <a:cubicBezTo>
                      <a:pt x="955" y="105"/>
                      <a:pt x="955" y="106"/>
                      <a:pt x="955" y="106"/>
                    </a:cubicBezTo>
                    <a:cubicBezTo>
                      <a:pt x="955" y="106"/>
                      <a:pt x="955" y="106"/>
                      <a:pt x="955" y="107"/>
                    </a:cubicBezTo>
                    <a:cubicBezTo>
                      <a:pt x="955" y="107"/>
                      <a:pt x="955" y="108"/>
                      <a:pt x="956" y="108"/>
                    </a:cubicBezTo>
                    <a:cubicBezTo>
                      <a:pt x="956" y="108"/>
                      <a:pt x="956" y="108"/>
                      <a:pt x="956" y="108"/>
                    </a:cubicBezTo>
                    <a:cubicBezTo>
                      <a:pt x="956" y="109"/>
                      <a:pt x="956" y="110"/>
                      <a:pt x="956" y="110"/>
                    </a:cubicBezTo>
                    <a:cubicBezTo>
                      <a:pt x="956" y="110"/>
                      <a:pt x="956" y="110"/>
                      <a:pt x="956" y="110"/>
                    </a:cubicBezTo>
                    <a:cubicBezTo>
                      <a:pt x="956" y="110"/>
                      <a:pt x="956" y="110"/>
                      <a:pt x="956" y="110"/>
                    </a:cubicBezTo>
                    <a:cubicBezTo>
                      <a:pt x="956" y="111"/>
                      <a:pt x="956" y="111"/>
                      <a:pt x="957" y="112"/>
                    </a:cubicBezTo>
                    <a:cubicBezTo>
                      <a:pt x="957" y="112"/>
                      <a:pt x="957" y="112"/>
                      <a:pt x="957" y="112"/>
                    </a:cubicBezTo>
                    <a:cubicBezTo>
                      <a:pt x="957" y="113"/>
                      <a:pt x="957" y="114"/>
                      <a:pt x="957" y="114"/>
                    </a:cubicBezTo>
                    <a:cubicBezTo>
                      <a:pt x="957" y="114"/>
                      <a:pt x="957" y="114"/>
                      <a:pt x="957" y="114"/>
                    </a:cubicBezTo>
                    <a:cubicBezTo>
                      <a:pt x="958" y="115"/>
                      <a:pt x="957" y="115"/>
                      <a:pt x="958" y="116"/>
                    </a:cubicBezTo>
                    <a:cubicBezTo>
                      <a:pt x="958" y="116"/>
                      <a:pt x="958" y="116"/>
                      <a:pt x="958" y="116"/>
                    </a:cubicBezTo>
                    <a:cubicBezTo>
                      <a:pt x="958" y="116"/>
                      <a:pt x="958" y="116"/>
                      <a:pt x="958" y="116"/>
                    </a:cubicBezTo>
                    <a:cubicBezTo>
                      <a:pt x="958" y="117"/>
                      <a:pt x="958" y="117"/>
                      <a:pt x="958" y="118"/>
                    </a:cubicBezTo>
                    <a:cubicBezTo>
                      <a:pt x="959" y="118"/>
                      <a:pt x="959" y="118"/>
                      <a:pt x="958" y="118"/>
                    </a:cubicBezTo>
                    <a:cubicBezTo>
                      <a:pt x="959" y="118"/>
                      <a:pt x="959" y="119"/>
                      <a:pt x="959" y="119"/>
                    </a:cubicBezTo>
                    <a:cubicBezTo>
                      <a:pt x="959" y="119"/>
                      <a:pt x="959" y="120"/>
                      <a:pt x="959" y="120"/>
                    </a:cubicBezTo>
                    <a:cubicBezTo>
                      <a:pt x="959" y="120"/>
                      <a:pt x="959" y="121"/>
                      <a:pt x="960" y="122"/>
                    </a:cubicBezTo>
                    <a:cubicBezTo>
                      <a:pt x="960" y="122"/>
                      <a:pt x="960" y="122"/>
                      <a:pt x="960" y="122"/>
                    </a:cubicBezTo>
                    <a:cubicBezTo>
                      <a:pt x="960" y="122"/>
                      <a:pt x="960" y="123"/>
                      <a:pt x="960" y="123"/>
                    </a:cubicBezTo>
                    <a:cubicBezTo>
                      <a:pt x="960" y="123"/>
                      <a:pt x="960" y="124"/>
                      <a:pt x="960" y="124"/>
                    </a:cubicBezTo>
                    <a:cubicBezTo>
                      <a:pt x="960" y="124"/>
                      <a:pt x="960" y="125"/>
                      <a:pt x="961" y="125"/>
                    </a:cubicBezTo>
                    <a:cubicBezTo>
                      <a:pt x="961" y="125"/>
                      <a:pt x="961" y="125"/>
                      <a:pt x="961" y="126"/>
                    </a:cubicBezTo>
                    <a:cubicBezTo>
                      <a:pt x="961" y="126"/>
                      <a:pt x="961" y="127"/>
                      <a:pt x="961" y="127"/>
                    </a:cubicBezTo>
                    <a:cubicBezTo>
                      <a:pt x="961" y="127"/>
                      <a:pt x="961" y="127"/>
                      <a:pt x="961" y="127"/>
                    </a:cubicBezTo>
                    <a:cubicBezTo>
                      <a:pt x="962" y="128"/>
                      <a:pt x="961" y="129"/>
                      <a:pt x="962" y="129"/>
                    </a:cubicBezTo>
                    <a:cubicBezTo>
                      <a:pt x="962" y="129"/>
                      <a:pt x="962" y="129"/>
                      <a:pt x="962" y="129"/>
                    </a:cubicBezTo>
                    <a:cubicBezTo>
                      <a:pt x="962" y="129"/>
                      <a:pt x="962" y="129"/>
                      <a:pt x="962" y="129"/>
                    </a:cubicBezTo>
                    <a:cubicBezTo>
                      <a:pt x="962" y="130"/>
                      <a:pt x="962" y="130"/>
                      <a:pt x="962" y="131"/>
                    </a:cubicBezTo>
                    <a:cubicBezTo>
                      <a:pt x="963" y="131"/>
                      <a:pt x="963" y="131"/>
                      <a:pt x="962" y="131"/>
                    </a:cubicBezTo>
                    <a:cubicBezTo>
                      <a:pt x="963" y="132"/>
                      <a:pt x="963" y="133"/>
                      <a:pt x="963" y="133"/>
                    </a:cubicBezTo>
                    <a:cubicBezTo>
                      <a:pt x="963" y="133"/>
                      <a:pt x="963" y="133"/>
                      <a:pt x="963" y="133"/>
                    </a:cubicBezTo>
                    <a:cubicBezTo>
                      <a:pt x="964" y="134"/>
                      <a:pt x="963" y="134"/>
                      <a:pt x="964" y="135"/>
                    </a:cubicBezTo>
                    <a:cubicBezTo>
                      <a:pt x="964" y="135"/>
                      <a:pt x="964" y="135"/>
                      <a:pt x="964" y="135"/>
                    </a:cubicBezTo>
                    <a:cubicBezTo>
                      <a:pt x="964" y="135"/>
                      <a:pt x="964" y="135"/>
                      <a:pt x="964" y="135"/>
                    </a:cubicBezTo>
                    <a:cubicBezTo>
                      <a:pt x="964" y="136"/>
                      <a:pt x="964" y="136"/>
                      <a:pt x="964" y="137"/>
                    </a:cubicBezTo>
                    <a:cubicBezTo>
                      <a:pt x="964" y="137"/>
                      <a:pt x="964" y="137"/>
                      <a:pt x="964" y="137"/>
                    </a:cubicBezTo>
                    <a:cubicBezTo>
                      <a:pt x="965" y="138"/>
                      <a:pt x="964" y="138"/>
                      <a:pt x="965" y="139"/>
                    </a:cubicBezTo>
                    <a:cubicBezTo>
                      <a:pt x="965" y="139"/>
                      <a:pt x="965" y="139"/>
                      <a:pt x="965" y="139"/>
                    </a:cubicBezTo>
                    <a:cubicBezTo>
                      <a:pt x="965" y="139"/>
                      <a:pt x="965" y="140"/>
                      <a:pt x="965" y="141"/>
                    </a:cubicBezTo>
                    <a:cubicBezTo>
                      <a:pt x="965" y="141"/>
                      <a:pt x="965" y="141"/>
                      <a:pt x="965" y="141"/>
                    </a:cubicBezTo>
                    <a:cubicBezTo>
                      <a:pt x="965" y="141"/>
                      <a:pt x="965" y="141"/>
                      <a:pt x="965" y="141"/>
                    </a:cubicBezTo>
                    <a:cubicBezTo>
                      <a:pt x="966" y="141"/>
                      <a:pt x="966" y="142"/>
                      <a:pt x="966" y="142"/>
                    </a:cubicBezTo>
                    <a:cubicBezTo>
                      <a:pt x="966" y="142"/>
                      <a:pt x="966" y="143"/>
                      <a:pt x="966" y="143"/>
                    </a:cubicBezTo>
                    <a:cubicBezTo>
                      <a:pt x="966" y="143"/>
                      <a:pt x="966" y="144"/>
                      <a:pt x="967" y="145"/>
                    </a:cubicBezTo>
                    <a:cubicBezTo>
                      <a:pt x="967" y="145"/>
                      <a:pt x="967" y="145"/>
                      <a:pt x="967" y="145"/>
                    </a:cubicBezTo>
                    <a:cubicBezTo>
                      <a:pt x="967" y="145"/>
                      <a:pt x="967" y="146"/>
                      <a:pt x="967" y="146"/>
                    </a:cubicBezTo>
                    <a:cubicBezTo>
                      <a:pt x="967" y="147"/>
                      <a:pt x="967" y="147"/>
                      <a:pt x="967" y="147"/>
                    </a:cubicBezTo>
                    <a:cubicBezTo>
                      <a:pt x="967" y="147"/>
                      <a:pt x="967" y="147"/>
                      <a:pt x="967" y="147"/>
                    </a:cubicBezTo>
                    <a:cubicBezTo>
                      <a:pt x="967" y="147"/>
                      <a:pt x="967" y="148"/>
                      <a:pt x="968" y="148"/>
                    </a:cubicBezTo>
                    <a:cubicBezTo>
                      <a:pt x="968" y="148"/>
                      <a:pt x="968" y="148"/>
                      <a:pt x="968" y="149"/>
                    </a:cubicBezTo>
                    <a:cubicBezTo>
                      <a:pt x="968" y="149"/>
                      <a:pt x="968" y="150"/>
                      <a:pt x="968" y="150"/>
                    </a:cubicBezTo>
                    <a:cubicBezTo>
                      <a:pt x="968" y="150"/>
                      <a:pt x="968" y="150"/>
                      <a:pt x="968" y="150"/>
                    </a:cubicBezTo>
                    <a:cubicBezTo>
                      <a:pt x="969" y="151"/>
                      <a:pt x="968" y="152"/>
                      <a:pt x="969" y="152"/>
                    </a:cubicBezTo>
                    <a:cubicBezTo>
                      <a:pt x="969" y="152"/>
                      <a:pt x="969" y="152"/>
                      <a:pt x="969" y="152"/>
                    </a:cubicBezTo>
                    <a:cubicBezTo>
                      <a:pt x="969" y="153"/>
                      <a:pt x="969" y="153"/>
                      <a:pt x="969" y="154"/>
                    </a:cubicBezTo>
                    <a:cubicBezTo>
                      <a:pt x="969" y="154"/>
                      <a:pt x="970" y="154"/>
                      <a:pt x="969" y="154"/>
                    </a:cubicBezTo>
                    <a:cubicBezTo>
                      <a:pt x="970" y="155"/>
                      <a:pt x="970" y="155"/>
                      <a:pt x="970" y="156"/>
                    </a:cubicBezTo>
                    <a:cubicBezTo>
                      <a:pt x="970" y="156"/>
                      <a:pt x="970" y="156"/>
                      <a:pt x="970" y="156"/>
                    </a:cubicBezTo>
                    <a:cubicBezTo>
                      <a:pt x="970" y="157"/>
                      <a:pt x="970" y="157"/>
                      <a:pt x="971" y="158"/>
                    </a:cubicBezTo>
                    <a:cubicBezTo>
                      <a:pt x="971" y="158"/>
                      <a:pt x="971" y="158"/>
                      <a:pt x="971" y="158"/>
                    </a:cubicBezTo>
                    <a:cubicBezTo>
                      <a:pt x="971" y="158"/>
                      <a:pt x="971" y="159"/>
                      <a:pt x="971" y="160"/>
                    </a:cubicBezTo>
                    <a:cubicBezTo>
                      <a:pt x="971" y="160"/>
                      <a:pt x="971" y="160"/>
                      <a:pt x="971" y="160"/>
                    </a:cubicBezTo>
                    <a:cubicBezTo>
                      <a:pt x="971" y="160"/>
                      <a:pt x="971" y="160"/>
                      <a:pt x="971" y="160"/>
                    </a:cubicBezTo>
                    <a:cubicBezTo>
                      <a:pt x="971" y="160"/>
                      <a:pt x="971" y="161"/>
                      <a:pt x="972" y="161"/>
                    </a:cubicBezTo>
                    <a:cubicBezTo>
                      <a:pt x="972" y="162"/>
                      <a:pt x="972" y="162"/>
                      <a:pt x="972" y="162"/>
                    </a:cubicBezTo>
                    <a:cubicBezTo>
                      <a:pt x="972" y="162"/>
                      <a:pt x="972" y="163"/>
                      <a:pt x="972" y="164"/>
                    </a:cubicBezTo>
                    <a:cubicBezTo>
                      <a:pt x="972" y="164"/>
                      <a:pt x="972" y="164"/>
                      <a:pt x="972" y="164"/>
                    </a:cubicBezTo>
                    <a:cubicBezTo>
                      <a:pt x="973" y="164"/>
                      <a:pt x="972" y="165"/>
                      <a:pt x="973" y="165"/>
                    </a:cubicBezTo>
                    <a:cubicBezTo>
                      <a:pt x="973" y="166"/>
                      <a:pt x="973" y="166"/>
                      <a:pt x="973" y="166"/>
                    </a:cubicBezTo>
                    <a:cubicBezTo>
                      <a:pt x="973" y="166"/>
                      <a:pt x="973" y="166"/>
                      <a:pt x="973" y="166"/>
                    </a:cubicBezTo>
                    <a:cubicBezTo>
                      <a:pt x="973" y="166"/>
                      <a:pt x="973" y="167"/>
                      <a:pt x="973" y="167"/>
                    </a:cubicBezTo>
                    <a:cubicBezTo>
                      <a:pt x="974" y="167"/>
                      <a:pt x="974" y="167"/>
                      <a:pt x="973" y="168"/>
                    </a:cubicBezTo>
                    <a:cubicBezTo>
                      <a:pt x="974" y="168"/>
                      <a:pt x="973" y="169"/>
                      <a:pt x="974" y="169"/>
                    </a:cubicBezTo>
                    <a:cubicBezTo>
                      <a:pt x="974" y="169"/>
                      <a:pt x="974" y="169"/>
                      <a:pt x="974" y="169"/>
                    </a:cubicBezTo>
                    <a:cubicBezTo>
                      <a:pt x="974" y="170"/>
                      <a:pt x="974" y="171"/>
                      <a:pt x="975" y="171"/>
                    </a:cubicBezTo>
                    <a:cubicBezTo>
                      <a:pt x="975" y="171"/>
                      <a:pt x="975" y="171"/>
                      <a:pt x="975" y="171"/>
                    </a:cubicBezTo>
                    <a:cubicBezTo>
                      <a:pt x="975" y="171"/>
                      <a:pt x="975" y="171"/>
                      <a:pt x="975" y="171"/>
                    </a:cubicBezTo>
                    <a:cubicBezTo>
                      <a:pt x="975" y="172"/>
                      <a:pt x="975" y="172"/>
                      <a:pt x="975" y="173"/>
                    </a:cubicBezTo>
                    <a:cubicBezTo>
                      <a:pt x="975" y="173"/>
                      <a:pt x="975" y="173"/>
                      <a:pt x="975" y="173"/>
                    </a:cubicBezTo>
                    <a:cubicBezTo>
                      <a:pt x="976" y="174"/>
                      <a:pt x="975" y="175"/>
                      <a:pt x="976" y="175"/>
                    </a:cubicBezTo>
                    <a:cubicBezTo>
                      <a:pt x="976" y="175"/>
                      <a:pt x="976" y="175"/>
                      <a:pt x="976" y="175"/>
                    </a:cubicBezTo>
                    <a:cubicBezTo>
                      <a:pt x="976" y="176"/>
                      <a:pt x="976" y="176"/>
                      <a:pt x="976" y="177"/>
                    </a:cubicBezTo>
                    <a:cubicBezTo>
                      <a:pt x="976" y="177"/>
                      <a:pt x="976" y="177"/>
                      <a:pt x="976" y="177"/>
                    </a:cubicBezTo>
                    <a:cubicBezTo>
                      <a:pt x="976" y="177"/>
                      <a:pt x="976" y="177"/>
                      <a:pt x="976" y="177"/>
                    </a:cubicBezTo>
                    <a:cubicBezTo>
                      <a:pt x="976" y="178"/>
                      <a:pt x="977" y="178"/>
                      <a:pt x="977" y="179"/>
                    </a:cubicBezTo>
                    <a:cubicBezTo>
                      <a:pt x="977" y="179"/>
                      <a:pt x="977" y="179"/>
                      <a:pt x="977" y="179"/>
                    </a:cubicBezTo>
                    <a:cubicBezTo>
                      <a:pt x="977" y="180"/>
                      <a:pt x="977" y="180"/>
                      <a:pt x="977" y="181"/>
                    </a:cubicBezTo>
                    <a:cubicBezTo>
                      <a:pt x="977" y="181"/>
                      <a:pt x="977" y="181"/>
                      <a:pt x="977" y="181"/>
                    </a:cubicBezTo>
                    <a:cubicBezTo>
                      <a:pt x="978" y="181"/>
                      <a:pt x="977" y="182"/>
                      <a:pt x="978" y="183"/>
                    </a:cubicBezTo>
                    <a:cubicBezTo>
                      <a:pt x="978" y="183"/>
                      <a:pt x="978" y="183"/>
                      <a:pt x="978" y="183"/>
                    </a:cubicBezTo>
                    <a:cubicBezTo>
                      <a:pt x="978" y="183"/>
                      <a:pt x="978" y="183"/>
                      <a:pt x="978" y="183"/>
                    </a:cubicBezTo>
                    <a:cubicBezTo>
                      <a:pt x="978" y="183"/>
                      <a:pt x="978" y="184"/>
                      <a:pt x="979" y="184"/>
                    </a:cubicBezTo>
                    <a:cubicBezTo>
                      <a:pt x="979" y="185"/>
                      <a:pt x="979" y="185"/>
                      <a:pt x="979" y="185"/>
                    </a:cubicBezTo>
                    <a:cubicBezTo>
                      <a:pt x="979" y="185"/>
                      <a:pt x="979" y="186"/>
                      <a:pt x="979" y="186"/>
                    </a:cubicBezTo>
                    <a:cubicBezTo>
                      <a:pt x="979" y="186"/>
                      <a:pt x="979" y="186"/>
                      <a:pt x="979" y="187"/>
                    </a:cubicBezTo>
                    <a:cubicBezTo>
                      <a:pt x="980" y="187"/>
                      <a:pt x="979" y="188"/>
                      <a:pt x="980" y="188"/>
                    </a:cubicBezTo>
                    <a:cubicBezTo>
                      <a:pt x="980" y="188"/>
                      <a:pt x="980" y="188"/>
                      <a:pt x="980" y="188"/>
                    </a:cubicBezTo>
                    <a:cubicBezTo>
                      <a:pt x="980" y="189"/>
                      <a:pt x="980" y="190"/>
                      <a:pt x="980" y="190"/>
                    </a:cubicBezTo>
                    <a:cubicBezTo>
                      <a:pt x="980" y="190"/>
                      <a:pt x="980" y="190"/>
                      <a:pt x="980" y="191"/>
                    </a:cubicBezTo>
                    <a:cubicBezTo>
                      <a:pt x="981" y="191"/>
                      <a:pt x="981" y="191"/>
                      <a:pt x="981" y="192"/>
                    </a:cubicBezTo>
                    <a:cubicBezTo>
                      <a:pt x="981" y="192"/>
                      <a:pt x="981" y="192"/>
                      <a:pt x="981" y="192"/>
                    </a:cubicBezTo>
                    <a:cubicBezTo>
                      <a:pt x="981" y="193"/>
                      <a:pt x="981" y="194"/>
                      <a:pt x="981" y="194"/>
                    </a:cubicBezTo>
                    <a:cubicBezTo>
                      <a:pt x="981" y="194"/>
                      <a:pt x="981" y="194"/>
                      <a:pt x="981" y="194"/>
                    </a:cubicBezTo>
                    <a:cubicBezTo>
                      <a:pt x="982" y="195"/>
                      <a:pt x="982" y="195"/>
                      <a:pt x="982" y="196"/>
                    </a:cubicBezTo>
                    <a:cubicBezTo>
                      <a:pt x="982" y="196"/>
                      <a:pt x="982" y="196"/>
                      <a:pt x="982" y="196"/>
                    </a:cubicBezTo>
                    <a:cubicBezTo>
                      <a:pt x="982" y="196"/>
                      <a:pt x="982" y="196"/>
                      <a:pt x="982" y="196"/>
                    </a:cubicBezTo>
                    <a:cubicBezTo>
                      <a:pt x="982" y="197"/>
                      <a:pt x="982" y="197"/>
                      <a:pt x="983" y="198"/>
                    </a:cubicBezTo>
                    <a:cubicBezTo>
                      <a:pt x="983" y="198"/>
                      <a:pt x="983" y="198"/>
                      <a:pt x="983" y="198"/>
                    </a:cubicBezTo>
                    <a:cubicBezTo>
                      <a:pt x="983" y="199"/>
                      <a:pt x="983" y="199"/>
                      <a:pt x="983" y="200"/>
                    </a:cubicBezTo>
                    <a:cubicBezTo>
                      <a:pt x="983" y="200"/>
                      <a:pt x="983" y="200"/>
                      <a:pt x="983" y="200"/>
                    </a:cubicBezTo>
                    <a:cubicBezTo>
                      <a:pt x="984" y="200"/>
                      <a:pt x="983" y="201"/>
                      <a:pt x="984" y="202"/>
                    </a:cubicBezTo>
                    <a:cubicBezTo>
                      <a:pt x="984" y="202"/>
                      <a:pt x="984" y="202"/>
                      <a:pt x="984" y="202"/>
                    </a:cubicBezTo>
                    <a:cubicBezTo>
                      <a:pt x="984" y="202"/>
                      <a:pt x="984" y="202"/>
                      <a:pt x="984" y="202"/>
                    </a:cubicBezTo>
                    <a:cubicBezTo>
                      <a:pt x="984" y="202"/>
                      <a:pt x="984" y="203"/>
                      <a:pt x="984" y="203"/>
                    </a:cubicBezTo>
                    <a:cubicBezTo>
                      <a:pt x="984" y="204"/>
                      <a:pt x="984" y="204"/>
                      <a:pt x="984" y="204"/>
                    </a:cubicBezTo>
                    <a:cubicBezTo>
                      <a:pt x="985" y="204"/>
                      <a:pt x="984" y="205"/>
                      <a:pt x="985" y="206"/>
                    </a:cubicBezTo>
                    <a:cubicBezTo>
                      <a:pt x="985" y="206"/>
                      <a:pt x="985" y="206"/>
                      <a:pt x="985" y="206"/>
                    </a:cubicBezTo>
                    <a:cubicBezTo>
                      <a:pt x="985" y="207"/>
                      <a:pt x="986" y="207"/>
                      <a:pt x="987" y="207"/>
                    </a:cubicBezTo>
                    <a:cubicBezTo>
                      <a:pt x="992" y="207"/>
                      <a:pt x="997" y="207"/>
                      <a:pt x="1002" y="207"/>
                    </a:cubicBezTo>
                    <a:cubicBezTo>
                      <a:pt x="1003" y="207"/>
                      <a:pt x="1003" y="207"/>
                      <a:pt x="1004" y="206"/>
                    </a:cubicBezTo>
                    <a:cubicBezTo>
                      <a:pt x="1004" y="206"/>
                      <a:pt x="1004" y="206"/>
                      <a:pt x="1004" y="206"/>
                    </a:cubicBezTo>
                    <a:cubicBezTo>
                      <a:pt x="1004" y="206"/>
                      <a:pt x="1004" y="205"/>
                      <a:pt x="1004" y="205"/>
                    </a:cubicBezTo>
                    <a:cubicBezTo>
                      <a:pt x="1004" y="205"/>
                      <a:pt x="1004" y="205"/>
                      <a:pt x="1004" y="205"/>
                    </a:cubicBezTo>
                    <a:cubicBezTo>
                      <a:pt x="1005" y="204"/>
                      <a:pt x="1005" y="203"/>
                      <a:pt x="1005" y="203"/>
                    </a:cubicBezTo>
                    <a:cubicBezTo>
                      <a:pt x="1005" y="203"/>
                      <a:pt x="1005" y="202"/>
                      <a:pt x="1005" y="202"/>
                    </a:cubicBezTo>
                    <a:cubicBezTo>
                      <a:pt x="1005" y="202"/>
                      <a:pt x="1005" y="201"/>
                      <a:pt x="1006" y="201"/>
                    </a:cubicBezTo>
                    <a:cubicBezTo>
                      <a:pt x="1005" y="201"/>
                      <a:pt x="1005" y="201"/>
                      <a:pt x="1006" y="201"/>
                    </a:cubicBezTo>
                    <a:cubicBezTo>
                      <a:pt x="1006" y="200"/>
                      <a:pt x="1006" y="200"/>
                      <a:pt x="1006" y="199"/>
                    </a:cubicBezTo>
                    <a:cubicBezTo>
                      <a:pt x="1006" y="199"/>
                      <a:pt x="1006" y="199"/>
                      <a:pt x="1006" y="199"/>
                    </a:cubicBezTo>
                    <a:cubicBezTo>
                      <a:pt x="1006" y="199"/>
                      <a:pt x="1006" y="199"/>
                      <a:pt x="1006" y="199"/>
                    </a:cubicBezTo>
                    <a:cubicBezTo>
                      <a:pt x="1007" y="198"/>
                      <a:pt x="1006" y="198"/>
                      <a:pt x="1007" y="197"/>
                    </a:cubicBezTo>
                    <a:cubicBezTo>
                      <a:pt x="1007" y="197"/>
                      <a:pt x="1007" y="197"/>
                      <a:pt x="1007" y="197"/>
                    </a:cubicBezTo>
                    <a:cubicBezTo>
                      <a:pt x="1007" y="197"/>
                      <a:pt x="1007" y="196"/>
                      <a:pt x="1007" y="195"/>
                    </a:cubicBezTo>
                    <a:cubicBezTo>
                      <a:pt x="1007" y="195"/>
                      <a:pt x="1007" y="195"/>
                      <a:pt x="1007" y="195"/>
                    </a:cubicBezTo>
                    <a:cubicBezTo>
                      <a:pt x="1008" y="195"/>
                      <a:pt x="1007" y="194"/>
                      <a:pt x="1008" y="193"/>
                    </a:cubicBezTo>
                    <a:cubicBezTo>
                      <a:pt x="1008" y="193"/>
                      <a:pt x="1008" y="193"/>
                      <a:pt x="1008" y="193"/>
                    </a:cubicBezTo>
                    <a:cubicBezTo>
                      <a:pt x="1008" y="193"/>
                      <a:pt x="1008" y="192"/>
                      <a:pt x="1008" y="192"/>
                    </a:cubicBezTo>
                    <a:cubicBezTo>
                      <a:pt x="1008" y="191"/>
                      <a:pt x="1008" y="191"/>
                      <a:pt x="1008" y="191"/>
                    </a:cubicBezTo>
                    <a:cubicBezTo>
                      <a:pt x="1009" y="191"/>
                      <a:pt x="1009" y="191"/>
                      <a:pt x="1009" y="191"/>
                    </a:cubicBezTo>
                    <a:cubicBezTo>
                      <a:pt x="1009" y="191"/>
                      <a:pt x="1009" y="190"/>
                      <a:pt x="1009" y="190"/>
                    </a:cubicBezTo>
                    <a:cubicBezTo>
                      <a:pt x="1009" y="190"/>
                      <a:pt x="1009" y="190"/>
                      <a:pt x="1009" y="190"/>
                    </a:cubicBezTo>
                    <a:cubicBezTo>
                      <a:pt x="1010" y="189"/>
                      <a:pt x="1009" y="188"/>
                      <a:pt x="1010" y="188"/>
                    </a:cubicBezTo>
                    <a:cubicBezTo>
                      <a:pt x="1010" y="188"/>
                      <a:pt x="1010" y="188"/>
                      <a:pt x="1010" y="188"/>
                    </a:cubicBezTo>
                    <a:cubicBezTo>
                      <a:pt x="1010" y="187"/>
                      <a:pt x="1010" y="187"/>
                      <a:pt x="1010" y="186"/>
                    </a:cubicBezTo>
                    <a:cubicBezTo>
                      <a:pt x="1010" y="186"/>
                      <a:pt x="1010" y="186"/>
                      <a:pt x="1010" y="186"/>
                    </a:cubicBezTo>
                    <a:cubicBezTo>
                      <a:pt x="1011" y="185"/>
                      <a:pt x="1011" y="185"/>
                      <a:pt x="1011" y="184"/>
                    </a:cubicBezTo>
                    <a:cubicBezTo>
                      <a:pt x="1011" y="184"/>
                      <a:pt x="1011" y="184"/>
                      <a:pt x="1011" y="184"/>
                    </a:cubicBezTo>
                    <a:cubicBezTo>
                      <a:pt x="1011" y="183"/>
                      <a:pt x="1011" y="183"/>
                      <a:pt x="1011" y="182"/>
                    </a:cubicBezTo>
                    <a:cubicBezTo>
                      <a:pt x="1011" y="182"/>
                      <a:pt x="1011" y="182"/>
                      <a:pt x="1011" y="182"/>
                    </a:cubicBezTo>
                    <a:cubicBezTo>
                      <a:pt x="1011" y="182"/>
                      <a:pt x="1011" y="182"/>
                      <a:pt x="1011" y="182"/>
                    </a:cubicBezTo>
                    <a:cubicBezTo>
                      <a:pt x="1012" y="182"/>
                      <a:pt x="1011" y="181"/>
                      <a:pt x="1012" y="180"/>
                    </a:cubicBezTo>
                    <a:cubicBezTo>
                      <a:pt x="1012" y="180"/>
                      <a:pt x="1012" y="180"/>
                      <a:pt x="1012" y="180"/>
                    </a:cubicBezTo>
                    <a:cubicBezTo>
                      <a:pt x="1012" y="180"/>
                      <a:pt x="1012" y="179"/>
                      <a:pt x="1013" y="179"/>
                    </a:cubicBezTo>
                    <a:cubicBezTo>
                      <a:pt x="1013" y="179"/>
                      <a:pt x="1013" y="179"/>
                      <a:pt x="1013" y="179"/>
                    </a:cubicBezTo>
                    <a:cubicBezTo>
                      <a:pt x="1013" y="178"/>
                      <a:pt x="1013" y="177"/>
                      <a:pt x="1013" y="177"/>
                    </a:cubicBezTo>
                    <a:cubicBezTo>
                      <a:pt x="1013" y="177"/>
                      <a:pt x="1013" y="176"/>
                      <a:pt x="1013" y="176"/>
                    </a:cubicBezTo>
                    <a:cubicBezTo>
                      <a:pt x="1013" y="176"/>
                      <a:pt x="1013" y="175"/>
                      <a:pt x="1014" y="175"/>
                    </a:cubicBezTo>
                    <a:cubicBezTo>
                      <a:pt x="1014" y="175"/>
                      <a:pt x="1014" y="175"/>
                      <a:pt x="1014" y="175"/>
                    </a:cubicBezTo>
                    <a:cubicBezTo>
                      <a:pt x="1014" y="174"/>
                      <a:pt x="1014" y="174"/>
                      <a:pt x="1014" y="173"/>
                    </a:cubicBezTo>
                    <a:cubicBezTo>
                      <a:pt x="1014" y="173"/>
                      <a:pt x="1014" y="173"/>
                      <a:pt x="1014" y="173"/>
                    </a:cubicBezTo>
                    <a:cubicBezTo>
                      <a:pt x="1014" y="173"/>
                      <a:pt x="1014" y="173"/>
                      <a:pt x="1014" y="173"/>
                    </a:cubicBezTo>
                    <a:cubicBezTo>
                      <a:pt x="1015" y="172"/>
                      <a:pt x="1014" y="172"/>
                      <a:pt x="1015" y="171"/>
                    </a:cubicBezTo>
                    <a:cubicBezTo>
                      <a:pt x="1015" y="171"/>
                      <a:pt x="1015" y="171"/>
                      <a:pt x="1015" y="171"/>
                    </a:cubicBezTo>
                    <a:cubicBezTo>
                      <a:pt x="1015" y="171"/>
                      <a:pt x="1015" y="170"/>
                      <a:pt x="1015" y="169"/>
                    </a:cubicBezTo>
                    <a:cubicBezTo>
                      <a:pt x="1015" y="169"/>
                      <a:pt x="1015" y="169"/>
                      <a:pt x="1015" y="169"/>
                    </a:cubicBezTo>
                    <a:cubicBezTo>
                      <a:pt x="1016" y="169"/>
                      <a:pt x="1016" y="168"/>
                      <a:pt x="1016" y="168"/>
                    </a:cubicBezTo>
                    <a:cubicBezTo>
                      <a:pt x="1016" y="167"/>
                      <a:pt x="1016" y="167"/>
                      <a:pt x="1016" y="167"/>
                    </a:cubicBezTo>
                    <a:cubicBezTo>
                      <a:pt x="1016" y="167"/>
                      <a:pt x="1016" y="166"/>
                      <a:pt x="1017" y="166"/>
                    </a:cubicBezTo>
                    <a:cubicBezTo>
                      <a:pt x="1016" y="166"/>
                      <a:pt x="1016" y="166"/>
                      <a:pt x="1017" y="165"/>
                    </a:cubicBezTo>
                    <a:cubicBezTo>
                      <a:pt x="1017" y="165"/>
                      <a:pt x="1017" y="164"/>
                      <a:pt x="1017" y="164"/>
                    </a:cubicBezTo>
                    <a:cubicBezTo>
                      <a:pt x="1017" y="164"/>
                      <a:pt x="1017" y="164"/>
                      <a:pt x="1017" y="164"/>
                    </a:cubicBezTo>
                    <a:cubicBezTo>
                      <a:pt x="1017" y="164"/>
                      <a:pt x="1017" y="164"/>
                      <a:pt x="1017" y="164"/>
                    </a:cubicBezTo>
                    <a:cubicBezTo>
                      <a:pt x="1018" y="163"/>
                      <a:pt x="1017" y="162"/>
                      <a:pt x="1018" y="162"/>
                    </a:cubicBezTo>
                    <a:cubicBezTo>
                      <a:pt x="1018" y="162"/>
                      <a:pt x="1018" y="162"/>
                      <a:pt x="1018" y="162"/>
                    </a:cubicBezTo>
                    <a:cubicBezTo>
                      <a:pt x="1018" y="161"/>
                      <a:pt x="1018" y="161"/>
                      <a:pt x="1018" y="160"/>
                    </a:cubicBezTo>
                    <a:cubicBezTo>
                      <a:pt x="1018" y="160"/>
                      <a:pt x="1018" y="160"/>
                      <a:pt x="1018" y="160"/>
                    </a:cubicBezTo>
                    <a:cubicBezTo>
                      <a:pt x="1019" y="160"/>
                      <a:pt x="1018" y="159"/>
                      <a:pt x="1019" y="158"/>
                    </a:cubicBezTo>
                    <a:cubicBezTo>
                      <a:pt x="1019" y="158"/>
                      <a:pt x="1019" y="158"/>
                      <a:pt x="1019" y="158"/>
                    </a:cubicBezTo>
                    <a:cubicBezTo>
                      <a:pt x="1019" y="158"/>
                      <a:pt x="1019" y="157"/>
                      <a:pt x="1019" y="157"/>
                    </a:cubicBezTo>
                    <a:cubicBezTo>
                      <a:pt x="1019" y="156"/>
                      <a:pt x="1019" y="156"/>
                      <a:pt x="1019" y="156"/>
                    </a:cubicBezTo>
                    <a:cubicBezTo>
                      <a:pt x="1020" y="156"/>
                      <a:pt x="1020" y="155"/>
                      <a:pt x="1020" y="155"/>
                    </a:cubicBezTo>
                    <a:cubicBezTo>
                      <a:pt x="1020" y="155"/>
                      <a:pt x="1020" y="155"/>
                      <a:pt x="1020" y="155"/>
                    </a:cubicBezTo>
                    <a:cubicBezTo>
                      <a:pt x="1020" y="154"/>
                      <a:pt x="1020" y="154"/>
                      <a:pt x="1020" y="154"/>
                    </a:cubicBezTo>
                    <a:cubicBezTo>
                      <a:pt x="1021" y="154"/>
                      <a:pt x="1020" y="153"/>
                      <a:pt x="1021" y="153"/>
                    </a:cubicBezTo>
                    <a:cubicBezTo>
                      <a:pt x="1021" y="153"/>
                      <a:pt x="1021" y="153"/>
                      <a:pt x="1021" y="153"/>
                    </a:cubicBezTo>
                    <a:cubicBezTo>
                      <a:pt x="1021" y="152"/>
                      <a:pt x="1021" y="151"/>
                      <a:pt x="1021" y="151"/>
                    </a:cubicBezTo>
                    <a:cubicBezTo>
                      <a:pt x="1021" y="151"/>
                      <a:pt x="1021" y="151"/>
                      <a:pt x="1021" y="151"/>
                    </a:cubicBezTo>
                    <a:cubicBezTo>
                      <a:pt x="1022" y="151"/>
                      <a:pt x="1021" y="150"/>
                      <a:pt x="1022" y="149"/>
                    </a:cubicBezTo>
                    <a:cubicBezTo>
                      <a:pt x="1022" y="149"/>
                      <a:pt x="1022" y="149"/>
                      <a:pt x="1022" y="149"/>
                    </a:cubicBezTo>
                    <a:cubicBezTo>
                      <a:pt x="1022" y="148"/>
                      <a:pt x="1022" y="148"/>
                      <a:pt x="1022" y="147"/>
                    </a:cubicBezTo>
                    <a:cubicBezTo>
                      <a:pt x="1022" y="147"/>
                      <a:pt x="1022" y="147"/>
                      <a:pt x="1022" y="147"/>
                    </a:cubicBezTo>
                    <a:cubicBezTo>
                      <a:pt x="1023" y="147"/>
                      <a:pt x="1023" y="146"/>
                      <a:pt x="1023" y="146"/>
                    </a:cubicBezTo>
                    <a:cubicBezTo>
                      <a:pt x="1023" y="145"/>
                      <a:pt x="1023" y="145"/>
                      <a:pt x="1023" y="145"/>
                    </a:cubicBezTo>
                    <a:cubicBezTo>
                      <a:pt x="1023" y="145"/>
                      <a:pt x="1023" y="145"/>
                      <a:pt x="1023" y="145"/>
                    </a:cubicBezTo>
                    <a:cubicBezTo>
                      <a:pt x="1023" y="145"/>
                      <a:pt x="1023" y="144"/>
                      <a:pt x="1023" y="144"/>
                    </a:cubicBezTo>
                    <a:cubicBezTo>
                      <a:pt x="1023" y="144"/>
                      <a:pt x="1023" y="144"/>
                      <a:pt x="1023" y="144"/>
                    </a:cubicBezTo>
                    <a:cubicBezTo>
                      <a:pt x="1024" y="143"/>
                      <a:pt x="1024" y="142"/>
                      <a:pt x="1024" y="142"/>
                    </a:cubicBezTo>
                    <a:cubicBezTo>
                      <a:pt x="1024" y="142"/>
                      <a:pt x="1024" y="142"/>
                      <a:pt x="1024" y="142"/>
                    </a:cubicBezTo>
                    <a:cubicBezTo>
                      <a:pt x="1025" y="141"/>
                      <a:pt x="1024" y="140"/>
                      <a:pt x="1025" y="140"/>
                    </a:cubicBezTo>
                    <a:cubicBezTo>
                      <a:pt x="1024" y="140"/>
                      <a:pt x="1025" y="140"/>
                      <a:pt x="1025" y="139"/>
                    </a:cubicBezTo>
                    <a:cubicBezTo>
                      <a:pt x="1025" y="139"/>
                      <a:pt x="1025" y="139"/>
                      <a:pt x="1025" y="138"/>
                    </a:cubicBezTo>
                    <a:cubicBezTo>
                      <a:pt x="1025" y="138"/>
                      <a:pt x="1025" y="138"/>
                      <a:pt x="1025" y="138"/>
                    </a:cubicBezTo>
                    <a:cubicBezTo>
                      <a:pt x="1026" y="137"/>
                      <a:pt x="1026" y="137"/>
                      <a:pt x="1026" y="136"/>
                    </a:cubicBezTo>
                    <a:cubicBezTo>
                      <a:pt x="1026" y="136"/>
                      <a:pt x="1026" y="136"/>
                      <a:pt x="1026" y="136"/>
                    </a:cubicBezTo>
                    <a:cubicBezTo>
                      <a:pt x="1026" y="136"/>
                      <a:pt x="1026" y="136"/>
                      <a:pt x="1026" y="136"/>
                    </a:cubicBezTo>
                    <a:cubicBezTo>
                      <a:pt x="1026" y="136"/>
                      <a:pt x="1026" y="135"/>
                      <a:pt x="1026" y="134"/>
                    </a:cubicBezTo>
                    <a:cubicBezTo>
                      <a:pt x="1026" y="134"/>
                      <a:pt x="1026" y="134"/>
                      <a:pt x="1026" y="134"/>
                    </a:cubicBezTo>
                    <a:cubicBezTo>
                      <a:pt x="1027" y="134"/>
                      <a:pt x="1026" y="133"/>
                      <a:pt x="1027" y="133"/>
                    </a:cubicBezTo>
                    <a:cubicBezTo>
                      <a:pt x="1027" y="133"/>
                      <a:pt x="1027" y="133"/>
                      <a:pt x="1027" y="133"/>
                    </a:cubicBezTo>
                    <a:cubicBezTo>
                      <a:pt x="1027" y="132"/>
                      <a:pt x="1027" y="131"/>
                      <a:pt x="1027" y="131"/>
                    </a:cubicBezTo>
                    <a:cubicBezTo>
                      <a:pt x="1027" y="131"/>
                      <a:pt x="1027" y="130"/>
                      <a:pt x="1028" y="130"/>
                    </a:cubicBezTo>
                    <a:cubicBezTo>
                      <a:pt x="1028" y="130"/>
                      <a:pt x="1028" y="129"/>
                      <a:pt x="1028" y="129"/>
                    </a:cubicBezTo>
                    <a:cubicBezTo>
                      <a:pt x="1028" y="129"/>
                      <a:pt x="1028" y="129"/>
                      <a:pt x="1028" y="129"/>
                    </a:cubicBezTo>
                    <a:cubicBezTo>
                      <a:pt x="1028" y="129"/>
                      <a:pt x="1028" y="129"/>
                      <a:pt x="1028" y="129"/>
                    </a:cubicBezTo>
                    <a:cubicBezTo>
                      <a:pt x="1029" y="128"/>
                      <a:pt x="1028" y="127"/>
                      <a:pt x="1029" y="127"/>
                    </a:cubicBezTo>
                    <a:cubicBezTo>
                      <a:pt x="1029" y="127"/>
                      <a:pt x="1029" y="127"/>
                      <a:pt x="1029" y="127"/>
                    </a:cubicBezTo>
                    <a:cubicBezTo>
                      <a:pt x="1029" y="126"/>
                      <a:pt x="1029" y="126"/>
                      <a:pt x="1029" y="125"/>
                    </a:cubicBezTo>
                    <a:cubicBezTo>
                      <a:pt x="1029" y="125"/>
                      <a:pt x="1029" y="125"/>
                      <a:pt x="1029" y="125"/>
                    </a:cubicBezTo>
                    <a:cubicBezTo>
                      <a:pt x="1030" y="125"/>
                      <a:pt x="1029" y="124"/>
                      <a:pt x="1030" y="123"/>
                    </a:cubicBezTo>
                    <a:cubicBezTo>
                      <a:pt x="1030" y="123"/>
                      <a:pt x="1030" y="123"/>
                      <a:pt x="1030" y="123"/>
                    </a:cubicBezTo>
                    <a:cubicBezTo>
                      <a:pt x="1030" y="122"/>
                      <a:pt x="1030" y="122"/>
                      <a:pt x="1031" y="122"/>
                    </a:cubicBezTo>
                    <a:cubicBezTo>
                      <a:pt x="1031" y="122"/>
                      <a:pt x="1031" y="122"/>
                      <a:pt x="1031" y="123"/>
                    </a:cubicBezTo>
                    <a:cubicBezTo>
                      <a:pt x="1031" y="123"/>
                      <a:pt x="1031" y="124"/>
                      <a:pt x="1032" y="125"/>
                    </a:cubicBezTo>
                    <a:cubicBezTo>
                      <a:pt x="1032" y="125"/>
                      <a:pt x="1032" y="125"/>
                      <a:pt x="1032" y="125"/>
                    </a:cubicBezTo>
                    <a:cubicBezTo>
                      <a:pt x="1032" y="125"/>
                      <a:pt x="1032" y="126"/>
                      <a:pt x="1032" y="126"/>
                    </a:cubicBezTo>
                    <a:cubicBezTo>
                      <a:pt x="1032" y="126"/>
                      <a:pt x="1032" y="126"/>
                      <a:pt x="1032" y="127"/>
                    </a:cubicBezTo>
                    <a:cubicBezTo>
                      <a:pt x="1033" y="127"/>
                      <a:pt x="1032" y="128"/>
                      <a:pt x="1033" y="129"/>
                    </a:cubicBezTo>
                    <a:cubicBezTo>
                      <a:pt x="1033" y="129"/>
                      <a:pt x="1033" y="129"/>
                      <a:pt x="1033" y="129"/>
                    </a:cubicBezTo>
                    <a:cubicBezTo>
                      <a:pt x="1033" y="129"/>
                      <a:pt x="1033" y="130"/>
                      <a:pt x="1033" y="130"/>
                    </a:cubicBezTo>
                    <a:cubicBezTo>
                      <a:pt x="1033" y="130"/>
                      <a:pt x="1033" y="131"/>
                      <a:pt x="1033" y="131"/>
                    </a:cubicBezTo>
                    <a:cubicBezTo>
                      <a:pt x="1034" y="131"/>
                      <a:pt x="1033" y="132"/>
                      <a:pt x="1034" y="133"/>
                    </a:cubicBezTo>
                    <a:cubicBezTo>
                      <a:pt x="1034" y="133"/>
                      <a:pt x="1034" y="133"/>
                      <a:pt x="1034" y="133"/>
                    </a:cubicBezTo>
                    <a:cubicBezTo>
                      <a:pt x="1034" y="133"/>
                      <a:pt x="1034" y="134"/>
                      <a:pt x="1034" y="134"/>
                    </a:cubicBezTo>
                    <a:cubicBezTo>
                      <a:pt x="1035" y="134"/>
                      <a:pt x="1035" y="135"/>
                      <a:pt x="1035" y="135"/>
                    </a:cubicBezTo>
                    <a:cubicBezTo>
                      <a:pt x="1035" y="135"/>
                      <a:pt x="1034" y="136"/>
                      <a:pt x="1035" y="137"/>
                    </a:cubicBezTo>
                    <a:cubicBezTo>
                      <a:pt x="1035" y="137"/>
                      <a:pt x="1035" y="137"/>
                      <a:pt x="1035" y="137"/>
                    </a:cubicBezTo>
                    <a:cubicBezTo>
                      <a:pt x="1036" y="137"/>
                      <a:pt x="1035" y="138"/>
                      <a:pt x="1036" y="138"/>
                    </a:cubicBezTo>
                    <a:cubicBezTo>
                      <a:pt x="1036" y="138"/>
                      <a:pt x="1036" y="138"/>
                      <a:pt x="1036" y="138"/>
                    </a:cubicBezTo>
                    <a:cubicBezTo>
                      <a:pt x="1036" y="139"/>
                      <a:pt x="1036" y="139"/>
                      <a:pt x="1036" y="139"/>
                    </a:cubicBezTo>
                    <a:cubicBezTo>
                      <a:pt x="1036" y="139"/>
                      <a:pt x="1036" y="140"/>
                      <a:pt x="1036" y="140"/>
                    </a:cubicBezTo>
                    <a:cubicBezTo>
                      <a:pt x="1036" y="140"/>
                      <a:pt x="1036" y="140"/>
                      <a:pt x="1036" y="141"/>
                    </a:cubicBezTo>
                    <a:cubicBezTo>
                      <a:pt x="1037" y="141"/>
                      <a:pt x="1036" y="142"/>
                      <a:pt x="1037" y="142"/>
                    </a:cubicBezTo>
                    <a:cubicBezTo>
                      <a:pt x="1037" y="143"/>
                      <a:pt x="1037" y="143"/>
                      <a:pt x="1037" y="143"/>
                    </a:cubicBezTo>
                    <a:cubicBezTo>
                      <a:pt x="1037" y="143"/>
                      <a:pt x="1037" y="143"/>
                      <a:pt x="1037" y="143"/>
                    </a:cubicBezTo>
                    <a:cubicBezTo>
                      <a:pt x="1037" y="143"/>
                      <a:pt x="1037" y="144"/>
                      <a:pt x="1037" y="144"/>
                    </a:cubicBezTo>
                    <a:cubicBezTo>
                      <a:pt x="1037" y="144"/>
                      <a:pt x="1037" y="144"/>
                      <a:pt x="1037" y="145"/>
                    </a:cubicBezTo>
                    <a:cubicBezTo>
                      <a:pt x="1038" y="145"/>
                      <a:pt x="1037" y="146"/>
                      <a:pt x="1038" y="146"/>
                    </a:cubicBezTo>
                    <a:cubicBezTo>
                      <a:pt x="1038" y="147"/>
                      <a:pt x="1038" y="147"/>
                      <a:pt x="1038" y="147"/>
                    </a:cubicBezTo>
                    <a:cubicBezTo>
                      <a:pt x="1038" y="147"/>
                      <a:pt x="1038" y="147"/>
                      <a:pt x="1038" y="147"/>
                    </a:cubicBezTo>
                    <a:cubicBezTo>
                      <a:pt x="1038" y="147"/>
                      <a:pt x="1038" y="148"/>
                      <a:pt x="1038" y="148"/>
                    </a:cubicBezTo>
                    <a:cubicBezTo>
                      <a:pt x="1039" y="148"/>
                      <a:pt x="1039" y="148"/>
                      <a:pt x="1039" y="149"/>
                    </a:cubicBezTo>
                    <a:cubicBezTo>
                      <a:pt x="1039" y="149"/>
                      <a:pt x="1039" y="150"/>
                      <a:pt x="1039" y="150"/>
                    </a:cubicBezTo>
                    <a:cubicBezTo>
                      <a:pt x="1039" y="151"/>
                      <a:pt x="1039" y="151"/>
                      <a:pt x="1039" y="151"/>
                    </a:cubicBezTo>
                    <a:cubicBezTo>
                      <a:pt x="1039" y="151"/>
                      <a:pt x="1039" y="151"/>
                      <a:pt x="1039" y="151"/>
                    </a:cubicBezTo>
                    <a:cubicBezTo>
                      <a:pt x="1039" y="151"/>
                      <a:pt x="1039" y="152"/>
                      <a:pt x="1040" y="152"/>
                    </a:cubicBezTo>
                    <a:cubicBezTo>
                      <a:pt x="1040" y="152"/>
                      <a:pt x="1040" y="152"/>
                      <a:pt x="1040" y="153"/>
                    </a:cubicBezTo>
                    <a:cubicBezTo>
                      <a:pt x="1040" y="153"/>
                      <a:pt x="1040" y="154"/>
                      <a:pt x="1040" y="154"/>
                    </a:cubicBezTo>
                    <a:cubicBezTo>
                      <a:pt x="1040" y="154"/>
                      <a:pt x="1040" y="154"/>
                      <a:pt x="1040" y="154"/>
                    </a:cubicBezTo>
                    <a:cubicBezTo>
                      <a:pt x="1041" y="155"/>
                      <a:pt x="1040" y="156"/>
                      <a:pt x="1041" y="156"/>
                    </a:cubicBezTo>
                    <a:cubicBezTo>
                      <a:pt x="1041" y="156"/>
                      <a:pt x="1041" y="156"/>
                      <a:pt x="1041" y="157"/>
                    </a:cubicBezTo>
                    <a:cubicBezTo>
                      <a:pt x="1041" y="157"/>
                      <a:pt x="1041" y="158"/>
                      <a:pt x="1041" y="159"/>
                    </a:cubicBezTo>
                    <a:cubicBezTo>
                      <a:pt x="1041" y="158"/>
                      <a:pt x="1041" y="158"/>
                      <a:pt x="1041" y="158"/>
                    </a:cubicBezTo>
                    <a:cubicBezTo>
                      <a:pt x="1042" y="159"/>
                      <a:pt x="1041" y="160"/>
                      <a:pt x="1042" y="160"/>
                    </a:cubicBezTo>
                    <a:cubicBezTo>
                      <a:pt x="1042" y="160"/>
                      <a:pt x="1042" y="160"/>
                      <a:pt x="1042" y="161"/>
                    </a:cubicBezTo>
                    <a:cubicBezTo>
                      <a:pt x="1042" y="161"/>
                      <a:pt x="1042" y="162"/>
                      <a:pt x="1043" y="163"/>
                    </a:cubicBezTo>
                    <a:cubicBezTo>
                      <a:pt x="1043" y="163"/>
                      <a:pt x="1043" y="163"/>
                      <a:pt x="1043" y="163"/>
                    </a:cubicBezTo>
                    <a:cubicBezTo>
                      <a:pt x="1043" y="163"/>
                      <a:pt x="1043" y="164"/>
                      <a:pt x="1043" y="164"/>
                    </a:cubicBezTo>
                    <a:cubicBezTo>
                      <a:pt x="1043" y="164"/>
                      <a:pt x="1043" y="164"/>
                      <a:pt x="1043" y="165"/>
                    </a:cubicBezTo>
                    <a:cubicBezTo>
                      <a:pt x="1044" y="165"/>
                      <a:pt x="1043" y="166"/>
                      <a:pt x="1044" y="167"/>
                    </a:cubicBezTo>
                    <a:cubicBezTo>
                      <a:pt x="1044" y="167"/>
                      <a:pt x="1044" y="167"/>
                      <a:pt x="1044" y="167"/>
                    </a:cubicBezTo>
                    <a:cubicBezTo>
                      <a:pt x="1044" y="167"/>
                      <a:pt x="1044" y="168"/>
                      <a:pt x="1044" y="168"/>
                    </a:cubicBezTo>
                    <a:cubicBezTo>
                      <a:pt x="1044" y="168"/>
                      <a:pt x="1044" y="169"/>
                      <a:pt x="1044" y="169"/>
                    </a:cubicBezTo>
                    <a:cubicBezTo>
                      <a:pt x="1045" y="169"/>
                      <a:pt x="1044" y="170"/>
                      <a:pt x="1045" y="171"/>
                    </a:cubicBezTo>
                    <a:cubicBezTo>
                      <a:pt x="1045" y="171"/>
                      <a:pt x="1045" y="171"/>
                      <a:pt x="1045" y="171"/>
                    </a:cubicBezTo>
                    <a:cubicBezTo>
                      <a:pt x="1045" y="171"/>
                      <a:pt x="1045" y="172"/>
                      <a:pt x="1045" y="172"/>
                    </a:cubicBezTo>
                    <a:cubicBezTo>
                      <a:pt x="1046" y="172"/>
                      <a:pt x="1046" y="172"/>
                      <a:pt x="1046" y="172"/>
                    </a:cubicBezTo>
                    <a:cubicBezTo>
                      <a:pt x="1045" y="173"/>
                      <a:pt x="1045" y="173"/>
                      <a:pt x="1045" y="173"/>
                    </a:cubicBezTo>
                    <a:cubicBezTo>
                      <a:pt x="1046" y="173"/>
                      <a:pt x="1046" y="174"/>
                      <a:pt x="1046" y="174"/>
                    </a:cubicBezTo>
                    <a:cubicBezTo>
                      <a:pt x="1046" y="174"/>
                      <a:pt x="1046" y="174"/>
                      <a:pt x="1046" y="175"/>
                    </a:cubicBezTo>
                    <a:cubicBezTo>
                      <a:pt x="1046" y="175"/>
                      <a:pt x="1046" y="176"/>
                      <a:pt x="1047" y="176"/>
                    </a:cubicBezTo>
                    <a:cubicBezTo>
                      <a:pt x="1047" y="176"/>
                      <a:pt x="1047" y="176"/>
                      <a:pt x="1047" y="176"/>
                    </a:cubicBezTo>
                    <a:cubicBezTo>
                      <a:pt x="1047" y="177"/>
                      <a:pt x="1047" y="177"/>
                      <a:pt x="1047" y="177"/>
                    </a:cubicBezTo>
                    <a:cubicBezTo>
                      <a:pt x="1047" y="177"/>
                      <a:pt x="1047" y="178"/>
                      <a:pt x="1047" y="178"/>
                    </a:cubicBezTo>
                    <a:cubicBezTo>
                      <a:pt x="1047" y="178"/>
                      <a:pt x="1047" y="178"/>
                      <a:pt x="1047" y="179"/>
                    </a:cubicBezTo>
                    <a:cubicBezTo>
                      <a:pt x="1048" y="179"/>
                      <a:pt x="1047" y="180"/>
                      <a:pt x="1048" y="180"/>
                    </a:cubicBezTo>
                    <a:cubicBezTo>
                      <a:pt x="1048" y="181"/>
                      <a:pt x="1048" y="181"/>
                      <a:pt x="1048" y="181"/>
                    </a:cubicBezTo>
                    <a:cubicBezTo>
                      <a:pt x="1048" y="181"/>
                      <a:pt x="1048" y="181"/>
                      <a:pt x="1048" y="181"/>
                    </a:cubicBezTo>
                    <a:cubicBezTo>
                      <a:pt x="1048" y="181"/>
                      <a:pt x="1048" y="182"/>
                      <a:pt x="1048" y="182"/>
                    </a:cubicBezTo>
                    <a:cubicBezTo>
                      <a:pt x="1048" y="182"/>
                      <a:pt x="1048" y="182"/>
                      <a:pt x="1048" y="183"/>
                    </a:cubicBezTo>
                    <a:cubicBezTo>
                      <a:pt x="1049" y="183"/>
                      <a:pt x="1048" y="184"/>
                      <a:pt x="1049" y="184"/>
                    </a:cubicBezTo>
                    <a:cubicBezTo>
                      <a:pt x="1049" y="185"/>
                      <a:pt x="1049" y="185"/>
                      <a:pt x="1049" y="185"/>
                    </a:cubicBezTo>
                    <a:cubicBezTo>
                      <a:pt x="1049" y="185"/>
                      <a:pt x="1049" y="185"/>
                      <a:pt x="1049" y="185"/>
                    </a:cubicBezTo>
                    <a:cubicBezTo>
                      <a:pt x="1049" y="185"/>
                      <a:pt x="1049" y="186"/>
                      <a:pt x="1049" y="186"/>
                    </a:cubicBezTo>
                    <a:cubicBezTo>
                      <a:pt x="1050" y="186"/>
                      <a:pt x="1050" y="186"/>
                      <a:pt x="1049" y="187"/>
                    </a:cubicBezTo>
                    <a:cubicBezTo>
                      <a:pt x="1050" y="187"/>
                      <a:pt x="1049" y="188"/>
                      <a:pt x="1050" y="188"/>
                    </a:cubicBezTo>
                    <a:cubicBezTo>
                      <a:pt x="1050" y="189"/>
                      <a:pt x="1050" y="189"/>
                      <a:pt x="1050" y="189"/>
                    </a:cubicBezTo>
                    <a:cubicBezTo>
                      <a:pt x="1050" y="189"/>
                      <a:pt x="1050" y="189"/>
                      <a:pt x="1050" y="189"/>
                    </a:cubicBezTo>
                    <a:cubicBezTo>
                      <a:pt x="1050" y="189"/>
                      <a:pt x="1050" y="190"/>
                      <a:pt x="1051" y="190"/>
                    </a:cubicBezTo>
                    <a:cubicBezTo>
                      <a:pt x="1051" y="190"/>
                      <a:pt x="1051" y="190"/>
                      <a:pt x="1051" y="191"/>
                    </a:cubicBezTo>
                    <a:cubicBezTo>
                      <a:pt x="1051" y="191"/>
                      <a:pt x="1051" y="192"/>
                      <a:pt x="1051" y="192"/>
                    </a:cubicBezTo>
                    <a:cubicBezTo>
                      <a:pt x="1051" y="192"/>
                      <a:pt x="1051" y="192"/>
                      <a:pt x="1051" y="192"/>
                    </a:cubicBezTo>
                    <a:cubicBezTo>
                      <a:pt x="1052" y="193"/>
                      <a:pt x="1051" y="194"/>
                      <a:pt x="1052" y="194"/>
                    </a:cubicBezTo>
                    <a:cubicBezTo>
                      <a:pt x="1052" y="194"/>
                      <a:pt x="1052" y="194"/>
                      <a:pt x="1052" y="195"/>
                    </a:cubicBezTo>
                    <a:cubicBezTo>
                      <a:pt x="1052" y="195"/>
                      <a:pt x="1052" y="196"/>
                      <a:pt x="1052" y="197"/>
                    </a:cubicBezTo>
                    <a:cubicBezTo>
                      <a:pt x="1052" y="196"/>
                      <a:pt x="1052" y="196"/>
                      <a:pt x="1052" y="196"/>
                    </a:cubicBezTo>
                    <a:cubicBezTo>
                      <a:pt x="1053" y="197"/>
                      <a:pt x="1052" y="198"/>
                      <a:pt x="1053" y="198"/>
                    </a:cubicBezTo>
                    <a:cubicBezTo>
                      <a:pt x="1053" y="198"/>
                      <a:pt x="1053" y="198"/>
                      <a:pt x="1053" y="199"/>
                    </a:cubicBezTo>
                    <a:cubicBezTo>
                      <a:pt x="1053" y="199"/>
                      <a:pt x="1053" y="200"/>
                      <a:pt x="1053" y="201"/>
                    </a:cubicBezTo>
                    <a:cubicBezTo>
                      <a:pt x="1053" y="201"/>
                      <a:pt x="1053" y="201"/>
                      <a:pt x="1053" y="201"/>
                    </a:cubicBezTo>
                    <a:cubicBezTo>
                      <a:pt x="1054" y="201"/>
                      <a:pt x="1054" y="202"/>
                      <a:pt x="1054" y="202"/>
                    </a:cubicBezTo>
                    <a:cubicBezTo>
                      <a:pt x="1054" y="202"/>
                      <a:pt x="1054" y="202"/>
                      <a:pt x="1054" y="203"/>
                    </a:cubicBezTo>
                    <a:cubicBezTo>
                      <a:pt x="1054" y="203"/>
                      <a:pt x="1054" y="204"/>
                      <a:pt x="1055" y="205"/>
                    </a:cubicBezTo>
                    <a:cubicBezTo>
                      <a:pt x="1055" y="205"/>
                      <a:pt x="1055" y="205"/>
                      <a:pt x="1055" y="205"/>
                    </a:cubicBezTo>
                    <a:cubicBezTo>
                      <a:pt x="1055" y="205"/>
                      <a:pt x="1055" y="206"/>
                      <a:pt x="1055" y="206"/>
                    </a:cubicBezTo>
                    <a:cubicBezTo>
                      <a:pt x="1055" y="206"/>
                      <a:pt x="1055" y="206"/>
                      <a:pt x="1055" y="206"/>
                    </a:cubicBezTo>
                    <a:cubicBezTo>
                      <a:pt x="1055" y="207"/>
                      <a:pt x="1055" y="207"/>
                      <a:pt x="1055" y="207"/>
                    </a:cubicBezTo>
                    <a:cubicBezTo>
                      <a:pt x="1055" y="207"/>
                      <a:pt x="1055" y="207"/>
                      <a:pt x="1056" y="207"/>
                    </a:cubicBezTo>
                    <a:cubicBezTo>
                      <a:pt x="1062" y="207"/>
                      <a:pt x="1067" y="207"/>
                      <a:pt x="1073" y="207"/>
                    </a:cubicBezTo>
                    <a:cubicBezTo>
                      <a:pt x="1074" y="207"/>
                      <a:pt x="1074" y="207"/>
                      <a:pt x="1075" y="206"/>
                    </a:cubicBezTo>
                    <a:cubicBezTo>
                      <a:pt x="1075" y="206"/>
                      <a:pt x="1075" y="206"/>
                      <a:pt x="1075" y="206"/>
                    </a:cubicBezTo>
                    <a:cubicBezTo>
                      <a:pt x="1075" y="205"/>
                      <a:pt x="1075" y="204"/>
                      <a:pt x="1075" y="204"/>
                    </a:cubicBezTo>
                    <a:cubicBezTo>
                      <a:pt x="1075" y="204"/>
                      <a:pt x="1075" y="204"/>
                      <a:pt x="1075" y="203"/>
                    </a:cubicBezTo>
                    <a:cubicBezTo>
                      <a:pt x="1076" y="203"/>
                      <a:pt x="1076" y="202"/>
                      <a:pt x="1076" y="202"/>
                    </a:cubicBezTo>
                    <a:cubicBezTo>
                      <a:pt x="1076" y="202"/>
                      <a:pt x="1076" y="202"/>
                      <a:pt x="1076" y="202"/>
                    </a:cubicBezTo>
                    <a:cubicBezTo>
                      <a:pt x="1076" y="202"/>
                      <a:pt x="1076" y="202"/>
                      <a:pt x="1076" y="202"/>
                    </a:cubicBezTo>
                    <a:cubicBezTo>
                      <a:pt x="1076" y="201"/>
                      <a:pt x="1076" y="200"/>
                      <a:pt x="1076" y="200"/>
                    </a:cubicBezTo>
                    <a:cubicBezTo>
                      <a:pt x="1076" y="200"/>
                      <a:pt x="1076" y="200"/>
                      <a:pt x="1076" y="200"/>
                    </a:cubicBezTo>
                    <a:cubicBezTo>
                      <a:pt x="1077" y="199"/>
                      <a:pt x="1077" y="199"/>
                      <a:pt x="1077" y="198"/>
                    </a:cubicBezTo>
                    <a:cubicBezTo>
                      <a:pt x="1077" y="198"/>
                      <a:pt x="1077" y="198"/>
                      <a:pt x="1077" y="198"/>
                    </a:cubicBezTo>
                    <a:cubicBezTo>
                      <a:pt x="1077" y="197"/>
                      <a:pt x="1077" y="197"/>
                      <a:pt x="1078" y="196"/>
                    </a:cubicBezTo>
                    <a:cubicBezTo>
                      <a:pt x="1077" y="196"/>
                      <a:pt x="1077" y="196"/>
                      <a:pt x="1077" y="196"/>
                    </a:cubicBezTo>
                    <a:cubicBezTo>
                      <a:pt x="1078" y="196"/>
                      <a:pt x="1078" y="196"/>
                      <a:pt x="1078" y="196"/>
                    </a:cubicBezTo>
                    <a:cubicBezTo>
                      <a:pt x="1078" y="195"/>
                      <a:pt x="1078" y="195"/>
                      <a:pt x="1078" y="194"/>
                    </a:cubicBezTo>
                    <a:cubicBezTo>
                      <a:pt x="1078" y="194"/>
                      <a:pt x="1078" y="194"/>
                      <a:pt x="1078" y="194"/>
                    </a:cubicBezTo>
                    <a:cubicBezTo>
                      <a:pt x="1079" y="194"/>
                      <a:pt x="1078" y="193"/>
                      <a:pt x="1079" y="192"/>
                    </a:cubicBezTo>
                    <a:cubicBezTo>
                      <a:pt x="1079" y="192"/>
                      <a:pt x="1079" y="192"/>
                      <a:pt x="1079" y="192"/>
                    </a:cubicBezTo>
                    <a:cubicBezTo>
                      <a:pt x="1079" y="191"/>
                      <a:pt x="1079" y="191"/>
                      <a:pt x="1079" y="190"/>
                    </a:cubicBezTo>
                    <a:cubicBezTo>
                      <a:pt x="1079" y="190"/>
                      <a:pt x="1079" y="190"/>
                      <a:pt x="1079" y="190"/>
                    </a:cubicBezTo>
                    <a:cubicBezTo>
                      <a:pt x="1079" y="190"/>
                      <a:pt x="1079" y="190"/>
                      <a:pt x="1079" y="190"/>
                    </a:cubicBezTo>
                    <a:cubicBezTo>
                      <a:pt x="1080" y="190"/>
                      <a:pt x="1079" y="189"/>
                      <a:pt x="1080" y="188"/>
                    </a:cubicBezTo>
                    <a:cubicBezTo>
                      <a:pt x="1080" y="188"/>
                      <a:pt x="1080" y="188"/>
                      <a:pt x="1080" y="188"/>
                    </a:cubicBezTo>
                    <a:cubicBezTo>
                      <a:pt x="1080" y="188"/>
                      <a:pt x="1080" y="187"/>
                      <a:pt x="1080" y="187"/>
                    </a:cubicBezTo>
                    <a:cubicBezTo>
                      <a:pt x="1080" y="186"/>
                      <a:pt x="1080" y="186"/>
                      <a:pt x="1081" y="186"/>
                    </a:cubicBezTo>
                    <a:cubicBezTo>
                      <a:pt x="1081" y="186"/>
                      <a:pt x="1081" y="185"/>
                      <a:pt x="1081" y="185"/>
                    </a:cubicBezTo>
                    <a:cubicBezTo>
                      <a:pt x="1081" y="185"/>
                      <a:pt x="1081" y="185"/>
                      <a:pt x="1081" y="185"/>
                    </a:cubicBezTo>
                    <a:cubicBezTo>
                      <a:pt x="1081" y="184"/>
                      <a:pt x="1081" y="184"/>
                      <a:pt x="1081" y="184"/>
                    </a:cubicBezTo>
                    <a:cubicBezTo>
                      <a:pt x="1082" y="184"/>
                      <a:pt x="1081" y="183"/>
                      <a:pt x="1082" y="183"/>
                    </a:cubicBezTo>
                    <a:cubicBezTo>
                      <a:pt x="1082" y="183"/>
                      <a:pt x="1082" y="183"/>
                      <a:pt x="1082" y="183"/>
                    </a:cubicBezTo>
                    <a:cubicBezTo>
                      <a:pt x="1082" y="182"/>
                      <a:pt x="1082" y="181"/>
                      <a:pt x="1082" y="181"/>
                    </a:cubicBezTo>
                    <a:cubicBezTo>
                      <a:pt x="1082" y="181"/>
                      <a:pt x="1082" y="180"/>
                      <a:pt x="1082" y="180"/>
                    </a:cubicBezTo>
                    <a:cubicBezTo>
                      <a:pt x="1083" y="180"/>
                      <a:pt x="1083" y="179"/>
                      <a:pt x="1083" y="179"/>
                    </a:cubicBezTo>
                    <a:cubicBezTo>
                      <a:pt x="1083" y="179"/>
                      <a:pt x="1083" y="179"/>
                      <a:pt x="1083" y="179"/>
                    </a:cubicBezTo>
                    <a:cubicBezTo>
                      <a:pt x="1083" y="179"/>
                      <a:pt x="1083" y="179"/>
                      <a:pt x="1083" y="179"/>
                    </a:cubicBezTo>
                    <a:cubicBezTo>
                      <a:pt x="1083" y="178"/>
                      <a:pt x="1083" y="177"/>
                      <a:pt x="1083" y="177"/>
                    </a:cubicBezTo>
                    <a:cubicBezTo>
                      <a:pt x="1083" y="177"/>
                      <a:pt x="1083" y="177"/>
                      <a:pt x="1083" y="177"/>
                    </a:cubicBezTo>
                    <a:cubicBezTo>
                      <a:pt x="1084" y="176"/>
                      <a:pt x="1084" y="176"/>
                      <a:pt x="1084" y="175"/>
                    </a:cubicBezTo>
                    <a:cubicBezTo>
                      <a:pt x="1084" y="175"/>
                      <a:pt x="1084" y="175"/>
                      <a:pt x="1084" y="175"/>
                    </a:cubicBezTo>
                    <a:cubicBezTo>
                      <a:pt x="1084" y="174"/>
                      <a:pt x="1084" y="174"/>
                      <a:pt x="1084" y="173"/>
                    </a:cubicBezTo>
                    <a:cubicBezTo>
                      <a:pt x="1084" y="173"/>
                      <a:pt x="1084" y="173"/>
                      <a:pt x="1084" y="173"/>
                    </a:cubicBezTo>
                    <a:cubicBezTo>
                      <a:pt x="1085" y="173"/>
                      <a:pt x="1085" y="173"/>
                      <a:pt x="1085" y="173"/>
                    </a:cubicBezTo>
                    <a:cubicBezTo>
                      <a:pt x="1085" y="172"/>
                      <a:pt x="1085" y="172"/>
                      <a:pt x="1085" y="171"/>
                    </a:cubicBezTo>
                    <a:cubicBezTo>
                      <a:pt x="1085" y="171"/>
                      <a:pt x="1085" y="171"/>
                      <a:pt x="1085" y="171"/>
                    </a:cubicBezTo>
                    <a:cubicBezTo>
                      <a:pt x="1086" y="171"/>
                      <a:pt x="1085" y="170"/>
                      <a:pt x="1086" y="169"/>
                    </a:cubicBezTo>
                    <a:cubicBezTo>
                      <a:pt x="1086" y="169"/>
                      <a:pt x="1086" y="169"/>
                      <a:pt x="1086" y="169"/>
                    </a:cubicBezTo>
                    <a:cubicBezTo>
                      <a:pt x="1086" y="168"/>
                      <a:pt x="1086" y="168"/>
                      <a:pt x="1086" y="167"/>
                    </a:cubicBezTo>
                    <a:cubicBezTo>
                      <a:pt x="1086" y="167"/>
                      <a:pt x="1086" y="167"/>
                      <a:pt x="1086" y="167"/>
                    </a:cubicBezTo>
                    <a:cubicBezTo>
                      <a:pt x="1086" y="167"/>
                      <a:pt x="1086" y="167"/>
                      <a:pt x="1086" y="167"/>
                    </a:cubicBezTo>
                    <a:cubicBezTo>
                      <a:pt x="1087" y="167"/>
                      <a:pt x="1086" y="166"/>
                      <a:pt x="1087" y="165"/>
                    </a:cubicBezTo>
                    <a:cubicBezTo>
                      <a:pt x="1087" y="165"/>
                      <a:pt x="1087" y="165"/>
                      <a:pt x="1087" y="165"/>
                    </a:cubicBezTo>
                    <a:cubicBezTo>
                      <a:pt x="1087" y="165"/>
                      <a:pt x="1087" y="164"/>
                      <a:pt x="1087" y="164"/>
                    </a:cubicBezTo>
                    <a:cubicBezTo>
                      <a:pt x="1087" y="163"/>
                      <a:pt x="1087" y="163"/>
                      <a:pt x="1087" y="163"/>
                    </a:cubicBezTo>
                    <a:cubicBezTo>
                      <a:pt x="1088" y="163"/>
                      <a:pt x="1088" y="162"/>
                      <a:pt x="1088" y="162"/>
                    </a:cubicBezTo>
                    <a:cubicBezTo>
                      <a:pt x="1088" y="162"/>
                      <a:pt x="1088" y="162"/>
                      <a:pt x="1088" y="162"/>
                    </a:cubicBezTo>
                    <a:cubicBezTo>
                      <a:pt x="1088" y="161"/>
                      <a:pt x="1088" y="161"/>
                      <a:pt x="1088" y="161"/>
                    </a:cubicBezTo>
                    <a:cubicBezTo>
                      <a:pt x="1088" y="161"/>
                      <a:pt x="1088" y="160"/>
                      <a:pt x="1089" y="160"/>
                    </a:cubicBezTo>
                    <a:cubicBezTo>
                      <a:pt x="1089" y="160"/>
                      <a:pt x="1089" y="160"/>
                      <a:pt x="1089" y="160"/>
                    </a:cubicBezTo>
                    <a:cubicBezTo>
                      <a:pt x="1089" y="159"/>
                      <a:pt x="1089" y="158"/>
                      <a:pt x="1089" y="158"/>
                    </a:cubicBezTo>
                    <a:cubicBezTo>
                      <a:pt x="1089" y="158"/>
                      <a:pt x="1089" y="157"/>
                      <a:pt x="1089" y="157"/>
                    </a:cubicBezTo>
                    <a:cubicBezTo>
                      <a:pt x="1089" y="157"/>
                      <a:pt x="1090" y="156"/>
                      <a:pt x="1090" y="156"/>
                    </a:cubicBezTo>
                    <a:cubicBezTo>
                      <a:pt x="1090" y="156"/>
                      <a:pt x="1090" y="156"/>
                      <a:pt x="1090" y="156"/>
                    </a:cubicBezTo>
                    <a:cubicBezTo>
                      <a:pt x="1090" y="156"/>
                      <a:pt x="1090" y="156"/>
                      <a:pt x="1090" y="156"/>
                    </a:cubicBezTo>
                    <a:cubicBezTo>
                      <a:pt x="1090" y="155"/>
                      <a:pt x="1090" y="154"/>
                      <a:pt x="1090" y="154"/>
                    </a:cubicBezTo>
                    <a:cubicBezTo>
                      <a:pt x="1090" y="154"/>
                      <a:pt x="1090" y="154"/>
                      <a:pt x="1090" y="154"/>
                    </a:cubicBezTo>
                    <a:cubicBezTo>
                      <a:pt x="1091" y="153"/>
                      <a:pt x="1090" y="153"/>
                      <a:pt x="1091" y="152"/>
                    </a:cubicBezTo>
                    <a:cubicBezTo>
                      <a:pt x="1091" y="152"/>
                      <a:pt x="1091" y="152"/>
                      <a:pt x="1091" y="152"/>
                    </a:cubicBezTo>
                    <a:cubicBezTo>
                      <a:pt x="1091" y="151"/>
                      <a:pt x="1091" y="151"/>
                      <a:pt x="1091" y="150"/>
                    </a:cubicBezTo>
                    <a:cubicBezTo>
                      <a:pt x="1091" y="150"/>
                      <a:pt x="1091" y="150"/>
                      <a:pt x="1091" y="150"/>
                    </a:cubicBezTo>
                    <a:cubicBezTo>
                      <a:pt x="1091" y="150"/>
                      <a:pt x="1091" y="150"/>
                      <a:pt x="1091" y="150"/>
                    </a:cubicBezTo>
                    <a:cubicBezTo>
                      <a:pt x="1092" y="149"/>
                      <a:pt x="1092" y="149"/>
                      <a:pt x="1092" y="148"/>
                    </a:cubicBezTo>
                    <a:cubicBezTo>
                      <a:pt x="1092" y="148"/>
                      <a:pt x="1092" y="148"/>
                      <a:pt x="1092" y="148"/>
                    </a:cubicBezTo>
                    <a:cubicBezTo>
                      <a:pt x="1093" y="148"/>
                      <a:pt x="1092" y="147"/>
                      <a:pt x="1093" y="146"/>
                    </a:cubicBezTo>
                    <a:cubicBezTo>
                      <a:pt x="1092" y="146"/>
                      <a:pt x="1092" y="146"/>
                      <a:pt x="1093" y="146"/>
                    </a:cubicBezTo>
                    <a:cubicBezTo>
                      <a:pt x="1093" y="145"/>
                      <a:pt x="1093" y="145"/>
                      <a:pt x="1093" y="144"/>
                    </a:cubicBezTo>
                    <a:cubicBezTo>
                      <a:pt x="1093" y="144"/>
                      <a:pt x="1093" y="144"/>
                      <a:pt x="1093" y="144"/>
                    </a:cubicBezTo>
                    <a:cubicBezTo>
                      <a:pt x="1094" y="144"/>
                      <a:pt x="1093" y="143"/>
                      <a:pt x="1094" y="142"/>
                    </a:cubicBezTo>
                    <a:cubicBezTo>
                      <a:pt x="1094" y="142"/>
                      <a:pt x="1094" y="142"/>
                      <a:pt x="1094" y="142"/>
                    </a:cubicBezTo>
                    <a:cubicBezTo>
                      <a:pt x="1094" y="141"/>
                      <a:pt x="1094" y="141"/>
                      <a:pt x="1094" y="140"/>
                    </a:cubicBezTo>
                    <a:cubicBezTo>
                      <a:pt x="1094" y="140"/>
                      <a:pt x="1094" y="140"/>
                      <a:pt x="1094" y="140"/>
                    </a:cubicBezTo>
                    <a:cubicBezTo>
                      <a:pt x="1095" y="140"/>
                      <a:pt x="1094" y="139"/>
                      <a:pt x="1095" y="138"/>
                    </a:cubicBezTo>
                    <a:cubicBezTo>
                      <a:pt x="1095" y="138"/>
                      <a:pt x="1095" y="138"/>
                      <a:pt x="1095" y="138"/>
                    </a:cubicBezTo>
                    <a:cubicBezTo>
                      <a:pt x="1095" y="138"/>
                      <a:pt x="1095" y="137"/>
                      <a:pt x="1095" y="137"/>
                    </a:cubicBezTo>
                    <a:cubicBezTo>
                      <a:pt x="1095" y="136"/>
                      <a:pt x="1095" y="136"/>
                      <a:pt x="1096" y="136"/>
                    </a:cubicBezTo>
                    <a:cubicBezTo>
                      <a:pt x="1096" y="136"/>
                      <a:pt x="1096" y="135"/>
                      <a:pt x="1096" y="135"/>
                    </a:cubicBezTo>
                    <a:cubicBezTo>
                      <a:pt x="1096" y="135"/>
                      <a:pt x="1096" y="134"/>
                      <a:pt x="1096" y="134"/>
                    </a:cubicBezTo>
                    <a:cubicBezTo>
                      <a:pt x="1097" y="134"/>
                      <a:pt x="1096" y="133"/>
                      <a:pt x="1097" y="133"/>
                    </a:cubicBezTo>
                    <a:cubicBezTo>
                      <a:pt x="1097" y="133"/>
                      <a:pt x="1097" y="133"/>
                      <a:pt x="1097" y="133"/>
                    </a:cubicBezTo>
                    <a:cubicBezTo>
                      <a:pt x="1097" y="132"/>
                      <a:pt x="1097" y="131"/>
                      <a:pt x="1097" y="131"/>
                    </a:cubicBezTo>
                    <a:cubicBezTo>
                      <a:pt x="1097" y="131"/>
                      <a:pt x="1097" y="130"/>
                      <a:pt x="1097" y="130"/>
                    </a:cubicBezTo>
                    <a:cubicBezTo>
                      <a:pt x="1098" y="130"/>
                      <a:pt x="1098" y="129"/>
                      <a:pt x="1098" y="129"/>
                    </a:cubicBezTo>
                    <a:cubicBezTo>
                      <a:pt x="1098" y="129"/>
                      <a:pt x="1098" y="129"/>
                      <a:pt x="1098" y="129"/>
                    </a:cubicBezTo>
                    <a:cubicBezTo>
                      <a:pt x="1098" y="128"/>
                      <a:pt x="1098" y="127"/>
                      <a:pt x="1098" y="127"/>
                    </a:cubicBezTo>
                    <a:cubicBezTo>
                      <a:pt x="1098" y="127"/>
                      <a:pt x="1098" y="127"/>
                      <a:pt x="1098" y="127"/>
                    </a:cubicBezTo>
                    <a:cubicBezTo>
                      <a:pt x="1099" y="126"/>
                      <a:pt x="1098" y="126"/>
                      <a:pt x="1099" y="125"/>
                    </a:cubicBezTo>
                    <a:cubicBezTo>
                      <a:pt x="1099" y="125"/>
                      <a:pt x="1099" y="125"/>
                      <a:pt x="1099" y="125"/>
                    </a:cubicBezTo>
                    <a:cubicBezTo>
                      <a:pt x="1099" y="124"/>
                      <a:pt x="1099" y="124"/>
                      <a:pt x="1099" y="123"/>
                    </a:cubicBezTo>
                    <a:cubicBezTo>
                      <a:pt x="1099" y="123"/>
                      <a:pt x="1099" y="123"/>
                      <a:pt x="1100" y="123"/>
                    </a:cubicBezTo>
                    <a:cubicBezTo>
                      <a:pt x="1100" y="122"/>
                      <a:pt x="1100" y="122"/>
                      <a:pt x="1100" y="121"/>
                    </a:cubicBezTo>
                    <a:cubicBezTo>
                      <a:pt x="1100" y="121"/>
                      <a:pt x="1100" y="121"/>
                      <a:pt x="1100" y="121"/>
                    </a:cubicBezTo>
                    <a:cubicBezTo>
                      <a:pt x="1101" y="121"/>
                      <a:pt x="1100" y="120"/>
                      <a:pt x="1101" y="119"/>
                    </a:cubicBezTo>
                    <a:cubicBezTo>
                      <a:pt x="1101" y="119"/>
                      <a:pt x="1101" y="119"/>
                      <a:pt x="1101" y="119"/>
                    </a:cubicBezTo>
                    <a:cubicBezTo>
                      <a:pt x="1101" y="118"/>
                      <a:pt x="1101" y="118"/>
                      <a:pt x="1101" y="117"/>
                    </a:cubicBezTo>
                    <a:cubicBezTo>
                      <a:pt x="1101" y="117"/>
                      <a:pt x="1101" y="117"/>
                      <a:pt x="1101" y="117"/>
                    </a:cubicBezTo>
                    <a:cubicBezTo>
                      <a:pt x="1102" y="117"/>
                      <a:pt x="1101" y="116"/>
                      <a:pt x="1102" y="115"/>
                    </a:cubicBezTo>
                    <a:cubicBezTo>
                      <a:pt x="1102" y="115"/>
                      <a:pt x="1102" y="115"/>
                      <a:pt x="1102" y="115"/>
                    </a:cubicBezTo>
                    <a:cubicBezTo>
                      <a:pt x="1102" y="115"/>
                      <a:pt x="1102" y="114"/>
                      <a:pt x="1102" y="113"/>
                    </a:cubicBezTo>
                    <a:cubicBezTo>
                      <a:pt x="1102" y="113"/>
                      <a:pt x="1102" y="113"/>
                      <a:pt x="1102" y="113"/>
                    </a:cubicBezTo>
                    <a:cubicBezTo>
                      <a:pt x="1103" y="113"/>
                      <a:pt x="1103" y="112"/>
                      <a:pt x="1103" y="112"/>
                    </a:cubicBezTo>
                    <a:cubicBezTo>
                      <a:pt x="1103" y="111"/>
                      <a:pt x="1103" y="111"/>
                      <a:pt x="1103" y="111"/>
                    </a:cubicBezTo>
                    <a:cubicBezTo>
                      <a:pt x="1103" y="111"/>
                      <a:pt x="1103" y="110"/>
                      <a:pt x="1104" y="110"/>
                    </a:cubicBezTo>
                    <a:cubicBezTo>
                      <a:pt x="1104" y="110"/>
                      <a:pt x="1104" y="110"/>
                      <a:pt x="1104" y="110"/>
                    </a:cubicBezTo>
                    <a:cubicBezTo>
                      <a:pt x="1104" y="109"/>
                      <a:pt x="1104" y="108"/>
                      <a:pt x="1104" y="108"/>
                    </a:cubicBezTo>
                    <a:cubicBezTo>
                      <a:pt x="1104" y="108"/>
                      <a:pt x="1104" y="107"/>
                      <a:pt x="1104" y="107"/>
                    </a:cubicBezTo>
                    <a:cubicBezTo>
                      <a:pt x="1104" y="107"/>
                      <a:pt x="1104" y="106"/>
                      <a:pt x="1105" y="106"/>
                    </a:cubicBezTo>
                    <a:cubicBezTo>
                      <a:pt x="1105" y="106"/>
                      <a:pt x="1105" y="106"/>
                      <a:pt x="1105" y="106"/>
                    </a:cubicBezTo>
                    <a:cubicBezTo>
                      <a:pt x="1105" y="105"/>
                      <a:pt x="1105" y="104"/>
                      <a:pt x="1105" y="104"/>
                    </a:cubicBezTo>
                    <a:cubicBezTo>
                      <a:pt x="1105" y="104"/>
                      <a:pt x="1105" y="104"/>
                      <a:pt x="1105" y="104"/>
                    </a:cubicBezTo>
                    <a:cubicBezTo>
                      <a:pt x="1106" y="103"/>
                      <a:pt x="1105" y="102"/>
                      <a:pt x="1106" y="102"/>
                    </a:cubicBezTo>
                    <a:cubicBezTo>
                      <a:pt x="1106" y="102"/>
                      <a:pt x="1106" y="102"/>
                      <a:pt x="1106" y="101"/>
                    </a:cubicBezTo>
                    <a:cubicBezTo>
                      <a:pt x="1106" y="101"/>
                      <a:pt x="1106" y="101"/>
                      <a:pt x="1106" y="100"/>
                    </a:cubicBezTo>
                    <a:cubicBezTo>
                      <a:pt x="1106" y="100"/>
                      <a:pt x="1106" y="100"/>
                      <a:pt x="1106" y="100"/>
                    </a:cubicBezTo>
                    <a:cubicBezTo>
                      <a:pt x="1107" y="99"/>
                      <a:pt x="1106" y="99"/>
                      <a:pt x="1107" y="98"/>
                    </a:cubicBezTo>
                    <a:cubicBezTo>
                      <a:pt x="1107" y="98"/>
                      <a:pt x="1107" y="98"/>
                      <a:pt x="1107" y="98"/>
                    </a:cubicBezTo>
                    <a:cubicBezTo>
                      <a:pt x="1107" y="97"/>
                      <a:pt x="1107" y="97"/>
                      <a:pt x="1107" y="96"/>
                    </a:cubicBezTo>
                    <a:cubicBezTo>
                      <a:pt x="1101" y="96"/>
                      <a:pt x="1096" y="96"/>
                      <a:pt x="1090" y="96"/>
                    </a:cubicBezTo>
                    <a:cubicBezTo>
                      <a:pt x="1089" y="96"/>
                      <a:pt x="1089" y="97"/>
                      <a:pt x="1089" y="97"/>
                    </a:cubicBezTo>
                    <a:cubicBezTo>
                      <a:pt x="1089" y="97"/>
                      <a:pt x="1089" y="97"/>
                      <a:pt x="1089" y="97"/>
                    </a:cubicBezTo>
                    <a:cubicBezTo>
                      <a:pt x="1089" y="97"/>
                      <a:pt x="1089" y="97"/>
                      <a:pt x="1089" y="97"/>
                    </a:cubicBezTo>
                    <a:cubicBezTo>
                      <a:pt x="1089" y="98"/>
                      <a:pt x="1089" y="99"/>
                      <a:pt x="1089" y="99"/>
                    </a:cubicBezTo>
                    <a:cubicBezTo>
                      <a:pt x="1089" y="100"/>
                      <a:pt x="1089" y="100"/>
                      <a:pt x="1089" y="100"/>
                    </a:cubicBezTo>
                    <a:cubicBezTo>
                      <a:pt x="1088" y="100"/>
                      <a:pt x="1088" y="101"/>
                      <a:pt x="1088" y="102"/>
                    </a:cubicBezTo>
                    <a:cubicBezTo>
                      <a:pt x="1088" y="102"/>
                      <a:pt x="1088" y="102"/>
                      <a:pt x="1088" y="102"/>
                    </a:cubicBezTo>
                    <a:cubicBezTo>
                      <a:pt x="1087" y="102"/>
                      <a:pt x="1088" y="103"/>
                      <a:pt x="1087" y="103"/>
                    </a:cubicBezTo>
                    <a:cubicBezTo>
                      <a:pt x="1088" y="104"/>
                      <a:pt x="1088" y="104"/>
                      <a:pt x="1088" y="104"/>
                    </a:cubicBezTo>
                    <a:cubicBezTo>
                      <a:pt x="1087" y="104"/>
                      <a:pt x="1087" y="104"/>
                      <a:pt x="1087" y="104"/>
                    </a:cubicBezTo>
                    <a:cubicBezTo>
                      <a:pt x="1087" y="104"/>
                      <a:pt x="1087" y="105"/>
                      <a:pt x="1087" y="106"/>
                    </a:cubicBezTo>
                    <a:cubicBezTo>
                      <a:pt x="1087" y="106"/>
                      <a:pt x="1087" y="106"/>
                      <a:pt x="1087" y="106"/>
                    </a:cubicBezTo>
                    <a:cubicBezTo>
                      <a:pt x="1086" y="107"/>
                      <a:pt x="1087" y="107"/>
                      <a:pt x="1086" y="108"/>
                    </a:cubicBezTo>
                    <a:cubicBezTo>
                      <a:pt x="1086" y="108"/>
                      <a:pt x="1086" y="108"/>
                      <a:pt x="1086" y="108"/>
                    </a:cubicBezTo>
                    <a:cubicBezTo>
                      <a:pt x="1086" y="108"/>
                      <a:pt x="1086" y="109"/>
                      <a:pt x="1086" y="110"/>
                    </a:cubicBezTo>
                    <a:cubicBezTo>
                      <a:pt x="1086" y="110"/>
                      <a:pt x="1086" y="110"/>
                      <a:pt x="1086" y="110"/>
                    </a:cubicBezTo>
                    <a:cubicBezTo>
                      <a:pt x="1086" y="110"/>
                      <a:pt x="1086" y="110"/>
                      <a:pt x="1086" y="110"/>
                    </a:cubicBezTo>
                    <a:cubicBezTo>
                      <a:pt x="1085" y="111"/>
                      <a:pt x="1086" y="111"/>
                      <a:pt x="1085" y="112"/>
                    </a:cubicBezTo>
                    <a:cubicBezTo>
                      <a:pt x="1085" y="112"/>
                      <a:pt x="1085" y="112"/>
                      <a:pt x="1085" y="112"/>
                    </a:cubicBezTo>
                    <a:cubicBezTo>
                      <a:pt x="1085" y="113"/>
                      <a:pt x="1085" y="114"/>
                      <a:pt x="1085" y="114"/>
                    </a:cubicBezTo>
                    <a:cubicBezTo>
                      <a:pt x="1085" y="114"/>
                      <a:pt x="1085" y="115"/>
                      <a:pt x="1084" y="115"/>
                    </a:cubicBezTo>
                    <a:cubicBezTo>
                      <a:pt x="1084" y="115"/>
                      <a:pt x="1084" y="116"/>
                      <a:pt x="1084" y="116"/>
                    </a:cubicBezTo>
                    <a:cubicBezTo>
                      <a:pt x="1084" y="116"/>
                      <a:pt x="1084" y="116"/>
                      <a:pt x="1084" y="116"/>
                    </a:cubicBezTo>
                    <a:cubicBezTo>
                      <a:pt x="1083" y="117"/>
                      <a:pt x="1084" y="118"/>
                      <a:pt x="1083" y="118"/>
                    </a:cubicBezTo>
                    <a:cubicBezTo>
                      <a:pt x="1084" y="119"/>
                      <a:pt x="1084" y="119"/>
                      <a:pt x="1083" y="119"/>
                    </a:cubicBezTo>
                    <a:cubicBezTo>
                      <a:pt x="1083" y="119"/>
                      <a:pt x="1083" y="120"/>
                      <a:pt x="1083" y="121"/>
                    </a:cubicBezTo>
                    <a:cubicBezTo>
                      <a:pt x="1083" y="121"/>
                      <a:pt x="1083" y="121"/>
                      <a:pt x="1083" y="121"/>
                    </a:cubicBezTo>
                    <a:cubicBezTo>
                      <a:pt x="1082" y="122"/>
                      <a:pt x="1083" y="122"/>
                      <a:pt x="1082" y="123"/>
                    </a:cubicBezTo>
                    <a:cubicBezTo>
                      <a:pt x="1082" y="123"/>
                      <a:pt x="1082" y="123"/>
                      <a:pt x="1082" y="123"/>
                    </a:cubicBezTo>
                    <a:cubicBezTo>
                      <a:pt x="1082" y="123"/>
                      <a:pt x="1082" y="124"/>
                      <a:pt x="1082" y="125"/>
                    </a:cubicBezTo>
                    <a:cubicBezTo>
                      <a:pt x="1082" y="125"/>
                      <a:pt x="1082" y="125"/>
                      <a:pt x="1082" y="125"/>
                    </a:cubicBezTo>
                    <a:cubicBezTo>
                      <a:pt x="1081" y="126"/>
                      <a:pt x="1082" y="126"/>
                      <a:pt x="1081" y="127"/>
                    </a:cubicBezTo>
                    <a:cubicBezTo>
                      <a:pt x="1081" y="127"/>
                      <a:pt x="1081" y="127"/>
                      <a:pt x="1081" y="127"/>
                    </a:cubicBezTo>
                    <a:cubicBezTo>
                      <a:pt x="1081" y="128"/>
                      <a:pt x="1081" y="129"/>
                      <a:pt x="1081" y="129"/>
                    </a:cubicBezTo>
                    <a:cubicBezTo>
                      <a:pt x="1081" y="129"/>
                      <a:pt x="1081" y="129"/>
                      <a:pt x="1081" y="129"/>
                    </a:cubicBezTo>
                    <a:cubicBezTo>
                      <a:pt x="1080" y="130"/>
                      <a:pt x="1080" y="130"/>
                      <a:pt x="1080" y="131"/>
                    </a:cubicBezTo>
                    <a:cubicBezTo>
                      <a:pt x="1080" y="131"/>
                      <a:pt x="1080" y="131"/>
                      <a:pt x="1080" y="131"/>
                    </a:cubicBezTo>
                    <a:cubicBezTo>
                      <a:pt x="1080" y="131"/>
                      <a:pt x="1080" y="131"/>
                      <a:pt x="1080" y="131"/>
                    </a:cubicBezTo>
                    <a:cubicBezTo>
                      <a:pt x="1079" y="132"/>
                      <a:pt x="1080" y="133"/>
                      <a:pt x="1079" y="133"/>
                    </a:cubicBezTo>
                    <a:cubicBezTo>
                      <a:pt x="1080" y="133"/>
                      <a:pt x="1079" y="134"/>
                      <a:pt x="1079" y="134"/>
                    </a:cubicBezTo>
                    <a:cubicBezTo>
                      <a:pt x="1079" y="134"/>
                      <a:pt x="1079" y="135"/>
                      <a:pt x="1079" y="136"/>
                    </a:cubicBezTo>
                    <a:cubicBezTo>
                      <a:pt x="1079" y="135"/>
                      <a:pt x="1079" y="135"/>
                      <a:pt x="1079" y="135"/>
                    </a:cubicBezTo>
                    <a:cubicBezTo>
                      <a:pt x="1078" y="136"/>
                      <a:pt x="1079" y="137"/>
                      <a:pt x="1078" y="137"/>
                    </a:cubicBezTo>
                    <a:cubicBezTo>
                      <a:pt x="1078" y="138"/>
                      <a:pt x="1078" y="138"/>
                      <a:pt x="1078" y="138"/>
                    </a:cubicBezTo>
                    <a:cubicBezTo>
                      <a:pt x="1078" y="138"/>
                      <a:pt x="1078" y="138"/>
                      <a:pt x="1078" y="138"/>
                    </a:cubicBezTo>
                    <a:cubicBezTo>
                      <a:pt x="1078" y="138"/>
                      <a:pt x="1078" y="139"/>
                      <a:pt x="1078" y="140"/>
                    </a:cubicBezTo>
                    <a:cubicBezTo>
                      <a:pt x="1078" y="140"/>
                      <a:pt x="1078" y="140"/>
                      <a:pt x="1078" y="140"/>
                    </a:cubicBezTo>
                    <a:cubicBezTo>
                      <a:pt x="1077" y="141"/>
                      <a:pt x="1078" y="141"/>
                      <a:pt x="1077" y="142"/>
                    </a:cubicBezTo>
                    <a:cubicBezTo>
                      <a:pt x="1077" y="142"/>
                      <a:pt x="1077" y="142"/>
                      <a:pt x="1077" y="142"/>
                    </a:cubicBezTo>
                    <a:cubicBezTo>
                      <a:pt x="1077" y="142"/>
                      <a:pt x="1077" y="143"/>
                      <a:pt x="1077" y="144"/>
                    </a:cubicBezTo>
                    <a:cubicBezTo>
                      <a:pt x="1077" y="144"/>
                      <a:pt x="1077" y="144"/>
                      <a:pt x="1077" y="144"/>
                    </a:cubicBezTo>
                    <a:cubicBezTo>
                      <a:pt x="1076" y="144"/>
                      <a:pt x="1076" y="144"/>
                      <a:pt x="1076" y="144"/>
                    </a:cubicBezTo>
                    <a:cubicBezTo>
                      <a:pt x="1076" y="145"/>
                      <a:pt x="1076" y="145"/>
                      <a:pt x="1076" y="146"/>
                    </a:cubicBezTo>
                    <a:cubicBezTo>
                      <a:pt x="1076" y="146"/>
                      <a:pt x="1076" y="146"/>
                      <a:pt x="1076" y="146"/>
                    </a:cubicBezTo>
                    <a:cubicBezTo>
                      <a:pt x="1075" y="147"/>
                      <a:pt x="1076" y="148"/>
                      <a:pt x="1075" y="148"/>
                    </a:cubicBezTo>
                    <a:cubicBezTo>
                      <a:pt x="1075" y="148"/>
                      <a:pt x="1075" y="149"/>
                      <a:pt x="1075" y="149"/>
                    </a:cubicBezTo>
                    <a:cubicBezTo>
                      <a:pt x="1075" y="149"/>
                      <a:pt x="1075" y="150"/>
                      <a:pt x="1075" y="150"/>
                    </a:cubicBezTo>
                    <a:cubicBezTo>
                      <a:pt x="1075" y="150"/>
                      <a:pt x="1075" y="150"/>
                      <a:pt x="1075" y="150"/>
                    </a:cubicBezTo>
                    <a:cubicBezTo>
                      <a:pt x="1074" y="151"/>
                      <a:pt x="1075" y="152"/>
                      <a:pt x="1074" y="152"/>
                    </a:cubicBezTo>
                    <a:cubicBezTo>
                      <a:pt x="1074" y="153"/>
                      <a:pt x="1074" y="153"/>
                      <a:pt x="1074" y="153"/>
                    </a:cubicBezTo>
                    <a:cubicBezTo>
                      <a:pt x="1074" y="153"/>
                      <a:pt x="1074" y="154"/>
                      <a:pt x="1074" y="155"/>
                    </a:cubicBezTo>
                    <a:cubicBezTo>
                      <a:pt x="1074" y="155"/>
                      <a:pt x="1074" y="155"/>
                      <a:pt x="1074" y="155"/>
                    </a:cubicBezTo>
                    <a:cubicBezTo>
                      <a:pt x="1073" y="156"/>
                      <a:pt x="1074" y="156"/>
                      <a:pt x="1073" y="157"/>
                    </a:cubicBezTo>
                    <a:cubicBezTo>
                      <a:pt x="1073" y="157"/>
                      <a:pt x="1073" y="157"/>
                      <a:pt x="1073" y="157"/>
                    </a:cubicBezTo>
                    <a:cubicBezTo>
                      <a:pt x="1073" y="157"/>
                      <a:pt x="1073" y="158"/>
                      <a:pt x="1073" y="159"/>
                    </a:cubicBezTo>
                    <a:cubicBezTo>
                      <a:pt x="1073" y="159"/>
                      <a:pt x="1073" y="159"/>
                      <a:pt x="1072" y="159"/>
                    </a:cubicBezTo>
                    <a:cubicBezTo>
                      <a:pt x="1072" y="160"/>
                      <a:pt x="1072" y="160"/>
                      <a:pt x="1072" y="161"/>
                    </a:cubicBezTo>
                    <a:cubicBezTo>
                      <a:pt x="1072" y="161"/>
                      <a:pt x="1072" y="161"/>
                      <a:pt x="1072" y="161"/>
                    </a:cubicBezTo>
                    <a:cubicBezTo>
                      <a:pt x="1071" y="162"/>
                      <a:pt x="1072" y="163"/>
                      <a:pt x="1071" y="163"/>
                    </a:cubicBezTo>
                    <a:cubicBezTo>
                      <a:pt x="1071" y="163"/>
                      <a:pt x="1071" y="163"/>
                      <a:pt x="1071" y="163"/>
                    </a:cubicBezTo>
                    <a:cubicBezTo>
                      <a:pt x="1071" y="164"/>
                      <a:pt x="1071" y="164"/>
                      <a:pt x="1071" y="165"/>
                    </a:cubicBezTo>
                    <a:cubicBezTo>
                      <a:pt x="1071" y="165"/>
                      <a:pt x="1071" y="165"/>
                      <a:pt x="1071" y="165"/>
                    </a:cubicBezTo>
                    <a:cubicBezTo>
                      <a:pt x="1071" y="165"/>
                      <a:pt x="1071" y="165"/>
                      <a:pt x="1071" y="165"/>
                    </a:cubicBezTo>
                    <a:cubicBezTo>
                      <a:pt x="1070" y="166"/>
                      <a:pt x="1071" y="167"/>
                      <a:pt x="1070" y="167"/>
                    </a:cubicBezTo>
                    <a:cubicBezTo>
                      <a:pt x="1070" y="167"/>
                      <a:pt x="1070" y="168"/>
                      <a:pt x="1070" y="168"/>
                    </a:cubicBezTo>
                    <a:cubicBezTo>
                      <a:pt x="1070" y="168"/>
                      <a:pt x="1070" y="169"/>
                      <a:pt x="1070" y="169"/>
                    </a:cubicBezTo>
                    <a:cubicBezTo>
                      <a:pt x="1070" y="169"/>
                      <a:pt x="1070" y="169"/>
                      <a:pt x="1070" y="169"/>
                    </a:cubicBezTo>
                    <a:cubicBezTo>
                      <a:pt x="1069" y="170"/>
                      <a:pt x="1069" y="171"/>
                      <a:pt x="1069" y="171"/>
                    </a:cubicBezTo>
                    <a:cubicBezTo>
                      <a:pt x="1069" y="172"/>
                      <a:pt x="1069" y="172"/>
                      <a:pt x="1069" y="172"/>
                    </a:cubicBezTo>
                    <a:cubicBezTo>
                      <a:pt x="1069" y="172"/>
                      <a:pt x="1069" y="172"/>
                      <a:pt x="1069" y="172"/>
                    </a:cubicBezTo>
                    <a:cubicBezTo>
                      <a:pt x="1068" y="172"/>
                      <a:pt x="1069" y="173"/>
                      <a:pt x="1068" y="174"/>
                    </a:cubicBezTo>
                    <a:cubicBezTo>
                      <a:pt x="1069" y="174"/>
                      <a:pt x="1069" y="174"/>
                      <a:pt x="1068" y="174"/>
                    </a:cubicBezTo>
                    <a:cubicBezTo>
                      <a:pt x="1068" y="175"/>
                      <a:pt x="1068" y="175"/>
                      <a:pt x="1068" y="176"/>
                    </a:cubicBezTo>
                    <a:cubicBezTo>
                      <a:pt x="1068" y="176"/>
                      <a:pt x="1068" y="176"/>
                      <a:pt x="1068" y="176"/>
                    </a:cubicBezTo>
                    <a:cubicBezTo>
                      <a:pt x="1067" y="176"/>
                      <a:pt x="1068" y="177"/>
                      <a:pt x="1067" y="178"/>
                    </a:cubicBezTo>
                    <a:cubicBezTo>
                      <a:pt x="1067" y="178"/>
                      <a:pt x="1067" y="178"/>
                      <a:pt x="1067" y="178"/>
                    </a:cubicBezTo>
                    <a:cubicBezTo>
                      <a:pt x="1067" y="178"/>
                      <a:pt x="1067" y="178"/>
                      <a:pt x="1067" y="178"/>
                    </a:cubicBezTo>
                    <a:cubicBezTo>
                      <a:pt x="1067" y="179"/>
                      <a:pt x="1067" y="179"/>
                      <a:pt x="1067" y="180"/>
                    </a:cubicBezTo>
                    <a:cubicBezTo>
                      <a:pt x="1067" y="180"/>
                      <a:pt x="1067" y="180"/>
                      <a:pt x="1067" y="180"/>
                    </a:cubicBezTo>
                    <a:cubicBezTo>
                      <a:pt x="1066" y="181"/>
                      <a:pt x="1067" y="182"/>
                      <a:pt x="1066" y="182"/>
                    </a:cubicBezTo>
                    <a:cubicBezTo>
                      <a:pt x="1066" y="182"/>
                      <a:pt x="1066" y="183"/>
                      <a:pt x="1066" y="183"/>
                    </a:cubicBezTo>
                    <a:cubicBezTo>
                      <a:pt x="1066" y="183"/>
                      <a:pt x="1066" y="184"/>
                      <a:pt x="1066" y="184"/>
                    </a:cubicBezTo>
                    <a:cubicBezTo>
                      <a:pt x="1066" y="184"/>
                      <a:pt x="1066" y="184"/>
                      <a:pt x="1066" y="184"/>
                    </a:cubicBezTo>
                    <a:cubicBezTo>
                      <a:pt x="1065" y="185"/>
                      <a:pt x="1065" y="184"/>
                      <a:pt x="1064" y="184"/>
                    </a:cubicBezTo>
                    <a:cubicBezTo>
                      <a:pt x="1064" y="184"/>
                      <a:pt x="1064" y="184"/>
                      <a:pt x="1064" y="184"/>
                    </a:cubicBezTo>
                    <a:cubicBezTo>
                      <a:pt x="1064" y="183"/>
                      <a:pt x="1064" y="183"/>
                      <a:pt x="1064" y="182"/>
                    </a:cubicBezTo>
                    <a:cubicBezTo>
                      <a:pt x="1064" y="182"/>
                      <a:pt x="1064" y="182"/>
                      <a:pt x="1064" y="182"/>
                    </a:cubicBezTo>
                    <a:cubicBezTo>
                      <a:pt x="1063" y="181"/>
                      <a:pt x="1064" y="180"/>
                      <a:pt x="1063" y="180"/>
                    </a:cubicBezTo>
                    <a:cubicBezTo>
                      <a:pt x="1063" y="180"/>
                      <a:pt x="1063" y="180"/>
                      <a:pt x="1063" y="179"/>
                    </a:cubicBezTo>
                    <a:cubicBezTo>
                      <a:pt x="1063" y="179"/>
                      <a:pt x="1063" y="178"/>
                      <a:pt x="1063" y="178"/>
                    </a:cubicBezTo>
                    <a:cubicBezTo>
                      <a:pt x="1063" y="178"/>
                      <a:pt x="1063" y="178"/>
                      <a:pt x="1063" y="178"/>
                    </a:cubicBezTo>
                    <a:cubicBezTo>
                      <a:pt x="1062" y="177"/>
                      <a:pt x="1063" y="176"/>
                      <a:pt x="1062" y="176"/>
                    </a:cubicBezTo>
                    <a:cubicBezTo>
                      <a:pt x="1062" y="176"/>
                      <a:pt x="1062" y="176"/>
                      <a:pt x="1062" y="175"/>
                    </a:cubicBezTo>
                    <a:cubicBezTo>
                      <a:pt x="1062" y="175"/>
                      <a:pt x="1062" y="174"/>
                      <a:pt x="1062" y="173"/>
                    </a:cubicBezTo>
                    <a:cubicBezTo>
                      <a:pt x="1061" y="173"/>
                      <a:pt x="1061" y="173"/>
                      <a:pt x="1061" y="173"/>
                    </a:cubicBezTo>
                    <a:cubicBezTo>
                      <a:pt x="1061" y="173"/>
                      <a:pt x="1061" y="173"/>
                      <a:pt x="1061" y="173"/>
                    </a:cubicBezTo>
                    <a:cubicBezTo>
                      <a:pt x="1061" y="173"/>
                      <a:pt x="1061" y="172"/>
                      <a:pt x="1061" y="171"/>
                    </a:cubicBezTo>
                    <a:cubicBezTo>
                      <a:pt x="1061" y="171"/>
                      <a:pt x="1061" y="171"/>
                      <a:pt x="1061" y="171"/>
                    </a:cubicBezTo>
                    <a:cubicBezTo>
                      <a:pt x="1060" y="171"/>
                      <a:pt x="1061" y="170"/>
                      <a:pt x="1060" y="169"/>
                    </a:cubicBezTo>
                    <a:cubicBezTo>
                      <a:pt x="1060" y="169"/>
                      <a:pt x="1060" y="169"/>
                      <a:pt x="1060" y="169"/>
                    </a:cubicBezTo>
                    <a:cubicBezTo>
                      <a:pt x="1060" y="168"/>
                      <a:pt x="1060" y="168"/>
                      <a:pt x="1060" y="167"/>
                    </a:cubicBezTo>
                    <a:cubicBezTo>
                      <a:pt x="1060" y="167"/>
                      <a:pt x="1060" y="167"/>
                      <a:pt x="1060" y="167"/>
                    </a:cubicBezTo>
                    <a:cubicBezTo>
                      <a:pt x="1059" y="167"/>
                      <a:pt x="1060" y="166"/>
                      <a:pt x="1059" y="165"/>
                    </a:cubicBezTo>
                    <a:cubicBezTo>
                      <a:pt x="1059" y="165"/>
                      <a:pt x="1059" y="165"/>
                      <a:pt x="1059" y="165"/>
                    </a:cubicBezTo>
                    <a:cubicBezTo>
                      <a:pt x="1059" y="164"/>
                      <a:pt x="1059" y="164"/>
                      <a:pt x="1059" y="163"/>
                    </a:cubicBezTo>
                    <a:cubicBezTo>
                      <a:pt x="1058" y="163"/>
                      <a:pt x="1058" y="163"/>
                      <a:pt x="1059" y="163"/>
                    </a:cubicBezTo>
                    <a:cubicBezTo>
                      <a:pt x="1058" y="162"/>
                      <a:pt x="1059" y="161"/>
                      <a:pt x="1058" y="161"/>
                    </a:cubicBezTo>
                    <a:cubicBezTo>
                      <a:pt x="1058" y="161"/>
                      <a:pt x="1058" y="161"/>
                      <a:pt x="1058" y="161"/>
                    </a:cubicBezTo>
                    <a:cubicBezTo>
                      <a:pt x="1058" y="160"/>
                      <a:pt x="1058" y="160"/>
                      <a:pt x="1058" y="159"/>
                    </a:cubicBezTo>
                    <a:cubicBezTo>
                      <a:pt x="1057" y="159"/>
                      <a:pt x="1057" y="159"/>
                      <a:pt x="1057" y="159"/>
                    </a:cubicBezTo>
                    <a:cubicBezTo>
                      <a:pt x="1057" y="158"/>
                      <a:pt x="1057" y="157"/>
                      <a:pt x="1057" y="157"/>
                    </a:cubicBezTo>
                    <a:cubicBezTo>
                      <a:pt x="1057" y="157"/>
                      <a:pt x="1057" y="157"/>
                      <a:pt x="1057" y="157"/>
                    </a:cubicBezTo>
                    <a:cubicBezTo>
                      <a:pt x="1057" y="156"/>
                      <a:pt x="1057" y="156"/>
                      <a:pt x="1057" y="156"/>
                    </a:cubicBezTo>
                    <a:cubicBezTo>
                      <a:pt x="1056" y="156"/>
                      <a:pt x="1057" y="155"/>
                      <a:pt x="1056" y="154"/>
                    </a:cubicBezTo>
                    <a:cubicBezTo>
                      <a:pt x="1056" y="155"/>
                      <a:pt x="1056" y="155"/>
                      <a:pt x="1056" y="155"/>
                    </a:cubicBezTo>
                    <a:cubicBezTo>
                      <a:pt x="1056" y="154"/>
                      <a:pt x="1056" y="153"/>
                      <a:pt x="1056" y="153"/>
                    </a:cubicBezTo>
                    <a:cubicBezTo>
                      <a:pt x="1056" y="153"/>
                      <a:pt x="1056" y="153"/>
                      <a:pt x="1056" y="152"/>
                    </a:cubicBezTo>
                    <a:cubicBezTo>
                      <a:pt x="1055" y="152"/>
                      <a:pt x="1056" y="151"/>
                      <a:pt x="1055" y="150"/>
                    </a:cubicBezTo>
                    <a:cubicBezTo>
                      <a:pt x="1055" y="150"/>
                      <a:pt x="1055" y="150"/>
                      <a:pt x="1055" y="150"/>
                    </a:cubicBezTo>
                    <a:cubicBezTo>
                      <a:pt x="1055" y="150"/>
                      <a:pt x="1055" y="149"/>
                      <a:pt x="1055" y="149"/>
                    </a:cubicBezTo>
                    <a:cubicBezTo>
                      <a:pt x="1054" y="149"/>
                      <a:pt x="1054" y="148"/>
                      <a:pt x="1055" y="148"/>
                    </a:cubicBezTo>
                    <a:cubicBezTo>
                      <a:pt x="1054" y="148"/>
                      <a:pt x="1054" y="147"/>
                      <a:pt x="1054" y="146"/>
                    </a:cubicBezTo>
                    <a:cubicBezTo>
                      <a:pt x="1054" y="146"/>
                      <a:pt x="1054" y="146"/>
                      <a:pt x="1054" y="146"/>
                    </a:cubicBezTo>
                    <a:cubicBezTo>
                      <a:pt x="1054" y="145"/>
                      <a:pt x="1054" y="145"/>
                      <a:pt x="1053" y="144"/>
                    </a:cubicBezTo>
                    <a:cubicBezTo>
                      <a:pt x="1053" y="144"/>
                      <a:pt x="1053" y="144"/>
                      <a:pt x="1053" y="144"/>
                    </a:cubicBezTo>
                    <a:cubicBezTo>
                      <a:pt x="1053" y="144"/>
                      <a:pt x="1053" y="143"/>
                      <a:pt x="1053" y="142"/>
                    </a:cubicBezTo>
                    <a:cubicBezTo>
                      <a:pt x="1053" y="142"/>
                      <a:pt x="1053" y="142"/>
                      <a:pt x="1053" y="142"/>
                    </a:cubicBezTo>
                    <a:cubicBezTo>
                      <a:pt x="1052" y="141"/>
                      <a:pt x="1053" y="141"/>
                      <a:pt x="1052" y="140"/>
                    </a:cubicBezTo>
                    <a:cubicBezTo>
                      <a:pt x="1052" y="140"/>
                      <a:pt x="1052" y="140"/>
                      <a:pt x="1052" y="140"/>
                    </a:cubicBezTo>
                    <a:cubicBezTo>
                      <a:pt x="1052" y="140"/>
                      <a:pt x="1052" y="140"/>
                      <a:pt x="1052" y="140"/>
                    </a:cubicBezTo>
                    <a:cubicBezTo>
                      <a:pt x="1052" y="139"/>
                      <a:pt x="1052" y="138"/>
                      <a:pt x="1052" y="138"/>
                    </a:cubicBezTo>
                    <a:cubicBezTo>
                      <a:pt x="1052" y="138"/>
                      <a:pt x="1052" y="138"/>
                      <a:pt x="1052" y="138"/>
                    </a:cubicBezTo>
                    <a:cubicBezTo>
                      <a:pt x="1051" y="137"/>
                      <a:pt x="1052" y="137"/>
                      <a:pt x="1051" y="136"/>
                    </a:cubicBezTo>
                    <a:cubicBezTo>
                      <a:pt x="1051" y="136"/>
                      <a:pt x="1051" y="136"/>
                      <a:pt x="1051" y="136"/>
                    </a:cubicBezTo>
                    <a:cubicBezTo>
                      <a:pt x="1051" y="135"/>
                      <a:pt x="1051" y="134"/>
                      <a:pt x="1051" y="134"/>
                    </a:cubicBezTo>
                    <a:cubicBezTo>
                      <a:pt x="1051" y="134"/>
                      <a:pt x="1051" y="134"/>
                      <a:pt x="1051" y="134"/>
                    </a:cubicBezTo>
                    <a:cubicBezTo>
                      <a:pt x="1050" y="133"/>
                      <a:pt x="1050" y="133"/>
                      <a:pt x="1050" y="132"/>
                    </a:cubicBezTo>
                    <a:cubicBezTo>
                      <a:pt x="1050" y="132"/>
                      <a:pt x="1050" y="132"/>
                      <a:pt x="1050" y="132"/>
                    </a:cubicBezTo>
                    <a:cubicBezTo>
                      <a:pt x="1050" y="131"/>
                      <a:pt x="1050" y="130"/>
                      <a:pt x="1049" y="130"/>
                    </a:cubicBezTo>
                    <a:cubicBezTo>
                      <a:pt x="1049" y="130"/>
                      <a:pt x="1049" y="130"/>
                      <a:pt x="1049" y="129"/>
                    </a:cubicBezTo>
                    <a:cubicBezTo>
                      <a:pt x="1049" y="129"/>
                      <a:pt x="1049" y="128"/>
                      <a:pt x="1049" y="127"/>
                    </a:cubicBezTo>
                    <a:cubicBezTo>
                      <a:pt x="1049" y="127"/>
                      <a:pt x="1049" y="127"/>
                      <a:pt x="1049" y="127"/>
                    </a:cubicBezTo>
                    <a:cubicBezTo>
                      <a:pt x="1048" y="127"/>
                      <a:pt x="1049" y="126"/>
                      <a:pt x="1048" y="126"/>
                    </a:cubicBezTo>
                    <a:cubicBezTo>
                      <a:pt x="1048" y="126"/>
                      <a:pt x="1048" y="125"/>
                      <a:pt x="1048" y="125"/>
                    </a:cubicBezTo>
                    <a:cubicBezTo>
                      <a:pt x="1048" y="125"/>
                      <a:pt x="1048" y="124"/>
                      <a:pt x="1048" y="123"/>
                    </a:cubicBezTo>
                    <a:cubicBezTo>
                      <a:pt x="1048" y="123"/>
                      <a:pt x="1048" y="123"/>
                      <a:pt x="1048" y="123"/>
                    </a:cubicBezTo>
                    <a:cubicBezTo>
                      <a:pt x="1048" y="123"/>
                      <a:pt x="1048" y="123"/>
                      <a:pt x="1048" y="123"/>
                    </a:cubicBezTo>
                    <a:cubicBezTo>
                      <a:pt x="1047" y="122"/>
                      <a:pt x="1048" y="122"/>
                      <a:pt x="1047" y="121"/>
                    </a:cubicBezTo>
                    <a:cubicBezTo>
                      <a:pt x="1047" y="121"/>
                      <a:pt x="1047" y="121"/>
                      <a:pt x="1047" y="121"/>
                    </a:cubicBezTo>
                    <a:cubicBezTo>
                      <a:pt x="1047" y="121"/>
                      <a:pt x="1047" y="120"/>
                      <a:pt x="1047" y="119"/>
                    </a:cubicBezTo>
                    <a:cubicBezTo>
                      <a:pt x="1046" y="119"/>
                      <a:pt x="1046" y="119"/>
                      <a:pt x="1046" y="119"/>
                    </a:cubicBezTo>
                    <a:cubicBezTo>
                      <a:pt x="1046" y="118"/>
                      <a:pt x="1046" y="118"/>
                      <a:pt x="1046" y="117"/>
                    </a:cubicBezTo>
                    <a:cubicBezTo>
                      <a:pt x="1046" y="117"/>
                      <a:pt x="1046" y="117"/>
                      <a:pt x="1046" y="117"/>
                    </a:cubicBezTo>
                    <a:cubicBezTo>
                      <a:pt x="1045" y="117"/>
                      <a:pt x="1046" y="116"/>
                      <a:pt x="1045" y="115"/>
                    </a:cubicBezTo>
                    <a:cubicBezTo>
                      <a:pt x="1045" y="115"/>
                      <a:pt x="1045" y="115"/>
                      <a:pt x="1045" y="115"/>
                    </a:cubicBezTo>
                    <a:cubicBezTo>
                      <a:pt x="1045" y="114"/>
                      <a:pt x="1045" y="114"/>
                      <a:pt x="1045" y="113"/>
                    </a:cubicBezTo>
                    <a:cubicBezTo>
                      <a:pt x="1045" y="113"/>
                      <a:pt x="1045" y="113"/>
                      <a:pt x="1045" y="113"/>
                    </a:cubicBezTo>
                    <a:cubicBezTo>
                      <a:pt x="1045" y="113"/>
                      <a:pt x="1045" y="113"/>
                      <a:pt x="1045" y="113"/>
                    </a:cubicBezTo>
                    <a:cubicBezTo>
                      <a:pt x="1044" y="112"/>
                      <a:pt x="1045" y="111"/>
                      <a:pt x="1044" y="111"/>
                    </a:cubicBezTo>
                    <a:cubicBezTo>
                      <a:pt x="1044" y="111"/>
                      <a:pt x="1044" y="111"/>
                      <a:pt x="1044" y="111"/>
                    </a:cubicBezTo>
                    <a:cubicBezTo>
                      <a:pt x="1044" y="110"/>
                      <a:pt x="1044" y="109"/>
                      <a:pt x="1044" y="109"/>
                    </a:cubicBezTo>
                    <a:cubicBezTo>
                      <a:pt x="1044" y="109"/>
                      <a:pt x="1043" y="109"/>
                      <a:pt x="1044" y="109"/>
                    </a:cubicBezTo>
                    <a:cubicBezTo>
                      <a:pt x="1043" y="108"/>
                      <a:pt x="1044" y="107"/>
                      <a:pt x="1043" y="107"/>
                    </a:cubicBezTo>
                    <a:cubicBezTo>
                      <a:pt x="1043" y="107"/>
                      <a:pt x="1043" y="107"/>
                      <a:pt x="1043" y="107"/>
                    </a:cubicBezTo>
                    <a:cubicBezTo>
                      <a:pt x="1043" y="106"/>
                      <a:pt x="1043" y="106"/>
                      <a:pt x="1043" y="106"/>
                    </a:cubicBezTo>
                    <a:cubicBezTo>
                      <a:pt x="1043" y="106"/>
                      <a:pt x="1043" y="105"/>
                      <a:pt x="1043" y="105"/>
                    </a:cubicBezTo>
                    <a:cubicBezTo>
                      <a:pt x="1042" y="105"/>
                      <a:pt x="1042" y="105"/>
                      <a:pt x="1042" y="104"/>
                    </a:cubicBezTo>
                    <a:cubicBezTo>
                      <a:pt x="1042" y="104"/>
                      <a:pt x="1042" y="103"/>
                      <a:pt x="1042" y="103"/>
                    </a:cubicBezTo>
                    <a:cubicBezTo>
                      <a:pt x="1042" y="103"/>
                      <a:pt x="1042" y="102"/>
                      <a:pt x="1042" y="102"/>
                    </a:cubicBezTo>
                    <a:cubicBezTo>
                      <a:pt x="1041" y="102"/>
                      <a:pt x="1042" y="101"/>
                      <a:pt x="1041" y="100"/>
                    </a:cubicBezTo>
                    <a:cubicBezTo>
                      <a:pt x="1041" y="100"/>
                      <a:pt x="1041" y="100"/>
                      <a:pt x="1041" y="100"/>
                    </a:cubicBezTo>
                    <a:cubicBezTo>
                      <a:pt x="1041" y="100"/>
                      <a:pt x="1041" y="99"/>
                      <a:pt x="1041" y="99"/>
                    </a:cubicBezTo>
                    <a:cubicBezTo>
                      <a:pt x="1041" y="99"/>
                      <a:pt x="1041" y="98"/>
                      <a:pt x="1041" y="98"/>
                    </a:cubicBezTo>
                    <a:cubicBezTo>
                      <a:pt x="1040" y="98"/>
                      <a:pt x="1041" y="97"/>
                      <a:pt x="1040" y="96"/>
                    </a:cubicBezTo>
                    <a:cubicBezTo>
                      <a:pt x="1039" y="96"/>
                      <a:pt x="1038" y="96"/>
                      <a:pt x="1037" y="96"/>
                    </a:cubicBezTo>
                    <a:cubicBezTo>
                      <a:pt x="1033" y="96"/>
                      <a:pt x="1028" y="96"/>
                      <a:pt x="1024" y="96"/>
                    </a:cubicBezTo>
                    <a:cubicBezTo>
                      <a:pt x="1023" y="96"/>
                      <a:pt x="1023" y="97"/>
                      <a:pt x="1023" y="97"/>
                    </a:cubicBezTo>
                    <a:cubicBezTo>
                      <a:pt x="1023" y="97"/>
                      <a:pt x="1023" y="97"/>
                      <a:pt x="1023" y="97"/>
                    </a:cubicBezTo>
                    <a:cubicBezTo>
                      <a:pt x="1022" y="98"/>
                      <a:pt x="1023" y="99"/>
                      <a:pt x="1022" y="99"/>
                    </a:cubicBezTo>
                    <a:cubicBezTo>
                      <a:pt x="1022" y="99"/>
                      <a:pt x="1022" y="99"/>
                      <a:pt x="1022" y="99"/>
                    </a:cubicBezTo>
                    <a:cubicBezTo>
                      <a:pt x="1022" y="100"/>
                      <a:pt x="1022" y="100"/>
                      <a:pt x="1022" y="101"/>
                    </a:cubicBezTo>
                    <a:cubicBezTo>
                      <a:pt x="1022" y="101"/>
                      <a:pt x="1022" y="101"/>
                      <a:pt x="1022" y="101"/>
                    </a:cubicBezTo>
                    <a:cubicBezTo>
                      <a:pt x="1021" y="101"/>
                      <a:pt x="1022" y="102"/>
                      <a:pt x="1021" y="103"/>
                    </a:cubicBezTo>
                    <a:cubicBezTo>
                      <a:pt x="1021" y="103"/>
                      <a:pt x="1021" y="103"/>
                      <a:pt x="1021" y="103"/>
                    </a:cubicBezTo>
                    <a:cubicBezTo>
                      <a:pt x="1021" y="104"/>
                      <a:pt x="1021" y="104"/>
                      <a:pt x="1021" y="105"/>
                    </a:cubicBezTo>
                    <a:cubicBezTo>
                      <a:pt x="1021" y="105"/>
                      <a:pt x="1021" y="105"/>
                      <a:pt x="1021" y="105"/>
                    </a:cubicBezTo>
                    <a:cubicBezTo>
                      <a:pt x="1020" y="105"/>
                      <a:pt x="1021" y="106"/>
                      <a:pt x="1020" y="107"/>
                    </a:cubicBezTo>
                    <a:cubicBezTo>
                      <a:pt x="1020" y="107"/>
                      <a:pt x="1020" y="107"/>
                      <a:pt x="1020" y="107"/>
                    </a:cubicBezTo>
                    <a:cubicBezTo>
                      <a:pt x="1020" y="107"/>
                      <a:pt x="1020" y="108"/>
                      <a:pt x="1019" y="108"/>
                    </a:cubicBezTo>
                    <a:cubicBezTo>
                      <a:pt x="1020" y="108"/>
                      <a:pt x="1020" y="108"/>
                      <a:pt x="1020" y="108"/>
                    </a:cubicBezTo>
                    <a:cubicBezTo>
                      <a:pt x="1019" y="109"/>
                      <a:pt x="1019" y="110"/>
                      <a:pt x="1019" y="110"/>
                    </a:cubicBezTo>
                    <a:cubicBezTo>
                      <a:pt x="1019" y="110"/>
                      <a:pt x="1019" y="111"/>
                      <a:pt x="1019" y="111"/>
                    </a:cubicBezTo>
                    <a:cubicBezTo>
                      <a:pt x="1019" y="111"/>
                      <a:pt x="1019" y="112"/>
                      <a:pt x="1018" y="112"/>
                    </a:cubicBezTo>
                    <a:cubicBezTo>
                      <a:pt x="1018" y="112"/>
                      <a:pt x="1018" y="112"/>
                      <a:pt x="1018" y="112"/>
                    </a:cubicBezTo>
                    <a:cubicBezTo>
                      <a:pt x="1018" y="112"/>
                      <a:pt x="1018" y="112"/>
                      <a:pt x="1018" y="112"/>
                    </a:cubicBezTo>
                    <a:cubicBezTo>
                      <a:pt x="1018" y="113"/>
                      <a:pt x="1018" y="114"/>
                      <a:pt x="1018" y="114"/>
                    </a:cubicBezTo>
                    <a:cubicBezTo>
                      <a:pt x="1018" y="114"/>
                      <a:pt x="1018" y="114"/>
                      <a:pt x="1018" y="114"/>
                    </a:cubicBezTo>
                    <a:cubicBezTo>
                      <a:pt x="1017" y="115"/>
                      <a:pt x="1018" y="115"/>
                      <a:pt x="1017" y="116"/>
                    </a:cubicBezTo>
                    <a:cubicBezTo>
                      <a:pt x="1017" y="116"/>
                      <a:pt x="1017" y="116"/>
                      <a:pt x="1017" y="116"/>
                    </a:cubicBezTo>
                    <a:cubicBezTo>
                      <a:pt x="1017" y="116"/>
                      <a:pt x="1017" y="117"/>
                      <a:pt x="1017" y="118"/>
                    </a:cubicBezTo>
                    <a:cubicBezTo>
                      <a:pt x="1017" y="118"/>
                      <a:pt x="1017" y="118"/>
                      <a:pt x="1017" y="118"/>
                    </a:cubicBezTo>
                    <a:cubicBezTo>
                      <a:pt x="1016" y="119"/>
                      <a:pt x="1016" y="119"/>
                      <a:pt x="1016" y="120"/>
                    </a:cubicBezTo>
                    <a:cubicBezTo>
                      <a:pt x="1016" y="120"/>
                      <a:pt x="1016" y="120"/>
                      <a:pt x="1016" y="120"/>
                    </a:cubicBezTo>
                    <a:cubicBezTo>
                      <a:pt x="1016" y="120"/>
                      <a:pt x="1016" y="120"/>
                      <a:pt x="1016" y="120"/>
                    </a:cubicBezTo>
                    <a:cubicBezTo>
                      <a:pt x="1015" y="120"/>
                      <a:pt x="1016" y="121"/>
                      <a:pt x="1015" y="122"/>
                    </a:cubicBezTo>
                    <a:cubicBezTo>
                      <a:pt x="1015" y="122"/>
                      <a:pt x="1015" y="122"/>
                      <a:pt x="1015" y="122"/>
                    </a:cubicBezTo>
                    <a:cubicBezTo>
                      <a:pt x="1015" y="122"/>
                      <a:pt x="1015" y="123"/>
                      <a:pt x="1015" y="124"/>
                    </a:cubicBezTo>
                    <a:cubicBezTo>
                      <a:pt x="1015" y="124"/>
                      <a:pt x="1015" y="124"/>
                      <a:pt x="1015" y="124"/>
                    </a:cubicBezTo>
                    <a:cubicBezTo>
                      <a:pt x="1015" y="124"/>
                      <a:pt x="1015" y="125"/>
                      <a:pt x="1014" y="125"/>
                    </a:cubicBezTo>
                    <a:cubicBezTo>
                      <a:pt x="1014" y="125"/>
                      <a:pt x="1014" y="126"/>
                      <a:pt x="1014" y="126"/>
                    </a:cubicBezTo>
                    <a:cubicBezTo>
                      <a:pt x="1014" y="126"/>
                      <a:pt x="1014" y="127"/>
                      <a:pt x="1014" y="127"/>
                    </a:cubicBezTo>
                    <a:cubicBezTo>
                      <a:pt x="1014" y="127"/>
                      <a:pt x="1014" y="127"/>
                      <a:pt x="1014" y="127"/>
                    </a:cubicBezTo>
                    <a:cubicBezTo>
                      <a:pt x="1014" y="127"/>
                      <a:pt x="1014" y="127"/>
                      <a:pt x="1014" y="127"/>
                    </a:cubicBezTo>
                    <a:cubicBezTo>
                      <a:pt x="1013" y="128"/>
                      <a:pt x="1014" y="129"/>
                      <a:pt x="1013" y="129"/>
                    </a:cubicBezTo>
                    <a:cubicBezTo>
                      <a:pt x="1013" y="129"/>
                      <a:pt x="1013" y="129"/>
                      <a:pt x="1013" y="129"/>
                    </a:cubicBezTo>
                    <a:cubicBezTo>
                      <a:pt x="1013" y="130"/>
                      <a:pt x="1013" y="130"/>
                      <a:pt x="1013" y="131"/>
                    </a:cubicBezTo>
                    <a:cubicBezTo>
                      <a:pt x="1013" y="131"/>
                      <a:pt x="1013" y="131"/>
                      <a:pt x="1012" y="131"/>
                    </a:cubicBezTo>
                    <a:cubicBezTo>
                      <a:pt x="1012" y="132"/>
                      <a:pt x="1012" y="132"/>
                      <a:pt x="1012" y="133"/>
                    </a:cubicBezTo>
                    <a:cubicBezTo>
                      <a:pt x="1012" y="133"/>
                      <a:pt x="1012" y="133"/>
                      <a:pt x="1012" y="133"/>
                    </a:cubicBezTo>
                    <a:cubicBezTo>
                      <a:pt x="1011" y="134"/>
                      <a:pt x="1012" y="134"/>
                      <a:pt x="1011" y="135"/>
                    </a:cubicBezTo>
                    <a:cubicBezTo>
                      <a:pt x="1011" y="135"/>
                      <a:pt x="1011" y="135"/>
                      <a:pt x="1011" y="135"/>
                    </a:cubicBezTo>
                    <a:cubicBezTo>
                      <a:pt x="1011" y="135"/>
                      <a:pt x="1011" y="136"/>
                      <a:pt x="1011" y="137"/>
                    </a:cubicBezTo>
                    <a:cubicBezTo>
                      <a:pt x="1011" y="137"/>
                      <a:pt x="1011" y="137"/>
                      <a:pt x="1011" y="137"/>
                    </a:cubicBezTo>
                    <a:cubicBezTo>
                      <a:pt x="1010" y="137"/>
                      <a:pt x="1011" y="138"/>
                      <a:pt x="1010" y="139"/>
                    </a:cubicBezTo>
                    <a:cubicBezTo>
                      <a:pt x="1010" y="139"/>
                      <a:pt x="1010" y="139"/>
                      <a:pt x="1010" y="139"/>
                    </a:cubicBezTo>
                    <a:cubicBezTo>
                      <a:pt x="1010" y="139"/>
                      <a:pt x="1010" y="140"/>
                      <a:pt x="1010" y="140"/>
                    </a:cubicBezTo>
                    <a:cubicBezTo>
                      <a:pt x="1010" y="140"/>
                      <a:pt x="1010" y="141"/>
                      <a:pt x="1010" y="141"/>
                    </a:cubicBezTo>
                    <a:cubicBezTo>
                      <a:pt x="1009" y="141"/>
                      <a:pt x="1010" y="142"/>
                      <a:pt x="1009" y="142"/>
                    </a:cubicBezTo>
                    <a:cubicBezTo>
                      <a:pt x="1009" y="142"/>
                      <a:pt x="1009" y="142"/>
                      <a:pt x="1009" y="142"/>
                    </a:cubicBezTo>
                    <a:cubicBezTo>
                      <a:pt x="1009" y="143"/>
                      <a:pt x="1009" y="144"/>
                      <a:pt x="1009" y="144"/>
                    </a:cubicBezTo>
                    <a:cubicBezTo>
                      <a:pt x="1009" y="144"/>
                      <a:pt x="1009" y="144"/>
                      <a:pt x="1009" y="144"/>
                    </a:cubicBezTo>
                    <a:cubicBezTo>
                      <a:pt x="1008" y="145"/>
                      <a:pt x="1008" y="145"/>
                      <a:pt x="1008" y="146"/>
                    </a:cubicBezTo>
                    <a:cubicBezTo>
                      <a:pt x="1008" y="146"/>
                      <a:pt x="1008" y="146"/>
                      <a:pt x="1008" y="146"/>
                    </a:cubicBezTo>
                    <a:cubicBezTo>
                      <a:pt x="1008" y="147"/>
                      <a:pt x="1008" y="147"/>
                      <a:pt x="1007" y="148"/>
                    </a:cubicBezTo>
                    <a:cubicBezTo>
                      <a:pt x="1008" y="148"/>
                      <a:pt x="1008" y="148"/>
                      <a:pt x="1008" y="148"/>
                    </a:cubicBezTo>
                    <a:cubicBezTo>
                      <a:pt x="1007" y="148"/>
                      <a:pt x="1007" y="148"/>
                      <a:pt x="1007" y="148"/>
                    </a:cubicBezTo>
                    <a:cubicBezTo>
                      <a:pt x="1007" y="149"/>
                      <a:pt x="1007" y="149"/>
                      <a:pt x="1007" y="150"/>
                    </a:cubicBezTo>
                    <a:cubicBezTo>
                      <a:pt x="1007" y="150"/>
                      <a:pt x="1007" y="150"/>
                      <a:pt x="1007" y="150"/>
                    </a:cubicBezTo>
                    <a:cubicBezTo>
                      <a:pt x="1006" y="150"/>
                      <a:pt x="1007" y="151"/>
                      <a:pt x="1006" y="152"/>
                    </a:cubicBezTo>
                    <a:cubicBezTo>
                      <a:pt x="1006" y="152"/>
                      <a:pt x="1006" y="152"/>
                      <a:pt x="1006" y="152"/>
                    </a:cubicBezTo>
                    <a:cubicBezTo>
                      <a:pt x="1006" y="152"/>
                      <a:pt x="1006" y="153"/>
                      <a:pt x="1006" y="154"/>
                    </a:cubicBezTo>
                    <a:cubicBezTo>
                      <a:pt x="1006" y="154"/>
                      <a:pt x="1006" y="154"/>
                      <a:pt x="1006" y="154"/>
                    </a:cubicBezTo>
                    <a:cubicBezTo>
                      <a:pt x="1005" y="154"/>
                      <a:pt x="1005" y="155"/>
                      <a:pt x="1005" y="155"/>
                    </a:cubicBezTo>
                    <a:cubicBezTo>
                      <a:pt x="1005" y="156"/>
                      <a:pt x="1005" y="156"/>
                      <a:pt x="1005" y="156"/>
                    </a:cubicBezTo>
                    <a:cubicBezTo>
                      <a:pt x="1005" y="156"/>
                      <a:pt x="1005" y="156"/>
                      <a:pt x="1005" y="156"/>
                    </a:cubicBezTo>
                    <a:cubicBezTo>
                      <a:pt x="1005" y="156"/>
                      <a:pt x="1005" y="157"/>
                      <a:pt x="1005" y="157"/>
                    </a:cubicBezTo>
                    <a:cubicBezTo>
                      <a:pt x="1005" y="157"/>
                      <a:pt x="1005" y="157"/>
                      <a:pt x="1005" y="157"/>
                    </a:cubicBezTo>
                    <a:cubicBezTo>
                      <a:pt x="1004" y="158"/>
                      <a:pt x="1004" y="159"/>
                      <a:pt x="1004" y="159"/>
                    </a:cubicBezTo>
                    <a:cubicBezTo>
                      <a:pt x="1004" y="159"/>
                      <a:pt x="1004" y="160"/>
                      <a:pt x="1004" y="160"/>
                    </a:cubicBezTo>
                    <a:cubicBezTo>
                      <a:pt x="1004" y="160"/>
                      <a:pt x="1004" y="161"/>
                      <a:pt x="1003" y="161"/>
                    </a:cubicBezTo>
                    <a:cubicBezTo>
                      <a:pt x="1004" y="161"/>
                      <a:pt x="1003" y="161"/>
                      <a:pt x="1003" y="161"/>
                    </a:cubicBezTo>
                    <a:cubicBezTo>
                      <a:pt x="1003" y="162"/>
                      <a:pt x="1003" y="163"/>
                      <a:pt x="1003" y="163"/>
                    </a:cubicBezTo>
                    <a:cubicBezTo>
                      <a:pt x="1003" y="163"/>
                      <a:pt x="1003" y="163"/>
                      <a:pt x="1003" y="163"/>
                    </a:cubicBezTo>
                    <a:cubicBezTo>
                      <a:pt x="1002" y="164"/>
                      <a:pt x="1003" y="164"/>
                      <a:pt x="1002" y="165"/>
                    </a:cubicBezTo>
                    <a:cubicBezTo>
                      <a:pt x="1002" y="165"/>
                      <a:pt x="1002" y="165"/>
                      <a:pt x="1002" y="165"/>
                    </a:cubicBezTo>
                    <a:cubicBezTo>
                      <a:pt x="1002" y="165"/>
                      <a:pt x="1002" y="166"/>
                      <a:pt x="1002" y="167"/>
                    </a:cubicBezTo>
                    <a:cubicBezTo>
                      <a:pt x="1002" y="167"/>
                      <a:pt x="1002" y="167"/>
                      <a:pt x="1002" y="167"/>
                    </a:cubicBezTo>
                    <a:cubicBezTo>
                      <a:pt x="1001" y="168"/>
                      <a:pt x="1001" y="168"/>
                      <a:pt x="1001" y="169"/>
                    </a:cubicBezTo>
                    <a:cubicBezTo>
                      <a:pt x="1001" y="169"/>
                      <a:pt x="1001" y="169"/>
                      <a:pt x="1001" y="169"/>
                    </a:cubicBezTo>
                    <a:cubicBezTo>
                      <a:pt x="1001" y="169"/>
                      <a:pt x="1001" y="170"/>
                      <a:pt x="1000" y="171"/>
                    </a:cubicBezTo>
                    <a:cubicBezTo>
                      <a:pt x="1000" y="171"/>
                      <a:pt x="1000" y="171"/>
                      <a:pt x="1000" y="171"/>
                    </a:cubicBezTo>
                    <a:cubicBezTo>
                      <a:pt x="1000" y="171"/>
                      <a:pt x="1000" y="172"/>
                      <a:pt x="1000" y="172"/>
                    </a:cubicBezTo>
                    <a:cubicBezTo>
                      <a:pt x="1000" y="172"/>
                      <a:pt x="1000" y="172"/>
                      <a:pt x="1000" y="172"/>
                    </a:cubicBezTo>
                    <a:cubicBezTo>
                      <a:pt x="999" y="173"/>
                      <a:pt x="1000" y="174"/>
                      <a:pt x="999" y="174"/>
                    </a:cubicBezTo>
                    <a:cubicBezTo>
                      <a:pt x="999" y="174"/>
                      <a:pt x="999" y="175"/>
                      <a:pt x="999" y="175"/>
                    </a:cubicBezTo>
                    <a:cubicBezTo>
                      <a:pt x="999" y="175"/>
                      <a:pt x="999" y="176"/>
                      <a:pt x="999" y="176"/>
                    </a:cubicBezTo>
                    <a:cubicBezTo>
                      <a:pt x="999" y="176"/>
                      <a:pt x="999" y="176"/>
                      <a:pt x="999" y="176"/>
                    </a:cubicBezTo>
                    <a:cubicBezTo>
                      <a:pt x="999" y="176"/>
                      <a:pt x="999" y="176"/>
                      <a:pt x="999" y="176"/>
                    </a:cubicBezTo>
                    <a:cubicBezTo>
                      <a:pt x="998" y="177"/>
                      <a:pt x="999" y="178"/>
                      <a:pt x="998" y="178"/>
                    </a:cubicBezTo>
                    <a:cubicBezTo>
                      <a:pt x="998" y="178"/>
                      <a:pt x="998" y="178"/>
                      <a:pt x="998" y="178"/>
                    </a:cubicBezTo>
                    <a:cubicBezTo>
                      <a:pt x="998" y="179"/>
                      <a:pt x="998" y="179"/>
                      <a:pt x="998" y="180"/>
                    </a:cubicBezTo>
                    <a:cubicBezTo>
                      <a:pt x="998" y="180"/>
                      <a:pt x="998" y="180"/>
                      <a:pt x="998" y="180"/>
                    </a:cubicBezTo>
                    <a:cubicBezTo>
                      <a:pt x="997" y="180"/>
                      <a:pt x="997" y="181"/>
                      <a:pt x="997" y="182"/>
                    </a:cubicBezTo>
                    <a:cubicBezTo>
                      <a:pt x="997" y="182"/>
                      <a:pt x="997" y="182"/>
                      <a:pt x="997" y="182"/>
                    </a:cubicBezTo>
                    <a:cubicBezTo>
                      <a:pt x="997" y="183"/>
                      <a:pt x="997" y="183"/>
                      <a:pt x="997" y="184"/>
                    </a:cubicBezTo>
                    <a:cubicBezTo>
                      <a:pt x="997" y="184"/>
                      <a:pt x="997" y="184"/>
                      <a:pt x="997" y="184"/>
                    </a:cubicBezTo>
                    <a:cubicBezTo>
                      <a:pt x="996" y="184"/>
                      <a:pt x="996" y="184"/>
                      <a:pt x="996" y="184"/>
                    </a:cubicBezTo>
                    <a:cubicBezTo>
                      <a:pt x="996" y="184"/>
                      <a:pt x="997" y="185"/>
                      <a:pt x="995" y="185"/>
                    </a:cubicBezTo>
                    <a:cubicBezTo>
                      <a:pt x="995" y="185"/>
                      <a:pt x="995" y="185"/>
                      <a:pt x="995" y="185"/>
                    </a:cubicBezTo>
                    <a:cubicBezTo>
                      <a:pt x="995" y="184"/>
                      <a:pt x="995" y="183"/>
                      <a:pt x="995" y="183"/>
                    </a:cubicBezTo>
                    <a:cubicBezTo>
                      <a:pt x="995" y="183"/>
                      <a:pt x="995" y="183"/>
                      <a:pt x="995" y="183"/>
                    </a:cubicBezTo>
                    <a:cubicBezTo>
                      <a:pt x="995" y="182"/>
                      <a:pt x="995" y="182"/>
                      <a:pt x="995" y="182"/>
                    </a:cubicBezTo>
                    <a:cubicBezTo>
                      <a:pt x="994" y="182"/>
                      <a:pt x="995" y="181"/>
                      <a:pt x="994" y="180"/>
                    </a:cubicBezTo>
                    <a:cubicBezTo>
                      <a:pt x="994" y="180"/>
                      <a:pt x="994" y="180"/>
                      <a:pt x="994" y="180"/>
                    </a:cubicBezTo>
                    <a:cubicBezTo>
                      <a:pt x="994" y="180"/>
                      <a:pt x="994" y="179"/>
                      <a:pt x="994" y="179"/>
                    </a:cubicBezTo>
                    <a:cubicBezTo>
                      <a:pt x="993" y="179"/>
                      <a:pt x="993" y="178"/>
                      <a:pt x="993" y="178"/>
                    </a:cubicBezTo>
                    <a:cubicBezTo>
                      <a:pt x="993" y="178"/>
                      <a:pt x="993" y="177"/>
                      <a:pt x="993" y="176"/>
                    </a:cubicBezTo>
                    <a:cubicBezTo>
                      <a:pt x="993" y="176"/>
                      <a:pt x="993" y="176"/>
                      <a:pt x="993" y="176"/>
                    </a:cubicBezTo>
                    <a:cubicBezTo>
                      <a:pt x="993" y="176"/>
                      <a:pt x="993" y="176"/>
                      <a:pt x="993" y="176"/>
                    </a:cubicBezTo>
                    <a:cubicBezTo>
                      <a:pt x="993" y="175"/>
                      <a:pt x="993" y="175"/>
                      <a:pt x="992" y="174"/>
                    </a:cubicBezTo>
                    <a:cubicBezTo>
                      <a:pt x="992" y="174"/>
                      <a:pt x="992" y="174"/>
                      <a:pt x="992" y="174"/>
                    </a:cubicBezTo>
                    <a:cubicBezTo>
                      <a:pt x="992" y="174"/>
                      <a:pt x="992" y="173"/>
                      <a:pt x="992" y="172"/>
                    </a:cubicBezTo>
                    <a:cubicBezTo>
                      <a:pt x="992" y="172"/>
                      <a:pt x="992" y="172"/>
                      <a:pt x="992" y="172"/>
                    </a:cubicBezTo>
                    <a:cubicBezTo>
                      <a:pt x="991" y="171"/>
                      <a:pt x="992" y="171"/>
                      <a:pt x="991" y="170"/>
                    </a:cubicBezTo>
                    <a:cubicBezTo>
                      <a:pt x="991" y="170"/>
                      <a:pt x="991" y="170"/>
                      <a:pt x="991" y="170"/>
                    </a:cubicBezTo>
                    <a:cubicBezTo>
                      <a:pt x="991" y="170"/>
                      <a:pt x="991" y="170"/>
                      <a:pt x="991" y="170"/>
                    </a:cubicBezTo>
                    <a:cubicBezTo>
                      <a:pt x="991" y="169"/>
                      <a:pt x="991" y="168"/>
                      <a:pt x="991" y="168"/>
                    </a:cubicBezTo>
                    <a:cubicBezTo>
                      <a:pt x="991" y="168"/>
                      <a:pt x="991" y="168"/>
                      <a:pt x="991" y="168"/>
                    </a:cubicBezTo>
                    <a:cubicBezTo>
                      <a:pt x="990" y="167"/>
                      <a:pt x="991" y="167"/>
                      <a:pt x="990" y="166"/>
                    </a:cubicBezTo>
                    <a:cubicBezTo>
                      <a:pt x="990" y="166"/>
                      <a:pt x="990" y="166"/>
                      <a:pt x="990" y="166"/>
                    </a:cubicBezTo>
                    <a:cubicBezTo>
                      <a:pt x="990" y="165"/>
                      <a:pt x="990" y="164"/>
                      <a:pt x="990" y="164"/>
                    </a:cubicBezTo>
                    <a:close/>
                    <a:moveTo>
                      <a:pt x="1439" y="130"/>
                    </a:moveTo>
                    <a:cubicBezTo>
                      <a:pt x="1439" y="130"/>
                      <a:pt x="1439" y="130"/>
                      <a:pt x="1439" y="130"/>
                    </a:cubicBezTo>
                    <a:cubicBezTo>
                      <a:pt x="1439" y="129"/>
                      <a:pt x="1439" y="128"/>
                      <a:pt x="1439" y="127"/>
                    </a:cubicBezTo>
                    <a:cubicBezTo>
                      <a:pt x="1439" y="127"/>
                      <a:pt x="1439" y="127"/>
                      <a:pt x="1439" y="127"/>
                    </a:cubicBezTo>
                    <a:cubicBezTo>
                      <a:pt x="1439" y="127"/>
                      <a:pt x="1439" y="127"/>
                      <a:pt x="1439" y="127"/>
                    </a:cubicBezTo>
                    <a:cubicBezTo>
                      <a:pt x="1438" y="126"/>
                      <a:pt x="1439" y="126"/>
                      <a:pt x="1438" y="125"/>
                    </a:cubicBezTo>
                    <a:cubicBezTo>
                      <a:pt x="1438" y="125"/>
                      <a:pt x="1438" y="125"/>
                      <a:pt x="1438" y="125"/>
                    </a:cubicBezTo>
                    <a:cubicBezTo>
                      <a:pt x="1438" y="125"/>
                      <a:pt x="1438" y="124"/>
                      <a:pt x="1438" y="123"/>
                    </a:cubicBezTo>
                    <a:cubicBezTo>
                      <a:pt x="1437" y="123"/>
                      <a:pt x="1437" y="123"/>
                      <a:pt x="1437" y="123"/>
                    </a:cubicBezTo>
                    <a:cubicBezTo>
                      <a:pt x="1437" y="123"/>
                      <a:pt x="1437" y="123"/>
                      <a:pt x="1437" y="123"/>
                    </a:cubicBezTo>
                    <a:cubicBezTo>
                      <a:pt x="1437" y="123"/>
                      <a:pt x="1437" y="122"/>
                      <a:pt x="1437" y="122"/>
                    </a:cubicBezTo>
                    <a:cubicBezTo>
                      <a:pt x="1437" y="122"/>
                      <a:pt x="1437" y="122"/>
                      <a:pt x="1437" y="122"/>
                    </a:cubicBezTo>
                    <a:cubicBezTo>
                      <a:pt x="1436" y="121"/>
                      <a:pt x="1437" y="120"/>
                      <a:pt x="1436" y="120"/>
                    </a:cubicBezTo>
                    <a:cubicBezTo>
                      <a:pt x="1436" y="120"/>
                      <a:pt x="1436" y="120"/>
                      <a:pt x="1436" y="120"/>
                    </a:cubicBezTo>
                    <a:cubicBezTo>
                      <a:pt x="1436" y="120"/>
                      <a:pt x="1436" y="119"/>
                      <a:pt x="1436" y="119"/>
                    </a:cubicBezTo>
                    <a:cubicBezTo>
                      <a:pt x="1436" y="119"/>
                      <a:pt x="1436" y="119"/>
                      <a:pt x="1436" y="119"/>
                    </a:cubicBezTo>
                    <a:cubicBezTo>
                      <a:pt x="1435" y="118"/>
                      <a:pt x="1436" y="118"/>
                      <a:pt x="1435" y="118"/>
                    </a:cubicBezTo>
                    <a:cubicBezTo>
                      <a:pt x="1435" y="118"/>
                      <a:pt x="1435" y="117"/>
                      <a:pt x="1435" y="117"/>
                    </a:cubicBezTo>
                    <a:cubicBezTo>
                      <a:pt x="1435" y="117"/>
                      <a:pt x="1435" y="116"/>
                      <a:pt x="1435" y="116"/>
                    </a:cubicBezTo>
                    <a:cubicBezTo>
                      <a:pt x="1435" y="116"/>
                      <a:pt x="1435" y="116"/>
                      <a:pt x="1435" y="116"/>
                    </a:cubicBezTo>
                    <a:cubicBezTo>
                      <a:pt x="1435" y="116"/>
                      <a:pt x="1434" y="116"/>
                      <a:pt x="1434" y="115"/>
                    </a:cubicBezTo>
                    <a:cubicBezTo>
                      <a:pt x="1434" y="115"/>
                      <a:pt x="1434" y="115"/>
                      <a:pt x="1434" y="115"/>
                    </a:cubicBezTo>
                    <a:cubicBezTo>
                      <a:pt x="1434" y="115"/>
                      <a:pt x="1434" y="114"/>
                      <a:pt x="1434" y="114"/>
                    </a:cubicBezTo>
                    <a:cubicBezTo>
                      <a:pt x="1434" y="114"/>
                      <a:pt x="1434" y="114"/>
                      <a:pt x="1434" y="114"/>
                    </a:cubicBezTo>
                    <a:cubicBezTo>
                      <a:pt x="1433" y="114"/>
                      <a:pt x="1433" y="113"/>
                      <a:pt x="1433" y="113"/>
                    </a:cubicBezTo>
                    <a:cubicBezTo>
                      <a:pt x="1433" y="113"/>
                      <a:pt x="1433" y="113"/>
                      <a:pt x="1433" y="113"/>
                    </a:cubicBezTo>
                    <a:cubicBezTo>
                      <a:pt x="1433" y="113"/>
                      <a:pt x="1433" y="112"/>
                      <a:pt x="1432" y="112"/>
                    </a:cubicBezTo>
                    <a:cubicBezTo>
                      <a:pt x="1432" y="112"/>
                      <a:pt x="1432" y="112"/>
                      <a:pt x="1432" y="112"/>
                    </a:cubicBezTo>
                    <a:cubicBezTo>
                      <a:pt x="1432" y="112"/>
                      <a:pt x="1432" y="112"/>
                      <a:pt x="1432" y="111"/>
                    </a:cubicBezTo>
                    <a:cubicBezTo>
                      <a:pt x="1432" y="111"/>
                      <a:pt x="1432" y="111"/>
                      <a:pt x="1432" y="111"/>
                    </a:cubicBezTo>
                    <a:cubicBezTo>
                      <a:pt x="1431" y="111"/>
                      <a:pt x="1432" y="110"/>
                      <a:pt x="1431" y="110"/>
                    </a:cubicBezTo>
                    <a:cubicBezTo>
                      <a:pt x="1431" y="110"/>
                      <a:pt x="1431" y="110"/>
                      <a:pt x="1431" y="110"/>
                    </a:cubicBezTo>
                    <a:cubicBezTo>
                      <a:pt x="1431" y="110"/>
                      <a:pt x="1431" y="110"/>
                      <a:pt x="1431" y="110"/>
                    </a:cubicBezTo>
                    <a:cubicBezTo>
                      <a:pt x="1431" y="110"/>
                      <a:pt x="1431" y="110"/>
                      <a:pt x="1431" y="110"/>
                    </a:cubicBezTo>
                    <a:cubicBezTo>
                      <a:pt x="1430" y="109"/>
                      <a:pt x="1430" y="109"/>
                      <a:pt x="1430" y="109"/>
                    </a:cubicBezTo>
                    <a:cubicBezTo>
                      <a:pt x="1430" y="109"/>
                      <a:pt x="1430" y="109"/>
                      <a:pt x="1430" y="109"/>
                    </a:cubicBezTo>
                    <a:cubicBezTo>
                      <a:pt x="1430" y="109"/>
                      <a:pt x="1430" y="108"/>
                      <a:pt x="1429" y="108"/>
                    </a:cubicBezTo>
                    <a:cubicBezTo>
                      <a:pt x="1429" y="108"/>
                      <a:pt x="1429" y="108"/>
                      <a:pt x="1429" y="108"/>
                    </a:cubicBezTo>
                    <a:cubicBezTo>
                      <a:pt x="1429" y="108"/>
                      <a:pt x="1429" y="107"/>
                      <a:pt x="1429" y="107"/>
                    </a:cubicBezTo>
                    <a:cubicBezTo>
                      <a:pt x="1429" y="107"/>
                      <a:pt x="1429" y="107"/>
                      <a:pt x="1429" y="107"/>
                    </a:cubicBezTo>
                    <a:cubicBezTo>
                      <a:pt x="1429" y="107"/>
                      <a:pt x="1429" y="107"/>
                      <a:pt x="1428" y="107"/>
                    </a:cubicBezTo>
                    <a:cubicBezTo>
                      <a:pt x="1428" y="107"/>
                      <a:pt x="1428" y="107"/>
                      <a:pt x="1428" y="107"/>
                    </a:cubicBezTo>
                    <a:cubicBezTo>
                      <a:pt x="1428" y="106"/>
                      <a:pt x="1428" y="106"/>
                      <a:pt x="1428" y="106"/>
                    </a:cubicBezTo>
                    <a:cubicBezTo>
                      <a:pt x="1428" y="106"/>
                      <a:pt x="1428" y="106"/>
                      <a:pt x="1428" y="106"/>
                    </a:cubicBezTo>
                    <a:cubicBezTo>
                      <a:pt x="1428" y="106"/>
                      <a:pt x="1427" y="106"/>
                      <a:pt x="1427" y="106"/>
                    </a:cubicBezTo>
                    <a:cubicBezTo>
                      <a:pt x="1427" y="106"/>
                      <a:pt x="1427" y="106"/>
                      <a:pt x="1427" y="106"/>
                    </a:cubicBezTo>
                    <a:cubicBezTo>
                      <a:pt x="1427" y="105"/>
                      <a:pt x="1427" y="105"/>
                      <a:pt x="1427" y="105"/>
                    </a:cubicBezTo>
                    <a:cubicBezTo>
                      <a:pt x="1427" y="105"/>
                      <a:pt x="1427" y="105"/>
                      <a:pt x="1427" y="105"/>
                    </a:cubicBezTo>
                    <a:cubicBezTo>
                      <a:pt x="1426" y="105"/>
                      <a:pt x="1426" y="105"/>
                      <a:pt x="1426" y="104"/>
                    </a:cubicBezTo>
                    <a:cubicBezTo>
                      <a:pt x="1426" y="104"/>
                      <a:pt x="1426" y="104"/>
                      <a:pt x="1426" y="104"/>
                    </a:cubicBezTo>
                    <a:cubicBezTo>
                      <a:pt x="1426" y="104"/>
                      <a:pt x="1426" y="104"/>
                      <a:pt x="1425" y="104"/>
                    </a:cubicBezTo>
                    <a:cubicBezTo>
                      <a:pt x="1425" y="104"/>
                      <a:pt x="1425" y="104"/>
                      <a:pt x="1425" y="104"/>
                    </a:cubicBezTo>
                    <a:cubicBezTo>
                      <a:pt x="1425" y="104"/>
                      <a:pt x="1425" y="103"/>
                      <a:pt x="1425" y="103"/>
                    </a:cubicBezTo>
                    <a:cubicBezTo>
                      <a:pt x="1425" y="103"/>
                      <a:pt x="1425" y="103"/>
                      <a:pt x="1425" y="103"/>
                    </a:cubicBezTo>
                    <a:cubicBezTo>
                      <a:pt x="1425" y="103"/>
                      <a:pt x="1425" y="103"/>
                      <a:pt x="1424" y="103"/>
                    </a:cubicBezTo>
                    <a:cubicBezTo>
                      <a:pt x="1424" y="103"/>
                      <a:pt x="1424" y="103"/>
                      <a:pt x="1424" y="103"/>
                    </a:cubicBezTo>
                    <a:cubicBezTo>
                      <a:pt x="1424" y="102"/>
                      <a:pt x="1424" y="102"/>
                      <a:pt x="1424" y="102"/>
                    </a:cubicBezTo>
                    <a:cubicBezTo>
                      <a:pt x="1424" y="102"/>
                      <a:pt x="1424" y="102"/>
                      <a:pt x="1424" y="102"/>
                    </a:cubicBezTo>
                    <a:cubicBezTo>
                      <a:pt x="1424" y="102"/>
                      <a:pt x="1423" y="102"/>
                      <a:pt x="1423" y="101"/>
                    </a:cubicBezTo>
                    <a:cubicBezTo>
                      <a:pt x="1423" y="101"/>
                      <a:pt x="1423" y="101"/>
                      <a:pt x="1423" y="101"/>
                    </a:cubicBezTo>
                    <a:cubicBezTo>
                      <a:pt x="1422" y="101"/>
                      <a:pt x="1422" y="101"/>
                      <a:pt x="1422" y="101"/>
                    </a:cubicBezTo>
                    <a:cubicBezTo>
                      <a:pt x="1422" y="101"/>
                      <a:pt x="1422" y="101"/>
                      <a:pt x="1422" y="101"/>
                    </a:cubicBezTo>
                    <a:cubicBezTo>
                      <a:pt x="1422" y="101"/>
                      <a:pt x="1422" y="100"/>
                      <a:pt x="1421" y="100"/>
                    </a:cubicBezTo>
                    <a:cubicBezTo>
                      <a:pt x="1421" y="100"/>
                      <a:pt x="1421" y="100"/>
                      <a:pt x="1421" y="100"/>
                    </a:cubicBezTo>
                    <a:cubicBezTo>
                      <a:pt x="1421" y="100"/>
                      <a:pt x="1421" y="100"/>
                      <a:pt x="1420" y="100"/>
                    </a:cubicBezTo>
                    <a:cubicBezTo>
                      <a:pt x="1420" y="100"/>
                      <a:pt x="1420" y="100"/>
                      <a:pt x="1420" y="100"/>
                    </a:cubicBezTo>
                    <a:cubicBezTo>
                      <a:pt x="1420" y="100"/>
                      <a:pt x="1420" y="99"/>
                      <a:pt x="1419" y="99"/>
                    </a:cubicBezTo>
                    <a:cubicBezTo>
                      <a:pt x="1419" y="99"/>
                      <a:pt x="1419" y="99"/>
                      <a:pt x="1419" y="99"/>
                    </a:cubicBezTo>
                    <a:cubicBezTo>
                      <a:pt x="1419" y="99"/>
                      <a:pt x="1419" y="99"/>
                      <a:pt x="1418" y="99"/>
                    </a:cubicBezTo>
                    <a:cubicBezTo>
                      <a:pt x="1419" y="99"/>
                      <a:pt x="1419" y="99"/>
                      <a:pt x="1419" y="99"/>
                    </a:cubicBezTo>
                    <a:cubicBezTo>
                      <a:pt x="1418" y="98"/>
                      <a:pt x="1418" y="98"/>
                      <a:pt x="1417" y="98"/>
                    </a:cubicBezTo>
                    <a:cubicBezTo>
                      <a:pt x="1417" y="98"/>
                      <a:pt x="1417" y="98"/>
                      <a:pt x="1417" y="98"/>
                    </a:cubicBezTo>
                    <a:cubicBezTo>
                      <a:pt x="1417" y="98"/>
                      <a:pt x="1417" y="98"/>
                      <a:pt x="1416" y="97"/>
                    </a:cubicBezTo>
                    <a:cubicBezTo>
                      <a:pt x="1416" y="97"/>
                      <a:pt x="1416" y="97"/>
                      <a:pt x="1416" y="97"/>
                    </a:cubicBezTo>
                    <a:cubicBezTo>
                      <a:pt x="1416" y="97"/>
                      <a:pt x="1415" y="97"/>
                      <a:pt x="1415" y="97"/>
                    </a:cubicBezTo>
                    <a:cubicBezTo>
                      <a:pt x="1415" y="97"/>
                      <a:pt x="1415" y="97"/>
                      <a:pt x="1415" y="97"/>
                    </a:cubicBezTo>
                    <a:cubicBezTo>
                      <a:pt x="1415" y="97"/>
                      <a:pt x="1414" y="97"/>
                      <a:pt x="1414" y="96"/>
                    </a:cubicBezTo>
                    <a:cubicBezTo>
                      <a:pt x="1414" y="96"/>
                      <a:pt x="1413" y="96"/>
                      <a:pt x="1413" y="96"/>
                    </a:cubicBezTo>
                    <a:cubicBezTo>
                      <a:pt x="1413" y="96"/>
                      <a:pt x="1413" y="96"/>
                      <a:pt x="1412" y="96"/>
                    </a:cubicBezTo>
                    <a:cubicBezTo>
                      <a:pt x="1412" y="96"/>
                      <a:pt x="1412" y="96"/>
                      <a:pt x="1412" y="96"/>
                    </a:cubicBezTo>
                    <a:cubicBezTo>
                      <a:pt x="1412" y="95"/>
                      <a:pt x="1411" y="96"/>
                      <a:pt x="1410" y="95"/>
                    </a:cubicBezTo>
                    <a:cubicBezTo>
                      <a:pt x="1410" y="95"/>
                      <a:pt x="1410" y="95"/>
                      <a:pt x="1410" y="95"/>
                    </a:cubicBezTo>
                    <a:cubicBezTo>
                      <a:pt x="1409" y="95"/>
                      <a:pt x="1409" y="95"/>
                      <a:pt x="1409" y="95"/>
                    </a:cubicBezTo>
                    <a:cubicBezTo>
                      <a:pt x="1408" y="95"/>
                      <a:pt x="1408" y="95"/>
                      <a:pt x="1408" y="95"/>
                    </a:cubicBezTo>
                    <a:cubicBezTo>
                      <a:pt x="1408" y="94"/>
                      <a:pt x="1407" y="94"/>
                      <a:pt x="1406" y="94"/>
                    </a:cubicBezTo>
                    <a:cubicBezTo>
                      <a:pt x="1406" y="94"/>
                      <a:pt x="1406" y="94"/>
                      <a:pt x="1405" y="94"/>
                    </a:cubicBezTo>
                    <a:cubicBezTo>
                      <a:pt x="1405" y="93"/>
                      <a:pt x="1404" y="94"/>
                      <a:pt x="1403" y="94"/>
                    </a:cubicBezTo>
                    <a:cubicBezTo>
                      <a:pt x="1402" y="94"/>
                      <a:pt x="1402" y="94"/>
                      <a:pt x="1401" y="93"/>
                    </a:cubicBezTo>
                    <a:cubicBezTo>
                      <a:pt x="1397" y="93"/>
                      <a:pt x="1393" y="93"/>
                      <a:pt x="1389" y="93"/>
                    </a:cubicBezTo>
                    <a:cubicBezTo>
                      <a:pt x="1389" y="93"/>
                      <a:pt x="1388" y="93"/>
                      <a:pt x="1388" y="93"/>
                    </a:cubicBezTo>
                    <a:cubicBezTo>
                      <a:pt x="1387" y="94"/>
                      <a:pt x="1386" y="93"/>
                      <a:pt x="1385" y="94"/>
                    </a:cubicBezTo>
                    <a:cubicBezTo>
                      <a:pt x="1385" y="94"/>
                      <a:pt x="1385" y="94"/>
                      <a:pt x="1384" y="94"/>
                    </a:cubicBezTo>
                    <a:cubicBezTo>
                      <a:pt x="1384" y="94"/>
                      <a:pt x="1383" y="94"/>
                      <a:pt x="1382" y="95"/>
                    </a:cubicBezTo>
                    <a:cubicBezTo>
                      <a:pt x="1382" y="95"/>
                      <a:pt x="1382" y="95"/>
                      <a:pt x="1382" y="95"/>
                    </a:cubicBezTo>
                    <a:cubicBezTo>
                      <a:pt x="1381" y="95"/>
                      <a:pt x="1381" y="95"/>
                      <a:pt x="1381" y="95"/>
                    </a:cubicBezTo>
                    <a:cubicBezTo>
                      <a:pt x="1380" y="95"/>
                      <a:pt x="1380" y="95"/>
                      <a:pt x="1380" y="95"/>
                    </a:cubicBezTo>
                    <a:cubicBezTo>
                      <a:pt x="1380" y="96"/>
                      <a:pt x="1379" y="95"/>
                      <a:pt x="1378" y="96"/>
                    </a:cubicBezTo>
                    <a:cubicBezTo>
                      <a:pt x="1378" y="96"/>
                      <a:pt x="1378" y="96"/>
                      <a:pt x="1378" y="96"/>
                    </a:cubicBezTo>
                    <a:cubicBezTo>
                      <a:pt x="1378" y="96"/>
                      <a:pt x="1377" y="96"/>
                      <a:pt x="1377" y="96"/>
                    </a:cubicBezTo>
                    <a:cubicBezTo>
                      <a:pt x="1377" y="96"/>
                      <a:pt x="1377" y="96"/>
                      <a:pt x="1377" y="96"/>
                    </a:cubicBezTo>
                    <a:cubicBezTo>
                      <a:pt x="1376" y="97"/>
                      <a:pt x="1376" y="97"/>
                      <a:pt x="1375" y="97"/>
                    </a:cubicBezTo>
                    <a:cubicBezTo>
                      <a:pt x="1375" y="97"/>
                      <a:pt x="1375" y="97"/>
                      <a:pt x="1375" y="97"/>
                    </a:cubicBezTo>
                    <a:cubicBezTo>
                      <a:pt x="1375" y="97"/>
                      <a:pt x="1375" y="97"/>
                      <a:pt x="1374" y="97"/>
                    </a:cubicBezTo>
                    <a:cubicBezTo>
                      <a:pt x="1374" y="97"/>
                      <a:pt x="1374" y="97"/>
                      <a:pt x="1374" y="97"/>
                    </a:cubicBezTo>
                    <a:cubicBezTo>
                      <a:pt x="1374" y="98"/>
                      <a:pt x="1373" y="98"/>
                      <a:pt x="1373" y="98"/>
                    </a:cubicBezTo>
                    <a:cubicBezTo>
                      <a:pt x="1373" y="98"/>
                      <a:pt x="1373" y="98"/>
                      <a:pt x="1373" y="98"/>
                    </a:cubicBezTo>
                    <a:cubicBezTo>
                      <a:pt x="1373" y="98"/>
                      <a:pt x="1372" y="98"/>
                      <a:pt x="1372" y="99"/>
                    </a:cubicBezTo>
                    <a:cubicBezTo>
                      <a:pt x="1372" y="99"/>
                      <a:pt x="1372" y="99"/>
                      <a:pt x="1372" y="99"/>
                    </a:cubicBezTo>
                    <a:cubicBezTo>
                      <a:pt x="1372" y="99"/>
                      <a:pt x="1371" y="99"/>
                      <a:pt x="1371" y="99"/>
                    </a:cubicBezTo>
                    <a:cubicBezTo>
                      <a:pt x="1371" y="99"/>
                      <a:pt x="1371" y="99"/>
                      <a:pt x="1371" y="99"/>
                    </a:cubicBezTo>
                    <a:cubicBezTo>
                      <a:pt x="1370" y="100"/>
                      <a:pt x="1370" y="99"/>
                      <a:pt x="1370" y="100"/>
                    </a:cubicBezTo>
                    <a:cubicBezTo>
                      <a:pt x="1370" y="100"/>
                      <a:pt x="1370" y="100"/>
                      <a:pt x="1370" y="100"/>
                    </a:cubicBezTo>
                    <a:cubicBezTo>
                      <a:pt x="1369" y="100"/>
                      <a:pt x="1369" y="100"/>
                      <a:pt x="1369" y="100"/>
                    </a:cubicBezTo>
                    <a:cubicBezTo>
                      <a:pt x="1369" y="100"/>
                      <a:pt x="1369" y="100"/>
                      <a:pt x="1369" y="100"/>
                    </a:cubicBezTo>
                    <a:cubicBezTo>
                      <a:pt x="1369" y="101"/>
                      <a:pt x="1368" y="101"/>
                      <a:pt x="1368" y="101"/>
                    </a:cubicBezTo>
                    <a:cubicBezTo>
                      <a:pt x="1368" y="101"/>
                      <a:pt x="1368" y="101"/>
                      <a:pt x="1368" y="101"/>
                    </a:cubicBezTo>
                    <a:cubicBezTo>
                      <a:pt x="1368" y="101"/>
                      <a:pt x="1368" y="101"/>
                      <a:pt x="1367" y="101"/>
                    </a:cubicBezTo>
                    <a:cubicBezTo>
                      <a:pt x="1367" y="101"/>
                      <a:pt x="1367" y="101"/>
                      <a:pt x="1367" y="101"/>
                    </a:cubicBezTo>
                    <a:cubicBezTo>
                      <a:pt x="1367" y="102"/>
                      <a:pt x="1366" y="102"/>
                      <a:pt x="1366" y="102"/>
                    </a:cubicBezTo>
                    <a:cubicBezTo>
                      <a:pt x="1366" y="102"/>
                      <a:pt x="1366" y="102"/>
                      <a:pt x="1366" y="102"/>
                    </a:cubicBezTo>
                    <a:cubicBezTo>
                      <a:pt x="1366" y="102"/>
                      <a:pt x="1366" y="102"/>
                      <a:pt x="1366" y="103"/>
                    </a:cubicBezTo>
                    <a:cubicBezTo>
                      <a:pt x="1366" y="103"/>
                      <a:pt x="1366" y="103"/>
                      <a:pt x="1366" y="103"/>
                    </a:cubicBezTo>
                    <a:cubicBezTo>
                      <a:pt x="1365" y="103"/>
                      <a:pt x="1365" y="103"/>
                      <a:pt x="1365" y="103"/>
                    </a:cubicBezTo>
                    <a:cubicBezTo>
                      <a:pt x="1365" y="103"/>
                      <a:pt x="1365" y="103"/>
                      <a:pt x="1365" y="103"/>
                    </a:cubicBezTo>
                    <a:cubicBezTo>
                      <a:pt x="1365" y="104"/>
                      <a:pt x="1364" y="103"/>
                      <a:pt x="1364" y="104"/>
                    </a:cubicBezTo>
                    <a:cubicBezTo>
                      <a:pt x="1364" y="104"/>
                      <a:pt x="1364" y="104"/>
                      <a:pt x="1364" y="104"/>
                    </a:cubicBezTo>
                    <a:cubicBezTo>
                      <a:pt x="1364" y="104"/>
                      <a:pt x="1363" y="104"/>
                      <a:pt x="1363" y="104"/>
                    </a:cubicBezTo>
                    <a:cubicBezTo>
                      <a:pt x="1363" y="104"/>
                      <a:pt x="1363" y="104"/>
                      <a:pt x="1363" y="104"/>
                    </a:cubicBezTo>
                    <a:cubicBezTo>
                      <a:pt x="1363" y="105"/>
                      <a:pt x="1363" y="105"/>
                      <a:pt x="1363" y="105"/>
                    </a:cubicBezTo>
                    <a:cubicBezTo>
                      <a:pt x="1363" y="105"/>
                      <a:pt x="1363" y="105"/>
                      <a:pt x="1363" y="105"/>
                    </a:cubicBezTo>
                    <a:cubicBezTo>
                      <a:pt x="1363" y="105"/>
                      <a:pt x="1362" y="105"/>
                      <a:pt x="1362" y="106"/>
                    </a:cubicBezTo>
                    <a:cubicBezTo>
                      <a:pt x="1362" y="106"/>
                      <a:pt x="1362" y="106"/>
                      <a:pt x="1362" y="106"/>
                    </a:cubicBezTo>
                    <a:cubicBezTo>
                      <a:pt x="1362" y="106"/>
                      <a:pt x="1362" y="106"/>
                      <a:pt x="1362" y="106"/>
                    </a:cubicBezTo>
                    <a:cubicBezTo>
                      <a:pt x="1361" y="106"/>
                      <a:pt x="1361" y="106"/>
                      <a:pt x="1361" y="106"/>
                    </a:cubicBezTo>
                    <a:cubicBezTo>
                      <a:pt x="1361" y="106"/>
                      <a:pt x="1361" y="106"/>
                      <a:pt x="1361" y="107"/>
                    </a:cubicBezTo>
                    <a:cubicBezTo>
                      <a:pt x="1361" y="107"/>
                      <a:pt x="1361" y="107"/>
                      <a:pt x="1361" y="107"/>
                    </a:cubicBezTo>
                    <a:cubicBezTo>
                      <a:pt x="1361" y="107"/>
                      <a:pt x="1361" y="107"/>
                      <a:pt x="1360" y="107"/>
                    </a:cubicBezTo>
                    <a:cubicBezTo>
                      <a:pt x="1360" y="107"/>
                      <a:pt x="1360" y="107"/>
                      <a:pt x="1360" y="107"/>
                    </a:cubicBezTo>
                    <a:cubicBezTo>
                      <a:pt x="1360" y="107"/>
                      <a:pt x="1360" y="108"/>
                      <a:pt x="1360" y="108"/>
                    </a:cubicBezTo>
                    <a:cubicBezTo>
                      <a:pt x="1360" y="108"/>
                      <a:pt x="1360" y="108"/>
                      <a:pt x="1360" y="108"/>
                    </a:cubicBezTo>
                    <a:cubicBezTo>
                      <a:pt x="1360" y="108"/>
                      <a:pt x="1359" y="108"/>
                      <a:pt x="1359" y="108"/>
                    </a:cubicBezTo>
                    <a:cubicBezTo>
                      <a:pt x="1359" y="108"/>
                      <a:pt x="1359" y="108"/>
                      <a:pt x="1359" y="108"/>
                    </a:cubicBezTo>
                    <a:cubicBezTo>
                      <a:pt x="1359" y="109"/>
                      <a:pt x="1359" y="109"/>
                      <a:pt x="1359" y="109"/>
                    </a:cubicBezTo>
                    <a:cubicBezTo>
                      <a:pt x="1359" y="109"/>
                      <a:pt x="1359" y="109"/>
                      <a:pt x="1359" y="109"/>
                    </a:cubicBezTo>
                    <a:cubicBezTo>
                      <a:pt x="1358" y="109"/>
                      <a:pt x="1358" y="109"/>
                      <a:pt x="1358" y="110"/>
                    </a:cubicBezTo>
                    <a:cubicBezTo>
                      <a:pt x="1358" y="110"/>
                      <a:pt x="1358" y="110"/>
                      <a:pt x="1358" y="110"/>
                    </a:cubicBezTo>
                    <a:cubicBezTo>
                      <a:pt x="1358" y="110"/>
                      <a:pt x="1358" y="110"/>
                      <a:pt x="1358" y="110"/>
                    </a:cubicBezTo>
                    <a:cubicBezTo>
                      <a:pt x="1358" y="110"/>
                      <a:pt x="1358" y="110"/>
                      <a:pt x="1358" y="110"/>
                    </a:cubicBezTo>
                    <a:cubicBezTo>
                      <a:pt x="1357" y="110"/>
                      <a:pt x="1357" y="111"/>
                      <a:pt x="1357" y="111"/>
                    </a:cubicBezTo>
                    <a:cubicBezTo>
                      <a:pt x="1357" y="111"/>
                      <a:pt x="1357" y="111"/>
                      <a:pt x="1357" y="111"/>
                    </a:cubicBezTo>
                    <a:cubicBezTo>
                      <a:pt x="1357" y="111"/>
                      <a:pt x="1357" y="112"/>
                      <a:pt x="1356" y="112"/>
                    </a:cubicBezTo>
                    <a:cubicBezTo>
                      <a:pt x="1356" y="112"/>
                      <a:pt x="1356" y="112"/>
                      <a:pt x="1356" y="112"/>
                    </a:cubicBezTo>
                    <a:cubicBezTo>
                      <a:pt x="1356" y="112"/>
                      <a:pt x="1356" y="112"/>
                      <a:pt x="1356" y="112"/>
                    </a:cubicBezTo>
                    <a:cubicBezTo>
                      <a:pt x="1356" y="112"/>
                      <a:pt x="1356" y="112"/>
                      <a:pt x="1356" y="112"/>
                    </a:cubicBezTo>
                    <a:cubicBezTo>
                      <a:pt x="1356" y="113"/>
                      <a:pt x="1355" y="113"/>
                      <a:pt x="1355" y="113"/>
                    </a:cubicBezTo>
                    <a:cubicBezTo>
                      <a:pt x="1355" y="113"/>
                      <a:pt x="1355" y="113"/>
                      <a:pt x="1355" y="113"/>
                    </a:cubicBezTo>
                    <a:cubicBezTo>
                      <a:pt x="1355" y="113"/>
                      <a:pt x="1355" y="114"/>
                      <a:pt x="1355" y="114"/>
                    </a:cubicBezTo>
                    <a:cubicBezTo>
                      <a:pt x="1355" y="114"/>
                      <a:pt x="1355" y="114"/>
                      <a:pt x="1355" y="114"/>
                    </a:cubicBezTo>
                    <a:cubicBezTo>
                      <a:pt x="1354" y="114"/>
                      <a:pt x="1354" y="115"/>
                      <a:pt x="1354" y="115"/>
                    </a:cubicBezTo>
                    <a:cubicBezTo>
                      <a:pt x="1354" y="115"/>
                      <a:pt x="1354" y="115"/>
                      <a:pt x="1354" y="115"/>
                    </a:cubicBezTo>
                    <a:cubicBezTo>
                      <a:pt x="1354" y="115"/>
                      <a:pt x="1354" y="116"/>
                      <a:pt x="1353" y="116"/>
                    </a:cubicBezTo>
                    <a:cubicBezTo>
                      <a:pt x="1353" y="116"/>
                      <a:pt x="1353" y="116"/>
                      <a:pt x="1353" y="116"/>
                    </a:cubicBezTo>
                    <a:cubicBezTo>
                      <a:pt x="1353" y="116"/>
                      <a:pt x="1353" y="116"/>
                      <a:pt x="1353" y="117"/>
                    </a:cubicBezTo>
                    <a:cubicBezTo>
                      <a:pt x="1353" y="117"/>
                      <a:pt x="1353" y="117"/>
                      <a:pt x="1353" y="117"/>
                    </a:cubicBezTo>
                    <a:cubicBezTo>
                      <a:pt x="1353" y="117"/>
                      <a:pt x="1353" y="117"/>
                      <a:pt x="1352" y="118"/>
                    </a:cubicBezTo>
                    <a:cubicBezTo>
                      <a:pt x="1352" y="118"/>
                      <a:pt x="1352" y="118"/>
                      <a:pt x="1352" y="118"/>
                    </a:cubicBezTo>
                    <a:cubicBezTo>
                      <a:pt x="1352" y="118"/>
                      <a:pt x="1352" y="118"/>
                      <a:pt x="1352" y="119"/>
                    </a:cubicBezTo>
                    <a:cubicBezTo>
                      <a:pt x="1352" y="119"/>
                      <a:pt x="1352" y="119"/>
                      <a:pt x="1352" y="119"/>
                    </a:cubicBezTo>
                    <a:cubicBezTo>
                      <a:pt x="1352" y="119"/>
                      <a:pt x="1351" y="119"/>
                      <a:pt x="1351" y="120"/>
                    </a:cubicBezTo>
                    <a:cubicBezTo>
                      <a:pt x="1351" y="120"/>
                      <a:pt x="1351" y="120"/>
                      <a:pt x="1351" y="120"/>
                    </a:cubicBezTo>
                    <a:cubicBezTo>
                      <a:pt x="1351" y="120"/>
                      <a:pt x="1351" y="120"/>
                      <a:pt x="1351" y="121"/>
                    </a:cubicBezTo>
                    <a:cubicBezTo>
                      <a:pt x="1351" y="121"/>
                      <a:pt x="1351" y="121"/>
                      <a:pt x="1351" y="121"/>
                    </a:cubicBezTo>
                    <a:cubicBezTo>
                      <a:pt x="1350" y="121"/>
                      <a:pt x="1350" y="121"/>
                      <a:pt x="1350" y="122"/>
                    </a:cubicBezTo>
                    <a:cubicBezTo>
                      <a:pt x="1350" y="122"/>
                      <a:pt x="1350" y="122"/>
                      <a:pt x="1350" y="122"/>
                    </a:cubicBezTo>
                    <a:cubicBezTo>
                      <a:pt x="1350" y="122"/>
                      <a:pt x="1350" y="123"/>
                      <a:pt x="1350" y="123"/>
                    </a:cubicBezTo>
                    <a:cubicBezTo>
                      <a:pt x="1350" y="123"/>
                      <a:pt x="1350" y="123"/>
                      <a:pt x="1349" y="123"/>
                    </a:cubicBezTo>
                    <a:cubicBezTo>
                      <a:pt x="1349" y="124"/>
                      <a:pt x="1349" y="124"/>
                      <a:pt x="1349" y="125"/>
                    </a:cubicBezTo>
                    <a:cubicBezTo>
                      <a:pt x="1349" y="125"/>
                      <a:pt x="1349" y="125"/>
                      <a:pt x="1349" y="125"/>
                    </a:cubicBezTo>
                    <a:cubicBezTo>
                      <a:pt x="1349" y="125"/>
                      <a:pt x="1349" y="125"/>
                      <a:pt x="1348" y="126"/>
                    </a:cubicBezTo>
                    <a:cubicBezTo>
                      <a:pt x="1348" y="126"/>
                      <a:pt x="1348" y="126"/>
                      <a:pt x="1348" y="126"/>
                    </a:cubicBezTo>
                    <a:cubicBezTo>
                      <a:pt x="1348" y="126"/>
                      <a:pt x="1348" y="127"/>
                      <a:pt x="1348" y="127"/>
                    </a:cubicBezTo>
                    <a:cubicBezTo>
                      <a:pt x="1348" y="127"/>
                      <a:pt x="1348" y="127"/>
                      <a:pt x="1348" y="127"/>
                    </a:cubicBezTo>
                    <a:cubicBezTo>
                      <a:pt x="1347" y="128"/>
                      <a:pt x="1347" y="128"/>
                      <a:pt x="1347" y="129"/>
                    </a:cubicBezTo>
                    <a:cubicBezTo>
                      <a:pt x="1347" y="129"/>
                      <a:pt x="1347" y="129"/>
                      <a:pt x="1347" y="129"/>
                    </a:cubicBezTo>
                    <a:cubicBezTo>
                      <a:pt x="1347" y="130"/>
                      <a:pt x="1347" y="130"/>
                      <a:pt x="1347" y="130"/>
                    </a:cubicBezTo>
                    <a:cubicBezTo>
                      <a:pt x="1347" y="131"/>
                      <a:pt x="1347" y="131"/>
                      <a:pt x="1347" y="131"/>
                    </a:cubicBezTo>
                    <a:cubicBezTo>
                      <a:pt x="1346" y="131"/>
                      <a:pt x="1347" y="132"/>
                      <a:pt x="1346" y="133"/>
                    </a:cubicBezTo>
                    <a:cubicBezTo>
                      <a:pt x="1346" y="133"/>
                      <a:pt x="1346" y="133"/>
                      <a:pt x="1346" y="133"/>
                    </a:cubicBezTo>
                    <a:cubicBezTo>
                      <a:pt x="1346" y="133"/>
                      <a:pt x="1346" y="134"/>
                      <a:pt x="1345" y="135"/>
                    </a:cubicBezTo>
                    <a:cubicBezTo>
                      <a:pt x="1346" y="135"/>
                      <a:pt x="1346" y="135"/>
                      <a:pt x="1346" y="135"/>
                    </a:cubicBezTo>
                    <a:cubicBezTo>
                      <a:pt x="1345" y="135"/>
                      <a:pt x="1345" y="135"/>
                      <a:pt x="1345" y="135"/>
                    </a:cubicBezTo>
                    <a:cubicBezTo>
                      <a:pt x="1345" y="136"/>
                      <a:pt x="1345" y="137"/>
                      <a:pt x="1345" y="137"/>
                    </a:cubicBezTo>
                    <a:cubicBezTo>
                      <a:pt x="1345" y="137"/>
                      <a:pt x="1345" y="138"/>
                      <a:pt x="1345" y="138"/>
                    </a:cubicBezTo>
                    <a:cubicBezTo>
                      <a:pt x="1344" y="139"/>
                      <a:pt x="1345" y="140"/>
                      <a:pt x="1344" y="140"/>
                    </a:cubicBezTo>
                    <a:cubicBezTo>
                      <a:pt x="1344" y="141"/>
                      <a:pt x="1344" y="141"/>
                      <a:pt x="1344" y="141"/>
                    </a:cubicBezTo>
                    <a:cubicBezTo>
                      <a:pt x="1344" y="142"/>
                      <a:pt x="1344" y="144"/>
                      <a:pt x="1344" y="145"/>
                    </a:cubicBezTo>
                    <a:cubicBezTo>
                      <a:pt x="1344" y="146"/>
                      <a:pt x="1344" y="146"/>
                      <a:pt x="1344" y="147"/>
                    </a:cubicBezTo>
                    <a:cubicBezTo>
                      <a:pt x="1343" y="151"/>
                      <a:pt x="1343" y="154"/>
                      <a:pt x="1344" y="158"/>
                    </a:cubicBezTo>
                    <a:cubicBezTo>
                      <a:pt x="1344" y="159"/>
                      <a:pt x="1344" y="159"/>
                      <a:pt x="1344" y="160"/>
                    </a:cubicBezTo>
                    <a:cubicBezTo>
                      <a:pt x="1344" y="161"/>
                      <a:pt x="1344" y="163"/>
                      <a:pt x="1344" y="164"/>
                    </a:cubicBezTo>
                    <a:cubicBezTo>
                      <a:pt x="1344" y="165"/>
                      <a:pt x="1344" y="165"/>
                      <a:pt x="1344" y="165"/>
                    </a:cubicBezTo>
                    <a:cubicBezTo>
                      <a:pt x="1345" y="166"/>
                      <a:pt x="1344" y="167"/>
                      <a:pt x="1345" y="168"/>
                    </a:cubicBezTo>
                    <a:cubicBezTo>
                      <a:pt x="1345" y="168"/>
                      <a:pt x="1345" y="168"/>
                      <a:pt x="1345" y="169"/>
                    </a:cubicBezTo>
                    <a:cubicBezTo>
                      <a:pt x="1345" y="169"/>
                      <a:pt x="1345" y="170"/>
                      <a:pt x="1345" y="171"/>
                    </a:cubicBezTo>
                    <a:cubicBezTo>
                      <a:pt x="1345" y="171"/>
                      <a:pt x="1346" y="171"/>
                      <a:pt x="1345" y="171"/>
                    </a:cubicBezTo>
                    <a:cubicBezTo>
                      <a:pt x="1346" y="172"/>
                      <a:pt x="1345" y="173"/>
                      <a:pt x="1346" y="173"/>
                    </a:cubicBezTo>
                    <a:cubicBezTo>
                      <a:pt x="1346" y="173"/>
                      <a:pt x="1346" y="173"/>
                      <a:pt x="1346" y="173"/>
                    </a:cubicBezTo>
                    <a:cubicBezTo>
                      <a:pt x="1346" y="174"/>
                      <a:pt x="1346" y="175"/>
                      <a:pt x="1347" y="175"/>
                    </a:cubicBezTo>
                    <a:cubicBezTo>
                      <a:pt x="1347" y="175"/>
                      <a:pt x="1347" y="175"/>
                      <a:pt x="1347" y="176"/>
                    </a:cubicBezTo>
                    <a:cubicBezTo>
                      <a:pt x="1347" y="176"/>
                      <a:pt x="1347" y="177"/>
                      <a:pt x="1347" y="177"/>
                    </a:cubicBezTo>
                    <a:cubicBezTo>
                      <a:pt x="1347" y="177"/>
                      <a:pt x="1347" y="177"/>
                      <a:pt x="1347" y="177"/>
                    </a:cubicBezTo>
                    <a:cubicBezTo>
                      <a:pt x="1347" y="178"/>
                      <a:pt x="1347" y="178"/>
                      <a:pt x="1348" y="179"/>
                    </a:cubicBezTo>
                    <a:cubicBezTo>
                      <a:pt x="1348" y="179"/>
                      <a:pt x="1348" y="179"/>
                      <a:pt x="1348" y="179"/>
                    </a:cubicBezTo>
                    <a:cubicBezTo>
                      <a:pt x="1348" y="179"/>
                      <a:pt x="1348" y="180"/>
                      <a:pt x="1348" y="180"/>
                    </a:cubicBezTo>
                    <a:cubicBezTo>
                      <a:pt x="1348" y="180"/>
                      <a:pt x="1348" y="180"/>
                      <a:pt x="1348" y="180"/>
                    </a:cubicBezTo>
                    <a:cubicBezTo>
                      <a:pt x="1349" y="181"/>
                      <a:pt x="1349" y="181"/>
                      <a:pt x="1349" y="182"/>
                    </a:cubicBezTo>
                    <a:cubicBezTo>
                      <a:pt x="1349" y="182"/>
                      <a:pt x="1349" y="182"/>
                      <a:pt x="1349" y="182"/>
                    </a:cubicBezTo>
                    <a:cubicBezTo>
                      <a:pt x="1349" y="182"/>
                      <a:pt x="1349" y="183"/>
                      <a:pt x="1350" y="183"/>
                    </a:cubicBezTo>
                    <a:cubicBezTo>
                      <a:pt x="1349" y="183"/>
                      <a:pt x="1349" y="183"/>
                      <a:pt x="1349" y="183"/>
                    </a:cubicBezTo>
                    <a:cubicBezTo>
                      <a:pt x="1350" y="184"/>
                      <a:pt x="1350" y="184"/>
                      <a:pt x="1350" y="184"/>
                    </a:cubicBezTo>
                    <a:cubicBezTo>
                      <a:pt x="1350" y="184"/>
                      <a:pt x="1350" y="184"/>
                      <a:pt x="1350" y="184"/>
                    </a:cubicBezTo>
                    <a:cubicBezTo>
                      <a:pt x="1350" y="185"/>
                      <a:pt x="1350" y="185"/>
                      <a:pt x="1351" y="186"/>
                    </a:cubicBezTo>
                    <a:cubicBezTo>
                      <a:pt x="1351" y="186"/>
                      <a:pt x="1351" y="186"/>
                      <a:pt x="1351" y="186"/>
                    </a:cubicBezTo>
                    <a:cubicBezTo>
                      <a:pt x="1351" y="186"/>
                      <a:pt x="1351" y="186"/>
                      <a:pt x="1351" y="187"/>
                    </a:cubicBezTo>
                    <a:cubicBezTo>
                      <a:pt x="1351" y="187"/>
                      <a:pt x="1351" y="187"/>
                      <a:pt x="1351" y="187"/>
                    </a:cubicBezTo>
                    <a:cubicBezTo>
                      <a:pt x="1351" y="187"/>
                      <a:pt x="1352" y="187"/>
                      <a:pt x="1352" y="187"/>
                    </a:cubicBezTo>
                    <a:cubicBezTo>
                      <a:pt x="1352" y="187"/>
                      <a:pt x="1352" y="187"/>
                      <a:pt x="1352" y="187"/>
                    </a:cubicBezTo>
                    <a:cubicBezTo>
                      <a:pt x="1352" y="188"/>
                      <a:pt x="1352" y="188"/>
                      <a:pt x="1352" y="188"/>
                    </a:cubicBezTo>
                    <a:cubicBezTo>
                      <a:pt x="1352" y="188"/>
                      <a:pt x="1352" y="188"/>
                      <a:pt x="1352" y="188"/>
                    </a:cubicBezTo>
                    <a:cubicBezTo>
                      <a:pt x="1353" y="189"/>
                      <a:pt x="1353" y="189"/>
                      <a:pt x="1353" y="190"/>
                    </a:cubicBezTo>
                    <a:cubicBezTo>
                      <a:pt x="1353" y="189"/>
                      <a:pt x="1353" y="189"/>
                      <a:pt x="1353" y="189"/>
                    </a:cubicBezTo>
                    <a:cubicBezTo>
                      <a:pt x="1353" y="190"/>
                      <a:pt x="1353" y="190"/>
                      <a:pt x="1353" y="190"/>
                    </a:cubicBezTo>
                    <a:cubicBezTo>
                      <a:pt x="1353" y="190"/>
                      <a:pt x="1353" y="190"/>
                      <a:pt x="1353" y="190"/>
                    </a:cubicBezTo>
                    <a:cubicBezTo>
                      <a:pt x="1354" y="190"/>
                      <a:pt x="1354" y="191"/>
                      <a:pt x="1354" y="191"/>
                    </a:cubicBezTo>
                    <a:cubicBezTo>
                      <a:pt x="1354" y="191"/>
                      <a:pt x="1354" y="191"/>
                      <a:pt x="1354" y="191"/>
                    </a:cubicBezTo>
                    <a:cubicBezTo>
                      <a:pt x="1354" y="192"/>
                      <a:pt x="1354" y="192"/>
                      <a:pt x="1355" y="192"/>
                    </a:cubicBezTo>
                    <a:cubicBezTo>
                      <a:pt x="1355" y="192"/>
                      <a:pt x="1355" y="192"/>
                      <a:pt x="1355" y="192"/>
                    </a:cubicBezTo>
                    <a:cubicBezTo>
                      <a:pt x="1355" y="192"/>
                      <a:pt x="1355" y="192"/>
                      <a:pt x="1355" y="192"/>
                    </a:cubicBezTo>
                    <a:cubicBezTo>
                      <a:pt x="1355" y="193"/>
                      <a:pt x="1355" y="193"/>
                      <a:pt x="1355" y="193"/>
                    </a:cubicBezTo>
                    <a:cubicBezTo>
                      <a:pt x="1356" y="193"/>
                      <a:pt x="1355" y="193"/>
                      <a:pt x="1356" y="194"/>
                    </a:cubicBezTo>
                    <a:cubicBezTo>
                      <a:pt x="1356" y="193"/>
                      <a:pt x="1356" y="193"/>
                      <a:pt x="1356" y="193"/>
                    </a:cubicBezTo>
                    <a:cubicBezTo>
                      <a:pt x="1356" y="194"/>
                      <a:pt x="1356" y="194"/>
                      <a:pt x="1356" y="194"/>
                    </a:cubicBezTo>
                    <a:cubicBezTo>
                      <a:pt x="1356" y="194"/>
                      <a:pt x="1356" y="194"/>
                      <a:pt x="1356" y="194"/>
                    </a:cubicBezTo>
                    <a:cubicBezTo>
                      <a:pt x="1357" y="194"/>
                      <a:pt x="1357" y="195"/>
                      <a:pt x="1357" y="195"/>
                    </a:cubicBezTo>
                    <a:cubicBezTo>
                      <a:pt x="1357" y="195"/>
                      <a:pt x="1357" y="195"/>
                      <a:pt x="1357" y="195"/>
                    </a:cubicBezTo>
                    <a:cubicBezTo>
                      <a:pt x="1357" y="195"/>
                      <a:pt x="1357" y="195"/>
                      <a:pt x="1358" y="195"/>
                    </a:cubicBezTo>
                    <a:cubicBezTo>
                      <a:pt x="1358" y="195"/>
                      <a:pt x="1358" y="195"/>
                      <a:pt x="1358" y="195"/>
                    </a:cubicBezTo>
                    <a:cubicBezTo>
                      <a:pt x="1358" y="196"/>
                      <a:pt x="1358" y="196"/>
                      <a:pt x="1358" y="196"/>
                    </a:cubicBezTo>
                    <a:cubicBezTo>
                      <a:pt x="1358" y="196"/>
                      <a:pt x="1358" y="196"/>
                      <a:pt x="1358" y="196"/>
                    </a:cubicBezTo>
                    <a:cubicBezTo>
                      <a:pt x="1358" y="196"/>
                      <a:pt x="1358" y="196"/>
                      <a:pt x="1359" y="196"/>
                    </a:cubicBezTo>
                    <a:cubicBezTo>
                      <a:pt x="1359" y="197"/>
                      <a:pt x="1359" y="197"/>
                      <a:pt x="1359" y="197"/>
                    </a:cubicBezTo>
                    <a:cubicBezTo>
                      <a:pt x="1359" y="197"/>
                      <a:pt x="1359" y="197"/>
                      <a:pt x="1359" y="197"/>
                    </a:cubicBezTo>
                    <a:cubicBezTo>
                      <a:pt x="1359" y="197"/>
                      <a:pt x="1359" y="197"/>
                      <a:pt x="1359" y="197"/>
                    </a:cubicBezTo>
                    <a:cubicBezTo>
                      <a:pt x="1359" y="197"/>
                      <a:pt x="1360" y="197"/>
                      <a:pt x="1360" y="198"/>
                    </a:cubicBezTo>
                    <a:cubicBezTo>
                      <a:pt x="1360" y="198"/>
                      <a:pt x="1360" y="198"/>
                      <a:pt x="1360" y="198"/>
                    </a:cubicBezTo>
                    <a:cubicBezTo>
                      <a:pt x="1360" y="198"/>
                      <a:pt x="1360" y="198"/>
                      <a:pt x="1360" y="198"/>
                    </a:cubicBezTo>
                    <a:cubicBezTo>
                      <a:pt x="1360" y="198"/>
                      <a:pt x="1360" y="198"/>
                      <a:pt x="1360" y="198"/>
                    </a:cubicBezTo>
                    <a:cubicBezTo>
                      <a:pt x="1361" y="198"/>
                      <a:pt x="1361" y="199"/>
                      <a:pt x="1361" y="199"/>
                    </a:cubicBezTo>
                    <a:cubicBezTo>
                      <a:pt x="1361" y="199"/>
                      <a:pt x="1361" y="199"/>
                      <a:pt x="1361" y="199"/>
                    </a:cubicBezTo>
                    <a:cubicBezTo>
                      <a:pt x="1361" y="199"/>
                      <a:pt x="1361" y="199"/>
                      <a:pt x="1362" y="199"/>
                    </a:cubicBezTo>
                    <a:cubicBezTo>
                      <a:pt x="1362" y="199"/>
                      <a:pt x="1362" y="199"/>
                      <a:pt x="1362" y="199"/>
                    </a:cubicBezTo>
                    <a:cubicBezTo>
                      <a:pt x="1362" y="200"/>
                      <a:pt x="1362" y="200"/>
                      <a:pt x="1362" y="200"/>
                    </a:cubicBezTo>
                    <a:cubicBezTo>
                      <a:pt x="1362" y="200"/>
                      <a:pt x="1362" y="200"/>
                      <a:pt x="1362" y="200"/>
                    </a:cubicBezTo>
                    <a:cubicBezTo>
                      <a:pt x="1362" y="200"/>
                      <a:pt x="1363" y="200"/>
                      <a:pt x="1363" y="201"/>
                    </a:cubicBezTo>
                    <a:cubicBezTo>
                      <a:pt x="1363" y="201"/>
                      <a:pt x="1363" y="201"/>
                      <a:pt x="1363" y="201"/>
                    </a:cubicBezTo>
                    <a:cubicBezTo>
                      <a:pt x="1363" y="201"/>
                      <a:pt x="1364" y="201"/>
                      <a:pt x="1364" y="201"/>
                    </a:cubicBezTo>
                    <a:cubicBezTo>
                      <a:pt x="1364" y="201"/>
                      <a:pt x="1364" y="201"/>
                      <a:pt x="1364" y="201"/>
                    </a:cubicBezTo>
                    <a:cubicBezTo>
                      <a:pt x="1364" y="201"/>
                      <a:pt x="1364" y="202"/>
                      <a:pt x="1365" y="202"/>
                    </a:cubicBezTo>
                    <a:cubicBezTo>
                      <a:pt x="1365" y="202"/>
                      <a:pt x="1365" y="202"/>
                      <a:pt x="1365" y="202"/>
                    </a:cubicBezTo>
                    <a:cubicBezTo>
                      <a:pt x="1365" y="202"/>
                      <a:pt x="1365" y="202"/>
                      <a:pt x="1366" y="202"/>
                    </a:cubicBezTo>
                    <a:cubicBezTo>
                      <a:pt x="1366" y="202"/>
                      <a:pt x="1366" y="202"/>
                      <a:pt x="1366" y="202"/>
                    </a:cubicBezTo>
                    <a:cubicBezTo>
                      <a:pt x="1366" y="202"/>
                      <a:pt x="1366" y="203"/>
                      <a:pt x="1366" y="203"/>
                    </a:cubicBezTo>
                    <a:cubicBezTo>
                      <a:pt x="1366" y="203"/>
                      <a:pt x="1366" y="203"/>
                      <a:pt x="1366" y="203"/>
                    </a:cubicBezTo>
                    <a:cubicBezTo>
                      <a:pt x="1366" y="203"/>
                      <a:pt x="1367" y="203"/>
                      <a:pt x="1367" y="203"/>
                    </a:cubicBezTo>
                    <a:cubicBezTo>
                      <a:pt x="1367" y="203"/>
                      <a:pt x="1367" y="203"/>
                      <a:pt x="1367" y="203"/>
                    </a:cubicBezTo>
                    <a:cubicBezTo>
                      <a:pt x="1368" y="204"/>
                      <a:pt x="1368" y="204"/>
                      <a:pt x="1368" y="204"/>
                    </a:cubicBezTo>
                    <a:cubicBezTo>
                      <a:pt x="1368" y="204"/>
                      <a:pt x="1368" y="204"/>
                      <a:pt x="1368" y="204"/>
                    </a:cubicBezTo>
                    <a:cubicBezTo>
                      <a:pt x="1369" y="204"/>
                      <a:pt x="1369" y="204"/>
                      <a:pt x="1370" y="205"/>
                    </a:cubicBezTo>
                    <a:cubicBezTo>
                      <a:pt x="1370" y="205"/>
                      <a:pt x="1370" y="205"/>
                      <a:pt x="1370" y="205"/>
                    </a:cubicBezTo>
                    <a:cubicBezTo>
                      <a:pt x="1370" y="205"/>
                      <a:pt x="1370" y="205"/>
                      <a:pt x="1371" y="205"/>
                    </a:cubicBezTo>
                    <a:cubicBezTo>
                      <a:pt x="1371" y="205"/>
                      <a:pt x="1371" y="205"/>
                      <a:pt x="1371" y="205"/>
                    </a:cubicBezTo>
                    <a:cubicBezTo>
                      <a:pt x="1371" y="205"/>
                      <a:pt x="1372" y="205"/>
                      <a:pt x="1372" y="206"/>
                    </a:cubicBezTo>
                    <a:cubicBezTo>
                      <a:pt x="1372" y="206"/>
                      <a:pt x="1372" y="206"/>
                      <a:pt x="1372" y="206"/>
                    </a:cubicBezTo>
                    <a:cubicBezTo>
                      <a:pt x="1372" y="206"/>
                      <a:pt x="1373" y="206"/>
                      <a:pt x="1373" y="206"/>
                    </a:cubicBezTo>
                    <a:cubicBezTo>
                      <a:pt x="1373" y="206"/>
                      <a:pt x="1373" y="206"/>
                      <a:pt x="1373" y="206"/>
                    </a:cubicBezTo>
                    <a:cubicBezTo>
                      <a:pt x="1373" y="207"/>
                      <a:pt x="1374" y="206"/>
                      <a:pt x="1375" y="207"/>
                    </a:cubicBezTo>
                    <a:cubicBezTo>
                      <a:pt x="1375" y="207"/>
                      <a:pt x="1375" y="207"/>
                      <a:pt x="1375" y="207"/>
                    </a:cubicBezTo>
                    <a:cubicBezTo>
                      <a:pt x="1375" y="207"/>
                      <a:pt x="1376" y="207"/>
                      <a:pt x="1376" y="207"/>
                    </a:cubicBezTo>
                    <a:cubicBezTo>
                      <a:pt x="1376" y="207"/>
                      <a:pt x="1376" y="207"/>
                      <a:pt x="1376" y="207"/>
                    </a:cubicBezTo>
                    <a:cubicBezTo>
                      <a:pt x="1377" y="207"/>
                      <a:pt x="1377" y="207"/>
                      <a:pt x="1377" y="207"/>
                    </a:cubicBezTo>
                    <a:cubicBezTo>
                      <a:pt x="1377" y="208"/>
                      <a:pt x="1378" y="208"/>
                      <a:pt x="1378" y="208"/>
                    </a:cubicBezTo>
                    <a:cubicBezTo>
                      <a:pt x="1378" y="208"/>
                      <a:pt x="1378" y="208"/>
                      <a:pt x="1378" y="208"/>
                    </a:cubicBezTo>
                    <a:cubicBezTo>
                      <a:pt x="1379" y="209"/>
                      <a:pt x="1380" y="208"/>
                      <a:pt x="1381" y="209"/>
                    </a:cubicBezTo>
                    <a:cubicBezTo>
                      <a:pt x="1381" y="209"/>
                      <a:pt x="1381" y="209"/>
                      <a:pt x="1381" y="209"/>
                    </a:cubicBezTo>
                    <a:cubicBezTo>
                      <a:pt x="1381" y="209"/>
                      <a:pt x="1383" y="209"/>
                      <a:pt x="1383" y="209"/>
                    </a:cubicBezTo>
                    <a:cubicBezTo>
                      <a:pt x="1383" y="209"/>
                      <a:pt x="1383" y="209"/>
                      <a:pt x="1383" y="209"/>
                    </a:cubicBezTo>
                    <a:cubicBezTo>
                      <a:pt x="1385" y="210"/>
                      <a:pt x="1386" y="209"/>
                      <a:pt x="1388" y="210"/>
                    </a:cubicBezTo>
                    <a:cubicBezTo>
                      <a:pt x="1388" y="210"/>
                      <a:pt x="1388" y="210"/>
                      <a:pt x="1388" y="210"/>
                    </a:cubicBezTo>
                    <a:cubicBezTo>
                      <a:pt x="1388" y="210"/>
                      <a:pt x="1388" y="210"/>
                      <a:pt x="1388" y="210"/>
                    </a:cubicBezTo>
                    <a:cubicBezTo>
                      <a:pt x="1392" y="210"/>
                      <a:pt x="1397" y="210"/>
                      <a:pt x="1401" y="210"/>
                    </a:cubicBezTo>
                    <a:cubicBezTo>
                      <a:pt x="1402" y="210"/>
                      <a:pt x="1402" y="210"/>
                      <a:pt x="1402" y="210"/>
                    </a:cubicBezTo>
                    <a:cubicBezTo>
                      <a:pt x="1404" y="209"/>
                      <a:pt x="1405" y="210"/>
                      <a:pt x="1407" y="209"/>
                    </a:cubicBezTo>
                    <a:cubicBezTo>
                      <a:pt x="1407" y="209"/>
                      <a:pt x="1407" y="209"/>
                      <a:pt x="1407" y="209"/>
                    </a:cubicBezTo>
                    <a:cubicBezTo>
                      <a:pt x="1407" y="209"/>
                      <a:pt x="1407" y="209"/>
                      <a:pt x="1407" y="209"/>
                    </a:cubicBezTo>
                    <a:cubicBezTo>
                      <a:pt x="1408" y="209"/>
                      <a:pt x="1410" y="209"/>
                      <a:pt x="1410" y="209"/>
                    </a:cubicBezTo>
                    <a:cubicBezTo>
                      <a:pt x="1411" y="208"/>
                      <a:pt x="1411" y="208"/>
                      <a:pt x="1411" y="208"/>
                    </a:cubicBezTo>
                    <a:cubicBezTo>
                      <a:pt x="1411" y="209"/>
                      <a:pt x="1411" y="209"/>
                      <a:pt x="1411" y="209"/>
                    </a:cubicBezTo>
                    <a:cubicBezTo>
                      <a:pt x="1412" y="208"/>
                      <a:pt x="1413" y="209"/>
                      <a:pt x="1413" y="208"/>
                    </a:cubicBezTo>
                    <a:cubicBezTo>
                      <a:pt x="1413" y="208"/>
                      <a:pt x="1413" y="208"/>
                      <a:pt x="1413" y="208"/>
                    </a:cubicBezTo>
                    <a:cubicBezTo>
                      <a:pt x="1414" y="207"/>
                      <a:pt x="1415" y="208"/>
                      <a:pt x="1416" y="207"/>
                    </a:cubicBezTo>
                    <a:cubicBezTo>
                      <a:pt x="1416" y="207"/>
                      <a:pt x="1416" y="207"/>
                      <a:pt x="1416" y="207"/>
                    </a:cubicBezTo>
                    <a:cubicBezTo>
                      <a:pt x="1416" y="207"/>
                      <a:pt x="1417" y="207"/>
                      <a:pt x="1417" y="207"/>
                    </a:cubicBezTo>
                    <a:cubicBezTo>
                      <a:pt x="1417" y="207"/>
                      <a:pt x="1417" y="207"/>
                      <a:pt x="1417" y="207"/>
                    </a:cubicBezTo>
                    <a:cubicBezTo>
                      <a:pt x="1418" y="206"/>
                      <a:pt x="1419" y="207"/>
                      <a:pt x="1419" y="206"/>
                    </a:cubicBezTo>
                    <a:cubicBezTo>
                      <a:pt x="1419" y="206"/>
                      <a:pt x="1419" y="206"/>
                      <a:pt x="1419" y="206"/>
                    </a:cubicBezTo>
                    <a:cubicBezTo>
                      <a:pt x="1419" y="206"/>
                      <a:pt x="1419" y="206"/>
                      <a:pt x="1419" y="206"/>
                    </a:cubicBezTo>
                    <a:cubicBezTo>
                      <a:pt x="1420" y="206"/>
                      <a:pt x="1420" y="206"/>
                      <a:pt x="1421" y="206"/>
                    </a:cubicBezTo>
                    <a:cubicBezTo>
                      <a:pt x="1421" y="206"/>
                      <a:pt x="1421" y="206"/>
                      <a:pt x="1421" y="206"/>
                    </a:cubicBezTo>
                    <a:cubicBezTo>
                      <a:pt x="1421" y="205"/>
                      <a:pt x="1422" y="206"/>
                      <a:pt x="1423" y="205"/>
                    </a:cubicBezTo>
                    <a:cubicBezTo>
                      <a:pt x="1423" y="205"/>
                      <a:pt x="1423" y="205"/>
                      <a:pt x="1423" y="205"/>
                    </a:cubicBezTo>
                    <a:cubicBezTo>
                      <a:pt x="1423" y="205"/>
                      <a:pt x="1423" y="205"/>
                      <a:pt x="1424" y="205"/>
                    </a:cubicBezTo>
                    <a:cubicBezTo>
                      <a:pt x="1424" y="205"/>
                      <a:pt x="1424" y="205"/>
                      <a:pt x="1424" y="205"/>
                    </a:cubicBezTo>
                    <a:cubicBezTo>
                      <a:pt x="1424" y="204"/>
                      <a:pt x="1425" y="204"/>
                      <a:pt x="1425" y="204"/>
                    </a:cubicBezTo>
                    <a:cubicBezTo>
                      <a:pt x="1425" y="204"/>
                      <a:pt x="1425" y="204"/>
                      <a:pt x="1425" y="204"/>
                    </a:cubicBezTo>
                    <a:cubicBezTo>
                      <a:pt x="1425" y="204"/>
                      <a:pt x="1426" y="204"/>
                      <a:pt x="1426" y="203"/>
                    </a:cubicBezTo>
                    <a:cubicBezTo>
                      <a:pt x="1426" y="203"/>
                      <a:pt x="1426" y="203"/>
                      <a:pt x="1426" y="203"/>
                    </a:cubicBezTo>
                    <a:cubicBezTo>
                      <a:pt x="1426" y="203"/>
                      <a:pt x="1427" y="203"/>
                      <a:pt x="1427" y="203"/>
                    </a:cubicBezTo>
                    <a:cubicBezTo>
                      <a:pt x="1427" y="203"/>
                      <a:pt x="1427" y="203"/>
                      <a:pt x="1427" y="203"/>
                    </a:cubicBezTo>
                    <a:cubicBezTo>
                      <a:pt x="1427" y="203"/>
                      <a:pt x="1428" y="203"/>
                      <a:pt x="1428" y="202"/>
                    </a:cubicBezTo>
                    <a:cubicBezTo>
                      <a:pt x="1428" y="202"/>
                      <a:pt x="1428" y="202"/>
                      <a:pt x="1428" y="202"/>
                    </a:cubicBezTo>
                    <a:cubicBezTo>
                      <a:pt x="1429" y="202"/>
                      <a:pt x="1429" y="202"/>
                      <a:pt x="1429" y="202"/>
                    </a:cubicBezTo>
                    <a:cubicBezTo>
                      <a:pt x="1429" y="202"/>
                      <a:pt x="1429" y="202"/>
                      <a:pt x="1429" y="202"/>
                    </a:cubicBezTo>
                    <a:cubicBezTo>
                      <a:pt x="1430" y="202"/>
                      <a:pt x="1430" y="201"/>
                      <a:pt x="1430" y="201"/>
                    </a:cubicBezTo>
                    <a:cubicBezTo>
                      <a:pt x="1430" y="201"/>
                      <a:pt x="1430" y="201"/>
                      <a:pt x="1430" y="201"/>
                    </a:cubicBezTo>
                    <a:cubicBezTo>
                      <a:pt x="1430" y="201"/>
                      <a:pt x="1431" y="201"/>
                      <a:pt x="1431" y="200"/>
                    </a:cubicBezTo>
                    <a:cubicBezTo>
                      <a:pt x="1431" y="200"/>
                      <a:pt x="1431" y="200"/>
                      <a:pt x="1431" y="200"/>
                    </a:cubicBezTo>
                    <a:cubicBezTo>
                      <a:pt x="1431" y="200"/>
                      <a:pt x="1432" y="200"/>
                      <a:pt x="1432" y="200"/>
                    </a:cubicBezTo>
                    <a:cubicBezTo>
                      <a:pt x="1432" y="200"/>
                      <a:pt x="1432" y="200"/>
                      <a:pt x="1432" y="200"/>
                    </a:cubicBezTo>
                    <a:cubicBezTo>
                      <a:pt x="1432" y="200"/>
                      <a:pt x="1433" y="200"/>
                      <a:pt x="1433" y="199"/>
                    </a:cubicBezTo>
                    <a:cubicBezTo>
                      <a:pt x="1433" y="194"/>
                      <a:pt x="1433" y="188"/>
                      <a:pt x="1433" y="183"/>
                    </a:cubicBezTo>
                    <a:cubicBezTo>
                      <a:pt x="1433" y="182"/>
                      <a:pt x="1432" y="182"/>
                      <a:pt x="1432" y="183"/>
                    </a:cubicBezTo>
                    <a:cubicBezTo>
                      <a:pt x="1432" y="183"/>
                      <a:pt x="1432" y="183"/>
                      <a:pt x="1432" y="183"/>
                    </a:cubicBezTo>
                    <a:cubicBezTo>
                      <a:pt x="1432" y="183"/>
                      <a:pt x="1431" y="183"/>
                      <a:pt x="1431" y="183"/>
                    </a:cubicBezTo>
                    <a:cubicBezTo>
                      <a:pt x="1431" y="183"/>
                      <a:pt x="1431" y="183"/>
                      <a:pt x="1431" y="183"/>
                    </a:cubicBezTo>
                    <a:cubicBezTo>
                      <a:pt x="1431" y="183"/>
                      <a:pt x="1431" y="184"/>
                      <a:pt x="1431" y="184"/>
                    </a:cubicBezTo>
                    <a:cubicBezTo>
                      <a:pt x="1431" y="184"/>
                      <a:pt x="1431" y="184"/>
                      <a:pt x="1431" y="184"/>
                    </a:cubicBezTo>
                    <a:cubicBezTo>
                      <a:pt x="1430" y="184"/>
                      <a:pt x="1430" y="184"/>
                      <a:pt x="1430" y="185"/>
                    </a:cubicBezTo>
                    <a:cubicBezTo>
                      <a:pt x="1430" y="184"/>
                      <a:pt x="1430" y="184"/>
                      <a:pt x="1430" y="184"/>
                    </a:cubicBezTo>
                    <a:cubicBezTo>
                      <a:pt x="1429" y="185"/>
                      <a:pt x="1429" y="185"/>
                      <a:pt x="1429" y="185"/>
                    </a:cubicBezTo>
                    <a:cubicBezTo>
                      <a:pt x="1429" y="185"/>
                      <a:pt x="1429" y="185"/>
                      <a:pt x="1429" y="185"/>
                    </a:cubicBezTo>
                    <a:cubicBezTo>
                      <a:pt x="1429" y="185"/>
                      <a:pt x="1428" y="185"/>
                      <a:pt x="1428" y="186"/>
                    </a:cubicBezTo>
                    <a:cubicBezTo>
                      <a:pt x="1428" y="186"/>
                      <a:pt x="1428" y="186"/>
                      <a:pt x="1428" y="186"/>
                    </a:cubicBezTo>
                    <a:cubicBezTo>
                      <a:pt x="1428" y="186"/>
                      <a:pt x="1427" y="186"/>
                      <a:pt x="1427" y="186"/>
                    </a:cubicBezTo>
                    <a:cubicBezTo>
                      <a:pt x="1427" y="186"/>
                      <a:pt x="1427" y="186"/>
                      <a:pt x="1427" y="186"/>
                    </a:cubicBezTo>
                    <a:cubicBezTo>
                      <a:pt x="1427" y="187"/>
                      <a:pt x="1426" y="186"/>
                      <a:pt x="1426" y="187"/>
                    </a:cubicBezTo>
                    <a:cubicBezTo>
                      <a:pt x="1426" y="187"/>
                      <a:pt x="1426" y="187"/>
                      <a:pt x="1426" y="187"/>
                    </a:cubicBezTo>
                    <a:cubicBezTo>
                      <a:pt x="1426" y="187"/>
                      <a:pt x="1425" y="187"/>
                      <a:pt x="1425" y="187"/>
                    </a:cubicBezTo>
                    <a:cubicBezTo>
                      <a:pt x="1425" y="187"/>
                      <a:pt x="1425" y="187"/>
                      <a:pt x="1425" y="187"/>
                    </a:cubicBezTo>
                    <a:cubicBezTo>
                      <a:pt x="1425" y="188"/>
                      <a:pt x="1425" y="188"/>
                      <a:pt x="1424" y="188"/>
                    </a:cubicBezTo>
                    <a:cubicBezTo>
                      <a:pt x="1424" y="188"/>
                      <a:pt x="1424" y="188"/>
                      <a:pt x="1424" y="188"/>
                    </a:cubicBezTo>
                    <a:cubicBezTo>
                      <a:pt x="1424" y="188"/>
                      <a:pt x="1423" y="188"/>
                      <a:pt x="1423" y="188"/>
                    </a:cubicBezTo>
                    <a:cubicBezTo>
                      <a:pt x="1423" y="189"/>
                      <a:pt x="1423" y="189"/>
                      <a:pt x="1423" y="189"/>
                    </a:cubicBezTo>
                    <a:cubicBezTo>
                      <a:pt x="1422" y="189"/>
                      <a:pt x="1422" y="189"/>
                      <a:pt x="1422" y="189"/>
                    </a:cubicBezTo>
                    <a:cubicBezTo>
                      <a:pt x="1422" y="189"/>
                      <a:pt x="1422" y="189"/>
                      <a:pt x="1422" y="189"/>
                    </a:cubicBezTo>
                    <a:cubicBezTo>
                      <a:pt x="1421" y="189"/>
                      <a:pt x="1421" y="189"/>
                      <a:pt x="1421" y="190"/>
                    </a:cubicBezTo>
                    <a:cubicBezTo>
                      <a:pt x="1421" y="190"/>
                      <a:pt x="1421" y="190"/>
                      <a:pt x="1420" y="190"/>
                    </a:cubicBezTo>
                    <a:cubicBezTo>
                      <a:pt x="1420" y="190"/>
                      <a:pt x="1419" y="190"/>
                      <a:pt x="1419" y="190"/>
                    </a:cubicBezTo>
                    <a:cubicBezTo>
                      <a:pt x="1419" y="190"/>
                      <a:pt x="1419" y="190"/>
                      <a:pt x="1419" y="190"/>
                    </a:cubicBezTo>
                    <a:cubicBezTo>
                      <a:pt x="1419" y="191"/>
                      <a:pt x="1418" y="190"/>
                      <a:pt x="1418" y="191"/>
                    </a:cubicBezTo>
                    <a:cubicBezTo>
                      <a:pt x="1418" y="191"/>
                      <a:pt x="1418" y="191"/>
                      <a:pt x="1418" y="191"/>
                    </a:cubicBezTo>
                    <a:cubicBezTo>
                      <a:pt x="1418" y="191"/>
                      <a:pt x="1418" y="191"/>
                      <a:pt x="1418" y="191"/>
                    </a:cubicBezTo>
                    <a:cubicBezTo>
                      <a:pt x="1417" y="191"/>
                      <a:pt x="1417" y="191"/>
                      <a:pt x="1416" y="191"/>
                    </a:cubicBezTo>
                    <a:cubicBezTo>
                      <a:pt x="1416" y="191"/>
                      <a:pt x="1416" y="191"/>
                      <a:pt x="1416" y="191"/>
                    </a:cubicBezTo>
                    <a:cubicBezTo>
                      <a:pt x="1416" y="192"/>
                      <a:pt x="1415" y="191"/>
                      <a:pt x="1415" y="192"/>
                    </a:cubicBezTo>
                    <a:cubicBezTo>
                      <a:pt x="1415" y="192"/>
                      <a:pt x="1415" y="192"/>
                      <a:pt x="1415" y="192"/>
                    </a:cubicBezTo>
                    <a:cubicBezTo>
                      <a:pt x="1414" y="192"/>
                      <a:pt x="1413" y="192"/>
                      <a:pt x="1413" y="192"/>
                    </a:cubicBezTo>
                    <a:cubicBezTo>
                      <a:pt x="1413" y="193"/>
                      <a:pt x="1413" y="193"/>
                      <a:pt x="1412" y="193"/>
                    </a:cubicBezTo>
                    <a:cubicBezTo>
                      <a:pt x="1412" y="193"/>
                      <a:pt x="1411" y="193"/>
                      <a:pt x="1410" y="193"/>
                    </a:cubicBezTo>
                    <a:cubicBezTo>
                      <a:pt x="1410" y="193"/>
                      <a:pt x="1410" y="193"/>
                      <a:pt x="1410" y="193"/>
                    </a:cubicBezTo>
                    <a:cubicBezTo>
                      <a:pt x="1409" y="194"/>
                      <a:pt x="1409" y="193"/>
                      <a:pt x="1408" y="194"/>
                    </a:cubicBezTo>
                    <a:cubicBezTo>
                      <a:pt x="1408" y="194"/>
                      <a:pt x="1407" y="194"/>
                      <a:pt x="1407" y="194"/>
                    </a:cubicBezTo>
                    <a:cubicBezTo>
                      <a:pt x="1406" y="194"/>
                      <a:pt x="1405" y="194"/>
                      <a:pt x="1404" y="194"/>
                    </a:cubicBezTo>
                    <a:cubicBezTo>
                      <a:pt x="1403" y="194"/>
                      <a:pt x="1402" y="194"/>
                      <a:pt x="1401" y="194"/>
                    </a:cubicBezTo>
                    <a:cubicBezTo>
                      <a:pt x="1399" y="195"/>
                      <a:pt x="1397" y="195"/>
                      <a:pt x="1395" y="194"/>
                    </a:cubicBezTo>
                    <a:cubicBezTo>
                      <a:pt x="1395" y="194"/>
                      <a:pt x="1394" y="194"/>
                      <a:pt x="1393" y="194"/>
                    </a:cubicBezTo>
                    <a:cubicBezTo>
                      <a:pt x="1392" y="194"/>
                      <a:pt x="1391" y="194"/>
                      <a:pt x="1390" y="194"/>
                    </a:cubicBezTo>
                    <a:cubicBezTo>
                      <a:pt x="1390" y="194"/>
                      <a:pt x="1390" y="194"/>
                      <a:pt x="1389" y="194"/>
                    </a:cubicBezTo>
                    <a:cubicBezTo>
                      <a:pt x="1389" y="193"/>
                      <a:pt x="1388" y="194"/>
                      <a:pt x="1387" y="193"/>
                    </a:cubicBezTo>
                    <a:cubicBezTo>
                      <a:pt x="1387" y="193"/>
                      <a:pt x="1387" y="193"/>
                      <a:pt x="1387" y="193"/>
                    </a:cubicBezTo>
                    <a:cubicBezTo>
                      <a:pt x="1386" y="193"/>
                      <a:pt x="1386" y="193"/>
                      <a:pt x="1385" y="193"/>
                    </a:cubicBezTo>
                    <a:cubicBezTo>
                      <a:pt x="1385" y="193"/>
                      <a:pt x="1385" y="193"/>
                      <a:pt x="1385" y="193"/>
                    </a:cubicBezTo>
                    <a:cubicBezTo>
                      <a:pt x="1385" y="192"/>
                      <a:pt x="1385" y="192"/>
                      <a:pt x="1385" y="192"/>
                    </a:cubicBezTo>
                    <a:cubicBezTo>
                      <a:pt x="1385" y="192"/>
                      <a:pt x="1384" y="192"/>
                      <a:pt x="1384" y="192"/>
                    </a:cubicBezTo>
                    <a:cubicBezTo>
                      <a:pt x="1384" y="192"/>
                      <a:pt x="1383" y="192"/>
                      <a:pt x="1383" y="192"/>
                    </a:cubicBezTo>
                    <a:cubicBezTo>
                      <a:pt x="1383" y="192"/>
                      <a:pt x="1383" y="192"/>
                      <a:pt x="1382" y="191"/>
                    </a:cubicBezTo>
                    <a:cubicBezTo>
                      <a:pt x="1382" y="191"/>
                      <a:pt x="1382" y="191"/>
                      <a:pt x="1382" y="191"/>
                    </a:cubicBezTo>
                    <a:cubicBezTo>
                      <a:pt x="1382" y="191"/>
                      <a:pt x="1381" y="191"/>
                      <a:pt x="1381" y="191"/>
                    </a:cubicBezTo>
                    <a:cubicBezTo>
                      <a:pt x="1381" y="191"/>
                      <a:pt x="1381" y="191"/>
                      <a:pt x="1381" y="191"/>
                    </a:cubicBezTo>
                    <a:cubicBezTo>
                      <a:pt x="1380" y="191"/>
                      <a:pt x="1380" y="190"/>
                      <a:pt x="1380" y="190"/>
                    </a:cubicBezTo>
                    <a:cubicBezTo>
                      <a:pt x="1380" y="190"/>
                      <a:pt x="1380" y="190"/>
                      <a:pt x="1380" y="190"/>
                    </a:cubicBezTo>
                    <a:cubicBezTo>
                      <a:pt x="1380" y="190"/>
                      <a:pt x="1379" y="190"/>
                      <a:pt x="1379" y="190"/>
                    </a:cubicBezTo>
                    <a:cubicBezTo>
                      <a:pt x="1379" y="190"/>
                      <a:pt x="1379" y="190"/>
                      <a:pt x="1379" y="190"/>
                    </a:cubicBezTo>
                    <a:cubicBezTo>
                      <a:pt x="1379" y="189"/>
                      <a:pt x="1378" y="189"/>
                      <a:pt x="1378" y="189"/>
                    </a:cubicBezTo>
                    <a:cubicBezTo>
                      <a:pt x="1378" y="189"/>
                      <a:pt x="1378" y="189"/>
                      <a:pt x="1378" y="189"/>
                    </a:cubicBezTo>
                    <a:cubicBezTo>
                      <a:pt x="1377" y="189"/>
                      <a:pt x="1377" y="189"/>
                      <a:pt x="1377" y="189"/>
                    </a:cubicBezTo>
                    <a:cubicBezTo>
                      <a:pt x="1377" y="189"/>
                      <a:pt x="1377" y="189"/>
                      <a:pt x="1377" y="189"/>
                    </a:cubicBezTo>
                    <a:cubicBezTo>
                      <a:pt x="1377" y="188"/>
                      <a:pt x="1376" y="188"/>
                      <a:pt x="1376" y="188"/>
                    </a:cubicBezTo>
                    <a:cubicBezTo>
                      <a:pt x="1376" y="188"/>
                      <a:pt x="1376" y="188"/>
                      <a:pt x="1376" y="188"/>
                    </a:cubicBezTo>
                    <a:cubicBezTo>
                      <a:pt x="1376" y="188"/>
                      <a:pt x="1376" y="188"/>
                      <a:pt x="1375" y="187"/>
                    </a:cubicBezTo>
                    <a:cubicBezTo>
                      <a:pt x="1375" y="187"/>
                      <a:pt x="1375" y="187"/>
                      <a:pt x="1375" y="187"/>
                    </a:cubicBezTo>
                    <a:cubicBezTo>
                      <a:pt x="1375" y="187"/>
                      <a:pt x="1375" y="187"/>
                      <a:pt x="1375" y="187"/>
                    </a:cubicBezTo>
                    <a:cubicBezTo>
                      <a:pt x="1375" y="187"/>
                      <a:pt x="1375" y="187"/>
                      <a:pt x="1375" y="187"/>
                    </a:cubicBezTo>
                    <a:cubicBezTo>
                      <a:pt x="1375" y="187"/>
                      <a:pt x="1374" y="186"/>
                      <a:pt x="1374" y="186"/>
                    </a:cubicBezTo>
                    <a:cubicBezTo>
                      <a:pt x="1374" y="186"/>
                      <a:pt x="1374" y="186"/>
                      <a:pt x="1374" y="186"/>
                    </a:cubicBezTo>
                    <a:cubicBezTo>
                      <a:pt x="1374" y="186"/>
                      <a:pt x="1374" y="186"/>
                      <a:pt x="1373" y="186"/>
                    </a:cubicBezTo>
                    <a:cubicBezTo>
                      <a:pt x="1373" y="186"/>
                      <a:pt x="1373" y="186"/>
                      <a:pt x="1373" y="186"/>
                    </a:cubicBezTo>
                    <a:cubicBezTo>
                      <a:pt x="1373" y="185"/>
                      <a:pt x="1372" y="185"/>
                      <a:pt x="1372" y="184"/>
                    </a:cubicBezTo>
                    <a:cubicBezTo>
                      <a:pt x="1372" y="184"/>
                      <a:pt x="1372" y="184"/>
                      <a:pt x="1372" y="184"/>
                    </a:cubicBezTo>
                    <a:cubicBezTo>
                      <a:pt x="1372" y="184"/>
                      <a:pt x="1372" y="183"/>
                      <a:pt x="1371" y="183"/>
                    </a:cubicBezTo>
                    <a:cubicBezTo>
                      <a:pt x="1371" y="183"/>
                      <a:pt x="1371" y="183"/>
                      <a:pt x="1371" y="183"/>
                    </a:cubicBezTo>
                    <a:cubicBezTo>
                      <a:pt x="1371" y="183"/>
                      <a:pt x="1371" y="183"/>
                      <a:pt x="1371" y="183"/>
                    </a:cubicBezTo>
                    <a:cubicBezTo>
                      <a:pt x="1371" y="183"/>
                      <a:pt x="1371" y="183"/>
                      <a:pt x="1371" y="183"/>
                    </a:cubicBezTo>
                    <a:cubicBezTo>
                      <a:pt x="1371" y="183"/>
                      <a:pt x="1370" y="182"/>
                      <a:pt x="1370" y="182"/>
                    </a:cubicBezTo>
                    <a:cubicBezTo>
                      <a:pt x="1370" y="182"/>
                      <a:pt x="1370" y="182"/>
                      <a:pt x="1370" y="182"/>
                    </a:cubicBezTo>
                    <a:cubicBezTo>
                      <a:pt x="1370" y="182"/>
                      <a:pt x="1370" y="181"/>
                      <a:pt x="1369" y="181"/>
                    </a:cubicBezTo>
                    <a:cubicBezTo>
                      <a:pt x="1369" y="181"/>
                      <a:pt x="1369" y="181"/>
                      <a:pt x="1369" y="181"/>
                    </a:cubicBezTo>
                    <a:cubicBezTo>
                      <a:pt x="1369" y="181"/>
                      <a:pt x="1369" y="181"/>
                      <a:pt x="1369" y="180"/>
                    </a:cubicBezTo>
                    <a:cubicBezTo>
                      <a:pt x="1369" y="180"/>
                      <a:pt x="1369" y="180"/>
                      <a:pt x="1369" y="180"/>
                    </a:cubicBezTo>
                    <a:cubicBezTo>
                      <a:pt x="1369" y="180"/>
                      <a:pt x="1369" y="180"/>
                      <a:pt x="1369" y="180"/>
                    </a:cubicBezTo>
                    <a:cubicBezTo>
                      <a:pt x="1368" y="180"/>
                      <a:pt x="1368" y="180"/>
                      <a:pt x="1368" y="180"/>
                    </a:cubicBezTo>
                    <a:cubicBezTo>
                      <a:pt x="1368" y="179"/>
                      <a:pt x="1368" y="179"/>
                      <a:pt x="1368" y="179"/>
                    </a:cubicBezTo>
                    <a:cubicBezTo>
                      <a:pt x="1368" y="179"/>
                      <a:pt x="1368" y="179"/>
                      <a:pt x="1368" y="179"/>
                    </a:cubicBezTo>
                    <a:cubicBezTo>
                      <a:pt x="1368" y="178"/>
                      <a:pt x="1368" y="178"/>
                      <a:pt x="1367" y="178"/>
                    </a:cubicBezTo>
                    <a:cubicBezTo>
                      <a:pt x="1367" y="178"/>
                      <a:pt x="1367" y="178"/>
                      <a:pt x="1367" y="178"/>
                    </a:cubicBezTo>
                    <a:cubicBezTo>
                      <a:pt x="1367" y="177"/>
                      <a:pt x="1367" y="177"/>
                      <a:pt x="1367" y="176"/>
                    </a:cubicBezTo>
                    <a:cubicBezTo>
                      <a:pt x="1367" y="176"/>
                      <a:pt x="1367" y="176"/>
                      <a:pt x="1367" y="176"/>
                    </a:cubicBezTo>
                    <a:cubicBezTo>
                      <a:pt x="1366" y="176"/>
                      <a:pt x="1366" y="176"/>
                      <a:pt x="1366" y="175"/>
                    </a:cubicBezTo>
                    <a:cubicBezTo>
                      <a:pt x="1366" y="175"/>
                      <a:pt x="1366" y="175"/>
                      <a:pt x="1366" y="175"/>
                    </a:cubicBezTo>
                    <a:cubicBezTo>
                      <a:pt x="1366" y="175"/>
                      <a:pt x="1366" y="174"/>
                      <a:pt x="1366" y="174"/>
                    </a:cubicBezTo>
                    <a:cubicBezTo>
                      <a:pt x="1365" y="174"/>
                      <a:pt x="1365" y="174"/>
                      <a:pt x="1365" y="174"/>
                    </a:cubicBezTo>
                    <a:cubicBezTo>
                      <a:pt x="1365" y="173"/>
                      <a:pt x="1365" y="173"/>
                      <a:pt x="1365" y="172"/>
                    </a:cubicBezTo>
                    <a:cubicBezTo>
                      <a:pt x="1365" y="172"/>
                      <a:pt x="1365" y="172"/>
                      <a:pt x="1365" y="172"/>
                    </a:cubicBezTo>
                    <a:cubicBezTo>
                      <a:pt x="1365" y="172"/>
                      <a:pt x="1365" y="172"/>
                      <a:pt x="1365" y="172"/>
                    </a:cubicBezTo>
                    <a:cubicBezTo>
                      <a:pt x="1365" y="172"/>
                      <a:pt x="1365" y="171"/>
                      <a:pt x="1364" y="171"/>
                    </a:cubicBezTo>
                    <a:cubicBezTo>
                      <a:pt x="1364" y="171"/>
                      <a:pt x="1364" y="170"/>
                      <a:pt x="1364" y="170"/>
                    </a:cubicBezTo>
                    <a:cubicBezTo>
                      <a:pt x="1364" y="170"/>
                      <a:pt x="1364" y="169"/>
                      <a:pt x="1364" y="168"/>
                    </a:cubicBezTo>
                    <a:cubicBezTo>
                      <a:pt x="1364" y="168"/>
                      <a:pt x="1364" y="168"/>
                      <a:pt x="1364" y="168"/>
                    </a:cubicBezTo>
                    <a:cubicBezTo>
                      <a:pt x="1364" y="168"/>
                      <a:pt x="1364" y="168"/>
                      <a:pt x="1364" y="168"/>
                    </a:cubicBezTo>
                    <a:cubicBezTo>
                      <a:pt x="1363" y="167"/>
                      <a:pt x="1364" y="166"/>
                      <a:pt x="1363" y="165"/>
                    </a:cubicBezTo>
                    <a:cubicBezTo>
                      <a:pt x="1363" y="165"/>
                      <a:pt x="1363" y="165"/>
                      <a:pt x="1363" y="165"/>
                    </a:cubicBezTo>
                    <a:cubicBezTo>
                      <a:pt x="1363" y="165"/>
                      <a:pt x="1363" y="165"/>
                      <a:pt x="1363" y="165"/>
                    </a:cubicBezTo>
                    <a:cubicBezTo>
                      <a:pt x="1363" y="164"/>
                      <a:pt x="1363" y="163"/>
                      <a:pt x="1363" y="162"/>
                    </a:cubicBezTo>
                    <a:cubicBezTo>
                      <a:pt x="1363" y="161"/>
                      <a:pt x="1362" y="161"/>
                      <a:pt x="1363" y="161"/>
                    </a:cubicBezTo>
                    <a:cubicBezTo>
                      <a:pt x="1362" y="159"/>
                      <a:pt x="1362" y="158"/>
                      <a:pt x="1363" y="156"/>
                    </a:cubicBezTo>
                    <a:cubicBezTo>
                      <a:pt x="1364" y="156"/>
                      <a:pt x="1364" y="156"/>
                      <a:pt x="1365" y="156"/>
                    </a:cubicBezTo>
                    <a:cubicBezTo>
                      <a:pt x="1390" y="156"/>
                      <a:pt x="1414" y="156"/>
                      <a:pt x="1438" y="156"/>
                    </a:cubicBezTo>
                    <a:cubicBezTo>
                      <a:pt x="1439" y="156"/>
                      <a:pt x="1440" y="156"/>
                      <a:pt x="1440" y="156"/>
                    </a:cubicBezTo>
                    <a:cubicBezTo>
                      <a:pt x="1441" y="150"/>
                      <a:pt x="1441" y="144"/>
                      <a:pt x="1440" y="138"/>
                    </a:cubicBezTo>
                    <a:cubicBezTo>
                      <a:pt x="1440" y="138"/>
                      <a:pt x="1440" y="138"/>
                      <a:pt x="1440" y="137"/>
                    </a:cubicBezTo>
                    <a:cubicBezTo>
                      <a:pt x="1440" y="136"/>
                      <a:pt x="1440" y="135"/>
                      <a:pt x="1440" y="134"/>
                    </a:cubicBezTo>
                    <a:cubicBezTo>
                      <a:pt x="1440" y="133"/>
                      <a:pt x="1440" y="133"/>
                      <a:pt x="1440" y="133"/>
                    </a:cubicBezTo>
                    <a:cubicBezTo>
                      <a:pt x="1439" y="132"/>
                      <a:pt x="1440" y="131"/>
                      <a:pt x="1439" y="130"/>
                    </a:cubicBezTo>
                    <a:close/>
                    <a:moveTo>
                      <a:pt x="1708" y="191"/>
                    </a:moveTo>
                    <a:cubicBezTo>
                      <a:pt x="1708" y="191"/>
                      <a:pt x="1708" y="191"/>
                      <a:pt x="1708" y="191"/>
                    </a:cubicBezTo>
                    <a:cubicBezTo>
                      <a:pt x="1708" y="191"/>
                      <a:pt x="1707" y="191"/>
                      <a:pt x="1707" y="191"/>
                    </a:cubicBezTo>
                    <a:cubicBezTo>
                      <a:pt x="1707" y="191"/>
                      <a:pt x="1707" y="191"/>
                      <a:pt x="1707" y="191"/>
                    </a:cubicBezTo>
                    <a:cubicBezTo>
                      <a:pt x="1706" y="192"/>
                      <a:pt x="1706" y="192"/>
                      <a:pt x="1705" y="192"/>
                    </a:cubicBezTo>
                    <a:cubicBezTo>
                      <a:pt x="1705" y="192"/>
                      <a:pt x="1705" y="192"/>
                      <a:pt x="1705" y="192"/>
                    </a:cubicBezTo>
                    <a:cubicBezTo>
                      <a:pt x="1704" y="192"/>
                      <a:pt x="1704" y="192"/>
                      <a:pt x="1703" y="192"/>
                    </a:cubicBezTo>
                    <a:cubicBezTo>
                      <a:pt x="1703" y="193"/>
                      <a:pt x="1703" y="193"/>
                      <a:pt x="1703" y="193"/>
                    </a:cubicBezTo>
                    <a:cubicBezTo>
                      <a:pt x="1703" y="193"/>
                      <a:pt x="1703" y="193"/>
                      <a:pt x="1703" y="193"/>
                    </a:cubicBezTo>
                    <a:cubicBezTo>
                      <a:pt x="1702" y="193"/>
                      <a:pt x="1702" y="193"/>
                      <a:pt x="1701" y="193"/>
                    </a:cubicBezTo>
                    <a:cubicBezTo>
                      <a:pt x="1701" y="193"/>
                      <a:pt x="1701" y="193"/>
                      <a:pt x="1700" y="193"/>
                    </a:cubicBezTo>
                    <a:cubicBezTo>
                      <a:pt x="1700" y="193"/>
                      <a:pt x="1699" y="193"/>
                      <a:pt x="1698" y="194"/>
                    </a:cubicBezTo>
                    <a:cubicBezTo>
                      <a:pt x="1698" y="194"/>
                      <a:pt x="1698" y="194"/>
                      <a:pt x="1697" y="194"/>
                    </a:cubicBezTo>
                    <a:cubicBezTo>
                      <a:pt x="1696" y="194"/>
                      <a:pt x="1695" y="194"/>
                      <a:pt x="1694" y="194"/>
                    </a:cubicBezTo>
                    <a:cubicBezTo>
                      <a:pt x="1694" y="194"/>
                      <a:pt x="1693" y="194"/>
                      <a:pt x="1692" y="194"/>
                    </a:cubicBezTo>
                    <a:cubicBezTo>
                      <a:pt x="1690" y="195"/>
                      <a:pt x="1688" y="195"/>
                      <a:pt x="1686" y="194"/>
                    </a:cubicBezTo>
                    <a:cubicBezTo>
                      <a:pt x="1685" y="195"/>
                      <a:pt x="1684" y="194"/>
                      <a:pt x="1683" y="194"/>
                    </a:cubicBezTo>
                    <a:cubicBezTo>
                      <a:pt x="1683" y="194"/>
                      <a:pt x="1681" y="194"/>
                      <a:pt x="1681" y="194"/>
                    </a:cubicBezTo>
                    <a:cubicBezTo>
                      <a:pt x="1680" y="194"/>
                      <a:pt x="1680" y="194"/>
                      <a:pt x="1680" y="194"/>
                    </a:cubicBezTo>
                    <a:cubicBezTo>
                      <a:pt x="1679" y="193"/>
                      <a:pt x="1678" y="194"/>
                      <a:pt x="1678" y="193"/>
                    </a:cubicBezTo>
                    <a:cubicBezTo>
                      <a:pt x="1677" y="193"/>
                      <a:pt x="1677" y="193"/>
                      <a:pt x="1677" y="193"/>
                    </a:cubicBezTo>
                    <a:cubicBezTo>
                      <a:pt x="1677" y="193"/>
                      <a:pt x="1676" y="193"/>
                      <a:pt x="1676" y="193"/>
                    </a:cubicBezTo>
                    <a:cubicBezTo>
                      <a:pt x="1676" y="193"/>
                      <a:pt x="1675" y="193"/>
                      <a:pt x="1675" y="192"/>
                    </a:cubicBezTo>
                    <a:cubicBezTo>
                      <a:pt x="1675" y="192"/>
                      <a:pt x="1675" y="192"/>
                      <a:pt x="1674" y="192"/>
                    </a:cubicBezTo>
                    <a:cubicBezTo>
                      <a:pt x="1674" y="192"/>
                      <a:pt x="1674" y="192"/>
                      <a:pt x="1674" y="192"/>
                    </a:cubicBezTo>
                    <a:cubicBezTo>
                      <a:pt x="1673" y="192"/>
                      <a:pt x="1673" y="192"/>
                      <a:pt x="1673" y="191"/>
                    </a:cubicBezTo>
                    <a:cubicBezTo>
                      <a:pt x="1672" y="191"/>
                      <a:pt x="1672" y="191"/>
                      <a:pt x="1672" y="191"/>
                    </a:cubicBezTo>
                    <a:cubicBezTo>
                      <a:pt x="1672" y="191"/>
                      <a:pt x="1672" y="191"/>
                      <a:pt x="1671" y="191"/>
                    </a:cubicBezTo>
                    <a:cubicBezTo>
                      <a:pt x="1671" y="191"/>
                      <a:pt x="1671" y="191"/>
                      <a:pt x="1671" y="191"/>
                    </a:cubicBezTo>
                    <a:cubicBezTo>
                      <a:pt x="1671" y="190"/>
                      <a:pt x="1671" y="191"/>
                      <a:pt x="1670" y="190"/>
                    </a:cubicBezTo>
                    <a:cubicBezTo>
                      <a:pt x="1670" y="190"/>
                      <a:pt x="1670" y="190"/>
                      <a:pt x="1670" y="190"/>
                    </a:cubicBezTo>
                    <a:cubicBezTo>
                      <a:pt x="1670" y="190"/>
                      <a:pt x="1669" y="190"/>
                      <a:pt x="1669" y="190"/>
                    </a:cubicBezTo>
                    <a:cubicBezTo>
                      <a:pt x="1669" y="190"/>
                      <a:pt x="1669" y="190"/>
                      <a:pt x="1669" y="190"/>
                    </a:cubicBezTo>
                    <a:cubicBezTo>
                      <a:pt x="1669" y="189"/>
                      <a:pt x="1669" y="189"/>
                      <a:pt x="1668" y="189"/>
                    </a:cubicBezTo>
                    <a:cubicBezTo>
                      <a:pt x="1668" y="189"/>
                      <a:pt x="1668" y="189"/>
                      <a:pt x="1668" y="189"/>
                    </a:cubicBezTo>
                    <a:cubicBezTo>
                      <a:pt x="1668" y="189"/>
                      <a:pt x="1667" y="189"/>
                      <a:pt x="1667" y="188"/>
                    </a:cubicBezTo>
                    <a:cubicBezTo>
                      <a:pt x="1667" y="188"/>
                      <a:pt x="1667" y="188"/>
                      <a:pt x="1667" y="188"/>
                    </a:cubicBezTo>
                    <a:cubicBezTo>
                      <a:pt x="1667" y="188"/>
                      <a:pt x="1667" y="188"/>
                      <a:pt x="1667" y="188"/>
                    </a:cubicBezTo>
                    <a:cubicBezTo>
                      <a:pt x="1667" y="188"/>
                      <a:pt x="1667" y="188"/>
                      <a:pt x="1667" y="188"/>
                    </a:cubicBezTo>
                    <a:cubicBezTo>
                      <a:pt x="1667" y="188"/>
                      <a:pt x="1666" y="188"/>
                      <a:pt x="1666" y="187"/>
                    </a:cubicBezTo>
                    <a:cubicBezTo>
                      <a:pt x="1666" y="187"/>
                      <a:pt x="1666" y="187"/>
                      <a:pt x="1666" y="187"/>
                    </a:cubicBezTo>
                    <a:cubicBezTo>
                      <a:pt x="1665" y="187"/>
                      <a:pt x="1665" y="187"/>
                      <a:pt x="1665" y="187"/>
                    </a:cubicBezTo>
                    <a:cubicBezTo>
                      <a:pt x="1665" y="187"/>
                      <a:pt x="1665" y="187"/>
                      <a:pt x="1665" y="187"/>
                    </a:cubicBezTo>
                    <a:cubicBezTo>
                      <a:pt x="1665" y="187"/>
                      <a:pt x="1665" y="186"/>
                      <a:pt x="1664" y="186"/>
                    </a:cubicBezTo>
                    <a:cubicBezTo>
                      <a:pt x="1664" y="186"/>
                      <a:pt x="1664" y="186"/>
                      <a:pt x="1664" y="186"/>
                    </a:cubicBezTo>
                    <a:cubicBezTo>
                      <a:pt x="1664" y="186"/>
                      <a:pt x="1664" y="186"/>
                      <a:pt x="1664" y="186"/>
                    </a:cubicBezTo>
                    <a:cubicBezTo>
                      <a:pt x="1664" y="186"/>
                      <a:pt x="1664" y="186"/>
                      <a:pt x="1664" y="186"/>
                    </a:cubicBezTo>
                    <a:cubicBezTo>
                      <a:pt x="1664" y="185"/>
                      <a:pt x="1663" y="185"/>
                      <a:pt x="1663" y="185"/>
                    </a:cubicBezTo>
                    <a:cubicBezTo>
                      <a:pt x="1663" y="185"/>
                      <a:pt x="1663" y="185"/>
                      <a:pt x="1663" y="185"/>
                    </a:cubicBezTo>
                    <a:cubicBezTo>
                      <a:pt x="1663" y="185"/>
                      <a:pt x="1663" y="185"/>
                      <a:pt x="1663" y="184"/>
                    </a:cubicBezTo>
                    <a:cubicBezTo>
                      <a:pt x="1663" y="185"/>
                      <a:pt x="1663" y="185"/>
                      <a:pt x="1663" y="185"/>
                    </a:cubicBezTo>
                    <a:cubicBezTo>
                      <a:pt x="1663" y="184"/>
                      <a:pt x="1662" y="184"/>
                      <a:pt x="1662" y="184"/>
                    </a:cubicBezTo>
                    <a:cubicBezTo>
                      <a:pt x="1662" y="184"/>
                      <a:pt x="1662" y="184"/>
                      <a:pt x="1662" y="184"/>
                    </a:cubicBezTo>
                    <a:cubicBezTo>
                      <a:pt x="1662" y="184"/>
                      <a:pt x="1662" y="183"/>
                      <a:pt x="1662" y="183"/>
                    </a:cubicBezTo>
                    <a:cubicBezTo>
                      <a:pt x="1662" y="183"/>
                      <a:pt x="1662" y="183"/>
                      <a:pt x="1662" y="183"/>
                    </a:cubicBezTo>
                    <a:cubicBezTo>
                      <a:pt x="1661" y="183"/>
                      <a:pt x="1661" y="183"/>
                      <a:pt x="1661" y="183"/>
                    </a:cubicBezTo>
                    <a:cubicBezTo>
                      <a:pt x="1661" y="183"/>
                      <a:pt x="1661" y="183"/>
                      <a:pt x="1661" y="183"/>
                    </a:cubicBezTo>
                    <a:cubicBezTo>
                      <a:pt x="1661" y="182"/>
                      <a:pt x="1661" y="182"/>
                      <a:pt x="1660" y="182"/>
                    </a:cubicBezTo>
                    <a:cubicBezTo>
                      <a:pt x="1660" y="182"/>
                      <a:pt x="1660" y="182"/>
                      <a:pt x="1660" y="182"/>
                    </a:cubicBezTo>
                    <a:cubicBezTo>
                      <a:pt x="1660" y="181"/>
                      <a:pt x="1660" y="181"/>
                      <a:pt x="1660" y="181"/>
                    </a:cubicBezTo>
                    <a:cubicBezTo>
                      <a:pt x="1660" y="181"/>
                      <a:pt x="1660" y="181"/>
                      <a:pt x="1660" y="181"/>
                    </a:cubicBezTo>
                    <a:cubicBezTo>
                      <a:pt x="1660" y="181"/>
                      <a:pt x="1659" y="181"/>
                      <a:pt x="1659" y="180"/>
                    </a:cubicBezTo>
                    <a:cubicBezTo>
                      <a:pt x="1659" y="180"/>
                      <a:pt x="1659" y="180"/>
                      <a:pt x="1659" y="180"/>
                    </a:cubicBezTo>
                    <a:cubicBezTo>
                      <a:pt x="1659" y="180"/>
                      <a:pt x="1659" y="180"/>
                      <a:pt x="1659" y="179"/>
                    </a:cubicBezTo>
                    <a:cubicBezTo>
                      <a:pt x="1659" y="179"/>
                      <a:pt x="1659" y="179"/>
                      <a:pt x="1659" y="179"/>
                    </a:cubicBezTo>
                    <a:cubicBezTo>
                      <a:pt x="1658" y="179"/>
                      <a:pt x="1658" y="178"/>
                      <a:pt x="1658" y="178"/>
                    </a:cubicBezTo>
                    <a:cubicBezTo>
                      <a:pt x="1658" y="178"/>
                      <a:pt x="1658" y="178"/>
                      <a:pt x="1658" y="178"/>
                    </a:cubicBezTo>
                    <a:cubicBezTo>
                      <a:pt x="1658" y="178"/>
                      <a:pt x="1658" y="178"/>
                      <a:pt x="1658" y="178"/>
                    </a:cubicBezTo>
                    <a:cubicBezTo>
                      <a:pt x="1657" y="177"/>
                      <a:pt x="1657" y="177"/>
                      <a:pt x="1657" y="177"/>
                    </a:cubicBezTo>
                    <a:cubicBezTo>
                      <a:pt x="1657" y="177"/>
                      <a:pt x="1657" y="177"/>
                      <a:pt x="1657" y="176"/>
                    </a:cubicBezTo>
                    <a:cubicBezTo>
                      <a:pt x="1657" y="176"/>
                      <a:pt x="1657" y="176"/>
                      <a:pt x="1657" y="176"/>
                    </a:cubicBezTo>
                    <a:cubicBezTo>
                      <a:pt x="1657" y="176"/>
                      <a:pt x="1657" y="175"/>
                      <a:pt x="1656" y="175"/>
                    </a:cubicBezTo>
                    <a:cubicBezTo>
                      <a:pt x="1656" y="175"/>
                      <a:pt x="1656" y="175"/>
                      <a:pt x="1656" y="175"/>
                    </a:cubicBezTo>
                    <a:cubicBezTo>
                      <a:pt x="1656" y="174"/>
                      <a:pt x="1656" y="174"/>
                      <a:pt x="1656" y="173"/>
                    </a:cubicBezTo>
                    <a:cubicBezTo>
                      <a:pt x="1656" y="173"/>
                      <a:pt x="1656" y="173"/>
                      <a:pt x="1656" y="173"/>
                    </a:cubicBezTo>
                    <a:cubicBezTo>
                      <a:pt x="1655" y="173"/>
                      <a:pt x="1656" y="172"/>
                      <a:pt x="1655" y="172"/>
                    </a:cubicBezTo>
                    <a:cubicBezTo>
                      <a:pt x="1655" y="172"/>
                      <a:pt x="1655" y="172"/>
                      <a:pt x="1655" y="172"/>
                    </a:cubicBezTo>
                    <a:cubicBezTo>
                      <a:pt x="1655" y="171"/>
                      <a:pt x="1655" y="171"/>
                      <a:pt x="1655" y="170"/>
                    </a:cubicBezTo>
                    <a:cubicBezTo>
                      <a:pt x="1655" y="170"/>
                      <a:pt x="1654" y="170"/>
                      <a:pt x="1655" y="170"/>
                    </a:cubicBezTo>
                    <a:cubicBezTo>
                      <a:pt x="1654" y="169"/>
                      <a:pt x="1655" y="168"/>
                      <a:pt x="1654" y="168"/>
                    </a:cubicBezTo>
                    <a:cubicBezTo>
                      <a:pt x="1654" y="168"/>
                      <a:pt x="1654" y="167"/>
                      <a:pt x="1654" y="167"/>
                    </a:cubicBezTo>
                    <a:cubicBezTo>
                      <a:pt x="1654" y="167"/>
                      <a:pt x="1654" y="166"/>
                      <a:pt x="1654" y="165"/>
                    </a:cubicBezTo>
                    <a:cubicBezTo>
                      <a:pt x="1653" y="165"/>
                      <a:pt x="1653" y="164"/>
                      <a:pt x="1653" y="164"/>
                    </a:cubicBezTo>
                    <a:cubicBezTo>
                      <a:pt x="1653" y="163"/>
                      <a:pt x="1654" y="161"/>
                      <a:pt x="1653" y="160"/>
                    </a:cubicBezTo>
                    <a:cubicBezTo>
                      <a:pt x="1653" y="160"/>
                      <a:pt x="1653" y="159"/>
                      <a:pt x="1653" y="159"/>
                    </a:cubicBezTo>
                    <a:cubicBezTo>
                      <a:pt x="1653" y="158"/>
                      <a:pt x="1652" y="157"/>
                      <a:pt x="1653" y="156"/>
                    </a:cubicBezTo>
                    <a:cubicBezTo>
                      <a:pt x="1654" y="156"/>
                      <a:pt x="1655" y="156"/>
                      <a:pt x="1656" y="156"/>
                    </a:cubicBezTo>
                    <a:cubicBezTo>
                      <a:pt x="1680" y="156"/>
                      <a:pt x="1704" y="156"/>
                      <a:pt x="1728" y="156"/>
                    </a:cubicBezTo>
                    <a:cubicBezTo>
                      <a:pt x="1729" y="156"/>
                      <a:pt x="1730" y="156"/>
                      <a:pt x="1731" y="156"/>
                    </a:cubicBezTo>
                    <a:cubicBezTo>
                      <a:pt x="1731" y="156"/>
                      <a:pt x="1731" y="156"/>
                      <a:pt x="1731" y="155"/>
                    </a:cubicBezTo>
                    <a:cubicBezTo>
                      <a:pt x="1731" y="152"/>
                      <a:pt x="1731" y="148"/>
                      <a:pt x="1731" y="144"/>
                    </a:cubicBezTo>
                    <a:cubicBezTo>
                      <a:pt x="1731" y="141"/>
                      <a:pt x="1731" y="139"/>
                      <a:pt x="1731" y="137"/>
                    </a:cubicBezTo>
                    <a:cubicBezTo>
                      <a:pt x="1731" y="136"/>
                      <a:pt x="1731" y="136"/>
                      <a:pt x="1731" y="136"/>
                    </a:cubicBezTo>
                    <a:cubicBezTo>
                      <a:pt x="1730" y="135"/>
                      <a:pt x="1731" y="134"/>
                      <a:pt x="1730" y="133"/>
                    </a:cubicBezTo>
                    <a:cubicBezTo>
                      <a:pt x="1730" y="132"/>
                      <a:pt x="1730" y="132"/>
                      <a:pt x="1730" y="132"/>
                    </a:cubicBezTo>
                    <a:cubicBezTo>
                      <a:pt x="1730" y="131"/>
                      <a:pt x="1730" y="130"/>
                      <a:pt x="1730" y="129"/>
                    </a:cubicBezTo>
                    <a:cubicBezTo>
                      <a:pt x="1729" y="129"/>
                      <a:pt x="1729" y="129"/>
                      <a:pt x="1729" y="129"/>
                    </a:cubicBezTo>
                    <a:cubicBezTo>
                      <a:pt x="1729" y="129"/>
                      <a:pt x="1729" y="129"/>
                      <a:pt x="1729" y="129"/>
                    </a:cubicBezTo>
                    <a:cubicBezTo>
                      <a:pt x="1729" y="128"/>
                      <a:pt x="1729" y="127"/>
                      <a:pt x="1729" y="127"/>
                    </a:cubicBezTo>
                    <a:cubicBezTo>
                      <a:pt x="1729" y="127"/>
                      <a:pt x="1729" y="127"/>
                      <a:pt x="1729" y="127"/>
                    </a:cubicBezTo>
                    <a:cubicBezTo>
                      <a:pt x="1729" y="126"/>
                      <a:pt x="1729" y="126"/>
                      <a:pt x="1729" y="126"/>
                    </a:cubicBezTo>
                    <a:cubicBezTo>
                      <a:pt x="1729" y="126"/>
                      <a:pt x="1729" y="125"/>
                      <a:pt x="1728" y="125"/>
                    </a:cubicBezTo>
                    <a:cubicBezTo>
                      <a:pt x="1728" y="125"/>
                      <a:pt x="1728" y="125"/>
                      <a:pt x="1728" y="125"/>
                    </a:cubicBezTo>
                    <a:cubicBezTo>
                      <a:pt x="1728" y="124"/>
                      <a:pt x="1728" y="123"/>
                      <a:pt x="1728" y="123"/>
                    </a:cubicBezTo>
                    <a:cubicBezTo>
                      <a:pt x="1728" y="123"/>
                      <a:pt x="1728" y="123"/>
                      <a:pt x="1728" y="123"/>
                    </a:cubicBezTo>
                    <a:cubicBezTo>
                      <a:pt x="1727" y="122"/>
                      <a:pt x="1728" y="122"/>
                      <a:pt x="1727" y="121"/>
                    </a:cubicBezTo>
                    <a:cubicBezTo>
                      <a:pt x="1727" y="121"/>
                      <a:pt x="1727" y="121"/>
                      <a:pt x="1727" y="121"/>
                    </a:cubicBezTo>
                    <a:cubicBezTo>
                      <a:pt x="1727" y="121"/>
                      <a:pt x="1727" y="120"/>
                      <a:pt x="1727" y="120"/>
                    </a:cubicBezTo>
                    <a:cubicBezTo>
                      <a:pt x="1727" y="120"/>
                      <a:pt x="1726" y="120"/>
                      <a:pt x="1727" y="120"/>
                    </a:cubicBezTo>
                    <a:cubicBezTo>
                      <a:pt x="1726" y="119"/>
                      <a:pt x="1726" y="119"/>
                      <a:pt x="1726" y="118"/>
                    </a:cubicBezTo>
                    <a:cubicBezTo>
                      <a:pt x="1726" y="118"/>
                      <a:pt x="1726" y="118"/>
                      <a:pt x="1726" y="118"/>
                    </a:cubicBezTo>
                    <a:cubicBezTo>
                      <a:pt x="1726" y="118"/>
                      <a:pt x="1726" y="117"/>
                      <a:pt x="1725" y="117"/>
                    </a:cubicBezTo>
                    <a:cubicBezTo>
                      <a:pt x="1725" y="117"/>
                      <a:pt x="1725" y="117"/>
                      <a:pt x="1725" y="117"/>
                    </a:cubicBezTo>
                    <a:cubicBezTo>
                      <a:pt x="1725" y="117"/>
                      <a:pt x="1725" y="116"/>
                      <a:pt x="1725" y="116"/>
                    </a:cubicBezTo>
                    <a:cubicBezTo>
                      <a:pt x="1725" y="116"/>
                      <a:pt x="1725" y="116"/>
                      <a:pt x="1725" y="116"/>
                    </a:cubicBezTo>
                    <a:cubicBezTo>
                      <a:pt x="1725" y="116"/>
                      <a:pt x="1725" y="115"/>
                      <a:pt x="1724" y="115"/>
                    </a:cubicBezTo>
                    <a:cubicBezTo>
                      <a:pt x="1724" y="115"/>
                      <a:pt x="1724" y="115"/>
                      <a:pt x="1724" y="115"/>
                    </a:cubicBezTo>
                    <a:cubicBezTo>
                      <a:pt x="1724" y="114"/>
                      <a:pt x="1724" y="114"/>
                      <a:pt x="1724" y="114"/>
                    </a:cubicBezTo>
                    <a:cubicBezTo>
                      <a:pt x="1724" y="114"/>
                      <a:pt x="1724" y="114"/>
                      <a:pt x="1724" y="114"/>
                    </a:cubicBezTo>
                    <a:cubicBezTo>
                      <a:pt x="1723" y="113"/>
                      <a:pt x="1724" y="113"/>
                      <a:pt x="1723" y="113"/>
                    </a:cubicBezTo>
                    <a:cubicBezTo>
                      <a:pt x="1723" y="113"/>
                      <a:pt x="1723" y="113"/>
                      <a:pt x="1723" y="113"/>
                    </a:cubicBezTo>
                    <a:cubicBezTo>
                      <a:pt x="1723" y="112"/>
                      <a:pt x="1723" y="112"/>
                      <a:pt x="1723" y="112"/>
                    </a:cubicBezTo>
                    <a:cubicBezTo>
                      <a:pt x="1723" y="112"/>
                      <a:pt x="1723" y="112"/>
                      <a:pt x="1723" y="112"/>
                    </a:cubicBezTo>
                    <a:cubicBezTo>
                      <a:pt x="1722" y="112"/>
                      <a:pt x="1722" y="111"/>
                      <a:pt x="1722" y="111"/>
                    </a:cubicBezTo>
                    <a:cubicBezTo>
                      <a:pt x="1722" y="111"/>
                      <a:pt x="1722" y="111"/>
                      <a:pt x="1722" y="111"/>
                    </a:cubicBezTo>
                    <a:cubicBezTo>
                      <a:pt x="1722" y="111"/>
                      <a:pt x="1722" y="110"/>
                      <a:pt x="1721" y="110"/>
                    </a:cubicBezTo>
                    <a:cubicBezTo>
                      <a:pt x="1721" y="110"/>
                      <a:pt x="1721" y="110"/>
                      <a:pt x="1721" y="110"/>
                    </a:cubicBezTo>
                    <a:cubicBezTo>
                      <a:pt x="1721" y="110"/>
                      <a:pt x="1721" y="110"/>
                      <a:pt x="1721" y="110"/>
                    </a:cubicBezTo>
                    <a:cubicBezTo>
                      <a:pt x="1721" y="109"/>
                      <a:pt x="1721" y="109"/>
                      <a:pt x="1721" y="109"/>
                    </a:cubicBezTo>
                    <a:cubicBezTo>
                      <a:pt x="1720" y="109"/>
                      <a:pt x="1721" y="109"/>
                      <a:pt x="1720" y="108"/>
                    </a:cubicBezTo>
                    <a:cubicBezTo>
                      <a:pt x="1720" y="109"/>
                      <a:pt x="1720" y="109"/>
                      <a:pt x="1720" y="109"/>
                    </a:cubicBezTo>
                    <a:cubicBezTo>
                      <a:pt x="1720" y="108"/>
                      <a:pt x="1720" y="108"/>
                      <a:pt x="1720" y="108"/>
                    </a:cubicBezTo>
                    <a:cubicBezTo>
                      <a:pt x="1720" y="108"/>
                      <a:pt x="1720" y="108"/>
                      <a:pt x="1720" y="108"/>
                    </a:cubicBezTo>
                    <a:cubicBezTo>
                      <a:pt x="1720" y="108"/>
                      <a:pt x="1719" y="107"/>
                      <a:pt x="1719" y="107"/>
                    </a:cubicBezTo>
                    <a:cubicBezTo>
                      <a:pt x="1719" y="107"/>
                      <a:pt x="1719" y="107"/>
                      <a:pt x="1719" y="107"/>
                    </a:cubicBezTo>
                    <a:cubicBezTo>
                      <a:pt x="1719" y="107"/>
                      <a:pt x="1719" y="107"/>
                      <a:pt x="1719" y="107"/>
                    </a:cubicBezTo>
                    <a:cubicBezTo>
                      <a:pt x="1719" y="107"/>
                      <a:pt x="1719" y="107"/>
                      <a:pt x="1719" y="107"/>
                    </a:cubicBezTo>
                    <a:cubicBezTo>
                      <a:pt x="1718" y="106"/>
                      <a:pt x="1718" y="106"/>
                      <a:pt x="1718" y="106"/>
                    </a:cubicBezTo>
                    <a:cubicBezTo>
                      <a:pt x="1718" y="106"/>
                      <a:pt x="1718" y="106"/>
                      <a:pt x="1718" y="106"/>
                    </a:cubicBezTo>
                    <a:cubicBezTo>
                      <a:pt x="1717" y="105"/>
                      <a:pt x="1717" y="104"/>
                      <a:pt x="1716" y="104"/>
                    </a:cubicBezTo>
                    <a:cubicBezTo>
                      <a:pt x="1716" y="104"/>
                      <a:pt x="1716" y="104"/>
                      <a:pt x="1716" y="104"/>
                    </a:cubicBezTo>
                    <a:cubicBezTo>
                      <a:pt x="1715" y="104"/>
                      <a:pt x="1715" y="103"/>
                      <a:pt x="1715" y="103"/>
                    </a:cubicBezTo>
                    <a:cubicBezTo>
                      <a:pt x="1715" y="103"/>
                      <a:pt x="1715" y="103"/>
                      <a:pt x="1715" y="103"/>
                    </a:cubicBezTo>
                    <a:cubicBezTo>
                      <a:pt x="1715" y="103"/>
                      <a:pt x="1715" y="103"/>
                      <a:pt x="1715" y="103"/>
                    </a:cubicBezTo>
                    <a:cubicBezTo>
                      <a:pt x="1715" y="103"/>
                      <a:pt x="1715" y="103"/>
                      <a:pt x="1715" y="103"/>
                    </a:cubicBezTo>
                    <a:cubicBezTo>
                      <a:pt x="1714" y="102"/>
                      <a:pt x="1714" y="102"/>
                      <a:pt x="1714" y="102"/>
                    </a:cubicBezTo>
                    <a:cubicBezTo>
                      <a:pt x="1714" y="102"/>
                      <a:pt x="1714" y="102"/>
                      <a:pt x="1714" y="102"/>
                    </a:cubicBezTo>
                    <a:cubicBezTo>
                      <a:pt x="1714" y="102"/>
                      <a:pt x="1714" y="102"/>
                      <a:pt x="1713" y="102"/>
                    </a:cubicBezTo>
                    <a:cubicBezTo>
                      <a:pt x="1713" y="102"/>
                      <a:pt x="1713" y="102"/>
                      <a:pt x="1713" y="102"/>
                    </a:cubicBezTo>
                    <a:cubicBezTo>
                      <a:pt x="1713" y="101"/>
                      <a:pt x="1713" y="101"/>
                      <a:pt x="1712" y="101"/>
                    </a:cubicBezTo>
                    <a:cubicBezTo>
                      <a:pt x="1712" y="101"/>
                      <a:pt x="1712" y="101"/>
                      <a:pt x="1712" y="101"/>
                    </a:cubicBezTo>
                    <a:cubicBezTo>
                      <a:pt x="1712" y="101"/>
                      <a:pt x="1712" y="101"/>
                      <a:pt x="1712" y="100"/>
                    </a:cubicBezTo>
                    <a:cubicBezTo>
                      <a:pt x="1712" y="100"/>
                      <a:pt x="1712" y="100"/>
                      <a:pt x="1712" y="100"/>
                    </a:cubicBezTo>
                    <a:cubicBezTo>
                      <a:pt x="1711" y="100"/>
                      <a:pt x="1711" y="100"/>
                      <a:pt x="1711" y="100"/>
                    </a:cubicBezTo>
                    <a:cubicBezTo>
                      <a:pt x="1711" y="100"/>
                      <a:pt x="1711" y="100"/>
                      <a:pt x="1711" y="100"/>
                    </a:cubicBezTo>
                    <a:cubicBezTo>
                      <a:pt x="1710" y="100"/>
                      <a:pt x="1710" y="99"/>
                      <a:pt x="1710" y="99"/>
                    </a:cubicBezTo>
                    <a:cubicBezTo>
                      <a:pt x="1710" y="99"/>
                      <a:pt x="1710" y="99"/>
                      <a:pt x="1710" y="99"/>
                    </a:cubicBezTo>
                    <a:cubicBezTo>
                      <a:pt x="1710" y="99"/>
                      <a:pt x="1709" y="99"/>
                      <a:pt x="1709" y="99"/>
                    </a:cubicBezTo>
                    <a:cubicBezTo>
                      <a:pt x="1709" y="99"/>
                      <a:pt x="1709" y="99"/>
                      <a:pt x="1709" y="99"/>
                    </a:cubicBezTo>
                    <a:cubicBezTo>
                      <a:pt x="1708" y="98"/>
                      <a:pt x="1708" y="98"/>
                      <a:pt x="1708" y="98"/>
                    </a:cubicBezTo>
                    <a:cubicBezTo>
                      <a:pt x="1708" y="98"/>
                      <a:pt x="1708" y="98"/>
                      <a:pt x="1708" y="98"/>
                    </a:cubicBezTo>
                    <a:cubicBezTo>
                      <a:pt x="1707" y="98"/>
                      <a:pt x="1707" y="98"/>
                      <a:pt x="1707" y="98"/>
                    </a:cubicBezTo>
                    <a:cubicBezTo>
                      <a:pt x="1707" y="98"/>
                      <a:pt x="1707" y="98"/>
                      <a:pt x="1707" y="98"/>
                    </a:cubicBezTo>
                    <a:cubicBezTo>
                      <a:pt x="1706" y="97"/>
                      <a:pt x="1706" y="97"/>
                      <a:pt x="1706" y="97"/>
                    </a:cubicBezTo>
                    <a:cubicBezTo>
                      <a:pt x="1706" y="97"/>
                      <a:pt x="1706" y="97"/>
                      <a:pt x="1705" y="97"/>
                    </a:cubicBezTo>
                    <a:cubicBezTo>
                      <a:pt x="1705" y="97"/>
                      <a:pt x="1705" y="97"/>
                      <a:pt x="1705" y="97"/>
                    </a:cubicBezTo>
                    <a:cubicBezTo>
                      <a:pt x="1705" y="97"/>
                      <a:pt x="1704" y="97"/>
                      <a:pt x="1704" y="96"/>
                    </a:cubicBezTo>
                    <a:cubicBezTo>
                      <a:pt x="1704" y="96"/>
                      <a:pt x="1704" y="96"/>
                      <a:pt x="1704" y="96"/>
                    </a:cubicBezTo>
                    <a:cubicBezTo>
                      <a:pt x="1704" y="96"/>
                      <a:pt x="1703" y="96"/>
                      <a:pt x="1702" y="96"/>
                    </a:cubicBezTo>
                    <a:cubicBezTo>
                      <a:pt x="1702" y="96"/>
                      <a:pt x="1702" y="96"/>
                      <a:pt x="1702" y="96"/>
                    </a:cubicBezTo>
                    <a:cubicBezTo>
                      <a:pt x="1702" y="95"/>
                      <a:pt x="1702" y="95"/>
                      <a:pt x="1701" y="95"/>
                    </a:cubicBezTo>
                    <a:cubicBezTo>
                      <a:pt x="1701" y="95"/>
                      <a:pt x="1701" y="95"/>
                      <a:pt x="1701" y="95"/>
                    </a:cubicBezTo>
                    <a:cubicBezTo>
                      <a:pt x="1701" y="95"/>
                      <a:pt x="1701" y="95"/>
                      <a:pt x="1701" y="95"/>
                    </a:cubicBezTo>
                    <a:cubicBezTo>
                      <a:pt x="1700" y="95"/>
                      <a:pt x="1699" y="95"/>
                      <a:pt x="1699" y="95"/>
                    </a:cubicBezTo>
                    <a:cubicBezTo>
                      <a:pt x="1699" y="95"/>
                      <a:pt x="1699" y="95"/>
                      <a:pt x="1698" y="95"/>
                    </a:cubicBezTo>
                    <a:cubicBezTo>
                      <a:pt x="1698" y="94"/>
                      <a:pt x="1697" y="94"/>
                      <a:pt x="1697" y="94"/>
                    </a:cubicBezTo>
                    <a:cubicBezTo>
                      <a:pt x="1696" y="94"/>
                      <a:pt x="1696" y="94"/>
                      <a:pt x="1696" y="94"/>
                    </a:cubicBezTo>
                    <a:cubicBezTo>
                      <a:pt x="1695" y="93"/>
                      <a:pt x="1694" y="94"/>
                      <a:pt x="1693" y="94"/>
                    </a:cubicBezTo>
                    <a:cubicBezTo>
                      <a:pt x="1693" y="94"/>
                      <a:pt x="1692" y="94"/>
                      <a:pt x="1692" y="93"/>
                    </a:cubicBezTo>
                    <a:cubicBezTo>
                      <a:pt x="1687" y="93"/>
                      <a:pt x="1683" y="93"/>
                      <a:pt x="1679" y="93"/>
                    </a:cubicBezTo>
                    <a:cubicBezTo>
                      <a:pt x="1679" y="93"/>
                      <a:pt x="1678" y="93"/>
                      <a:pt x="1678" y="94"/>
                    </a:cubicBezTo>
                    <a:cubicBezTo>
                      <a:pt x="1677" y="94"/>
                      <a:pt x="1676" y="93"/>
                      <a:pt x="1675" y="94"/>
                    </a:cubicBezTo>
                    <a:cubicBezTo>
                      <a:pt x="1675" y="94"/>
                      <a:pt x="1675" y="94"/>
                      <a:pt x="1675" y="94"/>
                    </a:cubicBezTo>
                    <a:cubicBezTo>
                      <a:pt x="1674" y="95"/>
                      <a:pt x="1674" y="94"/>
                      <a:pt x="1673" y="95"/>
                    </a:cubicBezTo>
                    <a:cubicBezTo>
                      <a:pt x="1673" y="95"/>
                      <a:pt x="1672" y="95"/>
                      <a:pt x="1672" y="95"/>
                    </a:cubicBezTo>
                    <a:cubicBezTo>
                      <a:pt x="1672" y="95"/>
                      <a:pt x="1671" y="95"/>
                      <a:pt x="1671" y="95"/>
                    </a:cubicBezTo>
                    <a:cubicBezTo>
                      <a:pt x="1671" y="95"/>
                      <a:pt x="1671" y="95"/>
                      <a:pt x="1670" y="95"/>
                    </a:cubicBezTo>
                    <a:cubicBezTo>
                      <a:pt x="1670" y="95"/>
                      <a:pt x="1669" y="95"/>
                      <a:pt x="1669" y="96"/>
                    </a:cubicBezTo>
                    <a:cubicBezTo>
                      <a:pt x="1669" y="96"/>
                      <a:pt x="1669" y="96"/>
                      <a:pt x="1669" y="96"/>
                    </a:cubicBezTo>
                    <a:cubicBezTo>
                      <a:pt x="1668" y="96"/>
                      <a:pt x="1668" y="96"/>
                      <a:pt x="1667" y="96"/>
                    </a:cubicBezTo>
                    <a:cubicBezTo>
                      <a:pt x="1667" y="96"/>
                      <a:pt x="1667" y="96"/>
                      <a:pt x="1667" y="96"/>
                    </a:cubicBezTo>
                    <a:cubicBezTo>
                      <a:pt x="1667" y="96"/>
                      <a:pt x="1667" y="96"/>
                      <a:pt x="1667" y="96"/>
                    </a:cubicBezTo>
                    <a:cubicBezTo>
                      <a:pt x="1667" y="96"/>
                      <a:pt x="1666" y="97"/>
                      <a:pt x="1666" y="97"/>
                    </a:cubicBezTo>
                    <a:cubicBezTo>
                      <a:pt x="1666" y="97"/>
                      <a:pt x="1666" y="97"/>
                      <a:pt x="1666" y="97"/>
                    </a:cubicBezTo>
                    <a:cubicBezTo>
                      <a:pt x="1665" y="97"/>
                      <a:pt x="1665" y="97"/>
                      <a:pt x="1664" y="98"/>
                    </a:cubicBezTo>
                    <a:cubicBezTo>
                      <a:pt x="1664" y="98"/>
                      <a:pt x="1664" y="98"/>
                      <a:pt x="1664" y="98"/>
                    </a:cubicBezTo>
                    <a:cubicBezTo>
                      <a:pt x="1664" y="98"/>
                      <a:pt x="1664" y="98"/>
                      <a:pt x="1663" y="98"/>
                    </a:cubicBezTo>
                    <a:cubicBezTo>
                      <a:pt x="1663" y="98"/>
                      <a:pt x="1663" y="98"/>
                      <a:pt x="1663" y="98"/>
                    </a:cubicBezTo>
                    <a:cubicBezTo>
                      <a:pt x="1663" y="98"/>
                      <a:pt x="1662" y="98"/>
                      <a:pt x="1662" y="99"/>
                    </a:cubicBezTo>
                    <a:cubicBezTo>
                      <a:pt x="1662" y="99"/>
                      <a:pt x="1662" y="99"/>
                      <a:pt x="1662" y="99"/>
                    </a:cubicBezTo>
                    <a:cubicBezTo>
                      <a:pt x="1662" y="99"/>
                      <a:pt x="1661" y="99"/>
                      <a:pt x="1661" y="99"/>
                    </a:cubicBezTo>
                    <a:cubicBezTo>
                      <a:pt x="1661" y="99"/>
                      <a:pt x="1661" y="99"/>
                      <a:pt x="1661" y="99"/>
                    </a:cubicBezTo>
                    <a:cubicBezTo>
                      <a:pt x="1661" y="99"/>
                      <a:pt x="1661" y="100"/>
                      <a:pt x="1660" y="100"/>
                    </a:cubicBezTo>
                    <a:cubicBezTo>
                      <a:pt x="1660" y="100"/>
                      <a:pt x="1660" y="100"/>
                      <a:pt x="1660" y="100"/>
                    </a:cubicBezTo>
                    <a:cubicBezTo>
                      <a:pt x="1660" y="100"/>
                      <a:pt x="1660" y="100"/>
                      <a:pt x="1660" y="100"/>
                    </a:cubicBezTo>
                    <a:cubicBezTo>
                      <a:pt x="1660" y="100"/>
                      <a:pt x="1660" y="100"/>
                      <a:pt x="1659" y="100"/>
                    </a:cubicBezTo>
                    <a:cubicBezTo>
                      <a:pt x="1659" y="100"/>
                      <a:pt x="1659" y="100"/>
                      <a:pt x="1659" y="100"/>
                    </a:cubicBezTo>
                    <a:cubicBezTo>
                      <a:pt x="1659" y="101"/>
                      <a:pt x="1658" y="101"/>
                      <a:pt x="1658" y="101"/>
                    </a:cubicBezTo>
                    <a:cubicBezTo>
                      <a:pt x="1658" y="101"/>
                      <a:pt x="1658" y="101"/>
                      <a:pt x="1658" y="101"/>
                    </a:cubicBezTo>
                    <a:cubicBezTo>
                      <a:pt x="1658" y="101"/>
                      <a:pt x="1658" y="101"/>
                      <a:pt x="1658" y="102"/>
                    </a:cubicBezTo>
                    <a:cubicBezTo>
                      <a:pt x="1658" y="102"/>
                      <a:pt x="1658" y="102"/>
                      <a:pt x="1658" y="102"/>
                    </a:cubicBezTo>
                    <a:cubicBezTo>
                      <a:pt x="1657" y="102"/>
                      <a:pt x="1657" y="102"/>
                      <a:pt x="1657" y="102"/>
                    </a:cubicBezTo>
                    <a:cubicBezTo>
                      <a:pt x="1657" y="102"/>
                      <a:pt x="1657" y="102"/>
                      <a:pt x="1657" y="102"/>
                    </a:cubicBezTo>
                    <a:cubicBezTo>
                      <a:pt x="1656" y="102"/>
                      <a:pt x="1656" y="102"/>
                      <a:pt x="1656" y="103"/>
                    </a:cubicBezTo>
                    <a:cubicBezTo>
                      <a:pt x="1656" y="103"/>
                      <a:pt x="1656" y="103"/>
                      <a:pt x="1656" y="103"/>
                    </a:cubicBezTo>
                    <a:cubicBezTo>
                      <a:pt x="1656" y="103"/>
                      <a:pt x="1655" y="103"/>
                      <a:pt x="1655" y="103"/>
                    </a:cubicBezTo>
                    <a:cubicBezTo>
                      <a:pt x="1655" y="103"/>
                      <a:pt x="1655" y="103"/>
                      <a:pt x="1655" y="103"/>
                    </a:cubicBezTo>
                    <a:cubicBezTo>
                      <a:pt x="1655" y="103"/>
                      <a:pt x="1655" y="104"/>
                      <a:pt x="1655" y="104"/>
                    </a:cubicBezTo>
                    <a:cubicBezTo>
                      <a:pt x="1655" y="104"/>
                      <a:pt x="1655" y="104"/>
                      <a:pt x="1655" y="104"/>
                    </a:cubicBezTo>
                    <a:cubicBezTo>
                      <a:pt x="1654" y="104"/>
                      <a:pt x="1654" y="104"/>
                      <a:pt x="1654" y="105"/>
                    </a:cubicBezTo>
                    <a:cubicBezTo>
                      <a:pt x="1654" y="104"/>
                      <a:pt x="1654" y="104"/>
                      <a:pt x="1654" y="104"/>
                    </a:cubicBezTo>
                    <a:cubicBezTo>
                      <a:pt x="1653" y="105"/>
                      <a:pt x="1653" y="105"/>
                      <a:pt x="1653" y="105"/>
                    </a:cubicBezTo>
                    <a:cubicBezTo>
                      <a:pt x="1653" y="105"/>
                      <a:pt x="1653" y="105"/>
                      <a:pt x="1653" y="105"/>
                    </a:cubicBezTo>
                    <a:cubicBezTo>
                      <a:pt x="1653" y="105"/>
                      <a:pt x="1653" y="105"/>
                      <a:pt x="1652" y="106"/>
                    </a:cubicBezTo>
                    <a:cubicBezTo>
                      <a:pt x="1652" y="106"/>
                      <a:pt x="1652" y="106"/>
                      <a:pt x="1652" y="106"/>
                    </a:cubicBezTo>
                    <a:cubicBezTo>
                      <a:pt x="1652" y="106"/>
                      <a:pt x="1652" y="106"/>
                      <a:pt x="1652" y="106"/>
                    </a:cubicBezTo>
                    <a:cubicBezTo>
                      <a:pt x="1652" y="106"/>
                      <a:pt x="1652" y="106"/>
                      <a:pt x="1652" y="106"/>
                    </a:cubicBezTo>
                    <a:cubicBezTo>
                      <a:pt x="1652" y="106"/>
                      <a:pt x="1651" y="106"/>
                      <a:pt x="1651" y="107"/>
                    </a:cubicBezTo>
                    <a:cubicBezTo>
                      <a:pt x="1651" y="107"/>
                      <a:pt x="1651" y="107"/>
                      <a:pt x="1651" y="107"/>
                    </a:cubicBezTo>
                    <a:cubicBezTo>
                      <a:pt x="1651" y="107"/>
                      <a:pt x="1651" y="107"/>
                      <a:pt x="1651" y="107"/>
                    </a:cubicBezTo>
                    <a:cubicBezTo>
                      <a:pt x="1651" y="107"/>
                      <a:pt x="1651" y="107"/>
                      <a:pt x="1651" y="107"/>
                    </a:cubicBezTo>
                    <a:cubicBezTo>
                      <a:pt x="1650" y="107"/>
                      <a:pt x="1650" y="108"/>
                      <a:pt x="1650" y="108"/>
                    </a:cubicBezTo>
                    <a:cubicBezTo>
                      <a:pt x="1650" y="108"/>
                      <a:pt x="1650" y="108"/>
                      <a:pt x="1650" y="108"/>
                    </a:cubicBezTo>
                    <a:cubicBezTo>
                      <a:pt x="1650" y="108"/>
                      <a:pt x="1650" y="108"/>
                      <a:pt x="1650" y="108"/>
                    </a:cubicBezTo>
                    <a:cubicBezTo>
                      <a:pt x="1650" y="108"/>
                      <a:pt x="1650" y="108"/>
                      <a:pt x="1650" y="108"/>
                    </a:cubicBezTo>
                    <a:cubicBezTo>
                      <a:pt x="1649" y="109"/>
                      <a:pt x="1649" y="109"/>
                      <a:pt x="1649" y="109"/>
                    </a:cubicBezTo>
                    <a:cubicBezTo>
                      <a:pt x="1649" y="109"/>
                      <a:pt x="1649" y="109"/>
                      <a:pt x="1649" y="109"/>
                    </a:cubicBezTo>
                    <a:cubicBezTo>
                      <a:pt x="1649" y="109"/>
                      <a:pt x="1648" y="109"/>
                      <a:pt x="1648" y="110"/>
                    </a:cubicBezTo>
                    <a:cubicBezTo>
                      <a:pt x="1648" y="110"/>
                      <a:pt x="1648" y="110"/>
                      <a:pt x="1648" y="110"/>
                    </a:cubicBezTo>
                    <a:cubicBezTo>
                      <a:pt x="1648" y="110"/>
                      <a:pt x="1648" y="111"/>
                      <a:pt x="1647" y="111"/>
                    </a:cubicBezTo>
                    <a:cubicBezTo>
                      <a:pt x="1647" y="111"/>
                      <a:pt x="1647" y="111"/>
                      <a:pt x="1647" y="111"/>
                    </a:cubicBezTo>
                    <a:cubicBezTo>
                      <a:pt x="1647" y="111"/>
                      <a:pt x="1647" y="112"/>
                      <a:pt x="1647" y="112"/>
                    </a:cubicBezTo>
                    <a:cubicBezTo>
                      <a:pt x="1647" y="112"/>
                      <a:pt x="1647" y="112"/>
                      <a:pt x="1647" y="112"/>
                    </a:cubicBezTo>
                    <a:cubicBezTo>
                      <a:pt x="1646" y="112"/>
                      <a:pt x="1646" y="112"/>
                      <a:pt x="1646" y="113"/>
                    </a:cubicBezTo>
                    <a:cubicBezTo>
                      <a:pt x="1646" y="113"/>
                      <a:pt x="1646" y="113"/>
                      <a:pt x="1646" y="113"/>
                    </a:cubicBezTo>
                    <a:cubicBezTo>
                      <a:pt x="1646" y="113"/>
                      <a:pt x="1646" y="113"/>
                      <a:pt x="1645" y="114"/>
                    </a:cubicBezTo>
                    <a:cubicBezTo>
                      <a:pt x="1645" y="114"/>
                      <a:pt x="1645" y="114"/>
                      <a:pt x="1645" y="114"/>
                    </a:cubicBezTo>
                    <a:cubicBezTo>
                      <a:pt x="1645" y="114"/>
                      <a:pt x="1645" y="114"/>
                      <a:pt x="1645" y="114"/>
                    </a:cubicBezTo>
                    <a:cubicBezTo>
                      <a:pt x="1645" y="114"/>
                      <a:pt x="1645" y="114"/>
                      <a:pt x="1645" y="114"/>
                    </a:cubicBezTo>
                    <a:cubicBezTo>
                      <a:pt x="1645" y="114"/>
                      <a:pt x="1645" y="115"/>
                      <a:pt x="1644" y="115"/>
                    </a:cubicBezTo>
                    <a:cubicBezTo>
                      <a:pt x="1644" y="115"/>
                      <a:pt x="1644" y="115"/>
                      <a:pt x="1644" y="115"/>
                    </a:cubicBezTo>
                    <a:cubicBezTo>
                      <a:pt x="1644" y="116"/>
                      <a:pt x="1644" y="116"/>
                      <a:pt x="1644" y="116"/>
                    </a:cubicBezTo>
                    <a:cubicBezTo>
                      <a:pt x="1644" y="116"/>
                      <a:pt x="1644" y="116"/>
                      <a:pt x="1644" y="116"/>
                    </a:cubicBezTo>
                    <a:cubicBezTo>
                      <a:pt x="1643" y="116"/>
                      <a:pt x="1644" y="117"/>
                      <a:pt x="1643" y="117"/>
                    </a:cubicBezTo>
                    <a:cubicBezTo>
                      <a:pt x="1643" y="117"/>
                      <a:pt x="1643" y="117"/>
                      <a:pt x="1643" y="117"/>
                    </a:cubicBezTo>
                    <a:cubicBezTo>
                      <a:pt x="1643" y="117"/>
                      <a:pt x="1643" y="117"/>
                      <a:pt x="1643" y="118"/>
                    </a:cubicBezTo>
                    <a:cubicBezTo>
                      <a:pt x="1643" y="118"/>
                      <a:pt x="1643" y="118"/>
                      <a:pt x="1643" y="118"/>
                    </a:cubicBezTo>
                    <a:cubicBezTo>
                      <a:pt x="1642" y="118"/>
                      <a:pt x="1642" y="118"/>
                      <a:pt x="1642" y="119"/>
                    </a:cubicBezTo>
                    <a:cubicBezTo>
                      <a:pt x="1642" y="119"/>
                      <a:pt x="1642" y="119"/>
                      <a:pt x="1642" y="119"/>
                    </a:cubicBezTo>
                    <a:cubicBezTo>
                      <a:pt x="1642" y="119"/>
                      <a:pt x="1642" y="120"/>
                      <a:pt x="1641" y="120"/>
                    </a:cubicBezTo>
                    <a:cubicBezTo>
                      <a:pt x="1641" y="120"/>
                      <a:pt x="1641" y="120"/>
                      <a:pt x="1641" y="120"/>
                    </a:cubicBezTo>
                    <a:cubicBezTo>
                      <a:pt x="1641" y="120"/>
                      <a:pt x="1641" y="121"/>
                      <a:pt x="1641" y="121"/>
                    </a:cubicBezTo>
                    <a:cubicBezTo>
                      <a:pt x="1641" y="121"/>
                      <a:pt x="1641" y="121"/>
                      <a:pt x="1641" y="121"/>
                    </a:cubicBezTo>
                    <a:cubicBezTo>
                      <a:pt x="1640" y="121"/>
                      <a:pt x="1641" y="122"/>
                      <a:pt x="1640" y="122"/>
                    </a:cubicBezTo>
                    <a:cubicBezTo>
                      <a:pt x="1640" y="122"/>
                      <a:pt x="1640" y="122"/>
                      <a:pt x="1640" y="122"/>
                    </a:cubicBezTo>
                    <a:cubicBezTo>
                      <a:pt x="1640" y="123"/>
                      <a:pt x="1640" y="123"/>
                      <a:pt x="1640" y="123"/>
                    </a:cubicBezTo>
                    <a:cubicBezTo>
                      <a:pt x="1640" y="123"/>
                      <a:pt x="1640" y="123"/>
                      <a:pt x="1640" y="123"/>
                    </a:cubicBezTo>
                    <a:cubicBezTo>
                      <a:pt x="1639" y="124"/>
                      <a:pt x="1639" y="124"/>
                      <a:pt x="1639" y="125"/>
                    </a:cubicBezTo>
                    <a:cubicBezTo>
                      <a:pt x="1639" y="125"/>
                      <a:pt x="1639" y="125"/>
                      <a:pt x="1639" y="125"/>
                    </a:cubicBezTo>
                    <a:cubicBezTo>
                      <a:pt x="1639" y="125"/>
                      <a:pt x="1639" y="126"/>
                      <a:pt x="1639" y="126"/>
                    </a:cubicBezTo>
                    <a:cubicBezTo>
                      <a:pt x="1639" y="126"/>
                      <a:pt x="1639" y="126"/>
                      <a:pt x="1639" y="126"/>
                    </a:cubicBezTo>
                    <a:cubicBezTo>
                      <a:pt x="1638" y="127"/>
                      <a:pt x="1638" y="127"/>
                      <a:pt x="1638" y="128"/>
                    </a:cubicBezTo>
                    <a:cubicBezTo>
                      <a:pt x="1638" y="128"/>
                      <a:pt x="1638" y="128"/>
                      <a:pt x="1638" y="128"/>
                    </a:cubicBezTo>
                    <a:cubicBezTo>
                      <a:pt x="1638" y="128"/>
                      <a:pt x="1638" y="129"/>
                      <a:pt x="1637" y="129"/>
                    </a:cubicBezTo>
                    <a:cubicBezTo>
                      <a:pt x="1638" y="129"/>
                      <a:pt x="1637" y="130"/>
                      <a:pt x="1637" y="130"/>
                    </a:cubicBezTo>
                    <a:cubicBezTo>
                      <a:pt x="1637" y="130"/>
                      <a:pt x="1637" y="131"/>
                      <a:pt x="1637" y="131"/>
                    </a:cubicBezTo>
                    <a:cubicBezTo>
                      <a:pt x="1637" y="131"/>
                      <a:pt x="1637" y="131"/>
                      <a:pt x="1637" y="131"/>
                    </a:cubicBezTo>
                    <a:cubicBezTo>
                      <a:pt x="1636" y="132"/>
                      <a:pt x="1637" y="133"/>
                      <a:pt x="1636" y="133"/>
                    </a:cubicBezTo>
                    <a:cubicBezTo>
                      <a:pt x="1636" y="133"/>
                      <a:pt x="1636" y="133"/>
                      <a:pt x="1636" y="133"/>
                    </a:cubicBezTo>
                    <a:cubicBezTo>
                      <a:pt x="1636" y="134"/>
                      <a:pt x="1636" y="135"/>
                      <a:pt x="1636" y="135"/>
                    </a:cubicBezTo>
                    <a:cubicBezTo>
                      <a:pt x="1636" y="135"/>
                      <a:pt x="1636" y="135"/>
                      <a:pt x="1636" y="135"/>
                    </a:cubicBezTo>
                    <a:cubicBezTo>
                      <a:pt x="1636" y="135"/>
                      <a:pt x="1636" y="135"/>
                      <a:pt x="1636" y="135"/>
                    </a:cubicBezTo>
                    <a:cubicBezTo>
                      <a:pt x="1635" y="136"/>
                      <a:pt x="1636" y="137"/>
                      <a:pt x="1635" y="138"/>
                    </a:cubicBezTo>
                    <a:cubicBezTo>
                      <a:pt x="1635" y="138"/>
                      <a:pt x="1635" y="138"/>
                      <a:pt x="1635" y="138"/>
                    </a:cubicBezTo>
                    <a:cubicBezTo>
                      <a:pt x="1634" y="139"/>
                      <a:pt x="1635" y="140"/>
                      <a:pt x="1635" y="141"/>
                    </a:cubicBezTo>
                    <a:cubicBezTo>
                      <a:pt x="1635" y="142"/>
                      <a:pt x="1634" y="142"/>
                      <a:pt x="1634" y="142"/>
                    </a:cubicBezTo>
                    <a:cubicBezTo>
                      <a:pt x="1634" y="144"/>
                      <a:pt x="1635" y="146"/>
                      <a:pt x="1634" y="147"/>
                    </a:cubicBezTo>
                    <a:cubicBezTo>
                      <a:pt x="1634" y="151"/>
                      <a:pt x="1634" y="154"/>
                      <a:pt x="1634" y="158"/>
                    </a:cubicBezTo>
                    <a:cubicBezTo>
                      <a:pt x="1635" y="159"/>
                      <a:pt x="1634" y="161"/>
                      <a:pt x="1634" y="163"/>
                    </a:cubicBezTo>
                    <a:cubicBezTo>
                      <a:pt x="1635" y="163"/>
                      <a:pt x="1635" y="164"/>
                      <a:pt x="1635" y="164"/>
                    </a:cubicBezTo>
                    <a:cubicBezTo>
                      <a:pt x="1635" y="165"/>
                      <a:pt x="1634" y="166"/>
                      <a:pt x="1635" y="167"/>
                    </a:cubicBezTo>
                    <a:cubicBezTo>
                      <a:pt x="1635" y="167"/>
                      <a:pt x="1635" y="167"/>
                      <a:pt x="1635" y="168"/>
                    </a:cubicBezTo>
                    <a:cubicBezTo>
                      <a:pt x="1636" y="168"/>
                      <a:pt x="1635" y="169"/>
                      <a:pt x="1636" y="170"/>
                    </a:cubicBezTo>
                    <a:cubicBezTo>
                      <a:pt x="1636" y="170"/>
                      <a:pt x="1636" y="170"/>
                      <a:pt x="1636" y="171"/>
                    </a:cubicBezTo>
                    <a:cubicBezTo>
                      <a:pt x="1636" y="171"/>
                      <a:pt x="1636" y="172"/>
                      <a:pt x="1636" y="172"/>
                    </a:cubicBezTo>
                    <a:cubicBezTo>
                      <a:pt x="1636" y="172"/>
                      <a:pt x="1636" y="173"/>
                      <a:pt x="1636" y="173"/>
                    </a:cubicBezTo>
                    <a:cubicBezTo>
                      <a:pt x="1637" y="173"/>
                      <a:pt x="1636" y="174"/>
                      <a:pt x="1637" y="175"/>
                    </a:cubicBezTo>
                    <a:cubicBezTo>
                      <a:pt x="1637" y="175"/>
                      <a:pt x="1637" y="175"/>
                      <a:pt x="1637" y="175"/>
                    </a:cubicBezTo>
                    <a:cubicBezTo>
                      <a:pt x="1637" y="176"/>
                      <a:pt x="1637" y="176"/>
                      <a:pt x="1637" y="177"/>
                    </a:cubicBezTo>
                    <a:cubicBezTo>
                      <a:pt x="1637" y="177"/>
                      <a:pt x="1637" y="177"/>
                      <a:pt x="1637" y="177"/>
                    </a:cubicBezTo>
                    <a:cubicBezTo>
                      <a:pt x="1638" y="177"/>
                      <a:pt x="1637" y="178"/>
                      <a:pt x="1638" y="179"/>
                    </a:cubicBezTo>
                    <a:cubicBezTo>
                      <a:pt x="1638" y="179"/>
                      <a:pt x="1638" y="179"/>
                      <a:pt x="1638" y="179"/>
                    </a:cubicBezTo>
                    <a:cubicBezTo>
                      <a:pt x="1638" y="179"/>
                      <a:pt x="1638" y="179"/>
                      <a:pt x="1638" y="180"/>
                    </a:cubicBezTo>
                    <a:cubicBezTo>
                      <a:pt x="1639" y="180"/>
                      <a:pt x="1639" y="180"/>
                      <a:pt x="1639" y="180"/>
                    </a:cubicBezTo>
                    <a:cubicBezTo>
                      <a:pt x="1639" y="181"/>
                      <a:pt x="1639" y="181"/>
                      <a:pt x="1639" y="182"/>
                    </a:cubicBezTo>
                    <a:cubicBezTo>
                      <a:pt x="1639" y="181"/>
                      <a:pt x="1639" y="181"/>
                      <a:pt x="1639" y="181"/>
                    </a:cubicBezTo>
                    <a:cubicBezTo>
                      <a:pt x="1639" y="182"/>
                      <a:pt x="1639" y="182"/>
                      <a:pt x="1640" y="183"/>
                    </a:cubicBezTo>
                    <a:cubicBezTo>
                      <a:pt x="1640" y="183"/>
                      <a:pt x="1640" y="183"/>
                      <a:pt x="1640" y="183"/>
                    </a:cubicBezTo>
                    <a:cubicBezTo>
                      <a:pt x="1640" y="183"/>
                      <a:pt x="1640" y="184"/>
                      <a:pt x="1640" y="184"/>
                    </a:cubicBezTo>
                    <a:cubicBezTo>
                      <a:pt x="1640" y="184"/>
                      <a:pt x="1640" y="184"/>
                      <a:pt x="1640" y="184"/>
                    </a:cubicBezTo>
                    <a:cubicBezTo>
                      <a:pt x="1641" y="184"/>
                      <a:pt x="1641" y="185"/>
                      <a:pt x="1641" y="185"/>
                    </a:cubicBezTo>
                    <a:cubicBezTo>
                      <a:pt x="1641" y="185"/>
                      <a:pt x="1641" y="185"/>
                      <a:pt x="1641" y="185"/>
                    </a:cubicBezTo>
                    <a:cubicBezTo>
                      <a:pt x="1641" y="185"/>
                      <a:pt x="1641" y="186"/>
                      <a:pt x="1641" y="186"/>
                    </a:cubicBezTo>
                    <a:cubicBezTo>
                      <a:pt x="1641" y="186"/>
                      <a:pt x="1641" y="186"/>
                      <a:pt x="1641" y="186"/>
                    </a:cubicBezTo>
                    <a:cubicBezTo>
                      <a:pt x="1642" y="186"/>
                      <a:pt x="1642" y="187"/>
                      <a:pt x="1642" y="187"/>
                    </a:cubicBezTo>
                    <a:cubicBezTo>
                      <a:pt x="1642" y="187"/>
                      <a:pt x="1642" y="187"/>
                      <a:pt x="1642" y="187"/>
                    </a:cubicBezTo>
                    <a:cubicBezTo>
                      <a:pt x="1642" y="188"/>
                      <a:pt x="1642" y="188"/>
                      <a:pt x="1643" y="188"/>
                    </a:cubicBezTo>
                    <a:cubicBezTo>
                      <a:pt x="1643" y="188"/>
                      <a:pt x="1643" y="188"/>
                      <a:pt x="1643" y="188"/>
                    </a:cubicBezTo>
                    <a:cubicBezTo>
                      <a:pt x="1643" y="189"/>
                      <a:pt x="1643" y="189"/>
                      <a:pt x="1643" y="189"/>
                    </a:cubicBezTo>
                    <a:cubicBezTo>
                      <a:pt x="1643" y="189"/>
                      <a:pt x="1643" y="189"/>
                      <a:pt x="1643" y="189"/>
                    </a:cubicBezTo>
                    <a:cubicBezTo>
                      <a:pt x="1644" y="189"/>
                      <a:pt x="1643" y="190"/>
                      <a:pt x="1644" y="190"/>
                    </a:cubicBezTo>
                    <a:cubicBezTo>
                      <a:pt x="1644" y="190"/>
                      <a:pt x="1644" y="190"/>
                      <a:pt x="1644" y="190"/>
                    </a:cubicBezTo>
                    <a:cubicBezTo>
                      <a:pt x="1644" y="190"/>
                      <a:pt x="1644" y="191"/>
                      <a:pt x="1644" y="191"/>
                    </a:cubicBezTo>
                    <a:cubicBezTo>
                      <a:pt x="1644" y="191"/>
                      <a:pt x="1644" y="191"/>
                      <a:pt x="1644" y="191"/>
                    </a:cubicBezTo>
                    <a:cubicBezTo>
                      <a:pt x="1645" y="191"/>
                      <a:pt x="1644" y="192"/>
                      <a:pt x="1645" y="192"/>
                    </a:cubicBezTo>
                    <a:cubicBezTo>
                      <a:pt x="1645" y="192"/>
                      <a:pt x="1645" y="192"/>
                      <a:pt x="1645" y="192"/>
                    </a:cubicBezTo>
                    <a:cubicBezTo>
                      <a:pt x="1645" y="192"/>
                      <a:pt x="1645" y="192"/>
                      <a:pt x="1646" y="192"/>
                    </a:cubicBezTo>
                    <a:cubicBezTo>
                      <a:pt x="1645" y="192"/>
                      <a:pt x="1645" y="192"/>
                      <a:pt x="1645" y="192"/>
                    </a:cubicBezTo>
                    <a:cubicBezTo>
                      <a:pt x="1646" y="193"/>
                      <a:pt x="1646" y="193"/>
                      <a:pt x="1646" y="193"/>
                    </a:cubicBezTo>
                    <a:cubicBezTo>
                      <a:pt x="1646" y="193"/>
                      <a:pt x="1646" y="193"/>
                      <a:pt x="1646" y="193"/>
                    </a:cubicBezTo>
                    <a:cubicBezTo>
                      <a:pt x="1647" y="194"/>
                      <a:pt x="1647" y="194"/>
                      <a:pt x="1647" y="195"/>
                    </a:cubicBezTo>
                    <a:cubicBezTo>
                      <a:pt x="1647" y="195"/>
                      <a:pt x="1647" y="195"/>
                      <a:pt x="1647" y="195"/>
                    </a:cubicBezTo>
                    <a:cubicBezTo>
                      <a:pt x="1647" y="195"/>
                      <a:pt x="1648" y="195"/>
                      <a:pt x="1648" y="195"/>
                    </a:cubicBezTo>
                    <a:cubicBezTo>
                      <a:pt x="1648" y="195"/>
                      <a:pt x="1648" y="195"/>
                      <a:pt x="1648" y="195"/>
                    </a:cubicBezTo>
                    <a:cubicBezTo>
                      <a:pt x="1648" y="196"/>
                      <a:pt x="1648" y="196"/>
                      <a:pt x="1648" y="196"/>
                    </a:cubicBezTo>
                    <a:cubicBezTo>
                      <a:pt x="1648" y="196"/>
                      <a:pt x="1648" y="196"/>
                      <a:pt x="1648" y="196"/>
                    </a:cubicBezTo>
                    <a:cubicBezTo>
                      <a:pt x="1648" y="196"/>
                      <a:pt x="1649" y="196"/>
                      <a:pt x="1649" y="196"/>
                    </a:cubicBezTo>
                    <a:cubicBezTo>
                      <a:pt x="1649" y="196"/>
                      <a:pt x="1649" y="196"/>
                      <a:pt x="1649" y="196"/>
                    </a:cubicBezTo>
                    <a:cubicBezTo>
                      <a:pt x="1649" y="197"/>
                      <a:pt x="1649" y="197"/>
                      <a:pt x="1650" y="197"/>
                    </a:cubicBezTo>
                    <a:cubicBezTo>
                      <a:pt x="1650" y="197"/>
                      <a:pt x="1650" y="197"/>
                      <a:pt x="1650" y="197"/>
                    </a:cubicBezTo>
                    <a:cubicBezTo>
                      <a:pt x="1650" y="197"/>
                      <a:pt x="1650" y="197"/>
                      <a:pt x="1650" y="198"/>
                    </a:cubicBezTo>
                    <a:cubicBezTo>
                      <a:pt x="1650" y="198"/>
                      <a:pt x="1650" y="198"/>
                      <a:pt x="1650" y="198"/>
                    </a:cubicBezTo>
                    <a:cubicBezTo>
                      <a:pt x="1650" y="198"/>
                      <a:pt x="1650" y="198"/>
                      <a:pt x="1651" y="198"/>
                    </a:cubicBezTo>
                    <a:cubicBezTo>
                      <a:pt x="1651" y="198"/>
                      <a:pt x="1651" y="198"/>
                      <a:pt x="1651" y="198"/>
                    </a:cubicBezTo>
                    <a:cubicBezTo>
                      <a:pt x="1651" y="198"/>
                      <a:pt x="1651" y="199"/>
                      <a:pt x="1651" y="199"/>
                    </a:cubicBezTo>
                    <a:cubicBezTo>
                      <a:pt x="1651" y="199"/>
                      <a:pt x="1651" y="199"/>
                      <a:pt x="1651" y="199"/>
                    </a:cubicBezTo>
                    <a:cubicBezTo>
                      <a:pt x="1652" y="199"/>
                      <a:pt x="1652" y="199"/>
                      <a:pt x="1653" y="200"/>
                    </a:cubicBezTo>
                    <a:cubicBezTo>
                      <a:pt x="1653" y="200"/>
                      <a:pt x="1653" y="200"/>
                      <a:pt x="1653" y="200"/>
                    </a:cubicBezTo>
                    <a:cubicBezTo>
                      <a:pt x="1653" y="200"/>
                      <a:pt x="1653" y="200"/>
                      <a:pt x="1654" y="201"/>
                    </a:cubicBezTo>
                    <a:cubicBezTo>
                      <a:pt x="1654" y="201"/>
                      <a:pt x="1654" y="201"/>
                      <a:pt x="1654" y="201"/>
                    </a:cubicBezTo>
                    <a:cubicBezTo>
                      <a:pt x="1654" y="201"/>
                      <a:pt x="1654" y="201"/>
                      <a:pt x="1654" y="201"/>
                    </a:cubicBezTo>
                    <a:cubicBezTo>
                      <a:pt x="1654" y="201"/>
                      <a:pt x="1654" y="201"/>
                      <a:pt x="1654" y="201"/>
                    </a:cubicBezTo>
                    <a:cubicBezTo>
                      <a:pt x="1654" y="201"/>
                      <a:pt x="1655" y="201"/>
                      <a:pt x="1655" y="202"/>
                    </a:cubicBezTo>
                    <a:cubicBezTo>
                      <a:pt x="1655" y="202"/>
                      <a:pt x="1655" y="202"/>
                      <a:pt x="1655" y="202"/>
                    </a:cubicBezTo>
                    <a:cubicBezTo>
                      <a:pt x="1655" y="202"/>
                      <a:pt x="1656" y="202"/>
                      <a:pt x="1656" y="202"/>
                    </a:cubicBezTo>
                    <a:cubicBezTo>
                      <a:pt x="1656" y="202"/>
                      <a:pt x="1656" y="202"/>
                      <a:pt x="1656" y="202"/>
                    </a:cubicBezTo>
                    <a:cubicBezTo>
                      <a:pt x="1656" y="203"/>
                      <a:pt x="1657" y="202"/>
                      <a:pt x="1657" y="203"/>
                    </a:cubicBezTo>
                    <a:cubicBezTo>
                      <a:pt x="1657" y="203"/>
                      <a:pt x="1657" y="203"/>
                      <a:pt x="1657" y="203"/>
                    </a:cubicBezTo>
                    <a:cubicBezTo>
                      <a:pt x="1657" y="203"/>
                      <a:pt x="1657" y="203"/>
                      <a:pt x="1658" y="203"/>
                    </a:cubicBezTo>
                    <a:cubicBezTo>
                      <a:pt x="1658" y="203"/>
                      <a:pt x="1658" y="203"/>
                      <a:pt x="1658" y="203"/>
                    </a:cubicBezTo>
                    <a:cubicBezTo>
                      <a:pt x="1658" y="204"/>
                      <a:pt x="1658" y="204"/>
                      <a:pt x="1659" y="204"/>
                    </a:cubicBezTo>
                    <a:cubicBezTo>
                      <a:pt x="1659" y="204"/>
                      <a:pt x="1659" y="204"/>
                      <a:pt x="1659" y="204"/>
                    </a:cubicBezTo>
                    <a:cubicBezTo>
                      <a:pt x="1659" y="204"/>
                      <a:pt x="1660" y="204"/>
                      <a:pt x="1660" y="205"/>
                    </a:cubicBezTo>
                    <a:cubicBezTo>
                      <a:pt x="1660" y="205"/>
                      <a:pt x="1660" y="205"/>
                      <a:pt x="1660" y="205"/>
                    </a:cubicBezTo>
                    <a:cubicBezTo>
                      <a:pt x="1660" y="205"/>
                      <a:pt x="1661" y="205"/>
                      <a:pt x="1661" y="205"/>
                    </a:cubicBezTo>
                    <a:cubicBezTo>
                      <a:pt x="1661" y="205"/>
                      <a:pt x="1661" y="205"/>
                      <a:pt x="1661" y="205"/>
                    </a:cubicBezTo>
                    <a:cubicBezTo>
                      <a:pt x="1661" y="206"/>
                      <a:pt x="1662" y="205"/>
                      <a:pt x="1662" y="206"/>
                    </a:cubicBezTo>
                    <a:cubicBezTo>
                      <a:pt x="1662" y="206"/>
                      <a:pt x="1662" y="206"/>
                      <a:pt x="1662" y="206"/>
                    </a:cubicBezTo>
                    <a:cubicBezTo>
                      <a:pt x="1662" y="206"/>
                      <a:pt x="1663" y="206"/>
                      <a:pt x="1663" y="206"/>
                    </a:cubicBezTo>
                    <a:cubicBezTo>
                      <a:pt x="1663" y="206"/>
                      <a:pt x="1663" y="206"/>
                      <a:pt x="1663" y="206"/>
                    </a:cubicBezTo>
                    <a:cubicBezTo>
                      <a:pt x="1664" y="207"/>
                      <a:pt x="1665" y="206"/>
                      <a:pt x="1665" y="207"/>
                    </a:cubicBezTo>
                    <a:cubicBezTo>
                      <a:pt x="1665" y="207"/>
                      <a:pt x="1665" y="207"/>
                      <a:pt x="1665" y="207"/>
                    </a:cubicBezTo>
                    <a:cubicBezTo>
                      <a:pt x="1665" y="207"/>
                      <a:pt x="1666" y="207"/>
                      <a:pt x="1667" y="207"/>
                    </a:cubicBezTo>
                    <a:cubicBezTo>
                      <a:pt x="1667" y="207"/>
                      <a:pt x="1667" y="207"/>
                      <a:pt x="1667" y="207"/>
                    </a:cubicBezTo>
                    <a:cubicBezTo>
                      <a:pt x="1667" y="208"/>
                      <a:pt x="1668" y="208"/>
                      <a:pt x="1669" y="208"/>
                    </a:cubicBezTo>
                    <a:cubicBezTo>
                      <a:pt x="1669" y="208"/>
                      <a:pt x="1669" y="208"/>
                      <a:pt x="1669" y="208"/>
                    </a:cubicBezTo>
                    <a:cubicBezTo>
                      <a:pt x="1669" y="209"/>
                      <a:pt x="1670" y="208"/>
                      <a:pt x="1671" y="209"/>
                    </a:cubicBezTo>
                    <a:cubicBezTo>
                      <a:pt x="1671" y="209"/>
                      <a:pt x="1671" y="209"/>
                      <a:pt x="1671" y="209"/>
                    </a:cubicBezTo>
                    <a:cubicBezTo>
                      <a:pt x="1672" y="209"/>
                      <a:pt x="1673" y="209"/>
                      <a:pt x="1674" y="209"/>
                    </a:cubicBezTo>
                    <a:cubicBezTo>
                      <a:pt x="1674" y="209"/>
                      <a:pt x="1674" y="209"/>
                      <a:pt x="1674" y="209"/>
                    </a:cubicBezTo>
                    <a:cubicBezTo>
                      <a:pt x="1674" y="209"/>
                      <a:pt x="1674" y="209"/>
                      <a:pt x="1674" y="209"/>
                    </a:cubicBezTo>
                    <a:cubicBezTo>
                      <a:pt x="1675" y="210"/>
                      <a:pt x="1677" y="209"/>
                      <a:pt x="1678" y="210"/>
                    </a:cubicBezTo>
                    <a:cubicBezTo>
                      <a:pt x="1678" y="210"/>
                      <a:pt x="1679" y="210"/>
                      <a:pt x="1679" y="210"/>
                    </a:cubicBezTo>
                    <a:cubicBezTo>
                      <a:pt x="1683" y="210"/>
                      <a:pt x="1687" y="210"/>
                      <a:pt x="1692" y="210"/>
                    </a:cubicBezTo>
                    <a:cubicBezTo>
                      <a:pt x="1692" y="210"/>
                      <a:pt x="1692" y="210"/>
                      <a:pt x="1693" y="210"/>
                    </a:cubicBezTo>
                    <a:cubicBezTo>
                      <a:pt x="1694" y="209"/>
                      <a:pt x="1696" y="210"/>
                      <a:pt x="1697" y="209"/>
                    </a:cubicBezTo>
                    <a:cubicBezTo>
                      <a:pt x="1697" y="209"/>
                      <a:pt x="1697" y="209"/>
                      <a:pt x="1697" y="209"/>
                    </a:cubicBezTo>
                    <a:cubicBezTo>
                      <a:pt x="1698" y="209"/>
                      <a:pt x="1698" y="209"/>
                      <a:pt x="1698" y="209"/>
                    </a:cubicBezTo>
                    <a:cubicBezTo>
                      <a:pt x="1699" y="209"/>
                      <a:pt x="1700" y="209"/>
                      <a:pt x="1701" y="209"/>
                    </a:cubicBezTo>
                    <a:cubicBezTo>
                      <a:pt x="1701" y="208"/>
                      <a:pt x="1701" y="208"/>
                      <a:pt x="1701" y="208"/>
                    </a:cubicBezTo>
                    <a:cubicBezTo>
                      <a:pt x="1701" y="209"/>
                      <a:pt x="1701" y="209"/>
                      <a:pt x="1701" y="209"/>
                    </a:cubicBezTo>
                    <a:cubicBezTo>
                      <a:pt x="1702" y="208"/>
                      <a:pt x="1703" y="209"/>
                      <a:pt x="1704" y="208"/>
                    </a:cubicBezTo>
                    <a:cubicBezTo>
                      <a:pt x="1704" y="208"/>
                      <a:pt x="1704" y="208"/>
                      <a:pt x="1704" y="208"/>
                    </a:cubicBezTo>
                    <a:cubicBezTo>
                      <a:pt x="1704" y="207"/>
                      <a:pt x="1705" y="208"/>
                      <a:pt x="1706" y="207"/>
                    </a:cubicBezTo>
                    <a:cubicBezTo>
                      <a:pt x="1706" y="207"/>
                      <a:pt x="1706" y="207"/>
                      <a:pt x="1706" y="207"/>
                    </a:cubicBezTo>
                    <a:cubicBezTo>
                      <a:pt x="1706" y="207"/>
                      <a:pt x="1707" y="207"/>
                      <a:pt x="1708" y="207"/>
                    </a:cubicBezTo>
                    <a:cubicBezTo>
                      <a:pt x="1708" y="207"/>
                      <a:pt x="1708" y="207"/>
                      <a:pt x="1708" y="207"/>
                    </a:cubicBezTo>
                    <a:cubicBezTo>
                      <a:pt x="1708" y="207"/>
                      <a:pt x="1708" y="207"/>
                      <a:pt x="1708" y="207"/>
                    </a:cubicBezTo>
                    <a:cubicBezTo>
                      <a:pt x="1709" y="206"/>
                      <a:pt x="1709" y="207"/>
                      <a:pt x="1710" y="206"/>
                    </a:cubicBezTo>
                    <a:cubicBezTo>
                      <a:pt x="1710" y="206"/>
                      <a:pt x="1710" y="206"/>
                      <a:pt x="1710" y="206"/>
                    </a:cubicBezTo>
                    <a:cubicBezTo>
                      <a:pt x="1710" y="206"/>
                      <a:pt x="1711" y="206"/>
                      <a:pt x="1711" y="206"/>
                    </a:cubicBezTo>
                    <a:cubicBezTo>
                      <a:pt x="1711" y="206"/>
                      <a:pt x="1711" y="206"/>
                      <a:pt x="1711" y="206"/>
                    </a:cubicBezTo>
                    <a:cubicBezTo>
                      <a:pt x="1711" y="206"/>
                      <a:pt x="1711" y="206"/>
                      <a:pt x="1711" y="206"/>
                    </a:cubicBezTo>
                    <a:cubicBezTo>
                      <a:pt x="1712" y="205"/>
                      <a:pt x="1712" y="206"/>
                      <a:pt x="1713" y="205"/>
                    </a:cubicBezTo>
                    <a:cubicBezTo>
                      <a:pt x="1713" y="205"/>
                      <a:pt x="1713" y="205"/>
                      <a:pt x="1713" y="205"/>
                    </a:cubicBezTo>
                    <a:cubicBezTo>
                      <a:pt x="1713" y="205"/>
                      <a:pt x="1714" y="205"/>
                      <a:pt x="1714" y="205"/>
                    </a:cubicBezTo>
                    <a:cubicBezTo>
                      <a:pt x="1714" y="205"/>
                      <a:pt x="1714" y="205"/>
                      <a:pt x="1714" y="205"/>
                    </a:cubicBezTo>
                    <a:cubicBezTo>
                      <a:pt x="1714" y="204"/>
                      <a:pt x="1715" y="205"/>
                      <a:pt x="1716" y="204"/>
                    </a:cubicBezTo>
                    <a:cubicBezTo>
                      <a:pt x="1716" y="204"/>
                      <a:pt x="1716" y="204"/>
                      <a:pt x="1716" y="204"/>
                    </a:cubicBezTo>
                    <a:cubicBezTo>
                      <a:pt x="1716" y="204"/>
                      <a:pt x="1716" y="204"/>
                      <a:pt x="1716" y="204"/>
                    </a:cubicBezTo>
                    <a:cubicBezTo>
                      <a:pt x="1716" y="204"/>
                      <a:pt x="1717" y="204"/>
                      <a:pt x="1717" y="203"/>
                    </a:cubicBezTo>
                    <a:cubicBezTo>
                      <a:pt x="1717" y="203"/>
                      <a:pt x="1717" y="203"/>
                      <a:pt x="1717" y="203"/>
                    </a:cubicBezTo>
                    <a:cubicBezTo>
                      <a:pt x="1717" y="203"/>
                      <a:pt x="1717" y="203"/>
                      <a:pt x="1717" y="203"/>
                    </a:cubicBezTo>
                    <a:cubicBezTo>
                      <a:pt x="1718" y="203"/>
                      <a:pt x="1718" y="203"/>
                      <a:pt x="1718" y="203"/>
                    </a:cubicBezTo>
                    <a:cubicBezTo>
                      <a:pt x="1718" y="202"/>
                      <a:pt x="1718" y="203"/>
                      <a:pt x="1719" y="202"/>
                    </a:cubicBezTo>
                    <a:cubicBezTo>
                      <a:pt x="1719" y="202"/>
                      <a:pt x="1719" y="202"/>
                      <a:pt x="1719" y="202"/>
                    </a:cubicBezTo>
                    <a:cubicBezTo>
                      <a:pt x="1719" y="202"/>
                      <a:pt x="1719" y="202"/>
                      <a:pt x="1720" y="202"/>
                    </a:cubicBezTo>
                    <a:cubicBezTo>
                      <a:pt x="1720" y="202"/>
                      <a:pt x="1720" y="202"/>
                      <a:pt x="1720" y="202"/>
                    </a:cubicBezTo>
                    <a:cubicBezTo>
                      <a:pt x="1720" y="201"/>
                      <a:pt x="1721" y="202"/>
                      <a:pt x="1721" y="201"/>
                    </a:cubicBezTo>
                    <a:cubicBezTo>
                      <a:pt x="1721" y="201"/>
                      <a:pt x="1721" y="201"/>
                      <a:pt x="1721" y="201"/>
                    </a:cubicBezTo>
                    <a:cubicBezTo>
                      <a:pt x="1721" y="201"/>
                      <a:pt x="1721" y="201"/>
                      <a:pt x="1721" y="201"/>
                    </a:cubicBezTo>
                    <a:cubicBezTo>
                      <a:pt x="1721" y="201"/>
                      <a:pt x="1721" y="201"/>
                      <a:pt x="1721" y="201"/>
                    </a:cubicBezTo>
                    <a:cubicBezTo>
                      <a:pt x="1722" y="200"/>
                      <a:pt x="1722" y="200"/>
                      <a:pt x="1722" y="200"/>
                    </a:cubicBezTo>
                    <a:cubicBezTo>
                      <a:pt x="1722" y="200"/>
                      <a:pt x="1722" y="200"/>
                      <a:pt x="1722" y="200"/>
                    </a:cubicBezTo>
                    <a:cubicBezTo>
                      <a:pt x="1723" y="200"/>
                      <a:pt x="1723" y="200"/>
                      <a:pt x="1723" y="199"/>
                    </a:cubicBezTo>
                    <a:cubicBezTo>
                      <a:pt x="1723" y="199"/>
                      <a:pt x="1723" y="199"/>
                      <a:pt x="1723" y="199"/>
                    </a:cubicBezTo>
                    <a:cubicBezTo>
                      <a:pt x="1724" y="194"/>
                      <a:pt x="1723" y="188"/>
                      <a:pt x="1723" y="183"/>
                    </a:cubicBezTo>
                    <a:cubicBezTo>
                      <a:pt x="1723" y="183"/>
                      <a:pt x="1723" y="183"/>
                      <a:pt x="1723" y="183"/>
                    </a:cubicBezTo>
                    <a:cubicBezTo>
                      <a:pt x="1723" y="183"/>
                      <a:pt x="1723" y="183"/>
                      <a:pt x="1723" y="183"/>
                    </a:cubicBezTo>
                    <a:cubicBezTo>
                      <a:pt x="1722" y="183"/>
                      <a:pt x="1722" y="183"/>
                      <a:pt x="1722" y="183"/>
                    </a:cubicBezTo>
                    <a:cubicBezTo>
                      <a:pt x="1722" y="183"/>
                      <a:pt x="1722" y="183"/>
                      <a:pt x="1722" y="183"/>
                    </a:cubicBezTo>
                    <a:cubicBezTo>
                      <a:pt x="1721" y="183"/>
                      <a:pt x="1721" y="184"/>
                      <a:pt x="1721" y="184"/>
                    </a:cubicBezTo>
                    <a:cubicBezTo>
                      <a:pt x="1721" y="184"/>
                      <a:pt x="1721" y="184"/>
                      <a:pt x="1721" y="184"/>
                    </a:cubicBezTo>
                    <a:cubicBezTo>
                      <a:pt x="1721" y="184"/>
                      <a:pt x="1721" y="184"/>
                      <a:pt x="1720" y="184"/>
                    </a:cubicBezTo>
                    <a:cubicBezTo>
                      <a:pt x="1720" y="184"/>
                      <a:pt x="1720" y="185"/>
                      <a:pt x="1720" y="185"/>
                    </a:cubicBezTo>
                    <a:cubicBezTo>
                      <a:pt x="1720" y="185"/>
                      <a:pt x="1719" y="185"/>
                      <a:pt x="1719" y="185"/>
                    </a:cubicBezTo>
                    <a:cubicBezTo>
                      <a:pt x="1719" y="185"/>
                      <a:pt x="1719" y="185"/>
                      <a:pt x="1719" y="185"/>
                    </a:cubicBezTo>
                    <a:cubicBezTo>
                      <a:pt x="1719" y="185"/>
                      <a:pt x="1719" y="185"/>
                      <a:pt x="1719" y="185"/>
                    </a:cubicBezTo>
                    <a:cubicBezTo>
                      <a:pt x="1719" y="186"/>
                      <a:pt x="1718" y="186"/>
                      <a:pt x="1718" y="186"/>
                    </a:cubicBezTo>
                    <a:cubicBezTo>
                      <a:pt x="1718" y="186"/>
                      <a:pt x="1718" y="186"/>
                      <a:pt x="1717" y="186"/>
                    </a:cubicBezTo>
                    <a:cubicBezTo>
                      <a:pt x="1717" y="186"/>
                      <a:pt x="1717" y="186"/>
                      <a:pt x="1717" y="186"/>
                    </a:cubicBezTo>
                    <a:cubicBezTo>
                      <a:pt x="1717" y="187"/>
                      <a:pt x="1717" y="186"/>
                      <a:pt x="1716" y="187"/>
                    </a:cubicBezTo>
                    <a:cubicBezTo>
                      <a:pt x="1716" y="187"/>
                      <a:pt x="1716" y="187"/>
                      <a:pt x="1716" y="187"/>
                    </a:cubicBezTo>
                    <a:cubicBezTo>
                      <a:pt x="1716" y="187"/>
                      <a:pt x="1716" y="187"/>
                      <a:pt x="1716" y="187"/>
                    </a:cubicBezTo>
                    <a:cubicBezTo>
                      <a:pt x="1716" y="187"/>
                      <a:pt x="1716" y="187"/>
                      <a:pt x="1715" y="187"/>
                    </a:cubicBezTo>
                    <a:cubicBezTo>
                      <a:pt x="1715" y="187"/>
                      <a:pt x="1715" y="188"/>
                      <a:pt x="1715" y="188"/>
                    </a:cubicBezTo>
                    <a:cubicBezTo>
                      <a:pt x="1715" y="188"/>
                      <a:pt x="1715" y="188"/>
                      <a:pt x="1715" y="188"/>
                    </a:cubicBezTo>
                    <a:cubicBezTo>
                      <a:pt x="1714" y="188"/>
                      <a:pt x="1714" y="188"/>
                      <a:pt x="1713" y="188"/>
                    </a:cubicBezTo>
                    <a:cubicBezTo>
                      <a:pt x="1713" y="188"/>
                      <a:pt x="1713" y="188"/>
                      <a:pt x="1713" y="188"/>
                    </a:cubicBezTo>
                    <a:cubicBezTo>
                      <a:pt x="1713" y="189"/>
                      <a:pt x="1713" y="189"/>
                      <a:pt x="1712" y="189"/>
                    </a:cubicBezTo>
                    <a:cubicBezTo>
                      <a:pt x="1712" y="189"/>
                      <a:pt x="1712" y="189"/>
                      <a:pt x="1712" y="189"/>
                    </a:cubicBezTo>
                    <a:cubicBezTo>
                      <a:pt x="1712" y="189"/>
                      <a:pt x="1711" y="189"/>
                      <a:pt x="1711" y="190"/>
                    </a:cubicBezTo>
                    <a:cubicBezTo>
                      <a:pt x="1711" y="190"/>
                      <a:pt x="1711" y="190"/>
                      <a:pt x="1711" y="190"/>
                    </a:cubicBezTo>
                    <a:cubicBezTo>
                      <a:pt x="1711" y="190"/>
                      <a:pt x="1710" y="190"/>
                      <a:pt x="1710" y="190"/>
                    </a:cubicBezTo>
                    <a:cubicBezTo>
                      <a:pt x="1710" y="190"/>
                      <a:pt x="1710" y="190"/>
                      <a:pt x="1710" y="190"/>
                    </a:cubicBezTo>
                    <a:cubicBezTo>
                      <a:pt x="1709" y="190"/>
                      <a:pt x="1709" y="190"/>
                      <a:pt x="1708" y="191"/>
                    </a:cubicBezTo>
                    <a:close/>
                    <a:moveTo>
                      <a:pt x="1277" y="113"/>
                    </a:moveTo>
                    <a:cubicBezTo>
                      <a:pt x="1277" y="113"/>
                      <a:pt x="1277" y="113"/>
                      <a:pt x="1277" y="113"/>
                    </a:cubicBezTo>
                    <a:cubicBezTo>
                      <a:pt x="1277" y="113"/>
                      <a:pt x="1276" y="113"/>
                      <a:pt x="1276" y="113"/>
                    </a:cubicBezTo>
                    <a:cubicBezTo>
                      <a:pt x="1276" y="113"/>
                      <a:pt x="1276" y="113"/>
                      <a:pt x="1276" y="113"/>
                    </a:cubicBezTo>
                    <a:cubicBezTo>
                      <a:pt x="1276" y="112"/>
                      <a:pt x="1275" y="112"/>
                      <a:pt x="1275" y="112"/>
                    </a:cubicBezTo>
                    <a:cubicBezTo>
                      <a:pt x="1275" y="112"/>
                      <a:pt x="1275" y="112"/>
                      <a:pt x="1275" y="112"/>
                    </a:cubicBezTo>
                    <a:cubicBezTo>
                      <a:pt x="1275" y="112"/>
                      <a:pt x="1275" y="111"/>
                      <a:pt x="1274" y="111"/>
                    </a:cubicBezTo>
                    <a:cubicBezTo>
                      <a:pt x="1275" y="111"/>
                      <a:pt x="1275" y="111"/>
                      <a:pt x="1275" y="111"/>
                    </a:cubicBezTo>
                    <a:cubicBezTo>
                      <a:pt x="1274" y="111"/>
                      <a:pt x="1274" y="111"/>
                      <a:pt x="1274" y="111"/>
                    </a:cubicBezTo>
                    <a:cubicBezTo>
                      <a:pt x="1273" y="111"/>
                      <a:pt x="1273" y="111"/>
                      <a:pt x="1273" y="111"/>
                    </a:cubicBezTo>
                    <a:cubicBezTo>
                      <a:pt x="1273" y="110"/>
                      <a:pt x="1273" y="110"/>
                      <a:pt x="1273" y="110"/>
                    </a:cubicBezTo>
                    <a:cubicBezTo>
                      <a:pt x="1273" y="110"/>
                      <a:pt x="1273" y="110"/>
                      <a:pt x="1273" y="110"/>
                    </a:cubicBezTo>
                    <a:cubicBezTo>
                      <a:pt x="1273" y="110"/>
                      <a:pt x="1272" y="110"/>
                      <a:pt x="1272" y="110"/>
                    </a:cubicBezTo>
                    <a:cubicBezTo>
                      <a:pt x="1272" y="110"/>
                      <a:pt x="1272" y="110"/>
                      <a:pt x="1272" y="110"/>
                    </a:cubicBezTo>
                    <a:cubicBezTo>
                      <a:pt x="1272" y="109"/>
                      <a:pt x="1272" y="109"/>
                      <a:pt x="1272" y="109"/>
                    </a:cubicBezTo>
                    <a:cubicBezTo>
                      <a:pt x="1272" y="109"/>
                      <a:pt x="1272" y="109"/>
                      <a:pt x="1272" y="109"/>
                    </a:cubicBezTo>
                    <a:cubicBezTo>
                      <a:pt x="1271" y="108"/>
                      <a:pt x="1270" y="108"/>
                      <a:pt x="1270" y="108"/>
                    </a:cubicBezTo>
                    <a:cubicBezTo>
                      <a:pt x="1270" y="108"/>
                      <a:pt x="1270" y="108"/>
                      <a:pt x="1270" y="108"/>
                    </a:cubicBezTo>
                    <a:cubicBezTo>
                      <a:pt x="1270" y="108"/>
                      <a:pt x="1270" y="107"/>
                      <a:pt x="1269" y="107"/>
                    </a:cubicBezTo>
                    <a:cubicBezTo>
                      <a:pt x="1269" y="107"/>
                      <a:pt x="1269" y="107"/>
                      <a:pt x="1269" y="107"/>
                    </a:cubicBezTo>
                    <a:cubicBezTo>
                      <a:pt x="1269" y="107"/>
                      <a:pt x="1269" y="107"/>
                      <a:pt x="1269" y="107"/>
                    </a:cubicBezTo>
                    <a:cubicBezTo>
                      <a:pt x="1269" y="107"/>
                      <a:pt x="1269" y="107"/>
                      <a:pt x="1269" y="107"/>
                    </a:cubicBezTo>
                    <a:cubicBezTo>
                      <a:pt x="1269" y="106"/>
                      <a:pt x="1268" y="106"/>
                      <a:pt x="1268" y="106"/>
                    </a:cubicBezTo>
                    <a:cubicBezTo>
                      <a:pt x="1268" y="106"/>
                      <a:pt x="1268" y="106"/>
                      <a:pt x="1268" y="106"/>
                    </a:cubicBezTo>
                    <a:cubicBezTo>
                      <a:pt x="1268" y="106"/>
                      <a:pt x="1268" y="105"/>
                      <a:pt x="1267" y="105"/>
                    </a:cubicBezTo>
                    <a:cubicBezTo>
                      <a:pt x="1268" y="105"/>
                      <a:pt x="1268" y="105"/>
                      <a:pt x="1268" y="105"/>
                    </a:cubicBezTo>
                    <a:cubicBezTo>
                      <a:pt x="1268" y="105"/>
                      <a:pt x="1267" y="105"/>
                      <a:pt x="1267" y="104"/>
                    </a:cubicBezTo>
                    <a:cubicBezTo>
                      <a:pt x="1267" y="104"/>
                      <a:pt x="1267" y="104"/>
                      <a:pt x="1267" y="104"/>
                    </a:cubicBezTo>
                    <a:cubicBezTo>
                      <a:pt x="1267" y="104"/>
                      <a:pt x="1267" y="104"/>
                      <a:pt x="1266" y="104"/>
                    </a:cubicBezTo>
                    <a:cubicBezTo>
                      <a:pt x="1266" y="104"/>
                      <a:pt x="1266" y="104"/>
                      <a:pt x="1266" y="104"/>
                    </a:cubicBezTo>
                    <a:cubicBezTo>
                      <a:pt x="1266" y="104"/>
                      <a:pt x="1266" y="103"/>
                      <a:pt x="1266" y="103"/>
                    </a:cubicBezTo>
                    <a:cubicBezTo>
                      <a:pt x="1266" y="103"/>
                      <a:pt x="1266" y="103"/>
                      <a:pt x="1266" y="103"/>
                    </a:cubicBezTo>
                    <a:cubicBezTo>
                      <a:pt x="1266" y="103"/>
                      <a:pt x="1266" y="102"/>
                      <a:pt x="1265" y="102"/>
                    </a:cubicBezTo>
                    <a:cubicBezTo>
                      <a:pt x="1265" y="102"/>
                      <a:pt x="1265" y="102"/>
                      <a:pt x="1265" y="102"/>
                    </a:cubicBezTo>
                    <a:cubicBezTo>
                      <a:pt x="1265" y="102"/>
                      <a:pt x="1265" y="101"/>
                      <a:pt x="1265" y="101"/>
                    </a:cubicBezTo>
                    <a:cubicBezTo>
                      <a:pt x="1265" y="101"/>
                      <a:pt x="1265" y="101"/>
                      <a:pt x="1265" y="101"/>
                    </a:cubicBezTo>
                    <a:cubicBezTo>
                      <a:pt x="1264" y="101"/>
                      <a:pt x="1265" y="100"/>
                      <a:pt x="1264" y="100"/>
                    </a:cubicBezTo>
                    <a:cubicBezTo>
                      <a:pt x="1264" y="100"/>
                      <a:pt x="1264" y="100"/>
                      <a:pt x="1264" y="100"/>
                    </a:cubicBezTo>
                    <a:cubicBezTo>
                      <a:pt x="1264" y="99"/>
                      <a:pt x="1264" y="99"/>
                      <a:pt x="1264" y="99"/>
                    </a:cubicBezTo>
                    <a:cubicBezTo>
                      <a:pt x="1264" y="99"/>
                      <a:pt x="1263" y="98"/>
                      <a:pt x="1264" y="98"/>
                    </a:cubicBezTo>
                    <a:cubicBezTo>
                      <a:pt x="1263" y="98"/>
                      <a:pt x="1264" y="97"/>
                      <a:pt x="1263" y="96"/>
                    </a:cubicBezTo>
                    <a:cubicBezTo>
                      <a:pt x="1263" y="96"/>
                      <a:pt x="1263" y="96"/>
                      <a:pt x="1263" y="96"/>
                    </a:cubicBezTo>
                    <a:cubicBezTo>
                      <a:pt x="1263" y="96"/>
                      <a:pt x="1263" y="96"/>
                      <a:pt x="1263" y="96"/>
                    </a:cubicBezTo>
                    <a:cubicBezTo>
                      <a:pt x="1263" y="95"/>
                      <a:pt x="1263" y="94"/>
                      <a:pt x="1263" y="93"/>
                    </a:cubicBezTo>
                    <a:cubicBezTo>
                      <a:pt x="1262" y="93"/>
                      <a:pt x="1262" y="92"/>
                      <a:pt x="1262" y="92"/>
                    </a:cubicBezTo>
                    <a:cubicBezTo>
                      <a:pt x="1262" y="90"/>
                      <a:pt x="1262" y="88"/>
                      <a:pt x="1262" y="86"/>
                    </a:cubicBezTo>
                    <a:cubicBezTo>
                      <a:pt x="1262" y="86"/>
                      <a:pt x="1262" y="86"/>
                      <a:pt x="1263" y="85"/>
                    </a:cubicBezTo>
                    <a:cubicBezTo>
                      <a:pt x="1263" y="85"/>
                      <a:pt x="1262" y="84"/>
                      <a:pt x="1263" y="83"/>
                    </a:cubicBezTo>
                    <a:cubicBezTo>
                      <a:pt x="1263" y="83"/>
                      <a:pt x="1263" y="83"/>
                      <a:pt x="1263" y="82"/>
                    </a:cubicBezTo>
                    <a:cubicBezTo>
                      <a:pt x="1263" y="82"/>
                      <a:pt x="1263" y="82"/>
                      <a:pt x="1264" y="81"/>
                    </a:cubicBezTo>
                    <a:cubicBezTo>
                      <a:pt x="1263" y="81"/>
                      <a:pt x="1264" y="81"/>
                      <a:pt x="1264" y="81"/>
                    </a:cubicBezTo>
                    <a:cubicBezTo>
                      <a:pt x="1264" y="80"/>
                      <a:pt x="1264" y="80"/>
                      <a:pt x="1264" y="80"/>
                    </a:cubicBezTo>
                    <a:cubicBezTo>
                      <a:pt x="1264" y="80"/>
                      <a:pt x="1264" y="80"/>
                      <a:pt x="1264" y="80"/>
                    </a:cubicBezTo>
                    <a:cubicBezTo>
                      <a:pt x="1265" y="79"/>
                      <a:pt x="1264" y="79"/>
                      <a:pt x="1265" y="78"/>
                    </a:cubicBezTo>
                    <a:cubicBezTo>
                      <a:pt x="1265" y="78"/>
                      <a:pt x="1265" y="78"/>
                      <a:pt x="1265" y="78"/>
                    </a:cubicBezTo>
                    <a:cubicBezTo>
                      <a:pt x="1265" y="78"/>
                      <a:pt x="1265" y="78"/>
                      <a:pt x="1265" y="77"/>
                    </a:cubicBezTo>
                    <a:cubicBezTo>
                      <a:pt x="1265" y="77"/>
                      <a:pt x="1265" y="77"/>
                      <a:pt x="1265" y="77"/>
                    </a:cubicBezTo>
                    <a:cubicBezTo>
                      <a:pt x="1266" y="77"/>
                      <a:pt x="1266" y="77"/>
                      <a:pt x="1266" y="77"/>
                    </a:cubicBezTo>
                    <a:cubicBezTo>
                      <a:pt x="1266" y="77"/>
                      <a:pt x="1266" y="77"/>
                      <a:pt x="1266" y="77"/>
                    </a:cubicBezTo>
                    <a:cubicBezTo>
                      <a:pt x="1266" y="76"/>
                      <a:pt x="1267" y="76"/>
                      <a:pt x="1267" y="75"/>
                    </a:cubicBezTo>
                    <a:cubicBezTo>
                      <a:pt x="1267" y="75"/>
                      <a:pt x="1267" y="75"/>
                      <a:pt x="1267" y="75"/>
                    </a:cubicBezTo>
                    <a:cubicBezTo>
                      <a:pt x="1267" y="75"/>
                      <a:pt x="1267" y="75"/>
                      <a:pt x="1268" y="74"/>
                    </a:cubicBezTo>
                    <a:cubicBezTo>
                      <a:pt x="1268" y="74"/>
                      <a:pt x="1268" y="74"/>
                      <a:pt x="1268" y="74"/>
                    </a:cubicBezTo>
                    <a:cubicBezTo>
                      <a:pt x="1268" y="74"/>
                      <a:pt x="1268" y="74"/>
                      <a:pt x="1268" y="74"/>
                    </a:cubicBezTo>
                    <a:cubicBezTo>
                      <a:pt x="1268" y="74"/>
                      <a:pt x="1268" y="74"/>
                      <a:pt x="1268" y="74"/>
                    </a:cubicBezTo>
                    <a:cubicBezTo>
                      <a:pt x="1268" y="74"/>
                      <a:pt x="1269" y="73"/>
                      <a:pt x="1269" y="73"/>
                    </a:cubicBezTo>
                    <a:cubicBezTo>
                      <a:pt x="1269" y="73"/>
                      <a:pt x="1269" y="73"/>
                      <a:pt x="1269" y="73"/>
                    </a:cubicBezTo>
                    <a:cubicBezTo>
                      <a:pt x="1269" y="73"/>
                      <a:pt x="1269" y="73"/>
                      <a:pt x="1269" y="73"/>
                    </a:cubicBezTo>
                    <a:cubicBezTo>
                      <a:pt x="1269" y="73"/>
                      <a:pt x="1269" y="73"/>
                      <a:pt x="1269" y="73"/>
                    </a:cubicBezTo>
                    <a:cubicBezTo>
                      <a:pt x="1270" y="72"/>
                      <a:pt x="1271" y="72"/>
                      <a:pt x="1271" y="71"/>
                    </a:cubicBezTo>
                    <a:cubicBezTo>
                      <a:pt x="1271" y="71"/>
                      <a:pt x="1271" y="71"/>
                      <a:pt x="1271" y="71"/>
                    </a:cubicBezTo>
                    <a:cubicBezTo>
                      <a:pt x="1271" y="71"/>
                      <a:pt x="1271" y="71"/>
                      <a:pt x="1272" y="71"/>
                    </a:cubicBezTo>
                    <a:cubicBezTo>
                      <a:pt x="1272" y="71"/>
                      <a:pt x="1272" y="71"/>
                      <a:pt x="1272" y="71"/>
                    </a:cubicBezTo>
                    <a:cubicBezTo>
                      <a:pt x="1272" y="71"/>
                      <a:pt x="1273" y="70"/>
                      <a:pt x="1273" y="70"/>
                    </a:cubicBezTo>
                    <a:cubicBezTo>
                      <a:pt x="1273" y="70"/>
                      <a:pt x="1273" y="70"/>
                      <a:pt x="1273" y="70"/>
                    </a:cubicBezTo>
                    <a:cubicBezTo>
                      <a:pt x="1274" y="69"/>
                      <a:pt x="1274" y="70"/>
                      <a:pt x="1275" y="69"/>
                    </a:cubicBezTo>
                    <a:cubicBezTo>
                      <a:pt x="1275" y="69"/>
                      <a:pt x="1275" y="69"/>
                      <a:pt x="1275" y="69"/>
                    </a:cubicBezTo>
                    <a:cubicBezTo>
                      <a:pt x="1275" y="69"/>
                      <a:pt x="1275" y="69"/>
                      <a:pt x="1276" y="69"/>
                    </a:cubicBezTo>
                    <a:cubicBezTo>
                      <a:pt x="1276" y="69"/>
                      <a:pt x="1276" y="69"/>
                      <a:pt x="1276" y="69"/>
                    </a:cubicBezTo>
                    <a:cubicBezTo>
                      <a:pt x="1276" y="68"/>
                      <a:pt x="1277" y="68"/>
                      <a:pt x="1277" y="68"/>
                    </a:cubicBezTo>
                    <a:cubicBezTo>
                      <a:pt x="1277" y="68"/>
                      <a:pt x="1277" y="68"/>
                      <a:pt x="1277" y="68"/>
                    </a:cubicBezTo>
                    <a:cubicBezTo>
                      <a:pt x="1277" y="68"/>
                      <a:pt x="1278" y="68"/>
                      <a:pt x="1279" y="67"/>
                    </a:cubicBezTo>
                    <a:cubicBezTo>
                      <a:pt x="1279" y="67"/>
                      <a:pt x="1279" y="67"/>
                      <a:pt x="1279" y="67"/>
                    </a:cubicBezTo>
                    <a:cubicBezTo>
                      <a:pt x="1279" y="67"/>
                      <a:pt x="1280" y="67"/>
                      <a:pt x="1280" y="67"/>
                    </a:cubicBezTo>
                    <a:cubicBezTo>
                      <a:pt x="1280" y="67"/>
                      <a:pt x="1280" y="67"/>
                      <a:pt x="1280" y="67"/>
                    </a:cubicBezTo>
                    <a:cubicBezTo>
                      <a:pt x="1281" y="66"/>
                      <a:pt x="1282" y="67"/>
                      <a:pt x="1283" y="66"/>
                    </a:cubicBezTo>
                    <a:cubicBezTo>
                      <a:pt x="1283" y="66"/>
                      <a:pt x="1283" y="66"/>
                      <a:pt x="1283" y="66"/>
                    </a:cubicBezTo>
                    <a:cubicBezTo>
                      <a:pt x="1284" y="66"/>
                      <a:pt x="1285" y="66"/>
                      <a:pt x="1286" y="66"/>
                    </a:cubicBezTo>
                    <a:cubicBezTo>
                      <a:pt x="1286" y="66"/>
                      <a:pt x="1286" y="66"/>
                      <a:pt x="1286" y="66"/>
                    </a:cubicBezTo>
                    <a:cubicBezTo>
                      <a:pt x="1290" y="65"/>
                      <a:pt x="1294" y="65"/>
                      <a:pt x="1298" y="66"/>
                    </a:cubicBezTo>
                    <a:cubicBezTo>
                      <a:pt x="1298" y="66"/>
                      <a:pt x="1298" y="66"/>
                      <a:pt x="1298" y="66"/>
                    </a:cubicBezTo>
                    <a:cubicBezTo>
                      <a:pt x="1298" y="66"/>
                      <a:pt x="1298" y="66"/>
                      <a:pt x="1298" y="66"/>
                    </a:cubicBezTo>
                    <a:cubicBezTo>
                      <a:pt x="1299" y="67"/>
                      <a:pt x="1301" y="66"/>
                      <a:pt x="1302" y="66"/>
                    </a:cubicBezTo>
                    <a:cubicBezTo>
                      <a:pt x="1303" y="66"/>
                      <a:pt x="1303" y="66"/>
                      <a:pt x="1303" y="66"/>
                    </a:cubicBezTo>
                    <a:cubicBezTo>
                      <a:pt x="1303" y="66"/>
                      <a:pt x="1303" y="66"/>
                      <a:pt x="1303" y="66"/>
                    </a:cubicBezTo>
                    <a:cubicBezTo>
                      <a:pt x="1304" y="67"/>
                      <a:pt x="1304" y="66"/>
                      <a:pt x="1305" y="67"/>
                    </a:cubicBezTo>
                    <a:cubicBezTo>
                      <a:pt x="1305" y="67"/>
                      <a:pt x="1305" y="67"/>
                      <a:pt x="1305" y="67"/>
                    </a:cubicBezTo>
                    <a:cubicBezTo>
                      <a:pt x="1306" y="67"/>
                      <a:pt x="1306" y="67"/>
                      <a:pt x="1306" y="67"/>
                    </a:cubicBezTo>
                    <a:cubicBezTo>
                      <a:pt x="1306" y="67"/>
                      <a:pt x="1307" y="67"/>
                      <a:pt x="1308" y="67"/>
                    </a:cubicBezTo>
                    <a:cubicBezTo>
                      <a:pt x="1308" y="67"/>
                      <a:pt x="1308" y="67"/>
                      <a:pt x="1308" y="67"/>
                    </a:cubicBezTo>
                    <a:cubicBezTo>
                      <a:pt x="1308" y="68"/>
                      <a:pt x="1308" y="68"/>
                      <a:pt x="1308" y="68"/>
                    </a:cubicBezTo>
                    <a:cubicBezTo>
                      <a:pt x="1308" y="68"/>
                      <a:pt x="1309" y="68"/>
                      <a:pt x="1310" y="68"/>
                    </a:cubicBezTo>
                    <a:cubicBezTo>
                      <a:pt x="1310" y="68"/>
                      <a:pt x="1310" y="68"/>
                      <a:pt x="1310" y="68"/>
                    </a:cubicBezTo>
                    <a:cubicBezTo>
                      <a:pt x="1310" y="69"/>
                      <a:pt x="1311" y="68"/>
                      <a:pt x="1311" y="69"/>
                    </a:cubicBezTo>
                    <a:cubicBezTo>
                      <a:pt x="1311" y="69"/>
                      <a:pt x="1311" y="69"/>
                      <a:pt x="1311" y="69"/>
                    </a:cubicBezTo>
                    <a:cubicBezTo>
                      <a:pt x="1312" y="69"/>
                      <a:pt x="1312" y="69"/>
                      <a:pt x="1313" y="69"/>
                    </a:cubicBezTo>
                    <a:cubicBezTo>
                      <a:pt x="1313" y="69"/>
                      <a:pt x="1313" y="69"/>
                      <a:pt x="1313" y="69"/>
                    </a:cubicBezTo>
                    <a:cubicBezTo>
                      <a:pt x="1313" y="70"/>
                      <a:pt x="1314" y="69"/>
                      <a:pt x="1314" y="70"/>
                    </a:cubicBezTo>
                    <a:cubicBezTo>
                      <a:pt x="1314" y="70"/>
                      <a:pt x="1314" y="70"/>
                      <a:pt x="1314" y="70"/>
                    </a:cubicBezTo>
                    <a:cubicBezTo>
                      <a:pt x="1315" y="70"/>
                      <a:pt x="1315" y="70"/>
                      <a:pt x="1315" y="70"/>
                    </a:cubicBezTo>
                    <a:cubicBezTo>
                      <a:pt x="1315" y="70"/>
                      <a:pt x="1315" y="70"/>
                      <a:pt x="1315" y="70"/>
                    </a:cubicBezTo>
                    <a:cubicBezTo>
                      <a:pt x="1316" y="71"/>
                      <a:pt x="1316" y="71"/>
                      <a:pt x="1317" y="71"/>
                    </a:cubicBezTo>
                    <a:cubicBezTo>
                      <a:pt x="1317" y="71"/>
                      <a:pt x="1317" y="71"/>
                      <a:pt x="1317" y="71"/>
                    </a:cubicBezTo>
                    <a:cubicBezTo>
                      <a:pt x="1317" y="71"/>
                      <a:pt x="1317" y="71"/>
                      <a:pt x="1318" y="72"/>
                    </a:cubicBezTo>
                    <a:cubicBezTo>
                      <a:pt x="1318" y="72"/>
                      <a:pt x="1318" y="72"/>
                      <a:pt x="1318" y="72"/>
                    </a:cubicBezTo>
                    <a:cubicBezTo>
                      <a:pt x="1318" y="72"/>
                      <a:pt x="1318" y="72"/>
                      <a:pt x="1318" y="72"/>
                    </a:cubicBezTo>
                    <a:cubicBezTo>
                      <a:pt x="1318" y="72"/>
                      <a:pt x="1318" y="72"/>
                      <a:pt x="1318" y="72"/>
                    </a:cubicBezTo>
                    <a:cubicBezTo>
                      <a:pt x="1319" y="73"/>
                      <a:pt x="1319" y="72"/>
                      <a:pt x="1320" y="73"/>
                    </a:cubicBezTo>
                    <a:cubicBezTo>
                      <a:pt x="1320" y="73"/>
                      <a:pt x="1320" y="73"/>
                      <a:pt x="1320" y="73"/>
                    </a:cubicBezTo>
                    <a:cubicBezTo>
                      <a:pt x="1320" y="73"/>
                      <a:pt x="1321" y="73"/>
                      <a:pt x="1321" y="74"/>
                    </a:cubicBezTo>
                    <a:cubicBezTo>
                      <a:pt x="1321" y="74"/>
                      <a:pt x="1321" y="74"/>
                      <a:pt x="1321" y="74"/>
                    </a:cubicBezTo>
                    <a:cubicBezTo>
                      <a:pt x="1321" y="74"/>
                      <a:pt x="1322" y="74"/>
                      <a:pt x="1322" y="74"/>
                    </a:cubicBezTo>
                    <a:cubicBezTo>
                      <a:pt x="1322" y="74"/>
                      <a:pt x="1322" y="74"/>
                      <a:pt x="1322" y="74"/>
                    </a:cubicBezTo>
                    <a:cubicBezTo>
                      <a:pt x="1324" y="75"/>
                      <a:pt x="1323" y="74"/>
                      <a:pt x="1323" y="73"/>
                    </a:cubicBezTo>
                    <a:cubicBezTo>
                      <a:pt x="1323" y="67"/>
                      <a:pt x="1323" y="61"/>
                      <a:pt x="1323" y="56"/>
                    </a:cubicBezTo>
                    <a:cubicBezTo>
                      <a:pt x="1323" y="55"/>
                      <a:pt x="1323" y="54"/>
                      <a:pt x="1322" y="54"/>
                    </a:cubicBezTo>
                    <a:cubicBezTo>
                      <a:pt x="1322" y="54"/>
                      <a:pt x="1322" y="54"/>
                      <a:pt x="1322" y="54"/>
                    </a:cubicBezTo>
                    <a:cubicBezTo>
                      <a:pt x="1322" y="53"/>
                      <a:pt x="1322" y="53"/>
                      <a:pt x="1321" y="53"/>
                    </a:cubicBezTo>
                    <a:cubicBezTo>
                      <a:pt x="1321" y="53"/>
                      <a:pt x="1321" y="53"/>
                      <a:pt x="1321" y="53"/>
                    </a:cubicBezTo>
                    <a:cubicBezTo>
                      <a:pt x="1321" y="53"/>
                      <a:pt x="1320" y="53"/>
                      <a:pt x="1320" y="53"/>
                    </a:cubicBezTo>
                    <a:cubicBezTo>
                      <a:pt x="1320" y="53"/>
                      <a:pt x="1320" y="53"/>
                      <a:pt x="1319" y="52"/>
                    </a:cubicBezTo>
                    <a:cubicBezTo>
                      <a:pt x="1319" y="52"/>
                      <a:pt x="1319" y="52"/>
                      <a:pt x="1318" y="52"/>
                    </a:cubicBezTo>
                    <a:cubicBezTo>
                      <a:pt x="1318" y="52"/>
                      <a:pt x="1318" y="52"/>
                      <a:pt x="1318" y="52"/>
                    </a:cubicBezTo>
                    <a:cubicBezTo>
                      <a:pt x="1317" y="52"/>
                      <a:pt x="1317" y="52"/>
                      <a:pt x="1317" y="51"/>
                    </a:cubicBezTo>
                    <a:cubicBezTo>
                      <a:pt x="1316" y="52"/>
                      <a:pt x="1316" y="51"/>
                      <a:pt x="1316" y="51"/>
                    </a:cubicBezTo>
                    <a:cubicBezTo>
                      <a:pt x="1316" y="51"/>
                      <a:pt x="1315" y="51"/>
                      <a:pt x="1315" y="51"/>
                    </a:cubicBezTo>
                    <a:cubicBezTo>
                      <a:pt x="1315" y="51"/>
                      <a:pt x="1314" y="51"/>
                      <a:pt x="1314" y="51"/>
                    </a:cubicBezTo>
                    <a:cubicBezTo>
                      <a:pt x="1314" y="50"/>
                      <a:pt x="1313" y="51"/>
                      <a:pt x="1312" y="50"/>
                    </a:cubicBezTo>
                    <a:cubicBezTo>
                      <a:pt x="1312" y="50"/>
                      <a:pt x="1312" y="50"/>
                      <a:pt x="1311" y="50"/>
                    </a:cubicBezTo>
                    <a:cubicBezTo>
                      <a:pt x="1311" y="50"/>
                      <a:pt x="1310" y="50"/>
                      <a:pt x="1309" y="50"/>
                    </a:cubicBezTo>
                    <a:cubicBezTo>
                      <a:pt x="1309" y="50"/>
                      <a:pt x="1308" y="50"/>
                      <a:pt x="1308" y="50"/>
                    </a:cubicBezTo>
                    <a:cubicBezTo>
                      <a:pt x="1307" y="49"/>
                      <a:pt x="1306" y="50"/>
                      <a:pt x="1304" y="49"/>
                    </a:cubicBezTo>
                    <a:cubicBezTo>
                      <a:pt x="1304" y="49"/>
                      <a:pt x="1303" y="49"/>
                      <a:pt x="1302" y="49"/>
                    </a:cubicBezTo>
                    <a:cubicBezTo>
                      <a:pt x="1296" y="49"/>
                      <a:pt x="1291" y="49"/>
                      <a:pt x="1285" y="49"/>
                    </a:cubicBezTo>
                    <a:cubicBezTo>
                      <a:pt x="1284" y="49"/>
                      <a:pt x="1284" y="49"/>
                      <a:pt x="1283" y="49"/>
                    </a:cubicBezTo>
                    <a:cubicBezTo>
                      <a:pt x="1282" y="50"/>
                      <a:pt x="1281" y="49"/>
                      <a:pt x="1280" y="50"/>
                    </a:cubicBezTo>
                    <a:cubicBezTo>
                      <a:pt x="1280" y="50"/>
                      <a:pt x="1280" y="50"/>
                      <a:pt x="1279" y="50"/>
                    </a:cubicBezTo>
                    <a:cubicBezTo>
                      <a:pt x="1279" y="50"/>
                      <a:pt x="1278" y="50"/>
                      <a:pt x="1277" y="50"/>
                    </a:cubicBezTo>
                    <a:cubicBezTo>
                      <a:pt x="1277" y="50"/>
                      <a:pt x="1277" y="50"/>
                      <a:pt x="1277" y="50"/>
                    </a:cubicBezTo>
                    <a:cubicBezTo>
                      <a:pt x="1276" y="51"/>
                      <a:pt x="1276" y="50"/>
                      <a:pt x="1275" y="51"/>
                    </a:cubicBezTo>
                    <a:cubicBezTo>
                      <a:pt x="1275" y="51"/>
                      <a:pt x="1275" y="51"/>
                      <a:pt x="1275" y="51"/>
                    </a:cubicBezTo>
                    <a:cubicBezTo>
                      <a:pt x="1274" y="51"/>
                      <a:pt x="1273" y="51"/>
                      <a:pt x="1273" y="51"/>
                    </a:cubicBezTo>
                    <a:cubicBezTo>
                      <a:pt x="1273" y="52"/>
                      <a:pt x="1273" y="52"/>
                      <a:pt x="1273" y="52"/>
                    </a:cubicBezTo>
                    <a:cubicBezTo>
                      <a:pt x="1273" y="51"/>
                      <a:pt x="1273" y="51"/>
                      <a:pt x="1273" y="51"/>
                    </a:cubicBezTo>
                    <a:cubicBezTo>
                      <a:pt x="1272" y="52"/>
                      <a:pt x="1272" y="52"/>
                      <a:pt x="1271" y="52"/>
                    </a:cubicBezTo>
                    <a:cubicBezTo>
                      <a:pt x="1271" y="52"/>
                      <a:pt x="1271" y="52"/>
                      <a:pt x="1271" y="52"/>
                    </a:cubicBezTo>
                    <a:cubicBezTo>
                      <a:pt x="1271" y="53"/>
                      <a:pt x="1270" y="52"/>
                      <a:pt x="1269" y="53"/>
                    </a:cubicBezTo>
                    <a:cubicBezTo>
                      <a:pt x="1269" y="53"/>
                      <a:pt x="1269" y="53"/>
                      <a:pt x="1269" y="53"/>
                    </a:cubicBezTo>
                    <a:cubicBezTo>
                      <a:pt x="1269" y="53"/>
                      <a:pt x="1269" y="53"/>
                      <a:pt x="1268" y="53"/>
                    </a:cubicBezTo>
                    <a:cubicBezTo>
                      <a:pt x="1268" y="53"/>
                      <a:pt x="1268" y="53"/>
                      <a:pt x="1268" y="53"/>
                    </a:cubicBezTo>
                    <a:cubicBezTo>
                      <a:pt x="1268" y="54"/>
                      <a:pt x="1267" y="53"/>
                      <a:pt x="1267" y="54"/>
                    </a:cubicBezTo>
                    <a:cubicBezTo>
                      <a:pt x="1267" y="54"/>
                      <a:pt x="1267" y="54"/>
                      <a:pt x="1267" y="54"/>
                    </a:cubicBezTo>
                    <a:cubicBezTo>
                      <a:pt x="1266" y="54"/>
                      <a:pt x="1266" y="54"/>
                      <a:pt x="1266" y="54"/>
                    </a:cubicBezTo>
                    <a:cubicBezTo>
                      <a:pt x="1266" y="54"/>
                      <a:pt x="1266" y="54"/>
                      <a:pt x="1266" y="54"/>
                    </a:cubicBezTo>
                    <a:cubicBezTo>
                      <a:pt x="1265" y="54"/>
                      <a:pt x="1265" y="55"/>
                      <a:pt x="1265" y="55"/>
                    </a:cubicBezTo>
                    <a:cubicBezTo>
                      <a:pt x="1265" y="55"/>
                      <a:pt x="1265" y="55"/>
                      <a:pt x="1264" y="55"/>
                    </a:cubicBezTo>
                    <a:cubicBezTo>
                      <a:pt x="1264" y="55"/>
                      <a:pt x="1264" y="55"/>
                      <a:pt x="1264" y="55"/>
                    </a:cubicBezTo>
                    <a:cubicBezTo>
                      <a:pt x="1264" y="55"/>
                      <a:pt x="1264" y="55"/>
                      <a:pt x="1264" y="55"/>
                    </a:cubicBezTo>
                    <a:cubicBezTo>
                      <a:pt x="1263" y="56"/>
                      <a:pt x="1263" y="56"/>
                      <a:pt x="1263" y="56"/>
                    </a:cubicBezTo>
                    <a:cubicBezTo>
                      <a:pt x="1262" y="56"/>
                      <a:pt x="1262" y="56"/>
                      <a:pt x="1262" y="56"/>
                    </a:cubicBezTo>
                    <a:cubicBezTo>
                      <a:pt x="1262" y="56"/>
                      <a:pt x="1262" y="56"/>
                      <a:pt x="1261" y="57"/>
                    </a:cubicBezTo>
                    <a:cubicBezTo>
                      <a:pt x="1261" y="57"/>
                      <a:pt x="1261" y="57"/>
                      <a:pt x="1261" y="57"/>
                    </a:cubicBezTo>
                    <a:cubicBezTo>
                      <a:pt x="1261" y="57"/>
                      <a:pt x="1261" y="57"/>
                      <a:pt x="1261" y="57"/>
                    </a:cubicBezTo>
                    <a:cubicBezTo>
                      <a:pt x="1261" y="57"/>
                      <a:pt x="1261" y="57"/>
                      <a:pt x="1261" y="57"/>
                    </a:cubicBezTo>
                    <a:cubicBezTo>
                      <a:pt x="1260" y="58"/>
                      <a:pt x="1260" y="57"/>
                      <a:pt x="1260" y="58"/>
                    </a:cubicBezTo>
                    <a:cubicBezTo>
                      <a:pt x="1260" y="58"/>
                      <a:pt x="1260" y="58"/>
                      <a:pt x="1260" y="58"/>
                    </a:cubicBezTo>
                    <a:cubicBezTo>
                      <a:pt x="1259" y="58"/>
                      <a:pt x="1259" y="58"/>
                      <a:pt x="1259" y="58"/>
                    </a:cubicBezTo>
                    <a:cubicBezTo>
                      <a:pt x="1259" y="58"/>
                      <a:pt x="1259" y="58"/>
                      <a:pt x="1259" y="58"/>
                    </a:cubicBezTo>
                    <a:cubicBezTo>
                      <a:pt x="1259" y="59"/>
                      <a:pt x="1259" y="59"/>
                      <a:pt x="1258" y="59"/>
                    </a:cubicBezTo>
                    <a:cubicBezTo>
                      <a:pt x="1258" y="59"/>
                      <a:pt x="1258" y="59"/>
                      <a:pt x="1258" y="59"/>
                    </a:cubicBezTo>
                    <a:cubicBezTo>
                      <a:pt x="1258" y="59"/>
                      <a:pt x="1258" y="59"/>
                      <a:pt x="1257" y="60"/>
                    </a:cubicBezTo>
                    <a:cubicBezTo>
                      <a:pt x="1257" y="60"/>
                      <a:pt x="1257" y="60"/>
                      <a:pt x="1257" y="60"/>
                    </a:cubicBezTo>
                    <a:cubicBezTo>
                      <a:pt x="1257" y="60"/>
                      <a:pt x="1257" y="60"/>
                      <a:pt x="1257" y="60"/>
                    </a:cubicBezTo>
                    <a:cubicBezTo>
                      <a:pt x="1257" y="60"/>
                      <a:pt x="1257" y="60"/>
                      <a:pt x="1257" y="60"/>
                    </a:cubicBezTo>
                    <a:cubicBezTo>
                      <a:pt x="1257" y="60"/>
                      <a:pt x="1256" y="60"/>
                      <a:pt x="1256" y="61"/>
                    </a:cubicBezTo>
                    <a:cubicBezTo>
                      <a:pt x="1256" y="61"/>
                      <a:pt x="1256" y="61"/>
                      <a:pt x="1256" y="61"/>
                    </a:cubicBezTo>
                    <a:cubicBezTo>
                      <a:pt x="1256" y="61"/>
                      <a:pt x="1256" y="61"/>
                      <a:pt x="1256" y="61"/>
                    </a:cubicBezTo>
                    <a:cubicBezTo>
                      <a:pt x="1256" y="61"/>
                      <a:pt x="1256" y="61"/>
                      <a:pt x="1256" y="61"/>
                    </a:cubicBezTo>
                    <a:cubicBezTo>
                      <a:pt x="1255" y="61"/>
                      <a:pt x="1255" y="62"/>
                      <a:pt x="1255" y="62"/>
                    </a:cubicBezTo>
                    <a:cubicBezTo>
                      <a:pt x="1255" y="62"/>
                      <a:pt x="1255" y="62"/>
                      <a:pt x="1255" y="62"/>
                    </a:cubicBezTo>
                    <a:cubicBezTo>
                      <a:pt x="1255" y="62"/>
                      <a:pt x="1255" y="62"/>
                      <a:pt x="1254" y="62"/>
                    </a:cubicBezTo>
                    <a:cubicBezTo>
                      <a:pt x="1254" y="62"/>
                      <a:pt x="1254" y="62"/>
                      <a:pt x="1254" y="62"/>
                    </a:cubicBezTo>
                    <a:cubicBezTo>
                      <a:pt x="1254" y="63"/>
                      <a:pt x="1254" y="63"/>
                      <a:pt x="1254" y="63"/>
                    </a:cubicBezTo>
                    <a:cubicBezTo>
                      <a:pt x="1254" y="63"/>
                      <a:pt x="1254" y="63"/>
                      <a:pt x="1254" y="63"/>
                    </a:cubicBezTo>
                    <a:cubicBezTo>
                      <a:pt x="1254" y="63"/>
                      <a:pt x="1253" y="63"/>
                      <a:pt x="1253" y="63"/>
                    </a:cubicBezTo>
                    <a:cubicBezTo>
                      <a:pt x="1253" y="63"/>
                      <a:pt x="1253" y="63"/>
                      <a:pt x="1253" y="63"/>
                    </a:cubicBezTo>
                    <a:cubicBezTo>
                      <a:pt x="1253" y="64"/>
                      <a:pt x="1253" y="64"/>
                      <a:pt x="1253" y="64"/>
                    </a:cubicBezTo>
                    <a:cubicBezTo>
                      <a:pt x="1253" y="64"/>
                      <a:pt x="1253" y="64"/>
                      <a:pt x="1253" y="64"/>
                    </a:cubicBezTo>
                    <a:cubicBezTo>
                      <a:pt x="1252" y="64"/>
                      <a:pt x="1252" y="64"/>
                      <a:pt x="1252" y="65"/>
                    </a:cubicBezTo>
                    <a:cubicBezTo>
                      <a:pt x="1252" y="65"/>
                      <a:pt x="1252" y="65"/>
                      <a:pt x="1252" y="65"/>
                    </a:cubicBezTo>
                    <a:cubicBezTo>
                      <a:pt x="1252" y="65"/>
                      <a:pt x="1252" y="65"/>
                      <a:pt x="1252" y="65"/>
                    </a:cubicBezTo>
                    <a:cubicBezTo>
                      <a:pt x="1252" y="65"/>
                      <a:pt x="1252" y="65"/>
                      <a:pt x="1252" y="65"/>
                    </a:cubicBezTo>
                    <a:cubicBezTo>
                      <a:pt x="1251" y="65"/>
                      <a:pt x="1251" y="66"/>
                      <a:pt x="1251" y="66"/>
                    </a:cubicBezTo>
                    <a:cubicBezTo>
                      <a:pt x="1251" y="66"/>
                      <a:pt x="1251" y="66"/>
                      <a:pt x="1251" y="66"/>
                    </a:cubicBezTo>
                    <a:cubicBezTo>
                      <a:pt x="1251" y="66"/>
                      <a:pt x="1251" y="66"/>
                      <a:pt x="1251" y="67"/>
                    </a:cubicBezTo>
                    <a:cubicBezTo>
                      <a:pt x="1251" y="66"/>
                      <a:pt x="1251" y="66"/>
                      <a:pt x="1251" y="66"/>
                    </a:cubicBezTo>
                    <a:cubicBezTo>
                      <a:pt x="1250" y="67"/>
                      <a:pt x="1250" y="67"/>
                      <a:pt x="1250" y="67"/>
                    </a:cubicBezTo>
                    <a:cubicBezTo>
                      <a:pt x="1250" y="68"/>
                      <a:pt x="1250" y="68"/>
                      <a:pt x="1250" y="68"/>
                    </a:cubicBezTo>
                    <a:cubicBezTo>
                      <a:pt x="1250" y="68"/>
                      <a:pt x="1249" y="68"/>
                      <a:pt x="1249" y="68"/>
                    </a:cubicBezTo>
                    <a:cubicBezTo>
                      <a:pt x="1249" y="68"/>
                      <a:pt x="1249" y="68"/>
                      <a:pt x="1249" y="68"/>
                    </a:cubicBezTo>
                    <a:cubicBezTo>
                      <a:pt x="1249" y="68"/>
                      <a:pt x="1249" y="69"/>
                      <a:pt x="1249" y="69"/>
                    </a:cubicBezTo>
                    <a:cubicBezTo>
                      <a:pt x="1249" y="69"/>
                      <a:pt x="1249" y="69"/>
                      <a:pt x="1249" y="69"/>
                    </a:cubicBezTo>
                    <a:cubicBezTo>
                      <a:pt x="1248" y="69"/>
                      <a:pt x="1248" y="70"/>
                      <a:pt x="1248" y="70"/>
                    </a:cubicBezTo>
                    <a:cubicBezTo>
                      <a:pt x="1248" y="70"/>
                      <a:pt x="1248" y="70"/>
                      <a:pt x="1248" y="70"/>
                    </a:cubicBezTo>
                    <a:cubicBezTo>
                      <a:pt x="1248" y="70"/>
                      <a:pt x="1248" y="71"/>
                      <a:pt x="1248" y="71"/>
                    </a:cubicBezTo>
                    <a:cubicBezTo>
                      <a:pt x="1248" y="71"/>
                      <a:pt x="1248" y="71"/>
                      <a:pt x="1248" y="71"/>
                    </a:cubicBezTo>
                    <a:cubicBezTo>
                      <a:pt x="1247" y="71"/>
                      <a:pt x="1247" y="72"/>
                      <a:pt x="1247" y="72"/>
                    </a:cubicBezTo>
                    <a:cubicBezTo>
                      <a:pt x="1247" y="72"/>
                      <a:pt x="1247" y="72"/>
                      <a:pt x="1247" y="72"/>
                    </a:cubicBezTo>
                    <a:cubicBezTo>
                      <a:pt x="1247" y="72"/>
                      <a:pt x="1247" y="73"/>
                      <a:pt x="1246" y="73"/>
                    </a:cubicBezTo>
                    <a:cubicBezTo>
                      <a:pt x="1246" y="73"/>
                      <a:pt x="1246" y="73"/>
                      <a:pt x="1246" y="73"/>
                    </a:cubicBezTo>
                    <a:cubicBezTo>
                      <a:pt x="1246" y="74"/>
                      <a:pt x="1246" y="74"/>
                      <a:pt x="1246" y="74"/>
                    </a:cubicBezTo>
                    <a:cubicBezTo>
                      <a:pt x="1246" y="74"/>
                      <a:pt x="1246" y="74"/>
                      <a:pt x="1246" y="74"/>
                    </a:cubicBezTo>
                    <a:cubicBezTo>
                      <a:pt x="1245" y="75"/>
                      <a:pt x="1245" y="75"/>
                      <a:pt x="1245" y="76"/>
                    </a:cubicBezTo>
                    <a:cubicBezTo>
                      <a:pt x="1245" y="76"/>
                      <a:pt x="1245" y="76"/>
                      <a:pt x="1245" y="76"/>
                    </a:cubicBezTo>
                    <a:cubicBezTo>
                      <a:pt x="1245" y="77"/>
                      <a:pt x="1245" y="77"/>
                      <a:pt x="1245" y="77"/>
                    </a:cubicBezTo>
                    <a:cubicBezTo>
                      <a:pt x="1245" y="78"/>
                      <a:pt x="1245" y="78"/>
                      <a:pt x="1245" y="78"/>
                    </a:cubicBezTo>
                    <a:cubicBezTo>
                      <a:pt x="1244" y="78"/>
                      <a:pt x="1244" y="79"/>
                      <a:pt x="1244" y="79"/>
                    </a:cubicBezTo>
                    <a:cubicBezTo>
                      <a:pt x="1244" y="79"/>
                      <a:pt x="1244" y="79"/>
                      <a:pt x="1244" y="79"/>
                    </a:cubicBezTo>
                    <a:cubicBezTo>
                      <a:pt x="1244" y="80"/>
                      <a:pt x="1244" y="80"/>
                      <a:pt x="1244" y="80"/>
                    </a:cubicBezTo>
                    <a:cubicBezTo>
                      <a:pt x="1243" y="80"/>
                      <a:pt x="1244" y="81"/>
                      <a:pt x="1244" y="82"/>
                    </a:cubicBezTo>
                    <a:cubicBezTo>
                      <a:pt x="1244" y="82"/>
                      <a:pt x="1244" y="82"/>
                      <a:pt x="1243" y="83"/>
                    </a:cubicBezTo>
                    <a:cubicBezTo>
                      <a:pt x="1243" y="83"/>
                      <a:pt x="1243" y="85"/>
                      <a:pt x="1243" y="86"/>
                    </a:cubicBezTo>
                    <a:cubicBezTo>
                      <a:pt x="1243" y="86"/>
                      <a:pt x="1243" y="87"/>
                      <a:pt x="1243" y="88"/>
                    </a:cubicBezTo>
                    <a:cubicBezTo>
                      <a:pt x="1242" y="90"/>
                      <a:pt x="1242" y="92"/>
                      <a:pt x="1243" y="93"/>
                    </a:cubicBezTo>
                    <a:cubicBezTo>
                      <a:pt x="1243" y="94"/>
                      <a:pt x="1243" y="94"/>
                      <a:pt x="1243" y="95"/>
                    </a:cubicBezTo>
                    <a:cubicBezTo>
                      <a:pt x="1244" y="96"/>
                      <a:pt x="1243" y="97"/>
                      <a:pt x="1243" y="99"/>
                    </a:cubicBezTo>
                    <a:cubicBezTo>
                      <a:pt x="1244" y="99"/>
                      <a:pt x="1244" y="99"/>
                      <a:pt x="1244" y="99"/>
                    </a:cubicBezTo>
                    <a:cubicBezTo>
                      <a:pt x="1244" y="100"/>
                      <a:pt x="1244" y="100"/>
                      <a:pt x="1244" y="101"/>
                    </a:cubicBezTo>
                    <a:cubicBezTo>
                      <a:pt x="1244" y="101"/>
                      <a:pt x="1244" y="101"/>
                      <a:pt x="1244" y="101"/>
                    </a:cubicBezTo>
                    <a:cubicBezTo>
                      <a:pt x="1245" y="102"/>
                      <a:pt x="1244" y="103"/>
                      <a:pt x="1245" y="103"/>
                    </a:cubicBezTo>
                    <a:cubicBezTo>
                      <a:pt x="1245" y="103"/>
                      <a:pt x="1245" y="103"/>
                      <a:pt x="1245" y="103"/>
                    </a:cubicBezTo>
                    <a:cubicBezTo>
                      <a:pt x="1245" y="104"/>
                      <a:pt x="1245" y="104"/>
                      <a:pt x="1245" y="104"/>
                    </a:cubicBezTo>
                    <a:cubicBezTo>
                      <a:pt x="1245" y="104"/>
                      <a:pt x="1245" y="105"/>
                      <a:pt x="1245" y="105"/>
                    </a:cubicBezTo>
                    <a:cubicBezTo>
                      <a:pt x="1245" y="105"/>
                      <a:pt x="1245" y="105"/>
                      <a:pt x="1245" y="105"/>
                    </a:cubicBezTo>
                    <a:cubicBezTo>
                      <a:pt x="1246" y="105"/>
                      <a:pt x="1245" y="106"/>
                      <a:pt x="1246" y="107"/>
                    </a:cubicBezTo>
                    <a:cubicBezTo>
                      <a:pt x="1246" y="107"/>
                      <a:pt x="1246" y="107"/>
                      <a:pt x="1246" y="107"/>
                    </a:cubicBezTo>
                    <a:cubicBezTo>
                      <a:pt x="1246" y="107"/>
                      <a:pt x="1246" y="108"/>
                      <a:pt x="1246" y="108"/>
                    </a:cubicBezTo>
                    <a:cubicBezTo>
                      <a:pt x="1246" y="108"/>
                      <a:pt x="1246" y="108"/>
                      <a:pt x="1246" y="108"/>
                    </a:cubicBezTo>
                    <a:cubicBezTo>
                      <a:pt x="1247" y="108"/>
                      <a:pt x="1247" y="109"/>
                      <a:pt x="1247" y="109"/>
                    </a:cubicBezTo>
                    <a:cubicBezTo>
                      <a:pt x="1247" y="109"/>
                      <a:pt x="1247" y="109"/>
                      <a:pt x="1247" y="109"/>
                    </a:cubicBezTo>
                    <a:cubicBezTo>
                      <a:pt x="1247" y="109"/>
                      <a:pt x="1247" y="110"/>
                      <a:pt x="1248" y="110"/>
                    </a:cubicBezTo>
                    <a:cubicBezTo>
                      <a:pt x="1248" y="110"/>
                      <a:pt x="1248" y="110"/>
                      <a:pt x="1248" y="110"/>
                    </a:cubicBezTo>
                    <a:cubicBezTo>
                      <a:pt x="1248" y="110"/>
                      <a:pt x="1248" y="110"/>
                      <a:pt x="1248" y="111"/>
                    </a:cubicBezTo>
                    <a:cubicBezTo>
                      <a:pt x="1248" y="111"/>
                      <a:pt x="1248" y="111"/>
                      <a:pt x="1248" y="111"/>
                    </a:cubicBezTo>
                    <a:cubicBezTo>
                      <a:pt x="1248" y="111"/>
                      <a:pt x="1248" y="112"/>
                      <a:pt x="1249" y="112"/>
                    </a:cubicBezTo>
                    <a:cubicBezTo>
                      <a:pt x="1249" y="112"/>
                      <a:pt x="1249" y="112"/>
                      <a:pt x="1249" y="112"/>
                    </a:cubicBezTo>
                    <a:cubicBezTo>
                      <a:pt x="1249" y="112"/>
                      <a:pt x="1249" y="113"/>
                      <a:pt x="1250" y="114"/>
                    </a:cubicBezTo>
                    <a:cubicBezTo>
                      <a:pt x="1250" y="114"/>
                      <a:pt x="1250" y="114"/>
                      <a:pt x="1250" y="114"/>
                    </a:cubicBezTo>
                    <a:cubicBezTo>
                      <a:pt x="1250" y="114"/>
                      <a:pt x="1250" y="114"/>
                      <a:pt x="1250" y="114"/>
                    </a:cubicBezTo>
                    <a:cubicBezTo>
                      <a:pt x="1250" y="114"/>
                      <a:pt x="1250" y="114"/>
                      <a:pt x="1250" y="114"/>
                    </a:cubicBezTo>
                    <a:cubicBezTo>
                      <a:pt x="1251" y="115"/>
                      <a:pt x="1251" y="115"/>
                      <a:pt x="1252" y="116"/>
                    </a:cubicBezTo>
                    <a:cubicBezTo>
                      <a:pt x="1252" y="116"/>
                      <a:pt x="1252" y="116"/>
                      <a:pt x="1252" y="116"/>
                    </a:cubicBezTo>
                    <a:cubicBezTo>
                      <a:pt x="1252" y="116"/>
                      <a:pt x="1252" y="116"/>
                      <a:pt x="1252" y="116"/>
                    </a:cubicBezTo>
                    <a:cubicBezTo>
                      <a:pt x="1252" y="116"/>
                      <a:pt x="1252" y="116"/>
                      <a:pt x="1252" y="116"/>
                    </a:cubicBezTo>
                    <a:cubicBezTo>
                      <a:pt x="1252" y="117"/>
                      <a:pt x="1252" y="117"/>
                      <a:pt x="1253" y="117"/>
                    </a:cubicBezTo>
                    <a:cubicBezTo>
                      <a:pt x="1253" y="117"/>
                      <a:pt x="1253" y="117"/>
                      <a:pt x="1253" y="117"/>
                    </a:cubicBezTo>
                    <a:cubicBezTo>
                      <a:pt x="1253" y="117"/>
                      <a:pt x="1253" y="117"/>
                      <a:pt x="1253" y="118"/>
                    </a:cubicBezTo>
                    <a:cubicBezTo>
                      <a:pt x="1253" y="118"/>
                      <a:pt x="1253" y="118"/>
                      <a:pt x="1253" y="118"/>
                    </a:cubicBezTo>
                    <a:cubicBezTo>
                      <a:pt x="1253" y="118"/>
                      <a:pt x="1254" y="118"/>
                      <a:pt x="1254" y="118"/>
                    </a:cubicBezTo>
                    <a:cubicBezTo>
                      <a:pt x="1254" y="118"/>
                      <a:pt x="1254" y="118"/>
                      <a:pt x="1254" y="118"/>
                    </a:cubicBezTo>
                    <a:cubicBezTo>
                      <a:pt x="1254" y="118"/>
                      <a:pt x="1254" y="119"/>
                      <a:pt x="1255" y="119"/>
                    </a:cubicBezTo>
                    <a:cubicBezTo>
                      <a:pt x="1254" y="119"/>
                      <a:pt x="1254" y="119"/>
                      <a:pt x="1254" y="119"/>
                    </a:cubicBezTo>
                    <a:cubicBezTo>
                      <a:pt x="1255" y="119"/>
                      <a:pt x="1255" y="119"/>
                      <a:pt x="1255" y="119"/>
                    </a:cubicBezTo>
                    <a:cubicBezTo>
                      <a:pt x="1255" y="119"/>
                      <a:pt x="1255" y="119"/>
                      <a:pt x="1255" y="119"/>
                    </a:cubicBezTo>
                    <a:cubicBezTo>
                      <a:pt x="1255" y="120"/>
                      <a:pt x="1255" y="120"/>
                      <a:pt x="1256" y="120"/>
                    </a:cubicBezTo>
                    <a:cubicBezTo>
                      <a:pt x="1256" y="120"/>
                      <a:pt x="1256" y="120"/>
                      <a:pt x="1256" y="120"/>
                    </a:cubicBezTo>
                    <a:cubicBezTo>
                      <a:pt x="1256" y="120"/>
                      <a:pt x="1256" y="120"/>
                      <a:pt x="1256" y="120"/>
                    </a:cubicBezTo>
                    <a:cubicBezTo>
                      <a:pt x="1256" y="120"/>
                      <a:pt x="1256" y="120"/>
                      <a:pt x="1256" y="120"/>
                    </a:cubicBezTo>
                    <a:cubicBezTo>
                      <a:pt x="1256" y="121"/>
                      <a:pt x="1257" y="121"/>
                      <a:pt x="1257" y="121"/>
                    </a:cubicBezTo>
                    <a:cubicBezTo>
                      <a:pt x="1257" y="121"/>
                      <a:pt x="1257" y="121"/>
                      <a:pt x="1257" y="121"/>
                    </a:cubicBezTo>
                    <a:cubicBezTo>
                      <a:pt x="1257" y="122"/>
                      <a:pt x="1258" y="122"/>
                      <a:pt x="1258" y="122"/>
                    </a:cubicBezTo>
                    <a:cubicBezTo>
                      <a:pt x="1258" y="122"/>
                      <a:pt x="1258" y="122"/>
                      <a:pt x="1258" y="122"/>
                    </a:cubicBezTo>
                    <a:cubicBezTo>
                      <a:pt x="1259" y="122"/>
                      <a:pt x="1259" y="123"/>
                      <a:pt x="1259" y="123"/>
                    </a:cubicBezTo>
                    <a:cubicBezTo>
                      <a:pt x="1259" y="123"/>
                      <a:pt x="1259" y="123"/>
                      <a:pt x="1259" y="123"/>
                    </a:cubicBezTo>
                    <a:cubicBezTo>
                      <a:pt x="1259" y="123"/>
                      <a:pt x="1259" y="123"/>
                      <a:pt x="1260" y="123"/>
                    </a:cubicBezTo>
                    <a:cubicBezTo>
                      <a:pt x="1260" y="123"/>
                      <a:pt x="1260" y="123"/>
                      <a:pt x="1260" y="123"/>
                    </a:cubicBezTo>
                    <a:cubicBezTo>
                      <a:pt x="1260" y="124"/>
                      <a:pt x="1261" y="124"/>
                      <a:pt x="1261" y="125"/>
                    </a:cubicBezTo>
                    <a:cubicBezTo>
                      <a:pt x="1261" y="125"/>
                      <a:pt x="1261" y="125"/>
                      <a:pt x="1261" y="125"/>
                    </a:cubicBezTo>
                    <a:cubicBezTo>
                      <a:pt x="1262" y="125"/>
                      <a:pt x="1262" y="125"/>
                      <a:pt x="1262" y="125"/>
                    </a:cubicBezTo>
                    <a:cubicBezTo>
                      <a:pt x="1262" y="125"/>
                      <a:pt x="1262" y="125"/>
                      <a:pt x="1262" y="125"/>
                    </a:cubicBezTo>
                    <a:cubicBezTo>
                      <a:pt x="1262" y="125"/>
                      <a:pt x="1262" y="126"/>
                      <a:pt x="1263" y="126"/>
                    </a:cubicBezTo>
                    <a:cubicBezTo>
                      <a:pt x="1263" y="126"/>
                      <a:pt x="1263" y="126"/>
                      <a:pt x="1263" y="126"/>
                    </a:cubicBezTo>
                    <a:cubicBezTo>
                      <a:pt x="1263" y="126"/>
                      <a:pt x="1263" y="126"/>
                      <a:pt x="1264" y="126"/>
                    </a:cubicBezTo>
                    <a:cubicBezTo>
                      <a:pt x="1264" y="126"/>
                      <a:pt x="1264" y="126"/>
                      <a:pt x="1264" y="126"/>
                    </a:cubicBezTo>
                    <a:cubicBezTo>
                      <a:pt x="1264" y="126"/>
                      <a:pt x="1264" y="127"/>
                      <a:pt x="1264" y="127"/>
                    </a:cubicBezTo>
                    <a:cubicBezTo>
                      <a:pt x="1264" y="127"/>
                      <a:pt x="1264" y="127"/>
                      <a:pt x="1264" y="127"/>
                    </a:cubicBezTo>
                    <a:cubicBezTo>
                      <a:pt x="1264" y="127"/>
                      <a:pt x="1265" y="127"/>
                      <a:pt x="1265" y="127"/>
                    </a:cubicBezTo>
                    <a:cubicBezTo>
                      <a:pt x="1265" y="127"/>
                      <a:pt x="1265" y="127"/>
                      <a:pt x="1265" y="127"/>
                    </a:cubicBezTo>
                    <a:cubicBezTo>
                      <a:pt x="1266" y="128"/>
                      <a:pt x="1266" y="128"/>
                      <a:pt x="1266" y="128"/>
                    </a:cubicBezTo>
                    <a:cubicBezTo>
                      <a:pt x="1266" y="128"/>
                      <a:pt x="1266" y="128"/>
                      <a:pt x="1266" y="128"/>
                    </a:cubicBezTo>
                    <a:cubicBezTo>
                      <a:pt x="1266" y="128"/>
                      <a:pt x="1267" y="128"/>
                      <a:pt x="1267" y="129"/>
                    </a:cubicBezTo>
                    <a:cubicBezTo>
                      <a:pt x="1267" y="129"/>
                      <a:pt x="1267" y="129"/>
                      <a:pt x="1267" y="129"/>
                    </a:cubicBezTo>
                    <a:cubicBezTo>
                      <a:pt x="1267" y="129"/>
                      <a:pt x="1268" y="129"/>
                      <a:pt x="1268" y="129"/>
                    </a:cubicBezTo>
                    <a:cubicBezTo>
                      <a:pt x="1268" y="129"/>
                      <a:pt x="1268" y="129"/>
                      <a:pt x="1268" y="129"/>
                    </a:cubicBezTo>
                    <a:cubicBezTo>
                      <a:pt x="1268" y="129"/>
                      <a:pt x="1269" y="129"/>
                      <a:pt x="1269" y="130"/>
                    </a:cubicBezTo>
                    <a:cubicBezTo>
                      <a:pt x="1269" y="130"/>
                      <a:pt x="1269" y="130"/>
                      <a:pt x="1269" y="130"/>
                    </a:cubicBezTo>
                    <a:cubicBezTo>
                      <a:pt x="1269" y="130"/>
                      <a:pt x="1269" y="130"/>
                      <a:pt x="1269" y="130"/>
                    </a:cubicBezTo>
                    <a:cubicBezTo>
                      <a:pt x="1269" y="130"/>
                      <a:pt x="1269" y="130"/>
                      <a:pt x="1269" y="130"/>
                    </a:cubicBezTo>
                    <a:cubicBezTo>
                      <a:pt x="1270" y="131"/>
                      <a:pt x="1270" y="131"/>
                      <a:pt x="1271" y="131"/>
                    </a:cubicBezTo>
                    <a:cubicBezTo>
                      <a:pt x="1271" y="131"/>
                      <a:pt x="1271" y="131"/>
                      <a:pt x="1271" y="131"/>
                    </a:cubicBezTo>
                    <a:cubicBezTo>
                      <a:pt x="1271" y="131"/>
                      <a:pt x="1271" y="131"/>
                      <a:pt x="1271" y="131"/>
                    </a:cubicBezTo>
                    <a:cubicBezTo>
                      <a:pt x="1271" y="131"/>
                      <a:pt x="1271" y="131"/>
                      <a:pt x="1271" y="131"/>
                    </a:cubicBezTo>
                    <a:cubicBezTo>
                      <a:pt x="1271" y="132"/>
                      <a:pt x="1272" y="132"/>
                      <a:pt x="1272" y="132"/>
                    </a:cubicBezTo>
                    <a:cubicBezTo>
                      <a:pt x="1272" y="132"/>
                      <a:pt x="1272" y="132"/>
                      <a:pt x="1272" y="132"/>
                    </a:cubicBezTo>
                    <a:cubicBezTo>
                      <a:pt x="1273" y="132"/>
                      <a:pt x="1273" y="132"/>
                      <a:pt x="1273" y="133"/>
                    </a:cubicBezTo>
                    <a:cubicBezTo>
                      <a:pt x="1273" y="133"/>
                      <a:pt x="1273" y="133"/>
                      <a:pt x="1273" y="133"/>
                    </a:cubicBezTo>
                    <a:cubicBezTo>
                      <a:pt x="1274" y="133"/>
                      <a:pt x="1274" y="133"/>
                      <a:pt x="1274" y="133"/>
                    </a:cubicBezTo>
                    <a:cubicBezTo>
                      <a:pt x="1274" y="133"/>
                      <a:pt x="1274" y="133"/>
                      <a:pt x="1274" y="133"/>
                    </a:cubicBezTo>
                    <a:cubicBezTo>
                      <a:pt x="1274" y="134"/>
                      <a:pt x="1275" y="133"/>
                      <a:pt x="1275" y="134"/>
                    </a:cubicBezTo>
                    <a:cubicBezTo>
                      <a:pt x="1275" y="134"/>
                      <a:pt x="1275" y="134"/>
                      <a:pt x="1275" y="134"/>
                    </a:cubicBezTo>
                    <a:cubicBezTo>
                      <a:pt x="1275" y="134"/>
                      <a:pt x="1276" y="134"/>
                      <a:pt x="1276" y="134"/>
                    </a:cubicBezTo>
                    <a:cubicBezTo>
                      <a:pt x="1276" y="134"/>
                      <a:pt x="1276" y="134"/>
                      <a:pt x="1276" y="134"/>
                    </a:cubicBezTo>
                    <a:cubicBezTo>
                      <a:pt x="1277" y="135"/>
                      <a:pt x="1277" y="135"/>
                      <a:pt x="1278" y="135"/>
                    </a:cubicBezTo>
                    <a:cubicBezTo>
                      <a:pt x="1278" y="135"/>
                      <a:pt x="1278" y="135"/>
                      <a:pt x="1278" y="135"/>
                    </a:cubicBezTo>
                    <a:cubicBezTo>
                      <a:pt x="1278" y="136"/>
                      <a:pt x="1279" y="136"/>
                      <a:pt x="1279" y="136"/>
                    </a:cubicBezTo>
                    <a:cubicBezTo>
                      <a:pt x="1279" y="136"/>
                      <a:pt x="1279" y="136"/>
                      <a:pt x="1279" y="136"/>
                    </a:cubicBezTo>
                    <a:cubicBezTo>
                      <a:pt x="1279" y="136"/>
                      <a:pt x="1280" y="136"/>
                      <a:pt x="1280" y="137"/>
                    </a:cubicBezTo>
                    <a:cubicBezTo>
                      <a:pt x="1280" y="137"/>
                      <a:pt x="1280" y="137"/>
                      <a:pt x="1280" y="137"/>
                    </a:cubicBezTo>
                    <a:cubicBezTo>
                      <a:pt x="1281" y="137"/>
                      <a:pt x="1281" y="137"/>
                      <a:pt x="1281" y="137"/>
                    </a:cubicBezTo>
                    <a:cubicBezTo>
                      <a:pt x="1281" y="137"/>
                      <a:pt x="1281" y="137"/>
                      <a:pt x="1281" y="137"/>
                    </a:cubicBezTo>
                    <a:cubicBezTo>
                      <a:pt x="1281" y="138"/>
                      <a:pt x="1282" y="137"/>
                      <a:pt x="1282" y="138"/>
                    </a:cubicBezTo>
                    <a:cubicBezTo>
                      <a:pt x="1282" y="138"/>
                      <a:pt x="1282" y="138"/>
                      <a:pt x="1282" y="138"/>
                    </a:cubicBezTo>
                    <a:cubicBezTo>
                      <a:pt x="1282" y="138"/>
                      <a:pt x="1283" y="138"/>
                      <a:pt x="1283" y="138"/>
                    </a:cubicBezTo>
                    <a:cubicBezTo>
                      <a:pt x="1283" y="138"/>
                      <a:pt x="1283" y="138"/>
                      <a:pt x="1283" y="138"/>
                    </a:cubicBezTo>
                    <a:cubicBezTo>
                      <a:pt x="1283" y="139"/>
                      <a:pt x="1284" y="139"/>
                      <a:pt x="1284" y="139"/>
                    </a:cubicBezTo>
                    <a:cubicBezTo>
                      <a:pt x="1284" y="139"/>
                      <a:pt x="1284" y="139"/>
                      <a:pt x="1284" y="139"/>
                    </a:cubicBezTo>
                    <a:cubicBezTo>
                      <a:pt x="1284" y="139"/>
                      <a:pt x="1285" y="139"/>
                      <a:pt x="1285" y="139"/>
                    </a:cubicBezTo>
                    <a:cubicBezTo>
                      <a:pt x="1285" y="139"/>
                      <a:pt x="1285" y="139"/>
                      <a:pt x="1285" y="139"/>
                    </a:cubicBezTo>
                    <a:cubicBezTo>
                      <a:pt x="1285" y="140"/>
                      <a:pt x="1286" y="140"/>
                      <a:pt x="1286" y="140"/>
                    </a:cubicBezTo>
                    <a:cubicBezTo>
                      <a:pt x="1286" y="140"/>
                      <a:pt x="1286" y="140"/>
                      <a:pt x="1286" y="140"/>
                    </a:cubicBezTo>
                    <a:cubicBezTo>
                      <a:pt x="1286" y="140"/>
                      <a:pt x="1286" y="141"/>
                      <a:pt x="1287" y="141"/>
                    </a:cubicBezTo>
                    <a:cubicBezTo>
                      <a:pt x="1287" y="141"/>
                      <a:pt x="1287" y="141"/>
                      <a:pt x="1287" y="141"/>
                    </a:cubicBezTo>
                    <a:cubicBezTo>
                      <a:pt x="1287" y="141"/>
                      <a:pt x="1288" y="141"/>
                      <a:pt x="1288" y="141"/>
                    </a:cubicBezTo>
                    <a:cubicBezTo>
                      <a:pt x="1288" y="141"/>
                      <a:pt x="1288" y="141"/>
                      <a:pt x="1288" y="141"/>
                    </a:cubicBezTo>
                    <a:cubicBezTo>
                      <a:pt x="1288" y="141"/>
                      <a:pt x="1288" y="142"/>
                      <a:pt x="1289" y="142"/>
                    </a:cubicBezTo>
                    <a:cubicBezTo>
                      <a:pt x="1289" y="142"/>
                      <a:pt x="1289" y="142"/>
                      <a:pt x="1289" y="142"/>
                    </a:cubicBezTo>
                    <a:cubicBezTo>
                      <a:pt x="1289" y="142"/>
                      <a:pt x="1289" y="142"/>
                      <a:pt x="1290" y="142"/>
                    </a:cubicBezTo>
                    <a:cubicBezTo>
                      <a:pt x="1290" y="142"/>
                      <a:pt x="1290" y="142"/>
                      <a:pt x="1290" y="142"/>
                    </a:cubicBezTo>
                    <a:cubicBezTo>
                      <a:pt x="1290" y="143"/>
                      <a:pt x="1291" y="143"/>
                      <a:pt x="1291" y="143"/>
                    </a:cubicBezTo>
                    <a:cubicBezTo>
                      <a:pt x="1291" y="143"/>
                      <a:pt x="1291" y="143"/>
                      <a:pt x="1291" y="143"/>
                    </a:cubicBezTo>
                    <a:cubicBezTo>
                      <a:pt x="1292" y="144"/>
                      <a:pt x="1292" y="144"/>
                      <a:pt x="1293" y="145"/>
                    </a:cubicBezTo>
                    <a:cubicBezTo>
                      <a:pt x="1293" y="145"/>
                      <a:pt x="1293" y="145"/>
                      <a:pt x="1293" y="145"/>
                    </a:cubicBezTo>
                    <a:cubicBezTo>
                      <a:pt x="1293" y="145"/>
                      <a:pt x="1293" y="145"/>
                      <a:pt x="1294" y="145"/>
                    </a:cubicBezTo>
                    <a:cubicBezTo>
                      <a:pt x="1294" y="145"/>
                      <a:pt x="1294" y="145"/>
                      <a:pt x="1294" y="145"/>
                    </a:cubicBezTo>
                    <a:cubicBezTo>
                      <a:pt x="1294" y="146"/>
                      <a:pt x="1294" y="145"/>
                      <a:pt x="1295" y="146"/>
                    </a:cubicBezTo>
                    <a:cubicBezTo>
                      <a:pt x="1295" y="146"/>
                      <a:pt x="1295" y="146"/>
                      <a:pt x="1295" y="146"/>
                    </a:cubicBezTo>
                    <a:cubicBezTo>
                      <a:pt x="1295" y="146"/>
                      <a:pt x="1295" y="146"/>
                      <a:pt x="1295" y="146"/>
                    </a:cubicBezTo>
                    <a:cubicBezTo>
                      <a:pt x="1295" y="146"/>
                      <a:pt x="1295" y="146"/>
                      <a:pt x="1295" y="146"/>
                    </a:cubicBezTo>
                    <a:cubicBezTo>
                      <a:pt x="1296" y="147"/>
                      <a:pt x="1296" y="147"/>
                      <a:pt x="1296" y="147"/>
                    </a:cubicBezTo>
                    <a:cubicBezTo>
                      <a:pt x="1296" y="147"/>
                      <a:pt x="1296" y="147"/>
                      <a:pt x="1296" y="147"/>
                    </a:cubicBezTo>
                    <a:cubicBezTo>
                      <a:pt x="1297" y="147"/>
                      <a:pt x="1297" y="147"/>
                      <a:pt x="1297" y="148"/>
                    </a:cubicBezTo>
                    <a:cubicBezTo>
                      <a:pt x="1297" y="148"/>
                      <a:pt x="1297" y="148"/>
                      <a:pt x="1297" y="148"/>
                    </a:cubicBezTo>
                    <a:cubicBezTo>
                      <a:pt x="1297" y="148"/>
                      <a:pt x="1297" y="148"/>
                      <a:pt x="1298" y="148"/>
                    </a:cubicBezTo>
                    <a:cubicBezTo>
                      <a:pt x="1298" y="148"/>
                      <a:pt x="1298" y="148"/>
                      <a:pt x="1298" y="148"/>
                    </a:cubicBezTo>
                    <a:cubicBezTo>
                      <a:pt x="1298" y="149"/>
                      <a:pt x="1299" y="149"/>
                      <a:pt x="1299" y="149"/>
                    </a:cubicBezTo>
                    <a:cubicBezTo>
                      <a:pt x="1299" y="149"/>
                      <a:pt x="1299" y="149"/>
                      <a:pt x="1299" y="149"/>
                    </a:cubicBezTo>
                    <a:cubicBezTo>
                      <a:pt x="1300" y="150"/>
                      <a:pt x="1300" y="150"/>
                      <a:pt x="1300" y="150"/>
                    </a:cubicBezTo>
                    <a:cubicBezTo>
                      <a:pt x="1300" y="150"/>
                      <a:pt x="1300" y="150"/>
                      <a:pt x="1300" y="150"/>
                    </a:cubicBezTo>
                    <a:cubicBezTo>
                      <a:pt x="1300" y="150"/>
                      <a:pt x="1300" y="150"/>
                      <a:pt x="1301" y="150"/>
                    </a:cubicBezTo>
                    <a:cubicBezTo>
                      <a:pt x="1301" y="150"/>
                      <a:pt x="1301" y="150"/>
                      <a:pt x="1301" y="150"/>
                    </a:cubicBezTo>
                    <a:cubicBezTo>
                      <a:pt x="1301" y="151"/>
                      <a:pt x="1301" y="151"/>
                      <a:pt x="1301" y="151"/>
                    </a:cubicBezTo>
                    <a:cubicBezTo>
                      <a:pt x="1301" y="151"/>
                      <a:pt x="1301" y="151"/>
                      <a:pt x="1301" y="151"/>
                    </a:cubicBezTo>
                    <a:cubicBezTo>
                      <a:pt x="1301" y="151"/>
                      <a:pt x="1301" y="151"/>
                      <a:pt x="1302" y="151"/>
                    </a:cubicBezTo>
                    <a:cubicBezTo>
                      <a:pt x="1302" y="151"/>
                      <a:pt x="1302" y="151"/>
                      <a:pt x="1302" y="151"/>
                    </a:cubicBezTo>
                    <a:cubicBezTo>
                      <a:pt x="1302" y="152"/>
                      <a:pt x="1303" y="153"/>
                      <a:pt x="1304" y="153"/>
                    </a:cubicBezTo>
                    <a:cubicBezTo>
                      <a:pt x="1304" y="153"/>
                      <a:pt x="1304" y="153"/>
                      <a:pt x="1304" y="153"/>
                    </a:cubicBezTo>
                    <a:cubicBezTo>
                      <a:pt x="1304" y="154"/>
                      <a:pt x="1304" y="154"/>
                      <a:pt x="1304" y="154"/>
                    </a:cubicBezTo>
                    <a:cubicBezTo>
                      <a:pt x="1304" y="154"/>
                      <a:pt x="1304" y="154"/>
                      <a:pt x="1304" y="154"/>
                    </a:cubicBezTo>
                    <a:cubicBezTo>
                      <a:pt x="1304" y="154"/>
                      <a:pt x="1304" y="154"/>
                      <a:pt x="1305" y="154"/>
                    </a:cubicBezTo>
                    <a:cubicBezTo>
                      <a:pt x="1305" y="154"/>
                      <a:pt x="1305" y="154"/>
                      <a:pt x="1305" y="154"/>
                    </a:cubicBezTo>
                    <a:cubicBezTo>
                      <a:pt x="1305" y="155"/>
                      <a:pt x="1305" y="155"/>
                      <a:pt x="1305" y="155"/>
                    </a:cubicBezTo>
                    <a:cubicBezTo>
                      <a:pt x="1305" y="155"/>
                      <a:pt x="1305" y="155"/>
                      <a:pt x="1305" y="155"/>
                    </a:cubicBezTo>
                    <a:cubicBezTo>
                      <a:pt x="1306" y="156"/>
                      <a:pt x="1306" y="156"/>
                      <a:pt x="1306" y="157"/>
                    </a:cubicBezTo>
                    <a:cubicBezTo>
                      <a:pt x="1306" y="157"/>
                      <a:pt x="1306" y="157"/>
                      <a:pt x="1306" y="157"/>
                    </a:cubicBezTo>
                    <a:cubicBezTo>
                      <a:pt x="1307" y="157"/>
                      <a:pt x="1306" y="158"/>
                      <a:pt x="1307" y="158"/>
                    </a:cubicBezTo>
                    <a:cubicBezTo>
                      <a:pt x="1307" y="158"/>
                      <a:pt x="1307" y="158"/>
                      <a:pt x="1307" y="158"/>
                    </a:cubicBezTo>
                    <a:cubicBezTo>
                      <a:pt x="1307" y="158"/>
                      <a:pt x="1307" y="158"/>
                      <a:pt x="1307" y="159"/>
                    </a:cubicBezTo>
                    <a:cubicBezTo>
                      <a:pt x="1307" y="159"/>
                      <a:pt x="1307" y="159"/>
                      <a:pt x="1307" y="159"/>
                    </a:cubicBezTo>
                    <a:cubicBezTo>
                      <a:pt x="1308" y="159"/>
                      <a:pt x="1308" y="159"/>
                      <a:pt x="1308" y="160"/>
                    </a:cubicBezTo>
                    <a:cubicBezTo>
                      <a:pt x="1308" y="160"/>
                      <a:pt x="1308" y="160"/>
                      <a:pt x="1308" y="160"/>
                    </a:cubicBezTo>
                    <a:cubicBezTo>
                      <a:pt x="1308" y="160"/>
                      <a:pt x="1308" y="161"/>
                      <a:pt x="1309" y="161"/>
                    </a:cubicBezTo>
                    <a:cubicBezTo>
                      <a:pt x="1309" y="161"/>
                      <a:pt x="1309" y="161"/>
                      <a:pt x="1309" y="161"/>
                    </a:cubicBezTo>
                    <a:cubicBezTo>
                      <a:pt x="1309" y="162"/>
                      <a:pt x="1309" y="163"/>
                      <a:pt x="1309" y="163"/>
                    </a:cubicBezTo>
                    <a:cubicBezTo>
                      <a:pt x="1309" y="163"/>
                      <a:pt x="1309" y="163"/>
                      <a:pt x="1309" y="163"/>
                    </a:cubicBezTo>
                    <a:cubicBezTo>
                      <a:pt x="1309" y="163"/>
                      <a:pt x="1309" y="163"/>
                      <a:pt x="1309" y="163"/>
                    </a:cubicBezTo>
                    <a:cubicBezTo>
                      <a:pt x="1309" y="164"/>
                      <a:pt x="1309" y="165"/>
                      <a:pt x="1310" y="165"/>
                    </a:cubicBezTo>
                    <a:cubicBezTo>
                      <a:pt x="1310" y="166"/>
                      <a:pt x="1310" y="166"/>
                      <a:pt x="1310" y="166"/>
                    </a:cubicBezTo>
                    <a:cubicBezTo>
                      <a:pt x="1310" y="169"/>
                      <a:pt x="1310" y="172"/>
                      <a:pt x="1310" y="174"/>
                    </a:cubicBezTo>
                    <a:cubicBezTo>
                      <a:pt x="1310" y="174"/>
                      <a:pt x="1310" y="174"/>
                      <a:pt x="1310" y="175"/>
                    </a:cubicBezTo>
                    <a:cubicBezTo>
                      <a:pt x="1309" y="175"/>
                      <a:pt x="1310" y="176"/>
                      <a:pt x="1309" y="177"/>
                    </a:cubicBezTo>
                    <a:cubicBezTo>
                      <a:pt x="1309" y="177"/>
                      <a:pt x="1309" y="177"/>
                      <a:pt x="1309" y="178"/>
                    </a:cubicBezTo>
                    <a:cubicBezTo>
                      <a:pt x="1309" y="178"/>
                      <a:pt x="1309" y="178"/>
                      <a:pt x="1309" y="179"/>
                    </a:cubicBezTo>
                    <a:cubicBezTo>
                      <a:pt x="1309" y="179"/>
                      <a:pt x="1309" y="179"/>
                      <a:pt x="1309" y="179"/>
                    </a:cubicBezTo>
                    <a:cubicBezTo>
                      <a:pt x="1308" y="180"/>
                      <a:pt x="1308" y="180"/>
                      <a:pt x="1308" y="180"/>
                    </a:cubicBezTo>
                    <a:cubicBezTo>
                      <a:pt x="1308" y="180"/>
                      <a:pt x="1308" y="180"/>
                      <a:pt x="1308" y="180"/>
                    </a:cubicBezTo>
                    <a:cubicBezTo>
                      <a:pt x="1308" y="181"/>
                      <a:pt x="1308" y="181"/>
                      <a:pt x="1307" y="182"/>
                    </a:cubicBezTo>
                    <a:cubicBezTo>
                      <a:pt x="1307" y="182"/>
                      <a:pt x="1307" y="182"/>
                      <a:pt x="1307" y="182"/>
                    </a:cubicBezTo>
                    <a:cubicBezTo>
                      <a:pt x="1307" y="182"/>
                      <a:pt x="1307" y="182"/>
                      <a:pt x="1307" y="183"/>
                    </a:cubicBezTo>
                    <a:cubicBezTo>
                      <a:pt x="1307" y="183"/>
                      <a:pt x="1307" y="183"/>
                      <a:pt x="1307" y="183"/>
                    </a:cubicBezTo>
                    <a:cubicBezTo>
                      <a:pt x="1307" y="183"/>
                      <a:pt x="1306" y="183"/>
                      <a:pt x="1306" y="183"/>
                    </a:cubicBezTo>
                    <a:cubicBezTo>
                      <a:pt x="1306" y="183"/>
                      <a:pt x="1306" y="183"/>
                      <a:pt x="1306" y="183"/>
                    </a:cubicBezTo>
                    <a:cubicBezTo>
                      <a:pt x="1306" y="184"/>
                      <a:pt x="1306" y="184"/>
                      <a:pt x="1306" y="184"/>
                    </a:cubicBezTo>
                    <a:cubicBezTo>
                      <a:pt x="1306" y="184"/>
                      <a:pt x="1306" y="184"/>
                      <a:pt x="1306" y="184"/>
                    </a:cubicBezTo>
                    <a:cubicBezTo>
                      <a:pt x="1305" y="185"/>
                      <a:pt x="1305" y="185"/>
                      <a:pt x="1305" y="185"/>
                    </a:cubicBezTo>
                    <a:cubicBezTo>
                      <a:pt x="1305" y="185"/>
                      <a:pt x="1305" y="185"/>
                      <a:pt x="1305" y="185"/>
                    </a:cubicBezTo>
                    <a:cubicBezTo>
                      <a:pt x="1305" y="185"/>
                      <a:pt x="1305" y="185"/>
                      <a:pt x="1305" y="186"/>
                    </a:cubicBezTo>
                    <a:cubicBezTo>
                      <a:pt x="1305" y="186"/>
                      <a:pt x="1305" y="186"/>
                      <a:pt x="1305" y="186"/>
                    </a:cubicBezTo>
                    <a:cubicBezTo>
                      <a:pt x="1304" y="186"/>
                      <a:pt x="1304" y="186"/>
                      <a:pt x="1304" y="186"/>
                    </a:cubicBezTo>
                    <a:cubicBezTo>
                      <a:pt x="1304" y="186"/>
                      <a:pt x="1304" y="186"/>
                      <a:pt x="1304" y="186"/>
                    </a:cubicBezTo>
                    <a:cubicBezTo>
                      <a:pt x="1304" y="186"/>
                      <a:pt x="1304" y="187"/>
                      <a:pt x="1303" y="187"/>
                    </a:cubicBezTo>
                    <a:cubicBezTo>
                      <a:pt x="1303" y="187"/>
                      <a:pt x="1303" y="187"/>
                      <a:pt x="1303" y="187"/>
                    </a:cubicBezTo>
                    <a:cubicBezTo>
                      <a:pt x="1303" y="187"/>
                      <a:pt x="1302" y="187"/>
                      <a:pt x="1302" y="187"/>
                    </a:cubicBezTo>
                    <a:cubicBezTo>
                      <a:pt x="1302" y="187"/>
                      <a:pt x="1302" y="187"/>
                      <a:pt x="1302" y="187"/>
                    </a:cubicBezTo>
                    <a:cubicBezTo>
                      <a:pt x="1302" y="187"/>
                      <a:pt x="1302" y="188"/>
                      <a:pt x="1302" y="188"/>
                    </a:cubicBezTo>
                    <a:cubicBezTo>
                      <a:pt x="1302" y="188"/>
                      <a:pt x="1302" y="188"/>
                      <a:pt x="1302" y="188"/>
                    </a:cubicBezTo>
                    <a:cubicBezTo>
                      <a:pt x="1301" y="188"/>
                      <a:pt x="1301" y="188"/>
                      <a:pt x="1301" y="188"/>
                    </a:cubicBezTo>
                    <a:cubicBezTo>
                      <a:pt x="1301" y="188"/>
                      <a:pt x="1301" y="188"/>
                      <a:pt x="1301" y="188"/>
                    </a:cubicBezTo>
                    <a:cubicBezTo>
                      <a:pt x="1301" y="189"/>
                      <a:pt x="1300" y="189"/>
                      <a:pt x="1300" y="189"/>
                    </a:cubicBezTo>
                    <a:cubicBezTo>
                      <a:pt x="1300" y="189"/>
                      <a:pt x="1300" y="189"/>
                      <a:pt x="1300" y="189"/>
                    </a:cubicBezTo>
                    <a:cubicBezTo>
                      <a:pt x="1300" y="189"/>
                      <a:pt x="1299" y="189"/>
                      <a:pt x="1299" y="190"/>
                    </a:cubicBezTo>
                    <a:cubicBezTo>
                      <a:pt x="1299" y="190"/>
                      <a:pt x="1299" y="190"/>
                      <a:pt x="1299" y="190"/>
                    </a:cubicBezTo>
                    <a:cubicBezTo>
                      <a:pt x="1298" y="190"/>
                      <a:pt x="1298" y="190"/>
                      <a:pt x="1298" y="190"/>
                    </a:cubicBezTo>
                    <a:cubicBezTo>
                      <a:pt x="1298" y="190"/>
                      <a:pt x="1298" y="190"/>
                      <a:pt x="1298" y="190"/>
                    </a:cubicBezTo>
                    <a:cubicBezTo>
                      <a:pt x="1297" y="191"/>
                      <a:pt x="1297" y="190"/>
                      <a:pt x="1296" y="191"/>
                    </a:cubicBezTo>
                    <a:cubicBezTo>
                      <a:pt x="1296" y="191"/>
                      <a:pt x="1296" y="191"/>
                      <a:pt x="1296" y="191"/>
                    </a:cubicBezTo>
                    <a:cubicBezTo>
                      <a:pt x="1296" y="191"/>
                      <a:pt x="1295" y="191"/>
                      <a:pt x="1295" y="191"/>
                    </a:cubicBezTo>
                    <a:cubicBezTo>
                      <a:pt x="1295" y="191"/>
                      <a:pt x="1294" y="191"/>
                      <a:pt x="1294" y="191"/>
                    </a:cubicBezTo>
                    <a:cubicBezTo>
                      <a:pt x="1294" y="192"/>
                      <a:pt x="1293" y="191"/>
                      <a:pt x="1292" y="192"/>
                    </a:cubicBezTo>
                    <a:cubicBezTo>
                      <a:pt x="1292" y="192"/>
                      <a:pt x="1292" y="192"/>
                      <a:pt x="1292" y="192"/>
                    </a:cubicBezTo>
                    <a:cubicBezTo>
                      <a:pt x="1291" y="193"/>
                      <a:pt x="1290" y="192"/>
                      <a:pt x="1290" y="192"/>
                    </a:cubicBezTo>
                    <a:cubicBezTo>
                      <a:pt x="1289" y="192"/>
                      <a:pt x="1289" y="193"/>
                      <a:pt x="1288" y="193"/>
                    </a:cubicBezTo>
                    <a:cubicBezTo>
                      <a:pt x="1287" y="193"/>
                      <a:pt x="1286" y="192"/>
                      <a:pt x="1284" y="193"/>
                    </a:cubicBezTo>
                    <a:cubicBezTo>
                      <a:pt x="1282" y="193"/>
                      <a:pt x="1279" y="193"/>
                      <a:pt x="1277" y="193"/>
                    </a:cubicBezTo>
                    <a:cubicBezTo>
                      <a:pt x="1276" y="193"/>
                      <a:pt x="1275" y="193"/>
                      <a:pt x="1274" y="193"/>
                    </a:cubicBezTo>
                    <a:cubicBezTo>
                      <a:pt x="1273" y="193"/>
                      <a:pt x="1273" y="193"/>
                      <a:pt x="1272" y="192"/>
                    </a:cubicBezTo>
                    <a:cubicBezTo>
                      <a:pt x="1272" y="192"/>
                      <a:pt x="1271" y="192"/>
                      <a:pt x="1270" y="192"/>
                    </a:cubicBezTo>
                    <a:cubicBezTo>
                      <a:pt x="1270" y="192"/>
                      <a:pt x="1270" y="192"/>
                      <a:pt x="1269" y="192"/>
                    </a:cubicBezTo>
                    <a:cubicBezTo>
                      <a:pt x="1269" y="191"/>
                      <a:pt x="1268" y="192"/>
                      <a:pt x="1268" y="191"/>
                    </a:cubicBezTo>
                    <a:cubicBezTo>
                      <a:pt x="1267" y="191"/>
                      <a:pt x="1267" y="191"/>
                      <a:pt x="1267" y="191"/>
                    </a:cubicBezTo>
                    <a:cubicBezTo>
                      <a:pt x="1267" y="191"/>
                      <a:pt x="1266" y="191"/>
                      <a:pt x="1266" y="191"/>
                    </a:cubicBezTo>
                    <a:cubicBezTo>
                      <a:pt x="1266" y="191"/>
                      <a:pt x="1266" y="191"/>
                      <a:pt x="1266" y="191"/>
                    </a:cubicBezTo>
                    <a:cubicBezTo>
                      <a:pt x="1265" y="191"/>
                      <a:pt x="1265" y="191"/>
                      <a:pt x="1265" y="191"/>
                    </a:cubicBezTo>
                    <a:cubicBezTo>
                      <a:pt x="1265" y="190"/>
                      <a:pt x="1264" y="191"/>
                      <a:pt x="1264" y="190"/>
                    </a:cubicBezTo>
                    <a:cubicBezTo>
                      <a:pt x="1264" y="190"/>
                      <a:pt x="1264" y="190"/>
                      <a:pt x="1264" y="190"/>
                    </a:cubicBezTo>
                    <a:cubicBezTo>
                      <a:pt x="1263" y="190"/>
                      <a:pt x="1262" y="190"/>
                      <a:pt x="1262" y="190"/>
                    </a:cubicBezTo>
                    <a:cubicBezTo>
                      <a:pt x="1262" y="190"/>
                      <a:pt x="1262" y="190"/>
                      <a:pt x="1262" y="190"/>
                    </a:cubicBezTo>
                    <a:cubicBezTo>
                      <a:pt x="1261" y="189"/>
                      <a:pt x="1261" y="190"/>
                      <a:pt x="1260" y="189"/>
                    </a:cubicBezTo>
                    <a:cubicBezTo>
                      <a:pt x="1260" y="189"/>
                      <a:pt x="1260" y="189"/>
                      <a:pt x="1260" y="189"/>
                    </a:cubicBezTo>
                    <a:cubicBezTo>
                      <a:pt x="1260" y="189"/>
                      <a:pt x="1259" y="189"/>
                      <a:pt x="1259" y="189"/>
                    </a:cubicBezTo>
                    <a:cubicBezTo>
                      <a:pt x="1259" y="189"/>
                      <a:pt x="1259" y="189"/>
                      <a:pt x="1258" y="188"/>
                    </a:cubicBezTo>
                    <a:cubicBezTo>
                      <a:pt x="1258" y="188"/>
                      <a:pt x="1258" y="188"/>
                      <a:pt x="1257" y="188"/>
                    </a:cubicBezTo>
                    <a:cubicBezTo>
                      <a:pt x="1257" y="188"/>
                      <a:pt x="1257" y="188"/>
                      <a:pt x="1257" y="188"/>
                    </a:cubicBezTo>
                    <a:cubicBezTo>
                      <a:pt x="1257" y="188"/>
                      <a:pt x="1256" y="188"/>
                      <a:pt x="1256" y="187"/>
                    </a:cubicBezTo>
                    <a:cubicBezTo>
                      <a:pt x="1256" y="187"/>
                      <a:pt x="1256" y="187"/>
                      <a:pt x="1256" y="187"/>
                    </a:cubicBezTo>
                    <a:cubicBezTo>
                      <a:pt x="1256" y="187"/>
                      <a:pt x="1255" y="187"/>
                      <a:pt x="1255" y="187"/>
                    </a:cubicBezTo>
                    <a:cubicBezTo>
                      <a:pt x="1255" y="187"/>
                      <a:pt x="1255" y="187"/>
                      <a:pt x="1254" y="187"/>
                    </a:cubicBezTo>
                    <a:cubicBezTo>
                      <a:pt x="1254" y="186"/>
                      <a:pt x="1254" y="186"/>
                      <a:pt x="1254" y="186"/>
                    </a:cubicBezTo>
                    <a:cubicBezTo>
                      <a:pt x="1253" y="186"/>
                      <a:pt x="1253" y="186"/>
                      <a:pt x="1253" y="186"/>
                    </a:cubicBezTo>
                    <a:cubicBezTo>
                      <a:pt x="1253" y="186"/>
                      <a:pt x="1253" y="186"/>
                      <a:pt x="1253" y="186"/>
                    </a:cubicBezTo>
                    <a:cubicBezTo>
                      <a:pt x="1252" y="186"/>
                      <a:pt x="1252" y="186"/>
                      <a:pt x="1252" y="185"/>
                    </a:cubicBezTo>
                    <a:cubicBezTo>
                      <a:pt x="1252" y="185"/>
                      <a:pt x="1252" y="185"/>
                      <a:pt x="1251" y="185"/>
                    </a:cubicBezTo>
                    <a:cubicBezTo>
                      <a:pt x="1251" y="185"/>
                      <a:pt x="1251" y="185"/>
                      <a:pt x="1251" y="185"/>
                    </a:cubicBezTo>
                    <a:cubicBezTo>
                      <a:pt x="1251" y="185"/>
                      <a:pt x="1251" y="185"/>
                      <a:pt x="1250" y="184"/>
                    </a:cubicBezTo>
                    <a:cubicBezTo>
                      <a:pt x="1250" y="184"/>
                      <a:pt x="1250" y="184"/>
                      <a:pt x="1250" y="184"/>
                    </a:cubicBezTo>
                    <a:cubicBezTo>
                      <a:pt x="1250" y="184"/>
                      <a:pt x="1250" y="184"/>
                      <a:pt x="1249" y="184"/>
                    </a:cubicBezTo>
                    <a:cubicBezTo>
                      <a:pt x="1249" y="184"/>
                      <a:pt x="1249" y="184"/>
                      <a:pt x="1249" y="184"/>
                    </a:cubicBezTo>
                    <a:cubicBezTo>
                      <a:pt x="1249" y="184"/>
                      <a:pt x="1249" y="183"/>
                      <a:pt x="1249" y="183"/>
                    </a:cubicBezTo>
                    <a:cubicBezTo>
                      <a:pt x="1249" y="183"/>
                      <a:pt x="1249" y="183"/>
                      <a:pt x="1249" y="183"/>
                    </a:cubicBezTo>
                    <a:cubicBezTo>
                      <a:pt x="1248" y="183"/>
                      <a:pt x="1248" y="183"/>
                      <a:pt x="1248" y="183"/>
                    </a:cubicBezTo>
                    <a:cubicBezTo>
                      <a:pt x="1247" y="183"/>
                      <a:pt x="1247" y="183"/>
                      <a:pt x="1247" y="183"/>
                    </a:cubicBezTo>
                    <a:cubicBezTo>
                      <a:pt x="1247" y="183"/>
                      <a:pt x="1247" y="182"/>
                      <a:pt x="1247" y="182"/>
                    </a:cubicBezTo>
                    <a:cubicBezTo>
                      <a:pt x="1247" y="182"/>
                      <a:pt x="1247" y="182"/>
                      <a:pt x="1247" y="182"/>
                    </a:cubicBezTo>
                    <a:cubicBezTo>
                      <a:pt x="1247" y="182"/>
                      <a:pt x="1246" y="182"/>
                      <a:pt x="1246" y="182"/>
                    </a:cubicBezTo>
                    <a:cubicBezTo>
                      <a:pt x="1246" y="181"/>
                      <a:pt x="1246" y="181"/>
                      <a:pt x="1246" y="181"/>
                    </a:cubicBezTo>
                    <a:cubicBezTo>
                      <a:pt x="1246" y="181"/>
                      <a:pt x="1245" y="181"/>
                      <a:pt x="1245" y="181"/>
                    </a:cubicBezTo>
                    <a:cubicBezTo>
                      <a:pt x="1245" y="181"/>
                      <a:pt x="1245" y="181"/>
                      <a:pt x="1245" y="181"/>
                    </a:cubicBezTo>
                    <a:cubicBezTo>
                      <a:pt x="1245" y="181"/>
                      <a:pt x="1245" y="181"/>
                      <a:pt x="1245" y="180"/>
                    </a:cubicBezTo>
                    <a:cubicBezTo>
                      <a:pt x="1245" y="181"/>
                      <a:pt x="1245" y="181"/>
                      <a:pt x="1245" y="181"/>
                    </a:cubicBezTo>
                    <a:cubicBezTo>
                      <a:pt x="1244" y="180"/>
                      <a:pt x="1244" y="180"/>
                      <a:pt x="1244" y="180"/>
                    </a:cubicBezTo>
                    <a:cubicBezTo>
                      <a:pt x="1244" y="180"/>
                      <a:pt x="1244" y="180"/>
                      <a:pt x="1244" y="180"/>
                    </a:cubicBezTo>
                    <a:cubicBezTo>
                      <a:pt x="1242" y="179"/>
                      <a:pt x="1243" y="181"/>
                      <a:pt x="1243" y="181"/>
                    </a:cubicBezTo>
                    <a:cubicBezTo>
                      <a:pt x="1243" y="188"/>
                      <a:pt x="1243" y="194"/>
                      <a:pt x="1243" y="200"/>
                    </a:cubicBezTo>
                    <a:cubicBezTo>
                      <a:pt x="1243" y="201"/>
                      <a:pt x="1243" y="201"/>
                      <a:pt x="1244" y="202"/>
                    </a:cubicBezTo>
                    <a:cubicBezTo>
                      <a:pt x="1244" y="202"/>
                      <a:pt x="1244" y="202"/>
                      <a:pt x="1244" y="202"/>
                    </a:cubicBezTo>
                    <a:cubicBezTo>
                      <a:pt x="1244" y="202"/>
                      <a:pt x="1244" y="202"/>
                      <a:pt x="1245" y="202"/>
                    </a:cubicBezTo>
                    <a:cubicBezTo>
                      <a:pt x="1245" y="202"/>
                      <a:pt x="1245" y="202"/>
                      <a:pt x="1245" y="202"/>
                    </a:cubicBezTo>
                    <a:cubicBezTo>
                      <a:pt x="1245" y="203"/>
                      <a:pt x="1245" y="202"/>
                      <a:pt x="1246" y="203"/>
                    </a:cubicBezTo>
                    <a:cubicBezTo>
                      <a:pt x="1246" y="203"/>
                      <a:pt x="1246" y="203"/>
                      <a:pt x="1246" y="203"/>
                    </a:cubicBezTo>
                    <a:cubicBezTo>
                      <a:pt x="1246" y="203"/>
                      <a:pt x="1247" y="203"/>
                      <a:pt x="1247" y="203"/>
                    </a:cubicBezTo>
                    <a:cubicBezTo>
                      <a:pt x="1247" y="203"/>
                      <a:pt x="1247" y="203"/>
                      <a:pt x="1247" y="203"/>
                    </a:cubicBezTo>
                    <a:cubicBezTo>
                      <a:pt x="1247" y="204"/>
                      <a:pt x="1248" y="204"/>
                      <a:pt x="1248" y="204"/>
                    </a:cubicBezTo>
                    <a:cubicBezTo>
                      <a:pt x="1248" y="204"/>
                      <a:pt x="1248" y="204"/>
                      <a:pt x="1248" y="204"/>
                    </a:cubicBezTo>
                    <a:cubicBezTo>
                      <a:pt x="1249" y="205"/>
                      <a:pt x="1249" y="204"/>
                      <a:pt x="1250" y="205"/>
                    </a:cubicBezTo>
                    <a:cubicBezTo>
                      <a:pt x="1250" y="205"/>
                      <a:pt x="1250" y="205"/>
                      <a:pt x="1250" y="205"/>
                    </a:cubicBezTo>
                    <a:cubicBezTo>
                      <a:pt x="1250" y="205"/>
                      <a:pt x="1251" y="205"/>
                      <a:pt x="1252" y="205"/>
                    </a:cubicBezTo>
                    <a:cubicBezTo>
                      <a:pt x="1252" y="205"/>
                      <a:pt x="1252" y="205"/>
                      <a:pt x="1252" y="205"/>
                    </a:cubicBezTo>
                    <a:cubicBezTo>
                      <a:pt x="1252" y="206"/>
                      <a:pt x="1253" y="205"/>
                      <a:pt x="1253" y="206"/>
                    </a:cubicBezTo>
                    <a:cubicBezTo>
                      <a:pt x="1253" y="206"/>
                      <a:pt x="1253" y="206"/>
                      <a:pt x="1253" y="206"/>
                    </a:cubicBezTo>
                    <a:cubicBezTo>
                      <a:pt x="1254" y="206"/>
                      <a:pt x="1255" y="206"/>
                      <a:pt x="1255" y="206"/>
                    </a:cubicBezTo>
                    <a:cubicBezTo>
                      <a:pt x="1255" y="206"/>
                      <a:pt x="1255" y="206"/>
                      <a:pt x="1255" y="206"/>
                    </a:cubicBezTo>
                    <a:cubicBezTo>
                      <a:pt x="1256" y="207"/>
                      <a:pt x="1256" y="206"/>
                      <a:pt x="1257" y="207"/>
                    </a:cubicBezTo>
                    <a:cubicBezTo>
                      <a:pt x="1257" y="207"/>
                      <a:pt x="1257" y="207"/>
                      <a:pt x="1257" y="207"/>
                    </a:cubicBezTo>
                    <a:cubicBezTo>
                      <a:pt x="1257" y="207"/>
                      <a:pt x="1257" y="207"/>
                      <a:pt x="1257" y="207"/>
                    </a:cubicBezTo>
                    <a:cubicBezTo>
                      <a:pt x="1258" y="207"/>
                      <a:pt x="1259" y="207"/>
                      <a:pt x="1259" y="207"/>
                    </a:cubicBezTo>
                    <a:cubicBezTo>
                      <a:pt x="1259" y="207"/>
                      <a:pt x="1259" y="207"/>
                      <a:pt x="1259" y="207"/>
                    </a:cubicBezTo>
                    <a:cubicBezTo>
                      <a:pt x="1260" y="207"/>
                      <a:pt x="1260" y="207"/>
                      <a:pt x="1260" y="207"/>
                    </a:cubicBezTo>
                    <a:cubicBezTo>
                      <a:pt x="1260" y="208"/>
                      <a:pt x="1261" y="208"/>
                      <a:pt x="1262" y="208"/>
                    </a:cubicBezTo>
                    <a:cubicBezTo>
                      <a:pt x="1262" y="208"/>
                      <a:pt x="1262" y="208"/>
                      <a:pt x="1262" y="208"/>
                    </a:cubicBezTo>
                    <a:cubicBezTo>
                      <a:pt x="1262" y="208"/>
                      <a:pt x="1262" y="208"/>
                      <a:pt x="1262" y="208"/>
                    </a:cubicBezTo>
                    <a:cubicBezTo>
                      <a:pt x="1263" y="209"/>
                      <a:pt x="1264" y="208"/>
                      <a:pt x="1264" y="209"/>
                    </a:cubicBezTo>
                    <a:cubicBezTo>
                      <a:pt x="1265" y="208"/>
                      <a:pt x="1265" y="208"/>
                      <a:pt x="1265" y="208"/>
                    </a:cubicBezTo>
                    <a:cubicBezTo>
                      <a:pt x="1265" y="209"/>
                      <a:pt x="1265" y="209"/>
                      <a:pt x="1265" y="209"/>
                    </a:cubicBezTo>
                    <a:cubicBezTo>
                      <a:pt x="1266" y="209"/>
                      <a:pt x="1267" y="209"/>
                      <a:pt x="1267" y="209"/>
                    </a:cubicBezTo>
                    <a:cubicBezTo>
                      <a:pt x="1268" y="209"/>
                      <a:pt x="1268" y="209"/>
                      <a:pt x="1268" y="209"/>
                    </a:cubicBezTo>
                    <a:cubicBezTo>
                      <a:pt x="1268" y="209"/>
                      <a:pt x="1268" y="209"/>
                      <a:pt x="1268" y="209"/>
                    </a:cubicBezTo>
                    <a:cubicBezTo>
                      <a:pt x="1269" y="210"/>
                      <a:pt x="1271" y="209"/>
                      <a:pt x="1272" y="210"/>
                    </a:cubicBezTo>
                    <a:cubicBezTo>
                      <a:pt x="1272" y="210"/>
                      <a:pt x="1272" y="210"/>
                      <a:pt x="1272" y="210"/>
                    </a:cubicBezTo>
                    <a:cubicBezTo>
                      <a:pt x="1272" y="210"/>
                      <a:pt x="1272" y="210"/>
                      <a:pt x="1272" y="210"/>
                    </a:cubicBezTo>
                    <a:cubicBezTo>
                      <a:pt x="1276" y="210"/>
                      <a:pt x="1280" y="210"/>
                      <a:pt x="1284" y="210"/>
                    </a:cubicBezTo>
                    <a:cubicBezTo>
                      <a:pt x="1285" y="210"/>
                      <a:pt x="1285" y="209"/>
                      <a:pt x="1286" y="210"/>
                    </a:cubicBezTo>
                    <a:cubicBezTo>
                      <a:pt x="1287" y="209"/>
                      <a:pt x="1289" y="210"/>
                      <a:pt x="1290" y="209"/>
                    </a:cubicBezTo>
                    <a:cubicBezTo>
                      <a:pt x="1290" y="209"/>
                      <a:pt x="1290" y="209"/>
                      <a:pt x="1290" y="209"/>
                    </a:cubicBezTo>
                    <a:cubicBezTo>
                      <a:pt x="1291" y="209"/>
                      <a:pt x="1291" y="209"/>
                      <a:pt x="1291" y="209"/>
                    </a:cubicBezTo>
                    <a:cubicBezTo>
                      <a:pt x="1291" y="209"/>
                      <a:pt x="1293" y="209"/>
                      <a:pt x="1294" y="209"/>
                    </a:cubicBezTo>
                    <a:cubicBezTo>
                      <a:pt x="1294" y="208"/>
                      <a:pt x="1294" y="208"/>
                      <a:pt x="1294" y="208"/>
                    </a:cubicBezTo>
                    <a:cubicBezTo>
                      <a:pt x="1294" y="209"/>
                      <a:pt x="1294" y="209"/>
                      <a:pt x="1294" y="209"/>
                    </a:cubicBezTo>
                    <a:cubicBezTo>
                      <a:pt x="1295" y="208"/>
                      <a:pt x="1296" y="209"/>
                      <a:pt x="1296" y="208"/>
                    </a:cubicBezTo>
                    <a:cubicBezTo>
                      <a:pt x="1296" y="208"/>
                      <a:pt x="1296" y="208"/>
                      <a:pt x="1296" y="208"/>
                    </a:cubicBezTo>
                    <a:cubicBezTo>
                      <a:pt x="1297" y="208"/>
                      <a:pt x="1298" y="208"/>
                      <a:pt x="1298" y="207"/>
                    </a:cubicBezTo>
                    <a:cubicBezTo>
                      <a:pt x="1298" y="207"/>
                      <a:pt x="1298" y="207"/>
                      <a:pt x="1298" y="207"/>
                    </a:cubicBezTo>
                    <a:cubicBezTo>
                      <a:pt x="1299" y="207"/>
                      <a:pt x="1299" y="207"/>
                      <a:pt x="1299" y="207"/>
                    </a:cubicBezTo>
                    <a:cubicBezTo>
                      <a:pt x="1299" y="207"/>
                      <a:pt x="1300" y="207"/>
                      <a:pt x="1300" y="207"/>
                    </a:cubicBezTo>
                    <a:cubicBezTo>
                      <a:pt x="1300" y="207"/>
                      <a:pt x="1300" y="207"/>
                      <a:pt x="1300" y="207"/>
                    </a:cubicBezTo>
                    <a:cubicBezTo>
                      <a:pt x="1301" y="206"/>
                      <a:pt x="1302" y="207"/>
                      <a:pt x="1302" y="206"/>
                    </a:cubicBezTo>
                    <a:cubicBezTo>
                      <a:pt x="1302" y="206"/>
                      <a:pt x="1302" y="206"/>
                      <a:pt x="1302" y="206"/>
                    </a:cubicBezTo>
                    <a:cubicBezTo>
                      <a:pt x="1303" y="206"/>
                      <a:pt x="1303" y="206"/>
                      <a:pt x="1304" y="206"/>
                    </a:cubicBezTo>
                    <a:cubicBezTo>
                      <a:pt x="1304" y="206"/>
                      <a:pt x="1304" y="206"/>
                      <a:pt x="1304" y="206"/>
                    </a:cubicBezTo>
                    <a:cubicBezTo>
                      <a:pt x="1304" y="205"/>
                      <a:pt x="1305" y="206"/>
                      <a:pt x="1305" y="205"/>
                    </a:cubicBezTo>
                    <a:cubicBezTo>
                      <a:pt x="1305" y="205"/>
                      <a:pt x="1305" y="205"/>
                      <a:pt x="1305" y="205"/>
                    </a:cubicBezTo>
                    <a:cubicBezTo>
                      <a:pt x="1305" y="205"/>
                      <a:pt x="1306" y="205"/>
                      <a:pt x="1306" y="205"/>
                    </a:cubicBezTo>
                    <a:cubicBezTo>
                      <a:pt x="1306" y="205"/>
                      <a:pt x="1306" y="205"/>
                      <a:pt x="1306" y="205"/>
                    </a:cubicBezTo>
                    <a:cubicBezTo>
                      <a:pt x="1307" y="204"/>
                      <a:pt x="1307" y="204"/>
                      <a:pt x="1307" y="204"/>
                    </a:cubicBezTo>
                    <a:cubicBezTo>
                      <a:pt x="1307" y="204"/>
                      <a:pt x="1307" y="204"/>
                      <a:pt x="1307" y="204"/>
                    </a:cubicBezTo>
                    <a:cubicBezTo>
                      <a:pt x="1308" y="204"/>
                      <a:pt x="1308" y="204"/>
                      <a:pt x="1309" y="203"/>
                    </a:cubicBezTo>
                    <a:cubicBezTo>
                      <a:pt x="1309" y="203"/>
                      <a:pt x="1309" y="203"/>
                      <a:pt x="1309" y="203"/>
                    </a:cubicBezTo>
                    <a:cubicBezTo>
                      <a:pt x="1309" y="203"/>
                      <a:pt x="1309" y="203"/>
                      <a:pt x="1310" y="203"/>
                    </a:cubicBezTo>
                    <a:cubicBezTo>
                      <a:pt x="1310" y="203"/>
                      <a:pt x="1310" y="203"/>
                      <a:pt x="1310" y="203"/>
                    </a:cubicBezTo>
                    <a:cubicBezTo>
                      <a:pt x="1310" y="202"/>
                      <a:pt x="1311" y="203"/>
                      <a:pt x="1311" y="202"/>
                    </a:cubicBezTo>
                    <a:cubicBezTo>
                      <a:pt x="1311" y="202"/>
                      <a:pt x="1311" y="202"/>
                      <a:pt x="1311" y="202"/>
                    </a:cubicBezTo>
                    <a:cubicBezTo>
                      <a:pt x="1311" y="202"/>
                      <a:pt x="1312" y="202"/>
                      <a:pt x="1313" y="201"/>
                    </a:cubicBezTo>
                    <a:cubicBezTo>
                      <a:pt x="1313" y="201"/>
                      <a:pt x="1313" y="201"/>
                      <a:pt x="1313" y="201"/>
                    </a:cubicBezTo>
                    <a:cubicBezTo>
                      <a:pt x="1313" y="201"/>
                      <a:pt x="1314" y="200"/>
                      <a:pt x="1314" y="200"/>
                    </a:cubicBezTo>
                    <a:cubicBezTo>
                      <a:pt x="1314" y="200"/>
                      <a:pt x="1314" y="200"/>
                      <a:pt x="1314" y="200"/>
                    </a:cubicBezTo>
                    <a:cubicBezTo>
                      <a:pt x="1314" y="200"/>
                      <a:pt x="1315" y="200"/>
                      <a:pt x="1315" y="199"/>
                    </a:cubicBezTo>
                    <a:cubicBezTo>
                      <a:pt x="1315" y="199"/>
                      <a:pt x="1315" y="199"/>
                      <a:pt x="1315" y="199"/>
                    </a:cubicBezTo>
                    <a:cubicBezTo>
                      <a:pt x="1315" y="199"/>
                      <a:pt x="1316" y="199"/>
                      <a:pt x="1317" y="198"/>
                    </a:cubicBezTo>
                    <a:cubicBezTo>
                      <a:pt x="1316" y="198"/>
                      <a:pt x="1316" y="198"/>
                      <a:pt x="1316" y="198"/>
                    </a:cubicBezTo>
                    <a:cubicBezTo>
                      <a:pt x="1317" y="198"/>
                      <a:pt x="1317" y="198"/>
                      <a:pt x="1317" y="198"/>
                    </a:cubicBezTo>
                    <a:cubicBezTo>
                      <a:pt x="1317" y="198"/>
                      <a:pt x="1317" y="198"/>
                      <a:pt x="1317" y="198"/>
                    </a:cubicBezTo>
                    <a:cubicBezTo>
                      <a:pt x="1317" y="198"/>
                      <a:pt x="1318" y="197"/>
                      <a:pt x="1318" y="197"/>
                    </a:cubicBezTo>
                    <a:cubicBezTo>
                      <a:pt x="1318" y="197"/>
                      <a:pt x="1318" y="197"/>
                      <a:pt x="1318" y="197"/>
                    </a:cubicBezTo>
                    <a:cubicBezTo>
                      <a:pt x="1318" y="197"/>
                      <a:pt x="1318" y="197"/>
                      <a:pt x="1318" y="196"/>
                    </a:cubicBezTo>
                    <a:cubicBezTo>
                      <a:pt x="1318" y="196"/>
                      <a:pt x="1318" y="196"/>
                      <a:pt x="1318" y="196"/>
                    </a:cubicBezTo>
                    <a:cubicBezTo>
                      <a:pt x="1319" y="196"/>
                      <a:pt x="1319" y="196"/>
                      <a:pt x="1319" y="196"/>
                    </a:cubicBezTo>
                    <a:cubicBezTo>
                      <a:pt x="1319" y="196"/>
                      <a:pt x="1319" y="196"/>
                      <a:pt x="1319" y="196"/>
                    </a:cubicBezTo>
                    <a:cubicBezTo>
                      <a:pt x="1319" y="196"/>
                      <a:pt x="1319" y="196"/>
                      <a:pt x="1319" y="195"/>
                    </a:cubicBezTo>
                    <a:cubicBezTo>
                      <a:pt x="1319" y="195"/>
                      <a:pt x="1319" y="195"/>
                      <a:pt x="1319" y="195"/>
                    </a:cubicBezTo>
                    <a:cubicBezTo>
                      <a:pt x="1320" y="195"/>
                      <a:pt x="1320" y="195"/>
                      <a:pt x="1320" y="195"/>
                    </a:cubicBezTo>
                    <a:cubicBezTo>
                      <a:pt x="1320" y="195"/>
                      <a:pt x="1320" y="195"/>
                      <a:pt x="1320" y="195"/>
                    </a:cubicBezTo>
                    <a:cubicBezTo>
                      <a:pt x="1320" y="195"/>
                      <a:pt x="1320" y="194"/>
                      <a:pt x="1321" y="194"/>
                    </a:cubicBezTo>
                    <a:cubicBezTo>
                      <a:pt x="1321" y="194"/>
                      <a:pt x="1321" y="194"/>
                      <a:pt x="1321" y="194"/>
                    </a:cubicBezTo>
                    <a:cubicBezTo>
                      <a:pt x="1321" y="194"/>
                      <a:pt x="1321" y="194"/>
                      <a:pt x="1321" y="194"/>
                    </a:cubicBezTo>
                    <a:cubicBezTo>
                      <a:pt x="1321" y="194"/>
                      <a:pt x="1321" y="194"/>
                      <a:pt x="1321" y="194"/>
                    </a:cubicBezTo>
                    <a:cubicBezTo>
                      <a:pt x="1322" y="193"/>
                      <a:pt x="1322" y="192"/>
                      <a:pt x="1322" y="192"/>
                    </a:cubicBezTo>
                    <a:cubicBezTo>
                      <a:pt x="1322" y="192"/>
                      <a:pt x="1322" y="192"/>
                      <a:pt x="1322" y="192"/>
                    </a:cubicBezTo>
                    <a:cubicBezTo>
                      <a:pt x="1323" y="192"/>
                      <a:pt x="1323" y="192"/>
                      <a:pt x="1323" y="191"/>
                    </a:cubicBezTo>
                    <a:cubicBezTo>
                      <a:pt x="1323" y="191"/>
                      <a:pt x="1323" y="191"/>
                      <a:pt x="1323" y="191"/>
                    </a:cubicBezTo>
                    <a:cubicBezTo>
                      <a:pt x="1323" y="191"/>
                      <a:pt x="1323" y="190"/>
                      <a:pt x="1324" y="190"/>
                    </a:cubicBezTo>
                    <a:cubicBezTo>
                      <a:pt x="1324" y="190"/>
                      <a:pt x="1324" y="190"/>
                      <a:pt x="1324" y="190"/>
                    </a:cubicBezTo>
                    <a:cubicBezTo>
                      <a:pt x="1324" y="190"/>
                      <a:pt x="1324" y="190"/>
                      <a:pt x="1324" y="190"/>
                    </a:cubicBezTo>
                    <a:cubicBezTo>
                      <a:pt x="1324" y="190"/>
                      <a:pt x="1324" y="190"/>
                      <a:pt x="1324" y="190"/>
                    </a:cubicBezTo>
                    <a:cubicBezTo>
                      <a:pt x="1324" y="189"/>
                      <a:pt x="1324" y="189"/>
                      <a:pt x="1325" y="188"/>
                    </a:cubicBezTo>
                    <a:cubicBezTo>
                      <a:pt x="1325" y="188"/>
                      <a:pt x="1325" y="188"/>
                      <a:pt x="1325" y="188"/>
                    </a:cubicBezTo>
                    <a:cubicBezTo>
                      <a:pt x="1325" y="188"/>
                      <a:pt x="1325" y="188"/>
                      <a:pt x="1325" y="187"/>
                    </a:cubicBezTo>
                    <a:cubicBezTo>
                      <a:pt x="1325" y="187"/>
                      <a:pt x="1325" y="187"/>
                      <a:pt x="1325" y="187"/>
                    </a:cubicBezTo>
                    <a:cubicBezTo>
                      <a:pt x="1326" y="187"/>
                      <a:pt x="1325" y="186"/>
                      <a:pt x="1326" y="186"/>
                    </a:cubicBezTo>
                    <a:cubicBezTo>
                      <a:pt x="1326" y="186"/>
                      <a:pt x="1326" y="186"/>
                      <a:pt x="1326" y="186"/>
                    </a:cubicBezTo>
                    <a:cubicBezTo>
                      <a:pt x="1326" y="186"/>
                      <a:pt x="1326" y="185"/>
                      <a:pt x="1326" y="185"/>
                    </a:cubicBezTo>
                    <a:cubicBezTo>
                      <a:pt x="1326" y="185"/>
                      <a:pt x="1326" y="185"/>
                      <a:pt x="1326" y="185"/>
                    </a:cubicBezTo>
                    <a:cubicBezTo>
                      <a:pt x="1327" y="185"/>
                      <a:pt x="1327" y="184"/>
                      <a:pt x="1327" y="184"/>
                    </a:cubicBezTo>
                    <a:cubicBezTo>
                      <a:pt x="1327" y="184"/>
                      <a:pt x="1327" y="183"/>
                      <a:pt x="1327" y="183"/>
                    </a:cubicBezTo>
                    <a:cubicBezTo>
                      <a:pt x="1327" y="183"/>
                      <a:pt x="1327" y="182"/>
                      <a:pt x="1328" y="182"/>
                    </a:cubicBezTo>
                    <a:cubicBezTo>
                      <a:pt x="1328" y="182"/>
                      <a:pt x="1328" y="182"/>
                      <a:pt x="1328" y="182"/>
                    </a:cubicBezTo>
                    <a:cubicBezTo>
                      <a:pt x="1328" y="182"/>
                      <a:pt x="1328" y="181"/>
                      <a:pt x="1328" y="180"/>
                    </a:cubicBezTo>
                    <a:cubicBezTo>
                      <a:pt x="1328" y="180"/>
                      <a:pt x="1328" y="180"/>
                      <a:pt x="1328" y="180"/>
                    </a:cubicBezTo>
                    <a:cubicBezTo>
                      <a:pt x="1329" y="179"/>
                      <a:pt x="1328" y="179"/>
                      <a:pt x="1329" y="178"/>
                    </a:cubicBezTo>
                    <a:cubicBezTo>
                      <a:pt x="1329" y="178"/>
                      <a:pt x="1329" y="178"/>
                      <a:pt x="1329" y="178"/>
                    </a:cubicBezTo>
                    <a:cubicBezTo>
                      <a:pt x="1329" y="177"/>
                      <a:pt x="1329" y="175"/>
                      <a:pt x="1329" y="175"/>
                    </a:cubicBezTo>
                    <a:cubicBezTo>
                      <a:pt x="1329" y="174"/>
                      <a:pt x="1329" y="174"/>
                      <a:pt x="1329" y="174"/>
                    </a:cubicBezTo>
                    <a:cubicBezTo>
                      <a:pt x="1330" y="170"/>
                      <a:pt x="1330" y="166"/>
                      <a:pt x="1329" y="163"/>
                    </a:cubicBezTo>
                    <a:cubicBezTo>
                      <a:pt x="1329" y="162"/>
                      <a:pt x="1329" y="162"/>
                      <a:pt x="1329" y="162"/>
                    </a:cubicBezTo>
                    <a:cubicBezTo>
                      <a:pt x="1329" y="161"/>
                      <a:pt x="1329" y="160"/>
                      <a:pt x="1329" y="159"/>
                    </a:cubicBezTo>
                    <a:cubicBezTo>
                      <a:pt x="1329" y="159"/>
                      <a:pt x="1329" y="159"/>
                      <a:pt x="1329" y="159"/>
                    </a:cubicBezTo>
                    <a:cubicBezTo>
                      <a:pt x="1328" y="158"/>
                      <a:pt x="1329" y="157"/>
                      <a:pt x="1328" y="157"/>
                    </a:cubicBezTo>
                    <a:cubicBezTo>
                      <a:pt x="1328" y="157"/>
                      <a:pt x="1328" y="157"/>
                      <a:pt x="1328" y="157"/>
                    </a:cubicBezTo>
                    <a:cubicBezTo>
                      <a:pt x="1328" y="156"/>
                      <a:pt x="1328" y="156"/>
                      <a:pt x="1328" y="155"/>
                    </a:cubicBezTo>
                    <a:cubicBezTo>
                      <a:pt x="1328" y="155"/>
                      <a:pt x="1328" y="155"/>
                      <a:pt x="1328" y="155"/>
                    </a:cubicBezTo>
                    <a:cubicBezTo>
                      <a:pt x="1327" y="155"/>
                      <a:pt x="1328" y="154"/>
                      <a:pt x="1327" y="153"/>
                    </a:cubicBezTo>
                    <a:cubicBezTo>
                      <a:pt x="1327" y="153"/>
                      <a:pt x="1327" y="153"/>
                      <a:pt x="1327" y="153"/>
                    </a:cubicBezTo>
                    <a:cubicBezTo>
                      <a:pt x="1327" y="153"/>
                      <a:pt x="1327" y="153"/>
                      <a:pt x="1326" y="152"/>
                    </a:cubicBezTo>
                    <a:cubicBezTo>
                      <a:pt x="1326" y="152"/>
                      <a:pt x="1326" y="152"/>
                      <a:pt x="1326" y="152"/>
                    </a:cubicBezTo>
                    <a:cubicBezTo>
                      <a:pt x="1326" y="152"/>
                      <a:pt x="1326" y="151"/>
                      <a:pt x="1326" y="151"/>
                    </a:cubicBezTo>
                    <a:cubicBezTo>
                      <a:pt x="1326" y="151"/>
                      <a:pt x="1326" y="151"/>
                      <a:pt x="1326" y="151"/>
                    </a:cubicBezTo>
                    <a:cubicBezTo>
                      <a:pt x="1325" y="151"/>
                      <a:pt x="1326" y="150"/>
                      <a:pt x="1325" y="150"/>
                    </a:cubicBezTo>
                    <a:cubicBezTo>
                      <a:pt x="1325" y="150"/>
                      <a:pt x="1325" y="150"/>
                      <a:pt x="1325" y="150"/>
                    </a:cubicBezTo>
                    <a:cubicBezTo>
                      <a:pt x="1325" y="150"/>
                      <a:pt x="1325" y="149"/>
                      <a:pt x="1325" y="149"/>
                    </a:cubicBezTo>
                    <a:cubicBezTo>
                      <a:pt x="1325" y="149"/>
                      <a:pt x="1325" y="149"/>
                      <a:pt x="1325" y="149"/>
                    </a:cubicBezTo>
                    <a:cubicBezTo>
                      <a:pt x="1325" y="149"/>
                      <a:pt x="1324" y="148"/>
                      <a:pt x="1324" y="148"/>
                    </a:cubicBezTo>
                    <a:cubicBezTo>
                      <a:pt x="1324" y="148"/>
                      <a:pt x="1324" y="148"/>
                      <a:pt x="1324" y="148"/>
                    </a:cubicBezTo>
                    <a:cubicBezTo>
                      <a:pt x="1324" y="148"/>
                      <a:pt x="1324" y="147"/>
                      <a:pt x="1323" y="147"/>
                    </a:cubicBezTo>
                    <a:cubicBezTo>
                      <a:pt x="1323" y="147"/>
                      <a:pt x="1323" y="147"/>
                      <a:pt x="1323" y="147"/>
                    </a:cubicBezTo>
                    <a:cubicBezTo>
                      <a:pt x="1323" y="147"/>
                      <a:pt x="1323" y="147"/>
                      <a:pt x="1323" y="146"/>
                    </a:cubicBezTo>
                    <a:cubicBezTo>
                      <a:pt x="1323" y="146"/>
                      <a:pt x="1323" y="146"/>
                      <a:pt x="1323" y="146"/>
                    </a:cubicBezTo>
                    <a:cubicBezTo>
                      <a:pt x="1323" y="146"/>
                      <a:pt x="1323" y="146"/>
                      <a:pt x="1322" y="145"/>
                    </a:cubicBezTo>
                    <a:cubicBezTo>
                      <a:pt x="1322" y="145"/>
                      <a:pt x="1322" y="145"/>
                      <a:pt x="1322" y="145"/>
                    </a:cubicBezTo>
                    <a:cubicBezTo>
                      <a:pt x="1322" y="145"/>
                      <a:pt x="1322" y="145"/>
                      <a:pt x="1322" y="145"/>
                    </a:cubicBezTo>
                    <a:cubicBezTo>
                      <a:pt x="1322" y="145"/>
                      <a:pt x="1322" y="145"/>
                      <a:pt x="1322" y="145"/>
                    </a:cubicBezTo>
                    <a:cubicBezTo>
                      <a:pt x="1322" y="145"/>
                      <a:pt x="1321" y="144"/>
                      <a:pt x="1321" y="144"/>
                    </a:cubicBezTo>
                    <a:cubicBezTo>
                      <a:pt x="1321" y="144"/>
                      <a:pt x="1321" y="144"/>
                      <a:pt x="1321" y="144"/>
                    </a:cubicBezTo>
                    <a:cubicBezTo>
                      <a:pt x="1321" y="144"/>
                      <a:pt x="1321" y="143"/>
                      <a:pt x="1320" y="143"/>
                    </a:cubicBezTo>
                    <a:cubicBezTo>
                      <a:pt x="1321" y="143"/>
                      <a:pt x="1321" y="143"/>
                      <a:pt x="1321" y="143"/>
                    </a:cubicBezTo>
                    <a:cubicBezTo>
                      <a:pt x="1321" y="143"/>
                      <a:pt x="1320" y="143"/>
                      <a:pt x="1320" y="142"/>
                    </a:cubicBezTo>
                    <a:cubicBezTo>
                      <a:pt x="1320" y="143"/>
                      <a:pt x="1320" y="143"/>
                      <a:pt x="1320" y="143"/>
                    </a:cubicBezTo>
                    <a:cubicBezTo>
                      <a:pt x="1320" y="142"/>
                      <a:pt x="1320" y="142"/>
                      <a:pt x="1319" y="142"/>
                    </a:cubicBezTo>
                    <a:cubicBezTo>
                      <a:pt x="1319" y="142"/>
                      <a:pt x="1319" y="142"/>
                      <a:pt x="1319" y="142"/>
                    </a:cubicBezTo>
                    <a:cubicBezTo>
                      <a:pt x="1319" y="142"/>
                      <a:pt x="1319" y="141"/>
                      <a:pt x="1319" y="141"/>
                    </a:cubicBezTo>
                    <a:cubicBezTo>
                      <a:pt x="1319" y="141"/>
                      <a:pt x="1319" y="141"/>
                      <a:pt x="1319" y="141"/>
                    </a:cubicBezTo>
                    <a:cubicBezTo>
                      <a:pt x="1319" y="141"/>
                      <a:pt x="1319" y="141"/>
                      <a:pt x="1318" y="141"/>
                    </a:cubicBezTo>
                    <a:cubicBezTo>
                      <a:pt x="1318" y="141"/>
                      <a:pt x="1318" y="141"/>
                      <a:pt x="1318" y="141"/>
                    </a:cubicBezTo>
                    <a:cubicBezTo>
                      <a:pt x="1318" y="140"/>
                      <a:pt x="1318" y="140"/>
                      <a:pt x="1318" y="140"/>
                    </a:cubicBezTo>
                    <a:cubicBezTo>
                      <a:pt x="1318" y="140"/>
                      <a:pt x="1318" y="140"/>
                      <a:pt x="1318" y="140"/>
                    </a:cubicBezTo>
                    <a:cubicBezTo>
                      <a:pt x="1318" y="140"/>
                      <a:pt x="1317" y="140"/>
                      <a:pt x="1317" y="140"/>
                    </a:cubicBezTo>
                    <a:cubicBezTo>
                      <a:pt x="1317" y="140"/>
                      <a:pt x="1317" y="140"/>
                      <a:pt x="1317" y="140"/>
                    </a:cubicBezTo>
                    <a:cubicBezTo>
                      <a:pt x="1317" y="139"/>
                      <a:pt x="1317" y="139"/>
                      <a:pt x="1316" y="139"/>
                    </a:cubicBezTo>
                    <a:cubicBezTo>
                      <a:pt x="1317" y="139"/>
                      <a:pt x="1317" y="139"/>
                      <a:pt x="1317" y="139"/>
                    </a:cubicBezTo>
                    <a:cubicBezTo>
                      <a:pt x="1316" y="139"/>
                      <a:pt x="1316" y="139"/>
                      <a:pt x="1316" y="138"/>
                    </a:cubicBezTo>
                    <a:cubicBezTo>
                      <a:pt x="1316" y="138"/>
                      <a:pt x="1316" y="138"/>
                      <a:pt x="1316" y="138"/>
                    </a:cubicBezTo>
                    <a:cubicBezTo>
                      <a:pt x="1316" y="138"/>
                      <a:pt x="1316" y="138"/>
                      <a:pt x="1315" y="138"/>
                    </a:cubicBezTo>
                    <a:cubicBezTo>
                      <a:pt x="1315" y="138"/>
                      <a:pt x="1315" y="138"/>
                      <a:pt x="1315" y="138"/>
                    </a:cubicBezTo>
                    <a:cubicBezTo>
                      <a:pt x="1315" y="137"/>
                      <a:pt x="1315" y="138"/>
                      <a:pt x="1314" y="137"/>
                    </a:cubicBezTo>
                    <a:cubicBezTo>
                      <a:pt x="1314" y="137"/>
                      <a:pt x="1314" y="137"/>
                      <a:pt x="1314" y="137"/>
                    </a:cubicBezTo>
                    <a:cubicBezTo>
                      <a:pt x="1314" y="137"/>
                      <a:pt x="1314" y="137"/>
                      <a:pt x="1314" y="137"/>
                    </a:cubicBezTo>
                    <a:cubicBezTo>
                      <a:pt x="1314" y="137"/>
                      <a:pt x="1314" y="137"/>
                      <a:pt x="1314" y="137"/>
                    </a:cubicBezTo>
                    <a:cubicBezTo>
                      <a:pt x="1314" y="136"/>
                      <a:pt x="1313" y="136"/>
                      <a:pt x="1313" y="136"/>
                    </a:cubicBezTo>
                    <a:cubicBezTo>
                      <a:pt x="1313" y="136"/>
                      <a:pt x="1313" y="136"/>
                      <a:pt x="1313" y="136"/>
                    </a:cubicBezTo>
                    <a:cubicBezTo>
                      <a:pt x="1313" y="136"/>
                      <a:pt x="1313" y="136"/>
                      <a:pt x="1312" y="136"/>
                    </a:cubicBezTo>
                    <a:cubicBezTo>
                      <a:pt x="1313" y="136"/>
                      <a:pt x="1313" y="136"/>
                      <a:pt x="1313" y="136"/>
                    </a:cubicBezTo>
                    <a:cubicBezTo>
                      <a:pt x="1312" y="135"/>
                      <a:pt x="1312" y="135"/>
                      <a:pt x="1312" y="135"/>
                    </a:cubicBezTo>
                    <a:cubicBezTo>
                      <a:pt x="1312" y="135"/>
                      <a:pt x="1312" y="135"/>
                      <a:pt x="1312" y="135"/>
                    </a:cubicBezTo>
                    <a:cubicBezTo>
                      <a:pt x="1312" y="135"/>
                      <a:pt x="1311" y="135"/>
                      <a:pt x="1311" y="134"/>
                    </a:cubicBezTo>
                    <a:cubicBezTo>
                      <a:pt x="1311" y="134"/>
                      <a:pt x="1311" y="134"/>
                      <a:pt x="1311" y="134"/>
                    </a:cubicBezTo>
                    <a:cubicBezTo>
                      <a:pt x="1311" y="134"/>
                      <a:pt x="1310" y="134"/>
                      <a:pt x="1310" y="134"/>
                    </a:cubicBezTo>
                    <a:cubicBezTo>
                      <a:pt x="1310" y="134"/>
                      <a:pt x="1310" y="134"/>
                      <a:pt x="1310" y="134"/>
                    </a:cubicBezTo>
                    <a:cubicBezTo>
                      <a:pt x="1310" y="134"/>
                      <a:pt x="1310" y="133"/>
                      <a:pt x="1310" y="133"/>
                    </a:cubicBezTo>
                    <a:cubicBezTo>
                      <a:pt x="1310" y="133"/>
                      <a:pt x="1310" y="133"/>
                      <a:pt x="1310" y="133"/>
                    </a:cubicBezTo>
                    <a:cubicBezTo>
                      <a:pt x="1309" y="133"/>
                      <a:pt x="1309" y="133"/>
                      <a:pt x="1309" y="133"/>
                    </a:cubicBezTo>
                    <a:cubicBezTo>
                      <a:pt x="1309" y="133"/>
                      <a:pt x="1309" y="133"/>
                      <a:pt x="1309" y="133"/>
                    </a:cubicBezTo>
                    <a:cubicBezTo>
                      <a:pt x="1308" y="132"/>
                      <a:pt x="1308" y="132"/>
                      <a:pt x="1308" y="132"/>
                    </a:cubicBezTo>
                    <a:cubicBezTo>
                      <a:pt x="1308" y="132"/>
                      <a:pt x="1308" y="132"/>
                      <a:pt x="1308" y="132"/>
                    </a:cubicBezTo>
                    <a:cubicBezTo>
                      <a:pt x="1308" y="132"/>
                      <a:pt x="1307" y="132"/>
                      <a:pt x="1307" y="131"/>
                    </a:cubicBezTo>
                    <a:cubicBezTo>
                      <a:pt x="1307" y="131"/>
                      <a:pt x="1307" y="131"/>
                      <a:pt x="1307" y="131"/>
                    </a:cubicBezTo>
                    <a:cubicBezTo>
                      <a:pt x="1307" y="131"/>
                      <a:pt x="1306" y="131"/>
                      <a:pt x="1306" y="131"/>
                    </a:cubicBezTo>
                    <a:cubicBezTo>
                      <a:pt x="1306" y="131"/>
                      <a:pt x="1306" y="131"/>
                      <a:pt x="1306" y="131"/>
                    </a:cubicBezTo>
                    <a:cubicBezTo>
                      <a:pt x="1306" y="131"/>
                      <a:pt x="1306" y="130"/>
                      <a:pt x="1305" y="130"/>
                    </a:cubicBezTo>
                    <a:cubicBezTo>
                      <a:pt x="1305" y="130"/>
                      <a:pt x="1305" y="130"/>
                      <a:pt x="1305" y="130"/>
                    </a:cubicBezTo>
                    <a:cubicBezTo>
                      <a:pt x="1305" y="130"/>
                      <a:pt x="1305" y="130"/>
                      <a:pt x="1304" y="130"/>
                    </a:cubicBezTo>
                    <a:cubicBezTo>
                      <a:pt x="1304" y="130"/>
                      <a:pt x="1304" y="130"/>
                      <a:pt x="1304" y="130"/>
                    </a:cubicBezTo>
                    <a:cubicBezTo>
                      <a:pt x="1304" y="129"/>
                      <a:pt x="1304" y="129"/>
                      <a:pt x="1304" y="129"/>
                    </a:cubicBezTo>
                    <a:cubicBezTo>
                      <a:pt x="1304" y="129"/>
                      <a:pt x="1303" y="129"/>
                      <a:pt x="1303" y="129"/>
                    </a:cubicBezTo>
                    <a:cubicBezTo>
                      <a:pt x="1303" y="129"/>
                      <a:pt x="1303" y="129"/>
                      <a:pt x="1303" y="129"/>
                    </a:cubicBezTo>
                    <a:cubicBezTo>
                      <a:pt x="1303" y="129"/>
                      <a:pt x="1303" y="129"/>
                      <a:pt x="1303" y="129"/>
                    </a:cubicBezTo>
                    <a:cubicBezTo>
                      <a:pt x="1303" y="128"/>
                      <a:pt x="1302" y="128"/>
                      <a:pt x="1302" y="128"/>
                    </a:cubicBezTo>
                    <a:cubicBezTo>
                      <a:pt x="1302" y="128"/>
                      <a:pt x="1302" y="128"/>
                      <a:pt x="1302" y="128"/>
                    </a:cubicBezTo>
                    <a:cubicBezTo>
                      <a:pt x="1302" y="128"/>
                      <a:pt x="1302" y="128"/>
                      <a:pt x="1302" y="128"/>
                    </a:cubicBezTo>
                    <a:cubicBezTo>
                      <a:pt x="1301" y="128"/>
                      <a:pt x="1301" y="128"/>
                      <a:pt x="1301" y="127"/>
                    </a:cubicBezTo>
                    <a:cubicBezTo>
                      <a:pt x="1301" y="127"/>
                      <a:pt x="1301" y="127"/>
                      <a:pt x="1301" y="127"/>
                    </a:cubicBezTo>
                    <a:cubicBezTo>
                      <a:pt x="1301" y="127"/>
                      <a:pt x="1300" y="127"/>
                      <a:pt x="1300" y="127"/>
                    </a:cubicBezTo>
                    <a:cubicBezTo>
                      <a:pt x="1300" y="127"/>
                      <a:pt x="1300" y="127"/>
                      <a:pt x="1300" y="127"/>
                    </a:cubicBezTo>
                    <a:cubicBezTo>
                      <a:pt x="1300" y="127"/>
                      <a:pt x="1300" y="126"/>
                      <a:pt x="1299" y="126"/>
                    </a:cubicBezTo>
                    <a:cubicBezTo>
                      <a:pt x="1299" y="126"/>
                      <a:pt x="1299" y="126"/>
                      <a:pt x="1299" y="126"/>
                    </a:cubicBezTo>
                    <a:cubicBezTo>
                      <a:pt x="1299" y="126"/>
                      <a:pt x="1298" y="126"/>
                      <a:pt x="1298" y="126"/>
                    </a:cubicBezTo>
                    <a:cubicBezTo>
                      <a:pt x="1298" y="126"/>
                      <a:pt x="1298" y="126"/>
                      <a:pt x="1298" y="126"/>
                    </a:cubicBezTo>
                    <a:cubicBezTo>
                      <a:pt x="1298" y="125"/>
                      <a:pt x="1297" y="125"/>
                      <a:pt x="1297" y="125"/>
                    </a:cubicBezTo>
                    <a:cubicBezTo>
                      <a:pt x="1297" y="125"/>
                      <a:pt x="1297" y="125"/>
                      <a:pt x="1297" y="125"/>
                    </a:cubicBezTo>
                    <a:cubicBezTo>
                      <a:pt x="1297" y="125"/>
                      <a:pt x="1297" y="125"/>
                      <a:pt x="1296" y="125"/>
                    </a:cubicBezTo>
                    <a:cubicBezTo>
                      <a:pt x="1296" y="125"/>
                      <a:pt x="1296" y="125"/>
                      <a:pt x="1296" y="124"/>
                    </a:cubicBezTo>
                    <a:cubicBezTo>
                      <a:pt x="1296" y="124"/>
                      <a:pt x="1295" y="124"/>
                      <a:pt x="1295" y="124"/>
                    </a:cubicBezTo>
                    <a:cubicBezTo>
                      <a:pt x="1295" y="124"/>
                      <a:pt x="1295" y="124"/>
                      <a:pt x="1295" y="124"/>
                    </a:cubicBezTo>
                    <a:cubicBezTo>
                      <a:pt x="1295" y="124"/>
                      <a:pt x="1294" y="124"/>
                      <a:pt x="1294" y="123"/>
                    </a:cubicBezTo>
                    <a:cubicBezTo>
                      <a:pt x="1294" y="123"/>
                      <a:pt x="1294" y="123"/>
                      <a:pt x="1294" y="123"/>
                    </a:cubicBezTo>
                    <a:cubicBezTo>
                      <a:pt x="1294" y="123"/>
                      <a:pt x="1293" y="123"/>
                      <a:pt x="1293" y="123"/>
                    </a:cubicBezTo>
                    <a:cubicBezTo>
                      <a:pt x="1293" y="123"/>
                      <a:pt x="1293" y="123"/>
                      <a:pt x="1293" y="123"/>
                    </a:cubicBezTo>
                    <a:cubicBezTo>
                      <a:pt x="1293" y="123"/>
                      <a:pt x="1293" y="122"/>
                      <a:pt x="1292" y="122"/>
                    </a:cubicBezTo>
                    <a:cubicBezTo>
                      <a:pt x="1292" y="122"/>
                      <a:pt x="1292" y="122"/>
                      <a:pt x="1292" y="122"/>
                    </a:cubicBezTo>
                    <a:cubicBezTo>
                      <a:pt x="1292" y="122"/>
                      <a:pt x="1291" y="122"/>
                      <a:pt x="1291" y="122"/>
                    </a:cubicBezTo>
                    <a:cubicBezTo>
                      <a:pt x="1291" y="122"/>
                      <a:pt x="1291" y="122"/>
                      <a:pt x="1291" y="122"/>
                    </a:cubicBezTo>
                    <a:cubicBezTo>
                      <a:pt x="1291" y="121"/>
                      <a:pt x="1290" y="121"/>
                      <a:pt x="1290" y="121"/>
                    </a:cubicBezTo>
                    <a:cubicBezTo>
                      <a:pt x="1290" y="121"/>
                      <a:pt x="1290" y="121"/>
                      <a:pt x="1290" y="121"/>
                    </a:cubicBezTo>
                    <a:cubicBezTo>
                      <a:pt x="1290" y="121"/>
                      <a:pt x="1289" y="121"/>
                      <a:pt x="1289" y="121"/>
                    </a:cubicBezTo>
                    <a:cubicBezTo>
                      <a:pt x="1289" y="120"/>
                      <a:pt x="1289" y="120"/>
                      <a:pt x="1289" y="120"/>
                    </a:cubicBezTo>
                    <a:cubicBezTo>
                      <a:pt x="1289" y="120"/>
                      <a:pt x="1289" y="120"/>
                      <a:pt x="1288" y="120"/>
                    </a:cubicBezTo>
                    <a:cubicBezTo>
                      <a:pt x="1288" y="120"/>
                      <a:pt x="1288" y="120"/>
                      <a:pt x="1288" y="120"/>
                    </a:cubicBezTo>
                    <a:cubicBezTo>
                      <a:pt x="1288" y="120"/>
                      <a:pt x="1287" y="120"/>
                      <a:pt x="1287" y="119"/>
                    </a:cubicBezTo>
                    <a:cubicBezTo>
                      <a:pt x="1287" y="119"/>
                      <a:pt x="1287" y="119"/>
                      <a:pt x="1287" y="119"/>
                    </a:cubicBezTo>
                    <a:cubicBezTo>
                      <a:pt x="1287" y="119"/>
                      <a:pt x="1286" y="119"/>
                      <a:pt x="1286" y="119"/>
                    </a:cubicBezTo>
                    <a:cubicBezTo>
                      <a:pt x="1286" y="119"/>
                      <a:pt x="1286" y="119"/>
                      <a:pt x="1286" y="119"/>
                    </a:cubicBezTo>
                    <a:cubicBezTo>
                      <a:pt x="1286" y="119"/>
                      <a:pt x="1286" y="118"/>
                      <a:pt x="1285" y="118"/>
                    </a:cubicBezTo>
                    <a:cubicBezTo>
                      <a:pt x="1285" y="118"/>
                      <a:pt x="1285" y="118"/>
                      <a:pt x="1285" y="118"/>
                    </a:cubicBezTo>
                    <a:cubicBezTo>
                      <a:pt x="1285" y="118"/>
                      <a:pt x="1285" y="118"/>
                      <a:pt x="1285" y="118"/>
                    </a:cubicBezTo>
                    <a:cubicBezTo>
                      <a:pt x="1285" y="118"/>
                      <a:pt x="1285" y="118"/>
                      <a:pt x="1284" y="118"/>
                    </a:cubicBezTo>
                    <a:cubicBezTo>
                      <a:pt x="1284" y="118"/>
                      <a:pt x="1284" y="118"/>
                      <a:pt x="1284" y="118"/>
                    </a:cubicBezTo>
                    <a:cubicBezTo>
                      <a:pt x="1284" y="117"/>
                      <a:pt x="1284" y="117"/>
                      <a:pt x="1283" y="117"/>
                    </a:cubicBezTo>
                    <a:cubicBezTo>
                      <a:pt x="1283" y="117"/>
                      <a:pt x="1283" y="117"/>
                      <a:pt x="1283" y="117"/>
                    </a:cubicBezTo>
                    <a:cubicBezTo>
                      <a:pt x="1283" y="117"/>
                      <a:pt x="1283" y="117"/>
                      <a:pt x="1282" y="117"/>
                    </a:cubicBezTo>
                    <a:cubicBezTo>
                      <a:pt x="1282" y="117"/>
                      <a:pt x="1282" y="117"/>
                      <a:pt x="1282" y="117"/>
                    </a:cubicBezTo>
                    <a:cubicBezTo>
                      <a:pt x="1282" y="116"/>
                      <a:pt x="1282" y="116"/>
                      <a:pt x="1282" y="116"/>
                    </a:cubicBezTo>
                    <a:cubicBezTo>
                      <a:pt x="1282" y="116"/>
                      <a:pt x="1282" y="116"/>
                      <a:pt x="1281" y="116"/>
                    </a:cubicBezTo>
                    <a:cubicBezTo>
                      <a:pt x="1281" y="116"/>
                      <a:pt x="1281" y="116"/>
                      <a:pt x="1281" y="116"/>
                    </a:cubicBezTo>
                    <a:cubicBezTo>
                      <a:pt x="1281" y="116"/>
                      <a:pt x="1281" y="116"/>
                      <a:pt x="1280" y="115"/>
                    </a:cubicBezTo>
                    <a:cubicBezTo>
                      <a:pt x="1280" y="115"/>
                      <a:pt x="1280" y="115"/>
                      <a:pt x="1280" y="115"/>
                    </a:cubicBezTo>
                    <a:cubicBezTo>
                      <a:pt x="1280" y="115"/>
                      <a:pt x="1280" y="115"/>
                      <a:pt x="1280" y="115"/>
                    </a:cubicBezTo>
                    <a:cubicBezTo>
                      <a:pt x="1280" y="115"/>
                      <a:pt x="1280" y="115"/>
                      <a:pt x="1280" y="115"/>
                    </a:cubicBezTo>
                    <a:cubicBezTo>
                      <a:pt x="1279" y="114"/>
                      <a:pt x="1279" y="115"/>
                      <a:pt x="1279" y="114"/>
                    </a:cubicBezTo>
                    <a:cubicBezTo>
                      <a:pt x="1279" y="114"/>
                      <a:pt x="1279" y="114"/>
                      <a:pt x="1279" y="114"/>
                    </a:cubicBezTo>
                    <a:cubicBezTo>
                      <a:pt x="1278" y="114"/>
                      <a:pt x="1278" y="114"/>
                      <a:pt x="1278" y="114"/>
                    </a:cubicBezTo>
                    <a:cubicBezTo>
                      <a:pt x="1278" y="114"/>
                      <a:pt x="1277" y="114"/>
                      <a:pt x="1277" y="113"/>
                    </a:cubicBezTo>
                    <a:cubicBezTo>
                      <a:pt x="1277" y="113"/>
                      <a:pt x="1277" y="113"/>
                      <a:pt x="1277" y="113"/>
                    </a:cubicBezTo>
                    <a:close/>
                    <a:moveTo>
                      <a:pt x="865" y="99"/>
                    </a:moveTo>
                    <a:cubicBezTo>
                      <a:pt x="864" y="99"/>
                      <a:pt x="864" y="99"/>
                      <a:pt x="864" y="99"/>
                    </a:cubicBezTo>
                    <a:cubicBezTo>
                      <a:pt x="864" y="99"/>
                      <a:pt x="864" y="99"/>
                      <a:pt x="864" y="99"/>
                    </a:cubicBezTo>
                    <a:cubicBezTo>
                      <a:pt x="864" y="99"/>
                      <a:pt x="864" y="100"/>
                      <a:pt x="863" y="100"/>
                    </a:cubicBezTo>
                    <a:cubicBezTo>
                      <a:pt x="863" y="100"/>
                      <a:pt x="863" y="100"/>
                      <a:pt x="863" y="100"/>
                    </a:cubicBezTo>
                    <a:cubicBezTo>
                      <a:pt x="863" y="100"/>
                      <a:pt x="863" y="100"/>
                      <a:pt x="862" y="100"/>
                    </a:cubicBezTo>
                    <a:cubicBezTo>
                      <a:pt x="862" y="100"/>
                      <a:pt x="862" y="100"/>
                      <a:pt x="862" y="100"/>
                    </a:cubicBezTo>
                    <a:cubicBezTo>
                      <a:pt x="862" y="101"/>
                      <a:pt x="861" y="101"/>
                      <a:pt x="861" y="101"/>
                    </a:cubicBezTo>
                    <a:cubicBezTo>
                      <a:pt x="861" y="101"/>
                      <a:pt x="861" y="101"/>
                      <a:pt x="861" y="101"/>
                    </a:cubicBezTo>
                    <a:cubicBezTo>
                      <a:pt x="861" y="101"/>
                      <a:pt x="861" y="101"/>
                      <a:pt x="861" y="101"/>
                    </a:cubicBezTo>
                    <a:cubicBezTo>
                      <a:pt x="860" y="101"/>
                      <a:pt x="860" y="101"/>
                      <a:pt x="860" y="101"/>
                    </a:cubicBezTo>
                    <a:cubicBezTo>
                      <a:pt x="860" y="102"/>
                      <a:pt x="860" y="102"/>
                      <a:pt x="859" y="102"/>
                    </a:cubicBezTo>
                    <a:cubicBezTo>
                      <a:pt x="859" y="102"/>
                      <a:pt x="859" y="102"/>
                      <a:pt x="859" y="102"/>
                    </a:cubicBezTo>
                    <a:cubicBezTo>
                      <a:pt x="859" y="102"/>
                      <a:pt x="859" y="102"/>
                      <a:pt x="859" y="103"/>
                    </a:cubicBezTo>
                    <a:cubicBezTo>
                      <a:pt x="859" y="103"/>
                      <a:pt x="859" y="103"/>
                      <a:pt x="859" y="103"/>
                    </a:cubicBezTo>
                    <a:cubicBezTo>
                      <a:pt x="859" y="103"/>
                      <a:pt x="858" y="103"/>
                      <a:pt x="858" y="103"/>
                    </a:cubicBezTo>
                    <a:cubicBezTo>
                      <a:pt x="858" y="103"/>
                      <a:pt x="858" y="103"/>
                      <a:pt x="858" y="103"/>
                    </a:cubicBezTo>
                    <a:cubicBezTo>
                      <a:pt x="857" y="103"/>
                      <a:pt x="857" y="104"/>
                      <a:pt x="857" y="104"/>
                    </a:cubicBezTo>
                    <a:cubicBezTo>
                      <a:pt x="857" y="104"/>
                      <a:pt x="857" y="104"/>
                      <a:pt x="857" y="104"/>
                    </a:cubicBezTo>
                    <a:cubicBezTo>
                      <a:pt x="857" y="104"/>
                      <a:pt x="857" y="104"/>
                      <a:pt x="856" y="104"/>
                    </a:cubicBezTo>
                    <a:cubicBezTo>
                      <a:pt x="856" y="104"/>
                      <a:pt x="856" y="104"/>
                      <a:pt x="856" y="104"/>
                    </a:cubicBezTo>
                    <a:cubicBezTo>
                      <a:pt x="856" y="105"/>
                      <a:pt x="855" y="105"/>
                      <a:pt x="855" y="106"/>
                    </a:cubicBezTo>
                    <a:cubicBezTo>
                      <a:pt x="855" y="106"/>
                      <a:pt x="855" y="106"/>
                      <a:pt x="855" y="106"/>
                    </a:cubicBezTo>
                    <a:cubicBezTo>
                      <a:pt x="855" y="106"/>
                      <a:pt x="854" y="106"/>
                      <a:pt x="854" y="106"/>
                    </a:cubicBezTo>
                    <a:cubicBezTo>
                      <a:pt x="854" y="106"/>
                      <a:pt x="854" y="106"/>
                      <a:pt x="854" y="106"/>
                    </a:cubicBezTo>
                    <a:cubicBezTo>
                      <a:pt x="854" y="106"/>
                      <a:pt x="854" y="106"/>
                      <a:pt x="854" y="107"/>
                    </a:cubicBezTo>
                    <a:cubicBezTo>
                      <a:pt x="854" y="107"/>
                      <a:pt x="854" y="107"/>
                      <a:pt x="854" y="107"/>
                    </a:cubicBezTo>
                    <a:cubicBezTo>
                      <a:pt x="853" y="107"/>
                      <a:pt x="853" y="107"/>
                      <a:pt x="853" y="107"/>
                    </a:cubicBezTo>
                    <a:cubicBezTo>
                      <a:pt x="853" y="107"/>
                      <a:pt x="853" y="107"/>
                      <a:pt x="853" y="107"/>
                    </a:cubicBezTo>
                    <a:cubicBezTo>
                      <a:pt x="853" y="107"/>
                      <a:pt x="853" y="108"/>
                      <a:pt x="852" y="108"/>
                    </a:cubicBezTo>
                    <a:cubicBezTo>
                      <a:pt x="852" y="108"/>
                      <a:pt x="852" y="108"/>
                      <a:pt x="852" y="108"/>
                    </a:cubicBezTo>
                    <a:cubicBezTo>
                      <a:pt x="852" y="108"/>
                      <a:pt x="852" y="108"/>
                      <a:pt x="852" y="108"/>
                    </a:cubicBezTo>
                    <a:cubicBezTo>
                      <a:pt x="852" y="108"/>
                      <a:pt x="852" y="108"/>
                      <a:pt x="852" y="108"/>
                    </a:cubicBezTo>
                    <a:cubicBezTo>
                      <a:pt x="852" y="109"/>
                      <a:pt x="851" y="109"/>
                      <a:pt x="851" y="109"/>
                    </a:cubicBezTo>
                    <a:cubicBezTo>
                      <a:pt x="851" y="109"/>
                      <a:pt x="851" y="109"/>
                      <a:pt x="851" y="109"/>
                    </a:cubicBezTo>
                    <a:cubicBezTo>
                      <a:pt x="851" y="109"/>
                      <a:pt x="851" y="109"/>
                      <a:pt x="851" y="110"/>
                    </a:cubicBezTo>
                    <a:cubicBezTo>
                      <a:pt x="851" y="110"/>
                      <a:pt x="851" y="110"/>
                      <a:pt x="851" y="110"/>
                    </a:cubicBezTo>
                    <a:cubicBezTo>
                      <a:pt x="851" y="110"/>
                      <a:pt x="850" y="110"/>
                      <a:pt x="850" y="110"/>
                    </a:cubicBezTo>
                    <a:cubicBezTo>
                      <a:pt x="850" y="110"/>
                      <a:pt x="850" y="110"/>
                      <a:pt x="850" y="110"/>
                    </a:cubicBezTo>
                    <a:cubicBezTo>
                      <a:pt x="850" y="110"/>
                      <a:pt x="850" y="111"/>
                      <a:pt x="850" y="111"/>
                    </a:cubicBezTo>
                    <a:cubicBezTo>
                      <a:pt x="850" y="111"/>
                      <a:pt x="850" y="111"/>
                      <a:pt x="850" y="111"/>
                    </a:cubicBezTo>
                    <a:cubicBezTo>
                      <a:pt x="849" y="111"/>
                      <a:pt x="849" y="112"/>
                      <a:pt x="849" y="112"/>
                    </a:cubicBezTo>
                    <a:cubicBezTo>
                      <a:pt x="849" y="112"/>
                      <a:pt x="849" y="112"/>
                      <a:pt x="849" y="112"/>
                    </a:cubicBezTo>
                    <a:cubicBezTo>
                      <a:pt x="849" y="112"/>
                      <a:pt x="849" y="112"/>
                      <a:pt x="848" y="112"/>
                    </a:cubicBezTo>
                    <a:cubicBezTo>
                      <a:pt x="848" y="112"/>
                      <a:pt x="848" y="112"/>
                      <a:pt x="848" y="112"/>
                    </a:cubicBezTo>
                    <a:cubicBezTo>
                      <a:pt x="848" y="113"/>
                      <a:pt x="848" y="113"/>
                      <a:pt x="848" y="113"/>
                    </a:cubicBezTo>
                    <a:cubicBezTo>
                      <a:pt x="848" y="113"/>
                      <a:pt x="848" y="113"/>
                      <a:pt x="848" y="113"/>
                    </a:cubicBezTo>
                    <a:cubicBezTo>
                      <a:pt x="848" y="113"/>
                      <a:pt x="847" y="113"/>
                      <a:pt x="847" y="114"/>
                    </a:cubicBezTo>
                    <a:cubicBezTo>
                      <a:pt x="847" y="114"/>
                      <a:pt x="847" y="114"/>
                      <a:pt x="847" y="114"/>
                    </a:cubicBezTo>
                    <a:cubicBezTo>
                      <a:pt x="847" y="114"/>
                      <a:pt x="847" y="114"/>
                      <a:pt x="847" y="115"/>
                    </a:cubicBezTo>
                    <a:cubicBezTo>
                      <a:pt x="847" y="115"/>
                      <a:pt x="847" y="115"/>
                      <a:pt x="847" y="115"/>
                    </a:cubicBezTo>
                    <a:cubicBezTo>
                      <a:pt x="846" y="115"/>
                      <a:pt x="846" y="115"/>
                      <a:pt x="846" y="115"/>
                    </a:cubicBezTo>
                    <a:cubicBezTo>
                      <a:pt x="846" y="115"/>
                      <a:pt x="846" y="115"/>
                      <a:pt x="846" y="115"/>
                    </a:cubicBezTo>
                    <a:cubicBezTo>
                      <a:pt x="846" y="116"/>
                      <a:pt x="846" y="116"/>
                      <a:pt x="846" y="116"/>
                    </a:cubicBezTo>
                    <a:cubicBezTo>
                      <a:pt x="846" y="116"/>
                      <a:pt x="846" y="116"/>
                      <a:pt x="846" y="116"/>
                    </a:cubicBezTo>
                    <a:cubicBezTo>
                      <a:pt x="845" y="117"/>
                      <a:pt x="845" y="117"/>
                      <a:pt x="845" y="117"/>
                    </a:cubicBezTo>
                    <a:cubicBezTo>
                      <a:pt x="845" y="117"/>
                      <a:pt x="845" y="117"/>
                      <a:pt x="845" y="117"/>
                    </a:cubicBezTo>
                    <a:cubicBezTo>
                      <a:pt x="845" y="117"/>
                      <a:pt x="845" y="118"/>
                      <a:pt x="844" y="118"/>
                    </a:cubicBezTo>
                    <a:cubicBezTo>
                      <a:pt x="844" y="118"/>
                      <a:pt x="844" y="118"/>
                      <a:pt x="844" y="118"/>
                    </a:cubicBezTo>
                    <a:cubicBezTo>
                      <a:pt x="844" y="118"/>
                      <a:pt x="844" y="119"/>
                      <a:pt x="844" y="119"/>
                    </a:cubicBezTo>
                    <a:cubicBezTo>
                      <a:pt x="844" y="119"/>
                      <a:pt x="844" y="119"/>
                      <a:pt x="844" y="119"/>
                    </a:cubicBezTo>
                    <a:cubicBezTo>
                      <a:pt x="843" y="120"/>
                      <a:pt x="844" y="120"/>
                      <a:pt x="843" y="120"/>
                    </a:cubicBezTo>
                    <a:cubicBezTo>
                      <a:pt x="843" y="121"/>
                      <a:pt x="843" y="121"/>
                      <a:pt x="843" y="121"/>
                    </a:cubicBezTo>
                    <a:cubicBezTo>
                      <a:pt x="843" y="121"/>
                      <a:pt x="843" y="121"/>
                      <a:pt x="843" y="121"/>
                    </a:cubicBezTo>
                    <a:cubicBezTo>
                      <a:pt x="843" y="122"/>
                      <a:pt x="843" y="122"/>
                      <a:pt x="843" y="122"/>
                    </a:cubicBezTo>
                    <a:cubicBezTo>
                      <a:pt x="843" y="122"/>
                      <a:pt x="843" y="122"/>
                      <a:pt x="843" y="122"/>
                    </a:cubicBezTo>
                    <a:cubicBezTo>
                      <a:pt x="842" y="122"/>
                      <a:pt x="842" y="123"/>
                      <a:pt x="842" y="123"/>
                    </a:cubicBezTo>
                    <a:cubicBezTo>
                      <a:pt x="842" y="123"/>
                      <a:pt x="842" y="123"/>
                      <a:pt x="842" y="123"/>
                    </a:cubicBezTo>
                    <a:cubicBezTo>
                      <a:pt x="842" y="123"/>
                      <a:pt x="842" y="124"/>
                      <a:pt x="842" y="124"/>
                    </a:cubicBezTo>
                    <a:cubicBezTo>
                      <a:pt x="842" y="124"/>
                      <a:pt x="842" y="124"/>
                      <a:pt x="842" y="124"/>
                    </a:cubicBezTo>
                    <a:cubicBezTo>
                      <a:pt x="841" y="124"/>
                      <a:pt x="841" y="125"/>
                      <a:pt x="841" y="125"/>
                    </a:cubicBezTo>
                    <a:cubicBezTo>
                      <a:pt x="841" y="125"/>
                      <a:pt x="841" y="125"/>
                      <a:pt x="841" y="125"/>
                    </a:cubicBezTo>
                    <a:cubicBezTo>
                      <a:pt x="840" y="126"/>
                      <a:pt x="841" y="126"/>
                      <a:pt x="840" y="127"/>
                    </a:cubicBezTo>
                    <a:cubicBezTo>
                      <a:pt x="840" y="127"/>
                      <a:pt x="840" y="127"/>
                      <a:pt x="840" y="127"/>
                    </a:cubicBezTo>
                    <a:cubicBezTo>
                      <a:pt x="840" y="127"/>
                      <a:pt x="840" y="128"/>
                      <a:pt x="840" y="128"/>
                    </a:cubicBezTo>
                    <a:cubicBezTo>
                      <a:pt x="840" y="128"/>
                      <a:pt x="840" y="128"/>
                      <a:pt x="840" y="128"/>
                    </a:cubicBezTo>
                    <a:cubicBezTo>
                      <a:pt x="840" y="129"/>
                      <a:pt x="840" y="129"/>
                      <a:pt x="840" y="129"/>
                    </a:cubicBezTo>
                    <a:cubicBezTo>
                      <a:pt x="839" y="129"/>
                      <a:pt x="840" y="130"/>
                      <a:pt x="839" y="130"/>
                    </a:cubicBezTo>
                    <a:cubicBezTo>
                      <a:pt x="839" y="130"/>
                      <a:pt x="839" y="130"/>
                      <a:pt x="839" y="130"/>
                    </a:cubicBezTo>
                    <a:cubicBezTo>
                      <a:pt x="839" y="131"/>
                      <a:pt x="839" y="132"/>
                      <a:pt x="839" y="132"/>
                    </a:cubicBezTo>
                    <a:cubicBezTo>
                      <a:pt x="839" y="132"/>
                      <a:pt x="839" y="132"/>
                      <a:pt x="839" y="133"/>
                    </a:cubicBezTo>
                    <a:cubicBezTo>
                      <a:pt x="838" y="133"/>
                      <a:pt x="839" y="134"/>
                      <a:pt x="838" y="134"/>
                    </a:cubicBezTo>
                    <a:cubicBezTo>
                      <a:pt x="838" y="135"/>
                      <a:pt x="838" y="135"/>
                      <a:pt x="838" y="135"/>
                    </a:cubicBezTo>
                    <a:cubicBezTo>
                      <a:pt x="837" y="136"/>
                      <a:pt x="838" y="137"/>
                      <a:pt x="838" y="137"/>
                    </a:cubicBezTo>
                    <a:cubicBezTo>
                      <a:pt x="838" y="137"/>
                      <a:pt x="838" y="138"/>
                      <a:pt x="837" y="138"/>
                    </a:cubicBezTo>
                    <a:cubicBezTo>
                      <a:pt x="837" y="139"/>
                      <a:pt x="838" y="140"/>
                      <a:pt x="837" y="141"/>
                    </a:cubicBezTo>
                    <a:cubicBezTo>
                      <a:pt x="837" y="141"/>
                      <a:pt x="837" y="141"/>
                      <a:pt x="837" y="141"/>
                    </a:cubicBezTo>
                    <a:cubicBezTo>
                      <a:pt x="836" y="143"/>
                      <a:pt x="837" y="144"/>
                      <a:pt x="836" y="146"/>
                    </a:cubicBezTo>
                    <a:cubicBezTo>
                      <a:pt x="837" y="147"/>
                      <a:pt x="836" y="148"/>
                      <a:pt x="836" y="149"/>
                    </a:cubicBezTo>
                    <a:cubicBezTo>
                      <a:pt x="836" y="151"/>
                      <a:pt x="836" y="154"/>
                      <a:pt x="836" y="157"/>
                    </a:cubicBezTo>
                    <a:cubicBezTo>
                      <a:pt x="836" y="158"/>
                      <a:pt x="837" y="158"/>
                      <a:pt x="836" y="159"/>
                    </a:cubicBezTo>
                    <a:cubicBezTo>
                      <a:pt x="837" y="161"/>
                      <a:pt x="836" y="162"/>
                      <a:pt x="837" y="164"/>
                    </a:cubicBezTo>
                    <a:cubicBezTo>
                      <a:pt x="837" y="164"/>
                      <a:pt x="837" y="164"/>
                      <a:pt x="837" y="164"/>
                    </a:cubicBezTo>
                    <a:cubicBezTo>
                      <a:pt x="838" y="165"/>
                      <a:pt x="837" y="166"/>
                      <a:pt x="837" y="167"/>
                    </a:cubicBezTo>
                    <a:cubicBezTo>
                      <a:pt x="838" y="167"/>
                      <a:pt x="838" y="167"/>
                      <a:pt x="838" y="168"/>
                    </a:cubicBezTo>
                    <a:cubicBezTo>
                      <a:pt x="838" y="168"/>
                      <a:pt x="837" y="169"/>
                      <a:pt x="838" y="170"/>
                    </a:cubicBezTo>
                    <a:cubicBezTo>
                      <a:pt x="838" y="170"/>
                      <a:pt x="838" y="170"/>
                      <a:pt x="838" y="170"/>
                    </a:cubicBezTo>
                    <a:cubicBezTo>
                      <a:pt x="838" y="170"/>
                      <a:pt x="838" y="170"/>
                      <a:pt x="838" y="170"/>
                    </a:cubicBezTo>
                    <a:cubicBezTo>
                      <a:pt x="838" y="171"/>
                      <a:pt x="838" y="172"/>
                      <a:pt x="839" y="172"/>
                    </a:cubicBezTo>
                    <a:cubicBezTo>
                      <a:pt x="839" y="172"/>
                      <a:pt x="839" y="172"/>
                      <a:pt x="839" y="172"/>
                    </a:cubicBezTo>
                    <a:cubicBezTo>
                      <a:pt x="839" y="173"/>
                      <a:pt x="839" y="174"/>
                      <a:pt x="839" y="174"/>
                    </a:cubicBezTo>
                    <a:cubicBezTo>
                      <a:pt x="839" y="174"/>
                      <a:pt x="839" y="174"/>
                      <a:pt x="839" y="174"/>
                    </a:cubicBezTo>
                    <a:cubicBezTo>
                      <a:pt x="839" y="174"/>
                      <a:pt x="839" y="174"/>
                      <a:pt x="839" y="174"/>
                    </a:cubicBezTo>
                    <a:cubicBezTo>
                      <a:pt x="839" y="175"/>
                      <a:pt x="839" y="175"/>
                      <a:pt x="840" y="176"/>
                    </a:cubicBezTo>
                    <a:cubicBezTo>
                      <a:pt x="840" y="176"/>
                      <a:pt x="840" y="176"/>
                      <a:pt x="840" y="176"/>
                    </a:cubicBezTo>
                    <a:cubicBezTo>
                      <a:pt x="840" y="176"/>
                      <a:pt x="840" y="176"/>
                      <a:pt x="840" y="176"/>
                    </a:cubicBezTo>
                    <a:cubicBezTo>
                      <a:pt x="840" y="177"/>
                      <a:pt x="840" y="177"/>
                      <a:pt x="840" y="177"/>
                    </a:cubicBezTo>
                    <a:cubicBezTo>
                      <a:pt x="840" y="177"/>
                      <a:pt x="840" y="177"/>
                      <a:pt x="840" y="177"/>
                    </a:cubicBezTo>
                    <a:cubicBezTo>
                      <a:pt x="841" y="178"/>
                      <a:pt x="841" y="178"/>
                      <a:pt x="841" y="179"/>
                    </a:cubicBezTo>
                    <a:cubicBezTo>
                      <a:pt x="841" y="179"/>
                      <a:pt x="841" y="179"/>
                      <a:pt x="841" y="179"/>
                    </a:cubicBezTo>
                    <a:cubicBezTo>
                      <a:pt x="841" y="179"/>
                      <a:pt x="841" y="180"/>
                      <a:pt x="842" y="180"/>
                    </a:cubicBezTo>
                    <a:cubicBezTo>
                      <a:pt x="842" y="180"/>
                      <a:pt x="842" y="180"/>
                      <a:pt x="842" y="180"/>
                    </a:cubicBezTo>
                    <a:cubicBezTo>
                      <a:pt x="842" y="181"/>
                      <a:pt x="842" y="181"/>
                      <a:pt x="842" y="182"/>
                    </a:cubicBezTo>
                    <a:cubicBezTo>
                      <a:pt x="842" y="181"/>
                      <a:pt x="842" y="181"/>
                      <a:pt x="842" y="181"/>
                    </a:cubicBezTo>
                    <a:cubicBezTo>
                      <a:pt x="842" y="182"/>
                      <a:pt x="842" y="182"/>
                      <a:pt x="843" y="183"/>
                    </a:cubicBezTo>
                    <a:cubicBezTo>
                      <a:pt x="843" y="183"/>
                      <a:pt x="843" y="183"/>
                      <a:pt x="843" y="183"/>
                    </a:cubicBezTo>
                    <a:cubicBezTo>
                      <a:pt x="843" y="183"/>
                      <a:pt x="843" y="184"/>
                      <a:pt x="843" y="184"/>
                    </a:cubicBezTo>
                    <a:cubicBezTo>
                      <a:pt x="843" y="184"/>
                      <a:pt x="843" y="184"/>
                      <a:pt x="843" y="184"/>
                    </a:cubicBezTo>
                    <a:cubicBezTo>
                      <a:pt x="844" y="184"/>
                      <a:pt x="843" y="185"/>
                      <a:pt x="844" y="185"/>
                    </a:cubicBezTo>
                    <a:cubicBezTo>
                      <a:pt x="844" y="185"/>
                      <a:pt x="844" y="185"/>
                      <a:pt x="844" y="185"/>
                    </a:cubicBezTo>
                    <a:cubicBezTo>
                      <a:pt x="844" y="185"/>
                      <a:pt x="844" y="185"/>
                      <a:pt x="844" y="186"/>
                    </a:cubicBezTo>
                    <a:cubicBezTo>
                      <a:pt x="844" y="186"/>
                      <a:pt x="844" y="186"/>
                      <a:pt x="844" y="186"/>
                    </a:cubicBezTo>
                    <a:cubicBezTo>
                      <a:pt x="845" y="186"/>
                      <a:pt x="845" y="186"/>
                      <a:pt x="845" y="187"/>
                    </a:cubicBezTo>
                    <a:cubicBezTo>
                      <a:pt x="845" y="187"/>
                      <a:pt x="845" y="187"/>
                      <a:pt x="845" y="187"/>
                    </a:cubicBezTo>
                    <a:cubicBezTo>
                      <a:pt x="845" y="187"/>
                      <a:pt x="845" y="187"/>
                      <a:pt x="845" y="187"/>
                    </a:cubicBezTo>
                    <a:cubicBezTo>
                      <a:pt x="846" y="187"/>
                      <a:pt x="846" y="187"/>
                      <a:pt x="846" y="187"/>
                    </a:cubicBezTo>
                    <a:cubicBezTo>
                      <a:pt x="846" y="188"/>
                      <a:pt x="846" y="188"/>
                      <a:pt x="846" y="188"/>
                    </a:cubicBezTo>
                    <a:cubicBezTo>
                      <a:pt x="846" y="188"/>
                      <a:pt x="846" y="188"/>
                      <a:pt x="846" y="188"/>
                    </a:cubicBezTo>
                    <a:cubicBezTo>
                      <a:pt x="846" y="189"/>
                      <a:pt x="847" y="189"/>
                      <a:pt x="847" y="189"/>
                    </a:cubicBezTo>
                    <a:cubicBezTo>
                      <a:pt x="847" y="189"/>
                      <a:pt x="847" y="189"/>
                      <a:pt x="847" y="189"/>
                    </a:cubicBezTo>
                    <a:cubicBezTo>
                      <a:pt x="847" y="189"/>
                      <a:pt x="847" y="190"/>
                      <a:pt x="847" y="190"/>
                    </a:cubicBezTo>
                    <a:cubicBezTo>
                      <a:pt x="847" y="190"/>
                      <a:pt x="847" y="190"/>
                      <a:pt x="847" y="190"/>
                    </a:cubicBezTo>
                    <a:cubicBezTo>
                      <a:pt x="847" y="190"/>
                      <a:pt x="848" y="191"/>
                      <a:pt x="848" y="191"/>
                    </a:cubicBezTo>
                    <a:cubicBezTo>
                      <a:pt x="848" y="191"/>
                      <a:pt x="848" y="191"/>
                      <a:pt x="848" y="191"/>
                    </a:cubicBezTo>
                    <a:cubicBezTo>
                      <a:pt x="848" y="191"/>
                      <a:pt x="848" y="191"/>
                      <a:pt x="848" y="191"/>
                    </a:cubicBezTo>
                    <a:cubicBezTo>
                      <a:pt x="848" y="191"/>
                      <a:pt x="848" y="191"/>
                      <a:pt x="848" y="191"/>
                    </a:cubicBezTo>
                    <a:cubicBezTo>
                      <a:pt x="849" y="192"/>
                      <a:pt x="849" y="193"/>
                      <a:pt x="850" y="193"/>
                    </a:cubicBezTo>
                    <a:cubicBezTo>
                      <a:pt x="850" y="193"/>
                      <a:pt x="850" y="193"/>
                      <a:pt x="850" y="193"/>
                    </a:cubicBezTo>
                    <a:cubicBezTo>
                      <a:pt x="850" y="193"/>
                      <a:pt x="850" y="193"/>
                      <a:pt x="850" y="194"/>
                    </a:cubicBezTo>
                    <a:cubicBezTo>
                      <a:pt x="850" y="194"/>
                      <a:pt x="850" y="194"/>
                      <a:pt x="850" y="194"/>
                    </a:cubicBezTo>
                    <a:cubicBezTo>
                      <a:pt x="850" y="194"/>
                      <a:pt x="851" y="194"/>
                      <a:pt x="851" y="194"/>
                    </a:cubicBezTo>
                    <a:cubicBezTo>
                      <a:pt x="851" y="194"/>
                      <a:pt x="851" y="194"/>
                      <a:pt x="851" y="194"/>
                    </a:cubicBezTo>
                    <a:cubicBezTo>
                      <a:pt x="851" y="194"/>
                      <a:pt x="851" y="195"/>
                      <a:pt x="851" y="195"/>
                    </a:cubicBezTo>
                    <a:cubicBezTo>
                      <a:pt x="851" y="195"/>
                      <a:pt x="851" y="195"/>
                      <a:pt x="851" y="195"/>
                    </a:cubicBezTo>
                    <a:cubicBezTo>
                      <a:pt x="851" y="195"/>
                      <a:pt x="852" y="195"/>
                      <a:pt x="852" y="195"/>
                    </a:cubicBezTo>
                    <a:cubicBezTo>
                      <a:pt x="852" y="195"/>
                      <a:pt x="852" y="195"/>
                      <a:pt x="852" y="195"/>
                    </a:cubicBezTo>
                    <a:cubicBezTo>
                      <a:pt x="852" y="196"/>
                      <a:pt x="852" y="196"/>
                      <a:pt x="853" y="196"/>
                    </a:cubicBezTo>
                    <a:cubicBezTo>
                      <a:pt x="853" y="196"/>
                      <a:pt x="853" y="196"/>
                      <a:pt x="853" y="196"/>
                    </a:cubicBezTo>
                    <a:cubicBezTo>
                      <a:pt x="853" y="196"/>
                      <a:pt x="853" y="196"/>
                      <a:pt x="853" y="196"/>
                    </a:cubicBezTo>
                    <a:cubicBezTo>
                      <a:pt x="853" y="196"/>
                      <a:pt x="853" y="196"/>
                      <a:pt x="853" y="196"/>
                    </a:cubicBezTo>
                    <a:cubicBezTo>
                      <a:pt x="853" y="197"/>
                      <a:pt x="853" y="197"/>
                      <a:pt x="854" y="197"/>
                    </a:cubicBezTo>
                    <a:cubicBezTo>
                      <a:pt x="854" y="197"/>
                      <a:pt x="854" y="197"/>
                      <a:pt x="854" y="197"/>
                    </a:cubicBezTo>
                    <a:cubicBezTo>
                      <a:pt x="854" y="197"/>
                      <a:pt x="854" y="198"/>
                      <a:pt x="854" y="198"/>
                    </a:cubicBezTo>
                    <a:cubicBezTo>
                      <a:pt x="854" y="198"/>
                      <a:pt x="854" y="198"/>
                      <a:pt x="854" y="198"/>
                    </a:cubicBezTo>
                    <a:cubicBezTo>
                      <a:pt x="855" y="198"/>
                      <a:pt x="855" y="198"/>
                      <a:pt x="856" y="199"/>
                    </a:cubicBezTo>
                    <a:cubicBezTo>
                      <a:pt x="856" y="199"/>
                      <a:pt x="856" y="199"/>
                      <a:pt x="856" y="199"/>
                    </a:cubicBezTo>
                    <a:cubicBezTo>
                      <a:pt x="856" y="199"/>
                      <a:pt x="856" y="199"/>
                      <a:pt x="857" y="199"/>
                    </a:cubicBezTo>
                    <a:cubicBezTo>
                      <a:pt x="857" y="199"/>
                      <a:pt x="857" y="199"/>
                      <a:pt x="857" y="199"/>
                    </a:cubicBezTo>
                    <a:cubicBezTo>
                      <a:pt x="857" y="200"/>
                      <a:pt x="857" y="200"/>
                      <a:pt x="857" y="200"/>
                    </a:cubicBezTo>
                    <a:cubicBezTo>
                      <a:pt x="857" y="200"/>
                      <a:pt x="857" y="200"/>
                      <a:pt x="857" y="200"/>
                    </a:cubicBezTo>
                    <a:cubicBezTo>
                      <a:pt x="858" y="200"/>
                      <a:pt x="858" y="201"/>
                      <a:pt x="859" y="201"/>
                    </a:cubicBezTo>
                    <a:cubicBezTo>
                      <a:pt x="859" y="201"/>
                      <a:pt x="859" y="201"/>
                      <a:pt x="859" y="201"/>
                    </a:cubicBezTo>
                    <a:cubicBezTo>
                      <a:pt x="859" y="202"/>
                      <a:pt x="860" y="202"/>
                      <a:pt x="861" y="202"/>
                    </a:cubicBezTo>
                    <a:cubicBezTo>
                      <a:pt x="861" y="202"/>
                      <a:pt x="861" y="202"/>
                      <a:pt x="861" y="202"/>
                    </a:cubicBezTo>
                    <a:cubicBezTo>
                      <a:pt x="861" y="203"/>
                      <a:pt x="861" y="202"/>
                      <a:pt x="862" y="203"/>
                    </a:cubicBezTo>
                    <a:cubicBezTo>
                      <a:pt x="862" y="203"/>
                      <a:pt x="862" y="203"/>
                      <a:pt x="862" y="203"/>
                    </a:cubicBezTo>
                    <a:cubicBezTo>
                      <a:pt x="862" y="203"/>
                      <a:pt x="862" y="203"/>
                      <a:pt x="862" y="203"/>
                    </a:cubicBezTo>
                    <a:cubicBezTo>
                      <a:pt x="862" y="203"/>
                      <a:pt x="862" y="203"/>
                      <a:pt x="862" y="203"/>
                    </a:cubicBezTo>
                    <a:cubicBezTo>
                      <a:pt x="862" y="203"/>
                      <a:pt x="862" y="203"/>
                      <a:pt x="862" y="203"/>
                    </a:cubicBezTo>
                    <a:cubicBezTo>
                      <a:pt x="863" y="204"/>
                      <a:pt x="863" y="204"/>
                      <a:pt x="863" y="204"/>
                    </a:cubicBezTo>
                    <a:cubicBezTo>
                      <a:pt x="863" y="204"/>
                      <a:pt x="863" y="204"/>
                      <a:pt x="863" y="204"/>
                    </a:cubicBezTo>
                    <a:cubicBezTo>
                      <a:pt x="864" y="204"/>
                      <a:pt x="864" y="204"/>
                      <a:pt x="865" y="204"/>
                    </a:cubicBezTo>
                    <a:cubicBezTo>
                      <a:pt x="865" y="204"/>
                      <a:pt x="865" y="204"/>
                      <a:pt x="865" y="204"/>
                    </a:cubicBezTo>
                    <a:cubicBezTo>
                      <a:pt x="865" y="205"/>
                      <a:pt x="865" y="205"/>
                      <a:pt x="866" y="205"/>
                    </a:cubicBezTo>
                    <a:cubicBezTo>
                      <a:pt x="866" y="205"/>
                      <a:pt x="866" y="205"/>
                      <a:pt x="866" y="205"/>
                    </a:cubicBezTo>
                    <a:cubicBezTo>
                      <a:pt x="866" y="206"/>
                      <a:pt x="867" y="205"/>
                      <a:pt x="867" y="206"/>
                    </a:cubicBezTo>
                    <a:cubicBezTo>
                      <a:pt x="867" y="206"/>
                      <a:pt x="867" y="206"/>
                      <a:pt x="867" y="206"/>
                    </a:cubicBezTo>
                    <a:cubicBezTo>
                      <a:pt x="868" y="206"/>
                      <a:pt x="868" y="206"/>
                      <a:pt x="869" y="206"/>
                    </a:cubicBezTo>
                    <a:cubicBezTo>
                      <a:pt x="869" y="206"/>
                      <a:pt x="869" y="206"/>
                      <a:pt x="869" y="206"/>
                    </a:cubicBezTo>
                    <a:cubicBezTo>
                      <a:pt x="869" y="207"/>
                      <a:pt x="870" y="206"/>
                      <a:pt x="870" y="207"/>
                    </a:cubicBezTo>
                    <a:cubicBezTo>
                      <a:pt x="870" y="207"/>
                      <a:pt x="870" y="207"/>
                      <a:pt x="870" y="207"/>
                    </a:cubicBezTo>
                    <a:cubicBezTo>
                      <a:pt x="871" y="207"/>
                      <a:pt x="872" y="207"/>
                      <a:pt x="872" y="207"/>
                    </a:cubicBezTo>
                    <a:cubicBezTo>
                      <a:pt x="872" y="207"/>
                      <a:pt x="872" y="207"/>
                      <a:pt x="872" y="207"/>
                    </a:cubicBezTo>
                    <a:cubicBezTo>
                      <a:pt x="873" y="208"/>
                      <a:pt x="873" y="208"/>
                      <a:pt x="874" y="208"/>
                    </a:cubicBezTo>
                    <a:cubicBezTo>
                      <a:pt x="874" y="208"/>
                      <a:pt x="874" y="208"/>
                      <a:pt x="874" y="208"/>
                    </a:cubicBezTo>
                    <a:cubicBezTo>
                      <a:pt x="874" y="208"/>
                      <a:pt x="874" y="208"/>
                      <a:pt x="874" y="208"/>
                    </a:cubicBezTo>
                    <a:cubicBezTo>
                      <a:pt x="875" y="208"/>
                      <a:pt x="876" y="208"/>
                      <a:pt x="876" y="209"/>
                    </a:cubicBezTo>
                    <a:cubicBezTo>
                      <a:pt x="876" y="208"/>
                      <a:pt x="876" y="208"/>
                      <a:pt x="876" y="208"/>
                    </a:cubicBezTo>
                    <a:cubicBezTo>
                      <a:pt x="877" y="209"/>
                      <a:pt x="877" y="209"/>
                      <a:pt x="877" y="209"/>
                    </a:cubicBezTo>
                    <a:cubicBezTo>
                      <a:pt x="877" y="209"/>
                      <a:pt x="878" y="209"/>
                      <a:pt x="879" y="209"/>
                    </a:cubicBezTo>
                    <a:cubicBezTo>
                      <a:pt x="879" y="209"/>
                      <a:pt x="879" y="209"/>
                      <a:pt x="879" y="209"/>
                    </a:cubicBezTo>
                    <a:cubicBezTo>
                      <a:pt x="880" y="209"/>
                      <a:pt x="880" y="209"/>
                      <a:pt x="880" y="209"/>
                    </a:cubicBezTo>
                    <a:cubicBezTo>
                      <a:pt x="881" y="210"/>
                      <a:pt x="882" y="209"/>
                      <a:pt x="884" y="210"/>
                    </a:cubicBezTo>
                    <a:cubicBezTo>
                      <a:pt x="884" y="210"/>
                      <a:pt x="884" y="210"/>
                      <a:pt x="885" y="210"/>
                    </a:cubicBezTo>
                    <a:cubicBezTo>
                      <a:pt x="889" y="210"/>
                      <a:pt x="892" y="210"/>
                      <a:pt x="896" y="210"/>
                    </a:cubicBezTo>
                    <a:cubicBezTo>
                      <a:pt x="897" y="210"/>
                      <a:pt x="897" y="210"/>
                      <a:pt x="897" y="210"/>
                    </a:cubicBezTo>
                    <a:cubicBezTo>
                      <a:pt x="899" y="209"/>
                      <a:pt x="900" y="210"/>
                      <a:pt x="901" y="209"/>
                    </a:cubicBezTo>
                    <a:cubicBezTo>
                      <a:pt x="902" y="209"/>
                      <a:pt x="902" y="209"/>
                      <a:pt x="902" y="209"/>
                    </a:cubicBezTo>
                    <a:cubicBezTo>
                      <a:pt x="902" y="209"/>
                      <a:pt x="902" y="209"/>
                      <a:pt x="902" y="209"/>
                    </a:cubicBezTo>
                    <a:cubicBezTo>
                      <a:pt x="903" y="209"/>
                      <a:pt x="904" y="209"/>
                      <a:pt x="904" y="209"/>
                    </a:cubicBezTo>
                    <a:cubicBezTo>
                      <a:pt x="904" y="208"/>
                      <a:pt x="904" y="208"/>
                      <a:pt x="904" y="208"/>
                    </a:cubicBezTo>
                    <a:cubicBezTo>
                      <a:pt x="905" y="209"/>
                      <a:pt x="905" y="209"/>
                      <a:pt x="905" y="209"/>
                    </a:cubicBezTo>
                    <a:cubicBezTo>
                      <a:pt x="905" y="208"/>
                      <a:pt x="906" y="209"/>
                      <a:pt x="907" y="208"/>
                    </a:cubicBezTo>
                    <a:cubicBezTo>
                      <a:pt x="907" y="208"/>
                      <a:pt x="907" y="208"/>
                      <a:pt x="907" y="208"/>
                    </a:cubicBezTo>
                    <a:cubicBezTo>
                      <a:pt x="908" y="208"/>
                      <a:pt x="908" y="208"/>
                      <a:pt x="909" y="207"/>
                    </a:cubicBezTo>
                    <a:cubicBezTo>
                      <a:pt x="909" y="207"/>
                      <a:pt x="909" y="207"/>
                      <a:pt x="909" y="207"/>
                    </a:cubicBezTo>
                    <a:cubicBezTo>
                      <a:pt x="909" y="207"/>
                      <a:pt x="909" y="207"/>
                      <a:pt x="909" y="207"/>
                    </a:cubicBezTo>
                    <a:cubicBezTo>
                      <a:pt x="910" y="207"/>
                      <a:pt x="910" y="207"/>
                      <a:pt x="911" y="207"/>
                    </a:cubicBezTo>
                    <a:cubicBezTo>
                      <a:pt x="911" y="207"/>
                      <a:pt x="911" y="207"/>
                      <a:pt x="911" y="207"/>
                    </a:cubicBezTo>
                    <a:cubicBezTo>
                      <a:pt x="911" y="207"/>
                      <a:pt x="911" y="207"/>
                      <a:pt x="911" y="207"/>
                    </a:cubicBezTo>
                    <a:cubicBezTo>
                      <a:pt x="911" y="207"/>
                      <a:pt x="912" y="207"/>
                      <a:pt x="912" y="206"/>
                    </a:cubicBezTo>
                    <a:cubicBezTo>
                      <a:pt x="912" y="206"/>
                      <a:pt x="912" y="206"/>
                      <a:pt x="912" y="206"/>
                    </a:cubicBezTo>
                    <a:cubicBezTo>
                      <a:pt x="913" y="206"/>
                      <a:pt x="914" y="206"/>
                      <a:pt x="914" y="206"/>
                    </a:cubicBezTo>
                    <a:cubicBezTo>
                      <a:pt x="914" y="206"/>
                      <a:pt x="914" y="206"/>
                      <a:pt x="914" y="206"/>
                    </a:cubicBezTo>
                    <a:cubicBezTo>
                      <a:pt x="914" y="205"/>
                      <a:pt x="915" y="206"/>
                      <a:pt x="915" y="205"/>
                    </a:cubicBezTo>
                    <a:cubicBezTo>
                      <a:pt x="915" y="205"/>
                      <a:pt x="915" y="205"/>
                      <a:pt x="915" y="205"/>
                    </a:cubicBezTo>
                    <a:cubicBezTo>
                      <a:pt x="916" y="205"/>
                      <a:pt x="916" y="205"/>
                      <a:pt x="916" y="205"/>
                    </a:cubicBezTo>
                    <a:cubicBezTo>
                      <a:pt x="916" y="205"/>
                      <a:pt x="916" y="205"/>
                      <a:pt x="916" y="205"/>
                    </a:cubicBezTo>
                    <a:cubicBezTo>
                      <a:pt x="917" y="204"/>
                      <a:pt x="917" y="204"/>
                      <a:pt x="917" y="204"/>
                    </a:cubicBezTo>
                    <a:cubicBezTo>
                      <a:pt x="918" y="204"/>
                      <a:pt x="918" y="204"/>
                      <a:pt x="918" y="204"/>
                    </a:cubicBezTo>
                    <a:cubicBezTo>
                      <a:pt x="918" y="204"/>
                      <a:pt x="918" y="204"/>
                      <a:pt x="919" y="203"/>
                    </a:cubicBezTo>
                    <a:cubicBezTo>
                      <a:pt x="919" y="203"/>
                      <a:pt x="919" y="203"/>
                      <a:pt x="919" y="203"/>
                    </a:cubicBezTo>
                    <a:cubicBezTo>
                      <a:pt x="919" y="203"/>
                      <a:pt x="920" y="203"/>
                      <a:pt x="920" y="203"/>
                    </a:cubicBezTo>
                    <a:cubicBezTo>
                      <a:pt x="920" y="203"/>
                      <a:pt x="920" y="203"/>
                      <a:pt x="920" y="203"/>
                    </a:cubicBezTo>
                    <a:cubicBezTo>
                      <a:pt x="920" y="203"/>
                      <a:pt x="921" y="203"/>
                      <a:pt x="921" y="202"/>
                    </a:cubicBezTo>
                    <a:cubicBezTo>
                      <a:pt x="921" y="202"/>
                      <a:pt x="921" y="202"/>
                      <a:pt x="921" y="202"/>
                    </a:cubicBezTo>
                    <a:cubicBezTo>
                      <a:pt x="921" y="202"/>
                      <a:pt x="921" y="202"/>
                      <a:pt x="921" y="202"/>
                    </a:cubicBezTo>
                    <a:cubicBezTo>
                      <a:pt x="921" y="202"/>
                      <a:pt x="921" y="202"/>
                      <a:pt x="922" y="202"/>
                    </a:cubicBezTo>
                    <a:cubicBezTo>
                      <a:pt x="922" y="202"/>
                      <a:pt x="922" y="202"/>
                      <a:pt x="922" y="202"/>
                    </a:cubicBezTo>
                    <a:cubicBezTo>
                      <a:pt x="922" y="201"/>
                      <a:pt x="922" y="202"/>
                      <a:pt x="923" y="201"/>
                    </a:cubicBezTo>
                    <a:cubicBezTo>
                      <a:pt x="923" y="201"/>
                      <a:pt x="923" y="201"/>
                      <a:pt x="923" y="201"/>
                    </a:cubicBezTo>
                    <a:cubicBezTo>
                      <a:pt x="923" y="201"/>
                      <a:pt x="923" y="201"/>
                      <a:pt x="923" y="201"/>
                    </a:cubicBezTo>
                    <a:cubicBezTo>
                      <a:pt x="923" y="201"/>
                      <a:pt x="923" y="201"/>
                      <a:pt x="923" y="201"/>
                    </a:cubicBezTo>
                    <a:cubicBezTo>
                      <a:pt x="924" y="200"/>
                      <a:pt x="925" y="200"/>
                      <a:pt x="925" y="199"/>
                    </a:cubicBezTo>
                    <a:cubicBezTo>
                      <a:pt x="925" y="199"/>
                      <a:pt x="925" y="199"/>
                      <a:pt x="925" y="199"/>
                    </a:cubicBezTo>
                    <a:cubicBezTo>
                      <a:pt x="925" y="199"/>
                      <a:pt x="925" y="199"/>
                      <a:pt x="926" y="199"/>
                    </a:cubicBezTo>
                    <a:cubicBezTo>
                      <a:pt x="926" y="199"/>
                      <a:pt x="926" y="199"/>
                      <a:pt x="926" y="199"/>
                    </a:cubicBezTo>
                    <a:cubicBezTo>
                      <a:pt x="926" y="199"/>
                      <a:pt x="926" y="198"/>
                      <a:pt x="926" y="198"/>
                    </a:cubicBezTo>
                    <a:cubicBezTo>
                      <a:pt x="926" y="198"/>
                      <a:pt x="926" y="198"/>
                      <a:pt x="926" y="198"/>
                    </a:cubicBezTo>
                    <a:cubicBezTo>
                      <a:pt x="927" y="198"/>
                      <a:pt x="927" y="198"/>
                      <a:pt x="928" y="197"/>
                    </a:cubicBezTo>
                    <a:cubicBezTo>
                      <a:pt x="928" y="197"/>
                      <a:pt x="928" y="197"/>
                      <a:pt x="928" y="197"/>
                    </a:cubicBezTo>
                    <a:cubicBezTo>
                      <a:pt x="928" y="197"/>
                      <a:pt x="928" y="197"/>
                      <a:pt x="928" y="196"/>
                    </a:cubicBezTo>
                    <a:cubicBezTo>
                      <a:pt x="928" y="196"/>
                      <a:pt x="928" y="196"/>
                      <a:pt x="928" y="196"/>
                    </a:cubicBezTo>
                    <a:cubicBezTo>
                      <a:pt x="929" y="196"/>
                      <a:pt x="929" y="196"/>
                      <a:pt x="929" y="196"/>
                    </a:cubicBezTo>
                    <a:cubicBezTo>
                      <a:pt x="929" y="196"/>
                      <a:pt x="929" y="196"/>
                      <a:pt x="929" y="196"/>
                    </a:cubicBezTo>
                    <a:cubicBezTo>
                      <a:pt x="929" y="196"/>
                      <a:pt x="929" y="196"/>
                      <a:pt x="930" y="195"/>
                    </a:cubicBezTo>
                    <a:cubicBezTo>
                      <a:pt x="929" y="195"/>
                      <a:pt x="929" y="195"/>
                      <a:pt x="929" y="195"/>
                    </a:cubicBezTo>
                    <a:cubicBezTo>
                      <a:pt x="930" y="195"/>
                      <a:pt x="930" y="195"/>
                      <a:pt x="930" y="195"/>
                    </a:cubicBezTo>
                    <a:cubicBezTo>
                      <a:pt x="930" y="195"/>
                      <a:pt x="930" y="195"/>
                      <a:pt x="930" y="195"/>
                    </a:cubicBezTo>
                    <a:cubicBezTo>
                      <a:pt x="930" y="195"/>
                      <a:pt x="931" y="194"/>
                      <a:pt x="931" y="194"/>
                    </a:cubicBezTo>
                    <a:cubicBezTo>
                      <a:pt x="931" y="194"/>
                      <a:pt x="931" y="194"/>
                      <a:pt x="931" y="194"/>
                    </a:cubicBezTo>
                    <a:cubicBezTo>
                      <a:pt x="931" y="194"/>
                      <a:pt x="931" y="194"/>
                      <a:pt x="931" y="193"/>
                    </a:cubicBezTo>
                    <a:cubicBezTo>
                      <a:pt x="931" y="194"/>
                      <a:pt x="931" y="194"/>
                      <a:pt x="931" y="194"/>
                    </a:cubicBezTo>
                    <a:cubicBezTo>
                      <a:pt x="932" y="193"/>
                      <a:pt x="932" y="192"/>
                      <a:pt x="933" y="191"/>
                    </a:cubicBezTo>
                    <a:cubicBezTo>
                      <a:pt x="933" y="191"/>
                      <a:pt x="933" y="191"/>
                      <a:pt x="933" y="191"/>
                    </a:cubicBezTo>
                    <a:cubicBezTo>
                      <a:pt x="933" y="191"/>
                      <a:pt x="933" y="191"/>
                      <a:pt x="934" y="191"/>
                    </a:cubicBezTo>
                    <a:cubicBezTo>
                      <a:pt x="934" y="191"/>
                      <a:pt x="934" y="191"/>
                      <a:pt x="934" y="191"/>
                    </a:cubicBezTo>
                    <a:cubicBezTo>
                      <a:pt x="934" y="191"/>
                      <a:pt x="934" y="190"/>
                      <a:pt x="934" y="190"/>
                    </a:cubicBezTo>
                    <a:cubicBezTo>
                      <a:pt x="934" y="190"/>
                      <a:pt x="934" y="190"/>
                      <a:pt x="934" y="190"/>
                    </a:cubicBezTo>
                    <a:cubicBezTo>
                      <a:pt x="935" y="190"/>
                      <a:pt x="934" y="189"/>
                      <a:pt x="935" y="189"/>
                    </a:cubicBezTo>
                    <a:cubicBezTo>
                      <a:pt x="935" y="189"/>
                      <a:pt x="935" y="189"/>
                      <a:pt x="935" y="189"/>
                    </a:cubicBezTo>
                    <a:cubicBezTo>
                      <a:pt x="935" y="189"/>
                      <a:pt x="935" y="189"/>
                      <a:pt x="935" y="188"/>
                    </a:cubicBezTo>
                    <a:cubicBezTo>
                      <a:pt x="935" y="188"/>
                      <a:pt x="935" y="188"/>
                      <a:pt x="935" y="188"/>
                    </a:cubicBezTo>
                    <a:cubicBezTo>
                      <a:pt x="936" y="188"/>
                      <a:pt x="936" y="188"/>
                      <a:pt x="936" y="188"/>
                    </a:cubicBezTo>
                    <a:cubicBezTo>
                      <a:pt x="936" y="188"/>
                      <a:pt x="936" y="188"/>
                      <a:pt x="936" y="188"/>
                    </a:cubicBezTo>
                    <a:cubicBezTo>
                      <a:pt x="936" y="188"/>
                      <a:pt x="936" y="187"/>
                      <a:pt x="936" y="187"/>
                    </a:cubicBezTo>
                    <a:cubicBezTo>
                      <a:pt x="936" y="187"/>
                      <a:pt x="936" y="187"/>
                      <a:pt x="936" y="187"/>
                    </a:cubicBezTo>
                    <a:cubicBezTo>
                      <a:pt x="937" y="186"/>
                      <a:pt x="937" y="186"/>
                      <a:pt x="937" y="186"/>
                    </a:cubicBezTo>
                    <a:cubicBezTo>
                      <a:pt x="937" y="186"/>
                      <a:pt x="937" y="186"/>
                      <a:pt x="937" y="186"/>
                    </a:cubicBezTo>
                    <a:cubicBezTo>
                      <a:pt x="937" y="185"/>
                      <a:pt x="938" y="185"/>
                      <a:pt x="938" y="185"/>
                    </a:cubicBezTo>
                    <a:cubicBezTo>
                      <a:pt x="938" y="185"/>
                      <a:pt x="938" y="185"/>
                      <a:pt x="938" y="185"/>
                    </a:cubicBezTo>
                    <a:cubicBezTo>
                      <a:pt x="938" y="185"/>
                      <a:pt x="938" y="184"/>
                      <a:pt x="938" y="184"/>
                    </a:cubicBezTo>
                    <a:cubicBezTo>
                      <a:pt x="938" y="184"/>
                      <a:pt x="938" y="184"/>
                      <a:pt x="938" y="184"/>
                    </a:cubicBezTo>
                    <a:cubicBezTo>
                      <a:pt x="939" y="184"/>
                      <a:pt x="938" y="183"/>
                      <a:pt x="939" y="183"/>
                    </a:cubicBezTo>
                    <a:cubicBezTo>
                      <a:pt x="939" y="183"/>
                      <a:pt x="939" y="183"/>
                      <a:pt x="939" y="183"/>
                    </a:cubicBezTo>
                    <a:cubicBezTo>
                      <a:pt x="939" y="182"/>
                      <a:pt x="939" y="182"/>
                      <a:pt x="939" y="182"/>
                    </a:cubicBezTo>
                    <a:cubicBezTo>
                      <a:pt x="939" y="182"/>
                      <a:pt x="939" y="182"/>
                      <a:pt x="939" y="182"/>
                    </a:cubicBezTo>
                    <a:cubicBezTo>
                      <a:pt x="940" y="181"/>
                      <a:pt x="940" y="181"/>
                      <a:pt x="940" y="180"/>
                    </a:cubicBezTo>
                    <a:cubicBezTo>
                      <a:pt x="940" y="180"/>
                      <a:pt x="940" y="180"/>
                      <a:pt x="940" y="180"/>
                    </a:cubicBezTo>
                    <a:cubicBezTo>
                      <a:pt x="940" y="180"/>
                      <a:pt x="940" y="180"/>
                      <a:pt x="941" y="179"/>
                    </a:cubicBezTo>
                    <a:cubicBezTo>
                      <a:pt x="941" y="179"/>
                      <a:pt x="941" y="179"/>
                      <a:pt x="941" y="179"/>
                    </a:cubicBezTo>
                    <a:cubicBezTo>
                      <a:pt x="941" y="179"/>
                      <a:pt x="941" y="178"/>
                      <a:pt x="941" y="178"/>
                    </a:cubicBezTo>
                    <a:cubicBezTo>
                      <a:pt x="941" y="178"/>
                      <a:pt x="941" y="178"/>
                      <a:pt x="941" y="178"/>
                    </a:cubicBezTo>
                    <a:cubicBezTo>
                      <a:pt x="941" y="178"/>
                      <a:pt x="941" y="177"/>
                      <a:pt x="942" y="177"/>
                    </a:cubicBezTo>
                    <a:cubicBezTo>
                      <a:pt x="942" y="176"/>
                      <a:pt x="942" y="176"/>
                      <a:pt x="942" y="176"/>
                    </a:cubicBezTo>
                    <a:cubicBezTo>
                      <a:pt x="942" y="176"/>
                      <a:pt x="942" y="176"/>
                      <a:pt x="942" y="176"/>
                    </a:cubicBezTo>
                    <a:cubicBezTo>
                      <a:pt x="942" y="176"/>
                      <a:pt x="942" y="175"/>
                      <a:pt x="942" y="175"/>
                    </a:cubicBezTo>
                    <a:cubicBezTo>
                      <a:pt x="942" y="175"/>
                      <a:pt x="942" y="175"/>
                      <a:pt x="942" y="175"/>
                    </a:cubicBezTo>
                    <a:cubicBezTo>
                      <a:pt x="943" y="174"/>
                      <a:pt x="943" y="174"/>
                      <a:pt x="943" y="173"/>
                    </a:cubicBezTo>
                    <a:cubicBezTo>
                      <a:pt x="943" y="173"/>
                      <a:pt x="943" y="173"/>
                      <a:pt x="943" y="173"/>
                    </a:cubicBezTo>
                    <a:cubicBezTo>
                      <a:pt x="943" y="172"/>
                      <a:pt x="943" y="172"/>
                      <a:pt x="943" y="172"/>
                    </a:cubicBezTo>
                    <a:cubicBezTo>
                      <a:pt x="943" y="171"/>
                      <a:pt x="943" y="171"/>
                      <a:pt x="943" y="171"/>
                    </a:cubicBezTo>
                    <a:cubicBezTo>
                      <a:pt x="943" y="171"/>
                      <a:pt x="943" y="171"/>
                      <a:pt x="943" y="171"/>
                    </a:cubicBezTo>
                    <a:cubicBezTo>
                      <a:pt x="944" y="171"/>
                      <a:pt x="944" y="170"/>
                      <a:pt x="944" y="169"/>
                    </a:cubicBezTo>
                    <a:cubicBezTo>
                      <a:pt x="944" y="169"/>
                      <a:pt x="944" y="169"/>
                      <a:pt x="944" y="169"/>
                    </a:cubicBezTo>
                    <a:cubicBezTo>
                      <a:pt x="945" y="168"/>
                      <a:pt x="944" y="167"/>
                      <a:pt x="945" y="166"/>
                    </a:cubicBezTo>
                    <a:cubicBezTo>
                      <a:pt x="944" y="166"/>
                      <a:pt x="944" y="166"/>
                      <a:pt x="945" y="166"/>
                    </a:cubicBezTo>
                    <a:cubicBezTo>
                      <a:pt x="945" y="165"/>
                      <a:pt x="945" y="164"/>
                      <a:pt x="945" y="163"/>
                    </a:cubicBezTo>
                    <a:cubicBezTo>
                      <a:pt x="945" y="163"/>
                      <a:pt x="945" y="163"/>
                      <a:pt x="945" y="163"/>
                    </a:cubicBezTo>
                    <a:cubicBezTo>
                      <a:pt x="946" y="161"/>
                      <a:pt x="945" y="160"/>
                      <a:pt x="946" y="159"/>
                    </a:cubicBezTo>
                    <a:cubicBezTo>
                      <a:pt x="945" y="158"/>
                      <a:pt x="946" y="157"/>
                      <a:pt x="946" y="157"/>
                    </a:cubicBezTo>
                    <a:cubicBezTo>
                      <a:pt x="946" y="153"/>
                      <a:pt x="946" y="149"/>
                      <a:pt x="946" y="145"/>
                    </a:cubicBezTo>
                    <a:cubicBezTo>
                      <a:pt x="946" y="144"/>
                      <a:pt x="946" y="144"/>
                      <a:pt x="946" y="143"/>
                    </a:cubicBezTo>
                    <a:cubicBezTo>
                      <a:pt x="945" y="142"/>
                      <a:pt x="946" y="140"/>
                      <a:pt x="945" y="139"/>
                    </a:cubicBezTo>
                    <a:cubicBezTo>
                      <a:pt x="945" y="139"/>
                      <a:pt x="945" y="138"/>
                      <a:pt x="945" y="138"/>
                    </a:cubicBezTo>
                    <a:cubicBezTo>
                      <a:pt x="945" y="137"/>
                      <a:pt x="945" y="136"/>
                      <a:pt x="945" y="135"/>
                    </a:cubicBezTo>
                    <a:cubicBezTo>
                      <a:pt x="944" y="135"/>
                      <a:pt x="944" y="135"/>
                      <a:pt x="945" y="135"/>
                    </a:cubicBezTo>
                    <a:cubicBezTo>
                      <a:pt x="944" y="134"/>
                      <a:pt x="944" y="133"/>
                      <a:pt x="944" y="133"/>
                    </a:cubicBezTo>
                    <a:cubicBezTo>
                      <a:pt x="944" y="132"/>
                      <a:pt x="944" y="132"/>
                      <a:pt x="944" y="132"/>
                    </a:cubicBezTo>
                    <a:cubicBezTo>
                      <a:pt x="944" y="132"/>
                      <a:pt x="944" y="131"/>
                      <a:pt x="943" y="130"/>
                    </a:cubicBezTo>
                    <a:cubicBezTo>
                      <a:pt x="943" y="130"/>
                      <a:pt x="943" y="130"/>
                      <a:pt x="943" y="130"/>
                    </a:cubicBezTo>
                    <a:cubicBezTo>
                      <a:pt x="943" y="129"/>
                      <a:pt x="943" y="129"/>
                      <a:pt x="943" y="128"/>
                    </a:cubicBezTo>
                    <a:cubicBezTo>
                      <a:pt x="943" y="128"/>
                      <a:pt x="943" y="128"/>
                      <a:pt x="943" y="128"/>
                    </a:cubicBezTo>
                    <a:cubicBezTo>
                      <a:pt x="942" y="128"/>
                      <a:pt x="943" y="127"/>
                      <a:pt x="942" y="126"/>
                    </a:cubicBezTo>
                    <a:cubicBezTo>
                      <a:pt x="942" y="126"/>
                      <a:pt x="942" y="126"/>
                      <a:pt x="942" y="126"/>
                    </a:cubicBezTo>
                    <a:cubicBezTo>
                      <a:pt x="942" y="126"/>
                      <a:pt x="942" y="125"/>
                      <a:pt x="942" y="125"/>
                    </a:cubicBezTo>
                    <a:cubicBezTo>
                      <a:pt x="942" y="125"/>
                      <a:pt x="942" y="125"/>
                      <a:pt x="942" y="125"/>
                    </a:cubicBezTo>
                    <a:cubicBezTo>
                      <a:pt x="941" y="124"/>
                      <a:pt x="941" y="124"/>
                      <a:pt x="941" y="123"/>
                    </a:cubicBezTo>
                    <a:cubicBezTo>
                      <a:pt x="941" y="123"/>
                      <a:pt x="941" y="123"/>
                      <a:pt x="941" y="123"/>
                    </a:cubicBezTo>
                    <a:cubicBezTo>
                      <a:pt x="941" y="123"/>
                      <a:pt x="941" y="123"/>
                      <a:pt x="941" y="123"/>
                    </a:cubicBezTo>
                    <a:cubicBezTo>
                      <a:pt x="941" y="123"/>
                      <a:pt x="941" y="122"/>
                      <a:pt x="940" y="122"/>
                    </a:cubicBezTo>
                    <a:cubicBezTo>
                      <a:pt x="940" y="122"/>
                      <a:pt x="940" y="122"/>
                      <a:pt x="940" y="122"/>
                    </a:cubicBezTo>
                    <a:cubicBezTo>
                      <a:pt x="940" y="121"/>
                      <a:pt x="940" y="121"/>
                      <a:pt x="940" y="121"/>
                    </a:cubicBezTo>
                    <a:cubicBezTo>
                      <a:pt x="940" y="121"/>
                      <a:pt x="940" y="121"/>
                      <a:pt x="940" y="121"/>
                    </a:cubicBezTo>
                    <a:cubicBezTo>
                      <a:pt x="940" y="120"/>
                      <a:pt x="940" y="120"/>
                      <a:pt x="939" y="119"/>
                    </a:cubicBezTo>
                    <a:cubicBezTo>
                      <a:pt x="939" y="119"/>
                      <a:pt x="939" y="119"/>
                      <a:pt x="939" y="119"/>
                    </a:cubicBezTo>
                    <a:cubicBezTo>
                      <a:pt x="939" y="119"/>
                      <a:pt x="939" y="119"/>
                      <a:pt x="939" y="118"/>
                    </a:cubicBezTo>
                    <a:cubicBezTo>
                      <a:pt x="939" y="118"/>
                      <a:pt x="939" y="118"/>
                      <a:pt x="939" y="118"/>
                    </a:cubicBezTo>
                    <a:cubicBezTo>
                      <a:pt x="939" y="118"/>
                      <a:pt x="939" y="117"/>
                      <a:pt x="938" y="117"/>
                    </a:cubicBezTo>
                    <a:cubicBezTo>
                      <a:pt x="938" y="117"/>
                      <a:pt x="938" y="117"/>
                      <a:pt x="938" y="117"/>
                    </a:cubicBezTo>
                    <a:cubicBezTo>
                      <a:pt x="938" y="117"/>
                      <a:pt x="938" y="117"/>
                      <a:pt x="938" y="116"/>
                    </a:cubicBezTo>
                    <a:cubicBezTo>
                      <a:pt x="938" y="116"/>
                      <a:pt x="938" y="116"/>
                      <a:pt x="938" y="116"/>
                    </a:cubicBezTo>
                    <a:cubicBezTo>
                      <a:pt x="938" y="116"/>
                      <a:pt x="938" y="116"/>
                      <a:pt x="938" y="116"/>
                    </a:cubicBezTo>
                    <a:cubicBezTo>
                      <a:pt x="938" y="116"/>
                      <a:pt x="937" y="116"/>
                      <a:pt x="937" y="115"/>
                    </a:cubicBezTo>
                    <a:cubicBezTo>
                      <a:pt x="937" y="115"/>
                      <a:pt x="937" y="115"/>
                      <a:pt x="937" y="115"/>
                    </a:cubicBezTo>
                    <a:cubicBezTo>
                      <a:pt x="937" y="115"/>
                      <a:pt x="937" y="114"/>
                      <a:pt x="936" y="114"/>
                    </a:cubicBezTo>
                    <a:cubicBezTo>
                      <a:pt x="936" y="114"/>
                      <a:pt x="936" y="114"/>
                      <a:pt x="936" y="114"/>
                    </a:cubicBezTo>
                    <a:cubicBezTo>
                      <a:pt x="936" y="114"/>
                      <a:pt x="936" y="114"/>
                      <a:pt x="936" y="114"/>
                    </a:cubicBezTo>
                    <a:cubicBezTo>
                      <a:pt x="936" y="114"/>
                      <a:pt x="936" y="114"/>
                      <a:pt x="936" y="114"/>
                    </a:cubicBezTo>
                    <a:cubicBezTo>
                      <a:pt x="936" y="113"/>
                      <a:pt x="936" y="113"/>
                      <a:pt x="935" y="113"/>
                    </a:cubicBezTo>
                    <a:cubicBezTo>
                      <a:pt x="935" y="113"/>
                      <a:pt x="935" y="113"/>
                      <a:pt x="935" y="113"/>
                    </a:cubicBezTo>
                    <a:cubicBezTo>
                      <a:pt x="935" y="112"/>
                      <a:pt x="935" y="112"/>
                      <a:pt x="935" y="112"/>
                    </a:cubicBezTo>
                    <a:cubicBezTo>
                      <a:pt x="935" y="112"/>
                      <a:pt x="935" y="112"/>
                      <a:pt x="935" y="112"/>
                    </a:cubicBezTo>
                    <a:cubicBezTo>
                      <a:pt x="935" y="112"/>
                      <a:pt x="934" y="112"/>
                      <a:pt x="934" y="111"/>
                    </a:cubicBezTo>
                    <a:cubicBezTo>
                      <a:pt x="934" y="111"/>
                      <a:pt x="934" y="111"/>
                      <a:pt x="934" y="111"/>
                    </a:cubicBezTo>
                    <a:cubicBezTo>
                      <a:pt x="934" y="111"/>
                      <a:pt x="934" y="111"/>
                      <a:pt x="934" y="111"/>
                    </a:cubicBezTo>
                    <a:cubicBezTo>
                      <a:pt x="934" y="111"/>
                      <a:pt x="934" y="111"/>
                      <a:pt x="934" y="111"/>
                    </a:cubicBezTo>
                    <a:cubicBezTo>
                      <a:pt x="933" y="110"/>
                      <a:pt x="933" y="110"/>
                      <a:pt x="933" y="110"/>
                    </a:cubicBezTo>
                    <a:cubicBezTo>
                      <a:pt x="933" y="110"/>
                      <a:pt x="933" y="110"/>
                      <a:pt x="933" y="110"/>
                    </a:cubicBezTo>
                    <a:cubicBezTo>
                      <a:pt x="933" y="109"/>
                      <a:pt x="933" y="109"/>
                      <a:pt x="932" y="109"/>
                    </a:cubicBezTo>
                    <a:cubicBezTo>
                      <a:pt x="932" y="109"/>
                      <a:pt x="932" y="109"/>
                      <a:pt x="932" y="109"/>
                    </a:cubicBezTo>
                    <a:cubicBezTo>
                      <a:pt x="932" y="109"/>
                      <a:pt x="932" y="109"/>
                      <a:pt x="932" y="108"/>
                    </a:cubicBezTo>
                    <a:cubicBezTo>
                      <a:pt x="932" y="108"/>
                      <a:pt x="932" y="108"/>
                      <a:pt x="932" y="108"/>
                    </a:cubicBezTo>
                    <a:cubicBezTo>
                      <a:pt x="932" y="108"/>
                      <a:pt x="932" y="108"/>
                      <a:pt x="931" y="108"/>
                    </a:cubicBezTo>
                    <a:cubicBezTo>
                      <a:pt x="931" y="108"/>
                      <a:pt x="931" y="108"/>
                      <a:pt x="931" y="108"/>
                    </a:cubicBezTo>
                    <a:cubicBezTo>
                      <a:pt x="931" y="108"/>
                      <a:pt x="931" y="107"/>
                      <a:pt x="931" y="107"/>
                    </a:cubicBezTo>
                    <a:cubicBezTo>
                      <a:pt x="931" y="107"/>
                      <a:pt x="931" y="107"/>
                      <a:pt x="931" y="107"/>
                    </a:cubicBezTo>
                    <a:cubicBezTo>
                      <a:pt x="931" y="107"/>
                      <a:pt x="930" y="107"/>
                      <a:pt x="930" y="107"/>
                    </a:cubicBezTo>
                    <a:cubicBezTo>
                      <a:pt x="930" y="107"/>
                      <a:pt x="930" y="107"/>
                      <a:pt x="930" y="107"/>
                    </a:cubicBezTo>
                    <a:cubicBezTo>
                      <a:pt x="930" y="106"/>
                      <a:pt x="930" y="106"/>
                      <a:pt x="930" y="106"/>
                    </a:cubicBezTo>
                    <a:cubicBezTo>
                      <a:pt x="930" y="106"/>
                      <a:pt x="930" y="106"/>
                      <a:pt x="930" y="106"/>
                    </a:cubicBezTo>
                    <a:cubicBezTo>
                      <a:pt x="929" y="106"/>
                      <a:pt x="929" y="106"/>
                      <a:pt x="929" y="106"/>
                    </a:cubicBezTo>
                    <a:cubicBezTo>
                      <a:pt x="929" y="106"/>
                      <a:pt x="929" y="106"/>
                      <a:pt x="929" y="106"/>
                    </a:cubicBezTo>
                    <a:cubicBezTo>
                      <a:pt x="929" y="105"/>
                      <a:pt x="929" y="105"/>
                      <a:pt x="928" y="105"/>
                    </a:cubicBezTo>
                    <a:cubicBezTo>
                      <a:pt x="928" y="105"/>
                      <a:pt x="928" y="105"/>
                      <a:pt x="928" y="105"/>
                    </a:cubicBezTo>
                    <a:cubicBezTo>
                      <a:pt x="928" y="105"/>
                      <a:pt x="928" y="105"/>
                      <a:pt x="928" y="104"/>
                    </a:cubicBezTo>
                    <a:cubicBezTo>
                      <a:pt x="928" y="104"/>
                      <a:pt x="928" y="104"/>
                      <a:pt x="928" y="104"/>
                    </a:cubicBezTo>
                    <a:cubicBezTo>
                      <a:pt x="928" y="104"/>
                      <a:pt x="928" y="104"/>
                      <a:pt x="927" y="104"/>
                    </a:cubicBezTo>
                    <a:cubicBezTo>
                      <a:pt x="927" y="104"/>
                      <a:pt x="927" y="104"/>
                      <a:pt x="927" y="104"/>
                    </a:cubicBezTo>
                    <a:cubicBezTo>
                      <a:pt x="927" y="103"/>
                      <a:pt x="926" y="104"/>
                      <a:pt x="926" y="103"/>
                    </a:cubicBezTo>
                    <a:cubicBezTo>
                      <a:pt x="926" y="103"/>
                      <a:pt x="926" y="103"/>
                      <a:pt x="926" y="103"/>
                    </a:cubicBezTo>
                    <a:cubicBezTo>
                      <a:pt x="926" y="103"/>
                      <a:pt x="926" y="103"/>
                      <a:pt x="926" y="103"/>
                    </a:cubicBezTo>
                    <a:cubicBezTo>
                      <a:pt x="926" y="103"/>
                      <a:pt x="926" y="103"/>
                      <a:pt x="926" y="103"/>
                    </a:cubicBezTo>
                    <a:cubicBezTo>
                      <a:pt x="925" y="102"/>
                      <a:pt x="925" y="102"/>
                      <a:pt x="925" y="102"/>
                    </a:cubicBezTo>
                    <a:cubicBezTo>
                      <a:pt x="925" y="102"/>
                      <a:pt x="925" y="102"/>
                      <a:pt x="925" y="102"/>
                    </a:cubicBezTo>
                    <a:cubicBezTo>
                      <a:pt x="925" y="102"/>
                      <a:pt x="924" y="102"/>
                      <a:pt x="924" y="102"/>
                    </a:cubicBezTo>
                    <a:cubicBezTo>
                      <a:pt x="924" y="101"/>
                      <a:pt x="924" y="101"/>
                      <a:pt x="924" y="101"/>
                    </a:cubicBezTo>
                    <a:cubicBezTo>
                      <a:pt x="924" y="101"/>
                      <a:pt x="923" y="101"/>
                      <a:pt x="923" y="101"/>
                    </a:cubicBezTo>
                    <a:cubicBezTo>
                      <a:pt x="923" y="101"/>
                      <a:pt x="923" y="101"/>
                      <a:pt x="923" y="101"/>
                    </a:cubicBezTo>
                    <a:cubicBezTo>
                      <a:pt x="923" y="101"/>
                      <a:pt x="922" y="101"/>
                      <a:pt x="922" y="100"/>
                    </a:cubicBezTo>
                    <a:cubicBezTo>
                      <a:pt x="922" y="100"/>
                      <a:pt x="922" y="100"/>
                      <a:pt x="922" y="100"/>
                    </a:cubicBezTo>
                    <a:cubicBezTo>
                      <a:pt x="922" y="100"/>
                      <a:pt x="922" y="100"/>
                      <a:pt x="921" y="100"/>
                    </a:cubicBezTo>
                    <a:cubicBezTo>
                      <a:pt x="921" y="100"/>
                      <a:pt x="921" y="100"/>
                      <a:pt x="921" y="100"/>
                    </a:cubicBezTo>
                    <a:cubicBezTo>
                      <a:pt x="921" y="100"/>
                      <a:pt x="921" y="100"/>
                      <a:pt x="921" y="100"/>
                    </a:cubicBezTo>
                    <a:cubicBezTo>
                      <a:pt x="921" y="100"/>
                      <a:pt x="921" y="99"/>
                      <a:pt x="920" y="99"/>
                    </a:cubicBezTo>
                    <a:cubicBezTo>
                      <a:pt x="920" y="99"/>
                      <a:pt x="920" y="99"/>
                      <a:pt x="920" y="99"/>
                    </a:cubicBezTo>
                    <a:cubicBezTo>
                      <a:pt x="920" y="99"/>
                      <a:pt x="920" y="99"/>
                      <a:pt x="919" y="99"/>
                    </a:cubicBezTo>
                    <a:cubicBezTo>
                      <a:pt x="919" y="99"/>
                      <a:pt x="919" y="99"/>
                      <a:pt x="919" y="99"/>
                    </a:cubicBezTo>
                    <a:cubicBezTo>
                      <a:pt x="919" y="98"/>
                      <a:pt x="918" y="98"/>
                      <a:pt x="918" y="98"/>
                    </a:cubicBezTo>
                    <a:cubicBezTo>
                      <a:pt x="918" y="98"/>
                      <a:pt x="918" y="98"/>
                      <a:pt x="918" y="98"/>
                    </a:cubicBezTo>
                    <a:cubicBezTo>
                      <a:pt x="918" y="98"/>
                      <a:pt x="917" y="98"/>
                      <a:pt x="917" y="98"/>
                    </a:cubicBezTo>
                    <a:cubicBezTo>
                      <a:pt x="917" y="98"/>
                      <a:pt x="916" y="98"/>
                      <a:pt x="916" y="97"/>
                    </a:cubicBezTo>
                    <a:cubicBezTo>
                      <a:pt x="916" y="97"/>
                      <a:pt x="916" y="97"/>
                      <a:pt x="915" y="97"/>
                    </a:cubicBezTo>
                    <a:cubicBezTo>
                      <a:pt x="915" y="97"/>
                      <a:pt x="915" y="97"/>
                      <a:pt x="915" y="97"/>
                    </a:cubicBezTo>
                    <a:cubicBezTo>
                      <a:pt x="915" y="97"/>
                      <a:pt x="914" y="97"/>
                      <a:pt x="914" y="96"/>
                    </a:cubicBezTo>
                    <a:cubicBezTo>
                      <a:pt x="914" y="96"/>
                      <a:pt x="914" y="96"/>
                      <a:pt x="913" y="96"/>
                    </a:cubicBezTo>
                    <a:cubicBezTo>
                      <a:pt x="913" y="96"/>
                      <a:pt x="913" y="96"/>
                      <a:pt x="912" y="96"/>
                    </a:cubicBezTo>
                    <a:cubicBezTo>
                      <a:pt x="912" y="96"/>
                      <a:pt x="912" y="96"/>
                      <a:pt x="912" y="96"/>
                    </a:cubicBezTo>
                    <a:cubicBezTo>
                      <a:pt x="911" y="95"/>
                      <a:pt x="911" y="95"/>
                      <a:pt x="910" y="95"/>
                    </a:cubicBezTo>
                    <a:cubicBezTo>
                      <a:pt x="910" y="95"/>
                      <a:pt x="910" y="95"/>
                      <a:pt x="910" y="95"/>
                    </a:cubicBezTo>
                    <a:cubicBezTo>
                      <a:pt x="910" y="95"/>
                      <a:pt x="910" y="95"/>
                      <a:pt x="910" y="95"/>
                    </a:cubicBezTo>
                    <a:cubicBezTo>
                      <a:pt x="909" y="95"/>
                      <a:pt x="909" y="95"/>
                      <a:pt x="908" y="95"/>
                    </a:cubicBezTo>
                    <a:cubicBezTo>
                      <a:pt x="908" y="95"/>
                      <a:pt x="908" y="95"/>
                      <a:pt x="908" y="95"/>
                    </a:cubicBezTo>
                    <a:cubicBezTo>
                      <a:pt x="907" y="94"/>
                      <a:pt x="906" y="95"/>
                      <a:pt x="905" y="94"/>
                    </a:cubicBezTo>
                    <a:cubicBezTo>
                      <a:pt x="905" y="94"/>
                      <a:pt x="905" y="94"/>
                      <a:pt x="904" y="94"/>
                    </a:cubicBezTo>
                    <a:cubicBezTo>
                      <a:pt x="903" y="94"/>
                      <a:pt x="903" y="94"/>
                      <a:pt x="902" y="94"/>
                    </a:cubicBezTo>
                    <a:cubicBezTo>
                      <a:pt x="901" y="94"/>
                      <a:pt x="900" y="94"/>
                      <a:pt x="900" y="93"/>
                    </a:cubicBezTo>
                    <a:cubicBezTo>
                      <a:pt x="895" y="93"/>
                      <a:pt x="890" y="93"/>
                      <a:pt x="886" y="93"/>
                    </a:cubicBezTo>
                    <a:cubicBezTo>
                      <a:pt x="885" y="94"/>
                      <a:pt x="884" y="94"/>
                      <a:pt x="884" y="94"/>
                    </a:cubicBezTo>
                    <a:cubicBezTo>
                      <a:pt x="883" y="94"/>
                      <a:pt x="882" y="94"/>
                      <a:pt x="881" y="94"/>
                    </a:cubicBezTo>
                    <a:cubicBezTo>
                      <a:pt x="881" y="94"/>
                      <a:pt x="881" y="94"/>
                      <a:pt x="880" y="94"/>
                    </a:cubicBezTo>
                    <a:cubicBezTo>
                      <a:pt x="879" y="95"/>
                      <a:pt x="879" y="94"/>
                      <a:pt x="878" y="95"/>
                    </a:cubicBezTo>
                    <a:cubicBezTo>
                      <a:pt x="878" y="95"/>
                      <a:pt x="877" y="95"/>
                      <a:pt x="877" y="95"/>
                    </a:cubicBezTo>
                    <a:cubicBezTo>
                      <a:pt x="877" y="95"/>
                      <a:pt x="876" y="95"/>
                      <a:pt x="876" y="95"/>
                    </a:cubicBezTo>
                    <a:cubicBezTo>
                      <a:pt x="875" y="95"/>
                      <a:pt x="875" y="95"/>
                      <a:pt x="875" y="95"/>
                    </a:cubicBezTo>
                    <a:cubicBezTo>
                      <a:pt x="874" y="96"/>
                      <a:pt x="874" y="95"/>
                      <a:pt x="873" y="96"/>
                    </a:cubicBezTo>
                    <a:cubicBezTo>
                      <a:pt x="873" y="96"/>
                      <a:pt x="873" y="96"/>
                      <a:pt x="873" y="96"/>
                    </a:cubicBezTo>
                    <a:cubicBezTo>
                      <a:pt x="872" y="96"/>
                      <a:pt x="872" y="96"/>
                      <a:pt x="871" y="96"/>
                    </a:cubicBezTo>
                    <a:cubicBezTo>
                      <a:pt x="871" y="96"/>
                      <a:pt x="871" y="96"/>
                      <a:pt x="871" y="96"/>
                    </a:cubicBezTo>
                    <a:cubicBezTo>
                      <a:pt x="871" y="97"/>
                      <a:pt x="870" y="97"/>
                      <a:pt x="870" y="97"/>
                    </a:cubicBezTo>
                    <a:cubicBezTo>
                      <a:pt x="870" y="97"/>
                      <a:pt x="870" y="97"/>
                      <a:pt x="870" y="97"/>
                    </a:cubicBezTo>
                    <a:cubicBezTo>
                      <a:pt x="869" y="97"/>
                      <a:pt x="869" y="97"/>
                      <a:pt x="869" y="97"/>
                    </a:cubicBezTo>
                    <a:cubicBezTo>
                      <a:pt x="869" y="97"/>
                      <a:pt x="868" y="97"/>
                      <a:pt x="868" y="98"/>
                    </a:cubicBezTo>
                    <a:cubicBezTo>
                      <a:pt x="868" y="98"/>
                      <a:pt x="868" y="98"/>
                      <a:pt x="868" y="98"/>
                    </a:cubicBezTo>
                    <a:cubicBezTo>
                      <a:pt x="868" y="98"/>
                      <a:pt x="867" y="98"/>
                      <a:pt x="867" y="98"/>
                    </a:cubicBezTo>
                    <a:cubicBezTo>
                      <a:pt x="867" y="98"/>
                      <a:pt x="867" y="98"/>
                      <a:pt x="867" y="98"/>
                    </a:cubicBezTo>
                    <a:cubicBezTo>
                      <a:pt x="867" y="98"/>
                      <a:pt x="866" y="98"/>
                      <a:pt x="866" y="99"/>
                    </a:cubicBezTo>
                    <a:cubicBezTo>
                      <a:pt x="866" y="99"/>
                      <a:pt x="866" y="99"/>
                      <a:pt x="866" y="99"/>
                    </a:cubicBezTo>
                    <a:cubicBezTo>
                      <a:pt x="865" y="99"/>
                      <a:pt x="865" y="99"/>
                      <a:pt x="865" y="99"/>
                    </a:cubicBezTo>
                    <a:cubicBezTo>
                      <a:pt x="865" y="99"/>
                      <a:pt x="865" y="99"/>
                      <a:pt x="865" y="99"/>
                    </a:cubicBezTo>
                    <a:close/>
                    <a:moveTo>
                      <a:pt x="599" y="99"/>
                    </a:moveTo>
                    <a:cubicBezTo>
                      <a:pt x="599" y="116"/>
                      <a:pt x="599" y="134"/>
                      <a:pt x="599" y="152"/>
                    </a:cubicBezTo>
                    <a:cubicBezTo>
                      <a:pt x="599" y="169"/>
                      <a:pt x="599" y="187"/>
                      <a:pt x="599" y="204"/>
                    </a:cubicBezTo>
                    <a:cubicBezTo>
                      <a:pt x="599" y="207"/>
                      <a:pt x="599" y="207"/>
                      <a:pt x="601" y="207"/>
                    </a:cubicBezTo>
                    <a:cubicBezTo>
                      <a:pt x="605" y="207"/>
                      <a:pt x="609" y="207"/>
                      <a:pt x="614" y="207"/>
                    </a:cubicBezTo>
                    <a:cubicBezTo>
                      <a:pt x="617" y="207"/>
                      <a:pt x="617" y="207"/>
                      <a:pt x="617" y="204"/>
                    </a:cubicBezTo>
                    <a:cubicBezTo>
                      <a:pt x="617" y="184"/>
                      <a:pt x="617" y="165"/>
                      <a:pt x="617" y="145"/>
                    </a:cubicBezTo>
                    <a:cubicBezTo>
                      <a:pt x="617" y="144"/>
                      <a:pt x="616" y="143"/>
                      <a:pt x="617" y="142"/>
                    </a:cubicBezTo>
                    <a:cubicBezTo>
                      <a:pt x="617" y="141"/>
                      <a:pt x="617" y="140"/>
                      <a:pt x="617" y="139"/>
                    </a:cubicBezTo>
                    <a:cubicBezTo>
                      <a:pt x="618" y="138"/>
                      <a:pt x="617" y="137"/>
                      <a:pt x="617" y="136"/>
                    </a:cubicBezTo>
                    <a:cubicBezTo>
                      <a:pt x="617" y="136"/>
                      <a:pt x="617" y="136"/>
                      <a:pt x="618" y="135"/>
                    </a:cubicBezTo>
                    <a:cubicBezTo>
                      <a:pt x="618" y="135"/>
                      <a:pt x="617" y="134"/>
                      <a:pt x="618" y="133"/>
                    </a:cubicBezTo>
                    <a:cubicBezTo>
                      <a:pt x="618" y="133"/>
                      <a:pt x="618" y="133"/>
                      <a:pt x="618" y="133"/>
                    </a:cubicBezTo>
                    <a:cubicBezTo>
                      <a:pt x="618" y="132"/>
                      <a:pt x="618" y="132"/>
                      <a:pt x="619" y="131"/>
                    </a:cubicBezTo>
                    <a:cubicBezTo>
                      <a:pt x="618" y="131"/>
                      <a:pt x="618" y="131"/>
                      <a:pt x="618" y="131"/>
                    </a:cubicBezTo>
                    <a:cubicBezTo>
                      <a:pt x="619" y="131"/>
                      <a:pt x="619" y="131"/>
                      <a:pt x="619" y="131"/>
                    </a:cubicBezTo>
                    <a:cubicBezTo>
                      <a:pt x="619" y="130"/>
                      <a:pt x="619" y="130"/>
                      <a:pt x="619" y="129"/>
                    </a:cubicBezTo>
                    <a:cubicBezTo>
                      <a:pt x="619" y="129"/>
                      <a:pt x="619" y="129"/>
                      <a:pt x="619" y="129"/>
                    </a:cubicBezTo>
                    <a:cubicBezTo>
                      <a:pt x="620" y="129"/>
                      <a:pt x="620" y="128"/>
                      <a:pt x="620" y="128"/>
                    </a:cubicBezTo>
                    <a:cubicBezTo>
                      <a:pt x="620" y="128"/>
                      <a:pt x="620" y="128"/>
                      <a:pt x="620" y="128"/>
                    </a:cubicBezTo>
                    <a:cubicBezTo>
                      <a:pt x="620" y="128"/>
                      <a:pt x="620" y="127"/>
                      <a:pt x="620" y="127"/>
                    </a:cubicBezTo>
                    <a:cubicBezTo>
                      <a:pt x="620" y="126"/>
                      <a:pt x="620" y="126"/>
                      <a:pt x="620" y="126"/>
                    </a:cubicBezTo>
                    <a:cubicBezTo>
                      <a:pt x="620" y="126"/>
                      <a:pt x="620" y="126"/>
                      <a:pt x="620" y="126"/>
                    </a:cubicBezTo>
                    <a:cubicBezTo>
                      <a:pt x="621" y="126"/>
                      <a:pt x="621" y="125"/>
                      <a:pt x="621" y="125"/>
                    </a:cubicBezTo>
                    <a:cubicBezTo>
                      <a:pt x="621" y="125"/>
                      <a:pt x="621" y="125"/>
                      <a:pt x="621" y="125"/>
                    </a:cubicBezTo>
                    <a:cubicBezTo>
                      <a:pt x="621" y="125"/>
                      <a:pt x="621" y="125"/>
                      <a:pt x="621" y="124"/>
                    </a:cubicBezTo>
                    <a:cubicBezTo>
                      <a:pt x="621" y="124"/>
                      <a:pt x="621" y="124"/>
                      <a:pt x="621" y="124"/>
                    </a:cubicBezTo>
                    <a:cubicBezTo>
                      <a:pt x="622" y="124"/>
                      <a:pt x="622" y="124"/>
                      <a:pt x="622" y="123"/>
                    </a:cubicBezTo>
                    <a:cubicBezTo>
                      <a:pt x="622" y="123"/>
                      <a:pt x="622" y="123"/>
                      <a:pt x="622" y="123"/>
                    </a:cubicBezTo>
                    <a:cubicBezTo>
                      <a:pt x="622" y="123"/>
                      <a:pt x="622" y="123"/>
                      <a:pt x="623" y="122"/>
                    </a:cubicBezTo>
                    <a:cubicBezTo>
                      <a:pt x="623" y="122"/>
                      <a:pt x="623" y="122"/>
                      <a:pt x="623" y="122"/>
                    </a:cubicBezTo>
                    <a:cubicBezTo>
                      <a:pt x="623" y="122"/>
                      <a:pt x="623" y="122"/>
                      <a:pt x="623" y="122"/>
                    </a:cubicBezTo>
                    <a:cubicBezTo>
                      <a:pt x="623" y="122"/>
                      <a:pt x="623" y="122"/>
                      <a:pt x="623" y="122"/>
                    </a:cubicBezTo>
                    <a:cubicBezTo>
                      <a:pt x="624" y="121"/>
                      <a:pt x="624" y="120"/>
                      <a:pt x="624" y="120"/>
                    </a:cubicBezTo>
                    <a:cubicBezTo>
                      <a:pt x="624" y="120"/>
                      <a:pt x="624" y="120"/>
                      <a:pt x="624" y="120"/>
                    </a:cubicBezTo>
                    <a:cubicBezTo>
                      <a:pt x="625" y="120"/>
                      <a:pt x="625" y="120"/>
                      <a:pt x="625" y="119"/>
                    </a:cubicBezTo>
                    <a:cubicBezTo>
                      <a:pt x="625" y="119"/>
                      <a:pt x="625" y="119"/>
                      <a:pt x="625" y="119"/>
                    </a:cubicBezTo>
                    <a:cubicBezTo>
                      <a:pt x="625" y="119"/>
                      <a:pt x="625" y="119"/>
                      <a:pt x="625" y="119"/>
                    </a:cubicBezTo>
                    <a:cubicBezTo>
                      <a:pt x="625" y="119"/>
                      <a:pt x="625" y="119"/>
                      <a:pt x="625" y="119"/>
                    </a:cubicBezTo>
                    <a:cubicBezTo>
                      <a:pt x="626" y="119"/>
                      <a:pt x="626" y="118"/>
                      <a:pt x="626" y="118"/>
                    </a:cubicBezTo>
                    <a:cubicBezTo>
                      <a:pt x="626" y="118"/>
                      <a:pt x="626" y="118"/>
                      <a:pt x="626" y="118"/>
                    </a:cubicBezTo>
                    <a:cubicBezTo>
                      <a:pt x="626" y="118"/>
                      <a:pt x="627" y="118"/>
                      <a:pt x="627" y="117"/>
                    </a:cubicBezTo>
                    <a:cubicBezTo>
                      <a:pt x="627" y="117"/>
                      <a:pt x="627" y="117"/>
                      <a:pt x="627" y="117"/>
                    </a:cubicBezTo>
                    <a:cubicBezTo>
                      <a:pt x="627" y="117"/>
                      <a:pt x="627" y="117"/>
                      <a:pt x="627" y="117"/>
                    </a:cubicBezTo>
                    <a:cubicBezTo>
                      <a:pt x="627" y="117"/>
                      <a:pt x="627" y="117"/>
                      <a:pt x="627" y="117"/>
                    </a:cubicBezTo>
                    <a:cubicBezTo>
                      <a:pt x="627" y="117"/>
                      <a:pt x="628" y="117"/>
                      <a:pt x="628" y="116"/>
                    </a:cubicBezTo>
                    <a:cubicBezTo>
                      <a:pt x="628" y="116"/>
                      <a:pt x="628" y="116"/>
                      <a:pt x="628" y="116"/>
                    </a:cubicBezTo>
                    <a:cubicBezTo>
                      <a:pt x="628" y="116"/>
                      <a:pt x="628" y="116"/>
                      <a:pt x="628" y="116"/>
                    </a:cubicBezTo>
                    <a:cubicBezTo>
                      <a:pt x="628" y="116"/>
                      <a:pt x="628" y="116"/>
                      <a:pt x="628" y="116"/>
                    </a:cubicBezTo>
                    <a:cubicBezTo>
                      <a:pt x="629" y="116"/>
                      <a:pt x="629" y="116"/>
                      <a:pt x="629" y="115"/>
                    </a:cubicBezTo>
                    <a:cubicBezTo>
                      <a:pt x="629" y="115"/>
                      <a:pt x="629" y="115"/>
                      <a:pt x="629" y="115"/>
                    </a:cubicBezTo>
                    <a:cubicBezTo>
                      <a:pt x="629" y="115"/>
                      <a:pt x="629" y="115"/>
                      <a:pt x="630" y="115"/>
                    </a:cubicBezTo>
                    <a:cubicBezTo>
                      <a:pt x="630" y="115"/>
                      <a:pt x="630" y="115"/>
                      <a:pt x="630" y="115"/>
                    </a:cubicBezTo>
                    <a:cubicBezTo>
                      <a:pt x="630" y="114"/>
                      <a:pt x="631" y="114"/>
                      <a:pt x="631" y="113"/>
                    </a:cubicBezTo>
                    <a:cubicBezTo>
                      <a:pt x="631" y="114"/>
                      <a:pt x="631" y="114"/>
                      <a:pt x="631" y="114"/>
                    </a:cubicBezTo>
                    <a:cubicBezTo>
                      <a:pt x="631" y="113"/>
                      <a:pt x="632" y="113"/>
                      <a:pt x="632" y="113"/>
                    </a:cubicBezTo>
                    <a:cubicBezTo>
                      <a:pt x="632" y="113"/>
                      <a:pt x="632" y="113"/>
                      <a:pt x="632" y="113"/>
                    </a:cubicBezTo>
                    <a:cubicBezTo>
                      <a:pt x="632" y="113"/>
                      <a:pt x="633" y="113"/>
                      <a:pt x="633" y="112"/>
                    </a:cubicBezTo>
                    <a:cubicBezTo>
                      <a:pt x="633" y="112"/>
                      <a:pt x="633" y="112"/>
                      <a:pt x="633" y="112"/>
                    </a:cubicBezTo>
                    <a:cubicBezTo>
                      <a:pt x="633" y="112"/>
                      <a:pt x="634" y="112"/>
                      <a:pt x="634" y="112"/>
                    </a:cubicBezTo>
                    <a:cubicBezTo>
                      <a:pt x="634" y="112"/>
                      <a:pt x="634" y="112"/>
                      <a:pt x="634" y="112"/>
                    </a:cubicBezTo>
                    <a:cubicBezTo>
                      <a:pt x="634" y="112"/>
                      <a:pt x="635" y="112"/>
                      <a:pt x="635" y="111"/>
                    </a:cubicBezTo>
                    <a:cubicBezTo>
                      <a:pt x="635" y="111"/>
                      <a:pt x="635" y="111"/>
                      <a:pt x="635" y="111"/>
                    </a:cubicBezTo>
                    <a:cubicBezTo>
                      <a:pt x="636" y="111"/>
                      <a:pt x="636" y="111"/>
                      <a:pt x="636" y="111"/>
                    </a:cubicBezTo>
                    <a:cubicBezTo>
                      <a:pt x="636" y="111"/>
                      <a:pt x="636" y="111"/>
                      <a:pt x="636" y="111"/>
                    </a:cubicBezTo>
                    <a:cubicBezTo>
                      <a:pt x="637" y="110"/>
                      <a:pt x="638" y="111"/>
                      <a:pt x="638" y="110"/>
                    </a:cubicBezTo>
                    <a:cubicBezTo>
                      <a:pt x="638" y="110"/>
                      <a:pt x="638" y="110"/>
                      <a:pt x="638" y="110"/>
                    </a:cubicBezTo>
                    <a:cubicBezTo>
                      <a:pt x="639" y="110"/>
                      <a:pt x="639" y="110"/>
                      <a:pt x="640" y="110"/>
                    </a:cubicBezTo>
                    <a:cubicBezTo>
                      <a:pt x="640" y="109"/>
                      <a:pt x="640" y="109"/>
                      <a:pt x="640" y="109"/>
                    </a:cubicBezTo>
                    <a:cubicBezTo>
                      <a:pt x="640" y="109"/>
                      <a:pt x="640" y="109"/>
                      <a:pt x="640" y="109"/>
                    </a:cubicBezTo>
                    <a:cubicBezTo>
                      <a:pt x="641" y="109"/>
                      <a:pt x="642" y="110"/>
                      <a:pt x="643" y="109"/>
                    </a:cubicBezTo>
                    <a:cubicBezTo>
                      <a:pt x="643" y="109"/>
                      <a:pt x="643" y="109"/>
                      <a:pt x="643" y="109"/>
                    </a:cubicBezTo>
                    <a:cubicBezTo>
                      <a:pt x="643" y="109"/>
                      <a:pt x="643" y="109"/>
                      <a:pt x="643" y="109"/>
                    </a:cubicBezTo>
                    <a:cubicBezTo>
                      <a:pt x="646" y="109"/>
                      <a:pt x="649" y="109"/>
                      <a:pt x="652" y="109"/>
                    </a:cubicBezTo>
                    <a:cubicBezTo>
                      <a:pt x="652" y="109"/>
                      <a:pt x="652" y="109"/>
                      <a:pt x="652" y="109"/>
                    </a:cubicBezTo>
                    <a:cubicBezTo>
                      <a:pt x="652" y="109"/>
                      <a:pt x="652" y="109"/>
                      <a:pt x="652" y="109"/>
                    </a:cubicBezTo>
                    <a:cubicBezTo>
                      <a:pt x="653" y="110"/>
                      <a:pt x="654" y="109"/>
                      <a:pt x="655" y="110"/>
                    </a:cubicBezTo>
                    <a:cubicBezTo>
                      <a:pt x="655" y="110"/>
                      <a:pt x="655" y="110"/>
                      <a:pt x="655" y="110"/>
                    </a:cubicBezTo>
                    <a:cubicBezTo>
                      <a:pt x="655" y="110"/>
                      <a:pt x="656" y="110"/>
                      <a:pt x="657" y="110"/>
                    </a:cubicBezTo>
                    <a:cubicBezTo>
                      <a:pt x="657" y="110"/>
                      <a:pt x="657" y="110"/>
                      <a:pt x="657" y="110"/>
                    </a:cubicBezTo>
                    <a:cubicBezTo>
                      <a:pt x="657" y="111"/>
                      <a:pt x="658" y="110"/>
                      <a:pt x="658" y="111"/>
                    </a:cubicBezTo>
                    <a:cubicBezTo>
                      <a:pt x="658" y="111"/>
                      <a:pt x="658" y="111"/>
                      <a:pt x="658" y="111"/>
                    </a:cubicBezTo>
                    <a:cubicBezTo>
                      <a:pt x="659" y="111"/>
                      <a:pt x="659" y="111"/>
                      <a:pt x="660" y="111"/>
                    </a:cubicBezTo>
                    <a:cubicBezTo>
                      <a:pt x="660" y="111"/>
                      <a:pt x="660" y="111"/>
                      <a:pt x="660" y="111"/>
                    </a:cubicBezTo>
                    <a:cubicBezTo>
                      <a:pt x="660" y="112"/>
                      <a:pt x="660" y="111"/>
                      <a:pt x="661" y="112"/>
                    </a:cubicBezTo>
                    <a:cubicBezTo>
                      <a:pt x="661" y="112"/>
                      <a:pt x="661" y="112"/>
                      <a:pt x="661" y="112"/>
                    </a:cubicBezTo>
                    <a:cubicBezTo>
                      <a:pt x="661" y="112"/>
                      <a:pt x="661" y="112"/>
                      <a:pt x="661" y="112"/>
                    </a:cubicBezTo>
                    <a:cubicBezTo>
                      <a:pt x="661" y="112"/>
                      <a:pt x="661" y="112"/>
                      <a:pt x="661" y="112"/>
                    </a:cubicBezTo>
                    <a:cubicBezTo>
                      <a:pt x="662" y="113"/>
                      <a:pt x="662" y="113"/>
                      <a:pt x="662" y="113"/>
                    </a:cubicBezTo>
                    <a:cubicBezTo>
                      <a:pt x="662" y="113"/>
                      <a:pt x="662" y="113"/>
                      <a:pt x="662" y="113"/>
                    </a:cubicBezTo>
                    <a:cubicBezTo>
                      <a:pt x="663" y="113"/>
                      <a:pt x="663" y="113"/>
                      <a:pt x="663" y="114"/>
                    </a:cubicBezTo>
                    <a:cubicBezTo>
                      <a:pt x="663" y="114"/>
                      <a:pt x="663" y="114"/>
                      <a:pt x="663" y="114"/>
                    </a:cubicBezTo>
                    <a:cubicBezTo>
                      <a:pt x="663" y="114"/>
                      <a:pt x="663" y="114"/>
                      <a:pt x="664" y="114"/>
                    </a:cubicBezTo>
                    <a:cubicBezTo>
                      <a:pt x="664" y="114"/>
                      <a:pt x="664" y="114"/>
                      <a:pt x="664" y="114"/>
                    </a:cubicBezTo>
                    <a:cubicBezTo>
                      <a:pt x="664" y="114"/>
                      <a:pt x="664" y="115"/>
                      <a:pt x="664" y="115"/>
                    </a:cubicBezTo>
                    <a:cubicBezTo>
                      <a:pt x="664" y="115"/>
                      <a:pt x="664" y="115"/>
                      <a:pt x="664" y="115"/>
                    </a:cubicBezTo>
                    <a:cubicBezTo>
                      <a:pt x="664" y="115"/>
                      <a:pt x="665" y="115"/>
                      <a:pt x="665" y="115"/>
                    </a:cubicBezTo>
                    <a:cubicBezTo>
                      <a:pt x="665" y="115"/>
                      <a:pt x="665" y="115"/>
                      <a:pt x="665" y="115"/>
                    </a:cubicBezTo>
                    <a:cubicBezTo>
                      <a:pt x="665" y="116"/>
                      <a:pt x="665" y="116"/>
                      <a:pt x="665" y="116"/>
                    </a:cubicBezTo>
                    <a:cubicBezTo>
                      <a:pt x="665" y="116"/>
                      <a:pt x="665" y="116"/>
                      <a:pt x="665" y="116"/>
                    </a:cubicBezTo>
                    <a:cubicBezTo>
                      <a:pt x="665" y="116"/>
                      <a:pt x="666" y="116"/>
                      <a:pt x="666" y="116"/>
                    </a:cubicBezTo>
                    <a:cubicBezTo>
                      <a:pt x="666" y="116"/>
                      <a:pt x="666" y="116"/>
                      <a:pt x="666" y="116"/>
                    </a:cubicBezTo>
                    <a:cubicBezTo>
                      <a:pt x="666" y="117"/>
                      <a:pt x="666" y="117"/>
                      <a:pt x="666" y="117"/>
                    </a:cubicBezTo>
                    <a:cubicBezTo>
                      <a:pt x="666" y="117"/>
                      <a:pt x="666" y="117"/>
                      <a:pt x="666" y="117"/>
                    </a:cubicBezTo>
                    <a:cubicBezTo>
                      <a:pt x="667" y="117"/>
                      <a:pt x="667" y="118"/>
                      <a:pt x="667" y="118"/>
                    </a:cubicBezTo>
                    <a:cubicBezTo>
                      <a:pt x="667" y="118"/>
                      <a:pt x="667" y="118"/>
                      <a:pt x="667" y="118"/>
                    </a:cubicBezTo>
                    <a:cubicBezTo>
                      <a:pt x="667" y="118"/>
                      <a:pt x="667" y="119"/>
                      <a:pt x="668" y="119"/>
                    </a:cubicBezTo>
                    <a:cubicBezTo>
                      <a:pt x="668" y="119"/>
                      <a:pt x="668" y="119"/>
                      <a:pt x="668" y="119"/>
                    </a:cubicBezTo>
                    <a:cubicBezTo>
                      <a:pt x="668" y="119"/>
                      <a:pt x="668" y="120"/>
                      <a:pt x="668" y="120"/>
                    </a:cubicBezTo>
                    <a:cubicBezTo>
                      <a:pt x="668" y="120"/>
                      <a:pt x="668" y="120"/>
                      <a:pt x="668" y="120"/>
                    </a:cubicBezTo>
                    <a:cubicBezTo>
                      <a:pt x="669" y="120"/>
                      <a:pt x="668" y="121"/>
                      <a:pt x="669" y="121"/>
                    </a:cubicBezTo>
                    <a:cubicBezTo>
                      <a:pt x="669" y="121"/>
                      <a:pt x="669" y="121"/>
                      <a:pt x="669" y="121"/>
                    </a:cubicBezTo>
                    <a:cubicBezTo>
                      <a:pt x="669" y="121"/>
                      <a:pt x="669" y="122"/>
                      <a:pt x="669" y="122"/>
                    </a:cubicBezTo>
                    <a:cubicBezTo>
                      <a:pt x="669" y="122"/>
                      <a:pt x="669" y="122"/>
                      <a:pt x="669" y="122"/>
                    </a:cubicBezTo>
                    <a:cubicBezTo>
                      <a:pt x="670" y="123"/>
                      <a:pt x="670" y="123"/>
                      <a:pt x="670" y="123"/>
                    </a:cubicBezTo>
                    <a:cubicBezTo>
                      <a:pt x="670" y="123"/>
                      <a:pt x="670" y="124"/>
                      <a:pt x="670" y="124"/>
                    </a:cubicBezTo>
                    <a:cubicBezTo>
                      <a:pt x="670" y="124"/>
                      <a:pt x="670" y="125"/>
                      <a:pt x="670" y="125"/>
                    </a:cubicBezTo>
                    <a:cubicBezTo>
                      <a:pt x="670" y="125"/>
                      <a:pt x="670" y="125"/>
                      <a:pt x="670" y="125"/>
                    </a:cubicBezTo>
                    <a:cubicBezTo>
                      <a:pt x="671" y="126"/>
                      <a:pt x="671" y="126"/>
                      <a:pt x="671" y="127"/>
                    </a:cubicBezTo>
                    <a:cubicBezTo>
                      <a:pt x="671" y="127"/>
                      <a:pt x="671" y="127"/>
                      <a:pt x="671" y="127"/>
                    </a:cubicBezTo>
                    <a:cubicBezTo>
                      <a:pt x="671" y="128"/>
                      <a:pt x="671" y="129"/>
                      <a:pt x="672" y="129"/>
                    </a:cubicBezTo>
                    <a:cubicBezTo>
                      <a:pt x="672" y="129"/>
                      <a:pt x="672" y="129"/>
                      <a:pt x="672" y="130"/>
                    </a:cubicBezTo>
                    <a:cubicBezTo>
                      <a:pt x="672" y="130"/>
                      <a:pt x="672" y="131"/>
                      <a:pt x="672" y="132"/>
                    </a:cubicBezTo>
                    <a:cubicBezTo>
                      <a:pt x="672" y="132"/>
                      <a:pt x="672" y="133"/>
                      <a:pt x="672" y="133"/>
                    </a:cubicBezTo>
                    <a:cubicBezTo>
                      <a:pt x="673" y="134"/>
                      <a:pt x="672" y="135"/>
                      <a:pt x="673" y="137"/>
                    </a:cubicBezTo>
                    <a:cubicBezTo>
                      <a:pt x="673" y="137"/>
                      <a:pt x="673" y="138"/>
                      <a:pt x="673" y="139"/>
                    </a:cubicBezTo>
                    <a:cubicBezTo>
                      <a:pt x="673" y="140"/>
                      <a:pt x="673" y="141"/>
                      <a:pt x="673" y="142"/>
                    </a:cubicBezTo>
                    <a:cubicBezTo>
                      <a:pt x="673" y="162"/>
                      <a:pt x="673" y="181"/>
                      <a:pt x="673" y="200"/>
                    </a:cubicBezTo>
                    <a:cubicBezTo>
                      <a:pt x="673" y="203"/>
                      <a:pt x="672" y="205"/>
                      <a:pt x="673" y="207"/>
                    </a:cubicBezTo>
                    <a:cubicBezTo>
                      <a:pt x="675" y="208"/>
                      <a:pt x="678" y="207"/>
                      <a:pt x="680" y="207"/>
                    </a:cubicBezTo>
                    <a:cubicBezTo>
                      <a:pt x="684" y="207"/>
                      <a:pt x="687" y="208"/>
                      <a:pt x="691" y="207"/>
                    </a:cubicBezTo>
                    <a:cubicBezTo>
                      <a:pt x="691" y="206"/>
                      <a:pt x="691" y="205"/>
                      <a:pt x="691" y="204"/>
                    </a:cubicBezTo>
                    <a:cubicBezTo>
                      <a:pt x="691" y="182"/>
                      <a:pt x="691" y="160"/>
                      <a:pt x="691" y="139"/>
                    </a:cubicBezTo>
                    <a:cubicBezTo>
                      <a:pt x="691" y="137"/>
                      <a:pt x="691" y="136"/>
                      <a:pt x="691" y="134"/>
                    </a:cubicBezTo>
                    <a:cubicBezTo>
                      <a:pt x="690" y="132"/>
                      <a:pt x="691" y="130"/>
                      <a:pt x="691" y="129"/>
                    </a:cubicBezTo>
                    <a:cubicBezTo>
                      <a:pt x="690" y="128"/>
                      <a:pt x="690" y="128"/>
                      <a:pt x="691" y="128"/>
                    </a:cubicBezTo>
                    <a:cubicBezTo>
                      <a:pt x="690" y="127"/>
                      <a:pt x="691" y="126"/>
                      <a:pt x="690" y="125"/>
                    </a:cubicBezTo>
                    <a:cubicBezTo>
                      <a:pt x="690" y="125"/>
                      <a:pt x="690" y="125"/>
                      <a:pt x="690" y="124"/>
                    </a:cubicBezTo>
                    <a:cubicBezTo>
                      <a:pt x="690" y="124"/>
                      <a:pt x="690" y="123"/>
                      <a:pt x="690" y="122"/>
                    </a:cubicBezTo>
                    <a:cubicBezTo>
                      <a:pt x="689" y="122"/>
                      <a:pt x="689" y="122"/>
                      <a:pt x="689" y="122"/>
                    </a:cubicBezTo>
                    <a:cubicBezTo>
                      <a:pt x="689" y="121"/>
                      <a:pt x="689" y="120"/>
                      <a:pt x="689" y="120"/>
                    </a:cubicBezTo>
                    <a:cubicBezTo>
                      <a:pt x="689" y="120"/>
                      <a:pt x="689" y="120"/>
                      <a:pt x="689" y="120"/>
                    </a:cubicBezTo>
                    <a:cubicBezTo>
                      <a:pt x="688" y="119"/>
                      <a:pt x="689" y="118"/>
                      <a:pt x="688" y="118"/>
                    </a:cubicBezTo>
                    <a:cubicBezTo>
                      <a:pt x="688" y="118"/>
                      <a:pt x="688" y="118"/>
                      <a:pt x="688" y="118"/>
                    </a:cubicBezTo>
                    <a:cubicBezTo>
                      <a:pt x="688" y="117"/>
                      <a:pt x="688" y="116"/>
                      <a:pt x="688" y="116"/>
                    </a:cubicBezTo>
                    <a:cubicBezTo>
                      <a:pt x="688" y="116"/>
                      <a:pt x="688" y="116"/>
                      <a:pt x="688" y="116"/>
                    </a:cubicBezTo>
                    <a:cubicBezTo>
                      <a:pt x="687" y="116"/>
                      <a:pt x="688" y="115"/>
                      <a:pt x="687" y="115"/>
                    </a:cubicBezTo>
                    <a:cubicBezTo>
                      <a:pt x="687" y="115"/>
                      <a:pt x="687" y="115"/>
                      <a:pt x="687" y="115"/>
                    </a:cubicBezTo>
                    <a:cubicBezTo>
                      <a:pt x="687" y="114"/>
                      <a:pt x="687" y="114"/>
                      <a:pt x="687" y="114"/>
                    </a:cubicBezTo>
                    <a:cubicBezTo>
                      <a:pt x="687" y="114"/>
                      <a:pt x="687" y="113"/>
                      <a:pt x="687" y="113"/>
                    </a:cubicBezTo>
                    <a:cubicBezTo>
                      <a:pt x="687" y="113"/>
                      <a:pt x="687" y="113"/>
                      <a:pt x="687" y="113"/>
                    </a:cubicBezTo>
                    <a:cubicBezTo>
                      <a:pt x="686" y="113"/>
                      <a:pt x="686" y="112"/>
                      <a:pt x="686" y="112"/>
                    </a:cubicBezTo>
                    <a:cubicBezTo>
                      <a:pt x="686" y="112"/>
                      <a:pt x="686" y="112"/>
                      <a:pt x="686" y="112"/>
                    </a:cubicBezTo>
                    <a:cubicBezTo>
                      <a:pt x="686" y="112"/>
                      <a:pt x="686" y="111"/>
                      <a:pt x="685" y="111"/>
                    </a:cubicBezTo>
                    <a:cubicBezTo>
                      <a:pt x="685" y="111"/>
                      <a:pt x="685" y="111"/>
                      <a:pt x="685" y="111"/>
                    </a:cubicBezTo>
                    <a:cubicBezTo>
                      <a:pt x="685" y="110"/>
                      <a:pt x="685" y="110"/>
                      <a:pt x="685" y="110"/>
                    </a:cubicBezTo>
                    <a:cubicBezTo>
                      <a:pt x="685" y="110"/>
                      <a:pt x="685" y="110"/>
                      <a:pt x="685" y="110"/>
                    </a:cubicBezTo>
                    <a:cubicBezTo>
                      <a:pt x="685" y="109"/>
                      <a:pt x="684" y="109"/>
                      <a:pt x="684" y="109"/>
                    </a:cubicBezTo>
                    <a:cubicBezTo>
                      <a:pt x="684" y="109"/>
                      <a:pt x="684" y="109"/>
                      <a:pt x="684" y="109"/>
                    </a:cubicBezTo>
                    <a:cubicBezTo>
                      <a:pt x="684" y="109"/>
                      <a:pt x="684" y="108"/>
                      <a:pt x="684" y="108"/>
                    </a:cubicBezTo>
                    <a:cubicBezTo>
                      <a:pt x="684" y="108"/>
                      <a:pt x="684" y="108"/>
                      <a:pt x="684" y="108"/>
                    </a:cubicBezTo>
                    <a:cubicBezTo>
                      <a:pt x="684" y="108"/>
                      <a:pt x="683" y="107"/>
                      <a:pt x="683" y="107"/>
                    </a:cubicBezTo>
                    <a:cubicBezTo>
                      <a:pt x="683" y="107"/>
                      <a:pt x="683" y="107"/>
                      <a:pt x="683" y="107"/>
                    </a:cubicBezTo>
                    <a:cubicBezTo>
                      <a:pt x="683" y="107"/>
                      <a:pt x="683" y="106"/>
                      <a:pt x="682" y="106"/>
                    </a:cubicBezTo>
                    <a:cubicBezTo>
                      <a:pt x="683" y="106"/>
                      <a:pt x="683" y="106"/>
                      <a:pt x="683" y="106"/>
                    </a:cubicBezTo>
                    <a:cubicBezTo>
                      <a:pt x="682" y="106"/>
                      <a:pt x="682" y="106"/>
                      <a:pt x="682" y="106"/>
                    </a:cubicBezTo>
                    <a:cubicBezTo>
                      <a:pt x="682" y="106"/>
                      <a:pt x="682" y="106"/>
                      <a:pt x="682" y="106"/>
                    </a:cubicBezTo>
                    <a:cubicBezTo>
                      <a:pt x="682" y="105"/>
                      <a:pt x="682" y="105"/>
                      <a:pt x="682" y="105"/>
                    </a:cubicBezTo>
                    <a:cubicBezTo>
                      <a:pt x="681" y="105"/>
                      <a:pt x="681" y="105"/>
                      <a:pt x="681" y="105"/>
                    </a:cubicBezTo>
                    <a:cubicBezTo>
                      <a:pt x="681" y="105"/>
                      <a:pt x="681" y="104"/>
                      <a:pt x="681" y="104"/>
                    </a:cubicBezTo>
                    <a:cubicBezTo>
                      <a:pt x="681" y="104"/>
                      <a:pt x="681" y="104"/>
                      <a:pt x="681" y="104"/>
                    </a:cubicBezTo>
                    <a:cubicBezTo>
                      <a:pt x="681" y="104"/>
                      <a:pt x="680" y="103"/>
                      <a:pt x="680" y="103"/>
                    </a:cubicBezTo>
                    <a:cubicBezTo>
                      <a:pt x="680" y="103"/>
                      <a:pt x="680" y="103"/>
                      <a:pt x="680" y="103"/>
                    </a:cubicBezTo>
                    <a:cubicBezTo>
                      <a:pt x="680" y="103"/>
                      <a:pt x="680" y="103"/>
                      <a:pt x="680" y="103"/>
                    </a:cubicBezTo>
                    <a:cubicBezTo>
                      <a:pt x="680" y="103"/>
                      <a:pt x="680" y="103"/>
                      <a:pt x="680" y="103"/>
                    </a:cubicBezTo>
                    <a:cubicBezTo>
                      <a:pt x="680" y="102"/>
                      <a:pt x="679" y="102"/>
                      <a:pt x="679" y="102"/>
                    </a:cubicBezTo>
                    <a:cubicBezTo>
                      <a:pt x="679" y="102"/>
                      <a:pt x="679" y="102"/>
                      <a:pt x="679" y="102"/>
                    </a:cubicBezTo>
                    <a:cubicBezTo>
                      <a:pt x="679" y="102"/>
                      <a:pt x="679" y="102"/>
                      <a:pt x="678" y="102"/>
                    </a:cubicBezTo>
                    <a:cubicBezTo>
                      <a:pt x="678" y="102"/>
                      <a:pt x="678" y="102"/>
                      <a:pt x="678" y="102"/>
                    </a:cubicBezTo>
                    <a:cubicBezTo>
                      <a:pt x="678" y="101"/>
                      <a:pt x="678" y="101"/>
                      <a:pt x="678" y="101"/>
                    </a:cubicBezTo>
                    <a:cubicBezTo>
                      <a:pt x="678" y="101"/>
                      <a:pt x="678" y="101"/>
                      <a:pt x="678" y="101"/>
                    </a:cubicBezTo>
                    <a:cubicBezTo>
                      <a:pt x="678" y="101"/>
                      <a:pt x="677" y="101"/>
                      <a:pt x="677" y="100"/>
                    </a:cubicBezTo>
                    <a:cubicBezTo>
                      <a:pt x="677" y="100"/>
                      <a:pt x="677" y="100"/>
                      <a:pt x="677" y="100"/>
                    </a:cubicBezTo>
                    <a:cubicBezTo>
                      <a:pt x="677" y="100"/>
                      <a:pt x="676" y="100"/>
                      <a:pt x="676" y="100"/>
                    </a:cubicBezTo>
                    <a:cubicBezTo>
                      <a:pt x="676" y="100"/>
                      <a:pt x="676" y="100"/>
                      <a:pt x="676" y="100"/>
                    </a:cubicBezTo>
                    <a:cubicBezTo>
                      <a:pt x="676" y="100"/>
                      <a:pt x="676" y="99"/>
                      <a:pt x="676" y="99"/>
                    </a:cubicBezTo>
                    <a:cubicBezTo>
                      <a:pt x="676" y="99"/>
                      <a:pt x="676" y="99"/>
                      <a:pt x="676" y="99"/>
                    </a:cubicBezTo>
                    <a:cubicBezTo>
                      <a:pt x="675" y="99"/>
                      <a:pt x="675" y="99"/>
                      <a:pt x="675" y="99"/>
                    </a:cubicBezTo>
                    <a:cubicBezTo>
                      <a:pt x="674" y="99"/>
                      <a:pt x="674" y="99"/>
                      <a:pt x="674" y="99"/>
                    </a:cubicBezTo>
                    <a:cubicBezTo>
                      <a:pt x="674" y="98"/>
                      <a:pt x="674" y="98"/>
                      <a:pt x="674" y="98"/>
                    </a:cubicBezTo>
                    <a:cubicBezTo>
                      <a:pt x="674" y="98"/>
                      <a:pt x="674" y="98"/>
                      <a:pt x="674" y="98"/>
                    </a:cubicBezTo>
                    <a:cubicBezTo>
                      <a:pt x="674" y="98"/>
                      <a:pt x="673" y="98"/>
                      <a:pt x="673" y="98"/>
                    </a:cubicBezTo>
                    <a:cubicBezTo>
                      <a:pt x="673" y="97"/>
                      <a:pt x="673" y="97"/>
                      <a:pt x="673" y="97"/>
                    </a:cubicBezTo>
                    <a:cubicBezTo>
                      <a:pt x="672" y="97"/>
                      <a:pt x="672" y="97"/>
                      <a:pt x="672" y="97"/>
                    </a:cubicBezTo>
                    <a:cubicBezTo>
                      <a:pt x="672" y="97"/>
                      <a:pt x="672" y="97"/>
                      <a:pt x="672" y="97"/>
                    </a:cubicBezTo>
                    <a:cubicBezTo>
                      <a:pt x="671" y="97"/>
                      <a:pt x="671" y="97"/>
                      <a:pt x="670" y="96"/>
                    </a:cubicBezTo>
                    <a:cubicBezTo>
                      <a:pt x="670" y="96"/>
                      <a:pt x="670" y="96"/>
                      <a:pt x="670" y="96"/>
                    </a:cubicBezTo>
                    <a:cubicBezTo>
                      <a:pt x="670" y="96"/>
                      <a:pt x="670" y="96"/>
                      <a:pt x="669" y="96"/>
                    </a:cubicBezTo>
                    <a:cubicBezTo>
                      <a:pt x="669" y="96"/>
                      <a:pt x="669" y="96"/>
                      <a:pt x="669" y="96"/>
                    </a:cubicBezTo>
                    <a:cubicBezTo>
                      <a:pt x="668" y="95"/>
                      <a:pt x="668" y="96"/>
                      <a:pt x="668" y="95"/>
                    </a:cubicBezTo>
                    <a:cubicBezTo>
                      <a:pt x="668" y="95"/>
                      <a:pt x="668" y="95"/>
                      <a:pt x="668" y="95"/>
                    </a:cubicBezTo>
                    <a:cubicBezTo>
                      <a:pt x="667" y="95"/>
                      <a:pt x="666" y="95"/>
                      <a:pt x="666" y="95"/>
                    </a:cubicBezTo>
                    <a:cubicBezTo>
                      <a:pt x="666" y="95"/>
                      <a:pt x="665" y="95"/>
                      <a:pt x="665" y="95"/>
                    </a:cubicBezTo>
                    <a:cubicBezTo>
                      <a:pt x="665" y="94"/>
                      <a:pt x="664" y="94"/>
                      <a:pt x="664" y="94"/>
                    </a:cubicBezTo>
                    <a:cubicBezTo>
                      <a:pt x="664" y="94"/>
                      <a:pt x="663" y="94"/>
                      <a:pt x="663" y="94"/>
                    </a:cubicBezTo>
                    <a:cubicBezTo>
                      <a:pt x="662" y="93"/>
                      <a:pt x="661" y="94"/>
                      <a:pt x="661" y="93"/>
                    </a:cubicBezTo>
                    <a:cubicBezTo>
                      <a:pt x="660" y="93"/>
                      <a:pt x="660" y="93"/>
                      <a:pt x="660" y="93"/>
                    </a:cubicBezTo>
                    <a:cubicBezTo>
                      <a:pt x="656" y="93"/>
                      <a:pt x="652" y="93"/>
                      <a:pt x="648" y="93"/>
                    </a:cubicBezTo>
                    <a:cubicBezTo>
                      <a:pt x="647" y="93"/>
                      <a:pt x="647" y="93"/>
                      <a:pt x="646" y="93"/>
                    </a:cubicBezTo>
                    <a:cubicBezTo>
                      <a:pt x="646" y="94"/>
                      <a:pt x="645" y="93"/>
                      <a:pt x="644" y="94"/>
                    </a:cubicBezTo>
                    <a:cubicBezTo>
                      <a:pt x="644" y="94"/>
                      <a:pt x="643" y="94"/>
                      <a:pt x="643" y="94"/>
                    </a:cubicBezTo>
                    <a:cubicBezTo>
                      <a:pt x="643" y="94"/>
                      <a:pt x="642" y="94"/>
                      <a:pt x="642" y="95"/>
                    </a:cubicBezTo>
                    <a:cubicBezTo>
                      <a:pt x="641" y="95"/>
                      <a:pt x="641" y="95"/>
                      <a:pt x="641" y="95"/>
                    </a:cubicBezTo>
                    <a:cubicBezTo>
                      <a:pt x="641" y="95"/>
                      <a:pt x="640" y="95"/>
                      <a:pt x="639" y="95"/>
                    </a:cubicBezTo>
                    <a:cubicBezTo>
                      <a:pt x="639" y="95"/>
                      <a:pt x="639" y="95"/>
                      <a:pt x="639" y="95"/>
                    </a:cubicBezTo>
                    <a:cubicBezTo>
                      <a:pt x="639" y="95"/>
                      <a:pt x="638" y="95"/>
                      <a:pt x="638" y="96"/>
                    </a:cubicBezTo>
                    <a:cubicBezTo>
                      <a:pt x="638" y="96"/>
                      <a:pt x="638" y="96"/>
                      <a:pt x="638" y="96"/>
                    </a:cubicBezTo>
                    <a:cubicBezTo>
                      <a:pt x="637" y="96"/>
                      <a:pt x="637" y="96"/>
                      <a:pt x="637" y="96"/>
                    </a:cubicBezTo>
                    <a:cubicBezTo>
                      <a:pt x="636" y="96"/>
                      <a:pt x="636" y="96"/>
                      <a:pt x="636" y="96"/>
                    </a:cubicBezTo>
                    <a:cubicBezTo>
                      <a:pt x="636" y="97"/>
                      <a:pt x="635" y="97"/>
                      <a:pt x="635" y="97"/>
                    </a:cubicBezTo>
                    <a:cubicBezTo>
                      <a:pt x="635" y="97"/>
                      <a:pt x="635" y="97"/>
                      <a:pt x="635" y="97"/>
                    </a:cubicBezTo>
                    <a:cubicBezTo>
                      <a:pt x="634" y="97"/>
                      <a:pt x="634" y="97"/>
                      <a:pt x="634" y="98"/>
                    </a:cubicBezTo>
                    <a:cubicBezTo>
                      <a:pt x="634" y="98"/>
                      <a:pt x="634" y="98"/>
                      <a:pt x="634" y="98"/>
                    </a:cubicBezTo>
                    <a:cubicBezTo>
                      <a:pt x="633" y="98"/>
                      <a:pt x="633" y="98"/>
                      <a:pt x="633" y="98"/>
                    </a:cubicBezTo>
                    <a:cubicBezTo>
                      <a:pt x="633" y="98"/>
                      <a:pt x="633" y="98"/>
                      <a:pt x="633" y="98"/>
                    </a:cubicBezTo>
                    <a:cubicBezTo>
                      <a:pt x="632" y="98"/>
                      <a:pt x="632" y="98"/>
                      <a:pt x="632" y="99"/>
                    </a:cubicBezTo>
                    <a:cubicBezTo>
                      <a:pt x="632" y="99"/>
                      <a:pt x="632" y="99"/>
                      <a:pt x="632" y="99"/>
                    </a:cubicBezTo>
                    <a:cubicBezTo>
                      <a:pt x="632" y="99"/>
                      <a:pt x="631" y="99"/>
                      <a:pt x="631" y="99"/>
                    </a:cubicBezTo>
                    <a:cubicBezTo>
                      <a:pt x="631" y="99"/>
                      <a:pt x="631" y="99"/>
                      <a:pt x="631" y="99"/>
                    </a:cubicBezTo>
                    <a:cubicBezTo>
                      <a:pt x="631" y="99"/>
                      <a:pt x="630" y="100"/>
                      <a:pt x="630" y="100"/>
                    </a:cubicBezTo>
                    <a:cubicBezTo>
                      <a:pt x="630" y="100"/>
                      <a:pt x="630" y="100"/>
                      <a:pt x="630" y="100"/>
                    </a:cubicBezTo>
                    <a:cubicBezTo>
                      <a:pt x="629" y="100"/>
                      <a:pt x="629" y="100"/>
                      <a:pt x="629" y="100"/>
                    </a:cubicBezTo>
                    <a:cubicBezTo>
                      <a:pt x="629" y="100"/>
                      <a:pt x="629" y="100"/>
                      <a:pt x="629" y="100"/>
                    </a:cubicBezTo>
                    <a:cubicBezTo>
                      <a:pt x="629" y="101"/>
                      <a:pt x="629" y="101"/>
                      <a:pt x="628" y="101"/>
                    </a:cubicBezTo>
                    <a:cubicBezTo>
                      <a:pt x="628" y="101"/>
                      <a:pt x="628" y="101"/>
                      <a:pt x="628" y="101"/>
                    </a:cubicBezTo>
                    <a:cubicBezTo>
                      <a:pt x="628" y="101"/>
                      <a:pt x="628" y="101"/>
                      <a:pt x="627" y="102"/>
                    </a:cubicBezTo>
                    <a:cubicBezTo>
                      <a:pt x="627" y="102"/>
                      <a:pt x="627" y="102"/>
                      <a:pt x="627" y="102"/>
                    </a:cubicBezTo>
                    <a:cubicBezTo>
                      <a:pt x="627" y="102"/>
                      <a:pt x="627" y="102"/>
                      <a:pt x="627" y="102"/>
                    </a:cubicBezTo>
                    <a:cubicBezTo>
                      <a:pt x="627" y="102"/>
                      <a:pt x="627" y="102"/>
                      <a:pt x="627" y="102"/>
                    </a:cubicBezTo>
                    <a:cubicBezTo>
                      <a:pt x="627" y="102"/>
                      <a:pt x="626" y="102"/>
                      <a:pt x="626" y="103"/>
                    </a:cubicBezTo>
                    <a:cubicBezTo>
                      <a:pt x="626" y="103"/>
                      <a:pt x="626" y="103"/>
                      <a:pt x="626" y="103"/>
                    </a:cubicBezTo>
                    <a:cubicBezTo>
                      <a:pt x="626" y="103"/>
                      <a:pt x="626" y="103"/>
                      <a:pt x="626" y="103"/>
                    </a:cubicBezTo>
                    <a:cubicBezTo>
                      <a:pt x="626" y="103"/>
                      <a:pt x="626" y="103"/>
                      <a:pt x="626" y="103"/>
                    </a:cubicBezTo>
                    <a:cubicBezTo>
                      <a:pt x="625" y="103"/>
                      <a:pt x="625" y="104"/>
                      <a:pt x="625" y="104"/>
                    </a:cubicBezTo>
                    <a:cubicBezTo>
                      <a:pt x="625" y="104"/>
                      <a:pt x="625" y="104"/>
                      <a:pt x="625" y="104"/>
                    </a:cubicBezTo>
                    <a:cubicBezTo>
                      <a:pt x="625" y="104"/>
                      <a:pt x="625" y="104"/>
                      <a:pt x="624" y="104"/>
                    </a:cubicBezTo>
                    <a:cubicBezTo>
                      <a:pt x="624" y="104"/>
                      <a:pt x="624" y="104"/>
                      <a:pt x="624" y="104"/>
                    </a:cubicBezTo>
                    <a:cubicBezTo>
                      <a:pt x="624" y="105"/>
                      <a:pt x="624" y="105"/>
                      <a:pt x="624" y="105"/>
                    </a:cubicBezTo>
                    <a:cubicBezTo>
                      <a:pt x="624" y="105"/>
                      <a:pt x="624" y="105"/>
                      <a:pt x="624" y="105"/>
                    </a:cubicBezTo>
                    <a:cubicBezTo>
                      <a:pt x="624" y="105"/>
                      <a:pt x="623" y="105"/>
                      <a:pt x="623" y="106"/>
                    </a:cubicBezTo>
                    <a:cubicBezTo>
                      <a:pt x="623" y="106"/>
                      <a:pt x="623" y="106"/>
                      <a:pt x="623" y="106"/>
                    </a:cubicBezTo>
                    <a:cubicBezTo>
                      <a:pt x="623" y="106"/>
                      <a:pt x="623" y="106"/>
                      <a:pt x="623" y="106"/>
                    </a:cubicBezTo>
                    <a:cubicBezTo>
                      <a:pt x="623" y="106"/>
                      <a:pt x="623" y="106"/>
                      <a:pt x="623" y="106"/>
                    </a:cubicBezTo>
                    <a:cubicBezTo>
                      <a:pt x="622" y="106"/>
                      <a:pt x="622" y="106"/>
                      <a:pt x="622" y="107"/>
                    </a:cubicBezTo>
                    <a:cubicBezTo>
                      <a:pt x="622" y="107"/>
                      <a:pt x="622" y="107"/>
                      <a:pt x="622" y="107"/>
                    </a:cubicBezTo>
                    <a:cubicBezTo>
                      <a:pt x="622" y="107"/>
                      <a:pt x="622" y="107"/>
                      <a:pt x="622" y="107"/>
                    </a:cubicBezTo>
                    <a:cubicBezTo>
                      <a:pt x="622" y="107"/>
                      <a:pt x="622" y="107"/>
                      <a:pt x="622" y="107"/>
                    </a:cubicBezTo>
                    <a:cubicBezTo>
                      <a:pt x="621" y="107"/>
                      <a:pt x="621" y="108"/>
                      <a:pt x="621" y="108"/>
                    </a:cubicBezTo>
                    <a:cubicBezTo>
                      <a:pt x="621" y="108"/>
                      <a:pt x="621" y="108"/>
                      <a:pt x="621" y="108"/>
                    </a:cubicBezTo>
                    <a:cubicBezTo>
                      <a:pt x="621" y="109"/>
                      <a:pt x="621" y="109"/>
                      <a:pt x="620" y="109"/>
                    </a:cubicBezTo>
                    <a:cubicBezTo>
                      <a:pt x="620" y="109"/>
                      <a:pt x="620" y="109"/>
                      <a:pt x="620" y="109"/>
                    </a:cubicBezTo>
                    <a:cubicBezTo>
                      <a:pt x="620" y="109"/>
                      <a:pt x="620" y="109"/>
                      <a:pt x="620" y="110"/>
                    </a:cubicBezTo>
                    <a:cubicBezTo>
                      <a:pt x="620" y="110"/>
                      <a:pt x="620" y="110"/>
                      <a:pt x="620" y="110"/>
                    </a:cubicBezTo>
                    <a:cubicBezTo>
                      <a:pt x="619" y="110"/>
                      <a:pt x="620" y="110"/>
                      <a:pt x="619" y="111"/>
                    </a:cubicBezTo>
                    <a:cubicBezTo>
                      <a:pt x="619" y="111"/>
                      <a:pt x="619" y="111"/>
                      <a:pt x="619" y="111"/>
                    </a:cubicBezTo>
                    <a:cubicBezTo>
                      <a:pt x="619" y="111"/>
                      <a:pt x="619" y="111"/>
                      <a:pt x="619" y="111"/>
                    </a:cubicBezTo>
                    <a:cubicBezTo>
                      <a:pt x="619" y="111"/>
                      <a:pt x="619" y="111"/>
                      <a:pt x="619" y="111"/>
                    </a:cubicBezTo>
                    <a:cubicBezTo>
                      <a:pt x="618" y="112"/>
                      <a:pt x="618" y="112"/>
                      <a:pt x="618" y="112"/>
                    </a:cubicBezTo>
                    <a:cubicBezTo>
                      <a:pt x="618" y="112"/>
                      <a:pt x="618" y="112"/>
                      <a:pt x="618" y="112"/>
                    </a:cubicBezTo>
                    <a:cubicBezTo>
                      <a:pt x="618" y="113"/>
                      <a:pt x="618" y="113"/>
                      <a:pt x="618" y="113"/>
                    </a:cubicBezTo>
                    <a:cubicBezTo>
                      <a:pt x="618" y="113"/>
                      <a:pt x="618" y="113"/>
                      <a:pt x="618" y="113"/>
                    </a:cubicBezTo>
                    <a:cubicBezTo>
                      <a:pt x="616" y="113"/>
                      <a:pt x="617" y="111"/>
                      <a:pt x="617" y="111"/>
                    </a:cubicBezTo>
                    <a:cubicBezTo>
                      <a:pt x="616" y="106"/>
                      <a:pt x="617" y="101"/>
                      <a:pt x="616" y="96"/>
                    </a:cubicBezTo>
                    <a:cubicBezTo>
                      <a:pt x="611" y="96"/>
                      <a:pt x="605" y="96"/>
                      <a:pt x="599" y="96"/>
                    </a:cubicBezTo>
                    <a:cubicBezTo>
                      <a:pt x="598" y="97"/>
                      <a:pt x="599" y="98"/>
                      <a:pt x="599" y="99"/>
                    </a:cubicBezTo>
                    <a:close/>
                    <a:moveTo>
                      <a:pt x="1557" y="127"/>
                    </a:moveTo>
                    <a:cubicBezTo>
                      <a:pt x="1557" y="127"/>
                      <a:pt x="1557" y="127"/>
                      <a:pt x="1557" y="127"/>
                    </a:cubicBezTo>
                    <a:cubicBezTo>
                      <a:pt x="1557" y="127"/>
                      <a:pt x="1557" y="127"/>
                      <a:pt x="1557" y="127"/>
                    </a:cubicBezTo>
                    <a:cubicBezTo>
                      <a:pt x="1557" y="126"/>
                      <a:pt x="1557" y="126"/>
                      <a:pt x="1557" y="125"/>
                    </a:cubicBezTo>
                    <a:cubicBezTo>
                      <a:pt x="1557" y="125"/>
                      <a:pt x="1557" y="125"/>
                      <a:pt x="1557" y="125"/>
                    </a:cubicBezTo>
                    <a:cubicBezTo>
                      <a:pt x="1556" y="125"/>
                      <a:pt x="1557" y="124"/>
                      <a:pt x="1556" y="123"/>
                    </a:cubicBezTo>
                    <a:cubicBezTo>
                      <a:pt x="1556" y="123"/>
                      <a:pt x="1556" y="123"/>
                      <a:pt x="1556" y="123"/>
                    </a:cubicBezTo>
                    <a:cubicBezTo>
                      <a:pt x="1556" y="123"/>
                      <a:pt x="1556" y="122"/>
                      <a:pt x="1556" y="122"/>
                    </a:cubicBezTo>
                    <a:cubicBezTo>
                      <a:pt x="1556" y="122"/>
                      <a:pt x="1556" y="122"/>
                      <a:pt x="1556" y="122"/>
                    </a:cubicBezTo>
                    <a:cubicBezTo>
                      <a:pt x="1555" y="121"/>
                      <a:pt x="1556" y="120"/>
                      <a:pt x="1555" y="120"/>
                    </a:cubicBezTo>
                    <a:cubicBezTo>
                      <a:pt x="1555" y="120"/>
                      <a:pt x="1555" y="120"/>
                      <a:pt x="1555" y="120"/>
                    </a:cubicBezTo>
                    <a:cubicBezTo>
                      <a:pt x="1555" y="120"/>
                      <a:pt x="1555" y="119"/>
                      <a:pt x="1555" y="119"/>
                    </a:cubicBezTo>
                    <a:cubicBezTo>
                      <a:pt x="1554" y="119"/>
                      <a:pt x="1554" y="119"/>
                      <a:pt x="1554" y="118"/>
                    </a:cubicBezTo>
                    <a:cubicBezTo>
                      <a:pt x="1554" y="118"/>
                      <a:pt x="1554" y="117"/>
                      <a:pt x="1554" y="117"/>
                    </a:cubicBezTo>
                    <a:cubicBezTo>
                      <a:pt x="1554" y="117"/>
                      <a:pt x="1554" y="117"/>
                      <a:pt x="1554" y="117"/>
                    </a:cubicBezTo>
                    <a:cubicBezTo>
                      <a:pt x="1554" y="116"/>
                      <a:pt x="1554" y="116"/>
                      <a:pt x="1553" y="115"/>
                    </a:cubicBezTo>
                    <a:cubicBezTo>
                      <a:pt x="1553" y="115"/>
                      <a:pt x="1553" y="115"/>
                      <a:pt x="1553" y="115"/>
                    </a:cubicBezTo>
                    <a:cubicBezTo>
                      <a:pt x="1553" y="115"/>
                      <a:pt x="1553" y="115"/>
                      <a:pt x="1553" y="115"/>
                    </a:cubicBezTo>
                    <a:cubicBezTo>
                      <a:pt x="1553" y="115"/>
                      <a:pt x="1553" y="114"/>
                      <a:pt x="1553" y="114"/>
                    </a:cubicBezTo>
                    <a:cubicBezTo>
                      <a:pt x="1553" y="114"/>
                      <a:pt x="1553" y="114"/>
                      <a:pt x="1553" y="114"/>
                    </a:cubicBezTo>
                    <a:cubicBezTo>
                      <a:pt x="1552" y="113"/>
                      <a:pt x="1553" y="112"/>
                      <a:pt x="1552" y="112"/>
                    </a:cubicBezTo>
                    <a:cubicBezTo>
                      <a:pt x="1552" y="112"/>
                      <a:pt x="1552" y="112"/>
                      <a:pt x="1552" y="112"/>
                    </a:cubicBezTo>
                    <a:cubicBezTo>
                      <a:pt x="1552" y="111"/>
                      <a:pt x="1552" y="111"/>
                      <a:pt x="1552" y="110"/>
                    </a:cubicBezTo>
                    <a:cubicBezTo>
                      <a:pt x="1552" y="110"/>
                      <a:pt x="1552" y="110"/>
                      <a:pt x="1552" y="110"/>
                    </a:cubicBezTo>
                    <a:cubicBezTo>
                      <a:pt x="1551" y="110"/>
                      <a:pt x="1552" y="109"/>
                      <a:pt x="1551" y="108"/>
                    </a:cubicBezTo>
                    <a:cubicBezTo>
                      <a:pt x="1551" y="108"/>
                      <a:pt x="1551" y="108"/>
                      <a:pt x="1551" y="108"/>
                    </a:cubicBezTo>
                    <a:cubicBezTo>
                      <a:pt x="1551" y="108"/>
                      <a:pt x="1551" y="108"/>
                      <a:pt x="1550" y="107"/>
                    </a:cubicBezTo>
                    <a:cubicBezTo>
                      <a:pt x="1550" y="107"/>
                      <a:pt x="1550" y="107"/>
                      <a:pt x="1550" y="107"/>
                    </a:cubicBezTo>
                    <a:cubicBezTo>
                      <a:pt x="1550" y="106"/>
                      <a:pt x="1550" y="106"/>
                      <a:pt x="1550" y="106"/>
                    </a:cubicBezTo>
                    <a:cubicBezTo>
                      <a:pt x="1550" y="105"/>
                      <a:pt x="1550" y="105"/>
                      <a:pt x="1550" y="105"/>
                    </a:cubicBezTo>
                    <a:cubicBezTo>
                      <a:pt x="1550" y="105"/>
                      <a:pt x="1550" y="104"/>
                      <a:pt x="1549" y="104"/>
                    </a:cubicBezTo>
                    <a:cubicBezTo>
                      <a:pt x="1549" y="104"/>
                      <a:pt x="1549" y="104"/>
                      <a:pt x="1549" y="103"/>
                    </a:cubicBezTo>
                    <a:cubicBezTo>
                      <a:pt x="1549" y="103"/>
                      <a:pt x="1549" y="102"/>
                      <a:pt x="1549" y="102"/>
                    </a:cubicBezTo>
                    <a:cubicBezTo>
                      <a:pt x="1549" y="102"/>
                      <a:pt x="1549" y="102"/>
                      <a:pt x="1549" y="102"/>
                    </a:cubicBezTo>
                    <a:cubicBezTo>
                      <a:pt x="1548" y="102"/>
                      <a:pt x="1549" y="101"/>
                      <a:pt x="1548" y="100"/>
                    </a:cubicBezTo>
                    <a:cubicBezTo>
                      <a:pt x="1548" y="100"/>
                      <a:pt x="1548" y="100"/>
                      <a:pt x="1548" y="100"/>
                    </a:cubicBezTo>
                    <a:cubicBezTo>
                      <a:pt x="1548" y="100"/>
                      <a:pt x="1548" y="99"/>
                      <a:pt x="1548" y="99"/>
                    </a:cubicBezTo>
                    <a:cubicBezTo>
                      <a:pt x="1548" y="99"/>
                      <a:pt x="1548" y="99"/>
                      <a:pt x="1548" y="99"/>
                    </a:cubicBezTo>
                    <a:cubicBezTo>
                      <a:pt x="1547" y="98"/>
                      <a:pt x="1548" y="97"/>
                      <a:pt x="1547" y="97"/>
                    </a:cubicBezTo>
                    <a:cubicBezTo>
                      <a:pt x="1547" y="97"/>
                      <a:pt x="1547" y="97"/>
                      <a:pt x="1547" y="97"/>
                    </a:cubicBezTo>
                    <a:cubicBezTo>
                      <a:pt x="1547" y="97"/>
                      <a:pt x="1547" y="96"/>
                      <a:pt x="1546" y="96"/>
                    </a:cubicBezTo>
                    <a:cubicBezTo>
                      <a:pt x="1540" y="96"/>
                      <a:pt x="1533" y="96"/>
                      <a:pt x="1527" y="96"/>
                    </a:cubicBezTo>
                    <a:cubicBezTo>
                      <a:pt x="1526" y="96"/>
                      <a:pt x="1526" y="96"/>
                      <a:pt x="1527" y="97"/>
                    </a:cubicBezTo>
                    <a:cubicBezTo>
                      <a:pt x="1527" y="97"/>
                      <a:pt x="1527" y="97"/>
                      <a:pt x="1527" y="97"/>
                    </a:cubicBezTo>
                    <a:cubicBezTo>
                      <a:pt x="1527" y="97"/>
                      <a:pt x="1527" y="97"/>
                      <a:pt x="1527" y="97"/>
                    </a:cubicBezTo>
                    <a:cubicBezTo>
                      <a:pt x="1527" y="98"/>
                      <a:pt x="1527" y="98"/>
                      <a:pt x="1527" y="99"/>
                    </a:cubicBezTo>
                    <a:cubicBezTo>
                      <a:pt x="1527" y="99"/>
                      <a:pt x="1527" y="99"/>
                      <a:pt x="1527" y="99"/>
                    </a:cubicBezTo>
                    <a:cubicBezTo>
                      <a:pt x="1528" y="99"/>
                      <a:pt x="1528" y="99"/>
                      <a:pt x="1528" y="100"/>
                    </a:cubicBezTo>
                    <a:cubicBezTo>
                      <a:pt x="1528" y="100"/>
                      <a:pt x="1528" y="100"/>
                      <a:pt x="1528" y="100"/>
                    </a:cubicBezTo>
                    <a:cubicBezTo>
                      <a:pt x="1528" y="101"/>
                      <a:pt x="1528" y="101"/>
                      <a:pt x="1529" y="101"/>
                    </a:cubicBezTo>
                    <a:cubicBezTo>
                      <a:pt x="1529" y="102"/>
                      <a:pt x="1529" y="102"/>
                      <a:pt x="1529" y="102"/>
                    </a:cubicBezTo>
                    <a:cubicBezTo>
                      <a:pt x="1529" y="102"/>
                      <a:pt x="1529" y="103"/>
                      <a:pt x="1529" y="103"/>
                    </a:cubicBezTo>
                    <a:cubicBezTo>
                      <a:pt x="1529" y="103"/>
                      <a:pt x="1529" y="103"/>
                      <a:pt x="1529" y="103"/>
                    </a:cubicBezTo>
                    <a:cubicBezTo>
                      <a:pt x="1529" y="104"/>
                      <a:pt x="1529" y="104"/>
                      <a:pt x="1530" y="104"/>
                    </a:cubicBezTo>
                    <a:cubicBezTo>
                      <a:pt x="1530" y="104"/>
                      <a:pt x="1530" y="105"/>
                      <a:pt x="1530" y="105"/>
                    </a:cubicBezTo>
                    <a:cubicBezTo>
                      <a:pt x="1530" y="105"/>
                      <a:pt x="1530" y="106"/>
                      <a:pt x="1530" y="106"/>
                    </a:cubicBezTo>
                    <a:cubicBezTo>
                      <a:pt x="1530" y="106"/>
                      <a:pt x="1530" y="106"/>
                      <a:pt x="1530" y="106"/>
                    </a:cubicBezTo>
                    <a:cubicBezTo>
                      <a:pt x="1531" y="107"/>
                      <a:pt x="1530" y="107"/>
                      <a:pt x="1531" y="108"/>
                    </a:cubicBezTo>
                    <a:cubicBezTo>
                      <a:pt x="1531" y="108"/>
                      <a:pt x="1531" y="108"/>
                      <a:pt x="1531" y="108"/>
                    </a:cubicBezTo>
                    <a:cubicBezTo>
                      <a:pt x="1531" y="108"/>
                      <a:pt x="1531" y="109"/>
                      <a:pt x="1531" y="109"/>
                    </a:cubicBezTo>
                    <a:cubicBezTo>
                      <a:pt x="1532" y="109"/>
                      <a:pt x="1532" y="109"/>
                      <a:pt x="1531" y="109"/>
                    </a:cubicBezTo>
                    <a:cubicBezTo>
                      <a:pt x="1532" y="110"/>
                      <a:pt x="1532" y="110"/>
                      <a:pt x="1532" y="111"/>
                    </a:cubicBezTo>
                    <a:cubicBezTo>
                      <a:pt x="1532" y="111"/>
                      <a:pt x="1532" y="111"/>
                      <a:pt x="1532" y="111"/>
                    </a:cubicBezTo>
                    <a:cubicBezTo>
                      <a:pt x="1533" y="111"/>
                      <a:pt x="1532" y="112"/>
                      <a:pt x="1533" y="112"/>
                    </a:cubicBezTo>
                    <a:cubicBezTo>
                      <a:pt x="1533" y="112"/>
                      <a:pt x="1533" y="112"/>
                      <a:pt x="1533" y="112"/>
                    </a:cubicBezTo>
                    <a:cubicBezTo>
                      <a:pt x="1533" y="113"/>
                      <a:pt x="1533" y="113"/>
                      <a:pt x="1533" y="114"/>
                    </a:cubicBezTo>
                    <a:cubicBezTo>
                      <a:pt x="1533" y="114"/>
                      <a:pt x="1533" y="114"/>
                      <a:pt x="1533" y="114"/>
                    </a:cubicBezTo>
                    <a:cubicBezTo>
                      <a:pt x="1533" y="114"/>
                      <a:pt x="1533" y="114"/>
                      <a:pt x="1533" y="114"/>
                    </a:cubicBezTo>
                    <a:cubicBezTo>
                      <a:pt x="1533" y="114"/>
                      <a:pt x="1533" y="115"/>
                      <a:pt x="1534" y="115"/>
                    </a:cubicBezTo>
                    <a:cubicBezTo>
                      <a:pt x="1534" y="115"/>
                      <a:pt x="1534" y="115"/>
                      <a:pt x="1534" y="115"/>
                    </a:cubicBezTo>
                    <a:cubicBezTo>
                      <a:pt x="1534" y="116"/>
                      <a:pt x="1534" y="117"/>
                      <a:pt x="1534" y="117"/>
                    </a:cubicBezTo>
                    <a:cubicBezTo>
                      <a:pt x="1534" y="117"/>
                      <a:pt x="1534" y="117"/>
                      <a:pt x="1534" y="117"/>
                    </a:cubicBezTo>
                    <a:cubicBezTo>
                      <a:pt x="1535" y="117"/>
                      <a:pt x="1535" y="118"/>
                      <a:pt x="1535" y="118"/>
                    </a:cubicBezTo>
                    <a:cubicBezTo>
                      <a:pt x="1535" y="118"/>
                      <a:pt x="1535" y="118"/>
                      <a:pt x="1535" y="118"/>
                    </a:cubicBezTo>
                    <a:cubicBezTo>
                      <a:pt x="1535" y="119"/>
                      <a:pt x="1535" y="119"/>
                      <a:pt x="1535" y="119"/>
                    </a:cubicBezTo>
                    <a:cubicBezTo>
                      <a:pt x="1535" y="119"/>
                      <a:pt x="1535" y="120"/>
                      <a:pt x="1535" y="120"/>
                    </a:cubicBezTo>
                    <a:cubicBezTo>
                      <a:pt x="1535" y="120"/>
                      <a:pt x="1535" y="120"/>
                      <a:pt x="1535" y="120"/>
                    </a:cubicBezTo>
                    <a:cubicBezTo>
                      <a:pt x="1536" y="120"/>
                      <a:pt x="1536" y="121"/>
                      <a:pt x="1536" y="121"/>
                    </a:cubicBezTo>
                    <a:cubicBezTo>
                      <a:pt x="1536" y="121"/>
                      <a:pt x="1536" y="121"/>
                      <a:pt x="1536" y="121"/>
                    </a:cubicBezTo>
                    <a:cubicBezTo>
                      <a:pt x="1536" y="122"/>
                      <a:pt x="1536" y="122"/>
                      <a:pt x="1537" y="123"/>
                    </a:cubicBezTo>
                    <a:cubicBezTo>
                      <a:pt x="1537" y="123"/>
                      <a:pt x="1537" y="123"/>
                      <a:pt x="1537" y="123"/>
                    </a:cubicBezTo>
                    <a:cubicBezTo>
                      <a:pt x="1537" y="123"/>
                      <a:pt x="1537" y="124"/>
                      <a:pt x="1537" y="125"/>
                    </a:cubicBezTo>
                    <a:cubicBezTo>
                      <a:pt x="1537" y="124"/>
                      <a:pt x="1537" y="124"/>
                      <a:pt x="1537" y="124"/>
                    </a:cubicBezTo>
                    <a:cubicBezTo>
                      <a:pt x="1537" y="125"/>
                      <a:pt x="1537" y="125"/>
                      <a:pt x="1538" y="126"/>
                    </a:cubicBezTo>
                    <a:cubicBezTo>
                      <a:pt x="1538" y="126"/>
                      <a:pt x="1538" y="126"/>
                      <a:pt x="1538" y="126"/>
                    </a:cubicBezTo>
                    <a:cubicBezTo>
                      <a:pt x="1538" y="127"/>
                      <a:pt x="1538" y="127"/>
                      <a:pt x="1538" y="127"/>
                    </a:cubicBezTo>
                    <a:cubicBezTo>
                      <a:pt x="1538" y="127"/>
                      <a:pt x="1538" y="127"/>
                      <a:pt x="1538" y="127"/>
                    </a:cubicBezTo>
                    <a:cubicBezTo>
                      <a:pt x="1539" y="128"/>
                      <a:pt x="1538" y="129"/>
                      <a:pt x="1539" y="129"/>
                    </a:cubicBezTo>
                    <a:cubicBezTo>
                      <a:pt x="1539" y="129"/>
                      <a:pt x="1539" y="129"/>
                      <a:pt x="1539" y="129"/>
                    </a:cubicBezTo>
                    <a:cubicBezTo>
                      <a:pt x="1539" y="129"/>
                      <a:pt x="1539" y="130"/>
                      <a:pt x="1539" y="130"/>
                    </a:cubicBezTo>
                    <a:cubicBezTo>
                      <a:pt x="1540" y="130"/>
                      <a:pt x="1540" y="131"/>
                      <a:pt x="1540" y="131"/>
                    </a:cubicBezTo>
                    <a:cubicBezTo>
                      <a:pt x="1540" y="131"/>
                      <a:pt x="1540" y="132"/>
                      <a:pt x="1540" y="132"/>
                    </a:cubicBezTo>
                    <a:cubicBezTo>
                      <a:pt x="1540" y="132"/>
                      <a:pt x="1540" y="132"/>
                      <a:pt x="1540" y="132"/>
                    </a:cubicBezTo>
                    <a:cubicBezTo>
                      <a:pt x="1541" y="132"/>
                      <a:pt x="1540" y="133"/>
                      <a:pt x="1541" y="134"/>
                    </a:cubicBezTo>
                    <a:cubicBezTo>
                      <a:pt x="1541" y="134"/>
                      <a:pt x="1541" y="134"/>
                      <a:pt x="1541" y="134"/>
                    </a:cubicBezTo>
                    <a:cubicBezTo>
                      <a:pt x="1541" y="134"/>
                      <a:pt x="1541" y="135"/>
                      <a:pt x="1541" y="135"/>
                    </a:cubicBezTo>
                    <a:cubicBezTo>
                      <a:pt x="1541" y="135"/>
                      <a:pt x="1541" y="135"/>
                      <a:pt x="1541" y="135"/>
                    </a:cubicBezTo>
                    <a:cubicBezTo>
                      <a:pt x="1541" y="136"/>
                      <a:pt x="1541" y="136"/>
                      <a:pt x="1542" y="137"/>
                    </a:cubicBezTo>
                    <a:cubicBezTo>
                      <a:pt x="1542" y="137"/>
                      <a:pt x="1542" y="137"/>
                      <a:pt x="1542" y="137"/>
                    </a:cubicBezTo>
                    <a:cubicBezTo>
                      <a:pt x="1542" y="137"/>
                      <a:pt x="1542" y="138"/>
                      <a:pt x="1542" y="138"/>
                    </a:cubicBezTo>
                    <a:cubicBezTo>
                      <a:pt x="1542" y="138"/>
                      <a:pt x="1542" y="138"/>
                      <a:pt x="1542" y="138"/>
                    </a:cubicBezTo>
                    <a:cubicBezTo>
                      <a:pt x="1543" y="139"/>
                      <a:pt x="1543" y="139"/>
                      <a:pt x="1543" y="140"/>
                    </a:cubicBezTo>
                    <a:cubicBezTo>
                      <a:pt x="1543" y="140"/>
                      <a:pt x="1543" y="140"/>
                      <a:pt x="1543" y="140"/>
                    </a:cubicBezTo>
                    <a:cubicBezTo>
                      <a:pt x="1543" y="140"/>
                      <a:pt x="1543" y="140"/>
                      <a:pt x="1543" y="140"/>
                    </a:cubicBezTo>
                    <a:cubicBezTo>
                      <a:pt x="1543" y="140"/>
                      <a:pt x="1543" y="141"/>
                      <a:pt x="1544" y="141"/>
                    </a:cubicBezTo>
                    <a:cubicBezTo>
                      <a:pt x="1544" y="141"/>
                      <a:pt x="1544" y="141"/>
                      <a:pt x="1544" y="141"/>
                    </a:cubicBezTo>
                    <a:cubicBezTo>
                      <a:pt x="1544" y="142"/>
                      <a:pt x="1544" y="143"/>
                      <a:pt x="1544" y="143"/>
                    </a:cubicBezTo>
                    <a:cubicBezTo>
                      <a:pt x="1544" y="143"/>
                      <a:pt x="1544" y="143"/>
                      <a:pt x="1544" y="143"/>
                    </a:cubicBezTo>
                    <a:cubicBezTo>
                      <a:pt x="1544" y="143"/>
                      <a:pt x="1544" y="144"/>
                      <a:pt x="1545" y="144"/>
                    </a:cubicBezTo>
                    <a:cubicBezTo>
                      <a:pt x="1545" y="144"/>
                      <a:pt x="1545" y="144"/>
                      <a:pt x="1545" y="144"/>
                    </a:cubicBezTo>
                    <a:cubicBezTo>
                      <a:pt x="1545" y="144"/>
                      <a:pt x="1545" y="144"/>
                      <a:pt x="1545" y="144"/>
                    </a:cubicBezTo>
                    <a:cubicBezTo>
                      <a:pt x="1545" y="145"/>
                      <a:pt x="1545" y="145"/>
                      <a:pt x="1545" y="146"/>
                    </a:cubicBezTo>
                    <a:cubicBezTo>
                      <a:pt x="1545" y="146"/>
                      <a:pt x="1545" y="146"/>
                      <a:pt x="1545" y="146"/>
                    </a:cubicBezTo>
                    <a:cubicBezTo>
                      <a:pt x="1546" y="146"/>
                      <a:pt x="1545" y="147"/>
                      <a:pt x="1546" y="147"/>
                    </a:cubicBezTo>
                    <a:cubicBezTo>
                      <a:pt x="1546" y="147"/>
                      <a:pt x="1546" y="147"/>
                      <a:pt x="1546" y="147"/>
                    </a:cubicBezTo>
                    <a:cubicBezTo>
                      <a:pt x="1546" y="148"/>
                      <a:pt x="1546" y="148"/>
                      <a:pt x="1546" y="149"/>
                    </a:cubicBezTo>
                    <a:cubicBezTo>
                      <a:pt x="1546" y="149"/>
                      <a:pt x="1546" y="149"/>
                      <a:pt x="1546" y="149"/>
                    </a:cubicBezTo>
                    <a:cubicBezTo>
                      <a:pt x="1547" y="149"/>
                      <a:pt x="1546" y="150"/>
                      <a:pt x="1547" y="150"/>
                    </a:cubicBezTo>
                    <a:cubicBezTo>
                      <a:pt x="1547" y="150"/>
                      <a:pt x="1547" y="150"/>
                      <a:pt x="1547" y="150"/>
                    </a:cubicBezTo>
                    <a:cubicBezTo>
                      <a:pt x="1547" y="151"/>
                      <a:pt x="1547" y="151"/>
                      <a:pt x="1547" y="152"/>
                    </a:cubicBezTo>
                    <a:cubicBezTo>
                      <a:pt x="1548" y="152"/>
                      <a:pt x="1548" y="152"/>
                      <a:pt x="1548" y="152"/>
                    </a:cubicBezTo>
                    <a:cubicBezTo>
                      <a:pt x="1548" y="152"/>
                      <a:pt x="1548" y="153"/>
                      <a:pt x="1548" y="153"/>
                    </a:cubicBezTo>
                    <a:cubicBezTo>
                      <a:pt x="1548" y="153"/>
                      <a:pt x="1548" y="153"/>
                      <a:pt x="1548" y="153"/>
                    </a:cubicBezTo>
                    <a:cubicBezTo>
                      <a:pt x="1549" y="154"/>
                      <a:pt x="1548" y="155"/>
                      <a:pt x="1549" y="155"/>
                    </a:cubicBezTo>
                    <a:cubicBezTo>
                      <a:pt x="1549" y="155"/>
                      <a:pt x="1549" y="155"/>
                      <a:pt x="1549" y="155"/>
                    </a:cubicBezTo>
                    <a:cubicBezTo>
                      <a:pt x="1549" y="155"/>
                      <a:pt x="1549" y="156"/>
                      <a:pt x="1549" y="156"/>
                    </a:cubicBezTo>
                    <a:cubicBezTo>
                      <a:pt x="1549" y="156"/>
                      <a:pt x="1549" y="156"/>
                      <a:pt x="1549" y="157"/>
                    </a:cubicBezTo>
                    <a:cubicBezTo>
                      <a:pt x="1550" y="157"/>
                      <a:pt x="1550" y="158"/>
                      <a:pt x="1550" y="158"/>
                    </a:cubicBezTo>
                    <a:cubicBezTo>
                      <a:pt x="1550" y="158"/>
                      <a:pt x="1550" y="158"/>
                      <a:pt x="1550" y="158"/>
                    </a:cubicBezTo>
                    <a:cubicBezTo>
                      <a:pt x="1550" y="158"/>
                      <a:pt x="1550" y="159"/>
                      <a:pt x="1550" y="160"/>
                    </a:cubicBezTo>
                    <a:cubicBezTo>
                      <a:pt x="1550" y="160"/>
                      <a:pt x="1550" y="160"/>
                      <a:pt x="1550" y="160"/>
                    </a:cubicBezTo>
                    <a:cubicBezTo>
                      <a:pt x="1551" y="160"/>
                      <a:pt x="1551" y="160"/>
                      <a:pt x="1551" y="161"/>
                    </a:cubicBezTo>
                    <a:cubicBezTo>
                      <a:pt x="1551" y="161"/>
                      <a:pt x="1551" y="161"/>
                      <a:pt x="1551" y="161"/>
                    </a:cubicBezTo>
                    <a:cubicBezTo>
                      <a:pt x="1551" y="162"/>
                      <a:pt x="1551" y="162"/>
                      <a:pt x="1552" y="163"/>
                    </a:cubicBezTo>
                    <a:cubicBezTo>
                      <a:pt x="1552" y="163"/>
                      <a:pt x="1552" y="163"/>
                      <a:pt x="1552" y="163"/>
                    </a:cubicBezTo>
                    <a:cubicBezTo>
                      <a:pt x="1552" y="163"/>
                      <a:pt x="1552" y="164"/>
                      <a:pt x="1552" y="164"/>
                    </a:cubicBezTo>
                    <a:cubicBezTo>
                      <a:pt x="1552" y="164"/>
                      <a:pt x="1552" y="164"/>
                      <a:pt x="1552" y="164"/>
                    </a:cubicBezTo>
                    <a:cubicBezTo>
                      <a:pt x="1552" y="165"/>
                      <a:pt x="1552" y="165"/>
                      <a:pt x="1553" y="165"/>
                    </a:cubicBezTo>
                    <a:cubicBezTo>
                      <a:pt x="1553" y="166"/>
                      <a:pt x="1553" y="166"/>
                      <a:pt x="1553" y="166"/>
                    </a:cubicBezTo>
                    <a:cubicBezTo>
                      <a:pt x="1553" y="166"/>
                      <a:pt x="1553" y="166"/>
                      <a:pt x="1553" y="166"/>
                    </a:cubicBezTo>
                    <a:cubicBezTo>
                      <a:pt x="1553" y="166"/>
                      <a:pt x="1553" y="167"/>
                      <a:pt x="1553" y="167"/>
                    </a:cubicBezTo>
                    <a:cubicBezTo>
                      <a:pt x="1553" y="167"/>
                      <a:pt x="1553" y="167"/>
                      <a:pt x="1553" y="167"/>
                    </a:cubicBezTo>
                    <a:cubicBezTo>
                      <a:pt x="1554" y="168"/>
                      <a:pt x="1553" y="168"/>
                      <a:pt x="1554" y="169"/>
                    </a:cubicBezTo>
                    <a:cubicBezTo>
                      <a:pt x="1554" y="169"/>
                      <a:pt x="1554" y="169"/>
                      <a:pt x="1554" y="169"/>
                    </a:cubicBezTo>
                    <a:cubicBezTo>
                      <a:pt x="1554" y="169"/>
                      <a:pt x="1554" y="170"/>
                      <a:pt x="1554" y="170"/>
                    </a:cubicBezTo>
                    <a:cubicBezTo>
                      <a:pt x="1555" y="170"/>
                      <a:pt x="1555" y="170"/>
                      <a:pt x="1555" y="170"/>
                    </a:cubicBezTo>
                    <a:cubicBezTo>
                      <a:pt x="1555" y="170"/>
                      <a:pt x="1555" y="170"/>
                      <a:pt x="1555" y="170"/>
                    </a:cubicBezTo>
                    <a:cubicBezTo>
                      <a:pt x="1555" y="171"/>
                      <a:pt x="1555" y="171"/>
                      <a:pt x="1555" y="172"/>
                    </a:cubicBezTo>
                    <a:cubicBezTo>
                      <a:pt x="1555" y="172"/>
                      <a:pt x="1555" y="172"/>
                      <a:pt x="1555" y="172"/>
                    </a:cubicBezTo>
                    <a:cubicBezTo>
                      <a:pt x="1555" y="172"/>
                      <a:pt x="1555" y="173"/>
                      <a:pt x="1556" y="173"/>
                    </a:cubicBezTo>
                    <a:cubicBezTo>
                      <a:pt x="1556" y="173"/>
                      <a:pt x="1556" y="173"/>
                      <a:pt x="1556" y="173"/>
                    </a:cubicBezTo>
                    <a:cubicBezTo>
                      <a:pt x="1556" y="174"/>
                      <a:pt x="1556" y="174"/>
                      <a:pt x="1556" y="175"/>
                    </a:cubicBezTo>
                    <a:cubicBezTo>
                      <a:pt x="1556" y="175"/>
                      <a:pt x="1556" y="175"/>
                      <a:pt x="1556" y="175"/>
                    </a:cubicBezTo>
                    <a:cubicBezTo>
                      <a:pt x="1557" y="175"/>
                      <a:pt x="1556" y="176"/>
                      <a:pt x="1557" y="176"/>
                    </a:cubicBezTo>
                    <a:cubicBezTo>
                      <a:pt x="1557" y="176"/>
                      <a:pt x="1557" y="176"/>
                      <a:pt x="1557" y="176"/>
                    </a:cubicBezTo>
                    <a:cubicBezTo>
                      <a:pt x="1557" y="177"/>
                      <a:pt x="1557" y="177"/>
                      <a:pt x="1557" y="178"/>
                    </a:cubicBezTo>
                    <a:cubicBezTo>
                      <a:pt x="1557" y="178"/>
                      <a:pt x="1557" y="178"/>
                      <a:pt x="1557" y="178"/>
                    </a:cubicBezTo>
                    <a:cubicBezTo>
                      <a:pt x="1558" y="178"/>
                      <a:pt x="1558" y="179"/>
                      <a:pt x="1558" y="179"/>
                    </a:cubicBezTo>
                    <a:cubicBezTo>
                      <a:pt x="1558" y="179"/>
                      <a:pt x="1558" y="179"/>
                      <a:pt x="1558" y="179"/>
                    </a:cubicBezTo>
                    <a:cubicBezTo>
                      <a:pt x="1558" y="180"/>
                      <a:pt x="1558" y="181"/>
                      <a:pt x="1559" y="181"/>
                    </a:cubicBezTo>
                    <a:cubicBezTo>
                      <a:pt x="1559" y="181"/>
                      <a:pt x="1559" y="181"/>
                      <a:pt x="1559" y="181"/>
                    </a:cubicBezTo>
                    <a:cubicBezTo>
                      <a:pt x="1559" y="181"/>
                      <a:pt x="1559" y="182"/>
                      <a:pt x="1559" y="182"/>
                    </a:cubicBezTo>
                    <a:cubicBezTo>
                      <a:pt x="1559" y="182"/>
                      <a:pt x="1559" y="182"/>
                      <a:pt x="1559" y="182"/>
                    </a:cubicBezTo>
                    <a:cubicBezTo>
                      <a:pt x="1559" y="183"/>
                      <a:pt x="1559" y="183"/>
                      <a:pt x="1560" y="184"/>
                    </a:cubicBezTo>
                    <a:cubicBezTo>
                      <a:pt x="1560" y="184"/>
                      <a:pt x="1560" y="184"/>
                      <a:pt x="1560" y="184"/>
                    </a:cubicBezTo>
                    <a:cubicBezTo>
                      <a:pt x="1560" y="184"/>
                      <a:pt x="1560" y="185"/>
                      <a:pt x="1560" y="186"/>
                    </a:cubicBezTo>
                    <a:cubicBezTo>
                      <a:pt x="1560" y="186"/>
                      <a:pt x="1560" y="186"/>
                      <a:pt x="1560" y="186"/>
                    </a:cubicBezTo>
                    <a:cubicBezTo>
                      <a:pt x="1561" y="186"/>
                      <a:pt x="1560" y="186"/>
                      <a:pt x="1561" y="187"/>
                    </a:cubicBezTo>
                    <a:cubicBezTo>
                      <a:pt x="1561" y="187"/>
                      <a:pt x="1561" y="187"/>
                      <a:pt x="1561" y="187"/>
                    </a:cubicBezTo>
                    <a:cubicBezTo>
                      <a:pt x="1561" y="187"/>
                      <a:pt x="1561" y="187"/>
                      <a:pt x="1561" y="187"/>
                    </a:cubicBezTo>
                    <a:cubicBezTo>
                      <a:pt x="1561" y="188"/>
                      <a:pt x="1561" y="188"/>
                      <a:pt x="1561" y="188"/>
                    </a:cubicBezTo>
                    <a:cubicBezTo>
                      <a:pt x="1561" y="188"/>
                      <a:pt x="1561" y="188"/>
                      <a:pt x="1561" y="188"/>
                    </a:cubicBezTo>
                    <a:cubicBezTo>
                      <a:pt x="1562" y="189"/>
                      <a:pt x="1561" y="190"/>
                      <a:pt x="1562" y="190"/>
                    </a:cubicBezTo>
                    <a:cubicBezTo>
                      <a:pt x="1562" y="190"/>
                      <a:pt x="1562" y="190"/>
                      <a:pt x="1562" y="190"/>
                    </a:cubicBezTo>
                    <a:cubicBezTo>
                      <a:pt x="1562" y="190"/>
                      <a:pt x="1562" y="191"/>
                      <a:pt x="1562" y="191"/>
                    </a:cubicBezTo>
                    <a:cubicBezTo>
                      <a:pt x="1563" y="191"/>
                      <a:pt x="1563" y="191"/>
                      <a:pt x="1563" y="191"/>
                    </a:cubicBezTo>
                    <a:cubicBezTo>
                      <a:pt x="1563" y="192"/>
                      <a:pt x="1563" y="192"/>
                      <a:pt x="1563" y="192"/>
                    </a:cubicBezTo>
                    <a:cubicBezTo>
                      <a:pt x="1563" y="192"/>
                      <a:pt x="1563" y="193"/>
                      <a:pt x="1563" y="193"/>
                    </a:cubicBezTo>
                    <a:cubicBezTo>
                      <a:pt x="1563" y="193"/>
                      <a:pt x="1563" y="193"/>
                      <a:pt x="1563" y="193"/>
                    </a:cubicBezTo>
                    <a:cubicBezTo>
                      <a:pt x="1563" y="193"/>
                      <a:pt x="1563" y="194"/>
                      <a:pt x="1564" y="194"/>
                    </a:cubicBezTo>
                    <a:cubicBezTo>
                      <a:pt x="1564" y="194"/>
                      <a:pt x="1564" y="194"/>
                      <a:pt x="1564" y="195"/>
                    </a:cubicBezTo>
                    <a:cubicBezTo>
                      <a:pt x="1564" y="195"/>
                      <a:pt x="1564" y="196"/>
                      <a:pt x="1564" y="196"/>
                    </a:cubicBezTo>
                    <a:cubicBezTo>
                      <a:pt x="1564" y="196"/>
                      <a:pt x="1564" y="196"/>
                      <a:pt x="1564" y="196"/>
                    </a:cubicBezTo>
                    <a:cubicBezTo>
                      <a:pt x="1565" y="196"/>
                      <a:pt x="1564" y="197"/>
                      <a:pt x="1565" y="198"/>
                    </a:cubicBezTo>
                    <a:cubicBezTo>
                      <a:pt x="1565" y="198"/>
                      <a:pt x="1565" y="198"/>
                      <a:pt x="1565" y="198"/>
                    </a:cubicBezTo>
                    <a:cubicBezTo>
                      <a:pt x="1565" y="198"/>
                      <a:pt x="1565" y="198"/>
                      <a:pt x="1565" y="199"/>
                    </a:cubicBezTo>
                    <a:cubicBezTo>
                      <a:pt x="1566" y="199"/>
                      <a:pt x="1566" y="199"/>
                      <a:pt x="1565" y="199"/>
                    </a:cubicBezTo>
                    <a:cubicBezTo>
                      <a:pt x="1566" y="200"/>
                      <a:pt x="1566" y="200"/>
                      <a:pt x="1566" y="201"/>
                    </a:cubicBezTo>
                    <a:cubicBezTo>
                      <a:pt x="1566" y="201"/>
                      <a:pt x="1566" y="201"/>
                      <a:pt x="1566" y="201"/>
                    </a:cubicBezTo>
                    <a:cubicBezTo>
                      <a:pt x="1567" y="201"/>
                      <a:pt x="1566" y="202"/>
                      <a:pt x="1567" y="202"/>
                    </a:cubicBezTo>
                    <a:cubicBezTo>
                      <a:pt x="1567" y="202"/>
                      <a:pt x="1567" y="202"/>
                      <a:pt x="1567" y="202"/>
                    </a:cubicBezTo>
                    <a:cubicBezTo>
                      <a:pt x="1567" y="203"/>
                      <a:pt x="1567" y="203"/>
                      <a:pt x="1567" y="203"/>
                    </a:cubicBezTo>
                    <a:cubicBezTo>
                      <a:pt x="1567" y="204"/>
                      <a:pt x="1567" y="204"/>
                      <a:pt x="1567" y="204"/>
                    </a:cubicBezTo>
                    <a:cubicBezTo>
                      <a:pt x="1567" y="204"/>
                      <a:pt x="1567" y="205"/>
                      <a:pt x="1568" y="205"/>
                    </a:cubicBezTo>
                    <a:cubicBezTo>
                      <a:pt x="1568" y="205"/>
                      <a:pt x="1568" y="205"/>
                      <a:pt x="1568" y="205"/>
                    </a:cubicBezTo>
                    <a:cubicBezTo>
                      <a:pt x="1568" y="206"/>
                      <a:pt x="1568" y="206"/>
                      <a:pt x="1568" y="207"/>
                    </a:cubicBezTo>
                    <a:cubicBezTo>
                      <a:pt x="1568" y="207"/>
                      <a:pt x="1568" y="207"/>
                      <a:pt x="1568" y="207"/>
                    </a:cubicBezTo>
                    <a:cubicBezTo>
                      <a:pt x="1569" y="207"/>
                      <a:pt x="1570" y="207"/>
                      <a:pt x="1570" y="207"/>
                    </a:cubicBezTo>
                    <a:cubicBezTo>
                      <a:pt x="1575" y="207"/>
                      <a:pt x="1580" y="207"/>
                      <a:pt x="1585" y="207"/>
                    </a:cubicBezTo>
                    <a:cubicBezTo>
                      <a:pt x="1585" y="207"/>
                      <a:pt x="1586" y="207"/>
                      <a:pt x="1587" y="207"/>
                    </a:cubicBezTo>
                    <a:cubicBezTo>
                      <a:pt x="1587" y="207"/>
                      <a:pt x="1587" y="206"/>
                      <a:pt x="1587" y="206"/>
                    </a:cubicBezTo>
                    <a:cubicBezTo>
                      <a:pt x="1587" y="206"/>
                      <a:pt x="1587" y="205"/>
                      <a:pt x="1587" y="205"/>
                    </a:cubicBezTo>
                    <a:cubicBezTo>
                      <a:pt x="1587" y="205"/>
                      <a:pt x="1587" y="205"/>
                      <a:pt x="1587" y="205"/>
                    </a:cubicBezTo>
                    <a:cubicBezTo>
                      <a:pt x="1588" y="205"/>
                      <a:pt x="1588" y="204"/>
                      <a:pt x="1588" y="204"/>
                    </a:cubicBezTo>
                    <a:cubicBezTo>
                      <a:pt x="1588" y="204"/>
                      <a:pt x="1588" y="204"/>
                      <a:pt x="1588" y="203"/>
                    </a:cubicBezTo>
                    <a:cubicBezTo>
                      <a:pt x="1588" y="203"/>
                      <a:pt x="1588" y="203"/>
                      <a:pt x="1588" y="202"/>
                    </a:cubicBezTo>
                    <a:cubicBezTo>
                      <a:pt x="1588" y="202"/>
                      <a:pt x="1588" y="202"/>
                      <a:pt x="1588" y="202"/>
                    </a:cubicBezTo>
                    <a:cubicBezTo>
                      <a:pt x="1589" y="202"/>
                      <a:pt x="1589" y="201"/>
                      <a:pt x="1589" y="201"/>
                    </a:cubicBezTo>
                    <a:cubicBezTo>
                      <a:pt x="1589" y="201"/>
                      <a:pt x="1589" y="201"/>
                      <a:pt x="1589" y="201"/>
                    </a:cubicBezTo>
                    <a:cubicBezTo>
                      <a:pt x="1589" y="200"/>
                      <a:pt x="1589" y="200"/>
                      <a:pt x="1590" y="199"/>
                    </a:cubicBezTo>
                    <a:cubicBezTo>
                      <a:pt x="1590" y="199"/>
                      <a:pt x="1590" y="199"/>
                      <a:pt x="1590" y="199"/>
                    </a:cubicBezTo>
                    <a:cubicBezTo>
                      <a:pt x="1590" y="199"/>
                      <a:pt x="1590" y="198"/>
                      <a:pt x="1590" y="198"/>
                    </a:cubicBezTo>
                    <a:cubicBezTo>
                      <a:pt x="1590" y="198"/>
                      <a:pt x="1590" y="198"/>
                      <a:pt x="1590" y="198"/>
                    </a:cubicBezTo>
                    <a:cubicBezTo>
                      <a:pt x="1590" y="197"/>
                      <a:pt x="1590" y="197"/>
                      <a:pt x="1591" y="196"/>
                    </a:cubicBezTo>
                    <a:cubicBezTo>
                      <a:pt x="1591" y="197"/>
                      <a:pt x="1591" y="197"/>
                      <a:pt x="1591" y="197"/>
                    </a:cubicBezTo>
                    <a:cubicBezTo>
                      <a:pt x="1591" y="196"/>
                      <a:pt x="1591" y="196"/>
                      <a:pt x="1591" y="195"/>
                    </a:cubicBezTo>
                    <a:cubicBezTo>
                      <a:pt x="1591" y="195"/>
                      <a:pt x="1591" y="195"/>
                      <a:pt x="1591" y="195"/>
                    </a:cubicBezTo>
                    <a:cubicBezTo>
                      <a:pt x="1592" y="194"/>
                      <a:pt x="1592" y="194"/>
                      <a:pt x="1592" y="194"/>
                    </a:cubicBezTo>
                    <a:cubicBezTo>
                      <a:pt x="1592" y="194"/>
                      <a:pt x="1592" y="194"/>
                      <a:pt x="1592" y="194"/>
                    </a:cubicBezTo>
                    <a:cubicBezTo>
                      <a:pt x="1592" y="193"/>
                      <a:pt x="1592" y="193"/>
                      <a:pt x="1592" y="192"/>
                    </a:cubicBezTo>
                    <a:cubicBezTo>
                      <a:pt x="1592" y="192"/>
                      <a:pt x="1592" y="192"/>
                      <a:pt x="1593" y="192"/>
                    </a:cubicBezTo>
                    <a:cubicBezTo>
                      <a:pt x="1593" y="192"/>
                      <a:pt x="1593" y="191"/>
                      <a:pt x="1593" y="191"/>
                    </a:cubicBezTo>
                    <a:cubicBezTo>
                      <a:pt x="1593" y="191"/>
                      <a:pt x="1593" y="191"/>
                      <a:pt x="1593" y="191"/>
                    </a:cubicBezTo>
                    <a:cubicBezTo>
                      <a:pt x="1593" y="190"/>
                      <a:pt x="1593" y="190"/>
                      <a:pt x="1594" y="189"/>
                    </a:cubicBezTo>
                    <a:cubicBezTo>
                      <a:pt x="1593" y="189"/>
                      <a:pt x="1593" y="189"/>
                      <a:pt x="1594" y="189"/>
                    </a:cubicBezTo>
                    <a:cubicBezTo>
                      <a:pt x="1594" y="189"/>
                      <a:pt x="1594" y="188"/>
                      <a:pt x="1594" y="188"/>
                    </a:cubicBezTo>
                    <a:cubicBezTo>
                      <a:pt x="1594" y="188"/>
                      <a:pt x="1594" y="188"/>
                      <a:pt x="1594" y="188"/>
                    </a:cubicBezTo>
                    <a:cubicBezTo>
                      <a:pt x="1595" y="187"/>
                      <a:pt x="1595" y="187"/>
                      <a:pt x="1595" y="187"/>
                    </a:cubicBezTo>
                    <a:cubicBezTo>
                      <a:pt x="1595" y="186"/>
                      <a:pt x="1595" y="186"/>
                      <a:pt x="1595" y="186"/>
                    </a:cubicBezTo>
                    <a:cubicBezTo>
                      <a:pt x="1595" y="186"/>
                      <a:pt x="1595" y="185"/>
                      <a:pt x="1595" y="185"/>
                    </a:cubicBezTo>
                    <a:cubicBezTo>
                      <a:pt x="1595" y="185"/>
                      <a:pt x="1595" y="185"/>
                      <a:pt x="1595" y="185"/>
                    </a:cubicBezTo>
                    <a:cubicBezTo>
                      <a:pt x="1596" y="185"/>
                      <a:pt x="1596" y="184"/>
                      <a:pt x="1596" y="184"/>
                    </a:cubicBezTo>
                    <a:cubicBezTo>
                      <a:pt x="1596" y="183"/>
                      <a:pt x="1596" y="183"/>
                      <a:pt x="1596" y="183"/>
                    </a:cubicBezTo>
                    <a:cubicBezTo>
                      <a:pt x="1596" y="183"/>
                      <a:pt x="1596" y="182"/>
                      <a:pt x="1596" y="182"/>
                    </a:cubicBezTo>
                    <a:cubicBezTo>
                      <a:pt x="1596" y="182"/>
                      <a:pt x="1596" y="182"/>
                      <a:pt x="1596" y="182"/>
                    </a:cubicBezTo>
                    <a:cubicBezTo>
                      <a:pt x="1597" y="182"/>
                      <a:pt x="1597" y="181"/>
                      <a:pt x="1597" y="181"/>
                    </a:cubicBezTo>
                    <a:cubicBezTo>
                      <a:pt x="1597" y="181"/>
                      <a:pt x="1597" y="180"/>
                      <a:pt x="1597" y="180"/>
                    </a:cubicBezTo>
                    <a:cubicBezTo>
                      <a:pt x="1597" y="180"/>
                      <a:pt x="1597" y="180"/>
                      <a:pt x="1598" y="179"/>
                    </a:cubicBezTo>
                    <a:cubicBezTo>
                      <a:pt x="1598" y="179"/>
                      <a:pt x="1598" y="179"/>
                      <a:pt x="1598" y="179"/>
                    </a:cubicBezTo>
                    <a:cubicBezTo>
                      <a:pt x="1598" y="179"/>
                      <a:pt x="1598" y="178"/>
                      <a:pt x="1598" y="178"/>
                    </a:cubicBezTo>
                    <a:cubicBezTo>
                      <a:pt x="1598" y="178"/>
                      <a:pt x="1598" y="178"/>
                      <a:pt x="1598" y="178"/>
                    </a:cubicBezTo>
                    <a:cubicBezTo>
                      <a:pt x="1599" y="177"/>
                      <a:pt x="1598" y="177"/>
                      <a:pt x="1599" y="176"/>
                    </a:cubicBezTo>
                    <a:cubicBezTo>
                      <a:pt x="1599" y="176"/>
                      <a:pt x="1599" y="176"/>
                      <a:pt x="1599" y="176"/>
                    </a:cubicBezTo>
                    <a:cubicBezTo>
                      <a:pt x="1599" y="176"/>
                      <a:pt x="1599" y="175"/>
                      <a:pt x="1599" y="175"/>
                    </a:cubicBezTo>
                    <a:cubicBezTo>
                      <a:pt x="1599" y="175"/>
                      <a:pt x="1599" y="175"/>
                      <a:pt x="1599" y="175"/>
                    </a:cubicBezTo>
                    <a:cubicBezTo>
                      <a:pt x="1600" y="174"/>
                      <a:pt x="1600" y="174"/>
                      <a:pt x="1600" y="173"/>
                    </a:cubicBezTo>
                    <a:cubicBezTo>
                      <a:pt x="1600" y="173"/>
                      <a:pt x="1600" y="173"/>
                      <a:pt x="1600" y="173"/>
                    </a:cubicBezTo>
                    <a:cubicBezTo>
                      <a:pt x="1600" y="173"/>
                      <a:pt x="1600" y="173"/>
                      <a:pt x="1600" y="172"/>
                    </a:cubicBezTo>
                    <a:cubicBezTo>
                      <a:pt x="1600" y="172"/>
                      <a:pt x="1600" y="172"/>
                      <a:pt x="1601" y="172"/>
                    </a:cubicBezTo>
                    <a:cubicBezTo>
                      <a:pt x="1601" y="171"/>
                      <a:pt x="1601" y="171"/>
                      <a:pt x="1601" y="171"/>
                    </a:cubicBezTo>
                    <a:cubicBezTo>
                      <a:pt x="1601" y="171"/>
                      <a:pt x="1601" y="171"/>
                      <a:pt x="1601" y="171"/>
                    </a:cubicBezTo>
                    <a:cubicBezTo>
                      <a:pt x="1601" y="170"/>
                      <a:pt x="1601" y="170"/>
                      <a:pt x="1602" y="169"/>
                    </a:cubicBezTo>
                    <a:cubicBezTo>
                      <a:pt x="1602" y="169"/>
                      <a:pt x="1602" y="169"/>
                      <a:pt x="1602" y="169"/>
                    </a:cubicBezTo>
                    <a:cubicBezTo>
                      <a:pt x="1602" y="169"/>
                      <a:pt x="1602" y="169"/>
                      <a:pt x="1602" y="169"/>
                    </a:cubicBezTo>
                    <a:cubicBezTo>
                      <a:pt x="1602" y="169"/>
                      <a:pt x="1602" y="168"/>
                      <a:pt x="1602" y="168"/>
                    </a:cubicBezTo>
                    <a:cubicBezTo>
                      <a:pt x="1602" y="168"/>
                      <a:pt x="1602" y="168"/>
                      <a:pt x="1602" y="168"/>
                    </a:cubicBezTo>
                    <a:cubicBezTo>
                      <a:pt x="1603" y="167"/>
                      <a:pt x="1603" y="167"/>
                      <a:pt x="1603" y="166"/>
                    </a:cubicBezTo>
                    <a:cubicBezTo>
                      <a:pt x="1603" y="166"/>
                      <a:pt x="1603" y="166"/>
                      <a:pt x="1603" y="166"/>
                    </a:cubicBezTo>
                    <a:cubicBezTo>
                      <a:pt x="1603" y="166"/>
                      <a:pt x="1603" y="166"/>
                      <a:pt x="1603" y="166"/>
                    </a:cubicBezTo>
                    <a:cubicBezTo>
                      <a:pt x="1603" y="166"/>
                      <a:pt x="1603" y="165"/>
                      <a:pt x="1603" y="165"/>
                    </a:cubicBezTo>
                    <a:cubicBezTo>
                      <a:pt x="1603" y="165"/>
                      <a:pt x="1603" y="165"/>
                      <a:pt x="1603" y="165"/>
                    </a:cubicBezTo>
                    <a:cubicBezTo>
                      <a:pt x="1604" y="164"/>
                      <a:pt x="1604" y="164"/>
                      <a:pt x="1604" y="163"/>
                    </a:cubicBezTo>
                    <a:cubicBezTo>
                      <a:pt x="1604" y="163"/>
                      <a:pt x="1604" y="163"/>
                      <a:pt x="1604" y="163"/>
                    </a:cubicBezTo>
                    <a:cubicBezTo>
                      <a:pt x="1604" y="163"/>
                      <a:pt x="1604" y="163"/>
                      <a:pt x="1604" y="163"/>
                    </a:cubicBezTo>
                    <a:cubicBezTo>
                      <a:pt x="1604" y="163"/>
                      <a:pt x="1604" y="162"/>
                      <a:pt x="1605" y="162"/>
                    </a:cubicBezTo>
                    <a:cubicBezTo>
                      <a:pt x="1604" y="162"/>
                      <a:pt x="1604" y="162"/>
                      <a:pt x="1604" y="162"/>
                    </a:cubicBezTo>
                    <a:cubicBezTo>
                      <a:pt x="1605" y="162"/>
                      <a:pt x="1605" y="161"/>
                      <a:pt x="1605" y="160"/>
                    </a:cubicBezTo>
                    <a:cubicBezTo>
                      <a:pt x="1605" y="160"/>
                      <a:pt x="1605" y="160"/>
                      <a:pt x="1605" y="160"/>
                    </a:cubicBezTo>
                    <a:cubicBezTo>
                      <a:pt x="1605" y="160"/>
                      <a:pt x="1605" y="159"/>
                      <a:pt x="1606" y="159"/>
                    </a:cubicBezTo>
                    <a:cubicBezTo>
                      <a:pt x="1606" y="159"/>
                      <a:pt x="1606" y="159"/>
                      <a:pt x="1606" y="159"/>
                    </a:cubicBezTo>
                    <a:cubicBezTo>
                      <a:pt x="1606" y="159"/>
                      <a:pt x="1606" y="158"/>
                      <a:pt x="1606" y="157"/>
                    </a:cubicBezTo>
                    <a:cubicBezTo>
                      <a:pt x="1606" y="157"/>
                      <a:pt x="1606" y="157"/>
                      <a:pt x="1606" y="157"/>
                    </a:cubicBezTo>
                    <a:cubicBezTo>
                      <a:pt x="1607" y="157"/>
                      <a:pt x="1607" y="157"/>
                      <a:pt x="1607" y="156"/>
                    </a:cubicBezTo>
                    <a:cubicBezTo>
                      <a:pt x="1607" y="156"/>
                      <a:pt x="1607" y="156"/>
                      <a:pt x="1607" y="156"/>
                    </a:cubicBezTo>
                    <a:cubicBezTo>
                      <a:pt x="1607" y="156"/>
                      <a:pt x="1607" y="155"/>
                      <a:pt x="1607" y="155"/>
                    </a:cubicBezTo>
                    <a:cubicBezTo>
                      <a:pt x="1607" y="154"/>
                      <a:pt x="1607" y="154"/>
                      <a:pt x="1607" y="154"/>
                    </a:cubicBezTo>
                    <a:cubicBezTo>
                      <a:pt x="1608" y="154"/>
                      <a:pt x="1608" y="154"/>
                      <a:pt x="1608" y="153"/>
                    </a:cubicBezTo>
                    <a:cubicBezTo>
                      <a:pt x="1608" y="153"/>
                      <a:pt x="1608" y="153"/>
                      <a:pt x="1608" y="153"/>
                    </a:cubicBezTo>
                    <a:cubicBezTo>
                      <a:pt x="1609" y="153"/>
                      <a:pt x="1608" y="152"/>
                      <a:pt x="1609" y="152"/>
                    </a:cubicBezTo>
                    <a:cubicBezTo>
                      <a:pt x="1609" y="152"/>
                      <a:pt x="1609" y="152"/>
                      <a:pt x="1609" y="152"/>
                    </a:cubicBezTo>
                    <a:cubicBezTo>
                      <a:pt x="1609" y="151"/>
                      <a:pt x="1609" y="151"/>
                      <a:pt x="1609" y="150"/>
                    </a:cubicBezTo>
                    <a:cubicBezTo>
                      <a:pt x="1609" y="150"/>
                      <a:pt x="1609" y="150"/>
                      <a:pt x="1609" y="150"/>
                    </a:cubicBezTo>
                    <a:cubicBezTo>
                      <a:pt x="1610" y="150"/>
                      <a:pt x="1609" y="149"/>
                      <a:pt x="1610" y="149"/>
                    </a:cubicBezTo>
                    <a:cubicBezTo>
                      <a:pt x="1610" y="149"/>
                      <a:pt x="1610" y="149"/>
                      <a:pt x="1610" y="149"/>
                    </a:cubicBezTo>
                    <a:cubicBezTo>
                      <a:pt x="1610" y="148"/>
                      <a:pt x="1610" y="148"/>
                      <a:pt x="1610" y="147"/>
                    </a:cubicBezTo>
                    <a:cubicBezTo>
                      <a:pt x="1610" y="148"/>
                      <a:pt x="1610" y="148"/>
                      <a:pt x="1610" y="148"/>
                    </a:cubicBezTo>
                    <a:cubicBezTo>
                      <a:pt x="1611" y="147"/>
                      <a:pt x="1610" y="146"/>
                      <a:pt x="1611" y="146"/>
                    </a:cubicBezTo>
                    <a:cubicBezTo>
                      <a:pt x="1611" y="146"/>
                      <a:pt x="1611" y="146"/>
                      <a:pt x="1611" y="146"/>
                    </a:cubicBezTo>
                    <a:cubicBezTo>
                      <a:pt x="1611" y="145"/>
                      <a:pt x="1611" y="145"/>
                      <a:pt x="1611" y="145"/>
                    </a:cubicBezTo>
                    <a:cubicBezTo>
                      <a:pt x="1611" y="145"/>
                      <a:pt x="1611" y="145"/>
                      <a:pt x="1611" y="145"/>
                    </a:cubicBezTo>
                    <a:cubicBezTo>
                      <a:pt x="1612" y="144"/>
                      <a:pt x="1611" y="143"/>
                      <a:pt x="1612" y="143"/>
                    </a:cubicBezTo>
                    <a:cubicBezTo>
                      <a:pt x="1612" y="143"/>
                      <a:pt x="1612" y="143"/>
                      <a:pt x="1612" y="143"/>
                    </a:cubicBezTo>
                    <a:cubicBezTo>
                      <a:pt x="1612" y="143"/>
                      <a:pt x="1612" y="142"/>
                      <a:pt x="1613" y="142"/>
                    </a:cubicBezTo>
                    <a:cubicBezTo>
                      <a:pt x="1613" y="142"/>
                      <a:pt x="1613" y="142"/>
                      <a:pt x="1613" y="142"/>
                    </a:cubicBezTo>
                    <a:cubicBezTo>
                      <a:pt x="1613" y="141"/>
                      <a:pt x="1613" y="141"/>
                      <a:pt x="1613" y="140"/>
                    </a:cubicBezTo>
                    <a:cubicBezTo>
                      <a:pt x="1613" y="140"/>
                      <a:pt x="1613" y="140"/>
                      <a:pt x="1613" y="140"/>
                    </a:cubicBezTo>
                    <a:cubicBezTo>
                      <a:pt x="1614" y="140"/>
                      <a:pt x="1613" y="139"/>
                      <a:pt x="1614" y="139"/>
                    </a:cubicBezTo>
                    <a:cubicBezTo>
                      <a:pt x="1614" y="139"/>
                      <a:pt x="1614" y="139"/>
                      <a:pt x="1614" y="139"/>
                    </a:cubicBezTo>
                    <a:cubicBezTo>
                      <a:pt x="1614" y="139"/>
                      <a:pt x="1614" y="138"/>
                      <a:pt x="1614" y="137"/>
                    </a:cubicBezTo>
                    <a:cubicBezTo>
                      <a:pt x="1614" y="137"/>
                      <a:pt x="1614" y="137"/>
                      <a:pt x="1614" y="137"/>
                    </a:cubicBezTo>
                    <a:cubicBezTo>
                      <a:pt x="1615" y="137"/>
                      <a:pt x="1615" y="136"/>
                      <a:pt x="1615" y="136"/>
                    </a:cubicBezTo>
                    <a:cubicBezTo>
                      <a:pt x="1615" y="136"/>
                      <a:pt x="1615" y="136"/>
                      <a:pt x="1615" y="136"/>
                    </a:cubicBezTo>
                    <a:cubicBezTo>
                      <a:pt x="1615" y="136"/>
                      <a:pt x="1615" y="135"/>
                      <a:pt x="1615" y="134"/>
                    </a:cubicBezTo>
                    <a:cubicBezTo>
                      <a:pt x="1615" y="134"/>
                      <a:pt x="1615" y="134"/>
                      <a:pt x="1615" y="134"/>
                    </a:cubicBezTo>
                    <a:cubicBezTo>
                      <a:pt x="1616" y="134"/>
                      <a:pt x="1616" y="133"/>
                      <a:pt x="1616" y="133"/>
                    </a:cubicBezTo>
                    <a:cubicBezTo>
                      <a:pt x="1616" y="133"/>
                      <a:pt x="1616" y="133"/>
                      <a:pt x="1616" y="133"/>
                    </a:cubicBezTo>
                    <a:cubicBezTo>
                      <a:pt x="1616" y="132"/>
                      <a:pt x="1616" y="132"/>
                      <a:pt x="1617" y="131"/>
                    </a:cubicBezTo>
                    <a:cubicBezTo>
                      <a:pt x="1617" y="131"/>
                      <a:pt x="1617" y="131"/>
                      <a:pt x="1617" y="131"/>
                    </a:cubicBezTo>
                    <a:cubicBezTo>
                      <a:pt x="1617" y="131"/>
                      <a:pt x="1617" y="131"/>
                      <a:pt x="1617" y="130"/>
                    </a:cubicBezTo>
                    <a:cubicBezTo>
                      <a:pt x="1617" y="130"/>
                      <a:pt x="1617" y="130"/>
                      <a:pt x="1617" y="130"/>
                    </a:cubicBezTo>
                    <a:cubicBezTo>
                      <a:pt x="1618" y="129"/>
                      <a:pt x="1617" y="129"/>
                      <a:pt x="1618" y="129"/>
                    </a:cubicBezTo>
                    <a:cubicBezTo>
                      <a:pt x="1618" y="129"/>
                      <a:pt x="1618" y="129"/>
                      <a:pt x="1618" y="129"/>
                    </a:cubicBezTo>
                    <a:cubicBezTo>
                      <a:pt x="1618" y="128"/>
                      <a:pt x="1618" y="128"/>
                      <a:pt x="1618" y="127"/>
                    </a:cubicBezTo>
                    <a:cubicBezTo>
                      <a:pt x="1618" y="127"/>
                      <a:pt x="1618" y="127"/>
                      <a:pt x="1618" y="127"/>
                    </a:cubicBezTo>
                    <a:cubicBezTo>
                      <a:pt x="1619" y="126"/>
                      <a:pt x="1619" y="126"/>
                      <a:pt x="1619" y="126"/>
                    </a:cubicBezTo>
                    <a:cubicBezTo>
                      <a:pt x="1619" y="126"/>
                      <a:pt x="1619" y="126"/>
                      <a:pt x="1619" y="126"/>
                    </a:cubicBezTo>
                    <a:cubicBezTo>
                      <a:pt x="1619" y="125"/>
                      <a:pt x="1619" y="125"/>
                      <a:pt x="1619" y="124"/>
                    </a:cubicBezTo>
                    <a:cubicBezTo>
                      <a:pt x="1619" y="124"/>
                      <a:pt x="1619" y="124"/>
                      <a:pt x="1620" y="124"/>
                    </a:cubicBezTo>
                    <a:cubicBezTo>
                      <a:pt x="1620" y="124"/>
                      <a:pt x="1620" y="123"/>
                      <a:pt x="1620" y="123"/>
                    </a:cubicBezTo>
                    <a:cubicBezTo>
                      <a:pt x="1620" y="123"/>
                      <a:pt x="1620" y="123"/>
                      <a:pt x="1620" y="123"/>
                    </a:cubicBezTo>
                    <a:cubicBezTo>
                      <a:pt x="1620" y="122"/>
                      <a:pt x="1620" y="122"/>
                      <a:pt x="1621" y="121"/>
                    </a:cubicBezTo>
                    <a:cubicBezTo>
                      <a:pt x="1621" y="121"/>
                      <a:pt x="1621" y="121"/>
                      <a:pt x="1621" y="121"/>
                    </a:cubicBezTo>
                    <a:cubicBezTo>
                      <a:pt x="1621" y="121"/>
                      <a:pt x="1621" y="120"/>
                      <a:pt x="1621" y="120"/>
                    </a:cubicBezTo>
                    <a:cubicBezTo>
                      <a:pt x="1621" y="120"/>
                      <a:pt x="1621" y="120"/>
                      <a:pt x="1621" y="120"/>
                    </a:cubicBezTo>
                    <a:cubicBezTo>
                      <a:pt x="1622" y="120"/>
                      <a:pt x="1622" y="119"/>
                      <a:pt x="1622" y="119"/>
                    </a:cubicBezTo>
                    <a:cubicBezTo>
                      <a:pt x="1622" y="118"/>
                      <a:pt x="1622" y="118"/>
                      <a:pt x="1622" y="118"/>
                    </a:cubicBezTo>
                    <a:cubicBezTo>
                      <a:pt x="1622" y="118"/>
                      <a:pt x="1622" y="117"/>
                      <a:pt x="1622" y="117"/>
                    </a:cubicBezTo>
                    <a:cubicBezTo>
                      <a:pt x="1622" y="117"/>
                      <a:pt x="1622" y="117"/>
                      <a:pt x="1622" y="117"/>
                    </a:cubicBezTo>
                    <a:cubicBezTo>
                      <a:pt x="1623" y="117"/>
                      <a:pt x="1623" y="116"/>
                      <a:pt x="1623" y="116"/>
                    </a:cubicBezTo>
                    <a:cubicBezTo>
                      <a:pt x="1623" y="116"/>
                      <a:pt x="1623" y="115"/>
                      <a:pt x="1623" y="115"/>
                    </a:cubicBezTo>
                    <a:cubicBezTo>
                      <a:pt x="1623" y="115"/>
                      <a:pt x="1623" y="114"/>
                      <a:pt x="1624" y="114"/>
                    </a:cubicBezTo>
                    <a:cubicBezTo>
                      <a:pt x="1624" y="114"/>
                      <a:pt x="1624" y="114"/>
                      <a:pt x="1624" y="114"/>
                    </a:cubicBezTo>
                    <a:cubicBezTo>
                      <a:pt x="1624" y="114"/>
                      <a:pt x="1624" y="113"/>
                      <a:pt x="1624" y="113"/>
                    </a:cubicBezTo>
                    <a:cubicBezTo>
                      <a:pt x="1624" y="113"/>
                      <a:pt x="1624" y="113"/>
                      <a:pt x="1624" y="112"/>
                    </a:cubicBezTo>
                    <a:cubicBezTo>
                      <a:pt x="1624" y="112"/>
                      <a:pt x="1624" y="112"/>
                      <a:pt x="1625" y="111"/>
                    </a:cubicBezTo>
                    <a:cubicBezTo>
                      <a:pt x="1625" y="111"/>
                      <a:pt x="1625" y="111"/>
                      <a:pt x="1625" y="111"/>
                    </a:cubicBezTo>
                    <a:cubicBezTo>
                      <a:pt x="1625" y="111"/>
                      <a:pt x="1625" y="110"/>
                      <a:pt x="1625" y="110"/>
                    </a:cubicBezTo>
                    <a:cubicBezTo>
                      <a:pt x="1625" y="110"/>
                      <a:pt x="1625" y="110"/>
                      <a:pt x="1625" y="110"/>
                    </a:cubicBezTo>
                    <a:cubicBezTo>
                      <a:pt x="1626" y="109"/>
                      <a:pt x="1626" y="109"/>
                      <a:pt x="1626" y="108"/>
                    </a:cubicBezTo>
                    <a:cubicBezTo>
                      <a:pt x="1626" y="108"/>
                      <a:pt x="1626" y="108"/>
                      <a:pt x="1626" y="108"/>
                    </a:cubicBezTo>
                    <a:cubicBezTo>
                      <a:pt x="1626" y="108"/>
                      <a:pt x="1626" y="107"/>
                      <a:pt x="1626" y="107"/>
                    </a:cubicBezTo>
                    <a:cubicBezTo>
                      <a:pt x="1626" y="107"/>
                      <a:pt x="1626" y="107"/>
                      <a:pt x="1626" y="107"/>
                    </a:cubicBezTo>
                    <a:cubicBezTo>
                      <a:pt x="1627" y="106"/>
                      <a:pt x="1627" y="106"/>
                      <a:pt x="1627" y="105"/>
                    </a:cubicBezTo>
                    <a:cubicBezTo>
                      <a:pt x="1627" y="106"/>
                      <a:pt x="1627" y="106"/>
                      <a:pt x="1627" y="106"/>
                    </a:cubicBezTo>
                    <a:cubicBezTo>
                      <a:pt x="1627" y="105"/>
                      <a:pt x="1627" y="105"/>
                      <a:pt x="1628" y="104"/>
                    </a:cubicBezTo>
                    <a:cubicBezTo>
                      <a:pt x="1627" y="104"/>
                      <a:pt x="1627" y="104"/>
                      <a:pt x="1628" y="104"/>
                    </a:cubicBezTo>
                    <a:cubicBezTo>
                      <a:pt x="1628" y="103"/>
                      <a:pt x="1628" y="103"/>
                      <a:pt x="1628" y="103"/>
                    </a:cubicBezTo>
                    <a:cubicBezTo>
                      <a:pt x="1628" y="103"/>
                      <a:pt x="1628" y="103"/>
                      <a:pt x="1628" y="103"/>
                    </a:cubicBezTo>
                    <a:cubicBezTo>
                      <a:pt x="1629" y="102"/>
                      <a:pt x="1628" y="102"/>
                      <a:pt x="1629" y="101"/>
                    </a:cubicBezTo>
                    <a:cubicBezTo>
                      <a:pt x="1629" y="101"/>
                      <a:pt x="1629" y="101"/>
                      <a:pt x="1629" y="101"/>
                    </a:cubicBezTo>
                    <a:cubicBezTo>
                      <a:pt x="1629" y="101"/>
                      <a:pt x="1629" y="100"/>
                      <a:pt x="1629" y="100"/>
                    </a:cubicBezTo>
                    <a:cubicBezTo>
                      <a:pt x="1629" y="100"/>
                      <a:pt x="1629" y="100"/>
                      <a:pt x="1629" y="100"/>
                    </a:cubicBezTo>
                    <a:cubicBezTo>
                      <a:pt x="1630" y="99"/>
                      <a:pt x="1630" y="99"/>
                      <a:pt x="1630" y="98"/>
                    </a:cubicBezTo>
                    <a:cubicBezTo>
                      <a:pt x="1630" y="98"/>
                      <a:pt x="1630" y="98"/>
                      <a:pt x="1630" y="98"/>
                    </a:cubicBezTo>
                    <a:cubicBezTo>
                      <a:pt x="1630" y="98"/>
                      <a:pt x="1630" y="97"/>
                      <a:pt x="1630" y="97"/>
                    </a:cubicBezTo>
                    <a:cubicBezTo>
                      <a:pt x="1630" y="97"/>
                      <a:pt x="1630" y="97"/>
                      <a:pt x="1630" y="97"/>
                    </a:cubicBezTo>
                    <a:cubicBezTo>
                      <a:pt x="1631" y="96"/>
                      <a:pt x="1631" y="96"/>
                      <a:pt x="1630" y="96"/>
                    </a:cubicBezTo>
                    <a:cubicBezTo>
                      <a:pt x="1625" y="96"/>
                      <a:pt x="1620" y="96"/>
                      <a:pt x="1615" y="96"/>
                    </a:cubicBezTo>
                    <a:cubicBezTo>
                      <a:pt x="1614" y="96"/>
                      <a:pt x="1612" y="96"/>
                      <a:pt x="1611" y="96"/>
                    </a:cubicBezTo>
                    <a:cubicBezTo>
                      <a:pt x="1611" y="97"/>
                      <a:pt x="1611" y="97"/>
                      <a:pt x="1611" y="98"/>
                    </a:cubicBezTo>
                    <a:cubicBezTo>
                      <a:pt x="1611" y="98"/>
                      <a:pt x="1611" y="98"/>
                      <a:pt x="1611" y="98"/>
                    </a:cubicBezTo>
                    <a:cubicBezTo>
                      <a:pt x="1611" y="98"/>
                      <a:pt x="1611" y="98"/>
                      <a:pt x="1611" y="98"/>
                    </a:cubicBezTo>
                    <a:cubicBezTo>
                      <a:pt x="1611" y="98"/>
                      <a:pt x="1611" y="99"/>
                      <a:pt x="1610" y="99"/>
                    </a:cubicBezTo>
                    <a:cubicBezTo>
                      <a:pt x="1610" y="100"/>
                      <a:pt x="1610" y="100"/>
                      <a:pt x="1610" y="100"/>
                    </a:cubicBezTo>
                    <a:cubicBezTo>
                      <a:pt x="1610" y="100"/>
                      <a:pt x="1610" y="101"/>
                      <a:pt x="1610" y="101"/>
                    </a:cubicBezTo>
                    <a:cubicBezTo>
                      <a:pt x="1610" y="101"/>
                      <a:pt x="1610" y="101"/>
                      <a:pt x="1610" y="101"/>
                    </a:cubicBezTo>
                    <a:cubicBezTo>
                      <a:pt x="1609" y="101"/>
                      <a:pt x="1610" y="102"/>
                      <a:pt x="1609" y="103"/>
                    </a:cubicBezTo>
                    <a:cubicBezTo>
                      <a:pt x="1609" y="103"/>
                      <a:pt x="1609" y="103"/>
                      <a:pt x="1609" y="103"/>
                    </a:cubicBezTo>
                    <a:cubicBezTo>
                      <a:pt x="1609" y="103"/>
                      <a:pt x="1609" y="104"/>
                      <a:pt x="1609" y="104"/>
                    </a:cubicBezTo>
                    <a:cubicBezTo>
                      <a:pt x="1609" y="104"/>
                      <a:pt x="1609" y="104"/>
                      <a:pt x="1609" y="104"/>
                    </a:cubicBezTo>
                    <a:cubicBezTo>
                      <a:pt x="1608" y="105"/>
                      <a:pt x="1608" y="105"/>
                      <a:pt x="1608" y="106"/>
                    </a:cubicBezTo>
                    <a:cubicBezTo>
                      <a:pt x="1608" y="106"/>
                      <a:pt x="1608" y="106"/>
                      <a:pt x="1608" y="106"/>
                    </a:cubicBezTo>
                    <a:cubicBezTo>
                      <a:pt x="1607" y="106"/>
                      <a:pt x="1608" y="107"/>
                      <a:pt x="1607" y="107"/>
                    </a:cubicBezTo>
                    <a:cubicBezTo>
                      <a:pt x="1607" y="107"/>
                      <a:pt x="1607" y="107"/>
                      <a:pt x="1607" y="107"/>
                    </a:cubicBezTo>
                    <a:cubicBezTo>
                      <a:pt x="1607" y="108"/>
                      <a:pt x="1607" y="109"/>
                      <a:pt x="1607" y="109"/>
                    </a:cubicBezTo>
                    <a:cubicBezTo>
                      <a:pt x="1607" y="109"/>
                      <a:pt x="1607" y="109"/>
                      <a:pt x="1607" y="109"/>
                    </a:cubicBezTo>
                    <a:cubicBezTo>
                      <a:pt x="1607" y="109"/>
                      <a:pt x="1607" y="110"/>
                      <a:pt x="1606" y="110"/>
                    </a:cubicBezTo>
                    <a:cubicBezTo>
                      <a:pt x="1606" y="111"/>
                      <a:pt x="1606" y="111"/>
                      <a:pt x="1606" y="111"/>
                    </a:cubicBezTo>
                    <a:cubicBezTo>
                      <a:pt x="1606" y="111"/>
                      <a:pt x="1606" y="112"/>
                      <a:pt x="1606" y="112"/>
                    </a:cubicBezTo>
                    <a:cubicBezTo>
                      <a:pt x="1606" y="112"/>
                      <a:pt x="1606" y="112"/>
                      <a:pt x="1606" y="112"/>
                    </a:cubicBezTo>
                    <a:cubicBezTo>
                      <a:pt x="1605" y="112"/>
                      <a:pt x="1606" y="113"/>
                      <a:pt x="1605" y="114"/>
                    </a:cubicBezTo>
                    <a:cubicBezTo>
                      <a:pt x="1605" y="114"/>
                      <a:pt x="1605" y="114"/>
                      <a:pt x="1605" y="114"/>
                    </a:cubicBezTo>
                    <a:cubicBezTo>
                      <a:pt x="1605" y="114"/>
                      <a:pt x="1605" y="115"/>
                      <a:pt x="1605" y="115"/>
                    </a:cubicBezTo>
                    <a:cubicBezTo>
                      <a:pt x="1605" y="115"/>
                      <a:pt x="1605" y="115"/>
                      <a:pt x="1605" y="115"/>
                    </a:cubicBezTo>
                    <a:cubicBezTo>
                      <a:pt x="1604" y="116"/>
                      <a:pt x="1604" y="116"/>
                      <a:pt x="1604" y="117"/>
                    </a:cubicBezTo>
                    <a:cubicBezTo>
                      <a:pt x="1604" y="117"/>
                      <a:pt x="1604" y="117"/>
                      <a:pt x="1604" y="117"/>
                    </a:cubicBezTo>
                    <a:cubicBezTo>
                      <a:pt x="1604" y="117"/>
                      <a:pt x="1604" y="118"/>
                      <a:pt x="1603" y="118"/>
                    </a:cubicBezTo>
                    <a:cubicBezTo>
                      <a:pt x="1603" y="118"/>
                      <a:pt x="1603" y="118"/>
                      <a:pt x="1603" y="118"/>
                    </a:cubicBezTo>
                    <a:cubicBezTo>
                      <a:pt x="1603" y="119"/>
                      <a:pt x="1603" y="119"/>
                      <a:pt x="1603" y="120"/>
                    </a:cubicBezTo>
                    <a:cubicBezTo>
                      <a:pt x="1603" y="120"/>
                      <a:pt x="1603" y="120"/>
                      <a:pt x="1603" y="120"/>
                    </a:cubicBezTo>
                    <a:cubicBezTo>
                      <a:pt x="1602" y="120"/>
                      <a:pt x="1602" y="121"/>
                      <a:pt x="1602" y="121"/>
                    </a:cubicBezTo>
                    <a:cubicBezTo>
                      <a:pt x="1602" y="122"/>
                      <a:pt x="1602" y="122"/>
                      <a:pt x="1602" y="122"/>
                    </a:cubicBezTo>
                    <a:cubicBezTo>
                      <a:pt x="1602" y="122"/>
                      <a:pt x="1602" y="122"/>
                      <a:pt x="1602" y="122"/>
                    </a:cubicBezTo>
                    <a:cubicBezTo>
                      <a:pt x="1602" y="122"/>
                      <a:pt x="1602" y="123"/>
                      <a:pt x="1602" y="123"/>
                    </a:cubicBezTo>
                    <a:cubicBezTo>
                      <a:pt x="1602" y="123"/>
                      <a:pt x="1602" y="123"/>
                      <a:pt x="1602" y="123"/>
                    </a:cubicBezTo>
                    <a:cubicBezTo>
                      <a:pt x="1601" y="124"/>
                      <a:pt x="1601" y="124"/>
                      <a:pt x="1601" y="125"/>
                    </a:cubicBezTo>
                    <a:cubicBezTo>
                      <a:pt x="1601" y="125"/>
                      <a:pt x="1601" y="125"/>
                      <a:pt x="1601" y="125"/>
                    </a:cubicBezTo>
                    <a:cubicBezTo>
                      <a:pt x="1601" y="125"/>
                      <a:pt x="1601" y="126"/>
                      <a:pt x="1601" y="126"/>
                    </a:cubicBezTo>
                    <a:cubicBezTo>
                      <a:pt x="1601" y="126"/>
                      <a:pt x="1601" y="126"/>
                      <a:pt x="1601" y="126"/>
                    </a:cubicBezTo>
                    <a:cubicBezTo>
                      <a:pt x="1600" y="127"/>
                      <a:pt x="1600" y="127"/>
                      <a:pt x="1600" y="128"/>
                    </a:cubicBezTo>
                    <a:cubicBezTo>
                      <a:pt x="1600" y="128"/>
                      <a:pt x="1600" y="128"/>
                      <a:pt x="1600" y="128"/>
                    </a:cubicBezTo>
                    <a:cubicBezTo>
                      <a:pt x="1600" y="128"/>
                      <a:pt x="1600" y="128"/>
                      <a:pt x="1600" y="128"/>
                    </a:cubicBezTo>
                    <a:cubicBezTo>
                      <a:pt x="1600" y="128"/>
                      <a:pt x="1600" y="129"/>
                      <a:pt x="1599" y="129"/>
                    </a:cubicBezTo>
                    <a:cubicBezTo>
                      <a:pt x="1600" y="129"/>
                      <a:pt x="1599" y="130"/>
                      <a:pt x="1599" y="130"/>
                    </a:cubicBezTo>
                    <a:cubicBezTo>
                      <a:pt x="1599" y="130"/>
                      <a:pt x="1599" y="131"/>
                      <a:pt x="1599" y="131"/>
                    </a:cubicBezTo>
                    <a:cubicBezTo>
                      <a:pt x="1599" y="131"/>
                      <a:pt x="1599" y="131"/>
                      <a:pt x="1599" y="131"/>
                    </a:cubicBezTo>
                    <a:cubicBezTo>
                      <a:pt x="1598" y="131"/>
                      <a:pt x="1599" y="132"/>
                      <a:pt x="1598" y="133"/>
                    </a:cubicBezTo>
                    <a:cubicBezTo>
                      <a:pt x="1598" y="133"/>
                      <a:pt x="1598" y="133"/>
                      <a:pt x="1598" y="133"/>
                    </a:cubicBezTo>
                    <a:cubicBezTo>
                      <a:pt x="1598" y="133"/>
                      <a:pt x="1598" y="134"/>
                      <a:pt x="1598" y="134"/>
                    </a:cubicBezTo>
                    <a:cubicBezTo>
                      <a:pt x="1598" y="134"/>
                      <a:pt x="1598" y="134"/>
                      <a:pt x="1598" y="134"/>
                    </a:cubicBezTo>
                    <a:cubicBezTo>
                      <a:pt x="1598" y="134"/>
                      <a:pt x="1598" y="134"/>
                      <a:pt x="1598" y="134"/>
                    </a:cubicBezTo>
                    <a:cubicBezTo>
                      <a:pt x="1597" y="135"/>
                      <a:pt x="1597" y="135"/>
                      <a:pt x="1597" y="136"/>
                    </a:cubicBezTo>
                    <a:cubicBezTo>
                      <a:pt x="1597" y="136"/>
                      <a:pt x="1597" y="136"/>
                      <a:pt x="1597" y="136"/>
                    </a:cubicBezTo>
                    <a:cubicBezTo>
                      <a:pt x="1597" y="136"/>
                      <a:pt x="1597" y="137"/>
                      <a:pt x="1597" y="137"/>
                    </a:cubicBezTo>
                    <a:cubicBezTo>
                      <a:pt x="1597" y="137"/>
                      <a:pt x="1597" y="137"/>
                      <a:pt x="1597" y="137"/>
                    </a:cubicBezTo>
                    <a:cubicBezTo>
                      <a:pt x="1596" y="138"/>
                      <a:pt x="1596" y="138"/>
                      <a:pt x="1596" y="139"/>
                    </a:cubicBezTo>
                    <a:cubicBezTo>
                      <a:pt x="1596" y="139"/>
                      <a:pt x="1596" y="139"/>
                      <a:pt x="1596" y="139"/>
                    </a:cubicBezTo>
                    <a:cubicBezTo>
                      <a:pt x="1596" y="139"/>
                      <a:pt x="1596" y="140"/>
                      <a:pt x="1595" y="140"/>
                    </a:cubicBezTo>
                    <a:cubicBezTo>
                      <a:pt x="1596" y="140"/>
                      <a:pt x="1595" y="141"/>
                      <a:pt x="1595" y="141"/>
                    </a:cubicBezTo>
                    <a:cubicBezTo>
                      <a:pt x="1595" y="141"/>
                      <a:pt x="1595" y="142"/>
                      <a:pt x="1595" y="142"/>
                    </a:cubicBezTo>
                    <a:cubicBezTo>
                      <a:pt x="1595" y="142"/>
                      <a:pt x="1595" y="142"/>
                      <a:pt x="1595" y="142"/>
                    </a:cubicBezTo>
                    <a:cubicBezTo>
                      <a:pt x="1594" y="142"/>
                      <a:pt x="1595" y="143"/>
                      <a:pt x="1594" y="144"/>
                    </a:cubicBezTo>
                    <a:cubicBezTo>
                      <a:pt x="1594" y="144"/>
                      <a:pt x="1594" y="144"/>
                      <a:pt x="1594" y="144"/>
                    </a:cubicBezTo>
                    <a:cubicBezTo>
                      <a:pt x="1594" y="144"/>
                      <a:pt x="1594" y="145"/>
                      <a:pt x="1594" y="145"/>
                    </a:cubicBezTo>
                    <a:cubicBezTo>
                      <a:pt x="1594" y="145"/>
                      <a:pt x="1594" y="145"/>
                      <a:pt x="1594" y="145"/>
                    </a:cubicBezTo>
                    <a:cubicBezTo>
                      <a:pt x="1593" y="146"/>
                      <a:pt x="1593" y="146"/>
                      <a:pt x="1593" y="147"/>
                    </a:cubicBezTo>
                    <a:cubicBezTo>
                      <a:pt x="1593" y="147"/>
                      <a:pt x="1593" y="147"/>
                      <a:pt x="1593" y="147"/>
                    </a:cubicBezTo>
                    <a:cubicBezTo>
                      <a:pt x="1593" y="147"/>
                      <a:pt x="1593" y="148"/>
                      <a:pt x="1593" y="148"/>
                    </a:cubicBezTo>
                    <a:cubicBezTo>
                      <a:pt x="1593" y="148"/>
                      <a:pt x="1593" y="148"/>
                      <a:pt x="1593" y="148"/>
                    </a:cubicBezTo>
                    <a:cubicBezTo>
                      <a:pt x="1592" y="149"/>
                      <a:pt x="1592" y="149"/>
                      <a:pt x="1592" y="150"/>
                    </a:cubicBezTo>
                    <a:cubicBezTo>
                      <a:pt x="1592" y="150"/>
                      <a:pt x="1592" y="150"/>
                      <a:pt x="1592" y="150"/>
                    </a:cubicBezTo>
                    <a:cubicBezTo>
                      <a:pt x="1591" y="150"/>
                      <a:pt x="1592" y="151"/>
                      <a:pt x="1591" y="152"/>
                    </a:cubicBezTo>
                    <a:cubicBezTo>
                      <a:pt x="1591" y="152"/>
                      <a:pt x="1591" y="152"/>
                      <a:pt x="1591" y="152"/>
                    </a:cubicBezTo>
                    <a:cubicBezTo>
                      <a:pt x="1591" y="152"/>
                      <a:pt x="1591" y="153"/>
                      <a:pt x="1591" y="153"/>
                    </a:cubicBezTo>
                    <a:cubicBezTo>
                      <a:pt x="1591" y="153"/>
                      <a:pt x="1591" y="153"/>
                      <a:pt x="1591" y="153"/>
                    </a:cubicBezTo>
                    <a:cubicBezTo>
                      <a:pt x="1590" y="154"/>
                      <a:pt x="1590" y="154"/>
                      <a:pt x="1590" y="155"/>
                    </a:cubicBezTo>
                    <a:cubicBezTo>
                      <a:pt x="1590" y="155"/>
                      <a:pt x="1590" y="155"/>
                      <a:pt x="1590" y="155"/>
                    </a:cubicBezTo>
                    <a:cubicBezTo>
                      <a:pt x="1590" y="155"/>
                      <a:pt x="1590" y="156"/>
                      <a:pt x="1590" y="156"/>
                    </a:cubicBezTo>
                    <a:cubicBezTo>
                      <a:pt x="1590" y="156"/>
                      <a:pt x="1590" y="156"/>
                      <a:pt x="1590" y="156"/>
                    </a:cubicBezTo>
                    <a:cubicBezTo>
                      <a:pt x="1589" y="157"/>
                      <a:pt x="1589" y="157"/>
                      <a:pt x="1589" y="158"/>
                    </a:cubicBezTo>
                    <a:cubicBezTo>
                      <a:pt x="1589" y="158"/>
                      <a:pt x="1589" y="158"/>
                      <a:pt x="1589" y="158"/>
                    </a:cubicBezTo>
                    <a:cubicBezTo>
                      <a:pt x="1589" y="158"/>
                      <a:pt x="1589" y="158"/>
                      <a:pt x="1589" y="158"/>
                    </a:cubicBezTo>
                    <a:cubicBezTo>
                      <a:pt x="1589" y="158"/>
                      <a:pt x="1589" y="159"/>
                      <a:pt x="1588" y="159"/>
                    </a:cubicBezTo>
                    <a:cubicBezTo>
                      <a:pt x="1589" y="159"/>
                      <a:pt x="1589" y="160"/>
                      <a:pt x="1588" y="160"/>
                    </a:cubicBezTo>
                    <a:cubicBezTo>
                      <a:pt x="1588" y="160"/>
                      <a:pt x="1588" y="161"/>
                      <a:pt x="1588" y="161"/>
                    </a:cubicBezTo>
                    <a:cubicBezTo>
                      <a:pt x="1588" y="161"/>
                      <a:pt x="1588" y="161"/>
                      <a:pt x="1588" y="161"/>
                    </a:cubicBezTo>
                    <a:cubicBezTo>
                      <a:pt x="1587" y="161"/>
                      <a:pt x="1588" y="162"/>
                      <a:pt x="1587" y="163"/>
                    </a:cubicBezTo>
                    <a:cubicBezTo>
                      <a:pt x="1587" y="163"/>
                      <a:pt x="1587" y="163"/>
                      <a:pt x="1587" y="163"/>
                    </a:cubicBezTo>
                    <a:cubicBezTo>
                      <a:pt x="1587" y="163"/>
                      <a:pt x="1587" y="163"/>
                      <a:pt x="1587" y="164"/>
                    </a:cubicBezTo>
                    <a:cubicBezTo>
                      <a:pt x="1587" y="164"/>
                      <a:pt x="1587" y="164"/>
                      <a:pt x="1587" y="164"/>
                    </a:cubicBezTo>
                    <a:cubicBezTo>
                      <a:pt x="1587" y="164"/>
                      <a:pt x="1587" y="164"/>
                      <a:pt x="1587" y="164"/>
                    </a:cubicBezTo>
                    <a:cubicBezTo>
                      <a:pt x="1586" y="165"/>
                      <a:pt x="1586" y="165"/>
                      <a:pt x="1586" y="166"/>
                    </a:cubicBezTo>
                    <a:cubicBezTo>
                      <a:pt x="1586" y="166"/>
                      <a:pt x="1586" y="166"/>
                      <a:pt x="1586" y="166"/>
                    </a:cubicBezTo>
                    <a:cubicBezTo>
                      <a:pt x="1586" y="166"/>
                      <a:pt x="1586" y="167"/>
                      <a:pt x="1586" y="167"/>
                    </a:cubicBezTo>
                    <a:cubicBezTo>
                      <a:pt x="1586" y="167"/>
                      <a:pt x="1586" y="167"/>
                      <a:pt x="1586" y="167"/>
                    </a:cubicBezTo>
                    <a:cubicBezTo>
                      <a:pt x="1585" y="168"/>
                      <a:pt x="1586" y="168"/>
                      <a:pt x="1585" y="169"/>
                    </a:cubicBezTo>
                    <a:cubicBezTo>
                      <a:pt x="1585" y="169"/>
                      <a:pt x="1585" y="169"/>
                      <a:pt x="1585" y="169"/>
                    </a:cubicBezTo>
                    <a:cubicBezTo>
                      <a:pt x="1585" y="169"/>
                      <a:pt x="1585" y="170"/>
                      <a:pt x="1584" y="170"/>
                    </a:cubicBezTo>
                    <a:cubicBezTo>
                      <a:pt x="1585" y="170"/>
                      <a:pt x="1585" y="171"/>
                      <a:pt x="1584" y="171"/>
                    </a:cubicBezTo>
                    <a:cubicBezTo>
                      <a:pt x="1584" y="171"/>
                      <a:pt x="1584" y="172"/>
                      <a:pt x="1584" y="172"/>
                    </a:cubicBezTo>
                    <a:cubicBezTo>
                      <a:pt x="1584" y="172"/>
                      <a:pt x="1584" y="172"/>
                      <a:pt x="1584" y="172"/>
                    </a:cubicBezTo>
                    <a:cubicBezTo>
                      <a:pt x="1583" y="173"/>
                      <a:pt x="1584" y="173"/>
                      <a:pt x="1583" y="174"/>
                    </a:cubicBezTo>
                    <a:cubicBezTo>
                      <a:pt x="1583" y="174"/>
                      <a:pt x="1583" y="174"/>
                      <a:pt x="1583" y="174"/>
                    </a:cubicBezTo>
                    <a:cubicBezTo>
                      <a:pt x="1583" y="174"/>
                      <a:pt x="1583" y="175"/>
                      <a:pt x="1583" y="175"/>
                    </a:cubicBezTo>
                    <a:cubicBezTo>
                      <a:pt x="1583" y="175"/>
                      <a:pt x="1583" y="175"/>
                      <a:pt x="1583" y="175"/>
                    </a:cubicBezTo>
                    <a:cubicBezTo>
                      <a:pt x="1582" y="176"/>
                      <a:pt x="1582" y="176"/>
                      <a:pt x="1582" y="177"/>
                    </a:cubicBezTo>
                    <a:cubicBezTo>
                      <a:pt x="1582" y="177"/>
                      <a:pt x="1582" y="177"/>
                      <a:pt x="1582" y="177"/>
                    </a:cubicBezTo>
                    <a:cubicBezTo>
                      <a:pt x="1582" y="177"/>
                      <a:pt x="1582" y="178"/>
                      <a:pt x="1582" y="178"/>
                    </a:cubicBezTo>
                    <a:cubicBezTo>
                      <a:pt x="1582" y="178"/>
                      <a:pt x="1582" y="178"/>
                      <a:pt x="1582" y="178"/>
                    </a:cubicBezTo>
                    <a:cubicBezTo>
                      <a:pt x="1581" y="179"/>
                      <a:pt x="1581" y="179"/>
                      <a:pt x="1581" y="180"/>
                    </a:cubicBezTo>
                    <a:cubicBezTo>
                      <a:pt x="1581" y="180"/>
                      <a:pt x="1581" y="180"/>
                      <a:pt x="1581" y="180"/>
                    </a:cubicBezTo>
                    <a:cubicBezTo>
                      <a:pt x="1580" y="180"/>
                      <a:pt x="1581" y="181"/>
                      <a:pt x="1580" y="182"/>
                    </a:cubicBezTo>
                    <a:cubicBezTo>
                      <a:pt x="1580" y="182"/>
                      <a:pt x="1580" y="182"/>
                      <a:pt x="1580" y="182"/>
                    </a:cubicBezTo>
                    <a:cubicBezTo>
                      <a:pt x="1580" y="182"/>
                      <a:pt x="1580" y="182"/>
                      <a:pt x="1580" y="183"/>
                    </a:cubicBezTo>
                    <a:cubicBezTo>
                      <a:pt x="1580" y="183"/>
                      <a:pt x="1580" y="183"/>
                      <a:pt x="1580" y="183"/>
                    </a:cubicBezTo>
                    <a:cubicBezTo>
                      <a:pt x="1579" y="184"/>
                      <a:pt x="1580" y="184"/>
                      <a:pt x="1579" y="184"/>
                    </a:cubicBezTo>
                    <a:cubicBezTo>
                      <a:pt x="1579" y="184"/>
                      <a:pt x="1579" y="184"/>
                      <a:pt x="1579" y="184"/>
                    </a:cubicBezTo>
                    <a:cubicBezTo>
                      <a:pt x="1579" y="185"/>
                      <a:pt x="1579" y="186"/>
                      <a:pt x="1579" y="186"/>
                    </a:cubicBezTo>
                    <a:cubicBezTo>
                      <a:pt x="1579" y="186"/>
                      <a:pt x="1579" y="186"/>
                      <a:pt x="1579" y="186"/>
                    </a:cubicBezTo>
                    <a:cubicBezTo>
                      <a:pt x="1578" y="186"/>
                      <a:pt x="1578" y="186"/>
                      <a:pt x="1578" y="186"/>
                    </a:cubicBezTo>
                    <a:cubicBezTo>
                      <a:pt x="1578" y="186"/>
                      <a:pt x="1578" y="186"/>
                      <a:pt x="1578" y="186"/>
                    </a:cubicBezTo>
                    <a:cubicBezTo>
                      <a:pt x="1578" y="185"/>
                      <a:pt x="1578" y="185"/>
                      <a:pt x="1577" y="184"/>
                    </a:cubicBezTo>
                    <a:cubicBezTo>
                      <a:pt x="1577" y="184"/>
                      <a:pt x="1577" y="184"/>
                      <a:pt x="1577" y="184"/>
                    </a:cubicBezTo>
                    <a:cubicBezTo>
                      <a:pt x="1577" y="184"/>
                      <a:pt x="1577" y="184"/>
                      <a:pt x="1577" y="184"/>
                    </a:cubicBezTo>
                    <a:cubicBezTo>
                      <a:pt x="1577" y="184"/>
                      <a:pt x="1577" y="183"/>
                      <a:pt x="1577" y="183"/>
                    </a:cubicBezTo>
                    <a:cubicBezTo>
                      <a:pt x="1577" y="183"/>
                      <a:pt x="1577" y="183"/>
                      <a:pt x="1577" y="183"/>
                    </a:cubicBezTo>
                    <a:cubicBezTo>
                      <a:pt x="1576" y="182"/>
                      <a:pt x="1577" y="181"/>
                      <a:pt x="1576" y="181"/>
                    </a:cubicBezTo>
                    <a:cubicBezTo>
                      <a:pt x="1576" y="181"/>
                      <a:pt x="1576" y="181"/>
                      <a:pt x="1576" y="181"/>
                    </a:cubicBezTo>
                    <a:cubicBezTo>
                      <a:pt x="1576" y="181"/>
                      <a:pt x="1576" y="180"/>
                      <a:pt x="1576" y="179"/>
                    </a:cubicBezTo>
                    <a:cubicBezTo>
                      <a:pt x="1576" y="179"/>
                      <a:pt x="1576" y="179"/>
                      <a:pt x="1576" y="179"/>
                    </a:cubicBezTo>
                    <a:cubicBezTo>
                      <a:pt x="1575" y="179"/>
                      <a:pt x="1576" y="178"/>
                      <a:pt x="1575" y="178"/>
                    </a:cubicBezTo>
                    <a:cubicBezTo>
                      <a:pt x="1575" y="178"/>
                      <a:pt x="1575" y="178"/>
                      <a:pt x="1575" y="178"/>
                    </a:cubicBezTo>
                    <a:cubicBezTo>
                      <a:pt x="1575" y="177"/>
                      <a:pt x="1575" y="177"/>
                      <a:pt x="1575" y="176"/>
                    </a:cubicBezTo>
                    <a:cubicBezTo>
                      <a:pt x="1574" y="176"/>
                      <a:pt x="1574" y="176"/>
                      <a:pt x="1575" y="176"/>
                    </a:cubicBezTo>
                    <a:cubicBezTo>
                      <a:pt x="1574" y="176"/>
                      <a:pt x="1574" y="175"/>
                      <a:pt x="1574" y="175"/>
                    </a:cubicBezTo>
                    <a:cubicBezTo>
                      <a:pt x="1574" y="175"/>
                      <a:pt x="1574" y="174"/>
                      <a:pt x="1574" y="174"/>
                    </a:cubicBezTo>
                    <a:cubicBezTo>
                      <a:pt x="1574" y="174"/>
                      <a:pt x="1574" y="173"/>
                      <a:pt x="1573" y="173"/>
                    </a:cubicBezTo>
                    <a:cubicBezTo>
                      <a:pt x="1573" y="173"/>
                      <a:pt x="1573" y="173"/>
                      <a:pt x="1573" y="173"/>
                    </a:cubicBezTo>
                    <a:cubicBezTo>
                      <a:pt x="1573" y="173"/>
                      <a:pt x="1573" y="173"/>
                      <a:pt x="1573" y="173"/>
                    </a:cubicBezTo>
                    <a:cubicBezTo>
                      <a:pt x="1573" y="172"/>
                      <a:pt x="1573" y="172"/>
                      <a:pt x="1573" y="171"/>
                    </a:cubicBezTo>
                    <a:cubicBezTo>
                      <a:pt x="1573" y="171"/>
                      <a:pt x="1573" y="171"/>
                      <a:pt x="1573" y="171"/>
                    </a:cubicBezTo>
                    <a:cubicBezTo>
                      <a:pt x="1572" y="171"/>
                      <a:pt x="1573" y="170"/>
                      <a:pt x="1572" y="169"/>
                    </a:cubicBezTo>
                    <a:cubicBezTo>
                      <a:pt x="1572" y="169"/>
                      <a:pt x="1572" y="169"/>
                      <a:pt x="1572" y="169"/>
                    </a:cubicBezTo>
                    <a:cubicBezTo>
                      <a:pt x="1572" y="169"/>
                      <a:pt x="1572" y="168"/>
                      <a:pt x="1572" y="168"/>
                    </a:cubicBezTo>
                    <a:cubicBezTo>
                      <a:pt x="1572" y="168"/>
                      <a:pt x="1572" y="168"/>
                      <a:pt x="1572" y="168"/>
                    </a:cubicBezTo>
                    <a:cubicBezTo>
                      <a:pt x="1571" y="167"/>
                      <a:pt x="1572" y="166"/>
                      <a:pt x="1571" y="166"/>
                    </a:cubicBezTo>
                    <a:cubicBezTo>
                      <a:pt x="1571" y="166"/>
                      <a:pt x="1571" y="166"/>
                      <a:pt x="1571" y="166"/>
                    </a:cubicBezTo>
                    <a:cubicBezTo>
                      <a:pt x="1571" y="166"/>
                      <a:pt x="1571" y="165"/>
                      <a:pt x="1571" y="165"/>
                    </a:cubicBezTo>
                    <a:cubicBezTo>
                      <a:pt x="1570" y="165"/>
                      <a:pt x="1570" y="165"/>
                      <a:pt x="1571" y="164"/>
                    </a:cubicBezTo>
                    <a:cubicBezTo>
                      <a:pt x="1570" y="164"/>
                      <a:pt x="1570" y="164"/>
                      <a:pt x="1570" y="163"/>
                    </a:cubicBezTo>
                    <a:cubicBezTo>
                      <a:pt x="1570" y="163"/>
                      <a:pt x="1570" y="163"/>
                      <a:pt x="1570" y="163"/>
                    </a:cubicBezTo>
                    <a:cubicBezTo>
                      <a:pt x="1570" y="162"/>
                      <a:pt x="1570" y="162"/>
                      <a:pt x="1569" y="161"/>
                    </a:cubicBezTo>
                    <a:cubicBezTo>
                      <a:pt x="1569" y="161"/>
                      <a:pt x="1569" y="161"/>
                      <a:pt x="1569" y="161"/>
                    </a:cubicBezTo>
                    <a:cubicBezTo>
                      <a:pt x="1569" y="161"/>
                      <a:pt x="1569" y="161"/>
                      <a:pt x="1569" y="161"/>
                    </a:cubicBezTo>
                    <a:cubicBezTo>
                      <a:pt x="1569" y="161"/>
                      <a:pt x="1569" y="160"/>
                      <a:pt x="1569" y="160"/>
                    </a:cubicBezTo>
                    <a:cubicBezTo>
                      <a:pt x="1569" y="160"/>
                      <a:pt x="1569" y="160"/>
                      <a:pt x="1569" y="160"/>
                    </a:cubicBezTo>
                    <a:cubicBezTo>
                      <a:pt x="1568" y="159"/>
                      <a:pt x="1569" y="158"/>
                      <a:pt x="1568" y="158"/>
                    </a:cubicBezTo>
                    <a:cubicBezTo>
                      <a:pt x="1568" y="158"/>
                      <a:pt x="1568" y="158"/>
                      <a:pt x="1568" y="158"/>
                    </a:cubicBezTo>
                    <a:cubicBezTo>
                      <a:pt x="1568" y="157"/>
                      <a:pt x="1568" y="157"/>
                      <a:pt x="1568" y="156"/>
                    </a:cubicBezTo>
                    <a:cubicBezTo>
                      <a:pt x="1568" y="156"/>
                      <a:pt x="1568" y="156"/>
                      <a:pt x="1568" y="156"/>
                    </a:cubicBezTo>
                    <a:cubicBezTo>
                      <a:pt x="1567" y="156"/>
                      <a:pt x="1568" y="155"/>
                      <a:pt x="1567" y="155"/>
                    </a:cubicBezTo>
                    <a:cubicBezTo>
                      <a:pt x="1567" y="155"/>
                      <a:pt x="1567" y="155"/>
                      <a:pt x="1567" y="155"/>
                    </a:cubicBezTo>
                    <a:cubicBezTo>
                      <a:pt x="1567" y="154"/>
                      <a:pt x="1567" y="154"/>
                      <a:pt x="1567" y="153"/>
                    </a:cubicBezTo>
                    <a:cubicBezTo>
                      <a:pt x="1566" y="153"/>
                      <a:pt x="1566" y="153"/>
                      <a:pt x="1566" y="153"/>
                    </a:cubicBezTo>
                    <a:cubicBezTo>
                      <a:pt x="1566" y="153"/>
                      <a:pt x="1566" y="152"/>
                      <a:pt x="1566" y="152"/>
                    </a:cubicBezTo>
                    <a:cubicBezTo>
                      <a:pt x="1566" y="152"/>
                      <a:pt x="1566" y="151"/>
                      <a:pt x="1566" y="151"/>
                    </a:cubicBezTo>
                    <a:cubicBezTo>
                      <a:pt x="1566" y="151"/>
                      <a:pt x="1566" y="150"/>
                      <a:pt x="1565" y="150"/>
                    </a:cubicBezTo>
                    <a:cubicBezTo>
                      <a:pt x="1565" y="150"/>
                      <a:pt x="1565" y="150"/>
                      <a:pt x="1565" y="150"/>
                    </a:cubicBezTo>
                    <a:cubicBezTo>
                      <a:pt x="1565" y="150"/>
                      <a:pt x="1565" y="150"/>
                      <a:pt x="1565" y="150"/>
                    </a:cubicBezTo>
                    <a:cubicBezTo>
                      <a:pt x="1565" y="149"/>
                      <a:pt x="1565" y="149"/>
                      <a:pt x="1565" y="148"/>
                    </a:cubicBezTo>
                    <a:cubicBezTo>
                      <a:pt x="1565" y="148"/>
                      <a:pt x="1565" y="148"/>
                      <a:pt x="1565" y="148"/>
                    </a:cubicBezTo>
                    <a:cubicBezTo>
                      <a:pt x="1564" y="148"/>
                      <a:pt x="1565" y="147"/>
                      <a:pt x="1564" y="146"/>
                    </a:cubicBezTo>
                    <a:cubicBezTo>
                      <a:pt x="1564" y="146"/>
                      <a:pt x="1564" y="146"/>
                      <a:pt x="1564" y="146"/>
                    </a:cubicBezTo>
                    <a:cubicBezTo>
                      <a:pt x="1564" y="146"/>
                      <a:pt x="1564" y="145"/>
                      <a:pt x="1564" y="145"/>
                    </a:cubicBezTo>
                    <a:cubicBezTo>
                      <a:pt x="1564" y="145"/>
                      <a:pt x="1564" y="145"/>
                      <a:pt x="1564" y="145"/>
                    </a:cubicBezTo>
                    <a:cubicBezTo>
                      <a:pt x="1563" y="144"/>
                      <a:pt x="1564" y="143"/>
                      <a:pt x="1563" y="143"/>
                    </a:cubicBezTo>
                    <a:cubicBezTo>
                      <a:pt x="1563" y="143"/>
                      <a:pt x="1563" y="143"/>
                      <a:pt x="1563" y="143"/>
                    </a:cubicBezTo>
                    <a:cubicBezTo>
                      <a:pt x="1563" y="143"/>
                      <a:pt x="1563" y="142"/>
                      <a:pt x="1563" y="142"/>
                    </a:cubicBezTo>
                    <a:cubicBezTo>
                      <a:pt x="1562" y="142"/>
                      <a:pt x="1562" y="142"/>
                      <a:pt x="1562" y="141"/>
                    </a:cubicBezTo>
                    <a:cubicBezTo>
                      <a:pt x="1562" y="141"/>
                      <a:pt x="1562" y="140"/>
                      <a:pt x="1562" y="140"/>
                    </a:cubicBezTo>
                    <a:cubicBezTo>
                      <a:pt x="1562" y="140"/>
                      <a:pt x="1562" y="140"/>
                      <a:pt x="1562" y="140"/>
                    </a:cubicBezTo>
                    <a:cubicBezTo>
                      <a:pt x="1562" y="139"/>
                      <a:pt x="1562" y="139"/>
                      <a:pt x="1561" y="138"/>
                    </a:cubicBezTo>
                    <a:cubicBezTo>
                      <a:pt x="1561" y="138"/>
                      <a:pt x="1561" y="138"/>
                      <a:pt x="1561" y="138"/>
                    </a:cubicBezTo>
                    <a:cubicBezTo>
                      <a:pt x="1561" y="138"/>
                      <a:pt x="1561" y="138"/>
                      <a:pt x="1561" y="138"/>
                    </a:cubicBezTo>
                    <a:cubicBezTo>
                      <a:pt x="1561" y="138"/>
                      <a:pt x="1561" y="137"/>
                      <a:pt x="1561" y="137"/>
                    </a:cubicBezTo>
                    <a:cubicBezTo>
                      <a:pt x="1561" y="137"/>
                      <a:pt x="1561" y="137"/>
                      <a:pt x="1561" y="137"/>
                    </a:cubicBezTo>
                    <a:cubicBezTo>
                      <a:pt x="1560" y="136"/>
                      <a:pt x="1561" y="135"/>
                      <a:pt x="1560" y="135"/>
                    </a:cubicBezTo>
                    <a:cubicBezTo>
                      <a:pt x="1560" y="135"/>
                      <a:pt x="1560" y="135"/>
                      <a:pt x="1560" y="135"/>
                    </a:cubicBezTo>
                    <a:cubicBezTo>
                      <a:pt x="1560" y="134"/>
                      <a:pt x="1560" y="134"/>
                      <a:pt x="1560" y="133"/>
                    </a:cubicBezTo>
                    <a:cubicBezTo>
                      <a:pt x="1560" y="133"/>
                      <a:pt x="1560" y="133"/>
                      <a:pt x="1560" y="133"/>
                    </a:cubicBezTo>
                    <a:cubicBezTo>
                      <a:pt x="1559" y="133"/>
                      <a:pt x="1560" y="132"/>
                      <a:pt x="1559" y="131"/>
                    </a:cubicBezTo>
                    <a:cubicBezTo>
                      <a:pt x="1559" y="132"/>
                      <a:pt x="1559" y="132"/>
                      <a:pt x="1559" y="132"/>
                    </a:cubicBezTo>
                    <a:cubicBezTo>
                      <a:pt x="1559" y="131"/>
                      <a:pt x="1559" y="131"/>
                      <a:pt x="1559" y="130"/>
                    </a:cubicBezTo>
                    <a:cubicBezTo>
                      <a:pt x="1558" y="130"/>
                      <a:pt x="1558" y="130"/>
                      <a:pt x="1558" y="130"/>
                    </a:cubicBezTo>
                    <a:cubicBezTo>
                      <a:pt x="1558" y="129"/>
                      <a:pt x="1558" y="129"/>
                      <a:pt x="1558" y="129"/>
                    </a:cubicBezTo>
                    <a:cubicBezTo>
                      <a:pt x="1558" y="128"/>
                      <a:pt x="1558" y="128"/>
                      <a:pt x="1558" y="128"/>
                    </a:cubicBezTo>
                    <a:cubicBezTo>
                      <a:pt x="1558" y="128"/>
                      <a:pt x="1558" y="127"/>
                      <a:pt x="1557" y="127"/>
                    </a:cubicBezTo>
                    <a:close/>
                    <a:moveTo>
                      <a:pt x="1148" y="194"/>
                    </a:moveTo>
                    <a:cubicBezTo>
                      <a:pt x="1148" y="194"/>
                      <a:pt x="1147" y="194"/>
                      <a:pt x="1146" y="194"/>
                    </a:cubicBezTo>
                    <a:cubicBezTo>
                      <a:pt x="1144" y="195"/>
                      <a:pt x="1143" y="195"/>
                      <a:pt x="1141" y="194"/>
                    </a:cubicBezTo>
                    <a:cubicBezTo>
                      <a:pt x="1140" y="194"/>
                      <a:pt x="1139" y="194"/>
                      <a:pt x="1139" y="194"/>
                    </a:cubicBezTo>
                    <a:cubicBezTo>
                      <a:pt x="1138" y="194"/>
                      <a:pt x="1137" y="194"/>
                      <a:pt x="1136" y="194"/>
                    </a:cubicBezTo>
                    <a:cubicBezTo>
                      <a:pt x="1136" y="194"/>
                      <a:pt x="1135" y="194"/>
                      <a:pt x="1135" y="194"/>
                    </a:cubicBezTo>
                    <a:cubicBezTo>
                      <a:pt x="1135" y="193"/>
                      <a:pt x="1134" y="194"/>
                      <a:pt x="1133" y="193"/>
                    </a:cubicBezTo>
                    <a:cubicBezTo>
                      <a:pt x="1133" y="193"/>
                      <a:pt x="1133" y="193"/>
                      <a:pt x="1132" y="193"/>
                    </a:cubicBezTo>
                    <a:cubicBezTo>
                      <a:pt x="1132" y="193"/>
                      <a:pt x="1131" y="193"/>
                      <a:pt x="1131" y="193"/>
                    </a:cubicBezTo>
                    <a:cubicBezTo>
                      <a:pt x="1131" y="193"/>
                      <a:pt x="1131" y="193"/>
                      <a:pt x="1131" y="192"/>
                    </a:cubicBezTo>
                    <a:cubicBezTo>
                      <a:pt x="1130" y="192"/>
                      <a:pt x="1130" y="192"/>
                      <a:pt x="1129" y="192"/>
                    </a:cubicBezTo>
                    <a:cubicBezTo>
                      <a:pt x="1129" y="192"/>
                      <a:pt x="1129" y="192"/>
                      <a:pt x="1129" y="192"/>
                    </a:cubicBezTo>
                    <a:cubicBezTo>
                      <a:pt x="1129" y="192"/>
                      <a:pt x="1129" y="192"/>
                      <a:pt x="1129" y="192"/>
                    </a:cubicBezTo>
                    <a:cubicBezTo>
                      <a:pt x="1129" y="192"/>
                      <a:pt x="1128" y="192"/>
                      <a:pt x="1128" y="191"/>
                    </a:cubicBezTo>
                    <a:cubicBezTo>
                      <a:pt x="1127" y="191"/>
                      <a:pt x="1127" y="191"/>
                      <a:pt x="1127" y="191"/>
                    </a:cubicBezTo>
                    <a:cubicBezTo>
                      <a:pt x="1127" y="191"/>
                      <a:pt x="1126" y="191"/>
                      <a:pt x="1126" y="191"/>
                    </a:cubicBezTo>
                    <a:cubicBezTo>
                      <a:pt x="1126" y="191"/>
                      <a:pt x="1126" y="191"/>
                      <a:pt x="1126" y="191"/>
                    </a:cubicBezTo>
                    <a:cubicBezTo>
                      <a:pt x="1126" y="190"/>
                      <a:pt x="1125" y="191"/>
                      <a:pt x="1125" y="190"/>
                    </a:cubicBezTo>
                    <a:cubicBezTo>
                      <a:pt x="1125" y="190"/>
                      <a:pt x="1125" y="190"/>
                      <a:pt x="1125" y="190"/>
                    </a:cubicBezTo>
                    <a:cubicBezTo>
                      <a:pt x="1125" y="190"/>
                      <a:pt x="1124" y="190"/>
                      <a:pt x="1124" y="190"/>
                    </a:cubicBezTo>
                    <a:cubicBezTo>
                      <a:pt x="1124" y="190"/>
                      <a:pt x="1124" y="190"/>
                      <a:pt x="1124" y="190"/>
                    </a:cubicBezTo>
                    <a:cubicBezTo>
                      <a:pt x="1123" y="189"/>
                      <a:pt x="1123" y="189"/>
                      <a:pt x="1123" y="189"/>
                    </a:cubicBezTo>
                    <a:cubicBezTo>
                      <a:pt x="1123" y="189"/>
                      <a:pt x="1123" y="189"/>
                      <a:pt x="1123" y="189"/>
                    </a:cubicBezTo>
                    <a:cubicBezTo>
                      <a:pt x="1122" y="189"/>
                      <a:pt x="1122" y="189"/>
                      <a:pt x="1121" y="188"/>
                    </a:cubicBezTo>
                    <a:cubicBezTo>
                      <a:pt x="1121" y="188"/>
                      <a:pt x="1121" y="188"/>
                      <a:pt x="1121" y="188"/>
                    </a:cubicBezTo>
                    <a:cubicBezTo>
                      <a:pt x="1121" y="188"/>
                      <a:pt x="1121" y="188"/>
                      <a:pt x="1121" y="188"/>
                    </a:cubicBezTo>
                    <a:cubicBezTo>
                      <a:pt x="1120" y="188"/>
                      <a:pt x="1120" y="188"/>
                      <a:pt x="1120" y="188"/>
                    </a:cubicBezTo>
                    <a:cubicBezTo>
                      <a:pt x="1120" y="188"/>
                      <a:pt x="1120" y="187"/>
                      <a:pt x="1120" y="187"/>
                    </a:cubicBezTo>
                    <a:cubicBezTo>
                      <a:pt x="1120" y="187"/>
                      <a:pt x="1120" y="187"/>
                      <a:pt x="1120" y="187"/>
                    </a:cubicBezTo>
                    <a:cubicBezTo>
                      <a:pt x="1119" y="187"/>
                      <a:pt x="1119" y="187"/>
                      <a:pt x="1119" y="187"/>
                    </a:cubicBezTo>
                    <a:cubicBezTo>
                      <a:pt x="1119" y="187"/>
                      <a:pt x="1119" y="187"/>
                      <a:pt x="1119" y="187"/>
                    </a:cubicBezTo>
                    <a:cubicBezTo>
                      <a:pt x="1118" y="187"/>
                      <a:pt x="1118" y="186"/>
                      <a:pt x="1118" y="186"/>
                    </a:cubicBezTo>
                    <a:cubicBezTo>
                      <a:pt x="1118" y="186"/>
                      <a:pt x="1118" y="186"/>
                      <a:pt x="1118" y="186"/>
                    </a:cubicBezTo>
                    <a:cubicBezTo>
                      <a:pt x="1118" y="186"/>
                      <a:pt x="1118" y="186"/>
                      <a:pt x="1117" y="186"/>
                    </a:cubicBezTo>
                    <a:cubicBezTo>
                      <a:pt x="1117" y="186"/>
                      <a:pt x="1117" y="186"/>
                      <a:pt x="1117" y="186"/>
                    </a:cubicBezTo>
                    <a:cubicBezTo>
                      <a:pt x="1117" y="185"/>
                      <a:pt x="1116" y="185"/>
                      <a:pt x="1116" y="185"/>
                    </a:cubicBezTo>
                    <a:cubicBezTo>
                      <a:pt x="1116" y="185"/>
                      <a:pt x="1116" y="185"/>
                      <a:pt x="1116" y="185"/>
                    </a:cubicBezTo>
                    <a:cubicBezTo>
                      <a:pt x="1116" y="185"/>
                      <a:pt x="1116" y="185"/>
                      <a:pt x="1116" y="184"/>
                    </a:cubicBezTo>
                    <a:cubicBezTo>
                      <a:pt x="1116" y="185"/>
                      <a:pt x="1116" y="185"/>
                      <a:pt x="1116" y="185"/>
                    </a:cubicBezTo>
                    <a:cubicBezTo>
                      <a:pt x="1113" y="184"/>
                      <a:pt x="1114" y="186"/>
                      <a:pt x="1114" y="186"/>
                    </a:cubicBezTo>
                    <a:cubicBezTo>
                      <a:pt x="1114" y="191"/>
                      <a:pt x="1114" y="195"/>
                      <a:pt x="1114" y="199"/>
                    </a:cubicBezTo>
                    <a:cubicBezTo>
                      <a:pt x="1114" y="201"/>
                      <a:pt x="1114" y="202"/>
                      <a:pt x="1115" y="203"/>
                    </a:cubicBezTo>
                    <a:cubicBezTo>
                      <a:pt x="1115" y="203"/>
                      <a:pt x="1115" y="203"/>
                      <a:pt x="1115" y="203"/>
                    </a:cubicBezTo>
                    <a:cubicBezTo>
                      <a:pt x="1115" y="204"/>
                      <a:pt x="1115" y="204"/>
                      <a:pt x="1116" y="204"/>
                    </a:cubicBezTo>
                    <a:cubicBezTo>
                      <a:pt x="1116" y="204"/>
                      <a:pt x="1116" y="204"/>
                      <a:pt x="1116" y="204"/>
                    </a:cubicBezTo>
                    <a:cubicBezTo>
                      <a:pt x="1116" y="204"/>
                      <a:pt x="1116" y="204"/>
                      <a:pt x="1117" y="205"/>
                    </a:cubicBezTo>
                    <a:cubicBezTo>
                      <a:pt x="1117" y="205"/>
                      <a:pt x="1117" y="205"/>
                      <a:pt x="1117" y="205"/>
                    </a:cubicBezTo>
                    <a:cubicBezTo>
                      <a:pt x="1117" y="205"/>
                      <a:pt x="1118" y="205"/>
                      <a:pt x="1118" y="205"/>
                    </a:cubicBezTo>
                    <a:cubicBezTo>
                      <a:pt x="1118" y="205"/>
                      <a:pt x="1118" y="205"/>
                      <a:pt x="1118" y="205"/>
                    </a:cubicBezTo>
                    <a:cubicBezTo>
                      <a:pt x="1118" y="206"/>
                      <a:pt x="1119" y="205"/>
                      <a:pt x="1119" y="206"/>
                    </a:cubicBezTo>
                    <a:cubicBezTo>
                      <a:pt x="1119" y="206"/>
                      <a:pt x="1119" y="206"/>
                      <a:pt x="1119" y="206"/>
                    </a:cubicBezTo>
                    <a:cubicBezTo>
                      <a:pt x="1120" y="206"/>
                      <a:pt x="1120" y="206"/>
                      <a:pt x="1121" y="206"/>
                    </a:cubicBezTo>
                    <a:cubicBezTo>
                      <a:pt x="1121" y="206"/>
                      <a:pt x="1121" y="206"/>
                      <a:pt x="1121" y="206"/>
                    </a:cubicBezTo>
                    <a:cubicBezTo>
                      <a:pt x="1121" y="207"/>
                      <a:pt x="1122" y="207"/>
                      <a:pt x="1122" y="207"/>
                    </a:cubicBezTo>
                    <a:cubicBezTo>
                      <a:pt x="1122" y="207"/>
                      <a:pt x="1122" y="207"/>
                      <a:pt x="1122" y="207"/>
                    </a:cubicBezTo>
                    <a:cubicBezTo>
                      <a:pt x="1123" y="207"/>
                      <a:pt x="1123" y="207"/>
                      <a:pt x="1123" y="207"/>
                    </a:cubicBezTo>
                    <a:cubicBezTo>
                      <a:pt x="1123" y="207"/>
                      <a:pt x="1123" y="207"/>
                      <a:pt x="1124" y="207"/>
                    </a:cubicBezTo>
                    <a:cubicBezTo>
                      <a:pt x="1124" y="207"/>
                      <a:pt x="1124" y="207"/>
                      <a:pt x="1124" y="207"/>
                    </a:cubicBezTo>
                    <a:cubicBezTo>
                      <a:pt x="1124" y="207"/>
                      <a:pt x="1124" y="207"/>
                      <a:pt x="1124" y="207"/>
                    </a:cubicBezTo>
                    <a:cubicBezTo>
                      <a:pt x="1125" y="208"/>
                      <a:pt x="1126" y="208"/>
                      <a:pt x="1126" y="208"/>
                    </a:cubicBezTo>
                    <a:cubicBezTo>
                      <a:pt x="1126" y="208"/>
                      <a:pt x="1126" y="208"/>
                      <a:pt x="1126" y="208"/>
                    </a:cubicBezTo>
                    <a:cubicBezTo>
                      <a:pt x="1127" y="209"/>
                      <a:pt x="1128" y="208"/>
                      <a:pt x="1128" y="209"/>
                    </a:cubicBezTo>
                    <a:cubicBezTo>
                      <a:pt x="1128" y="209"/>
                      <a:pt x="1128" y="209"/>
                      <a:pt x="1128" y="209"/>
                    </a:cubicBezTo>
                    <a:cubicBezTo>
                      <a:pt x="1129" y="209"/>
                      <a:pt x="1130" y="209"/>
                      <a:pt x="1131" y="209"/>
                    </a:cubicBezTo>
                    <a:cubicBezTo>
                      <a:pt x="1132" y="209"/>
                      <a:pt x="1132" y="209"/>
                      <a:pt x="1132" y="209"/>
                    </a:cubicBezTo>
                    <a:cubicBezTo>
                      <a:pt x="1132" y="209"/>
                      <a:pt x="1132" y="209"/>
                      <a:pt x="1132" y="209"/>
                    </a:cubicBezTo>
                    <a:cubicBezTo>
                      <a:pt x="1133" y="210"/>
                      <a:pt x="1134" y="209"/>
                      <a:pt x="1135" y="210"/>
                    </a:cubicBezTo>
                    <a:cubicBezTo>
                      <a:pt x="1136" y="210"/>
                      <a:pt x="1136" y="210"/>
                      <a:pt x="1136" y="210"/>
                    </a:cubicBezTo>
                    <a:cubicBezTo>
                      <a:pt x="1140" y="210"/>
                      <a:pt x="1144" y="210"/>
                      <a:pt x="1148" y="210"/>
                    </a:cubicBezTo>
                    <a:cubicBezTo>
                      <a:pt x="1148" y="210"/>
                      <a:pt x="1149" y="210"/>
                      <a:pt x="1149" y="210"/>
                    </a:cubicBezTo>
                    <a:cubicBezTo>
                      <a:pt x="1150" y="209"/>
                      <a:pt x="1151" y="210"/>
                      <a:pt x="1152" y="209"/>
                    </a:cubicBezTo>
                    <a:cubicBezTo>
                      <a:pt x="1153" y="209"/>
                      <a:pt x="1153" y="209"/>
                      <a:pt x="1153" y="209"/>
                    </a:cubicBezTo>
                    <a:cubicBezTo>
                      <a:pt x="1153" y="209"/>
                      <a:pt x="1153" y="209"/>
                      <a:pt x="1153" y="209"/>
                    </a:cubicBezTo>
                    <a:cubicBezTo>
                      <a:pt x="1154" y="209"/>
                      <a:pt x="1155" y="209"/>
                      <a:pt x="1155" y="209"/>
                    </a:cubicBezTo>
                    <a:cubicBezTo>
                      <a:pt x="1156" y="208"/>
                      <a:pt x="1156" y="208"/>
                      <a:pt x="1156" y="208"/>
                    </a:cubicBezTo>
                    <a:cubicBezTo>
                      <a:pt x="1156" y="209"/>
                      <a:pt x="1156" y="209"/>
                      <a:pt x="1156" y="209"/>
                    </a:cubicBezTo>
                    <a:cubicBezTo>
                      <a:pt x="1156" y="208"/>
                      <a:pt x="1157" y="209"/>
                      <a:pt x="1158" y="208"/>
                    </a:cubicBezTo>
                    <a:cubicBezTo>
                      <a:pt x="1158" y="208"/>
                      <a:pt x="1158" y="208"/>
                      <a:pt x="1158" y="208"/>
                    </a:cubicBezTo>
                    <a:cubicBezTo>
                      <a:pt x="1158" y="208"/>
                      <a:pt x="1158" y="208"/>
                      <a:pt x="1158" y="208"/>
                    </a:cubicBezTo>
                    <a:cubicBezTo>
                      <a:pt x="1159" y="208"/>
                      <a:pt x="1159" y="208"/>
                      <a:pt x="1160" y="207"/>
                    </a:cubicBezTo>
                    <a:cubicBezTo>
                      <a:pt x="1160" y="207"/>
                      <a:pt x="1160" y="207"/>
                      <a:pt x="1160" y="207"/>
                    </a:cubicBezTo>
                    <a:cubicBezTo>
                      <a:pt x="1160" y="207"/>
                      <a:pt x="1161" y="207"/>
                      <a:pt x="1162" y="207"/>
                    </a:cubicBezTo>
                    <a:cubicBezTo>
                      <a:pt x="1162" y="207"/>
                      <a:pt x="1162" y="207"/>
                      <a:pt x="1162" y="207"/>
                    </a:cubicBezTo>
                    <a:cubicBezTo>
                      <a:pt x="1162" y="207"/>
                      <a:pt x="1163" y="207"/>
                      <a:pt x="1163" y="206"/>
                    </a:cubicBezTo>
                    <a:cubicBezTo>
                      <a:pt x="1163" y="206"/>
                      <a:pt x="1163" y="206"/>
                      <a:pt x="1163" y="206"/>
                    </a:cubicBezTo>
                    <a:cubicBezTo>
                      <a:pt x="1163" y="206"/>
                      <a:pt x="1164" y="206"/>
                      <a:pt x="1164" y="206"/>
                    </a:cubicBezTo>
                    <a:cubicBezTo>
                      <a:pt x="1164" y="206"/>
                      <a:pt x="1164" y="206"/>
                      <a:pt x="1164" y="206"/>
                    </a:cubicBezTo>
                    <a:cubicBezTo>
                      <a:pt x="1164" y="205"/>
                      <a:pt x="1165" y="205"/>
                      <a:pt x="1165" y="205"/>
                    </a:cubicBezTo>
                    <a:cubicBezTo>
                      <a:pt x="1165" y="205"/>
                      <a:pt x="1165" y="205"/>
                      <a:pt x="1165" y="205"/>
                    </a:cubicBezTo>
                    <a:cubicBezTo>
                      <a:pt x="1165" y="205"/>
                      <a:pt x="1166" y="205"/>
                      <a:pt x="1166" y="205"/>
                    </a:cubicBezTo>
                    <a:cubicBezTo>
                      <a:pt x="1166" y="205"/>
                      <a:pt x="1166" y="205"/>
                      <a:pt x="1166" y="205"/>
                    </a:cubicBezTo>
                    <a:cubicBezTo>
                      <a:pt x="1167" y="204"/>
                      <a:pt x="1167" y="204"/>
                      <a:pt x="1167" y="204"/>
                    </a:cubicBezTo>
                    <a:cubicBezTo>
                      <a:pt x="1167" y="204"/>
                      <a:pt x="1167" y="204"/>
                      <a:pt x="1167" y="204"/>
                    </a:cubicBezTo>
                    <a:cubicBezTo>
                      <a:pt x="1168" y="204"/>
                      <a:pt x="1168" y="204"/>
                      <a:pt x="1169" y="203"/>
                    </a:cubicBezTo>
                    <a:cubicBezTo>
                      <a:pt x="1169" y="203"/>
                      <a:pt x="1169" y="203"/>
                      <a:pt x="1169" y="203"/>
                    </a:cubicBezTo>
                    <a:cubicBezTo>
                      <a:pt x="1169" y="203"/>
                      <a:pt x="1169" y="203"/>
                      <a:pt x="1169" y="203"/>
                    </a:cubicBezTo>
                    <a:cubicBezTo>
                      <a:pt x="1169" y="203"/>
                      <a:pt x="1169" y="203"/>
                      <a:pt x="1169" y="203"/>
                    </a:cubicBezTo>
                    <a:cubicBezTo>
                      <a:pt x="1169" y="202"/>
                      <a:pt x="1170" y="203"/>
                      <a:pt x="1170" y="202"/>
                    </a:cubicBezTo>
                    <a:cubicBezTo>
                      <a:pt x="1170" y="202"/>
                      <a:pt x="1170" y="202"/>
                      <a:pt x="1170" y="202"/>
                    </a:cubicBezTo>
                    <a:cubicBezTo>
                      <a:pt x="1171" y="202"/>
                      <a:pt x="1171" y="202"/>
                      <a:pt x="1171" y="202"/>
                    </a:cubicBezTo>
                    <a:cubicBezTo>
                      <a:pt x="1171" y="202"/>
                      <a:pt x="1171" y="202"/>
                      <a:pt x="1171" y="202"/>
                    </a:cubicBezTo>
                    <a:cubicBezTo>
                      <a:pt x="1171" y="202"/>
                      <a:pt x="1171" y="201"/>
                      <a:pt x="1171" y="201"/>
                    </a:cubicBezTo>
                    <a:cubicBezTo>
                      <a:pt x="1172" y="201"/>
                      <a:pt x="1172" y="201"/>
                      <a:pt x="1172" y="201"/>
                    </a:cubicBezTo>
                    <a:cubicBezTo>
                      <a:pt x="1172" y="201"/>
                      <a:pt x="1173" y="200"/>
                      <a:pt x="1173" y="200"/>
                    </a:cubicBezTo>
                    <a:cubicBezTo>
                      <a:pt x="1173" y="200"/>
                      <a:pt x="1173" y="200"/>
                      <a:pt x="1173" y="200"/>
                    </a:cubicBezTo>
                    <a:cubicBezTo>
                      <a:pt x="1173" y="200"/>
                      <a:pt x="1174" y="200"/>
                      <a:pt x="1174" y="199"/>
                    </a:cubicBezTo>
                    <a:cubicBezTo>
                      <a:pt x="1174" y="199"/>
                      <a:pt x="1174" y="199"/>
                      <a:pt x="1174" y="199"/>
                    </a:cubicBezTo>
                    <a:cubicBezTo>
                      <a:pt x="1174" y="199"/>
                      <a:pt x="1174" y="199"/>
                      <a:pt x="1174" y="199"/>
                    </a:cubicBezTo>
                    <a:cubicBezTo>
                      <a:pt x="1174" y="199"/>
                      <a:pt x="1174" y="199"/>
                      <a:pt x="1174" y="199"/>
                    </a:cubicBezTo>
                    <a:cubicBezTo>
                      <a:pt x="1175" y="199"/>
                      <a:pt x="1175" y="198"/>
                      <a:pt x="1175" y="198"/>
                    </a:cubicBezTo>
                    <a:cubicBezTo>
                      <a:pt x="1175" y="198"/>
                      <a:pt x="1175" y="198"/>
                      <a:pt x="1175" y="198"/>
                    </a:cubicBezTo>
                    <a:cubicBezTo>
                      <a:pt x="1175" y="198"/>
                      <a:pt x="1175" y="198"/>
                      <a:pt x="1175" y="198"/>
                    </a:cubicBezTo>
                    <a:cubicBezTo>
                      <a:pt x="1175" y="198"/>
                      <a:pt x="1175" y="198"/>
                      <a:pt x="1175" y="198"/>
                    </a:cubicBezTo>
                    <a:cubicBezTo>
                      <a:pt x="1176" y="197"/>
                      <a:pt x="1176" y="197"/>
                      <a:pt x="1176" y="197"/>
                    </a:cubicBezTo>
                    <a:cubicBezTo>
                      <a:pt x="1176" y="197"/>
                      <a:pt x="1176" y="197"/>
                      <a:pt x="1176" y="197"/>
                    </a:cubicBezTo>
                    <a:cubicBezTo>
                      <a:pt x="1177" y="197"/>
                      <a:pt x="1177" y="196"/>
                      <a:pt x="1177" y="195"/>
                    </a:cubicBezTo>
                    <a:cubicBezTo>
                      <a:pt x="1177" y="195"/>
                      <a:pt x="1177" y="195"/>
                      <a:pt x="1177" y="195"/>
                    </a:cubicBezTo>
                    <a:cubicBezTo>
                      <a:pt x="1177" y="195"/>
                      <a:pt x="1178" y="195"/>
                      <a:pt x="1178" y="195"/>
                    </a:cubicBezTo>
                    <a:cubicBezTo>
                      <a:pt x="1178" y="195"/>
                      <a:pt x="1178" y="195"/>
                      <a:pt x="1178" y="195"/>
                    </a:cubicBezTo>
                    <a:cubicBezTo>
                      <a:pt x="1178" y="195"/>
                      <a:pt x="1178" y="194"/>
                      <a:pt x="1178" y="194"/>
                    </a:cubicBezTo>
                    <a:cubicBezTo>
                      <a:pt x="1178" y="194"/>
                      <a:pt x="1178" y="194"/>
                      <a:pt x="1178" y="194"/>
                    </a:cubicBezTo>
                    <a:cubicBezTo>
                      <a:pt x="1179" y="193"/>
                      <a:pt x="1179" y="193"/>
                      <a:pt x="1179" y="193"/>
                    </a:cubicBezTo>
                    <a:cubicBezTo>
                      <a:pt x="1179" y="193"/>
                      <a:pt x="1179" y="193"/>
                      <a:pt x="1179" y="193"/>
                    </a:cubicBezTo>
                    <a:cubicBezTo>
                      <a:pt x="1179" y="193"/>
                      <a:pt x="1179" y="192"/>
                      <a:pt x="1180" y="192"/>
                    </a:cubicBezTo>
                    <a:cubicBezTo>
                      <a:pt x="1179" y="192"/>
                      <a:pt x="1179" y="192"/>
                      <a:pt x="1179" y="192"/>
                    </a:cubicBezTo>
                    <a:cubicBezTo>
                      <a:pt x="1180" y="192"/>
                      <a:pt x="1180" y="191"/>
                      <a:pt x="1180" y="191"/>
                    </a:cubicBezTo>
                    <a:cubicBezTo>
                      <a:pt x="1180" y="191"/>
                      <a:pt x="1180" y="191"/>
                      <a:pt x="1180" y="191"/>
                    </a:cubicBezTo>
                    <a:cubicBezTo>
                      <a:pt x="1180" y="190"/>
                      <a:pt x="1180" y="190"/>
                      <a:pt x="1181" y="190"/>
                    </a:cubicBezTo>
                    <a:cubicBezTo>
                      <a:pt x="1181" y="190"/>
                      <a:pt x="1181" y="190"/>
                      <a:pt x="1181" y="190"/>
                    </a:cubicBezTo>
                    <a:cubicBezTo>
                      <a:pt x="1181" y="189"/>
                      <a:pt x="1181" y="188"/>
                      <a:pt x="1181" y="188"/>
                    </a:cubicBezTo>
                    <a:cubicBezTo>
                      <a:pt x="1181" y="188"/>
                      <a:pt x="1181" y="188"/>
                      <a:pt x="1181" y="188"/>
                    </a:cubicBezTo>
                    <a:cubicBezTo>
                      <a:pt x="1182" y="187"/>
                      <a:pt x="1181" y="187"/>
                      <a:pt x="1182" y="186"/>
                    </a:cubicBezTo>
                    <a:cubicBezTo>
                      <a:pt x="1182" y="186"/>
                      <a:pt x="1182" y="186"/>
                      <a:pt x="1182" y="186"/>
                    </a:cubicBezTo>
                    <a:cubicBezTo>
                      <a:pt x="1182" y="185"/>
                      <a:pt x="1182" y="184"/>
                      <a:pt x="1182" y="184"/>
                    </a:cubicBezTo>
                    <a:cubicBezTo>
                      <a:pt x="1182" y="184"/>
                      <a:pt x="1182" y="183"/>
                      <a:pt x="1182" y="183"/>
                    </a:cubicBezTo>
                    <a:cubicBezTo>
                      <a:pt x="1183" y="182"/>
                      <a:pt x="1182" y="181"/>
                      <a:pt x="1183" y="180"/>
                    </a:cubicBezTo>
                    <a:cubicBezTo>
                      <a:pt x="1183" y="178"/>
                      <a:pt x="1183" y="176"/>
                      <a:pt x="1183" y="175"/>
                    </a:cubicBezTo>
                    <a:cubicBezTo>
                      <a:pt x="1182" y="174"/>
                      <a:pt x="1183" y="172"/>
                      <a:pt x="1182" y="171"/>
                    </a:cubicBezTo>
                    <a:cubicBezTo>
                      <a:pt x="1182" y="171"/>
                      <a:pt x="1182" y="171"/>
                      <a:pt x="1182" y="171"/>
                    </a:cubicBezTo>
                    <a:cubicBezTo>
                      <a:pt x="1182" y="170"/>
                      <a:pt x="1182" y="169"/>
                      <a:pt x="1182" y="168"/>
                    </a:cubicBezTo>
                    <a:cubicBezTo>
                      <a:pt x="1182" y="168"/>
                      <a:pt x="1182" y="168"/>
                      <a:pt x="1182" y="168"/>
                    </a:cubicBezTo>
                    <a:cubicBezTo>
                      <a:pt x="1181" y="168"/>
                      <a:pt x="1182" y="167"/>
                      <a:pt x="1181" y="167"/>
                    </a:cubicBezTo>
                    <a:cubicBezTo>
                      <a:pt x="1181" y="167"/>
                      <a:pt x="1181" y="167"/>
                      <a:pt x="1181" y="167"/>
                    </a:cubicBezTo>
                    <a:cubicBezTo>
                      <a:pt x="1181" y="166"/>
                      <a:pt x="1181" y="166"/>
                      <a:pt x="1181" y="165"/>
                    </a:cubicBezTo>
                    <a:cubicBezTo>
                      <a:pt x="1181" y="165"/>
                      <a:pt x="1181" y="165"/>
                      <a:pt x="1181" y="165"/>
                    </a:cubicBezTo>
                    <a:cubicBezTo>
                      <a:pt x="1180" y="165"/>
                      <a:pt x="1181" y="164"/>
                      <a:pt x="1180" y="164"/>
                    </a:cubicBezTo>
                    <a:cubicBezTo>
                      <a:pt x="1180" y="164"/>
                      <a:pt x="1180" y="164"/>
                      <a:pt x="1180" y="164"/>
                    </a:cubicBezTo>
                    <a:cubicBezTo>
                      <a:pt x="1180" y="163"/>
                      <a:pt x="1180" y="163"/>
                      <a:pt x="1179" y="163"/>
                    </a:cubicBezTo>
                    <a:cubicBezTo>
                      <a:pt x="1179" y="163"/>
                      <a:pt x="1179" y="163"/>
                      <a:pt x="1179" y="163"/>
                    </a:cubicBezTo>
                    <a:cubicBezTo>
                      <a:pt x="1179" y="162"/>
                      <a:pt x="1179" y="162"/>
                      <a:pt x="1179" y="162"/>
                    </a:cubicBezTo>
                    <a:cubicBezTo>
                      <a:pt x="1179" y="162"/>
                      <a:pt x="1179" y="162"/>
                      <a:pt x="1179" y="162"/>
                    </a:cubicBezTo>
                    <a:cubicBezTo>
                      <a:pt x="1179" y="162"/>
                      <a:pt x="1179" y="161"/>
                      <a:pt x="1178" y="161"/>
                    </a:cubicBezTo>
                    <a:cubicBezTo>
                      <a:pt x="1178" y="161"/>
                      <a:pt x="1178" y="161"/>
                      <a:pt x="1178" y="161"/>
                    </a:cubicBezTo>
                    <a:cubicBezTo>
                      <a:pt x="1178" y="161"/>
                      <a:pt x="1178" y="160"/>
                      <a:pt x="1178" y="160"/>
                    </a:cubicBezTo>
                    <a:cubicBezTo>
                      <a:pt x="1178" y="160"/>
                      <a:pt x="1178" y="160"/>
                      <a:pt x="1178" y="160"/>
                    </a:cubicBezTo>
                    <a:cubicBezTo>
                      <a:pt x="1177" y="160"/>
                      <a:pt x="1177" y="159"/>
                      <a:pt x="1177" y="159"/>
                    </a:cubicBezTo>
                    <a:cubicBezTo>
                      <a:pt x="1177" y="159"/>
                      <a:pt x="1177" y="159"/>
                      <a:pt x="1177" y="159"/>
                    </a:cubicBezTo>
                    <a:cubicBezTo>
                      <a:pt x="1177" y="158"/>
                      <a:pt x="1176" y="158"/>
                      <a:pt x="1176" y="158"/>
                    </a:cubicBezTo>
                    <a:cubicBezTo>
                      <a:pt x="1176" y="158"/>
                      <a:pt x="1176" y="158"/>
                      <a:pt x="1176" y="158"/>
                    </a:cubicBezTo>
                    <a:cubicBezTo>
                      <a:pt x="1176" y="158"/>
                      <a:pt x="1176" y="158"/>
                      <a:pt x="1175" y="157"/>
                    </a:cubicBezTo>
                    <a:cubicBezTo>
                      <a:pt x="1175" y="157"/>
                      <a:pt x="1175" y="157"/>
                      <a:pt x="1175" y="157"/>
                    </a:cubicBezTo>
                    <a:cubicBezTo>
                      <a:pt x="1175" y="157"/>
                      <a:pt x="1175" y="157"/>
                      <a:pt x="1175" y="157"/>
                    </a:cubicBezTo>
                    <a:cubicBezTo>
                      <a:pt x="1175" y="157"/>
                      <a:pt x="1175" y="157"/>
                      <a:pt x="1175" y="157"/>
                    </a:cubicBezTo>
                    <a:cubicBezTo>
                      <a:pt x="1175" y="157"/>
                      <a:pt x="1175" y="156"/>
                      <a:pt x="1174" y="156"/>
                    </a:cubicBezTo>
                    <a:cubicBezTo>
                      <a:pt x="1174" y="156"/>
                      <a:pt x="1174" y="156"/>
                      <a:pt x="1174" y="156"/>
                    </a:cubicBezTo>
                    <a:cubicBezTo>
                      <a:pt x="1174" y="156"/>
                      <a:pt x="1174" y="156"/>
                      <a:pt x="1174" y="156"/>
                    </a:cubicBezTo>
                    <a:cubicBezTo>
                      <a:pt x="1174" y="156"/>
                      <a:pt x="1174" y="156"/>
                      <a:pt x="1174" y="156"/>
                    </a:cubicBezTo>
                    <a:cubicBezTo>
                      <a:pt x="1173" y="155"/>
                      <a:pt x="1173" y="155"/>
                      <a:pt x="1172" y="154"/>
                    </a:cubicBezTo>
                    <a:cubicBezTo>
                      <a:pt x="1172" y="154"/>
                      <a:pt x="1172" y="154"/>
                      <a:pt x="1172" y="154"/>
                    </a:cubicBezTo>
                    <a:cubicBezTo>
                      <a:pt x="1172" y="154"/>
                      <a:pt x="1172" y="154"/>
                      <a:pt x="1171" y="154"/>
                    </a:cubicBezTo>
                    <a:cubicBezTo>
                      <a:pt x="1171" y="154"/>
                      <a:pt x="1171" y="154"/>
                      <a:pt x="1171" y="154"/>
                    </a:cubicBezTo>
                    <a:cubicBezTo>
                      <a:pt x="1171" y="154"/>
                      <a:pt x="1171" y="153"/>
                      <a:pt x="1171" y="153"/>
                    </a:cubicBezTo>
                    <a:cubicBezTo>
                      <a:pt x="1171" y="153"/>
                      <a:pt x="1171" y="153"/>
                      <a:pt x="1171" y="153"/>
                    </a:cubicBezTo>
                    <a:cubicBezTo>
                      <a:pt x="1171" y="153"/>
                      <a:pt x="1170" y="153"/>
                      <a:pt x="1170" y="153"/>
                    </a:cubicBezTo>
                    <a:cubicBezTo>
                      <a:pt x="1170" y="153"/>
                      <a:pt x="1170" y="153"/>
                      <a:pt x="1170" y="153"/>
                    </a:cubicBezTo>
                    <a:cubicBezTo>
                      <a:pt x="1170" y="153"/>
                      <a:pt x="1169" y="152"/>
                      <a:pt x="1169" y="152"/>
                    </a:cubicBezTo>
                    <a:cubicBezTo>
                      <a:pt x="1169" y="152"/>
                      <a:pt x="1169" y="152"/>
                      <a:pt x="1169" y="152"/>
                    </a:cubicBezTo>
                    <a:cubicBezTo>
                      <a:pt x="1169" y="152"/>
                      <a:pt x="1168" y="152"/>
                      <a:pt x="1168" y="152"/>
                    </a:cubicBezTo>
                    <a:cubicBezTo>
                      <a:pt x="1168" y="152"/>
                      <a:pt x="1168" y="152"/>
                      <a:pt x="1168" y="152"/>
                    </a:cubicBezTo>
                    <a:cubicBezTo>
                      <a:pt x="1168" y="151"/>
                      <a:pt x="1168" y="151"/>
                      <a:pt x="1167" y="151"/>
                    </a:cubicBezTo>
                    <a:cubicBezTo>
                      <a:pt x="1167" y="151"/>
                      <a:pt x="1167" y="151"/>
                      <a:pt x="1167" y="151"/>
                    </a:cubicBezTo>
                    <a:cubicBezTo>
                      <a:pt x="1167" y="151"/>
                      <a:pt x="1167" y="151"/>
                      <a:pt x="1166" y="150"/>
                    </a:cubicBezTo>
                    <a:cubicBezTo>
                      <a:pt x="1166" y="150"/>
                      <a:pt x="1166" y="150"/>
                      <a:pt x="1166" y="150"/>
                    </a:cubicBezTo>
                    <a:cubicBezTo>
                      <a:pt x="1166" y="150"/>
                      <a:pt x="1165" y="150"/>
                      <a:pt x="1165" y="150"/>
                    </a:cubicBezTo>
                    <a:cubicBezTo>
                      <a:pt x="1165" y="150"/>
                      <a:pt x="1165" y="150"/>
                      <a:pt x="1165" y="150"/>
                    </a:cubicBezTo>
                    <a:cubicBezTo>
                      <a:pt x="1165" y="150"/>
                      <a:pt x="1165" y="149"/>
                      <a:pt x="1164" y="149"/>
                    </a:cubicBezTo>
                    <a:cubicBezTo>
                      <a:pt x="1164" y="149"/>
                      <a:pt x="1164" y="149"/>
                      <a:pt x="1164" y="149"/>
                    </a:cubicBezTo>
                    <a:cubicBezTo>
                      <a:pt x="1164" y="149"/>
                      <a:pt x="1164" y="149"/>
                      <a:pt x="1163" y="149"/>
                    </a:cubicBezTo>
                    <a:cubicBezTo>
                      <a:pt x="1163" y="149"/>
                      <a:pt x="1163" y="149"/>
                      <a:pt x="1163" y="149"/>
                    </a:cubicBezTo>
                    <a:cubicBezTo>
                      <a:pt x="1163" y="148"/>
                      <a:pt x="1163" y="148"/>
                      <a:pt x="1162" y="148"/>
                    </a:cubicBezTo>
                    <a:cubicBezTo>
                      <a:pt x="1162" y="148"/>
                      <a:pt x="1162" y="148"/>
                      <a:pt x="1162" y="148"/>
                    </a:cubicBezTo>
                    <a:cubicBezTo>
                      <a:pt x="1162" y="148"/>
                      <a:pt x="1161" y="148"/>
                      <a:pt x="1161" y="148"/>
                    </a:cubicBezTo>
                    <a:cubicBezTo>
                      <a:pt x="1161" y="148"/>
                      <a:pt x="1161" y="148"/>
                      <a:pt x="1161" y="148"/>
                    </a:cubicBezTo>
                    <a:cubicBezTo>
                      <a:pt x="1161" y="147"/>
                      <a:pt x="1160" y="147"/>
                      <a:pt x="1160" y="147"/>
                    </a:cubicBezTo>
                    <a:cubicBezTo>
                      <a:pt x="1160" y="147"/>
                      <a:pt x="1160" y="147"/>
                      <a:pt x="1160" y="147"/>
                    </a:cubicBezTo>
                    <a:cubicBezTo>
                      <a:pt x="1160" y="147"/>
                      <a:pt x="1159" y="147"/>
                      <a:pt x="1159" y="146"/>
                    </a:cubicBezTo>
                    <a:cubicBezTo>
                      <a:pt x="1159" y="146"/>
                      <a:pt x="1159" y="146"/>
                      <a:pt x="1159" y="146"/>
                    </a:cubicBezTo>
                    <a:cubicBezTo>
                      <a:pt x="1158" y="146"/>
                      <a:pt x="1158" y="146"/>
                      <a:pt x="1158" y="146"/>
                    </a:cubicBezTo>
                    <a:cubicBezTo>
                      <a:pt x="1157" y="146"/>
                      <a:pt x="1157" y="146"/>
                      <a:pt x="1157" y="146"/>
                    </a:cubicBezTo>
                    <a:cubicBezTo>
                      <a:pt x="1157" y="146"/>
                      <a:pt x="1157" y="145"/>
                      <a:pt x="1156" y="145"/>
                    </a:cubicBezTo>
                    <a:cubicBezTo>
                      <a:pt x="1156" y="145"/>
                      <a:pt x="1156" y="145"/>
                      <a:pt x="1156" y="145"/>
                    </a:cubicBezTo>
                    <a:cubicBezTo>
                      <a:pt x="1156" y="145"/>
                      <a:pt x="1155" y="145"/>
                      <a:pt x="1155" y="145"/>
                    </a:cubicBezTo>
                    <a:cubicBezTo>
                      <a:pt x="1155" y="145"/>
                      <a:pt x="1155" y="145"/>
                      <a:pt x="1155" y="145"/>
                    </a:cubicBezTo>
                    <a:cubicBezTo>
                      <a:pt x="1154" y="144"/>
                      <a:pt x="1154" y="144"/>
                      <a:pt x="1154" y="144"/>
                    </a:cubicBezTo>
                    <a:cubicBezTo>
                      <a:pt x="1154" y="144"/>
                      <a:pt x="1154" y="144"/>
                      <a:pt x="1154" y="144"/>
                    </a:cubicBezTo>
                    <a:cubicBezTo>
                      <a:pt x="1153" y="144"/>
                      <a:pt x="1153" y="144"/>
                      <a:pt x="1152" y="144"/>
                    </a:cubicBezTo>
                    <a:cubicBezTo>
                      <a:pt x="1152" y="144"/>
                      <a:pt x="1152" y="144"/>
                      <a:pt x="1152" y="143"/>
                    </a:cubicBezTo>
                    <a:cubicBezTo>
                      <a:pt x="1152" y="143"/>
                      <a:pt x="1151" y="143"/>
                      <a:pt x="1151" y="143"/>
                    </a:cubicBezTo>
                    <a:cubicBezTo>
                      <a:pt x="1151" y="143"/>
                      <a:pt x="1151" y="143"/>
                      <a:pt x="1151" y="143"/>
                    </a:cubicBezTo>
                    <a:cubicBezTo>
                      <a:pt x="1150" y="143"/>
                      <a:pt x="1150" y="143"/>
                      <a:pt x="1150" y="142"/>
                    </a:cubicBezTo>
                    <a:cubicBezTo>
                      <a:pt x="1150" y="142"/>
                      <a:pt x="1150" y="142"/>
                      <a:pt x="1150" y="142"/>
                    </a:cubicBezTo>
                    <a:cubicBezTo>
                      <a:pt x="1149" y="142"/>
                      <a:pt x="1149" y="142"/>
                      <a:pt x="1148" y="142"/>
                    </a:cubicBezTo>
                    <a:cubicBezTo>
                      <a:pt x="1148" y="142"/>
                      <a:pt x="1148" y="142"/>
                      <a:pt x="1148" y="142"/>
                    </a:cubicBezTo>
                    <a:cubicBezTo>
                      <a:pt x="1148" y="141"/>
                      <a:pt x="1148" y="142"/>
                      <a:pt x="1147" y="141"/>
                    </a:cubicBezTo>
                    <a:cubicBezTo>
                      <a:pt x="1147" y="141"/>
                      <a:pt x="1147" y="141"/>
                      <a:pt x="1147" y="141"/>
                    </a:cubicBezTo>
                    <a:cubicBezTo>
                      <a:pt x="1147" y="141"/>
                      <a:pt x="1146" y="141"/>
                      <a:pt x="1146" y="141"/>
                    </a:cubicBezTo>
                    <a:cubicBezTo>
                      <a:pt x="1146" y="141"/>
                      <a:pt x="1146" y="141"/>
                      <a:pt x="1146" y="141"/>
                    </a:cubicBezTo>
                    <a:cubicBezTo>
                      <a:pt x="1146" y="140"/>
                      <a:pt x="1145" y="140"/>
                      <a:pt x="1145" y="140"/>
                    </a:cubicBezTo>
                    <a:cubicBezTo>
                      <a:pt x="1145" y="140"/>
                      <a:pt x="1145" y="140"/>
                      <a:pt x="1145" y="140"/>
                    </a:cubicBezTo>
                    <a:cubicBezTo>
                      <a:pt x="1145" y="140"/>
                      <a:pt x="1144" y="140"/>
                      <a:pt x="1144" y="140"/>
                    </a:cubicBezTo>
                    <a:cubicBezTo>
                      <a:pt x="1144" y="140"/>
                      <a:pt x="1144" y="140"/>
                      <a:pt x="1144" y="140"/>
                    </a:cubicBezTo>
                    <a:cubicBezTo>
                      <a:pt x="1144" y="139"/>
                      <a:pt x="1143" y="139"/>
                      <a:pt x="1143" y="139"/>
                    </a:cubicBezTo>
                    <a:cubicBezTo>
                      <a:pt x="1143" y="139"/>
                      <a:pt x="1143" y="139"/>
                      <a:pt x="1143" y="139"/>
                    </a:cubicBezTo>
                    <a:cubicBezTo>
                      <a:pt x="1142" y="139"/>
                      <a:pt x="1142" y="138"/>
                      <a:pt x="1142" y="138"/>
                    </a:cubicBezTo>
                    <a:cubicBezTo>
                      <a:pt x="1142" y="138"/>
                      <a:pt x="1142" y="138"/>
                      <a:pt x="1142" y="138"/>
                    </a:cubicBezTo>
                    <a:cubicBezTo>
                      <a:pt x="1142" y="138"/>
                      <a:pt x="1142" y="138"/>
                      <a:pt x="1142" y="138"/>
                    </a:cubicBezTo>
                    <a:cubicBezTo>
                      <a:pt x="1141" y="138"/>
                      <a:pt x="1141" y="138"/>
                      <a:pt x="1141" y="138"/>
                    </a:cubicBezTo>
                    <a:cubicBezTo>
                      <a:pt x="1141" y="138"/>
                      <a:pt x="1141" y="138"/>
                      <a:pt x="1141" y="138"/>
                    </a:cubicBezTo>
                    <a:cubicBezTo>
                      <a:pt x="1141" y="137"/>
                      <a:pt x="1140" y="138"/>
                      <a:pt x="1140" y="137"/>
                    </a:cubicBezTo>
                    <a:cubicBezTo>
                      <a:pt x="1140" y="137"/>
                      <a:pt x="1140" y="137"/>
                      <a:pt x="1140" y="137"/>
                    </a:cubicBezTo>
                    <a:cubicBezTo>
                      <a:pt x="1140" y="137"/>
                      <a:pt x="1139" y="137"/>
                      <a:pt x="1139" y="137"/>
                    </a:cubicBezTo>
                    <a:cubicBezTo>
                      <a:pt x="1139" y="137"/>
                      <a:pt x="1139" y="137"/>
                      <a:pt x="1139" y="137"/>
                    </a:cubicBezTo>
                    <a:cubicBezTo>
                      <a:pt x="1139" y="136"/>
                      <a:pt x="1139" y="136"/>
                      <a:pt x="1139" y="136"/>
                    </a:cubicBezTo>
                    <a:cubicBezTo>
                      <a:pt x="1139" y="136"/>
                      <a:pt x="1139" y="136"/>
                      <a:pt x="1139" y="136"/>
                    </a:cubicBezTo>
                    <a:cubicBezTo>
                      <a:pt x="1138" y="136"/>
                      <a:pt x="1138" y="136"/>
                      <a:pt x="1138" y="135"/>
                    </a:cubicBezTo>
                    <a:cubicBezTo>
                      <a:pt x="1138" y="135"/>
                      <a:pt x="1138" y="135"/>
                      <a:pt x="1138" y="135"/>
                    </a:cubicBezTo>
                    <a:cubicBezTo>
                      <a:pt x="1137" y="135"/>
                      <a:pt x="1137" y="135"/>
                      <a:pt x="1137" y="135"/>
                    </a:cubicBezTo>
                    <a:cubicBezTo>
                      <a:pt x="1137" y="135"/>
                      <a:pt x="1137" y="135"/>
                      <a:pt x="1137" y="135"/>
                    </a:cubicBezTo>
                    <a:cubicBezTo>
                      <a:pt x="1137" y="135"/>
                      <a:pt x="1137" y="135"/>
                      <a:pt x="1136" y="134"/>
                    </a:cubicBezTo>
                    <a:cubicBezTo>
                      <a:pt x="1136" y="134"/>
                      <a:pt x="1136" y="134"/>
                      <a:pt x="1136" y="134"/>
                    </a:cubicBezTo>
                    <a:cubicBezTo>
                      <a:pt x="1136" y="134"/>
                      <a:pt x="1136" y="133"/>
                      <a:pt x="1136" y="133"/>
                    </a:cubicBezTo>
                    <a:cubicBezTo>
                      <a:pt x="1136" y="133"/>
                      <a:pt x="1136" y="133"/>
                      <a:pt x="1136" y="133"/>
                    </a:cubicBezTo>
                    <a:cubicBezTo>
                      <a:pt x="1136" y="133"/>
                      <a:pt x="1135" y="133"/>
                      <a:pt x="1135" y="133"/>
                    </a:cubicBezTo>
                    <a:cubicBezTo>
                      <a:pt x="1135" y="133"/>
                      <a:pt x="1135" y="133"/>
                      <a:pt x="1135" y="133"/>
                    </a:cubicBezTo>
                    <a:cubicBezTo>
                      <a:pt x="1135" y="132"/>
                      <a:pt x="1135" y="132"/>
                      <a:pt x="1135" y="131"/>
                    </a:cubicBezTo>
                    <a:cubicBezTo>
                      <a:pt x="1135" y="131"/>
                      <a:pt x="1135" y="131"/>
                      <a:pt x="1135" y="131"/>
                    </a:cubicBezTo>
                    <a:cubicBezTo>
                      <a:pt x="1134" y="131"/>
                      <a:pt x="1135" y="130"/>
                      <a:pt x="1134" y="130"/>
                    </a:cubicBezTo>
                    <a:cubicBezTo>
                      <a:pt x="1134" y="130"/>
                      <a:pt x="1134" y="130"/>
                      <a:pt x="1134" y="130"/>
                    </a:cubicBezTo>
                    <a:cubicBezTo>
                      <a:pt x="1134" y="129"/>
                      <a:pt x="1134" y="129"/>
                      <a:pt x="1134" y="128"/>
                    </a:cubicBezTo>
                    <a:cubicBezTo>
                      <a:pt x="1133" y="128"/>
                      <a:pt x="1133" y="127"/>
                      <a:pt x="1133" y="127"/>
                    </a:cubicBezTo>
                    <a:cubicBezTo>
                      <a:pt x="1133" y="125"/>
                      <a:pt x="1133" y="123"/>
                      <a:pt x="1133" y="121"/>
                    </a:cubicBezTo>
                    <a:cubicBezTo>
                      <a:pt x="1133" y="121"/>
                      <a:pt x="1133" y="121"/>
                      <a:pt x="1134" y="120"/>
                    </a:cubicBezTo>
                    <a:cubicBezTo>
                      <a:pt x="1134" y="120"/>
                      <a:pt x="1134" y="120"/>
                      <a:pt x="1134" y="119"/>
                    </a:cubicBezTo>
                    <a:cubicBezTo>
                      <a:pt x="1134" y="119"/>
                      <a:pt x="1134" y="119"/>
                      <a:pt x="1134" y="119"/>
                    </a:cubicBezTo>
                    <a:cubicBezTo>
                      <a:pt x="1134" y="118"/>
                      <a:pt x="1134" y="118"/>
                      <a:pt x="1135" y="118"/>
                    </a:cubicBezTo>
                    <a:cubicBezTo>
                      <a:pt x="1135" y="118"/>
                      <a:pt x="1135" y="118"/>
                      <a:pt x="1135" y="118"/>
                    </a:cubicBezTo>
                    <a:cubicBezTo>
                      <a:pt x="1135" y="117"/>
                      <a:pt x="1135" y="117"/>
                      <a:pt x="1135" y="117"/>
                    </a:cubicBezTo>
                    <a:cubicBezTo>
                      <a:pt x="1135" y="116"/>
                      <a:pt x="1135" y="116"/>
                      <a:pt x="1135" y="116"/>
                    </a:cubicBezTo>
                    <a:cubicBezTo>
                      <a:pt x="1135" y="116"/>
                      <a:pt x="1136" y="116"/>
                      <a:pt x="1136" y="116"/>
                    </a:cubicBezTo>
                    <a:cubicBezTo>
                      <a:pt x="1136" y="116"/>
                      <a:pt x="1136" y="116"/>
                      <a:pt x="1136" y="116"/>
                    </a:cubicBezTo>
                    <a:cubicBezTo>
                      <a:pt x="1136" y="116"/>
                      <a:pt x="1136" y="116"/>
                      <a:pt x="1136" y="115"/>
                    </a:cubicBezTo>
                    <a:cubicBezTo>
                      <a:pt x="1136" y="115"/>
                      <a:pt x="1136" y="115"/>
                      <a:pt x="1136" y="115"/>
                    </a:cubicBezTo>
                    <a:cubicBezTo>
                      <a:pt x="1137" y="114"/>
                      <a:pt x="1138" y="114"/>
                      <a:pt x="1139" y="113"/>
                    </a:cubicBezTo>
                    <a:cubicBezTo>
                      <a:pt x="1139" y="113"/>
                      <a:pt x="1139" y="113"/>
                      <a:pt x="1139" y="113"/>
                    </a:cubicBezTo>
                    <a:cubicBezTo>
                      <a:pt x="1139" y="113"/>
                      <a:pt x="1139" y="113"/>
                      <a:pt x="1139" y="112"/>
                    </a:cubicBezTo>
                    <a:cubicBezTo>
                      <a:pt x="1139" y="112"/>
                      <a:pt x="1139" y="112"/>
                      <a:pt x="1139" y="112"/>
                    </a:cubicBezTo>
                    <a:cubicBezTo>
                      <a:pt x="1140" y="112"/>
                      <a:pt x="1140" y="112"/>
                      <a:pt x="1141" y="111"/>
                    </a:cubicBezTo>
                    <a:cubicBezTo>
                      <a:pt x="1141" y="111"/>
                      <a:pt x="1141" y="111"/>
                      <a:pt x="1141" y="111"/>
                    </a:cubicBezTo>
                    <a:cubicBezTo>
                      <a:pt x="1141" y="111"/>
                      <a:pt x="1142" y="111"/>
                      <a:pt x="1142" y="111"/>
                    </a:cubicBezTo>
                    <a:cubicBezTo>
                      <a:pt x="1142" y="111"/>
                      <a:pt x="1142" y="111"/>
                      <a:pt x="1142" y="111"/>
                    </a:cubicBezTo>
                    <a:cubicBezTo>
                      <a:pt x="1143" y="110"/>
                      <a:pt x="1143" y="111"/>
                      <a:pt x="1144" y="110"/>
                    </a:cubicBezTo>
                    <a:cubicBezTo>
                      <a:pt x="1144" y="110"/>
                      <a:pt x="1144" y="110"/>
                      <a:pt x="1144" y="110"/>
                    </a:cubicBezTo>
                    <a:cubicBezTo>
                      <a:pt x="1144" y="110"/>
                      <a:pt x="1145" y="110"/>
                      <a:pt x="1146" y="109"/>
                    </a:cubicBezTo>
                    <a:cubicBezTo>
                      <a:pt x="1146" y="110"/>
                      <a:pt x="1146" y="110"/>
                      <a:pt x="1146" y="110"/>
                    </a:cubicBezTo>
                    <a:cubicBezTo>
                      <a:pt x="1146" y="109"/>
                      <a:pt x="1147" y="110"/>
                      <a:pt x="1148" y="109"/>
                    </a:cubicBezTo>
                    <a:cubicBezTo>
                      <a:pt x="1148" y="109"/>
                      <a:pt x="1148" y="109"/>
                      <a:pt x="1148" y="109"/>
                    </a:cubicBezTo>
                    <a:cubicBezTo>
                      <a:pt x="1148" y="109"/>
                      <a:pt x="1148" y="109"/>
                      <a:pt x="1148" y="109"/>
                    </a:cubicBezTo>
                    <a:cubicBezTo>
                      <a:pt x="1151" y="109"/>
                      <a:pt x="1154" y="109"/>
                      <a:pt x="1157" y="109"/>
                    </a:cubicBezTo>
                    <a:cubicBezTo>
                      <a:pt x="1158" y="109"/>
                      <a:pt x="1158" y="109"/>
                      <a:pt x="1158" y="109"/>
                    </a:cubicBezTo>
                    <a:cubicBezTo>
                      <a:pt x="1159" y="110"/>
                      <a:pt x="1160" y="109"/>
                      <a:pt x="1161" y="109"/>
                    </a:cubicBezTo>
                    <a:cubicBezTo>
                      <a:pt x="1162" y="109"/>
                      <a:pt x="1162" y="109"/>
                      <a:pt x="1162" y="109"/>
                    </a:cubicBezTo>
                    <a:cubicBezTo>
                      <a:pt x="1162" y="110"/>
                      <a:pt x="1162" y="110"/>
                      <a:pt x="1162" y="110"/>
                    </a:cubicBezTo>
                    <a:cubicBezTo>
                      <a:pt x="1162" y="110"/>
                      <a:pt x="1163" y="110"/>
                      <a:pt x="1164" y="110"/>
                    </a:cubicBezTo>
                    <a:cubicBezTo>
                      <a:pt x="1164" y="110"/>
                      <a:pt x="1164" y="110"/>
                      <a:pt x="1164" y="110"/>
                    </a:cubicBezTo>
                    <a:cubicBezTo>
                      <a:pt x="1165" y="111"/>
                      <a:pt x="1165" y="110"/>
                      <a:pt x="1166" y="111"/>
                    </a:cubicBezTo>
                    <a:cubicBezTo>
                      <a:pt x="1166" y="111"/>
                      <a:pt x="1166" y="111"/>
                      <a:pt x="1166" y="111"/>
                    </a:cubicBezTo>
                    <a:cubicBezTo>
                      <a:pt x="1166" y="111"/>
                      <a:pt x="1166" y="111"/>
                      <a:pt x="1166" y="111"/>
                    </a:cubicBezTo>
                    <a:cubicBezTo>
                      <a:pt x="1167" y="111"/>
                      <a:pt x="1167" y="111"/>
                      <a:pt x="1168" y="111"/>
                    </a:cubicBezTo>
                    <a:cubicBezTo>
                      <a:pt x="1168" y="111"/>
                      <a:pt x="1168" y="111"/>
                      <a:pt x="1168" y="111"/>
                    </a:cubicBezTo>
                    <a:cubicBezTo>
                      <a:pt x="1168" y="112"/>
                      <a:pt x="1169" y="111"/>
                      <a:pt x="1169" y="112"/>
                    </a:cubicBezTo>
                    <a:cubicBezTo>
                      <a:pt x="1169" y="112"/>
                      <a:pt x="1169" y="112"/>
                      <a:pt x="1169" y="112"/>
                    </a:cubicBezTo>
                    <a:cubicBezTo>
                      <a:pt x="1170" y="112"/>
                      <a:pt x="1170" y="112"/>
                      <a:pt x="1170" y="112"/>
                    </a:cubicBezTo>
                    <a:cubicBezTo>
                      <a:pt x="1170" y="112"/>
                      <a:pt x="1170" y="112"/>
                      <a:pt x="1170" y="112"/>
                    </a:cubicBezTo>
                    <a:cubicBezTo>
                      <a:pt x="1171" y="113"/>
                      <a:pt x="1171" y="113"/>
                      <a:pt x="1172" y="113"/>
                    </a:cubicBezTo>
                    <a:cubicBezTo>
                      <a:pt x="1172" y="113"/>
                      <a:pt x="1172" y="113"/>
                      <a:pt x="1172" y="113"/>
                    </a:cubicBezTo>
                    <a:cubicBezTo>
                      <a:pt x="1172" y="113"/>
                      <a:pt x="1172" y="113"/>
                      <a:pt x="1173" y="113"/>
                    </a:cubicBezTo>
                    <a:cubicBezTo>
                      <a:pt x="1173" y="113"/>
                      <a:pt x="1173" y="113"/>
                      <a:pt x="1173" y="113"/>
                    </a:cubicBezTo>
                    <a:cubicBezTo>
                      <a:pt x="1173" y="114"/>
                      <a:pt x="1174" y="114"/>
                      <a:pt x="1174" y="114"/>
                    </a:cubicBezTo>
                    <a:cubicBezTo>
                      <a:pt x="1174" y="114"/>
                      <a:pt x="1174" y="114"/>
                      <a:pt x="1174" y="114"/>
                    </a:cubicBezTo>
                    <a:cubicBezTo>
                      <a:pt x="1174" y="115"/>
                      <a:pt x="1175" y="114"/>
                      <a:pt x="1175" y="115"/>
                    </a:cubicBezTo>
                    <a:cubicBezTo>
                      <a:pt x="1175" y="115"/>
                      <a:pt x="1175" y="115"/>
                      <a:pt x="1175" y="115"/>
                    </a:cubicBezTo>
                    <a:cubicBezTo>
                      <a:pt x="1175" y="115"/>
                      <a:pt x="1175" y="115"/>
                      <a:pt x="1176" y="115"/>
                    </a:cubicBezTo>
                    <a:cubicBezTo>
                      <a:pt x="1176" y="115"/>
                      <a:pt x="1176" y="115"/>
                      <a:pt x="1176" y="115"/>
                    </a:cubicBezTo>
                    <a:cubicBezTo>
                      <a:pt x="1176" y="116"/>
                      <a:pt x="1176" y="116"/>
                      <a:pt x="1177" y="116"/>
                    </a:cubicBezTo>
                    <a:cubicBezTo>
                      <a:pt x="1177" y="116"/>
                      <a:pt x="1177" y="116"/>
                      <a:pt x="1177" y="116"/>
                    </a:cubicBezTo>
                    <a:cubicBezTo>
                      <a:pt x="1177" y="116"/>
                      <a:pt x="1177" y="116"/>
                      <a:pt x="1178" y="116"/>
                    </a:cubicBezTo>
                    <a:cubicBezTo>
                      <a:pt x="1178" y="111"/>
                      <a:pt x="1178" y="106"/>
                      <a:pt x="1178" y="101"/>
                    </a:cubicBezTo>
                    <a:cubicBezTo>
                      <a:pt x="1178" y="100"/>
                      <a:pt x="1178" y="99"/>
                      <a:pt x="1177" y="98"/>
                    </a:cubicBezTo>
                    <a:cubicBezTo>
                      <a:pt x="1177" y="98"/>
                      <a:pt x="1176" y="98"/>
                      <a:pt x="1176" y="97"/>
                    </a:cubicBezTo>
                    <a:cubicBezTo>
                      <a:pt x="1176" y="97"/>
                      <a:pt x="1176" y="97"/>
                      <a:pt x="1176" y="97"/>
                    </a:cubicBezTo>
                    <a:cubicBezTo>
                      <a:pt x="1176" y="97"/>
                      <a:pt x="1175" y="97"/>
                      <a:pt x="1175" y="97"/>
                    </a:cubicBezTo>
                    <a:cubicBezTo>
                      <a:pt x="1175" y="97"/>
                      <a:pt x="1175" y="97"/>
                      <a:pt x="1175" y="97"/>
                    </a:cubicBezTo>
                    <a:cubicBezTo>
                      <a:pt x="1175" y="97"/>
                      <a:pt x="1174" y="97"/>
                      <a:pt x="1174" y="96"/>
                    </a:cubicBezTo>
                    <a:cubicBezTo>
                      <a:pt x="1173" y="96"/>
                      <a:pt x="1173" y="96"/>
                      <a:pt x="1173" y="96"/>
                    </a:cubicBezTo>
                    <a:cubicBezTo>
                      <a:pt x="1173" y="96"/>
                      <a:pt x="1172" y="96"/>
                      <a:pt x="1172" y="96"/>
                    </a:cubicBezTo>
                    <a:cubicBezTo>
                      <a:pt x="1172" y="96"/>
                      <a:pt x="1172" y="96"/>
                      <a:pt x="1171" y="96"/>
                    </a:cubicBezTo>
                    <a:cubicBezTo>
                      <a:pt x="1171" y="95"/>
                      <a:pt x="1171" y="95"/>
                      <a:pt x="1170" y="95"/>
                    </a:cubicBezTo>
                    <a:cubicBezTo>
                      <a:pt x="1170" y="95"/>
                      <a:pt x="1170" y="95"/>
                      <a:pt x="1170" y="95"/>
                    </a:cubicBezTo>
                    <a:cubicBezTo>
                      <a:pt x="1169" y="95"/>
                      <a:pt x="1168" y="95"/>
                      <a:pt x="1168" y="95"/>
                    </a:cubicBezTo>
                    <a:cubicBezTo>
                      <a:pt x="1168" y="95"/>
                      <a:pt x="1168" y="95"/>
                      <a:pt x="1167" y="95"/>
                    </a:cubicBezTo>
                    <a:cubicBezTo>
                      <a:pt x="1167" y="94"/>
                      <a:pt x="1166" y="94"/>
                      <a:pt x="1165" y="94"/>
                    </a:cubicBezTo>
                    <a:cubicBezTo>
                      <a:pt x="1165" y="94"/>
                      <a:pt x="1165" y="94"/>
                      <a:pt x="1165" y="94"/>
                    </a:cubicBezTo>
                    <a:cubicBezTo>
                      <a:pt x="1164" y="94"/>
                      <a:pt x="1163" y="94"/>
                      <a:pt x="1162" y="94"/>
                    </a:cubicBezTo>
                    <a:cubicBezTo>
                      <a:pt x="1161" y="94"/>
                      <a:pt x="1161" y="94"/>
                      <a:pt x="1160" y="93"/>
                    </a:cubicBezTo>
                    <a:cubicBezTo>
                      <a:pt x="1156" y="93"/>
                      <a:pt x="1152" y="93"/>
                      <a:pt x="1148" y="93"/>
                    </a:cubicBezTo>
                    <a:cubicBezTo>
                      <a:pt x="1147" y="93"/>
                      <a:pt x="1147" y="93"/>
                      <a:pt x="1146" y="93"/>
                    </a:cubicBezTo>
                    <a:cubicBezTo>
                      <a:pt x="1146" y="94"/>
                      <a:pt x="1145" y="93"/>
                      <a:pt x="1144" y="94"/>
                    </a:cubicBezTo>
                    <a:cubicBezTo>
                      <a:pt x="1144" y="94"/>
                      <a:pt x="1143" y="94"/>
                      <a:pt x="1143" y="94"/>
                    </a:cubicBezTo>
                    <a:cubicBezTo>
                      <a:pt x="1142" y="94"/>
                      <a:pt x="1142" y="94"/>
                      <a:pt x="1141" y="95"/>
                    </a:cubicBezTo>
                    <a:cubicBezTo>
                      <a:pt x="1141" y="95"/>
                      <a:pt x="1141" y="95"/>
                      <a:pt x="1141" y="95"/>
                    </a:cubicBezTo>
                    <a:cubicBezTo>
                      <a:pt x="1140" y="95"/>
                      <a:pt x="1140" y="95"/>
                      <a:pt x="1139" y="95"/>
                    </a:cubicBezTo>
                    <a:cubicBezTo>
                      <a:pt x="1139" y="95"/>
                      <a:pt x="1139" y="95"/>
                      <a:pt x="1139" y="95"/>
                    </a:cubicBezTo>
                    <a:cubicBezTo>
                      <a:pt x="1138" y="96"/>
                      <a:pt x="1137" y="95"/>
                      <a:pt x="1137" y="96"/>
                    </a:cubicBezTo>
                    <a:cubicBezTo>
                      <a:pt x="1137" y="96"/>
                      <a:pt x="1137" y="96"/>
                      <a:pt x="1137" y="96"/>
                    </a:cubicBezTo>
                    <a:cubicBezTo>
                      <a:pt x="1137" y="96"/>
                      <a:pt x="1136" y="96"/>
                      <a:pt x="1136" y="96"/>
                    </a:cubicBezTo>
                    <a:cubicBezTo>
                      <a:pt x="1136" y="96"/>
                      <a:pt x="1136" y="96"/>
                      <a:pt x="1135" y="96"/>
                    </a:cubicBezTo>
                    <a:cubicBezTo>
                      <a:pt x="1135" y="97"/>
                      <a:pt x="1134" y="97"/>
                      <a:pt x="1134" y="97"/>
                    </a:cubicBezTo>
                    <a:cubicBezTo>
                      <a:pt x="1134" y="97"/>
                      <a:pt x="1134" y="97"/>
                      <a:pt x="1134" y="97"/>
                    </a:cubicBezTo>
                    <a:cubicBezTo>
                      <a:pt x="1134" y="97"/>
                      <a:pt x="1133" y="97"/>
                      <a:pt x="1133" y="98"/>
                    </a:cubicBezTo>
                    <a:cubicBezTo>
                      <a:pt x="1133" y="98"/>
                      <a:pt x="1133" y="98"/>
                      <a:pt x="1133" y="98"/>
                    </a:cubicBezTo>
                    <a:cubicBezTo>
                      <a:pt x="1133" y="98"/>
                      <a:pt x="1132" y="98"/>
                      <a:pt x="1132" y="98"/>
                    </a:cubicBezTo>
                    <a:cubicBezTo>
                      <a:pt x="1132" y="98"/>
                      <a:pt x="1132" y="98"/>
                      <a:pt x="1132" y="98"/>
                    </a:cubicBezTo>
                    <a:cubicBezTo>
                      <a:pt x="1131" y="98"/>
                      <a:pt x="1131" y="98"/>
                      <a:pt x="1131" y="99"/>
                    </a:cubicBezTo>
                    <a:cubicBezTo>
                      <a:pt x="1131" y="99"/>
                      <a:pt x="1131" y="99"/>
                      <a:pt x="1131" y="99"/>
                    </a:cubicBezTo>
                    <a:cubicBezTo>
                      <a:pt x="1130" y="99"/>
                      <a:pt x="1130" y="99"/>
                      <a:pt x="1130" y="99"/>
                    </a:cubicBezTo>
                    <a:cubicBezTo>
                      <a:pt x="1130" y="99"/>
                      <a:pt x="1130" y="99"/>
                      <a:pt x="1130" y="99"/>
                    </a:cubicBezTo>
                    <a:cubicBezTo>
                      <a:pt x="1130" y="100"/>
                      <a:pt x="1129" y="99"/>
                      <a:pt x="1129" y="100"/>
                    </a:cubicBezTo>
                    <a:cubicBezTo>
                      <a:pt x="1129" y="100"/>
                      <a:pt x="1129" y="100"/>
                      <a:pt x="1129" y="100"/>
                    </a:cubicBezTo>
                    <a:cubicBezTo>
                      <a:pt x="1129" y="100"/>
                      <a:pt x="1129" y="100"/>
                      <a:pt x="1128" y="100"/>
                    </a:cubicBezTo>
                    <a:cubicBezTo>
                      <a:pt x="1128" y="100"/>
                      <a:pt x="1128" y="100"/>
                      <a:pt x="1128" y="100"/>
                    </a:cubicBezTo>
                    <a:cubicBezTo>
                      <a:pt x="1128" y="101"/>
                      <a:pt x="1127" y="101"/>
                      <a:pt x="1127" y="101"/>
                    </a:cubicBezTo>
                    <a:cubicBezTo>
                      <a:pt x="1127" y="101"/>
                      <a:pt x="1127" y="101"/>
                      <a:pt x="1127" y="101"/>
                    </a:cubicBezTo>
                    <a:cubicBezTo>
                      <a:pt x="1127" y="101"/>
                      <a:pt x="1127" y="101"/>
                      <a:pt x="1127" y="102"/>
                    </a:cubicBezTo>
                    <a:cubicBezTo>
                      <a:pt x="1127" y="102"/>
                      <a:pt x="1127" y="102"/>
                      <a:pt x="1127" y="102"/>
                    </a:cubicBezTo>
                    <a:cubicBezTo>
                      <a:pt x="1126" y="102"/>
                      <a:pt x="1126" y="102"/>
                      <a:pt x="1126" y="102"/>
                    </a:cubicBezTo>
                    <a:cubicBezTo>
                      <a:pt x="1126" y="102"/>
                      <a:pt x="1126" y="102"/>
                      <a:pt x="1126" y="102"/>
                    </a:cubicBezTo>
                    <a:cubicBezTo>
                      <a:pt x="1126" y="103"/>
                      <a:pt x="1125" y="103"/>
                      <a:pt x="1124" y="103"/>
                    </a:cubicBezTo>
                    <a:cubicBezTo>
                      <a:pt x="1124" y="103"/>
                      <a:pt x="1124" y="103"/>
                      <a:pt x="1124" y="103"/>
                    </a:cubicBezTo>
                    <a:cubicBezTo>
                      <a:pt x="1124" y="103"/>
                      <a:pt x="1124" y="104"/>
                      <a:pt x="1124" y="104"/>
                    </a:cubicBezTo>
                    <a:cubicBezTo>
                      <a:pt x="1124" y="104"/>
                      <a:pt x="1124" y="104"/>
                      <a:pt x="1124" y="104"/>
                    </a:cubicBezTo>
                    <a:cubicBezTo>
                      <a:pt x="1123" y="104"/>
                      <a:pt x="1123" y="104"/>
                      <a:pt x="1123" y="105"/>
                    </a:cubicBezTo>
                    <a:cubicBezTo>
                      <a:pt x="1123" y="104"/>
                      <a:pt x="1123" y="104"/>
                      <a:pt x="1123" y="104"/>
                    </a:cubicBezTo>
                    <a:cubicBezTo>
                      <a:pt x="1123" y="105"/>
                      <a:pt x="1123" y="105"/>
                      <a:pt x="1123" y="105"/>
                    </a:cubicBezTo>
                    <a:cubicBezTo>
                      <a:pt x="1123" y="105"/>
                      <a:pt x="1123" y="105"/>
                      <a:pt x="1123" y="105"/>
                    </a:cubicBezTo>
                    <a:cubicBezTo>
                      <a:pt x="1122" y="105"/>
                      <a:pt x="1122" y="105"/>
                      <a:pt x="1122" y="106"/>
                    </a:cubicBezTo>
                    <a:cubicBezTo>
                      <a:pt x="1122" y="106"/>
                      <a:pt x="1122" y="106"/>
                      <a:pt x="1122" y="106"/>
                    </a:cubicBezTo>
                    <a:cubicBezTo>
                      <a:pt x="1121" y="106"/>
                      <a:pt x="1121" y="107"/>
                      <a:pt x="1121" y="107"/>
                    </a:cubicBezTo>
                    <a:cubicBezTo>
                      <a:pt x="1121" y="107"/>
                      <a:pt x="1121" y="107"/>
                      <a:pt x="1121" y="107"/>
                    </a:cubicBezTo>
                    <a:cubicBezTo>
                      <a:pt x="1121" y="107"/>
                      <a:pt x="1120" y="108"/>
                      <a:pt x="1120" y="108"/>
                    </a:cubicBezTo>
                    <a:cubicBezTo>
                      <a:pt x="1120" y="108"/>
                      <a:pt x="1120" y="108"/>
                      <a:pt x="1120" y="108"/>
                    </a:cubicBezTo>
                    <a:cubicBezTo>
                      <a:pt x="1120" y="108"/>
                      <a:pt x="1120" y="108"/>
                      <a:pt x="1120" y="109"/>
                    </a:cubicBezTo>
                    <a:cubicBezTo>
                      <a:pt x="1120" y="108"/>
                      <a:pt x="1120" y="108"/>
                      <a:pt x="1120" y="108"/>
                    </a:cubicBezTo>
                    <a:cubicBezTo>
                      <a:pt x="1119" y="109"/>
                      <a:pt x="1119" y="109"/>
                      <a:pt x="1119" y="110"/>
                    </a:cubicBezTo>
                    <a:cubicBezTo>
                      <a:pt x="1119" y="110"/>
                      <a:pt x="1119" y="110"/>
                      <a:pt x="1119" y="110"/>
                    </a:cubicBezTo>
                    <a:cubicBezTo>
                      <a:pt x="1119" y="110"/>
                      <a:pt x="1119" y="110"/>
                      <a:pt x="1119" y="110"/>
                    </a:cubicBezTo>
                    <a:cubicBezTo>
                      <a:pt x="1119" y="110"/>
                      <a:pt x="1119" y="110"/>
                      <a:pt x="1119" y="110"/>
                    </a:cubicBezTo>
                    <a:cubicBezTo>
                      <a:pt x="1118" y="110"/>
                      <a:pt x="1118" y="111"/>
                      <a:pt x="1118" y="111"/>
                    </a:cubicBezTo>
                    <a:cubicBezTo>
                      <a:pt x="1118" y="111"/>
                      <a:pt x="1118" y="111"/>
                      <a:pt x="1118" y="111"/>
                    </a:cubicBezTo>
                    <a:cubicBezTo>
                      <a:pt x="1118" y="112"/>
                      <a:pt x="1118" y="112"/>
                      <a:pt x="1117" y="113"/>
                    </a:cubicBezTo>
                    <a:cubicBezTo>
                      <a:pt x="1117" y="112"/>
                      <a:pt x="1117" y="112"/>
                      <a:pt x="1117" y="112"/>
                    </a:cubicBezTo>
                    <a:cubicBezTo>
                      <a:pt x="1117" y="113"/>
                      <a:pt x="1117" y="113"/>
                      <a:pt x="1117" y="114"/>
                    </a:cubicBezTo>
                    <a:cubicBezTo>
                      <a:pt x="1117" y="114"/>
                      <a:pt x="1117" y="114"/>
                      <a:pt x="1117" y="114"/>
                    </a:cubicBezTo>
                    <a:cubicBezTo>
                      <a:pt x="1116" y="114"/>
                      <a:pt x="1117" y="115"/>
                      <a:pt x="1116" y="115"/>
                    </a:cubicBezTo>
                    <a:cubicBezTo>
                      <a:pt x="1116" y="115"/>
                      <a:pt x="1116" y="115"/>
                      <a:pt x="1116" y="115"/>
                    </a:cubicBezTo>
                    <a:cubicBezTo>
                      <a:pt x="1116" y="116"/>
                      <a:pt x="1116" y="117"/>
                      <a:pt x="1116" y="117"/>
                    </a:cubicBezTo>
                    <a:cubicBezTo>
                      <a:pt x="1116" y="117"/>
                      <a:pt x="1116" y="117"/>
                      <a:pt x="1116" y="117"/>
                    </a:cubicBezTo>
                    <a:cubicBezTo>
                      <a:pt x="1115" y="118"/>
                      <a:pt x="1115" y="118"/>
                      <a:pt x="1115" y="119"/>
                    </a:cubicBezTo>
                    <a:cubicBezTo>
                      <a:pt x="1115" y="119"/>
                      <a:pt x="1115" y="120"/>
                      <a:pt x="1115" y="120"/>
                    </a:cubicBezTo>
                    <a:cubicBezTo>
                      <a:pt x="1114" y="121"/>
                      <a:pt x="1115" y="122"/>
                      <a:pt x="1115" y="124"/>
                    </a:cubicBezTo>
                    <a:cubicBezTo>
                      <a:pt x="1115" y="125"/>
                      <a:pt x="1115" y="126"/>
                      <a:pt x="1115" y="127"/>
                    </a:cubicBezTo>
                    <a:cubicBezTo>
                      <a:pt x="1115" y="129"/>
                      <a:pt x="1114" y="130"/>
                      <a:pt x="1115" y="132"/>
                    </a:cubicBezTo>
                    <a:cubicBezTo>
                      <a:pt x="1115" y="132"/>
                      <a:pt x="1115" y="132"/>
                      <a:pt x="1115" y="132"/>
                    </a:cubicBezTo>
                    <a:cubicBezTo>
                      <a:pt x="1116" y="133"/>
                      <a:pt x="1115" y="134"/>
                      <a:pt x="1116" y="135"/>
                    </a:cubicBezTo>
                    <a:cubicBezTo>
                      <a:pt x="1116" y="135"/>
                      <a:pt x="1116" y="135"/>
                      <a:pt x="1116" y="135"/>
                    </a:cubicBezTo>
                    <a:cubicBezTo>
                      <a:pt x="1116" y="135"/>
                      <a:pt x="1116" y="135"/>
                      <a:pt x="1116" y="135"/>
                    </a:cubicBezTo>
                    <a:cubicBezTo>
                      <a:pt x="1116" y="136"/>
                      <a:pt x="1116" y="136"/>
                      <a:pt x="1116" y="137"/>
                    </a:cubicBezTo>
                    <a:cubicBezTo>
                      <a:pt x="1116" y="137"/>
                      <a:pt x="1116" y="137"/>
                      <a:pt x="1116" y="137"/>
                    </a:cubicBezTo>
                    <a:cubicBezTo>
                      <a:pt x="1116" y="137"/>
                      <a:pt x="1116" y="138"/>
                      <a:pt x="1117" y="138"/>
                    </a:cubicBezTo>
                    <a:cubicBezTo>
                      <a:pt x="1117" y="138"/>
                      <a:pt x="1117" y="138"/>
                      <a:pt x="1117" y="138"/>
                    </a:cubicBezTo>
                    <a:cubicBezTo>
                      <a:pt x="1117" y="139"/>
                      <a:pt x="1117" y="139"/>
                      <a:pt x="1117" y="139"/>
                    </a:cubicBezTo>
                    <a:cubicBezTo>
                      <a:pt x="1117" y="140"/>
                      <a:pt x="1117" y="140"/>
                      <a:pt x="1117" y="140"/>
                    </a:cubicBezTo>
                    <a:cubicBezTo>
                      <a:pt x="1117" y="140"/>
                      <a:pt x="1117" y="140"/>
                      <a:pt x="1117" y="140"/>
                    </a:cubicBezTo>
                    <a:cubicBezTo>
                      <a:pt x="1117" y="140"/>
                      <a:pt x="1118" y="140"/>
                      <a:pt x="1118" y="141"/>
                    </a:cubicBezTo>
                    <a:cubicBezTo>
                      <a:pt x="1118" y="141"/>
                      <a:pt x="1118" y="141"/>
                      <a:pt x="1118" y="141"/>
                    </a:cubicBezTo>
                    <a:cubicBezTo>
                      <a:pt x="1118" y="141"/>
                      <a:pt x="1118" y="142"/>
                      <a:pt x="1119" y="142"/>
                    </a:cubicBezTo>
                    <a:cubicBezTo>
                      <a:pt x="1119" y="142"/>
                      <a:pt x="1119" y="142"/>
                      <a:pt x="1119" y="142"/>
                    </a:cubicBezTo>
                    <a:cubicBezTo>
                      <a:pt x="1119" y="142"/>
                      <a:pt x="1119" y="143"/>
                      <a:pt x="1119" y="143"/>
                    </a:cubicBezTo>
                    <a:cubicBezTo>
                      <a:pt x="1119" y="143"/>
                      <a:pt x="1119" y="143"/>
                      <a:pt x="1119" y="143"/>
                    </a:cubicBezTo>
                    <a:cubicBezTo>
                      <a:pt x="1119" y="143"/>
                      <a:pt x="1119" y="143"/>
                      <a:pt x="1120" y="144"/>
                    </a:cubicBezTo>
                    <a:cubicBezTo>
                      <a:pt x="1120" y="144"/>
                      <a:pt x="1120" y="144"/>
                      <a:pt x="1120" y="144"/>
                    </a:cubicBezTo>
                    <a:cubicBezTo>
                      <a:pt x="1120" y="144"/>
                      <a:pt x="1120" y="145"/>
                      <a:pt x="1121" y="145"/>
                    </a:cubicBezTo>
                    <a:cubicBezTo>
                      <a:pt x="1121" y="145"/>
                      <a:pt x="1121" y="145"/>
                      <a:pt x="1121" y="145"/>
                    </a:cubicBezTo>
                    <a:cubicBezTo>
                      <a:pt x="1121" y="145"/>
                      <a:pt x="1121" y="146"/>
                      <a:pt x="1122" y="146"/>
                    </a:cubicBezTo>
                    <a:cubicBezTo>
                      <a:pt x="1121" y="146"/>
                      <a:pt x="1121" y="146"/>
                      <a:pt x="1121" y="146"/>
                    </a:cubicBezTo>
                    <a:cubicBezTo>
                      <a:pt x="1122" y="146"/>
                      <a:pt x="1122" y="146"/>
                      <a:pt x="1122" y="146"/>
                    </a:cubicBezTo>
                    <a:cubicBezTo>
                      <a:pt x="1122" y="146"/>
                      <a:pt x="1122" y="146"/>
                      <a:pt x="1122" y="146"/>
                    </a:cubicBezTo>
                    <a:cubicBezTo>
                      <a:pt x="1122" y="147"/>
                      <a:pt x="1122" y="147"/>
                      <a:pt x="1123" y="147"/>
                    </a:cubicBezTo>
                    <a:cubicBezTo>
                      <a:pt x="1123" y="147"/>
                      <a:pt x="1123" y="147"/>
                      <a:pt x="1123" y="147"/>
                    </a:cubicBezTo>
                    <a:cubicBezTo>
                      <a:pt x="1123" y="147"/>
                      <a:pt x="1123" y="147"/>
                      <a:pt x="1123" y="147"/>
                    </a:cubicBezTo>
                    <a:cubicBezTo>
                      <a:pt x="1123" y="147"/>
                      <a:pt x="1123" y="147"/>
                      <a:pt x="1123" y="147"/>
                    </a:cubicBezTo>
                    <a:cubicBezTo>
                      <a:pt x="1123" y="148"/>
                      <a:pt x="1123" y="148"/>
                      <a:pt x="1124" y="148"/>
                    </a:cubicBezTo>
                    <a:cubicBezTo>
                      <a:pt x="1124" y="148"/>
                      <a:pt x="1124" y="148"/>
                      <a:pt x="1124" y="148"/>
                    </a:cubicBezTo>
                    <a:cubicBezTo>
                      <a:pt x="1124" y="149"/>
                      <a:pt x="1125" y="149"/>
                      <a:pt x="1125" y="149"/>
                    </a:cubicBezTo>
                    <a:cubicBezTo>
                      <a:pt x="1125" y="149"/>
                      <a:pt x="1125" y="149"/>
                      <a:pt x="1125" y="149"/>
                    </a:cubicBezTo>
                    <a:cubicBezTo>
                      <a:pt x="1126" y="149"/>
                      <a:pt x="1126" y="150"/>
                      <a:pt x="1126" y="150"/>
                    </a:cubicBezTo>
                    <a:cubicBezTo>
                      <a:pt x="1126" y="150"/>
                      <a:pt x="1126" y="150"/>
                      <a:pt x="1126" y="150"/>
                    </a:cubicBezTo>
                    <a:cubicBezTo>
                      <a:pt x="1127" y="150"/>
                      <a:pt x="1127" y="151"/>
                      <a:pt x="1128" y="151"/>
                    </a:cubicBezTo>
                    <a:cubicBezTo>
                      <a:pt x="1128" y="151"/>
                      <a:pt x="1128" y="151"/>
                      <a:pt x="1128" y="151"/>
                    </a:cubicBezTo>
                    <a:cubicBezTo>
                      <a:pt x="1128" y="151"/>
                      <a:pt x="1128" y="151"/>
                      <a:pt x="1128" y="151"/>
                    </a:cubicBezTo>
                    <a:cubicBezTo>
                      <a:pt x="1128" y="151"/>
                      <a:pt x="1128" y="151"/>
                      <a:pt x="1128" y="151"/>
                    </a:cubicBezTo>
                    <a:cubicBezTo>
                      <a:pt x="1129" y="152"/>
                      <a:pt x="1129" y="152"/>
                      <a:pt x="1129" y="152"/>
                    </a:cubicBezTo>
                    <a:cubicBezTo>
                      <a:pt x="1129" y="152"/>
                      <a:pt x="1129" y="152"/>
                      <a:pt x="1129" y="152"/>
                    </a:cubicBezTo>
                    <a:cubicBezTo>
                      <a:pt x="1130" y="153"/>
                      <a:pt x="1131" y="153"/>
                      <a:pt x="1131" y="153"/>
                    </a:cubicBezTo>
                    <a:cubicBezTo>
                      <a:pt x="1131" y="153"/>
                      <a:pt x="1131" y="153"/>
                      <a:pt x="1131" y="153"/>
                    </a:cubicBezTo>
                    <a:cubicBezTo>
                      <a:pt x="1131" y="154"/>
                      <a:pt x="1132" y="154"/>
                      <a:pt x="1132" y="154"/>
                    </a:cubicBezTo>
                    <a:cubicBezTo>
                      <a:pt x="1132" y="154"/>
                      <a:pt x="1132" y="154"/>
                      <a:pt x="1132" y="154"/>
                    </a:cubicBezTo>
                    <a:cubicBezTo>
                      <a:pt x="1133" y="154"/>
                      <a:pt x="1133" y="154"/>
                      <a:pt x="1133" y="154"/>
                    </a:cubicBezTo>
                    <a:cubicBezTo>
                      <a:pt x="1134" y="154"/>
                      <a:pt x="1134" y="154"/>
                      <a:pt x="1134" y="154"/>
                    </a:cubicBezTo>
                    <a:cubicBezTo>
                      <a:pt x="1134" y="155"/>
                      <a:pt x="1134" y="155"/>
                      <a:pt x="1135" y="155"/>
                    </a:cubicBezTo>
                    <a:cubicBezTo>
                      <a:pt x="1135" y="155"/>
                      <a:pt x="1135" y="155"/>
                      <a:pt x="1135" y="155"/>
                    </a:cubicBezTo>
                    <a:cubicBezTo>
                      <a:pt x="1135" y="155"/>
                      <a:pt x="1135" y="155"/>
                      <a:pt x="1136" y="156"/>
                    </a:cubicBezTo>
                    <a:cubicBezTo>
                      <a:pt x="1136" y="156"/>
                      <a:pt x="1136" y="156"/>
                      <a:pt x="1136" y="156"/>
                    </a:cubicBezTo>
                    <a:cubicBezTo>
                      <a:pt x="1136" y="156"/>
                      <a:pt x="1137" y="156"/>
                      <a:pt x="1137" y="156"/>
                    </a:cubicBezTo>
                    <a:cubicBezTo>
                      <a:pt x="1137" y="156"/>
                      <a:pt x="1137" y="156"/>
                      <a:pt x="1137" y="156"/>
                    </a:cubicBezTo>
                    <a:cubicBezTo>
                      <a:pt x="1137" y="157"/>
                      <a:pt x="1138" y="156"/>
                      <a:pt x="1138" y="157"/>
                    </a:cubicBezTo>
                    <a:cubicBezTo>
                      <a:pt x="1138" y="157"/>
                      <a:pt x="1138" y="157"/>
                      <a:pt x="1138" y="157"/>
                    </a:cubicBezTo>
                    <a:cubicBezTo>
                      <a:pt x="1138" y="157"/>
                      <a:pt x="1139" y="157"/>
                      <a:pt x="1139" y="157"/>
                    </a:cubicBezTo>
                    <a:cubicBezTo>
                      <a:pt x="1139" y="157"/>
                      <a:pt x="1139" y="157"/>
                      <a:pt x="1139" y="157"/>
                    </a:cubicBezTo>
                    <a:cubicBezTo>
                      <a:pt x="1140" y="158"/>
                      <a:pt x="1140" y="158"/>
                      <a:pt x="1140" y="158"/>
                    </a:cubicBezTo>
                    <a:cubicBezTo>
                      <a:pt x="1140" y="158"/>
                      <a:pt x="1140" y="158"/>
                      <a:pt x="1140" y="158"/>
                    </a:cubicBezTo>
                    <a:cubicBezTo>
                      <a:pt x="1141" y="158"/>
                      <a:pt x="1141" y="158"/>
                      <a:pt x="1142" y="158"/>
                    </a:cubicBezTo>
                    <a:cubicBezTo>
                      <a:pt x="1142" y="158"/>
                      <a:pt x="1142" y="158"/>
                      <a:pt x="1142" y="158"/>
                    </a:cubicBezTo>
                    <a:cubicBezTo>
                      <a:pt x="1142" y="159"/>
                      <a:pt x="1143" y="159"/>
                      <a:pt x="1143" y="159"/>
                    </a:cubicBezTo>
                    <a:cubicBezTo>
                      <a:pt x="1143" y="159"/>
                      <a:pt x="1143" y="159"/>
                      <a:pt x="1143" y="159"/>
                    </a:cubicBezTo>
                    <a:cubicBezTo>
                      <a:pt x="1144" y="159"/>
                      <a:pt x="1144" y="159"/>
                      <a:pt x="1144" y="160"/>
                    </a:cubicBezTo>
                    <a:cubicBezTo>
                      <a:pt x="1144" y="160"/>
                      <a:pt x="1144" y="160"/>
                      <a:pt x="1144" y="160"/>
                    </a:cubicBezTo>
                    <a:cubicBezTo>
                      <a:pt x="1145" y="160"/>
                      <a:pt x="1145" y="160"/>
                      <a:pt x="1146" y="160"/>
                    </a:cubicBezTo>
                    <a:cubicBezTo>
                      <a:pt x="1146" y="160"/>
                      <a:pt x="1146" y="160"/>
                      <a:pt x="1146" y="160"/>
                    </a:cubicBezTo>
                    <a:cubicBezTo>
                      <a:pt x="1146" y="161"/>
                      <a:pt x="1146" y="160"/>
                      <a:pt x="1147" y="161"/>
                    </a:cubicBezTo>
                    <a:cubicBezTo>
                      <a:pt x="1147" y="161"/>
                      <a:pt x="1147" y="161"/>
                      <a:pt x="1147" y="161"/>
                    </a:cubicBezTo>
                    <a:cubicBezTo>
                      <a:pt x="1147" y="161"/>
                      <a:pt x="1148" y="161"/>
                      <a:pt x="1148" y="161"/>
                    </a:cubicBezTo>
                    <a:cubicBezTo>
                      <a:pt x="1148" y="161"/>
                      <a:pt x="1148" y="161"/>
                      <a:pt x="1148" y="161"/>
                    </a:cubicBezTo>
                    <a:cubicBezTo>
                      <a:pt x="1148" y="162"/>
                      <a:pt x="1149" y="162"/>
                      <a:pt x="1149" y="162"/>
                    </a:cubicBezTo>
                    <a:cubicBezTo>
                      <a:pt x="1149" y="162"/>
                      <a:pt x="1149" y="162"/>
                      <a:pt x="1149" y="162"/>
                    </a:cubicBezTo>
                    <a:cubicBezTo>
                      <a:pt x="1149" y="162"/>
                      <a:pt x="1150" y="162"/>
                      <a:pt x="1150" y="163"/>
                    </a:cubicBezTo>
                    <a:cubicBezTo>
                      <a:pt x="1150" y="163"/>
                      <a:pt x="1150" y="163"/>
                      <a:pt x="1150" y="163"/>
                    </a:cubicBezTo>
                    <a:cubicBezTo>
                      <a:pt x="1150" y="163"/>
                      <a:pt x="1151" y="163"/>
                      <a:pt x="1151" y="163"/>
                    </a:cubicBezTo>
                    <a:cubicBezTo>
                      <a:pt x="1151" y="163"/>
                      <a:pt x="1151" y="163"/>
                      <a:pt x="1151" y="163"/>
                    </a:cubicBezTo>
                    <a:cubicBezTo>
                      <a:pt x="1152" y="163"/>
                      <a:pt x="1152" y="163"/>
                      <a:pt x="1152" y="164"/>
                    </a:cubicBezTo>
                    <a:cubicBezTo>
                      <a:pt x="1153" y="164"/>
                      <a:pt x="1153" y="164"/>
                      <a:pt x="1153" y="164"/>
                    </a:cubicBezTo>
                    <a:cubicBezTo>
                      <a:pt x="1153" y="164"/>
                      <a:pt x="1153" y="164"/>
                      <a:pt x="1153" y="164"/>
                    </a:cubicBezTo>
                    <a:cubicBezTo>
                      <a:pt x="1153" y="164"/>
                      <a:pt x="1153" y="164"/>
                      <a:pt x="1153" y="164"/>
                    </a:cubicBezTo>
                    <a:cubicBezTo>
                      <a:pt x="1153" y="165"/>
                      <a:pt x="1154" y="165"/>
                      <a:pt x="1154" y="165"/>
                    </a:cubicBezTo>
                    <a:cubicBezTo>
                      <a:pt x="1154" y="165"/>
                      <a:pt x="1154" y="165"/>
                      <a:pt x="1154" y="165"/>
                    </a:cubicBezTo>
                    <a:cubicBezTo>
                      <a:pt x="1155" y="165"/>
                      <a:pt x="1155" y="165"/>
                      <a:pt x="1155" y="165"/>
                    </a:cubicBezTo>
                    <a:cubicBezTo>
                      <a:pt x="1155" y="165"/>
                      <a:pt x="1155" y="165"/>
                      <a:pt x="1155" y="165"/>
                    </a:cubicBezTo>
                    <a:cubicBezTo>
                      <a:pt x="1156" y="166"/>
                      <a:pt x="1156" y="166"/>
                      <a:pt x="1156" y="166"/>
                    </a:cubicBezTo>
                    <a:cubicBezTo>
                      <a:pt x="1156" y="166"/>
                      <a:pt x="1156" y="166"/>
                      <a:pt x="1156" y="166"/>
                    </a:cubicBezTo>
                    <a:cubicBezTo>
                      <a:pt x="1156" y="166"/>
                      <a:pt x="1157" y="166"/>
                      <a:pt x="1157" y="167"/>
                    </a:cubicBezTo>
                    <a:cubicBezTo>
                      <a:pt x="1157" y="167"/>
                      <a:pt x="1157" y="167"/>
                      <a:pt x="1157" y="167"/>
                    </a:cubicBezTo>
                    <a:cubicBezTo>
                      <a:pt x="1157" y="167"/>
                      <a:pt x="1157" y="167"/>
                      <a:pt x="1158" y="167"/>
                    </a:cubicBezTo>
                    <a:cubicBezTo>
                      <a:pt x="1158" y="167"/>
                      <a:pt x="1158" y="167"/>
                      <a:pt x="1158" y="167"/>
                    </a:cubicBezTo>
                    <a:cubicBezTo>
                      <a:pt x="1158" y="168"/>
                      <a:pt x="1159" y="167"/>
                      <a:pt x="1159" y="168"/>
                    </a:cubicBezTo>
                    <a:cubicBezTo>
                      <a:pt x="1159" y="168"/>
                      <a:pt x="1159" y="168"/>
                      <a:pt x="1159" y="168"/>
                    </a:cubicBezTo>
                    <a:cubicBezTo>
                      <a:pt x="1159" y="168"/>
                      <a:pt x="1159" y="168"/>
                      <a:pt x="1159" y="168"/>
                    </a:cubicBezTo>
                    <a:cubicBezTo>
                      <a:pt x="1159" y="168"/>
                      <a:pt x="1159" y="168"/>
                      <a:pt x="1159" y="168"/>
                    </a:cubicBezTo>
                    <a:cubicBezTo>
                      <a:pt x="1160" y="169"/>
                      <a:pt x="1160" y="169"/>
                      <a:pt x="1160" y="169"/>
                    </a:cubicBezTo>
                    <a:cubicBezTo>
                      <a:pt x="1160" y="169"/>
                      <a:pt x="1160" y="169"/>
                      <a:pt x="1160" y="169"/>
                    </a:cubicBezTo>
                    <a:cubicBezTo>
                      <a:pt x="1160" y="169"/>
                      <a:pt x="1160" y="169"/>
                      <a:pt x="1161" y="169"/>
                    </a:cubicBezTo>
                    <a:cubicBezTo>
                      <a:pt x="1161" y="169"/>
                      <a:pt x="1161" y="169"/>
                      <a:pt x="1161" y="169"/>
                    </a:cubicBezTo>
                    <a:cubicBezTo>
                      <a:pt x="1161" y="170"/>
                      <a:pt x="1161" y="170"/>
                      <a:pt x="1161" y="170"/>
                    </a:cubicBezTo>
                    <a:cubicBezTo>
                      <a:pt x="1161" y="170"/>
                      <a:pt x="1161" y="170"/>
                      <a:pt x="1161" y="170"/>
                    </a:cubicBezTo>
                    <a:cubicBezTo>
                      <a:pt x="1161" y="170"/>
                      <a:pt x="1162" y="170"/>
                      <a:pt x="1162" y="171"/>
                    </a:cubicBezTo>
                    <a:cubicBezTo>
                      <a:pt x="1162" y="171"/>
                      <a:pt x="1162" y="171"/>
                      <a:pt x="1162" y="171"/>
                    </a:cubicBezTo>
                    <a:cubicBezTo>
                      <a:pt x="1162" y="171"/>
                      <a:pt x="1162" y="172"/>
                      <a:pt x="1162" y="172"/>
                    </a:cubicBezTo>
                    <a:cubicBezTo>
                      <a:pt x="1162" y="172"/>
                      <a:pt x="1162" y="172"/>
                      <a:pt x="1162" y="172"/>
                    </a:cubicBezTo>
                    <a:cubicBezTo>
                      <a:pt x="1162" y="172"/>
                      <a:pt x="1163" y="172"/>
                      <a:pt x="1163" y="172"/>
                    </a:cubicBezTo>
                    <a:cubicBezTo>
                      <a:pt x="1163" y="172"/>
                      <a:pt x="1163" y="172"/>
                      <a:pt x="1163" y="172"/>
                    </a:cubicBezTo>
                    <a:cubicBezTo>
                      <a:pt x="1163" y="173"/>
                      <a:pt x="1163" y="174"/>
                      <a:pt x="1164" y="174"/>
                    </a:cubicBezTo>
                    <a:cubicBezTo>
                      <a:pt x="1163" y="174"/>
                      <a:pt x="1163" y="174"/>
                      <a:pt x="1163" y="174"/>
                    </a:cubicBezTo>
                    <a:cubicBezTo>
                      <a:pt x="1164" y="175"/>
                      <a:pt x="1164" y="175"/>
                      <a:pt x="1164" y="176"/>
                    </a:cubicBezTo>
                    <a:cubicBezTo>
                      <a:pt x="1164" y="176"/>
                      <a:pt x="1164" y="176"/>
                      <a:pt x="1164" y="176"/>
                    </a:cubicBezTo>
                    <a:cubicBezTo>
                      <a:pt x="1164" y="178"/>
                      <a:pt x="1164" y="180"/>
                      <a:pt x="1164" y="182"/>
                    </a:cubicBezTo>
                    <a:cubicBezTo>
                      <a:pt x="1164" y="182"/>
                      <a:pt x="1164" y="183"/>
                      <a:pt x="1164" y="183"/>
                    </a:cubicBezTo>
                    <a:cubicBezTo>
                      <a:pt x="1164" y="183"/>
                      <a:pt x="1164" y="184"/>
                      <a:pt x="1163" y="185"/>
                    </a:cubicBezTo>
                    <a:cubicBezTo>
                      <a:pt x="1164" y="185"/>
                      <a:pt x="1164" y="185"/>
                      <a:pt x="1163" y="185"/>
                    </a:cubicBezTo>
                    <a:cubicBezTo>
                      <a:pt x="1163" y="185"/>
                      <a:pt x="1163" y="186"/>
                      <a:pt x="1163" y="186"/>
                    </a:cubicBezTo>
                    <a:cubicBezTo>
                      <a:pt x="1163" y="186"/>
                      <a:pt x="1163" y="186"/>
                      <a:pt x="1163" y="186"/>
                    </a:cubicBezTo>
                    <a:cubicBezTo>
                      <a:pt x="1163" y="186"/>
                      <a:pt x="1162" y="187"/>
                      <a:pt x="1162" y="187"/>
                    </a:cubicBezTo>
                    <a:cubicBezTo>
                      <a:pt x="1162" y="187"/>
                      <a:pt x="1162" y="187"/>
                      <a:pt x="1162" y="187"/>
                    </a:cubicBezTo>
                    <a:cubicBezTo>
                      <a:pt x="1162" y="187"/>
                      <a:pt x="1162" y="187"/>
                      <a:pt x="1162" y="187"/>
                    </a:cubicBezTo>
                    <a:cubicBezTo>
                      <a:pt x="1162" y="188"/>
                      <a:pt x="1162" y="188"/>
                      <a:pt x="1162" y="188"/>
                    </a:cubicBezTo>
                    <a:cubicBezTo>
                      <a:pt x="1162" y="188"/>
                      <a:pt x="1162" y="188"/>
                      <a:pt x="1162" y="188"/>
                    </a:cubicBezTo>
                    <a:cubicBezTo>
                      <a:pt x="1162" y="188"/>
                      <a:pt x="1161" y="188"/>
                      <a:pt x="1161" y="189"/>
                    </a:cubicBezTo>
                    <a:cubicBezTo>
                      <a:pt x="1161" y="189"/>
                      <a:pt x="1161" y="189"/>
                      <a:pt x="1161" y="189"/>
                    </a:cubicBezTo>
                    <a:cubicBezTo>
                      <a:pt x="1161" y="189"/>
                      <a:pt x="1161" y="189"/>
                      <a:pt x="1161" y="189"/>
                    </a:cubicBezTo>
                    <a:cubicBezTo>
                      <a:pt x="1161" y="189"/>
                      <a:pt x="1161" y="189"/>
                      <a:pt x="1161" y="189"/>
                    </a:cubicBezTo>
                    <a:cubicBezTo>
                      <a:pt x="1160" y="189"/>
                      <a:pt x="1160" y="189"/>
                      <a:pt x="1160" y="190"/>
                    </a:cubicBezTo>
                    <a:cubicBezTo>
                      <a:pt x="1160" y="190"/>
                      <a:pt x="1160" y="190"/>
                      <a:pt x="1160" y="190"/>
                    </a:cubicBezTo>
                    <a:cubicBezTo>
                      <a:pt x="1160" y="190"/>
                      <a:pt x="1160" y="190"/>
                      <a:pt x="1159" y="190"/>
                    </a:cubicBezTo>
                    <a:cubicBezTo>
                      <a:pt x="1159" y="190"/>
                      <a:pt x="1159" y="190"/>
                      <a:pt x="1159" y="190"/>
                    </a:cubicBezTo>
                    <a:cubicBezTo>
                      <a:pt x="1159" y="190"/>
                      <a:pt x="1159" y="191"/>
                      <a:pt x="1159" y="191"/>
                    </a:cubicBezTo>
                    <a:cubicBezTo>
                      <a:pt x="1159" y="191"/>
                      <a:pt x="1159" y="191"/>
                      <a:pt x="1159" y="191"/>
                    </a:cubicBezTo>
                    <a:cubicBezTo>
                      <a:pt x="1159" y="191"/>
                      <a:pt x="1158" y="191"/>
                      <a:pt x="1158" y="191"/>
                    </a:cubicBezTo>
                    <a:cubicBezTo>
                      <a:pt x="1158" y="191"/>
                      <a:pt x="1158" y="191"/>
                      <a:pt x="1158" y="191"/>
                    </a:cubicBezTo>
                    <a:cubicBezTo>
                      <a:pt x="1158" y="192"/>
                      <a:pt x="1157" y="192"/>
                      <a:pt x="1157" y="192"/>
                    </a:cubicBezTo>
                    <a:cubicBezTo>
                      <a:pt x="1157" y="192"/>
                      <a:pt x="1157" y="192"/>
                      <a:pt x="1157" y="192"/>
                    </a:cubicBezTo>
                    <a:cubicBezTo>
                      <a:pt x="1156" y="192"/>
                      <a:pt x="1156" y="192"/>
                      <a:pt x="1155" y="193"/>
                    </a:cubicBezTo>
                    <a:cubicBezTo>
                      <a:pt x="1155" y="193"/>
                      <a:pt x="1155" y="193"/>
                      <a:pt x="1155" y="193"/>
                    </a:cubicBezTo>
                    <a:cubicBezTo>
                      <a:pt x="1155" y="193"/>
                      <a:pt x="1155" y="193"/>
                      <a:pt x="1154" y="193"/>
                    </a:cubicBezTo>
                    <a:cubicBezTo>
                      <a:pt x="1154" y="193"/>
                      <a:pt x="1154" y="193"/>
                      <a:pt x="1154" y="193"/>
                    </a:cubicBezTo>
                    <a:cubicBezTo>
                      <a:pt x="1153" y="194"/>
                      <a:pt x="1152" y="193"/>
                      <a:pt x="1152" y="194"/>
                    </a:cubicBezTo>
                    <a:cubicBezTo>
                      <a:pt x="1152" y="194"/>
                      <a:pt x="1151" y="194"/>
                      <a:pt x="1151" y="194"/>
                    </a:cubicBezTo>
                    <a:cubicBezTo>
                      <a:pt x="1150" y="194"/>
                      <a:pt x="1149" y="194"/>
                      <a:pt x="1148" y="194"/>
                    </a:cubicBezTo>
                    <a:close/>
                    <a:moveTo>
                      <a:pt x="1484" y="126"/>
                    </a:moveTo>
                    <a:cubicBezTo>
                      <a:pt x="1484" y="126"/>
                      <a:pt x="1484" y="126"/>
                      <a:pt x="1484" y="126"/>
                    </a:cubicBezTo>
                    <a:cubicBezTo>
                      <a:pt x="1484" y="126"/>
                      <a:pt x="1484" y="126"/>
                      <a:pt x="1484" y="126"/>
                    </a:cubicBezTo>
                    <a:cubicBezTo>
                      <a:pt x="1484" y="125"/>
                      <a:pt x="1484" y="125"/>
                      <a:pt x="1484" y="125"/>
                    </a:cubicBezTo>
                    <a:cubicBezTo>
                      <a:pt x="1484" y="125"/>
                      <a:pt x="1484" y="125"/>
                      <a:pt x="1484" y="125"/>
                    </a:cubicBezTo>
                    <a:cubicBezTo>
                      <a:pt x="1484" y="124"/>
                      <a:pt x="1485" y="124"/>
                      <a:pt x="1485" y="124"/>
                    </a:cubicBezTo>
                    <a:cubicBezTo>
                      <a:pt x="1485" y="124"/>
                      <a:pt x="1485" y="124"/>
                      <a:pt x="1485" y="124"/>
                    </a:cubicBezTo>
                    <a:cubicBezTo>
                      <a:pt x="1485" y="124"/>
                      <a:pt x="1485" y="123"/>
                      <a:pt x="1485" y="123"/>
                    </a:cubicBezTo>
                    <a:cubicBezTo>
                      <a:pt x="1485" y="123"/>
                      <a:pt x="1485" y="123"/>
                      <a:pt x="1485" y="123"/>
                    </a:cubicBezTo>
                    <a:cubicBezTo>
                      <a:pt x="1486" y="123"/>
                      <a:pt x="1486" y="122"/>
                      <a:pt x="1486" y="122"/>
                    </a:cubicBezTo>
                    <a:cubicBezTo>
                      <a:pt x="1486" y="122"/>
                      <a:pt x="1486" y="122"/>
                      <a:pt x="1486" y="122"/>
                    </a:cubicBezTo>
                    <a:cubicBezTo>
                      <a:pt x="1486" y="121"/>
                      <a:pt x="1486" y="121"/>
                      <a:pt x="1486" y="121"/>
                    </a:cubicBezTo>
                    <a:cubicBezTo>
                      <a:pt x="1486" y="121"/>
                      <a:pt x="1486" y="121"/>
                      <a:pt x="1486" y="121"/>
                    </a:cubicBezTo>
                    <a:cubicBezTo>
                      <a:pt x="1487" y="121"/>
                      <a:pt x="1487" y="120"/>
                      <a:pt x="1488" y="119"/>
                    </a:cubicBezTo>
                    <a:cubicBezTo>
                      <a:pt x="1488" y="119"/>
                      <a:pt x="1488" y="119"/>
                      <a:pt x="1488" y="119"/>
                    </a:cubicBezTo>
                    <a:cubicBezTo>
                      <a:pt x="1488" y="119"/>
                      <a:pt x="1488" y="119"/>
                      <a:pt x="1488" y="119"/>
                    </a:cubicBezTo>
                    <a:cubicBezTo>
                      <a:pt x="1488" y="119"/>
                      <a:pt x="1488" y="119"/>
                      <a:pt x="1488" y="119"/>
                    </a:cubicBezTo>
                    <a:cubicBezTo>
                      <a:pt x="1488" y="119"/>
                      <a:pt x="1489" y="118"/>
                      <a:pt x="1489" y="118"/>
                    </a:cubicBezTo>
                    <a:cubicBezTo>
                      <a:pt x="1489" y="118"/>
                      <a:pt x="1489" y="118"/>
                      <a:pt x="1489" y="118"/>
                    </a:cubicBezTo>
                    <a:cubicBezTo>
                      <a:pt x="1489" y="118"/>
                      <a:pt x="1489" y="118"/>
                      <a:pt x="1489" y="118"/>
                    </a:cubicBezTo>
                    <a:cubicBezTo>
                      <a:pt x="1489" y="118"/>
                      <a:pt x="1489" y="118"/>
                      <a:pt x="1489" y="118"/>
                    </a:cubicBezTo>
                    <a:cubicBezTo>
                      <a:pt x="1490" y="117"/>
                      <a:pt x="1490" y="117"/>
                      <a:pt x="1490" y="117"/>
                    </a:cubicBezTo>
                    <a:cubicBezTo>
                      <a:pt x="1490" y="117"/>
                      <a:pt x="1490" y="117"/>
                      <a:pt x="1490" y="117"/>
                    </a:cubicBezTo>
                    <a:cubicBezTo>
                      <a:pt x="1490" y="117"/>
                      <a:pt x="1490" y="117"/>
                      <a:pt x="1490" y="116"/>
                    </a:cubicBezTo>
                    <a:cubicBezTo>
                      <a:pt x="1490" y="116"/>
                      <a:pt x="1490" y="116"/>
                      <a:pt x="1490" y="116"/>
                    </a:cubicBezTo>
                    <a:cubicBezTo>
                      <a:pt x="1491" y="116"/>
                      <a:pt x="1491" y="116"/>
                      <a:pt x="1491" y="116"/>
                    </a:cubicBezTo>
                    <a:cubicBezTo>
                      <a:pt x="1491" y="116"/>
                      <a:pt x="1491" y="116"/>
                      <a:pt x="1491" y="116"/>
                    </a:cubicBezTo>
                    <a:cubicBezTo>
                      <a:pt x="1491" y="116"/>
                      <a:pt x="1491" y="116"/>
                      <a:pt x="1492" y="115"/>
                    </a:cubicBezTo>
                    <a:cubicBezTo>
                      <a:pt x="1492" y="115"/>
                      <a:pt x="1492" y="115"/>
                      <a:pt x="1492" y="115"/>
                    </a:cubicBezTo>
                    <a:cubicBezTo>
                      <a:pt x="1492" y="115"/>
                      <a:pt x="1492" y="115"/>
                      <a:pt x="1492" y="115"/>
                    </a:cubicBezTo>
                    <a:cubicBezTo>
                      <a:pt x="1492" y="115"/>
                      <a:pt x="1492" y="115"/>
                      <a:pt x="1492" y="115"/>
                    </a:cubicBezTo>
                    <a:cubicBezTo>
                      <a:pt x="1493" y="114"/>
                      <a:pt x="1493" y="115"/>
                      <a:pt x="1493" y="114"/>
                    </a:cubicBezTo>
                    <a:cubicBezTo>
                      <a:pt x="1493" y="114"/>
                      <a:pt x="1493" y="114"/>
                      <a:pt x="1493" y="114"/>
                    </a:cubicBezTo>
                    <a:cubicBezTo>
                      <a:pt x="1494" y="114"/>
                      <a:pt x="1494" y="114"/>
                      <a:pt x="1494" y="114"/>
                    </a:cubicBezTo>
                    <a:cubicBezTo>
                      <a:pt x="1494" y="114"/>
                      <a:pt x="1494" y="114"/>
                      <a:pt x="1494" y="114"/>
                    </a:cubicBezTo>
                    <a:cubicBezTo>
                      <a:pt x="1494" y="113"/>
                      <a:pt x="1495" y="113"/>
                      <a:pt x="1495" y="113"/>
                    </a:cubicBezTo>
                    <a:cubicBezTo>
                      <a:pt x="1495" y="113"/>
                      <a:pt x="1495" y="113"/>
                      <a:pt x="1495" y="113"/>
                    </a:cubicBezTo>
                    <a:cubicBezTo>
                      <a:pt x="1495" y="113"/>
                      <a:pt x="1496" y="113"/>
                      <a:pt x="1496" y="112"/>
                    </a:cubicBezTo>
                    <a:cubicBezTo>
                      <a:pt x="1496" y="112"/>
                      <a:pt x="1496" y="112"/>
                      <a:pt x="1496" y="112"/>
                    </a:cubicBezTo>
                    <a:cubicBezTo>
                      <a:pt x="1497" y="112"/>
                      <a:pt x="1498" y="112"/>
                      <a:pt x="1498" y="112"/>
                    </a:cubicBezTo>
                    <a:cubicBezTo>
                      <a:pt x="1498" y="112"/>
                      <a:pt x="1498" y="112"/>
                      <a:pt x="1498" y="112"/>
                    </a:cubicBezTo>
                    <a:cubicBezTo>
                      <a:pt x="1498" y="111"/>
                      <a:pt x="1499" y="112"/>
                      <a:pt x="1500" y="111"/>
                    </a:cubicBezTo>
                    <a:cubicBezTo>
                      <a:pt x="1500" y="111"/>
                      <a:pt x="1500" y="111"/>
                      <a:pt x="1500" y="111"/>
                    </a:cubicBezTo>
                    <a:cubicBezTo>
                      <a:pt x="1501" y="111"/>
                      <a:pt x="1502" y="111"/>
                      <a:pt x="1503" y="111"/>
                    </a:cubicBezTo>
                    <a:cubicBezTo>
                      <a:pt x="1503" y="111"/>
                      <a:pt x="1503" y="111"/>
                      <a:pt x="1504" y="111"/>
                    </a:cubicBezTo>
                    <a:cubicBezTo>
                      <a:pt x="1505" y="110"/>
                      <a:pt x="1506" y="110"/>
                      <a:pt x="1507" y="111"/>
                    </a:cubicBezTo>
                    <a:cubicBezTo>
                      <a:pt x="1507" y="110"/>
                      <a:pt x="1507" y="111"/>
                      <a:pt x="1508" y="111"/>
                    </a:cubicBezTo>
                    <a:cubicBezTo>
                      <a:pt x="1509" y="111"/>
                      <a:pt x="1510" y="111"/>
                      <a:pt x="1512" y="111"/>
                    </a:cubicBezTo>
                    <a:cubicBezTo>
                      <a:pt x="1512" y="111"/>
                      <a:pt x="1512" y="111"/>
                      <a:pt x="1512" y="111"/>
                    </a:cubicBezTo>
                    <a:cubicBezTo>
                      <a:pt x="1512" y="111"/>
                      <a:pt x="1512" y="111"/>
                      <a:pt x="1512" y="111"/>
                    </a:cubicBezTo>
                    <a:cubicBezTo>
                      <a:pt x="1512" y="112"/>
                      <a:pt x="1513" y="111"/>
                      <a:pt x="1514" y="112"/>
                    </a:cubicBezTo>
                    <a:cubicBezTo>
                      <a:pt x="1514" y="112"/>
                      <a:pt x="1514" y="112"/>
                      <a:pt x="1514" y="112"/>
                    </a:cubicBezTo>
                    <a:cubicBezTo>
                      <a:pt x="1514" y="112"/>
                      <a:pt x="1514" y="112"/>
                      <a:pt x="1514" y="112"/>
                    </a:cubicBezTo>
                    <a:cubicBezTo>
                      <a:pt x="1514" y="112"/>
                      <a:pt x="1515" y="112"/>
                      <a:pt x="1515" y="112"/>
                    </a:cubicBezTo>
                    <a:cubicBezTo>
                      <a:pt x="1515" y="112"/>
                      <a:pt x="1515" y="112"/>
                      <a:pt x="1515" y="112"/>
                    </a:cubicBezTo>
                    <a:cubicBezTo>
                      <a:pt x="1516" y="113"/>
                      <a:pt x="1516" y="113"/>
                      <a:pt x="1517" y="113"/>
                    </a:cubicBezTo>
                    <a:cubicBezTo>
                      <a:pt x="1517" y="113"/>
                      <a:pt x="1517" y="113"/>
                      <a:pt x="1517" y="113"/>
                    </a:cubicBezTo>
                    <a:cubicBezTo>
                      <a:pt x="1517" y="113"/>
                      <a:pt x="1517" y="113"/>
                      <a:pt x="1518" y="114"/>
                    </a:cubicBezTo>
                    <a:cubicBezTo>
                      <a:pt x="1518" y="114"/>
                      <a:pt x="1518" y="114"/>
                      <a:pt x="1518" y="114"/>
                    </a:cubicBezTo>
                    <a:cubicBezTo>
                      <a:pt x="1519" y="114"/>
                      <a:pt x="1519" y="113"/>
                      <a:pt x="1519" y="112"/>
                    </a:cubicBezTo>
                    <a:cubicBezTo>
                      <a:pt x="1519" y="107"/>
                      <a:pt x="1519" y="102"/>
                      <a:pt x="1519" y="96"/>
                    </a:cubicBezTo>
                    <a:cubicBezTo>
                      <a:pt x="1519" y="96"/>
                      <a:pt x="1519" y="95"/>
                      <a:pt x="1518" y="95"/>
                    </a:cubicBezTo>
                    <a:cubicBezTo>
                      <a:pt x="1518" y="95"/>
                      <a:pt x="1518" y="95"/>
                      <a:pt x="1518" y="95"/>
                    </a:cubicBezTo>
                    <a:cubicBezTo>
                      <a:pt x="1518" y="95"/>
                      <a:pt x="1518" y="95"/>
                      <a:pt x="1518" y="95"/>
                    </a:cubicBezTo>
                    <a:cubicBezTo>
                      <a:pt x="1518" y="95"/>
                      <a:pt x="1517" y="95"/>
                      <a:pt x="1517" y="95"/>
                    </a:cubicBezTo>
                    <a:cubicBezTo>
                      <a:pt x="1517" y="95"/>
                      <a:pt x="1516" y="95"/>
                      <a:pt x="1516" y="95"/>
                    </a:cubicBezTo>
                    <a:cubicBezTo>
                      <a:pt x="1515" y="94"/>
                      <a:pt x="1514" y="94"/>
                      <a:pt x="1514" y="94"/>
                    </a:cubicBezTo>
                    <a:cubicBezTo>
                      <a:pt x="1513" y="94"/>
                      <a:pt x="1512" y="94"/>
                      <a:pt x="1512" y="94"/>
                    </a:cubicBezTo>
                    <a:cubicBezTo>
                      <a:pt x="1510" y="94"/>
                      <a:pt x="1508" y="94"/>
                      <a:pt x="1506" y="94"/>
                    </a:cubicBezTo>
                    <a:cubicBezTo>
                      <a:pt x="1505" y="94"/>
                      <a:pt x="1504" y="94"/>
                      <a:pt x="1504" y="94"/>
                    </a:cubicBezTo>
                    <a:cubicBezTo>
                      <a:pt x="1503" y="95"/>
                      <a:pt x="1502" y="94"/>
                      <a:pt x="1501" y="95"/>
                    </a:cubicBezTo>
                    <a:cubicBezTo>
                      <a:pt x="1501" y="95"/>
                      <a:pt x="1501" y="95"/>
                      <a:pt x="1501" y="95"/>
                    </a:cubicBezTo>
                    <a:cubicBezTo>
                      <a:pt x="1500" y="95"/>
                      <a:pt x="1500" y="95"/>
                      <a:pt x="1499" y="95"/>
                    </a:cubicBezTo>
                    <a:cubicBezTo>
                      <a:pt x="1499" y="95"/>
                      <a:pt x="1499" y="95"/>
                      <a:pt x="1499" y="95"/>
                    </a:cubicBezTo>
                    <a:cubicBezTo>
                      <a:pt x="1499" y="96"/>
                      <a:pt x="1498" y="95"/>
                      <a:pt x="1498" y="96"/>
                    </a:cubicBezTo>
                    <a:cubicBezTo>
                      <a:pt x="1498" y="96"/>
                      <a:pt x="1498" y="96"/>
                      <a:pt x="1498" y="96"/>
                    </a:cubicBezTo>
                    <a:cubicBezTo>
                      <a:pt x="1497" y="96"/>
                      <a:pt x="1497" y="96"/>
                      <a:pt x="1496" y="96"/>
                    </a:cubicBezTo>
                    <a:cubicBezTo>
                      <a:pt x="1496" y="96"/>
                      <a:pt x="1496" y="96"/>
                      <a:pt x="1496" y="96"/>
                    </a:cubicBezTo>
                    <a:cubicBezTo>
                      <a:pt x="1496" y="97"/>
                      <a:pt x="1495" y="97"/>
                      <a:pt x="1495" y="97"/>
                    </a:cubicBezTo>
                    <a:cubicBezTo>
                      <a:pt x="1495" y="97"/>
                      <a:pt x="1495" y="97"/>
                      <a:pt x="1495" y="97"/>
                    </a:cubicBezTo>
                    <a:cubicBezTo>
                      <a:pt x="1495" y="97"/>
                      <a:pt x="1494" y="97"/>
                      <a:pt x="1494" y="98"/>
                    </a:cubicBezTo>
                    <a:cubicBezTo>
                      <a:pt x="1494" y="98"/>
                      <a:pt x="1494" y="98"/>
                      <a:pt x="1494" y="98"/>
                    </a:cubicBezTo>
                    <a:cubicBezTo>
                      <a:pt x="1494" y="98"/>
                      <a:pt x="1494" y="98"/>
                      <a:pt x="1493" y="98"/>
                    </a:cubicBezTo>
                    <a:cubicBezTo>
                      <a:pt x="1493" y="98"/>
                      <a:pt x="1493" y="98"/>
                      <a:pt x="1493" y="98"/>
                    </a:cubicBezTo>
                    <a:cubicBezTo>
                      <a:pt x="1493" y="98"/>
                      <a:pt x="1493" y="98"/>
                      <a:pt x="1492" y="99"/>
                    </a:cubicBezTo>
                    <a:cubicBezTo>
                      <a:pt x="1492" y="99"/>
                      <a:pt x="1492" y="99"/>
                      <a:pt x="1492" y="99"/>
                    </a:cubicBezTo>
                    <a:cubicBezTo>
                      <a:pt x="1492" y="99"/>
                      <a:pt x="1492" y="99"/>
                      <a:pt x="1492" y="99"/>
                    </a:cubicBezTo>
                    <a:cubicBezTo>
                      <a:pt x="1492" y="99"/>
                      <a:pt x="1492" y="99"/>
                      <a:pt x="1492" y="99"/>
                    </a:cubicBezTo>
                    <a:cubicBezTo>
                      <a:pt x="1492" y="99"/>
                      <a:pt x="1491" y="100"/>
                      <a:pt x="1491" y="100"/>
                    </a:cubicBezTo>
                    <a:cubicBezTo>
                      <a:pt x="1491" y="100"/>
                      <a:pt x="1491" y="100"/>
                      <a:pt x="1491" y="100"/>
                    </a:cubicBezTo>
                    <a:cubicBezTo>
                      <a:pt x="1491" y="100"/>
                      <a:pt x="1490" y="100"/>
                      <a:pt x="1490" y="101"/>
                    </a:cubicBezTo>
                    <a:cubicBezTo>
                      <a:pt x="1490" y="100"/>
                      <a:pt x="1490" y="100"/>
                      <a:pt x="1490" y="100"/>
                    </a:cubicBezTo>
                    <a:cubicBezTo>
                      <a:pt x="1490" y="100"/>
                      <a:pt x="1490" y="101"/>
                      <a:pt x="1489" y="101"/>
                    </a:cubicBezTo>
                    <a:cubicBezTo>
                      <a:pt x="1490" y="101"/>
                      <a:pt x="1490" y="101"/>
                      <a:pt x="1490" y="101"/>
                    </a:cubicBezTo>
                    <a:cubicBezTo>
                      <a:pt x="1489" y="101"/>
                      <a:pt x="1489" y="101"/>
                      <a:pt x="1489" y="102"/>
                    </a:cubicBezTo>
                    <a:cubicBezTo>
                      <a:pt x="1489" y="102"/>
                      <a:pt x="1489" y="102"/>
                      <a:pt x="1489" y="102"/>
                    </a:cubicBezTo>
                    <a:cubicBezTo>
                      <a:pt x="1489" y="102"/>
                      <a:pt x="1488" y="102"/>
                      <a:pt x="1488" y="102"/>
                    </a:cubicBezTo>
                    <a:cubicBezTo>
                      <a:pt x="1488" y="102"/>
                      <a:pt x="1488" y="102"/>
                      <a:pt x="1488" y="102"/>
                    </a:cubicBezTo>
                    <a:cubicBezTo>
                      <a:pt x="1488" y="102"/>
                      <a:pt x="1488" y="102"/>
                      <a:pt x="1488" y="103"/>
                    </a:cubicBezTo>
                    <a:cubicBezTo>
                      <a:pt x="1488" y="103"/>
                      <a:pt x="1488" y="103"/>
                      <a:pt x="1488" y="103"/>
                    </a:cubicBezTo>
                    <a:cubicBezTo>
                      <a:pt x="1487" y="103"/>
                      <a:pt x="1487" y="103"/>
                      <a:pt x="1487" y="103"/>
                    </a:cubicBezTo>
                    <a:cubicBezTo>
                      <a:pt x="1487" y="103"/>
                      <a:pt x="1487" y="103"/>
                      <a:pt x="1487" y="103"/>
                    </a:cubicBezTo>
                    <a:cubicBezTo>
                      <a:pt x="1487" y="104"/>
                      <a:pt x="1486" y="104"/>
                      <a:pt x="1486" y="105"/>
                    </a:cubicBezTo>
                    <a:cubicBezTo>
                      <a:pt x="1486" y="105"/>
                      <a:pt x="1486" y="105"/>
                      <a:pt x="1486" y="105"/>
                    </a:cubicBezTo>
                    <a:cubicBezTo>
                      <a:pt x="1486" y="105"/>
                      <a:pt x="1486" y="105"/>
                      <a:pt x="1485" y="106"/>
                    </a:cubicBezTo>
                    <a:cubicBezTo>
                      <a:pt x="1485" y="106"/>
                      <a:pt x="1485" y="106"/>
                      <a:pt x="1485" y="106"/>
                    </a:cubicBezTo>
                    <a:cubicBezTo>
                      <a:pt x="1485" y="106"/>
                      <a:pt x="1485" y="106"/>
                      <a:pt x="1485" y="106"/>
                    </a:cubicBezTo>
                    <a:cubicBezTo>
                      <a:pt x="1485" y="106"/>
                      <a:pt x="1485" y="106"/>
                      <a:pt x="1485" y="106"/>
                    </a:cubicBezTo>
                    <a:cubicBezTo>
                      <a:pt x="1484" y="106"/>
                      <a:pt x="1485" y="107"/>
                      <a:pt x="1484" y="107"/>
                    </a:cubicBezTo>
                    <a:cubicBezTo>
                      <a:pt x="1484" y="107"/>
                      <a:pt x="1484" y="107"/>
                      <a:pt x="1484" y="107"/>
                    </a:cubicBezTo>
                    <a:cubicBezTo>
                      <a:pt x="1484" y="107"/>
                      <a:pt x="1484" y="108"/>
                      <a:pt x="1484" y="108"/>
                    </a:cubicBezTo>
                    <a:cubicBezTo>
                      <a:pt x="1484" y="108"/>
                      <a:pt x="1484" y="108"/>
                      <a:pt x="1484" y="108"/>
                    </a:cubicBezTo>
                    <a:cubicBezTo>
                      <a:pt x="1483" y="108"/>
                      <a:pt x="1483" y="109"/>
                      <a:pt x="1483" y="109"/>
                    </a:cubicBezTo>
                    <a:cubicBezTo>
                      <a:pt x="1483" y="109"/>
                      <a:pt x="1483" y="109"/>
                      <a:pt x="1483" y="109"/>
                    </a:cubicBezTo>
                    <a:cubicBezTo>
                      <a:pt x="1483" y="109"/>
                      <a:pt x="1483" y="109"/>
                      <a:pt x="1483" y="110"/>
                    </a:cubicBezTo>
                    <a:cubicBezTo>
                      <a:pt x="1483" y="110"/>
                      <a:pt x="1483" y="110"/>
                      <a:pt x="1483" y="110"/>
                    </a:cubicBezTo>
                    <a:cubicBezTo>
                      <a:pt x="1482" y="110"/>
                      <a:pt x="1482" y="110"/>
                      <a:pt x="1482" y="110"/>
                    </a:cubicBezTo>
                    <a:cubicBezTo>
                      <a:pt x="1482" y="110"/>
                      <a:pt x="1482" y="111"/>
                      <a:pt x="1482" y="111"/>
                    </a:cubicBezTo>
                    <a:cubicBezTo>
                      <a:pt x="1482" y="111"/>
                      <a:pt x="1482" y="111"/>
                      <a:pt x="1482" y="111"/>
                    </a:cubicBezTo>
                    <a:cubicBezTo>
                      <a:pt x="1482" y="111"/>
                      <a:pt x="1482" y="112"/>
                      <a:pt x="1481" y="112"/>
                    </a:cubicBezTo>
                    <a:cubicBezTo>
                      <a:pt x="1481" y="112"/>
                      <a:pt x="1481" y="112"/>
                      <a:pt x="1481" y="112"/>
                    </a:cubicBezTo>
                    <a:cubicBezTo>
                      <a:pt x="1481" y="112"/>
                      <a:pt x="1481" y="113"/>
                      <a:pt x="1481" y="113"/>
                    </a:cubicBezTo>
                    <a:cubicBezTo>
                      <a:pt x="1481" y="113"/>
                      <a:pt x="1481" y="114"/>
                      <a:pt x="1481" y="114"/>
                    </a:cubicBezTo>
                    <a:cubicBezTo>
                      <a:pt x="1480" y="114"/>
                      <a:pt x="1481" y="114"/>
                      <a:pt x="1480" y="115"/>
                    </a:cubicBezTo>
                    <a:cubicBezTo>
                      <a:pt x="1480" y="115"/>
                      <a:pt x="1480" y="115"/>
                      <a:pt x="1480" y="115"/>
                    </a:cubicBezTo>
                    <a:cubicBezTo>
                      <a:pt x="1480" y="115"/>
                      <a:pt x="1480" y="116"/>
                      <a:pt x="1480" y="116"/>
                    </a:cubicBezTo>
                    <a:cubicBezTo>
                      <a:pt x="1480" y="116"/>
                      <a:pt x="1480" y="116"/>
                      <a:pt x="1480" y="116"/>
                    </a:cubicBezTo>
                    <a:cubicBezTo>
                      <a:pt x="1478" y="116"/>
                      <a:pt x="1479" y="115"/>
                      <a:pt x="1479" y="114"/>
                    </a:cubicBezTo>
                    <a:cubicBezTo>
                      <a:pt x="1479" y="110"/>
                      <a:pt x="1479" y="105"/>
                      <a:pt x="1479" y="100"/>
                    </a:cubicBezTo>
                    <a:cubicBezTo>
                      <a:pt x="1479" y="99"/>
                      <a:pt x="1479" y="97"/>
                      <a:pt x="1478" y="96"/>
                    </a:cubicBezTo>
                    <a:cubicBezTo>
                      <a:pt x="1472" y="96"/>
                      <a:pt x="1467" y="96"/>
                      <a:pt x="1461" y="96"/>
                    </a:cubicBezTo>
                    <a:cubicBezTo>
                      <a:pt x="1460" y="97"/>
                      <a:pt x="1460" y="98"/>
                      <a:pt x="1460" y="98"/>
                    </a:cubicBezTo>
                    <a:cubicBezTo>
                      <a:pt x="1460" y="113"/>
                      <a:pt x="1460" y="127"/>
                      <a:pt x="1460" y="141"/>
                    </a:cubicBezTo>
                    <a:cubicBezTo>
                      <a:pt x="1460" y="162"/>
                      <a:pt x="1460" y="183"/>
                      <a:pt x="1460" y="204"/>
                    </a:cubicBezTo>
                    <a:cubicBezTo>
                      <a:pt x="1460" y="207"/>
                      <a:pt x="1461" y="207"/>
                      <a:pt x="1463" y="207"/>
                    </a:cubicBezTo>
                    <a:cubicBezTo>
                      <a:pt x="1467" y="207"/>
                      <a:pt x="1471" y="207"/>
                      <a:pt x="1476" y="207"/>
                    </a:cubicBezTo>
                    <a:cubicBezTo>
                      <a:pt x="1479" y="207"/>
                      <a:pt x="1479" y="207"/>
                      <a:pt x="1479" y="204"/>
                    </a:cubicBezTo>
                    <a:cubicBezTo>
                      <a:pt x="1479" y="185"/>
                      <a:pt x="1479" y="166"/>
                      <a:pt x="1479" y="147"/>
                    </a:cubicBezTo>
                    <a:cubicBezTo>
                      <a:pt x="1479" y="146"/>
                      <a:pt x="1478" y="145"/>
                      <a:pt x="1479" y="144"/>
                    </a:cubicBezTo>
                    <a:cubicBezTo>
                      <a:pt x="1479" y="143"/>
                      <a:pt x="1479" y="143"/>
                      <a:pt x="1479" y="142"/>
                    </a:cubicBezTo>
                    <a:cubicBezTo>
                      <a:pt x="1480" y="141"/>
                      <a:pt x="1479" y="140"/>
                      <a:pt x="1480" y="139"/>
                    </a:cubicBezTo>
                    <a:cubicBezTo>
                      <a:pt x="1480" y="139"/>
                      <a:pt x="1480" y="139"/>
                      <a:pt x="1480" y="138"/>
                    </a:cubicBezTo>
                    <a:cubicBezTo>
                      <a:pt x="1480" y="138"/>
                      <a:pt x="1480" y="137"/>
                      <a:pt x="1480" y="136"/>
                    </a:cubicBezTo>
                    <a:cubicBezTo>
                      <a:pt x="1480" y="136"/>
                      <a:pt x="1480" y="136"/>
                      <a:pt x="1480" y="135"/>
                    </a:cubicBezTo>
                    <a:cubicBezTo>
                      <a:pt x="1481" y="135"/>
                      <a:pt x="1480" y="134"/>
                      <a:pt x="1481" y="134"/>
                    </a:cubicBezTo>
                    <a:cubicBezTo>
                      <a:pt x="1481" y="133"/>
                      <a:pt x="1481" y="133"/>
                      <a:pt x="1481" y="133"/>
                    </a:cubicBezTo>
                    <a:cubicBezTo>
                      <a:pt x="1481" y="133"/>
                      <a:pt x="1481" y="132"/>
                      <a:pt x="1481" y="132"/>
                    </a:cubicBezTo>
                    <a:cubicBezTo>
                      <a:pt x="1481" y="132"/>
                      <a:pt x="1481" y="132"/>
                      <a:pt x="1481" y="131"/>
                    </a:cubicBezTo>
                    <a:cubicBezTo>
                      <a:pt x="1482" y="131"/>
                      <a:pt x="1482" y="131"/>
                      <a:pt x="1482" y="130"/>
                    </a:cubicBezTo>
                    <a:cubicBezTo>
                      <a:pt x="1482" y="130"/>
                      <a:pt x="1482" y="130"/>
                      <a:pt x="1482" y="130"/>
                    </a:cubicBezTo>
                    <a:cubicBezTo>
                      <a:pt x="1482" y="129"/>
                      <a:pt x="1482" y="129"/>
                      <a:pt x="1482" y="129"/>
                    </a:cubicBezTo>
                    <a:cubicBezTo>
                      <a:pt x="1482" y="129"/>
                      <a:pt x="1482" y="129"/>
                      <a:pt x="1482" y="129"/>
                    </a:cubicBezTo>
                    <a:cubicBezTo>
                      <a:pt x="1483" y="128"/>
                      <a:pt x="1483" y="128"/>
                      <a:pt x="1483" y="127"/>
                    </a:cubicBezTo>
                    <a:cubicBezTo>
                      <a:pt x="1483" y="127"/>
                      <a:pt x="1483" y="127"/>
                      <a:pt x="1483" y="127"/>
                    </a:cubicBezTo>
                    <a:cubicBezTo>
                      <a:pt x="1483" y="127"/>
                      <a:pt x="1484" y="126"/>
                      <a:pt x="1484" y="126"/>
                    </a:cubicBezTo>
                    <a:close/>
                    <a:moveTo>
                      <a:pt x="1802" y="111"/>
                    </a:moveTo>
                    <a:cubicBezTo>
                      <a:pt x="1802" y="111"/>
                      <a:pt x="1802" y="111"/>
                      <a:pt x="1802" y="111"/>
                    </a:cubicBezTo>
                    <a:cubicBezTo>
                      <a:pt x="1803" y="112"/>
                      <a:pt x="1804" y="111"/>
                      <a:pt x="1804" y="112"/>
                    </a:cubicBezTo>
                    <a:cubicBezTo>
                      <a:pt x="1804" y="112"/>
                      <a:pt x="1804" y="112"/>
                      <a:pt x="1804" y="112"/>
                    </a:cubicBezTo>
                    <a:cubicBezTo>
                      <a:pt x="1805" y="112"/>
                      <a:pt x="1805" y="112"/>
                      <a:pt x="1806" y="112"/>
                    </a:cubicBezTo>
                    <a:cubicBezTo>
                      <a:pt x="1806" y="112"/>
                      <a:pt x="1806" y="112"/>
                      <a:pt x="1806" y="112"/>
                    </a:cubicBezTo>
                    <a:cubicBezTo>
                      <a:pt x="1806" y="113"/>
                      <a:pt x="1807" y="113"/>
                      <a:pt x="1808" y="113"/>
                    </a:cubicBezTo>
                    <a:cubicBezTo>
                      <a:pt x="1808" y="113"/>
                      <a:pt x="1808" y="113"/>
                      <a:pt x="1808" y="113"/>
                    </a:cubicBezTo>
                    <a:cubicBezTo>
                      <a:pt x="1810" y="114"/>
                      <a:pt x="1809" y="113"/>
                      <a:pt x="1809" y="112"/>
                    </a:cubicBezTo>
                    <a:cubicBezTo>
                      <a:pt x="1809" y="108"/>
                      <a:pt x="1809" y="104"/>
                      <a:pt x="1809" y="99"/>
                    </a:cubicBezTo>
                    <a:cubicBezTo>
                      <a:pt x="1809" y="98"/>
                      <a:pt x="1810" y="97"/>
                      <a:pt x="1809" y="95"/>
                    </a:cubicBezTo>
                    <a:cubicBezTo>
                      <a:pt x="1809" y="95"/>
                      <a:pt x="1809" y="95"/>
                      <a:pt x="1808" y="95"/>
                    </a:cubicBezTo>
                    <a:cubicBezTo>
                      <a:pt x="1808" y="95"/>
                      <a:pt x="1808" y="95"/>
                      <a:pt x="1807" y="95"/>
                    </a:cubicBezTo>
                    <a:cubicBezTo>
                      <a:pt x="1807" y="95"/>
                      <a:pt x="1807" y="95"/>
                      <a:pt x="1807" y="95"/>
                    </a:cubicBezTo>
                    <a:cubicBezTo>
                      <a:pt x="1806" y="94"/>
                      <a:pt x="1805" y="95"/>
                      <a:pt x="1804" y="94"/>
                    </a:cubicBezTo>
                    <a:cubicBezTo>
                      <a:pt x="1803" y="94"/>
                      <a:pt x="1803" y="94"/>
                      <a:pt x="1802" y="94"/>
                    </a:cubicBezTo>
                    <a:cubicBezTo>
                      <a:pt x="1800" y="94"/>
                      <a:pt x="1798" y="94"/>
                      <a:pt x="1796" y="94"/>
                    </a:cubicBezTo>
                    <a:cubicBezTo>
                      <a:pt x="1795" y="94"/>
                      <a:pt x="1795" y="94"/>
                      <a:pt x="1794" y="94"/>
                    </a:cubicBezTo>
                    <a:cubicBezTo>
                      <a:pt x="1793" y="95"/>
                      <a:pt x="1792" y="94"/>
                      <a:pt x="1792" y="95"/>
                    </a:cubicBezTo>
                    <a:cubicBezTo>
                      <a:pt x="1792" y="95"/>
                      <a:pt x="1791" y="95"/>
                      <a:pt x="1791" y="95"/>
                    </a:cubicBezTo>
                    <a:cubicBezTo>
                      <a:pt x="1791" y="95"/>
                      <a:pt x="1790" y="95"/>
                      <a:pt x="1790" y="95"/>
                    </a:cubicBezTo>
                    <a:cubicBezTo>
                      <a:pt x="1790" y="95"/>
                      <a:pt x="1790" y="95"/>
                      <a:pt x="1790" y="95"/>
                    </a:cubicBezTo>
                    <a:cubicBezTo>
                      <a:pt x="1789" y="95"/>
                      <a:pt x="1789" y="95"/>
                      <a:pt x="1788" y="96"/>
                    </a:cubicBezTo>
                    <a:cubicBezTo>
                      <a:pt x="1788" y="96"/>
                      <a:pt x="1788" y="96"/>
                      <a:pt x="1788" y="96"/>
                    </a:cubicBezTo>
                    <a:cubicBezTo>
                      <a:pt x="1788" y="96"/>
                      <a:pt x="1787" y="96"/>
                      <a:pt x="1787" y="96"/>
                    </a:cubicBezTo>
                    <a:cubicBezTo>
                      <a:pt x="1787" y="96"/>
                      <a:pt x="1787" y="96"/>
                      <a:pt x="1787" y="96"/>
                    </a:cubicBezTo>
                    <a:cubicBezTo>
                      <a:pt x="1786" y="96"/>
                      <a:pt x="1786" y="97"/>
                      <a:pt x="1786" y="97"/>
                    </a:cubicBezTo>
                    <a:cubicBezTo>
                      <a:pt x="1786" y="97"/>
                      <a:pt x="1786" y="97"/>
                      <a:pt x="1786" y="97"/>
                    </a:cubicBezTo>
                    <a:cubicBezTo>
                      <a:pt x="1785" y="97"/>
                      <a:pt x="1785" y="97"/>
                      <a:pt x="1785" y="97"/>
                    </a:cubicBezTo>
                    <a:cubicBezTo>
                      <a:pt x="1785" y="97"/>
                      <a:pt x="1785" y="97"/>
                      <a:pt x="1785" y="97"/>
                    </a:cubicBezTo>
                    <a:cubicBezTo>
                      <a:pt x="1784" y="98"/>
                      <a:pt x="1784" y="98"/>
                      <a:pt x="1784" y="98"/>
                    </a:cubicBezTo>
                    <a:cubicBezTo>
                      <a:pt x="1784" y="98"/>
                      <a:pt x="1784" y="98"/>
                      <a:pt x="1784" y="98"/>
                    </a:cubicBezTo>
                    <a:cubicBezTo>
                      <a:pt x="1783" y="98"/>
                      <a:pt x="1783" y="98"/>
                      <a:pt x="1783" y="99"/>
                    </a:cubicBezTo>
                    <a:cubicBezTo>
                      <a:pt x="1783" y="99"/>
                      <a:pt x="1783" y="99"/>
                      <a:pt x="1783" y="99"/>
                    </a:cubicBezTo>
                    <a:cubicBezTo>
                      <a:pt x="1783" y="99"/>
                      <a:pt x="1782" y="99"/>
                      <a:pt x="1782" y="99"/>
                    </a:cubicBezTo>
                    <a:cubicBezTo>
                      <a:pt x="1782" y="99"/>
                      <a:pt x="1782" y="99"/>
                      <a:pt x="1782" y="99"/>
                    </a:cubicBezTo>
                    <a:cubicBezTo>
                      <a:pt x="1782" y="99"/>
                      <a:pt x="1782" y="100"/>
                      <a:pt x="1781" y="100"/>
                    </a:cubicBezTo>
                    <a:cubicBezTo>
                      <a:pt x="1781" y="100"/>
                      <a:pt x="1781" y="100"/>
                      <a:pt x="1781" y="100"/>
                    </a:cubicBezTo>
                    <a:cubicBezTo>
                      <a:pt x="1781" y="100"/>
                      <a:pt x="1781" y="100"/>
                      <a:pt x="1781" y="100"/>
                    </a:cubicBezTo>
                    <a:cubicBezTo>
                      <a:pt x="1781" y="100"/>
                      <a:pt x="1781" y="100"/>
                      <a:pt x="1781" y="100"/>
                    </a:cubicBezTo>
                    <a:cubicBezTo>
                      <a:pt x="1781" y="101"/>
                      <a:pt x="1780" y="101"/>
                      <a:pt x="1780" y="101"/>
                    </a:cubicBezTo>
                    <a:cubicBezTo>
                      <a:pt x="1780" y="101"/>
                      <a:pt x="1780" y="101"/>
                      <a:pt x="1780" y="101"/>
                    </a:cubicBezTo>
                    <a:cubicBezTo>
                      <a:pt x="1779" y="102"/>
                      <a:pt x="1779" y="102"/>
                      <a:pt x="1778" y="103"/>
                    </a:cubicBezTo>
                    <a:cubicBezTo>
                      <a:pt x="1778" y="103"/>
                      <a:pt x="1778" y="103"/>
                      <a:pt x="1778" y="103"/>
                    </a:cubicBezTo>
                    <a:cubicBezTo>
                      <a:pt x="1778" y="103"/>
                      <a:pt x="1778" y="104"/>
                      <a:pt x="1777" y="104"/>
                    </a:cubicBezTo>
                    <a:cubicBezTo>
                      <a:pt x="1777" y="104"/>
                      <a:pt x="1777" y="104"/>
                      <a:pt x="1777" y="104"/>
                    </a:cubicBezTo>
                    <a:cubicBezTo>
                      <a:pt x="1777" y="104"/>
                      <a:pt x="1777" y="104"/>
                      <a:pt x="1777" y="104"/>
                    </a:cubicBezTo>
                    <a:cubicBezTo>
                      <a:pt x="1777" y="104"/>
                      <a:pt x="1777" y="104"/>
                      <a:pt x="1777" y="104"/>
                    </a:cubicBezTo>
                    <a:cubicBezTo>
                      <a:pt x="1777" y="105"/>
                      <a:pt x="1776" y="105"/>
                      <a:pt x="1776" y="105"/>
                    </a:cubicBezTo>
                    <a:cubicBezTo>
                      <a:pt x="1776" y="105"/>
                      <a:pt x="1776" y="105"/>
                      <a:pt x="1776" y="105"/>
                    </a:cubicBezTo>
                    <a:cubicBezTo>
                      <a:pt x="1776" y="105"/>
                      <a:pt x="1776" y="105"/>
                      <a:pt x="1776" y="106"/>
                    </a:cubicBezTo>
                    <a:cubicBezTo>
                      <a:pt x="1776" y="106"/>
                      <a:pt x="1776" y="106"/>
                      <a:pt x="1776" y="106"/>
                    </a:cubicBezTo>
                    <a:cubicBezTo>
                      <a:pt x="1775" y="106"/>
                      <a:pt x="1775" y="106"/>
                      <a:pt x="1775" y="107"/>
                    </a:cubicBezTo>
                    <a:cubicBezTo>
                      <a:pt x="1775" y="107"/>
                      <a:pt x="1775" y="107"/>
                      <a:pt x="1775" y="107"/>
                    </a:cubicBezTo>
                    <a:cubicBezTo>
                      <a:pt x="1775" y="107"/>
                      <a:pt x="1775" y="107"/>
                      <a:pt x="1774" y="107"/>
                    </a:cubicBezTo>
                    <a:cubicBezTo>
                      <a:pt x="1775" y="107"/>
                      <a:pt x="1775" y="107"/>
                      <a:pt x="1775" y="107"/>
                    </a:cubicBezTo>
                    <a:cubicBezTo>
                      <a:pt x="1774" y="108"/>
                      <a:pt x="1774" y="108"/>
                      <a:pt x="1774" y="108"/>
                    </a:cubicBezTo>
                    <a:cubicBezTo>
                      <a:pt x="1774" y="108"/>
                      <a:pt x="1774" y="108"/>
                      <a:pt x="1774" y="108"/>
                    </a:cubicBezTo>
                    <a:cubicBezTo>
                      <a:pt x="1774" y="109"/>
                      <a:pt x="1773" y="109"/>
                      <a:pt x="1773" y="109"/>
                    </a:cubicBezTo>
                    <a:cubicBezTo>
                      <a:pt x="1773" y="109"/>
                      <a:pt x="1773" y="109"/>
                      <a:pt x="1773" y="109"/>
                    </a:cubicBezTo>
                    <a:cubicBezTo>
                      <a:pt x="1773" y="109"/>
                      <a:pt x="1773" y="110"/>
                      <a:pt x="1773" y="110"/>
                    </a:cubicBezTo>
                    <a:cubicBezTo>
                      <a:pt x="1773" y="110"/>
                      <a:pt x="1773" y="110"/>
                      <a:pt x="1773" y="110"/>
                    </a:cubicBezTo>
                    <a:cubicBezTo>
                      <a:pt x="1772" y="110"/>
                      <a:pt x="1772" y="111"/>
                      <a:pt x="1772" y="111"/>
                    </a:cubicBezTo>
                    <a:cubicBezTo>
                      <a:pt x="1772" y="111"/>
                      <a:pt x="1772" y="111"/>
                      <a:pt x="1772" y="111"/>
                    </a:cubicBezTo>
                    <a:cubicBezTo>
                      <a:pt x="1772" y="112"/>
                      <a:pt x="1772" y="112"/>
                      <a:pt x="1772" y="112"/>
                    </a:cubicBezTo>
                    <a:cubicBezTo>
                      <a:pt x="1772" y="112"/>
                      <a:pt x="1772" y="112"/>
                      <a:pt x="1772" y="112"/>
                    </a:cubicBezTo>
                    <a:cubicBezTo>
                      <a:pt x="1771" y="113"/>
                      <a:pt x="1771" y="113"/>
                      <a:pt x="1771" y="114"/>
                    </a:cubicBezTo>
                    <a:cubicBezTo>
                      <a:pt x="1771" y="114"/>
                      <a:pt x="1771" y="114"/>
                      <a:pt x="1771" y="114"/>
                    </a:cubicBezTo>
                    <a:cubicBezTo>
                      <a:pt x="1771" y="114"/>
                      <a:pt x="1771" y="114"/>
                      <a:pt x="1770" y="115"/>
                    </a:cubicBezTo>
                    <a:cubicBezTo>
                      <a:pt x="1771" y="115"/>
                      <a:pt x="1771" y="115"/>
                      <a:pt x="1770" y="115"/>
                    </a:cubicBezTo>
                    <a:cubicBezTo>
                      <a:pt x="1770" y="116"/>
                      <a:pt x="1770" y="116"/>
                      <a:pt x="1770" y="117"/>
                    </a:cubicBezTo>
                    <a:cubicBezTo>
                      <a:pt x="1770" y="116"/>
                      <a:pt x="1770" y="116"/>
                      <a:pt x="1770" y="116"/>
                    </a:cubicBezTo>
                    <a:cubicBezTo>
                      <a:pt x="1768" y="117"/>
                      <a:pt x="1769" y="116"/>
                      <a:pt x="1769" y="115"/>
                    </a:cubicBezTo>
                    <a:cubicBezTo>
                      <a:pt x="1769" y="111"/>
                      <a:pt x="1769" y="108"/>
                      <a:pt x="1769" y="104"/>
                    </a:cubicBezTo>
                    <a:cubicBezTo>
                      <a:pt x="1769" y="101"/>
                      <a:pt x="1769" y="99"/>
                      <a:pt x="1769" y="96"/>
                    </a:cubicBezTo>
                    <a:cubicBezTo>
                      <a:pt x="1764" y="96"/>
                      <a:pt x="1759" y="96"/>
                      <a:pt x="1755" y="96"/>
                    </a:cubicBezTo>
                    <a:cubicBezTo>
                      <a:pt x="1751" y="96"/>
                      <a:pt x="1751" y="95"/>
                      <a:pt x="1751" y="99"/>
                    </a:cubicBezTo>
                    <a:cubicBezTo>
                      <a:pt x="1751" y="134"/>
                      <a:pt x="1751" y="169"/>
                      <a:pt x="1751" y="204"/>
                    </a:cubicBezTo>
                    <a:cubicBezTo>
                      <a:pt x="1751" y="205"/>
                      <a:pt x="1751" y="206"/>
                      <a:pt x="1751" y="207"/>
                    </a:cubicBezTo>
                    <a:cubicBezTo>
                      <a:pt x="1752" y="208"/>
                      <a:pt x="1752" y="207"/>
                      <a:pt x="1753" y="207"/>
                    </a:cubicBezTo>
                    <a:cubicBezTo>
                      <a:pt x="1758" y="207"/>
                      <a:pt x="1762" y="207"/>
                      <a:pt x="1766" y="207"/>
                    </a:cubicBezTo>
                    <a:cubicBezTo>
                      <a:pt x="1769" y="207"/>
                      <a:pt x="1769" y="206"/>
                      <a:pt x="1769" y="204"/>
                    </a:cubicBezTo>
                    <a:cubicBezTo>
                      <a:pt x="1769" y="186"/>
                      <a:pt x="1769" y="168"/>
                      <a:pt x="1769" y="149"/>
                    </a:cubicBezTo>
                    <a:cubicBezTo>
                      <a:pt x="1769" y="148"/>
                      <a:pt x="1769" y="147"/>
                      <a:pt x="1769" y="146"/>
                    </a:cubicBezTo>
                    <a:cubicBezTo>
                      <a:pt x="1769" y="146"/>
                      <a:pt x="1769" y="145"/>
                      <a:pt x="1769" y="144"/>
                    </a:cubicBezTo>
                    <a:cubicBezTo>
                      <a:pt x="1770" y="143"/>
                      <a:pt x="1769" y="142"/>
                      <a:pt x="1770" y="140"/>
                    </a:cubicBezTo>
                    <a:cubicBezTo>
                      <a:pt x="1770" y="140"/>
                      <a:pt x="1770" y="140"/>
                      <a:pt x="1770" y="140"/>
                    </a:cubicBezTo>
                    <a:cubicBezTo>
                      <a:pt x="1770" y="139"/>
                      <a:pt x="1770" y="138"/>
                      <a:pt x="1770" y="137"/>
                    </a:cubicBezTo>
                    <a:cubicBezTo>
                      <a:pt x="1770" y="137"/>
                      <a:pt x="1770" y="137"/>
                      <a:pt x="1770" y="137"/>
                    </a:cubicBezTo>
                    <a:cubicBezTo>
                      <a:pt x="1771" y="136"/>
                      <a:pt x="1770" y="135"/>
                      <a:pt x="1771" y="134"/>
                    </a:cubicBezTo>
                    <a:cubicBezTo>
                      <a:pt x="1771" y="134"/>
                      <a:pt x="1771" y="134"/>
                      <a:pt x="1771" y="134"/>
                    </a:cubicBezTo>
                    <a:cubicBezTo>
                      <a:pt x="1771" y="133"/>
                      <a:pt x="1771" y="133"/>
                      <a:pt x="1771" y="132"/>
                    </a:cubicBezTo>
                    <a:cubicBezTo>
                      <a:pt x="1771" y="132"/>
                      <a:pt x="1771" y="132"/>
                      <a:pt x="1771" y="132"/>
                    </a:cubicBezTo>
                    <a:cubicBezTo>
                      <a:pt x="1772" y="132"/>
                      <a:pt x="1772" y="132"/>
                      <a:pt x="1772" y="132"/>
                    </a:cubicBezTo>
                    <a:cubicBezTo>
                      <a:pt x="1772" y="132"/>
                      <a:pt x="1772" y="131"/>
                      <a:pt x="1772" y="131"/>
                    </a:cubicBezTo>
                    <a:cubicBezTo>
                      <a:pt x="1772" y="130"/>
                      <a:pt x="1772" y="130"/>
                      <a:pt x="1772" y="130"/>
                    </a:cubicBezTo>
                    <a:cubicBezTo>
                      <a:pt x="1772" y="130"/>
                      <a:pt x="1772" y="130"/>
                      <a:pt x="1772" y="130"/>
                    </a:cubicBezTo>
                    <a:cubicBezTo>
                      <a:pt x="1772" y="130"/>
                      <a:pt x="1772" y="129"/>
                      <a:pt x="1773" y="129"/>
                    </a:cubicBezTo>
                    <a:cubicBezTo>
                      <a:pt x="1773" y="129"/>
                      <a:pt x="1773" y="129"/>
                      <a:pt x="1773" y="129"/>
                    </a:cubicBezTo>
                    <a:cubicBezTo>
                      <a:pt x="1773" y="128"/>
                      <a:pt x="1773" y="128"/>
                      <a:pt x="1773" y="127"/>
                    </a:cubicBezTo>
                    <a:cubicBezTo>
                      <a:pt x="1773" y="127"/>
                      <a:pt x="1773" y="127"/>
                      <a:pt x="1773" y="127"/>
                    </a:cubicBezTo>
                    <a:cubicBezTo>
                      <a:pt x="1774" y="127"/>
                      <a:pt x="1774" y="127"/>
                      <a:pt x="1774" y="126"/>
                    </a:cubicBezTo>
                    <a:cubicBezTo>
                      <a:pt x="1774" y="126"/>
                      <a:pt x="1774" y="126"/>
                      <a:pt x="1774" y="126"/>
                    </a:cubicBezTo>
                    <a:cubicBezTo>
                      <a:pt x="1774" y="126"/>
                      <a:pt x="1774" y="125"/>
                      <a:pt x="1774" y="125"/>
                    </a:cubicBezTo>
                    <a:cubicBezTo>
                      <a:pt x="1774" y="125"/>
                      <a:pt x="1774" y="125"/>
                      <a:pt x="1774" y="125"/>
                    </a:cubicBezTo>
                    <a:cubicBezTo>
                      <a:pt x="1775" y="125"/>
                      <a:pt x="1775" y="124"/>
                      <a:pt x="1775" y="124"/>
                    </a:cubicBezTo>
                    <a:cubicBezTo>
                      <a:pt x="1775" y="124"/>
                      <a:pt x="1775" y="124"/>
                      <a:pt x="1775" y="124"/>
                    </a:cubicBezTo>
                    <a:cubicBezTo>
                      <a:pt x="1775" y="124"/>
                      <a:pt x="1775" y="123"/>
                      <a:pt x="1776" y="123"/>
                    </a:cubicBezTo>
                    <a:cubicBezTo>
                      <a:pt x="1776" y="123"/>
                      <a:pt x="1776" y="123"/>
                      <a:pt x="1776" y="123"/>
                    </a:cubicBezTo>
                    <a:cubicBezTo>
                      <a:pt x="1776" y="123"/>
                      <a:pt x="1776" y="122"/>
                      <a:pt x="1776" y="122"/>
                    </a:cubicBezTo>
                    <a:cubicBezTo>
                      <a:pt x="1776" y="122"/>
                      <a:pt x="1776" y="122"/>
                      <a:pt x="1776" y="122"/>
                    </a:cubicBezTo>
                    <a:cubicBezTo>
                      <a:pt x="1777" y="122"/>
                      <a:pt x="1776" y="121"/>
                      <a:pt x="1777" y="121"/>
                    </a:cubicBezTo>
                    <a:cubicBezTo>
                      <a:pt x="1777" y="121"/>
                      <a:pt x="1777" y="121"/>
                      <a:pt x="1777" y="121"/>
                    </a:cubicBezTo>
                    <a:cubicBezTo>
                      <a:pt x="1777" y="121"/>
                      <a:pt x="1777" y="121"/>
                      <a:pt x="1777" y="120"/>
                    </a:cubicBezTo>
                    <a:cubicBezTo>
                      <a:pt x="1777" y="120"/>
                      <a:pt x="1777" y="120"/>
                      <a:pt x="1777" y="120"/>
                    </a:cubicBezTo>
                    <a:cubicBezTo>
                      <a:pt x="1778" y="120"/>
                      <a:pt x="1778" y="120"/>
                      <a:pt x="1778" y="120"/>
                    </a:cubicBezTo>
                    <a:cubicBezTo>
                      <a:pt x="1778" y="120"/>
                      <a:pt x="1778" y="120"/>
                      <a:pt x="1778" y="120"/>
                    </a:cubicBezTo>
                    <a:cubicBezTo>
                      <a:pt x="1778" y="120"/>
                      <a:pt x="1778" y="119"/>
                      <a:pt x="1778" y="119"/>
                    </a:cubicBezTo>
                    <a:cubicBezTo>
                      <a:pt x="1779" y="119"/>
                      <a:pt x="1779" y="119"/>
                      <a:pt x="1779" y="119"/>
                    </a:cubicBezTo>
                    <a:cubicBezTo>
                      <a:pt x="1779" y="119"/>
                      <a:pt x="1779" y="118"/>
                      <a:pt x="1779" y="118"/>
                    </a:cubicBezTo>
                    <a:cubicBezTo>
                      <a:pt x="1779" y="118"/>
                      <a:pt x="1779" y="118"/>
                      <a:pt x="1779" y="118"/>
                    </a:cubicBezTo>
                    <a:cubicBezTo>
                      <a:pt x="1779" y="118"/>
                      <a:pt x="1779" y="118"/>
                      <a:pt x="1780" y="118"/>
                    </a:cubicBezTo>
                    <a:cubicBezTo>
                      <a:pt x="1780" y="118"/>
                      <a:pt x="1780" y="118"/>
                      <a:pt x="1780" y="118"/>
                    </a:cubicBezTo>
                    <a:cubicBezTo>
                      <a:pt x="1780" y="117"/>
                      <a:pt x="1780" y="117"/>
                      <a:pt x="1780" y="117"/>
                    </a:cubicBezTo>
                    <a:cubicBezTo>
                      <a:pt x="1780" y="117"/>
                      <a:pt x="1780" y="117"/>
                      <a:pt x="1780" y="117"/>
                    </a:cubicBezTo>
                    <a:cubicBezTo>
                      <a:pt x="1780" y="117"/>
                      <a:pt x="1781" y="117"/>
                      <a:pt x="1781" y="116"/>
                    </a:cubicBezTo>
                    <a:cubicBezTo>
                      <a:pt x="1781" y="116"/>
                      <a:pt x="1781" y="116"/>
                      <a:pt x="1781" y="116"/>
                    </a:cubicBezTo>
                    <a:cubicBezTo>
                      <a:pt x="1781" y="116"/>
                      <a:pt x="1781" y="116"/>
                      <a:pt x="1781" y="116"/>
                    </a:cubicBezTo>
                    <a:cubicBezTo>
                      <a:pt x="1781" y="116"/>
                      <a:pt x="1781" y="116"/>
                      <a:pt x="1781" y="116"/>
                    </a:cubicBezTo>
                    <a:cubicBezTo>
                      <a:pt x="1782" y="116"/>
                      <a:pt x="1782" y="116"/>
                      <a:pt x="1782" y="115"/>
                    </a:cubicBezTo>
                    <a:cubicBezTo>
                      <a:pt x="1782" y="115"/>
                      <a:pt x="1782" y="115"/>
                      <a:pt x="1782" y="115"/>
                    </a:cubicBezTo>
                    <a:cubicBezTo>
                      <a:pt x="1782" y="115"/>
                      <a:pt x="1783" y="115"/>
                      <a:pt x="1783" y="115"/>
                    </a:cubicBezTo>
                    <a:cubicBezTo>
                      <a:pt x="1783" y="115"/>
                      <a:pt x="1783" y="115"/>
                      <a:pt x="1783" y="115"/>
                    </a:cubicBezTo>
                    <a:cubicBezTo>
                      <a:pt x="1783" y="115"/>
                      <a:pt x="1783" y="114"/>
                      <a:pt x="1784" y="114"/>
                    </a:cubicBezTo>
                    <a:cubicBezTo>
                      <a:pt x="1784" y="114"/>
                      <a:pt x="1784" y="114"/>
                      <a:pt x="1784" y="114"/>
                    </a:cubicBezTo>
                    <a:cubicBezTo>
                      <a:pt x="1784" y="114"/>
                      <a:pt x="1785" y="114"/>
                      <a:pt x="1785" y="113"/>
                    </a:cubicBezTo>
                    <a:cubicBezTo>
                      <a:pt x="1785" y="113"/>
                      <a:pt x="1785" y="113"/>
                      <a:pt x="1785" y="113"/>
                    </a:cubicBezTo>
                    <a:cubicBezTo>
                      <a:pt x="1785" y="113"/>
                      <a:pt x="1785" y="113"/>
                      <a:pt x="1785" y="113"/>
                    </a:cubicBezTo>
                    <a:cubicBezTo>
                      <a:pt x="1785" y="113"/>
                      <a:pt x="1785" y="113"/>
                      <a:pt x="1785" y="113"/>
                    </a:cubicBezTo>
                    <a:cubicBezTo>
                      <a:pt x="1786" y="113"/>
                      <a:pt x="1786" y="113"/>
                      <a:pt x="1787" y="112"/>
                    </a:cubicBezTo>
                    <a:cubicBezTo>
                      <a:pt x="1787" y="112"/>
                      <a:pt x="1787" y="112"/>
                      <a:pt x="1787" y="112"/>
                    </a:cubicBezTo>
                    <a:cubicBezTo>
                      <a:pt x="1787" y="112"/>
                      <a:pt x="1788" y="112"/>
                      <a:pt x="1788" y="112"/>
                    </a:cubicBezTo>
                    <a:cubicBezTo>
                      <a:pt x="1788" y="112"/>
                      <a:pt x="1788" y="112"/>
                      <a:pt x="1788" y="112"/>
                    </a:cubicBezTo>
                    <a:cubicBezTo>
                      <a:pt x="1789" y="111"/>
                      <a:pt x="1789" y="112"/>
                      <a:pt x="1790" y="111"/>
                    </a:cubicBezTo>
                    <a:cubicBezTo>
                      <a:pt x="1790" y="111"/>
                      <a:pt x="1790" y="111"/>
                      <a:pt x="1790" y="111"/>
                    </a:cubicBezTo>
                    <a:cubicBezTo>
                      <a:pt x="1791" y="111"/>
                      <a:pt x="1792" y="111"/>
                      <a:pt x="1793" y="111"/>
                    </a:cubicBezTo>
                    <a:cubicBezTo>
                      <a:pt x="1794" y="111"/>
                      <a:pt x="1794" y="111"/>
                      <a:pt x="1794" y="111"/>
                    </a:cubicBezTo>
                    <a:cubicBezTo>
                      <a:pt x="1794" y="111"/>
                      <a:pt x="1794" y="111"/>
                      <a:pt x="1794" y="111"/>
                    </a:cubicBezTo>
                    <a:cubicBezTo>
                      <a:pt x="1795" y="110"/>
                      <a:pt x="1796" y="110"/>
                      <a:pt x="1797" y="111"/>
                    </a:cubicBezTo>
                    <a:cubicBezTo>
                      <a:pt x="1798" y="110"/>
                      <a:pt x="1798" y="111"/>
                      <a:pt x="1799" y="111"/>
                    </a:cubicBezTo>
                    <a:cubicBezTo>
                      <a:pt x="1800" y="111"/>
                      <a:pt x="1801" y="111"/>
                      <a:pt x="1802" y="111"/>
                    </a:cubicBezTo>
                    <a:close/>
                    <a:moveTo>
                      <a:pt x="554" y="99"/>
                    </a:moveTo>
                    <a:cubicBezTo>
                      <a:pt x="554" y="134"/>
                      <a:pt x="554" y="169"/>
                      <a:pt x="554" y="204"/>
                    </a:cubicBezTo>
                    <a:cubicBezTo>
                      <a:pt x="554" y="204"/>
                      <a:pt x="554" y="205"/>
                      <a:pt x="554" y="205"/>
                    </a:cubicBezTo>
                    <a:cubicBezTo>
                      <a:pt x="554" y="207"/>
                      <a:pt x="554" y="207"/>
                      <a:pt x="556" y="207"/>
                    </a:cubicBezTo>
                    <a:cubicBezTo>
                      <a:pt x="560" y="207"/>
                      <a:pt x="565" y="207"/>
                      <a:pt x="569" y="207"/>
                    </a:cubicBezTo>
                    <a:cubicBezTo>
                      <a:pt x="572" y="207"/>
                      <a:pt x="572" y="206"/>
                      <a:pt x="572" y="204"/>
                    </a:cubicBezTo>
                    <a:cubicBezTo>
                      <a:pt x="572" y="169"/>
                      <a:pt x="572" y="134"/>
                      <a:pt x="572" y="99"/>
                    </a:cubicBezTo>
                    <a:cubicBezTo>
                      <a:pt x="572" y="98"/>
                      <a:pt x="573" y="97"/>
                      <a:pt x="572" y="96"/>
                    </a:cubicBezTo>
                    <a:cubicBezTo>
                      <a:pt x="566" y="96"/>
                      <a:pt x="560" y="96"/>
                      <a:pt x="554" y="96"/>
                    </a:cubicBezTo>
                    <a:cubicBezTo>
                      <a:pt x="553" y="97"/>
                      <a:pt x="554" y="98"/>
                      <a:pt x="554" y="99"/>
                    </a:cubicBezTo>
                    <a:close/>
                    <a:moveTo>
                      <a:pt x="559" y="71"/>
                    </a:moveTo>
                    <a:cubicBezTo>
                      <a:pt x="560" y="71"/>
                      <a:pt x="560" y="71"/>
                      <a:pt x="560" y="71"/>
                    </a:cubicBezTo>
                    <a:cubicBezTo>
                      <a:pt x="560" y="71"/>
                      <a:pt x="560" y="71"/>
                      <a:pt x="560" y="71"/>
                    </a:cubicBezTo>
                    <a:cubicBezTo>
                      <a:pt x="562" y="71"/>
                      <a:pt x="564" y="71"/>
                      <a:pt x="566" y="71"/>
                    </a:cubicBezTo>
                    <a:cubicBezTo>
                      <a:pt x="566" y="71"/>
                      <a:pt x="566" y="71"/>
                      <a:pt x="566" y="71"/>
                    </a:cubicBezTo>
                    <a:cubicBezTo>
                      <a:pt x="567" y="70"/>
                      <a:pt x="568" y="71"/>
                      <a:pt x="568" y="70"/>
                    </a:cubicBezTo>
                    <a:cubicBezTo>
                      <a:pt x="568" y="70"/>
                      <a:pt x="568" y="70"/>
                      <a:pt x="568" y="70"/>
                    </a:cubicBezTo>
                    <a:cubicBezTo>
                      <a:pt x="568" y="70"/>
                      <a:pt x="569" y="70"/>
                      <a:pt x="569" y="70"/>
                    </a:cubicBezTo>
                    <a:cubicBezTo>
                      <a:pt x="569" y="70"/>
                      <a:pt x="569" y="70"/>
                      <a:pt x="569" y="70"/>
                    </a:cubicBezTo>
                    <a:cubicBezTo>
                      <a:pt x="569" y="70"/>
                      <a:pt x="569" y="69"/>
                      <a:pt x="570" y="69"/>
                    </a:cubicBezTo>
                    <a:cubicBezTo>
                      <a:pt x="570" y="69"/>
                      <a:pt x="570" y="69"/>
                      <a:pt x="570" y="69"/>
                    </a:cubicBezTo>
                    <a:cubicBezTo>
                      <a:pt x="570" y="69"/>
                      <a:pt x="571" y="69"/>
                      <a:pt x="571" y="69"/>
                    </a:cubicBezTo>
                    <a:cubicBezTo>
                      <a:pt x="571" y="69"/>
                      <a:pt x="571" y="69"/>
                      <a:pt x="571" y="69"/>
                    </a:cubicBezTo>
                    <a:cubicBezTo>
                      <a:pt x="571" y="69"/>
                      <a:pt x="571" y="68"/>
                      <a:pt x="571" y="68"/>
                    </a:cubicBezTo>
                    <a:cubicBezTo>
                      <a:pt x="571" y="68"/>
                      <a:pt x="571" y="68"/>
                      <a:pt x="571" y="68"/>
                    </a:cubicBezTo>
                    <a:cubicBezTo>
                      <a:pt x="572" y="68"/>
                      <a:pt x="572" y="68"/>
                      <a:pt x="572" y="67"/>
                    </a:cubicBezTo>
                    <a:cubicBezTo>
                      <a:pt x="572" y="67"/>
                      <a:pt x="572" y="67"/>
                      <a:pt x="572" y="67"/>
                    </a:cubicBezTo>
                    <a:cubicBezTo>
                      <a:pt x="572" y="67"/>
                      <a:pt x="572" y="67"/>
                      <a:pt x="572" y="67"/>
                    </a:cubicBezTo>
                    <a:cubicBezTo>
                      <a:pt x="572" y="67"/>
                      <a:pt x="572" y="67"/>
                      <a:pt x="572" y="67"/>
                    </a:cubicBezTo>
                    <a:cubicBezTo>
                      <a:pt x="573" y="67"/>
                      <a:pt x="573" y="66"/>
                      <a:pt x="573" y="66"/>
                    </a:cubicBezTo>
                    <a:cubicBezTo>
                      <a:pt x="573" y="66"/>
                      <a:pt x="573" y="66"/>
                      <a:pt x="573" y="66"/>
                    </a:cubicBezTo>
                    <a:cubicBezTo>
                      <a:pt x="573" y="66"/>
                      <a:pt x="574" y="65"/>
                      <a:pt x="574" y="65"/>
                    </a:cubicBezTo>
                    <a:cubicBezTo>
                      <a:pt x="574" y="65"/>
                      <a:pt x="574" y="65"/>
                      <a:pt x="574" y="65"/>
                    </a:cubicBezTo>
                    <a:cubicBezTo>
                      <a:pt x="574" y="65"/>
                      <a:pt x="574" y="65"/>
                      <a:pt x="574" y="65"/>
                    </a:cubicBezTo>
                    <a:cubicBezTo>
                      <a:pt x="574" y="64"/>
                      <a:pt x="574" y="64"/>
                      <a:pt x="574" y="63"/>
                    </a:cubicBezTo>
                    <a:cubicBezTo>
                      <a:pt x="574" y="63"/>
                      <a:pt x="574" y="63"/>
                      <a:pt x="574" y="63"/>
                    </a:cubicBezTo>
                    <a:cubicBezTo>
                      <a:pt x="575" y="63"/>
                      <a:pt x="574" y="62"/>
                      <a:pt x="575" y="61"/>
                    </a:cubicBezTo>
                    <a:cubicBezTo>
                      <a:pt x="575" y="60"/>
                      <a:pt x="575" y="59"/>
                      <a:pt x="575" y="58"/>
                    </a:cubicBezTo>
                    <a:cubicBezTo>
                      <a:pt x="574" y="57"/>
                      <a:pt x="575" y="57"/>
                      <a:pt x="574" y="56"/>
                    </a:cubicBezTo>
                    <a:cubicBezTo>
                      <a:pt x="574" y="56"/>
                      <a:pt x="574" y="56"/>
                      <a:pt x="574" y="56"/>
                    </a:cubicBezTo>
                    <a:cubicBezTo>
                      <a:pt x="574" y="55"/>
                      <a:pt x="574" y="55"/>
                      <a:pt x="574" y="54"/>
                    </a:cubicBezTo>
                    <a:cubicBezTo>
                      <a:pt x="574" y="54"/>
                      <a:pt x="574" y="54"/>
                      <a:pt x="574" y="54"/>
                    </a:cubicBezTo>
                    <a:cubicBezTo>
                      <a:pt x="573" y="54"/>
                      <a:pt x="574" y="53"/>
                      <a:pt x="573" y="53"/>
                    </a:cubicBezTo>
                    <a:cubicBezTo>
                      <a:pt x="573" y="53"/>
                      <a:pt x="573" y="53"/>
                      <a:pt x="573" y="53"/>
                    </a:cubicBezTo>
                    <a:cubicBezTo>
                      <a:pt x="573" y="53"/>
                      <a:pt x="573" y="53"/>
                      <a:pt x="573" y="53"/>
                    </a:cubicBezTo>
                    <a:cubicBezTo>
                      <a:pt x="573" y="53"/>
                      <a:pt x="573" y="53"/>
                      <a:pt x="573" y="53"/>
                    </a:cubicBezTo>
                    <a:cubicBezTo>
                      <a:pt x="572" y="52"/>
                      <a:pt x="572" y="52"/>
                      <a:pt x="572" y="52"/>
                    </a:cubicBezTo>
                    <a:cubicBezTo>
                      <a:pt x="572" y="52"/>
                      <a:pt x="572" y="52"/>
                      <a:pt x="572" y="52"/>
                    </a:cubicBezTo>
                    <a:cubicBezTo>
                      <a:pt x="572" y="52"/>
                      <a:pt x="571" y="51"/>
                      <a:pt x="571" y="51"/>
                    </a:cubicBezTo>
                    <a:cubicBezTo>
                      <a:pt x="571" y="51"/>
                      <a:pt x="571" y="51"/>
                      <a:pt x="571" y="51"/>
                    </a:cubicBezTo>
                    <a:cubicBezTo>
                      <a:pt x="571" y="51"/>
                      <a:pt x="570" y="50"/>
                      <a:pt x="570" y="50"/>
                    </a:cubicBezTo>
                    <a:cubicBezTo>
                      <a:pt x="570" y="50"/>
                      <a:pt x="570" y="50"/>
                      <a:pt x="570" y="50"/>
                    </a:cubicBezTo>
                    <a:cubicBezTo>
                      <a:pt x="570" y="50"/>
                      <a:pt x="570" y="50"/>
                      <a:pt x="570" y="50"/>
                    </a:cubicBezTo>
                    <a:cubicBezTo>
                      <a:pt x="570" y="50"/>
                      <a:pt x="570" y="50"/>
                      <a:pt x="570" y="50"/>
                    </a:cubicBezTo>
                    <a:cubicBezTo>
                      <a:pt x="569" y="49"/>
                      <a:pt x="569" y="49"/>
                      <a:pt x="569" y="49"/>
                    </a:cubicBezTo>
                    <a:cubicBezTo>
                      <a:pt x="569" y="49"/>
                      <a:pt x="569" y="49"/>
                      <a:pt x="569" y="49"/>
                    </a:cubicBezTo>
                    <a:cubicBezTo>
                      <a:pt x="568" y="49"/>
                      <a:pt x="568" y="49"/>
                      <a:pt x="567" y="49"/>
                    </a:cubicBezTo>
                    <a:cubicBezTo>
                      <a:pt x="567" y="49"/>
                      <a:pt x="567" y="49"/>
                      <a:pt x="567" y="48"/>
                    </a:cubicBezTo>
                    <a:cubicBezTo>
                      <a:pt x="566" y="48"/>
                      <a:pt x="566" y="48"/>
                      <a:pt x="565" y="48"/>
                    </a:cubicBezTo>
                    <a:cubicBezTo>
                      <a:pt x="564" y="48"/>
                      <a:pt x="562" y="48"/>
                      <a:pt x="561" y="48"/>
                    </a:cubicBezTo>
                    <a:cubicBezTo>
                      <a:pt x="560" y="48"/>
                      <a:pt x="559" y="48"/>
                      <a:pt x="559" y="49"/>
                    </a:cubicBezTo>
                    <a:cubicBezTo>
                      <a:pt x="559" y="49"/>
                      <a:pt x="559" y="49"/>
                      <a:pt x="559" y="49"/>
                    </a:cubicBezTo>
                    <a:cubicBezTo>
                      <a:pt x="558" y="49"/>
                      <a:pt x="558" y="49"/>
                      <a:pt x="558" y="49"/>
                    </a:cubicBezTo>
                    <a:cubicBezTo>
                      <a:pt x="558" y="49"/>
                      <a:pt x="558" y="49"/>
                      <a:pt x="558" y="49"/>
                    </a:cubicBezTo>
                    <a:cubicBezTo>
                      <a:pt x="558" y="49"/>
                      <a:pt x="557" y="49"/>
                      <a:pt x="557" y="49"/>
                    </a:cubicBezTo>
                    <a:cubicBezTo>
                      <a:pt x="557" y="49"/>
                      <a:pt x="557" y="49"/>
                      <a:pt x="556" y="50"/>
                    </a:cubicBezTo>
                    <a:cubicBezTo>
                      <a:pt x="556" y="50"/>
                      <a:pt x="556" y="50"/>
                      <a:pt x="556" y="50"/>
                    </a:cubicBezTo>
                    <a:cubicBezTo>
                      <a:pt x="556" y="50"/>
                      <a:pt x="556" y="50"/>
                      <a:pt x="555" y="50"/>
                    </a:cubicBezTo>
                    <a:cubicBezTo>
                      <a:pt x="555" y="50"/>
                      <a:pt x="555" y="50"/>
                      <a:pt x="555" y="50"/>
                    </a:cubicBezTo>
                    <a:cubicBezTo>
                      <a:pt x="555" y="50"/>
                      <a:pt x="555" y="51"/>
                      <a:pt x="555" y="51"/>
                    </a:cubicBezTo>
                    <a:cubicBezTo>
                      <a:pt x="555" y="51"/>
                      <a:pt x="555" y="51"/>
                      <a:pt x="555" y="51"/>
                    </a:cubicBezTo>
                    <a:cubicBezTo>
                      <a:pt x="555" y="51"/>
                      <a:pt x="554" y="51"/>
                      <a:pt x="554" y="52"/>
                    </a:cubicBezTo>
                    <a:cubicBezTo>
                      <a:pt x="554" y="52"/>
                      <a:pt x="554" y="52"/>
                      <a:pt x="554" y="52"/>
                    </a:cubicBezTo>
                    <a:cubicBezTo>
                      <a:pt x="554" y="52"/>
                      <a:pt x="553" y="53"/>
                      <a:pt x="553" y="53"/>
                    </a:cubicBezTo>
                    <a:cubicBezTo>
                      <a:pt x="553" y="53"/>
                      <a:pt x="553" y="53"/>
                      <a:pt x="553" y="53"/>
                    </a:cubicBezTo>
                    <a:cubicBezTo>
                      <a:pt x="553" y="53"/>
                      <a:pt x="553" y="54"/>
                      <a:pt x="553" y="54"/>
                    </a:cubicBezTo>
                    <a:cubicBezTo>
                      <a:pt x="553" y="54"/>
                      <a:pt x="553" y="54"/>
                      <a:pt x="553" y="54"/>
                    </a:cubicBezTo>
                    <a:cubicBezTo>
                      <a:pt x="552" y="54"/>
                      <a:pt x="552" y="54"/>
                      <a:pt x="552" y="54"/>
                    </a:cubicBezTo>
                    <a:cubicBezTo>
                      <a:pt x="552" y="55"/>
                      <a:pt x="552" y="55"/>
                      <a:pt x="552" y="55"/>
                    </a:cubicBezTo>
                    <a:cubicBezTo>
                      <a:pt x="552" y="55"/>
                      <a:pt x="552" y="55"/>
                      <a:pt x="552" y="55"/>
                    </a:cubicBezTo>
                    <a:cubicBezTo>
                      <a:pt x="551" y="56"/>
                      <a:pt x="552" y="57"/>
                      <a:pt x="551" y="57"/>
                    </a:cubicBezTo>
                    <a:cubicBezTo>
                      <a:pt x="551" y="58"/>
                      <a:pt x="551" y="58"/>
                      <a:pt x="551" y="58"/>
                    </a:cubicBezTo>
                    <a:cubicBezTo>
                      <a:pt x="551" y="59"/>
                      <a:pt x="551" y="60"/>
                      <a:pt x="551" y="61"/>
                    </a:cubicBezTo>
                    <a:cubicBezTo>
                      <a:pt x="551" y="61"/>
                      <a:pt x="551" y="62"/>
                      <a:pt x="551" y="62"/>
                    </a:cubicBezTo>
                    <a:cubicBezTo>
                      <a:pt x="552" y="63"/>
                      <a:pt x="551" y="63"/>
                      <a:pt x="552" y="64"/>
                    </a:cubicBezTo>
                    <a:cubicBezTo>
                      <a:pt x="552" y="64"/>
                      <a:pt x="552" y="64"/>
                      <a:pt x="552" y="64"/>
                    </a:cubicBezTo>
                    <a:cubicBezTo>
                      <a:pt x="552" y="64"/>
                      <a:pt x="552" y="65"/>
                      <a:pt x="552" y="65"/>
                    </a:cubicBezTo>
                    <a:cubicBezTo>
                      <a:pt x="552" y="65"/>
                      <a:pt x="552" y="65"/>
                      <a:pt x="552" y="65"/>
                    </a:cubicBezTo>
                    <a:cubicBezTo>
                      <a:pt x="553" y="66"/>
                      <a:pt x="553" y="66"/>
                      <a:pt x="553" y="66"/>
                    </a:cubicBezTo>
                    <a:cubicBezTo>
                      <a:pt x="553" y="66"/>
                      <a:pt x="553" y="66"/>
                      <a:pt x="553" y="66"/>
                    </a:cubicBezTo>
                    <a:cubicBezTo>
                      <a:pt x="553" y="67"/>
                      <a:pt x="553" y="67"/>
                      <a:pt x="554" y="67"/>
                    </a:cubicBezTo>
                    <a:cubicBezTo>
                      <a:pt x="554" y="67"/>
                      <a:pt x="554" y="67"/>
                      <a:pt x="554" y="67"/>
                    </a:cubicBezTo>
                    <a:cubicBezTo>
                      <a:pt x="554" y="68"/>
                      <a:pt x="555" y="68"/>
                      <a:pt x="555" y="69"/>
                    </a:cubicBezTo>
                    <a:cubicBezTo>
                      <a:pt x="555" y="69"/>
                      <a:pt x="555" y="69"/>
                      <a:pt x="555" y="69"/>
                    </a:cubicBezTo>
                    <a:cubicBezTo>
                      <a:pt x="556" y="69"/>
                      <a:pt x="556" y="69"/>
                      <a:pt x="556" y="69"/>
                    </a:cubicBezTo>
                    <a:cubicBezTo>
                      <a:pt x="556" y="69"/>
                      <a:pt x="556" y="69"/>
                      <a:pt x="556" y="69"/>
                    </a:cubicBezTo>
                    <a:cubicBezTo>
                      <a:pt x="556" y="70"/>
                      <a:pt x="557" y="70"/>
                      <a:pt x="558" y="70"/>
                    </a:cubicBezTo>
                    <a:cubicBezTo>
                      <a:pt x="558" y="70"/>
                      <a:pt x="558" y="70"/>
                      <a:pt x="558" y="70"/>
                    </a:cubicBezTo>
                    <a:cubicBezTo>
                      <a:pt x="558" y="70"/>
                      <a:pt x="558" y="70"/>
                      <a:pt x="558" y="70"/>
                    </a:cubicBezTo>
                    <a:cubicBezTo>
                      <a:pt x="559" y="71"/>
                      <a:pt x="559" y="71"/>
                      <a:pt x="559" y="71"/>
                    </a:cubicBezTo>
                    <a:close/>
                    <a:moveTo>
                      <a:pt x="554" y="99"/>
                    </a:moveTo>
                    <a:cubicBezTo>
                      <a:pt x="554" y="134"/>
                      <a:pt x="554" y="169"/>
                      <a:pt x="554" y="204"/>
                    </a:cubicBezTo>
                    <a:cubicBezTo>
                      <a:pt x="554" y="204"/>
                      <a:pt x="554" y="205"/>
                      <a:pt x="554" y="205"/>
                    </a:cubicBezTo>
                    <a:cubicBezTo>
                      <a:pt x="554" y="207"/>
                      <a:pt x="554" y="207"/>
                      <a:pt x="556" y="207"/>
                    </a:cubicBezTo>
                    <a:cubicBezTo>
                      <a:pt x="561" y="207"/>
                      <a:pt x="565" y="207"/>
                      <a:pt x="570" y="207"/>
                    </a:cubicBezTo>
                    <a:cubicBezTo>
                      <a:pt x="573" y="207"/>
                      <a:pt x="573" y="207"/>
                      <a:pt x="573" y="205"/>
                    </a:cubicBezTo>
                    <a:cubicBezTo>
                      <a:pt x="573" y="205"/>
                      <a:pt x="573" y="204"/>
                      <a:pt x="573" y="204"/>
                    </a:cubicBezTo>
                    <a:cubicBezTo>
                      <a:pt x="573" y="169"/>
                      <a:pt x="573" y="134"/>
                      <a:pt x="573" y="99"/>
                    </a:cubicBezTo>
                    <a:cubicBezTo>
                      <a:pt x="573" y="98"/>
                      <a:pt x="573" y="98"/>
                      <a:pt x="573" y="97"/>
                    </a:cubicBezTo>
                    <a:cubicBezTo>
                      <a:pt x="573" y="96"/>
                      <a:pt x="572" y="96"/>
                      <a:pt x="572" y="96"/>
                    </a:cubicBezTo>
                    <a:cubicBezTo>
                      <a:pt x="572" y="97"/>
                      <a:pt x="572" y="98"/>
                      <a:pt x="572" y="99"/>
                    </a:cubicBezTo>
                    <a:cubicBezTo>
                      <a:pt x="572" y="118"/>
                      <a:pt x="572" y="137"/>
                      <a:pt x="572" y="156"/>
                    </a:cubicBezTo>
                    <a:cubicBezTo>
                      <a:pt x="572" y="172"/>
                      <a:pt x="572" y="188"/>
                      <a:pt x="572" y="204"/>
                    </a:cubicBezTo>
                    <a:cubicBezTo>
                      <a:pt x="572" y="207"/>
                      <a:pt x="573" y="207"/>
                      <a:pt x="569" y="207"/>
                    </a:cubicBezTo>
                    <a:cubicBezTo>
                      <a:pt x="565" y="207"/>
                      <a:pt x="561" y="207"/>
                      <a:pt x="557" y="207"/>
                    </a:cubicBezTo>
                    <a:cubicBezTo>
                      <a:pt x="554" y="207"/>
                      <a:pt x="554" y="207"/>
                      <a:pt x="554" y="204"/>
                    </a:cubicBezTo>
                    <a:cubicBezTo>
                      <a:pt x="554" y="169"/>
                      <a:pt x="554" y="134"/>
                      <a:pt x="554" y="99"/>
                    </a:cubicBezTo>
                    <a:cubicBezTo>
                      <a:pt x="554" y="98"/>
                      <a:pt x="554" y="97"/>
                      <a:pt x="554" y="96"/>
                    </a:cubicBezTo>
                    <a:cubicBezTo>
                      <a:pt x="553" y="97"/>
                      <a:pt x="554" y="98"/>
                      <a:pt x="554" y="99"/>
                    </a:cubicBezTo>
                    <a:close/>
                    <a:moveTo>
                      <a:pt x="599" y="99"/>
                    </a:moveTo>
                    <a:cubicBezTo>
                      <a:pt x="598" y="134"/>
                      <a:pt x="598" y="169"/>
                      <a:pt x="598" y="204"/>
                    </a:cubicBezTo>
                    <a:cubicBezTo>
                      <a:pt x="598" y="204"/>
                      <a:pt x="598" y="205"/>
                      <a:pt x="598" y="205"/>
                    </a:cubicBezTo>
                    <a:cubicBezTo>
                      <a:pt x="599" y="207"/>
                      <a:pt x="599" y="207"/>
                      <a:pt x="601" y="207"/>
                    </a:cubicBezTo>
                    <a:cubicBezTo>
                      <a:pt x="605" y="207"/>
                      <a:pt x="610" y="207"/>
                      <a:pt x="615" y="207"/>
                    </a:cubicBezTo>
                    <a:cubicBezTo>
                      <a:pt x="617" y="207"/>
                      <a:pt x="617" y="207"/>
                      <a:pt x="617" y="205"/>
                    </a:cubicBezTo>
                    <a:cubicBezTo>
                      <a:pt x="617" y="204"/>
                      <a:pt x="617" y="203"/>
                      <a:pt x="617" y="202"/>
                    </a:cubicBezTo>
                    <a:cubicBezTo>
                      <a:pt x="617" y="182"/>
                      <a:pt x="617" y="162"/>
                      <a:pt x="617" y="142"/>
                    </a:cubicBezTo>
                    <a:cubicBezTo>
                      <a:pt x="616" y="143"/>
                      <a:pt x="617" y="144"/>
                      <a:pt x="617" y="145"/>
                    </a:cubicBezTo>
                    <a:cubicBezTo>
                      <a:pt x="617" y="161"/>
                      <a:pt x="617" y="177"/>
                      <a:pt x="617" y="193"/>
                    </a:cubicBezTo>
                    <a:cubicBezTo>
                      <a:pt x="617" y="197"/>
                      <a:pt x="617" y="201"/>
                      <a:pt x="617" y="205"/>
                    </a:cubicBezTo>
                    <a:cubicBezTo>
                      <a:pt x="617" y="207"/>
                      <a:pt x="617" y="207"/>
                      <a:pt x="615" y="207"/>
                    </a:cubicBezTo>
                    <a:cubicBezTo>
                      <a:pt x="610" y="207"/>
                      <a:pt x="606" y="207"/>
                      <a:pt x="601" y="207"/>
                    </a:cubicBezTo>
                    <a:cubicBezTo>
                      <a:pt x="599" y="207"/>
                      <a:pt x="599" y="207"/>
                      <a:pt x="599" y="205"/>
                    </a:cubicBezTo>
                    <a:cubicBezTo>
                      <a:pt x="599" y="205"/>
                      <a:pt x="599" y="204"/>
                      <a:pt x="599" y="204"/>
                    </a:cubicBezTo>
                    <a:cubicBezTo>
                      <a:pt x="599" y="169"/>
                      <a:pt x="599" y="134"/>
                      <a:pt x="599" y="99"/>
                    </a:cubicBezTo>
                    <a:cubicBezTo>
                      <a:pt x="599" y="98"/>
                      <a:pt x="599" y="97"/>
                      <a:pt x="599" y="96"/>
                    </a:cubicBezTo>
                    <a:cubicBezTo>
                      <a:pt x="598" y="97"/>
                      <a:pt x="599" y="98"/>
                      <a:pt x="599" y="99"/>
                    </a:cubicBezTo>
                    <a:close/>
                    <a:moveTo>
                      <a:pt x="1460" y="99"/>
                    </a:moveTo>
                    <a:cubicBezTo>
                      <a:pt x="1460" y="134"/>
                      <a:pt x="1460" y="169"/>
                      <a:pt x="1460" y="204"/>
                    </a:cubicBezTo>
                    <a:cubicBezTo>
                      <a:pt x="1460" y="204"/>
                      <a:pt x="1460" y="205"/>
                      <a:pt x="1460" y="205"/>
                    </a:cubicBezTo>
                    <a:cubicBezTo>
                      <a:pt x="1460" y="207"/>
                      <a:pt x="1460" y="207"/>
                      <a:pt x="1462" y="207"/>
                    </a:cubicBezTo>
                    <a:cubicBezTo>
                      <a:pt x="1467" y="207"/>
                      <a:pt x="1472" y="207"/>
                      <a:pt x="1477" y="207"/>
                    </a:cubicBezTo>
                    <a:cubicBezTo>
                      <a:pt x="1479" y="207"/>
                      <a:pt x="1479" y="207"/>
                      <a:pt x="1479" y="205"/>
                    </a:cubicBezTo>
                    <a:cubicBezTo>
                      <a:pt x="1479" y="185"/>
                      <a:pt x="1479" y="164"/>
                      <a:pt x="1479" y="144"/>
                    </a:cubicBezTo>
                    <a:cubicBezTo>
                      <a:pt x="1478" y="146"/>
                      <a:pt x="1478" y="148"/>
                      <a:pt x="1478" y="150"/>
                    </a:cubicBezTo>
                    <a:cubicBezTo>
                      <a:pt x="1478" y="168"/>
                      <a:pt x="1478" y="186"/>
                      <a:pt x="1478" y="203"/>
                    </a:cubicBezTo>
                    <a:cubicBezTo>
                      <a:pt x="1478" y="204"/>
                      <a:pt x="1478" y="205"/>
                      <a:pt x="1478" y="205"/>
                    </a:cubicBezTo>
                    <a:cubicBezTo>
                      <a:pt x="1479" y="207"/>
                      <a:pt x="1478" y="207"/>
                      <a:pt x="1477" y="207"/>
                    </a:cubicBezTo>
                    <a:cubicBezTo>
                      <a:pt x="1472" y="207"/>
                      <a:pt x="1467" y="207"/>
                      <a:pt x="1462" y="207"/>
                    </a:cubicBezTo>
                    <a:cubicBezTo>
                      <a:pt x="1461" y="207"/>
                      <a:pt x="1461" y="207"/>
                      <a:pt x="1461" y="205"/>
                    </a:cubicBezTo>
                    <a:cubicBezTo>
                      <a:pt x="1461" y="205"/>
                      <a:pt x="1461" y="204"/>
                      <a:pt x="1461" y="204"/>
                    </a:cubicBezTo>
                    <a:cubicBezTo>
                      <a:pt x="1461" y="169"/>
                      <a:pt x="1461" y="134"/>
                      <a:pt x="1461" y="99"/>
                    </a:cubicBezTo>
                    <a:cubicBezTo>
                      <a:pt x="1461" y="98"/>
                      <a:pt x="1461" y="97"/>
                      <a:pt x="1461" y="96"/>
                    </a:cubicBezTo>
                    <a:cubicBezTo>
                      <a:pt x="1459" y="97"/>
                      <a:pt x="1460" y="98"/>
                      <a:pt x="1460" y="99"/>
                    </a:cubicBezTo>
                    <a:close/>
                    <a:moveTo>
                      <a:pt x="811" y="42"/>
                    </a:moveTo>
                    <a:cubicBezTo>
                      <a:pt x="807" y="42"/>
                      <a:pt x="803" y="42"/>
                      <a:pt x="798" y="42"/>
                    </a:cubicBezTo>
                    <a:cubicBezTo>
                      <a:pt x="795" y="42"/>
                      <a:pt x="795" y="42"/>
                      <a:pt x="795" y="45"/>
                    </a:cubicBezTo>
                    <a:cubicBezTo>
                      <a:pt x="795" y="46"/>
                      <a:pt x="795" y="46"/>
                      <a:pt x="795" y="47"/>
                    </a:cubicBezTo>
                    <a:cubicBezTo>
                      <a:pt x="795" y="67"/>
                      <a:pt x="795" y="86"/>
                      <a:pt x="795" y="106"/>
                    </a:cubicBezTo>
                    <a:cubicBezTo>
                      <a:pt x="795" y="107"/>
                      <a:pt x="796" y="109"/>
                      <a:pt x="795" y="110"/>
                    </a:cubicBezTo>
                    <a:cubicBezTo>
                      <a:pt x="795" y="110"/>
                      <a:pt x="795" y="111"/>
                      <a:pt x="796" y="111"/>
                    </a:cubicBezTo>
                    <a:cubicBezTo>
                      <a:pt x="796" y="110"/>
                      <a:pt x="796" y="109"/>
                      <a:pt x="796" y="108"/>
                    </a:cubicBezTo>
                    <a:cubicBezTo>
                      <a:pt x="796" y="88"/>
                      <a:pt x="796" y="67"/>
                      <a:pt x="796" y="47"/>
                    </a:cubicBezTo>
                    <a:cubicBezTo>
                      <a:pt x="796" y="46"/>
                      <a:pt x="796" y="46"/>
                      <a:pt x="796" y="45"/>
                    </a:cubicBezTo>
                    <a:cubicBezTo>
                      <a:pt x="796" y="42"/>
                      <a:pt x="796" y="43"/>
                      <a:pt x="799" y="43"/>
                    </a:cubicBezTo>
                    <a:cubicBezTo>
                      <a:pt x="803" y="43"/>
                      <a:pt x="807" y="43"/>
                      <a:pt x="811" y="43"/>
                    </a:cubicBezTo>
                    <a:cubicBezTo>
                      <a:pt x="812" y="43"/>
                      <a:pt x="813" y="42"/>
                      <a:pt x="814" y="43"/>
                    </a:cubicBezTo>
                    <a:cubicBezTo>
                      <a:pt x="813" y="42"/>
                      <a:pt x="812" y="42"/>
                      <a:pt x="811" y="42"/>
                    </a:cubicBezTo>
                    <a:close/>
                    <a:moveTo>
                      <a:pt x="673" y="163"/>
                    </a:moveTo>
                    <a:cubicBezTo>
                      <a:pt x="673" y="177"/>
                      <a:pt x="673" y="191"/>
                      <a:pt x="673" y="205"/>
                    </a:cubicBezTo>
                    <a:cubicBezTo>
                      <a:pt x="673" y="207"/>
                      <a:pt x="673" y="207"/>
                      <a:pt x="675" y="207"/>
                    </a:cubicBezTo>
                    <a:cubicBezTo>
                      <a:pt x="680" y="207"/>
                      <a:pt x="684" y="207"/>
                      <a:pt x="689" y="207"/>
                    </a:cubicBezTo>
                    <a:cubicBezTo>
                      <a:pt x="690" y="207"/>
                      <a:pt x="691" y="208"/>
                      <a:pt x="691" y="207"/>
                    </a:cubicBezTo>
                    <a:cubicBezTo>
                      <a:pt x="690" y="207"/>
                      <a:pt x="689" y="207"/>
                      <a:pt x="688" y="207"/>
                    </a:cubicBezTo>
                    <a:cubicBezTo>
                      <a:pt x="684" y="207"/>
                      <a:pt x="680" y="207"/>
                      <a:pt x="677" y="207"/>
                    </a:cubicBezTo>
                    <a:cubicBezTo>
                      <a:pt x="673" y="207"/>
                      <a:pt x="673" y="208"/>
                      <a:pt x="673" y="204"/>
                    </a:cubicBezTo>
                    <a:cubicBezTo>
                      <a:pt x="673" y="184"/>
                      <a:pt x="673" y="164"/>
                      <a:pt x="673" y="144"/>
                    </a:cubicBezTo>
                    <a:cubicBezTo>
                      <a:pt x="673" y="142"/>
                      <a:pt x="673" y="140"/>
                      <a:pt x="673" y="139"/>
                    </a:cubicBezTo>
                    <a:cubicBezTo>
                      <a:pt x="673" y="147"/>
                      <a:pt x="673" y="155"/>
                      <a:pt x="673" y="163"/>
                    </a:cubicBezTo>
                    <a:close/>
                    <a:moveTo>
                      <a:pt x="1753" y="207"/>
                    </a:moveTo>
                    <a:cubicBezTo>
                      <a:pt x="1757" y="207"/>
                      <a:pt x="1762" y="207"/>
                      <a:pt x="1767" y="207"/>
                    </a:cubicBezTo>
                    <a:cubicBezTo>
                      <a:pt x="1769" y="207"/>
                      <a:pt x="1769" y="207"/>
                      <a:pt x="1769" y="205"/>
                    </a:cubicBezTo>
                    <a:cubicBezTo>
                      <a:pt x="1769" y="186"/>
                      <a:pt x="1769" y="166"/>
                      <a:pt x="1769" y="146"/>
                    </a:cubicBezTo>
                    <a:cubicBezTo>
                      <a:pt x="1769" y="148"/>
                      <a:pt x="1769" y="149"/>
                      <a:pt x="1769" y="151"/>
                    </a:cubicBezTo>
                    <a:cubicBezTo>
                      <a:pt x="1769" y="168"/>
                      <a:pt x="1769" y="184"/>
                      <a:pt x="1769" y="201"/>
                    </a:cubicBezTo>
                    <a:cubicBezTo>
                      <a:pt x="1769" y="203"/>
                      <a:pt x="1769" y="204"/>
                      <a:pt x="1769" y="205"/>
                    </a:cubicBezTo>
                    <a:cubicBezTo>
                      <a:pt x="1769" y="207"/>
                      <a:pt x="1768" y="207"/>
                      <a:pt x="1767" y="207"/>
                    </a:cubicBezTo>
                    <a:cubicBezTo>
                      <a:pt x="1762" y="207"/>
                      <a:pt x="1757" y="207"/>
                      <a:pt x="1752" y="207"/>
                    </a:cubicBezTo>
                    <a:cubicBezTo>
                      <a:pt x="1752" y="207"/>
                      <a:pt x="1751" y="207"/>
                      <a:pt x="1751" y="207"/>
                    </a:cubicBezTo>
                    <a:cubicBezTo>
                      <a:pt x="1751" y="207"/>
                      <a:pt x="1752" y="207"/>
                      <a:pt x="1753" y="207"/>
                    </a:cubicBezTo>
                    <a:close/>
                    <a:moveTo>
                      <a:pt x="795" y="192"/>
                    </a:moveTo>
                    <a:cubicBezTo>
                      <a:pt x="795" y="197"/>
                      <a:pt x="795" y="201"/>
                      <a:pt x="795" y="205"/>
                    </a:cubicBezTo>
                    <a:cubicBezTo>
                      <a:pt x="795" y="207"/>
                      <a:pt x="796" y="207"/>
                      <a:pt x="798" y="207"/>
                    </a:cubicBezTo>
                    <a:cubicBezTo>
                      <a:pt x="802" y="207"/>
                      <a:pt x="807" y="207"/>
                      <a:pt x="812" y="207"/>
                    </a:cubicBezTo>
                    <a:cubicBezTo>
                      <a:pt x="813" y="207"/>
                      <a:pt x="813" y="208"/>
                      <a:pt x="814" y="207"/>
                    </a:cubicBezTo>
                    <a:cubicBezTo>
                      <a:pt x="808" y="207"/>
                      <a:pt x="803" y="207"/>
                      <a:pt x="797" y="207"/>
                    </a:cubicBezTo>
                    <a:cubicBezTo>
                      <a:pt x="796" y="207"/>
                      <a:pt x="796" y="206"/>
                      <a:pt x="796" y="206"/>
                    </a:cubicBezTo>
                    <a:cubicBezTo>
                      <a:pt x="796" y="203"/>
                      <a:pt x="796" y="200"/>
                      <a:pt x="796" y="198"/>
                    </a:cubicBezTo>
                    <a:cubicBezTo>
                      <a:pt x="796" y="195"/>
                      <a:pt x="796" y="192"/>
                      <a:pt x="796" y="189"/>
                    </a:cubicBezTo>
                    <a:cubicBezTo>
                      <a:pt x="796" y="189"/>
                      <a:pt x="796" y="189"/>
                      <a:pt x="795" y="189"/>
                    </a:cubicBezTo>
                    <a:cubicBezTo>
                      <a:pt x="795" y="189"/>
                      <a:pt x="795" y="189"/>
                      <a:pt x="795" y="190"/>
                    </a:cubicBezTo>
                    <a:cubicBezTo>
                      <a:pt x="796" y="190"/>
                      <a:pt x="795" y="191"/>
                      <a:pt x="795" y="192"/>
                    </a:cubicBezTo>
                    <a:close/>
                    <a:moveTo>
                      <a:pt x="1479" y="113"/>
                    </a:moveTo>
                    <a:cubicBezTo>
                      <a:pt x="1479" y="108"/>
                      <a:pt x="1479" y="103"/>
                      <a:pt x="1479" y="98"/>
                    </a:cubicBezTo>
                    <a:cubicBezTo>
                      <a:pt x="1479" y="97"/>
                      <a:pt x="1479" y="96"/>
                      <a:pt x="1478" y="96"/>
                    </a:cubicBezTo>
                    <a:cubicBezTo>
                      <a:pt x="1478" y="97"/>
                      <a:pt x="1478" y="98"/>
                      <a:pt x="1478" y="99"/>
                    </a:cubicBezTo>
                    <a:cubicBezTo>
                      <a:pt x="1478" y="105"/>
                      <a:pt x="1478" y="110"/>
                      <a:pt x="1478" y="116"/>
                    </a:cubicBezTo>
                    <a:cubicBezTo>
                      <a:pt x="1478" y="117"/>
                      <a:pt x="1478" y="118"/>
                      <a:pt x="1479" y="118"/>
                    </a:cubicBezTo>
                    <a:cubicBezTo>
                      <a:pt x="1479" y="117"/>
                      <a:pt x="1480" y="117"/>
                      <a:pt x="1480" y="116"/>
                    </a:cubicBezTo>
                    <a:cubicBezTo>
                      <a:pt x="1479" y="115"/>
                      <a:pt x="1479" y="114"/>
                      <a:pt x="1479" y="113"/>
                    </a:cubicBezTo>
                    <a:close/>
                    <a:moveTo>
                      <a:pt x="1769" y="114"/>
                    </a:moveTo>
                    <a:cubicBezTo>
                      <a:pt x="1769" y="109"/>
                      <a:pt x="1769" y="104"/>
                      <a:pt x="1769" y="98"/>
                    </a:cubicBezTo>
                    <a:cubicBezTo>
                      <a:pt x="1769" y="98"/>
                      <a:pt x="1770" y="96"/>
                      <a:pt x="1769" y="96"/>
                    </a:cubicBezTo>
                    <a:cubicBezTo>
                      <a:pt x="1769" y="98"/>
                      <a:pt x="1769" y="99"/>
                      <a:pt x="1769" y="101"/>
                    </a:cubicBezTo>
                    <a:cubicBezTo>
                      <a:pt x="1769" y="107"/>
                      <a:pt x="1769" y="112"/>
                      <a:pt x="1769" y="118"/>
                    </a:cubicBezTo>
                    <a:cubicBezTo>
                      <a:pt x="1770" y="118"/>
                      <a:pt x="1770" y="117"/>
                      <a:pt x="1770" y="116"/>
                    </a:cubicBezTo>
                    <a:cubicBezTo>
                      <a:pt x="1769" y="116"/>
                      <a:pt x="1769" y="115"/>
                      <a:pt x="1769" y="114"/>
                    </a:cubicBezTo>
                    <a:close/>
                    <a:moveTo>
                      <a:pt x="1243" y="179"/>
                    </a:moveTo>
                    <a:cubicBezTo>
                      <a:pt x="1242" y="179"/>
                      <a:pt x="1242" y="180"/>
                      <a:pt x="1242" y="180"/>
                    </a:cubicBezTo>
                    <a:cubicBezTo>
                      <a:pt x="1242" y="184"/>
                      <a:pt x="1242" y="187"/>
                      <a:pt x="1242" y="191"/>
                    </a:cubicBezTo>
                    <a:cubicBezTo>
                      <a:pt x="1242" y="194"/>
                      <a:pt x="1242" y="197"/>
                      <a:pt x="1242" y="200"/>
                    </a:cubicBezTo>
                    <a:cubicBezTo>
                      <a:pt x="1242" y="201"/>
                      <a:pt x="1242" y="202"/>
                      <a:pt x="1244" y="202"/>
                    </a:cubicBezTo>
                    <a:cubicBezTo>
                      <a:pt x="1243" y="201"/>
                      <a:pt x="1243" y="200"/>
                      <a:pt x="1243" y="199"/>
                    </a:cubicBezTo>
                    <a:cubicBezTo>
                      <a:pt x="1243" y="194"/>
                      <a:pt x="1243" y="190"/>
                      <a:pt x="1243" y="186"/>
                    </a:cubicBezTo>
                    <a:cubicBezTo>
                      <a:pt x="1243" y="184"/>
                      <a:pt x="1243" y="182"/>
                      <a:pt x="1243" y="181"/>
                    </a:cubicBezTo>
                    <a:cubicBezTo>
                      <a:pt x="1243" y="180"/>
                      <a:pt x="1243" y="180"/>
                      <a:pt x="1244" y="180"/>
                    </a:cubicBezTo>
                    <a:cubicBezTo>
                      <a:pt x="1244" y="179"/>
                      <a:pt x="1243" y="179"/>
                      <a:pt x="1243" y="179"/>
                    </a:cubicBezTo>
                    <a:close/>
                    <a:moveTo>
                      <a:pt x="475" y="207"/>
                    </a:moveTo>
                    <a:cubicBezTo>
                      <a:pt x="482" y="207"/>
                      <a:pt x="488" y="207"/>
                      <a:pt x="494" y="207"/>
                    </a:cubicBezTo>
                    <a:cubicBezTo>
                      <a:pt x="495" y="207"/>
                      <a:pt x="496" y="207"/>
                      <a:pt x="496" y="207"/>
                    </a:cubicBezTo>
                    <a:cubicBezTo>
                      <a:pt x="496" y="207"/>
                      <a:pt x="495" y="207"/>
                      <a:pt x="495" y="207"/>
                    </a:cubicBezTo>
                    <a:cubicBezTo>
                      <a:pt x="488" y="207"/>
                      <a:pt x="482" y="207"/>
                      <a:pt x="475" y="207"/>
                    </a:cubicBezTo>
                    <a:cubicBezTo>
                      <a:pt x="474" y="207"/>
                      <a:pt x="474" y="206"/>
                      <a:pt x="474" y="206"/>
                    </a:cubicBezTo>
                    <a:cubicBezTo>
                      <a:pt x="473" y="207"/>
                      <a:pt x="474" y="207"/>
                      <a:pt x="475" y="207"/>
                    </a:cubicBezTo>
                    <a:close/>
                    <a:moveTo>
                      <a:pt x="1323" y="74"/>
                    </a:moveTo>
                    <a:cubicBezTo>
                      <a:pt x="1324" y="72"/>
                      <a:pt x="1324" y="70"/>
                      <a:pt x="1324" y="69"/>
                    </a:cubicBezTo>
                    <a:cubicBezTo>
                      <a:pt x="1324" y="64"/>
                      <a:pt x="1324" y="60"/>
                      <a:pt x="1324" y="56"/>
                    </a:cubicBezTo>
                    <a:cubicBezTo>
                      <a:pt x="1324" y="55"/>
                      <a:pt x="1324" y="54"/>
                      <a:pt x="1322" y="54"/>
                    </a:cubicBezTo>
                    <a:cubicBezTo>
                      <a:pt x="1323" y="54"/>
                      <a:pt x="1323" y="55"/>
                      <a:pt x="1323" y="56"/>
                    </a:cubicBezTo>
                    <a:cubicBezTo>
                      <a:pt x="1323" y="62"/>
                      <a:pt x="1323" y="67"/>
                      <a:pt x="1323" y="72"/>
                    </a:cubicBezTo>
                    <a:cubicBezTo>
                      <a:pt x="1323" y="73"/>
                      <a:pt x="1323" y="74"/>
                      <a:pt x="1323" y="74"/>
                    </a:cubicBezTo>
                    <a:cubicBezTo>
                      <a:pt x="1323" y="74"/>
                      <a:pt x="1322" y="74"/>
                      <a:pt x="1322" y="74"/>
                    </a:cubicBezTo>
                    <a:cubicBezTo>
                      <a:pt x="1323" y="76"/>
                      <a:pt x="1323" y="75"/>
                      <a:pt x="1323" y="74"/>
                    </a:cubicBezTo>
                    <a:close/>
                    <a:moveTo>
                      <a:pt x="538" y="51"/>
                    </a:moveTo>
                    <a:cubicBezTo>
                      <a:pt x="532" y="51"/>
                      <a:pt x="527" y="51"/>
                      <a:pt x="521" y="51"/>
                    </a:cubicBezTo>
                    <a:cubicBezTo>
                      <a:pt x="521" y="51"/>
                      <a:pt x="520" y="51"/>
                      <a:pt x="520" y="52"/>
                    </a:cubicBezTo>
                    <a:cubicBezTo>
                      <a:pt x="526" y="51"/>
                      <a:pt x="531" y="51"/>
                      <a:pt x="537" y="51"/>
                    </a:cubicBezTo>
                    <a:cubicBezTo>
                      <a:pt x="539" y="51"/>
                      <a:pt x="539" y="51"/>
                      <a:pt x="539" y="54"/>
                    </a:cubicBezTo>
                    <a:cubicBezTo>
                      <a:pt x="540" y="51"/>
                      <a:pt x="540" y="51"/>
                      <a:pt x="538" y="51"/>
                    </a:cubicBezTo>
                    <a:close/>
                    <a:moveTo>
                      <a:pt x="385" y="207"/>
                    </a:moveTo>
                    <a:cubicBezTo>
                      <a:pt x="391" y="207"/>
                      <a:pt x="396" y="207"/>
                      <a:pt x="402" y="207"/>
                    </a:cubicBezTo>
                    <a:cubicBezTo>
                      <a:pt x="403" y="207"/>
                      <a:pt x="404" y="208"/>
                      <a:pt x="404" y="207"/>
                    </a:cubicBezTo>
                    <a:cubicBezTo>
                      <a:pt x="398" y="207"/>
                      <a:pt x="391" y="207"/>
                      <a:pt x="384" y="207"/>
                    </a:cubicBezTo>
                    <a:cubicBezTo>
                      <a:pt x="383" y="207"/>
                      <a:pt x="383" y="207"/>
                      <a:pt x="383" y="206"/>
                    </a:cubicBezTo>
                    <a:cubicBezTo>
                      <a:pt x="383" y="208"/>
                      <a:pt x="384" y="207"/>
                      <a:pt x="385" y="207"/>
                    </a:cubicBezTo>
                    <a:close/>
                    <a:moveTo>
                      <a:pt x="1114" y="184"/>
                    </a:moveTo>
                    <a:cubicBezTo>
                      <a:pt x="1114" y="185"/>
                      <a:pt x="1114" y="185"/>
                      <a:pt x="1114" y="185"/>
                    </a:cubicBezTo>
                    <a:cubicBezTo>
                      <a:pt x="1114" y="191"/>
                      <a:pt x="1114" y="197"/>
                      <a:pt x="1114" y="202"/>
                    </a:cubicBezTo>
                    <a:cubicBezTo>
                      <a:pt x="1114" y="203"/>
                      <a:pt x="1114" y="203"/>
                      <a:pt x="1115" y="203"/>
                    </a:cubicBezTo>
                    <a:cubicBezTo>
                      <a:pt x="1114" y="197"/>
                      <a:pt x="1115" y="192"/>
                      <a:pt x="1114" y="186"/>
                    </a:cubicBezTo>
                    <a:cubicBezTo>
                      <a:pt x="1114" y="185"/>
                      <a:pt x="1115" y="184"/>
                      <a:pt x="1116" y="185"/>
                    </a:cubicBezTo>
                    <a:cubicBezTo>
                      <a:pt x="1115" y="184"/>
                      <a:pt x="1115" y="184"/>
                      <a:pt x="1114" y="184"/>
                    </a:cubicBezTo>
                    <a:close/>
                    <a:moveTo>
                      <a:pt x="987" y="207"/>
                    </a:moveTo>
                    <a:cubicBezTo>
                      <a:pt x="992" y="207"/>
                      <a:pt x="997" y="207"/>
                      <a:pt x="1002" y="207"/>
                    </a:cubicBezTo>
                    <a:cubicBezTo>
                      <a:pt x="1003" y="207"/>
                      <a:pt x="1004" y="207"/>
                      <a:pt x="1004" y="206"/>
                    </a:cubicBezTo>
                    <a:cubicBezTo>
                      <a:pt x="1003" y="207"/>
                      <a:pt x="1003" y="207"/>
                      <a:pt x="1002" y="207"/>
                    </a:cubicBezTo>
                    <a:cubicBezTo>
                      <a:pt x="997" y="207"/>
                      <a:pt x="992" y="207"/>
                      <a:pt x="987" y="207"/>
                    </a:cubicBezTo>
                    <a:cubicBezTo>
                      <a:pt x="986" y="207"/>
                      <a:pt x="985" y="206"/>
                      <a:pt x="985" y="206"/>
                    </a:cubicBezTo>
                    <a:cubicBezTo>
                      <a:pt x="985" y="207"/>
                      <a:pt x="985" y="207"/>
                      <a:pt x="987" y="207"/>
                    </a:cubicBezTo>
                    <a:close/>
                    <a:moveTo>
                      <a:pt x="1056" y="207"/>
                    </a:moveTo>
                    <a:cubicBezTo>
                      <a:pt x="1062" y="207"/>
                      <a:pt x="1068" y="207"/>
                      <a:pt x="1073" y="207"/>
                    </a:cubicBezTo>
                    <a:cubicBezTo>
                      <a:pt x="1075" y="207"/>
                      <a:pt x="1075" y="207"/>
                      <a:pt x="1075" y="206"/>
                    </a:cubicBezTo>
                    <a:cubicBezTo>
                      <a:pt x="1074" y="207"/>
                      <a:pt x="1074" y="207"/>
                      <a:pt x="1073" y="207"/>
                    </a:cubicBezTo>
                    <a:cubicBezTo>
                      <a:pt x="1067" y="207"/>
                      <a:pt x="1062" y="207"/>
                      <a:pt x="1057" y="207"/>
                    </a:cubicBezTo>
                    <a:cubicBezTo>
                      <a:pt x="1056" y="207"/>
                      <a:pt x="1056" y="207"/>
                      <a:pt x="1055" y="207"/>
                    </a:cubicBezTo>
                    <a:cubicBezTo>
                      <a:pt x="1055" y="207"/>
                      <a:pt x="1056" y="207"/>
                      <a:pt x="1056" y="207"/>
                    </a:cubicBezTo>
                    <a:close/>
                    <a:moveTo>
                      <a:pt x="1809" y="114"/>
                    </a:moveTo>
                    <a:cubicBezTo>
                      <a:pt x="1810" y="113"/>
                      <a:pt x="1810" y="113"/>
                      <a:pt x="1810" y="113"/>
                    </a:cubicBezTo>
                    <a:cubicBezTo>
                      <a:pt x="1810" y="107"/>
                      <a:pt x="1810" y="102"/>
                      <a:pt x="1810" y="96"/>
                    </a:cubicBezTo>
                    <a:cubicBezTo>
                      <a:pt x="1810" y="96"/>
                      <a:pt x="1809" y="95"/>
                      <a:pt x="1809" y="95"/>
                    </a:cubicBezTo>
                    <a:cubicBezTo>
                      <a:pt x="1809" y="101"/>
                      <a:pt x="1809" y="107"/>
                      <a:pt x="1809" y="113"/>
                    </a:cubicBezTo>
                    <a:cubicBezTo>
                      <a:pt x="1809" y="114"/>
                      <a:pt x="1809" y="114"/>
                      <a:pt x="1808" y="113"/>
                    </a:cubicBezTo>
                    <a:cubicBezTo>
                      <a:pt x="1808" y="114"/>
                      <a:pt x="1809" y="114"/>
                      <a:pt x="1809" y="114"/>
                    </a:cubicBezTo>
                    <a:close/>
                    <a:moveTo>
                      <a:pt x="1519" y="113"/>
                    </a:moveTo>
                    <a:cubicBezTo>
                      <a:pt x="1519" y="107"/>
                      <a:pt x="1519" y="102"/>
                      <a:pt x="1519" y="97"/>
                    </a:cubicBezTo>
                    <a:cubicBezTo>
                      <a:pt x="1519" y="96"/>
                      <a:pt x="1519" y="95"/>
                      <a:pt x="1518" y="95"/>
                    </a:cubicBezTo>
                    <a:cubicBezTo>
                      <a:pt x="1519" y="101"/>
                      <a:pt x="1519" y="107"/>
                      <a:pt x="1519" y="113"/>
                    </a:cubicBezTo>
                    <a:cubicBezTo>
                      <a:pt x="1519" y="113"/>
                      <a:pt x="1518" y="114"/>
                      <a:pt x="1518" y="114"/>
                    </a:cubicBezTo>
                    <a:cubicBezTo>
                      <a:pt x="1519" y="115"/>
                      <a:pt x="1519" y="114"/>
                      <a:pt x="1519" y="113"/>
                    </a:cubicBezTo>
                    <a:close/>
                    <a:moveTo>
                      <a:pt x="448" y="51"/>
                    </a:moveTo>
                    <a:cubicBezTo>
                      <a:pt x="443" y="51"/>
                      <a:pt x="438" y="51"/>
                      <a:pt x="432" y="51"/>
                    </a:cubicBezTo>
                    <a:cubicBezTo>
                      <a:pt x="431" y="51"/>
                      <a:pt x="431" y="52"/>
                      <a:pt x="431" y="53"/>
                    </a:cubicBezTo>
                    <a:cubicBezTo>
                      <a:pt x="431" y="52"/>
                      <a:pt x="432" y="51"/>
                      <a:pt x="433" y="51"/>
                    </a:cubicBezTo>
                    <a:cubicBezTo>
                      <a:pt x="438" y="51"/>
                      <a:pt x="444" y="51"/>
                      <a:pt x="449" y="52"/>
                    </a:cubicBezTo>
                    <a:cubicBezTo>
                      <a:pt x="449" y="51"/>
                      <a:pt x="449" y="51"/>
                      <a:pt x="448" y="51"/>
                    </a:cubicBezTo>
                    <a:close/>
                    <a:moveTo>
                      <a:pt x="617" y="110"/>
                    </a:moveTo>
                    <a:cubicBezTo>
                      <a:pt x="617" y="106"/>
                      <a:pt x="617" y="102"/>
                      <a:pt x="617" y="98"/>
                    </a:cubicBezTo>
                    <a:cubicBezTo>
                      <a:pt x="617" y="98"/>
                      <a:pt x="617" y="96"/>
                      <a:pt x="616" y="96"/>
                    </a:cubicBezTo>
                    <a:cubicBezTo>
                      <a:pt x="617" y="97"/>
                      <a:pt x="617" y="98"/>
                      <a:pt x="617" y="99"/>
                    </a:cubicBezTo>
                    <a:cubicBezTo>
                      <a:pt x="617" y="103"/>
                      <a:pt x="617" y="107"/>
                      <a:pt x="617" y="112"/>
                    </a:cubicBezTo>
                    <a:cubicBezTo>
                      <a:pt x="617" y="112"/>
                      <a:pt x="617" y="113"/>
                      <a:pt x="617" y="114"/>
                    </a:cubicBezTo>
                    <a:cubicBezTo>
                      <a:pt x="617" y="114"/>
                      <a:pt x="617" y="114"/>
                      <a:pt x="617" y="114"/>
                    </a:cubicBezTo>
                    <a:cubicBezTo>
                      <a:pt x="617" y="114"/>
                      <a:pt x="617" y="113"/>
                      <a:pt x="618" y="113"/>
                    </a:cubicBezTo>
                    <a:cubicBezTo>
                      <a:pt x="617" y="112"/>
                      <a:pt x="617" y="111"/>
                      <a:pt x="617" y="110"/>
                    </a:cubicBezTo>
                    <a:close/>
                    <a:moveTo>
                      <a:pt x="1570" y="207"/>
                    </a:moveTo>
                    <a:cubicBezTo>
                      <a:pt x="1575" y="207"/>
                      <a:pt x="1580" y="207"/>
                      <a:pt x="1585" y="207"/>
                    </a:cubicBezTo>
                    <a:cubicBezTo>
                      <a:pt x="1586" y="207"/>
                      <a:pt x="1586" y="207"/>
                      <a:pt x="1587" y="207"/>
                    </a:cubicBezTo>
                    <a:cubicBezTo>
                      <a:pt x="1586" y="207"/>
                      <a:pt x="1585" y="207"/>
                      <a:pt x="1584" y="207"/>
                    </a:cubicBezTo>
                    <a:cubicBezTo>
                      <a:pt x="1581" y="207"/>
                      <a:pt x="1577" y="207"/>
                      <a:pt x="1574" y="207"/>
                    </a:cubicBezTo>
                    <a:cubicBezTo>
                      <a:pt x="1572" y="207"/>
                      <a:pt x="1570" y="207"/>
                      <a:pt x="1568" y="207"/>
                    </a:cubicBezTo>
                    <a:cubicBezTo>
                      <a:pt x="1569" y="207"/>
                      <a:pt x="1569" y="207"/>
                      <a:pt x="1570" y="207"/>
                    </a:cubicBezTo>
                    <a:close/>
                    <a:moveTo>
                      <a:pt x="1724" y="198"/>
                    </a:moveTo>
                    <a:cubicBezTo>
                      <a:pt x="1724" y="193"/>
                      <a:pt x="1724" y="189"/>
                      <a:pt x="1724" y="184"/>
                    </a:cubicBezTo>
                    <a:cubicBezTo>
                      <a:pt x="1724" y="184"/>
                      <a:pt x="1724" y="183"/>
                      <a:pt x="1724" y="183"/>
                    </a:cubicBezTo>
                    <a:cubicBezTo>
                      <a:pt x="1723" y="182"/>
                      <a:pt x="1723" y="182"/>
                      <a:pt x="1723" y="183"/>
                    </a:cubicBezTo>
                    <a:cubicBezTo>
                      <a:pt x="1723" y="183"/>
                      <a:pt x="1723" y="183"/>
                      <a:pt x="1723" y="184"/>
                    </a:cubicBezTo>
                    <a:cubicBezTo>
                      <a:pt x="1723" y="189"/>
                      <a:pt x="1723" y="194"/>
                      <a:pt x="1723" y="199"/>
                    </a:cubicBezTo>
                    <a:cubicBezTo>
                      <a:pt x="1724" y="199"/>
                      <a:pt x="1724" y="198"/>
                      <a:pt x="1724" y="198"/>
                    </a:cubicBezTo>
                    <a:close/>
                    <a:moveTo>
                      <a:pt x="1441" y="154"/>
                    </a:moveTo>
                    <a:cubicBezTo>
                      <a:pt x="1441" y="149"/>
                      <a:pt x="1441" y="145"/>
                      <a:pt x="1441" y="140"/>
                    </a:cubicBezTo>
                    <a:cubicBezTo>
                      <a:pt x="1441" y="140"/>
                      <a:pt x="1441" y="139"/>
                      <a:pt x="1440" y="138"/>
                    </a:cubicBezTo>
                    <a:cubicBezTo>
                      <a:pt x="1440" y="141"/>
                      <a:pt x="1441" y="143"/>
                      <a:pt x="1441" y="145"/>
                    </a:cubicBezTo>
                    <a:cubicBezTo>
                      <a:pt x="1440" y="149"/>
                      <a:pt x="1441" y="153"/>
                      <a:pt x="1440" y="156"/>
                    </a:cubicBezTo>
                    <a:cubicBezTo>
                      <a:pt x="1441" y="156"/>
                      <a:pt x="1441" y="155"/>
                      <a:pt x="1441" y="154"/>
                    </a:cubicBezTo>
                    <a:close/>
                    <a:moveTo>
                      <a:pt x="1301" y="49"/>
                    </a:moveTo>
                    <a:cubicBezTo>
                      <a:pt x="1296" y="49"/>
                      <a:pt x="1291" y="49"/>
                      <a:pt x="1287" y="49"/>
                    </a:cubicBezTo>
                    <a:cubicBezTo>
                      <a:pt x="1286" y="49"/>
                      <a:pt x="1285" y="49"/>
                      <a:pt x="1285" y="49"/>
                    </a:cubicBezTo>
                    <a:cubicBezTo>
                      <a:pt x="1291" y="49"/>
                      <a:pt x="1296" y="49"/>
                      <a:pt x="1302" y="49"/>
                    </a:cubicBezTo>
                    <a:cubicBezTo>
                      <a:pt x="1302" y="49"/>
                      <a:pt x="1301" y="49"/>
                      <a:pt x="1301" y="49"/>
                    </a:cubicBezTo>
                    <a:close/>
                    <a:moveTo>
                      <a:pt x="711" y="148"/>
                    </a:moveTo>
                    <a:cubicBezTo>
                      <a:pt x="711" y="152"/>
                      <a:pt x="711" y="156"/>
                      <a:pt x="711" y="160"/>
                    </a:cubicBezTo>
                    <a:cubicBezTo>
                      <a:pt x="711" y="160"/>
                      <a:pt x="711" y="161"/>
                      <a:pt x="711" y="161"/>
                    </a:cubicBezTo>
                    <a:cubicBezTo>
                      <a:pt x="711" y="156"/>
                      <a:pt x="711" y="151"/>
                      <a:pt x="711" y="146"/>
                    </a:cubicBezTo>
                    <a:cubicBezTo>
                      <a:pt x="711" y="147"/>
                      <a:pt x="711" y="147"/>
                      <a:pt x="711" y="148"/>
                    </a:cubicBezTo>
                    <a:close/>
                    <a:moveTo>
                      <a:pt x="899" y="93"/>
                    </a:moveTo>
                    <a:cubicBezTo>
                      <a:pt x="895" y="93"/>
                      <a:pt x="891" y="93"/>
                      <a:pt x="887" y="93"/>
                    </a:cubicBezTo>
                    <a:cubicBezTo>
                      <a:pt x="887" y="93"/>
                      <a:pt x="886" y="93"/>
                      <a:pt x="886" y="93"/>
                    </a:cubicBezTo>
                    <a:cubicBezTo>
                      <a:pt x="890" y="93"/>
                      <a:pt x="895" y="93"/>
                      <a:pt x="900" y="93"/>
                    </a:cubicBezTo>
                    <a:cubicBezTo>
                      <a:pt x="899" y="93"/>
                      <a:pt x="899" y="93"/>
                      <a:pt x="899" y="93"/>
                    </a:cubicBezTo>
                    <a:close/>
                    <a:moveTo>
                      <a:pt x="1401" y="210"/>
                    </a:moveTo>
                    <a:cubicBezTo>
                      <a:pt x="1397" y="210"/>
                      <a:pt x="1392" y="210"/>
                      <a:pt x="1388" y="210"/>
                    </a:cubicBezTo>
                    <a:cubicBezTo>
                      <a:pt x="1390" y="211"/>
                      <a:pt x="1399" y="211"/>
                      <a:pt x="1401" y="210"/>
                    </a:cubicBezTo>
                    <a:close/>
                    <a:moveTo>
                      <a:pt x="1680" y="210"/>
                    </a:moveTo>
                    <a:cubicBezTo>
                      <a:pt x="1683" y="210"/>
                      <a:pt x="1687" y="210"/>
                      <a:pt x="1691" y="210"/>
                    </a:cubicBezTo>
                    <a:cubicBezTo>
                      <a:pt x="1691" y="210"/>
                      <a:pt x="1691" y="210"/>
                      <a:pt x="1692" y="210"/>
                    </a:cubicBezTo>
                    <a:cubicBezTo>
                      <a:pt x="1687" y="210"/>
                      <a:pt x="1683" y="210"/>
                      <a:pt x="1679" y="210"/>
                    </a:cubicBezTo>
                    <a:cubicBezTo>
                      <a:pt x="1679" y="210"/>
                      <a:pt x="1679" y="210"/>
                      <a:pt x="1680" y="210"/>
                    </a:cubicBezTo>
                    <a:close/>
                    <a:moveTo>
                      <a:pt x="1399" y="93"/>
                    </a:moveTo>
                    <a:cubicBezTo>
                      <a:pt x="1397" y="93"/>
                      <a:pt x="1394" y="93"/>
                      <a:pt x="1391" y="93"/>
                    </a:cubicBezTo>
                    <a:cubicBezTo>
                      <a:pt x="1390" y="93"/>
                      <a:pt x="1390" y="93"/>
                      <a:pt x="1389" y="93"/>
                    </a:cubicBezTo>
                    <a:cubicBezTo>
                      <a:pt x="1393" y="93"/>
                      <a:pt x="1397" y="93"/>
                      <a:pt x="1401" y="93"/>
                    </a:cubicBezTo>
                    <a:cubicBezTo>
                      <a:pt x="1401" y="93"/>
                      <a:pt x="1400" y="93"/>
                      <a:pt x="1399" y="93"/>
                    </a:cubicBezTo>
                    <a:close/>
                    <a:moveTo>
                      <a:pt x="946" y="156"/>
                    </a:moveTo>
                    <a:cubicBezTo>
                      <a:pt x="946" y="152"/>
                      <a:pt x="946" y="149"/>
                      <a:pt x="946" y="146"/>
                    </a:cubicBezTo>
                    <a:cubicBezTo>
                      <a:pt x="946" y="145"/>
                      <a:pt x="946" y="145"/>
                      <a:pt x="946" y="145"/>
                    </a:cubicBezTo>
                    <a:cubicBezTo>
                      <a:pt x="946" y="149"/>
                      <a:pt x="946" y="153"/>
                      <a:pt x="946" y="157"/>
                    </a:cubicBezTo>
                    <a:cubicBezTo>
                      <a:pt x="946" y="156"/>
                      <a:pt x="946" y="156"/>
                      <a:pt x="946" y="156"/>
                    </a:cubicBezTo>
                    <a:close/>
                    <a:moveTo>
                      <a:pt x="1690" y="93"/>
                    </a:moveTo>
                    <a:cubicBezTo>
                      <a:pt x="1687" y="93"/>
                      <a:pt x="1684" y="93"/>
                      <a:pt x="1681" y="93"/>
                    </a:cubicBezTo>
                    <a:cubicBezTo>
                      <a:pt x="1680" y="93"/>
                      <a:pt x="1680" y="93"/>
                      <a:pt x="1679" y="93"/>
                    </a:cubicBezTo>
                    <a:cubicBezTo>
                      <a:pt x="1683" y="93"/>
                      <a:pt x="1687" y="93"/>
                      <a:pt x="1692" y="93"/>
                    </a:cubicBezTo>
                    <a:cubicBezTo>
                      <a:pt x="1691" y="93"/>
                      <a:pt x="1691" y="93"/>
                      <a:pt x="1690" y="93"/>
                    </a:cubicBezTo>
                    <a:close/>
                    <a:moveTo>
                      <a:pt x="1273" y="210"/>
                    </a:moveTo>
                    <a:cubicBezTo>
                      <a:pt x="1277" y="210"/>
                      <a:pt x="1280" y="210"/>
                      <a:pt x="1283" y="210"/>
                    </a:cubicBezTo>
                    <a:cubicBezTo>
                      <a:pt x="1284" y="210"/>
                      <a:pt x="1284" y="210"/>
                      <a:pt x="1284" y="210"/>
                    </a:cubicBezTo>
                    <a:cubicBezTo>
                      <a:pt x="1280" y="210"/>
                      <a:pt x="1276" y="210"/>
                      <a:pt x="1272" y="210"/>
                    </a:cubicBezTo>
                    <a:cubicBezTo>
                      <a:pt x="1273" y="210"/>
                      <a:pt x="1273" y="210"/>
                      <a:pt x="1273" y="210"/>
                    </a:cubicBezTo>
                    <a:close/>
                    <a:moveTo>
                      <a:pt x="766" y="93"/>
                    </a:moveTo>
                    <a:cubicBezTo>
                      <a:pt x="763" y="93"/>
                      <a:pt x="760" y="93"/>
                      <a:pt x="757" y="93"/>
                    </a:cubicBezTo>
                    <a:cubicBezTo>
                      <a:pt x="757" y="93"/>
                      <a:pt x="756" y="93"/>
                      <a:pt x="756" y="93"/>
                    </a:cubicBezTo>
                    <a:cubicBezTo>
                      <a:pt x="760" y="93"/>
                      <a:pt x="764" y="93"/>
                      <a:pt x="768" y="93"/>
                    </a:cubicBezTo>
                    <a:cubicBezTo>
                      <a:pt x="767" y="93"/>
                      <a:pt x="767" y="93"/>
                      <a:pt x="766" y="93"/>
                    </a:cubicBezTo>
                    <a:close/>
                    <a:moveTo>
                      <a:pt x="1158" y="93"/>
                    </a:moveTo>
                    <a:cubicBezTo>
                      <a:pt x="1155" y="93"/>
                      <a:pt x="1153" y="93"/>
                      <a:pt x="1150" y="93"/>
                    </a:cubicBezTo>
                    <a:cubicBezTo>
                      <a:pt x="1149" y="93"/>
                      <a:pt x="1148" y="93"/>
                      <a:pt x="1148" y="93"/>
                    </a:cubicBezTo>
                    <a:cubicBezTo>
                      <a:pt x="1152" y="93"/>
                      <a:pt x="1156" y="93"/>
                      <a:pt x="1160" y="93"/>
                    </a:cubicBezTo>
                    <a:cubicBezTo>
                      <a:pt x="1159" y="93"/>
                      <a:pt x="1159" y="93"/>
                      <a:pt x="1158" y="93"/>
                    </a:cubicBezTo>
                    <a:close/>
                    <a:moveTo>
                      <a:pt x="1330" y="173"/>
                    </a:moveTo>
                    <a:cubicBezTo>
                      <a:pt x="1330" y="170"/>
                      <a:pt x="1330" y="167"/>
                      <a:pt x="1330" y="164"/>
                    </a:cubicBezTo>
                    <a:cubicBezTo>
                      <a:pt x="1330" y="164"/>
                      <a:pt x="1330" y="163"/>
                      <a:pt x="1329" y="163"/>
                    </a:cubicBezTo>
                    <a:cubicBezTo>
                      <a:pt x="1329" y="166"/>
                      <a:pt x="1329" y="170"/>
                      <a:pt x="1329" y="174"/>
                    </a:cubicBezTo>
                    <a:cubicBezTo>
                      <a:pt x="1330" y="174"/>
                      <a:pt x="1330" y="173"/>
                      <a:pt x="1330" y="173"/>
                    </a:cubicBezTo>
                    <a:close/>
                    <a:moveTo>
                      <a:pt x="658" y="93"/>
                    </a:moveTo>
                    <a:cubicBezTo>
                      <a:pt x="655" y="93"/>
                      <a:pt x="652" y="93"/>
                      <a:pt x="650" y="93"/>
                    </a:cubicBezTo>
                    <a:cubicBezTo>
                      <a:pt x="649" y="93"/>
                      <a:pt x="649" y="93"/>
                      <a:pt x="648" y="93"/>
                    </a:cubicBezTo>
                    <a:cubicBezTo>
                      <a:pt x="652" y="93"/>
                      <a:pt x="656" y="93"/>
                      <a:pt x="660" y="93"/>
                    </a:cubicBezTo>
                    <a:cubicBezTo>
                      <a:pt x="659" y="93"/>
                      <a:pt x="658" y="93"/>
                      <a:pt x="658" y="93"/>
                    </a:cubicBezTo>
                    <a:close/>
                    <a:moveTo>
                      <a:pt x="886" y="210"/>
                    </a:moveTo>
                    <a:cubicBezTo>
                      <a:pt x="889" y="210"/>
                      <a:pt x="892" y="210"/>
                      <a:pt x="895" y="210"/>
                    </a:cubicBezTo>
                    <a:cubicBezTo>
                      <a:pt x="895" y="210"/>
                      <a:pt x="896" y="210"/>
                      <a:pt x="896" y="210"/>
                    </a:cubicBezTo>
                    <a:cubicBezTo>
                      <a:pt x="892" y="210"/>
                      <a:pt x="889" y="210"/>
                      <a:pt x="885" y="210"/>
                    </a:cubicBezTo>
                    <a:cubicBezTo>
                      <a:pt x="885" y="210"/>
                      <a:pt x="885" y="210"/>
                      <a:pt x="886" y="210"/>
                    </a:cubicBezTo>
                    <a:close/>
                    <a:moveTo>
                      <a:pt x="1138" y="210"/>
                    </a:moveTo>
                    <a:cubicBezTo>
                      <a:pt x="1141" y="210"/>
                      <a:pt x="1144" y="210"/>
                      <a:pt x="1147" y="210"/>
                    </a:cubicBezTo>
                    <a:cubicBezTo>
                      <a:pt x="1147" y="210"/>
                      <a:pt x="1148" y="210"/>
                      <a:pt x="1148" y="210"/>
                    </a:cubicBezTo>
                    <a:cubicBezTo>
                      <a:pt x="1144" y="210"/>
                      <a:pt x="1140" y="210"/>
                      <a:pt x="1136" y="210"/>
                    </a:cubicBezTo>
                    <a:cubicBezTo>
                      <a:pt x="1137" y="210"/>
                      <a:pt x="1137" y="210"/>
                      <a:pt x="1138" y="210"/>
                    </a:cubicBezTo>
                    <a:close/>
                    <a:moveTo>
                      <a:pt x="1298" y="66"/>
                    </a:moveTo>
                    <a:cubicBezTo>
                      <a:pt x="1294" y="65"/>
                      <a:pt x="1290" y="65"/>
                      <a:pt x="1286" y="66"/>
                    </a:cubicBezTo>
                    <a:cubicBezTo>
                      <a:pt x="1290" y="66"/>
                      <a:pt x="1294" y="66"/>
                      <a:pt x="1298" y="66"/>
                    </a:cubicBezTo>
                    <a:close/>
                    <a:moveTo>
                      <a:pt x="1343" y="149"/>
                    </a:moveTo>
                    <a:cubicBezTo>
                      <a:pt x="1343" y="151"/>
                      <a:pt x="1343" y="154"/>
                      <a:pt x="1343" y="156"/>
                    </a:cubicBezTo>
                    <a:cubicBezTo>
                      <a:pt x="1343" y="157"/>
                      <a:pt x="1343" y="158"/>
                      <a:pt x="1344" y="158"/>
                    </a:cubicBezTo>
                    <a:cubicBezTo>
                      <a:pt x="1344" y="154"/>
                      <a:pt x="1344" y="151"/>
                      <a:pt x="1344" y="147"/>
                    </a:cubicBezTo>
                    <a:cubicBezTo>
                      <a:pt x="1343" y="147"/>
                      <a:pt x="1343" y="148"/>
                      <a:pt x="1343" y="149"/>
                    </a:cubicBezTo>
                    <a:close/>
                    <a:moveTo>
                      <a:pt x="754" y="210"/>
                    </a:moveTo>
                    <a:cubicBezTo>
                      <a:pt x="756" y="210"/>
                      <a:pt x="759" y="210"/>
                      <a:pt x="761" y="210"/>
                    </a:cubicBezTo>
                    <a:cubicBezTo>
                      <a:pt x="762" y="210"/>
                      <a:pt x="762" y="210"/>
                      <a:pt x="763" y="210"/>
                    </a:cubicBezTo>
                    <a:cubicBezTo>
                      <a:pt x="759" y="210"/>
                      <a:pt x="756" y="210"/>
                      <a:pt x="752" y="210"/>
                    </a:cubicBezTo>
                    <a:cubicBezTo>
                      <a:pt x="753" y="210"/>
                      <a:pt x="753" y="210"/>
                      <a:pt x="754" y="210"/>
                    </a:cubicBezTo>
                    <a:close/>
                    <a:moveTo>
                      <a:pt x="1157" y="109"/>
                    </a:moveTo>
                    <a:cubicBezTo>
                      <a:pt x="1154" y="108"/>
                      <a:pt x="1151" y="108"/>
                      <a:pt x="1148" y="109"/>
                    </a:cubicBezTo>
                    <a:cubicBezTo>
                      <a:pt x="1151" y="109"/>
                      <a:pt x="1154" y="109"/>
                      <a:pt x="1157" y="109"/>
                    </a:cubicBezTo>
                    <a:close/>
                    <a:moveTo>
                      <a:pt x="836" y="157"/>
                    </a:moveTo>
                    <a:cubicBezTo>
                      <a:pt x="836" y="154"/>
                      <a:pt x="836" y="151"/>
                      <a:pt x="836" y="149"/>
                    </a:cubicBezTo>
                    <a:cubicBezTo>
                      <a:pt x="835" y="151"/>
                      <a:pt x="835" y="154"/>
                      <a:pt x="836" y="157"/>
                    </a:cubicBezTo>
                    <a:close/>
                    <a:moveTo>
                      <a:pt x="652" y="109"/>
                    </a:moveTo>
                    <a:cubicBezTo>
                      <a:pt x="649" y="108"/>
                      <a:pt x="646" y="108"/>
                      <a:pt x="643" y="109"/>
                    </a:cubicBezTo>
                    <a:cubicBezTo>
                      <a:pt x="646" y="109"/>
                      <a:pt x="649" y="109"/>
                      <a:pt x="652" y="109"/>
                    </a:cubicBezTo>
                    <a:close/>
                    <a:moveTo>
                      <a:pt x="729" y="200"/>
                    </a:moveTo>
                    <a:cubicBezTo>
                      <a:pt x="727" y="199"/>
                      <a:pt x="726" y="197"/>
                      <a:pt x="725" y="196"/>
                    </a:cubicBezTo>
                    <a:cubicBezTo>
                      <a:pt x="725" y="198"/>
                      <a:pt x="727" y="199"/>
                      <a:pt x="729" y="200"/>
                    </a:cubicBezTo>
                    <a:close/>
                    <a:moveTo>
                      <a:pt x="1310" y="174"/>
                    </a:moveTo>
                    <a:cubicBezTo>
                      <a:pt x="1310" y="172"/>
                      <a:pt x="1311" y="169"/>
                      <a:pt x="1310" y="166"/>
                    </a:cubicBezTo>
                    <a:cubicBezTo>
                      <a:pt x="1310" y="169"/>
                      <a:pt x="1310" y="172"/>
                      <a:pt x="1310" y="174"/>
                    </a:cubicBezTo>
                    <a:close/>
                    <a:moveTo>
                      <a:pt x="1731" y="141"/>
                    </a:moveTo>
                    <a:cubicBezTo>
                      <a:pt x="1731" y="139"/>
                      <a:pt x="1732" y="138"/>
                      <a:pt x="1731" y="137"/>
                    </a:cubicBezTo>
                    <a:cubicBezTo>
                      <a:pt x="1731" y="139"/>
                      <a:pt x="1731" y="141"/>
                      <a:pt x="1731" y="144"/>
                    </a:cubicBezTo>
                    <a:cubicBezTo>
                      <a:pt x="1731" y="143"/>
                      <a:pt x="1731" y="142"/>
                      <a:pt x="1731" y="141"/>
                    </a:cubicBezTo>
                    <a:close/>
                    <a:moveTo>
                      <a:pt x="790" y="197"/>
                    </a:moveTo>
                    <a:cubicBezTo>
                      <a:pt x="788" y="198"/>
                      <a:pt x="787" y="199"/>
                      <a:pt x="786" y="200"/>
                    </a:cubicBezTo>
                    <a:cubicBezTo>
                      <a:pt x="788" y="199"/>
                      <a:pt x="789" y="198"/>
                      <a:pt x="790" y="197"/>
                    </a:cubicBezTo>
                    <a:close/>
                    <a:moveTo>
                      <a:pt x="1506" y="94"/>
                    </a:moveTo>
                    <a:cubicBezTo>
                      <a:pt x="1508" y="94"/>
                      <a:pt x="1510" y="94"/>
                      <a:pt x="1512" y="94"/>
                    </a:cubicBezTo>
                    <a:cubicBezTo>
                      <a:pt x="1510" y="93"/>
                      <a:pt x="1508" y="93"/>
                      <a:pt x="1506" y="94"/>
                    </a:cubicBezTo>
                    <a:close/>
                    <a:moveTo>
                      <a:pt x="1796" y="94"/>
                    </a:moveTo>
                    <a:cubicBezTo>
                      <a:pt x="1798" y="94"/>
                      <a:pt x="1800" y="94"/>
                      <a:pt x="1802" y="94"/>
                    </a:cubicBezTo>
                    <a:cubicBezTo>
                      <a:pt x="1800" y="93"/>
                      <a:pt x="1798" y="93"/>
                      <a:pt x="1796" y="94"/>
                    </a:cubicBezTo>
                    <a:close/>
                    <a:moveTo>
                      <a:pt x="566" y="71"/>
                    </a:moveTo>
                    <a:cubicBezTo>
                      <a:pt x="564" y="71"/>
                      <a:pt x="562" y="71"/>
                      <a:pt x="560" y="71"/>
                    </a:cubicBezTo>
                    <a:cubicBezTo>
                      <a:pt x="562" y="72"/>
                      <a:pt x="564" y="72"/>
                      <a:pt x="566" y="71"/>
                    </a:cubicBezTo>
                    <a:close/>
                    <a:moveTo>
                      <a:pt x="1395" y="194"/>
                    </a:moveTo>
                    <a:cubicBezTo>
                      <a:pt x="1397" y="195"/>
                      <a:pt x="1399" y="195"/>
                      <a:pt x="1401" y="194"/>
                    </a:cubicBezTo>
                    <a:cubicBezTo>
                      <a:pt x="1399" y="194"/>
                      <a:pt x="1397" y="194"/>
                      <a:pt x="1395" y="194"/>
                    </a:cubicBezTo>
                    <a:close/>
                    <a:moveTo>
                      <a:pt x="1164" y="182"/>
                    </a:moveTo>
                    <a:cubicBezTo>
                      <a:pt x="1165" y="180"/>
                      <a:pt x="1165" y="178"/>
                      <a:pt x="1164" y="176"/>
                    </a:cubicBezTo>
                    <a:cubicBezTo>
                      <a:pt x="1164" y="178"/>
                      <a:pt x="1164" y="180"/>
                      <a:pt x="1164" y="182"/>
                    </a:cubicBezTo>
                    <a:close/>
                    <a:moveTo>
                      <a:pt x="1243" y="93"/>
                    </a:moveTo>
                    <a:cubicBezTo>
                      <a:pt x="1243" y="92"/>
                      <a:pt x="1243" y="90"/>
                      <a:pt x="1243" y="88"/>
                    </a:cubicBezTo>
                    <a:cubicBezTo>
                      <a:pt x="1242" y="90"/>
                      <a:pt x="1242" y="92"/>
                      <a:pt x="1243" y="93"/>
                    </a:cubicBezTo>
                    <a:close/>
                    <a:moveTo>
                      <a:pt x="691" y="129"/>
                    </a:moveTo>
                    <a:cubicBezTo>
                      <a:pt x="691" y="130"/>
                      <a:pt x="691" y="132"/>
                      <a:pt x="691" y="134"/>
                    </a:cubicBezTo>
                    <a:cubicBezTo>
                      <a:pt x="691" y="132"/>
                      <a:pt x="692" y="130"/>
                      <a:pt x="691" y="129"/>
                    </a:cubicBezTo>
                    <a:close/>
                    <a:moveTo>
                      <a:pt x="1133" y="121"/>
                    </a:moveTo>
                    <a:cubicBezTo>
                      <a:pt x="1133" y="123"/>
                      <a:pt x="1133" y="125"/>
                      <a:pt x="1133" y="127"/>
                    </a:cubicBezTo>
                    <a:cubicBezTo>
                      <a:pt x="1133" y="125"/>
                      <a:pt x="1133" y="123"/>
                      <a:pt x="1133" y="121"/>
                    </a:cubicBezTo>
                    <a:close/>
                    <a:moveTo>
                      <a:pt x="1686" y="194"/>
                    </a:moveTo>
                    <a:cubicBezTo>
                      <a:pt x="1688" y="195"/>
                      <a:pt x="1690" y="195"/>
                      <a:pt x="1692" y="194"/>
                    </a:cubicBezTo>
                    <a:cubicBezTo>
                      <a:pt x="1690" y="194"/>
                      <a:pt x="1688" y="194"/>
                      <a:pt x="1686" y="194"/>
                    </a:cubicBezTo>
                    <a:close/>
                    <a:moveTo>
                      <a:pt x="1262" y="86"/>
                    </a:moveTo>
                    <a:cubicBezTo>
                      <a:pt x="1262" y="88"/>
                      <a:pt x="1262" y="90"/>
                      <a:pt x="1262" y="92"/>
                    </a:cubicBezTo>
                    <a:cubicBezTo>
                      <a:pt x="1262" y="90"/>
                      <a:pt x="1262" y="88"/>
                      <a:pt x="1262" y="86"/>
                    </a:cubicBezTo>
                    <a:close/>
                    <a:moveTo>
                      <a:pt x="1141" y="194"/>
                    </a:moveTo>
                    <a:cubicBezTo>
                      <a:pt x="1143" y="195"/>
                      <a:pt x="1144" y="195"/>
                      <a:pt x="1146" y="194"/>
                    </a:cubicBezTo>
                    <a:cubicBezTo>
                      <a:pt x="1144" y="194"/>
                      <a:pt x="1143" y="194"/>
                      <a:pt x="1141" y="194"/>
                    </a:cubicBezTo>
                    <a:close/>
                    <a:moveTo>
                      <a:pt x="1407" y="209"/>
                    </a:moveTo>
                    <a:cubicBezTo>
                      <a:pt x="1405" y="209"/>
                      <a:pt x="1404" y="209"/>
                      <a:pt x="1402" y="210"/>
                    </a:cubicBezTo>
                    <a:cubicBezTo>
                      <a:pt x="1404" y="210"/>
                      <a:pt x="1406" y="210"/>
                      <a:pt x="1407" y="209"/>
                    </a:cubicBezTo>
                    <a:close/>
                    <a:moveTo>
                      <a:pt x="1634" y="147"/>
                    </a:moveTo>
                    <a:cubicBezTo>
                      <a:pt x="1635" y="146"/>
                      <a:pt x="1635" y="144"/>
                      <a:pt x="1634" y="142"/>
                    </a:cubicBezTo>
                    <a:cubicBezTo>
                      <a:pt x="1633" y="144"/>
                      <a:pt x="1634" y="146"/>
                      <a:pt x="1634" y="147"/>
                    </a:cubicBezTo>
                    <a:close/>
                    <a:moveTo>
                      <a:pt x="836" y="146"/>
                    </a:moveTo>
                    <a:cubicBezTo>
                      <a:pt x="837" y="144"/>
                      <a:pt x="837" y="143"/>
                      <a:pt x="837" y="141"/>
                    </a:cubicBezTo>
                    <a:cubicBezTo>
                      <a:pt x="836" y="143"/>
                      <a:pt x="837" y="144"/>
                      <a:pt x="836" y="146"/>
                    </a:cubicBezTo>
                    <a:close/>
                    <a:moveTo>
                      <a:pt x="1115" y="132"/>
                    </a:moveTo>
                    <a:cubicBezTo>
                      <a:pt x="1115" y="130"/>
                      <a:pt x="1115" y="129"/>
                      <a:pt x="1115" y="127"/>
                    </a:cubicBezTo>
                    <a:cubicBezTo>
                      <a:pt x="1115" y="129"/>
                      <a:pt x="1114" y="131"/>
                      <a:pt x="1115" y="132"/>
                    </a:cubicBezTo>
                    <a:close/>
                    <a:moveTo>
                      <a:pt x="1634" y="163"/>
                    </a:moveTo>
                    <a:cubicBezTo>
                      <a:pt x="1634" y="161"/>
                      <a:pt x="1635" y="159"/>
                      <a:pt x="1634" y="158"/>
                    </a:cubicBezTo>
                    <a:cubicBezTo>
                      <a:pt x="1634" y="159"/>
                      <a:pt x="1633" y="161"/>
                      <a:pt x="1634" y="163"/>
                    </a:cubicBezTo>
                    <a:close/>
                    <a:moveTo>
                      <a:pt x="1697" y="209"/>
                    </a:moveTo>
                    <a:cubicBezTo>
                      <a:pt x="1696" y="209"/>
                      <a:pt x="1694" y="209"/>
                      <a:pt x="1693" y="210"/>
                    </a:cubicBezTo>
                    <a:cubicBezTo>
                      <a:pt x="1694" y="210"/>
                      <a:pt x="1696" y="210"/>
                      <a:pt x="1697" y="209"/>
                    </a:cubicBezTo>
                    <a:close/>
                    <a:moveTo>
                      <a:pt x="1344" y="164"/>
                    </a:moveTo>
                    <a:cubicBezTo>
                      <a:pt x="1344" y="163"/>
                      <a:pt x="1344" y="161"/>
                      <a:pt x="1344" y="160"/>
                    </a:cubicBezTo>
                    <a:cubicBezTo>
                      <a:pt x="1344" y="161"/>
                      <a:pt x="1343" y="163"/>
                      <a:pt x="1344" y="164"/>
                    </a:cubicBezTo>
                    <a:close/>
                    <a:moveTo>
                      <a:pt x="1139" y="113"/>
                    </a:moveTo>
                    <a:cubicBezTo>
                      <a:pt x="1137" y="113"/>
                      <a:pt x="1137" y="114"/>
                      <a:pt x="1136" y="115"/>
                    </a:cubicBezTo>
                    <a:cubicBezTo>
                      <a:pt x="1137" y="115"/>
                      <a:pt x="1138" y="114"/>
                      <a:pt x="1139" y="113"/>
                    </a:cubicBezTo>
                    <a:close/>
                    <a:moveTo>
                      <a:pt x="1363" y="156"/>
                    </a:moveTo>
                    <a:cubicBezTo>
                      <a:pt x="1362" y="158"/>
                      <a:pt x="1362" y="159"/>
                      <a:pt x="1363" y="161"/>
                    </a:cubicBezTo>
                    <a:cubicBezTo>
                      <a:pt x="1363" y="159"/>
                      <a:pt x="1363" y="158"/>
                      <a:pt x="1363" y="156"/>
                    </a:cubicBezTo>
                    <a:close/>
                    <a:moveTo>
                      <a:pt x="1302" y="66"/>
                    </a:moveTo>
                    <a:cubicBezTo>
                      <a:pt x="1301" y="66"/>
                      <a:pt x="1300" y="66"/>
                      <a:pt x="1298" y="66"/>
                    </a:cubicBezTo>
                    <a:cubicBezTo>
                      <a:pt x="1299" y="67"/>
                      <a:pt x="1301" y="66"/>
                      <a:pt x="1302" y="66"/>
                    </a:cubicBezTo>
                    <a:close/>
                    <a:moveTo>
                      <a:pt x="1284" y="193"/>
                    </a:moveTo>
                    <a:cubicBezTo>
                      <a:pt x="1286" y="193"/>
                      <a:pt x="1287" y="193"/>
                      <a:pt x="1288" y="193"/>
                    </a:cubicBezTo>
                    <a:cubicBezTo>
                      <a:pt x="1287" y="193"/>
                      <a:pt x="1286" y="192"/>
                      <a:pt x="1284" y="193"/>
                    </a:cubicBezTo>
                    <a:close/>
                    <a:moveTo>
                      <a:pt x="945" y="139"/>
                    </a:moveTo>
                    <a:cubicBezTo>
                      <a:pt x="945" y="140"/>
                      <a:pt x="945" y="142"/>
                      <a:pt x="946" y="143"/>
                    </a:cubicBezTo>
                    <a:cubicBezTo>
                      <a:pt x="946" y="142"/>
                      <a:pt x="946" y="140"/>
                      <a:pt x="945" y="139"/>
                    </a:cubicBezTo>
                    <a:close/>
                    <a:moveTo>
                      <a:pt x="884" y="210"/>
                    </a:moveTo>
                    <a:cubicBezTo>
                      <a:pt x="882" y="209"/>
                      <a:pt x="881" y="209"/>
                      <a:pt x="880" y="209"/>
                    </a:cubicBezTo>
                    <a:cubicBezTo>
                      <a:pt x="881" y="210"/>
                      <a:pt x="882" y="210"/>
                      <a:pt x="884" y="210"/>
                    </a:cubicBezTo>
                    <a:close/>
                    <a:moveTo>
                      <a:pt x="901" y="209"/>
                    </a:moveTo>
                    <a:cubicBezTo>
                      <a:pt x="900" y="209"/>
                      <a:pt x="899" y="209"/>
                      <a:pt x="897" y="210"/>
                    </a:cubicBezTo>
                    <a:cubicBezTo>
                      <a:pt x="899" y="210"/>
                      <a:pt x="900" y="210"/>
                      <a:pt x="901" y="209"/>
                    </a:cubicBezTo>
                    <a:close/>
                    <a:moveTo>
                      <a:pt x="1778" y="103"/>
                    </a:moveTo>
                    <a:cubicBezTo>
                      <a:pt x="1779" y="103"/>
                      <a:pt x="1780" y="102"/>
                      <a:pt x="1780" y="101"/>
                    </a:cubicBezTo>
                    <a:cubicBezTo>
                      <a:pt x="1779" y="101"/>
                      <a:pt x="1778" y="102"/>
                      <a:pt x="1778" y="103"/>
                    </a:cubicBezTo>
                    <a:close/>
                    <a:moveTo>
                      <a:pt x="1272" y="210"/>
                    </a:moveTo>
                    <a:cubicBezTo>
                      <a:pt x="1270" y="209"/>
                      <a:pt x="1269" y="209"/>
                      <a:pt x="1268" y="209"/>
                    </a:cubicBezTo>
                    <a:cubicBezTo>
                      <a:pt x="1269" y="210"/>
                      <a:pt x="1270" y="210"/>
                      <a:pt x="1272" y="210"/>
                    </a:cubicBezTo>
                    <a:close/>
                    <a:moveTo>
                      <a:pt x="1290" y="209"/>
                    </a:moveTo>
                    <a:cubicBezTo>
                      <a:pt x="1289" y="209"/>
                      <a:pt x="1287" y="209"/>
                      <a:pt x="1286" y="210"/>
                    </a:cubicBezTo>
                    <a:cubicBezTo>
                      <a:pt x="1287" y="210"/>
                      <a:pt x="1289" y="210"/>
                      <a:pt x="1290" y="209"/>
                    </a:cubicBezTo>
                    <a:close/>
                    <a:moveTo>
                      <a:pt x="1388" y="210"/>
                    </a:moveTo>
                    <a:cubicBezTo>
                      <a:pt x="1386" y="209"/>
                      <a:pt x="1385" y="209"/>
                      <a:pt x="1383" y="209"/>
                    </a:cubicBezTo>
                    <a:cubicBezTo>
                      <a:pt x="1385" y="210"/>
                      <a:pt x="1386" y="210"/>
                      <a:pt x="1388" y="210"/>
                    </a:cubicBezTo>
                    <a:close/>
                    <a:moveTo>
                      <a:pt x="1716" y="104"/>
                    </a:moveTo>
                    <a:cubicBezTo>
                      <a:pt x="1716" y="105"/>
                      <a:pt x="1717" y="105"/>
                      <a:pt x="1718" y="106"/>
                    </a:cubicBezTo>
                    <a:cubicBezTo>
                      <a:pt x="1718" y="105"/>
                      <a:pt x="1717" y="104"/>
                      <a:pt x="1716" y="104"/>
                    </a:cubicBezTo>
                    <a:close/>
                    <a:moveTo>
                      <a:pt x="837" y="164"/>
                    </a:moveTo>
                    <a:cubicBezTo>
                      <a:pt x="837" y="162"/>
                      <a:pt x="837" y="161"/>
                      <a:pt x="836" y="159"/>
                    </a:cubicBezTo>
                    <a:cubicBezTo>
                      <a:pt x="836" y="161"/>
                      <a:pt x="836" y="162"/>
                      <a:pt x="837" y="164"/>
                    </a:cubicBezTo>
                    <a:close/>
                    <a:moveTo>
                      <a:pt x="673" y="137"/>
                    </a:moveTo>
                    <a:cubicBezTo>
                      <a:pt x="673" y="135"/>
                      <a:pt x="673" y="134"/>
                      <a:pt x="672" y="133"/>
                    </a:cubicBezTo>
                    <a:cubicBezTo>
                      <a:pt x="672" y="134"/>
                      <a:pt x="672" y="135"/>
                      <a:pt x="673" y="137"/>
                    </a:cubicBezTo>
                    <a:close/>
                    <a:moveTo>
                      <a:pt x="1793" y="111"/>
                    </a:moveTo>
                    <a:cubicBezTo>
                      <a:pt x="1792" y="111"/>
                      <a:pt x="1791" y="111"/>
                      <a:pt x="1790" y="111"/>
                    </a:cubicBezTo>
                    <a:cubicBezTo>
                      <a:pt x="1791" y="111"/>
                      <a:pt x="1792" y="112"/>
                      <a:pt x="1793" y="111"/>
                    </a:cubicBezTo>
                    <a:close/>
                    <a:moveTo>
                      <a:pt x="617" y="136"/>
                    </a:moveTo>
                    <a:cubicBezTo>
                      <a:pt x="617" y="137"/>
                      <a:pt x="617" y="138"/>
                      <a:pt x="617" y="139"/>
                    </a:cubicBezTo>
                    <a:cubicBezTo>
                      <a:pt x="618" y="138"/>
                      <a:pt x="617" y="137"/>
                      <a:pt x="617" y="136"/>
                    </a:cubicBezTo>
                    <a:close/>
                    <a:moveTo>
                      <a:pt x="1802" y="111"/>
                    </a:moveTo>
                    <a:cubicBezTo>
                      <a:pt x="1801" y="111"/>
                      <a:pt x="1800" y="111"/>
                      <a:pt x="1799" y="111"/>
                    </a:cubicBezTo>
                    <a:cubicBezTo>
                      <a:pt x="1800" y="112"/>
                      <a:pt x="1801" y="111"/>
                      <a:pt x="1802" y="111"/>
                    </a:cubicBezTo>
                    <a:close/>
                    <a:moveTo>
                      <a:pt x="1770" y="140"/>
                    </a:moveTo>
                    <a:cubicBezTo>
                      <a:pt x="1769" y="142"/>
                      <a:pt x="1769" y="143"/>
                      <a:pt x="1769" y="144"/>
                    </a:cubicBezTo>
                    <a:cubicBezTo>
                      <a:pt x="1770" y="143"/>
                      <a:pt x="1770" y="142"/>
                      <a:pt x="1770" y="140"/>
                    </a:cubicBezTo>
                    <a:close/>
                    <a:moveTo>
                      <a:pt x="711" y="145"/>
                    </a:moveTo>
                    <a:cubicBezTo>
                      <a:pt x="712" y="144"/>
                      <a:pt x="712" y="142"/>
                      <a:pt x="712" y="141"/>
                    </a:cubicBezTo>
                    <a:cubicBezTo>
                      <a:pt x="711" y="142"/>
                      <a:pt x="712" y="144"/>
                      <a:pt x="711" y="145"/>
                    </a:cubicBezTo>
                    <a:close/>
                    <a:moveTo>
                      <a:pt x="1304" y="49"/>
                    </a:moveTo>
                    <a:cubicBezTo>
                      <a:pt x="1306" y="50"/>
                      <a:pt x="1307" y="50"/>
                      <a:pt x="1308" y="50"/>
                    </a:cubicBezTo>
                    <a:cubicBezTo>
                      <a:pt x="1307" y="49"/>
                      <a:pt x="1306" y="49"/>
                      <a:pt x="1304" y="49"/>
                    </a:cubicBezTo>
                    <a:close/>
                    <a:moveTo>
                      <a:pt x="484" y="180"/>
                    </a:moveTo>
                    <a:cubicBezTo>
                      <a:pt x="484" y="180"/>
                      <a:pt x="484" y="181"/>
                      <a:pt x="485" y="181"/>
                    </a:cubicBezTo>
                    <a:cubicBezTo>
                      <a:pt x="486" y="181"/>
                      <a:pt x="486" y="180"/>
                      <a:pt x="486" y="179"/>
                    </a:cubicBezTo>
                    <a:cubicBezTo>
                      <a:pt x="485" y="179"/>
                      <a:pt x="485" y="180"/>
                      <a:pt x="484" y="180"/>
                    </a:cubicBezTo>
                    <a:close/>
                    <a:moveTo>
                      <a:pt x="1182" y="171"/>
                    </a:moveTo>
                    <a:cubicBezTo>
                      <a:pt x="1182" y="172"/>
                      <a:pt x="1182" y="174"/>
                      <a:pt x="1183" y="175"/>
                    </a:cubicBezTo>
                    <a:cubicBezTo>
                      <a:pt x="1183" y="174"/>
                      <a:pt x="1183" y="172"/>
                      <a:pt x="1182" y="171"/>
                    </a:cubicBezTo>
                    <a:close/>
                    <a:moveTo>
                      <a:pt x="1512" y="111"/>
                    </a:moveTo>
                    <a:cubicBezTo>
                      <a:pt x="1510" y="111"/>
                      <a:pt x="1509" y="111"/>
                      <a:pt x="1508" y="111"/>
                    </a:cubicBezTo>
                    <a:cubicBezTo>
                      <a:pt x="1509" y="112"/>
                      <a:pt x="1510" y="111"/>
                      <a:pt x="1512" y="111"/>
                    </a:cubicBezTo>
                    <a:close/>
                    <a:moveTo>
                      <a:pt x="751" y="210"/>
                    </a:moveTo>
                    <a:cubicBezTo>
                      <a:pt x="750" y="209"/>
                      <a:pt x="749" y="209"/>
                      <a:pt x="748" y="209"/>
                    </a:cubicBezTo>
                    <a:cubicBezTo>
                      <a:pt x="749" y="210"/>
                      <a:pt x="750" y="210"/>
                      <a:pt x="751" y="210"/>
                    </a:cubicBezTo>
                    <a:close/>
                    <a:moveTo>
                      <a:pt x="1440" y="134"/>
                    </a:moveTo>
                    <a:cubicBezTo>
                      <a:pt x="1440" y="135"/>
                      <a:pt x="1440" y="136"/>
                      <a:pt x="1440" y="137"/>
                    </a:cubicBezTo>
                    <a:cubicBezTo>
                      <a:pt x="1440" y="136"/>
                      <a:pt x="1441" y="135"/>
                      <a:pt x="1440" y="134"/>
                    </a:cubicBezTo>
                    <a:close/>
                    <a:moveTo>
                      <a:pt x="712" y="167"/>
                    </a:moveTo>
                    <a:cubicBezTo>
                      <a:pt x="712" y="166"/>
                      <a:pt x="712" y="165"/>
                      <a:pt x="711" y="163"/>
                    </a:cubicBezTo>
                    <a:cubicBezTo>
                      <a:pt x="712" y="165"/>
                      <a:pt x="711" y="166"/>
                      <a:pt x="712" y="167"/>
                    </a:cubicBezTo>
                    <a:close/>
                    <a:moveTo>
                      <a:pt x="1135" y="210"/>
                    </a:moveTo>
                    <a:cubicBezTo>
                      <a:pt x="1134" y="209"/>
                      <a:pt x="1133" y="209"/>
                      <a:pt x="1132" y="209"/>
                    </a:cubicBezTo>
                    <a:cubicBezTo>
                      <a:pt x="1133" y="210"/>
                      <a:pt x="1134" y="210"/>
                      <a:pt x="1135" y="210"/>
                    </a:cubicBezTo>
                    <a:close/>
                    <a:moveTo>
                      <a:pt x="1653" y="160"/>
                    </a:moveTo>
                    <a:cubicBezTo>
                      <a:pt x="1653" y="162"/>
                      <a:pt x="1653" y="163"/>
                      <a:pt x="1653" y="164"/>
                    </a:cubicBezTo>
                    <a:cubicBezTo>
                      <a:pt x="1653" y="163"/>
                      <a:pt x="1654" y="161"/>
                      <a:pt x="1653" y="160"/>
                    </a:cubicBezTo>
                    <a:close/>
                    <a:moveTo>
                      <a:pt x="1183" y="180"/>
                    </a:moveTo>
                    <a:cubicBezTo>
                      <a:pt x="1182" y="181"/>
                      <a:pt x="1182" y="182"/>
                      <a:pt x="1182" y="183"/>
                    </a:cubicBezTo>
                    <a:cubicBezTo>
                      <a:pt x="1183" y="182"/>
                      <a:pt x="1183" y="181"/>
                      <a:pt x="1183" y="180"/>
                    </a:cubicBezTo>
                    <a:close/>
                    <a:moveTo>
                      <a:pt x="946" y="159"/>
                    </a:moveTo>
                    <a:cubicBezTo>
                      <a:pt x="945" y="160"/>
                      <a:pt x="945" y="161"/>
                      <a:pt x="945" y="163"/>
                    </a:cubicBezTo>
                    <a:cubicBezTo>
                      <a:pt x="946" y="161"/>
                      <a:pt x="946" y="160"/>
                      <a:pt x="946" y="159"/>
                    </a:cubicBezTo>
                    <a:close/>
                    <a:moveTo>
                      <a:pt x="1344" y="145"/>
                    </a:moveTo>
                    <a:cubicBezTo>
                      <a:pt x="1344" y="144"/>
                      <a:pt x="1344" y="143"/>
                      <a:pt x="1344" y="141"/>
                    </a:cubicBezTo>
                    <a:cubicBezTo>
                      <a:pt x="1343" y="142"/>
                      <a:pt x="1344" y="144"/>
                      <a:pt x="1344" y="145"/>
                    </a:cubicBezTo>
                    <a:close/>
                    <a:moveTo>
                      <a:pt x="1115" y="124"/>
                    </a:moveTo>
                    <a:cubicBezTo>
                      <a:pt x="1115" y="122"/>
                      <a:pt x="1115" y="121"/>
                      <a:pt x="1115" y="120"/>
                    </a:cubicBezTo>
                    <a:cubicBezTo>
                      <a:pt x="1114" y="121"/>
                      <a:pt x="1115" y="122"/>
                      <a:pt x="1115" y="124"/>
                    </a:cubicBezTo>
                    <a:close/>
                    <a:moveTo>
                      <a:pt x="1678" y="210"/>
                    </a:moveTo>
                    <a:cubicBezTo>
                      <a:pt x="1677" y="209"/>
                      <a:pt x="1675" y="209"/>
                      <a:pt x="1674" y="209"/>
                    </a:cubicBezTo>
                    <a:cubicBezTo>
                      <a:pt x="1675" y="210"/>
                      <a:pt x="1677" y="210"/>
                      <a:pt x="1678" y="210"/>
                    </a:cubicBezTo>
                    <a:close/>
                    <a:moveTo>
                      <a:pt x="1243" y="99"/>
                    </a:moveTo>
                    <a:cubicBezTo>
                      <a:pt x="1244" y="97"/>
                      <a:pt x="1243" y="96"/>
                      <a:pt x="1243" y="95"/>
                    </a:cubicBezTo>
                    <a:cubicBezTo>
                      <a:pt x="1243" y="96"/>
                      <a:pt x="1242" y="98"/>
                      <a:pt x="1243" y="99"/>
                    </a:cubicBezTo>
                    <a:close/>
                    <a:moveTo>
                      <a:pt x="933" y="191"/>
                    </a:moveTo>
                    <a:cubicBezTo>
                      <a:pt x="932" y="192"/>
                      <a:pt x="932" y="193"/>
                      <a:pt x="931" y="194"/>
                    </a:cubicBezTo>
                    <a:cubicBezTo>
                      <a:pt x="932" y="193"/>
                      <a:pt x="933" y="193"/>
                      <a:pt x="933" y="191"/>
                    </a:cubicBezTo>
                    <a:close/>
                    <a:moveTo>
                      <a:pt x="1152" y="209"/>
                    </a:moveTo>
                    <a:cubicBezTo>
                      <a:pt x="1151" y="209"/>
                      <a:pt x="1150" y="209"/>
                      <a:pt x="1149" y="210"/>
                    </a:cubicBezTo>
                    <a:cubicBezTo>
                      <a:pt x="1150" y="210"/>
                      <a:pt x="1151" y="210"/>
                      <a:pt x="1152" y="209"/>
                    </a:cubicBezTo>
                    <a:close/>
                    <a:moveTo>
                      <a:pt x="1274" y="193"/>
                    </a:moveTo>
                    <a:cubicBezTo>
                      <a:pt x="1275" y="193"/>
                      <a:pt x="1276" y="193"/>
                      <a:pt x="1277" y="193"/>
                    </a:cubicBezTo>
                    <a:cubicBezTo>
                      <a:pt x="1276" y="192"/>
                      <a:pt x="1275" y="193"/>
                      <a:pt x="1274" y="193"/>
                    </a:cubicBezTo>
                    <a:close/>
                    <a:moveTo>
                      <a:pt x="1304" y="153"/>
                    </a:moveTo>
                    <a:cubicBezTo>
                      <a:pt x="1303" y="152"/>
                      <a:pt x="1303" y="152"/>
                      <a:pt x="1302" y="151"/>
                    </a:cubicBezTo>
                    <a:cubicBezTo>
                      <a:pt x="1302" y="152"/>
                      <a:pt x="1303" y="153"/>
                      <a:pt x="1304" y="153"/>
                    </a:cubicBezTo>
                    <a:close/>
                    <a:moveTo>
                      <a:pt x="1136" y="194"/>
                    </a:moveTo>
                    <a:cubicBezTo>
                      <a:pt x="1137" y="194"/>
                      <a:pt x="1138" y="194"/>
                      <a:pt x="1139" y="194"/>
                    </a:cubicBezTo>
                    <a:cubicBezTo>
                      <a:pt x="1138" y="193"/>
                      <a:pt x="1137" y="194"/>
                      <a:pt x="1136" y="194"/>
                    </a:cubicBezTo>
                    <a:close/>
                    <a:moveTo>
                      <a:pt x="1404" y="194"/>
                    </a:moveTo>
                    <a:cubicBezTo>
                      <a:pt x="1405" y="194"/>
                      <a:pt x="1406" y="194"/>
                      <a:pt x="1407" y="194"/>
                    </a:cubicBezTo>
                    <a:cubicBezTo>
                      <a:pt x="1406" y="194"/>
                      <a:pt x="1405" y="193"/>
                      <a:pt x="1404" y="194"/>
                    </a:cubicBezTo>
                    <a:close/>
                    <a:moveTo>
                      <a:pt x="1681" y="194"/>
                    </a:moveTo>
                    <a:cubicBezTo>
                      <a:pt x="1681" y="194"/>
                      <a:pt x="1682" y="194"/>
                      <a:pt x="1683" y="194"/>
                    </a:cubicBezTo>
                    <a:cubicBezTo>
                      <a:pt x="1683" y="193"/>
                      <a:pt x="1682" y="194"/>
                      <a:pt x="1681" y="194"/>
                    </a:cubicBezTo>
                    <a:close/>
                    <a:moveTo>
                      <a:pt x="1694" y="194"/>
                    </a:moveTo>
                    <a:cubicBezTo>
                      <a:pt x="1695" y="194"/>
                      <a:pt x="1696" y="194"/>
                      <a:pt x="1697" y="194"/>
                    </a:cubicBezTo>
                    <a:cubicBezTo>
                      <a:pt x="1696" y="194"/>
                      <a:pt x="1695" y="193"/>
                      <a:pt x="1694" y="194"/>
                    </a:cubicBezTo>
                    <a:close/>
                    <a:moveTo>
                      <a:pt x="1507" y="111"/>
                    </a:moveTo>
                    <a:cubicBezTo>
                      <a:pt x="1506" y="110"/>
                      <a:pt x="1505" y="110"/>
                      <a:pt x="1504" y="111"/>
                    </a:cubicBezTo>
                    <a:cubicBezTo>
                      <a:pt x="1505" y="111"/>
                      <a:pt x="1506" y="111"/>
                      <a:pt x="1507" y="111"/>
                    </a:cubicBezTo>
                    <a:close/>
                    <a:moveTo>
                      <a:pt x="1797" y="111"/>
                    </a:moveTo>
                    <a:cubicBezTo>
                      <a:pt x="1796" y="110"/>
                      <a:pt x="1795" y="110"/>
                      <a:pt x="1794" y="111"/>
                    </a:cubicBezTo>
                    <a:cubicBezTo>
                      <a:pt x="1795" y="111"/>
                      <a:pt x="1796" y="111"/>
                      <a:pt x="1797" y="111"/>
                    </a:cubicBezTo>
                    <a:close/>
                    <a:moveTo>
                      <a:pt x="1503" y="111"/>
                    </a:moveTo>
                    <a:cubicBezTo>
                      <a:pt x="1502" y="111"/>
                      <a:pt x="1501" y="111"/>
                      <a:pt x="1500" y="111"/>
                    </a:cubicBezTo>
                    <a:cubicBezTo>
                      <a:pt x="1501" y="111"/>
                      <a:pt x="1502" y="112"/>
                      <a:pt x="1503" y="111"/>
                    </a:cubicBezTo>
                    <a:close/>
                    <a:moveTo>
                      <a:pt x="551" y="61"/>
                    </a:moveTo>
                    <a:cubicBezTo>
                      <a:pt x="551" y="60"/>
                      <a:pt x="551" y="59"/>
                      <a:pt x="551" y="58"/>
                    </a:cubicBezTo>
                    <a:cubicBezTo>
                      <a:pt x="550" y="59"/>
                      <a:pt x="550" y="60"/>
                      <a:pt x="551" y="61"/>
                    </a:cubicBezTo>
                    <a:close/>
                    <a:moveTo>
                      <a:pt x="712" y="140"/>
                    </a:moveTo>
                    <a:cubicBezTo>
                      <a:pt x="713" y="139"/>
                      <a:pt x="713" y="138"/>
                      <a:pt x="713" y="137"/>
                    </a:cubicBezTo>
                    <a:cubicBezTo>
                      <a:pt x="712" y="138"/>
                      <a:pt x="712" y="139"/>
                      <a:pt x="712" y="140"/>
                    </a:cubicBezTo>
                    <a:close/>
                    <a:moveTo>
                      <a:pt x="1808" y="113"/>
                    </a:moveTo>
                    <a:cubicBezTo>
                      <a:pt x="1807" y="113"/>
                      <a:pt x="1807" y="112"/>
                      <a:pt x="1806" y="112"/>
                    </a:cubicBezTo>
                    <a:cubicBezTo>
                      <a:pt x="1806" y="113"/>
                      <a:pt x="1807" y="114"/>
                      <a:pt x="1808" y="113"/>
                    </a:cubicBezTo>
                    <a:close/>
                    <a:moveTo>
                      <a:pt x="1480" y="139"/>
                    </a:moveTo>
                    <a:cubicBezTo>
                      <a:pt x="1479" y="140"/>
                      <a:pt x="1479" y="141"/>
                      <a:pt x="1479" y="142"/>
                    </a:cubicBezTo>
                    <a:cubicBezTo>
                      <a:pt x="1480" y="141"/>
                      <a:pt x="1479" y="140"/>
                      <a:pt x="1480" y="139"/>
                    </a:cubicBezTo>
                    <a:close/>
                    <a:moveTo>
                      <a:pt x="837" y="141"/>
                    </a:moveTo>
                    <a:cubicBezTo>
                      <a:pt x="837" y="140"/>
                      <a:pt x="838" y="139"/>
                      <a:pt x="837" y="138"/>
                    </a:cubicBezTo>
                    <a:cubicBezTo>
                      <a:pt x="837" y="139"/>
                      <a:pt x="837" y="140"/>
                      <a:pt x="837" y="141"/>
                    </a:cubicBezTo>
                    <a:close/>
                    <a:moveTo>
                      <a:pt x="1280" y="50"/>
                    </a:moveTo>
                    <a:cubicBezTo>
                      <a:pt x="1281" y="50"/>
                      <a:pt x="1282" y="50"/>
                      <a:pt x="1283" y="49"/>
                    </a:cubicBezTo>
                    <a:cubicBezTo>
                      <a:pt x="1282" y="49"/>
                      <a:pt x="1281" y="49"/>
                      <a:pt x="1280" y="50"/>
                    </a:cubicBezTo>
                    <a:close/>
                    <a:moveTo>
                      <a:pt x="1390" y="194"/>
                    </a:moveTo>
                    <a:cubicBezTo>
                      <a:pt x="1391" y="194"/>
                      <a:pt x="1392" y="194"/>
                      <a:pt x="1393" y="194"/>
                    </a:cubicBezTo>
                    <a:cubicBezTo>
                      <a:pt x="1392" y="193"/>
                      <a:pt x="1391" y="194"/>
                      <a:pt x="1390" y="194"/>
                    </a:cubicBezTo>
                    <a:close/>
                    <a:moveTo>
                      <a:pt x="1372" y="184"/>
                    </a:moveTo>
                    <a:cubicBezTo>
                      <a:pt x="1372" y="185"/>
                      <a:pt x="1373" y="185"/>
                      <a:pt x="1373" y="186"/>
                    </a:cubicBezTo>
                    <a:cubicBezTo>
                      <a:pt x="1373" y="185"/>
                      <a:pt x="1373" y="184"/>
                      <a:pt x="1372" y="184"/>
                    </a:cubicBezTo>
                    <a:close/>
                    <a:moveTo>
                      <a:pt x="1294" y="209"/>
                    </a:moveTo>
                    <a:cubicBezTo>
                      <a:pt x="1293" y="209"/>
                      <a:pt x="1291" y="209"/>
                      <a:pt x="1291" y="209"/>
                    </a:cubicBezTo>
                    <a:cubicBezTo>
                      <a:pt x="1292" y="209"/>
                      <a:pt x="1293" y="210"/>
                      <a:pt x="1294" y="209"/>
                    </a:cubicBezTo>
                    <a:close/>
                    <a:moveTo>
                      <a:pt x="1383" y="209"/>
                    </a:moveTo>
                    <a:cubicBezTo>
                      <a:pt x="1383" y="209"/>
                      <a:pt x="1382" y="209"/>
                      <a:pt x="1381" y="209"/>
                    </a:cubicBezTo>
                    <a:cubicBezTo>
                      <a:pt x="1381" y="210"/>
                      <a:pt x="1382" y="209"/>
                      <a:pt x="1383" y="209"/>
                    </a:cubicBezTo>
                    <a:close/>
                    <a:moveTo>
                      <a:pt x="1410" y="209"/>
                    </a:moveTo>
                    <a:cubicBezTo>
                      <a:pt x="1409" y="209"/>
                      <a:pt x="1408" y="209"/>
                      <a:pt x="1407" y="209"/>
                    </a:cubicBezTo>
                    <a:cubicBezTo>
                      <a:pt x="1408" y="209"/>
                      <a:pt x="1410" y="210"/>
                      <a:pt x="1410" y="209"/>
                    </a:cubicBezTo>
                    <a:close/>
                    <a:moveTo>
                      <a:pt x="1674" y="209"/>
                    </a:moveTo>
                    <a:cubicBezTo>
                      <a:pt x="1673" y="209"/>
                      <a:pt x="1672" y="209"/>
                      <a:pt x="1671" y="209"/>
                    </a:cubicBezTo>
                    <a:cubicBezTo>
                      <a:pt x="1672" y="210"/>
                      <a:pt x="1673" y="209"/>
                      <a:pt x="1674" y="209"/>
                    </a:cubicBezTo>
                    <a:close/>
                    <a:moveTo>
                      <a:pt x="1701" y="209"/>
                    </a:moveTo>
                    <a:cubicBezTo>
                      <a:pt x="1700" y="209"/>
                      <a:pt x="1699" y="209"/>
                      <a:pt x="1698" y="209"/>
                    </a:cubicBezTo>
                    <a:cubicBezTo>
                      <a:pt x="1699" y="209"/>
                      <a:pt x="1700" y="210"/>
                      <a:pt x="1701" y="209"/>
                    </a:cubicBezTo>
                    <a:close/>
                    <a:moveTo>
                      <a:pt x="1363" y="162"/>
                    </a:moveTo>
                    <a:cubicBezTo>
                      <a:pt x="1363" y="163"/>
                      <a:pt x="1363" y="164"/>
                      <a:pt x="1363" y="165"/>
                    </a:cubicBezTo>
                    <a:cubicBezTo>
                      <a:pt x="1363" y="164"/>
                      <a:pt x="1364" y="163"/>
                      <a:pt x="1363" y="162"/>
                    </a:cubicBezTo>
                    <a:close/>
                    <a:moveTo>
                      <a:pt x="767" y="209"/>
                    </a:moveTo>
                    <a:cubicBezTo>
                      <a:pt x="766" y="209"/>
                      <a:pt x="764" y="209"/>
                      <a:pt x="764" y="210"/>
                    </a:cubicBezTo>
                    <a:cubicBezTo>
                      <a:pt x="765" y="210"/>
                      <a:pt x="766" y="210"/>
                      <a:pt x="767" y="209"/>
                    </a:cubicBezTo>
                    <a:close/>
                    <a:moveTo>
                      <a:pt x="837" y="167"/>
                    </a:moveTo>
                    <a:cubicBezTo>
                      <a:pt x="838" y="166"/>
                      <a:pt x="837" y="165"/>
                      <a:pt x="837" y="164"/>
                    </a:cubicBezTo>
                    <a:cubicBezTo>
                      <a:pt x="837" y="165"/>
                      <a:pt x="837" y="166"/>
                      <a:pt x="837" y="167"/>
                    </a:cubicBezTo>
                    <a:close/>
                    <a:moveTo>
                      <a:pt x="1329" y="175"/>
                    </a:moveTo>
                    <a:cubicBezTo>
                      <a:pt x="1329" y="175"/>
                      <a:pt x="1329" y="176"/>
                      <a:pt x="1329" y="178"/>
                    </a:cubicBezTo>
                    <a:cubicBezTo>
                      <a:pt x="1330" y="177"/>
                      <a:pt x="1329" y="176"/>
                      <a:pt x="1329" y="175"/>
                    </a:cubicBezTo>
                    <a:close/>
                    <a:moveTo>
                      <a:pt x="1730" y="133"/>
                    </a:moveTo>
                    <a:cubicBezTo>
                      <a:pt x="1730" y="134"/>
                      <a:pt x="1730" y="135"/>
                      <a:pt x="1731" y="136"/>
                    </a:cubicBezTo>
                    <a:cubicBezTo>
                      <a:pt x="1731" y="135"/>
                      <a:pt x="1731" y="134"/>
                      <a:pt x="1730" y="133"/>
                    </a:cubicBezTo>
                    <a:close/>
                    <a:moveTo>
                      <a:pt x="1635" y="167"/>
                    </a:moveTo>
                    <a:cubicBezTo>
                      <a:pt x="1635" y="166"/>
                      <a:pt x="1635" y="165"/>
                      <a:pt x="1635" y="164"/>
                    </a:cubicBezTo>
                    <a:cubicBezTo>
                      <a:pt x="1635" y="165"/>
                      <a:pt x="1634" y="166"/>
                      <a:pt x="1635" y="167"/>
                    </a:cubicBezTo>
                    <a:close/>
                    <a:moveTo>
                      <a:pt x="713" y="171"/>
                    </a:moveTo>
                    <a:cubicBezTo>
                      <a:pt x="713" y="170"/>
                      <a:pt x="713" y="169"/>
                      <a:pt x="712" y="168"/>
                    </a:cubicBezTo>
                    <a:cubicBezTo>
                      <a:pt x="712" y="169"/>
                      <a:pt x="712" y="170"/>
                      <a:pt x="713" y="171"/>
                    </a:cubicBezTo>
                    <a:close/>
                    <a:moveTo>
                      <a:pt x="1635" y="141"/>
                    </a:moveTo>
                    <a:cubicBezTo>
                      <a:pt x="1635" y="140"/>
                      <a:pt x="1635" y="139"/>
                      <a:pt x="1635" y="138"/>
                    </a:cubicBezTo>
                    <a:cubicBezTo>
                      <a:pt x="1634" y="139"/>
                      <a:pt x="1635" y="140"/>
                      <a:pt x="1635" y="141"/>
                    </a:cubicBezTo>
                    <a:close/>
                    <a:moveTo>
                      <a:pt x="1064" y="184"/>
                    </a:moveTo>
                    <a:cubicBezTo>
                      <a:pt x="1064" y="184"/>
                      <a:pt x="1064" y="185"/>
                      <a:pt x="1065" y="185"/>
                    </a:cubicBezTo>
                    <a:cubicBezTo>
                      <a:pt x="1066" y="185"/>
                      <a:pt x="1066" y="185"/>
                      <a:pt x="1066" y="184"/>
                    </a:cubicBezTo>
                    <a:cubicBezTo>
                      <a:pt x="1065" y="184"/>
                      <a:pt x="1065" y="184"/>
                      <a:pt x="1064" y="184"/>
                    </a:cubicBezTo>
                    <a:close/>
                    <a:moveTo>
                      <a:pt x="655" y="110"/>
                    </a:moveTo>
                    <a:cubicBezTo>
                      <a:pt x="654" y="109"/>
                      <a:pt x="653" y="109"/>
                      <a:pt x="652" y="109"/>
                    </a:cubicBezTo>
                    <a:cubicBezTo>
                      <a:pt x="653" y="110"/>
                      <a:pt x="654" y="109"/>
                      <a:pt x="655" y="110"/>
                    </a:cubicBezTo>
                    <a:close/>
                    <a:moveTo>
                      <a:pt x="1161" y="109"/>
                    </a:moveTo>
                    <a:cubicBezTo>
                      <a:pt x="1160" y="109"/>
                      <a:pt x="1159" y="109"/>
                      <a:pt x="1158" y="109"/>
                    </a:cubicBezTo>
                    <a:cubicBezTo>
                      <a:pt x="1159" y="110"/>
                      <a:pt x="1160" y="109"/>
                      <a:pt x="1161" y="109"/>
                    </a:cubicBezTo>
                    <a:close/>
                    <a:moveTo>
                      <a:pt x="1286" y="66"/>
                    </a:moveTo>
                    <a:cubicBezTo>
                      <a:pt x="1285" y="66"/>
                      <a:pt x="1283" y="66"/>
                      <a:pt x="1283" y="66"/>
                    </a:cubicBezTo>
                    <a:cubicBezTo>
                      <a:pt x="1284" y="66"/>
                      <a:pt x="1285" y="67"/>
                      <a:pt x="1286" y="66"/>
                    </a:cubicBezTo>
                    <a:close/>
                    <a:moveTo>
                      <a:pt x="1243" y="86"/>
                    </a:moveTo>
                    <a:cubicBezTo>
                      <a:pt x="1244" y="85"/>
                      <a:pt x="1243" y="84"/>
                      <a:pt x="1243" y="83"/>
                    </a:cubicBezTo>
                    <a:cubicBezTo>
                      <a:pt x="1243" y="83"/>
                      <a:pt x="1243" y="85"/>
                      <a:pt x="1243" y="86"/>
                    </a:cubicBezTo>
                    <a:close/>
                    <a:moveTo>
                      <a:pt x="555" y="69"/>
                    </a:moveTo>
                    <a:cubicBezTo>
                      <a:pt x="555" y="68"/>
                      <a:pt x="554" y="67"/>
                      <a:pt x="554" y="67"/>
                    </a:cubicBezTo>
                    <a:cubicBezTo>
                      <a:pt x="554" y="68"/>
                      <a:pt x="554" y="69"/>
                      <a:pt x="555" y="69"/>
                    </a:cubicBezTo>
                    <a:close/>
                    <a:moveTo>
                      <a:pt x="1131" y="209"/>
                    </a:moveTo>
                    <a:cubicBezTo>
                      <a:pt x="1130" y="209"/>
                      <a:pt x="1129" y="209"/>
                      <a:pt x="1128" y="209"/>
                    </a:cubicBezTo>
                    <a:cubicBezTo>
                      <a:pt x="1129" y="210"/>
                      <a:pt x="1130" y="209"/>
                      <a:pt x="1131" y="209"/>
                    </a:cubicBezTo>
                    <a:close/>
                    <a:moveTo>
                      <a:pt x="1309" y="50"/>
                    </a:moveTo>
                    <a:cubicBezTo>
                      <a:pt x="1310" y="50"/>
                      <a:pt x="1311" y="50"/>
                      <a:pt x="1311" y="50"/>
                    </a:cubicBezTo>
                    <a:cubicBezTo>
                      <a:pt x="1311" y="49"/>
                      <a:pt x="1310" y="50"/>
                      <a:pt x="1309" y="50"/>
                    </a:cubicBezTo>
                    <a:close/>
                    <a:moveTo>
                      <a:pt x="1403" y="94"/>
                    </a:moveTo>
                    <a:cubicBezTo>
                      <a:pt x="1404" y="94"/>
                      <a:pt x="1404" y="94"/>
                      <a:pt x="1405" y="94"/>
                    </a:cubicBezTo>
                    <a:cubicBezTo>
                      <a:pt x="1405" y="93"/>
                      <a:pt x="1404" y="94"/>
                      <a:pt x="1403" y="94"/>
                    </a:cubicBezTo>
                    <a:close/>
                    <a:moveTo>
                      <a:pt x="1312" y="50"/>
                    </a:moveTo>
                    <a:cubicBezTo>
                      <a:pt x="1313" y="51"/>
                      <a:pt x="1313" y="51"/>
                      <a:pt x="1314" y="51"/>
                    </a:cubicBezTo>
                    <a:cubicBezTo>
                      <a:pt x="1314" y="50"/>
                      <a:pt x="1313" y="50"/>
                      <a:pt x="1312" y="50"/>
                    </a:cubicBezTo>
                    <a:close/>
                    <a:moveTo>
                      <a:pt x="1273" y="70"/>
                    </a:moveTo>
                    <a:cubicBezTo>
                      <a:pt x="1273" y="70"/>
                      <a:pt x="1272" y="70"/>
                      <a:pt x="1272" y="71"/>
                    </a:cubicBezTo>
                    <a:cubicBezTo>
                      <a:pt x="1273" y="71"/>
                      <a:pt x="1273" y="71"/>
                      <a:pt x="1273" y="70"/>
                    </a:cubicBezTo>
                    <a:close/>
                    <a:moveTo>
                      <a:pt x="1675" y="94"/>
                    </a:moveTo>
                    <a:cubicBezTo>
                      <a:pt x="1676" y="94"/>
                      <a:pt x="1677" y="94"/>
                      <a:pt x="1678" y="94"/>
                    </a:cubicBezTo>
                    <a:cubicBezTo>
                      <a:pt x="1677" y="93"/>
                      <a:pt x="1676" y="93"/>
                      <a:pt x="1675" y="94"/>
                    </a:cubicBezTo>
                    <a:close/>
                    <a:moveTo>
                      <a:pt x="1635" y="138"/>
                    </a:moveTo>
                    <a:cubicBezTo>
                      <a:pt x="1636" y="137"/>
                      <a:pt x="1636" y="136"/>
                      <a:pt x="1636" y="135"/>
                    </a:cubicBezTo>
                    <a:cubicBezTo>
                      <a:pt x="1635" y="136"/>
                      <a:pt x="1635" y="137"/>
                      <a:pt x="1635" y="138"/>
                    </a:cubicBezTo>
                    <a:close/>
                    <a:moveTo>
                      <a:pt x="643" y="109"/>
                    </a:moveTo>
                    <a:cubicBezTo>
                      <a:pt x="642" y="109"/>
                      <a:pt x="641" y="109"/>
                      <a:pt x="640" y="109"/>
                    </a:cubicBezTo>
                    <a:cubicBezTo>
                      <a:pt x="641" y="109"/>
                      <a:pt x="642" y="110"/>
                      <a:pt x="643" y="109"/>
                    </a:cubicBezTo>
                    <a:close/>
                    <a:moveTo>
                      <a:pt x="1693" y="94"/>
                    </a:moveTo>
                    <a:cubicBezTo>
                      <a:pt x="1694" y="94"/>
                      <a:pt x="1695" y="94"/>
                      <a:pt x="1696" y="94"/>
                    </a:cubicBezTo>
                    <a:cubicBezTo>
                      <a:pt x="1695" y="93"/>
                      <a:pt x="1694" y="93"/>
                      <a:pt x="1693" y="94"/>
                    </a:cubicBezTo>
                    <a:close/>
                    <a:moveTo>
                      <a:pt x="1148" y="109"/>
                    </a:moveTo>
                    <a:cubicBezTo>
                      <a:pt x="1147" y="109"/>
                      <a:pt x="1146" y="109"/>
                      <a:pt x="1146" y="110"/>
                    </a:cubicBezTo>
                    <a:cubicBezTo>
                      <a:pt x="1146" y="110"/>
                      <a:pt x="1147" y="110"/>
                      <a:pt x="1148" y="109"/>
                    </a:cubicBezTo>
                    <a:close/>
                    <a:moveTo>
                      <a:pt x="553" y="53"/>
                    </a:moveTo>
                    <a:cubicBezTo>
                      <a:pt x="554" y="53"/>
                      <a:pt x="554" y="52"/>
                      <a:pt x="554" y="52"/>
                    </a:cubicBezTo>
                    <a:cubicBezTo>
                      <a:pt x="553" y="52"/>
                      <a:pt x="553" y="52"/>
                      <a:pt x="553" y="53"/>
                    </a:cubicBezTo>
                    <a:close/>
                    <a:moveTo>
                      <a:pt x="1131" y="153"/>
                    </a:moveTo>
                    <a:cubicBezTo>
                      <a:pt x="1131" y="153"/>
                      <a:pt x="1130" y="152"/>
                      <a:pt x="1129" y="152"/>
                    </a:cubicBezTo>
                    <a:cubicBezTo>
                      <a:pt x="1130" y="153"/>
                      <a:pt x="1130" y="153"/>
                      <a:pt x="1131" y="153"/>
                    </a:cubicBezTo>
                    <a:close/>
                    <a:moveTo>
                      <a:pt x="618" y="133"/>
                    </a:moveTo>
                    <a:cubicBezTo>
                      <a:pt x="617" y="134"/>
                      <a:pt x="617" y="135"/>
                      <a:pt x="618" y="135"/>
                    </a:cubicBezTo>
                    <a:cubicBezTo>
                      <a:pt x="618" y="135"/>
                      <a:pt x="618" y="134"/>
                      <a:pt x="618" y="133"/>
                    </a:cubicBezTo>
                    <a:close/>
                    <a:moveTo>
                      <a:pt x="503" y="112"/>
                    </a:moveTo>
                    <a:cubicBezTo>
                      <a:pt x="504" y="111"/>
                      <a:pt x="504" y="110"/>
                      <a:pt x="504" y="110"/>
                    </a:cubicBezTo>
                    <a:cubicBezTo>
                      <a:pt x="503" y="110"/>
                      <a:pt x="504" y="111"/>
                      <a:pt x="503" y="112"/>
                    </a:cubicBezTo>
                    <a:close/>
                    <a:moveTo>
                      <a:pt x="1345" y="168"/>
                    </a:moveTo>
                    <a:cubicBezTo>
                      <a:pt x="1345" y="167"/>
                      <a:pt x="1345" y="166"/>
                      <a:pt x="1344" y="165"/>
                    </a:cubicBezTo>
                    <a:cubicBezTo>
                      <a:pt x="1344" y="166"/>
                      <a:pt x="1344" y="167"/>
                      <a:pt x="1345" y="168"/>
                    </a:cubicBezTo>
                    <a:close/>
                    <a:moveTo>
                      <a:pt x="1291" y="143"/>
                    </a:moveTo>
                    <a:cubicBezTo>
                      <a:pt x="1291" y="143"/>
                      <a:pt x="1290" y="142"/>
                      <a:pt x="1290" y="142"/>
                    </a:cubicBezTo>
                    <a:cubicBezTo>
                      <a:pt x="1290" y="143"/>
                      <a:pt x="1290" y="144"/>
                      <a:pt x="1291" y="143"/>
                    </a:cubicBezTo>
                    <a:close/>
                    <a:moveTo>
                      <a:pt x="878" y="95"/>
                    </a:moveTo>
                    <a:cubicBezTo>
                      <a:pt x="879" y="95"/>
                      <a:pt x="879" y="95"/>
                      <a:pt x="880" y="94"/>
                    </a:cubicBezTo>
                    <a:cubicBezTo>
                      <a:pt x="879" y="94"/>
                      <a:pt x="878" y="94"/>
                      <a:pt x="878" y="95"/>
                    </a:cubicBezTo>
                    <a:close/>
                    <a:moveTo>
                      <a:pt x="1164" y="110"/>
                    </a:moveTo>
                    <a:cubicBezTo>
                      <a:pt x="1163" y="109"/>
                      <a:pt x="1163" y="110"/>
                      <a:pt x="1162" y="110"/>
                    </a:cubicBezTo>
                    <a:cubicBezTo>
                      <a:pt x="1162" y="110"/>
                      <a:pt x="1163" y="110"/>
                      <a:pt x="1164" y="110"/>
                    </a:cubicBezTo>
                    <a:close/>
                    <a:moveTo>
                      <a:pt x="905" y="94"/>
                    </a:moveTo>
                    <a:cubicBezTo>
                      <a:pt x="906" y="95"/>
                      <a:pt x="907" y="95"/>
                      <a:pt x="908" y="95"/>
                    </a:cubicBezTo>
                    <a:cubicBezTo>
                      <a:pt x="907" y="94"/>
                      <a:pt x="906" y="94"/>
                      <a:pt x="905" y="94"/>
                    </a:cubicBezTo>
                    <a:close/>
                    <a:moveTo>
                      <a:pt x="1647" y="111"/>
                    </a:moveTo>
                    <a:cubicBezTo>
                      <a:pt x="1648" y="111"/>
                      <a:pt x="1648" y="110"/>
                      <a:pt x="1648" y="110"/>
                    </a:cubicBezTo>
                    <a:cubicBezTo>
                      <a:pt x="1648" y="110"/>
                      <a:pt x="1647" y="110"/>
                      <a:pt x="1647" y="111"/>
                    </a:cubicBezTo>
                    <a:close/>
                    <a:moveTo>
                      <a:pt x="1271" y="71"/>
                    </a:moveTo>
                    <a:cubicBezTo>
                      <a:pt x="1270" y="72"/>
                      <a:pt x="1270" y="72"/>
                      <a:pt x="1269" y="73"/>
                    </a:cubicBezTo>
                    <a:cubicBezTo>
                      <a:pt x="1270" y="73"/>
                      <a:pt x="1271" y="72"/>
                      <a:pt x="1271" y="71"/>
                    </a:cubicBezTo>
                    <a:close/>
                    <a:moveTo>
                      <a:pt x="1346" y="173"/>
                    </a:moveTo>
                    <a:cubicBezTo>
                      <a:pt x="1346" y="173"/>
                      <a:pt x="1346" y="172"/>
                      <a:pt x="1345" y="171"/>
                    </a:cubicBezTo>
                    <a:cubicBezTo>
                      <a:pt x="1345" y="172"/>
                      <a:pt x="1345" y="173"/>
                      <a:pt x="1346" y="173"/>
                    </a:cubicBezTo>
                    <a:close/>
                    <a:moveTo>
                      <a:pt x="1770" y="137"/>
                    </a:moveTo>
                    <a:cubicBezTo>
                      <a:pt x="1770" y="138"/>
                      <a:pt x="1770" y="139"/>
                      <a:pt x="1770" y="140"/>
                    </a:cubicBezTo>
                    <a:cubicBezTo>
                      <a:pt x="1771" y="139"/>
                      <a:pt x="1770" y="138"/>
                      <a:pt x="1770" y="137"/>
                    </a:cubicBezTo>
                    <a:close/>
                    <a:moveTo>
                      <a:pt x="1128" y="151"/>
                    </a:moveTo>
                    <a:cubicBezTo>
                      <a:pt x="1127" y="150"/>
                      <a:pt x="1127" y="150"/>
                      <a:pt x="1126" y="150"/>
                    </a:cubicBezTo>
                    <a:cubicBezTo>
                      <a:pt x="1126" y="151"/>
                      <a:pt x="1127" y="151"/>
                      <a:pt x="1128" y="151"/>
                    </a:cubicBezTo>
                    <a:close/>
                    <a:moveTo>
                      <a:pt x="494" y="149"/>
                    </a:moveTo>
                    <a:cubicBezTo>
                      <a:pt x="494" y="148"/>
                      <a:pt x="494" y="147"/>
                      <a:pt x="494" y="146"/>
                    </a:cubicBezTo>
                    <a:cubicBezTo>
                      <a:pt x="493" y="147"/>
                      <a:pt x="494" y="148"/>
                      <a:pt x="494" y="149"/>
                    </a:cubicBezTo>
                    <a:close/>
                    <a:moveTo>
                      <a:pt x="1107" y="96"/>
                    </a:moveTo>
                    <a:cubicBezTo>
                      <a:pt x="1107" y="97"/>
                      <a:pt x="1107" y="97"/>
                      <a:pt x="1107" y="98"/>
                    </a:cubicBezTo>
                    <a:cubicBezTo>
                      <a:pt x="1108" y="97"/>
                      <a:pt x="1108" y="97"/>
                      <a:pt x="1107" y="96"/>
                    </a:cubicBezTo>
                    <a:close/>
                    <a:moveTo>
                      <a:pt x="945" y="135"/>
                    </a:moveTo>
                    <a:cubicBezTo>
                      <a:pt x="945" y="136"/>
                      <a:pt x="945" y="137"/>
                      <a:pt x="945" y="138"/>
                    </a:cubicBezTo>
                    <a:cubicBezTo>
                      <a:pt x="945" y="137"/>
                      <a:pt x="945" y="136"/>
                      <a:pt x="945" y="135"/>
                    </a:cubicBezTo>
                    <a:close/>
                    <a:moveTo>
                      <a:pt x="513" y="75"/>
                    </a:moveTo>
                    <a:cubicBezTo>
                      <a:pt x="514" y="74"/>
                      <a:pt x="514" y="74"/>
                      <a:pt x="514" y="73"/>
                    </a:cubicBezTo>
                    <a:cubicBezTo>
                      <a:pt x="513" y="73"/>
                      <a:pt x="513" y="74"/>
                      <a:pt x="513" y="75"/>
                    </a:cubicBezTo>
                    <a:close/>
                    <a:moveTo>
                      <a:pt x="1309" y="177"/>
                    </a:moveTo>
                    <a:cubicBezTo>
                      <a:pt x="1310" y="176"/>
                      <a:pt x="1310" y="176"/>
                      <a:pt x="1310" y="175"/>
                    </a:cubicBezTo>
                    <a:cubicBezTo>
                      <a:pt x="1309" y="175"/>
                      <a:pt x="1309" y="176"/>
                      <a:pt x="1309" y="177"/>
                    </a:cubicBezTo>
                    <a:close/>
                    <a:moveTo>
                      <a:pt x="1439" y="130"/>
                    </a:moveTo>
                    <a:cubicBezTo>
                      <a:pt x="1439" y="131"/>
                      <a:pt x="1439" y="132"/>
                      <a:pt x="1440" y="133"/>
                    </a:cubicBezTo>
                    <a:cubicBezTo>
                      <a:pt x="1440" y="132"/>
                      <a:pt x="1440" y="131"/>
                      <a:pt x="1439" y="130"/>
                    </a:cubicBezTo>
                    <a:close/>
                    <a:moveTo>
                      <a:pt x="1261" y="125"/>
                    </a:moveTo>
                    <a:cubicBezTo>
                      <a:pt x="1261" y="124"/>
                      <a:pt x="1260" y="123"/>
                      <a:pt x="1260" y="123"/>
                    </a:cubicBezTo>
                    <a:cubicBezTo>
                      <a:pt x="1260" y="124"/>
                      <a:pt x="1260" y="125"/>
                      <a:pt x="1261" y="125"/>
                    </a:cubicBezTo>
                    <a:close/>
                    <a:moveTo>
                      <a:pt x="713" y="137"/>
                    </a:moveTo>
                    <a:cubicBezTo>
                      <a:pt x="713" y="136"/>
                      <a:pt x="713" y="135"/>
                      <a:pt x="713" y="134"/>
                    </a:cubicBezTo>
                    <a:cubicBezTo>
                      <a:pt x="712" y="135"/>
                      <a:pt x="713" y="136"/>
                      <a:pt x="713" y="137"/>
                    </a:cubicBezTo>
                    <a:close/>
                    <a:moveTo>
                      <a:pt x="1141" y="111"/>
                    </a:moveTo>
                    <a:cubicBezTo>
                      <a:pt x="1140" y="111"/>
                      <a:pt x="1140" y="112"/>
                      <a:pt x="1139" y="112"/>
                    </a:cubicBezTo>
                    <a:cubicBezTo>
                      <a:pt x="1140" y="112"/>
                      <a:pt x="1141" y="112"/>
                      <a:pt x="1141" y="111"/>
                    </a:cubicBezTo>
                    <a:close/>
                    <a:moveTo>
                      <a:pt x="1804" y="112"/>
                    </a:moveTo>
                    <a:cubicBezTo>
                      <a:pt x="1804" y="111"/>
                      <a:pt x="1803" y="111"/>
                      <a:pt x="1802" y="111"/>
                    </a:cubicBezTo>
                    <a:cubicBezTo>
                      <a:pt x="1803" y="112"/>
                      <a:pt x="1804" y="112"/>
                      <a:pt x="1804" y="112"/>
                    </a:cubicBezTo>
                    <a:close/>
                    <a:moveTo>
                      <a:pt x="1250" y="114"/>
                    </a:moveTo>
                    <a:cubicBezTo>
                      <a:pt x="1250" y="113"/>
                      <a:pt x="1249" y="112"/>
                      <a:pt x="1249" y="112"/>
                    </a:cubicBezTo>
                    <a:cubicBezTo>
                      <a:pt x="1249" y="113"/>
                      <a:pt x="1249" y="113"/>
                      <a:pt x="1250" y="114"/>
                    </a:cubicBezTo>
                    <a:close/>
                    <a:moveTo>
                      <a:pt x="1321" y="74"/>
                    </a:moveTo>
                    <a:cubicBezTo>
                      <a:pt x="1321" y="73"/>
                      <a:pt x="1320" y="73"/>
                      <a:pt x="1320" y="73"/>
                    </a:cubicBezTo>
                    <a:cubicBezTo>
                      <a:pt x="1320" y="73"/>
                      <a:pt x="1320" y="74"/>
                      <a:pt x="1321" y="74"/>
                    </a:cubicBezTo>
                    <a:close/>
                    <a:moveTo>
                      <a:pt x="1501" y="95"/>
                    </a:moveTo>
                    <a:cubicBezTo>
                      <a:pt x="1502" y="95"/>
                      <a:pt x="1503" y="95"/>
                      <a:pt x="1504" y="94"/>
                    </a:cubicBezTo>
                    <a:cubicBezTo>
                      <a:pt x="1503" y="94"/>
                      <a:pt x="1502" y="94"/>
                      <a:pt x="1501" y="95"/>
                    </a:cubicBezTo>
                    <a:close/>
                    <a:moveTo>
                      <a:pt x="1299" y="149"/>
                    </a:moveTo>
                    <a:cubicBezTo>
                      <a:pt x="1299" y="149"/>
                      <a:pt x="1298" y="148"/>
                      <a:pt x="1298" y="148"/>
                    </a:cubicBezTo>
                    <a:cubicBezTo>
                      <a:pt x="1298" y="149"/>
                      <a:pt x="1298" y="149"/>
                      <a:pt x="1299" y="149"/>
                    </a:cubicBezTo>
                    <a:close/>
                    <a:moveTo>
                      <a:pt x="1125" y="149"/>
                    </a:moveTo>
                    <a:cubicBezTo>
                      <a:pt x="1125" y="149"/>
                      <a:pt x="1125" y="148"/>
                      <a:pt x="1124" y="148"/>
                    </a:cubicBezTo>
                    <a:cubicBezTo>
                      <a:pt x="1124" y="149"/>
                      <a:pt x="1125" y="149"/>
                      <a:pt x="1125" y="149"/>
                    </a:cubicBezTo>
                    <a:close/>
                    <a:moveTo>
                      <a:pt x="1792" y="95"/>
                    </a:moveTo>
                    <a:cubicBezTo>
                      <a:pt x="1793" y="95"/>
                      <a:pt x="1793" y="95"/>
                      <a:pt x="1794" y="94"/>
                    </a:cubicBezTo>
                    <a:cubicBezTo>
                      <a:pt x="1793" y="94"/>
                      <a:pt x="1792" y="94"/>
                      <a:pt x="1792" y="95"/>
                    </a:cubicBezTo>
                    <a:close/>
                    <a:moveTo>
                      <a:pt x="1804" y="94"/>
                    </a:moveTo>
                    <a:cubicBezTo>
                      <a:pt x="1805" y="95"/>
                      <a:pt x="1806" y="95"/>
                      <a:pt x="1807" y="95"/>
                    </a:cubicBezTo>
                    <a:cubicBezTo>
                      <a:pt x="1806" y="94"/>
                      <a:pt x="1805" y="94"/>
                      <a:pt x="1804" y="94"/>
                    </a:cubicBezTo>
                    <a:close/>
                    <a:moveTo>
                      <a:pt x="1267" y="75"/>
                    </a:moveTo>
                    <a:cubicBezTo>
                      <a:pt x="1266" y="75"/>
                      <a:pt x="1266" y="76"/>
                      <a:pt x="1266" y="77"/>
                    </a:cubicBezTo>
                    <a:cubicBezTo>
                      <a:pt x="1267" y="76"/>
                      <a:pt x="1267" y="76"/>
                      <a:pt x="1267" y="75"/>
                    </a:cubicBezTo>
                    <a:close/>
                    <a:moveTo>
                      <a:pt x="713" y="134"/>
                    </a:moveTo>
                    <a:cubicBezTo>
                      <a:pt x="714" y="134"/>
                      <a:pt x="714" y="133"/>
                      <a:pt x="714" y="132"/>
                    </a:cubicBezTo>
                    <a:cubicBezTo>
                      <a:pt x="713" y="133"/>
                      <a:pt x="713" y="134"/>
                      <a:pt x="713" y="134"/>
                    </a:cubicBezTo>
                    <a:close/>
                    <a:moveTo>
                      <a:pt x="1252" y="116"/>
                    </a:moveTo>
                    <a:cubicBezTo>
                      <a:pt x="1251" y="115"/>
                      <a:pt x="1251" y="115"/>
                      <a:pt x="1250" y="114"/>
                    </a:cubicBezTo>
                    <a:cubicBezTo>
                      <a:pt x="1250" y="115"/>
                      <a:pt x="1251" y="116"/>
                      <a:pt x="1252" y="116"/>
                    </a:cubicBezTo>
                    <a:close/>
                    <a:moveTo>
                      <a:pt x="690" y="125"/>
                    </a:moveTo>
                    <a:cubicBezTo>
                      <a:pt x="690" y="126"/>
                      <a:pt x="690" y="127"/>
                      <a:pt x="691" y="128"/>
                    </a:cubicBezTo>
                    <a:cubicBezTo>
                      <a:pt x="691" y="127"/>
                      <a:pt x="691" y="126"/>
                      <a:pt x="690" y="125"/>
                    </a:cubicBezTo>
                    <a:close/>
                    <a:moveTo>
                      <a:pt x="1486" y="105"/>
                    </a:moveTo>
                    <a:cubicBezTo>
                      <a:pt x="1487" y="105"/>
                      <a:pt x="1487" y="104"/>
                      <a:pt x="1487" y="103"/>
                    </a:cubicBezTo>
                    <a:cubicBezTo>
                      <a:pt x="1486" y="103"/>
                      <a:pt x="1486" y="104"/>
                      <a:pt x="1486" y="105"/>
                    </a:cubicBezTo>
                    <a:close/>
                    <a:moveTo>
                      <a:pt x="631" y="113"/>
                    </a:moveTo>
                    <a:cubicBezTo>
                      <a:pt x="631" y="114"/>
                      <a:pt x="630" y="114"/>
                      <a:pt x="630" y="115"/>
                    </a:cubicBezTo>
                    <a:cubicBezTo>
                      <a:pt x="630" y="115"/>
                      <a:pt x="631" y="114"/>
                      <a:pt x="631" y="113"/>
                    </a:cubicBezTo>
                    <a:close/>
                    <a:moveTo>
                      <a:pt x="945" y="163"/>
                    </a:moveTo>
                    <a:cubicBezTo>
                      <a:pt x="945" y="164"/>
                      <a:pt x="945" y="165"/>
                      <a:pt x="945" y="166"/>
                    </a:cubicBezTo>
                    <a:cubicBezTo>
                      <a:pt x="945" y="165"/>
                      <a:pt x="945" y="164"/>
                      <a:pt x="945" y="163"/>
                    </a:cubicBezTo>
                    <a:close/>
                    <a:moveTo>
                      <a:pt x="1654" y="165"/>
                    </a:moveTo>
                    <a:cubicBezTo>
                      <a:pt x="1653" y="166"/>
                      <a:pt x="1653" y="167"/>
                      <a:pt x="1654" y="167"/>
                    </a:cubicBezTo>
                    <a:cubicBezTo>
                      <a:pt x="1654" y="166"/>
                      <a:pt x="1654" y="166"/>
                      <a:pt x="1654" y="165"/>
                    </a:cubicBezTo>
                    <a:close/>
                    <a:moveTo>
                      <a:pt x="1124" y="103"/>
                    </a:moveTo>
                    <a:cubicBezTo>
                      <a:pt x="1125" y="103"/>
                      <a:pt x="1126" y="103"/>
                      <a:pt x="1126" y="102"/>
                    </a:cubicBezTo>
                    <a:cubicBezTo>
                      <a:pt x="1125" y="102"/>
                      <a:pt x="1124" y="102"/>
                      <a:pt x="1124" y="103"/>
                    </a:cubicBezTo>
                    <a:close/>
                    <a:moveTo>
                      <a:pt x="1345" y="137"/>
                    </a:moveTo>
                    <a:cubicBezTo>
                      <a:pt x="1345" y="137"/>
                      <a:pt x="1345" y="136"/>
                      <a:pt x="1345" y="135"/>
                    </a:cubicBezTo>
                    <a:cubicBezTo>
                      <a:pt x="1345" y="136"/>
                      <a:pt x="1345" y="136"/>
                      <a:pt x="1345" y="137"/>
                    </a:cubicBezTo>
                    <a:close/>
                    <a:moveTo>
                      <a:pt x="1244" y="82"/>
                    </a:moveTo>
                    <a:cubicBezTo>
                      <a:pt x="1244" y="81"/>
                      <a:pt x="1244" y="80"/>
                      <a:pt x="1244" y="80"/>
                    </a:cubicBezTo>
                    <a:cubicBezTo>
                      <a:pt x="1243" y="80"/>
                      <a:pt x="1244" y="81"/>
                      <a:pt x="1244" y="82"/>
                    </a:cubicBezTo>
                    <a:close/>
                    <a:moveTo>
                      <a:pt x="1488" y="119"/>
                    </a:moveTo>
                    <a:cubicBezTo>
                      <a:pt x="1487" y="120"/>
                      <a:pt x="1487" y="120"/>
                      <a:pt x="1486" y="121"/>
                    </a:cubicBezTo>
                    <a:cubicBezTo>
                      <a:pt x="1487" y="121"/>
                      <a:pt x="1488" y="120"/>
                      <a:pt x="1488" y="119"/>
                    </a:cubicBezTo>
                    <a:close/>
                    <a:moveTo>
                      <a:pt x="995" y="185"/>
                    </a:moveTo>
                    <a:cubicBezTo>
                      <a:pt x="996" y="186"/>
                      <a:pt x="996" y="186"/>
                      <a:pt x="996" y="185"/>
                    </a:cubicBezTo>
                    <a:cubicBezTo>
                      <a:pt x="996" y="185"/>
                      <a:pt x="996" y="184"/>
                      <a:pt x="996" y="184"/>
                    </a:cubicBezTo>
                    <a:cubicBezTo>
                      <a:pt x="996" y="184"/>
                      <a:pt x="996" y="185"/>
                      <a:pt x="995" y="185"/>
                    </a:cubicBezTo>
                    <a:close/>
                    <a:moveTo>
                      <a:pt x="1480" y="136"/>
                    </a:moveTo>
                    <a:cubicBezTo>
                      <a:pt x="1480" y="137"/>
                      <a:pt x="1480" y="138"/>
                      <a:pt x="1480" y="138"/>
                    </a:cubicBezTo>
                    <a:cubicBezTo>
                      <a:pt x="1480" y="138"/>
                      <a:pt x="1480" y="137"/>
                      <a:pt x="1480" y="136"/>
                    </a:cubicBezTo>
                    <a:close/>
                    <a:moveTo>
                      <a:pt x="838" y="137"/>
                    </a:moveTo>
                    <a:cubicBezTo>
                      <a:pt x="838" y="137"/>
                      <a:pt x="838" y="136"/>
                      <a:pt x="838" y="135"/>
                    </a:cubicBezTo>
                    <a:cubicBezTo>
                      <a:pt x="837" y="136"/>
                      <a:pt x="838" y="136"/>
                      <a:pt x="838" y="137"/>
                    </a:cubicBezTo>
                    <a:close/>
                    <a:moveTo>
                      <a:pt x="1182" y="184"/>
                    </a:moveTo>
                    <a:cubicBezTo>
                      <a:pt x="1182" y="184"/>
                      <a:pt x="1182" y="185"/>
                      <a:pt x="1182" y="186"/>
                    </a:cubicBezTo>
                    <a:cubicBezTo>
                      <a:pt x="1183" y="186"/>
                      <a:pt x="1182" y="185"/>
                      <a:pt x="1182" y="184"/>
                    </a:cubicBezTo>
                    <a:close/>
                    <a:moveTo>
                      <a:pt x="575" y="61"/>
                    </a:moveTo>
                    <a:cubicBezTo>
                      <a:pt x="574" y="62"/>
                      <a:pt x="574" y="63"/>
                      <a:pt x="574" y="63"/>
                    </a:cubicBezTo>
                    <a:cubicBezTo>
                      <a:pt x="575" y="63"/>
                      <a:pt x="575" y="62"/>
                      <a:pt x="575" y="61"/>
                    </a:cubicBezTo>
                    <a:close/>
                    <a:moveTo>
                      <a:pt x="1293" y="145"/>
                    </a:moveTo>
                    <a:cubicBezTo>
                      <a:pt x="1293" y="144"/>
                      <a:pt x="1292" y="144"/>
                      <a:pt x="1291" y="143"/>
                    </a:cubicBezTo>
                    <a:cubicBezTo>
                      <a:pt x="1292" y="144"/>
                      <a:pt x="1292" y="145"/>
                      <a:pt x="1293" y="145"/>
                    </a:cubicBezTo>
                    <a:close/>
                    <a:moveTo>
                      <a:pt x="1263" y="83"/>
                    </a:moveTo>
                    <a:cubicBezTo>
                      <a:pt x="1262" y="84"/>
                      <a:pt x="1262" y="85"/>
                      <a:pt x="1263" y="85"/>
                    </a:cubicBezTo>
                    <a:cubicBezTo>
                      <a:pt x="1263" y="85"/>
                      <a:pt x="1263" y="84"/>
                      <a:pt x="1263" y="83"/>
                    </a:cubicBezTo>
                    <a:close/>
                    <a:moveTo>
                      <a:pt x="1182" y="168"/>
                    </a:moveTo>
                    <a:cubicBezTo>
                      <a:pt x="1182" y="169"/>
                      <a:pt x="1182" y="170"/>
                      <a:pt x="1182" y="171"/>
                    </a:cubicBezTo>
                    <a:cubicBezTo>
                      <a:pt x="1182" y="170"/>
                      <a:pt x="1183" y="169"/>
                      <a:pt x="1182" y="168"/>
                    </a:cubicBezTo>
                    <a:close/>
                    <a:moveTo>
                      <a:pt x="1290" y="192"/>
                    </a:moveTo>
                    <a:cubicBezTo>
                      <a:pt x="1290" y="193"/>
                      <a:pt x="1291" y="192"/>
                      <a:pt x="1292" y="192"/>
                    </a:cubicBezTo>
                    <a:cubicBezTo>
                      <a:pt x="1291" y="192"/>
                      <a:pt x="1290" y="192"/>
                      <a:pt x="1290" y="192"/>
                    </a:cubicBezTo>
                    <a:close/>
                    <a:moveTo>
                      <a:pt x="1322" y="192"/>
                    </a:moveTo>
                    <a:cubicBezTo>
                      <a:pt x="1322" y="192"/>
                      <a:pt x="1321" y="193"/>
                      <a:pt x="1321" y="194"/>
                    </a:cubicBezTo>
                    <a:cubicBezTo>
                      <a:pt x="1322" y="193"/>
                      <a:pt x="1322" y="193"/>
                      <a:pt x="1322" y="192"/>
                    </a:cubicBezTo>
                    <a:close/>
                    <a:moveTo>
                      <a:pt x="723" y="194"/>
                    </a:moveTo>
                    <a:cubicBezTo>
                      <a:pt x="723" y="193"/>
                      <a:pt x="722" y="193"/>
                      <a:pt x="722" y="192"/>
                    </a:cubicBezTo>
                    <a:cubicBezTo>
                      <a:pt x="722" y="193"/>
                      <a:pt x="722" y="194"/>
                      <a:pt x="723" y="194"/>
                    </a:cubicBezTo>
                    <a:close/>
                    <a:moveTo>
                      <a:pt x="1121" y="145"/>
                    </a:moveTo>
                    <a:cubicBezTo>
                      <a:pt x="1121" y="144"/>
                      <a:pt x="1120" y="144"/>
                      <a:pt x="1120" y="144"/>
                    </a:cubicBezTo>
                    <a:cubicBezTo>
                      <a:pt x="1120" y="144"/>
                      <a:pt x="1120" y="145"/>
                      <a:pt x="1121" y="145"/>
                    </a:cubicBezTo>
                    <a:close/>
                    <a:moveTo>
                      <a:pt x="1439" y="127"/>
                    </a:moveTo>
                    <a:cubicBezTo>
                      <a:pt x="1439" y="128"/>
                      <a:pt x="1439" y="129"/>
                      <a:pt x="1439" y="130"/>
                    </a:cubicBezTo>
                    <a:cubicBezTo>
                      <a:pt x="1439" y="129"/>
                      <a:pt x="1440" y="128"/>
                      <a:pt x="1439" y="127"/>
                    </a:cubicBezTo>
                    <a:close/>
                    <a:moveTo>
                      <a:pt x="793" y="193"/>
                    </a:moveTo>
                    <a:cubicBezTo>
                      <a:pt x="792" y="193"/>
                      <a:pt x="792" y="194"/>
                      <a:pt x="791" y="195"/>
                    </a:cubicBezTo>
                    <a:cubicBezTo>
                      <a:pt x="792" y="195"/>
                      <a:pt x="793" y="194"/>
                      <a:pt x="793" y="193"/>
                    </a:cubicBezTo>
                    <a:close/>
                    <a:moveTo>
                      <a:pt x="1133" y="193"/>
                    </a:moveTo>
                    <a:cubicBezTo>
                      <a:pt x="1134" y="194"/>
                      <a:pt x="1134" y="194"/>
                      <a:pt x="1135" y="194"/>
                    </a:cubicBezTo>
                    <a:cubicBezTo>
                      <a:pt x="1135" y="193"/>
                      <a:pt x="1134" y="193"/>
                      <a:pt x="1133" y="193"/>
                    </a:cubicBezTo>
                    <a:close/>
                    <a:moveTo>
                      <a:pt x="1647" y="195"/>
                    </a:moveTo>
                    <a:cubicBezTo>
                      <a:pt x="1647" y="194"/>
                      <a:pt x="1647" y="193"/>
                      <a:pt x="1646" y="193"/>
                    </a:cubicBezTo>
                    <a:cubicBezTo>
                      <a:pt x="1646" y="194"/>
                      <a:pt x="1646" y="195"/>
                      <a:pt x="1647" y="195"/>
                    </a:cubicBezTo>
                    <a:close/>
                    <a:moveTo>
                      <a:pt x="1678" y="193"/>
                    </a:moveTo>
                    <a:cubicBezTo>
                      <a:pt x="1678" y="194"/>
                      <a:pt x="1679" y="194"/>
                      <a:pt x="1680" y="194"/>
                    </a:cubicBezTo>
                    <a:cubicBezTo>
                      <a:pt x="1679" y="193"/>
                      <a:pt x="1678" y="193"/>
                      <a:pt x="1678" y="193"/>
                    </a:cubicBezTo>
                    <a:close/>
                    <a:moveTo>
                      <a:pt x="1363" y="165"/>
                    </a:moveTo>
                    <a:cubicBezTo>
                      <a:pt x="1363" y="166"/>
                      <a:pt x="1363" y="167"/>
                      <a:pt x="1364" y="168"/>
                    </a:cubicBezTo>
                    <a:cubicBezTo>
                      <a:pt x="1364" y="167"/>
                      <a:pt x="1364" y="166"/>
                      <a:pt x="1363" y="165"/>
                    </a:cubicBezTo>
                    <a:close/>
                    <a:moveTo>
                      <a:pt x="1148" y="194"/>
                    </a:moveTo>
                    <a:cubicBezTo>
                      <a:pt x="1149" y="194"/>
                      <a:pt x="1150" y="194"/>
                      <a:pt x="1151" y="194"/>
                    </a:cubicBezTo>
                    <a:cubicBezTo>
                      <a:pt x="1150" y="194"/>
                      <a:pt x="1149" y="193"/>
                      <a:pt x="1148" y="194"/>
                    </a:cubicBezTo>
                    <a:close/>
                    <a:moveTo>
                      <a:pt x="624" y="120"/>
                    </a:moveTo>
                    <a:cubicBezTo>
                      <a:pt x="624" y="120"/>
                      <a:pt x="623" y="121"/>
                      <a:pt x="623" y="122"/>
                    </a:cubicBezTo>
                    <a:cubicBezTo>
                      <a:pt x="624" y="121"/>
                      <a:pt x="624" y="121"/>
                      <a:pt x="624" y="120"/>
                    </a:cubicBezTo>
                    <a:close/>
                    <a:moveTo>
                      <a:pt x="1116" y="135"/>
                    </a:moveTo>
                    <a:cubicBezTo>
                      <a:pt x="1116" y="134"/>
                      <a:pt x="1116" y="133"/>
                      <a:pt x="1115" y="132"/>
                    </a:cubicBezTo>
                    <a:cubicBezTo>
                      <a:pt x="1115" y="133"/>
                      <a:pt x="1115" y="134"/>
                      <a:pt x="1116" y="135"/>
                    </a:cubicBezTo>
                    <a:close/>
                    <a:moveTo>
                      <a:pt x="838" y="170"/>
                    </a:moveTo>
                    <a:cubicBezTo>
                      <a:pt x="838" y="169"/>
                      <a:pt x="838" y="168"/>
                      <a:pt x="838" y="168"/>
                    </a:cubicBezTo>
                    <a:cubicBezTo>
                      <a:pt x="838" y="168"/>
                      <a:pt x="837" y="169"/>
                      <a:pt x="838" y="170"/>
                    </a:cubicBezTo>
                    <a:close/>
                    <a:moveTo>
                      <a:pt x="1636" y="170"/>
                    </a:moveTo>
                    <a:cubicBezTo>
                      <a:pt x="1636" y="169"/>
                      <a:pt x="1636" y="168"/>
                      <a:pt x="1635" y="168"/>
                    </a:cubicBezTo>
                    <a:cubicBezTo>
                      <a:pt x="1635" y="168"/>
                      <a:pt x="1635" y="169"/>
                      <a:pt x="1636" y="170"/>
                    </a:cubicBezTo>
                    <a:close/>
                    <a:moveTo>
                      <a:pt x="1283" y="66"/>
                    </a:moveTo>
                    <a:cubicBezTo>
                      <a:pt x="1282" y="66"/>
                      <a:pt x="1281" y="66"/>
                      <a:pt x="1280" y="67"/>
                    </a:cubicBezTo>
                    <a:cubicBezTo>
                      <a:pt x="1281" y="67"/>
                      <a:pt x="1282" y="67"/>
                      <a:pt x="1283" y="66"/>
                    </a:cubicBezTo>
                    <a:close/>
                    <a:moveTo>
                      <a:pt x="1305" y="67"/>
                    </a:moveTo>
                    <a:cubicBezTo>
                      <a:pt x="1305" y="66"/>
                      <a:pt x="1304" y="66"/>
                      <a:pt x="1303" y="66"/>
                    </a:cubicBezTo>
                    <a:cubicBezTo>
                      <a:pt x="1303" y="67"/>
                      <a:pt x="1304" y="67"/>
                      <a:pt x="1305" y="67"/>
                    </a:cubicBezTo>
                    <a:close/>
                    <a:moveTo>
                      <a:pt x="1177" y="195"/>
                    </a:moveTo>
                    <a:cubicBezTo>
                      <a:pt x="1177" y="196"/>
                      <a:pt x="1176" y="196"/>
                      <a:pt x="1176" y="197"/>
                    </a:cubicBezTo>
                    <a:cubicBezTo>
                      <a:pt x="1177" y="197"/>
                      <a:pt x="1177" y="196"/>
                      <a:pt x="1177" y="195"/>
                    </a:cubicBezTo>
                    <a:close/>
                    <a:moveTo>
                      <a:pt x="644" y="94"/>
                    </a:moveTo>
                    <a:cubicBezTo>
                      <a:pt x="645" y="94"/>
                      <a:pt x="646" y="94"/>
                      <a:pt x="646" y="93"/>
                    </a:cubicBezTo>
                    <a:cubicBezTo>
                      <a:pt x="646" y="93"/>
                      <a:pt x="645" y="93"/>
                      <a:pt x="644" y="94"/>
                    </a:cubicBezTo>
                    <a:close/>
                    <a:moveTo>
                      <a:pt x="661" y="93"/>
                    </a:moveTo>
                    <a:cubicBezTo>
                      <a:pt x="661" y="94"/>
                      <a:pt x="662" y="94"/>
                      <a:pt x="663" y="94"/>
                    </a:cubicBezTo>
                    <a:cubicBezTo>
                      <a:pt x="662" y="93"/>
                      <a:pt x="661" y="93"/>
                      <a:pt x="661" y="93"/>
                    </a:cubicBezTo>
                    <a:close/>
                    <a:moveTo>
                      <a:pt x="928" y="197"/>
                    </a:moveTo>
                    <a:cubicBezTo>
                      <a:pt x="927" y="197"/>
                      <a:pt x="927" y="198"/>
                      <a:pt x="926" y="198"/>
                    </a:cubicBezTo>
                    <a:cubicBezTo>
                      <a:pt x="927" y="198"/>
                      <a:pt x="928" y="198"/>
                      <a:pt x="928" y="197"/>
                    </a:cubicBezTo>
                    <a:close/>
                    <a:moveTo>
                      <a:pt x="856" y="199"/>
                    </a:moveTo>
                    <a:cubicBezTo>
                      <a:pt x="855" y="198"/>
                      <a:pt x="855" y="198"/>
                      <a:pt x="854" y="198"/>
                    </a:cubicBezTo>
                    <a:cubicBezTo>
                      <a:pt x="854" y="198"/>
                      <a:pt x="855" y="199"/>
                      <a:pt x="856" y="199"/>
                    </a:cubicBezTo>
                    <a:close/>
                    <a:moveTo>
                      <a:pt x="1317" y="198"/>
                    </a:moveTo>
                    <a:cubicBezTo>
                      <a:pt x="1316" y="198"/>
                      <a:pt x="1315" y="199"/>
                      <a:pt x="1315" y="199"/>
                    </a:cubicBezTo>
                    <a:cubicBezTo>
                      <a:pt x="1316" y="199"/>
                      <a:pt x="1316" y="199"/>
                      <a:pt x="1317" y="198"/>
                    </a:cubicBezTo>
                    <a:close/>
                    <a:moveTo>
                      <a:pt x="1653" y="200"/>
                    </a:moveTo>
                    <a:cubicBezTo>
                      <a:pt x="1653" y="199"/>
                      <a:pt x="1652" y="199"/>
                      <a:pt x="1651" y="199"/>
                    </a:cubicBezTo>
                    <a:cubicBezTo>
                      <a:pt x="1651" y="200"/>
                      <a:pt x="1652" y="200"/>
                      <a:pt x="1653" y="200"/>
                    </a:cubicBezTo>
                    <a:close/>
                    <a:moveTo>
                      <a:pt x="925" y="199"/>
                    </a:moveTo>
                    <a:cubicBezTo>
                      <a:pt x="924" y="199"/>
                      <a:pt x="924" y="200"/>
                      <a:pt x="923" y="201"/>
                    </a:cubicBezTo>
                    <a:cubicBezTo>
                      <a:pt x="924" y="201"/>
                      <a:pt x="925" y="200"/>
                      <a:pt x="925" y="199"/>
                    </a:cubicBezTo>
                    <a:close/>
                    <a:moveTo>
                      <a:pt x="859" y="201"/>
                    </a:moveTo>
                    <a:cubicBezTo>
                      <a:pt x="858" y="200"/>
                      <a:pt x="858" y="200"/>
                      <a:pt x="857" y="200"/>
                    </a:cubicBezTo>
                    <a:cubicBezTo>
                      <a:pt x="857" y="201"/>
                      <a:pt x="858" y="201"/>
                      <a:pt x="859" y="201"/>
                    </a:cubicBezTo>
                    <a:close/>
                    <a:moveTo>
                      <a:pt x="1173" y="200"/>
                    </a:moveTo>
                    <a:cubicBezTo>
                      <a:pt x="1172" y="200"/>
                      <a:pt x="1172" y="200"/>
                      <a:pt x="1172" y="201"/>
                    </a:cubicBezTo>
                    <a:cubicBezTo>
                      <a:pt x="1172" y="201"/>
                      <a:pt x="1173" y="201"/>
                      <a:pt x="1173" y="200"/>
                    </a:cubicBezTo>
                    <a:close/>
                    <a:moveTo>
                      <a:pt x="1314" y="200"/>
                    </a:moveTo>
                    <a:cubicBezTo>
                      <a:pt x="1314" y="200"/>
                      <a:pt x="1313" y="200"/>
                      <a:pt x="1313" y="201"/>
                    </a:cubicBezTo>
                    <a:cubicBezTo>
                      <a:pt x="1313" y="201"/>
                      <a:pt x="1314" y="201"/>
                      <a:pt x="1314" y="200"/>
                    </a:cubicBezTo>
                    <a:close/>
                    <a:moveTo>
                      <a:pt x="861" y="202"/>
                    </a:moveTo>
                    <a:cubicBezTo>
                      <a:pt x="860" y="202"/>
                      <a:pt x="860" y="201"/>
                      <a:pt x="859" y="201"/>
                    </a:cubicBezTo>
                    <a:cubicBezTo>
                      <a:pt x="859" y="202"/>
                      <a:pt x="860" y="202"/>
                      <a:pt x="861" y="202"/>
                    </a:cubicBezTo>
                    <a:close/>
                    <a:moveTo>
                      <a:pt x="1313" y="201"/>
                    </a:moveTo>
                    <a:cubicBezTo>
                      <a:pt x="1312" y="201"/>
                      <a:pt x="1311" y="202"/>
                      <a:pt x="1311" y="202"/>
                    </a:cubicBezTo>
                    <a:cubicBezTo>
                      <a:pt x="1312" y="202"/>
                      <a:pt x="1312" y="202"/>
                      <a:pt x="1313" y="201"/>
                    </a:cubicBezTo>
                    <a:close/>
                    <a:moveTo>
                      <a:pt x="752" y="94"/>
                    </a:moveTo>
                    <a:cubicBezTo>
                      <a:pt x="753" y="94"/>
                      <a:pt x="753" y="94"/>
                      <a:pt x="754" y="94"/>
                    </a:cubicBezTo>
                    <a:cubicBezTo>
                      <a:pt x="753" y="94"/>
                      <a:pt x="752" y="93"/>
                      <a:pt x="752" y="94"/>
                    </a:cubicBezTo>
                    <a:close/>
                    <a:moveTo>
                      <a:pt x="769" y="93"/>
                    </a:moveTo>
                    <a:cubicBezTo>
                      <a:pt x="770" y="94"/>
                      <a:pt x="771" y="94"/>
                      <a:pt x="772" y="94"/>
                    </a:cubicBezTo>
                    <a:cubicBezTo>
                      <a:pt x="771" y="93"/>
                      <a:pt x="770" y="93"/>
                      <a:pt x="769" y="93"/>
                    </a:cubicBezTo>
                    <a:close/>
                    <a:moveTo>
                      <a:pt x="881" y="94"/>
                    </a:moveTo>
                    <a:cubicBezTo>
                      <a:pt x="882" y="94"/>
                      <a:pt x="883" y="94"/>
                      <a:pt x="884" y="94"/>
                    </a:cubicBezTo>
                    <a:cubicBezTo>
                      <a:pt x="883" y="94"/>
                      <a:pt x="882" y="93"/>
                      <a:pt x="881" y="94"/>
                    </a:cubicBezTo>
                    <a:close/>
                    <a:moveTo>
                      <a:pt x="902" y="94"/>
                    </a:moveTo>
                    <a:cubicBezTo>
                      <a:pt x="903" y="94"/>
                      <a:pt x="903" y="94"/>
                      <a:pt x="904" y="94"/>
                    </a:cubicBezTo>
                    <a:cubicBezTo>
                      <a:pt x="904" y="93"/>
                      <a:pt x="903" y="94"/>
                      <a:pt x="902" y="94"/>
                    </a:cubicBezTo>
                    <a:close/>
                    <a:moveTo>
                      <a:pt x="855" y="106"/>
                    </a:moveTo>
                    <a:cubicBezTo>
                      <a:pt x="856" y="105"/>
                      <a:pt x="856" y="105"/>
                      <a:pt x="856" y="104"/>
                    </a:cubicBezTo>
                    <a:cubicBezTo>
                      <a:pt x="856" y="104"/>
                      <a:pt x="855" y="105"/>
                      <a:pt x="855" y="106"/>
                    </a:cubicBezTo>
                    <a:close/>
                    <a:moveTo>
                      <a:pt x="850" y="193"/>
                    </a:moveTo>
                    <a:cubicBezTo>
                      <a:pt x="849" y="192"/>
                      <a:pt x="849" y="192"/>
                      <a:pt x="848" y="191"/>
                    </a:cubicBezTo>
                    <a:cubicBezTo>
                      <a:pt x="848" y="192"/>
                      <a:pt x="849" y="193"/>
                      <a:pt x="850" y="193"/>
                    </a:cubicBezTo>
                    <a:close/>
                    <a:moveTo>
                      <a:pt x="1706" y="207"/>
                    </a:moveTo>
                    <a:cubicBezTo>
                      <a:pt x="1705" y="207"/>
                      <a:pt x="1704" y="207"/>
                      <a:pt x="1704" y="208"/>
                    </a:cubicBezTo>
                    <a:cubicBezTo>
                      <a:pt x="1704" y="208"/>
                      <a:pt x="1705" y="208"/>
                      <a:pt x="1706" y="207"/>
                    </a:cubicBezTo>
                    <a:close/>
                    <a:moveTo>
                      <a:pt x="907" y="208"/>
                    </a:moveTo>
                    <a:cubicBezTo>
                      <a:pt x="906" y="208"/>
                      <a:pt x="905" y="208"/>
                      <a:pt x="905" y="209"/>
                    </a:cubicBezTo>
                    <a:cubicBezTo>
                      <a:pt x="906" y="209"/>
                      <a:pt x="907" y="209"/>
                      <a:pt x="907" y="208"/>
                    </a:cubicBezTo>
                    <a:close/>
                    <a:moveTo>
                      <a:pt x="1128" y="209"/>
                    </a:moveTo>
                    <a:cubicBezTo>
                      <a:pt x="1128" y="208"/>
                      <a:pt x="1127" y="208"/>
                      <a:pt x="1126" y="208"/>
                    </a:cubicBezTo>
                    <a:cubicBezTo>
                      <a:pt x="1127" y="209"/>
                      <a:pt x="1128" y="209"/>
                      <a:pt x="1128" y="209"/>
                    </a:cubicBezTo>
                    <a:close/>
                    <a:moveTo>
                      <a:pt x="1264" y="209"/>
                    </a:moveTo>
                    <a:cubicBezTo>
                      <a:pt x="1264" y="208"/>
                      <a:pt x="1263" y="208"/>
                      <a:pt x="1262" y="208"/>
                    </a:cubicBezTo>
                    <a:cubicBezTo>
                      <a:pt x="1263" y="209"/>
                      <a:pt x="1263" y="209"/>
                      <a:pt x="1264" y="209"/>
                    </a:cubicBezTo>
                    <a:close/>
                    <a:moveTo>
                      <a:pt x="1296" y="208"/>
                    </a:moveTo>
                    <a:cubicBezTo>
                      <a:pt x="1296" y="208"/>
                      <a:pt x="1295" y="208"/>
                      <a:pt x="1294" y="209"/>
                    </a:cubicBezTo>
                    <a:cubicBezTo>
                      <a:pt x="1295" y="209"/>
                      <a:pt x="1296" y="209"/>
                      <a:pt x="1296" y="208"/>
                    </a:cubicBezTo>
                    <a:close/>
                    <a:moveTo>
                      <a:pt x="1381" y="209"/>
                    </a:moveTo>
                    <a:cubicBezTo>
                      <a:pt x="1380" y="208"/>
                      <a:pt x="1379" y="208"/>
                      <a:pt x="1378" y="208"/>
                    </a:cubicBezTo>
                    <a:cubicBezTo>
                      <a:pt x="1379" y="209"/>
                      <a:pt x="1380" y="209"/>
                      <a:pt x="1381" y="209"/>
                    </a:cubicBezTo>
                    <a:close/>
                    <a:moveTo>
                      <a:pt x="1413" y="208"/>
                    </a:moveTo>
                    <a:cubicBezTo>
                      <a:pt x="1412" y="208"/>
                      <a:pt x="1412" y="208"/>
                      <a:pt x="1411" y="209"/>
                    </a:cubicBezTo>
                    <a:cubicBezTo>
                      <a:pt x="1412" y="209"/>
                      <a:pt x="1413" y="209"/>
                      <a:pt x="1413" y="208"/>
                    </a:cubicBezTo>
                    <a:close/>
                    <a:moveTo>
                      <a:pt x="1671" y="209"/>
                    </a:moveTo>
                    <a:cubicBezTo>
                      <a:pt x="1670" y="208"/>
                      <a:pt x="1669" y="208"/>
                      <a:pt x="1669" y="208"/>
                    </a:cubicBezTo>
                    <a:cubicBezTo>
                      <a:pt x="1669" y="209"/>
                      <a:pt x="1670" y="209"/>
                      <a:pt x="1671" y="209"/>
                    </a:cubicBezTo>
                    <a:close/>
                    <a:moveTo>
                      <a:pt x="1704" y="208"/>
                    </a:moveTo>
                    <a:cubicBezTo>
                      <a:pt x="1703" y="208"/>
                      <a:pt x="1702" y="208"/>
                      <a:pt x="1701" y="209"/>
                    </a:cubicBezTo>
                    <a:cubicBezTo>
                      <a:pt x="1702" y="209"/>
                      <a:pt x="1703" y="209"/>
                      <a:pt x="1704" y="208"/>
                    </a:cubicBezTo>
                    <a:close/>
                    <a:moveTo>
                      <a:pt x="748" y="209"/>
                    </a:moveTo>
                    <a:cubicBezTo>
                      <a:pt x="747" y="209"/>
                      <a:pt x="746" y="209"/>
                      <a:pt x="745" y="209"/>
                    </a:cubicBezTo>
                    <a:cubicBezTo>
                      <a:pt x="746" y="209"/>
                      <a:pt x="747" y="209"/>
                      <a:pt x="748" y="209"/>
                    </a:cubicBezTo>
                    <a:close/>
                    <a:moveTo>
                      <a:pt x="770" y="209"/>
                    </a:moveTo>
                    <a:cubicBezTo>
                      <a:pt x="769" y="209"/>
                      <a:pt x="768" y="209"/>
                      <a:pt x="767" y="209"/>
                    </a:cubicBezTo>
                    <a:cubicBezTo>
                      <a:pt x="768" y="209"/>
                      <a:pt x="769" y="209"/>
                      <a:pt x="770" y="209"/>
                    </a:cubicBezTo>
                    <a:close/>
                    <a:moveTo>
                      <a:pt x="879" y="209"/>
                    </a:moveTo>
                    <a:cubicBezTo>
                      <a:pt x="878" y="209"/>
                      <a:pt x="878" y="209"/>
                      <a:pt x="877" y="209"/>
                    </a:cubicBezTo>
                    <a:cubicBezTo>
                      <a:pt x="877" y="209"/>
                      <a:pt x="878" y="209"/>
                      <a:pt x="879" y="209"/>
                    </a:cubicBezTo>
                    <a:close/>
                    <a:moveTo>
                      <a:pt x="904" y="209"/>
                    </a:moveTo>
                    <a:cubicBezTo>
                      <a:pt x="903" y="209"/>
                      <a:pt x="903" y="209"/>
                      <a:pt x="902" y="209"/>
                    </a:cubicBezTo>
                    <a:cubicBezTo>
                      <a:pt x="903" y="209"/>
                      <a:pt x="904" y="209"/>
                      <a:pt x="904" y="209"/>
                    </a:cubicBezTo>
                    <a:close/>
                    <a:moveTo>
                      <a:pt x="1031" y="122"/>
                    </a:moveTo>
                    <a:cubicBezTo>
                      <a:pt x="1031" y="122"/>
                      <a:pt x="1031" y="121"/>
                      <a:pt x="1031" y="121"/>
                    </a:cubicBezTo>
                    <a:cubicBezTo>
                      <a:pt x="1030" y="121"/>
                      <a:pt x="1030" y="122"/>
                      <a:pt x="1030" y="122"/>
                    </a:cubicBezTo>
                    <a:cubicBezTo>
                      <a:pt x="1030" y="122"/>
                      <a:pt x="1030" y="123"/>
                      <a:pt x="1030" y="123"/>
                    </a:cubicBezTo>
                    <a:cubicBezTo>
                      <a:pt x="1030" y="123"/>
                      <a:pt x="1031" y="122"/>
                      <a:pt x="1031" y="122"/>
                    </a:cubicBezTo>
                    <a:close/>
                    <a:moveTo>
                      <a:pt x="1155" y="209"/>
                    </a:moveTo>
                    <a:cubicBezTo>
                      <a:pt x="1155" y="209"/>
                      <a:pt x="1154" y="209"/>
                      <a:pt x="1153" y="209"/>
                    </a:cubicBezTo>
                    <a:cubicBezTo>
                      <a:pt x="1154" y="209"/>
                      <a:pt x="1155" y="209"/>
                      <a:pt x="1155" y="209"/>
                    </a:cubicBezTo>
                    <a:close/>
                    <a:moveTo>
                      <a:pt x="1267" y="209"/>
                    </a:moveTo>
                    <a:cubicBezTo>
                      <a:pt x="1267" y="209"/>
                      <a:pt x="1266" y="209"/>
                      <a:pt x="1265" y="209"/>
                    </a:cubicBezTo>
                    <a:cubicBezTo>
                      <a:pt x="1266" y="209"/>
                      <a:pt x="1266" y="209"/>
                      <a:pt x="1267" y="209"/>
                    </a:cubicBezTo>
                    <a:close/>
                    <a:moveTo>
                      <a:pt x="1258" y="122"/>
                    </a:moveTo>
                    <a:cubicBezTo>
                      <a:pt x="1258" y="122"/>
                      <a:pt x="1258" y="121"/>
                      <a:pt x="1257" y="121"/>
                    </a:cubicBezTo>
                    <a:cubicBezTo>
                      <a:pt x="1257" y="122"/>
                      <a:pt x="1258" y="122"/>
                      <a:pt x="1258" y="122"/>
                    </a:cubicBezTo>
                    <a:close/>
                    <a:moveTo>
                      <a:pt x="1344" y="140"/>
                    </a:moveTo>
                    <a:cubicBezTo>
                      <a:pt x="1345" y="140"/>
                      <a:pt x="1345" y="139"/>
                      <a:pt x="1345" y="138"/>
                    </a:cubicBezTo>
                    <a:cubicBezTo>
                      <a:pt x="1344" y="138"/>
                      <a:pt x="1344" y="139"/>
                      <a:pt x="1344" y="140"/>
                    </a:cubicBezTo>
                    <a:close/>
                    <a:moveTo>
                      <a:pt x="1329" y="159"/>
                    </a:moveTo>
                    <a:cubicBezTo>
                      <a:pt x="1329" y="160"/>
                      <a:pt x="1329" y="161"/>
                      <a:pt x="1329" y="162"/>
                    </a:cubicBezTo>
                    <a:cubicBezTo>
                      <a:pt x="1329" y="161"/>
                      <a:pt x="1330" y="160"/>
                      <a:pt x="1329" y="159"/>
                    </a:cubicBezTo>
                    <a:close/>
                    <a:moveTo>
                      <a:pt x="1121" y="107"/>
                    </a:moveTo>
                    <a:cubicBezTo>
                      <a:pt x="1121" y="107"/>
                      <a:pt x="1122" y="106"/>
                      <a:pt x="1122" y="106"/>
                    </a:cubicBezTo>
                    <a:cubicBezTo>
                      <a:pt x="1121" y="106"/>
                      <a:pt x="1121" y="106"/>
                      <a:pt x="1121" y="107"/>
                    </a:cubicBezTo>
                    <a:close/>
                    <a:moveTo>
                      <a:pt x="945" y="166"/>
                    </a:moveTo>
                    <a:cubicBezTo>
                      <a:pt x="944" y="167"/>
                      <a:pt x="944" y="168"/>
                      <a:pt x="944" y="169"/>
                    </a:cubicBezTo>
                    <a:cubicBezTo>
                      <a:pt x="945" y="168"/>
                      <a:pt x="945" y="167"/>
                      <a:pt x="945" y="166"/>
                    </a:cubicBezTo>
                    <a:close/>
                    <a:moveTo>
                      <a:pt x="1177" y="159"/>
                    </a:moveTo>
                    <a:cubicBezTo>
                      <a:pt x="1177" y="159"/>
                      <a:pt x="1177" y="160"/>
                      <a:pt x="1178" y="160"/>
                    </a:cubicBezTo>
                    <a:cubicBezTo>
                      <a:pt x="1178" y="159"/>
                      <a:pt x="1177" y="159"/>
                      <a:pt x="1177" y="159"/>
                    </a:cubicBezTo>
                    <a:close/>
                    <a:moveTo>
                      <a:pt x="1771" y="134"/>
                    </a:moveTo>
                    <a:cubicBezTo>
                      <a:pt x="1770" y="135"/>
                      <a:pt x="1770" y="136"/>
                      <a:pt x="1770" y="137"/>
                    </a:cubicBezTo>
                    <a:cubicBezTo>
                      <a:pt x="1771" y="136"/>
                      <a:pt x="1771" y="135"/>
                      <a:pt x="1771" y="134"/>
                    </a:cubicBezTo>
                    <a:close/>
                    <a:moveTo>
                      <a:pt x="1144" y="94"/>
                    </a:moveTo>
                    <a:cubicBezTo>
                      <a:pt x="1145" y="94"/>
                      <a:pt x="1146" y="94"/>
                      <a:pt x="1146" y="93"/>
                    </a:cubicBezTo>
                    <a:cubicBezTo>
                      <a:pt x="1145" y="93"/>
                      <a:pt x="1145" y="93"/>
                      <a:pt x="1144" y="94"/>
                    </a:cubicBezTo>
                    <a:close/>
                    <a:moveTo>
                      <a:pt x="558" y="70"/>
                    </a:moveTo>
                    <a:cubicBezTo>
                      <a:pt x="557" y="70"/>
                      <a:pt x="557" y="69"/>
                      <a:pt x="556" y="69"/>
                    </a:cubicBezTo>
                    <a:cubicBezTo>
                      <a:pt x="556" y="70"/>
                      <a:pt x="557" y="70"/>
                      <a:pt x="558" y="70"/>
                    </a:cubicBezTo>
                    <a:close/>
                    <a:moveTo>
                      <a:pt x="1730" y="129"/>
                    </a:moveTo>
                    <a:cubicBezTo>
                      <a:pt x="1729" y="130"/>
                      <a:pt x="1729" y="131"/>
                      <a:pt x="1730" y="132"/>
                    </a:cubicBezTo>
                    <a:cubicBezTo>
                      <a:pt x="1730" y="131"/>
                      <a:pt x="1730" y="130"/>
                      <a:pt x="1730" y="129"/>
                    </a:cubicBezTo>
                    <a:close/>
                    <a:moveTo>
                      <a:pt x="1653" y="156"/>
                    </a:moveTo>
                    <a:cubicBezTo>
                      <a:pt x="1652" y="157"/>
                      <a:pt x="1653" y="158"/>
                      <a:pt x="1653" y="159"/>
                    </a:cubicBezTo>
                    <a:cubicBezTo>
                      <a:pt x="1653" y="158"/>
                      <a:pt x="1653" y="157"/>
                      <a:pt x="1653" y="156"/>
                    </a:cubicBezTo>
                    <a:close/>
                    <a:moveTo>
                      <a:pt x="1162" y="94"/>
                    </a:moveTo>
                    <a:cubicBezTo>
                      <a:pt x="1163" y="94"/>
                      <a:pt x="1164" y="94"/>
                      <a:pt x="1165" y="94"/>
                    </a:cubicBezTo>
                    <a:cubicBezTo>
                      <a:pt x="1164" y="93"/>
                      <a:pt x="1163" y="94"/>
                      <a:pt x="1162" y="94"/>
                    </a:cubicBezTo>
                    <a:close/>
                    <a:moveTo>
                      <a:pt x="1306" y="157"/>
                    </a:moveTo>
                    <a:cubicBezTo>
                      <a:pt x="1306" y="156"/>
                      <a:pt x="1306" y="155"/>
                      <a:pt x="1305" y="155"/>
                    </a:cubicBezTo>
                    <a:cubicBezTo>
                      <a:pt x="1305" y="156"/>
                      <a:pt x="1305" y="156"/>
                      <a:pt x="1306" y="157"/>
                    </a:cubicBezTo>
                    <a:close/>
                    <a:moveTo>
                      <a:pt x="1263" y="93"/>
                    </a:moveTo>
                    <a:cubicBezTo>
                      <a:pt x="1262" y="94"/>
                      <a:pt x="1262" y="95"/>
                      <a:pt x="1263" y="96"/>
                    </a:cubicBezTo>
                    <a:cubicBezTo>
                      <a:pt x="1263" y="95"/>
                      <a:pt x="1263" y="94"/>
                      <a:pt x="1263" y="93"/>
                    </a:cubicBezTo>
                    <a:close/>
                    <a:moveTo>
                      <a:pt x="1278" y="135"/>
                    </a:moveTo>
                    <a:cubicBezTo>
                      <a:pt x="1278" y="135"/>
                      <a:pt x="1277" y="134"/>
                      <a:pt x="1276" y="134"/>
                    </a:cubicBezTo>
                    <a:cubicBezTo>
                      <a:pt x="1277" y="135"/>
                      <a:pt x="1277" y="136"/>
                      <a:pt x="1278" y="135"/>
                    </a:cubicBezTo>
                    <a:close/>
                    <a:moveTo>
                      <a:pt x="725" y="110"/>
                    </a:moveTo>
                    <a:cubicBezTo>
                      <a:pt x="726" y="109"/>
                      <a:pt x="726" y="109"/>
                      <a:pt x="727" y="108"/>
                    </a:cubicBezTo>
                    <a:cubicBezTo>
                      <a:pt x="726" y="108"/>
                      <a:pt x="725" y="109"/>
                      <a:pt x="725" y="110"/>
                    </a:cubicBezTo>
                    <a:close/>
                    <a:moveTo>
                      <a:pt x="1172" y="154"/>
                    </a:moveTo>
                    <a:cubicBezTo>
                      <a:pt x="1172" y="155"/>
                      <a:pt x="1173" y="156"/>
                      <a:pt x="1174" y="156"/>
                    </a:cubicBezTo>
                    <a:cubicBezTo>
                      <a:pt x="1174" y="155"/>
                      <a:pt x="1173" y="155"/>
                      <a:pt x="1172" y="154"/>
                    </a:cubicBezTo>
                    <a:close/>
                    <a:moveTo>
                      <a:pt x="672" y="132"/>
                    </a:moveTo>
                    <a:cubicBezTo>
                      <a:pt x="672" y="131"/>
                      <a:pt x="672" y="130"/>
                      <a:pt x="672" y="130"/>
                    </a:cubicBezTo>
                    <a:cubicBezTo>
                      <a:pt x="672" y="130"/>
                      <a:pt x="671" y="131"/>
                      <a:pt x="672" y="132"/>
                    </a:cubicBezTo>
                    <a:close/>
                    <a:moveTo>
                      <a:pt x="1270" y="108"/>
                    </a:moveTo>
                    <a:cubicBezTo>
                      <a:pt x="1270" y="108"/>
                      <a:pt x="1271" y="109"/>
                      <a:pt x="1272" y="109"/>
                    </a:cubicBezTo>
                    <a:cubicBezTo>
                      <a:pt x="1271" y="108"/>
                      <a:pt x="1271" y="108"/>
                      <a:pt x="1270" y="108"/>
                    </a:cubicBezTo>
                    <a:close/>
                    <a:moveTo>
                      <a:pt x="1385" y="94"/>
                    </a:moveTo>
                    <a:cubicBezTo>
                      <a:pt x="1386" y="94"/>
                      <a:pt x="1387" y="94"/>
                      <a:pt x="1388" y="93"/>
                    </a:cubicBezTo>
                    <a:cubicBezTo>
                      <a:pt x="1387" y="93"/>
                      <a:pt x="1386" y="93"/>
                      <a:pt x="1385" y="94"/>
                    </a:cubicBezTo>
                    <a:close/>
                    <a:moveTo>
                      <a:pt x="1416" y="207"/>
                    </a:moveTo>
                    <a:cubicBezTo>
                      <a:pt x="1415" y="207"/>
                      <a:pt x="1414" y="207"/>
                      <a:pt x="1413" y="208"/>
                    </a:cubicBezTo>
                    <a:cubicBezTo>
                      <a:pt x="1414" y="208"/>
                      <a:pt x="1415" y="208"/>
                      <a:pt x="1416" y="207"/>
                    </a:cubicBezTo>
                    <a:close/>
                    <a:moveTo>
                      <a:pt x="438" y="89"/>
                    </a:moveTo>
                    <a:cubicBezTo>
                      <a:pt x="437" y="90"/>
                      <a:pt x="437" y="90"/>
                      <a:pt x="437" y="91"/>
                    </a:cubicBezTo>
                    <a:cubicBezTo>
                      <a:pt x="438" y="91"/>
                      <a:pt x="438" y="90"/>
                      <a:pt x="438" y="89"/>
                    </a:cubicBezTo>
                    <a:close/>
                    <a:moveTo>
                      <a:pt x="441" y="91"/>
                    </a:moveTo>
                    <a:cubicBezTo>
                      <a:pt x="441" y="90"/>
                      <a:pt x="441" y="90"/>
                      <a:pt x="441" y="89"/>
                    </a:cubicBezTo>
                    <a:cubicBezTo>
                      <a:pt x="441" y="90"/>
                      <a:pt x="441" y="91"/>
                      <a:pt x="441" y="91"/>
                    </a:cubicBezTo>
                    <a:close/>
                    <a:moveTo>
                      <a:pt x="460" y="89"/>
                    </a:moveTo>
                    <a:cubicBezTo>
                      <a:pt x="460" y="90"/>
                      <a:pt x="460" y="91"/>
                      <a:pt x="460" y="91"/>
                    </a:cubicBezTo>
                    <a:cubicBezTo>
                      <a:pt x="460" y="91"/>
                      <a:pt x="460" y="90"/>
                      <a:pt x="460" y="89"/>
                    </a:cubicBezTo>
                    <a:close/>
                    <a:moveTo>
                      <a:pt x="509" y="92"/>
                    </a:moveTo>
                    <a:cubicBezTo>
                      <a:pt x="509" y="92"/>
                      <a:pt x="509" y="91"/>
                      <a:pt x="509" y="91"/>
                    </a:cubicBezTo>
                    <a:cubicBezTo>
                      <a:pt x="509" y="91"/>
                      <a:pt x="509" y="92"/>
                      <a:pt x="509" y="92"/>
                    </a:cubicBezTo>
                    <a:close/>
                    <a:moveTo>
                      <a:pt x="529" y="90"/>
                    </a:moveTo>
                    <a:cubicBezTo>
                      <a:pt x="528" y="91"/>
                      <a:pt x="528" y="92"/>
                      <a:pt x="528" y="92"/>
                    </a:cubicBezTo>
                    <a:cubicBezTo>
                      <a:pt x="529" y="92"/>
                      <a:pt x="529" y="91"/>
                      <a:pt x="529" y="90"/>
                    </a:cubicBezTo>
                    <a:close/>
                    <a:moveTo>
                      <a:pt x="437" y="91"/>
                    </a:moveTo>
                    <a:cubicBezTo>
                      <a:pt x="437" y="92"/>
                      <a:pt x="437" y="92"/>
                      <a:pt x="437" y="93"/>
                    </a:cubicBezTo>
                    <a:cubicBezTo>
                      <a:pt x="437" y="92"/>
                      <a:pt x="437" y="92"/>
                      <a:pt x="437" y="91"/>
                    </a:cubicBezTo>
                    <a:close/>
                    <a:moveTo>
                      <a:pt x="442" y="93"/>
                    </a:moveTo>
                    <a:cubicBezTo>
                      <a:pt x="442" y="92"/>
                      <a:pt x="442" y="92"/>
                      <a:pt x="441" y="91"/>
                    </a:cubicBezTo>
                    <a:cubicBezTo>
                      <a:pt x="441" y="92"/>
                      <a:pt x="441" y="92"/>
                      <a:pt x="442" y="93"/>
                    </a:cubicBezTo>
                    <a:close/>
                    <a:moveTo>
                      <a:pt x="460" y="92"/>
                    </a:moveTo>
                    <a:cubicBezTo>
                      <a:pt x="460" y="92"/>
                      <a:pt x="460" y="93"/>
                      <a:pt x="461" y="93"/>
                    </a:cubicBezTo>
                    <a:cubicBezTo>
                      <a:pt x="461" y="93"/>
                      <a:pt x="461" y="92"/>
                      <a:pt x="460" y="92"/>
                    </a:cubicBezTo>
                    <a:close/>
                    <a:moveTo>
                      <a:pt x="508" y="94"/>
                    </a:moveTo>
                    <a:cubicBezTo>
                      <a:pt x="509" y="94"/>
                      <a:pt x="509" y="93"/>
                      <a:pt x="509" y="92"/>
                    </a:cubicBezTo>
                    <a:cubicBezTo>
                      <a:pt x="508" y="93"/>
                      <a:pt x="508" y="94"/>
                      <a:pt x="508" y="94"/>
                    </a:cubicBezTo>
                    <a:close/>
                    <a:moveTo>
                      <a:pt x="1053" y="144"/>
                    </a:moveTo>
                    <a:cubicBezTo>
                      <a:pt x="1053" y="145"/>
                      <a:pt x="1053" y="146"/>
                      <a:pt x="1054" y="146"/>
                    </a:cubicBezTo>
                    <a:cubicBezTo>
                      <a:pt x="1054" y="145"/>
                      <a:pt x="1054" y="145"/>
                      <a:pt x="1053" y="144"/>
                    </a:cubicBezTo>
                    <a:close/>
                    <a:moveTo>
                      <a:pt x="437" y="93"/>
                    </a:moveTo>
                    <a:cubicBezTo>
                      <a:pt x="436" y="94"/>
                      <a:pt x="436" y="94"/>
                      <a:pt x="436" y="95"/>
                    </a:cubicBezTo>
                    <a:cubicBezTo>
                      <a:pt x="437" y="95"/>
                      <a:pt x="437" y="94"/>
                      <a:pt x="437" y="93"/>
                    </a:cubicBezTo>
                    <a:close/>
                    <a:moveTo>
                      <a:pt x="442" y="95"/>
                    </a:moveTo>
                    <a:cubicBezTo>
                      <a:pt x="442" y="94"/>
                      <a:pt x="442" y="94"/>
                      <a:pt x="442" y="93"/>
                    </a:cubicBezTo>
                    <a:cubicBezTo>
                      <a:pt x="442" y="94"/>
                      <a:pt x="442" y="95"/>
                      <a:pt x="442" y="95"/>
                    </a:cubicBezTo>
                    <a:close/>
                    <a:moveTo>
                      <a:pt x="461" y="93"/>
                    </a:moveTo>
                    <a:cubicBezTo>
                      <a:pt x="461" y="94"/>
                      <a:pt x="461" y="95"/>
                      <a:pt x="461" y="95"/>
                    </a:cubicBezTo>
                    <a:cubicBezTo>
                      <a:pt x="461" y="95"/>
                      <a:pt x="462" y="94"/>
                      <a:pt x="461" y="93"/>
                    </a:cubicBezTo>
                    <a:close/>
                    <a:moveTo>
                      <a:pt x="1008" y="146"/>
                    </a:moveTo>
                    <a:cubicBezTo>
                      <a:pt x="1009" y="145"/>
                      <a:pt x="1009" y="145"/>
                      <a:pt x="1009" y="144"/>
                    </a:cubicBezTo>
                    <a:cubicBezTo>
                      <a:pt x="1008" y="145"/>
                      <a:pt x="1008" y="145"/>
                      <a:pt x="1008" y="146"/>
                    </a:cubicBezTo>
                    <a:close/>
                    <a:moveTo>
                      <a:pt x="1534" y="117"/>
                    </a:moveTo>
                    <a:cubicBezTo>
                      <a:pt x="1534" y="116"/>
                      <a:pt x="1534" y="116"/>
                      <a:pt x="1534" y="115"/>
                    </a:cubicBezTo>
                    <a:cubicBezTo>
                      <a:pt x="1534" y="116"/>
                      <a:pt x="1534" y="117"/>
                      <a:pt x="1534" y="117"/>
                    </a:cubicBezTo>
                    <a:close/>
                    <a:moveTo>
                      <a:pt x="749" y="95"/>
                    </a:moveTo>
                    <a:cubicBezTo>
                      <a:pt x="750" y="95"/>
                      <a:pt x="750" y="95"/>
                      <a:pt x="751" y="94"/>
                    </a:cubicBezTo>
                    <a:cubicBezTo>
                      <a:pt x="750" y="94"/>
                      <a:pt x="749" y="94"/>
                      <a:pt x="749" y="95"/>
                    </a:cubicBezTo>
                    <a:close/>
                    <a:moveTo>
                      <a:pt x="1079" y="136"/>
                    </a:moveTo>
                    <a:cubicBezTo>
                      <a:pt x="1079" y="135"/>
                      <a:pt x="1079" y="134"/>
                      <a:pt x="1079" y="134"/>
                    </a:cubicBezTo>
                    <a:cubicBezTo>
                      <a:pt x="1079" y="134"/>
                      <a:pt x="1079" y="135"/>
                      <a:pt x="1079" y="136"/>
                    </a:cubicBezTo>
                    <a:close/>
                    <a:moveTo>
                      <a:pt x="1141" y="95"/>
                    </a:moveTo>
                    <a:cubicBezTo>
                      <a:pt x="1142" y="95"/>
                      <a:pt x="1142" y="95"/>
                      <a:pt x="1143" y="94"/>
                    </a:cubicBezTo>
                    <a:cubicBezTo>
                      <a:pt x="1142" y="94"/>
                      <a:pt x="1141" y="94"/>
                      <a:pt x="1141" y="95"/>
                    </a:cubicBezTo>
                    <a:close/>
                    <a:moveTo>
                      <a:pt x="1165" y="94"/>
                    </a:moveTo>
                    <a:cubicBezTo>
                      <a:pt x="1166" y="95"/>
                      <a:pt x="1167" y="95"/>
                      <a:pt x="1167" y="95"/>
                    </a:cubicBezTo>
                    <a:cubicBezTo>
                      <a:pt x="1167" y="94"/>
                      <a:pt x="1166" y="94"/>
                      <a:pt x="1165" y="94"/>
                    </a:cubicBezTo>
                    <a:close/>
                    <a:moveTo>
                      <a:pt x="1382" y="95"/>
                    </a:moveTo>
                    <a:cubicBezTo>
                      <a:pt x="1383" y="95"/>
                      <a:pt x="1384" y="95"/>
                      <a:pt x="1384" y="94"/>
                    </a:cubicBezTo>
                    <a:cubicBezTo>
                      <a:pt x="1383" y="94"/>
                      <a:pt x="1383" y="94"/>
                      <a:pt x="1382" y="95"/>
                    </a:cubicBezTo>
                    <a:close/>
                    <a:moveTo>
                      <a:pt x="1406" y="94"/>
                    </a:moveTo>
                    <a:cubicBezTo>
                      <a:pt x="1407" y="95"/>
                      <a:pt x="1407" y="95"/>
                      <a:pt x="1408" y="95"/>
                    </a:cubicBezTo>
                    <a:cubicBezTo>
                      <a:pt x="1408" y="94"/>
                      <a:pt x="1407" y="94"/>
                      <a:pt x="1406" y="94"/>
                    </a:cubicBezTo>
                    <a:close/>
                    <a:moveTo>
                      <a:pt x="1514" y="94"/>
                    </a:moveTo>
                    <a:cubicBezTo>
                      <a:pt x="1514" y="95"/>
                      <a:pt x="1515" y="95"/>
                      <a:pt x="1516" y="95"/>
                    </a:cubicBezTo>
                    <a:cubicBezTo>
                      <a:pt x="1515" y="94"/>
                      <a:pt x="1515" y="94"/>
                      <a:pt x="1514" y="94"/>
                    </a:cubicBezTo>
                    <a:close/>
                    <a:moveTo>
                      <a:pt x="1673" y="95"/>
                    </a:moveTo>
                    <a:cubicBezTo>
                      <a:pt x="1674" y="95"/>
                      <a:pt x="1674" y="94"/>
                      <a:pt x="1675" y="94"/>
                    </a:cubicBezTo>
                    <a:cubicBezTo>
                      <a:pt x="1674" y="94"/>
                      <a:pt x="1674" y="94"/>
                      <a:pt x="1673" y="95"/>
                    </a:cubicBezTo>
                    <a:close/>
                    <a:moveTo>
                      <a:pt x="1697" y="94"/>
                    </a:moveTo>
                    <a:cubicBezTo>
                      <a:pt x="1697" y="95"/>
                      <a:pt x="1698" y="95"/>
                      <a:pt x="1698" y="95"/>
                    </a:cubicBezTo>
                    <a:cubicBezTo>
                      <a:pt x="1698" y="94"/>
                      <a:pt x="1697" y="94"/>
                      <a:pt x="1697" y="94"/>
                    </a:cubicBezTo>
                    <a:close/>
                    <a:moveTo>
                      <a:pt x="508" y="96"/>
                    </a:moveTo>
                    <a:cubicBezTo>
                      <a:pt x="508" y="96"/>
                      <a:pt x="508" y="95"/>
                      <a:pt x="508" y="95"/>
                    </a:cubicBezTo>
                    <a:cubicBezTo>
                      <a:pt x="507" y="95"/>
                      <a:pt x="508" y="96"/>
                      <a:pt x="508" y="96"/>
                    </a:cubicBezTo>
                    <a:close/>
                    <a:moveTo>
                      <a:pt x="528" y="94"/>
                    </a:moveTo>
                    <a:cubicBezTo>
                      <a:pt x="527" y="95"/>
                      <a:pt x="527" y="96"/>
                      <a:pt x="527" y="96"/>
                    </a:cubicBezTo>
                    <a:cubicBezTo>
                      <a:pt x="528" y="96"/>
                      <a:pt x="528" y="95"/>
                      <a:pt x="528" y="94"/>
                    </a:cubicBezTo>
                    <a:close/>
                    <a:moveTo>
                      <a:pt x="639" y="95"/>
                    </a:moveTo>
                    <a:cubicBezTo>
                      <a:pt x="640" y="95"/>
                      <a:pt x="641" y="95"/>
                      <a:pt x="641" y="95"/>
                    </a:cubicBezTo>
                    <a:cubicBezTo>
                      <a:pt x="640" y="95"/>
                      <a:pt x="640" y="94"/>
                      <a:pt x="639" y="95"/>
                    </a:cubicBezTo>
                    <a:close/>
                    <a:moveTo>
                      <a:pt x="666" y="95"/>
                    </a:moveTo>
                    <a:cubicBezTo>
                      <a:pt x="666" y="95"/>
                      <a:pt x="667" y="95"/>
                      <a:pt x="668" y="95"/>
                    </a:cubicBezTo>
                    <a:cubicBezTo>
                      <a:pt x="667" y="94"/>
                      <a:pt x="666" y="95"/>
                      <a:pt x="666" y="95"/>
                    </a:cubicBezTo>
                    <a:close/>
                    <a:moveTo>
                      <a:pt x="1559" y="131"/>
                    </a:moveTo>
                    <a:cubicBezTo>
                      <a:pt x="1559" y="132"/>
                      <a:pt x="1559" y="133"/>
                      <a:pt x="1560" y="133"/>
                    </a:cubicBezTo>
                    <a:cubicBezTo>
                      <a:pt x="1560" y="133"/>
                      <a:pt x="1560" y="132"/>
                      <a:pt x="1559" y="131"/>
                    </a:cubicBezTo>
                    <a:close/>
                    <a:moveTo>
                      <a:pt x="775" y="95"/>
                    </a:moveTo>
                    <a:cubicBezTo>
                      <a:pt x="775" y="95"/>
                      <a:pt x="776" y="95"/>
                      <a:pt x="776" y="95"/>
                    </a:cubicBezTo>
                    <a:cubicBezTo>
                      <a:pt x="776" y="94"/>
                      <a:pt x="775" y="95"/>
                      <a:pt x="775" y="95"/>
                    </a:cubicBezTo>
                    <a:close/>
                    <a:moveTo>
                      <a:pt x="876" y="95"/>
                    </a:moveTo>
                    <a:cubicBezTo>
                      <a:pt x="876" y="95"/>
                      <a:pt x="877" y="95"/>
                      <a:pt x="877" y="95"/>
                    </a:cubicBezTo>
                    <a:cubicBezTo>
                      <a:pt x="877" y="95"/>
                      <a:pt x="876" y="94"/>
                      <a:pt x="876" y="95"/>
                    </a:cubicBezTo>
                    <a:close/>
                    <a:moveTo>
                      <a:pt x="908" y="95"/>
                    </a:moveTo>
                    <a:cubicBezTo>
                      <a:pt x="909" y="95"/>
                      <a:pt x="909" y="95"/>
                      <a:pt x="910" y="95"/>
                    </a:cubicBezTo>
                    <a:cubicBezTo>
                      <a:pt x="910" y="94"/>
                      <a:pt x="909" y="95"/>
                      <a:pt x="908" y="95"/>
                    </a:cubicBezTo>
                    <a:close/>
                    <a:moveTo>
                      <a:pt x="475" y="144"/>
                    </a:moveTo>
                    <a:cubicBezTo>
                      <a:pt x="475" y="145"/>
                      <a:pt x="475" y="145"/>
                      <a:pt x="475" y="146"/>
                    </a:cubicBezTo>
                    <a:cubicBezTo>
                      <a:pt x="475" y="145"/>
                      <a:pt x="475" y="145"/>
                      <a:pt x="475" y="144"/>
                    </a:cubicBezTo>
                    <a:close/>
                    <a:moveTo>
                      <a:pt x="1168" y="95"/>
                    </a:moveTo>
                    <a:cubicBezTo>
                      <a:pt x="1168" y="95"/>
                      <a:pt x="1169" y="95"/>
                      <a:pt x="1170" y="95"/>
                    </a:cubicBezTo>
                    <a:cubicBezTo>
                      <a:pt x="1169" y="94"/>
                      <a:pt x="1169" y="95"/>
                      <a:pt x="1168" y="95"/>
                    </a:cubicBezTo>
                    <a:close/>
                    <a:moveTo>
                      <a:pt x="1026" y="134"/>
                    </a:moveTo>
                    <a:cubicBezTo>
                      <a:pt x="1026" y="135"/>
                      <a:pt x="1026" y="135"/>
                      <a:pt x="1026" y="136"/>
                    </a:cubicBezTo>
                    <a:cubicBezTo>
                      <a:pt x="1026" y="136"/>
                      <a:pt x="1026" y="135"/>
                      <a:pt x="1026" y="134"/>
                    </a:cubicBezTo>
                    <a:close/>
                    <a:moveTo>
                      <a:pt x="422" y="144"/>
                    </a:moveTo>
                    <a:cubicBezTo>
                      <a:pt x="422" y="145"/>
                      <a:pt x="422" y="145"/>
                      <a:pt x="422" y="146"/>
                    </a:cubicBezTo>
                    <a:cubicBezTo>
                      <a:pt x="422" y="145"/>
                      <a:pt x="422" y="145"/>
                      <a:pt x="422" y="144"/>
                    </a:cubicBezTo>
                    <a:close/>
                    <a:moveTo>
                      <a:pt x="1499" y="95"/>
                    </a:moveTo>
                    <a:cubicBezTo>
                      <a:pt x="1500" y="95"/>
                      <a:pt x="1500" y="95"/>
                      <a:pt x="1501" y="95"/>
                    </a:cubicBezTo>
                    <a:cubicBezTo>
                      <a:pt x="1500" y="95"/>
                      <a:pt x="1500" y="94"/>
                      <a:pt x="1499" y="95"/>
                    </a:cubicBezTo>
                    <a:close/>
                    <a:moveTo>
                      <a:pt x="430" y="116"/>
                    </a:moveTo>
                    <a:cubicBezTo>
                      <a:pt x="430" y="116"/>
                      <a:pt x="430" y="117"/>
                      <a:pt x="430" y="118"/>
                    </a:cubicBezTo>
                    <a:cubicBezTo>
                      <a:pt x="430" y="117"/>
                      <a:pt x="430" y="116"/>
                      <a:pt x="430" y="116"/>
                    </a:cubicBezTo>
                    <a:close/>
                    <a:moveTo>
                      <a:pt x="449" y="118"/>
                    </a:moveTo>
                    <a:cubicBezTo>
                      <a:pt x="449" y="117"/>
                      <a:pt x="449" y="116"/>
                      <a:pt x="448" y="116"/>
                    </a:cubicBezTo>
                    <a:cubicBezTo>
                      <a:pt x="448" y="116"/>
                      <a:pt x="448" y="117"/>
                      <a:pt x="449" y="118"/>
                    </a:cubicBezTo>
                    <a:close/>
                    <a:moveTo>
                      <a:pt x="1699" y="95"/>
                    </a:moveTo>
                    <a:cubicBezTo>
                      <a:pt x="1699" y="95"/>
                      <a:pt x="1700" y="95"/>
                      <a:pt x="1701" y="95"/>
                    </a:cubicBezTo>
                    <a:cubicBezTo>
                      <a:pt x="1700" y="94"/>
                      <a:pt x="1700" y="95"/>
                      <a:pt x="1699" y="95"/>
                    </a:cubicBezTo>
                    <a:close/>
                    <a:moveTo>
                      <a:pt x="1594" y="145"/>
                    </a:moveTo>
                    <a:cubicBezTo>
                      <a:pt x="1594" y="145"/>
                      <a:pt x="1594" y="144"/>
                      <a:pt x="1594" y="144"/>
                    </a:cubicBezTo>
                    <a:cubicBezTo>
                      <a:pt x="1594" y="144"/>
                      <a:pt x="1594" y="145"/>
                      <a:pt x="1594" y="145"/>
                    </a:cubicBezTo>
                    <a:close/>
                    <a:moveTo>
                      <a:pt x="436" y="95"/>
                    </a:moveTo>
                    <a:cubicBezTo>
                      <a:pt x="436" y="96"/>
                      <a:pt x="435" y="96"/>
                      <a:pt x="436" y="97"/>
                    </a:cubicBezTo>
                    <a:cubicBezTo>
                      <a:pt x="436" y="96"/>
                      <a:pt x="436" y="96"/>
                      <a:pt x="436" y="95"/>
                    </a:cubicBezTo>
                    <a:close/>
                    <a:moveTo>
                      <a:pt x="688" y="116"/>
                    </a:moveTo>
                    <a:cubicBezTo>
                      <a:pt x="688" y="117"/>
                      <a:pt x="688" y="117"/>
                      <a:pt x="688" y="118"/>
                    </a:cubicBezTo>
                    <a:cubicBezTo>
                      <a:pt x="688" y="117"/>
                      <a:pt x="688" y="116"/>
                      <a:pt x="688" y="116"/>
                    </a:cubicBezTo>
                    <a:close/>
                    <a:moveTo>
                      <a:pt x="745" y="96"/>
                    </a:moveTo>
                    <a:cubicBezTo>
                      <a:pt x="745" y="96"/>
                      <a:pt x="746" y="96"/>
                      <a:pt x="747" y="95"/>
                    </a:cubicBezTo>
                    <a:cubicBezTo>
                      <a:pt x="746" y="95"/>
                      <a:pt x="745" y="95"/>
                      <a:pt x="745" y="96"/>
                    </a:cubicBezTo>
                    <a:close/>
                    <a:moveTo>
                      <a:pt x="1017" y="118"/>
                    </a:moveTo>
                    <a:cubicBezTo>
                      <a:pt x="1017" y="117"/>
                      <a:pt x="1017" y="117"/>
                      <a:pt x="1017" y="116"/>
                    </a:cubicBezTo>
                    <a:cubicBezTo>
                      <a:pt x="1016" y="116"/>
                      <a:pt x="1017" y="117"/>
                      <a:pt x="1017" y="118"/>
                    </a:cubicBezTo>
                    <a:close/>
                    <a:moveTo>
                      <a:pt x="873" y="96"/>
                    </a:moveTo>
                    <a:cubicBezTo>
                      <a:pt x="874" y="96"/>
                      <a:pt x="874" y="96"/>
                      <a:pt x="875" y="95"/>
                    </a:cubicBezTo>
                    <a:cubicBezTo>
                      <a:pt x="874" y="95"/>
                      <a:pt x="874" y="95"/>
                      <a:pt x="873" y="96"/>
                    </a:cubicBezTo>
                    <a:close/>
                    <a:moveTo>
                      <a:pt x="1023" y="144"/>
                    </a:moveTo>
                    <a:cubicBezTo>
                      <a:pt x="1023" y="144"/>
                      <a:pt x="1023" y="145"/>
                      <a:pt x="1023" y="145"/>
                    </a:cubicBezTo>
                    <a:cubicBezTo>
                      <a:pt x="1024" y="145"/>
                      <a:pt x="1023" y="144"/>
                      <a:pt x="1023" y="144"/>
                    </a:cubicBezTo>
                    <a:close/>
                    <a:moveTo>
                      <a:pt x="1137" y="96"/>
                    </a:moveTo>
                    <a:cubicBezTo>
                      <a:pt x="1138" y="96"/>
                      <a:pt x="1138" y="96"/>
                      <a:pt x="1139" y="95"/>
                    </a:cubicBezTo>
                    <a:cubicBezTo>
                      <a:pt x="1138" y="95"/>
                      <a:pt x="1137" y="95"/>
                      <a:pt x="1137" y="96"/>
                    </a:cubicBezTo>
                    <a:close/>
                    <a:moveTo>
                      <a:pt x="1177" y="117"/>
                    </a:moveTo>
                    <a:cubicBezTo>
                      <a:pt x="1178" y="117"/>
                      <a:pt x="1178" y="116"/>
                      <a:pt x="1178" y="116"/>
                    </a:cubicBezTo>
                    <a:cubicBezTo>
                      <a:pt x="1177" y="116"/>
                      <a:pt x="1177" y="116"/>
                      <a:pt x="1177" y="116"/>
                    </a:cubicBezTo>
                    <a:cubicBezTo>
                      <a:pt x="1177" y="116"/>
                      <a:pt x="1177" y="117"/>
                      <a:pt x="1177" y="117"/>
                    </a:cubicBezTo>
                    <a:close/>
                    <a:moveTo>
                      <a:pt x="1378" y="96"/>
                    </a:moveTo>
                    <a:cubicBezTo>
                      <a:pt x="1379" y="96"/>
                      <a:pt x="1380" y="96"/>
                      <a:pt x="1380" y="95"/>
                    </a:cubicBezTo>
                    <a:cubicBezTo>
                      <a:pt x="1379" y="95"/>
                      <a:pt x="1379" y="95"/>
                      <a:pt x="1378" y="96"/>
                    </a:cubicBezTo>
                    <a:close/>
                    <a:moveTo>
                      <a:pt x="1410" y="95"/>
                    </a:moveTo>
                    <a:cubicBezTo>
                      <a:pt x="1411" y="96"/>
                      <a:pt x="1412" y="96"/>
                      <a:pt x="1412" y="96"/>
                    </a:cubicBezTo>
                    <a:cubicBezTo>
                      <a:pt x="1412" y="95"/>
                      <a:pt x="1411" y="95"/>
                      <a:pt x="1410" y="95"/>
                    </a:cubicBezTo>
                    <a:close/>
                    <a:moveTo>
                      <a:pt x="514" y="143"/>
                    </a:moveTo>
                    <a:cubicBezTo>
                      <a:pt x="513" y="144"/>
                      <a:pt x="513" y="145"/>
                      <a:pt x="513" y="145"/>
                    </a:cubicBezTo>
                    <a:cubicBezTo>
                      <a:pt x="514" y="145"/>
                      <a:pt x="514" y="144"/>
                      <a:pt x="514" y="143"/>
                    </a:cubicBezTo>
                    <a:close/>
                    <a:moveTo>
                      <a:pt x="1612" y="143"/>
                    </a:moveTo>
                    <a:cubicBezTo>
                      <a:pt x="1612" y="143"/>
                      <a:pt x="1611" y="144"/>
                      <a:pt x="1611" y="145"/>
                    </a:cubicBezTo>
                    <a:cubicBezTo>
                      <a:pt x="1612" y="144"/>
                      <a:pt x="1612" y="144"/>
                      <a:pt x="1612" y="143"/>
                    </a:cubicBezTo>
                    <a:close/>
                    <a:moveTo>
                      <a:pt x="1563" y="143"/>
                    </a:moveTo>
                    <a:cubicBezTo>
                      <a:pt x="1563" y="144"/>
                      <a:pt x="1563" y="144"/>
                      <a:pt x="1564" y="145"/>
                    </a:cubicBezTo>
                    <a:cubicBezTo>
                      <a:pt x="1564" y="144"/>
                      <a:pt x="1564" y="143"/>
                      <a:pt x="1563" y="143"/>
                    </a:cubicBezTo>
                    <a:close/>
                    <a:moveTo>
                      <a:pt x="1636" y="133"/>
                    </a:moveTo>
                    <a:cubicBezTo>
                      <a:pt x="1637" y="133"/>
                      <a:pt x="1637" y="132"/>
                      <a:pt x="1637" y="131"/>
                    </a:cubicBezTo>
                    <a:cubicBezTo>
                      <a:pt x="1636" y="132"/>
                      <a:pt x="1636" y="133"/>
                      <a:pt x="1636" y="133"/>
                    </a:cubicBezTo>
                    <a:close/>
                    <a:moveTo>
                      <a:pt x="984" y="143"/>
                    </a:moveTo>
                    <a:cubicBezTo>
                      <a:pt x="984" y="144"/>
                      <a:pt x="984" y="144"/>
                      <a:pt x="984" y="145"/>
                    </a:cubicBezTo>
                    <a:cubicBezTo>
                      <a:pt x="984" y="144"/>
                      <a:pt x="984" y="143"/>
                      <a:pt x="984" y="143"/>
                    </a:cubicBezTo>
                    <a:close/>
                    <a:moveTo>
                      <a:pt x="461" y="96"/>
                    </a:moveTo>
                    <a:cubicBezTo>
                      <a:pt x="461" y="96"/>
                      <a:pt x="461" y="97"/>
                      <a:pt x="462" y="98"/>
                    </a:cubicBezTo>
                    <a:cubicBezTo>
                      <a:pt x="462" y="97"/>
                      <a:pt x="462" y="96"/>
                      <a:pt x="461" y="96"/>
                    </a:cubicBezTo>
                    <a:close/>
                    <a:moveTo>
                      <a:pt x="426" y="132"/>
                    </a:moveTo>
                    <a:cubicBezTo>
                      <a:pt x="425" y="132"/>
                      <a:pt x="425" y="133"/>
                      <a:pt x="425" y="134"/>
                    </a:cubicBezTo>
                    <a:cubicBezTo>
                      <a:pt x="426" y="133"/>
                      <a:pt x="426" y="133"/>
                      <a:pt x="426" y="132"/>
                    </a:cubicBezTo>
                    <a:close/>
                    <a:moveTo>
                      <a:pt x="453" y="134"/>
                    </a:moveTo>
                    <a:cubicBezTo>
                      <a:pt x="453" y="133"/>
                      <a:pt x="453" y="132"/>
                      <a:pt x="453" y="132"/>
                    </a:cubicBezTo>
                    <a:cubicBezTo>
                      <a:pt x="453" y="133"/>
                      <a:pt x="453" y="133"/>
                      <a:pt x="453" y="134"/>
                    </a:cubicBezTo>
                    <a:close/>
                    <a:moveTo>
                      <a:pt x="1029" y="127"/>
                    </a:moveTo>
                    <a:cubicBezTo>
                      <a:pt x="1028" y="127"/>
                      <a:pt x="1028" y="128"/>
                      <a:pt x="1028" y="129"/>
                    </a:cubicBezTo>
                    <a:cubicBezTo>
                      <a:pt x="1029" y="128"/>
                      <a:pt x="1029" y="127"/>
                      <a:pt x="1029" y="127"/>
                    </a:cubicBezTo>
                    <a:close/>
                    <a:moveTo>
                      <a:pt x="967" y="145"/>
                    </a:moveTo>
                    <a:cubicBezTo>
                      <a:pt x="967" y="144"/>
                      <a:pt x="967" y="143"/>
                      <a:pt x="966" y="143"/>
                    </a:cubicBezTo>
                    <a:cubicBezTo>
                      <a:pt x="966" y="143"/>
                      <a:pt x="966" y="144"/>
                      <a:pt x="967" y="145"/>
                    </a:cubicBezTo>
                    <a:close/>
                    <a:moveTo>
                      <a:pt x="502" y="118"/>
                    </a:moveTo>
                    <a:cubicBezTo>
                      <a:pt x="502" y="118"/>
                      <a:pt x="502" y="117"/>
                      <a:pt x="502" y="116"/>
                    </a:cubicBezTo>
                    <a:cubicBezTo>
                      <a:pt x="502" y="117"/>
                      <a:pt x="502" y="118"/>
                      <a:pt x="502" y="118"/>
                    </a:cubicBezTo>
                    <a:close/>
                    <a:moveTo>
                      <a:pt x="1033" y="129"/>
                    </a:moveTo>
                    <a:cubicBezTo>
                      <a:pt x="1033" y="128"/>
                      <a:pt x="1033" y="127"/>
                      <a:pt x="1032" y="127"/>
                    </a:cubicBezTo>
                    <a:cubicBezTo>
                      <a:pt x="1032" y="127"/>
                      <a:pt x="1032" y="128"/>
                      <a:pt x="1033" y="129"/>
                    </a:cubicBezTo>
                    <a:close/>
                    <a:moveTo>
                      <a:pt x="1094" y="142"/>
                    </a:moveTo>
                    <a:cubicBezTo>
                      <a:pt x="1093" y="143"/>
                      <a:pt x="1093" y="143"/>
                      <a:pt x="1093" y="144"/>
                    </a:cubicBezTo>
                    <a:cubicBezTo>
                      <a:pt x="1094" y="144"/>
                      <a:pt x="1094" y="143"/>
                      <a:pt x="1094" y="142"/>
                    </a:cubicBezTo>
                    <a:close/>
                    <a:moveTo>
                      <a:pt x="1053" y="142"/>
                    </a:moveTo>
                    <a:cubicBezTo>
                      <a:pt x="1053" y="143"/>
                      <a:pt x="1053" y="144"/>
                      <a:pt x="1053" y="144"/>
                    </a:cubicBezTo>
                    <a:cubicBezTo>
                      <a:pt x="1053" y="144"/>
                      <a:pt x="1054" y="143"/>
                      <a:pt x="1053" y="142"/>
                    </a:cubicBezTo>
                    <a:close/>
                    <a:moveTo>
                      <a:pt x="1098" y="127"/>
                    </a:moveTo>
                    <a:cubicBezTo>
                      <a:pt x="1098" y="127"/>
                      <a:pt x="1098" y="128"/>
                      <a:pt x="1098" y="129"/>
                    </a:cubicBezTo>
                    <a:cubicBezTo>
                      <a:pt x="1098" y="128"/>
                      <a:pt x="1098" y="127"/>
                      <a:pt x="1098" y="127"/>
                    </a:cubicBezTo>
                    <a:close/>
                    <a:moveTo>
                      <a:pt x="1083" y="118"/>
                    </a:moveTo>
                    <a:cubicBezTo>
                      <a:pt x="1084" y="118"/>
                      <a:pt x="1084" y="117"/>
                      <a:pt x="1084" y="116"/>
                    </a:cubicBezTo>
                    <a:cubicBezTo>
                      <a:pt x="1083" y="117"/>
                      <a:pt x="1083" y="118"/>
                      <a:pt x="1083" y="118"/>
                    </a:cubicBezTo>
                    <a:close/>
                    <a:moveTo>
                      <a:pt x="1009" y="144"/>
                    </a:moveTo>
                    <a:cubicBezTo>
                      <a:pt x="1009" y="144"/>
                      <a:pt x="1009" y="143"/>
                      <a:pt x="1009" y="142"/>
                    </a:cubicBezTo>
                    <a:cubicBezTo>
                      <a:pt x="1008" y="143"/>
                      <a:pt x="1009" y="144"/>
                      <a:pt x="1009" y="144"/>
                    </a:cubicBezTo>
                    <a:close/>
                    <a:moveTo>
                      <a:pt x="495" y="144"/>
                    </a:moveTo>
                    <a:cubicBezTo>
                      <a:pt x="495" y="144"/>
                      <a:pt x="495" y="143"/>
                      <a:pt x="495" y="142"/>
                    </a:cubicBezTo>
                    <a:cubicBezTo>
                      <a:pt x="495" y="143"/>
                      <a:pt x="495" y="144"/>
                      <a:pt x="495" y="144"/>
                    </a:cubicBezTo>
                    <a:close/>
                    <a:moveTo>
                      <a:pt x="981" y="132"/>
                    </a:moveTo>
                    <a:cubicBezTo>
                      <a:pt x="981" y="133"/>
                      <a:pt x="981" y="133"/>
                      <a:pt x="981" y="134"/>
                    </a:cubicBezTo>
                    <a:cubicBezTo>
                      <a:pt x="981" y="133"/>
                      <a:pt x="982" y="133"/>
                      <a:pt x="981" y="132"/>
                    </a:cubicBezTo>
                    <a:close/>
                    <a:moveTo>
                      <a:pt x="456" y="144"/>
                    </a:moveTo>
                    <a:cubicBezTo>
                      <a:pt x="456" y="143"/>
                      <a:pt x="456" y="143"/>
                      <a:pt x="456" y="142"/>
                    </a:cubicBezTo>
                    <a:cubicBezTo>
                      <a:pt x="456" y="143"/>
                      <a:pt x="456" y="144"/>
                      <a:pt x="456" y="144"/>
                    </a:cubicBezTo>
                    <a:close/>
                    <a:moveTo>
                      <a:pt x="423" y="142"/>
                    </a:moveTo>
                    <a:cubicBezTo>
                      <a:pt x="422" y="143"/>
                      <a:pt x="422" y="143"/>
                      <a:pt x="422" y="144"/>
                    </a:cubicBezTo>
                    <a:cubicBezTo>
                      <a:pt x="423" y="144"/>
                      <a:pt x="423" y="143"/>
                      <a:pt x="423" y="142"/>
                    </a:cubicBezTo>
                    <a:close/>
                    <a:moveTo>
                      <a:pt x="1702" y="96"/>
                    </a:moveTo>
                    <a:cubicBezTo>
                      <a:pt x="1703" y="96"/>
                      <a:pt x="1704" y="96"/>
                      <a:pt x="1704" y="96"/>
                    </a:cubicBezTo>
                    <a:cubicBezTo>
                      <a:pt x="1704" y="96"/>
                      <a:pt x="1703" y="96"/>
                      <a:pt x="1702" y="96"/>
                    </a:cubicBezTo>
                    <a:close/>
                    <a:moveTo>
                      <a:pt x="505" y="174"/>
                    </a:moveTo>
                    <a:cubicBezTo>
                      <a:pt x="505" y="174"/>
                      <a:pt x="505" y="175"/>
                      <a:pt x="505" y="176"/>
                    </a:cubicBezTo>
                    <a:cubicBezTo>
                      <a:pt x="505" y="175"/>
                      <a:pt x="505" y="175"/>
                      <a:pt x="505" y="174"/>
                    </a:cubicBezTo>
                    <a:close/>
                    <a:moveTo>
                      <a:pt x="467" y="117"/>
                    </a:moveTo>
                    <a:cubicBezTo>
                      <a:pt x="467" y="118"/>
                      <a:pt x="467" y="118"/>
                      <a:pt x="468" y="119"/>
                    </a:cubicBezTo>
                    <a:cubicBezTo>
                      <a:pt x="468" y="118"/>
                      <a:pt x="468" y="118"/>
                      <a:pt x="467" y="117"/>
                    </a:cubicBezTo>
                    <a:close/>
                    <a:moveTo>
                      <a:pt x="521" y="117"/>
                    </a:moveTo>
                    <a:cubicBezTo>
                      <a:pt x="521" y="117"/>
                      <a:pt x="521" y="118"/>
                      <a:pt x="521" y="119"/>
                    </a:cubicBezTo>
                    <a:cubicBezTo>
                      <a:pt x="521" y="118"/>
                      <a:pt x="521" y="118"/>
                      <a:pt x="521" y="117"/>
                    </a:cubicBezTo>
                    <a:close/>
                    <a:moveTo>
                      <a:pt x="1594" y="144"/>
                    </a:moveTo>
                    <a:cubicBezTo>
                      <a:pt x="1595" y="143"/>
                      <a:pt x="1595" y="142"/>
                      <a:pt x="1595" y="142"/>
                    </a:cubicBezTo>
                    <a:cubicBezTo>
                      <a:pt x="1594" y="142"/>
                      <a:pt x="1594" y="143"/>
                      <a:pt x="1594" y="144"/>
                    </a:cubicBezTo>
                    <a:close/>
                    <a:moveTo>
                      <a:pt x="1583" y="175"/>
                    </a:moveTo>
                    <a:cubicBezTo>
                      <a:pt x="1583" y="175"/>
                      <a:pt x="1583" y="174"/>
                      <a:pt x="1583" y="174"/>
                    </a:cubicBezTo>
                    <a:cubicBezTo>
                      <a:pt x="1583" y="174"/>
                      <a:pt x="1583" y="175"/>
                      <a:pt x="1583" y="175"/>
                    </a:cubicBezTo>
                    <a:close/>
                    <a:moveTo>
                      <a:pt x="1050" y="132"/>
                    </a:moveTo>
                    <a:cubicBezTo>
                      <a:pt x="1050" y="133"/>
                      <a:pt x="1050" y="133"/>
                      <a:pt x="1051" y="134"/>
                    </a:cubicBezTo>
                    <a:cubicBezTo>
                      <a:pt x="1051" y="133"/>
                      <a:pt x="1051" y="132"/>
                      <a:pt x="1050" y="132"/>
                    </a:cubicBezTo>
                    <a:close/>
                    <a:moveTo>
                      <a:pt x="1729" y="127"/>
                    </a:moveTo>
                    <a:cubicBezTo>
                      <a:pt x="1729" y="128"/>
                      <a:pt x="1729" y="128"/>
                      <a:pt x="1729" y="129"/>
                    </a:cubicBezTo>
                    <a:cubicBezTo>
                      <a:pt x="1729" y="128"/>
                      <a:pt x="1730" y="127"/>
                      <a:pt x="1729" y="127"/>
                    </a:cubicBezTo>
                    <a:close/>
                    <a:moveTo>
                      <a:pt x="971" y="96"/>
                    </a:moveTo>
                    <a:cubicBezTo>
                      <a:pt x="971" y="97"/>
                      <a:pt x="971" y="98"/>
                      <a:pt x="972" y="98"/>
                    </a:cubicBezTo>
                    <a:cubicBezTo>
                      <a:pt x="972" y="98"/>
                      <a:pt x="972" y="97"/>
                      <a:pt x="971" y="96"/>
                    </a:cubicBezTo>
                    <a:close/>
                    <a:moveTo>
                      <a:pt x="1040" y="96"/>
                    </a:moveTo>
                    <a:cubicBezTo>
                      <a:pt x="1040" y="97"/>
                      <a:pt x="1040" y="98"/>
                      <a:pt x="1041" y="98"/>
                    </a:cubicBezTo>
                    <a:cubicBezTo>
                      <a:pt x="1041" y="97"/>
                      <a:pt x="1041" y="97"/>
                      <a:pt x="1040" y="96"/>
                    </a:cubicBezTo>
                    <a:close/>
                    <a:moveTo>
                      <a:pt x="470" y="127"/>
                    </a:moveTo>
                    <a:cubicBezTo>
                      <a:pt x="470" y="128"/>
                      <a:pt x="470" y="129"/>
                      <a:pt x="471" y="129"/>
                    </a:cubicBezTo>
                    <a:cubicBezTo>
                      <a:pt x="471" y="129"/>
                      <a:pt x="471" y="128"/>
                      <a:pt x="470" y="127"/>
                    </a:cubicBezTo>
                    <a:close/>
                    <a:moveTo>
                      <a:pt x="471" y="195"/>
                    </a:moveTo>
                    <a:cubicBezTo>
                      <a:pt x="471" y="195"/>
                      <a:pt x="471" y="194"/>
                      <a:pt x="470" y="193"/>
                    </a:cubicBezTo>
                    <a:cubicBezTo>
                      <a:pt x="470" y="194"/>
                      <a:pt x="470" y="195"/>
                      <a:pt x="471" y="195"/>
                    </a:cubicBezTo>
                    <a:close/>
                    <a:moveTo>
                      <a:pt x="1263" y="96"/>
                    </a:moveTo>
                    <a:cubicBezTo>
                      <a:pt x="1263" y="97"/>
                      <a:pt x="1263" y="98"/>
                      <a:pt x="1264" y="98"/>
                    </a:cubicBezTo>
                    <a:cubicBezTo>
                      <a:pt x="1264" y="98"/>
                      <a:pt x="1264" y="97"/>
                      <a:pt x="1263" y="96"/>
                    </a:cubicBezTo>
                    <a:close/>
                    <a:moveTo>
                      <a:pt x="1046" y="117"/>
                    </a:moveTo>
                    <a:cubicBezTo>
                      <a:pt x="1046" y="118"/>
                      <a:pt x="1046" y="118"/>
                      <a:pt x="1046" y="119"/>
                    </a:cubicBezTo>
                    <a:cubicBezTo>
                      <a:pt x="1046" y="118"/>
                      <a:pt x="1047" y="118"/>
                      <a:pt x="1046" y="117"/>
                    </a:cubicBezTo>
                    <a:close/>
                    <a:moveTo>
                      <a:pt x="1115" y="119"/>
                    </a:moveTo>
                    <a:cubicBezTo>
                      <a:pt x="1116" y="118"/>
                      <a:pt x="1116" y="118"/>
                      <a:pt x="1116" y="117"/>
                    </a:cubicBezTo>
                    <a:cubicBezTo>
                      <a:pt x="1115" y="118"/>
                      <a:pt x="1115" y="118"/>
                      <a:pt x="1115" y="119"/>
                    </a:cubicBezTo>
                    <a:close/>
                    <a:moveTo>
                      <a:pt x="1077" y="144"/>
                    </a:moveTo>
                    <a:cubicBezTo>
                      <a:pt x="1077" y="143"/>
                      <a:pt x="1077" y="143"/>
                      <a:pt x="1077" y="142"/>
                    </a:cubicBezTo>
                    <a:cubicBezTo>
                      <a:pt x="1076" y="142"/>
                      <a:pt x="1077" y="143"/>
                      <a:pt x="1077" y="144"/>
                    </a:cubicBezTo>
                    <a:close/>
                    <a:moveTo>
                      <a:pt x="499" y="129"/>
                    </a:moveTo>
                    <a:cubicBezTo>
                      <a:pt x="499" y="129"/>
                      <a:pt x="499" y="128"/>
                      <a:pt x="499" y="127"/>
                    </a:cubicBezTo>
                    <a:cubicBezTo>
                      <a:pt x="499" y="128"/>
                      <a:pt x="499" y="129"/>
                      <a:pt x="499" y="129"/>
                    </a:cubicBezTo>
                    <a:close/>
                    <a:moveTo>
                      <a:pt x="1347" y="175"/>
                    </a:moveTo>
                    <a:cubicBezTo>
                      <a:pt x="1347" y="175"/>
                      <a:pt x="1346" y="174"/>
                      <a:pt x="1346" y="173"/>
                    </a:cubicBezTo>
                    <a:cubicBezTo>
                      <a:pt x="1346" y="174"/>
                      <a:pt x="1346" y="175"/>
                      <a:pt x="1347" y="175"/>
                    </a:cubicBezTo>
                    <a:close/>
                    <a:moveTo>
                      <a:pt x="1024" y="142"/>
                    </a:moveTo>
                    <a:cubicBezTo>
                      <a:pt x="1023" y="142"/>
                      <a:pt x="1023" y="143"/>
                      <a:pt x="1023" y="144"/>
                    </a:cubicBezTo>
                    <a:cubicBezTo>
                      <a:pt x="1024" y="143"/>
                      <a:pt x="1024" y="142"/>
                      <a:pt x="1024" y="142"/>
                    </a:cubicBezTo>
                    <a:close/>
                    <a:moveTo>
                      <a:pt x="1062" y="173"/>
                    </a:moveTo>
                    <a:cubicBezTo>
                      <a:pt x="1061" y="174"/>
                      <a:pt x="1062" y="175"/>
                      <a:pt x="1062" y="175"/>
                    </a:cubicBezTo>
                    <a:cubicBezTo>
                      <a:pt x="1062" y="175"/>
                      <a:pt x="1062" y="174"/>
                      <a:pt x="1062" y="173"/>
                    </a:cubicBezTo>
                    <a:close/>
                    <a:moveTo>
                      <a:pt x="507" y="99"/>
                    </a:moveTo>
                    <a:cubicBezTo>
                      <a:pt x="507" y="98"/>
                      <a:pt x="508" y="98"/>
                      <a:pt x="507" y="97"/>
                    </a:cubicBezTo>
                    <a:cubicBezTo>
                      <a:pt x="507" y="97"/>
                      <a:pt x="507" y="98"/>
                      <a:pt x="507" y="99"/>
                    </a:cubicBezTo>
                    <a:close/>
                    <a:moveTo>
                      <a:pt x="518" y="127"/>
                    </a:moveTo>
                    <a:cubicBezTo>
                      <a:pt x="518" y="128"/>
                      <a:pt x="518" y="128"/>
                      <a:pt x="518" y="129"/>
                    </a:cubicBezTo>
                    <a:cubicBezTo>
                      <a:pt x="519" y="129"/>
                      <a:pt x="518" y="128"/>
                      <a:pt x="518" y="127"/>
                    </a:cubicBezTo>
                    <a:close/>
                    <a:moveTo>
                      <a:pt x="672" y="129"/>
                    </a:moveTo>
                    <a:cubicBezTo>
                      <a:pt x="672" y="128"/>
                      <a:pt x="672" y="128"/>
                      <a:pt x="671" y="127"/>
                    </a:cubicBezTo>
                    <a:cubicBezTo>
                      <a:pt x="671" y="128"/>
                      <a:pt x="671" y="129"/>
                      <a:pt x="672" y="129"/>
                    </a:cubicBezTo>
                    <a:close/>
                    <a:moveTo>
                      <a:pt x="962" y="129"/>
                    </a:moveTo>
                    <a:cubicBezTo>
                      <a:pt x="962" y="128"/>
                      <a:pt x="962" y="128"/>
                      <a:pt x="961" y="127"/>
                    </a:cubicBezTo>
                    <a:cubicBezTo>
                      <a:pt x="961" y="128"/>
                      <a:pt x="961" y="129"/>
                      <a:pt x="962" y="129"/>
                    </a:cubicBezTo>
                    <a:close/>
                    <a:moveTo>
                      <a:pt x="1013" y="129"/>
                    </a:moveTo>
                    <a:cubicBezTo>
                      <a:pt x="1014" y="129"/>
                      <a:pt x="1014" y="128"/>
                      <a:pt x="1014" y="127"/>
                    </a:cubicBezTo>
                    <a:cubicBezTo>
                      <a:pt x="1013" y="128"/>
                      <a:pt x="1013" y="129"/>
                      <a:pt x="1013" y="129"/>
                    </a:cubicBezTo>
                    <a:close/>
                    <a:moveTo>
                      <a:pt x="976" y="175"/>
                    </a:moveTo>
                    <a:cubicBezTo>
                      <a:pt x="976" y="175"/>
                      <a:pt x="976" y="174"/>
                      <a:pt x="975" y="173"/>
                    </a:cubicBezTo>
                    <a:cubicBezTo>
                      <a:pt x="975" y="174"/>
                      <a:pt x="975" y="175"/>
                      <a:pt x="976" y="175"/>
                    </a:cubicBezTo>
                    <a:close/>
                    <a:moveTo>
                      <a:pt x="1049" y="127"/>
                    </a:moveTo>
                    <a:cubicBezTo>
                      <a:pt x="1049" y="128"/>
                      <a:pt x="1049" y="129"/>
                      <a:pt x="1049" y="129"/>
                    </a:cubicBezTo>
                    <a:cubicBezTo>
                      <a:pt x="1049" y="129"/>
                      <a:pt x="1050" y="128"/>
                      <a:pt x="1049" y="127"/>
                    </a:cubicBezTo>
                    <a:close/>
                    <a:moveTo>
                      <a:pt x="953" y="99"/>
                    </a:moveTo>
                    <a:cubicBezTo>
                      <a:pt x="953" y="98"/>
                      <a:pt x="953" y="97"/>
                      <a:pt x="952" y="97"/>
                    </a:cubicBezTo>
                    <a:cubicBezTo>
                      <a:pt x="952" y="98"/>
                      <a:pt x="952" y="98"/>
                      <a:pt x="953" y="99"/>
                    </a:cubicBezTo>
                    <a:close/>
                    <a:moveTo>
                      <a:pt x="474" y="142"/>
                    </a:moveTo>
                    <a:cubicBezTo>
                      <a:pt x="474" y="143"/>
                      <a:pt x="474" y="143"/>
                      <a:pt x="475" y="144"/>
                    </a:cubicBezTo>
                    <a:cubicBezTo>
                      <a:pt x="475" y="143"/>
                      <a:pt x="475" y="142"/>
                      <a:pt x="474" y="142"/>
                    </a:cubicBezTo>
                    <a:close/>
                    <a:moveTo>
                      <a:pt x="430" y="118"/>
                    </a:moveTo>
                    <a:cubicBezTo>
                      <a:pt x="429" y="118"/>
                      <a:pt x="429" y="119"/>
                      <a:pt x="429" y="119"/>
                    </a:cubicBezTo>
                    <a:cubicBezTo>
                      <a:pt x="430" y="119"/>
                      <a:pt x="430" y="118"/>
                      <a:pt x="430" y="118"/>
                    </a:cubicBezTo>
                    <a:close/>
                    <a:moveTo>
                      <a:pt x="1544" y="143"/>
                    </a:moveTo>
                    <a:cubicBezTo>
                      <a:pt x="1544" y="142"/>
                      <a:pt x="1544" y="142"/>
                      <a:pt x="1544" y="141"/>
                    </a:cubicBezTo>
                    <a:cubicBezTo>
                      <a:pt x="1544" y="142"/>
                      <a:pt x="1543" y="143"/>
                      <a:pt x="1544" y="143"/>
                    </a:cubicBezTo>
                    <a:close/>
                    <a:moveTo>
                      <a:pt x="688" y="118"/>
                    </a:moveTo>
                    <a:cubicBezTo>
                      <a:pt x="688" y="118"/>
                      <a:pt x="688" y="119"/>
                      <a:pt x="689" y="120"/>
                    </a:cubicBezTo>
                    <a:cubicBezTo>
                      <a:pt x="689" y="119"/>
                      <a:pt x="689" y="118"/>
                      <a:pt x="688" y="118"/>
                    </a:cubicBezTo>
                    <a:close/>
                    <a:moveTo>
                      <a:pt x="1081" y="129"/>
                    </a:moveTo>
                    <a:cubicBezTo>
                      <a:pt x="1081" y="129"/>
                      <a:pt x="1081" y="128"/>
                      <a:pt x="1081" y="127"/>
                    </a:cubicBezTo>
                    <a:cubicBezTo>
                      <a:pt x="1080" y="128"/>
                      <a:pt x="1081" y="129"/>
                      <a:pt x="1081" y="129"/>
                    </a:cubicBezTo>
                    <a:close/>
                    <a:moveTo>
                      <a:pt x="1547" y="97"/>
                    </a:moveTo>
                    <a:cubicBezTo>
                      <a:pt x="1547" y="98"/>
                      <a:pt x="1547" y="98"/>
                      <a:pt x="1548" y="99"/>
                    </a:cubicBezTo>
                    <a:cubicBezTo>
                      <a:pt x="1548" y="98"/>
                      <a:pt x="1548" y="97"/>
                      <a:pt x="1547" y="97"/>
                    </a:cubicBezTo>
                    <a:close/>
                    <a:moveTo>
                      <a:pt x="977" y="118"/>
                    </a:moveTo>
                    <a:cubicBezTo>
                      <a:pt x="977" y="118"/>
                      <a:pt x="977" y="119"/>
                      <a:pt x="977" y="119"/>
                    </a:cubicBezTo>
                    <a:cubicBezTo>
                      <a:pt x="977" y="119"/>
                      <a:pt x="978" y="118"/>
                      <a:pt x="977" y="118"/>
                    </a:cubicBezTo>
                    <a:close/>
                    <a:moveTo>
                      <a:pt x="982" y="137"/>
                    </a:moveTo>
                    <a:cubicBezTo>
                      <a:pt x="982" y="137"/>
                      <a:pt x="982" y="138"/>
                      <a:pt x="983" y="138"/>
                    </a:cubicBezTo>
                    <a:cubicBezTo>
                      <a:pt x="983" y="138"/>
                      <a:pt x="983" y="137"/>
                      <a:pt x="982" y="137"/>
                    </a:cubicBezTo>
                    <a:close/>
                    <a:moveTo>
                      <a:pt x="714" y="175"/>
                    </a:moveTo>
                    <a:cubicBezTo>
                      <a:pt x="714" y="175"/>
                      <a:pt x="714" y="174"/>
                      <a:pt x="713" y="173"/>
                    </a:cubicBezTo>
                    <a:cubicBezTo>
                      <a:pt x="713" y="174"/>
                      <a:pt x="713" y="175"/>
                      <a:pt x="714" y="175"/>
                    </a:cubicBezTo>
                    <a:close/>
                    <a:moveTo>
                      <a:pt x="435" y="97"/>
                    </a:moveTo>
                    <a:cubicBezTo>
                      <a:pt x="435" y="98"/>
                      <a:pt x="435" y="98"/>
                      <a:pt x="435" y="99"/>
                    </a:cubicBezTo>
                    <a:cubicBezTo>
                      <a:pt x="436" y="99"/>
                      <a:pt x="435" y="98"/>
                      <a:pt x="435" y="97"/>
                    </a:cubicBezTo>
                    <a:close/>
                    <a:moveTo>
                      <a:pt x="444" y="99"/>
                    </a:moveTo>
                    <a:cubicBezTo>
                      <a:pt x="444" y="99"/>
                      <a:pt x="444" y="98"/>
                      <a:pt x="443" y="97"/>
                    </a:cubicBezTo>
                    <a:cubicBezTo>
                      <a:pt x="443" y="98"/>
                      <a:pt x="443" y="99"/>
                      <a:pt x="444" y="99"/>
                    </a:cubicBezTo>
                    <a:close/>
                    <a:moveTo>
                      <a:pt x="483" y="174"/>
                    </a:moveTo>
                    <a:cubicBezTo>
                      <a:pt x="483" y="174"/>
                      <a:pt x="483" y="175"/>
                      <a:pt x="483" y="175"/>
                    </a:cubicBezTo>
                    <a:cubicBezTo>
                      <a:pt x="483" y="175"/>
                      <a:pt x="483" y="174"/>
                      <a:pt x="483" y="174"/>
                    </a:cubicBezTo>
                    <a:close/>
                    <a:moveTo>
                      <a:pt x="1637" y="175"/>
                    </a:moveTo>
                    <a:cubicBezTo>
                      <a:pt x="1637" y="174"/>
                      <a:pt x="1637" y="173"/>
                      <a:pt x="1636" y="173"/>
                    </a:cubicBezTo>
                    <a:cubicBezTo>
                      <a:pt x="1636" y="173"/>
                      <a:pt x="1636" y="174"/>
                      <a:pt x="1637" y="175"/>
                    </a:cubicBezTo>
                    <a:close/>
                    <a:moveTo>
                      <a:pt x="1022" y="99"/>
                    </a:moveTo>
                    <a:cubicBezTo>
                      <a:pt x="1023" y="99"/>
                      <a:pt x="1023" y="98"/>
                      <a:pt x="1023" y="97"/>
                    </a:cubicBezTo>
                    <a:cubicBezTo>
                      <a:pt x="1022" y="98"/>
                      <a:pt x="1022" y="99"/>
                      <a:pt x="1022" y="99"/>
                    </a:cubicBezTo>
                    <a:close/>
                    <a:moveTo>
                      <a:pt x="1089" y="99"/>
                    </a:moveTo>
                    <a:cubicBezTo>
                      <a:pt x="1089" y="99"/>
                      <a:pt x="1089" y="98"/>
                      <a:pt x="1089" y="97"/>
                    </a:cubicBezTo>
                    <a:cubicBezTo>
                      <a:pt x="1088" y="98"/>
                      <a:pt x="1089" y="99"/>
                      <a:pt x="1089" y="99"/>
                    </a:cubicBezTo>
                    <a:close/>
                    <a:moveTo>
                      <a:pt x="1560" y="135"/>
                    </a:moveTo>
                    <a:cubicBezTo>
                      <a:pt x="1560" y="136"/>
                      <a:pt x="1560" y="136"/>
                      <a:pt x="1561" y="137"/>
                    </a:cubicBezTo>
                    <a:cubicBezTo>
                      <a:pt x="1561" y="136"/>
                      <a:pt x="1561" y="135"/>
                      <a:pt x="1560" y="135"/>
                    </a:cubicBezTo>
                    <a:close/>
                    <a:moveTo>
                      <a:pt x="487" y="175"/>
                    </a:moveTo>
                    <a:cubicBezTo>
                      <a:pt x="487" y="174"/>
                      <a:pt x="487" y="174"/>
                      <a:pt x="487" y="173"/>
                    </a:cubicBezTo>
                    <a:cubicBezTo>
                      <a:pt x="487" y="173"/>
                      <a:pt x="487" y="174"/>
                      <a:pt x="487" y="175"/>
                    </a:cubicBezTo>
                    <a:close/>
                    <a:moveTo>
                      <a:pt x="1037" y="142"/>
                    </a:moveTo>
                    <a:cubicBezTo>
                      <a:pt x="1037" y="142"/>
                      <a:pt x="1037" y="141"/>
                      <a:pt x="1036" y="141"/>
                    </a:cubicBezTo>
                    <a:cubicBezTo>
                      <a:pt x="1036" y="141"/>
                      <a:pt x="1036" y="142"/>
                      <a:pt x="1037" y="142"/>
                    </a:cubicBezTo>
                    <a:close/>
                    <a:moveTo>
                      <a:pt x="1009" y="142"/>
                    </a:moveTo>
                    <a:cubicBezTo>
                      <a:pt x="1010" y="142"/>
                      <a:pt x="1010" y="141"/>
                      <a:pt x="1010" y="141"/>
                    </a:cubicBezTo>
                    <a:cubicBezTo>
                      <a:pt x="1009" y="141"/>
                      <a:pt x="1009" y="142"/>
                      <a:pt x="1009" y="142"/>
                    </a:cubicBezTo>
                    <a:close/>
                    <a:moveTo>
                      <a:pt x="465" y="175"/>
                    </a:moveTo>
                    <a:cubicBezTo>
                      <a:pt x="465" y="174"/>
                      <a:pt x="465" y="173"/>
                      <a:pt x="464" y="173"/>
                    </a:cubicBezTo>
                    <a:cubicBezTo>
                      <a:pt x="464" y="174"/>
                      <a:pt x="464" y="174"/>
                      <a:pt x="465" y="175"/>
                    </a:cubicBezTo>
                    <a:close/>
                    <a:moveTo>
                      <a:pt x="1615" y="134"/>
                    </a:moveTo>
                    <a:cubicBezTo>
                      <a:pt x="1615" y="135"/>
                      <a:pt x="1615" y="135"/>
                      <a:pt x="1615" y="136"/>
                    </a:cubicBezTo>
                    <a:cubicBezTo>
                      <a:pt x="1616" y="136"/>
                      <a:pt x="1615" y="135"/>
                      <a:pt x="1615" y="134"/>
                    </a:cubicBezTo>
                    <a:close/>
                    <a:moveTo>
                      <a:pt x="462" y="98"/>
                    </a:moveTo>
                    <a:cubicBezTo>
                      <a:pt x="462" y="99"/>
                      <a:pt x="462" y="99"/>
                      <a:pt x="463" y="100"/>
                    </a:cubicBezTo>
                    <a:cubicBezTo>
                      <a:pt x="463" y="99"/>
                      <a:pt x="463" y="98"/>
                      <a:pt x="462" y="98"/>
                    </a:cubicBezTo>
                    <a:close/>
                    <a:moveTo>
                      <a:pt x="414" y="173"/>
                    </a:moveTo>
                    <a:cubicBezTo>
                      <a:pt x="414" y="173"/>
                      <a:pt x="414" y="174"/>
                      <a:pt x="414" y="175"/>
                    </a:cubicBezTo>
                    <a:cubicBezTo>
                      <a:pt x="414" y="174"/>
                      <a:pt x="414" y="173"/>
                      <a:pt x="414" y="173"/>
                    </a:cubicBezTo>
                    <a:close/>
                    <a:moveTo>
                      <a:pt x="373" y="175"/>
                    </a:moveTo>
                    <a:cubicBezTo>
                      <a:pt x="373" y="174"/>
                      <a:pt x="373" y="173"/>
                      <a:pt x="373" y="173"/>
                    </a:cubicBezTo>
                    <a:cubicBezTo>
                      <a:pt x="373" y="173"/>
                      <a:pt x="373" y="174"/>
                      <a:pt x="373" y="175"/>
                    </a:cubicBezTo>
                    <a:close/>
                    <a:moveTo>
                      <a:pt x="1164" y="174"/>
                    </a:moveTo>
                    <a:cubicBezTo>
                      <a:pt x="1164" y="173"/>
                      <a:pt x="1163" y="173"/>
                      <a:pt x="1163" y="172"/>
                    </a:cubicBezTo>
                    <a:cubicBezTo>
                      <a:pt x="1163" y="173"/>
                      <a:pt x="1163" y="174"/>
                      <a:pt x="1164" y="174"/>
                    </a:cubicBezTo>
                    <a:close/>
                    <a:moveTo>
                      <a:pt x="1539" y="129"/>
                    </a:moveTo>
                    <a:cubicBezTo>
                      <a:pt x="1539" y="128"/>
                      <a:pt x="1539" y="128"/>
                      <a:pt x="1538" y="127"/>
                    </a:cubicBezTo>
                    <a:cubicBezTo>
                      <a:pt x="1538" y="128"/>
                      <a:pt x="1538" y="129"/>
                      <a:pt x="1539" y="129"/>
                    </a:cubicBezTo>
                    <a:close/>
                    <a:moveTo>
                      <a:pt x="1541" y="134"/>
                    </a:moveTo>
                    <a:cubicBezTo>
                      <a:pt x="1541" y="133"/>
                      <a:pt x="1541" y="132"/>
                      <a:pt x="1540" y="132"/>
                    </a:cubicBezTo>
                    <a:cubicBezTo>
                      <a:pt x="1540" y="133"/>
                      <a:pt x="1540" y="133"/>
                      <a:pt x="1541" y="134"/>
                    </a:cubicBezTo>
                    <a:close/>
                    <a:moveTo>
                      <a:pt x="1107" y="98"/>
                    </a:moveTo>
                    <a:cubicBezTo>
                      <a:pt x="1106" y="99"/>
                      <a:pt x="1106" y="99"/>
                      <a:pt x="1106" y="100"/>
                    </a:cubicBezTo>
                    <a:cubicBezTo>
                      <a:pt x="1107" y="99"/>
                      <a:pt x="1107" y="99"/>
                      <a:pt x="1107" y="98"/>
                    </a:cubicBezTo>
                    <a:close/>
                    <a:moveTo>
                      <a:pt x="983" y="141"/>
                    </a:moveTo>
                    <a:cubicBezTo>
                      <a:pt x="983" y="141"/>
                      <a:pt x="983" y="142"/>
                      <a:pt x="984" y="143"/>
                    </a:cubicBezTo>
                    <a:cubicBezTo>
                      <a:pt x="984" y="142"/>
                      <a:pt x="984" y="141"/>
                      <a:pt x="983" y="141"/>
                    </a:cubicBezTo>
                    <a:close/>
                    <a:moveTo>
                      <a:pt x="1613" y="140"/>
                    </a:moveTo>
                    <a:cubicBezTo>
                      <a:pt x="1613" y="141"/>
                      <a:pt x="1613" y="141"/>
                      <a:pt x="1613" y="142"/>
                    </a:cubicBezTo>
                    <a:cubicBezTo>
                      <a:pt x="1613" y="141"/>
                      <a:pt x="1613" y="141"/>
                      <a:pt x="1613" y="140"/>
                    </a:cubicBezTo>
                    <a:close/>
                    <a:moveTo>
                      <a:pt x="1077" y="142"/>
                    </a:moveTo>
                    <a:cubicBezTo>
                      <a:pt x="1078" y="141"/>
                      <a:pt x="1078" y="141"/>
                      <a:pt x="1078" y="140"/>
                    </a:cubicBezTo>
                    <a:cubicBezTo>
                      <a:pt x="1077" y="141"/>
                      <a:pt x="1077" y="141"/>
                      <a:pt x="1077" y="142"/>
                    </a:cubicBezTo>
                    <a:close/>
                    <a:moveTo>
                      <a:pt x="1603" y="120"/>
                    </a:moveTo>
                    <a:cubicBezTo>
                      <a:pt x="1603" y="119"/>
                      <a:pt x="1603" y="119"/>
                      <a:pt x="1603" y="118"/>
                    </a:cubicBezTo>
                    <a:cubicBezTo>
                      <a:pt x="1603" y="119"/>
                      <a:pt x="1603" y="119"/>
                      <a:pt x="1603" y="120"/>
                    </a:cubicBezTo>
                    <a:close/>
                    <a:moveTo>
                      <a:pt x="427" y="128"/>
                    </a:moveTo>
                    <a:cubicBezTo>
                      <a:pt x="426" y="128"/>
                      <a:pt x="426" y="129"/>
                      <a:pt x="426" y="130"/>
                    </a:cubicBezTo>
                    <a:cubicBezTo>
                      <a:pt x="427" y="129"/>
                      <a:pt x="427" y="129"/>
                      <a:pt x="427" y="128"/>
                    </a:cubicBezTo>
                    <a:close/>
                    <a:moveTo>
                      <a:pt x="1052" y="140"/>
                    </a:moveTo>
                    <a:cubicBezTo>
                      <a:pt x="1052" y="141"/>
                      <a:pt x="1052" y="141"/>
                      <a:pt x="1053" y="142"/>
                    </a:cubicBezTo>
                    <a:cubicBezTo>
                      <a:pt x="1053" y="141"/>
                      <a:pt x="1053" y="141"/>
                      <a:pt x="1052" y="140"/>
                    </a:cubicBezTo>
                    <a:close/>
                    <a:moveTo>
                      <a:pt x="468" y="119"/>
                    </a:moveTo>
                    <a:cubicBezTo>
                      <a:pt x="468" y="119"/>
                      <a:pt x="468" y="120"/>
                      <a:pt x="468" y="121"/>
                    </a:cubicBezTo>
                    <a:cubicBezTo>
                      <a:pt x="468" y="120"/>
                      <a:pt x="468" y="119"/>
                      <a:pt x="468" y="119"/>
                    </a:cubicBezTo>
                    <a:close/>
                    <a:moveTo>
                      <a:pt x="999" y="174"/>
                    </a:moveTo>
                    <a:cubicBezTo>
                      <a:pt x="1000" y="174"/>
                      <a:pt x="1000" y="173"/>
                      <a:pt x="1000" y="172"/>
                    </a:cubicBezTo>
                    <a:cubicBezTo>
                      <a:pt x="999" y="173"/>
                      <a:pt x="999" y="174"/>
                      <a:pt x="999" y="174"/>
                    </a:cubicBezTo>
                    <a:close/>
                    <a:moveTo>
                      <a:pt x="526" y="99"/>
                    </a:moveTo>
                    <a:cubicBezTo>
                      <a:pt x="526" y="99"/>
                      <a:pt x="526" y="100"/>
                      <a:pt x="526" y="100"/>
                    </a:cubicBezTo>
                    <a:cubicBezTo>
                      <a:pt x="527" y="100"/>
                      <a:pt x="526" y="99"/>
                      <a:pt x="526" y="99"/>
                    </a:cubicBezTo>
                    <a:close/>
                    <a:moveTo>
                      <a:pt x="501" y="121"/>
                    </a:moveTo>
                    <a:cubicBezTo>
                      <a:pt x="502" y="120"/>
                      <a:pt x="502" y="119"/>
                      <a:pt x="502" y="119"/>
                    </a:cubicBezTo>
                    <a:cubicBezTo>
                      <a:pt x="501" y="119"/>
                      <a:pt x="501" y="120"/>
                      <a:pt x="501" y="121"/>
                    </a:cubicBezTo>
                    <a:close/>
                    <a:moveTo>
                      <a:pt x="1025" y="140"/>
                    </a:moveTo>
                    <a:cubicBezTo>
                      <a:pt x="1024" y="140"/>
                      <a:pt x="1024" y="141"/>
                      <a:pt x="1024" y="142"/>
                    </a:cubicBezTo>
                    <a:cubicBezTo>
                      <a:pt x="1025" y="141"/>
                      <a:pt x="1025" y="141"/>
                      <a:pt x="1025" y="140"/>
                    </a:cubicBezTo>
                    <a:close/>
                    <a:moveTo>
                      <a:pt x="452" y="130"/>
                    </a:moveTo>
                    <a:cubicBezTo>
                      <a:pt x="452" y="129"/>
                      <a:pt x="452" y="128"/>
                      <a:pt x="452" y="128"/>
                    </a:cubicBezTo>
                    <a:cubicBezTo>
                      <a:pt x="452" y="129"/>
                      <a:pt x="452" y="129"/>
                      <a:pt x="452" y="130"/>
                    </a:cubicBezTo>
                    <a:close/>
                    <a:moveTo>
                      <a:pt x="992" y="172"/>
                    </a:moveTo>
                    <a:cubicBezTo>
                      <a:pt x="992" y="173"/>
                      <a:pt x="992" y="174"/>
                      <a:pt x="992" y="174"/>
                    </a:cubicBezTo>
                    <a:cubicBezTo>
                      <a:pt x="992" y="173"/>
                      <a:pt x="993" y="173"/>
                      <a:pt x="992" y="172"/>
                    </a:cubicBezTo>
                    <a:close/>
                    <a:moveTo>
                      <a:pt x="839" y="174"/>
                    </a:moveTo>
                    <a:cubicBezTo>
                      <a:pt x="839" y="173"/>
                      <a:pt x="839" y="173"/>
                      <a:pt x="839" y="172"/>
                    </a:cubicBezTo>
                    <a:cubicBezTo>
                      <a:pt x="839" y="173"/>
                      <a:pt x="839" y="174"/>
                      <a:pt x="839" y="174"/>
                    </a:cubicBezTo>
                    <a:close/>
                    <a:moveTo>
                      <a:pt x="838" y="134"/>
                    </a:moveTo>
                    <a:cubicBezTo>
                      <a:pt x="839" y="134"/>
                      <a:pt x="839" y="133"/>
                      <a:pt x="839" y="133"/>
                    </a:cubicBezTo>
                    <a:cubicBezTo>
                      <a:pt x="838" y="133"/>
                      <a:pt x="838" y="134"/>
                      <a:pt x="838" y="134"/>
                    </a:cubicBezTo>
                    <a:close/>
                    <a:moveTo>
                      <a:pt x="972" y="99"/>
                    </a:moveTo>
                    <a:cubicBezTo>
                      <a:pt x="972" y="99"/>
                      <a:pt x="972" y="100"/>
                      <a:pt x="972" y="100"/>
                    </a:cubicBezTo>
                    <a:cubicBezTo>
                      <a:pt x="972" y="100"/>
                      <a:pt x="972" y="99"/>
                      <a:pt x="972" y="99"/>
                    </a:cubicBezTo>
                    <a:close/>
                    <a:moveTo>
                      <a:pt x="1041" y="99"/>
                    </a:moveTo>
                    <a:cubicBezTo>
                      <a:pt x="1041" y="99"/>
                      <a:pt x="1041" y="100"/>
                      <a:pt x="1041" y="100"/>
                    </a:cubicBezTo>
                    <a:cubicBezTo>
                      <a:pt x="1041" y="100"/>
                      <a:pt x="1041" y="99"/>
                      <a:pt x="1041" y="99"/>
                    </a:cubicBezTo>
                    <a:close/>
                    <a:moveTo>
                      <a:pt x="1655" y="172"/>
                    </a:moveTo>
                    <a:cubicBezTo>
                      <a:pt x="1655" y="172"/>
                      <a:pt x="1655" y="173"/>
                      <a:pt x="1656" y="173"/>
                    </a:cubicBezTo>
                    <a:cubicBezTo>
                      <a:pt x="1656" y="173"/>
                      <a:pt x="1656" y="172"/>
                      <a:pt x="1655" y="172"/>
                    </a:cubicBezTo>
                    <a:close/>
                    <a:moveTo>
                      <a:pt x="1083" y="121"/>
                    </a:moveTo>
                    <a:cubicBezTo>
                      <a:pt x="1083" y="120"/>
                      <a:pt x="1083" y="119"/>
                      <a:pt x="1083" y="119"/>
                    </a:cubicBezTo>
                    <a:cubicBezTo>
                      <a:pt x="1083" y="119"/>
                      <a:pt x="1083" y="120"/>
                      <a:pt x="1083" y="121"/>
                    </a:cubicBezTo>
                    <a:close/>
                    <a:moveTo>
                      <a:pt x="495" y="142"/>
                    </a:moveTo>
                    <a:cubicBezTo>
                      <a:pt x="496" y="141"/>
                      <a:pt x="496" y="141"/>
                      <a:pt x="496" y="140"/>
                    </a:cubicBezTo>
                    <a:cubicBezTo>
                      <a:pt x="495" y="141"/>
                      <a:pt x="495" y="141"/>
                      <a:pt x="495" y="142"/>
                    </a:cubicBezTo>
                    <a:close/>
                    <a:moveTo>
                      <a:pt x="1068" y="174"/>
                    </a:moveTo>
                    <a:cubicBezTo>
                      <a:pt x="1069" y="173"/>
                      <a:pt x="1069" y="172"/>
                      <a:pt x="1069" y="172"/>
                    </a:cubicBezTo>
                    <a:cubicBezTo>
                      <a:pt x="1068" y="172"/>
                      <a:pt x="1068" y="173"/>
                      <a:pt x="1068" y="174"/>
                    </a:cubicBezTo>
                    <a:close/>
                    <a:moveTo>
                      <a:pt x="482" y="172"/>
                    </a:moveTo>
                    <a:cubicBezTo>
                      <a:pt x="482" y="172"/>
                      <a:pt x="482" y="173"/>
                      <a:pt x="483" y="174"/>
                    </a:cubicBezTo>
                    <a:cubicBezTo>
                      <a:pt x="483" y="173"/>
                      <a:pt x="483" y="172"/>
                      <a:pt x="482" y="172"/>
                    </a:cubicBezTo>
                    <a:close/>
                    <a:moveTo>
                      <a:pt x="714" y="130"/>
                    </a:moveTo>
                    <a:cubicBezTo>
                      <a:pt x="715" y="129"/>
                      <a:pt x="715" y="129"/>
                      <a:pt x="715" y="128"/>
                    </a:cubicBezTo>
                    <a:cubicBezTo>
                      <a:pt x="714" y="128"/>
                      <a:pt x="714" y="129"/>
                      <a:pt x="714" y="130"/>
                    </a:cubicBezTo>
                    <a:close/>
                    <a:moveTo>
                      <a:pt x="1548" y="99"/>
                    </a:moveTo>
                    <a:cubicBezTo>
                      <a:pt x="1547" y="99"/>
                      <a:pt x="1548" y="100"/>
                      <a:pt x="1548" y="100"/>
                    </a:cubicBezTo>
                    <a:cubicBezTo>
                      <a:pt x="1548" y="100"/>
                      <a:pt x="1548" y="99"/>
                      <a:pt x="1548" y="99"/>
                    </a:cubicBezTo>
                    <a:close/>
                    <a:moveTo>
                      <a:pt x="474" y="140"/>
                    </a:moveTo>
                    <a:cubicBezTo>
                      <a:pt x="473" y="141"/>
                      <a:pt x="474" y="141"/>
                      <a:pt x="474" y="142"/>
                    </a:cubicBezTo>
                    <a:cubicBezTo>
                      <a:pt x="474" y="141"/>
                      <a:pt x="474" y="141"/>
                      <a:pt x="474" y="140"/>
                    </a:cubicBezTo>
                    <a:close/>
                    <a:moveTo>
                      <a:pt x="943" y="128"/>
                    </a:moveTo>
                    <a:cubicBezTo>
                      <a:pt x="943" y="129"/>
                      <a:pt x="943" y="129"/>
                      <a:pt x="943" y="130"/>
                    </a:cubicBezTo>
                    <a:cubicBezTo>
                      <a:pt x="943" y="129"/>
                      <a:pt x="944" y="128"/>
                      <a:pt x="943" y="128"/>
                    </a:cubicBezTo>
                    <a:close/>
                    <a:moveTo>
                      <a:pt x="423" y="140"/>
                    </a:moveTo>
                    <a:cubicBezTo>
                      <a:pt x="423" y="140"/>
                      <a:pt x="423" y="141"/>
                      <a:pt x="423" y="142"/>
                    </a:cubicBezTo>
                    <a:cubicBezTo>
                      <a:pt x="424" y="141"/>
                      <a:pt x="423" y="141"/>
                      <a:pt x="423" y="140"/>
                    </a:cubicBezTo>
                    <a:close/>
                    <a:moveTo>
                      <a:pt x="980" y="128"/>
                    </a:moveTo>
                    <a:cubicBezTo>
                      <a:pt x="980" y="129"/>
                      <a:pt x="980" y="129"/>
                      <a:pt x="980" y="130"/>
                    </a:cubicBezTo>
                    <a:cubicBezTo>
                      <a:pt x="980" y="129"/>
                      <a:pt x="980" y="128"/>
                      <a:pt x="980" y="128"/>
                    </a:cubicBezTo>
                    <a:close/>
                    <a:moveTo>
                      <a:pt x="435" y="99"/>
                    </a:moveTo>
                    <a:cubicBezTo>
                      <a:pt x="434" y="100"/>
                      <a:pt x="434" y="100"/>
                      <a:pt x="434" y="101"/>
                    </a:cubicBezTo>
                    <a:cubicBezTo>
                      <a:pt x="435" y="100"/>
                      <a:pt x="435" y="100"/>
                      <a:pt x="435" y="99"/>
                    </a:cubicBezTo>
                    <a:close/>
                    <a:moveTo>
                      <a:pt x="506" y="101"/>
                    </a:moveTo>
                    <a:cubicBezTo>
                      <a:pt x="507" y="100"/>
                      <a:pt x="507" y="100"/>
                      <a:pt x="507" y="99"/>
                    </a:cubicBezTo>
                    <a:cubicBezTo>
                      <a:pt x="506" y="100"/>
                      <a:pt x="506" y="100"/>
                      <a:pt x="506" y="101"/>
                    </a:cubicBezTo>
                    <a:close/>
                    <a:moveTo>
                      <a:pt x="1134" y="128"/>
                    </a:moveTo>
                    <a:cubicBezTo>
                      <a:pt x="1133" y="129"/>
                      <a:pt x="1133" y="129"/>
                      <a:pt x="1134" y="130"/>
                    </a:cubicBezTo>
                    <a:cubicBezTo>
                      <a:pt x="1134" y="129"/>
                      <a:pt x="1134" y="128"/>
                      <a:pt x="1134" y="128"/>
                    </a:cubicBezTo>
                    <a:close/>
                    <a:moveTo>
                      <a:pt x="1085" y="171"/>
                    </a:moveTo>
                    <a:cubicBezTo>
                      <a:pt x="1085" y="172"/>
                      <a:pt x="1084" y="172"/>
                      <a:pt x="1085" y="173"/>
                    </a:cubicBezTo>
                    <a:cubicBezTo>
                      <a:pt x="1085" y="172"/>
                      <a:pt x="1085" y="172"/>
                      <a:pt x="1085" y="171"/>
                    </a:cubicBezTo>
                    <a:close/>
                    <a:moveTo>
                      <a:pt x="1061" y="171"/>
                    </a:moveTo>
                    <a:cubicBezTo>
                      <a:pt x="1061" y="172"/>
                      <a:pt x="1061" y="173"/>
                      <a:pt x="1061" y="173"/>
                    </a:cubicBezTo>
                    <a:cubicBezTo>
                      <a:pt x="1061" y="172"/>
                      <a:pt x="1062" y="172"/>
                      <a:pt x="1061" y="171"/>
                    </a:cubicBezTo>
                    <a:close/>
                    <a:moveTo>
                      <a:pt x="1015" y="171"/>
                    </a:moveTo>
                    <a:cubicBezTo>
                      <a:pt x="1014" y="172"/>
                      <a:pt x="1014" y="172"/>
                      <a:pt x="1014" y="173"/>
                    </a:cubicBezTo>
                    <a:cubicBezTo>
                      <a:pt x="1015" y="172"/>
                      <a:pt x="1015" y="172"/>
                      <a:pt x="1015" y="171"/>
                    </a:cubicBezTo>
                    <a:close/>
                    <a:moveTo>
                      <a:pt x="944" y="133"/>
                    </a:moveTo>
                    <a:cubicBezTo>
                      <a:pt x="944" y="133"/>
                      <a:pt x="944" y="134"/>
                      <a:pt x="945" y="135"/>
                    </a:cubicBezTo>
                    <a:cubicBezTo>
                      <a:pt x="945" y="134"/>
                      <a:pt x="945" y="133"/>
                      <a:pt x="944" y="133"/>
                    </a:cubicBezTo>
                    <a:close/>
                    <a:moveTo>
                      <a:pt x="1022" y="101"/>
                    </a:moveTo>
                    <a:cubicBezTo>
                      <a:pt x="1022" y="100"/>
                      <a:pt x="1022" y="100"/>
                      <a:pt x="1022" y="99"/>
                    </a:cubicBezTo>
                    <a:cubicBezTo>
                      <a:pt x="1022" y="100"/>
                      <a:pt x="1022" y="100"/>
                      <a:pt x="1022" y="101"/>
                    </a:cubicBezTo>
                    <a:close/>
                    <a:moveTo>
                      <a:pt x="1051" y="136"/>
                    </a:moveTo>
                    <a:cubicBezTo>
                      <a:pt x="1051" y="137"/>
                      <a:pt x="1051" y="137"/>
                      <a:pt x="1052" y="138"/>
                    </a:cubicBezTo>
                    <a:cubicBezTo>
                      <a:pt x="1052" y="137"/>
                      <a:pt x="1052" y="137"/>
                      <a:pt x="1051" y="136"/>
                    </a:cubicBezTo>
                    <a:close/>
                    <a:moveTo>
                      <a:pt x="1244" y="101"/>
                    </a:moveTo>
                    <a:cubicBezTo>
                      <a:pt x="1244" y="100"/>
                      <a:pt x="1244" y="100"/>
                      <a:pt x="1244" y="99"/>
                    </a:cubicBezTo>
                    <a:cubicBezTo>
                      <a:pt x="1243" y="100"/>
                      <a:pt x="1243" y="100"/>
                      <a:pt x="1244" y="101"/>
                    </a:cubicBezTo>
                    <a:close/>
                    <a:moveTo>
                      <a:pt x="1027" y="133"/>
                    </a:moveTo>
                    <a:cubicBezTo>
                      <a:pt x="1026" y="133"/>
                      <a:pt x="1026" y="134"/>
                      <a:pt x="1026" y="134"/>
                    </a:cubicBezTo>
                    <a:cubicBezTo>
                      <a:pt x="1027" y="134"/>
                      <a:pt x="1027" y="133"/>
                      <a:pt x="1027" y="133"/>
                    </a:cubicBezTo>
                    <a:close/>
                    <a:moveTo>
                      <a:pt x="713" y="173"/>
                    </a:moveTo>
                    <a:cubicBezTo>
                      <a:pt x="713" y="172"/>
                      <a:pt x="713" y="172"/>
                      <a:pt x="713" y="171"/>
                    </a:cubicBezTo>
                    <a:cubicBezTo>
                      <a:pt x="713" y="172"/>
                      <a:pt x="712" y="172"/>
                      <a:pt x="713" y="173"/>
                    </a:cubicBezTo>
                    <a:close/>
                    <a:moveTo>
                      <a:pt x="464" y="173"/>
                    </a:moveTo>
                    <a:cubicBezTo>
                      <a:pt x="464" y="172"/>
                      <a:pt x="464" y="172"/>
                      <a:pt x="464" y="171"/>
                    </a:cubicBezTo>
                    <a:cubicBezTo>
                      <a:pt x="464" y="172"/>
                      <a:pt x="464" y="172"/>
                      <a:pt x="464" y="173"/>
                    </a:cubicBezTo>
                    <a:close/>
                    <a:moveTo>
                      <a:pt x="1636" y="172"/>
                    </a:moveTo>
                    <a:cubicBezTo>
                      <a:pt x="1636" y="172"/>
                      <a:pt x="1636" y="171"/>
                      <a:pt x="1636" y="171"/>
                    </a:cubicBezTo>
                    <a:cubicBezTo>
                      <a:pt x="1636" y="171"/>
                      <a:pt x="1636" y="172"/>
                      <a:pt x="1636" y="172"/>
                    </a:cubicBezTo>
                    <a:close/>
                    <a:moveTo>
                      <a:pt x="1045" y="172"/>
                    </a:moveTo>
                    <a:cubicBezTo>
                      <a:pt x="1045" y="172"/>
                      <a:pt x="1045" y="171"/>
                      <a:pt x="1045" y="171"/>
                    </a:cubicBezTo>
                    <a:cubicBezTo>
                      <a:pt x="1045" y="171"/>
                      <a:pt x="1045" y="172"/>
                      <a:pt x="1045" y="172"/>
                    </a:cubicBezTo>
                    <a:close/>
                    <a:moveTo>
                      <a:pt x="1000" y="172"/>
                    </a:moveTo>
                    <a:cubicBezTo>
                      <a:pt x="1000" y="172"/>
                      <a:pt x="1000" y="171"/>
                      <a:pt x="1000" y="171"/>
                    </a:cubicBezTo>
                    <a:cubicBezTo>
                      <a:pt x="1000" y="171"/>
                      <a:pt x="1000" y="172"/>
                      <a:pt x="1000" y="172"/>
                    </a:cubicBezTo>
                    <a:close/>
                    <a:moveTo>
                      <a:pt x="1034" y="134"/>
                    </a:moveTo>
                    <a:cubicBezTo>
                      <a:pt x="1034" y="134"/>
                      <a:pt x="1034" y="133"/>
                      <a:pt x="1034" y="133"/>
                    </a:cubicBezTo>
                    <a:cubicBezTo>
                      <a:pt x="1034" y="133"/>
                      <a:pt x="1034" y="134"/>
                      <a:pt x="1034" y="134"/>
                    </a:cubicBezTo>
                    <a:close/>
                    <a:moveTo>
                      <a:pt x="463" y="100"/>
                    </a:moveTo>
                    <a:cubicBezTo>
                      <a:pt x="463" y="100"/>
                      <a:pt x="463" y="101"/>
                      <a:pt x="463" y="102"/>
                    </a:cubicBezTo>
                    <a:cubicBezTo>
                      <a:pt x="463" y="101"/>
                      <a:pt x="463" y="100"/>
                      <a:pt x="463" y="100"/>
                    </a:cubicBezTo>
                    <a:close/>
                    <a:moveTo>
                      <a:pt x="839" y="172"/>
                    </a:moveTo>
                    <a:cubicBezTo>
                      <a:pt x="839" y="172"/>
                      <a:pt x="839" y="171"/>
                      <a:pt x="838" y="170"/>
                    </a:cubicBezTo>
                    <a:cubicBezTo>
                      <a:pt x="838" y="171"/>
                      <a:pt x="838" y="172"/>
                      <a:pt x="839" y="172"/>
                    </a:cubicBezTo>
                    <a:close/>
                    <a:moveTo>
                      <a:pt x="487" y="172"/>
                    </a:moveTo>
                    <a:cubicBezTo>
                      <a:pt x="488" y="172"/>
                      <a:pt x="488" y="171"/>
                      <a:pt x="488" y="171"/>
                    </a:cubicBezTo>
                    <a:cubicBezTo>
                      <a:pt x="487" y="171"/>
                      <a:pt x="487" y="172"/>
                      <a:pt x="487" y="172"/>
                    </a:cubicBezTo>
                    <a:close/>
                    <a:moveTo>
                      <a:pt x="415" y="171"/>
                    </a:moveTo>
                    <a:cubicBezTo>
                      <a:pt x="414" y="171"/>
                      <a:pt x="414" y="172"/>
                      <a:pt x="414" y="172"/>
                    </a:cubicBezTo>
                    <a:cubicBezTo>
                      <a:pt x="415" y="172"/>
                      <a:pt x="415" y="171"/>
                      <a:pt x="415" y="171"/>
                    </a:cubicBezTo>
                    <a:close/>
                    <a:moveTo>
                      <a:pt x="1655" y="170"/>
                    </a:moveTo>
                    <a:cubicBezTo>
                      <a:pt x="1655" y="171"/>
                      <a:pt x="1655" y="171"/>
                      <a:pt x="1655" y="172"/>
                    </a:cubicBezTo>
                    <a:cubicBezTo>
                      <a:pt x="1655" y="171"/>
                      <a:pt x="1655" y="170"/>
                      <a:pt x="1655" y="170"/>
                    </a:cubicBezTo>
                    <a:close/>
                    <a:moveTo>
                      <a:pt x="991" y="170"/>
                    </a:moveTo>
                    <a:cubicBezTo>
                      <a:pt x="991" y="171"/>
                      <a:pt x="991" y="171"/>
                      <a:pt x="992" y="172"/>
                    </a:cubicBezTo>
                    <a:cubicBezTo>
                      <a:pt x="992" y="171"/>
                      <a:pt x="992" y="171"/>
                      <a:pt x="991" y="170"/>
                    </a:cubicBezTo>
                    <a:close/>
                    <a:moveTo>
                      <a:pt x="1088" y="102"/>
                    </a:moveTo>
                    <a:cubicBezTo>
                      <a:pt x="1089" y="101"/>
                      <a:pt x="1089" y="100"/>
                      <a:pt x="1089" y="100"/>
                    </a:cubicBezTo>
                    <a:cubicBezTo>
                      <a:pt x="1088" y="100"/>
                      <a:pt x="1088" y="101"/>
                      <a:pt x="1088" y="102"/>
                    </a:cubicBezTo>
                    <a:close/>
                    <a:moveTo>
                      <a:pt x="506" y="170"/>
                    </a:moveTo>
                    <a:cubicBezTo>
                      <a:pt x="506" y="170"/>
                      <a:pt x="506" y="171"/>
                      <a:pt x="506" y="172"/>
                    </a:cubicBezTo>
                    <a:cubicBezTo>
                      <a:pt x="506" y="171"/>
                      <a:pt x="506" y="171"/>
                      <a:pt x="506" y="170"/>
                    </a:cubicBezTo>
                    <a:close/>
                    <a:moveTo>
                      <a:pt x="1572" y="169"/>
                    </a:moveTo>
                    <a:cubicBezTo>
                      <a:pt x="1572" y="170"/>
                      <a:pt x="1572" y="171"/>
                      <a:pt x="1573" y="171"/>
                    </a:cubicBezTo>
                    <a:cubicBezTo>
                      <a:pt x="1573" y="171"/>
                      <a:pt x="1573" y="170"/>
                      <a:pt x="1572" y="169"/>
                    </a:cubicBezTo>
                    <a:close/>
                    <a:moveTo>
                      <a:pt x="839" y="130"/>
                    </a:moveTo>
                    <a:cubicBezTo>
                      <a:pt x="840" y="130"/>
                      <a:pt x="840" y="129"/>
                      <a:pt x="840" y="129"/>
                    </a:cubicBezTo>
                    <a:cubicBezTo>
                      <a:pt x="839" y="129"/>
                      <a:pt x="839" y="130"/>
                      <a:pt x="839" y="130"/>
                    </a:cubicBezTo>
                    <a:close/>
                    <a:moveTo>
                      <a:pt x="977" y="119"/>
                    </a:moveTo>
                    <a:cubicBezTo>
                      <a:pt x="977" y="120"/>
                      <a:pt x="977" y="121"/>
                      <a:pt x="978" y="121"/>
                    </a:cubicBezTo>
                    <a:cubicBezTo>
                      <a:pt x="978" y="121"/>
                      <a:pt x="978" y="120"/>
                      <a:pt x="977" y="119"/>
                    </a:cubicBezTo>
                    <a:close/>
                    <a:moveTo>
                      <a:pt x="1047" y="119"/>
                    </a:moveTo>
                    <a:cubicBezTo>
                      <a:pt x="1046" y="120"/>
                      <a:pt x="1047" y="121"/>
                      <a:pt x="1047" y="121"/>
                    </a:cubicBezTo>
                    <a:cubicBezTo>
                      <a:pt x="1047" y="120"/>
                      <a:pt x="1047" y="120"/>
                      <a:pt x="1047" y="119"/>
                    </a:cubicBezTo>
                    <a:close/>
                    <a:moveTo>
                      <a:pt x="1101" y="119"/>
                    </a:moveTo>
                    <a:cubicBezTo>
                      <a:pt x="1100" y="120"/>
                      <a:pt x="1100" y="120"/>
                      <a:pt x="1100" y="121"/>
                    </a:cubicBezTo>
                    <a:cubicBezTo>
                      <a:pt x="1101" y="121"/>
                      <a:pt x="1101" y="120"/>
                      <a:pt x="1101" y="119"/>
                    </a:cubicBezTo>
                    <a:close/>
                    <a:moveTo>
                      <a:pt x="1086" y="169"/>
                    </a:moveTo>
                    <a:cubicBezTo>
                      <a:pt x="1085" y="170"/>
                      <a:pt x="1085" y="170"/>
                      <a:pt x="1085" y="171"/>
                    </a:cubicBezTo>
                    <a:cubicBezTo>
                      <a:pt x="1086" y="171"/>
                      <a:pt x="1086" y="170"/>
                      <a:pt x="1086" y="169"/>
                    </a:cubicBezTo>
                    <a:close/>
                    <a:moveTo>
                      <a:pt x="1033" y="130"/>
                    </a:moveTo>
                    <a:cubicBezTo>
                      <a:pt x="1033" y="130"/>
                      <a:pt x="1033" y="129"/>
                      <a:pt x="1033" y="129"/>
                    </a:cubicBezTo>
                    <a:cubicBezTo>
                      <a:pt x="1033" y="129"/>
                      <a:pt x="1033" y="130"/>
                      <a:pt x="1033" y="130"/>
                    </a:cubicBezTo>
                    <a:close/>
                    <a:moveTo>
                      <a:pt x="1069" y="171"/>
                    </a:moveTo>
                    <a:cubicBezTo>
                      <a:pt x="1070" y="171"/>
                      <a:pt x="1070" y="170"/>
                      <a:pt x="1070" y="169"/>
                    </a:cubicBezTo>
                    <a:cubicBezTo>
                      <a:pt x="1069" y="170"/>
                      <a:pt x="1069" y="171"/>
                      <a:pt x="1069" y="171"/>
                    </a:cubicBezTo>
                    <a:close/>
                    <a:moveTo>
                      <a:pt x="1060" y="169"/>
                    </a:moveTo>
                    <a:cubicBezTo>
                      <a:pt x="1060" y="170"/>
                      <a:pt x="1060" y="171"/>
                      <a:pt x="1061" y="171"/>
                    </a:cubicBezTo>
                    <a:cubicBezTo>
                      <a:pt x="1061" y="171"/>
                      <a:pt x="1061" y="170"/>
                      <a:pt x="1060" y="169"/>
                    </a:cubicBezTo>
                    <a:close/>
                    <a:moveTo>
                      <a:pt x="515" y="139"/>
                    </a:moveTo>
                    <a:cubicBezTo>
                      <a:pt x="514" y="140"/>
                      <a:pt x="514" y="141"/>
                      <a:pt x="514" y="141"/>
                    </a:cubicBezTo>
                    <a:cubicBezTo>
                      <a:pt x="515" y="141"/>
                      <a:pt x="515" y="140"/>
                      <a:pt x="515" y="139"/>
                    </a:cubicBezTo>
                    <a:close/>
                    <a:moveTo>
                      <a:pt x="965" y="141"/>
                    </a:moveTo>
                    <a:cubicBezTo>
                      <a:pt x="965" y="140"/>
                      <a:pt x="965" y="139"/>
                      <a:pt x="965" y="139"/>
                    </a:cubicBezTo>
                    <a:cubicBezTo>
                      <a:pt x="965" y="140"/>
                      <a:pt x="965" y="140"/>
                      <a:pt x="965" y="141"/>
                    </a:cubicBezTo>
                    <a:close/>
                    <a:moveTo>
                      <a:pt x="429" y="120"/>
                    </a:moveTo>
                    <a:cubicBezTo>
                      <a:pt x="429" y="120"/>
                      <a:pt x="429" y="121"/>
                      <a:pt x="429" y="122"/>
                    </a:cubicBezTo>
                    <a:cubicBezTo>
                      <a:pt x="429" y="121"/>
                      <a:pt x="429" y="120"/>
                      <a:pt x="429" y="120"/>
                    </a:cubicBezTo>
                    <a:close/>
                    <a:moveTo>
                      <a:pt x="450" y="122"/>
                    </a:moveTo>
                    <a:cubicBezTo>
                      <a:pt x="450" y="121"/>
                      <a:pt x="450" y="120"/>
                      <a:pt x="449" y="120"/>
                    </a:cubicBezTo>
                    <a:cubicBezTo>
                      <a:pt x="449" y="120"/>
                      <a:pt x="449" y="121"/>
                      <a:pt x="450" y="122"/>
                    </a:cubicBezTo>
                    <a:close/>
                    <a:moveTo>
                      <a:pt x="972" y="100"/>
                    </a:moveTo>
                    <a:cubicBezTo>
                      <a:pt x="972" y="101"/>
                      <a:pt x="972" y="102"/>
                      <a:pt x="973" y="102"/>
                    </a:cubicBezTo>
                    <a:cubicBezTo>
                      <a:pt x="973" y="102"/>
                      <a:pt x="973" y="101"/>
                      <a:pt x="972" y="100"/>
                    </a:cubicBezTo>
                    <a:close/>
                    <a:moveTo>
                      <a:pt x="1041" y="100"/>
                    </a:moveTo>
                    <a:cubicBezTo>
                      <a:pt x="1041" y="101"/>
                      <a:pt x="1041" y="102"/>
                      <a:pt x="1042" y="102"/>
                    </a:cubicBezTo>
                    <a:cubicBezTo>
                      <a:pt x="1042" y="102"/>
                      <a:pt x="1042" y="101"/>
                      <a:pt x="1041" y="100"/>
                    </a:cubicBezTo>
                    <a:close/>
                    <a:moveTo>
                      <a:pt x="689" y="120"/>
                    </a:moveTo>
                    <a:cubicBezTo>
                      <a:pt x="689" y="121"/>
                      <a:pt x="689" y="121"/>
                      <a:pt x="689" y="122"/>
                    </a:cubicBezTo>
                    <a:cubicBezTo>
                      <a:pt x="689" y="121"/>
                      <a:pt x="690" y="120"/>
                      <a:pt x="689" y="120"/>
                    </a:cubicBezTo>
                    <a:close/>
                    <a:moveTo>
                      <a:pt x="1015" y="169"/>
                    </a:moveTo>
                    <a:cubicBezTo>
                      <a:pt x="1015" y="170"/>
                      <a:pt x="1015" y="171"/>
                      <a:pt x="1015" y="171"/>
                    </a:cubicBezTo>
                    <a:cubicBezTo>
                      <a:pt x="1016" y="171"/>
                      <a:pt x="1015" y="170"/>
                      <a:pt x="1015" y="169"/>
                    </a:cubicBezTo>
                    <a:close/>
                    <a:moveTo>
                      <a:pt x="975" y="171"/>
                    </a:moveTo>
                    <a:cubicBezTo>
                      <a:pt x="975" y="171"/>
                      <a:pt x="975" y="170"/>
                      <a:pt x="974" y="169"/>
                    </a:cubicBezTo>
                    <a:cubicBezTo>
                      <a:pt x="974" y="170"/>
                      <a:pt x="974" y="171"/>
                      <a:pt x="975" y="171"/>
                    </a:cubicBezTo>
                    <a:close/>
                    <a:moveTo>
                      <a:pt x="497" y="138"/>
                    </a:moveTo>
                    <a:cubicBezTo>
                      <a:pt x="497" y="137"/>
                      <a:pt x="497" y="137"/>
                      <a:pt x="497" y="136"/>
                    </a:cubicBezTo>
                    <a:cubicBezTo>
                      <a:pt x="496" y="137"/>
                      <a:pt x="497" y="137"/>
                      <a:pt x="497" y="138"/>
                    </a:cubicBezTo>
                    <a:close/>
                    <a:moveTo>
                      <a:pt x="1548" y="100"/>
                    </a:moveTo>
                    <a:cubicBezTo>
                      <a:pt x="1548" y="101"/>
                      <a:pt x="1548" y="102"/>
                      <a:pt x="1549" y="102"/>
                    </a:cubicBezTo>
                    <a:cubicBezTo>
                      <a:pt x="1549" y="101"/>
                      <a:pt x="1549" y="101"/>
                      <a:pt x="1548" y="100"/>
                    </a:cubicBezTo>
                    <a:close/>
                    <a:moveTo>
                      <a:pt x="960" y="122"/>
                    </a:moveTo>
                    <a:cubicBezTo>
                      <a:pt x="960" y="121"/>
                      <a:pt x="960" y="120"/>
                      <a:pt x="959" y="120"/>
                    </a:cubicBezTo>
                    <a:cubicBezTo>
                      <a:pt x="959" y="120"/>
                      <a:pt x="959" y="121"/>
                      <a:pt x="960" y="122"/>
                    </a:cubicBezTo>
                    <a:close/>
                    <a:moveTo>
                      <a:pt x="944" y="169"/>
                    </a:moveTo>
                    <a:cubicBezTo>
                      <a:pt x="943" y="170"/>
                      <a:pt x="943" y="170"/>
                      <a:pt x="943" y="171"/>
                    </a:cubicBezTo>
                    <a:cubicBezTo>
                      <a:pt x="944" y="171"/>
                      <a:pt x="944" y="170"/>
                      <a:pt x="944" y="169"/>
                    </a:cubicBezTo>
                    <a:close/>
                    <a:moveTo>
                      <a:pt x="482" y="169"/>
                    </a:moveTo>
                    <a:cubicBezTo>
                      <a:pt x="482" y="170"/>
                      <a:pt x="482" y="171"/>
                      <a:pt x="482" y="171"/>
                    </a:cubicBezTo>
                    <a:cubicBezTo>
                      <a:pt x="482" y="171"/>
                      <a:pt x="482" y="170"/>
                      <a:pt x="482" y="169"/>
                    </a:cubicBezTo>
                    <a:close/>
                    <a:moveTo>
                      <a:pt x="506" y="103"/>
                    </a:moveTo>
                    <a:cubicBezTo>
                      <a:pt x="506" y="102"/>
                      <a:pt x="506" y="102"/>
                      <a:pt x="506" y="101"/>
                    </a:cubicBezTo>
                    <a:cubicBezTo>
                      <a:pt x="506" y="101"/>
                      <a:pt x="506" y="102"/>
                      <a:pt x="506" y="103"/>
                    </a:cubicBezTo>
                    <a:close/>
                    <a:moveTo>
                      <a:pt x="526" y="101"/>
                    </a:moveTo>
                    <a:cubicBezTo>
                      <a:pt x="525" y="101"/>
                      <a:pt x="525" y="102"/>
                      <a:pt x="525" y="103"/>
                    </a:cubicBezTo>
                    <a:cubicBezTo>
                      <a:pt x="526" y="102"/>
                      <a:pt x="526" y="101"/>
                      <a:pt x="526" y="101"/>
                    </a:cubicBezTo>
                    <a:close/>
                    <a:moveTo>
                      <a:pt x="1015" y="122"/>
                    </a:moveTo>
                    <a:cubicBezTo>
                      <a:pt x="1016" y="121"/>
                      <a:pt x="1016" y="121"/>
                      <a:pt x="1016" y="120"/>
                    </a:cubicBezTo>
                    <a:cubicBezTo>
                      <a:pt x="1015" y="120"/>
                      <a:pt x="1015" y="121"/>
                      <a:pt x="1015" y="122"/>
                    </a:cubicBezTo>
                    <a:close/>
                    <a:moveTo>
                      <a:pt x="1345" y="171"/>
                    </a:moveTo>
                    <a:cubicBezTo>
                      <a:pt x="1345" y="170"/>
                      <a:pt x="1345" y="169"/>
                      <a:pt x="1345" y="169"/>
                    </a:cubicBezTo>
                    <a:cubicBezTo>
                      <a:pt x="1345" y="169"/>
                      <a:pt x="1345" y="170"/>
                      <a:pt x="1345" y="171"/>
                    </a:cubicBezTo>
                    <a:close/>
                    <a:moveTo>
                      <a:pt x="1045" y="171"/>
                    </a:moveTo>
                    <a:cubicBezTo>
                      <a:pt x="1045" y="170"/>
                      <a:pt x="1045" y="169"/>
                      <a:pt x="1044" y="169"/>
                    </a:cubicBezTo>
                    <a:cubicBezTo>
                      <a:pt x="1044" y="169"/>
                      <a:pt x="1044" y="170"/>
                      <a:pt x="1045" y="171"/>
                    </a:cubicBezTo>
                    <a:close/>
                    <a:moveTo>
                      <a:pt x="1000" y="171"/>
                    </a:moveTo>
                    <a:cubicBezTo>
                      <a:pt x="1001" y="170"/>
                      <a:pt x="1001" y="170"/>
                      <a:pt x="1001" y="169"/>
                    </a:cubicBezTo>
                    <a:cubicBezTo>
                      <a:pt x="1000" y="169"/>
                      <a:pt x="1000" y="170"/>
                      <a:pt x="1000" y="171"/>
                    </a:cubicBezTo>
                    <a:close/>
                    <a:moveTo>
                      <a:pt x="464" y="171"/>
                    </a:moveTo>
                    <a:cubicBezTo>
                      <a:pt x="464" y="170"/>
                      <a:pt x="464" y="169"/>
                      <a:pt x="463" y="169"/>
                    </a:cubicBezTo>
                    <a:cubicBezTo>
                      <a:pt x="463" y="169"/>
                      <a:pt x="463" y="170"/>
                      <a:pt x="464" y="171"/>
                    </a:cubicBezTo>
                    <a:close/>
                    <a:moveTo>
                      <a:pt x="415" y="169"/>
                    </a:moveTo>
                    <a:cubicBezTo>
                      <a:pt x="415" y="169"/>
                      <a:pt x="415" y="170"/>
                      <a:pt x="415" y="171"/>
                    </a:cubicBezTo>
                    <a:cubicBezTo>
                      <a:pt x="416" y="170"/>
                      <a:pt x="415" y="169"/>
                      <a:pt x="415" y="169"/>
                    </a:cubicBezTo>
                    <a:close/>
                    <a:moveTo>
                      <a:pt x="954" y="103"/>
                    </a:moveTo>
                    <a:cubicBezTo>
                      <a:pt x="954" y="102"/>
                      <a:pt x="954" y="101"/>
                      <a:pt x="953" y="101"/>
                    </a:cubicBezTo>
                    <a:cubicBezTo>
                      <a:pt x="953" y="101"/>
                      <a:pt x="953" y="102"/>
                      <a:pt x="954" y="103"/>
                    </a:cubicBezTo>
                    <a:close/>
                    <a:moveTo>
                      <a:pt x="1021" y="103"/>
                    </a:moveTo>
                    <a:cubicBezTo>
                      <a:pt x="1022" y="102"/>
                      <a:pt x="1022" y="102"/>
                      <a:pt x="1022" y="101"/>
                    </a:cubicBezTo>
                    <a:cubicBezTo>
                      <a:pt x="1021" y="101"/>
                      <a:pt x="1021" y="102"/>
                      <a:pt x="1021" y="103"/>
                    </a:cubicBezTo>
                    <a:close/>
                    <a:moveTo>
                      <a:pt x="1364" y="168"/>
                    </a:moveTo>
                    <a:cubicBezTo>
                      <a:pt x="1364" y="169"/>
                      <a:pt x="1364" y="170"/>
                      <a:pt x="1364" y="170"/>
                    </a:cubicBezTo>
                    <a:cubicBezTo>
                      <a:pt x="1364" y="170"/>
                      <a:pt x="1365" y="169"/>
                      <a:pt x="1364" y="168"/>
                    </a:cubicBezTo>
                    <a:close/>
                    <a:moveTo>
                      <a:pt x="488" y="170"/>
                    </a:moveTo>
                    <a:cubicBezTo>
                      <a:pt x="489" y="170"/>
                      <a:pt x="489" y="169"/>
                      <a:pt x="488" y="168"/>
                    </a:cubicBezTo>
                    <a:cubicBezTo>
                      <a:pt x="488" y="169"/>
                      <a:pt x="488" y="170"/>
                      <a:pt x="488" y="170"/>
                    </a:cubicBezTo>
                    <a:close/>
                    <a:moveTo>
                      <a:pt x="1654" y="168"/>
                    </a:moveTo>
                    <a:cubicBezTo>
                      <a:pt x="1654" y="168"/>
                      <a:pt x="1654" y="169"/>
                      <a:pt x="1655" y="170"/>
                    </a:cubicBezTo>
                    <a:cubicBezTo>
                      <a:pt x="1655" y="169"/>
                      <a:pt x="1655" y="168"/>
                      <a:pt x="1654" y="168"/>
                    </a:cubicBezTo>
                    <a:close/>
                    <a:moveTo>
                      <a:pt x="1609" y="103"/>
                    </a:moveTo>
                    <a:cubicBezTo>
                      <a:pt x="1610" y="102"/>
                      <a:pt x="1610" y="102"/>
                      <a:pt x="1610" y="101"/>
                    </a:cubicBezTo>
                    <a:cubicBezTo>
                      <a:pt x="1609" y="101"/>
                      <a:pt x="1609" y="102"/>
                      <a:pt x="1609" y="103"/>
                    </a:cubicBezTo>
                    <a:close/>
                    <a:moveTo>
                      <a:pt x="434" y="101"/>
                    </a:moveTo>
                    <a:cubicBezTo>
                      <a:pt x="434" y="102"/>
                      <a:pt x="434" y="103"/>
                      <a:pt x="434" y="103"/>
                    </a:cubicBezTo>
                    <a:cubicBezTo>
                      <a:pt x="434" y="103"/>
                      <a:pt x="434" y="102"/>
                      <a:pt x="434" y="101"/>
                    </a:cubicBezTo>
                    <a:close/>
                    <a:moveTo>
                      <a:pt x="445" y="103"/>
                    </a:moveTo>
                    <a:cubicBezTo>
                      <a:pt x="445" y="103"/>
                      <a:pt x="445" y="102"/>
                      <a:pt x="444" y="101"/>
                    </a:cubicBezTo>
                    <a:cubicBezTo>
                      <a:pt x="444" y="102"/>
                      <a:pt x="444" y="103"/>
                      <a:pt x="445" y="103"/>
                    </a:cubicBezTo>
                    <a:close/>
                    <a:moveTo>
                      <a:pt x="1572" y="168"/>
                    </a:moveTo>
                    <a:cubicBezTo>
                      <a:pt x="1572" y="168"/>
                      <a:pt x="1572" y="169"/>
                      <a:pt x="1572" y="169"/>
                    </a:cubicBezTo>
                    <a:cubicBezTo>
                      <a:pt x="1572" y="169"/>
                      <a:pt x="1572" y="168"/>
                      <a:pt x="1572" y="168"/>
                    </a:cubicBezTo>
                    <a:close/>
                    <a:moveTo>
                      <a:pt x="1070" y="169"/>
                    </a:moveTo>
                    <a:cubicBezTo>
                      <a:pt x="1070" y="169"/>
                      <a:pt x="1070" y="168"/>
                      <a:pt x="1070" y="168"/>
                    </a:cubicBezTo>
                    <a:cubicBezTo>
                      <a:pt x="1069" y="168"/>
                      <a:pt x="1070" y="169"/>
                      <a:pt x="1070" y="169"/>
                    </a:cubicBezTo>
                    <a:close/>
                    <a:moveTo>
                      <a:pt x="1016" y="168"/>
                    </a:moveTo>
                    <a:cubicBezTo>
                      <a:pt x="1015" y="168"/>
                      <a:pt x="1015" y="169"/>
                      <a:pt x="1015" y="169"/>
                    </a:cubicBezTo>
                    <a:cubicBezTo>
                      <a:pt x="1016" y="169"/>
                      <a:pt x="1016" y="168"/>
                      <a:pt x="1016" y="168"/>
                    </a:cubicBezTo>
                    <a:close/>
                    <a:moveTo>
                      <a:pt x="1436" y="120"/>
                    </a:moveTo>
                    <a:cubicBezTo>
                      <a:pt x="1436" y="121"/>
                      <a:pt x="1436" y="121"/>
                      <a:pt x="1437" y="122"/>
                    </a:cubicBezTo>
                    <a:cubicBezTo>
                      <a:pt x="1437" y="121"/>
                      <a:pt x="1437" y="120"/>
                      <a:pt x="1436" y="120"/>
                    </a:cubicBezTo>
                    <a:close/>
                    <a:moveTo>
                      <a:pt x="1087" y="103"/>
                    </a:moveTo>
                    <a:cubicBezTo>
                      <a:pt x="1088" y="103"/>
                      <a:pt x="1088" y="102"/>
                      <a:pt x="1088" y="102"/>
                    </a:cubicBezTo>
                    <a:cubicBezTo>
                      <a:pt x="1087" y="102"/>
                      <a:pt x="1087" y="103"/>
                      <a:pt x="1087" y="103"/>
                    </a:cubicBezTo>
                    <a:close/>
                    <a:moveTo>
                      <a:pt x="991" y="168"/>
                    </a:moveTo>
                    <a:cubicBezTo>
                      <a:pt x="991" y="168"/>
                      <a:pt x="991" y="169"/>
                      <a:pt x="991" y="170"/>
                    </a:cubicBezTo>
                    <a:cubicBezTo>
                      <a:pt x="991" y="169"/>
                      <a:pt x="991" y="168"/>
                      <a:pt x="991" y="168"/>
                    </a:cubicBezTo>
                    <a:close/>
                    <a:moveTo>
                      <a:pt x="1245" y="103"/>
                    </a:moveTo>
                    <a:cubicBezTo>
                      <a:pt x="1245" y="103"/>
                      <a:pt x="1245" y="102"/>
                      <a:pt x="1244" y="101"/>
                    </a:cubicBezTo>
                    <a:cubicBezTo>
                      <a:pt x="1244" y="102"/>
                      <a:pt x="1244" y="103"/>
                      <a:pt x="1245" y="103"/>
                    </a:cubicBezTo>
                    <a:close/>
                    <a:moveTo>
                      <a:pt x="1097" y="133"/>
                    </a:moveTo>
                    <a:cubicBezTo>
                      <a:pt x="1096" y="133"/>
                      <a:pt x="1096" y="134"/>
                      <a:pt x="1096" y="134"/>
                    </a:cubicBezTo>
                    <a:cubicBezTo>
                      <a:pt x="1097" y="134"/>
                      <a:pt x="1097" y="133"/>
                      <a:pt x="1097" y="133"/>
                    </a:cubicBezTo>
                    <a:close/>
                    <a:moveTo>
                      <a:pt x="1555" y="120"/>
                    </a:moveTo>
                    <a:cubicBezTo>
                      <a:pt x="1555" y="121"/>
                      <a:pt x="1555" y="121"/>
                      <a:pt x="1556" y="122"/>
                    </a:cubicBezTo>
                    <a:cubicBezTo>
                      <a:pt x="1556" y="121"/>
                      <a:pt x="1556" y="120"/>
                      <a:pt x="1555" y="120"/>
                    </a:cubicBezTo>
                    <a:close/>
                    <a:moveTo>
                      <a:pt x="974" y="169"/>
                    </a:moveTo>
                    <a:cubicBezTo>
                      <a:pt x="974" y="169"/>
                      <a:pt x="974" y="168"/>
                      <a:pt x="973" y="168"/>
                    </a:cubicBezTo>
                    <a:cubicBezTo>
                      <a:pt x="973" y="168"/>
                      <a:pt x="973" y="169"/>
                      <a:pt x="974" y="169"/>
                    </a:cubicBezTo>
                    <a:close/>
                    <a:moveTo>
                      <a:pt x="1529" y="103"/>
                    </a:moveTo>
                    <a:cubicBezTo>
                      <a:pt x="1529" y="103"/>
                      <a:pt x="1529" y="102"/>
                      <a:pt x="1529" y="102"/>
                    </a:cubicBezTo>
                    <a:cubicBezTo>
                      <a:pt x="1529" y="102"/>
                      <a:pt x="1528" y="103"/>
                      <a:pt x="1529" y="103"/>
                    </a:cubicBezTo>
                    <a:close/>
                    <a:moveTo>
                      <a:pt x="463" y="102"/>
                    </a:moveTo>
                    <a:cubicBezTo>
                      <a:pt x="463" y="103"/>
                      <a:pt x="463" y="103"/>
                      <a:pt x="464" y="104"/>
                    </a:cubicBezTo>
                    <a:cubicBezTo>
                      <a:pt x="464" y="103"/>
                      <a:pt x="464" y="103"/>
                      <a:pt x="463" y="102"/>
                    </a:cubicBezTo>
                    <a:close/>
                    <a:moveTo>
                      <a:pt x="1585" y="169"/>
                    </a:moveTo>
                    <a:cubicBezTo>
                      <a:pt x="1585" y="168"/>
                      <a:pt x="1586" y="168"/>
                      <a:pt x="1586" y="167"/>
                    </a:cubicBezTo>
                    <a:cubicBezTo>
                      <a:pt x="1585" y="168"/>
                      <a:pt x="1585" y="168"/>
                      <a:pt x="1585" y="169"/>
                    </a:cubicBezTo>
                    <a:close/>
                    <a:moveTo>
                      <a:pt x="1554" y="169"/>
                    </a:moveTo>
                    <a:cubicBezTo>
                      <a:pt x="1554" y="168"/>
                      <a:pt x="1554" y="168"/>
                      <a:pt x="1553" y="167"/>
                    </a:cubicBezTo>
                    <a:cubicBezTo>
                      <a:pt x="1553" y="168"/>
                      <a:pt x="1553" y="168"/>
                      <a:pt x="1554" y="169"/>
                    </a:cubicBezTo>
                    <a:close/>
                    <a:moveTo>
                      <a:pt x="1060" y="167"/>
                    </a:moveTo>
                    <a:cubicBezTo>
                      <a:pt x="1060" y="168"/>
                      <a:pt x="1060" y="169"/>
                      <a:pt x="1060" y="169"/>
                    </a:cubicBezTo>
                    <a:cubicBezTo>
                      <a:pt x="1060" y="168"/>
                      <a:pt x="1060" y="168"/>
                      <a:pt x="1060" y="167"/>
                    </a:cubicBezTo>
                    <a:close/>
                    <a:moveTo>
                      <a:pt x="481" y="167"/>
                    </a:moveTo>
                    <a:cubicBezTo>
                      <a:pt x="481" y="168"/>
                      <a:pt x="481" y="169"/>
                      <a:pt x="482" y="169"/>
                    </a:cubicBezTo>
                    <a:cubicBezTo>
                      <a:pt x="482" y="168"/>
                      <a:pt x="482" y="168"/>
                      <a:pt x="481" y="167"/>
                    </a:cubicBezTo>
                    <a:close/>
                    <a:moveTo>
                      <a:pt x="463" y="169"/>
                    </a:moveTo>
                    <a:cubicBezTo>
                      <a:pt x="463" y="168"/>
                      <a:pt x="463" y="167"/>
                      <a:pt x="463" y="167"/>
                    </a:cubicBezTo>
                    <a:cubicBezTo>
                      <a:pt x="463" y="168"/>
                      <a:pt x="462" y="168"/>
                      <a:pt x="463" y="169"/>
                    </a:cubicBezTo>
                    <a:close/>
                    <a:moveTo>
                      <a:pt x="1106" y="102"/>
                    </a:moveTo>
                    <a:cubicBezTo>
                      <a:pt x="1105" y="102"/>
                      <a:pt x="1105" y="103"/>
                      <a:pt x="1105" y="104"/>
                    </a:cubicBezTo>
                    <a:cubicBezTo>
                      <a:pt x="1106" y="103"/>
                      <a:pt x="1106" y="103"/>
                      <a:pt x="1106" y="102"/>
                    </a:cubicBezTo>
                    <a:close/>
                    <a:moveTo>
                      <a:pt x="1181" y="167"/>
                    </a:moveTo>
                    <a:cubicBezTo>
                      <a:pt x="1181" y="167"/>
                      <a:pt x="1181" y="168"/>
                      <a:pt x="1182" y="168"/>
                    </a:cubicBezTo>
                    <a:cubicBezTo>
                      <a:pt x="1182" y="168"/>
                      <a:pt x="1182" y="167"/>
                      <a:pt x="1181" y="167"/>
                    </a:cubicBezTo>
                    <a:close/>
                    <a:moveTo>
                      <a:pt x="1044" y="168"/>
                    </a:moveTo>
                    <a:cubicBezTo>
                      <a:pt x="1044" y="168"/>
                      <a:pt x="1044" y="167"/>
                      <a:pt x="1044" y="167"/>
                    </a:cubicBezTo>
                    <a:cubicBezTo>
                      <a:pt x="1044" y="167"/>
                      <a:pt x="1044" y="168"/>
                      <a:pt x="1044" y="168"/>
                    </a:cubicBezTo>
                    <a:close/>
                    <a:moveTo>
                      <a:pt x="498" y="131"/>
                    </a:moveTo>
                    <a:cubicBezTo>
                      <a:pt x="499" y="131"/>
                      <a:pt x="499" y="130"/>
                      <a:pt x="499" y="129"/>
                    </a:cubicBezTo>
                    <a:cubicBezTo>
                      <a:pt x="498" y="130"/>
                      <a:pt x="498" y="130"/>
                      <a:pt x="498" y="131"/>
                    </a:cubicBezTo>
                    <a:close/>
                    <a:moveTo>
                      <a:pt x="416" y="166"/>
                    </a:moveTo>
                    <a:cubicBezTo>
                      <a:pt x="415" y="167"/>
                      <a:pt x="415" y="168"/>
                      <a:pt x="415" y="168"/>
                    </a:cubicBezTo>
                    <a:cubicBezTo>
                      <a:pt x="416" y="168"/>
                      <a:pt x="416" y="167"/>
                      <a:pt x="416" y="166"/>
                    </a:cubicBezTo>
                    <a:close/>
                    <a:moveTo>
                      <a:pt x="1571" y="166"/>
                    </a:moveTo>
                    <a:cubicBezTo>
                      <a:pt x="1571" y="167"/>
                      <a:pt x="1571" y="167"/>
                      <a:pt x="1572" y="168"/>
                    </a:cubicBezTo>
                    <a:cubicBezTo>
                      <a:pt x="1572" y="167"/>
                      <a:pt x="1572" y="166"/>
                      <a:pt x="1571" y="166"/>
                    </a:cubicBezTo>
                    <a:close/>
                    <a:moveTo>
                      <a:pt x="525" y="103"/>
                    </a:moveTo>
                    <a:cubicBezTo>
                      <a:pt x="525" y="103"/>
                      <a:pt x="525" y="104"/>
                      <a:pt x="525" y="104"/>
                    </a:cubicBezTo>
                    <a:cubicBezTo>
                      <a:pt x="525" y="104"/>
                      <a:pt x="525" y="103"/>
                      <a:pt x="525" y="103"/>
                    </a:cubicBezTo>
                    <a:close/>
                    <a:moveTo>
                      <a:pt x="990" y="166"/>
                    </a:moveTo>
                    <a:cubicBezTo>
                      <a:pt x="990" y="167"/>
                      <a:pt x="990" y="167"/>
                      <a:pt x="991" y="168"/>
                    </a:cubicBezTo>
                    <a:cubicBezTo>
                      <a:pt x="991" y="167"/>
                      <a:pt x="991" y="166"/>
                      <a:pt x="990" y="166"/>
                    </a:cubicBezTo>
                    <a:close/>
                    <a:moveTo>
                      <a:pt x="507" y="166"/>
                    </a:moveTo>
                    <a:cubicBezTo>
                      <a:pt x="507" y="166"/>
                      <a:pt x="507" y="167"/>
                      <a:pt x="507" y="168"/>
                    </a:cubicBezTo>
                    <a:cubicBezTo>
                      <a:pt x="508" y="167"/>
                      <a:pt x="507" y="167"/>
                      <a:pt x="507" y="166"/>
                    </a:cubicBezTo>
                    <a:close/>
                    <a:moveTo>
                      <a:pt x="489" y="168"/>
                    </a:moveTo>
                    <a:cubicBezTo>
                      <a:pt x="489" y="167"/>
                      <a:pt x="489" y="167"/>
                      <a:pt x="489" y="166"/>
                    </a:cubicBezTo>
                    <a:cubicBezTo>
                      <a:pt x="488" y="167"/>
                      <a:pt x="489" y="167"/>
                      <a:pt x="489" y="168"/>
                    </a:cubicBezTo>
                    <a:close/>
                    <a:moveTo>
                      <a:pt x="518" y="129"/>
                    </a:moveTo>
                    <a:cubicBezTo>
                      <a:pt x="517" y="130"/>
                      <a:pt x="517" y="130"/>
                      <a:pt x="517" y="131"/>
                    </a:cubicBezTo>
                    <a:cubicBezTo>
                      <a:pt x="518" y="130"/>
                      <a:pt x="518" y="130"/>
                      <a:pt x="518" y="129"/>
                    </a:cubicBezTo>
                    <a:close/>
                    <a:moveTo>
                      <a:pt x="954" y="104"/>
                    </a:moveTo>
                    <a:cubicBezTo>
                      <a:pt x="954" y="104"/>
                      <a:pt x="954" y="103"/>
                      <a:pt x="954" y="103"/>
                    </a:cubicBezTo>
                    <a:cubicBezTo>
                      <a:pt x="954" y="103"/>
                      <a:pt x="954" y="104"/>
                      <a:pt x="954" y="104"/>
                    </a:cubicBezTo>
                    <a:close/>
                    <a:moveTo>
                      <a:pt x="973" y="103"/>
                    </a:moveTo>
                    <a:cubicBezTo>
                      <a:pt x="973" y="103"/>
                      <a:pt x="973" y="104"/>
                      <a:pt x="973" y="105"/>
                    </a:cubicBezTo>
                    <a:cubicBezTo>
                      <a:pt x="973" y="104"/>
                      <a:pt x="974" y="103"/>
                      <a:pt x="973" y="103"/>
                    </a:cubicBezTo>
                    <a:close/>
                    <a:moveTo>
                      <a:pt x="1042" y="103"/>
                    </a:moveTo>
                    <a:cubicBezTo>
                      <a:pt x="1042" y="103"/>
                      <a:pt x="1042" y="104"/>
                      <a:pt x="1042" y="104"/>
                    </a:cubicBezTo>
                    <a:cubicBezTo>
                      <a:pt x="1042" y="104"/>
                      <a:pt x="1043" y="103"/>
                      <a:pt x="1042" y="103"/>
                    </a:cubicBezTo>
                    <a:close/>
                    <a:moveTo>
                      <a:pt x="1087" y="165"/>
                    </a:moveTo>
                    <a:cubicBezTo>
                      <a:pt x="1086" y="166"/>
                      <a:pt x="1086" y="166"/>
                      <a:pt x="1086" y="167"/>
                    </a:cubicBezTo>
                    <a:cubicBezTo>
                      <a:pt x="1087" y="167"/>
                      <a:pt x="1087" y="166"/>
                      <a:pt x="1087" y="165"/>
                    </a:cubicBezTo>
                    <a:close/>
                    <a:moveTo>
                      <a:pt x="1070" y="167"/>
                    </a:moveTo>
                    <a:cubicBezTo>
                      <a:pt x="1071" y="167"/>
                      <a:pt x="1071" y="166"/>
                      <a:pt x="1071" y="165"/>
                    </a:cubicBezTo>
                    <a:cubicBezTo>
                      <a:pt x="1070" y="166"/>
                      <a:pt x="1070" y="167"/>
                      <a:pt x="1070" y="167"/>
                    </a:cubicBezTo>
                    <a:close/>
                    <a:moveTo>
                      <a:pt x="1059" y="165"/>
                    </a:moveTo>
                    <a:cubicBezTo>
                      <a:pt x="1059" y="166"/>
                      <a:pt x="1059" y="167"/>
                      <a:pt x="1060" y="167"/>
                    </a:cubicBezTo>
                    <a:cubicBezTo>
                      <a:pt x="1060" y="167"/>
                      <a:pt x="1060" y="166"/>
                      <a:pt x="1059" y="165"/>
                    </a:cubicBezTo>
                    <a:close/>
                    <a:moveTo>
                      <a:pt x="501" y="122"/>
                    </a:moveTo>
                    <a:cubicBezTo>
                      <a:pt x="501" y="122"/>
                      <a:pt x="501" y="121"/>
                      <a:pt x="501" y="121"/>
                    </a:cubicBezTo>
                    <a:cubicBezTo>
                      <a:pt x="500" y="121"/>
                      <a:pt x="501" y="122"/>
                      <a:pt x="501" y="122"/>
                    </a:cubicBezTo>
                    <a:close/>
                    <a:moveTo>
                      <a:pt x="480" y="165"/>
                    </a:moveTo>
                    <a:cubicBezTo>
                      <a:pt x="480" y="166"/>
                      <a:pt x="480" y="167"/>
                      <a:pt x="481" y="167"/>
                    </a:cubicBezTo>
                    <a:cubicBezTo>
                      <a:pt x="481" y="167"/>
                      <a:pt x="481" y="166"/>
                      <a:pt x="480" y="165"/>
                    </a:cubicBezTo>
                    <a:close/>
                    <a:moveTo>
                      <a:pt x="505" y="105"/>
                    </a:moveTo>
                    <a:cubicBezTo>
                      <a:pt x="506" y="105"/>
                      <a:pt x="506" y="104"/>
                      <a:pt x="506" y="103"/>
                    </a:cubicBezTo>
                    <a:cubicBezTo>
                      <a:pt x="505" y="104"/>
                      <a:pt x="505" y="104"/>
                      <a:pt x="505" y="105"/>
                    </a:cubicBezTo>
                    <a:close/>
                    <a:moveTo>
                      <a:pt x="1044" y="167"/>
                    </a:moveTo>
                    <a:cubicBezTo>
                      <a:pt x="1044" y="166"/>
                      <a:pt x="1044" y="165"/>
                      <a:pt x="1043" y="165"/>
                    </a:cubicBezTo>
                    <a:cubicBezTo>
                      <a:pt x="1043" y="165"/>
                      <a:pt x="1043" y="166"/>
                      <a:pt x="1044" y="167"/>
                    </a:cubicBezTo>
                    <a:close/>
                    <a:moveTo>
                      <a:pt x="1002" y="167"/>
                    </a:moveTo>
                    <a:cubicBezTo>
                      <a:pt x="1002" y="166"/>
                      <a:pt x="1002" y="166"/>
                      <a:pt x="1002" y="165"/>
                    </a:cubicBezTo>
                    <a:cubicBezTo>
                      <a:pt x="1001" y="165"/>
                      <a:pt x="1002" y="166"/>
                      <a:pt x="1002" y="167"/>
                    </a:cubicBezTo>
                    <a:close/>
                    <a:moveTo>
                      <a:pt x="463" y="167"/>
                    </a:moveTo>
                    <a:cubicBezTo>
                      <a:pt x="463" y="166"/>
                      <a:pt x="463" y="165"/>
                      <a:pt x="462" y="165"/>
                    </a:cubicBezTo>
                    <a:cubicBezTo>
                      <a:pt x="462" y="165"/>
                      <a:pt x="462" y="166"/>
                      <a:pt x="463" y="167"/>
                    </a:cubicBezTo>
                    <a:close/>
                    <a:moveTo>
                      <a:pt x="1095" y="138"/>
                    </a:moveTo>
                    <a:cubicBezTo>
                      <a:pt x="1094" y="139"/>
                      <a:pt x="1094" y="139"/>
                      <a:pt x="1094" y="140"/>
                    </a:cubicBezTo>
                    <a:cubicBezTo>
                      <a:pt x="1095" y="140"/>
                      <a:pt x="1095" y="139"/>
                      <a:pt x="1095" y="138"/>
                    </a:cubicBezTo>
                    <a:close/>
                    <a:moveTo>
                      <a:pt x="619" y="129"/>
                    </a:moveTo>
                    <a:cubicBezTo>
                      <a:pt x="619" y="130"/>
                      <a:pt x="619" y="130"/>
                      <a:pt x="619" y="131"/>
                    </a:cubicBezTo>
                    <a:cubicBezTo>
                      <a:pt x="619" y="130"/>
                      <a:pt x="619" y="130"/>
                      <a:pt x="619" y="129"/>
                    </a:cubicBezTo>
                    <a:close/>
                    <a:moveTo>
                      <a:pt x="489" y="166"/>
                    </a:moveTo>
                    <a:cubicBezTo>
                      <a:pt x="490" y="166"/>
                      <a:pt x="490" y="165"/>
                      <a:pt x="490" y="164"/>
                    </a:cubicBezTo>
                    <a:cubicBezTo>
                      <a:pt x="489" y="165"/>
                      <a:pt x="489" y="165"/>
                      <a:pt x="489" y="166"/>
                    </a:cubicBezTo>
                    <a:close/>
                    <a:moveTo>
                      <a:pt x="1310" y="165"/>
                    </a:moveTo>
                    <a:cubicBezTo>
                      <a:pt x="1310" y="165"/>
                      <a:pt x="1310" y="164"/>
                      <a:pt x="1309" y="163"/>
                    </a:cubicBezTo>
                    <a:cubicBezTo>
                      <a:pt x="1309" y="164"/>
                      <a:pt x="1309" y="165"/>
                      <a:pt x="1310" y="165"/>
                    </a:cubicBezTo>
                    <a:close/>
                    <a:moveTo>
                      <a:pt x="983" y="138"/>
                    </a:moveTo>
                    <a:cubicBezTo>
                      <a:pt x="983" y="139"/>
                      <a:pt x="983" y="140"/>
                      <a:pt x="983" y="140"/>
                    </a:cubicBezTo>
                    <a:cubicBezTo>
                      <a:pt x="983" y="140"/>
                      <a:pt x="983" y="139"/>
                      <a:pt x="983" y="138"/>
                    </a:cubicBezTo>
                    <a:close/>
                    <a:moveTo>
                      <a:pt x="1087" y="164"/>
                    </a:moveTo>
                    <a:cubicBezTo>
                      <a:pt x="1087" y="164"/>
                      <a:pt x="1087" y="165"/>
                      <a:pt x="1087" y="165"/>
                    </a:cubicBezTo>
                    <a:cubicBezTo>
                      <a:pt x="1088" y="165"/>
                      <a:pt x="1087" y="164"/>
                      <a:pt x="1087" y="164"/>
                    </a:cubicBezTo>
                    <a:close/>
                    <a:moveTo>
                      <a:pt x="1013" y="131"/>
                    </a:moveTo>
                    <a:cubicBezTo>
                      <a:pt x="1013" y="130"/>
                      <a:pt x="1013" y="130"/>
                      <a:pt x="1013" y="129"/>
                    </a:cubicBezTo>
                    <a:cubicBezTo>
                      <a:pt x="1012" y="130"/>
                      <a:pt x="1013" y="130"/>
                      <a:pt x="1013" y="131"/>
                    </a:cubicBezTo>
                    <a:close/>
                    <a:moveTo>
                      <a:pt x="990" y="164"/>
                    </a:moveTo>
                    <a:cubicBezTo>
                      <a:pt x="989" y="164"/>
                      <a:pt x="990" y="165"/>
                      <a:pt x="990" y="166"/>
                    </a:cubicBezTo>
                    <a:cubicBezTo>
                      <a:pt x="990" y="165"/>
                      <a:pt x="990" y="164"/>
                      <a:pt x="990" y="164"/>
                    </a:cubicBezTo>
                    <a:close/>
                    <a:moveTo>
                      <a:pt x="973" y="165"/>
                    </a:moveTo>
                    <a:cubicBezTo>
                      <a:pt x="973" y="165"/>
                      <a:pt x="973" y="164"/>
                      <a:pt x="972" y="164"/>
                    </a:cubicBezTo>
                    <a:cubicBezTo>
                      <a:pt x="972" y="164"/>
                      <a:pt x="972" y="165"/>
                      <a:pt x="973" y="165"/>
                    </a:cubicBezTo>
                    <a:close/>
                    <a:moveTo>
                      <a:pt x="1035" y="137"/>
                    </a:moveTo>
                    <a:cubicBezTo>
                      <a:pt x="1035" y="136"/>
                      <a:pt x="1035" y="135"/>
                      <a:pt x="1035" y="135"/>
                    </a:cubicBezTo>
                    <a:cubicBezTo>
                      <a:pt x="1034" y="135"/>
                      <a:pt x="1034" y="136"/>
                      <a:pt x="1035" y="137"/>
                    </a:cubicBezTo>
                    <a:close/>
                    <a:moveTo>
                      <a:pt x="1314" y="70"/>
                    </a:moveTo>
                    <a:cubicBezTo>
                      <a:pt x="1314" y="69"/>
                      <a:pt x="1313" y="69"/>
                      <a:pt x="1313" y="69"/>
                    </a:cubicBezTo>
                    <a:cubicBezTo>
                      <a:pt x="1313" y="70"/>
                      <a:pt x="1314" y="70"/>
                      <a:pt x="1314" y="70"/>
                    </a:cubicBezTo>
                    <a:close/>
                    <a:moveTo>
                      <a:pt x="559" y="49"/>
                    </a:moveTo>
                    <a:cubicBezTo>
                      <a:pt x="559" y="49"/>
                      <a:pt x="560" y="48"/>
                      <a:pt x="561" y="48"/>
                    </a:cubicBezTo>
                    <a:cubicBezTo>
                      <a:pt x="560" y="48"/>
                      <a:pt x="559" y="48"/>
                      <a:pt x="559" y="49"/>
                    </a:cubicBezTo>
                    <a:close/>
                    <a:moveTo>
                      <a:pt x="455" y="140"/>
                    </a:moveTo>
                    <a:cubicBezTo>
                      <a:pt x="455" y="139"/>
                      <a:pt x="455" y="139"/>
                      <a:pt x="455" y="138"/>
                    </a:cubicBezTo>
                    <a:cubicBezTo>
                      <a:pt x="455" y="139"/>
                      <a:pt x="454" y="140"/>
                      <a:pt x="455" y="140"/>
                    </a:cubicBezTo>
                    <a:close/>
                    <a:moveTo>
                      <a:pt x="468" y="121"/>
                    </a:moveTo>
                    <a:cubicBezTo>
                      <a:pt x="468" y="122"/>
                      <a:pt x="468" y="122"/>
                      <a:pt x="469" y="123"/>
                    </a:cubicBezTo>
                    <a:cubicBezTo>
                      <a:pt x="469" y="122"/>
                      <a:pt x="469" y="122"/>
                      <a:pt x="468" y="121"/>
                    </a:cubicBezTo>
                    <a:close/>
                    <a:moveTo>
                      <a:pt x="1071" y="165"/>
                    </a:moveTo>
                    <a:cubicBezTo>
                      <a:pt x="1071" y="165"/>
                      <a:pt x="1071" y="164"/>
                      <a:pt x="1071" y="163"/>
                    </a:cubicBezTo>
                    <a:cubicBezTo>
                      <a:pt x="1071" y="164"/>
                      <a:pt x="1071" y="164"/>
                      <a:pt x="1071" y="165"/>
                    </a:cubicBezTo>
                    <a:close/>
                    <a:moveTo>
                      <a:pt x="1059" y="163"/>
                    </a:moveTo>
                    <a:cubicBezTo>
                      <a:pt x="1059" y="164"/>
                      <a:pt x="1059" y="164"/>
                      <a:pt x="1059" y="165"/>
                    </a:cubicBezTo>
                    <a:cubicBezTo>
                      <a:pt x="1059" y="164"/>
                      <a:pt x="1059" y="164"/>
                      <a:pt x="1059" y="163"/>
                    </a:cubicBezTo>
                    <a:close/>
                    <a:moveTo>
                      <a:pt x="1002" y="165"/>
                    </a:moveTo>
                    <a:cubicBezTo>
                      <a:pt x="1003" y="164"/>
                      <a:pt x="1003" y="164"/>
                      <a:pt x="1003" y="163"/>
                    </a:cubicBezTo>
                    <a:cubicBezTo>
                      <a:pt x="1002" y="164"/>
                      <a:pt x="1002" y="164"/>
                      <a:pt x="1002" y="165"/>
                    </a:cubicBezTo>
                    <a:close/>
                    <a:moveTo>
                      <a:pt x="1087" y="106"/>
                    </a:moveTo>
                    <a:cubicBezTo>
                      <a:pt x="1087" y="105"/>
                      <a:pt x="1087" y="104"/>
                      <a:pt x="1087" y="104"/>
                    </a:cubicBezTo>
                    <a:cubicBezTo>
                      <a:pt x="1087" y="104"/>
                      <a:pt x="1087" y="105"/>
                      <a:pt x="1087" y="106"/>
                    </a:cubicBezTo>
                    <a:close/>
                    <a:moveTo>
                      <a:pt x="1105" y="104"/>
                    </a:moveTo>
                    <a:cubicBezTo>
                      <a:pt x="1105" y="104"/>
                      <a:pt x="1105" y="105"/>
                      <a:pt x="1105" y="106"/>
                    </a:cubicBezTo>
                    <a:cubicBezTo>
                      <a:pt x="1105" y="105"/>
                      <a:pt x="1105" y="104"/>
                      <a:pt x="1105" y="104"/>
                    </a:cubicBezTo>
                    <a:close/>
                    <a:moveTo>
                      <a:pt x="480" y="163"/>
                    </a:moveTo>
                    <a:cubicBezTo>
                      <a:pt x="480" y="164"/>
                      <a:pt x="480" y="164"/>
                      <a:pt x="480" y="165"/>
                    </a:cubicBezTo>
                    <a:cubicBezTo>
                      <a:pt x="480" y="164"/>
                      <a:pt x="481" y="164"/>
                      <a:pt x="480" y="163"/>
                    </a:cubicBezTo>
                    <a:close/>
                    <a:moveTo>
                      <a:pt x="520" y="121"/>
                    </a:moveTo>
                    <a:cubicBezTo>
                      <a:pt x="520" y="121"/>
                      <a:pt x="520" y="122"/>
                      <a:pt x="520" y="123"/>
                    </a:cubicBezTo>
                    <a:cubicBezTo>
                      <a:pt x="520" y="122"/>
                      <a:pt x="520" y="122"/>
                      <a:pt x="520" y="121"/>
                    </a:cubicBezTo>
                    <a:close/>
                    <a:moveTo>
                      <a:pt x="462" y="165"/>
                    </a:moveTo>
                    <a:cubicBezTo>
                      <a:pt x="462" y="164"/>
                      <a:pt x="462" y="163"/>
                      <a:pt x="462" y="163"/>
                    </a:cubicBezTo>
                    <a:cubicBezTo>
                      <a:pt x="461" y="164"/>
                      <a:pt x="461" y="164"/>
                      <a:pt x="462" y="165"/>
                    </a:cubicBezTo>
                    <a:close/>
                    <a:moveTo>
                      <a:pt x="1552" y="164"/>
                    </a:moveTo>
                    <a:cubicBezTo>
                      <a:pt x="1552" y="164"/>
                      <a:pt x="1552" y="163"/>
                      <a:pt x="1552" y="163"/>
                    </a:cubicBezTo>
                    <a:cubicBezTo>
                      <a:pt x="1552" y="163"/>
                      <a:pt x="1551" y="164"/>
                      <a:pt x="1552" y="164"/>
                    </a:cubicBezTo>
                    <a:close/>
                    <a:moveTo>
                      <a:pt x="1075" y="148"/>
                    </a:moveTo>
                    <a:cubicBezTo>
                      <a:pt x="1076" y="148"/>
                      <a:pt x="1076" y="147"/>
                      <a:pt x="1076" y="146"/>
                    </a:cubicBezTo>
                    <a:cubicBezTo>
                      <a:pt x="1075" y="147"/>
                      <a:pt x="1075" y="148"/>
                      <a:pt x="1075" y="148"/>
                    </a:cubicBezTo>
                    <a:close/>
                    <a:moveTo>
                      <a:pt x="1080" y="131"/>
                    </a:moveTo>
                    <a:cubicBezTo>
                      <a:pt x="1081" y="131"/>
                      <a:pt x="1081" y="130"/>
                      <a:pt x="1081" y="129"/>
                    </a:cubicBezTo>
                    <a:cubicBezTo>
                      <a:pt x="1080" y="130"/>
                      <a:pt x="1080" y="130"/>
                      <a:pt x="1080" y="131"/>
                    </a:cubicBezTo>
                    <a:close/>
                    <a:moveTo>
                      <a:pt x="1481" y="134"/>
                    </a:moveTo>
                    <a:cubicBezTo>
                      <a:pt x="1480" y="134"/>
                      <a:pt x="1480" y="135"/>
                      <a:pt x="1480" y="135"/>
                    </a:cubicBezTo>
                    <a:cubicBezTo>
                      <a:pt x="1481" y="135"/>
                      <a:pt x="1481" y="134"/>
                      <a:pt x="1481" y="134"/>
                    </a:cubicBezTo>
                    <a:close/>
                    <a:moveTo>
                      <a:pt x="715" y="181"/>
                    </a:moveTo>
                    <a:cubicBezTo>
                      <a:pt x="715" y="180"/>
                      <a:pt x="715" y="180"/>
                      <a:pt x="715" y="179"/>
                    </a:cubicBezTo>
                    <a:cubicBezTo>
                      <a:pt x="715" y="180"/>
                      <a:pt x="715" y="181"/>
                      <a:pt x="715" y="181"/>
                    </a:cubicBezTo>
                    <a:close/>
                    <a:moveTo>
                      <a:pt x="1043" y="164"/>
                    </a:moveTo>
                    <a:cubicBezTo>
                      <a:pt x="1043" y="164"/>
                      <a:pt x="1043" y="163"/>
                      <a:pt x="1043" y="163"/>
                    </a:cubicBezTo>
                    <a:cubicBezTo>
                      <a:pt x="1043" y="163"/>
                      <a:pt x="1042" y="164"/>
                      <a:pt x="1043" y="164"/>
                    </a:cubicBezTo>
                    <a:close/>
                    <a:moveTo>
                      <a:pt x="464" y="104"/>
                    </a:moveTo>
                    <a:cubicBezTo>
                      <a:pt x="464" y="105"/>
                      <a:pt x="464" y="106"/>
                      <a:pt x="464" y="106"/>
                    </a:cubicBezTo>
                    <a:cubicBezTo>
                      <a:pt x="464" y="105"/>
                      <a:pt x="464" y="105"/>
                      <a:pt x="464" y="104"/>
                    </a:cubicBezTo>
                    <a:close/>
                    <a:moveTo>
                      <a:pt x="417" y="162"/>
                    </a:moveTo>
                    <a:cubicBezTo>
                      <a:pt x="417" y="163"/>
                      <a:pt x="416" y="164"/>
                      <a:pt x="417" y="164"/>
                    </a:cubicBezTo>
                    <a:cubicBezTo>
                      <a:pt x="417" y="164"/>
                      <a:pt x="417" y="163"/>
                      <a:pt x="417" y="162"/>
                    </a:cubicBezTo>
                    <a:close/>
                    <a:moveTo>
                      <a:pt x="1099" y="125"/>
                    </a:moveTo>
                    <a:cubicBezTo>
                      <a:pt x="1098" y="126"/>
                      <a:pt x="1098" y="126"/>
                      <a:pt x="1098" y="127"/>
                    </a:cubicBezTo>
                    <a:cubicBezTo>
                      <a:pt x="1099" y="126"/>
                      <a:pt x="1099" y="126"/>
                      <a:pt x="1099" y="125"/>
                    </a:cubicBezTo>
                    <a:close/>
                    <a:moveTo>
                      <a:pt x="1018" y="162"/>
                    </a:moveTo>
                    <a:cubicBezTo>
                      <a:pt x="1017" y="162"/>
                      <a:pt x="1017" y="163"/>
                      <a:pt x="1017" y="164"/>
                    </a:cubicBezTo>
                    <a:cubicBezTo>
                      <a:pt x="1018" y="163"/>
                      <a:pt x="1018" y="163"/>
                      <a:pt x="1018" y="162"/>
                    </a:cubicBezTo>
                    <a:close/>
                    <a:moveTo>
                      <a:pt x="1054" y="146"/>
                    </a:moveTo>
                    <a:cubicBezTo>
                      <a:pt x="1054" y="147"/>
                      <a:pt x="1054" y="148"/>
                      <a:pt x="1055" y="148"/>
                    </a:cubicBezTo>
                    <a:cubicBezTo>
                      <a:pt x="1055" y="148"/>
                      <a:pt x="1055" y="147"/>
                      <a:pt x="1054" y="146"/>
                    </a:cubicBezTo>
                    <a:close/>
                    <a:moveTo>
                      <a:pt x="972" y="164"/>
                    </a:moveTo>
                    <a:cubicBezTo>
                      <a:pt x="972" y="163"/>
                      <a:pt x="972" y="162"/>
                      <a:pt x="972" y="162"/>
                    </a:cubicBezTo>
                    <a:cubicBezTo>
                      <a:pt x="972" y="163"/>
                      <a:pt x="972" y="163"/>
                      <a:pt x="972" y="164"/>
                    </a:cubicBezTo>
                    <a:close/>
                    <a:moveTo>
                      <a:pt x="509" y="162"/>
                    </a:moveTo>
                    <a:cubicBezTo>
                      <a:pt x="508" y="162"/>
                      <a:pt x="508" y="163"/>
                      <a:pt x="508" y="164"/>
                    </a:cubicBezTo>
                    <a:cubicBezTo>
                      <a:pt x="509" y="163"/>
                      <a:pt x="509" y="163"/>
                      <a:pt x="509" y="162"/>
                    </a:cubicBezTo>
                    <a:close/>
                    <a:moveTo>
                      <a:pt x="490" y="164"/>
                    </a:moveTo>
                    <a:cubicBezTo>
                      <a:pt x="490" y="163"/>
                      <a:pt x="490" y="163"/>
                      <a:pt x="490" y="162"/>
                    </a:cubicBezTo>
                    <a:cubicBezTo>
                      <a:pt x="490" y="162"/>
                      <a:pt x="490" y="163"/>
                      <a:pt x="490" y="164"/>
                    </a:cubicBezTo>
                    <a:close/>
                    <a:moveTo>
                      <a:pt x="1309" y="163"/>
                    </a:moveTo>
                    <a:cubicBezTo>
                      <a:pt x="1309" y="162"/>
                      <a:pt x="1309" y="162"/>
                      <a:pt x="1309" y="161"/>
                    </a:cubicBezTo>
                    <a:cubicBezTo>
                      <a:pt x="1309" y="162"/>
                      <a:pt x="1308" y="163"/>
                      <a:pt x="1309" y="163"/>
                    </a:cubicBezTo>
                    <a:close/>
                    <a:moveTo>
                      <a:pt x="1071" y="163"/>
                    </a:moveTo>
                    <a:cubicBezTo>
                      <a:pt x="1072" y="163"/>
                      <a:pt x="1072" y="162"/>
                      <a:pt x="1072" y="161"/>
                    </a:cubicBezTo>
                    <a:cubicBezTo>
                      <a:pt x="1071" y="162"/>
                      <a:pt x="1071" y="163"/>
                      <a:pt x="1071" y="163"/>
                    </a:cubicBezTo>
                    <a:close/>
                    <a:moveTo>
                      <a:pt x="467" y="181"/>
                    </a:moveTo>
                    <a:cubicBezTo>
                      <a:pt x="467" y="180"/>
                      <a:pt x="467" y="180"/>
                      <a:pt x="466" y="179"/>
                    </a:cubicBezTo>
                    <a:cubicBezTo>
                      <a:pt x="466" y="180"/>
                      <a:pt x="466" y="181"/>
                      <a:pt x="467" y="181"/>
                    </a:cubicBezTo>
                    <a:close/>
                    <a:moveTo>
                      <a:pt x="1047" y="121"/>
                    </a:moveTo>
                    <a:cubicBezTo>
                      <a:pt x="1047" y="122"/>
                      <a:pt x="1047" y="123"/>
                      <a:pt x="1048" y="123"/>
                    </a:cubicBezTo>
                    <a:cubicBezTo>
                      <a:pt x="1048" y="122"/>
                      <a:pt x="1048" y="122"/>
                      <a:pt x="1047" y="121"/>
                    </a:cubicBezTo>
                    <a:close/>
                    <a:moveTo>
                      <a:pt x="1003" y="163"/>
                    </a:moveTo>
                    <a:cubicBezTo>
                      <a:pt x="1003" y="163"/>
                      <a:pt x="1003" y="162"/>
                      <a:pt x="1003" y="161"/>
                    </a:cubicBezTo>
                    <a:cubicBezTo>
                      <a:pt x="1003" y="162"/>
                      <a:pt x="1003" y="162"/>
                      <a:pt x="1003" y="163"/>
                    </a:cubicBezTo>
                    <a:close/>
                    <a:moveTo>
                      <a:pt x="989" y="161"/>
                    </a:moveTo>
                    <a:cubicBezTo>
                      <a:pt x="989" y="162"/>
                      <a:pt x="989" y="163"/>
                      <a:pt x="989" y="163"/>
                    </a:cubicBezTo>
                    <a:cubicBezTo>
                      <a:pt x="989" y="163"/>
                      <a:pt x="990" y="162"/>
                      <a:pt x="989" y="161"/>
                    </a:cubicBezTo>
                    <a:close/>
                    <a:moveTo>
                      <a:pt x="525" y="105"/>
                    </a:moveTo>
                    <a:cubicBezTo>
                      <a:pt x="524" y="105"/>
                      <a:pt x="524" y="106"/>
                      <a:pt x="524" y="107"/>
                    </a:cubicBezTo>
                    <a:cubicBezTo>
                      <a:pt x="525" y="106"/>
                      <a:pt x="525" y="105"/>
                      <a:pt x="525" y="105"/>
                    </a:cubicBezTo>
                    <a:close/>
                    <a:moveTo>
                      <a:pt x="1587" y="163"/>
                    </a:moveTo>
                    <a:cubicBezTo>
                      <a:pt x="1588" y="162"/>
                      <a:pt x="1588" y="161"/>
                      <a:pt x="1588" y="161"/>
                    </a:cubicBezTo>
                    <a:cubicBezTo>
                      <a:pt x="1587" y="161"/>
                      <a:pt x="1587" y="162"/>
                      <a:pt x="1587" y="163"/>
                    </a:cubicBezTo>
                    <a:close/>
                    <a:moveTo>
                      <a:pt x="1058" y="161"/>
                    </a:moveTo>
                    <a:cubicBezTo>
                      <a:pt x="1058" y="162"/>
                      <a:pt x="1058" y="162"/>
                      <a:pt x="1059" y="163"/>
                    </a:cubicBezTo>
                    <a:cubicBezTo>
                      <a:pt x="1059" y="162"/>
                      <a:pt x="1059" y="161"/>
                      <a:pt x="1058" y="161"/>
                    </a:cubicBezTo>
                    <a:close/>
                    <a:moveTo>
                      <a:pt x="1043" y="163"/>
                    </a:moveTo>
                    <a:cubicBezTo>
                      <a:pt x="1043" y="162"/>
                      <a:pt x="1043" y="161"/>
                      <a:pt x="1042" y="161"/>
                    </a:cubicBezTo>
                    <a:cubicBezTo>
                      <a:pt x="1042" y="161"/>
                      <a:pt x="1042" y="162"/>
                      <a:pt x="1043" y="163"/>
                    </a:cubicBezTo>
                    <a:close/>
                    <a:moveTo>
                      <a:pt x="479" y="161"/>
                    </a:moveTo>
                    <a:cubicBezTo>
                      <a:pt x="479" y="162"/>
                      <a:pt x="479" y="162"/>
                      <a:pt x="480" y="163"/>
                    </a:cubicBezTo>
                    <a:cubicBezTo>
                      <a:pt x="480" y="162"/>
                      <a:pt x="480" y="161"/>
                      <a:pt x="479" y="161"/>
                    </a:cubicBezTo>
                    <a:close/>
                    <a:moveTo>
                      <a:pt x="461" y="163"/>
                    </a:moveTo>
                    <a:cubicBezTo>
                      <a:pt x="461" y="162"/>
                      <a:pt x="461" y="161"/>
                      <a:pt x="461" y="161"/>
                    </a:cubicBezTo>
                    <a:cubicBezTo>
                      <a:pt x="461" y="161"/>
                      <a:pt x="461" y="162"/>
                      <a:pt x="461" y="163"/>
                    </a:cubicBezTo>
                    <a:close/>
                    <a:moveTo>
                      <a:pt x="1082" y="123"/>
                    </a:moveTo>
                    <a:cubicBezTo>
                      <a:pt x="1083" y="122"/>
                      <a:pt x="1083" y="122"/>
                      <a:pt x="1083" y="121"/>
                    </a:cubicBezTo>
                    <a:cubicBezTo>
                      <a:pt x="1082" y="122"/>
                      <a:pt x="1082" y="122"/>
                      <a:pt x="1082" y="123"/>
                    </a:cubicBezTo>
                    <a:close/>
                    <a:moveTo>
                      <a:pt x="973" y="105"/>
                    </a:moveTo>
                    <a:cubicBezTo>
                      <a:pt x="973" y="106"/>
                      <a:pt x="973" y="106"/>
                      <a:pt x="974" y="107"/>
                    </a:cubicBezTo>
                    <a:cubicBezTo>
                      <a:pt x="974" y="106"/>
                      <a:pt x="974" y="105"/>
                      <a:pt x="973" y="105"/>
                    </a:cubicBezTo>
                    <a:close/>
                    <a:moveTo>
                      <a:pt x="1020" y="107"/>
                    </a:moveTo>
                    <a:cubicBezTo>
                      <a:pt x="1021" y="106"/>
                      <a:pt x="1021" y="106"/>
                      <a:pt x="1021" y="105"/>
                    </a:cubicBezTo>
                    <a:cubicBezTo>
                      <a:pt x="1020" y="105"/>
                      <a:pt x="1020" y="106"/>
                      <a:pt x="1020" y="107"/>
                    </a:cubicBezTo>
                    <a:close/>
                    <a:moveTo>
                      <a:pt x="1100" y="121"/>
                    </a:moveTo>
                    <a:cubicBezTo>
                      <a:pt x="1100" y="122"/>
                      <a:pt x="1099" y="122"/>
                      <a:pt x="1100" y="123"/>
                    </a:cubicBezTo>
                    <a:cubicBezTo>
                      <a:pt x="1100" y="122"/>
                      <a:pt x="1100" y="122"/>
                      <a:pt x="1100" y="121"/>
                    </a:cubicBezTo>
                    <a:close/>
                    <a:moveTo>
                      <a:pt x="1277" y="50"/>
                    </a:moveTo>
                    <a:cubicBezTo>
                      <a:pt x="1278" y="50"/>
                      <a:pt x="1279" y="50"/>
                      <a:pt x="1279" y="50"/>
                    </a:cubicBezTo>
                    <a:cubicBezTo>
                      <a:pt x="1279" y="50"/>
                      <a:pt x="1278" y="50"/>
                      <a:pt x="1277" y="50"/>
                    </a:cubicBezTo>
                    <a:close/>
                    <a:moveTo>
                      <a:pt x="1246" y="107"/>
                    </a:moveTo>
                    <a:cubicBezTo>
                      <a:pt x="1246" y="106"/>
                      <a:pt x="1246" y="105"/>
                      <a:pt x="1245" y="105"/>
                    </a:cubicBezTo>
                    <a:cubicBezTo>
                      <a:pt x="1245" y="106"/>
                      <a:pt x="1245" y="106"/>
                      <a:pt x="1246" y="107"/>
                    </a:cubicBezTo>
                    <a:close/>
                    <a:moveTo>
                      <a:pt x="1048" y="180"/>
                    </a:moveTo>
                    <a:cubicBezTo>
                      <a:pt x="1048" y="180"/>
                      <a:pt x="1048" y="179"/>
                      <a:pt x="1047" y="179"/>
                    </a:cubicBezTo>
                    <a:cubicBezTo>
                      <a:pt x="1047" y="179"/>
                      <a:pt x="1047" y="180"/>
                      <a:pt x="1048" y="180"/>
                    </a:cubicBezTo>
                    <a:close/>
                    <a:moveTo>
                      <a:pt x="1605" y="160"/>
                    </a:moveTo>
                    <a:cubicBezTo>
                      <a:pt x="1605" y="161"/>
                      <a:pt x="1604" y="161"/>
                      <a:pt x="1604" y="162"/>
                    </a:cubicBezTo>
                    <a:cubicBezTo>
                      <a:pt x="1605" y="162"/>
                      <a:pt x="1605" y="161"/>
                      <a:pt x="1605" y="160"/>
                    </a:cubicBezTo>
                    <a:close/>
                    <a:moveTo>
                      <a:pt x="1275" y="51"/>
                    </a:moveTo>
                    <a:cubicBezTo>
                      <a:pt x="1276" y="51"/>
                      <a:pt x="1276" y="51"/>
                      <a:pt x="1277" y="50"/>
                    </a:cubicBezTo>
                    <a:cubicBezTo>
                      <a:pt x="1276" y="50"/>
                      <a:pt x="1276" y="50"/>
                      <a:pt x="1275" y="51"/>
                    </a:cubicBezTo>
                    <a:close/>
                    <a:moveTo>
                      <a:pt x="1018" y="160"/>
                    </a:moveTo>
                    <a:cubicBezTo>
                      <a:pt x="1018" y="161"/>
                      <a:pt x="1018" y="161"/>
                      <a:pt x="1018" y="162"/>
                    </a:cubicBezTo>
                    <a:cubicBezTo>
                      <a:pt x="1018" y="162"/>
                      <a:pt x="1018" y="161"/>
                      <a:pt x="1018" y="160"/>
                    </a:cubicBezTo>
                    <a:close/>
                    <a:moveTo>
                      <a:pt x="1345" y="135"/>
                    </a:moveTo>
                    <a:cubicBezTo>
                      <a:pt x="1346" y="134"/>
                      <a:pt x="1346" y="133"/>
                      <a:pt x="1346" y="133"/>
                    </a:cubicBezTo>
                    <a:cubicBezTo>
                      <a:pt x="1345" y="133"/>
                      <a:pt x="1345" y="134"/>
                      <a:pt x="1345" y="135"/>
                    </a:cubicBezTo>
                    <a:close/>
                    <a:moveTo>
                      <a:pt x="1089" y="160"/>
                    </a:moveTo>
                    <a:cubicBezTo>
                      <a:pt x="1088" y="160"/>
                      <a:pt x="1088" y="161"/>
                      <a:pt x="1088" y="161"/>
                    </a:cubicBezTo>
                    <a:cubicBezTo>
                      <a:pt x="1089" y="161"/>
                      <a:pt x="1089" y="160"/>
                      <a:pt x="1089" y="160"/>
                    </a:cubicBezTo>
                    <a:close/>
                    <a:moveTo>
                      <a:pt x="988" y="160"/>
                    </a:moveTo>
                    <a:cubicBezTo>
                      <a:pt x="988" y="160"/>
                      <a:pt x="988" y="161"/>
                      <a:pt x="989" y="161"/>
                    </a:cubicBezTo>
                    <a:cubicBezTo>
                      <a:pt x="989" y="161"/>
                      <a:pt x="989" y="160"/>
                      <a:pt x="988" y="160"/>
                    </a:cubicBezTo>
                    <a:close/>
                    <a:moveTo>
                      <a:pt x="433" y="105"/>
                    </a:moveTo>
                    <a:cubicBezTo>
                      <a:pt x="433" y="106"/>
                      <a:pt x="433" y="107"/>
                      <a:pt x="433" y="107"/>
                    </a:cubicBezTo>
                    <a:cubicBezTo>
                      <a:pt x="433" y="107"/>
                      <a:pt x="433" y="106"/>
                      <a:pt x="433" y="105"/>
                    </a:cubicBezTo>
                    <a:close/>
                    <a:moveTo>
                      <a:pt x="446" y="107"/>
                    </a:moveTo>
                    <a:cubicBezTo>
                      <a:pt x="446" y="107"/>
                      <a:pt x="446" y="106"/>
                      <a:pt x="445" y="105"/>
                    </a:cubicBezTo>
                    <a:cubicBezTo>
                      <a:pt x="445" y="106"/>
                      <a:pt x="445" y="107"/>
                      <a:pt x="446" y="107"/>
                    </a:cubicBezTo>
                    <a:close/>
                    <a:moveTo>
                      <a:pt x="505" y="107"/>
                    </a:moveTo>
                    <a:cubicBezTo>
                      <a:pt x="505" y="107"/>
                      <a:pt x="505" y="106"/>
                      <a:pt x="505" y="106"/>
                    </a:cubicBezTo>
                    <a:cubicBezTo>
                      <a:pt x="504" y="106"/>
                      <a:pt x="505" y="107"/>
                      <a:pt x="505" y="107"/>
                    </a:cubicBezTo>
                    <a:close/>
                    <a:moveTo>
                      <a:pt x="1013" y="179"/>
                    </a:moveTo>
                    <a:cubicBezTo>
                      <a:pt x="1012" y="179"/>
                      <a:pt x="1012" y="180"/>
                      <a:pt x="1012" y="180"/>
                    </a:cubicBezTo>
                    <a:cubicBezTo>
                      <a:pt x="1013" y="180"/>
                      <a:pt x="1013" y="179"/>
                      <a:pt x="1013" y="179"/>
                    </a:cubicBezTo>
                    <a:close/>
                    <a:moveTo>
                      <a:pt x="509" y="160"/>
                    </a:moveTo>
                    <a:cubicBezTo>
                      <a:pt x="509" y="160"/>
                      <a:pt x="509" y="161"/>
                      <a:pt x="509" y="161"/>
                    </a:cubicBezTo>
                    <a:cubicBezTo>
                      <a:pt x="509" y="161"/>
                      <a:pt x="509" y="160"/>
                      <a:pt x="509" y="160"/>
                    </a:cubicBezTo>
                    <a:close/>
                    <a:moveTo>
                      <a:pt x="490" y="162"/>
                    </a:moveTo>
                    <a:cubicBezTo>
                      <a:pt x="491" y="161"/>
                      <a:pt x="491" y="160"/>
                      <a:pt x="491" y="160"/>
                    </a:cubicBezTo>
                    <a:cubicBezTo>
                      <a:pt x="490" y="160"/>
                      <a:pt x="490" y="161"/>
                      <a:pt x="490" y="162"/>
                    </a:cubicBezTo>
                    <a:close/>
                    <a:moveTo>
                      <a:pt x="571" y="51"/>
                    </a:moveTo>
                    <a:cubicBezTo>
                      <a:pt x="571" y="51"/>
                      <a:pt x="572" y="52"/>
                      <a:pt x="572" y="52"/>
                    </a:cubicBezTo>
                    <a:cubicBezTo>
                      <a:pt x="572" y="51"/>
                      <a:pt x="572" y="51"/>
                      <a:pt x="571" y="51"/>
                    </a:cubicBezTo>
                    <a:close/>
                    <a:moveTo>
                      <a:pt x="1273" y="51"/>
                    </a:moveTo>
                    <a:cubicBezTo>
                      <a:pt x="1274" y="51"/>
                      <a:pt x="1274" y="51"/>
                      <a:pt x="1275" y="51"/>
                    </a:cubicBezTo>
                    <a:cubicBezTo>
                      <a:pt x="1274" y="51"/>
                      <a:pt x="1273" y="51"/>
                      <a:pt x="1273" y="51"/>
                    </a:cubicBezTo>
                    <a:close/>
                    <a:moveTo>
                      <a:pt x="1072" y="161"/>
                    </a:moveTo>
                    <a:cubicBezTo>
                      <a:pt x="1072" y="160"/>
                      <a:pt x="1072" y="160"/>
                      <a:pt x="1072" y="159"/>
                    </a:cubicBezTo>
                    <a:cubicBezTo>
                      <a:pt x="1072" y="160"/>
                      <a:pt x="1072" y="160"/>
                      <a:pt x="1072" y="161"/>
                    </a:cubicBezTo>
                    <a:close/>
                    <a:moveTo>
                      <a:pt x="1605" y="115"/>
                    </a:moveTo>
                    <a:cubicBezTo>
                      <a:pt x="1605" y="115"/>
                      <a:pt x="1605" y="114"/>
                      <a:pt x="1605" y="114"/>
                    </a:cubicBezTo>
                    <a:cubicBezTo>
                      <a:pt x="1604" y="114"/>
                      <a:pt x="1605" y="115"/>
                      <a:pt x="1605" y="115"/>
                    </a:cubicBezTo>
                    <a:close/>
                    <a:moveTo>
                      <a:pt x="1058" y="159"/>
                    </a:moveTo>
                    <a:cubicBezTo>
                      <a:pt x="1057" y="160"/>
                      <a:pt x="1058" y="160"/>
                      <a:pt x="1058" y="161"/>
                    </a:cubicBezTo>
                    <a:cubicBezTo>
                      <a:pt x="1058" y="160"/>
                      <a:pt x="1058" y="160"/>
                      <a:pt x="1058" y="159"/>
                    </a:cubicBezTo>
                    <a:close/>
                    <a:moveTo>
                      <a:pt x="449" y="51"/>
                    </a:moveTo>
                    <a:cubicBezTo>
                      <a:pt x="449" y="52"/>
                      <a:pt x="449" y="53"/>
                      <a:pt x="450" y="53"/>
                    </a:cubicBezTo>
                    <a:cubicBezTo>
                      <a:pt x="450" y="53"/>
                      <a:pt x="450" y="52"/>
                      <a:pt x="449" y="51"/>
                    </a:cubicBezTo>
                    <a:close/>
                    <a:moveTo>
                      <a:pt x="479" y="159"/>
                    </a:moveTo>
                    <a:cubicBezTo>
                      <a:pt x="479" y="160"/>
                      <a:pt x="479" y="160"/>
                      <a:pt x="479" y="161"/>
                    </a:cubicBezTo>
                    <a:cubicBezTo>
                      <a:pt x="479" y="160"/>
                      <a:pt x="479" y="160"/>
                      <a:pt x="479" y="159"/>
                    </a:cubicBezTo>
                    <a:close/>
                    <a:moveTo>
                      <a:pt x="425" y="136"/>
                    </a:moveTo>
                    <a:cubicBezTo>
                      <a:pt x="424" y="136"/>
                      <a:pt x="424" y="137"/>
                      <a:pt x="424" y="138"/>
                    </a:cubicBezTo>
                    <a:cubicBezTo>
                      <a:pt x="425" y="137"/>
                      <a:pt x="425" y="137"/>
                      <a:pt x="425" y="136"/>
                    </a:cubicBezTo>
                    <a:close/>
                    <a:moveTo>
                      <a:pt x="1607" y="107"/>
                    </a:moveTo>
                    <a:cubicBezTo>
                      <a:pt x="1608" y="107"/>
                      <a:pt x="1608" y="106"/>
                      <a:pt x="1608" y="106"/>
                    </a:cubicBezTo>
                    <a:cubicBezTo>
                      <a:pt x="1607" y="106"/>
                      <a:pt x="1607" y="107"/>
                      <a:pt x="1607" y="107"/>
                    </a:cubicBezTo>
                    <a:close/>
                    <a:moveTo>
                      <a:pt x="1727" y="121"/>
                    </a:moveTo>
                    <a:cubicBezTo>
                      <a:pt x="1727" y="122"/>
                      <a:pt x="1727" y="122"/>
                      <a:pt x="1728" y="123"/>
                    </a:cubicBezTo>
                    <a:cubicBezTo>
                      <a:pt x="1728" y="122"/>
                      <a:pt x="1728" y="121"/>
                      <a:pt x="1727" y="121"/>
                    </a:cubicBezTo>
                    <a:close/>
                    <a:moveTo>
                      <a:pt x="519" y="53"/>
                    </a:moveTo>
                    <a:cubicBezTo>
                      <a:pt x="520" y="53"/>
                      <a:pt x="520" y="52"/>
                      <a:pt x="520" y="51"/>
                    </a:cubicBezTo>
                    <a:cubicBezTo>
                      <a:pt x="519" y="52"/>
                      <a:pt x="519" y="53"/>
                      <a:pt x="519" y="53"/>
                    </a:cubicBezTo>
                    <a:close/>
                    <a:moveTo>
                      <a:pt x="471" y="131"/>
                    </a:moveTo>
                    <a:cubicBezTo>
                      <a:pt x="471" y="132"/>
                      <a:pt x="471" y="133"/>
                      <a:pt x="472" y="133"/>
                    </a:cubicBezTo>
                    <a:cubicBezTo>
                      <a:pt x="472" y="133"/>
                      <a:pt x="472" y="132"/>
                      <a:pt x="471" y="131"/>
                    </a:cubicBezTo>
                    <a:close/>
                    <a:moveTo>
                      <a:pt x="464" y="106"/>
                    </a:moveTo>
                    <a:cubicBezTo>
                      <a:pt x="464" y="107"/>
                      <a:pt x="464" y="107"/>
                      <a:pt x="465" y="108"/>
                    </a:cubicBezTo>
                    <a:cubicBezTo>
                      <a:pt x="465" y="107"/>
                      <a:pt x="465" y="107"/>
                      <a:pt x="464" y="106"/>
                    </a:cubicBezTo>
                    <a:close/>
                    <a:moveTo>
                      <a:pt x="1143" y="159"/>
                    </a:moveTo>
                    <a:cubicBezTo>
                      <a:pt x="1143" y="159"/>
                      <a:pt x="1142" y="158"/>
                      <a:pt x="1142" y="158"/>
                    </a:cubicBezTo>
                    <a:cubicBezTo>
                      <a:pt x="1142" y="159"/>
                      <a:pt x="1143" y="159"/>
                      <a:pt x="1143" y="159"/>
                    </a:cubicBezTo>
                    <a:close/>
                    <a:moveTo>
                      <a:pt x="429" y="122"/>
                    </a:moveTo>
                    <a:cubicBezTo>
                      <a:pt x="428" y="122"/>
                      <a:pt x="428" y="123"/>
                      <a:pt x="428" y="123"/>
                    </a:cubicBezTo>
                    <a:cubicBezTo>
                      <a:pt x="429" y="123"/>
                      <a:pt x="429" y="122"/>
                      <a:pt x="429" y="122"/>
                    </a:cubicBezTo>
                    <a:close/>
                    <a:moveTo>
                      <a:pt x="1042" y="160"/>
                    </a:moveTo>
                    <a:cubicBezTo>
                      <a:pt x="1042" y="160"/>
                      <a:pt x="1042" y="159"/>
                      <a:pt x="1041" y="158"/>
                    </a:cubicBezTo>
                    <a:cubicBezTo>
                      <a:pt x="1041" y="159"/>
                      <a:pt x="1041" y="160"/>
                      <a:pt x="1042" y="160"/>
                    </a:cubicBezTo>
                    <a:close/>
                    <a:moveTo>
                      <a:pt x="1019" y="158"/>
                    </a:moveTo>
                    <a:cubicBezTo>
                      <a:pt x="1018" y="159"/>
                      <a:pt x="1018" y="160"/>
                      <a:pt x="1018" y="160"/>
                    </a:cubicBezTo>
                    <a:cubicBezTo>
                      <a:pt x="1019" y="160"/>
                      <a:pt x="1019" y="159"/>
                      <a:pt x="1019" y="158"/>
                    </a:cubicBezTo>
                    <a:close/>
                    <a:moveTo>
                      <a:pt x="418" y="158"/>
                    </a:moveTo>
                    <a:cubicBezTo>
                      <a:pt x="418" y="159"/>
                      <a:pt x="418" y="160"/>
                      <a:pt x="418" y="160"/>
                    </a:cubicBezTo>
                    <a:cubicBezTo>
                      <a:pt x="418" y="160"/>
                      <a:pt x="418" y="159"/>
                      <a:pt x="418" y="158"/>
                    </a:cubicBezTo>
                    <a:close/>
                    <a:moveTo>
                      <a:pt x="1086" y="108"/>
                    </a:moveTo>
                    <a:cubicBezTo>
                      <a:pt x="1087" y="107"/>
                      <a:pt x="1087" y="107"/>
                      <a:pt x="1087" y="106"/>
                    </a:cubicBezTo>
                    <a:cubicBezTo>
                      <a:pt x="1086" y="107"/>
                      <a:pt x="1086" y="107"/>
                      <a:pt x="1086" y="108"/>
                    </a:cubicBezTo>
                    <a:close/>
                    <a:moveTo>
                      <a:pt x="1078" y="140"/>
                    </a:moveTo>
                    <a:cubicBezTo>
                      <a:pt x="1078" y="139"/>
                      <a:pt x="1078" y="138"/>
                      <a:pt x="1078" y="138"/>
                    </a:cubicBezTo>
                    <a:cubicBezTo>
                      <a:pt x="1077" y="138"/>
                      <a:pt x="1078" y="139"/>
                      <a:pt x="1078" y="140"/>
                    </a:cubicBezTo>
                    <a:close/>
                    <a:moveTo>
                      <a:pt x="994" y="179"/>
                    </a:moveTo>
                    <a:cubicBezTo>
                      <a:pt x="994" y="179"/>
                      <a:pt x="994" y="180"/>
                      <a:pt x="994" y="180"/>
                    </a:cubicBezTo>
                    <a:cubicBezTo>
                      <a:pt x="994" y="180"/>
                      <a:pt x="994" y="179"/>
                      <a:pt x="994" y="179"/>
                    </a:cubicBezTo>
                    <a:close/>
                    <a:moveTo>
                      <a:pt x="1568" y="158"/>
                    </a:moveTo>
                    <a:cubicBezTo>
                      <a:pt x="1568" y="159"/>
                      <a:pt x="1568" y="159"/>
                      <a:pt x="1569" y="160"/>
                    </a:cubicBezTo>
                    <a:cubicBezTo>
                      <a:pt x="1569" y="159"/>
                      <a:pt x="1569" y="158"/>
                      <a:pt x="1568" y="158"/>
                    </a:cubicBezTo>
                    <a:close/>
                    <a:moveTo>
                      <a:pt x="1550" y="160"/>
                    </a:moveTo>
                    <a:cubicBezTo>
                      <a:pt x="1550" y="159"/>
                      <a:pt x="1550" y="158"/>
                      <a:pt x="1550" y="158"/>
                    </a:cubicBezTo>
                    <a:cubicBezTo>
                      <a:pt x="1550" y="159"/>
                      <a:pt x="1550" y="159"/>
                      <a:pt x="1550" y="160"/>
                    </a:cubicBezTo>
                    <a:close/>
                    <a:moveTo>
                      <a:pt x="1269" y="53"/>
                    </a:moveTo>
                    <a:cubicBezTo>
                      <a:pt x="1270" y="53"/>
                      <a:pt x="1271" y="52"/>
                      <a:pt x="1271" y="52"/>
                    </a:cubicBezTo>
                    <a:cubicBezTo>
                      <a:pt x="1270" y="52"/>
                      <a:pt x="1270" y="52"/>
                      <a:pt x="1269" y="53"/>
                    </a:cubicBezTo>
                    <a:close/>
                    <a:moveTo>
                      <a:pt x="1531" y="108"/>
                    </a:moveTo>
                    <a:cubicBezTo>
                      <a:pt x="1531" y="107"/>
                      <a:pt x="1531" y="107"/>
                      <a:pt x="1530" y="106"/>
                    </a:cubicBezTo>
                    <a:cubicBezTo>
                      <a:pt x="1530" y="107"/>
                      <a:pt x="1530" y="107"/>
                      <a:pt x="1531" y="108"/>
                    </a:cubicBezTo>
                    <a:close/>
                    <a:moveTo>
                      <a:pt x="1089" y="158"/>
                    </a:moveTo>
                    <a:cubicBezTo>
                      <a:pt x="1089" y="158"/>
                      <a:pt x="1089" y="159"/>
                      <a:pt x="1089" y="160"/>
                    </a:cubicBezTo>
                    <a:cubicBezTo>
                      <a:pt x="1089" y="159"/>
                      <a:pt x="1089" y="158"/>
                      <a:pt x="1089" y="158"/>
                    </a:cubicBezTo>
                    <a:close/>
                    <a:moveTo>
                      <a:pt x="971" y="160"/>
                    </a:moveTo>
                    <a:cubicBezTo>
                      <a:pt x="971" y="159"/>
                      <a:pt x="971" y="158"/>
                      <a:pt x="971" y="158"/>
                    </a:cubicBezTo>
                    <a:cubicBezTo>
                      <a:pt x="971" y="159"/>
                      <a:pt x="970" y="159"/>
                      <a:pt x="971" y="160"/>
                    </a:cubicBezTo>
                    <a:close/>
                    <a:moveTo>
                      <a:pt x="524" y="107"/>
                    </a:moveTo>
                    <a:cubicBezTo>
                      <a:pt x="524" y="107"/>
                      <a:pt x="524" y="108"/>
                      <a:pt x="524" y="108"/>
                    </a:cubicBezTo>
                    <a:cubicBezTo>
                      <a:pt x="524" y="108"/>
                      <a:pt x="524" y="107"/>
                      <a:pt x="524" y="107"/>
                    </a:cubicBezTo>
                    <a:close/>
                    <a:moveTo>
                      <a:pt x="510" y="158"/>
                    </a:moveTo>
                    <a:cubicBezTo>
                      <a:pt x="509" y="158"/>
                      <a:pt x="509" y="159"/>
                      <a:pt x="509" y="160"/>
                    </a:cubicBezTo>
                    <a:cubicBezTo>
                      <a:pt x="510" y="159"/>
                      <a:pt x="510" y="158"/>
                      <a:pt x="510" y="158"/>
                    </a:cubicBezTo>
                    <a:close/>
                    <a:moveTo>
                      <a:pt x="1606" y="157"/>
                    </a:moveTo>
                    <a:cubicBezTo>
                      <a:pt x="1606" y="158"/>
                      <a:pt x="1606" y="158"/>
                      <a:pt x="1606" y="159"/>
                    </a:cubicBezTo>
                    <a:cubicBezTo>
                      <a:pt x="1606" y="159"/>
                      <a:pt x="1606" y="158"/>
                      <a:pt x="1606" y="157"/>
                    </a:cubicBezTo>
                    <a:close/>
                    <a:moveTo>
                      <a:pt x="1004" y="159"/>
                    </a:moveTo>
                    <a:cubicBezTo>
                      <a:pt x="1004" y="159"/>
                      <a:pt x="1005" y="158"/>
                      <a:pt x="1005" y="157"/>
                    </a:cubicBezTo>
                    <a:cubicBezTo>
                      <a:pt x="1004" y="158"/>
                      <a:pt x="1004" y="159"/>
                      <a:pt x="1004" y="159"/>
                    </a:cubicBezTo>
                    <a:close/>
                    <a:moveTo>
                      <a:pt x="988" y="157"/>
                    </a:moveTo>
                    <a:cubicBezTo>
                      <a:pt x="988" y="158"/>
                      <a:pt x="988" y="159"/>
                      <a:pt x="988" y="159"/>
                    </a:cubicBezTo>
                    <a:cubicBezTo>
                      <a:pt x="988" y="159"/>
                      <a:pt x="989" y="158"/>
                      <a:pt x="988" y="157"/>
                    </a:cubicBezTo>
                    <a:close/>
                    <a:moveTo>
                      <a:pt x="491" y="159"/>
                    </a:moveTo>
                    <a:cubicBezTo>
                      <a:pt x="491" y="159"/>
                      <a:pt x="491" y="158"/>
                      <a:pt x="491" y="157"/>
                    </a:cubicBezTo>
                    <a:cubicBezTo>
                      <a:pt x="491" y="158"/>
                      <a:pt x="491" y="159"/>
                      <a:pt x="491" y="159"/>
                    </a:cubicBezTo>
                    <a:close/>
                    <a:moveTo>
                      <a:pt x="956" y="108"/>
                    </a:moveTo>
                    <a:cubicBezTo>
                      <a:pt x="956" y="108"/>
                      <a:pt x="956" y="107"/>
                      <a:pt x="955" y="107"/>
                    </a:cubicBezTo>
                    <a:cubicBezTo>
                      <a:pt x="955" y="107"/>
                      <a:pt x="955" y="108"/>
                      <a:pt x="956" y="108"/>
                    </a:cubicBezTo>
                    <a:close/>
                    <a:moveTo>
                      <a:pt x="974" y="107"/>
                    </a:moveTo>
                    <a:cubicBezTo>
                      <a:pt x="974" y="107"/>
                      <a:pt x="974" y="108"/>
                      <a:pt x="974" y="109"/>
                    </a:cubicBezTo>
                    <a:cubicBezTo>
                      <a:pt x="974" y="108"/>
                      <a:pt x="975" y="107"/>
                      <a:pt x="974" y="107"/>
                    </a:cubicBezTo>
                    <a:close/>
                    <a:moveTo>
                      <a:pt x="1019" y="108"/>
                    </a:moveTo>
                    <a:cubicBezTo>
                      <a:pt x="1020" y="108"/>
                      <a:pt x="1020" y="107"/>
                      <a:pt x="1020" y="107"/>
                    </a:cubicBezTo>
                    <a:cubicBezTo>
                      <a:pt x="1019" y="107"/>
                      <a:pt x="1019" y="108"/>
                      <a:pt x="1019" y="108"/>
                    </a:cubicBezTo>
                    <a:close/>
                    <a:moveTo>
                      <a:pt x="1043" y="107"/>
                    </a:moveTo>
                    <a:cubicBezTo>
                      <a:pt x="1043" y="107"/>
                      <a:pt x="1043" y="108"/>
                      <a:pt x="1044" y="109"/>
                    </a:cubicBezTo>
                    <a:cubicBezTo>
                      <a:pt x="1044" y="108"/>
                      <a:pt x="1044" y="107"/>
                      <a:pt x="1043" y="107"/>
                    </a:cubicBezTo>
                    <a:close/>
                    <a:moveTo>
                      <a:pt x="1438" y="125"/>
                    </a:moveTo>
                    <a:cubicBezTo>
                      <a:pt x="1438" y="126"/>
                      <a:pt x="1438" y="127"/>
                      <a:pt x="1439" y="127"/>
                    </a:cubicBezTo>
                    <a:cubicBezTo>
                      <a:pt x="1439" y="126"/>
                      <a:pt x="1439" y="126"/>
                      <a:pt x="1438" y="125"/>
                    </a:cubicBezTo>
                    <a:close/>
                    <a:moveTo>
                      <a:pt x="1328" y="157"/>
                    </a:moveTo>
                    <a:cubicBezTo>
                      <a:pt x="1328" y="157"/>
                      <a:pt x="1328" y="158"/>
                      <a:pt x="1329" y="159"/>
                    </a:cubicBezTo>
                    <a:cubicBezTo>
                      <a:pt x="1329" y="158"/>
                      <a:pt x="1329" y="157"/>
                      <a:pt x="1328" y="157"/>
                    </a:cubicBezTo>
                    <a:close/>
                    <a:moveTo>
                      <a:pt x="1073" y="159"/>
                    </a:moveTo>
                    <a:cubicBezTo>
                      <a:pt x="1073" y="158"/>
                      <a:pt x="1073" y="157"/>
                      <a:pt x="1073" y="157"/>
                    </a:cubicBezTo>
                    <a:cubicBezTo>
                      <a:pt x="1072" y="157"/>
                      <a:pt x="1072" y="158"/>
                      <a:pt x="1073" y="159"/>
                    </a:cubicBezTo>
                    <a:close/>
                    <a:moveTo>
                      <a:pt x="1057" y="157"/>
                    </a:moveTo>
                    <a:cubicBezTo>
                      <a:pt x="1057" y="157"/>
                      <a:pt x="1057" y="158"/>
                      <a:pt x="1057" y="159"/>
                    </a:cubicBezTo>
                    <a:cubicBezTo>
                      <a:pt x="1057" y="158"/>
                      <a:pt x="1058" y="157"/>
                      <a:pt x="1057" y="157"/>
                    </a:cubicBezTo>
                    <a:close/>
                    <a:moveTo>
                      <a:pt x="1041" y="159"/>
                    </a:moveTo>
                    <a:cubicBezTo>
                      <a:pt x="1041" y="158"/>
                      <a:pt x="1041" y="157"/>
                      <a:pt x="1041" y="157"/>
                    </a:cubicBezTo>
                    <a:cubicBezTo>
                      <a:pt x="1041" y="157"/>
                      <a:pt x="1041" y="158"/>
                      <a:pt x="1041" y="159"/>
                    </a:cubicBezTo>
                    <a:close/>
                    <a:moveTo>
                      <a:pt x="478" y="157"/>
                    </a:moveTo>
                    <a:cubicBezTo>
                      <a:pt x="478" y="157"/>
                      <a:pt x="478" y="158"/>
                      <a:pt x="479" y="159"/>
                    </a:cubicBezTo>
                    <a:cubicBezTo>
                      <a:pt x="479" y="158"/>
                      <a:pt x="479" y="157"/>
                      <a:pt x="478" y="157"/>
                    </a:cubicBezTo>
                    <a:close/>
                    <a:moveTo>
                      <a:pt x="460" y="159"/>
                    </a:moveTo>
                    <a:cubicBezTo>
                      <a:pt x="460" y="158"/>
                      <a:pt x="460" y="157"/>
                      <a:pt x="460" y="157"/>
                    </a:cubicBezTo>
                    <a:cubicBezTo>
                      <a:pt x="460" y="157"/>
                      <a:pt x="460" y="158"/>
                      <a:pt x="460" y="159"/>
                    </a:cubicBezTo>
                    <a:close/>
                    <a:moveTo>
                      <a:pt x="960" y="123"/>
                    </a:moveTo>
                    <a:cubicBezTo>
                      <a:pt x="960" y="123"/>
                      <a:pt x="960" y="122"/>
                      <a:pt x="960" y="122"/>
                    </a:cubicBezTo>
                    <a:cubicBezTo>
                      <a:pt x="960" y="122"/>
                      <a:pt x="959" y="123"/>
                      <a:pt x="960" y="123"/>
                    </a:cubicBezTo>
                    <a:close/>
                    <a:moveTo>
                      <a:pt x="412" y="179"/>
                    </a:moveTo>
                    <a:cubicBezTo>
                      <a:pt x="412" y="179"/>
                      <a:pt x="412" y="180"/>
                      <a:pt x="412" y="180"/>
                    </a:cubicBezTo>
                    <a:cubicBezTo>
                      <a:pt x="413" y="180"/>
                      <a:pt x="412" y="179"/>
                      <a:pt x="412" y="179"/>
                    </a:cubicBezTo>
                    <a:close/>
                    <a:moveTo>
                      <a:pt x="1568" y="156"/>
                    </a:moveTo>
                    <a:cubicBezTo>
                      <a:pt x="1568" y="157"/>
                      <a:pt x="1568" y="158"/>
                      <a:pt x="1568" y="158"/>
                    </a:cubicBezTo>
                    <a:cubicBezTo>
                      <a:pt x="1568" y="157"/>
                      <a:pt x="1568" y="157"/>
                      <a:pt x="1568" y="156"/>
                    </a:cubicBezTo>
                    <a:close/>
                    <a:moveTo>
                      <a:pt x="1542" y="138"/>
                    </a:moveTo>
                    <a:cubicBezTo>
                      <a:pt x="1542" y="138"/>
                      <a:pt x="1542" y="137"/>
                      <a:pt x="1542" y="137"/>
                    </a:cubicBezTo>
                    <a:cubicBezTo>
                      <a:pt x="1542" y="137"/>
                      <a:pt x="1542" y="138"/>
                      <a:pt x="1542" y="138"/>
                    </a:cubicBezTo>
                    <a:close/>
                    <a:moveTo>
                      <a:pt x="971" y="158"/>
                    </a:moveTo>
                    <a:cubicBezTo>
                      <a:pt x="971" y="157"/>
                      <a:pt x="971" y="157"/>
                      <a:pt x="970" y="156"/>
                    </a:cubicBezTo>
                    <a:cubicBezTo>
                      <a:pt x="970" y="157"/>
                      <a:pt x="970" y="157"/>
                      <a:pt x="971" y="158"/>
                    </a:cubicBezTo>
                    <a:close/>
                    <a:moveTo>
                      <a:pt x="1005" y="157"/>
                    </a:moveTo>
                    <a:cubicBezTo>
                      <a:pt x="1005" y="157"/>
                      <a:pt x="1005" y="156"/>
                      <a:pt x="1005" y="156"/>
                    </a:cubicBezTo>
                    <a:cubicBezTo>
                      <a:pt x="1004" y="156"/>
                      <a:pt x="1004" y="157"/>
                      <a:pt x="1005" y="157"/>
                    </a:cubicBezTo>
                    <a:close/>
                    <a:moveTo>
                      <a:pt x="987" y="156"/>
                    </a:moveTo>
                    <a:cubicBezTo>
                      <a:pt x="987" y="156"/>
                      <a:pt x="987" y="157"/>
                      <a:pt x="988" y="157"/>
                    </a:cubicBezTo>
                    <a:cubicBezTo>
                      <a:pt x="988" y="157"/>
                      <a:pt x="988" y="156"/>
                      <a:pt x="987" y="156"/>
                    </a:cubicBezTo>
                    <a:close/>
                    <a:moveTo>
                      <a:pt x="510" y="156"/>
                    </a:moveTo>
                    <a:cubicBezTo>
                      <a:pt x="510" y="156"/>
                      <a:pt x="510" y="157"/>
                      <a:pt x="510" y="157"/>
                    </a:cubicBezTo>
                    <a:cubicBezTo>
                      <a:pt x="510" y="157"/>
                      <a:pt x="510" y="156"/>
                      <a:pt x="510" y="156"/>
                    </a:cubicBezTo>
                    <a:close/>
                    <a:moveTo>
                      <a:pt x="491" y="157"/>
                    </a:moveTo>
                    <a:cubicBezTo>
                      <a:pt x="492" y="157"/>
                      <a:pt x="492" y="156"/>
                      <a:pt x="492" y="156"/>
                    </a:cubicBezTo>
                    <a:cubicBezTo>
                      <a:pt x="491" y="156"/>
                      <a:pt x="491" y="157"/>
                      <a:pt x="491" y="157"/>
                    </a:cubicBezTo>
                    <a:close/>
                    <a:moveTo>
                      <a:pt x="1328" y="155"/>
                    </a:moveTo>
                    <a:cubicBezTo>
                      <a:pt x="1328" y="156"/>
                      <a:pt x="1328" y="156"/>
                      <a:pt x="1328" y="157"/>
                    </a:cubicBezTo>
                    <a:cubicBezTo>
                      <a:pt x="1328" y="156"/>
                      <a:pt x="1328" y="155"/>
                      <a:pt x="1328" y="155"/>
                    </a:cubicBezTo>
                    <a:close/>
                    <a:moveTo>
                      <a:pt x="498" y="133"/>
                    </a:moveTo>
                    <a:cubicBezTo>
                      <a:pt x="498" y="133"/>
                      <a:pt x="498" y="132"/>
                      <a:pt x="498" y="131"/>
                    </a:cubicBezTo>
                    <a:cubicBezTo>
                      <a:pt x="498" y="132"/>
                      <a:pt x="498" y="133"/>
                      <a:pt x="498" y="133"/>
                    </a:cubicBezTo>
                    <a:close/>
                    <a:moveTo>
                      <a:pt x="978" y="122"/>
                    </a:moveTo>
                    <a:cubicBezTo>
                      <a:pt x="978" y="122"/>
                      <a:pt x="978" y="123"/>
                      <a:pt x="979" y="124"/>
                    </a:cubicBezTo>
                    <a:cubicBezTo>
                      <a:pt x="979" y="123"/>
                      <a:pt x="979" y="122"/>
                      <a:pt x="978" y="122"/>
                    </a:cubicBezTo>
                    <a:close/>
                    <a:moveTo>
                      <a:pt x="1607" y="109"/>
                    </a:moveTo>
                    <a:cubicBezTo>
                      <a:pt x="1607" y="109"/>
                      <a:pt x="1608" y="108"/>
                      <a:pt x="1607" y="107"/>
                    </a:cubicBezTo>
                    <a:cubicBezTo>
                      <a:pt x="1607" y="108"/>
                      <a:pt x="1607" y="108"/>
                      <a:pt x="1607" y="109"/>
                    </a:cubicBezTo>
                    <a:close/>
                    <a:moveTo>
                      <a:pt x="1015" y="124"/>
                    </a:moveTo>
                    <a:cubicBezTo>
                      <a:pt x="1015" y="123"/>
                      <a:pt x="1015" y="122"/>
                      <a:pt x="1015" y="122"/>
                    </a:cubicBezTo>
                    <a:cubicBezTo>
                      <a:pt x="1015" y="122"/>
                      <a:pt x="1015" y="123"/>
                      <a:pt x="1015" y="124"/>
                    </a:cubicBezTo>
                    <a:close/>
                    <a:moveTo>
                      <a:pt x="1073" y="157"/>
                    </a:moveTo>
                    <a:cubicBezTo>
                      <a:pt x="1074" y="156"/>
                      <a:pt x="1074" y="156"/>
                      <a:pt x="1074" y="155"/>
                    </a:cubicBezTo>
                    <a:cubicBezTo>
                      <a:pt x="1073" y="156"/>
                      <a:pt x="1073" y="156"/>
                      <a:pt x="1073" y="157"/>
                    </a:cubicBezTo>
                    <a:close/>
                    <a:moveTo>
                      <a:pt x="1607" y="155"/>
                    </a:moveTo>
                    <a:cubicBezTo>
                      <a:pt x="1607" y="155"/>
                      <a:pt x="1607" y="156"/>
                      <a:pt x="1607" y="156"/>
                    </a:cubicBezTo>
                    <a:cubicBezTo>
                      <a:pt x="1608" y="156"/>
                      <a:pt x="1607" y="155"/>
                      <a:pt x="1607" y="155"/>
                    </a:cubicBezTo>
                    <a:close/>
                    <a:moveTo>
                      <a:pt x="502" y="116"/>
                    </a:moveTo>
                    <a:cubicBezTo>
                      <a:pt x="503" y="116"/>
                      <a:pt x="503" y="115"/>
                      <a:pt x="503" y="114"/>
                    </a:cubicBezTo>
                    <a:cubicBezTo>
                      <a:pt x="502" y="115"/>
                      <a:pt x="502" y="115"/>
                      <a:pt x="502" y="116"/>
                    </a:cubicBezTo>
                    <a:close/>
                    <a:moveTo>
                      <a:pt x="1052" y="138"/>
                    </a:moveTo>
                    <a:cubicBezTo>
                      <a:pt x="1052" y="139"/>
                      <a:pt x="1052" y="139"/>
                      <a:pt x="1052" y="140"/>
                    </a:cubicBezTo>
                    <a:cubicBezTo>
                      <a:pt x="1052" y="139"/>
                      <a:pt x="1052" y="138"/>
                      <a:pt x="1052" y="138"/>
                    </a:cubicBezTo>
                    <a:close/>
                    <a:moveTo>
                      <a:pt x="446" y="110"/>
                    </a:moveTo>
                    <a:cubicBezTo>
                      <a:pt x="447" y="109"/>
                      <a:pt x="446" y="108"/>
                      <a:pt x="446" y="108"/>
                    </a:cubicBezTo>
                    <a:cubicBezTo>
                      <a:pt x="446" y="108"/>
                      <a:pt x="446" y="109"/>
                      <a:pt x="446" y="110"/>
                    </a:cubicBezTo>
                    <a:close/>
                    <a:moveTo>
                      <a:pt x="504" y="110"/>
                    </a:moveTo>
                    <a:cubicBezTo>
                      <a:pt x="505" y="109"/>
                      <a:pt x="505" y="108"/>
                      <a:pt x="505" y="108"/>
                    </a:cubicBezTo>
                    <a:cubicBezTo>
                      <a:pt x="504" y="108"/>
                      <a:pt x="504" y="109"/>
                      <a:pt x="504" y="110"/>
                    </a:cubicBezTo>
                    <a:close/>
                    <a:moveTo>
                      <a:pt x="375" y="180"/>
                    </a:moveTo>
                    <a:cubicBezTo>
                      <a:pt x="375" y="180"/>
                      <a:pt x="375" y="179"/>
                      <a:pt x="374" y="179"/>
                    </a:cubicBezTo>
                    <a:cubicBezTo>
                      <a:pt x="374" y="179"/>
                      <a:pt x="374" y="180"/>
                      <a:pt x="375" y="180"/>
                    </a:cubicBezTo>
                    <a:close/>
                    <a:moveTo>
                      <a:pt x="475" y="146"/>
                    </a:moveTo>
                    <a:cubicBezTo>
                      <a:pt x="475" y="147"/>
                      <a:pt x="475" y="148"/>
                      <a:pt x="476" y="148"/>
                    </a:cubicBezTo>
                    <a:cubicBezTo>
                      <a:pt x="476" y="148"/>
                      <a:pt x="476" y="147"/>
                      <a:pt x="475" y="146"/>
                    </a:cubicBezTo>
                    <a:close/>
                    <a:moveTo>
                      <a:pt x="471" y="130"/>
                    </a:moveTo>
                    <a:cubicBezTo>
                      <a:pt x="471" y="130"/>
                      <a:pt x="471" y="131"/>
                      <a:pt x="471" y="131"/>
                    </a:cubicBezTo>
                    <a:cubicBezTo>
                      <a:pt x="471" y="131"/>
                      <a:pt x="471" y="130"/>
                      <a:pt x="471" y="130"/>
                    </a:cubicBezTo>
                    <a:close/>
                    <a:moveTo>
                      <a:pt x="1590" y="156"/>
                    </a:moveTo>
                    <a:cubicBezTo>
                      <a:pt x="1590" y="156"/>
                      <a:pt x="1590" y="155"/>
                      <a:pt x="1590" y="155"/>
                    </a:cubicBezTo>
                    <a:cubicBezTo>
                      <a:pt x="1589" y="155"/>
                      <a:pt x="1590" y="156"/>
                      <a:pt x="1590" y="156"/>
                    </a:cubicBezTo>
                    <a:close/>
                    <a:moveTo>
                      <a:pt x="1567" y="155"/>
                    </a:moveTo>
                    <a:cubicBezTo>
                      <a:pt x="1567" y="155"/>
                      <a:pt x="1567" y="156"/>
                      <a:pt x="1568" y="156"/>
                    </a:cubicBezTo>
                    <a:cubicBezTo>
                      <a:pt x="1568" y="156"/>
                      <a:pt x="1568" y="155"/>
                      <a:pt x="1567" y="155"/>
                    </a:cubicBezTo>
                    <a:close/>
                    <a:moveTo>
                      <a:pt x="1086" y="110"/>
                    </a:moveTo>
                    <a:cubicBezTo>
                      <a:pt x="1086" y="109"/>
                      <a:pt x="1086" y="109"/>
                      <a:pt x="1086" y="108"/>
                    </a:cubicBezTo>
                    <a:cubicBezTo>
                      <a:pt x="1086" y="108"/>
                      <a:pt x="1086" y="109"/>
                      <a:pt x="1086" y="110"/>
                    </a:cubicBezTo>
                    <a:close/>
                    <a:moveTo>
                      <a:pt x="1104" y="108"/>
                    </a:moveTo>
                    <a:cubicBezTo>
                      <a:pt x="1104" y="108"/>
                      <a:pt x="1103" y="109"/>
                      <a:pt x="1104" y="110"/>
                    </a:cubicBezTo>
                    <a:cubicBezTo>
                      <a:pt x="1104" y="109"/>
                      <a:pt x="1104" y="108"/>
                      <a:pt x="1104" y="108"/>
                    </a:cubicBezTo>
                    <a:close/>
                    <a:moveTo>
                      <a:pt x="517" y="131"/>
                    </a:moveTo>
                    <a:cubicBezTo>
                      <a:pt x="517" y="132"/>
                      <a:pt x="517" y="132"/>
                      <a:pt x="517" y="133"/>
                    </a:cubicBezTo>
                    <a:cubicBezTo>
                      <a:pt x="517" y="133"/>
                      <a:pt x="517" y="132"/>
                      <a:pt x="517" y="131"/>
                    </a:cubicBezTo>
                    <a:close/>
                    <a:moveTo>
                      <a:pt x="450" y="54"/>
                    </a:moveTo>
                    <a:cubicBezTo>
                      <a:pt x="450" y="54"/>
                      <a:pt x="450" y="55"/>
                      <a:pt x="450" y="55"/>
                    </a:cubicBezTo>
                    <a:cubicBezTo>
                      <a:pt x="450" y="55"/>
                      <a:pt x="451" y="54"/>
                      <a:pt x="450" y="54"/>
                    </a:cubicBezTo>
                    <a:close/>
                    <a:moveTo>
                      <a:pt x="518" y="55"/>
                    </a:moveTo>
                    <a:cubicBezTo>
                      <a:pt x="519" y="55"/>
                      <a:pt x="519" y="54"/>
                      <a:pt x="519" y="54"/>
                    </a:cubicBezTo>
                    <a:cubicBezTo>
                      <a:pt x="518" y="54"/>
                      <a:pt x="518" y="55"/>
                      <a:pt x="518" y="55"/>
                    </a:cubicBezTo>
                    <a:close/>
                    <a:moveTo>
                      <a:pt x="1056" y="154"/>
                    </a:moveTo>
                    <a:cubicBezTo>
                      <a:pt x="1056" y="155"/>
                      <a:pt x="1056" y="156"/>
                      <a:pt x="1057" y="156"/>
                    </a:cubicBezTo>
                    <a:cubicBezTo>
                      <a:pt x="1057" y="156"/>
                      <a:pt x="1057" y="155"/>
                      <a:pt x="1056" y="154"/>
                    </a:cubicBezTo>
                    <a:close/>
                    <a:moveTo>
                      <a:pt x="517" y="133"/>
                    </a:moveTo>
                    <a:cubicBezTo>
                      <a:pt x="516" y="134"/>
                      <a:pt x="516" y="134"/>
                      <a:pt x="516" y="135"/>
                    </a:cubicBezTo>
                    <a:cubicBezTo>
                      <a:pt x="517" y="134"/>
                      <a:pt x="517" y="134"/>
                      <a:pt x="517" y="133"/>
                    </a:cubicBezTo>
                    <a:close/>
                    <a:moveTo>
                      <a:pt x="1556" y="122"/>
                    </a:moveTo>
                    <a:cubicBezTo>
                      <a:pt x="1556" y="122"/>
                      <a:pt x="1556" y="123"/>
                      <a:pt x="1556" y="123"/>
                    </a:cubicBezTo>
                    <a:cubicBezTo>
                      <a:pt x="1556" y="123"/>
                      <a:pt x="1556" y="122"/>
                      <a:pt x="1556" y="122"/>
                    </a:cubicBezTo>
                    <a:close/>
                    <a:moveTo>
                      <a:pt x="1049" y="130"/>
                    </a:moveTo>
                    <a:cubicBezTo>
                      <a:pt x="1049" y="130"/>
                      <a:pt x="1049" y="131"/>
                      <a:pt x="1050" y="132"/>
                    </a:cubicBezTo>
                    <a:cubicBezTo>
                      <a:pt x="1050" y="131"/>
                      <a:pt x="1050" y="130"/>
                      <a:pt x="1049" y="130"/>
                    </a:cubicBezTo>
                    <a:close/>
                    <a:moveTo>
                      <a:pt x="1041" y="156"/>
                    </a:moveTo>
                    <a:cubicBezTo>
                      <a:pt x="1041" y="156"/>
                      <a:pt x="1041" y="155"/>
                      <a:pt x="1040" y="154"/>
                    </a:cubicBezTo>
                    <a:cubicBezTo>
                      <a:pt x="1040" y="155"/>
                      <a:pt x="1040" y="156"/>
                      <a:pt x="1041" y="156"/>
                    </a:cubicBezTo>
                    <a:close/>
                    <a:moveTo>
                      <a:pt x="478" y="154"/>
                    </a:moveTo>
                    <a:cubicBezTo>
                      <a:pt x="477" y="155"/>
                      <a:pt x="477" y="156"/>
                      <a:pt x="478" y="156"/>
                    </a:cubicBezTo>
                    <a:cubicBezTo>
                      <a:pt x="478" y="156"/>
                      <a:pt x="478" y="155"/>
                      <a:pt x="478" y="154"/>
                    </a:cubicBezTo>
                    <a:close/>
                    <a:moveTo>
                      <a:pt x="465" y="108"/>
                    </a:moveTo>
                    <a:cubicBezTo>
                      <a:pt x="465" y="109"/>
                      <a:pt x="465" y="110"/>
                      <a:pt x="465" y="110"/>
                    </a:cubicBezTo>
                    <a:cubicBezTo>
                      <a:pt x="465" y="110"/>
                      <a:pt x="466" y="109"/>
                      <a:pt x="465" y="108"/>
                    </a:cubicBezTo>
                    <a:close/>
                    <a:moveTo>
                      <a:pt x="419" y="154"/>
                    </a:moveTo>
                    <a:cubicBezTo>
                      <a:pt x="419" y="155"/>
                      <a:pt x="419" y="156"/>
                      <a:pt x="419" y="156"/>
                    </a:cubicBezTo>
                    <a:cubicBezTo>
                      <a:pt x="420" y="156"/>
                      <a:pt x="419" y="155"/>
                      <a:pt x="419" y="154"/>
                    </a:cubicBezTo>
                    <a:close/>
                    <a:moveTo>
                      <a:pt x="539" y="54"/>
                    </a:moveTo>
                    <a:cubicBezTo>
                      <a:pt x="539" y="54"/>
                      <a:pt x="539" y="55"/>
                      <a:pt x="539" y="55"/>
                    </a:cubicBezTo>
                    <a:cubicBezTo>
                      <a:pt x="539" y="55"/>
                      <a:pt x="539" y="54"/>
                      <a:pt x="539" y="54"/>
                    </a:cubicBezTo>
                    <a:close/>
                    <a:moveTo>
                      <a:pt x="1581" y="180"/>
                    </a:moveTo>
                    <a:cubicBezTo>
                      <a:pt x="1582" y="179"/>
                      <a:pt x="1582" y="179"/>
                      <a:pt x="1582" y="178"/>
                    </a:cubicBezTo>
                    <a:cubicBezTo>
                      <a:pt x="1581" y="178"/>
                      <a:pt x="1581" y="179"/>
                      <a:pt x="1581" y="180"/>
                    </a:cubicBezTo>
                    <a:close/>
                    <a:moveTo>
                      <a:pt x="1090" y="154"/>
                    </a:moveTo>
                    <a:cubicBezTo>
                      <a:pt x="1090" y="154"/>
                      <a:pt x="1090" y="155"/>
                      <a:pt x="1090" y="156"/>
                    </a:cubicBezTo>
                    <a:cubicBezTo>
                      <a:pt x="1090" y="155"/>
                      <a:pt x="1090" y="155"/>
                      <a:pt x="1090" y="154"/>
                    </a:cubicBezTo>
                    <a:close/>
                    <a:moveTo>
                      <a:pt x="958" y="116"/>
                    </a:moveTo>
                    <a:cubicBezTo>
                      <a:pt x="958" y="115"/>
                      <a:pt x="958" y="115"/>
                      <a:pt x="957" y="114"/>
                    </a:cubicBezTo>
                    <a:cubicBezTo>
                      <a:pt x="957" y="115"/>
                      <a:pt x="957" y="115"/>
                      <a:pt x="958" y="116"/>
                    </a:cubicBezTo>
                    <a:close/>
                    <a:moveTo>
                      <a:pt x="511" y="154"/>
                    </a:moveTo>
                    <a:cubicBezTo>
                      <a:pt x="510" y="154"/>
                      <a:pt x="510" y="155"/>
                      <a:pt x="510" y="156"/>
                    </a:cubicBezTo>
                    <a:cubicBezTo>
                      <a:pt x="511" y="155"/>
                      <a:pt x="511" y="154"/>
                      <a:pt x="511" y="154"/>
                    </a:cubicBezTo>
                    <a:close/>
                    <a:moveTo>
                      <a:pt x="956" y="110"/>
                    </a:moveTo>
                    <a:cubicBezTo>
                      <a:pt x="956" y="109"/>
                      <a:pt x="956" y="109"/>
                      <a:pt x="956" y="108"/>
                    </a:cubicBezTo>
                    <a:cubicBezTo>
                      <a:pt x="956" y="109"/>
                      <a:pt x="955" y="110"/>
                      <a:pt x="956" y="110"/>
                    </a:cubicBezTo>
                    <a:close/>
                    <a:moveTo>
                      <a:pt x="1019" y="110"/>
                    </a:moveTo>
                    <a:cubicBezTo>
                      <a:pt x="1019" y="110"/>
                      <a:pt x="1020" y="109"/>
                      <a:pt x="1020" y="108"/>
                    </a:cubicBezTo>
                    <a:cubicBezTo>
                      <a:pt x="1019" y="109"/>
                      <a:pt x="1019" y="110"/>
                      <a:pt x="1019" y="110"/>
                    </a:cubicBezTo>
                    <a:close/>
                    <a:moveTo>
                      <a:pt x="1134" y="130"/>
                    </a:moveTo>
                    <a:cubicBezTo>
                      <a:pt x="1134" y="130"/>
                      <a:pt x="1134" y="131"/>
                      <a:pt x="1135" y="131"/>
                    </a:cubicBezTo>
                    <a:cubicBezTo>
                      <a:pt x="1135" y="131"/>
                      <a:pt x="1135" y="130"/>
                      <a:pt x="1134" y="130"/>
                    </a:cubicBezTo>
                    <a:close/>
                    <a:moveTo>
                      <a:pt x="1017" y="116"/>
                    </a:moveTo>
                    <a:cubicBezTo>
                      <a:pt x="1018" y="115"/>
                      <a:pt x="1018" y="115"/>
                      <a:pt x="1018" y="114"/>
                    </a:cubicBezTo>
                    <a:cubicBezTo>
                      <a:pt x="1017" y="115"/>
                      <a:pt x="1017" y="115"/>
                      <a:pt x="1017" y="116"/>
                    </a:cubicBezTo>
                    <a:close/>
                    <a:moveTo>
                      <a:pt x="1549" y="155"/>
                    </a:moveTo>
                    <a:cubicBezTo>
                      <a:pt x="1549" y="154"/>
                      <a:pt x="1549" y="154"/>
                      <a:pt x="1548" y="153"/>
                    </a:cubicBezTo>
                    <a:cubicBezTo>
                      <a:pt x="1548" y="154"/>
                      <a:pt x="1548" y="155"/>
                      <a:pt x="1549" y="155"/>
                    </a:cubicBezTo>
                    <a:close/>
                    <a:moveTo>
                      <a:pt x="1329" y="178"/>
                    </a:moveTo>
                    <a:cubicBezTo>
                      <a:pt x="1328" y="178"/>
                      <a:pt x="1328" y="179"/>
                      <a:pt x="1328" y="180"/>
                    </a:cubicBezTo>
                    <a:cubicBezTo>
                      <a:pt x="1329" y="179"/>
                      <a:pt x="1329" y="179"/>
                      <a:pt x="1329" y="178"/>
                    </a:cubicBezTo>
                    <a:close/>
                    <a:moveTo>
                      <a:pt x="1551" y="108"/>
                    </a:moveTo>
                    <a:cubicBezTo>
                      <a:pt x="1551" y="109"/>
                      <a:pt x="1551" y="110"/>
                      <a:pt x="1552" y="110"/>
                    </a:cubicBezTo>
                    <a:cubicBezTo>
                      <a:pt x="1552" y="110"/>
                      <a:pt x="1552" y="109"/>
                      <a:pt x="1551" y="108"/>
                    </a:cubicBezTo>
                    <a:close/>
                    <a:moveTo>
                      <a:pt x="451" y="124"/>
                    </a:moveTo>
                    <a:cubicBezTo>
                      <a:pt x="451" y="123"/>
                      <a:pt x="451" y="123"/>
                      <a:pt x="450" y="122"/>
                    </a:cubicBezTo>
                    <a:cubicBezTo>
                      <a:pt x="450" y="123"/>
                      <a:pt x="450" y="123"/>
                      <a:pt x="451" y="124"/>
                    </a:cubicBezTo>
                    <a:close/>
                    <a:moveTo>
                      <a:pt x="1327" y="153"/>
                    </a:moveTo>
                    <a:cubicBezTo>
                      <a:pt x="1327" y="154"/>
                      <a:pt x="1327" y="155"/>
                      <a:pt x="1328" y="155"/>
                    </a:cubicBezTo>
                    <a:cubicBezTo>
                      <a:pt x="1328" y="154"/>
                      <a:pt x="1328" y="154"/>
                      <a:pt x="1327" y="153"/>
                    </a:cubicBezTo>
                    <a:close/>
                    <a:moveTo>
                      <a:pt x="430" y="57"/>
                    </a:moveTo>
                    <a:cubicBezTo>
                      <a:pt x="430" y="56"/>
                      <a:pt x="430" y="56"/>
                      <a:pt x="430" y="55"/>
                    </a:cubicBezTo>
                    <a:cubicBezTo>
                      <a:pt x="430" y="55"/>
                      <a:pt x="430" y="56"/>
                      <a:pt x="430" y="57"/>
                    </a:cubicBezTo>
                    <a:close/>
                    <a:moveTo>
                      <a:pt x="1067" y="180"/>
                    </a:moveTo>
                    <a:cubicBezTo>
                      <a:pt x="1067" y="179"/>
                      <a:pt x="1067" y="179"/>
                      <a:pt x="1067" y="178"/>
                    </a:cubicBezTo>
                    <a:cubicBezTo>
                      <a:pt x="1067" y="179"/>
                      <a:pt x="1067" y="179"/>
                      <a:pt x="1067" y="180"/>
                    </a:cubicBezTo>
                    <a:close/>
                    <a:moveTo>
                      <a:pt x="987" y="153"/>
                    </a:moveTo>
                    <a:cubicBezTo>
                      <a:pt x="987" y="154"/>
                      <a:pt x="987" y="155"/>
                      <a:pt x="987" y="155"/>
                    </a:cubicBezTo>
                    <a:cubicBezTo>
                      <a:pt x="987" y="154"/>
                      <a:pt x="987" y="154"/>
                      <a:pt x="987" y="153"/>
                    </a:cubicBezTo>
                    <a:close/>
                    <a:moveTo>
                      <a:pt x="524" y="109"/>
                    </a:moveTo>
                    <a:cubicBezTo>
                      <a:pt x="523" y="109"/>
                      <a:pt x="523" y="110"/>
                      <a:pt x="523" y="111"/>
                    </a:cubicBezTo>
                    <a:cubicBezTo>
                      <a:pt x="524" y="110"/>
                      <a:pt x="524" y="110"/>
                      <a:pt x="524" y="109"/>
                    </a:cubicBezTo>
                    <a:close/>
                    <a:moveTo>
                      <a:pt x="492" y="155"/>
                    </a:moveTo>
                    <a:cubicBezTo>
                      <a:pt x="492" y="155"/>
                      <a:pt x="493" y="154"/>
                      <a:pt x="492" y="153"/>
                    </a:cubicBezTo>
                    <a:cubicBezTo>
                      <a:pt x="492" y="154"/>
                      <a:pt x="492" y="154"/>
                      <a:pt x="492" y="155"/>
                    </a:cubicBezTo>
                    <a:close/>
                    <a:moveTo>
                      <a:pt x="450" y="55"/>
                    </a:moveTo>
                    <a:cubicBezTo>
                      <a:pt x="450" y="56"/>
                      <a:pt x="450" y="57"/>
                      <a:pt x="451" y="57"/>
                    </a:cubicBezTo>
                    <a:cubicBezTo>
                      <a:pt x="451" y="57"/>
                      <a:pt x="451" y="56"/>
                      <a:pt x="450" y="55"/>
                    </a:cubicBezTo>
                    <a:close/>
                    <a:moveTo>
                      <a:pt x="518" y="57"/>
                    </a:moveTo>
                    <a:cubicBezTo>
                      <a:pt x="518" y="57"/>
                      <a:pt x="518" y="56"/>
                      <a:pt x="518" y="55"/>
                    </a:cubicBezTo>
                    <a:cubicBezTo>
                      <a:pt x="518" y="56"/>
                      <a:pt x="518" y="57"/>
                      <a:pt x="518" y="57"/>
                    </a:cubicBezTo>
                    <a:close/>
                    <a:moveTo>
                      <a:pt x="1074" y="155"/>
                    </a:moveTo>
                    <a:cubicBezTo>
                      <a:pt x="1074" y="154"/>
                      <a:pt x="1074" y="153"/>
                      <a:pt x="1074" y="153"/>
                    </a:cubicBezTo>
                    <a:cubicBezTo>
                      <a:pt x="1073" y="153"/>
                      <a:pt x="1074" y="154"/>
                      <a:pt x="1074" y="155"/>
                    </a:cubicBezTo>
                    <a:close/>
                    <a:moveTo>
                      <a:pt x="1056" y="153"/>
                    </a:moveTo>
                    <a:cubicBezTo>
                      <a:pt x="1056" y="153"/>
                      <a:pt x="1056" y="154"/>
                      <a:pt x="1056" y="155"/>
                    </a:cubicBezTo>
                    <a:cubicBezTo>
                      <a:pt x="1056" y="154"/>
                      <a:pt x="1056" y="153"/>
                      <a:pt x="1056" y="153"/>
                    </a:cubicBezTo>
                    <a:close/>
                    <a:moveTo>
                      <a:pt x="1040" y="154"/>
                    </a:moveTo>
                    <a:cubicBezTo>
                      <a:pt x="1040" y="154"/>
                      <a:pt x="1040" y="153"/>
                      <a:pt x="1040" y="153"/>
                    </a:cubicBezTo>
                    <a:cubicBezTo>
                      <a:pt x="1040" y="153"/>
                      <a:pt x="1039" y="154"/>
                      <a:pt x="1040" y="154"/>
                    </a:cubicBezTo>
                    <a:close/>
                    <a:moveTo>
                      <a:pt x="1021" y="153"/>
                    </a:moveTo>
                    <a:cubicBezTo>
                      <a:pt x="1020" y="153"/>
                      <a:pt x="1020" y="154"/>
                      <a:pt x="1020" y="154"/>
                    </a:cubicBezTo>
                    <a:cubicBezTo>
                      <a:pt x="1021" y="154"/>
                      <a:pt x="1021" y="153"/>
                      <a:pt x="1021" y="153"/>
                    </a:cubicBezTo>
                    <a:close/>
                    <a:moveTo>
                      <a:pt x="975" y="109"/>
                    </a:moveTo>
                    <a:cubicBezTo>
                      <a:pt x="974" y="110"/>
                      <a:pt x="975" y="110"/>
                      <a:pt x="975" y="111"/>
                    </a:cubicBezTo>
                    <a:cubicBezTo>
                      <a:pt x="975" y="110"/>
                      <a:pt x="975" y="109"/>
                      <a:pt x="975" y="109"/>
                    </a:cubicBezTo>
                    <a:close/>
                    <a:moveTo>
                      <a:pt x="1044" y="109"/>
                    </a:moveTo>
                    <a:cubicBezTo>
                      <a:pt x="1044" y="110"/>
                      <a:pt x="1044" y="110"/>
                      <a:pt x="1044" y="111"/>
                    </a:cubicBezTo>
                    <a:cubicBezTo>
                      <a:pt x="1044" y="110"/>
                      <a:pt x="1044" y="109"/>
                      <a:pt x="1044" y="109"/>
                    </a:cubicBezTo>
                    <a:close/>
                    <a:moveTo>
                      <a:pt x="551" y="57"/>
                    </a:moveTo>
                    <a:cubicBezTo>
                      <a:pt x="552" y="57"/>
                      <a:pt x="552" y="56"/>
                      <a:pt x="552" y="55"/>
                    </a:cubicBezTo>
                    <a:cubicBezTo>
                      <a:pt x="551" y="56"/>
                      <a:pt x="551" y="57"/>
                      <a:pt x="551" y="57"/>
                    </a:cubicBezTo>
                    <a:close/>
                    <a:moveTo>
                      <a:pt x="1636" y="135"/>
                    </a:moveTo>
                    <a:cubicBezTo>
                      <a:pt x="1636" y="135"/>
                      <a:pt x="1636" y="134"/>
                      <a:pt x="1636" y="133"/>
                    </a:cubicBezTo>
                    <a:cubicBezTo>
                      <a:pt x="1635" y="134"/>
                      <a:pt x="1636" y="134"/>
                      <a:pt x="1636" y="135"/>
                    </a:cubicBezTo>
                    <a:close/>
                    <a:moveTo>
                      <a:pt x="1078" y="137"/>
                    </a:moveTo>
                    <a:cubicBezTo>
                      <a:pt x="1079" y="137"/>
                      <a:pt x="1079" y="136"/>
                      <a:pt x="1079" y="135"/>
                    </a:cubicBezTo>
                    <a:cubicBezTo>
                      <a:pt x="1078" y="136"/>
                      <a:pt x="1078" y="137"/>
                      <a:pt x="1078" y="137"/>
                    </a:cubicBezTo>
                    <a:close/>
                    <a:moveTo>
                      <a:pt x="477" y="153"/>
                    </a:moveTo>
                    <a:cubicBezTo>
                      <a:pt x="477" y="153"/>
                      <a:pt x="477" y="154"/>
                      <a:pt x="478" y="155"/>
                    </a:cubicBezTo>
                    <a:cubicBezTo>
                      <a:pt x="478" y="154"/>
                      <a:pt x="478" y="153"/>
                      <a:pt x="477" y="153"/>
                    </a:cubicBezTo>
                    <a:close/>
                    <a:moveTo>
                      <a:pt x="459" y="154"/>
                    </a:moveTo>
                    <a:cubicBezTo>
                      <a:pt x="459" y="154"/>
                      <a:pt x="459" y="153"/>
                      <a:pt x="459" y="153"/>
                    </a:cubicBezTo>
                    <a:cubicBezTo>
                      <a:pt x="459" y="153"/>
                      <a:pt x="458" y="154"/>
                      <a:pt x="459" y="154"/>
                    </a:cubicBezTo>
                    <a:close/>
                    <a:moveTo>
                      <a:pt x="539" y="56"/>
                    </a:moveTo>
                    <a:cubicBezTo>
                      <a:pt x="538" y="56"/>
                      <a:pt x="538" y="57"/>
                      <a:pt x="538" y="58"/>
                    </a:cubicBezTo>
                    <a:cubicBezTo>
                      <a:pt x="539" y="57"/>
                      <a:pt x="539" y="57"/>
                      <a:pt x="539" y="56"/>
                    </a:cubicBezTo>
                    <a:close/>
                    <a:moveTo>
                      <a:pt x="1091" y="152"/>
                    </a:moveTo>
                    <a:cubicBezTo>
                      <a:pt x="1090" y="153"/>
                      <a:pt x="1090" y="153"/>
                      <a:pt x="1090" y="154"/>
                    </a:cubicBezTo>
                    <a:cubicBezTo>
                      <a:pt x="1091" y="153"/>
                      <a:pt x="1091" y="153"/>
                      <a:pt x="1091" y="152"/>
                    </a:cubicBezTo>
                    <a:close/>
                    <a:moveTo>
                      <a:pt x="690" y="122"/>
                    </a:moveTo>
                    <a:cubicBezTo>
                      <a:pt x="689" y="123"/>
                      <a:pt x="689" y="124"/>
                      <a:pt x="690" y="124"/>
                    </a:cubicBezTo>
                    <a:cubicBezTo>
                      <a:pt x="690" y="124"/>
                      <a:pt x="690" y="123"/>
                      <a:pt x="690" y="122"/>
                    </a:cubicBezTo>
                    <a:close/>
                    <a:moveTo>
                      <a:pt x="969" y="154"/>
                    </a:moveTo>
                    <a:cubicBezTo>
                      <a:pt x="969" y="153"/>
                      <a:pt x="969" y="153"/>
                      <a:pt x="969" y="152"/>
                    </a:cubicBezTo>
                    <a:cubicBezTo>
                      <a:pt x="969" y="153"/>
                      <a:pt x="969" y="153"/>
                      <a:pt x="969" y="154"/>
                    </a:cubicBezTo>
                    <a:close/>
                    <a:moveTo>
                      <a:pt x="574" y="56"/>
                    </a:moveTo>
                    <a:cubicBezTo>
                      <a:pt x="574" y="57"/>
                      <a:pt x="574" y="57"/>
                      <a:pt x="575" y="58"/>
                    </a:cubicBezTo>
                    <a:cubicBezTo>
                      <a:pt x="575" y="57"/>
                      <a:pt x="575" y="57"/>
                      <a:pt x="574" y="56"/>
                    </a:cubicBezTo>
                    <a:close/>
                    <a:moveTo>
                      <a:pt x="432" y="109"/>
                    </a:moveTo>
                    <a:cubicBezTo>
                      <a:pt x="432" y="110"/>
                      <a:pt x="431" y="111"/>
                      <a:pt x="431" y="111"/>
                    </a:cubicBezTo>
                    <a:cubicBezTo>
                      <a:pt x="432" y="111"/>
                      <a:pt x="432" y="110"/>
                      <a:pt x="432" y="109"/>
                    </a:cubicBezTo>
                    <a:close/>
                    <a:moveTo>
                      <a:pt x="447" y="111"/>
                    </a:moveTo>
                    <a:cubicBezTo>
                      <a:pt x="447" y="111"/>
                      <a:pt x="447" y="110"/>
                      <a:pt x="446" y="110"/>
                    </a:cubicBezTo>
                    <a:cubicBezTo>
                      <a:pt x="446" y="110"/>
                      <a:pt x="446" y="111"/>
                      <a:pt x="447" y="111"/>
                    </a:cubicBezTo>
                    <a:close/>
                    <a:moveTo>
                      <a:pt x="429" y="59"/>
                    </a:moveTo>
                    <a:cubicBezTo>
                      <a:pt x="430" y="58"/>
                      <a:pt x="430" y="57"/>
                      <a:pt x="430" y="57"/>
                    </a:cubicBezTo>
                    <a:cubicBezTo>
                      <a:pt x="429" y="57"/>
                      <a:pt x="429" y="58"/>
                      <a:pt x="429" y="59"/>
                    </a:cubicBezTo>
                    <a:close/>
                    <a:moveTo>
                      <a:pt x="998" y="180"/>
                    </a:moveTo>
                    <a:cubicBezTo>
                      <a:pt x="998" y="179"/>
                      <a:pt x="998" y="179"/>
                      <a:pt x="998" y="178"/>
                    </a:cubicBezTo>
                    <a:cubicBezTo>
                      <a:pt x="997" y="179"/>
                      <a:pt x="998" y="179"/>
                      <a:pt x="998" y="180"/>
                    </a:cubicBezTo>
                    <a:close/>
                    <a:moveTo>
                      <a:pt x="640" y="110"/>
                    </a:moveTo>
                    <a:cubicBezTo>
                      <a:pt x="639" y="110"/>
                      <a:pt x="639" y="109"/>
                      <a:pt x="638" y="110"/>
                    </a:cubicBezTo>
                    <a:cubicBezTo>
                      <a:pt x="639" y="110"/>
                      <a:pt x="640" y="110"/>
                      <a:pt x="640" y="110"/>
                    </a:cubicBezTo>
                    <a:close/>
                    <a:moveTo>
                      <a:pt x="657" y="110"/>
                    </a:moveTo>
                    <a:cubicBezTo>
                      <a:pt x="656" y="110"/>
                      <a:pt x="656" y="110"/>
                      <a:pt x="655" y="110"/>
                    </a:cubicBezTo>
                    <a:cubicBezTo>
                      <a:pt x="655" y="110"/>
                      <a:pt x="656" y="110"/>
                      <a:pt x="657" y="110"/>
                    </a:cubicBezTo>
                    <a:close/>
                    <a:moveTo>
                      <a:pt x="427" y="126"/>
                    </a:moveTo>
                    <a:cubicBezTo>
                      <a:pt x="427" y="126"/>
                      <a:pt x="427" y="127"/>
                      <a:pt x="427" y="127"/>
                    </a:cubicBezTo>
                    <a:cubicBezTo>
                      <a:pt x="428" y="127"/>
                      <a:pt x="427" y="126"/>
                      <a:pt x="427" y="126"/>
                    </a:cubicBezTo>
                    <a:close/>
                    <a:moveTo>
                      <a:pt x="420" y="152"/>
                    </a:moveTo>
                    <a:cubicBezTo>
                      <a:pt x="419" y="153"/>
                      <a:pt x="419" y="153"/>
                      <a:pt x="419" y="154"/>
                    </a:cubicBezTo>
                    <a:cubicBezTo>
                      <a:pt x="420" y="153"/>
                      <a:pt x="420" y="153"/>
                      <a:pt x="420" y="152"/>
                    </a:cubicBezTo>
                    <a:close/>
                    <a:moveTo>
                      <a:pt x="1609" y="152"/>
                    </a:moveTo>
                    <a:cubicBezTo>
                      <a:pt x="1608" y="152"/>
                      <a:pt x="1608" y="153"/>
                      <a:pt x="1608" y="153"/>
                    </a:cubicBezTo>
                    <a:cubicBezTo>
                      <a:pt x="1609" y="153"/>
                      <a:pt x="1609" y="152"/>
                      <a:pt x="1609" y="152"/>
                    </a:cubicBezTo>
                    <a:close/>
                    <a:moveTo>
                      <a:pt x="496" y="140"/>
                    </a:moveTo>
                    <a:cubicBezTo>
                      <a:pt x="497" y="139"/>
                      <a:pt x="497" y="139"/>
                      <a:pt x="497" y="138"/>
                    </a:cubicBezTo>
                    <a:cubicBezTo>
                      <a:pt x="496" y="138"/>
                      <a:pt x="496" y="139"/>
                      <a:pt x="496" y="140"/>
                    </a:cubicBezTo>
                    <a:close/>
                    <a:moveTo>
                      <a:pt x="1104" y="110"/>
                    </a:moveTo>
                    <a:cubicBezTo>
                      <a:pt x="1103" y="110"/>
                      <a:pt x="1103" y="111"/>
                      <a:pt x="1103" y="111"/>
                    </a:cubicBezTo>
                    <a:cubicBezTo>
                      <a:pt x="1104" y="111"/>
                      <a:pt x="1104" y="110"/>
                      <a:pt x="1104" y="110"/>
                    </a:cubicBezTo>
                    <a:close/>
                    <a:moveTo>
                      <a:pt x="451" y="58"/>
                    </a:moveTo>
                    <a:cubicBezTo>
                      <a:pt x="451" y="58"/>
                      <a:pt x="451" y="59"/>
                      <a:pt x="452" y="60"/>
                    </a:cubicBezTo>
                    <a:cubicBezTo>
                      <a:pt x="452" y="59"/>
                      <a:pt x="452" y="58"/>
                      <a:pt x="451" y="58"/>
                    </a:cubicBezTo>
                    <a:close/>
                    <a:moveTo>
                      <a:pt x="1146" y="109"/>
                    </a:moveTo>
                    <a:cubicBezTo>
                      <a:pt x="1145" y="109"/>
                      <a:pt x="1144" y="109"/>
                      <a:pt x="1144" y="110"/>
                    </a:cubicBezTo>
                    <a:cubicBezTo>
                      <a:pt x="1144" y="110"/>
                      <a:pt x="1145" y="110"/>
                      <a:pt x="1146" y="109"/>
                    </a:cubicBezTo>
                    <a:close/>
                    <a:moveTo>
                      <a:pt x="517" y="60"/>
                    </a:moveTo>
                    <a:cubicBezTo>
                      <a:pt x="518" y="59"/>
                      <a:pt x="518" y="58"/>
                      <a:pt x="518" y="58"/>
                    </a:cubicBezTo>
                    <a:cubicBezTo>
                      <a:pt x="517" y="58"/>
                      <a:pt x="517" y="59"/>
                      <a:pt x="517" y="60"/>
                    </a:cubicBezTo>
                    <a:close/>
                    <a:moveTo>
                      <a:pt x="1006" y="154"/>
                    </a:moveTo>
                    <a:cubicBezTo>
                      <a:pt x="1006" y="153"/>
                      <a:pt x="1006" y="152"/>
                      <a:pt x="1006" y="152"/>
                    </a:cubicBezTo>
                    <a:cubicBezTo>
                      <a:pt x="1005" y="152"/>
                      <a:pt x="1006" y="153"/>
                      <a:pt x="1006" y="154"/>
                    </a:cubicBezTo>
                    <a:close/>
                    <a:moveTo>
                      <a:pt x="511" y="152"/>
                    </a:moveTo>
                    <a:cubicBezTo>
                      <a:pt x="511" y="152"/>
                      <a:pt x="511" y="153"/>
                      <a:pt x="511" y="153"/>
                    </a:cubicBezTo>
                    <a:cubicBezTo>
                      <a:pt x="512" y="153"/>
                      <a:pt x="512" y="152"/>
                      <a:pt x="511" y="152"/>
                    </a:cubicBezTo>
                    <a:close/>
                    <a:moveTo>
                      <a:pt x="1021" y="151"/>
                    </a:moveTo>
                    <a:cubicBezTo>
                      <a:pt x="1021" y="151"/>
                      <a:pt x="1021" y="152"/>
                      <a:pt x="1021" y="153"/>
                    </a:cubicBezTo>
                    <a:cubicBezTo>
                      <a:pt x="1021" y="152"/>
                      <a:pt x="1021" y="152"/>
                      <a:pt x="1021" y="151"/>
                    </a:cubicBezTo>
                    <a:close/>
                    <a:moveTo>
                      <a:pt x="538" y="58"/>
                    </a:moveTo>
                    <a:cubicBezTo>
                      <a:pt x="538" y="58"/>
                      <a:pt x="537" y="59"/>
                      <a:pt x="537" y="59"/>
                    </a:cubicBezTo>
                    <a:cubicBezTo>
                      <a:pt x="538" y="59"/>
                      <a:pt x="538" y="58"/>
                      <a:pt x="538" y="58"/>
                    </a:cubicBezTo>
                    <a:close/>
                    <a:moveTo>
                      <a:pt x="504" y="178"/>
                    </a:moveTo>
                    <a:cubicBezTo>
                      <a:pt x="503" y="179"/>
                      <a:pt x="503" y="179"/>
                      <a:pt x="503" y="180"/>
                    </a:cubicBezTo>
                    <a:cubicBezTo>
                      <a:pt x="504" y="179"/>
                      <a:pt x="504" y="179"/>
                      <a:pt x="504" y="178"/>
                    </a:cubicBezTo>
                    <a:close/>
                    <a:moveTo>
                      <a:pt x="986" y="151"/>
                    </a:moveTo>
                    <a:cubicBezTo>
                      <a:pt x="986" y="152"/>
                      <a:pt x="986" y="152"/>
                      <a:pt x="987" y="153"/>
                    </a:cubicBezTo>
                    <a:cubicBezTo>
                      <a:pt x="987" y="152"/>
                      <a:pt x="987" y="152"/>
                      <a:pt x="986" y="151"/>
                    </a:cubicBezTo>
                    <a:close/>
                    <a:moveTo>
                      <a:pt x="638" y="110"/>
                    </a:moveTo>
                    <a:cubicBezTo>
                      <a:pt x="638" y="110"/>
                      <a:pt x="637" y="110"/>
                      <a:pt x="636" y="111"/>
                    </a:cubicBezTo>
                    <a:cubicBezTo>
                      <a:pt x="637" y="111"/>
                      <a:pt x="638" y="111"/>
                      <a:pt x="638" y="110"/>
                    </a:cubicBezTo>
                    <a:close/>
                    <a:moveTo>
                      <a:pt x="658" y="111"/>
                    </a:moveTo>
                    <a:cubicBezTo>
                      <a:pt x="658" y="110"/>
                      <a:pt x="657" y="110"/>
                      <a:pt x="657" y="110"/>
                    </a:cubicBezTo>
                    <a:cubicBezTo>
                      <a:pt x="657" y="111"/>
                      <a:pt x="658" y="111"/>
                      <a:pt x="658" y="111"/>
                    </a:cubicBezTo>
                    <a:close/>
                    <a:moveTo>
                      <a:pt x="493" y="153"/>
                    </a:moveTo>
                    <a:cubicBezTo>
                      <a:pt x="493" y="152"/>
                      <a:pt x="493" y="152"/>
                      <a:pt x="493" y="151"/>
                    </a:cubicBezTo>
                    <a:cubicBezTo>
                      <a:pt x="492" y="152"/>
                      <a:pt x="493" y="152"/>
                      <a:pt x="493" y="153"/>
                    </a:cubicBezTo>
                    <a:close/>
                    <a:moveTo>
                      <a:pt x="1074" y="152"/>
                    </a:moveTo>
                    <a:cubicBezTo>
                      <a:pt x="1075" y="152"/>
                      <a:pt x="1075" y="151"/>
                      <a:pt x="1075" y="150"/>
                    </a:cubicBezTo>
                    <a:cubicBezTo>
                      <a:pt x="1074" y="151"/>
                      <a:pt x="1074" y="152"/>
                      <a:pt x="1074" y="152"/>
                    </a:cubicBezTo>
                    <a:close/>
                    <a:moveTo>
                      <a:pt x="1085" y="112"/>
                    </a:moveTo>
                    <a:cubicBezTo>
                      <a:pt x="1086" y="112"/>
                      <a:pt x="1086" y="111"/>
                      <a:pt x="1086" y="110"/>
                    </a:cubicBezTo>
                    <a:cubicBezTo>
                      <a:pt x="1085" y="111"/>
                      <a:pt x="1085" y="111"/>
                      <a:pt x="1085" y="112"/>
                    </a:cubicBezTo>
                    <a:close/>
                    <a:moveTo>
                      <a:pt x="473" y="138"/>
                    </a:moveTo>
                    <a:cubicBezTo>
                      <a:pt x="473" y="138"/>
                      <a:pt x="473" y="139"/>
                      <a:pt x="473" y="140"/>
                    </a:cubicBezTo>
                    <a:cubicBezTo>
                      <a:pt x="474" y="139"/>
                      <a:pt x="474" y="138"/>
                      <a:pt x="473" y="138"/>
                    </a:cubicBezTo>
                    <a:close/>
                    <a:moveTo>
                      <a:pt x="1144" y="110"/>
                    </a:moveTo>
                    <a:cubicBezTo>
                      <a:pt x="1143" y="110"/>
                      <a:pt x="1143" y="110"/>
                      <a:pt x="1142" y="111"/>
                    </a:cubicBezTo>
                    <a:cubicBezTo>
                      <a:pt x="1143" y="111"/>
                      <a:pt x="1143" y="111"/>
                      <a:pt x="1144" y="110"/>
                    </a:cubicBezTo>
                    <a:close/>
                    <a:moveTo>
                      <a:pt x="1166" y="111"/>
                    </a:moveTo>
                    <a:cubicBezTo>
                      <a:pt x="1165" y="110"/>
                      <a:pt x="1165" y="110"/>
                      <a:pt x="1164" y="110"/>
                    </a:cubicBezTo>
                    <a:cubicBezTo>
                      <a:pt x="1165" y="111"/>
                      <a:pt x="1165" y="111"/>
                      <a:pt x="1166" y="111"/>
                    </a:cubicBezTo>
                    <a:close/>
                    <a:moveTo>
                      <a:pt x="1055" y="150"/>
                    </a:moveTo>
                    <a:cubicBezTo>
                      <a:pt x="1055" y="151"/>
                      <a:pt x="1055" y="152"/>
                      <a:pt x="1056" y="152"/>
                    </a:cubicBezTo>
                    <a:cubicBezTo>
                      <a:pt x="1056" y="152"/>
                      <a:pt x="1056" y="151"/>
                      <a:pt x="1055" y="150"/>
                    </a:cubicBezTo>
                    <a:close/>
                    <a:moveTo>
                      <a:pt x="969" y="152"/>
                    </a:moveTo>
                    <a:cubicBezTo>
                      <a:pt x="969" y="152"/>
                      <a:pt x="969" y="151"/>
                      <a:pt x="968" y="150"/>
                    </a:cubicBezTo>
                    <a:cubicBezTo>
                      <a:pt x="968" y="151"/>
                      <a:pt x="968" y="152"/>
                      <a:pt x="969" y="152"/>
                    </a:cubicBezTo>
                    <a:close/>
                    <a:moveTo>
                      <a:pt x="476" y="150"/>
                    </a:moveTo>
                    <a:cubicBezTo>
                      <a:pt x="476" y="151"/>
                      <a:pt x="476" y="152"/>
                      <a:pt x="477" y="152"/>
                    </a:cubicBezTo>
                    <a:cubicBezTo>
                      <a:pt x="477" y="152"/>
                      <a:pt x="477" y="151"/>
                      <a:pt x="476" y="150"/>
                    </a:cubicBezTo>
                    <a:close/>
                    <a:moveTo>
                      <a:pt x="500" y="125"/>
                    </a:moveTo>
                    <a:cubicBezTo>
                      <a:pt x="501" y="124"/>
                      <a:pt x="501" y="123"/>
                      <a:pt x="501" y="123"/>
                    </a:cubicBezTo>
                    <a:cubicBezTo>
                      <a:pt x="500" y="123"/>
                      <a:pt x="500" y="124"/>
                      <a:pt x="500" y="125"/>
                    </a:cubicBezTo>
                    <a:close/>
                    <a:moveTo>
                      <a:pt x="459" y="152"/>
                    </a:moveTo>
                    <a:cubicBezTo>
                      <a:pt x="459" y="152"/>
                      <a:pt x="458" y="151"/>
                      <a:pt x="458" y="150"/>
                    </a:cubicBezTo>
                    <a:cubicBezTo>
                      <a:pt x="458" y="151"/>
                      <a:pt x="458" y="152"/>
                      <a:pt x="459" y="152"/>
                    </a:cubicBezTo>
                    <a:close/>
                    <a:moveTo>
                      <a:pt x="484" y="178"/>
                    </a:moveTo>
                    <a:cubicBezTo>
                      <a:pt x="484" y="179"/>
                      <a:pt x="484" y="179"/>
                      <a:pt x="484" y="180"/>
                    </a:cubicBezTo>
                    <a:cubicBezTo>
                      <a:pt x="484" y="179"/>
                      <a:pt x="485" y="179"/>
                      <a:pt x="484" y="178"/>
                    </a:cubicBezTo>
                    <a:close/>
                    <a:moveTo>
                      <a:pt x="1552" y="110"/>
                    </a:moveTo>
                    <a:cubicBezTo>
                      <a:pt x="1552" y="111"/>
                      <a:pt x="1552" y="111"/>
                      <a:pt x="1552" y="112"/>
                    </a:cubicBezTo>
                    <a:cubicBezTo>
                      <a:pt x="1552" y="111"/>
                      <a:pt x="1552" y="111"/>
                      <a:pt x="1552" y="110"/>
                    </a:cubicBezTo>
                    <a:close/>
                    <a:moveTo>
                      <a:pt x="964" y="135"/>
                    </a:moveTo>
                    <a:cubicBezTo>
                      <a:pt x="964" y="134"/>
                      <a:pt x="964" y="134"/>
                      <a:pt x="963" y="133"/>
                    </a:cubicBezTo>
                    <a:cubicBezTo>
                      <a:pt x="963" y="134"/>
                      <a:pt x="963" y="134"/>
                      <a:pt x="964" y="135"/>
                    </a:cubicBezTo>
                    <a:close/>
                    <a:moveTo>
                      <a:pt x="420" y="150"/>
                    </a:moveTo>
                    <a:cubicBezTo>
                      <a:pt x="420" y="151"/>
                      <a:pt x="420" y="151"/>
                      <a:pt x="420" y="152"/>
                    </a:cubicBezTo>
                    <a:cubicBezTo>
                      <a:pt x="421" y="152"/>
                      <a:pt x="421" y="151"/>
                      <a:pt x="420" y="150"/>
                    </a:cubicBezTo>
                    <a:close/>
                    <a:moveTo>
                      <a:pt x="1032" y="125"/>
                    </a:moveTo>
                    <a:cubicBezTo>
                      <a:pt x="1032" y="124"/>
                      <a:pt x="1032" y="123"/>
                      <a:pt x="1031" y="123"/>
                    </a:cubicBezTo>
                    <a:cubicBezTo>
                      <a:pt x="1031" y="123"/>
                      <a:pt x="1031" y="124"/>
                      <a:pt x="1032" y="125"/>
                    </a:cubicBezTo>
                    <a:close/>
                    <a:moveTo>
                      <a:pt x="429" y="61"/>
                    </a:moveTo>
                    <a:cubicBezTo>
                      <a:pt x="429" y="60"/>
                      <a:pt x="429" y="60"/>
                      <a:pt x="429" y="59"/>
                    </a:cubicBezTo>
                    <a:cubicBezTo>
                      <a:pt x="428" y="59"/>
                      <a:pt x="429" y="60"/>
                      <a:pt x="429" y="61"/>
                    </a:cubicBezTo>
                    <a:close/>
                    <a:moveTo>
                      <a:pt x="466" y="111"/>
                    </a:moveTo>
                    <a:cubicBezTo>
                      <a:pt x="465" y="111"/>
                      <a:pt x="466" y="112"/>
                      <a:pt x="466" y="112"/>
                    </a:cubicBezTo>
                    <a:cubicBezTo>
                      <a:pt x="466" y="112"/>
                      <a:pt x="466" y="111"/>
                      <a:pt x="466" y="111"/>
                    </a:cubicBezTo>
                    <a:close/>
                    <a:moveTo>
                      <a:pt x="523" y="111"/>
                    </a:moveTo>
                    <a:cubicBezTo>
                      <a:pt x="523" y="111"/>
                      <a:pt x="522" y="112"/>
                      <a:pt x="523" y="112"/>
                    </a:cubicBezTo>
                    <a:cubicBezTo>
                      <a:pt x="523" y="112"/>
                      <a:pt x="523" y="111"/>
                      <a:pt x="523" y="111"/>
                    </a:cubicBezTo>
                    <a:close/>
                    <a:moveTo>
                      <a:pt x="1591" y="152"/>
                    </a:moveTo>
                    <a:cubicBezTo>
                      <a:pt x="1592" y="151"/>
                      <a:pt x="1592" y="151"/>
                      <a:pt x="1592" y="150"/>
                    </a:cubicBezTo>
                    <a:cubicBezTo>
                      <a:pt x="1591" y="150"/>
                      <a:pt x="1591" y="151"/>
                      <a:pt x="1591" y="152"/>
                    </a:cubicBezTo>
                    <a:close/>
                    <a:moveTo>
                      <a:pt x="1082" y="125"/>
                    </a:moveTo>
                    <a:cubicBezTo>
                      <a:pt x="1082" y="124"/>
                      <a:pt x="1082" y="124"/>
                      <a:pt x="1082" y="123"/>
                    </a:cubicBezTo>
                    <a:cubicBezTo>
                      <a:pt x="1081" y="123"/>
                      <a:pt x="1082" y="124"/>
                      <a:pt x="1082" y="125"/>
                    </a:cubicBezTo>
                    <a:close/>
                    <a:moveTo>
                      <a:pt x="457" y="148"/>
                    </a:moveTo>
                    <a:cubicBezTo>
                      <a:pt x="457" y="147"/>
                      <a:pt x="457" y="147"/>
                      <a:pt x="457" y="146"/>
                    </a:cubicBezTo>
                    <a:cubicBezTo>
                      <a:pt x="457" y="147"/>
                      <a:pt x="457" y="148"/>
                      <a:pt x="457" y="148"/>
                    </a:cubicBezTo>
                    <a:close/>
                    <a:moveTo>
                      <a:pt x="453" y="132"/>
                    </a:moveTo>
                    <a:cubicBezTo>
                      <a:pt x="453" y="131"/>
                      <a:pt x="453" y="131"/>
                      <a:pt x="452" y="130"/>
                    </a:cubicBezTo>
                    <a:cubicBezTo>
                      <a:pt x="452" y="131"/>
                      <a:pt x="452" y="132"/>
                      <a:pt x="453" y="132"/>
                    </a:cubicBezTo>
                    <a:close/>
                    <a:moveTo>
                      <a:pt x="1063" y="178"/>
                    </a:moveTo>
                    <a:cubicBezTo>
                      <a:pt x="1063" y="178"/>
                      <a:pt x="1063" y="179"/>
                      <a:pt x="1063" y="179"/>
                    </a:cubicBezTo>
                    <a:cubicBezTo>
                      <a:pt x="1063" y="179"/>
                      <a:pt x="1063" y="178"/>
                      <a:pt x="1063" y="178"/>
                    </a:cubicBezTo>
                    <a:close/>
                    <a:moveTo>
                      <a:pt x="714" y="132"/>
                    </a:moveTo>
                    <a:cubicBezTo>
                      <a:pt x="714" y="132"/>
                      <a:pt x="714" y="131"/>
                      <a:pt x="714" y="130"/>
                    </a:cubicBezTo>
                    <a:cubicBezTo>
                      <a:pt x="714" y="131"/>
                      <a:pt x="714" y="131"/>
                      <a:pt x="714" y="132"/>
                    </a:cubicBezTo>
                    <a:close/>
                    <a:moveTo>
                      <a:pt x="1006" y="152"/>
                    </a:moveTo>
                    <a:cubicBezTo>
                      <a:pt x="1007" y="151"/>
                      <a:pt x="1007" y="151"/>
                      <a:pt x="1007" y="150"/>
                    </a:cubicBezTo>
                    <a:cubicBezTo>
                      <a:pt x="1006" y="150"/>
                      <a:pt x="1006" y="151"/>
                      <a:pt x="1006" y="152"/>
                    </a:cubicBezTo>
                    <a:close/>
                    <a:moveTo>
                      <a:pt x="1537" y="125"/>
                    </a:moveTo>
                    <a:cubicBezTo>
                      <a:pt x="1537" y="124"/>
                      <a:pt x="1537" y="123"/>
                      <a:pt x="1537" y="123"/>
                    </a:cubicBezTo>
                    <a:cubicBezTo>
                      <a:pt x="1537" y="123"/>
                      <a:pt x="1536" y="124"/>
                      <a:pt x="1537" y="125"/>
                    </a:cubicBezTo>
                    <a:close/>
                    <a:moveTo>
                      <a:pt x="839" y="132"/>
                    </a:moveTo>
                    <a:cubicBezTo>
                      <a:pt x="839" y="132"/>
                      <a:pt x="839" y="131"/>
                      <a:pt x="839" y="130"/>
                    </a:cubicBezTo>
                    <a:cubicBezTo>
                      <a:pt x="838" y="131"/>
                      <a:pt x="839" y="131"/>
                      <a:pt x="839" y="132"/>
                    </a:cubicBezTo>
                    <a:close/>
                    <a:moveTo>
                      <a:pt x="1044" y="111"/>
                    </a:moveTo>
                    <a:cubicBezTo>
                      <a:pt x="1044" y="111"/>
                      <a:pt x="1044" y="112"/>
                      <a:pt x="1045" y="113"/>
                    </a:cubicBezTo>
                    <a:cubicBezTo>
                      <a:pt x="1045" y="112"/>
                      <a:pt x="1045" y="111"/>
                      <a:pt x="1044" y="111"/>
                    </a:cubicBezTo>
                    <a:close/>
                    <a:moveTo>
                      <a:pt x="1728" y="123"/>
                    </a:moveTo>
                    <a:cubicBezTo>
                      <a:pt x="1728" y="123"/>
                      <a:pt x="1728" y="124"/>
                      <a:pt x="1728" y="125"/>
                    </a:cubicBezTo>
                    <a:cubicBezTo>
                      <a:pt x="1728" y="124"/>
                      <a:pt x="1728" y="123"/>
                      <a:pt x="1728" y="123"/>
                    </a:cubicBezTo>
                    <a:close/>
                    <a:moveTo>
                      <a:pt x="943" y="130"/>
                    </a:moveTo>
                    <a:cubicBezTo>
                      <a:pt x="943" y="131"/>
                      <a:pt x="943" y="132"/>
                      <a:pt x="944" y="132"/>
                    </a:cubicBezTo>
                    <a:cubicBezTo>
                      <a:pt x="944" y="131"/>
                      <a:pt x="944" y="131"/>
                      <a:pt x="943" y="130"/>
                    </a:cubicBezTo>
                    <a:close/>
                    <a:moveTo>
                      <a:pt x="469" y="123"/>
                    </a:moveTo>
                    <a:cubicBezTo>
                      <a:pt x="469" y="124"/>
                      <a:pt x="469" y="125"/>
                      <a:pt x="469" y="125"/>
                    </a:cubicBezTo>
                    <a:cubicBezTo>
                      <a:pt x="469" y="125"/>
                      <a:pt x="470" y="124"/>
                      <a:pt x="469" y="123"/>
                    </a:cubicBezTo>
                    <a:close/>
                    <a:moveTo>
                      <a:pt x="980" y="130"/>
                    </a:moveTo>
                    <a:cubicBezTo>
                      <a:pt x="980" y="131"/>
                      <a:pt x="980" y="132"/>
                      <a:pt x="981" y="132"/>
                    </a:cubicBezTo>
                    <a:cubicBezTo>
                      <a:pt x="981" y="131"/>
                      <a:pt x="981" y="131"/>
                      <a:pt x="980" y="130"/>
                    </a:cubicBezTo>
                    <a:close/>
                    <a:moveTo>
                      <a:pt x="1011" y="135"/>
                    </a:moveTo>
                    <a:cubicBezTo>
                      <a:pt x="1012" y="134"/>
                      <a:pt x="1012" y="134"/>
                      <a:pt x="1012" y="133"/>
                    </a:cubicBezTo>
                    <a:cubicBezTo>
                      <a:pt x="1011" y="134"/>
                      <a:pt x="1011" y="134"/>
                      <a:pt x="1011" y="135"/>
                    </a:cubicBezTo>
                    <a:close/>
                    <a:moveTo>
                      <a:pt x="716" y="125"/>
                    </a:moveTo>
                    <a:cubicBezTo>
                      <a:pt x="716" y="125"/>
                      <a:pt x="717" y="124"/>
                      <a:pt x="717" y="123"/>
                    </a:cubicBezTo>
                    <a:cubicBezTo>
                      <a:pt x="716" y="124"/>
                      <a:pt x="716" y="124"/>
                      <a:pt x="716" y="125"/>
                    </a:cubicBezTo>
                    <a:close/>
                    <a:moveTo>
                      <a:pt x="452" y="60"/>
                    </a:moveTo>
                    <a:cubicBezTo>
                      <a:pt x="452" y="61"/>
                      <a:pt x="452" y="61"/>
                      <a:pt x="452" y="62"/>
                    </a:cubicBezTo>
                    <a:cubicBezTo>
                      <a:pt x="452" y="61"/>
                      <a:pt x="452" y="60"/>
                      <a:pt x="452" y="60"/>
                    </a:cubicBezTo>
                    <a:close/>
                    <a:moveTo>
                      <a:pt x="517" y="62"/>
                    </a:moveTo>
                    <a:cubicBezTo>
                      <a:pt x="517" y="61"/>
                      <a:pt x="517" y="61"/>
                      <a:pt x="517" y="60"/>
                    </a:cubicBezTo>
                    <a:cubicBezTo>
                      <a:pt x="517" y="61"/>
                      <a:pt x="517" y="61"/>
                      <a:pt x="517" y="62"/>
                    </a:cubicBezTo>
                    <a:close/>
                    <a:moveTo>
                      <a:pt x="1533" y="112"/>
                    </a:moveTo>
                    <a:cubicBezTo>
                      <a:pt x="1533" y="112"/>
                      <a:pt x="1533" y="111"/>
                      <a:pt x="1532" y="111"/>
                    </a:cubicBezTo>
                    <a:cubicBezTo>
                      <a:pt x="1532" y="111"/>
                      <a:pt x="1532" y="112"/>
                      <a:pt x="1533" y="112"/>
                    </a:cubicBezTo>
                    <a:close/>
                    <a:moveTo>
                      <a:pt x="537" y="60"/>
                    </a:moveTo>
                    <a:cubicBezTo>
                      <a:pt x="537" y="60"/>
                      <a:pt x="537" y="61"/>
                      <a:pt x="537" y="62"/>
                    </a:cubicBezTo>
                    <a:cubicBezTo>
                      <a:pt x="538" y="61"/>
                      <a:pt x="537" y="61"/>
                      <a:pt x="537" y="60"/>
                    </a:cubicBezTo>
                    <a:close/>
                    <a:moveTo>
                      <a:pt x="1030" y="123"/>
                    </a:moveTo>
                    <a:cubicBezTo>
                      <a:pt x="1029" y="124"/>
                      <a:pt x="1029" y="124"/>
                      <a:pt x="1029" y="125"/>
                    </a:cubicBezTo>
                    <a:cubicBezTo>
                      <a:pt x="1030" y="125"/>
                      <a:pt x="1030" y="124"/>
                      <a:pt x="1030" y="123"/>
                    </a:cubicBezTo>
                    <a:close/>
                    <a:moveTo>
                      <a:pt x="715" y="179"/>
                    </a:moveTo>
                    <a:cubicBezTo>
                      <a:pt x="715" y="179"/>
                      <a:pt x="715" y="178"/>
                      <a:pt x="714" y="177"/>
                    </a:cubicBezTo>
                    <a:cubicBezTo>
                      <a:pt x="714" y="178"/>
                      <a:pt x="714" y="179"/>
                      <a:pt x="715" y="179"/>
                    </a:cubicBezTo>
                    <a:close/>
                    <a:moveTo>
                      <a:pt x="428" y="63"/>
                    </a:moveTo>
                    <a:cubicBezTo>
                      <a:pt x="429" y="62"/>
                      <a:pt x="429" y="61"/>
                      <a:pt x="429" y="61"/>
                    </a:cubicBezTo>
                    <a:cubicBezTo>
                      <a:pt x="428" y="61"/>
                      <a:pt x="428" y="62"/>
                      <a:pt x="428" y="63"/>
                    </a:cubicBezTo>
                    <a:close/>
                    <a:moveTo>
                      <a:pt x="1048" y="123"/>
                    </a:moveTo>
                    <a:cubicBezTo>
                      <a:pt x="1048" y="124"/>
                      <a:pt x="1048" y="125"/>
                      <a:pt x="1048" y="125"/>
                    </a:cubicBezTo>
                    <a:cubicBezTo>
                      <a:pt x="1048" y="125"/>
                      <a:pt x="1048" y="124"/>
                      <a:pt x="1048" y="123"/>
                    </a:cubicBezTo>
                    <a:close/>
                    <a:moveTo>
                      <a:pt x="1638" y="179"/>
                    </a:moveTo>
                    <a:cubicBezTo>
                      <a:pt x="1638" y="178"/>
                      <a:pt x="1638" y="177"/>
                      <a:pt x="1637" y="177"/>
                    </a:cubicBezTo>
                    <a:cubicBezTo>
                      <a:pt x="1637" y="178"/>
                      <a:pt x="1637" y="178"/>
                      <a:pt x="1638" y="179"/>
                    </a:cubicBezTo>
                    <a:close/>
                    <a:moveTo>
                      <a:pt x="1083" y="177"/>
                    </a:moveTo>
                    <a:cubicBezTo>
                      <a:pt x="1083" y="177"/>
                      <a:pt x="1083" y="178"/>
                      <a:pt x="1083" y="179"/>
                    </a:cubicBezTo>
                    <a:cubicBezTo>
                      <a:pt x="1083" y="178"/>
                      <a:pt x="1083" y="178"/>
                      <a:pt x="1083" y="177"/>
                    </a:cubicBezTo>
                    <a:close/>
                    <a:moveTo>
                      <a:pt x="454" y="136"/>
                    </a:moveTo>
                    <a:cubicBezTo>
                      <a:pt x="454" y="135"/>
                      <a:pt x="454" y="135"/>
                      <a:pt x="453" y="134"/>
                    </a:cubicBezTo>
                    <a:cubicBezTo>
                      <a:pt x="453" y="135"/>
                      <a:pt x="453" y="136"/>
                      <a:pt x="454" y="136"/>
                    </a:cubicBezTo>
                    <a:close/>
                    <a:moveTo>
                      <a:pt x="1022" y="149"/>
                    </a:moveTo>
                    <a:cubicBezTo>
                      <a:pt x="1021" y="150"/>
                      <a:pt x="1021" y="150"/>
                      <a:pt x="1021" y="151"/>
                    </a:cubicBezTo>
                    <a:cubicBezTo>
                      <a:pt x="1022" y="151"/>
                      <a:pt x="1022" y="150"/>
                      <a:pt x="1022" y="149"/>
                    </a:cubicBezTo>
                    <a:close/>
                    <a:moveTo>
                      <a:pt x="975" y="111"/>
                    </a:moveTo>
                    <a:cubicBezTo>
                      <a:pt x="975" y="112"/>
                      <a:pt x="975" y="113"/>
                      <a:pt x="976" y="113"/>
                    </a:cubicBezTo>
                    <a:cubicBezTo>
                      <a:pt x="976" y="112"/>
                      <a:pt x="976" y="112"/>
                      <a:pt x="975" y="111"/>
                    </a:cubicBezTo>
                    <a:close/>
                    <a:moveTo>
                      <a:pt x="452" y="62"/>
                    </a:moveTo>
                    <a:cubicBezTo>
                      <a:pt x="452" y="62"/>
                      <a:pt x="452" y="63"/>
                      <a:pt x="453" y="64"/>
                    </a:cubicBezTo>
                    <a:cubicBezTo>
                      <a:pt x="453" y="63"/>
                      <a:pt x="453" y="62"/>
                      <a:pt x="452" y="62"/>
                    </a:cubicBezTo>
                    <a:close/>
                    <a:moveTo>
                      <a:pt x="537" y="62"/>
                    </a:moveTo>
                    <a:cubicBezTo>
                      <a:pt x="536" y="62"/>
                      <a:pt x="536" y="63"/>
                      <a:pt x="536" y="63"/>
                    </a:cubicBezTo>
                    <a:cubicBezTo>
                      <a:pt x="537" y="63"/>
                      <a:pt x="537" y="62"/>
                      <a:pt x="537" y="62"/>
                    </a:cubicBezTo>
                    <a:close/>
                    <a:moveTo>
                      <a:pt x="1169" y="112"/>
                    </a:moveTo>
                    <a:cubicBezTo>
                      <a:pt x="1169" y="111"/>
                      <a:pt x="1168" y="111"/>
                      <a:pt x="1168" y="111"/>
                    </a:cubicBezTo>
                    <a:cubicBezTo>
                      <a:pt x="1168" y="112"/>
                      <a:pt x="1169" y="112"/>
                      <a:pt x="1169" y="112"/>
                    </a:cubicBezTo>
                    <a:close/>
                    <a:moveTo>
                      <a:pt x="986" y="149"/>
                    </a:moveTo>
                    <a:cubicBezTo>
                      <a:pt x="985" y="150"/>
                      <a:pt x="986" y="151"/>
                      <a:pt x="986" y="151"/>
                    </a:cubicBezTo>
                    <a:cubicBezTo>
                      <a:pt x="986" y="150"/>
                      <a:pt x="986" y="150"/>
                      <a:pt x="986" y="149"/>
                    </a:cubicBezTo>
                    <a:close/>
                    <a:moveTo>
                      <a:pt x="1610" y="149"/>
                    </a:moveTo>
                    <a:cubicBezTo>
                      <a:pt x="1609" y="149"/>
                      <a:pt x="1609" y="150"/>
                      <a:pt x="1609" y="150"/>
                    </a:cubicBezTo>
                    <a:cubicBezTo>
                      <a:pt x="1610" y="150"/>
                      <a:pt x="1610" y="149"/>
                      <a:pt x="1610" y="149"/>
                    </a:cubicBezTo>
                    <a:close/>
                    <a:moveTo>
                      <a:pt x="1500" y="111"/>
                    </a:moveTo>
                    <a:cubicBezTo>
                      <a:pt x="1499" y="111"/>
                      <a:pt x="1498" y="111"/>
                      <a:pt x="1498" y="112"/>
                    </a:cubicBezTo>
                    <a:cubicBezTo>
                      <a:pt x="1499" y="112"/>
                      <a:pt x="1499" y="112"/>
                      <a:pt x="1500" y="111"/>
                    </a:cubicBezTo>
                    <a:close/>
                    <a:moveTo>
                      <a:pt x="1514" y="112"/>
                    </a:moveTo>
                    <a:cubicBezTo>
                      <a:pt x="1513" y="111"/>
                      <a:pt x="1513" y="111"/>
                      <a:pt x="1512" y="111"/>
                    </a:cubicBezTo>
                    <a:cubicBezTo>
                      <a:pt x="1512" y="112"/>
                      <a:pt x="1513" y="112"/>
                      <a:pt x="1514" y="112"/>
                    </a:cubicBezTo>
                    <a:close/>
                    <a:moveTo>
                      <a:pt x="1438" y="123"/>
                    </a:moveTo>
                    <a:cubicBezTo>
                      <a:pt x="1438" y="124"/>
                      <a:pt x="1438" y="125"/>
                      <a:pt x="1438" y="125"/>
                    </a:cubicBezTo>
                    <a:cubicBezTo>
                      <a:pt x="1438" y="124"/>
                      <a:pt x="1438" y="124"/>
                      <a:pt x="1438" y="123"/>
                    </a:cubicBezTo>
                    <a:close/>
                    <a:moveTo>
                      <a:pt x="1547" y="150"/>
                    </a:moveTo>
                    <a:cubicBezTo>
                      <a:pt x="1547" y="150"/>
                      <a:pt x="1547" y="149"/>
                      <a:pt x="1546" y="149"/>
                    </a:cubicBezTo>
                    <a:cubicBezTo>
                      <a:pt x="1546" y="149"/>
                      <a:pt x="1546" y="150"/>
                      <a:pt x="1547" y="150"/>
                    </a:cubicBezTo>
                    <a:close/>
                    <a:moveTo>
                      <a:pt x="1556" y="123"/>
                    </a:moveTo>
                    <a:cubicBezTo>
                      <a:pt x="1556" y="124"/>
                      <a:pt x="1556" y="125"/>
                      <a:pt x="1557" y="125"/>
                    </a:cubicBezTo>
                    <a:cubicBezTo>
                      <a:pt x="1557" y="124"/>
                      <a:pt x="1557" y="124"/>
                      <a:pt x="1556" y="123"/>
                    </a:cubicBezTo>
                    <a:close/>
                    <a:moveTo>
                      <a:pt x="1790" y="111"/>
                    </a:moveTo>
                    <a:cubicBezTo>
                      <a:pt x="1789" y="111"/>
                      <a:pt x="1789" y="111"/>
                      <a:pt x="1788" y="112"/>
                    </a:cubicBezTo>
                    <a:cubicBezTo>
                      <a:pt x="1789" y="112"/>
                      <a:pt x="1790" y="112"/>
                      <a:pt x="1790" y="111"/>
                    </a:cubicBezTo>
                    <a:close/>
                    <a:moveTo>
                      <a:pt x="1013" y="177"/>
                    </a:moveTo>
                    <a:cubicBezTo>
                      <a:pt x="1013" y="177"/>
                      <a:pt x="1012" y="178"/>
                      <a:pt x="1013" y="179"/>
                    </a:cubicBezTo>
                    <a:cubicBezTo>
                      <a:pt x="1013" y="178"/>
                      <a:pt x="1013" y="177"/>
                      <a:pt x="1013" y="177"/>
                    </a:cubicBezTo>
                    <a:close/>
                    <a:moveTo>
                      <a:pt x="1011" y="137"/>
                    </a:moveTo>
                    <a:cubicBezTo>
                      <a:pt x="1011" y="136"/>
                      <a:pt x="1011" y="136"/>
                      <a:pt x="1011" y="135"/>
                    </a:cubicBezTo>
                    <a:cubicBezTo>
                      <a:pt x="1011" y="135"/>
                      <a:pt x="1011" y="136"/>
                      <a:pt x="1011" y="137"/>
                    </a:cubicBezTo>
                    <a:close/>
                    <a:moveTo>
                      <a:pt x="448" y="114"/>
                    </a:moveTo>
                    <a:cubicBezTo>
                      <a:pt x="448" y="113"/>
                      <a:pt x="448" y="112"/>
                      <a:pt x="447" y="112"/>
                    </a:cubicBezTo>
                    <a:cubicBezTo>
                      <a:pt x="447" y="112"/>
                      <a:pt x="447" y="113"/>
                      <a:pt x="448" y="114"/>
                    </a:cubicBezTo>
                    <a:close/>
                    <a:moveTo>
                      <a:pt x="503" y="114"/>
                    </a:moveTo>
                    <a:cubicBezTo>
                      <a:pt x="503" y="113"/>
                      <a:pt x="504" y="113"/>
                      <a:pt x="503" y="112"/>
                    </a:cubicBezTo>
                    <a:cubicBezTo>
                      <a:pt x="503" y="112"/>
                      <a:pt x="503" y="113"/>
                      <a:pt x="503" y="114"/>
                    </a:cubicBezTo>
                    <a:close/>
                    <a:moveTo>
                      <a:pt x="1027" y="131"/>
                    </a:moveTo>
                    <a:cubicBezTo>
                      <a:pt x="1027" y="131"/>
                      <a:pt x="1027" y="132"/>
                      <a:pt x="1027" y="133"/>
                    </a:cubicBezTo>
                    <a:cubicBezTo>
                      <a:pt x="1028" y="132"/>
                      <a:pt x="1027" y="131"/>
                      <a:pt x="1027" y="131"/>
                    </a:cubicBezTo>
                    <a:close/>
                    <a:moveTo>
                      <a:pt x="1075" y="150"/>
                    </a:moveTo>
                    <a:cubicBezTo>
                      <a:pt x="1075" y="150"/>
                      <a:pt x="1075" y="149"/>
                      <a:pt x="1075" y="149"/>
                    </a:cubicBezTo>
                    <a:cubicBezTo>
                      <a:pt x="1075" y="149"/>
                      <a:pt x="1075" y="150"/>
                      <a:pt x="1075" y="150"/>
                    </a:cubicBezTo>
                    <a:close/>
                    <a:moveTo>
                      <a:pt x="428" y="124"/>
                    </a:moveTo>
                    <a:cubicBezTo>
                      <a:pt x="427" y="124"/>
                      <a:pt x="427" y="125"/>
                      <a:pt x="427" y="126"/>
                    </a:cubicBezTo>
                    <a:cubicBezTo>
                      <a:pt x="428" y="125"/>
                      <a:pt x="428" y="124"/>
                      <a:pt x="428" y="124"/>
                    </a:cubicBezTo>
                    <a:close/>
                    <a:moveTo>
                      <a:pt x="1055" y="149"/>
                    </a:moveTo>
                    <a:cubicBezTo>
                      <a:pt x="1055" y="149"/>
                      <a:pt x="1055" y="150"/>
                      <a:pt x="1055" y="150"/>
                    </a:cubicBezTo>
                    <a:cubicBezTo>
                      <a:pt x="1055" y="150"/>
                      <a:pt x="1055" y="149"/>
                      <a:pt x="1055" y="149"/>
                    </a:cubicBezTo>
                    <a:close/>
                    <a:moveTo>
                      <a:pt x="1039" y="150"/>
                    </a:moveTo>
                    <a:cubicBezTo>
                      <a:pt x="1039" y="150"/>
                      <a:pt x="1039" y="149"/>
                      <a:pt x="1039" y="149"/>
                    </a:cubicBezTo>
                    <a:cubicBezTo>
                      <a:pt x="1038" y="149"/>
                      <a:pt x="1038" y="150"/>
                      <a:pt x="1039" y="150"/>
                    </a:cubicBezTo>
                    <a:close/>
                    <a:moveTo>
                      <a:pt x="451" y="126"/>
                    </a:moveTo>
                    <a:cubicBezTo>
                      <a:pt x="451" y="125"/>
                      <a:pt x="451" y="124"/>
                      <a:pt x="451" y="124"/>
                    </a:cubicBezTo>
                    <a:cubicBezTo>
                      <a:pt x="450" y="125"/>
                      <a:pt x="450" y="125"/>
                      <a:pt x="451" y="126"/>
                    </a:cubicBezTo>
                    <a:close/>
                    <a:moveTo>
                      <a:pt x="1034" y="133"/>
                    </a:moveTo>
                    <a:cubicBezTo>
                      <a:pt x="1034" y="132"/>
                      <a:pt x="1034" y="131"/>
                      <a:pt x="1033" y="131"/>
                    </a:cubicBezTo>
                    <a:cubicBezTo>
                      <a:pt x="1033" y="131"/>
                      <a:pt x="1033" y="132"/>
                      <a:pt x="1034" y="133"/>
                    </a:cubicBezTo>
                    <a:close/>
                    <a:moveTo>
                      <a:pt x="516" y="64"/>
                    </a:moveTo>
                    <a:cubicBezTo>
                      <a:pt x="517" y="64"/>
                      <a:pt x="517" y="63"/>
                      <a:pt x="517" y="62"/>
                    </a:cubicBezTo>
                    <a:cubicBezTo>
                      <a:pt x="516" y="63"/>
                      <a:pt x="516" y="63"/>
                      <a:pt x="516" y="64"/>
                    </a:cubicBezTo>
                    <a:close/>
                    <a:moveTo>
                      <a:pt x="1097" y="131"/>
                    </a:moveTo>
                    <a:cubicBezTo>
                      <a:pt x="1097" y="131"/>
                      <a:pt x="1097" y="132"/>
                      <a:pt x="1097" y="133"/>
                    </a:cubicBezTo>
                    <a:cubicBezTo>
                      <a:pt x="1097" y="132"/>
                      <a:pt x="1097" y="131"/>
                      <a:pt x="1097" y="131"/>
                    </a:cubicBezTo>
                    <a:close/>
                    <a:moveTo>
                      <a:pt x="968" y="150"/>
                    </a:moveTo>
                    <a:cubicBezTo>
                      <a:pt x="968" y="150"/>
                      <a:pt x="968" y="149"/>
                      <a:pt x="968" y="149"/>
                    </a:cubicBezTo>
                    <a:cubicBezTo>
                      <a:pt x="968" y="149"/>
                      <a:pt x="967" y="150"/>
                      <a:pt x="968" y="150"/>
                    </a:cubicBezTo>
                    <a:close/>
                    <a:moveTo>
                      <a:pt x="516" y="135"/>
                    </a:moveTo>
                    <a:cubicBezTo>
                      <a:pt x="516" y="136"/>
                      <a:pt x="516" y="137"/>
                      <a:pt x="516" y="137"/>
                    </a:cubicBezTo>
                    <a:cubicBezTo>
                      <a:pt x="516" y="137"/>
                      <a:pt x="516" y="136"/>
                      <a:pt x="516" y="135"/>
                    </a:cubicBezTo>
                    <a:close/>
                    <a:moveTo>
                      <a:pt x="979" y="124"/>
                    </a:moveTo>
                    <a:cubicBezTo>
                      <a:pt x="979" y="125"/>
                      <a:pt x="979" y="125"/>
                      <a:pt x="979" y="126"/>
                    </a:cubicBezTo>
                    <a:cubicBezTo>
                      <a:pt x="979" y="125"/>
                      <a:pt x="979" y="124"/>
                      <a:pt x="979" y="124"/>
                    </a:cubicBezTo>
                    <a:close/>
                    <a:moveTo>
                      <a:pt x="1498" y="112"/>
                    </a:moveTo>
                    <a:cubicBezTo>
                      <a:pt x="1497" y="112"/>
                      <a:pt x="1497" y="112"/>
                      <a:pt x="1496" y="112"/>
                    </a:cubicBezTo>
                    <a:cubicBezTo>
                      <a:pt x="1497" y="112"/>
                      <a:pt x="1498" y="113"/>
                      <a:pt x="1498" y="112"/>
                    </a:cubicBezTo>
                    <a:close/>
                    <a:moveTo>
                      <a:pt x="472" y="135"/>
                    </a:moveTo>
                    <a:cubicBezTo>
                      <a:pt x="472" y="136"/>
                      <a:pt x="472" y="137"/>
                      <a:pt x="473" y="137"/>
                    </a:cubicBezTo>
                    <a:cubicBezTo>
                      <a:pt x="473" y="137"/>
                      <a:pt x="473" y="136"/>
                      <a:pt x="472" y="135"/>
                    </a:cubicBezTo>
                    <a:close/>
                    <a:moveTo>
                      <a:pt x="1552" y="112"/>
                    </a:moveTo>
                    <a:cubicBezTo>
                      <a:pt x="1552" y="113"/>
                      <a:pt x="1552" y="113"/>
                      <a:pt x="1553" y="114"/>
                    </a:cubicBezTo>
                    <a:cubicBezTo>
                      <a:pt x="1553" y="113"/>
                      <a:pt x="1553" y="112"/>
                      <a:pt x="1552" y="112"/>
                    </a:cubicBezTo>
                    <a:close/>
                    <a:moveTo>
                      <a:pt x="1605" y="114"/>
                    </a:moveTo>
                    <a:cubicBezTo>
                      <a:pt x="1606" y="113"/>
                      <a:pt x="1606" y="113"/>
                      <a:pt x="1606" y="112"/>
                    </a:cubicBezTo>
                    <a:cubicBezTo>
                      <a:pt x="1605" y="112"/>
                      <a:pt x="1605" y="113"/>
                      <a:pt x="1605" y="114"/>
                    </a:cubicBezTo>
                    <a:close/>
                    <a:moveTo>
                      <a:pt x="552" y="64"/>
                    </a:moveTo>
                    <a:cubicBezTo>
                      <a:pt x="552" y="63"/>
                      <a:pt x="552" y="63"/>
                      <a:pt x="551" y="62"/>
                    </a:cubicBezTo>
                    <a:cubicBezTo>
                      <a:pt x="551" y="63"/>
                      <a:pt x="551" y="64"/>
                      <a:pt x="552" y="64"/>
                    </a:cubicBezTo>
                    <a:close/>
                    <a:moveTo>
                      <a:pt x="493" y="151"/>
                    </a:moveTo>
                    <a:cubicBezTo>
                      <a:pt x="494" y="150"/>
                      <a:pt x="494" y="149"/>
                      <a:pt x="494" y="149"/>
                    </a:cubicBezTo>
                    <a:cubicBezTo>
                      <a:pt x="493" y="149"/>
                      <a:pt x="493" y="150"/>
                      <a:pt x="493" y="151"/>
                    </a:cubicBezTo>
                    <a:close/>
                    <a:moveTo>
                      <a:pt x="1788" y="112"/>
                    </a:moveTo>
                    <a:cubicBezTo>
                      <a:pt x="1788" y="112"/>
                      <a:pt x="1787" y="112"/>
                      <a:pt x="1787" y="112"/>
                    </a:cubicBezTo>
                    <a:cubicBezTo>
                      <a:pt x="1787" y="112"/>
                      <a:pt x="1788" y="113"/>
                      <a:pt x="1788" y="112"/>
                    </a:cubicBezTo>
                    <a:close/>
                    <a:moveTo>
                      <a:pt x="1614" y="137"/>
                    </a:moveTo>
                    <a:cubicBezTo>
                      <a:pt x="1614" y="138"/>
                      <a:pt x="1614" y="138"/>
                      <a:pt x="1614" y="139"/>
                    </a:cubicBezTo>
                    <a:cubicBezTo>
                      <a:pt x="1614" y="139"/>
                      <a:pt x="1614" y="138"/>
                      <a:pt x="1614" y="137"/>
                    </a:cubicBezTo>
                    <a:close/>
                    <a:moveTo>
                      <a:pt x="466" y="112"/>
                    </a:moveTo>
                    <a:cubicBezTo>
                      <a:pt x="466" y="113"/>
                      <a:pt x="466" y="114"/>
                      <a:pt x="467" y="114"/>
                    </a:cubicBezTo>
                    <a:cubicBezTo>
                      <a:pt x="467" y="114"/>
                      <a:pt x="467" y="113"/>
                      <a:pt x="466" y="112"/>
                    </a:cubicBezTo>
                    <a:close/>
                    <a:moveTo>
                      <a:pt x="458" y="150"/>
                    </a:moveTo>
                    <a:cubicBezTo>
                      <a:pt x="458" y="150"/>
                      <a:pt x="458" y="149"/>
                      <a:pt x="457" y="149"/>
                    </a:cubicBezTo>
                    <a:cubicBezTo>
                      <a:pt x="457" y="149"/>
                      <a:pt x="457" y="150"/>
                      <a:pt x="458" y="150"/>
                    </a:cubicBezTo>
                    <a:close/>
                    <a:moveTo>
                      <a:pt x="1596" y="139"/>
                    </a:moveTo>
                    <a:cubicBezTo>
                      <a:pt x="1596" y="138"/>
                      <a:pt x="1597" y="138"/>
                      <a:pt x="1597" y="137"/>
                    </a:cubicBezTo>
                    <a:cubicBezTo>
                      <a:pt x="1596" y="138"/>
                      <a:pt x="1596" y="138"/>
                      <a:pt x="1596" y="139"/>
                    </a:cubicBezTo>
                    <a:close/>
                    <a:moveTo>
                      <a:pt x="486" y="179"/>
                    </a:moveTo>
                    <a:cubicBezTo>
                      <a:pt x="486" y="178"/>
                      <a:pt x="486" y="178"/>
                      <a:pt x="486" y="177"/>
                    </a:cubicBezTo>
                    <a:cubicBezTo>
                      <a:pt x="485" y="177"/>
                      <a:pt x="486" y="178"/>
                      <a:pt x="486" y="179"/>
                    </a:cubicBezTo>
                    <a:close/>
                    <a:moveTo>
                      <a:pt x="1592" y="150"/>
                    </a:moveTo>
                    <a:cubicBezTo>
                      <a:pt x="1592" y="149"/>
                      <a:pt x="1593" y="149"/>
                      <a:pt x="1593" y="148"/>
                    </a:cubicBezTo>
                    <a:cubicBezTo>
                      <a:pt x="1592" y="149"/>
                      <a:pt x="1592" y="149"/>
                      <a:pt x="1592" y="150"/>
                    </a:cubicBezTo>
                    <a:close/>
                    <a:moveTo>
                      <a:pt x="427" y="65"/>
                    </a:moveTo>
                    <a:cubicBezTo>
                      <a:pt x="428" y="64"/>
                      <a:pt x="428" y="64"/>
                      <a:pt x="428" y="63"/>
                    </a:cubicBezTo>
                    <a:cubicBezTo>
                      <a:pt x="427" y="63"/>
                      <a:pt x="427" y="64"/>
                      <a:pt x="427" y="65"/>
                    </a:cubicBezTo>
                    <a:close/>
                    <a:moveTo>
                      <a:pt x="965" y="139"/>
                    </a:moveTo>
                    <a:cubicBezTo>
                      <a:pt x="965" y="138"/>
                      <a:pt x="965" y="138"/>
                      <a:pt x="964" y="137"/>
                    </a:cubicBezTo>
                    <a:cubicBezTo>
                      <a:pt x="964" y="138"/>
                      <a:pt x="964" y="138"/>
                      <a:pt x="965" y="139"/>
                    </a:cubicBezTo>
                    <a:close/>
                    <a:moveTo>
                      <a:pt x="957" y="114"/>
                    </a:moveTo>
                    <a:cubicBezTo>
                      <a:pt x="957" y="113"/>
                      <a:pt x="957" y="113"/>
                      <a:pt x="957" y="112"/>
                    </a:cubicBezTo>
                    <a:cubicBezTo>
                      <a:pt x="957" y="113"/>
                      <a:pt x="957" y="114"/>
                      <a:pt x="957" y="114"/>
                    </a:cubicBezTo>
                    <a:close/>
                    <a:moveTo>
                      <a:pt x="1018" y="114"/>
                    </a:moveTo>
                    <a:cubicBezTo>
                      <a:pt x="1018" y="114"/>
                      <a:pt x="1018" y="113"/>
                      <a:pt x="1018" y="112"/>
                    </a:cubicBezTo>
                    <a:cubicBezTo>
                      <a:pt x="1018" y="113"/>
                      <a:pt x="1018" y="114"/>
                      <a:pt x="1018" y="114"/>
                    </a:cubicBezTo>
                    <a:close/>
                    <a:moveTo>
                      <a:pt x="1085" y="114"/>
                    </a:moveTo>
                    <a:cubicBezTo>
                      <a:pt x="1085" y="114"/>
                      <a:pt x="1085" y="113"/>
                      <a:pt x="1085" y="112"/>
                    </a:cubicBezTo>
                    <a:cubicBezTo>
                      <a:pt x="1084" y="113"/>
                      <a:pt x="1085" y="114"/>
                      <a:pt x="1085" y="114"/>
                    </a:cubicBezTo>
                    <a:close/>
                    <a:moveTo>
                      <a:pt x="942" y="125"/>
                    </a:moveTo>
                    <a:cubicBezTo>
                      <a:pt x="942" y="125"/>
                      <a:pt x="942" y="126"/>
                      <a:pt x="942" y="126"/>
                    </a:cubicBezTo>
                    <a:cubicBezTo>
                      <a:pt x="942" y="126"/>
                      <a:pt x="942" y="125"/>
                      <a:pt x="942" y="125"/>
                    </a:cubicBezTo>
                    <a:close/>
                    <a:moveTo>
                      <a:pt x="413" y="177"/>
                    </a:moveTo>
                    <a:cubicBezTo>
                      <a:pt x="412" y="177"/>
                      <a:pt x="412" y="178"/>
                      <a:pt x="412" y="179"/>
                    </a:cubicBezTo>
                    <a:cubicBezTo>
                      <a:pt x="413" y="178"/>
                      <a:pt x="413" y="177"/>
                      <a:pt x="413" y="177"/>
                    </a:cubicBezTo>
                    <a:close/>
                    <a:moveTo>
                      <a:pt x="1032" y="126"/>
                    </a:moveTo>
                    <a:cubicBezTo>
                      <a:pt x="1032" y="126"/>
                      <a:pt x="1032" y="125"/>
                      <a:pt x="1032" y="125"/>
                    </a:cubicBezTo>
                    <a:cubicBezTo>
                      <a:pt x="1032" y="125"/>
                      <a:pt x="1031" y="126"/>
                      <a:pt x="1032" y="126"/>
                    </a:cubicBezTo>
                    <a:close/>
                    <a:moveTo>
                      <a:pt x="1092" y="148"/>
                    </a:moveTo>
                    <a:cubicBezTo>
                      <a:pt x="1091" y="149"/>
                      <a:pt x="1091" y="149"/>
                      <a:pt x="1091" y="150"/>
                    </a:cubicBezTo>
                    <a:cubicBezTo>
                      <a:pt x="1092" y="149"/>
                      <a:pt x="1092" y="149"/>
                      <a:pt x="1092" y="148"/>
                    </a:cubicBezTo>
                    <a:close/>
                    <a:moveTo>
                      <a:pt x="1007" y="150"/>
                    </a:moveTo>
                    <a:cubicBezTo>
                      <a:pt x="1007" y="149"/>
                      <a:pt x="1007" y="149"/>
                      <a:pt x="1007" y="148"/>
                    </a:cubicBezTo>
                    <a:cubicBezTo>
                      <a:pt x="1007" y="149"/>
                      <a:pt x="1007" y="149"/>
                      <a:pt x="1007" y="150"/>
                    </a:cubicBezTo>
                    <a:close/>
                    <a:moveTo>
                      <a:pt x="422" y="146"/>
                    </a:moveTo>
                    <a:cubicBezTo>
                      <a:pt x="421" y="147"/>
                      <a:pt x="421" y="147"/>
                      <a:pt x="421" y="148"/>
                    </a:cubicBezTo>
                    <a:cubicBezTo>
                      <a:pt x="422" y="148"/>
                      <a:pt x="422" y="147"/>
                      <a:pt x="422" y="146"/>
                    </a:cubicBezTo>
                    <a:close/>
                    <a:moveTo>
                      <a:pt x="516" y="137"/>
                    </a:moveTo>
                    <a:cubicBezTo>
                      <a:pt x="515" y="138"/>
                      <a:pt x="515" y="138"/>
                      <a:pt x="515" y="139"/>
                    </a:cubicBezTo>
                    <a:cubicBezTo>
                      <a:pt x="516" y="138"/>
                      <a:pt x="516" y="138"/>
                      <a:pt x="516" y="137"/>
                    </a:cubicBezTo>
                    <a:close/>
                    <a:moveTo>
                      <a:pt x="1560" y="133"/>
                    </a:moveTo>
                    <a:cubicBezTo>
                      <a:pt x="1560" y="134"/>
                      <a:pt x="1560" y="134"/>
                      <a:pt x="1560" y="135"/>
                    </a:cubicBezTo>
                    <a:cubicBezTo>
                      <a:pt x="1560" y="134"/>
                      <a:pt x="1560" y="134"/>
                      <a:pt x="1560" y="133"/>
                    </a:cubicBezTo>
                    <a:close/>
                    <a:moveTo>
                      <a:pt x="1598" y="133"/>
                    </a:moveTo>
                    <a:cubicBezTo>
                      <a:pt x="1599" y="132"/>
                      <a:pt x="1599" y="132"/>
                      <a:pt x="1599" y="131"/>
                    </a:cubicBezTo>
                    <a:cubicBezTo>
                      <a:pt x="1598" y="131"/>
                      <a:pt x="1598" y="132"/>
                      <a:pt x="1598" y="133"/>
                    </a:cubicBezTo>
                    <a:close/>
                    <a:moveTo>
                      <a:pt x="1601" y="126"/>
                    </a:moveTo>
                    <a:cubicBezTo>
                      <a:pt x="1601" y="126"/>
                      <a:pt x="1601" y="125"/>
                      <a:pt x="1601" y="125"/>
                    </a:cubicBezTo>
                    <a:cubicBezTo>
                      <a:pt x="1600" y="125"/>
                      <a:pt x="1601" y="126"/>
                      <a:pt x="1601" y="126"/>
                    </a:cubicBezTo>
                    <a:close/>
                    <a:moveTo>
                      <a:pt x="981" y="134"/>
                    </a:moveTo>
                    <a:cubicBezTo>
                      <a:pt x="981" y="135"/>
                      <a:pt x="981" y="136"/>
                      <a:pt x="982" y="136"/>
                    </a:cubicBezTo>
                    <a:cubicBezTo>
                      <a:pt x="982" y="136"/>
                      <a:pt x="982" y="135"/>
                      <a:pt x="981" y="134"/>
                    </a:cubicBezTo>
                    <a:close/>
                    <a:moveTo>
                      <a:pt x="1728" y="125"/>
                    </a:moveTo>
                    <a:cubicBezTo>
                      <a:pt x="1728" y="125"/>
                      <a:pt x="1728" y="126"/>
                      <a:pt x="1729" y="126"/>
                    </a:cubicBezTo>
                    <a:cubicBezTo>
                      <a:pt x="1729" y="126"/>
                      <a:pt x="1729" y="125"/>
                      <a:pt x="1728" y="125"/>
                    </a:cubicBezTo>
                    <a:close/>
                    <a:moveTo>
                      <a:pt x="374" y="179"/>
                    </a:moveTo>
                    <a:cubicBezTo>
                      <a:pt x="375" y="178"/>
                      <a:pt x="374" y="177"/>
                      <a:pt x="374" y="177"/>
                    </a:cubicBezTo>
                    <a:cubicBezTo>
                      <a:pt x="374" y="177"/>
                      <a:pt x="374" y="178"/>
                      <a:pt x="374" y="179"/>
                    </a:cubicBezTo>
                    <a:close/>
                    <a:moveTo>
                      <a:pt x="522" y="113"/>
                    </a:moveTo>
                    <a:cubicBezTo>
                      <a:pt x="522" y="113"/>
                      <a:pt x="522" y="114"/>
                      <a:pt x="522" y="115"/>
                    </a:cubicBezTo>
                    <a:cubicBezTo>
                      <a:pt x="523" y="114"/>
                      <a:pt x="522" y="114"/>
                      <a:pt x="522" y="113"/>
                    </a:cubicBezTo>
                    <a:close/>
                    <a:moveTo>
                      <a:pt x="476" y="148"/>
                    </a:moveTo>
                    <a:cubicBezTo>
                      <a:pt x="476" y="149"/>
                      <a:pt x="476" y="150"/>
                      <a:pt x="476" y="150"/>
                    </a:cubicBezTo>
                    <a:cubicBezTo>
                      <a:pt x="476" y="149"/>
                      <a:pt x="477" y="149"/>
                      <a:pt x="476" y="148"/>
                    </a:cubicBezTo>
                    <a:close/>
                    <a:moveTo>
                      <a:pt x="421" y="148"/>
                    </a:moveTo>
                    <a:cubicBezTo>
                      <a:pt x="421" y="149"/>
                      <a:pt x="421" y="149"/>
                      <a:pt x="421" y="150"/>
                    </a:cubicBezTo>
                    <a:cubicBezTo>
                      <a:pt x="421" y="149"/>
                      <a:pt x="421" y="149"/>
                      <a:pt x="421" y="148"/>
                    </a:cubicBezTo>
                    <a:close/>
                    <a:moveTo>
                      <a:pt x="469" y="125"/>
                    </a:moveTo>
                    <a:cubicBezTo>
                      <a:pt x="469" y="126"/>
                      <a:pt x="469" y="126"/>
                      <a:pt x="470" y="127"/>
                    </a:cubicBezTo>
                    <a:cubicBezTo>
                      <a:pt x="470" y="126"/>
                      <a:pt x="470" y="126"/>
                      <a:pt x="469" y="125"/>
                    </a:cubicBezTo>
                    <a:close/>
                    <a:moveTo>
                      <a:pt x="499" y="127"/>
                    </a:moveTo>
                    <a:cubicBezTo>
                      <a:pt x="500" y="126"/>
                      <a:pt x="500" y="126"/>
                      <a:pt x="500" y="125"/>
                    </a:cubicBezTo>
                    <a:cubicBezTo>
                      <a:pt x="499" y="126"/>
                      <a:pt x="499" y="126"/>
                      <a:pt x="499" y="127"/>
                    </a:cubicBezTo>
                    <a:close/>
                    <a:moveTo>
                      <a:pt x="513" y="147"/>
                    </a:moveTo>
                    <a:cubicBezTo>
                      <a:pt x="512" y="148"/>
                      <a:pt x="512" y="149"/>
                      <a:pt x="512" y="149"/>
                    </a:cubicBezTo>
                    <a:cubicBezTo>
                      <a:pt x="513" y="149"/>
                      <a:pt x="513" y="148"/>
                      <a:pt x="513" y="147"/>
                    </a:cubicBezTo>
                    <a:close/>
                    <a:moveTo>
                      <a:pt x="976" y="113"/>
                    </a:moveTo>
                    <a:cubicBezTo>
                      <a:pt x="976" y="114"/>
                      <a:pt x="976" y="114"/>
                      <a:pt x="976" y="115"/>
                    </a:cubicBezTo>
                    <a:cubicBezTo>
                      <a:pt x="976" y="114"/>
                      <a:pt x="976" y="114"/>
                      <a:pt x="976" y="113"/>
                    </a:cubicBezTo>
                    <a:close/>
                    <a:moveTo>
                      <a:pt x="1045" y="113"/>
                    </a:moveTo>
                    <a:cubicBezTo>
                      <a:pt x="1045" y="114"/>
                      <a:pt x="1045" y="114"/>
                      <a:pt x="1045" y="115"/>
                    </a:cubicBezTo>
                    <a:cubicBezTo>
                      <a:pt x="1045" y="114"/>
                      <a:pt x="1046" y="113"/>
                      <a:pt x="1045" y="113"/>
                    </a:cubicBezTo>
                    <a:close/>
                    <a:moveTo>
                      <a:pt x="453" y="64"/>
                    </a:moveTo>
                    <a:cubicBezTo>
                      <a:pt x="453" y="65"/>
                      <a:pt x="453" y="65"/>
                      <a:pt x="453" y="66"/>
                    </a:cubicBezTo>
                    <a:cubicBezTo>
                      <a:pt x="453" y="65"/>
                      <a:pt x="453" y="65"/>
                      <a:pt x="453" y="64"/>
                    </a:cubicBezTo>
                    <a:close/>
                    <a:moveTo>
                      <a:pt x="519" y="125"/>
                    </a:moveTo>
                    <a:cubicBezTo>
                      <a:pt x="518" y="126"/>
                      <a:pt x="518" y="126"/>
                      <a:pt x="518" y="127"/>
                    </a:cubicBezTo>
                    <a:cubicBezTo>
                      <a:pt x="519" y="126"/>
                      <a:pt x="519" y="126"/>
                      <a:pt x="519" y="125"/>
                    </a:cubicBezTo>
                    <a:close/>
                    <a:moveTo>
                      <a:pt x="516" y="66"/>
                    </a:moveTo>
                    <a:cubicBezTo>
                      <a:pt x="516" y="66"/>
                      <a:pt x="516" y="65"/>
                      <a:pt x="516" y="64"/>
                    </a:cubicBezTo>
                    <a:cubicBezTo>
                      <a:pt x="515" y="65"/>
                      <a:pt x="516" y="65"/>
                      <a:pt x="516" y="66"/>
                    </a:cubicBezTo>
                    <a:close/>
                    <a:moveTo>
                      <a:pt x="536" y="64"/>
                    </a:moveTo>
                    <a:cubicBezTo>
                      <a:pt x="536" y="64"/>
                      <a:pt x="536" y="65"/>
                      <a:pt x="536" y="66"/>
                    </a:cubicBezTo>
                    <a:cubicBezTo>
                      <a:pt x="536" y="65"/>
                      <a:pt x="536" y="65"/>
                      <a:pt x="536" y="64"/>
                    </a:cubicBezTo>
                    <a:close/>
                    <a:moveTo>
                      <a:pt x="671" y="127"/>
                    </a:moveTo>
                    <a:cubicBezTo>
                      <a:pt x="671" y="126"/>
                      <a:pt x="671" y="126"/>
                      <a:pt x="670" y="125"/>
                    </a:cubicBezTo>
                    <a:cubicBezTo>
                      <a:pt x="670" y="126"/>
                      <a:pt x="670" y="126"/>
                      <a:pt x="671" y="127"/>
                    </a:cubicBezTo>
                    <a:close/>
                    <a:moveTo>
                      <a:pt x="961" y="127"/>
                    </a:moveTo>
                    <a:cubicBezTo>
                      <a:pt x="961" y="127"/>
                      <a:pt x="961" y="126"/>
                      <a:pt x="961" y="126"/>
                    </a:cubicBezTo>
                    <a:cubicBezTo>
                      <a:pt x="961" y="126"/>
                      <a:pt x="961" y="127"/>
                      <a:pt x="961" y="127"/>
                    </a:cubicBezTo>
                    <a:close/>
                    <a:moveTo>
                      <a:pt x="427" y="67"/>
                    </a:moveTo>
                    <a:cubicBezTo>
                      <a:pt x="427" y="66"/>
                      <a:pt x="428" y="65"/>
                      <a:pt x="427" y="65"/>
                    </a:cubicBezTo>
                    <a:cubicBezTo>
                      <a:pt x="427" y="65"/>
                      <a:pt x="427" y="66"/>
                      <a:pt x="427" y="67"/>
                    </a:cubicBezTo>
                    <a:close/>
                    <a:moveTo>
                      <a:pt x="840" y="127"/>
                    </a:moveTo>
                    <a:cubicBezTo>
                      <a:pt x="841" y="126"/>
                      <a:pt x="841" y="126"/>
                      <a:pt x="841" y="125"/>
                    </a:cubicBezTo>
                    <a:cubicBezTo>
                      <a:pt x="840" y="125"/>
                      <a:pt x="840" y="126"/>
                      <a:pt x="840" y="127"/>
                    </a:cubicBezTo>
                    <a:close/>
                    <a:moveTo>
                      <a:pt x="985" y="147"/>
                    </a:moveTo>
                    <a:cubicBezTo>
                      <a:pt x="985" y="148"/>
                      <a:pt x="985" y="148"/>
                      <a:pt x="985" y="149"/>
                    </a:cubicBezTo>
                    <a:cubicBezTo>
                      <a:pt x="985" y="148"/>
                      <a:pt x="986" y="147"/>
                      <a:pt x="985" y="147"/>
                    </a:cubicBezTo>
                    <a:close/>
                    <a:moveTo>
                      <a:pt x="431" y="113"/>
                    </a:moveTo>
                    <a:cubicBezTo>
                      <a:pt x="430" y="114"/>
                      <a:pt x="430" y="115"/>
                      <a:pt x="430" y="115"/>
                    </a:cubicBezTo>
                    <a:cubicBezTo>
                      <a:pt x="431" y="115"/>
                      <a:pt x="431" y="114"/>
                      <a:pt x="431" y="113"/>
                    </a:cubicBezTo>
                    <a:close/>
                    <a:moveTo>
                      <a:pt x="998" y="178"/>
                    </a:moveTo>
                    <a:cubicBezTo>
                      <a:pt x="999" y="178"/>
                      <a:pt x="999" y="177"/>
                      <a:pt x="999" y="176"/>
                    </a:cubicBezTo>
                    <a:cubicBezTo>
                      <a:pt x="998" y="177"/>
                      <a:pt x="998" y="177"/>
                      <a:pt x="998" y="178"/>
                    </a:cubicBezTo>
                    <a:close/>
                    <a:moveTo>
                      <a:pt x="979" y="126"/>
                    </a:moveTo>
                    <a:cubicBezTo>
                      <a:pt x="979" y="126"/>
                      <a:pt x="979" y="127"/>
                      <a:pt x="980" y="128"/>
                    </a:cubicBezTo>
                    <a:cubicBezTo>
                      <a:pt x="980" y="127"/>
                      <a:pt x="980" y="126"/>
                      <a:pt x="979" y="126"/>
                    </a:cubicBezTo>
                    <a:close/>
                    <a:moveTo>
                      <a:pt x="1029" y="125"/>
                    </a:moveTo>
                    <a:cubicBezTo>
                      <a:pt x="1029" y="126"/>
                      <a:pt x="1029" y="126"/>
                      <a:pt x="1029" y="127"/>
                    </a:cubicBezTo>
                    <a:cubicBezTo>
                      <a:pt x="1029" y="126"/>
                      <a:pt x="1029" y="126"/>
                      <a:pt x="1029" y="125"/>
                    </a:cubicBezTo>
                    <a:close/>
                    <a:moveTo>
                      <a:pt x="1564" y="146"/>
                    </a:moveTo>
                    <a:cubicBezTo>
                      <a:pt x="1564" y="147"/>
                      <a:pt x="1564" y="148"/>
                      <a:pt x="1565" y="148"/>
                    </a:cubicBezTo>
                    <a:cubicBezTo>
                      <a:pt x="1565" y="148"/>
                      <a:pt x="1565" y="147"/>
                      <a:pt x="1564" y="146"/>
                    </a:cubicBezTo>
                    <a:close/>
                    <a:moveTo>
                      <a:pt x="1102" y="113"/>
                    </a:moveTo>
                    <a:cubicBezTo>
                      <a:pt x="1102" y="114"/>
                      <a:pt x="1102" y="115"/>
                      <a:pt x="1102" y="115"/>
                    </a:cubicBezTo>
                    <a:cubicBezTo>
                      <a:pt x="1103" y="115"/>
                      <a:pt x="1102" y="114"/>
                      <a:pt x="1102" y="113"/>
                    </a:cubicBezTo>
                    <a:close/>
                    <a:moveTo>
                      <a:pt x="1116" y="115"/>
                    </a:moveTo>
                    <a:cubicBezTo>
                      <a:pt x="1117" y="115"/>
                      <a:pt x="1117" y="114"/>
                      <a:pt x="1117" y="114"/>
                    </a:cubicBezTo>
                    <a:cubicBezTo>
                      <a:pt x="1116" y="114"/>
                      <a:pt x="1116" y="115"/>
                      <a:pt x="1116" y="115"/>
                    </a:cubicBezTo>
                    <a:close/>
                    <a:moveTo>
                      <a:pt x="1081" y="127"/>
                    </a:moveTo>
                    <a:cubicBezTo>
                      <a:pt x="1082" y="126"/>
                      <a:pt x="1082" y="126"/>
                      <a:pt x="1082" y="125"/>
                    </a:cubicBezTo>
                    <a:cubicBezTo>
                      <a:pt x="1081" y="126"/>
                      <a:pt x="1081" y="126"/>
                      <a:pt x="1081" y="127"/>
                    </a:cubicBezTo>
                    <a:close/>
                    <a:moveTo>
                      <a:pt x="1093" y="146"/>
                    </a:moveTo>
                    <a:cubicBezTo>
                      <a:pt x="1092" y="147"/>
                      <a:pt x="1092" y="147"/>
                      <a:pt x="1092" y="148"/>
                    </a:cubicBezTo>
                    <a:cubicBezTo>
                      <a:pt x="1093" y="148"/>
                      <a:pt x="1093" y="147"/>
                      <a:pt x="1093" y="146"/>
                    </a:cubicBezTo>
                    <a:close/>
                    <a:moveTo>
                      <a:pt x="977" y="181"/>
                    </a:moveTo>
                    <a:cubicBezTo>
                      <a:pt x="977" y="180"/>
                      <a:pt x="977" y="180"/>
                      <a:pt x="977" y="179"/>
                    </a:cubicBezTo>
                    <a:cubicBezTo>
                      <a:pt x="977" y="180"/>
                      <a:pt x="977" y="181"/>
                      <a:pt x="977" y="181"/>
                    </a:cubicBezTo>
                    <a:close/>
                    <a:moveTo>
                      <a:pt x="1559" y="181"/>
                    </a:moveTo>
                    <a:cubicBezTo>
                      <a:pt x="1559" y="180"/>
                      <a:pt x="1558" y="180"/>
                      <a:pt x="1558" y="179"/>
                    </a:cubicBezTo>
                    <a:cubicBezTo>
                      <a:pt x="1558" y="180"/>
                      <a:pt x="1558" y="181"/>
                      <a:pt x="1559" y="181"/>
                    </a:cubicBezTo>
                    <a:close/>
                    <a:moveTo>
                      <a:pt x="1576" y="179"/>
                    </a:moveTo>
                    <a:cubicBezTo>
                      <a:pt x="1576" y="180"/>
                      <a:pt x="1576" y="181"/>
                      <a:pt x="1576" y="181"/>
                    </a:cubicBezTo>
                    <a:cubicBezTo>
                      <a:pt x="1576" y="180"/>
                      <a:pt x="1576" y="180"/>
                      <a:pt x="1576" y="179"/>
                    </a:cubicBezTo>
                    <a:close/>
                    <a:moveTo>
                      <a:pt x="993" y="176"/>
                    </a:moveTo>
                    <a:cubicBezTo>
                      <a:pt x="993" y="177"/>
                      <a:pt x="993" y="178"/>
                      <a:pt x="993" y="178"/>
                    </a:cubicBezTo>
                    <a:cubicBezTo>
                      <a:pt x="994" y="178"/>
                      <a:pt x="994" y="177"/>
                      <a:pt x="993" y="176"/>
                    </a:cubicBezTo>
                    <a:close/>
                    <a:moveTo>
                      <a:pt x="997" y="182"/>
                    </a:moveTo>
                    <a:cubicBezTo>
                      <a:pt x="998" y="181"/>
                      <a:pt x="998" y="181"/>
                      <a:pt x="998" y="180"/>
                    </a:cubicBezTo>
                    <a:cubicBezTo>
                      <a:pt x="997" y="180"/>
                      <a:pt x="997" y="181"/>
                      <a:pt x="997" y="182"/>
                    </a:cubicBezTo>
                    <a:close/>
                    <a:moveTo>
                      <a:pt x="1063" y="180"/>
                    </a:moveTo>
                    <a:cubicBezTo>
                      <a:pt x="1063" y="180"/>
                      <a:pt x="1063" y="181"/>
                      <a:pt x="1064" y="182"/>
                    </a:cubicBezTo>
                    <a:cubicBezTo>
                      <a:pt x="1064" y="181"/>
                      <a:pt x="1064" y="180"/>
                      <a:pt x="1063" y="180"/>
                    </a:cubicBezTo>
                    <a:close/>
                    <a:moveTo>
                      <a:pt x="505" y="176"/>
                    </a:moveTo>
                    <a:cubicBezTo>
                      <a:pt x="504" y="177"/>
                      <a:pt x="504" y="177"/>
                      <a:pt x="504" y="178"/>
                    </a:cubicBezTo>
                    <a:cubicBezTo>
                      <a:pt x="505" y="178"/>
                      <a:pt x="505" y="177"/>
                      <a:pt x="505" y="176"/>
                    </a:cubicBezTo>
                    <a:close/>
                    <a:moveTo>
                      <a:pt x="1580" y="182"/>
                    </a:moveTo>
                    <a:cubicBezTo>
                      <a:pt x="1581" y="181"/>
                      <a:pt x="1581" y="180"/>
                      <a:pt x="1581" y="180"/>
                    </a:cubicBezTo>
                    <a:cubicBezTo>
                      <a:pt x="1580" y="180"/>
                      <a:pt x="1580" y="181"/>
                      <a:pt x="1580" y="182"/>
                    </a:cubicBezTo>
                    <a:close/>
                    <a:moveTo>
                      <a:pt x="503" y="180"/>
                    </a:moveTo>
                    <a:cubicBezTo>
                      <a:pt x="503" y="181"/>
                      <a:pt x="503" y="181"/>
                      <a:pt x="503" y="182"/>
                    </a:cubicBezTo>
                    <a:cubicBezTo>
                      <a:pt x="504" y="182"/>
                      <a:pt x="503" y="181"/>
                      <a:pt x="503" y="180"/>
                    </a:cubicBezTo>
                    <a:close/>
                    <a:moveTo>
                      <a:pt x="994" y="180"/>
                    </a:moveTo>
                    <a:cubicBezTo>
                      <a:pt x="994" y="181"/>
                      <a:pt x="994" y="182"/>
                      <a:pt x="995" y="182"/>
                    </a:cubicBezTo>
                    <a:cubicBezTo>
                      <a:pt x="995" y="182"/>
                      <a:pt x="995" y="181"/>
                      <a:pt x="994" y="180"/>
                    </a:cubicBezTo>
                    <a:close/>
                    <a:moveTo>
                      <a:pt x="1012" y="180"/>
                    </a:moveTo>
                    <a:cubicBezTo>
                      <a:pt x="1011" y="181"/>
                      <a:pt x="1011" y="181"/>
                      <a:pt x="1011" y="182"/>
                    </a:cubicBezTo>
                    <a:cubicBezTo>
                      <a:pt x="1012" y="182"/>
                      <a:pt x="1012" y="181"/>
                      <a:pt x="1012" y="180"/>
                    </a:cubicBezTo>
                    <a:close/>
                    <a:moveTo>
                      <a:pt x="1066" y="182"/>
                    </a:moveTo>
                    <a:cubicBezTo>
                      <a:pt x="1067" y="182"/>
                      <a:pt x="1067" y="181"/>
                      <a:pt x="1067" y="180"/>
                    </a:cubicBezTo>
                    <a:cubicBezTo>
                      <a:pt x="1066" y="181"/>
                      <a:pt x="1066" y="182"/>
                      <a:pt x="1066" y="182"/>
                    </a:cubicBezTo>
                    <a:close/>
                    <a:moveTo>
                      <a:pt x="1328" y="180"/>
                    </a:moveTo>
                    <a:cubicBezTo>
                      <a:pt x="1328" y="181"/>
                      <a:pt x="1328" y="181"/>
                      <a:pt x="1328" y="182"/>
                    </a:cubicBezTo>
                    <a:cubicBezTo>
                      <a:pt x="1328" y="182"/>
                      <a:pt x="1328" y="181"/>
                      <a:pt x="1328" y="180"/>
                    </a:cubicBezTo>
                    <a:close/>
                    <a:moveTo>
                      <a:pt x="376" y="183"/>
                    </a:moveTo>
                    <a:cubicBezTo>
                      <a:pt x="376" y="182"/>
                      <a:pt x="376" y="181"/>
                      <a:pt x="375" y="181"/>
                    </a:cubicBezTo>
                    <a:cubicBezTo>
                      <a:pt x="375" y="181"/>
                      <a:pt x="375" y="182"/>
                      <a:pt x="376" y="183"/>
                    </a:cubicBezTo>
                    <a:close/>
                    <a:moveTo>
                      <a:pt x="412" y="181"/>
                    </a:moveTo>
                    <a:cubicBezTo>
                      <a:pt x="411" y="181"/>
                      <a:pt x="411" y="182"/>
                      <a:pt x="411" y="183"/>
                    </a:cubicBezTo>
                    <a:cubicBezTo>
                      <a:pt x="412" y="182"/>
                      <a:pt x="412" y="182"/>
                      <a:pt x="412" y="181"/>
                    </a:cubicBezTo>
                    <a:close/>
                    <a:moveTo>
                      <a:pt x="978" y="183"/>
                    </a:moveTo>
                    <a:cubicBezTo>
                      <a:pt x="978" y="182"/>
                      <a:pt x="978" y="181"/>
                      <a:pt x="977" y="181"/>
                    </a:cubicBezTo>
                    <a:cubicBezTo>
                      <a:pt x="977" y="182"/>
                      <a:pt x="977" y="182"/>
                      <a:pt x="978" y="183"/>
                    </a:cubicBezTo>
                    <a:close/>
                    <a:moveTo>
                      <a:pt x="1082" y="181"/>
                    </a:moveTo>
                    <a:cubicBezTo>
                      <a:pt x="1082" y="181"/>
                      <a:pt x="1082" y="182"/>
                      <a:pt x="1082" y="183"/>
                    </a:cubicBezTo>
                    <a:cubicBezTo>
                      <a:pt x="1082" y="182"/>
                      <a:pt x="1082" y="181"/>
                      <a:pt x="1082" y="181"/>
                    </a:cubicBezTo>
                    <a:close/>
                    <a:moveTo>
                      <a:pt x="1576" y="181"/>
                    </a:moveTo>
                    <a:cubicBezTo>
                      <a:pt x="1576" y="182"/>
                      <a:pt x="1576" y="182"/>
                      <a:pt x="1577" y="183"/>
                    </a:cubicBezTo>
                    <a:cubicBezTo>
                      <a:pt x="1577" y="182"/>
                      <a:pt x="1577" y="181"/>
                      <a:pt x="1576" y="181"/>
                    </a:cubicBezTo>
                    <a:close/>
                    <a:moveTo>
                      <a:pt x="503" y="182"/>
                    </a:moveTo>
                    <a:cubicBezTo>
                      <a:pt x="502" y="183"/>
                      <a:pt x="502" y="183"/>
                      <a:pt x="502" y="184"/>
                    </a:cubicBezTo>
                    <a:cubicBezTo>
                      <a:pt x="503" y="183"/>
                      <a:pt x="503" y="183"/>
                      <a:pt x="503" y="182"/>
                    </a:cubicBezTo>
                    <a:close/>
                    <a:moveTo>
                      <a:pt x="1064" y="182"/>
                    </a:moveTo>
                    <a:cubicBezTo>
                      <a:pt x="1064" y="183"/>
                      <a:pt x="1064" y="183"/>
                      <a:pt x="1064" y="184"/>
                    </a:cubicBezTo>
                    <a:cubicBezTo>
                      <a:pt x="1064" y="183"/>
                      <a:pt x="1064" y="183"/>
                      <a:pt x="1064" y="182"/>
                    </a:cubicBezTo>
                    <a:close/>
                    <a:moveTo>
                      <a:pt x="963" y="133"/>
                    </a:moveTo>
                    <a:cubicBezTo>
                      <a:pt x="963" y="132"/>
                      <a:pt x="963" y="132"/>
                      <a:pt x="962" y="131"/>
                    </a:cubicBezTo>
                    <a:cubicBezTo>
                      <a:pt x="962" y="132"/>
                      <a:pt x="962" y="133"/>
                      <a:pt x="963" y="133"/>
                    </a:cubicBezTo>
                    <a:close/>
                    <a:moveTo>
                      <a:pt x="376" y="184"/>
                    </a:moveTo>
                    <a:cubicBezTo>
                      <a:pt x="376" y="184"/>
                      <a:pt x="376" y="183"/>
                      <a:pt x="376" y="183"/>
                    </a:cubicBezTo>
                    <a:cubicBezTo>
                      <a:pt x="376" y="183"/>
                      <a:pt x="376" y="184"/>
                      <a:pt x="376" y="184"/>
                    </a:cubicBezTo>
                    <a:close/>
                    <a:moveTo>
                      <a:pt x="995" y="183"/>
                    </a:moveTo>
                    <a:cubicBezTo>
                      <a:pt x="995" y="183"/>
                      <a:pt x="995" y="184"/>
                      <a:pt x="995" y="185"/>
                    </a:cubicBezTo>
                    <a:cubicBezTo>
                      <a:pt x="995" y="184"/>
                      <a:pt x="995" y="183"/>
                      <a:pt x="995" y="183"/>
                    </a:cubicBezTo>
                    <a:close/>
                    <a:moveTo>
                      <a:pt x="1049" y="184"/>
                    </a:moveTo>
                    <a:cubicBezTo>
                      <a:pt x="1049" y="184"/>
                      <a:pt x="1049" y="183"/>
                      <a:pt x="1048" y="183"/>
                    </a:cubicBezTo>
                    <a:cubicBezTo>
                      <a:pt x="1048" y="183"/>
                      <a:pt x="1048" y="184"/>
                      <a:pt x="1049" y="184"/>
                    </a:cubicBezTo>
                    <a:close/>
                    <a:moveTo>
                      <a:pt x="1066" y="184"/>
                    </a:moveTo>
                    <a:cubicBezTo>
                      <a:pt x="1066" y="184"/>
                      <a:pt x="1066" y="183"/>
                      <a:pt x="1066" y="183"/>
                    </a:cubicBezTo>
                    <a:cubicBezTo>
                      <a:pt x="1065" y="183"/>
                      <a:pt x="1066" y="184"/>
                      <a:pt x="1066" y="184"/>
                    </a:cubicBezTo>
                    <a:close/>
                    <a:moveTo>
                      <a:pt x="1082" y="183"/>
                    </a:moveTo>
                    <a:cubicBezTo>
                      <a:pt x="1081" y="183"/>
                      <a:pt x="1081" y="184"/>
                      <a:pt x="1081" y="184"/>
                    </a:cubicBezTo>
                    <a:cubicBezTo>
                      <a:pt x="1082" y="184"/>
                      <a:pt x="1082" y="183"/>
                      <a:pt x="1082" y="183"/>
                    </a:cubicBezTo>
                    <a:close/>
                    <a:moveTo>
                      <a:pt x="1163" y="185"/>
                    </a:moveTo>
                    <a:cubicBezTo>
                      <a:pt x="1164" y="184"/>
                      <a:pt x="1164" y="183"/>
                      <a:pt x="1164" y="183"/>
                    </a:cubicBezTo>
                    <a:cubicBezTo>
                      <a:pt x="1163" y="183"/>
                      <a:pt x="1163" y="184"/>
                      <a:pt x="1163" y="185"/>
                    </a:cubicBezTo>
                    <a:close/>
                    <a:moveTo>
                      <a:pt x="1347" y="177"/>
                    </a:moveTo>
                    <a:cubicBezTo>
                      <a:pt x="1347" y="177"/>
                      <a:pt x="1347" y="176"/>
                      <a:pt x="1347" y="176"/>
                    </a:cubicBezTo>
                    <a:cubicBezTo>
                      <a:pt x="1347" y="176"/>
                      <a:pt x="1346" y="177"/>
                      <a:pt x="1347" y="177"/>
                    </a:cubicBezTo>
                    <a:close/>
                    <a:moveTo>
                      <a:pt x="453" y="66"/>
                    </a:moveTo>
                    <a:cubicBezTo>
                      <a:pt x="453" y="67"/>
                      <a:pt x="453" y="68"/>
                      <a:pt x="454" y="68"/>
                    </a:cubicBezTo>
                    <a:cubicBezTo>
                      <a:pt x="454" y="67"/>
                      <a:pt x="454" y="67"/>
                      <a:pt x="453" y="66"/>
                    </a:cubicBezTo>
                    <a:close/>
                    <a:moveTo>
                      <a:pt x="468" y="185"/>
                    </a:moveTo>
                    <a:cubicBezTo>
                      <a:pt x="468" y="184"/>
                      <a:pt x="468" y="184"/>
                      <a:pt x="467" y="183"/>
                    </a:cubicBezTo>
                    <a:cubicBezTo>
                      <a:pt x="467" y="184"/>
                      <a:pt x="467" y="185"/>
                      <a:pt x="468" y="185"/>
                    </a:cubicBezTo>
                    <a:close/>
                    <a:moveTo>
                      <a:pt x="515" y="68"/>
                    </a:moveTo>
                    <a:cubicBezTo>
                      <a:pt x="516" y="68"/>
                      <a:pt x="516" y="67"/>
                      <a:pt x="516" y="66"/>
                    </a:cubicBezTo>
                    <a:cubicBezTo>
                      <a:pt x="515" y="67"/>
                      <a:pt x="515" y="68"/>
                      <a:pt x="515" y="68"/>
                    </a:cubicBezTo>
                    <a:close/>
                    <a:moveTo>
                      <a:pt x="1048" y="126"/>
                    </a:moveTo>
                    <a:cubicBezTo>
                      <a:pt x="1048" y="126"/>
                      <a:pt x="1048" y="127"/>
                      <a:pt x="1049" y="127"/>
                    </a:cubicBezTo>
                    <a:cubicBezTo>
                      <a:pt x="1049" y="127"/>
                      <a:pt x="1049" y="126"/>
                      <a:pt x="1048" y="126"/>
                    </a:cubicBezTo>
                    <a:close/>
                    <a:moveTo>
                      <a:pt x="1067" y="178"/>
                    </a:moveTo>
                    <a:cubicBezTo>
                      <a:pt x="1068" y="177"/>
                      <a:pt x="1068" y="177"/>
                      <a:pt x="1068" y="176"/>
                    </a:cubicBezTo>
                    <a:cubicBezTo>
                      <a:pt x="1067" y="176"/>
                      <a:pt x="1067" y="177"/>
                      <a:pt x="1067" y="178"/>
                    </a:cubicBezTo>
                    <a:close/>
                    <a:moveTo>
                      <a:pt x="1611" y="146"/>
                    </a:moveTo>
                    <a:cubicBezTo>
                      <a:pt x="1610" y="146"/>
                      <a:pt x="1610" y="147"/>
                      <a:pt x="1610" y="148"/>
                    </a:cubicBezTo>
                    <a:cubicBezTo>
                      <a:pt x="1611" y="147"/>
                      <a:pt x="1611" y="146"/>
                      <a:pt x="1611" y="146"/>
                    </a:cubicBezTo>
                    <a:close/>
                    <a:moveTo>
                      <a:pt x="426" y="69"/>
                    </a:moveTo>
                    <a:cubicBezTo>
                      <a:pt x="427" y="68"/>
                      <a:pt x="427" y="68"/>
                      <a:pt x="427" y="67"/>
                    </a:cubicBezTo>
                    <a:cubicBezTo>
                      <a:pt x="426" y="67"/>
                      <a:pt x="426" y="68"/>
                      <a:pt x="426" y="69"/>
                    </a:cubicBezTo>
                    <a:close/>
                    <a:moveTo>
                      <a:pt x="1560" y="186"/>
                    </a:moveTo>
                    <a:cubicBezTo>
                      <a:pt x="1560" y="185"/>
                      <a:pt x="1560" y="184"/>
                      <a:pt x="1560" y="184"/>
                    </a:cubicBezTo>
                    <a:cubicBezTo>
                      <a:pt x="1560" y="184"/>
                      <a:pt x="1560" y="185"/>
                      <a:pt x="1560" y="186"/>
                    </a:cubicBezTo>
                    <a:close/>
                    <a:moveTo>
                      <a:pt x="502" y="184"/>
                    </a:moveTo>
                    <a:cubicBezTo>
                      <a:pt x="502" y="185"/>
                      <a:pt x="502" y="185"/>
                      <a:pt x="502" y="186"/>
                    </a:cubicBezTo>
                    <a:cubicBezTo>
                      <a:pt x="502" y="186"/>
                      <a:pt x="502" y="185"/>
                      <a:pt x="502" y="184"/>
                    </a:cubicBezTo>
                    <a:close/>
                    <a:moveTo>
                      <a:pt x="1579" y="186"/>
                    </a:moveTo>
                    <a:cubicBezTo>
                      <a:pt x="1579" y="186"/>
                      <a:pt x="1579" y="185"/>
                      <a:pt x="1579" y="184"/>
                    </a:cubicBezTo>
                    <a:cubicBezTo>
                      <a:pt x="1579" y="185"/>
                      <a:pt x="1579" y="186"/>
                      <a:pt x="1579" y="186"/>
                    </a:cubicBezTo>
                    <a:close/>
                    <a:moveTo>
                      <a:pt x="411" y="185"/>
                    </a:moveTo>
                    <a:cubicBezTo>
                      <a:pt x="410" y="185"/>
                      <a:pt x="410" y="186"/>
                      <a:pt x="410" y="187"/>
                    </a:cubicBezTo>
                    <a:cubicBezTo>
                      <a:pt x="411" y="186"/>
                      <a:pt x="411" y="186"/>
                      <a:pt x="411" y="185"/>
                    </a:cubicBezTo>
                    <a:close/>
                    <a:moveTo>
                      <a:pt x="468" y="187"/>
                    </a:moveTo>
                    <a:cubicBezTo>
                      <a:pt x="468" y="187"/>
                      <a:pt x="468" y="186"/>
                      <a:pt x="468" y="185"/>
                    </a:cubicBezTo>
                    <a:cubicBezTo>
                      <a:pt x="468" y="186"/>
                      <a:pt x="468" y="187"/>
                      <a:pt x="468" y="187"/>
                    </a:cubicBezTo>
                    <a:close/>
                    <a:moveTo>
                      <a:pt x="502" y="186"/>
                    </a:moveTo>
                    <a:cubicBezTo>
                      <a:pt x="501" y="187"/>
                      <a:pt x="501" y="187"/>
                      <a:pt x="501" y="188"/>
                    </a:cubicBezTo>
                    <a:cubicBezTo>
                      <a:pt x="502" y="187"/>
                      <a:pt x="502" y="187"/>
                      <a:pt x="502" y="186"/>
                    </a:cubicBezTo>
                    <a:close/>
                    <a:moveTo>
                      <a:pt x="1010" y="186"/>
                    </a:moveTo>
                    <a:cubicBezTo>
                      <a:pt x="1010" y="187"/>
                      <a:pt x="1010" y="187"/>
                      <a:pt x="1010" y="188"/>
                    </a:cubicBezTo>
                    <a:cubicBezTo>
                      <a:pt x="1010" y="187"/>
                      <a:pt x="1010" y="187"/>
                      <a:pt x="1010" y="186"/>
                    </a:cubicBezTo>
                    <a:close/>
                    <a:moveTo>
                      <a:pt x="1182" y="186"/>
                    </a:moveTo>
                    <a:cubicBezTo>
                      <a:pt x="1181" y="187"/>
                      <a:pt x="1181" y="187"/>
                      <a:pt x="1181" y="188"/>
                    </a:cubicBezTo>
                    <a:cubicBezTo>
                      <a:pt x="1182" y="187"/>
                      <a:pt x="1182" y="187"/>
                      <a:pt x="1182" y="186"/>
                    </a:cubicBezTo>
                    <a:close/>
                    <a:moveTo>
                      <a:pt x="377" y="188"/>
                    </a:moveTo>
                    <a:cubicBezTo>
                      <a:pt x="377" y="188"/>
                      <a:pt x="377" y="187"/>
                      <a:pt x="377" y="187"/>
                    </a:cubicBezTo>
                    <a:cubicBezTo>
                      <a:pt x="377" y="187"/>
                      <a:pt x="377" y="188"/>
                      <a:pt x="377" y="188"/>
                    </a:cubicBezTo>
                    <a:close/>
                    <a:moveTo>
                      <a:pt x="980" y="188"/>
                    </a:moveTo>
                    <a:cubicBezTo>
                      <a:pt x="980" y="188"/>
                      <a:pt x="980" y="187"/>
                      <a:pt x="979" y="187"/>
                    </a:cubicBezTo>
                    <a:cubicBezTo>
                      <a:pt x="979" y="187"/>
                      <a:pt x="979" y="188"/>
                      <a:pt x="980" y="188"/>
                    </a:cubicBezTo>
                    <a:close/>
                    <a:moveTo>
                      <a:pt x="1050" y="188"/>
                    </a:moveTo>
                    <a:cubicBezTo>
                      <a:pt x="1050" y="188"/>
                      <a:pt x="1050" y="187"/>
                      <a:pt x="1049" y="187"/>
                    </a:cubicBezTo>
                    <a:cubicBezTo>
                      <a:pt x="1049" y="187"/>
                      <a:pt x="1049" y="188"/>
                      <a:pt x="1050" y="188"/>
                    </a:cubicBezTo>
                    <a:close/>
                    <a:moveTo>
                      <a:pt x="1080" y="187"/>
                    </a:moveTo>
                    <a:cubicBezTo>
                      <a:pt x="1080" y="187"/>
                      <a:pt x="1080" y="188"/>
                      <a:pt x="1080" y="188"/>
                    </a:cubicBezTo>
                    <a:cubicBezTo>
                      <a:pt x="1081" y="188"/>
                      <a:pt x="1080" y="187"/>
                      <a:pt x="1080" y="187"/>
                    </a:cubicBezTo>
                    <a:close/>
                    <a:moveTo>
                      <a:pt x="469" y="189"/>
                    </a:moveTo>
                    <a:cubicBezTo>
                      <a:pt x="469" y="188"/>
                      <a:pt x="469" y="188"/>
                      <a:pt x="468" y="187"/>
                    </a:cubicBezTo>
                    <a:cubicBezTo>
                      <a:pt x="468" y="188"/>
                      <a:pt x="468" y="189"/>
                      <a:pt x="469" y="189"/>
                    </a:cubicBezTo>
                    <a:close/>
                    <a:moveTo>
                      <a:pt x="1010" y="188"/>
                    </a:moveTo>
                    <a:cubicBezTo>
                      <a:pt x="1009" y="188"/>
                      <a:pt x="1009" y="189"/>
                      <a:pt x="1009" y="190"/>
                    </a:cubicBezTo>
                    <a:cubicBezTo>
                      <a:pt x="1010" y="189"/>
                      <a:pt x="1010" y="188"/>
                      <a:pt x="1010" y="188"/>
                    </a:cubicBezTo>
                    <a:close/>
                    <a:moveTo>
                      <a:pt x="1181" y="188"/>
                    </a:moveTo>
                    <a:cubicBezTo>
                      <a:pt x="1181" y="188"/>
                      <a:pt x="1181" y="189"/>
                      <a:pt x="1181" y="190"/>
                    </a:cubicBezTo>
                    <a:cubicBezTo>
                      <a:pt x="1181" y="189"/>
                      <a:pt x="1181" y="189"/>
                      <a:pt x="1181" y="188"/>
                    </a:cubicBezTo>
                    <a:close/>
                    <a:moveTo>
                      <a:pt x="501" y="188"/>
                    </a:moveTo>
                    <a:cubicBezTo>
                      <a:pt x="501" y="189"/>
                      <a:pt x="501" y="189"/>
                      <a:pt x="501" y="190"/>
                    </a:cubicBezTo>
                    <a:cubicBezTo>
                      <a:pt x="501" y="190"/>
                      <a:pt x="501" y="189"/>
                      <a:pt x="501" y="188"/>
                    </a:cubicBezTo>
                    <a:close/>
                    <a:moveTo>
                      <a:pt x="1062" y="176"/>
                    </a:moveTo>
                    <a:cubicBezTo>
                      <a:pt x="1062" y="176"/>
                      <a:pt x="1062" y="177"/>
                      <a:pt x="1063" y="178"/>
                    </a:cubicBezTo>
                    <a:cubicBezTo>
                      <a:pt x="1063" y="177"/>
                      <a:pt x="1063" y="176"/>
                      <a:pt x="1062" y="176"/>
                    </a:cubicBezTo>
                    <a:close/>
                    <a:moveTo>
                      <a:pt x="980" y="190"/>
                    </a:moveTo>
                    <a:cubicBezTo>
                      <a:pt x="980" y="190"/>
                      <a:pt x="980" y="189"/>
                      <a:pt x="980" y="188"/>
                    </a:cubicBezTo>
                    <a:cubicBezTo>
                      <a:pt x="980" y="189"/>
                      <a:pt x="980" y="190"/>
                      <a:pt x="980" y="190"/>
                    </a:cubicBezTo>
                    <a:close/>
                    <a:moveTo>
                      <a:pt x="1080" y="188"/>
                    </a:moveTo>
                    <a:cubicBezTo>
                      <a:pt x="1079" y="189"/>
                      <a:pt x="1079" y="190"/>
                      <a:pt x="1079" y="190"/>
                    </a:cubicBezTo>
                    <a:cubicBezTo>
                      <a:pt x="1080" y="190"/>
                      <a:pt x="1080" y="189"/>
                      <a:pt x="1080" y="188"/>
                    </a:cubicBezTo>
                    <a:close/>
                    <a:moveTo>
                      <a:pt x="1562" y="190"/>
                    </a:moveTo>
                    <a:cubicBezTo>
                      <a:pt x="1562" y="190"/>
                      <a:pt x="1562" y="189"/>
                      <a:pt x="1561" y="188"/>
                    </a:cubicBezTo>
                    <a:cubicBezTo>
                      <a:pt x="1561" y="189"/>
                      <a:pt x="1561" y="190"/>
                      <a:pt x="1562" y="190"/>
                    </a:cubicBezTo>
                    <a:close/>
                    <a:moveTo>
                      <a:pt x="410" y="189"/>
                    </a:moveTo>
                    <a:cubicBezTo>
                      <a:pt x="409" y="189"/>
                      <a:pt x="409" y="190"/>
                      <a:pt x="409" y="191"/>
                    </a:cubicBezTo>
                    <a:cubicBezTo>
                      <a:pt x="410" y="190"/>
                      <a:pt x="410" y="190"/>
                      <a:pt x="410" y="189"/>
                    </a:cubicBezTo>
                    <a:close/>
                    <a:moveTo>
                      <a:pt x="1260" y="189"/>
                    </a:moveTo>
                    <a:cubicBezTo>
                      <a:pt x="1261" y="190"/>
                      <a:pt x="1261" y="190"/>
                      <a:pt x="1262" y="190"/>
                    </a:cubicBezTo>
                    <a:cubicBezTo>
                      <a:pt x="1262" y="189"/>
                      <a:pt x="1261" y="189"/>
                      <a:pt x="1260" y="189"/>
                    </a:cubicBezTo>
                    <a:close/>
                    <a:moveTo>
                      <a:pt x="470" y="191"/>
                    </a:moveTo>
                    <a:cubicBezTo>
                      <a:pt x="470" y="191"/>
                      <a:pt x="470" y="190"/>
                      <a:pt x="469" y="189"/>
                    </a:cubicBezTo>
                    <a:cubicBezTo>
                      <a:pt x="469" y="190"/>
                      <a:pt x="469" y="191"/>
                      <a:pt x="470" y="191"/>
                    </a:cubicBezTo>
                    <a:close/>
                    <a:moveTo>
                      <a:pt x="1009" y="190"/>
                    </a:moveTo>
                    <a:cubicBezTo>
                      <a:pt x="1009" y="190"/>
                      <a:pt x="1008" y="191"/>
                      <a:pt x="1009" y="191"/>
                    </a:cubicBezTo>
                    <a:cubicBezTo>
                      <a:pt x="1009" y="191"/>
                      <a:pt x="1009" y="190"/>
                      <a:pt x="1009" y="190"/>
                    </a:cubicBezTo>
                    <a:close/>
                    <a:moveTo>
                      <a:pt x="1262" y="190"/>
                    </a:moveTo>
                    <a:cubicBezTo>
                      <a:pt x="1262" y="190"/>
                      <a:pt x="1263" y="190"/>
                      <a:pt x="1264" y="190"/>
                    </a:cubicBezTo>
                    <a:cubicBezTo>
                      <a:pt x="1263" y="189"/>
                      <a:pt x="1263" y="190"/>
                      <a:pt x="1262" y="190"/>
                    </a:cubicBezTo>
                    <a:close/>
                    <a:moveTo>
                      <a:pt x="1264" y="190"/>
                    </a:moveTo>
                    <a:cubicBezTo>
                      <a:pt x="1264" y="191"/>
                      <a:pt x="1265" y="191"/>
                      <a:pt x="1265" y="191"/>
                    </a:cubicBezTo>
                    <a:cubicBezTo>
                      <a:pt x="1265" y="190"/>
                      <a:pt x="1264" y="190"/>
                      <a:pt x="1264" y="190"/>
                    </a:cubicBezTo>
                    <a:close/>
                    <a:moveTo>
                      <a:pt x="379" y="192"/>
                    </a:moveTo>
                    <a:cubicBezTo>
                      <a:pt x="379" y="192"/>
                      <a:pt x="379" y="191"/>
                      <a:pt x="378" y="191"/>
                    </a:cubicBezTo>
                    <a:cubicBezTo>
                      <a:pt x="378" y="191"/>
                      <a:pt x="378" y="192"/>
                      <a:pt x="379" y="192"/>
                    </a:cubicBezTo>
                    <a:close/>
                    <a:moveTo>
                      <a:pt x="1051" y="192"/>
                    </a:moveTo>
                    <a:cubicBezTo>
                      <a:pt x="1051" y="192"/>
                      <a:pt x="1051" y="191"/>
                      <a:pt x="1051" y="191"/>
                    </a:cubicBezTo>
                    <a:cubicBezTo>
                      <a:pt x="1051" y="191"/>
                      <a:pt x="1050" y="192"/>
                      <a:pt x="1051" y="192"/>
                    </a:cubicBezTo>
                    <a:close/>
                    <a:moveTo>
                      <a:pt x="470" y="193"/>
                    </a:moveTo>
                    <a:cubicBezTo>
                      <a:pt x="470" y="192"/>
                      <a:pt x="470" y="192"/>
                      <a:pt x="470" y="191"/>
                    </a:cubicBezTo>
                    <a:cubicBezTo>
                      <a:pt x="470" y="192"/>
                      <a:pt x="469" y="193"/>
                      <a:pt x="470" y="193"/>
                    </a:cubicBezTo>
                    <a:close/>
                    <a:moveTo>
                      <a:pt x="1280" y="67"/>
                    </a:moveTo>
                    <a:cubicBezTo>
                      <a:pt x="1280" y="67"/>
                      <a:pt x="1279" y="67"/>
                      <a:pt x="1279" y="67"/>
                    </a:cubicBezTo>
                    <a:cubicBezTo>
                      <a:pt x="1279" y="68"/>
                      <a:pt x="1280" y="68"/>
                      <a:pt x="1280" y="67"/>
                    </a:cubicBezTo>
                    <a:close/>
                    <a:moveTo>
                      <a:pt x="1308" y="67"/>
                    </a:moveTo>
                    <a:cubicBezTo>
                      <a:pt x="1307" y="67"/>
                      <a:pt x="1306" y="67"/>
                      <a:pt x="1306" y="67"/>
                    </a:cubicBezTo>
                    <a:cubicBezTo>
                      <a:pt x="1306" y="68"/>
                      <a:pt x="1307" y="68"/>
                      <a:pt x="1308" y="67"/>
                    </a:cubicBezTo>
                    <a:close/>
                    <a:moveTo>
                      <a:pt x="1268" y="191"/>
                    </a:moveTo>
                    <a:cubicBezTo>
                      <a:pt x="1268" y="192"/>
                      <a:pt x="1269" y="192"/>
                      <a:pt x="1269" y="192"/>
                    </a:cubicBezTo>
                    <a:cubicBezTo>
                      <a:pt x="1269" y="191"/>
                      <a:pt x="1268" y="191"/>
                      <a:pt x="1268" y="191"/>
                    </a:cubicBezTo>
                    <a:close/>
                    <a:moveTo>
                      <a:pt x="1292" y="192"/>
                    </a:moveTo>
                    <a:cubicBezTo>
                      <a:pt x="1293" y="192"/>
                      <a:pt x="1294" y="192"/>
                      <a:pt x="1294" y="191"/>
                    </a:cubicBezTo>
                    <a:cubicBezTo>
                      <a:pt x="1294" y="191"/>
                      <a:pt x="1293" y="191"/>
                      <a:pt x="1292" y="192"/>
                    </a:cubicBezTo>
                    <a:close/>
                    <a:moveTo>
                      <a:pt x="1415" y="192"/>
                    </a:moveTo>
                    <a:cubicBezTo>
                      <a:pt x="1415" y="192"/>
                      <a:pt x="1416" y="192"/>
                      <a:pt x="1416" y="191"/>
                    </a:cubicBezTo>
                    <a:cubicBezTo>
                      <a:pt x="1416" y="191"/>
                      <a:pt x="1415" y="191"/>
                      <a:pt x="1415" y="192"/>
                    </a:cubicBezTo>
                    <a:close/>
                    <a:moveTo>
                      <a:pt x="1270" y="192"/>
                    </a:moveTo>
                    <a:cubicBezTo>
                      <a:pt x="1271" y="192"/>
                      <a:pt x="1272" y="192"/>
                      <a:pt x="1272" y="192"/>
                    </a:cubicBezTo>
                    <a:cubicBezTo>
                      <a:pt x="1272" y="192"/>
                      <a:pt x="1271" y="192"/>
                      <a:pt x="1270" y="192"/>
                    </a:cubicBezTo>
                    <a:close/>
                    <a:moveTo>
                      <a:pt x="714" y="177"/>
                    </a:moveTo>
                    <a:cubicBezTo>
                      <a:pt x="714" y="177"/>
                      <a:pt x="714" y="176"/>
                      <a:pt x="714" y="176"/>
                    </a:cubicBezTo>
                    <a:cubicBezTo>
                      <a:pt x="714" y="176"/>
                      <a:pt x="714" y="177"/>
                      <a:pt x="714" y="177"/>
                    </a:cubicBezTo>
                    <a:close/>
                    <a:moveTo>
                      <a:pt x="483" y="176"/>
                    </a:moveTo>
                    <a:cubicBezTo>
                      <a:pt x="483" y="176"/>
                      <a:pt x="483" y="177"/>
                      <a:pt x="484" y="178"/>
                    </a:cubicBezTo>
                    <a:cubicBezTo>
                      <a:pt x="484" y="177"/>
                      <a:pt x="484" y="176"/>
                      <a:pt x="483" y="176"/>
                    </a:cubicBezTo>
                    <a:close/>
                    <a:moveTo>
                      <a:pt x="1413" y="192"/>
                    </a:moveTo>
                    <a:cubicBezTo>
                      <a:pt x="1413" y="193"/>
                      <a:pt x="1414" y="192"/>
                      <a:pt x="1415" y="192"/>
                    </a:cubicBezTo>
                    <a:cubicBezTo>
                      <a:pt x="1414" y="192"/>
                      <a:pt x="1413" y="192"/>
                      <a:pt x="1413" y="192"/>
                    </a:cubicBezTo>
                    <a:close/>
                    <a:moveTo>
                      <a:pt x="1703" y="192"/>
                    </a:moveTo>
                    <a:cubicBezTo>
                      <a:pt x="1704" y="193"/>
                      <a:pt x="1704" y="192"/>
                      <a:pt x="1705" y="192"/>
                    </a:cubicBezTo>
                    <a:cubicBezTo>
                      <a:pt x="1704" y="192"/>
                      <a:pt x="1703" y="192"/>
                      <a:pt x="1703" y="192"/>
                    </a:cubicBezTo>
                    <a:close/>
                    <a:moveTo>
                      <a:pt x="379" y="194"/>
                    </a:moveTo>
                    <a:cubicBezTo>
                      <a:pt x="379" y="194"/>
                      <a:pt x="379" y="193"/>
                      <a:pt x="379" y="192"/>
                    </a:cubicBezTo>
                    <a:cubicBezTo>
                      <a:pt x="379" y="193"/>
                      <a:pt x="378" y="194"/>
                      <a:pt x="379" y="194"/>
                    </a:cubicBezTo>
                    <a:close/>
                    <a:moveTo>
                      <a:pt x="500" y="192"/>
                    </a:moveTo>
                    <a:cubicBezTo>
                      <a:pt x="499" y="193"/>
                      <a:pt x="499" y="194"/>
                      <a:pt x="499" y="194"/>
                    </a:cubicBezTo>
                    <a:cubicBezTo>
                      <a:pt x="500" y="194"/>
                      <a:pt x="500" y="193"/>
                      <a:pt x="500" y="192"/>
                    </a:cubicBezTo>
                    <a:close/>
                    <a:moveTo>
                      <a:pt x="1279" y="67"/>
                    </a:moveTo>
                    <a:cubicBezTo>
                      <a:pt x="1278" y="67"/>
                      <a:pt x="1277" y="68"/>
                      <a:pt x="1277" y="68"/>
                    </a:cubicBezTo>
                    <a:cubicBezTo>
                      <a:pt x="1278" y="68"/>
                      <a:pt x="1278" y="68"/>
                      <a:pt x="1279" y="67"/>
                    </a:cubicBezTo>
                    <a:close/>
                    <a:moveTo>
                      <a:pt x="981" y="194"/>
                    </a:moveTo>
                    <a:cubicBezTo>
                      <a:pt x="982" y="194"/>
                      <a:pt x="981" y="193"/>
                      <a:pt x="981" y="192"/>
                    </a:cubicBezTo>
                    <a:cubicBezTo>
                      <a:pt x="981" y="193"/>
                      <a:pt x="981" y="194"/>
                      <a:pt x="981" y="194"/>
                    </a:cubicBezTo>
                    <a:close/>
                    <a:moveTo>
                      <a:pt x="1052" y="194"/>
                    </a:moveTo>
                    <a:cubicBezTo>
                      <a:pt x="1052" y="194"/>
                      <a:pt x="1052" y="193"/>
                      <a:pt x="1051" y="192"/>
                    </a:cubicBezTo>
                    <a:cubicBezTo>
                      <a:pt x="1051" y="193"/>
                      <a:pt x="1051" y="194"/>
                      <a:pt x="1052" y="194"/>
                    </a:cubicBezTo>
                    <a:close/>
                    <a:moveTo>
                      <a:pt x="1079" y="192"/>
                    </a:moveTo>
                    <a:cubicBezTo>
                      <a:pt x="1078" y="193"/>
                      <a:pt x="1078" y="194"/>
                      <a:pt x="1078" y="194"/>
                    </a:cubicBezTo>
                    <a:cubicBezTo>
                      <a:pt x="1079" y="194"/>
                      <a:pt x="1079" y="193"/>
                      <a:pt x="1079" y="192"/>
                    </a:cubicBezTo>
                    <a:close/>
                    <a:moveTo>
                      <a:pt x="1310" y="68"/>
                    </a:moveTo>
                    <a:cubicBezTo>
                      <a:pt x="1309" y="68"/>
                      <a:pt x="1309" y="67"/>
                      <a:pt x="1308" y="68"/>
                    </a:cubicBezTo>
                    <a:cubicBezTo>
                      <a:pt x="1308" y="68"/>
                      <a:pt x="1309" y="68"/>
                      <a:pt x="1310" y="68"/>
                    </a:cubicBezTo>
                    <a:close/>
                    <a:moveTo>
                      <a:pt x="454" y="68"/>
                    </a:moveTo>
                    <a:cubicBezTo>
                      <a:pt x="454" y="69"/>
                      <a:pt x="454" y="70"/>
                      <a:pt x="454" y="70"/>
                    </a:cubicBezTo>
                    <a:cubicBezTo>
                      <a:pt x="454" y="69"/>
                      <a:pt x="455" y="69"/>
                      <a:pt x="454" y="68"/>
                    </a:cubicBezTo>
                    <a:close/>
                    <a:moveTo>
                      <a:pt x="1410" y="193"/>
                    </a:moveTo>
                    <a:cubicBezTo>
                      <a:pt x="1411" y="193"/>
                      <a:pt x="1412" y="193"/>
                      <a:pt x="1412" y="193"/>
                    </a:cubicBezTo>
                    <a:cubicBezTo>
                      <a:pt x="1412" y="193"/>
                      <a:pt x="1411" y="192"/>
                      <a:pt x="1410" y="193"/>
                    </a:cubicBezTo>
                    <a:close/>
                    <a:moveTo>
                      <a:pt x="408" y="193"/>
                    </a:moveTo>
                    <a:cubicBezTo>
                      <a:pt x="408" y="193"/>
                      <a:pt x="408" y="194"/>
                      <a:pt x="408" y="195"/>
                    </a:cubicBezTo>
                    <a:cubicBezTo>
                      <a:pt x="409" y="194"/>
                      <a:pt x="408" y="194"/>
                      <a:pt x="408" y="193"/>
                    </a:cubicBezTo>
                    <a:close/>
                    <a:moveTo>
                      <a:pt x="535" y="68"/>
                    </a:moveTo>
                    <a:cubicBezTo>
                      <a:pt x="535" y="68"/>
                      <a:pt x="535" y="69"/>
                      <a:pt x="535" y="70"/>
                    </a:cubicBezTo>
                    <a:cubicBezTo>
                      <a:pt x="535" y="69"/>
                      <a:pt x="535" y="69"/>
                      <a:pt x="535" y="68"/>
                    </a:cubicBezTo>
                    <a:close/>
                    <a:moveTo>
                      <a:pt x="1637" y="177"/>
                    </a:moveTo>
                    <a:cubicBezTo>
                      <a:pt x="1637" y="176"/>
                      <a:pt x="1637" y="176"/>
                      <a:pt x="1637" y="175"/>
                    </a:cubicBezTo>
                    <a:cubicBezTo>
                      <a:pt x="1637" y="176"/>
                      <a:pt x="1637" y="176"/>
                      <a:pt x="1637" y="177"/>
                    </a:cubicBezTo>
                    <a:close/>
                    <a:moveTo>
                      <a:pt x="1152" y="194"/>
                    </a:moveTo>
                    <a:cubicBezTo>
                      <a:pt x="1153" y="194"/>
                      <a:pt x="1153" y="194"/>
                      <a:pt x="1154" y="193"/>
                    </a:cubicBezTo>
                    <a:cubicBezTo>
                      <a:pt x="1153" y="193"/>
                      <a:pt x="1152" y="193"/>
                      <a:pt x="1152" y="194"/>
                    </a:cubicBezTo>
                    <a:close/>
                    <a:moveTo>
                      <a:pt x="1387" y="193"/>
                    </a:moveTo>
                    <a:cubicBezTo>
                      <a:pt x="1388" y="194"/>
                      <a:pt x="1389" y="194"/>
                      <a:pt x="1389" y="194"/>
                    </a:cubicBezTo>
                    <a:cubicBezTo>
                      <a:pt x="1389" y="193"/>
                      <a:pt x="1388" y="193"/>
                      <a:pt x="1387" y="193"/>
                    </a:cubicBezTo>
                    <a:close/>
                    <a:moveTo>
                      <a:pt x="1408" y="194"/>
                    </a:moveTo>
                    <a:cubicBezTo>
                      <a:pt x="1409" y="194"/>
                      <a:pt x="1409" y="194"/>
                      <a:pt x="1410" y="193"/>
                    </a:cubicBezTo>
                    <a:cubicBezTo>
                      <a:pt x="1409" y="193"/>
                      <a:pt x="1409" y="193"/>
                      <a:pt x="1408" y="194"/>
                    </a:cubicBezTo>
                    <a:close/>
                    <a:moveTo>
                      <a:pt x="467" y="115"/>
                    </a:moveTo>
                    <a:cubicBezTo>
                      <a:pt x="467" y="115"/>
                      <a:pt x="467" y="116"/>
                      <a:pt x="467" y="117"/>
                    </a:cubicBezTo>
                    <a:cubicBezTo>
                      <a:pt x="467" y="116"/>
                      <a:pt x="467" y="115"/>
                      <a:pt x="467" y="115"/>
                    </a:cubicBezTo>
                    <a:close/>
                    <a:moveTo>
                      <a:pt x="1564" y="145"/>
                    </a:moveTo>
                    <a:cubicBezTo>
                      <a:pt x="1564" y="145"/>
                      <a:pt x="1564" y="146"/>
                      <a:pt x="1564" y="146"/>
                    </a:cubicBezTo>
                    <a:cubicBezTo>
                      <a:pt x="1564" y="146"/>
                      <a:pt x="1564" y="145"/>
                      <a:pt x="1564" y="145"/>
                    </a:cubicBezTo>
                    <a:close/>
                    <a:moveTo>
                      <a:pt x="1698" y="194"/>
                    </a:moveTo>
                    <a:cubicBezTo>
                      <a:pt x="1699" y="194"/>
                      <a:pt x="1700" y="194"/>
                      <a:pt x="1700" y="193"/>
                    </a:cubicBezTo>
                    <a:cubicBezTo>
                      <a:pt x="1700" y="193"/>
                      <a:pt x="1699" y="193"/>
                      <a:pt x="1698" y="194"/>
                    </a:cubicBezTo>
                    <a:close/>
                    <a:moveTo>
                      <a:pt x="1008" y="193"/>
                    </a:moveTo>
                    <a:cubicBezTo>
                      <a:pt x="1007" y="194"/>
                      <a:pt x="1007" y="195"/>
                      <a:pt x="1007" y="195"/>
                    </a:cubicBezTo>
                    <a:cubicBezTo>
                      <a:pt x="1008" y="195"/>
                      <a:pt x="1008" y="194"/>
                      <a:pt x="1008" y="193"/>
                    </a:cubicBezTo>
                    <a:close/>
                    <a:moveTo>
                      <a:pt x="1311" y="69"/>
                    </a:moveTo>
                    <a:cubicBezTo>
                      <a:pt x="1311" y="68"/>
                      <a:pt x="1310" y="68"/>
                      <a:pt x="1310" y="68"/>
                    </a:cubicBezTo>
                    <a:cubicBezTo>
                      <a:pt x="1310" y="69"/>
                      <a:pt x="1311" y="69"/>
                      <a:pt x="1311" y="69"/>
                    </a:cubicBezTo>
                    <a:close/>
                    <a:moveTo>
                      <a:pt x="426" y="71"/>
                    </a:moveTo>
                    <a:cubicBezTo>
                      <a:pt x="426" y="70"/>
                      <a:pt x="426" y="69"/>
                      <a:pt x="426" y="69"/>
                    </a:cubicBezTo>
                    <a:cubicBezTo>
                      <a:pt x="426" y="69"/>
                      <a:pt x="426" y="70"/>
                      <a:pt x="426" y="71"/>
                    </a:cubicBezTo>
                    <a:close/>
                    <a:moveTo>
                      <a:pt x="445" y="106"/>
                    </a:moveTo>
                    <a:cubicBezTo>
                      <a:pt x="445" y="105"/>
                      <a:pt x="445" y="104"/>
                      <a:pt x="445" y="104"/>
                    </a:cubicBezTo>
                    <a:cubicBezTo>
                      <a:pt x="445" y="104"/>
                      <a:pt x="445" y="105"/>
                      <a:pt x="445" y="106"/>
                    </a:cubicBezTo>
                    <a:close/>
                    <a:moveTo>
                      <a:pt x="514" y="71"/>
                    </a:moveTo>
                    <a:cubicBezTo>
                      <a:pt x="515" y="70"/>
                      <a:pt x="515" y="69"/>
                      <a:pt x="515" y="69"/>
                    </a:cubicBezTo>
                    <a:cubicBezTo>
                      <a:pt x="514" y="69"/>
                      <a:pt x="514" y="70"/>
                      <a:pt x="514" y="71"/>
                    </a:cubicBezTo>
                    <a:close/>
                    <a:moveTo>
                      <a:pt x="1084" y="175"/>
                    </a:moveTo>
                    <a:cubicBezTo>
                      <a:pt x="1083" y="176"/>
                      <a:pt x="1083" y="176"/>
                      <a:pt x="1083" y="177"/>
                    </a:cubicBezTo>
                    <a:cubicBezTo>
                      <a:pt x="1084" y="176"/>
                      <a:pt x="1084" y="176"/>
                      <a:pt x="1084" y="175"/>
                    </a:cubicBezTo>
                    <a:close/>
                    <a:moveTo>
                      <a:pt x="1038" y="146"/>
                    </a:moveTo>
                    <a:cubicBezTo>
                      <a:pt x="1038" y="146"/>
                      <a:pt x="1038" y="145"/>
                      <a:pt x="1037" y="145"/>
                    </a:cubicBezTo>
                    <a:cubicBezTo>
                      <a:pt x="1037" y="145"/>
                      <a:pt x="1037" y="146"/>
                      <a:pt x="1038" y="146"/>
                    </a:cubicBezTo>
                    <a:close/>
                    <a:moveTo>
                      <a:pt x="982" y="196"/>
                    </a:moveTo>
                    <a:cubicBezTo>
                      <a:pt x="982" y="195"/>
                      <a:pt x="982" y="195"/>
                      <a:pt x="981" y="194"/>
                    </a:cubicBezTo>
                    <a:cubicBezTo>
                      <a:pt x="981" y="195"/>
                      <a:pt x="981" y="196"/>
                      <a:pt x="982" y="196"/>
                    </a:cubicBezTo>
                    <a:close/>
                    <a:moveTo>
                      <a:pt x="1078" y="194"/>
                    </a:moveTo>
                    <a:cubicBezTo>
                      <a:pt x="1078" y="195"/>
                      <a:pt x="1078" y="195"/>
                      <a:pt x="1078" y="196"/>
                    </a:cubicBezTo>
                    <a:cubicBezTo>
                      <a:pt x="1078" y="196"/>
                      <a:pt x="1078" y="195"/>
                      <a:pt x="1078" y="194"/>
                    </a:cubicBezTo>
                    <a:close/>
                    <a:moveTo>
                      <a:pt x="472" y="134"/>
                    </a:moveTo>
                    <a:cubicBezTo>
                      <a:pt x="472" y="134"/>
                      <a:pt x="472" y="135"/>
                      <a:pt x="472" y="136"/>
                    </a:cubicBezTo>
                    <a:cubicBezTo>
                      <a:pt x="472" y="135"/>
                      <a:pt x="472" y="134"/>
                      <a:pt x="472" y="134"/>
                    </a:cubicBezTo>
                    <a:close/>
                    <a:moveTo>
                      <a:pt x="1079" y="133"/>
                    </a:moveTo>
                    <a:cubicBezTo>
                      <a:pt x="1080" y="133"/>
                      <a:pt x="1080" y="132"/>
                      <a:pt x="1080" y="131"/>
                    </a:cubicBezTo>
                    <a:cubicBezTo>
                      <a:pt x="1079" y="132"/>
                      <a:pt x="1079" y="133"/>
                      <a:pt x="1079" y="133"/>
                    </a:cubicBezTo>
                    <a:close/>
                    <a:moveTo>
                      <a:pt x="976" y="177"/>
                    </a:moveTo>
                    <a:cubicBezTo>
                      <a:pt x="976" y="176"/>
                      <a:pt x="976" y="176"/>
                      <a:pt x="976" y="175"/>
                    </a:cubicBezTo>
                    <a:cubicBezTo>
                      <a:pt x="976" y="176"/>
                      <a:pt x="976" y="177"/>
                      <a:pt x="976" y="177"/>
                    </a:cubicBezTo>
                    <a:close/>
                    <a:moveTo>
                      <a:pt x="380" y="197"/>
                    </a:moveTo>
                    <a:cubicBezTo>
                      <a:pt x="380" y="196"/>
                      <a:pt x="380" y="195"/>
                      <a:pt x="379" y="195"/>
                    </a:cubicBezTo>
                    <a:cubicBezTo>
                      <a:pt x="379" y="195"/>
                      <a:pt x="379" y="196"/>
                      <a:pt x="380" y="197"/>
                    </a:cubicBezTo>
                    <a:close/>
                    <a:moveTo>
                      <a:pt x="1052" y="197"/>
                    </a:moveTo>
                    <a:cubicBezTo>
                      <a:pt x="1052" y="196"/>
                      <a:pt x="1052" y="195"/>
                      <a:pt x="1052" y="195"/>
                    </a:cubicBezTo>
                    <a:cubicBezTo>
                      <a:pt x="1052" y="195"/>
                      <a:pt x="1052" y="196"/>
                      <a:pt x="1052" y="197"/>
                    </a:cubicBezTo>
                    <a:close/>
                    <a:moveTo>
                      <a:pt x="408" y="195"/>
                    </a:moveTo>
                    <a:cubicBezTo>
                      <a:pt x="407" y="196"/>
                      <a:pt x="407" y="196"/>
                      <a:pt x="407" y="197"/>
                    </a:cubicBezTo>
                    <a:cubicBezTo>
                      <a:pt x="408" y="197"/>
                      <a:pt x="408" y="196"/>
                      <a:pt x="408" y="195"/>
                    </a:cubicBezTo>
                    <a:close/>
                    <a:moveTo>
                      <a:pt x="1007" y="195"/>
                    </a:moveTo>
                    <a:cubicBezTo>
                      <a:pt x="1007" y="196"/>
                      <a:pt x="1007" y="196"/>
                      <a:pt x="1007" y="197"/>
                    </a:cubicBezTo>
                    <a:cubicBezTo>
                      <a:pt x="1007" y="197"/>
                      <a:pt x="1007" y="196"/>
                      <a:pt x="1007" y="195"/>
                    </a:cubicBezTo>
                    <a:close/>
                    <a:moveTo>
                      <a:pt x="465" y="177"/>
                    </a:moveTo>
                    <a:cubicBezTo>
                      <a:pt x="466" y="176"/>
                      <a:pt x="465" y="176"/>
                      <a:pt x="465" y="175"/>
                    </a:cubicBezTo>
                    <a:cubicBezTo>
                      <a:pt x="465" y="176"/>
                      <a:pt x="465" y="176"/>
                      <a:pt x="465" y="177"/>
                    </a:cubicBezTo>
                    <a:close/>
                    <a:moveTo>
                      <a:pt x="984" y="145"/>
                    </a:moveTo>
                    <a:cubicBezTo>
                      <a:pt x="984" y="145"/>
                      <a:pt x="984" y="146"/>
                      <a:pt x="985" y="147"/>
                    </a:cubicBezTo>
                    <a:cubicBezTo>
                      <a:pt x="985" y="146"/>
                      <a:pt x="985" y="145"/>
                      <a:pt x="984" y="145"/>
                    </a:cubicBezTo>
                    <a:close/>
                    <a:moveTo>
                      <a:pt x="1565" y="198"/>
                    </a:moveTo>
                    <a:cubicBezTo>
                      <a:pt x="1565" y="197"/>
                      <a:pt x="1565" y="196"/>
                      <a:pt x="1564" y="196"/>
                    </a:cubicBezTo>
                    <a:cubicBezTo>
                      <a:pt x="1564" y="197"/>
                      <a:pt x="1564" y="197"/>
                      <a:pt x="1565" y="198"/>
                    </a:cubicBezTo>
                    <a:close/>
                    <a:moveTo>
                      <a:pt x="380" y="198"/>
                    </a:moveTo>
                    <a:cubicBezTo>
                      <a:pt x="380" y="198"/>
                      <a:pt x="380" y="197"/>
                      <a:pt x="380" y="196"/>
                    </a:cubicBezTo>
                    <a:cubicBezTo>
                      <a:pt x="380" y="197"/>
                      <a:pt x="380" y="198"/>
                      <a:pt x="380" y="198"/>
                    </a:cubicBezTo>
                    <a:close/>
                    <a:moveTo>
                      <a:pt x="499" y="196"/>
                    </a:moveTo>
                    <a:cubicBezTo>
                      <a:pt x="498" y="197"/>
                      <a:pt x="498" y="198"/>
                      <a:pt x="498" y="198"/>
                    </a:cubicBezTo>
                    <a:cubicBezTo>
                      <a:pt x="499" y="198"/>
                      <a:pt x="499" y="197"/>
                      <a:pt x="499" y="196"/>
                    </a:cubicBezTo>
                    <a:close/>
                    <a:moveTo>
                      <a:pt x="1084" y="116"/>
                    </a:moveTo>
                    <a:cubicBezTo>
                      <a:pt x="1084" y="116"/>
                      <a:pt x="1085" y="115"/>
                      <a:pt x="1084" y="115"/>
                    </a:cubicBezTo>
                    <a:cubicBezTo>
                      <a:pt x="1084" y="115"/>
                      <a:pt x="1084" y="116"/>
                      <a:pt x="1084" y="116"/>
                    </a:cubicBezTo>
                    <a:close/>
                    <a:moveTo>
                      <a:pt x="1053" y="198"/>
                    </a:moveTo>
                    <a:cubicBezTo>
                      <a:pt x="1053" y="198"/>
                      <a:pt x="1053" y="197"/>
                      <a:pt x="1052" y="196"/>
                    </a:cubicBezTo>
                    <a:cubicBezTo>
                      <a:pt x="1052" y="197"/>
                      <a:pt x="1052" y="198"/>
                      <a:pt x="1053" y="198"/>
                    </a:cubicBezTo>
                    <a:close/>
                    <a:moveTo>
                      <a:pt x="407" y="197"/>
                    </a:moveTo>
                    <a:cubicBezTo>
                      <a:pt x="407" y="198"/>
                      <a:pt x="407" y="198"/>
                      <a:pt x="407" y="199"/>
                    </a:cubicBezTo>
                    <a:cubicBezTo>
                      <a:pt x="407" y="198"/>
                      <a:pt x="407" y="198"/>
                      <a:pt x="407" y="197"/>
                    </a:cubicBezTo>
                    <a:close/>
                    <a:moveTo>
                      <a:pt x="967" y="146"/>
                    </a:moveTo>
                    <a:cubicBezTo>
                      <a:pt x="967" y="146"/>
                      <a:pt x="967" y="145"/>
                      <a:pt x="967" y="145"/>
                    </a:cubicBezTo>
                    <a:cubicBezTo>
                      <a:pt x="966" y="145"/>
                      <a:pt x="966" y="146"/>
                      <a:pt x="967" y="146"/>
                    </a:cubicBezTo>
                    <a:close/>
                    <a:moveTo>
                      <a:pt x="1007" y="197"/>
                    </a:moveTo>
                    <a:cubicBezTo>
                      <a:pt x="1006" y="198"/>
                      <a:pt x="1006" y="198"/>
                      <a:pt x="1006" y="199"/>
                    </a:cubicBezTo>
                    <a:cubicBezTo>
                      <a:pt x="1007" y="198"/>
                      <a:pt x="1007" y="198"/>
                      <a:pt x="1007" y="197"/>
                    </a:cubicBezTo>
                    <a:close/>
                    <a:moveTo>
                      <a:pt x="472" y="199"/>
                    </a:moveTo>
                    <a:cubicBezTo>
                      <a:pt x="472" y="199"/>
                      <a:pt x="472" y="198"/>
                      <a:pt x="471" y="198"/>
                    </a:cubicBezTo>
                    <a:cubicBezTo>
                      <a:pt x="471" y="198"/>
                      <a:pt x="471" y="199"/>
                      <a:pt x="472" y="199"/>
                    </a:cubicBezTo>
                    <a:close/>
                    <a:moveTo>
                      <a:pt x="455" y="70"/>
                    </a:moveTo>
                    <a:cubicBezTo>
                      <a:pt x="454" y="71"/>
                      <a:pt x="455" y="72"/>
                      <a:pt x="455" y="72"/>
                    </a:cubicBezTo>
                    <a:cubicBezTo>
                      <a:pt x="455" y="72"/>
                      <a:pt x="455" y="71"/>
                      <a:pt x="455" y="70"/>
                    </a:cubicBezTo>
                    <a:close/>
                    <a:moveTo>
                      <a:pt x="983" y="200"/>
                    </a:moveTo>
                    <a:cubicBezTo>
                      <a:pt x="983" y="199"/>
                      <a:pt x="983" y="199"/>
                      <a:pt x="983" y="198"/>
                    </a:cubicBezTo>
                    <a:cubicBezTo>
                      <a:pt x="983" y="199"/>
                      <a:pt x="982" y="200"/>
                      <a:pt x="983" y="200"/>
                    </a:cubicBezTo>
                    <a:close/>
                    <a:moveTo>
                      <a:pt x="1077" y="198"/>
                    </a:moveTo>
                    <a:cubicBezTo>
                      <a:pt x="1076" y="199"/>
                      <a:pt x="1076" y="199"/>
                      <a:pt x="1076" y="200"/>
                    </a:cubicBezTo>
                    <a:cubicBezTo>
                      <a:pt x="1077" y="200"/>
                      <a:pt x="1077" y="199"/>
                      <a:pt x="1077" y="198"/>
                    </a:cubicBezTo>
                    <a:close/>
                    <a:moveTo>
                      <a:pt x="1348" y="127"/>
                    </a:moveTo>
                    <a:cubicBezTo>
                      <a:pt x="1348" y="127"/>
                      <a:pt x="1348" y="126"/>
                      <a:pt x="1348" y="126"/>
                    </a:cubicBezTo>
                    <a:cubicBezTo>
                      <a:pt x="1348" y="126"/>
                      <a:pt x="1348" y="127"/>
                      <a:pt x="1348" y="127"/>
                    </a:cubicBezTo>
                    <a:close/>
                    <a:moveTo>
                      <a:pt x="1053" y="201"/>
                    </a:moveTo>
                    <a:cubicBezTo>
                      <a:pt x="1053" y="200"/>
                      <a:pt x="1053" y="199"/>
                      <a:pt x="1053" y="199"/>
                    </a:cubicBezTo>
                    <a:cubicBezTo>
                      <a:pt x="1053" y="199"/>
                      <a:pt x="1053" y="200"/>
                      <a:pt x="1053" y="201"/>
                    </a:cubicBezTo>
                    <a:close/>
                    <a:moveTo>
                      <a:pt x="497" y="136"/>
                    </a:moveTo>
                    <a:cubicBezTo>
                      <a:pt x="498" y="135"/>
                      <a:pt x="498" y="134"/>
                      <a:pt x="498" y="134"/>
                    </a:cubicBezTo>
                    <a:cubicBezTo>
                      <a:pt x="497" y="134"/>
                      <a:pt x="497" y="135"/>
                      <a:pt x="497" y="136"/>
                    </a:cubicBezTo>
                    <a:close/>
                    <a:moveTo>
                      <a:pt x="407" y="199"/>
                    </a:moveTo>
                    <a:cubicBezTo>
                      <a:pt x="406" y="200"/>
                      <a:pt x="406" y="200"/>
                      <a:pt x="406" y="201"/>
                    </a:cubicBezTo>
                    <a:cubicBezTo>
                      <a:pt x="407" y="201"/>
                      <a:pt x="407" y="200"/>
                      <a:pt x="407" y="199"/>
                    </a:cubicBezTo>
                    <a:close/>
                    <a:moveTo>
                      <a:pt x="568" y="70"/>
                    </a:moveTo>
                    <a:cubicBezTo>
                      <a:pt x="567" y="70"/>
                      <a:pt x="567" y="70"/>
                      <a:pt x="566" y="71"/>
                    </a:cubicBezTo>
                    <a:cubicBezTo>
                      <a:pt x="567" y="71"/>
                      <a:pt x="568" y="71"/>
                      <a:pt x="568" y="70"/>
                    </a:cubicBezTo>
                    <a:close/>
                    <a:moveTo>
                      <a:pt x="494" y="146"/>
                    </a:moveTo>
                    <a:cubicBezTo>
                      <a:pt x="495" y="146"/>
                      <a:pt x="495" y="145"/>
                      <a:pt x="495" y="145"/>
                    </a:cubicBezTo>
                    <a:cubicBezTo>
                      <a:pt x="494" y="145"/>
                      <a:pt x="494" y="146"/>
                      <a:pt x="494" y="146"/>
                    </a:cubicBezTo>
                    <a:close/>
                    <a:moveTo>
                      <a:pt x="984" y="202"/>
                    </a:moveTo>
                    <a:cubicBezTo>
                      <a:pt x="984" y="201"/>
                      <a:pt x="984" y="200"/>
                      <a:pt x="983" y="200"/>
                    </a:cubicBezTo>
                    <a:cubicBezTo>
                      <a:pt x="983" y="201"/>
                      <a:pt x="983" y="201"/>
                      <a:pt x="984" y="202"/>
                    </a:cubicBezTo>
                    <a:close/>
                    <a:moveTo>
                      <a:pt x="1076" y="200"/>
                    </a:moveTo>
                    <a:cubicBezTo>
                      <a:pt x="1076" y="200"/>
                      <a:pt x="1076" y="201"/>
                      <a:pt x="1076" y="202"/>
                    </a:cubicBezTo>
                    <a:cubicBezTo>
                      <a:pt x="1077" y="201"/>
                      <a:pt x="1076" y="201"/>
                      <a:pt x="1076" y="200"/>
                    </a:cubicBezTo>
                    <a:close/>
                    <a:moveTo>
                      <a:pt x="514" y="73"/>
                    </a:moveTo>
                    <a:cubicBezTo>
                      <a:pt x="514" y="72"/>
                      <a:pt x="514" y="72"/>
                      <a:pt x="514" y="71"/>
                    </a:cubicBezTo>
                    <a:cubicBezTo>
                      <a:pt x="514" y="71"/>
                      <a:pt x="514" y="72"/>
                      <a:pt x="514" y="73"/>
                    </a:cubicBezTo>
                    <a:close/>
                    <a:moveTo>
                      <a:pt x="452" y="128"/>
                    </a:moveTo>
                    <a:cubicBezTo>
                      <a:pt x="452" y="127"/>
                      <a:pt x="452" y="127"/>
                      <a:pt x="451" y="126"/>
                    </a:cubicBezTo>
                    <a:cubicBezTo>
                      <a:pt x="451" y="127"/>
                      <a:pt x="451" y="128"/>
                      <a:pt x="452" y="128"/>
                    </a:cubicBezTo>
                    <a:close/>
                    <a:moveTo>
                      <a:pt x="381" y="202"/>
                    </a:moveTo>
                    <a:cubicBezTo>
                      <a:pt x="381" y="202"/>
                      <a:pt x="381" y="201"/>
                      <a:pt x="381" y="200"/>
                    </a:cubicBezTo>
                    <a:cubicBezTo>
                      <a:pt x="381" y="201"/>
                      <a:pt x="381" y="202"/>
                      <a:pt x="381" y="202"/>
                    </a:cubicBezTo>
                    <a:close/>
                    <a:moveTo>
                      <a:pt x="498" y="200"/>
                    </a:moveTo>
                    <a:cubicBezTo>
                      <a:pt x="497" y="201"/>
                      <a:pt x="497" y="202"/>
                      <a:pt x="497" y="202"/>
                    </a:cubicBezTo>
                    <a:cubicBezTo>
                      <a:pt x="498" y="202"/>
                      <a:pt x="498" y="201"/>
                      <a:pt x="498" y="200"/>
                    </a:cubicBezTo>
                    <a:close/>
                    <a:moveTo>
                      <a:pt x="1054" y="202"/>
                    </a:moveTo>
                    <a:cubicBezTo>
                      <a:pt x="1054" y="202"/>
                      <a:pt x="1054" y="201"/>
                      <a:pt x="1053" y="201"/>
                    </a:cubicBezTo>
                    <a:cubicBezTo>
                      <a:pt x="1053" y="201"/>
                      <a:pt x="1053" y="202"/>
                      <a:pt x="1054" y="202"/>
                    </a:cubicBezTo>
                    <a:close/>
                    <a:moveTo>
                      <a:pt x="1567" y="202"/>
                    </a:moveTo>
                    <a:cubicBezTo>
                      <a:pt x="1567" y="202"/>
                      <a:pt x="1566" y="201"/>
                      <a:pt x="1566" y="201"/>
                    </a:cubicBezTo>
                    <a:cubicBezTo>
                      <a:pt x="1566" y="201"/>
                      <a:pt x="1566" y="202"/>
                      <a:pt x="1567" y="202"/>
                    </a:cubicBezTo>
                    <a:close/>
                    <a:moveTo>
                      <a:pt x="406" y="201"/>
                    </a:moveTo>
                    <a:cubicBezTo>
                      <a:pt x="406" y="202"/>
                      <a:pt x="406" y="202"/>
                      <a:pt x="406" y="203"/>
                    </a:cubicBezTo>
                    <a:cubicBezTo>
                      <a:pt x="406" y="202"/>
                      <a:pt x="406" y="202"/>
                      <a:pt x="406" y="201"/>
                    </a:cubicBezTo>
                    <a:close/>
                    <a:moveTo>
                      <a:pt x="1557" y="176"/>
                    </a:moveTo>
                    <a:cubicBezTo>
                      <a:pt x="1557" y="176"/>
                      <a:pt x="1557" y="175"/>
                      <a:pt x="1556" y="175"/>
                    </a:cubicBezTo>
                    <a:cubicBezTo>
                      <a:pt x="1556" y="175"/>
                      <a:pt x="1556" y="176"/>
                      <a:pt x="1557" y="176"/>
                    </a:cubicBezTo>
                    <a:close/>
                    <a:moveTo>
                      <a:pt x="942" y="126"/>
                    </a:moveTo>
                    <a:cubicBezTo>
                      <a:pt x="942" y="127"/>
                      <a:pt x="942" y="128"/>
                      <a:pt x="943" y="128"/>
                    </a:cubicBezTo>
                    <a:cubicBezTo>
                      <a:pt x="943" y="127"/>
                      <a:pt x="943" y="127"/>
                      <a:pt x="942" y="126"/>
                    </a:cubicBezTo>
                    <a:close/>
                    <a:moveTo>
                      <a:pt x="473" y="203"/>
                    </a:moveTo>
                    <a:cubicBezTo>
                      <a:pt x="473" y="203"/>
                      <a:pt x="473" y="202"/>
                      <a:pt x="472" y="202"/>
                    </a:cubicBezTo>
                    <a:cubicBezTo>
                      <a:pt x="472" y="202"/>
                      <a:pt x="472" y="203"/>
                      <a:pt x="473" y="203"/>
                    </a:cubicBezTo>
                    <a:close/>
                    <a:moveTo>
                      <a:pt x="497" y="203"/>
                    </a:moveTo>
                    <a:cubicBezTo>
                      <a:pt x="497" y="203"/>
                      <a:pt x="496" y="204"/>
                      <a:pt x="497" y="205"/>
                    </a:cubicBezTo>
                    <a:cubicBezTo>
                      <a:pt x="497" y="204"/>
                      <a:pt x="497" y="203"/>
                      <a:pt x="497" y="203"/>
                    </a:cubicBezTo>
                    <a:close/>
                    <a:moveTo>
                      <a:pt x="1005" y="203"/>
                    </a:moveTo>
                    <a:cubicBezTo>
                      <a:pt x="1004" y="203"/>
                      <a:pt x="1004" y="204"/>
                      <a:pt x="1004" y="205"/>
                    </a:cubicBezTo>
                    <a:cubicBezTo>
                      <a:pt x="1005" y="204"/>
                      <a:pt x="1005" y="203"/>
                      <a:pt x="1005" y="203"/>
                    </a:cubicBezTo>
                    <a:close/>
                    <a:moveTo>
                      <a:pt x="1055" y="205"/>
                    </a:moveTo>
                    <a:cubicBezTo>
                      <a:pt x="1055" y="204"/>
                      <a:pt x="1055" y="203"/>
                      <a:pt x="1054" y="203"/>
                    </a:cubicBezTo>
                    <a:cubicBezTo>
                      <a:pt x="1054" y="203"/>
                      <a:pt x="1054" y="204"/>
                      <a:pt x="1055" y="205"/>
                    </a:cubicBezTo>
                    <a:close/>
                    <a:moveTo>
                      <a:pt x="406" y="203"/>
                    </a:moveTo>
                    <a:cubicBezTo>
                      <a:pt x="405" y="204"/>
                      <a:pt x="405" y="204"/>
                      <a:pt x="405" y="205"/>
                    </a:cubicBezTo>
                    <a:cubicBezTo>
                      <a:pt x="406" y="205"/>
                      <a:pt x="406" y="204"/>
                      <a:pt x="406" y="203"/>
                    </a:cubicBezTo>
                    <a:close/>
                    <a:moveTo>
                      <a:pt x="474" y="206"/>
                    </a:moveTo>
                    <a:cubicBezTo>
                      <a:pt x="474" y="205"/>
                      <a:pt x="474" y="204"/>
                      <a:pt x="473" y="204"/>
                    </a:cubicBezTo>
                    <a:cubicBezTo>
                      <a:pt x="473" y="204"/>
                      <a:pt x="473" y="205"/>
                      <a:pt x="474" y="206"/>
                    </a:cubicBezTo>
                    <a:close/>
                    <a:moveTo>
                      <a:pt x="985" y="206"/>
                    </a:moveTo>
                    <a:cubicBezTo>
                      <a:pt x="985" y="205"/>
                      <a:pt x="985" y="204"/>
                      <a:pt x="984" y="204"/>
                    </a:cubicBezTo>
                    <a:cubicBezTo>
                      <a:pt x="984" y="205"/>
                      <a:pt x="984" y="205"/>
                      <a:pt x="985" y="206"/>
                    </a:cubicBezTo>
                    <a:close/>
                    <a:moveTo>
                      <a:pt x="1075" y="204"/>
                    </a:moveTo>
                    <a:cubicBezTo>
                      <a:pt x="1075" y="204"/>
                      <a:pt x="1075" y="205"/>
                      <a:pt x="1075" y="206"/>
                    </a:cubicBezTo>
                    <a:cubicBezTo>
                      <a:pt x="1075" y="205"/>
                      <a:pt x="1075" y="205"/>
                      <a:pt x="1075" y="204"/>
                    </a:cubicBezTo>
                    <a:close/>
                    <a:moveTo>
                      <a:pt x="1250" y="205"/>
                    </a:moveTo>
                    <a:cubicBezTo>
                      <a:pt x="1249" y="204"/>
                      <a:pt x="1249" y="204"/>
                      <a:pt x="1248" y="204"/>
                    </a:cubicBezTo>
                    <a:cubicBezTo>
                      <a:pt x="1248" y="205"/>
                      <a:pt x="1249" y="205"/>
                      <a:pt x="1250" y="205"/>
                    </a:cubicBezTo>
                    <a:close/>
                    <a:moveTo>
                      <a:pt x="1716" y="204"/>
                    </a:moveTo>
                    <a:cubicBezTo>
                      <a:pt x="1715" y="204"/>
                      <a:pt x="1714" y="204"/>
                      <a:pt x="1714" y="205"/>
                    </a:cubicBezTo>
                    <a:cubicBezTo>
                      <a:pt x="1715" y="205"/>
                      <a:pt x="1715" y="205"/>
                      <a:pt x="1716" y="204"/>
                    </a:cubicBezTo>
                    <a:close/>
                    <a:moveTo>
                      <a:pt x="383" y="206"/>
                    </a:moveTo>
                    <a:cubicBezTo>
                      <a:pt x="383" y="206"/>
                      <a:pt x="383" y="205"/>
                      <a:pt x="382" y="204"/>
                    </a:cubicBezTo>
                    <a:cubicBezTo>
                      <a:pt x="382" y="205"/>
                      <a:pt x="382" y="206"/>
                      <a:pt x="383" y="206"/>
                    </a:cubicBezTo>
                    <a:close/>
                    <a:moveTo>
                      <a:pt x="497" y="205"/>
                    </a:moveTo>
                    <a:cubicBezTo>
                      <a:pt x="496" y="205"/>
                      <a:pt x="496" y="206"/>
                      <a:pt x="496" y="206"/>
                    </a:cubicBezTo>
                    <a:cubicBezTo>
                      <a:pt x="497" y="206"/>
                      <a:pt x="497" y="205"/>
                      <a:pt x="497" y="205"/>
                    </a:cubicBezTo>
                    <a:close/>
                    <a:moveTo>
                      <a:pt x="1004" y="205"/>
                    </a:moveTo>
                    <a:cubicBezTo>
                      <a:pt x="1004" y="205"/>
                      <a:pt x="1004" y="206"/>
                      <a:pt x="1004" y="206"/>
                    </a:cubicBezTo>
                    <a:cubicBezTo>
                      <a:pt x="1005" y="206"/>
                      <a:pt x="1004" y="205"/>
                      <a:pt x="1004" y="205"/>
                    </a:cubicBezTo>
                    <a:close/>
                    <a:moveTo>
                      <a:pt x="1055" y="206"/>
                    </a:moveTo>
                    <a:cubicBezTo>
                      <a:pt x="1055" y="206"/>
                      <a:pt x="1055" y="205"/>
                      <a:pt x="1055" y="205"/>
                    </a:cubicBezTo>
                    <a:cubicBezTo>
                      <a:pt x="1055" y="205"/>
                      <a:pt x="1054" y="206"/>
                      <a:pt x="1055" y="206"/>
                    </a:cubicBezTo>
                    <a:close/>
                    <a:moveTo>
                      <a:pt x="1252" y="205"/>
                    </a:moveTo>
                    <a:cubicBezTo>
                      <a:pt x="1251" y="205"/>
                      <a:pt x="1250" y="205"/>
                      <a:pt x="1250" y="205"/>
                    </a:cubicBezTo>
                    <a:cubicBezTo>
                      <a:pt x="1250" y="205"/>
                      <a:pt x="1251" y="205"/>
                      <a:pt x="1252" y="205"/>
                    </a:cubicBezTo>
                    <a:close/>
                    <a:moveTo>
                      <a:pt x="405" y="205"/>
                    </a:moveTo>
                    <a:cubicBezTo>
                      <a:pt x="404" y="206"/>
                      <a:pt x="404" y="206"/>
                      <a:pt x="404" y="207"/>
                    </a:cubicBezTo>
                    <a:cubicBezTo>
                      <a:pt x="405" y="206"/>
                      <a:pt x="405" y="206"/>
                      <a:pt x="405" y="205"/>
                    </a:cubicBezTo>
                    <a:close/>
                    <a:moveTo>
                      <a:pt x="867" y="206"/>
                    </a:moveTo>
                    <a:cubicBezTo>
                      <a:pt x="867" y="205"/>
                      <a:pt x="866" y="205"/>
                      <a:pt x="866" y="205"/>
                    </a:cubicBezTo>
                    <a:cubicBezTo>
                      <a:pt x="866" y="206"/>
                      <a:pt x="867" y="206"/>
                      <a:pt x="867" y="206"/>
                    </a:cubicBezTo>
                    <a:close/>
                    <a:moveTo>
                      <a:pt x="1253" y="206"/>
                    </a:moveTo>
                    <a:cubicBezTo>
                      <a:pt x="1253" y="205"/>
                      <a:pt x="1252" y="205"/>
                      <a:pt x="1252" y="205"/>
                    </a:cubicBezTo>
                    <a:cubicBezTo>
                      <a:pt x="1252" y="206"/>
                      <a:pt x="1253" y="206"/>
                      <a:pt x="1253" y="206"/>
                    </a:cubicBezTo>
                    <a:close/>
                    <a:moveTo>
                      <a:pt x="1423" y="205"/>
                    </a:moveTo>
                    <a:cubicBezTo>
                      <a:pt x="1422" y="205"/>
                      <a:pt x="1421" y="205"/>
                      <a:pt x="1421" y="206"/>
                    </a:cubicBezTo>
                    <a:cubicBezTo>
                      <a:pt x="1421" y="206"/>
                      <a:pt x="1422" y="206"/>
                      <a:pt x="1423" y="205"/>
                    </a:cubicBezTo>
                    <a:close/>
                    <a:moveTo>
                      <a:pt x="1568" y="207"/>
                    </a:moveTo>
                    <a:cubicBezTo>
                      <a:pt x="1568" y="206"/>
                      <a:pt x="1568" y="206"/>
                      <a:pt x="1568" y="205"/>
                    </a:cubicBezTo>
                    <a:cubicBezTo>
                      <a:pt x="1568" y="206"/>
                      <a:pt x="1568" y="207"/>
                      <a:pt x="1568" y="207"/>
                    </a:cubicBezTo>
                    <a:close/>
                    <a:moveTo>
                      <a:pt x="534" y="72"/>
                    </a:moveTo>
                    <a:cubicBezTo>
                      <a:pt x="533" y="73"/>
                      <a:pt x="533" y="73"/>
                      <a:pt x="533" y="74"/>
                    </a:cubicBezTo>
                    <a:cubicBezTo>
                      <a:pt x="534" y="73"/>
                      <a:pt x="534" y="73"/>
                      <a:pt x="534" y="72"/>
                    </a:cubicBezTo>
                    <a:close/>
                    <a:moveTo>
                      <a:pt x="914" y="206"/>
                    </a:moveTo>
                    <a:cubicBezTo>
                      <a:pt x="913" y="206"/>
                      <a:pt x="913" y="206"/>
                      <a:pt x="912" y="206"/>
                    </a:cubicBezTo>
                    <a:cubicBezTo>
                      <a:pt x="913" y="206"/>
                      <a:pt x="914" y="206"/>
                      <a:pt x="914" y="206"/>
                    </a:cubicBezTo>
                    <a:close/>
                    <a:moveTo>
                      <a:pt x="1095" y="137"/>
                    </a:moveTo>
                    <a:cubicBezTo>
                      <a:pt x="1095" y="137"/>
                      <a:pt x="1095" y="138"/>
                      <a:pt x="1095" y="138"/>
                    </a:cubicBezTo>
                    <a:cubicBezTo>
                      <a:pt x="1096" y="138"/>
                      <a:pt x="1095" y="137"/>
                      <a:pt x="1095" y="137"/>
                    </a:cubicBezTo>
                    <a:close/>
                    <a:moveTo>
                      <a:pt x="1121" y="206"/>
                    </a:moveTo>
                    <a:cubicBezTo>
                      <a:pt x="1120" y="206"/>
                      <a:pt x="1120" y="206"/>
                      <a:pt x="1119" y="206"/>
                    </a:cubicBezTo>
                    <a:cubicBezTo>
                      <a:pt x="1119" y="206"/>
                      <a:pt x="1120" y="206"/>
                      <a:pt x="1121" y="206"/>
                    </a:cubicBezTo>
                    <a:close/>
                    <a:moveTo>
                      <a:pt x="1255" y="206"/>
                    </a:moveTo>
                    <a:cubicBezTo>
                      <a:pt x="1255" y="206"/>
                      <a:pt x="1254" y="206"/>
                      <a:pt x="1253" y="206"/>
                    </a:cubicBezTo>
                    <a:cubicBezTo>
                      <a:pt x="1254" y="206"/>
                      <a:pt x="1254" y="206"/>
                      <a:pt x="1255" y="206"/>
                    </a:cubicBezTo>
                    <a:close/>
                    <a:moveTo>
                      <a:pt x="1304" y="206"/>
                    </a:moveTo>
                    <a:cubicBezTo>
                      <a:pt x="1303" y="206"/>
                      <a:pt x="1303" y="206"/>
                      <a:pt x="1302" y="206"/>
                    </a:cubicBezTo>
                    <a:cubicBezTo>
                      <a:pt x="1303" y="206"/>
                      <a:pt x="1304" y="206"/>
                      <a:pt x="1304" y="206"/>
                    </a:cubicBezTo>
                    <a:close/>
                    <a:moveTo>
                      <a:pt x="457" y="146"/>
                    </a:moveTo>
                    <a:cubicBezTo>
                      <a:pt x="457" y="146"/>
                      <a:pt x="457" y="145"/>
                      <a:pt x="456" y="144"/>
                    </a:cubicBezTo>
                    <a:cubicBezTo>
                      <a:pt x="456" y="145"/>
                      <a:pt x="456" y="146"/>
                      <a:pt x="457" y="146"/>
                    </a:cubicBezTo>
                    <a:close/>
                    <a:moveTo>
                      <a:pt x="870" y="207"/>
                    </a:moveTo>
                    <a:cubicBezTo>
                      <a:pt x="870" y="206"/>
                      <a:pt x="869" y="206"/>
                      <a:pt x="869" y="206"/>
                    </a:cubicBezTo>
                    <a:cubicBezTo>
                      <a:pt x="869" y="207"/>
                      <a:pt x="870" y="207"/>
                      <a:pt x="870" y="207"/>
                    </a:cubicBezTo>
                    <a:close/>
                    <a:moveTo>
                      <a:pt x="455" y="73"/>
                    </a:moveTo>
                    <a:cubicBezTo>
                      <a:pt x="455" y="73"/>
                      <a:pt x="455" y="74"/>
                      <a:pt x="456" y="74"/>
                    </a:cubicBezTo>
                    <a:cubicBezTo>
                      <a:pt x="456" y="74"/>
                      <a:pt x="456" y="73"/>
                      <a:pt x="455" y="73"/>
                    </a:cubicBezTo>
                    <a:close/>
                    <a:moveTo>
                      <a:pt x="1257" y="207"/>
                    </a:moveTo>
                    <a:cubicBezTo>
                      <a:pt x="1256" y="206"/>
                      <a:pt x="1256" y="206"/>
                      <a:pt x="1255" y="206"/>
                    </a:cubicBezTo>
                    <a:cubicBezTo>
                      <a:pt x="1255" y="207"/>
                      <a:pt x="1256" y="207"/>
                      <a:pt x="1257" y="207"/>
                    </a:cubicBezTo>
                    <a:close/>
                    <a:moveTo>
                      <a:pt x="1302" y="206"/>
                    </a:moveTo>
                    <a:cubicBezTo>
                      <a:pt x="1302" y="206"/>
                      <a:pt x="1301" y="206"/>
                      <a:pt x="1300" y="207"/>
                    </a:cubicBezTo>
                    <a:cubicBezTo>
                      <a:pt x="1301" y="207"/>
                      <a:pt x="1302" y="207"/>
                      <a:pt x="1302" y="206"/>
                    </a:cubicBezTo>
                    <a:close/>
                    <a:moveTo>
                      <a:pt x="1375" y="207"/>
                    </a:moveTo>
                    <a:cubicBezTo>
                      <a:pt x="1374" y="206"/>
                      <a:pt x="1374" y="206"/>
                      <a:pt x="1373" y="206"/>
                    </a:cubicBezTo>
                    <a:cubicBezTo>
                      <a:pt x="1373" y="207"/>
                      <a:pt x="1374" y="207"/>
                      <a:pt x="1375" y="207"/>
                    </a:cubicBezTo>
                    <a:close/>
                    <a:moveTo>
                      <a:pt x="1419" y="206"/>
                    </a:moveTo>
                    <a:cubicBezTo>
                      <a:pt x="1418" y="206"/>
                      <a:pt x="1418" y="206"/>
                      <a:pt x="1417" y="207"/>
                    </a:cubicBezTo>
                    <a:cubicBezTo>
                      <a:pt x="1418" y="207"/>
                      <a:pt x="1419" y="207"/>
                      <a:pt x="1419" y="206"/>
                    </a:cubicBezTo>
                    <a:close/>
                    <a:moveTo>
                      <a:pt x="1665" y="207"/>
                    </a:moveTo>
                    <a:cubicBezTo>
                      <a:pt x="1665" y="206"/>
                      <a:pt x="1664" y="206"/>
                      <a:pt x="1663" y="206"/>
                    </a:cubicBezTo>
                    <a:cubicBezTo>
                      <a:pt x="1664" y="207"/>
                      <a:pt x="1664" y="207"/>
                      <a:pt x="1665" y="207"/>
                    </a:cubicBezTo>
                    <a:close/>
                    <a:moveTo>
                      <a:pt x="1710" y="206"/>
                    </a:moveTo>
                    <a:cubicBezTo>
                      <a:pt x="1709" y="206"/>
                      <a:pt x="1709" y="206"/>
                      <a:pt x="1708" y="207"/>
                    </a:cubicBezTo>
                    <a:cubicBezTo>
                      <a:pt x="1709" y="207"/>
                      <a:pt x="1709" y="207"/>
                      <a:pt x="1710" y="206"/>
                    </a:cubicBezTo>
                    <a:close/>
                    <a:moveTo>
                      <a:pt x="741" y="207"/>
                    </a:moveTo>
                    <a:cubicBezTo>
                      <a:pt x="741" y="207"/>
                      <a:pt x="740" y="207"/>
                      <a:pt x="740" y="207"/>
                    </a:cubicBezTo>
                    <a:cubicBezTo>
                      <a:pt x="740" y="208"/>
                      <a:pt x="741" y="207"/>
                      <a:pt x="741" y="207"/>
                    </a:cubicBezTo>
                    <a:close/>
                    <a:moveTo>
                      <a:pt x="775" y="207"/>
                    </a:moveTo>
                    <a:cubicBezTo>
                      <a:pt x="775" y="207"/>
                      <a:pt x="774" y="207"/>
                      <a:pt x="774" y="207"/>
                    </a:cubicBezTo>
                    <a:cubicBezTo>
                      <a:pt x="774" y="207"/>
                      <a:pt x="775" y="208"/>
                      <a:pt x="775" y="207"/>
                    </a:cubicBezTo>
                    <a:close/>
                    <a:moveTo>
                      <a:pt x="872" y="207"/>
                    </a:moveTo>
                    <a:cubicBezTo>
                      <a:pt x="872" y="207"/>
                      <a:pt x="871" y="207"/>
                      <a:pt x="870" y="207"/>
                    </a:cubicBezTo>
                    <a:cubicBezTo>
                      <a:pt x="871" y="208"/>
                      <a:pt x="871" y="207"/>
                      <a:pt x="872" y="207"/>
                    </a:cubicBezTo>
                    <a:close/>
                    <a:moveTo>
                      <a:pt x="1162" y="207"/>
                    </a:moveTo>
                    <a:cubicBezTo>
                      <a:pt x="1161" y="207"/>
                      <a:pt x="1160" y="207"/>
                      <a:pt x="1160" y="207"/>
                    </a:cubicBezTo>
                    <a:cubicBezTo>
                      <a:pt x="1161" y="207"/>
                      <a:pt x="1161" y="208"/>
                      <a:pt x="1162" y="207"/>
                    </a:cubicBezTo>
                    <a:close/>
                    <a:moveTo>
                      <a:pt x="1259" y="207"/>
                    </a:moveTo>
                    <a:cubicBezTo>
                      <a:pt x="1259" y="207"/>
                      <a:pt x="1258" y="207"/>
                      <a:pt x="1257" y="207"/>
                    </a:cubicBezTo>
                    <a:cubicBezTo>
                      <a:pt x="1258" y="208"/>
                      <a:pt x="1259" y="207"/>
                      <a:pt x="1259" y="207"/>
                    </a:cubicBezTo>
                    <a:close/>
                    <a:moveTo>
                      <a:pt x="1300" y="207"/>
                    </a:moveTo>
                    <a:cubicBezTo>
                      <a:pt x="1300" y="207"/>
                      <a:pt x="1299" y="207"/>
                      <a:pt x="1299" y="207"/>
                    </a:cubicBezTo>
                    <a:cubicBezTo>
                      <a:pt x="1299" y="207"/>
                      <a:pt x="1300" y="208"/>
                      <a:pt x="1300" y="207"/>
                    </a:cubicBezTo>
                    <a:close/>
                    <a:moveTo>
                      <a:pt x="1417" y="207"/>
                    </a:moveTo>
                    <a:cubicBezTo>
                      <a:pt x="1417" y="207"/>
                      <a:pt x="1416" y="207"/>
                      <a:pt x="1416" y="207"/>
                    </a:cubicBezTo>
                    <a:cubicBezTo>
                      <a:pt x="1416" y="207"/>
                      <a:pt x="1417" y="208"/>
                      <a:pt x="1417" y="207"/>
                    </a:cubicBezTo>
                    <a:close/>
                    <a:moveTo>
                      <a:pt x="1047" y="176"/>
                    </a:moveTo>
                    <a:cubicBezTo>
                      <a:pt x="1047" y="176"/>
                      <a:pt x="1046" y="175"/>
                      <a:pt x="1046" y="175"/>
                    </a:cubicBezTo>
                    <a:cubicBezTo>
                      <a:pt x="1046" y="175"/>
                      <a:pt x="1046" y="176"/>
                      <a:pt x="1047" y="176"/>
                    </a:cubicBezTo>
                    <a:close/>
                    <a:moveTo>
                      <a:pt x="1667" y="207"/>
                    </a:moveTo>
                    <a:cubicBezTo>
                      <a:pt x="1666" y="207"/>
                      <a:pt x="1666" y="207"/>
                      <a:pt x="1665" y="207"/>
                    </a:cubicBezTo>
                    <a:cubicBezTo>
                      <a:pt x="1665" y="208"/>
                      <a:pt x="1666" y="207"/>
                      <a:pt x="1667" y="207"/>
                    </a:cubicBezTo>
                    <a:close/>
                    <a:moveTo>
                      <a:pt x="1708" y="207"/>
                    </a:moveTo>
                    <a:cubicBezTo>
                      <a:pt x="1707" y="207"/>
                      <a:pt x="1706" y="207"/>
                      <a:pt x="1706" y="207"/>
                    </a:cubicBezTo>
                    <a:cubicBezTo>
                      <a:pt x="1707" y="207"/>
                      <a:pt x="1707" y="208"/>
                      <a:pt x="1708" y="207"/>
                    </a:cubicBezTo>
                    <a:close/>
                    <a:moveTo>
                      <a:pt x="743" y="208"/>
                    </a:moveTo>
                    <a:cubicBezTo>
                      <a:pt x="743" y="207"/>
                      <a:pt x="742" y="207"/>
                      <a:pt x="741" y="207"/>
                    </a:cubicBezTo>
                    <a:cubicBezTo>
                      <a:pt x="742" y="208"/>
                      <a:pt x="742" y="208"/>
                      <a:pt x="743" y="208"/>
                    </a:cubicBezTo>
                    <a:close/>
                    <a:moveTo>
                      <a:pt x="774" y="207"/>
                    </a:moveTo>
                    <a:cubicBezTo>
                      <a:pt x="773" y="207"/>
                      <a:pt x="772" y="207"/>
                      <a:pt x="772" y="208"/>
                    </a:cubicBezTo>
                    <a:cubicBezTo>
                      <a:pt x="772" y="208"/>
                      <a:pt x="773" y="208"/>
                      <a:pt x="774" y="207"/>
                    </a:cubicBezTo>
                    <a:close/>
                    <a:moveTo>
                      <a:pt x="874" y="208"/>
                    </a:moveTo>
                    <a:cubicBezTo>
                      <a:pt x="873" y="207"/>
                      <a:pt x="873" y="207"/>
                      <a:pt x="872" y="207"/>
                    </a:cubicBezTo>
                    <a:cubicBezTo>
                      <a:pt x="873" y="208"/>
                      <a:pt x="873" y="208"/>
                      <a:pt x="874" y="208"/>
                    </a:cubicBezTo>
                    <a:close/>
                    <a:moveTo>
                      <a:pt x="909" y="207"/>
                    </a:moveTo>
                    <a:cubicBezTo>
                      <a:pt x="908" y="207"/>
                      <a:pt x="908" y="207"/>
                      <a:pt x="907" y="208"/>
                    </a:cubicBezTo>
                    <a:cubicBezTo>
                      <a:pt x="908" y="208"/>
                      <a:pt x="908" y="208"/>
                      <a:pt x="909" y="207"/>
                    </a:cubicBezTo>
                    <a:close/>
                    <a:moveTo>
                      <a:pt x="1126" y="208"/>
                    </a:moveTo>
                    <a:cubicBezTo>
                      <a:pt x="1126" y="208"/>
                      <a:pt x="1125" y="207"/>
                      <a:pt x="1124" y="207"/>
                    </a:cubicBezTo>
                    <a:cubicBezTo>
                      <a:pt x="1125" y="208"/>
                      <a:pt x="1125" y="208"/>
                      <a:pt x="1126" y="208"/>
                    </a:cubicBezTo>
                    <a:close/>
                    <a:moveTo>
                      <a:pt x="1160" y="207"/>
                    </a:moveTo>
                    <a:cubicBezTo>
                      <a:pt x="1159" y="207"/>
                      <a:pt x="1159" y="207"/>
                      <a:pt x="1158" y="208"/>
                    </a:cubicBezTo>
                    <a:cubicBezTo>
                      <a:pt x="1159" y="208"/>
                      <a:pt x="1159" y="208"/>
                      <a:pt x="1160" y="207"/>
                    </a:cubicBezTo>
                    <a:close/>
                    <a:moveTo>
                      <a:pt x="1262" y="208"/>
                    </a:moveTo>
                    <a:cubicBezTo>
                      <a:pt x="1261" y="207"/>
                      <a:pt x="1260" y="207"/>
                      <a:pt x="1260" y="207"/>
                    </a:cubicBezTo>
                    <a:cubicBezTo>
                      <a:pt x="1260" y="208"/>
                      <a:pt x="1261" y="208"/>
                      <a:pt x="1262" y="208"/>
                    </a:cubicBezTo>
                    <a:close/>
                    <a:moveTo>
                      <a:pt x="1298" y="207"/>
                    </a:moveTo>
                    <a:cubicBezTo>
                      <a:pt x="1298" y="207"/>
                      <a:pt x="1297" y="207"/>
                      <a:pt x="1296" y="208"/>
                    </a:cubicBezTo>
                    <a:cubicBezTo>
                      <a:pt x="1297" y="208"/>
                      <a:pt x="1298" y="208"/>
                      <a:pt x="1298" y="207"/>
                    </a:cubicBezTo>
                    <a:close/>
                    <a:moveTo>
                      <a:pt x="1378" y="208"/>
                    </a:moveTo>
                    <a:cubicBezTo>
                      <a:pt x="1378" y="207"/>
                      <a:pt x="1377" y="207"/>
                      <a:pt x="1377" y="207"/>
                    </a:cubicBezTo>
                    <a:cubicBezTo>
                      <a:pt x="1377" y="208"/>
                      <a:pt x="1378" y="208"/>
                      <a:pt x="1378" y="208"/>
                    </a:cubicBezTo>
                    <a:close/>
                    <a:moveTo>
                      <a:pt x="486" y="177"/>
                    </a:moveTo>
                    <a:cubicBezTo>
                      <a:pt x="487" y="176"/>
                      <a:pt x="487" y="175"/>
                      <a:pt x="487" y="175"/>
                    </a:cubicBezTo>
                    <a:cubicBezTo>
                      <a:pt x="486" y="175"/>
                      <a:pt x="486" y="176"/>
                      <a:pt x="486" y="177"/>
                    </a:cubicBezTo>
                    <a:close/>
                    <a:moveTo>
                      <a:pt x="1669" y="208"/>
                    </a:moveTo>
                    <a:cubicBezTo>
                      <a:pt x="1668" y="207"/>
                      <a:pt x="1667" y="207"/>
                      <a:pt x="1667" y="207"/>
                    </a:cubicBezTo>
                    <a:cubicBezTo>
                      <a:pt x="1667" y="208"/>
                      <a:pt x="1668" y="208"/>
                      <a:pt x="1669" y="208"/>
                    </a:cubicBezTo>
                    <a:close/>
                    <a:moveTo>
                      <a:pt x="414" y="175"/>
                    </a:moveTo>
                    <a:cubicBezTo>
                      <a:pt x="413" y="175"/>
                      <a:pt x="413" y="176"/>
                      <a:pt x="413" y="176"/>
                    </a:cubicBezTo>
                    <a:cubicBezTo>
                      <a:pt x="414" y="176"/>
                      <a:pt x="414" y="175"/>
                      <a:pt x="414" y="175"/>
                    </a:cubicBezTo>
                    <a:close/>
                    <a:moveTo>
                      <a:pt x="745" y="209"/>
                    </a:moveTo>
                    <a:cubicBezTo>
                      <a:pt x="744" y="208"/>
                      <a:pt x="744" y="208"/>
                      <a:pt x="743" y="208"/>
                    </a:cubicBezTo>
                    <a:cubicBezTo>
                      <a:pt x="744" y="209"/>
                      <a:pt x="744" y="209"/>
                      <a:pt x="745" y="209"/>
                    </a:cubicBezTo>
                    <a:close/>
                    <a:moveTo>
                      <a:pt x="772" y="208"/>
                    </a:moveTo>
                    <a:cubicBezTo>
                      <a:pt x="771" y="208"/>
                      <a:pt x="770" y="208"/>
                      <a:pt x="770" y="209"/>
                    </a:cubicBezTo>
                    <a:cubicBezTo>
                      <a:pt x="771" y="209"/>
                      <a:pt x="771" y="209"/>
                      <a:pt x="772" y="208"/>
                    </a:cubicBezTo>
                    <a:close/>
                    <a:moveTo>
                      <a:pt x="876" y="209"/>
                    </a:moveTo>
                    <a:cubicBezTo>
                      <a:pt x="876" y="208"/>
                      <a:pt x="875" y="208"/>
                      <a:pt x="874" y="208"/>
                    </a:cubicBezTo>
                    <a:cubicBezTo>
                      <a:pt x="875" y="209"/>
                      <a:pt x="876" y="209"/>
                      <a:pt x="876" y="209"/>
                    </a:cubicBezTo>
                    <a:close/>
                    <a:moveTo>
                      <a:pt x="456" y="74"/>
                    </a:moveTo>
                    <a:cubicBezTo>
                      <a:pt x="456" y="75"/>
                      <a:pt x="456" y="76"/>
                      <a:pt x="456" y="76"/>
                    </a:cubicBezTo>
                    <a:cubicBezTo>
                      <a:pt x="456" y="76"/>
                      <a:pt x="456" y="75"/>
                      <a:pt x="456" y="74"/>
                    </a:cubicBezTo>
                    <a:close/>
                    <a:moveTo>
                      <a:pt x="1036" y="138"/>
                    </a:moveTo>
                    <a:cubicBezTo>
                      <a:pt x="1036" y="138"/>
                      <a:pt x="1036" y="137"/>
                      <a:pt x="1035" y="137"/>
                    </a:cubicBezTo>
                    <a:cubicBezTo>
                      <a:pt x="1035" y="137"/>
                      <a:pt x="1035" y="138"/>
                      <a:pt x="1036" y="138"/>
                    </a:cubicBezTo>
                    <a:close/>
                    <a:moveTo>
                      <a:pt x="1158" y="208"/>
                    </a:moveTo>
                    <a:cubicBezTo>
                      <a:pt x="1157" y="208"/>
                      <a:pt x="1156" y="208"/>
                      <a:pt x="1156" y="209"/>
                    </a:cubicBezTo>
                    <a:cubicBezTo>
                      <a:pt x="1156" y="209"/>
                      <a:pt x="1157" y="209"/>
                      <a:pt x="1158" y="208"/>
                    </a:cubicBezTo>
                    <a:close/>
                    <a:moveTo>
                      <a:pt x="1093" y="144"/>
                    </a:moveTo>
                    <a:cubicBezTo>
                      <a:pt x="1093" y="145"/>
                      <a:pt x="1093" y="145"/>
                      <a:pt x="1093" y="146"/>
                    </a:cubicBezTo>
                    <a:cubicBezTo>
                      <a:pt x="1093" y="145"/>
                      <a:pt x="1093" y="145"/>
                      <a:pt x="1093" y="144"/>
                    </a:cubicBezTo>
                    <a:close/>
                    <a:moveTo>
                      <a:pt x="1164" y="176"/>
                    </a:moveTo>
                    <a:cubicBezTo>
                      <a:pt x="1164" y="175"/>
                      <a:pt x="1164" y="174"/>
                      <a:pt x="1163" y="174"/>
                    </a:cubicBezTo>
                    <a:cubicBezTo>
                      <a:pt x="1163" y="175"/>
                      <a:pt x="1163" y="175"/>
                      <a:pt x="1164" y="176"/>
                    </a:cubicBezTo>
                    <a:close/>
                    <a:moveTo>
                      <a:pt x="513" y="77"/>
                    </a:moveTo>
                    <a:cubicBezTo>
                      <a:pt x="513" y="76"/>
                      <a:pt x="513" y="76"/>
                      <a:pt x="513" y="75"/>
                    </a:cubicBezTo>
                    <a:cubicBezTo>
                      <a:pt x="513" y="76"/>
                      <a:pt x="513" y="76"/>
                      <a:pt x="513" y="77"/>
                    </a:cubicBezTo>
                    <a:close/>
                    <a:moveTo>
                      <a:pt x="533" y="76"/>
                    </a:moveTo>
                    <a:cubicBezTo>
                      <a:pt x="532" y="77"/>
                      <a:pt x="532" y="77"/>
                      <a:pt x="532" y="78"/>
                    </a:cubicBezTo>
                    <a:cubicBezTo>
                      <a:pt x="533" y="77"/>
                      <a:pt x="533" y="77"/>
                      <a:pt x="533" y="76"/>
                    </a:cubicBezTo>
                    <a:close/>
                    <a:moveTo>
                      <a:pt x="976" y="115"/>
                    </a:moveTo>
                    <a:cubicBezTo>
                      <a:pt x="976" y="116"/>
                      <a:pt x="976" y="117"/>
                      <a:pt x="977" y="117"/>
                    </a:cubicBezTo>
                    <a:cubicBezTo>
                      <a:pt x="977" y="117"/>
                      <a:pt x="977" y="116"/>
                      <a:pt x="976" y="115"/>
                    </a:cubicBezTo>
                    <a:close/>
                    <a:moveTo>
                      <a:pt x="456" y="77"/>
                    </a:moveTo>
                    <a:cubicBezTo>
                      <a:pt x="456" y="77"/>
                      <a:pt x="456" y="78"/>
                      <a:pt x="457" y="79"/>
                    </a:cubicBezTo>
                    <a:cubicBezTo>
                      <a:pt x="457" y="78"/>
                      <a:pt x="457" y="77"/>
                      <a:pt x="456" y="77"/>
                    </a:cubicBezTo>
                    <a:close/>
                    <a:moveTo>
                      <a:pt x="1068" y="176"/>
                    </a:moveTo>
                    <a:cubicBezTo>
                      <a:pt x="1068" y="175"/>
                      <a:pt x="1068" y="175"/>
                      <a:pt x="1068" y="174"/>
                    </a:cubicBezTo>
                    <a:cubicBezTo>
                      <a:pt x="1068" y="175"/>
                      <a:pt x="1068" y="175"/>
                      <a:pt x="1068" y="176"/>
                    </a:cubicBezTo>
                    <a:close/>
                    <a:moveTo>
                      <a:pt x="512" y="79"/>
                    </a:moveTo>
                    <a:cubicBezTo>
                      <a:pt x="513" y="79"/>
                      <a:pt x="513" y="78"/>
                      <a:pt x="513" y="77"/>
                    </a:cubicBezTo>
                    <a:cubicBezTo>
                      <a:pt x="512" y="78"/>
                      <a:pt x="512" y="79"/>
                      <a:pt x="512" y="79"/>
                    </a:cubicBezTo>
                    <a:close/>
                    <a:moveTo>
                      <a:pt x="1045" y="115"/>
                    </a:moveTo>
                    <a:cubicBezTo>
                      <a:pt x="1045" y="116"/>
                      <a:pt x="1045" y="117"/>
                      <a:pt x="1046" y="117"/>
                    </a:cubicBezTo>
                    <a:cubicBezTo>
                      <a:pt x="1046" y="116"/>
                      <a:pt x="1046" y="116"/>
                      <a:pt x="1045" y="115"/>
                    </a:cubicBezTo>
                    <a:close/>
                    <a:moveTo>
                      <a:pt x="1102" y="115"/>
                    </a:moveTo>
                    <a:cubicBezTo>
                      <a:pt x="1101" y="116"/>
                      <a:pt x="1101" y="116"/>
                      <a:pt x="1101" y="117"/>
                    </a:cubicBezTo>
                    <a:cubicBezTo>
                      <a:pt x="1102" y="117"/>
                      <a:pt x="1102" y="116"/>
                      <a:pt x="1102" y="115"/>
                    </a:cubicBezTo>
                    <a:close/>
                    <a:moveTo>
                      <a:pt x="532" y="78"/>
                    </a:moveTo>
                    <a:cubicBezTo>
                      <a:pt x="532" y="79"/>
                      <a:pt x="532" y="79"/>
                      <a:pt x="532" y="80"/>
                    </a:cubicBezTo>
                    <a:cubicBezTo>
                      <a:pt x="532" y="80"/>
                      <a:pt x="532" y="79"/>
                      <a:pt x="532" y="78"/>
                    </a:cubicBezTo>
                    <a:close/>
                    <a:moveTo>
                      <a:pt x="1116" y="117"/>
                    </a:moveTo>
                    <a:cubicBezTo>
                      <a:pt x="1116" y="117"/>
                      <a:pt x="1116" y="116"/>
                      <a:pt x="1116" y="115"/>
                    </a:cubicBezTo>
                    <a:cubicBezTo>
                      <a:pt x="1116" y="116"/>
                      <a:pt x="1116" y="116"/>
                      <a:pt x="1116" y="117"/>
                    </a:cubicBezTo>
                    <a:close/>
                    <a:moveTo>
                      <a:pt x="457" y="79"/>
                    </a:moveTo>
                    <a:cubicBezTo>
                      <a:pt x="457" y="80"/>
                      <a:pt x="457" y="80"/>
                      <a:pt x="457" y="81"/>
                    </a:cubicBezTo>
                    <a:cubicBezTo>
                      <a:pt x="457" y="80"/>
                      <a:pt x="458" y="79"/>
                      <a:pt x="457" y="79"/>
                    </a:cubicBezTo>
                    <a:close/>
                    <a:moveTo>
                      <a:pt x="512" y="81"/>
                    </a:moveTo>
                    <a:cubicBezTo>
                      <a:pt x="512" y="81"/>
                      <a:pt x="512" y="80"/>
                      <a:pt x="512" y="80"/>
                    </a:cubicBezTo>
                    <a:cubicBezTo>
                      <a:pt x="511" y="80"/>
                      <a:pt x="512" y="81"/>
                      <a:pt x="512" y="81"/>
                    </a:cubicBezTo>
                    <a:close/>
                    <a:moveTo>
                      <a:pt x="1076" y="146"/>
                    </a:moveTo>
                    <a:cubicBezTo>
                      <a:pt x="1076" y="145"/>
                      <a:pt x="1077" y="145"/>
                      <a:pt x="1076" y="144"/>
                    </a:cubicBezTo>
                    <a:cubicBezTo>
                      <a:pt x="1076" y="145"/>
                      <a:pt x="1076" y="145"/>
                      <a:pt x="1076" y="146"/>
                    </a:cubicBezTo>
                    <a:close/>
                    <a:moveTo>
                      <a:pt x="532" y="80"/>
                    </a:moveTo>
                    <a:cubicBezTo>
                      <a:pt x="531" y="81"/>
                      <a:pt x="531" y="81"/>
                      <a:pt x="531" y="82"/>
                    </a:cubicBezTo>
                    <a:cubicBezTo>
                      <a:pt x="532" y="81"/>
                      <a:pt x="532" y="81"/>
                      <a:pt x="532" y="80"/>
                    </a:cubicBezTo>
                    <a:close/>
                    <a:moveTo>
                      <a:pt x="457" y="81"/>
                    </a:moveTo>
                    <a:cubicBezTo>
                      <a:pt x="457" y="81"/>
                      <a:pt x="457" y="82"/>
                      <a:pt x="458" y="83"/>
                    </a:cubicBezTo>
                    <a:cubicBezTo>
                      <a:pt x="458" y="82"/>
                      <a:pt x="458" y="81"/>
                      <a:pt x="457" y="81"/>
                    </a:cubicBezTo>
                    <a:close/>
                    <a:moveTo>
                      <a:pt x="1010" y="139"/>
                    </a:moveTo>
                    <a:cubicBezTo>
                      <a:pt x="1011" y="138"/>
                      <a:pt x="1011" y="137"/>
                      <a:pt x="1011" y="137"/>
                    </a:cubicBezTo>
                    <a:cubicBezTo>
                      <a:pt x="1010" y="137"/>
                      <a:pt x="1010" y="138"/>
                      <a:pt x="1010" y="139"/>
                    </a:cubicBezTo>
                    <a:close/>
                    <a:moveTo>
                      <a:pt x="511" y="84"/>
                    </a:moveTo>
                    <a:cubicBezTo>
                      <a:pt x="511" y="83"/>
                      <a:pt x="512" y="83"/>
                      <a:pt x="511" y="82"/>
                    </a:cubicBezTo>
                    <a:cubicBezTo>
                      <a:pt x="511" y="82"/>
                      <a:pt x="511" y="83"/>
                      <a:pt x="511" y="84"/>
                    </a:cubicBezTo>
                    <a:close/>
                    <a:moveTo>
                      <a:pt x="531" y="82"/>
                    </a:moveTo>
                    <a:cubicBezTo>
                      <a:pt x="531" y="83"/>
                      <a:pt x="530" y="84"/>
                      <a:pt x="531" y="84"/>
                    </a:cubicBezTo>
                    <a:cubicBezTo>
                      <a:pt x="531" y="84"/>
                      <a:pt x="531" y="83"/>
                      <a:pt x="531" y="82"/>
                    </a:cubicBezTo>
                    <a:close/>
                    <a:moveTo>
                      <a:pt x="458" y="83"/>
                    </a:moveTo>
                    <a:cubicBezTo>
                      <a:pt x="458" y="84"/>
                      <a:pt x="458" y="84"/>
                      <a:pt x="459" y="85"/>
                    </a:cubicBezTo>
                    <a:cubicBezTo>
                      <a:pt x="459" y="84"/>
                      <a:pt x="459" y="84"/>
                      <a:pt x="458" y="83"/>
                    </a:cubicBezTo>
                    <a:close/>
                    <a:moveTo>
                      <a:pt x="510" y="86"/>
                    </a:moveTo>
                    <a:cubicBezTo>
                      <a:pt x="511" y="85"/>
                      <a:pt x="511" y="84"/>
                      <a:pt x="511" y="84"/>
                    </a:cubicBezTo>
                    <a:cubicBezTo>
                      <a:pt x="510" y="84"/>
                      <a:pt x="510" y="85"/>
                      <a:pt x="510" y="86"/>
                    </a:cubicBezTo>
                    <a:close/>
                    <a:moveTo>
                      <a:pt x="992" y="174"/>
                    </a:moveTo>
                    <a:cubicBezTo>
                      <a:pt x="992" y="175"/>
                      <a:pt x="992" y="175"/>
                      <a:pt x="993" y="176"/>
                    </a:cubicBezTo>
                    <a:cubicBezTo>
                      <a:pt x="993" y="175"/>
                      <a:pt x="993" y="175"/>
                      <a:pt x="992" y="174"/>
                    </a:cubicBezTo>
                    <a:close/>
                    <a:moveTo>
                      <a:pt x="531" y="84"/>
                    </a:moveTo>
                    <a:cubicBezTo>
                      <a:pt x="530" y="85"/>
                      <a:pt x="530" y="85"/>
                      <a:pt x="530" y="86"/>
                    </a:cubicBezTo>
                    <a:cubicBezTo>
                      <a:pt x="531" y="85"/>
                      <a:pt x="531" y="85"/>
                      <a:pt x="531" y="84"/>
                    </a:cubicBezTo>
                    <a:close/>
                    <a:moveTo>
                      <a:pt x="1051" y="134"/>
                    </a:moveTo>
                    <a:cubicBezTo>
                      <a:pt x="1051" y="134"/>
                      <a:pt x="1051" y="135"/>
                      <a:pt x="1051" y="136"/>
                    </a:cubicBezTo>
                    <a:cubicBezTo>
                      <a:pt x="1051" y="135"/>
                      <a:pt x="1051" y="134"/>
                      <a:pt x="1051" y="134"/>
                    </a:cubicBezTo>
                    <a:close/>
                    <a:moveTo>
                      <a:pt x="440" y="87"/>
                    </a:moveTo>
                    <a:cubicBezTo>
                      <a:pt x="440" y="86"/>
                      <a:pt x="440" y="86"/>
                      <a:pt x="440" y="85"/>
                    </a:cubicBezTo>
                    <a:cubicBezTo>
                      <a:pt x="440" y="86"/>
                      <a:pt x="439" y="87"/>
                      <a:pt x="440" y="87"/>
                    </a:cubicBezTo>
                    <a:close/>
                    <a:moveTo>
                      <a:pt x="459" y="85"/>
                    </a:moveTo>
                    <a:cubicBezTo>
                      <a:pt x="459" y="86"/>
                      <a:pt x="459" y="87"/>
                      <a:pt x="459" y="87"/>
                    </a:cubicBezTo>
                    <a:cubicBezTo>
                      <a:pt x="459" y="86"/>
                      <a:pt x="459" y="86"/>
                      <a:pt x="459" y="85"/>
                    </a:cubicBezTo>
                    <a:close/>
                    <a:moveTo>
                      <a:pt x="510" y="88"/>
                    </a:moveTo>
                    <a:cubicBezTo>
                      <a:pt x="510" y="87"/>
                      <a:pt x="510" y="87"/>
                      <a:pt x="510" y="86"/>
                    </a:cubicBezTo>
                    <a:cubicBezTo>
                      <a:pt x="510" y="86"/>
                      <a:pt x="510" y="87"/>
                      <a:pt x="510" y="88"/>
                    </a:cubicBezTo>
                    <a:close/>
                    <a:moveTo>
                      <a:pt x="530" y="86"/>
                    </a:moveTo>
                    <a:cubicBezTo>
                      <a:pt x="529" y="87"/>
                      <a:pt x="529" y="88"/>
                      <a:pt x="529" y="88"/>
                    </a:cubicBezTo>
                    <a:cubicBezTo>
                      <a:pt x="530" y="88"/>
                      <a:pt x="530" y="87"/>
                      <a:pt x="530" y="86"/>
                    </a:cubicBezTo>
                    <a:close/>
                    <a:moveTo>
                      <a:pt x="438" y="87"/>
                    </a:moveTo>
                    <a:cubicBezTo>
                      <a:pt x="438" y="88"/>
                      <a:pt x="438" y="88"/>
                      <a:pt x="438" y="89"/>
                    </a:cubicBezTo>
                    <a:cubicBezTo>
                      <a:pt x="439" y="88"/>
                      <a:pt x="438" y="88"/>
                      <a:pt x="438" y="87"/>
                    </a:cubicBezTo>
                    <a:close/>
                    <a:moveTo>
                      <a:pt x="441" y="89"/>
                    </a:moveTo>
                    <a:cubicBezTo>
                      <a:pt x="441" y="88"/>
                      <a:pt x="441" y="88"/>
                      <a:pt x="440" y="87"/>
                    </a:cubicBezTo>
                    <a:cubicBezTo>
                      <a:pt x="440" y="88"/>
                      <a:pt x="440" y="88"/>
                      <a:pt x="441" y="89"/>
                    </a:cubicBezTo>
                    <a:close/>
                    <a:moveTo>
                      <a:pt x="459" y="87"/>
                    </a:moveTo>
                    <a:cubicBezTo>
                      <a:pt x="459" y="88"/>
                      <a:pt x="459" y="88"/>
                      <a:pt x="460" y="89"/>
                    </a:cubicBezTo>
                    <a:cubicBezTo>
                      <a:pt x="460" y="88"/>
                      <a:pt x="460" y="88"/>
                      <a:pt x="459" y="87"/>
                    </a:cubicBezTo>
                    <a:close/>
                    <a:moveTo>
                      <a:pt x="509" y="90"/>
                    </a:moveTo>
                    <a:cubicBezTo>
                      <a:pt x="510" y="90"/>
                      <a:pt x="510" y="89"/>
                      <a:pt x="510" y="88"/>
                    </a:cubicBezTo>
                    <a:cubicBezTo>
                      <a:pt x="509" y="89"/>
                      <a:pt x="509" y="89"/>
                      <a:pt x="509" y="90"/>
                    </a:cubicBezTo>
                    <a:close/>
                    <a:moveTo>
                      <a:pt x="529" y="88"/>
                    </a:moveTo>
                    <a:cubicBezTo>
                      <a:pt x="529" y="89"/>
                      <a:pt x="529" y="89"/>
                      <a:pt x="529" y="90"/>
                    </a:cubicBezTo>
                    <a:cubicBezTo>
                      <a:pt x="529" y="90"/>
                      <a:pt x="529" y="89"/>
                      <a:pt x="529" y="88"/>
                    </a:cubicBezTo>
                    <a:close/>
                    <a:moveTo>
                      <a:pt x="1346" y="133"/>
                    </a:moveTo>
                    <a:cubicBezTo>
                      <a:pt x="1346" y="132"/>
                      <a:pt x="1347" y="132"/>
                      <a:pt x="1347" y="131"/>
                    </a:cubicBezTo>
                    <a:cubicBezTo>
                      <a:pt x="1346" y="131"/>
                      <a:pt x="1346" y="132"/>
                      <a:pt x="1346" y="133"/>
                    </a:cubicBezTo>
                    <a:close/>
                    <a:moveTo>
                      <a:pt x="849" y="112"/>
                    </a:moveTo>
                    <a:cubicBezTo>
                      <a:pt x="849" y="112"/>
                      <a:pt x="850" y="111"/>
                      <a:pt x="850" y="111"/>
                    </a:cubicBezTo>
                    <a:cubicBezTo>
                      <a:pt x="849" y="111"/>
                      <a:pt x="849" y="111"/>
                      <a:pt x="849" y="112"/>
                    </a:cubicBezTo>
                    <a:close/>
                    <a:moveTo>
                      <a:pt x="957" y="112"/>
                    </a:moveTo>
                    <a:cubicBezTo>
                      <a:pt x="957" y="111"/>
                      <a:pt x="957" y="111"/>
                      <a:pt x="956" y="110"/>
                    </a:cubicBezTo>
                    <a:cubicBezTo>
                      <a:pt x="956" y="111"/>
                      <a:pt x="956" y="112"/>
                      <a:pt x="957" y="112"/>
                    </a:cubicBezTo>
                    <a:close/>
                    <a:moveTo>
                      <a:pt x="1018" y="112"/>
                    </a:moveTo>
                    <a:cubicBezTo>
                      <a:pt x="1019" y="112"/>
                      <a:pt x="1019" y="111"/>
                      <a:pt x="1019" y="111"/>
                    </a:cubicBezTo>
                    <a:cubicBezTo>
                      <a:pt x="1018" y="111"/>
                      <a:pt x="1018" y="112"/>
                      <a:pt x="1018" y="112"/>
                    </a:cubicBezTo>
                    <a:close/>
                    <a:moveTo>
                      <a:pt x="1142" y="111"/>
                    </a:moveTo>
                    <a:cubicBezTo>
                      <a:pt x="1142" y="111"/>
                      <a:pt x="1141" y="111"/>
                      <a:pt x="1141" y="111"/>
                    </a:cubicBezTo>
                    <a:cubicBezTo>
                      <a:pt x="1141" y="111"/>
                      <a:pt x="1142" y="111"/>
                      <a:pt x="1142" y="111"/>
                    </a:cubicBezTo>
                    <a:close/>
                    <a:moveTo>
                      <a:pt x="1168" y="111"/>
                    </a:moveTo>
                    <a:cubicBezTo>
                      <a:pt x="1167" y="111"/>
                      <a:pt x="1167" y="111"/>
                      <a:pt x="1166" y="111"/>
                    </a:cubicBezTo>
                    <a:cubicBezTo>
                      <a:pt x="1167" y="111"/>
                      <a:pt x="1167" y="111"/>
                      <a:pt x="1168" y="111"/>
                    </a:cubicBezTo>
                    <a:close/>
                    <a:moveTo>
                      <a:pt x="1249" y="112"/>
                    </a:moveTo>
                    <a:cubicBezTo>
                      <a:pt x="1249" y="111"/>
                      <a:pt x="1248" y="111"/>
                      <a:pt x="1248" y="111"/>
                    </a:cubicBezTo>
                    <a:cubicBezTo>
                      <a:pt x="1248" y="111"/>
                      <a:pt x="1248" y="112"/>
                      <a:pt x="1249" y="112"/>
                    </a:cubicBezTo>
                    <a:close/>
                    <a:moveTo>
                      <a:pt x="1274" y="111"/>
                    </a:moveTo>
                    <a:cubicBezTo>
                      <a:pt x="1274" y="111"/>
                      <a:pt x="1274" y="111"/>
                      <a:pt x="1275" y="111"/>
                    </a:cubicBezTo>
                    <a:cubicBezTo>
                      <a:pt x="1274" y="111"/>
                      <a:pt x="1274" y="111"/>
                      <a:pt x="1274" y="111"/>
                    </a:cubicBezTo>
                    <a:close/>
                    <a:moveTo>
                      <a:pt x="1356" y="112"/>
                    </a:moveTo>
                    <a:cubicBezTo>
                      <a:pt x="1357" y="112"/>
                      <a:pt x="1357" y="111"/>
                      <a:pt x="1357" y="111"/>
                    </a:cubicBezTo>
                    <a:cubicBezTo>
                      <a:pt x="1357" y="111"/>
                      <a:pt x="1356" y="111"/>
                      <a:pt x="1356" y="112"/>
                    </a:cubicBezTo>
                    <a:close/>
                    <a:moveTo>
                      <a:pt x="1481" y="112"/>
                    </a:moveTo>
                    <a:cubicBezTo>
                      <a:pt x="1482" y="112"/>
                      <a:pt x="1482" y="111"/>
                      <a:pt x="1482" y="111"/>
                    </a:cubicBezTo>
                    <a:cubicBezTo>
                      <a:pt x="1481" y="111"/>
                      <a:pt x="1481" y="111"/>
                      <a:pt x="1481" y="112"/>
                    </a:cubicBezTo>
                    <a:close/>
                    <a:moveTo>
                      <a:pt x="1606" y="112"/>
                    </a:moveTo>
                    <a:cubicBezTo>
                      <a:pt x="1606" y="112"/>
                      <a:pt x="1606" y="111"/>
                      <a:pt x="1606" y="111"/>
                    </a:cubicBezTo>
                    <a:cubicBezTo>
                      <a:pt x="1606" y="111"/>
                      <a:pt x="1606" y="111"/>
                      <a:pt x="1606" y="112"/>
                    </a:cubicBezTo>
                    <a:close/>
                    <a:moveTo>
                      <a:pt x="1722" y="111"/>
                    </a:moveTo>
                    <a:cubicBezTo>
                      <a:pt x="1722" y="111"/>
                      <a:pt x="1722" y="112"/>
                      <a:pt x="1723" y="112"/>
                    </a:cubicBezTo>
                    <a:cubicBezTo>
                      <a:pt x="1723" y="111"/>
                      <a:pt x="1722" y="111"/>
                      <a:pt x="1722" y="111"/>
                    </a:cubicBezTo>
                    <a:close/>
                    <a:moveTo>
                      <a:pt x="618" y="112"/>
                    </a:moveTo>
                    <a:cubicBezTo>
                      <a:pt x="618" y="112"/>
                      <a:pt x="619" y="112"/>
                      <a:pt x="619" y="111"/>
                    </a:cubicBezTo>
                    <a:cubicBezTo>
                      <a:pt x="618" y="111"/>
                      <a:pt x="618" y="112"/>
                      <a:pt x="618" y="112"/>
                    </a:cubicBezTo>
                    <a:close/>
                    <a:moveTo>
                      <a:pt x="635" y="111"/>
                    </a:moveTo>
                    <a:cubicBezTo>
                      <a:pt x="635" y="111"/>
                      <a:pt x="634" y="111"/>
                      <a:pt x="634" y="112"/>
                    </a:cubicBezTo>
                    <a:cubicBezTo>
                      <a:pt x="635" y="112"/>
                      <a:pt x="635" y="112"/>
                      <a:pt x="635" y="111"/>
                    </a:cubicBezTo>
                    <a:close/>
                    <a:moveTo>
                      <a:pt x="661" y="112"/>
                    </a:moveTo>
                    <a:cubicBezTo>
                      <a:pt x="660" y="111"/>
                      <a:pt x="660" y="111"/>
                      <a:pt x="660" y="111"/>
                    </a:cubicBezTo>
                    <a:cubicBezTo>
                      <a:pt x="660" y="112"/>
                      <a:pt x="660" y="112"/>
                      <a:pt x="661" y="112"/>
                    </a:cubicBezTo>
                    <a:close/>
                    <a:moveTo>
                      <a:pt x="723" y="112"/>
                    </a:moveTo>
                    <a:cubicBezTo>
                      <a:pt x="723" y="112"/>
                      <a:pt x="724" y="112"/>
                      <a:pt x="724" y="111"/>
                    </a:cubicBezTo>
                    <a:cubicBezTo>
                      <a:pt x="723" y="111"/>
                      <a:pt x="723" y="112"/>
                      <a:pt x="723" y="112"/>
                    </a:cubicBezTo>
                    <a:close/>
                    <a:moveTo>
                      <a:pt x="1117" y="113"/>
                    </a:moveTo>
                    <a:cubicBezTo>
                      <a:pt x="1118" y="112"/>
                      <a:pt x="1118" y="112"/>
                      <a:pt x="1118" y="111"/>
                    </a:cubicBezTo>
                    <a:cubicBezTo>
                      <a:pt x="1117" y="112"/>
                      <a:pt x="1117" y="112"/>
                      <a:pt x="1117" y="113"/>
                    </a:cubicBezTo>
                    <a:close/>
                    <a:moveTo>
                      <a:pt x="1625" y="111"/>
                    </a:moveTo>
                    <a:cubicBezTo>
                      <a:pt x="1624" y="112"/>
                      <a:pt x="1624" y="112"/>
                      <a:pt x="1624" y="112"/>
                    </a:cubicBezTo>
                    <a:cubicBezTo>
                      <a:pt x="1625" y="112"/>
                      <a:pt x="1625" y="112"/>
                      <a:pt x="1625" y="111"/>
                    </a:cubicBezTo>
                    <a:close/>
                    <a:moveTo>
                      <a:pt x="1772" y="112"/>
                    </a:moveTo>
                    <a:cubicBezTo>
                      <a:pt x="1772" y="112"/>
                      <a:pt x="1772" y="112"/>
                      <a:pt x="1772" y="111"/>
                    </a:cubicBezTo>
                    <a:cubicBezTo>
                      <a:pt x="1772" y="112"/>
                      <a:pt x="1772" y="112"/>
                      <a:pt x="1772" y="112"/>
                    </a:cubicBezTo>
                    <a:close/>
                    <a:moveTo>
                      <a:pt x="431" y="112"/>
                    </a:moveTo>
                    <a:cubicBezTo>
                      <a:pt x="431" y="112"/>
                      <a:pt x="431" y="112"/>
                      <a:pt x="431" y="113"/>
                    </a:cubicBezTo>
                    <a:cubicBezTo>
                      <a:pt x="431" y="113"/>
                      <a:pt x="431" y="112"/>
                      <a:pt x="431" y="112"/>
                    </a:cubicBezTo>
                    <a:close/>
                    <a:moveTo>
                      <a:pt x="634" y="112"/>
                    </a:moveTo>
                    <a:cubicBezTo>
                      <a:pt x="634" y="112"/>
                      <a:pt x="633" y="112"/>
                      <a:pt x="633" y="112"/>
                    </a:cubicBezTo>
                    <a:cubicBezTo>
                      <a:pt x="634" y="112"/>
                      <a:pt x="634" y="112"/>
                      <a:pt x="634" y="112"/>
                    </a:cubicBezTo>
                    <a:close/>
                    <a:moveTo>
                      <a:pt x="686" y="112"/>
                    </a:moveTo>
                    <a:cubicBezTo>
                      <a:pt x="686" y="112"/>
                      <a:pt x="686" y="113"/>
                      <a:pt x="687" y="113"/>
                    </a:cubicBezTo>
                    <a:cubicBezTo>
                      <a:pt x="687" y="113"/>
                      <a:pt x="687" y="112"/>
                      <a:pt x="686" y="112"/>
                    </a:cubicBezTo>
                    <a:close/>
                    <a:moveTo>
                      <a:pt x="1103" y="112"/>
                    </a:moveTo>
                    <a:cubicBezTo>
                      <a:pt x="1102" y="112"/>
                      <a:pt x="1102" y="112"/>
                      <a:pt x="1102" y="113"/>
                    </a:cubicBezTo>
                    <a:cubicBezTo>
                      <a:pt x="1103" y="113"/>
                      <a:pt x="1103" y="112"/>
                      <a:pt x="1103" y="112"/>
                    </a:cubicBezTo>
                    <a:close/>
                    <a:moveTo>
                      <a:pt x="1170" y="112"/>
                    </a:moveTo>
                    <a:cubicBezTo>
                      <a:pt x="1170" y="112"/>
                      <a:pt x="1170" y="112"/>
                      <a:pt x="1169" y="112"/>
                    </a:cubicBezTo>
                    <a:cubicBezTo>
                      <a:pt x="1169" y="112"/>
                      <a:pt x="1170" y="112"/>
                      <a:pt x="1170" y="112"/>
                    </a:cubicBezTo>
                    <a:close/>
                    <a:moveTo>
                      <a:pt x="1275" y="112"/>
                    </a:moveTo>
                    <a:cubicBezTo>
                      <a:pt x="1275" y="112"/>
                      <a:pt x="1276" y="113"/>
                      <a:pt x="1276" y="113"/>
                    </a:cubicBezTo>
                    <a:cubicBezTo>
                      <a:pt x="1276" y="112"/>
                      <a:pt x="1276" y="112"/>
                      <a:pt x="1275" y="112"/>
                    </a:cubicBezTo>
                    <a:close/>
                    <a:moveTo>
                      <a:pt x="1432" y="112"/>
                    </a:moveTo>
                    <a:cubicBezTo>
                      <a:pt x="1432" y="112"/>
                      <a:pt x="1432" y="113"/>
                      <a:pt x="1433" y="113"/>
                    </a:cubicBezTo>
                    <a:cubicBezTo>
                      <a:pt x="1433" y="113"/>
                      <a:pt x="1433" y="112"/>
                      <a:pt x="1432" y="112"/>
                    </a:cubicBezTo>
                    <a:close/>
                    <a:moveTo>
                      <a:pt x="1481" y="113"/>
                    </a:moveTo>
                    <a:cubicBezTo>
                      <a:pt x="1481" y="113"/>
                      <a:pt x="1481" y="112"/>
                      <a:pt x="1481" y="112"/>
                    </a:cubicBezTo>
                    <a:cubicBezTo>
                      <a:pt x="1481" y="112"/>
                      <a:pt x="1481" y="113"/>
                      <a:pt x="1481" y="113"/>
                    </a:cubicBezTo>
                    <a:close/>
                    <a:moveTo>
                      <a:pt x="1515" y="112"/>
                    </a:moveTo>
                    <a:cubicBezTo>
                      <a:pt x="1515" y="112"/>
                      <a:pt x="1515" y="112"/>
                      <a:pt x="1514" y="112"/>
                    </a:cubicBezTo>
                    <a:cubicBezTo>
                      <a:pt x="1514" y="112"/>
                      <a:pt x="1515" y="112"/>
                      <a:pt x="1515" y="112"/>
                    </a:cubicBezTo>
                    <a:close/>
                    <a:moveTo>
                      <a:pt x="1806" y="112"/>
                    </a:moveTo>
                    <a:cubicBezTo>
                      <a:pt x="1805" y="112"/>
                      <a:pt x="1805" y="112"/>
                      <a:pt x="1804" y="112"/>
                    </a:cubicBezTo>
                    <a:cubicBezTo>
                      <a:pt x="1805" y="112"/>
                      <a:pt x="1805" y="112"/>
                      <a:pt x="1806" y="112"/>
                    </a:cubicBezTo>
                    <a:close/>
                    <a:moveTo>
                      <a:pt x="633" y="112"/>
                    </a:moveTo>
                    <a:cubicBezTo>
                      <a:pt x="633" y="112"/>
                      <a:pt x="632" y="113"/>
                      <a:pt x="632" y="113"/>
                    </a:cubicBezTo>
                    <a:cubicBezTo>
                      <a:pt x="632" y="113"/>
                      <a:pt x="633" y="113"/>
                      <a:pt x="633" y="112"/>
                    </a:cubicBezTo>
                    <a:close/>
                    <a:moveTo>
                      <a:pt x="662" y="113"/>
                    </a:moveTo>
                    <a:cubicBezTo>
                      <a:pt x="662" y="113"/>
                      <a:pt x="662" y="112"/>
                      <a:pt x="661" y="112"/>
                    </a:cubicBezTo>
                    <a:cubicBezTo>
                      <a:pt x="661" y="113"/>
                      <a:pt x="662" y="113"/>
                      <a:pt x="662" y="113"/>
                    </a:cubicBezTo>
                    <a:close/>
                    <a:moveTo>
                      <a:pt x="935" y="113"/>
                    </a:moveTo>
                    <a:cubicBezTo>
                      <a:pt x="935" y="113"/>
                      <a:pt x="935" y="113"/>
                      <a:pt x="936" y="114"/>
                    </a:cubicBezTo>
                    <a:cubicBezTo>
                      <a:pt x="936" y="113"/>
                      <a:pt x="936" y="113"/>
                      <a:pt x="935" y="113"/>
                    </a:cubicBezTo>
                    <a:close/>
                    <a:moveTo>
                      <a:pt x="1117" y="114"/>
                    </a:moveTo>
                    <a:cubicBezTo>
                      <a:pt x="1117" y="113"/>
                      <a:pt x="1117" y="113"/>
                      <a:pt x="1117" y="112"/>
                    </a:cubicBezTo>
                    <a:cubicBezTo>
                      <a:pt x="1117" y="113"/>
                      <a:pt x="1117" y="113"/>
                      <a:pt x="1117" y="114"/>
                    </a:cubicBezTo>
                    <a:close/>
                    <a:moveTo>
                      <a:pt x="1172" y="113"/>
                    </a:moveTo>
                    <a:cubicBezTo>
                      <a:pt x="1171" y="112"/>
                      <a:pt x="1171" y="112"/>
                      <a:pt x="1170" y="112"/>
                    </a:cubicBezTo>
                    <a:cubicBezTo>
                      <a:pt x="1171" y="113"/>
                      <a:pt x="1171" y="113"/>
                      <a:pt x="1172" y="113"/>
                    </a:cubicBezTo>
                    <a:close/>
                    <a:moveTo>
                      <a:pt x="1496" y="112"/>
                    </a:moveTo>
                    <a:cubicBezTo>
                      <a:pt x="1496" y="112"/>
                      <a:pt x="1495" y="113"/>
                      <a:pt x="1495" y="113"/>
                    </a:cubicBezTo>
                    <a:cubicBezTo>
                      <a:pt x="1496" y="113"/>
                      <a:pt x="1496" y="113"/>
                      <a:pt x="1496" y="112"/>
                    </a:cubicBezTo>
                    <a:close/>
                    <a:moveTo>
                      <a:pt x="1517" y="113"/>
                    </a:moveTo>
                    <a:cubicBezTo>
                      <a:pt x="1516" y="112"/>
                      <a:pt x="1516" y="112"/>
                      <a:pt x="1515" y="112"/>
                    </a:cubicBezTo>
                    <a:cubicBezTo>
                      <a:pt x="1516" y="113"/>
                      <a:pt x="1516" y="113"/>
                      <a:pt x="1517" y="113"/>
                    </a:cubicBezTo>
                    <a:close/>
                    <a:moveTo>
                      <a:pt x="1533" y="114"/>
                    </a:moveTo>
                    <a:cubicBezTo>
                      <a:pt x="1533" y="113"/>
                      <a:pt x="1533" y="113"/>
                      <a:pt x="1533" y="112"/>
                    </a:cubicBezTo>
                    <a:cubicBezTo>
                      <a:pt x="1533" y="113"/>
                      <a:pt x="1533" y="113"/>
                      <a:pt x="1533" y="114"/>
                    </a:cubicBezTo>
                    <a:close/>
                    <a:moveTo>
                      <a:pt x="1645" y="114"/>
                    </a:moveTo>
                    <a:cubicBezTo>
                      <a:pt x="1646" y="113"/>
                      <a:pt x="1646" y="113"/>
                      <a:pt x="1646" y="113"/>
                    </a:cubicBezTo>
                    <a:cubicBezTo>
                      <a:pt x="1646" y="113"/>
                      <a:pt x="1645" y="113"/>
                      <a:pt x="1645" y="114"/>
                    </a:cubicBezTo>
                    <a:close/>
                    <a:moveTo>
                      <a:pt x="1723" y="113"/>
                    </a:moveTo>
                    <a:cubicBezTo>
                      <a:pt x="1723" y="113"/>
                      <a:pt x="1723" y="113"/>
                      <a:pt x="1724" y="114"/>
                    </a:cubicBezTo>
                    <a:cubicBezTo>
                      <a:pt x="1724" y="113"/>
                      <a:pt x="1724" y="113"/>
                      <a:pt x="1723" y="113"/>
                    </a:cubicBezTo>
                    <a:close/>
                    <a:moveTo>
                      <a:pt x="1771" y="114"/>
                    </a:moveTo>
                    <a:cubicBezTo>
                      <a:pt x="1771" y="113"/>
                      <a:pt x="1772" y="113"/>
                      <a:pt x="1772" y="112"/>
                    </a:cubicBezTo>
                    <a:cubicBezTo>
                      <a:pt x="1771" y="113"/>
                      <a:pt x="1771" y="113"/>
                      <a:pt x="1771" y="114"/>
                    </a:cubicBezTo>
                    <a:close/>
                    <a:moveTo>
                      <a:pt x="1787" y="112"/>
                    </a:moveTo>
                    <a:cubicBezTo>
                      <a:pt x="1786" y="112"/>
                      <a:pt x="1786" y="113"/>
                      <a:pt x="1785" y="113"/>
                    </a:cubicBezTo>
                    <a:cubicBezTo>
                      <a:pt x="1786" y="113"/>
                      <a:pt x="1786" y="113"/>
                      <a:pt x="1787" y="112"/>
                    </a:cubicBezTo>
                    <a:close/>
                    <a:moveTo>
                      <a:pt x="687" y="113"/>
                    </a:moveTo>
                    <a:cubicBezTo>
                      <a:pt x="687" y="114"/>
                      <a:pt x="687" y="114"/>
                      <a:pt x="687" y="114"/>
                    </a:cubicBezTo>
                    <a:cubicBezTo>
                      <a:pt x="687" y="114"/>
                      <a:pt x="687" y="113"/>
                      <a:pt x="687" y="113"/>
                    </a:cubicBezTo>
                    <a:close/>
                    <a:moveTo>
                      <a:pt x="722" y="114"/>
                    </a:moveTo>
                    <a:cubicBezTo>
                      <a:pt x="722" y="114"/>
                      <a:pt x="722" y="114"/>
                      <a:pt x="722" y="113"/>
                    </a:cubicBezTo>
                    <a:cubicBezTo>
                      <a:pt x="722" y="113"/>
                      <a:pt x="722" y="114"/>
                      <a:pt x="722" y="114"/>
                    </a:cubicBezTo>
                    <a:close/>
                    <a:moveTo>
                      <a:pt x="1173" y="113"/>
                    </a:moveTo>
                    <a:cubicBezTo>
                      <a:pt x="1172" y="113"/>
                      <a:pt x="1172" y="113"/>
                      <a:pt x="1172" y="113"/>
                    </a:cubicBezTo>
                    <a:cubicBezTo>
                      <a:pt x="1172" y="114"/>
                      <a:pt x="1172" y="114"/>
                      <a:pt x="1173" y="113"/>
                    </a:cubicBezTo>
                    <a:close/>
                    <a:moveTo>
                      <a:pt x="1355" y="114"/>
                    </a:moveTo>
                    <a:cubicBezTo>
                      <a:pt x="1355" y="114"/>
                      <a:pt x="1355" y="114"/>
                      <a:pt x="1355" y="113"/>
                    </a:cubicBezTo>
                    <a:cubicBezTo>
                      <a:pt x="1355" y="113"/>
                      <a:pt x="1355" y="114"/>
                      <a:pt x="1355" y="114"/>
                    </a:cubicBezTo>
                    <a:close/>
                    <a:moveTo>
                      <a:pt x="1433" y="113"/>
                    </a:moveTo>
                    <a:cubicBezTo>
                      <a:pt x="1433" y="114"/>
                      <a:pt x="1433" y="114"/>
                      <a:pt x="1434" y="114"/>
                    </a:cubicBezTo>
                    <a:cubicBezTo>
                      <a:pt x="1434" y="114"/>
                      <a:pt x="1433" y="113"/>
                      <a:pt x="1433" y="113"/>
                    </a:cubicBezTo>
                    <a:close/>
                    <a:moveTo>
                      <a:pt x="1495" y="113"/>
                    </a:moveTo>
                    <a:cubicBezTo>
                      <a:pt x="1495" y="113"/>
                      <a:pt x="1494" y="113"/>
                      <a:pt x="1494" y="114"/>
                    </a:cubicBezTo>
                    <a:cubicBezTo>
                      <a:pt x="1494" y="114"/>
                      <a:pt x="1495" y="113"/>
                      <a:pt x="1495" y="113"/>
                    </a:cubicBezTo>
                    <a:close/>
                    <a:moveTo>
                      <a:pt x="1518" y="114"/>
                    </a:moveTo>
                    <a:cubicBezTo>
                      <a:pt x="1517" y="113"/>
                      <a:pt x="1517" y="113"/>
                      <a:pt x="1517" y="113"/>
                    </a:cubicBezTo>
                    <a:cubicBezTo>
                      <a:pt x="1517" y="113"/>
                      <a:pt x="1517" y="114"/>
                      <a:pt x="1518" y="114"/>
                    </a:cubicBezTo>
                    <a:close/>
                    <a:moveTo>
                      <a:pt x="1624" y="113"/>
                    </a:moveTo>
                    <a:cubicBezTo>
                      <a:pt x="1624" y="113"/>
                      <a:pt x="1624" y="114"/>
                      <a:pt x="1624" y="114"/>
                    </a:cubicBezTo>
                    <a:cubicBezTo>
                      <a:pt x="1624" y="114"/>
                      <a:pt x="1624" y="113"/>
                      <a:pt x="1624" y="113"/>
                    </a:cubicBezTo>
                    <a:close/>
                    <a:moveTo>
                      <a:pt x="847" y="115"/>
                    </a:moveTo>
                    <a:cubicBezTo>
                      <a:pt x="847" y="115"/>
                      <a:pt x="847" y="114"/>
                      <a:pt x="847" y="114"/>
                    </a:cubicBezTo>
                    <a:cubicBezTo>
                      <a:pt x="847" y="114"/>
                      <a:pt x="847" y="114"/>
                      <a:pt x="847" y="115"/>
                    </a:cubicBezTo>
                    <a:close/>
                    <a:moveTo>
                      <a:pt x="1174" y="114"/>
                    </a:moveTo>
                    <a:cubicBezTo>
                      <a:pt x="1174" y="114"/>
                      <a:pt x="1173" y="114"/>
                      <a:pt x="1173" y="113"/>
                    </a:cubicBezTo>
                    <a:cubicBezTo>
                      <a:pt x="1173" y="114"/>
                      <a:pt x="1173" y="114"/>
                      <a:pt x="1174" y="114"/>
                    </a:cubicBezTo>
                    <a:close/>
                    <a:moveTo>
                      <a:pt x="1480" y="115"/>
                    </a:moveTo>
                    <a:cubicBezTo>
                      <a:pt x="1481" y="114"/>
                      <a:pt x="1481" y="114"/>
                      <a:pt x="1481" y="114"/>
                    </a:cubicBezTo>
                    <a:cubicBezTo>
                      <a:pt x="1480" y="114"/>
                      <a:pt x="1480" y="114"/>
                      <a:pt x="1480" y="115"/>
                    </a:cubicBezTo>
                    <a:close/>
                    <a:moveTo>
                      <a:pt x="1553" y="114"/>
                    </a:moveTo>
                    <a:cubicBezTo>
                      <a:pt x="1553" y="114"/>
                      <a:pt x="1553" y="115"/>
                      <a:pt x="1553" y="115"/>
                    </a:cubicBezTo>
                    <a:cubicBezTo>
                      <a:pt x="1553" y="114"/>
                      <a:pt x="1553" y="114"/>
                      <a:pt x="1553" y="114"/>
                    </a:cubicBezTo>
                    <a:close/>
                    <a:moveTo>
                      <a:pt x="1724" y="114"/>
                    </a:moveTo>
                    <a:cubicBezTo>
                      <a:pt x="1724" y="114"/>
                      <a:pt x="1724" y="115"/>
                      <a:pt x="1724" y="115"/>
                    </a:cubicBezTo>
                    <a:cubicBezTo>
                      <a:pt x="1724" y="114"/>
                      <a:pt x="1724" y="114"/>
                      <a:pt x="1724" y="114"/>
                    </a:cubicBezTo>
                    <a:close/>
                    <a:moveTo>
                      <a:pt x="1770" y="115"/>
                    </a:moveTo>
                    <a:cubicBezTo>
                      <a:pt x="1771" y="115"/>
                      <a:pt x="1771" y="114"/>
                      <a:pt x="1771" y="114"/>
                    </a:cubicBezTo>
                    <a:cubicBezTo>
                      <a:pt x="1770" y="114"/>
                      <a:pt x="1770" y="114"/>
                      <a:pt x="1770" y="115"/>
                    </a:cubicBezTo>
                    <a:close/>
                    <a:moveTo>
                      <a:pt x="1785" y="113"/>
                    </a:moveTo>
                    <a:cubicBezTo>
                      <a:pt x="1784" y="113"/>
                      <a:pt x="1784" y="114"/>
                      <a:pt x="1784" y="114"/>
                    </a:cubicBezTo>
                    <a:cubicBezTo>
                      <a:pt x="1784" y="114"/>
                      <a:pt x="1785" y="114"/>
                      <a:pt x="1785" y="113"/>
                    </a:cubicBezTo>
                    <a:close/>
                    <a:moveTo>
                      <a:pt x="448" y="115"/>
                    </a:moveTo>
                    <a:cubicBezTo>
                      <a:pt x="448" y="115"/>
                      <a:pt x="448" y="114"/>
                      <a:pt x="448" y="114"/>
                    </a:cubicBezTo>
                    <a:cubicBezTo>
                      <a:pt x="448" y="114"/>
                      <a:pt x="448" y="115"/>
                      <a:pt x="448" y="115"/>
                    </a:cubicBezTo>
                    <a:close/>
                    <a:moveTo>
                      <a:pt x="936" y="114"/>
                    </a:moveTo>
                    <a:cubicBezTo>
                      <a:pt x="936" y="115"/>
                      <a:pt x="937" y="115"/>
                      <a:pt x="937" y="115"/>
                    </a:cubicBezTo>
                    <a:cubicBezTo>
                      <a:pt x="937" y="115"/>
                      <a:pt x="937" y="114"/>
                      <a:pt x="936" y="114"/>
                    </a:cubicBezTo>
                    <a:close/>
                    <a:moveTo>
                      <a:pt x="1175" y="115"/>
                    </a:moveTo>
                    <a:cubicBezTo>
                      <a:pt x="1175" y="114"/>
                      <a:pt x="1174" y="114"/>
                      <a:pt x="1174" y="114"/>
                    </a:cubicBezTo>
                    <a:cubicBezTo>
                      <a:pt x="1174" y="115"/>
                      <a:pt x="1174" y="115"/>
                      <a:pt x="1175" y="115"/>
                    </a:cubicBezTo>
                    <a:close/>
                    <a:moveTo>
                      <a:pt x="1279" y="114"/>
                    </a:moveTo>
                    <a:cubicBezTo>
                      <a:pt x="1279" y="115"/>
                      <a:pt x="1279" y="115"/>
                      <a:pt x="1280" y="115"/>
                    </a:cubicBezTo>
                    <a:cubicBezTo>
                      <a:pt x="1280" y="114"/>
                      <a:pt x="1279" y="114"/>
                      <a:pt x="1279" y="114"/>
                    </a:cubicBezTo>
                    <a:close/>
                    <a:moveTo>
                      <a:pt x="1493" y="114"/>
                    </a:moveTo>
                    <a:cubicBezTo>
                      <a:pt x="1493" y="114"/>
                      <a:pt x="1492" y="114"/>
                      <a:pt x="1492" y="115"/>
                    </a:cubicBezTo>
                    <a:cubicBezTo>
                      <a:pt x="1493" y="115"/>
                      <a:pt x="1493" y="115"/>
                      <a:pt x="1493" y="114"/>
                    </a:cubicBezTo>
                    <a:close/>
                    <a:moveTo>
                      <a:pt x="1534" y="115"/>
                    </a:moveTo>
                    <a:cubicBezTo>
                      <a:pt x="1534" y="115"/>
                      <a:pt x="1534" y="114"/>
                      <a:pt x="1533" y="114"/>
                    </a:cubicBezTo>
                    <a:cubicBezTo>
                      <a:pt x="1533" y="114"/>
                      <a:pt x="1533" y="115"/>
                      <a:pt x="1534" y="115"/>
                    </a:cubicBezTo>
                    <a:close/>
                    <a:moveTo>
                      <a:pt x="1624" y="114"/>
                    </a:moveTo>
                    <a:cubicBezTo>
                      <a:pt x="1623" y="114"/>
                      <a:pt x="1623" y="115"/>
                      <a:pt x="1623" y="115"/>
                    </a:cubicBezTo>
                    <a:cubicBezTo>
                      <a:pt x="1623" y="115"/>
                      <a:pt x="1624" y="115"/>
                      <a:pt x="1624" y="114"/>
                    </a:cubicBezTo>
                    <a:close/>
                    <a:moveTo>
                      <a:pt x="1644" y="115"/>
                    </a:moveTo>
                    <a:cubicBezTo>
                      <a:pt x="1645" y="115"/>
                      <a:pt x="1645" y="115"/>
                      <a:pt x="1645" y="114"/>
                    </a:cubicBezTo>
                    <a:cubicBezTo>
                      <a:pt x="1644" y="114"/>
                      <a:pt x="1644" y="115"/>
                      <a:pt x="1644" y="115"/>
                    </a:cubicBezTo>
                    <a:close/>
                    <a:moveTo>
                      <a:pt x="687" y="115"/>
                    </a:moveTo>
                    <a:cubicBezTo>
                      <a:pt x="687" y="115"/>
                      <a:pt x="687" y="116"/>
                      <a:pt x="688" y="116"/>
                    </a:cubicBezTo>
                    <a:cubicBezTo>
                      <a:pt x="688" y="115"/>
                      <a:pt x="688" y="115"/>
                      <a:pt x="687" y="115"/>
                    </a:cubicBezTo>
                    <a:close/>
                    <a:moveTo>
                      <a:pt x="721" y="116"/>
                    </a:moveTo>
                    <a:cubicBezTo>
                      <a:pt x="721" y="116"/>
                      <a:pt x="721" y="115"/>
                      <a:pt x="721" y="115"/>
                    </a:cubicBezTo>
                    <a:cubicBezTo>
                      <a:pt x="721" y="115"/>
                      <a:pt x="721" y="115"/>
                      <a:pt x="721" y="116"/>
                    </a:cubicBezTo>
                    <a:close/>
                    <a:moveTo>
                      <a:pt x="1353" y="116"/>
                    </a:moveTo>
                    <a:cubicBezTo>
                      <a:pt x="1354" y="116"/>
                      <a:pt x="1354" y="115"/>
                      <a:pt x="1354" y="115"/>
                    </a:cubicBezTo>
                    <a:cubicBezTo>
                      <a:pt x="1354" y="115"/>
                      <a:pt x="1353" y="115"/>
                      <a:pt x="1353" y="116"/>
                    </a:cubicBezTo>
                    <a:close/>
                    <a:moveTo>
                      <a:pt x="1480" y="116"/>
                    </a:moveTo>
                    <a:cubicBezTo>
                      <a:pt x="1480" y="116"/>
                      <a:pt x="1480" y="115"/>
                      <a:pt x="1480" y="115"/>
                    </a:cubicBezTo>
                    <a:cubicBezTo>
                      <a:pt x="1480" y="115"/>
                      <a:pt x="1480" y="115"/>
                      <a:pt x="1480" y="116"/>
                    </a:cubicBezTo>
                    <a:close/>
                    <a:moveTo>
                      <a:pt x="1724" y="115"/>
                    </a:moveTo>
                    <a:cubicBezTo>
                      <a:pt x="1724" y="115"/>
                      <a:pt x="1724" y="116"/>
                      <a:pt x="1725" y="116"/>
                    </a:cubicBezTo>
                    <a:cubicBezTo>
                      <a:pt x="1725" y="115"/>
                      <a:pt x="1725" y="115"/>
                      <a:pt x="1724" y="115"/>
                    </a:cubicBezTo>
                    <a:close/>
                    <a:moveTo>
                      <a:pt x="1783" y="115"/>
                    </a:moveTo>
                    <a:cubicBezTo>
                      <a:pt x="1783" y="115"/>
                      <a:pt x="1782" y="115"/>
                      <a:pt x="1782" y="115"/>
                    </a:cubicBezTo>
                    <a:cubicBezTo>
                      <a:pt x="1782" y="115"/>
                      <a:pt x="1783" y="115"/>
                      <a:pt x="1783" y="115"/>
                    </a:cubicBezTo>
                    <a:close/>
                    <a:moveTo>
                      <a:pt x="522" y="115"/>
                    </a:moveTo>
                    <a:cubicBezTo>
                      <a:pt x="521" y="115"/>
                      <a:pt x="521" y="116"/>
                      <a:pt x="521" y="116"/>
                    </a:cubicBezTo>
                    <a:cubicBezTo>
                      <a:pt x="522" y="116"/>
                      <a:pt x="522" y="116"/>
                      <a:pt x="522" y="115"/>
                    </a:cubicBezTo>
                    <a:close/>
                    <a:moveTo>
                      <a:pt x="846" y="116"/>
                    </a:moveTo>
                    <a:cubicBezTo>
                      <a:pt x="846" y="116"/>
                      <a:pt x="846" y="116"/>
                      <a:pt x="846" y="115"/>
                    </a:cubicBezTo>
                    <a:cubicBezTo>
                      <a:pt x="846" y="116"/>
                      <a:pt x="846" y="116"/>
                      <a:pt x="846" y="116"/>
                    </a:cubicBezTo>
                    <a:close/>
                    <a:moveTo>
                      <a:pt x="1177" y="116"/>
                    </a:moveTo>
                    <a:cubicBezTo>
                      <a:pt x="1176" y="115"/>
                      <a:pt x="1176" y="115"/>
                      <a:pt x="1176" y="115"/>
                    </a:cubicBezTo>
                    <a:cubicBezTo>
                      <a:pt x="1176" y="116"/>
                      <a:pt x="1176" y="116"/>
                      <a:pt x="1177" y="116"/>
                    </a:cubicBezTo>
                    <a:close/>
                    <a:moveTo>
                      <a:pt x="1280" y="115"/>
                    </a:moveTo>
                    <a:cubicBezTo>
                      <a:pt x="1281" y="116"/>
                      <a:pt x="1281" y="116"/>
                      <a:pt x="1281" y="116"/>
                    </a:cubicBezTo>
                    <a:cubicBezTo>
                      <a:pt x="1281" y="115"/>
                      <a:pt x="1281" y="115"/>
                      <a:pt x="1280" y="115"/>
                    </a:cubicBezTo>
                    <a:close/>
                    <a:moveTo>
                      <a:pt x="1553" y="115"/>
                    </a:moveTo>
                    <a:cubicBezTo>
                      <a:pt x="1553" y="116"/>
                      <a:pt x="1553" y="116"/>
                      <a:pt x="1554" y="117"/>
                    </a:cubicBezTo>
                    <a:cubicBezTo>
                      <a:pt x="1554" y="116"/>
                      <a:pt x="1554" y="116"/>
                      <a:pt x="1553" y="115"/>
                    </a:cubicBezTo>
                    <a:close/>
                    <a:moveTo>
                      <a:pt x="1604" y="117"/>
                    </a:moveTo>
                    <a:cubicBezTo>
                      <a:pt x="1605" y="116"/>
                      <a:pt x="1605" y="116"/>
                      <a:pt x="1605" y="115"/>
                    </a:cubicBezTo>
                    <a:cubicBezTo>
                      <a:pt x="1604" y="116"/>
                      <a:pt x="1604" y="116"/>
                      <a:pt x="1604" y="117"/>
                    </a:cubicBezTo>
                    <a:close/>
                    <a:moveTo>
                      <a:pt x="1770" y="117"/>
                    </a:moveTo>
                    <a:cubicBezTo>
                      <a:pt x="1770" y="116"/>
                      <a:pt x="1770" y="116"/>
                      <a:pt x="1770" y="115"/>
                    </a:cubicBezTo>
                    <a:cubicBezTo>
                      <a:pt x="1770" y="116"/>
                      <a:pt x="1770" y="116"/>
                      <a:pt x="1770" y="117"/>
                    </a:cubicBezTo>
                    <a:close/>
                    <a:moveTo>
                      <a:pt x="1435" y="116"/>
                    </a:moveTo>
                    <a:cubicBezTo>
                      <a:pt x="1435" y="116"/>
                      <a:pt x="1435" y="117"/>
                      <a:pt x="1435" y="117"/>
                    </a:cubicBezTo>
                    <a:cubicBezTo>
                      <a:pt x="1435" y="117"/>
                      <a:pt x="1435" y="116"/>
                      <a:pt x="1435" y="116"/>
                    </a:cubicBezTo>
                    <a:close/>
                    <a:moveTo>
                      <a:pt x="1623" y="116"/>
                    </a:moveTo>
                    <a:cubicBezTo>
                      <a:pt x="1622" y="116"/>
                      <a:pt x="1622" y="117"/>
                      <a:pt x="1622" y="117"/>
                    </a:cubicBezTo>
                    <a:cubicBezTo>
                      <a:pt x="1623" y="117"/>
                      <a:pt x="1623" y="116"/>
                      <a:pt x="1623" y="116"/>
                    </a:cubicBezTo>
                    <a:close/>
                    <a:moveTo>
                      <a:pt x="1643" y="117"/>
                    </a:moveTo>
                    <a:cubicBezTo>
                      <a:pt x="1644" y="117"/>
                      <a:pt x="1644" y="116"/>
                      <a:pt x="1644" y="116"/>
                    </a:cubicBezTo>
                    <a:cubicBezTo>
                      <a:pt x="1643" y="116"/>
                      <a:pt x="1643" y="117"/>
                      <a:pt x="1643" y="117"/>
                    </a:cubicBezTo>
                    <a:close/>
                    <a:moveTo>
                      <a:pt x="1725" y="116"/>
                    </a:moveTo>
                    <a:cubicBezTo>
                      <a:pt x="1725" y="116"/>
                      <a:pt x="1725" y="117"/>
                      <a:pt x="1725" y="117"/>
                    </a:cubicBezTo>
                    <a:cubicBezTo>
                      <a:pt x="1725" y="117"/>
                      <a:pt x="1725" y="116"/>
                      <a:pt x="1725" y="116"/>
                    </a:cubicBezTo>
                    <a:close/>
                    <a:moveTo>
                      <a:pt x="719" y="118"/>
                    </a:moveTo>
                    <a:cubicBezTo>
                      <a:pt x="720" y="117"/>
                      <a:pt x="720" y="117"/>
                      <a:pt x="720" y="117"/>
                    </a:cubicBezTo>
                    <a:cubicBezTo>
                      <a:pt x="720" y="117"/>
                      <a:pt x="719" y="117"/>
                      <a:pt x="719" y="118"/>
                    </a:cubicBezTo>
                    <a:close/>
                    <a:moveTo>
                      <a:pt x="958" y="118"/>
                    </a:moveTo>
                    <a:cubicBezTo>
                      <a:pt x="958" y="117"/>
                      <a:pt x="958" y="117"/>
                      <a:pt x="958" y="116"/>
                    </a:cubicBezTo>
                    <a:cubicBezTo>
                      <a:pt x="958" y="117"/>
                      <a:pt x="958" y="117"/>
                      <a:pt x="958" y="118"/>
                    </a:cubicBezTo>
                    <a:close/>
                    <a:moveTo>
                      <a:pt x="1135" y="117"/>
                    </a:moveTo>
                    <a:cubicBezTo>
                      <a:pt x="1135" y="117"/>
                      <a:pt x="1135" y="117"/>
                      <a:pt x="1135" y="118"/>
                    </a:cubicBezTo>
                    <a:cubicBezTo>
                      <a:pt x="1135" y="117"/>
                      <a:pt x="1135" y="117"/>
                      <a:pt x="1135" y="117"/>
                    </a:cubicBezTo>
                    <a:close/>
                    <a:moveTo>
                      <a:pt x="1352" y="118"/>
                    </a:moveTo>
                    <a:cubicBezTo>
                      <a:pt x="1353" y="117"/>
                      <a:pt x="1353" y="117"/>
                      <a:pt x="1353" y="117"/>
                    </a:cubicBezTo>
                    <a:cubicBezTo>
                      <a:pt x="1352" y="117"/>
                      <a:pt x="1352" y="117"/>
                      <a:pt x="1352" y="118"/>
                    </a:cubicBezTo>
                    <a:close/>
                    <a:moveTo>
                      <a:pt x="667" y="118"/>
                    </a:moveTo>
                    <a:cubicBezTo>
                      <a:pt x="667" y="118"/>
                      <a:pt x="667" y="117"/>
                      <a:pt x="666" y="117"/>
                    </a:cubicBezTo>
                    <a:cubicBezTo>
                      <a:pt x="666" y="118"/>
                      <a:pt x="667" y="118"/>
                      <a:pt x="667" y="118"/>
                    </a:cubicBezTo>
                    <a:close/>
                    <a:moveTo>
                      <a:pt x="844" y="118"/>
                    </a:moveTo>
                    <a:cubicBezTo>
                      <a:pt x="845" y="118"/>
                      <a:pt x="845" y="118"/>
                      <a:pt x="845" y="117"/>
                    </a:cubicBezTo>
                    <a:cubicBezTo>
                      <a:pt x="844" y="117"/>
                      <a:pt x="844" y="118"/>
                      <a:pt x="844" y="118"/>
                    </a:cubicBezTo>
                    <a:close/>
                    <a:moveTo>
                      <a:pt x="938" y="117"/>
                    </a:moveTo>
                    <a:cubicBezTo>
                      <a:pt x="938" y="118"/>
                      <a:pt x="938" y="118"/>
                      <a:pt x="939" y="118"/>
                    </a:cubicBezTo>
                    <a:cubicBezTo>
                      <a:pt x="939" y="118"/>
                      <a:pt x="939" y="117"/>
                      <a:pt x="938" y="117"/>
                    </a:cubicBezTo>
                    <a:close/>
                    <a:moveTo>
                      <a:pt x="1283" y="117"/>
                    </a:moveTo>
                    <a:cubicBezTo>
                      <a:pt x="1283" y="118"/>
                      <a:pt x="1284" y="118"/>
                      <a:pt x="1284" y="118"/>
                    </a:cubicBezTo>
                    <a:cubicBezTo>
                      <a:pt x="1284" y="117"/>
                      <a:pt x="1284" y="117"/>
                      <a:pt x="1283" y="117"/>
                    </a:cubicBezTo>
                    <a:close/>
                    <a:moveTo>
                      <a:pt x="1535" y="118"/>
                    </a:moveTo>
                    <a:cubicBezTo>
                      <a:pt x="1535" y="118"/>
                      <a:pt x="1535" y="117"/>
                      <a:pt x="1534" y="117"/>
                    </a:cubicBezTo>
                    <a:cubicBezTo>
                      <a:pt x="1534" y="117"/>
                      <a:pt x="1534" y="118"/>
                      <a:pt x="1535" y="118"/>
                    </a:cubicBezTo>
                    <a:close/>
                    <a:moveTo>
                      <a:pt x="1554" y="117"/>
                    </a:moveTo>
                    <a:cubicBezTo>
                      <a:pt x="1554" y="118"/>
                      <a:pt x="1554" y="118"/>
                      <a:pt x="1554" y="118"/>
                    </a:cubicBezTo>
                    <a:cubicBezTo>
                      <a:pt x="1554" y="118"/>
                      <a:pt x="1554" y="117"/>
                      <a:pt x="1554" y="117"/>
                    </a:cubicBezTo>
                    <a:close/>
                    <a:moveTo>
                      <a:pt x="1603" y="118"/>
                    </a:moveTo>
                    <a:cubicBezTo>
                      <a:pt x="1604" y="118"/>
                      <a:pt x="1604" y="118"/>
                      <a:pt x="1604" y="117"/>
                    </a:cubicBezTo>
                    <a:cubicBezTo>
                      <a:pt x="1603" y="117"/>
                      <a:pt x="1603" y="118"/>
                      <a:pt x="1603" y="118"/>
                    </a:cubicBezTo>
                    <a:close/>
                    <a:moveTo>
                      <a:pt x="1622" y="117"/>
                    </a:moveTo>
                    <a:cubicBezTo>
                      <a:pt x="1622" y="117"/>
                      <a:pt x="1622" y="118"/>
                      <a:pt x="1622" y="118"/>
                    </a:cubicBezTo>
                    <a:cubicBezTo>
                      <a:pt x="1622" y="118"/>
                      <a:pt x="1622" y="117"/>
                      <a:pt x="1622" y="117"/>
                    </a:cubicBezTo>
                    <a:close/>
                    <a:moveTo>
                      <a:pt x="1725" y="117"/>
                    </a:moveTo>
                    <a:cubicBezTo>
                      <a:pt x="1725" y="118"/>
                      <a:pt x="1726" y="118"/>
                      <a:pt x="1726" y="118"/>
                    </a:cubicBezTo>
                    <a:cubicBezTo>
                      <a:pt x="1726" y="118"/>
                      <a:pt x="1726" y="117"/>
                      <a:pt x="1725" y="117"/>
                    </a:cubicBezTo>
                    <a:close/>
                    <a:moveTo>
                      <a:pt x="719" y="119"/>
                    </a:moveTo>
                    <a:cubicBezTo>
                      <a:pt x="719" y="119"/>
                      <a:pt x="719" y="118"/>
                      <a:pt x="719" y="118"/>
                    </a:cubicBezTo>
                    <a:cubicBezTo>
                      <a:pt x="719" y="118"/>
                      <a:pt x="719" y="118"/>
                      <a:pt x="719" y="119"/>
                    </a:cubicBezTo>
                    <a:close/>
                    <a:moveTo>
                      <a:pt x="1101" y="117"/>
                    </a:moveTo>
                    <a:cubicBezTo>
                      <a:pt x="1101" y="118"/>
                      <a:pt x="1101" y="118"/>
                      <a:pt x="1101" y="119"/>
                    </a:cubicBezTo>
                    <a:cubicBezTo>
                      <a:pt x="1101" y="118"/>
                      <a:pt x="1101" y="118"/>
                      <a:pt x="1101" y="117"/>
                    </a:cubicBezTo>
                    <a:close/>
                    <a:moveTo>
                      <a:pt x="1135" y="118"/>
                    </a:moveTo>
                    <a:cubicBezTo>
                      <a:pt x="1134" y="118"/>
                      <a:pt x="1134" y="118"/>
                      <a:pt x="1134" y="119"/>
                    </a:cubicBezTo>
                    <a:cubicBezTo>
                      <a:pt x="1135" y="119"/>
                      <a:pt x="1135" y="118"/>
                      <a:pt x="1135" y="118"/>
                    </a:cubicBezTo>
                    <a:close/>
                    <a:moveTo>
                      <a:pt x="1352" y="119"/>
                    </a:moveTo>
                    <a:cubicBezTo>
                      <a:pt x="1352" y="118"/>
                      <a:pt x="1352" y="118"/>
                      <a:pt x="1352" y="118"/>
                    </a:cubicBezTo>
                    <a:cubicBezTo>
                      <a:pt x="1352" y="118"/>
                      <a:pt x="1352" y="118"/>
                      <a:pt x="1352" y="119"/>
                    </a:cubicBezTo>
                    <a:close/>
                    <a:moveTo>
                      <a:pt x="1435" y="118"/>
                    </a:moveTo>
                    <a:cubicBezTo>
                      <a:pt x="1435" y="118"/>
                      <a:pt x="1435" y="118"/>
                      <a:pt x="1436" y="119"/>
                    </a:cubicBezTo>
                    <a:cubicBezTo>
                      <a:pt x="1436" y="118"/>
                      <a:pt x="1436" y="118"/>
                      <a:pt x="1435" y="118"/>
                    </a:cubicBezTo>
                    <a:close/>
                    <a:moveTo>
                      <a:pt x="1642" y="119"/>
                    </a:moveTo>
                    <a:cubicBezTo>
                      <a:pt x="1643" y="119"/>
                      <a:pt x="1643" y="118"/>
                      <a:pt x="1643" y="118"/>
                    </a:cubicBezTo>
                    <a:cubicBezTo>
                      <a:pt x="1642" y="118"/>
                      <a:pt x="1642" y="118"/>
                      <a:pt x="1642" y="119"/>
                    </a:cubicBezTo>
                    <a:close/>
                    <a:moveTo>
                      <a:pt x="449" y="119"/>
                    </a:moveTo>
                    <a:cubicBezTo>
                      <a:pt x="449" y="119"/>
                      <a:pt x="449" y="118"/>
                      <a:pt x="449" y="118"/>
                    </a:cubicBezTo>
                    <a:cubicBezTo>
                      <a:pt x="449" y="118"/>
                      <a:pt x="449" y="119"/>
                      <a:pt x="449" y="119"/>
                    </a:cubicBezTo>
                    <a:close/>
                    <a:moveTo>
                      <a:pt x="939" y="118"/>
                    </a:moveTo>
                    <a:cubicBezTo>
                      <a:pt x="939" y="119"/>
                      <a:pt x="939" y="119"/>
                      <a:pt x="939" y="119"/>
                    </a:cubicBezTo>
                    <a:cubicBezTo>
                      <a:pt x="939" y="119"/>
                      <a:pt x="939" y="118"/>
                      <a:pt x="939" y="118"/>
                    </a:cubicBezTo>
                    <a:close/>
                    <a:moveTo>
                      <a:pt x="959" y="119"/>
                    </a:moveTo>
                    <a:cubicBezTo>
                      <a:pt x="959" y="119"/>
                      <a:pt x="959" y="118"/>
                      <a:pt x="958" y="118"/>
                    </a:cubicBezTo>
                    <a:cubicBezTo>
                      <a:pt x="958" y="119"/>
                      <a:pt x="958" y="119"/>
                      <a:pt x="959" y="119"/>
                    </a:cubicBezTo>
                    <a:close/>
                    <a:moveTo>
                      <a:pt x="1016" y="120"/>
                    </a:moveTo>
                    <a:cubicBezTo>
                      <a:pt x="1017" y="119"/>
                      <a:pt x="1017" y="119"/>
                      <a:pt x="1017" y="118"/>
                    </a:cubicBezTo>
                    <a:cubicBezTo>
                      <a:pt x="1016" y="119"/>
                      <a:pt x="1016" y="119"/>
                      <a:pt x="1016" y="120"/>
                    </a:cubicBezTo>
                    <a:close/>
                    <a:moveTo>
                      <a:pt x="1726" y="118"/>
                    </a:moveTo>
                    <a:cubicBezTo>
                      <a:pt x="1726" y="119"/>
                      <a:pt x="1726" y="119"/>
                      <a:pt x="1727" y="120"/>
                    </a:cubicBezTo>
                    <a:cubicBezTo>
                      <a:pt x="1727" y="119"/>
                      <a:pt x="1727" y="118"/>
                      <a:pt x="1726" y="118"/>
                    </a:cubicBezTo>
                    <a:close/>
                    <a:moveTo>
                      <a:pt x="668" y="120"/>
                    </a:moveTo>
                    <a:cubicBezTo>
                      <a:pt x="668" y="119"/>
                      <a:pt x="668" y="119"/>
                      <a:pt x="668" y="119"/>
                    </a:cubicBezTo>
                    <a:cubicBezTo>
                      <a:pt x="668" y="119"/>
                      <a:pt x="668" y="120"/>
                      <a:pt x="668" y="120"/>
                    </a:cubicBezTo>
                    <a:close/>
                    <a:moveTo>
                      <a:pt x="718" y="120"/>
                    </a:moveTo>
                    <a:cubicBezTo>
                      <a:pt x="719" y="120"/>
                      <a:pt x="719" y="119"/>
                      <a:pt x="719" y="119"/>
                    </a:cubicBezTo>
                    <a:cubicBezTo>
                      <a:pt x="718" y="119"/>
                      <a:pt x="718" y="119"/>
                      <a:pt x="718" y="120"/>
                    </a:cubicBezTo>
                    <a:close/>
                    <a:moveTo>
                      <a:pt x="1286" y="119"/>
                    </a:moveTo>
                    <a:cubicBezTo>
                      <a:pt x="1286" y="119"/>
                      <a:pt x="1287" y="119"/>
                      <a:pt x="1287" y="119"/>
                    </a:cubicBezTo>
                    <a:cubicBezTo>
                      <a:pt x="1287" y="119"/>
                      <a:pt x="1287" y="119"/>
                      <a:pt x="1286" y="119"/>
                    </a:cubicBezTo>
                    <a:close/>
                    <a:moveTo>
                      <a:pt x="1436" y="119"/>
                    </a:moveTo>
                    <a:cubicBezTo>
                      <a:pt x="1436" y="119"/>
                      <a:pt x="1436" y="120"/>
                      <a:pt x="1436" y="120"/>
                    </a:cubicBezTo>
                    <a:cubicBezTo>
                      <a:pt x="1436" y="119"/>
                      <a:pt x="1436" y="119"/>
                      <a:pt x="1436" y="119"/>
                    </a:cubicBezTo>
                    <a:close/>
                    <a:moveTo>
                      <a:pt x="1535" y="120"/>
                    </a:moveTo>
                    <a:cubicBezTo>
                      <a:pt x="1536" y="119"/>
                      <a:pt x="1535" y="119"/>
                      <a:pt x="1535" y="119"/>
                    </a:cubicBezTo>
                    <a:cubicBezTo>
                      <a:pt x="1535" y="119"/>
                      <a:pt x="1535" y="120"/>
                      <a:pt x="1535" y="120"/>
                    </a:cubicBezTo>
                    <a:close/>
                    <a:moveTo>
                      <a:pt x="1555" y="119"/>
                    </a:moveTo>
                    <a:cubicBezTo>
                      <a:pt x="1554" y="119"/>
                      <a:pt x="1555" y="120"/>
                      <a:pt x="1555" y="120"/>
                    </a:cubicBezTo>
                    <a:cubicBezTo>
                      <a:pt x="1555" y="120"/>
                      <a:pt x="1555" y="119"/>
                      <a:pt x="1555" y="119"/>
                    </a:cubicBezTo>
                    <a:close/>
                    <a:moveTo>
                      <a:pt x="1622" y="119"/>
                    </a:moveTo>
                    <a:cubicBezTo>
                      <a:pt x="1621" y="119"/>
                      <a:pt x="1621" y="119"/>
                      <a:pt x="1621" y="120"/>
                    </a:cubicBezTo>
                    <a:cubicBezTo>
                      <a:pt x="1622" y="120"/>
                      <a:pt x="1622" y="119"/>
                      <a:pt x="1622" y="119"/>
                    </a:cubicBezTo>
                    <a:close/>
                    <a:moveTo>
                      <a:pt x="1641" y="120"/>
                    </a:moveTo>
                    <a:cubicBezTo>
                      <a:pt x="1642" y="120"/>
                      <a:pt x="1642" y="119"/>
                      <a:pt x="1642" y="119"/>
                    </a:cubicBezTo>
                    <a:cubicBezTo>
                      <a:pt x="1642" y="119"/>
                      <a:pt x="1641" y="119"/>
                      <a:pt x="1641" y="120"/>
                    </a:cubicBezTo>
                    <a:close/>
                    <a:moveTo>
                      <a:pt x="1778" y="119"/>
                    </a:moveTo>
                    <a:cubicBezTo>
                      <a:pt x="1778" y="119"/>
                      <a:pt x="1778" y="119"/>
                      <a:pt x="1778" y="120"/>
                    </a:cubicBezTo>
                    <a:cubicBezTo>
                      <a:pt x="1778" y="120"/>
                      <a:pt x="1778" y="119"/>
                      <a:pt x="1778" y="119"/>
                    </a:cubicBezTo>
                    <a:close/>
                    <a:moveTo>
                      <a:pt x="521" y="119"/>
                    </a:moveTo>
                    <a:cubicBezTo>
                      <a:pt x="520" y="119"/>
                      <a:pt x="520" y="120"/>
                      <a:pt x="520" y="120"/>
                    </a:cubicBezTo>
                    <a:cubicBezTo>
                      <a:pt x="521" y="120"/>
                      <a:pt x="521" y="120"/>
                      <a:pt x="521" y="119"/>
                    </a:cubicBezTo>
                    <a:close/>
                    <a:moveTo>
                      <a:pt x="843" y="120"/>
                    </a:moveTo>
                    <a:cubicBezTo>
                      <a:pt x="844" y="120"/>
                      <a:pt x="844" y="120"/>
                      <a:pt x="844" y="119"/>
                    </a:cubicBezTo>
                    <a:cubicBezTo>
                      <a:pt x="843" y="120"/>
                      <a:pt x="843" y="120"/>
                      <a:pt x="843" y="120"/>
                    </a:cubicBezTo>
                    <a:close/>
                    <a:moveTo>
                      <a:pt x="939" y="119"/>
                    </a:moveTo>
                    <a:cubicBezTo>
                      <a:pt x="939" y="120"/>
                      <a:pt x="940" y="120"/>
                      <a:pt x="940" y="121"/>
                    </a:cubicBezTo>
                    <a:cubicBezTo>
                      <a:pt x="940" y="120"/>
                      <a:pt x="940" y="120"/>
                      <a:pt x="939" y="119"/>
                    </a:cubicBezTo>
                    <a:close/>
                    <a:moveTo>
                      <a:pt x="1134" y="119"/>
                    </a:moveTo>
                    <a:cubicBezTo>
                      <a:pt x="1134" y="119"/>
                      <a:pt x="1133" y="120"/>
                      <a:pt x="1134" y="120"/>
                    </a:cubicBezTo>
                    <a:cubicBezTo>
                      <a:pt x="1134" y="120"/>
                      <a:pt x="1134" y="120"/>
                      <a:pt x="1134" y="119"/>
                    </a:cubicBezTo>
                    <a:close/>
                    <a:moveTo>
                      <a:pt x="669" y="121"/>
                    </a:moveTo>
                    <a:cubicBezTo>
                      <a:pt x="669" y="121"/>
                      <a:pt x="669" y="120"/>
                      <a:pt x="668" y="120"/>
                    </a:cubicBezTo>
                    <a:cubicBezTo>
                      <a:pt x="668" y="120"/>
                      <a:pt x="668" y="121"/>
                      <a:pt x="669" y="121"/>
                    </a:cubicBezTo>
                    <a:close/>
                    <a:moveTo>
                      <a:pt x="718" y="121"/>
                    </a:moveTo>
                    <a:cubicBezTo>
                      <a:pt x="718" y="121"/>
                      <a:pt x="718" y="120"/>
                      <a:pt x="718" y="120"/>
                    </a:cubicBezTo>
                    <a:cubicBezTo>
                      <a:pt x="718" y="120"/>
                      <a:pt x="718" y="121"/>
                      <a:pt x="718" y="121"/>
                    </a:cubicBezTo>
                    <a:close/>
                    <a:moveTo>
                      <a:pt x="1536" y="121"/>
                    </a:moveTo>
                    <a:cubicBezTo>
                      <a:pt x="1536" y="121"/>
                      <a:pt x="1536" y="120"/>
                      <a:pt x="1535" y="120"/>
                    </a:cubicBezTo>
                    <a:cubicBezTo>
                      <a:pt x="1535" y="120"/>
                      <a:pt x="1536" y="121"/>
                      <a:pt x="1536" y="121"/>
                    </a:cubicBezTo>
                    <a:close/>
                    <a:moveTo>
                      <a:pt x="1602" y="121"/>
                    </a:moveTo>
                    <a:cubicBezTo>
                      <a:pt x="1603" y="121"/>
                      <a:pt x="1603" y="120"/>
                      <a:pt x="1603" y="120"/>
                    </a:cubicBezTo>
                    <a:cubicBezTo>
                      <a:pt x="1602" y="120"/>
                      <a:pt x="1602" y="121"/>
                      <a:pt x="1602" y="121"/>
                    </a:cubicBezTo>
                    <a:close/>
                    <a:moveTo>
                      <a:pt x="1621" y="120"/>
                    </a:moveTo>
                    <a:cubicBezTo>
                      <a:pt x="1621" y="120"/>
                      <a:pt x="1621" y="121"/>
                      <a:pt x="1621" y="121"/>
                    </a:cubicBezTo>
                    <a:cubicBezTo>
                      <a:pt x="1621" y="121"/>
                      <a:pt x="1621" y="120"/>
                      <a:pt x="1621" y="120"/>
                    </a:cubicBezTo>
                    <a:close/>
                    <a:moveTo>
                      <a:pt x="1641" y="121"/>
                    </a:moveTo>
                    <a:cubicBezTo>
                      <a:pt x="1641" y="121"/>
                      <a:pt x="1641" y="120"/>
                      <a:pt x="1641" y="120"/>
                    </a:cubicBezTo>
                    <a:cubicBezTo>
                      <a:pt x="1641" y="120"/>
                      <a:pt x="1641" y="121"/>
                      <a:pt x="1641" y="121"/>
                    </a:cubicBezTo>
                    <a:close/>
                    <a:moveTo>
                      <a:pt x="1727" y="120"/>
                    </a:moveTo>
                    <a:cubicBezTo>
                      <a:pt x="1727" y="120"/>
                      <a:pt x="1727" y="121"/>
                      <a:pt x="1727" y="121"/>
                    </a:cubicBezTo>
                    <a:cubicBezTo>
                      <a:pt x="1727" y="121"/>
                      <a:pt x="1727" y="120"/>
                      <a:pt x="1727" y="120"/>
                    </a:cubicBezTo>
                    <a:close/>
                    <a:moveTo>
                      <a:pt x="940" y="121"/>
                    </a:moveTo>
                    <a:cubicBezTo>
                      <a:pt x="940" y="121"/>
                      <a:pt x="940" y="121"/>
                      <a:pt x="940" y="122"/>
                    </a:cubicBezTo>
                    <a:cubicBezTo>
                      <a:pt x="941" y="121"/>
                      <a:pt x="940" y="121"/>
                      <a:pt x="940" y="121"/>
                    </a:cubicBezTo>
                    <a:close/>
                    <a:moveTo>
                      <a:pt x="1289" y="121"/>
                    </a:moveTo>
                    <a:cubicBezTo>
                      <a:pt x="1289" y="121"/>
                      <a:pt x="1290" y="121"/>
                      <a:pt x="1290" y="121"/>
                    </a:cubicBezTo>
                    <a:cubicBezTo>
                      <a:pt x="1290" y="121"/>
                      <a:pt x="1289" y="121"/>
                      <a:pt x="1289" y="121"/>
                    </a:cubicBezTo>
                    <a:close/>
                    <a:moveTo>
                      <a:pt x="1350" y="122"/>
                    </a:moveTo>
                    <a:cubicBezTo>
                      <a:pt x="1351" y="122"/>
                      <a:pt x="1351" y="121"/>
                      <a:pt x="1351" y="121"/>
                    </a:cubicBezTo>
                    <a:cubicBezTo>
                      <a:pt x="1350" y="121"/>
                      <a:pt x="1350" y="121"/>
                      <a:pt x="1350" y="122"/>
                    </a:cubicBezTo>
                    <a:close/>
                    <a:moveTo>
                      <a:pt x="669" y="122"/>
                    </a:moveTo>
                    <a:cubicBezTo>
                      <a:pt x="669" y="122"/>
                      <a:pt x="669" y="121"/>
                      <a:pt x="669" y="121"/>
                    </a:cubicBezTo>
                    <a:cubicBezTo>
                      <a:pt x="669" y="122"/>
                      <a:pt x="669" y="122"/>
                      <a:pt x="669" y="122"/>
                    </a:cubicBezTo>
                    <a:close/>
                    <a:moveTo>
                      <a:pt x="717" y="122"/>
                    </a:moveTo>
                    <a:cubicBezTo>
                      <a:pt x="718" y="122"/>
                      <a:pt x="718" y="122"/>
                      <a:pt x="718" y="121"/>
                    </a:cubicBezTo>
                    <a:cubicBezTo>
                      <a:pt x="717" y="121"/>
                      <a:pt x="717" y="122"/>
                      <a:pt x="717" y="122"/>
                    </a:cubicBezTo>
                    <a:close/>
                    <a:moveTo>
                      <a:pt x="1290" y="121"/>
                    </a:moveTo>
                    <a:cubicBezTo>
                      <a:pt x="1290" y="122"/>
                      <a:pt x="1291" y="122"/>
                      <a:pt x="1291" y="122"/>
                    </a:cubicBezTo>
                    <a:cubicBezTo>
                      <a:pt x="1291" y="121"/>
                      <a:pt x="1291" y="121"/>
                      <a:pt x="1290" y="121"/>
                    </a:cubicBezTo>
                    <a:close/>
                    <a:moveTo>
                      <a:pt x="1640" y="122"/>
                    </a:moveTo>
                    <a:cubicBezTo>
                      <a:pt x="1641" y="122"/>
                      <a:pt x="1641" y="122"/>
                      <a:pt x="1641" y="121"/>
                    </a:cubicBezTo>
                    <a:cubicBezTo>
                      <a:pt x="1640" y="121"/>
                      <a:pt x="1640" y="122"/>
                      <a:pt x="1640" y="122"/>
                    </a:cubicBezTo>
                    <a:close/>
                    <a:moveTo>
                      <a:pt x="1777" y="121"/>
                    </a:moveTo>
                    <a:cubicBezTo>
                      <a:pt x="1776" y="121"/>
                      <a:pt x="1776" y="122"/>
                      <a:pt x="1776" y="122"/>
                    </a:cubicBezTo>
                    <a:cubicBezTo>
                      <a:pt x="1777" y="122"/>
                      <a:pt x="1777" y="122"/>
                      <a:pt x="1777" y="121"/>
                    </a:cubicBezTo>
                    <a:close/>
                    <a:moveTo>
                      <a:pt x="842" y="123"/>
                    </a:moveTo>
                    <a:cubicBezTo>
                      <a:pt x="842" y="122"/>
                      <a:pt x="843" y="122"/>
                      <a:pt x="843" y="122"/>
                    </a:cubicBezTo>
                    <a:cubicBezTo>
                      <a:pt x="842" y="122"/>
                      <a:pt x="842" y="122"/>
                      <a:pt x="842" y="123"/>
                    </a:cubicBezTo>
                    <a:close/>
                    <a:moveTo>
                      <a:pt x="940" y="122"/>
                    </a:moveTo>
                    <a:cubicBezTo>
                      <a:pt x="940" y="122"/>
                      <a:pt x="941" y="123"/>
                      <a:pt x="941" y="123"/>
                    </a:cubicBezTo>
                    <a:cubicBezTo>
                      <a:pt x="941" y="123"/>
                      <a:pt x="941" y="122"/>
                      <a:pt x="940" y="122"/>
                    </a:cubicBezTo>
                    <a:close/>
                    <a:moveTo>
                      <a:pt x="1350" y="123"/>
                    </a:moveTo>
                    <a:cubicBezTo>
                      <a:pt x="1350" y="123"/>
                      <a:pt x="1350" y="122"/>
                      <a:pt x="1350" y="122"/>
                    </a:cubicBezTo>
                    <a:cubicBezTo>
                      <a:pt x="1349" y="122"/>
                      <a:pt x="1349" y="122"/>
                      <a:pt x="1350" y="123"/>
                    </a:cubicBezTo>
                    <a:close/>
                    <a:moveTo>
                      <a:pt x="1437" y="122"/>
                    </a:moveTo>
                    <a:cubicBezTo>
                      <a:pt x="1437" y="122"/>
                      <a:pt x="1437" y="123"/>
                      <a:pt x="1437" y="123"/>
                    </a:cubicBezTo>
                    <a:cubicBezTo>
                      <a:pt x="1438" y="123"/>
                      <a:pt x="1438" y="122"/>
                      <a:pt x="1437" y="122"/>
                    </a:cubicBezTo>
                    <a:close/>
                    <a:moveTo>
                      <a:pt x="1486" y="122"/>
                    </a:moveTo>
                    <a:cubicBezTo>
                      <a:pt x="1486" y="122"/>
                      <a:pt x="1485" y="122"/>
                      <a:pt x="1485" y="123"/>
                    </a:cubicBezTo>
                    <a:cubicBezTo>
                      <a:pt x="1486" y="123"/>
                      <a:pt x="1486" y="122"/>
                      <a:pt x="1486" y="122"/>
                    </a:cubicBezTo>
                    <a:close/>
                    <a:moveTo>
                      <a:pt x="1537" y="123"/>
                    </a:moveTo>
                    <a:cubicBezTo>
                      <a:pt x="1537" y="122"/>
                      <a:pt x="1537" y="122"/>
                      <a:pt x="1536" y="121"/>
                    </a:cubicBezTo>
                    <a:cubicBezTo>
                      <a:pt x="1536" y="122"/>
                      <a:pt x="1536" y="123"/>
                      <a:pt x="1537" y="123"/>
                    </a:cubicBezTo>
                    <a:close/>
                    <a:moveTo>
                      <a:pt x="1602" y="123"/>
                    </a:moveTo>
                    <a:cubicBezTo>
                      <a:pt x="1602" y="123"/>
                      <a:pt x="1602" y="122"/>
                      <a:pt x="1602" y="122"/>
                    </a:cubicBezTo>
                    <a:cubicBezTo>
                      <a:pt x="1602" y="122"/>
                      <a:pt x="1602" y="122"/>
                      <a:pt x="1602" y="123"/>
                    </a:cubicBezTo>
                    <a:close/>
                    <a:moveTo>
                      <a:pt x="1621" y="121"/>
                    </a:moveTo>
                    <a:cubicBezTo>
                      <a:pt x="1620" y="122"/>
                      <a:pt x="1620" y="122"/>
                      <a:pt x="1620" y="123"/>
                    </a:cubicBezTo>
                    <a:cubicBezTo>
                      <a:pt x="1621" y="122"/>
                      <a:pt x="1621" y="122"/>
                      <a:pt x="1621" y="121"/>
                    </a:cubicBezTo>
                    <a:close/>
                    <a:moveTo>
                      <a:pt x="623" y="122"/>
                    </a:moveTo>
                    <a:cubicBezTo>
                      <a:pt x="622" y="122"/>
                      <a:pt x="622" y="123"/>
                      <a:pt x="622" y="123"/>
                    </a:cubicBezTo>
                    <a:cubicBezTo>
                      <a:pt x="623" y="123"/>
                      <a:pt x="623" y="123"/>
                      <a:pt x="623" y="122"/>
                    </a:cubicBezTo>
                    <a:close/>
                    <a:moveTo>
                      <a:pt x="670" y="123"/>
                    </a:moveTo>
                    <a:cubicBezTo>
                      <a:pt x="670" y="123"/>
                      <a:pt x="670" y="122"/>
                      <a:pt x="669" y="122"/>
                    </a:cubicBezTo>
                    <a:cubicBezTo>
                      <a:pt x="669" y="123"/>
                      <a:pt x="669" y="123"/>
                      <a:pt x="670" y="123"/>
                    </a:cubicBezTo>
                    <a:close/>
                    <a:moveTo>
                      <a:pt x="717" y="123"/>
                    </a:moveTo>
                    <a:cubicBezTo>
                      <a:pt x="717" y="123"/>
                      <a:pt x="717" y="123"/>
                      <a:pt x="717" y="122"/>
                    </a:cubicBezTo>
                    <a:cubicBezTo>
                      <a:pt x="717" y="122"/>
                      <a:pt x="717" y="123"/>
                      <a:pt x="717" y="123"/>
                    </a:cubicBezTo>
                    <a:close/>
                    <a:moveTo>
                      <a:pt x="1640" y="123"/>
                    </a:moveTo>
                    <a:cubicBezTo>
                      <a:pt x="1640" y="123"/>
                      <a:pt x="1640" y="123"/>
                      <a:pt x="1640" y="122"/>
                    </a:cubicBezTo>
                    <a:cubicBezTo>
                      <a:pt x="1640" y="122"/>
                      <a:pt x="1640" y="123"/>
                      <a:pt x="1640" y="123"/>
                    </a:cubicBezTo>
                    <a:close/>
                    <a:moveTo>
                      <a:pt x="842" y="124"/>
                    </a:moveTo>
                    <a:cubicBezTo>
                      <a:pt x="842" y="124"/>
                      <a:pt x="842" y="123"/>
                      <a:pt x="842" y="123"/>
                    </a:cubicBezTo>
                    <a:cubicBezTo>
                      <a:pt x="842" y="123"/>
                      <a:pt x="842" y="124"/>
                      <a:pt x="842" y="124"/>
                    </a:cubicBezTo>
                    <a:close/>
                    <a:moveTo>
                      <a:pt x="1293" y="123"/>
                    </a:moveTo>
                    <a:cubicBezTo>
                      <a:pt x="1293" y="123"/>
                      <a:pt x="1294" y="123"/>
                      <a:pt x="1294" y="123"/>
                    </a:cubicBezTo>
                    <a:cubicBezTo>
                      <a:pt x="1294" y="123"/>
                      <a:pt x="1294" y="123"/>
                      <a:pt x="1293" y="123"/>
                    </a:cubicBezTo>
                    <a:close/>
                    <a:moveTo>
                      <a:pt x="1485" y="123"/>
                    </a:moveTo>
                    <a:cubicBezTo>
                      <a:pt x="1485" y="123"/>
                      <a:pt x="1485" y="123"/>
                      <a:pt x="1485" y="124"/>
                    </a:cubicBezTo>
                    <a:cubicBezTo>
                      <a:pt x="1485" y="124"/>
                      <a:pt x="1485" y="123"/>
                      <a:pt x="1485" y="123"/>
                    </a:cubicBezTo>
                    <a:close/>
                    <a:moveTo>
                      <a:pt x="1620" y="123"/>
                    </a:moveTo>
                    <a:cubicBezTo>
                      <a:pt x="1620" y="123"/>
                      <a:pt x="1620" y="123"/>
                      <a:pt x="1620" y="124"/>
                    </a:cubicBezTo>
                    <a:cubicBezTo>
                      <a:pt x="1620" y="124"/>
                      <a:pt x="1620" y="123"/>
                      <a:pt x="1620" y="123"/>
                    </a:cubicBezTo>
                    <a:close/>
                    <a:moveTo>
                      <a:pt x="1776" y="123"/>
                    </a:moveTo>
                    <a:cubicBezTo>
                      <a:pt x="1775" y="123"/>
                      <a:pt x="1775" y="123"/>
                      <a:pt x="1775" y="124"/>
                    </a:cubicBezTo>
                    <a:cubicBezTo>
                      <a:pt x="1775" y="124"/>
                      <a:pt x="1776" y="123"/>
                      <a:pt x="1776" y="123"/>
                    </a:cubicBezTo>
                    <a:close/>
                    <a:moveTo>
                      <a:pt x="520" y="123"/>
                    </a:moveTo>
                    <a:cubicBezTo>
                      <a:pt x="519" y="124"/>
                      <a:pt x="519" y="124"/>
                      <a:pt x="519" y="125"/>
                    </a:cubicBezTo>
                    <a:cubicBezTo>
                      <a:pt x="520" y="124"/>
                      <a:pt x="520" y="124"/>
                      <a:pt x="520" y="123"/>
                    </a:cubicBezTo>
                    <a:close/>
                    <a:moveTo>
                      <a:pt x="622" y="123"/>
                    </a:moveTo>
                    <a:cubicBezTo>
                      <a:pt x="622" y="124"/>
                      <a:pt x="621" y="124"/>
                      <a:pt x="621" y="124"/>
                    </a:cubicBezTo>
                    <a:cubicBezTo>
                      <a:pt x="622" y="124"/>
                      <a:pt x="622" y="124"/>
                      <a:pt x="622" y="123"/>
                    </a:cubicBezTo>
                    <a:close/>
                    <a:moveTo>
                      <a:pt x="941" y="123"/>
                    </a:moveTo>
                    <a:cubicBezTo>
                      <a:pt x="941" y="124"/>
                      <a:pt x="941" y="124"/>
                      <a:pt x="942" y="125"/>
                    </a:cubicBezTo>
                    <a:cubicBezTo>
                      <a:pt x="942" y="124"/>
                      <a:pt x="942" y="124"/>
                      <a:pt x="941" y="123"/>
                    </a:cubicBezTo>
                    <a:close/>
                    <a:moveTo>
                      <a:pt x="1099" y="123"/>
                    </a:moveTo>
                    <a:cubicBezTo>
                      <a:pt x="1099" y="124"/>
                      <a:pt x="1099" y="124"/>
                      <a:pt x="1099" y="125"/>
                    </a:cubicBezTo>
                    <a:cubicBezTo>
                      <a:pt x="1099" y="124"/>
                      <a:pt x="1099" y="124"/>
                      <a:pt x="1099" y="123"/>
                    </a:cubicBezTo>
                    <a:close/>
                    <a:moveTo>
                      <a:pt x="1294" y="123"/>
                    </a:moveTo>
                    <a:cubicBezTo>
                      <a:pt x="1294" y="124"/>
                      <a:pt x="1295" y="124"/>
                      <a:pt x="1295" y="124"/>
                    </a:cubicBezTo>
                    <a:cubicBezTo>
                      <a:pt x="1295" y="124"/>
                      <a:pt x="1295" y="123"/>
                      <a:pt x="1294" y="123"/>
                    </a:cubicBezTo>
                    <a:close/>
                    <a:moveTo>
                      <a:pt x="1349" y="125"/>
                    </a:moveTo>
                    <a:cubicBezTo>
                      <a:pt x="1349" y="124"/>
                      <a:pt x="1349" y="124"/>
                      <a:pt x="1349" y="123"/>
                    </a:cubicBezTo>
                    <a:cubicBezTo>
                      <a:pt x="1349" y="124"/>
                      <a:pt x="1349" y="124"/>
                      <a:pt x="1349" y="125"/>
                    </a:cubicBezTo>
                    <a:close/>
                    <a:moveTo>
                      <a:pt x="1601" y="125"/>
                    </a:moveTo>
                    <a:cubicBezTo>
                      <a:pt x="1602" y="124"/>
                      <a:pt x="1602" y="124"/>
                      <a:pt x="1602" y="123"/>
                    </a:cubicBezTo>
                    <a:cubicBezTo>
                      <a:pt x="1601" y="124"/>
                      <a:pt x="1601" y="124"/>
                      <a:pt x="1601" y="125"/>
                    </a:cubicBezTo>
                    <a:close/>
                    <a:moveTo>
                      <a:pt x="1639" y="125"/>
                    </a:moveTo>
                    <a:cubicBezTo>
                      <a:pt x="1640" y="124"/>
                      <a:pt x="1640" y="124"/>
                      <a:pt x="1640" y="123"/>
                    </a:cubicBezTo>
                    <a:cubicBezTo>
                      <a:pt x="1639" y="124"/>
                      <a:pt x="1639" y="124"/>
                      <a:pt x="1639" y="125"/>
                    </a:cubicBezTo>
                    <a:close/>
                    <a:moveTo>
                      <a:pt x="670" y="125"/>
                    </a:moveTo>
                    <a:cubicBezTo>
                      <a:pt x="671" y="125"/>
                      <a:pt x="670" y="124"/>
                      <a:pt x="670" y="124"/>
                    </a:cubicBezTo>
                    <a:cubicBezTo>
                      <a:pt x="670" y="124"/>
                      <a:pt x="670" y="125"/>
                      <a:pt x="670" y="125"/>
                    </a:cubicBezTo>
                    <a:close/>
                    <a:moveTo>
                      <a:pt x="841" y="125"/>
                    </a:moveTo>
                    <a:cubicBezTo>
                      <a:pt x="841" y="125"/>
                      <a:pt x="842" y="124"/>
                      <a:pt x="842" y="124"/>
                    </a:cubicBezTo>
                    <a:cubicBezTo>
                      <a:pt x="841" y="124"/>
                      <a:pt x="841" y="125"/>
                      <a:pt x="841" y="125"/>
                    </a:cubicBezTo>
                    <a:close/>
                    <a:moveTo>
                      <a:pt x="961" y="125"/>
                    </a:moveTo>
                    <a:cubicBezTo>
                      <a:pt x="961" y="125"/>
                      <a:pt x="961" y="124"/>
                      <a:pt x="960" y="124"/>
                    </a:cubicBezTo>
                    <a:cubicBezTo>
                      <a:pt x="960" y="124"/>
                      <a:pt x="960" y="125"/>
                      <a:pt x="961" y="125"/>
                    </a:cubicBezTo>
                    <a:close/>
                    <a:moveTo>
                      <a:pt x="1014" y="125"/>
                    </a:moveTo>
                    <a:cubicBezTo>
                      <a:pt x="1015" y="125"/>
                      <a:pt x="1015" y="124"/>
                      <a:pt x="1015" y="124"/>
                    </a:cubicBezTo>
                    <a:cubicBezTo>
                      <a:pt x="1014" y="124"/>
                      <a:pt x="1014" y="125"/>
                      <a:pt x="1014" y="125"/>
                    </a:cubicBezTo>
                    <a:close/>
                    <a:moveTo>
                      <a:pt x="1775" y="124"/>
                    </a:moveTo>
                    <a:cubicBezTo>
                      <a:pt x="1775" y="124"/>
                      <a:pt x="1774" y="125"/>
                      <a:pt x="1774" y="125"/>
                    </a:cubicBezTo>
                    <a:cubicBezTo>
                      <a:pt x="1775" y="125"/>
                      <a:pt x="1775" y="124"/>
                      <a:pt x="1775" y="124"/>
                    </a:cubicBezTo>
                    <a:close/>
                    <a:moveTo>
                      <a:pt x="1348" y="126"/>
                    </a:moveTo>
                    <a:cubicBezTo>
                      <a:pt x="1349" y="125"/>
                      <a:pt x="1349" y="125"/>
                      <a:pt x="1349" y="125"/>
                    </a:cubicBezTo>
                    <a:cubicBezTo>
                      <a:pt x="1348" y="125"/>
                      <a:pt x="1348" y="125"/>
                      <a:pt x="1348" y="126"/>
                    </a:cubicBezTo>
                    <a:close/>
                    <a:moveTo>
                      <a:pt x="1538" y="126"/>
                    </a:moveTo>
                    <a:cubicBezTo>
                      <a:pt x="1538" y="125"/>
                      <a:pt x="1538" y="125"/>
                      <a:pt x="1537" y="124"/>
                    </a:cubicBezTo>
                    <a:cubicBezTo>
                      <a:pt x="1537" y="125"/>
                      <a:pt x="1537" y="125"/>
                      <a:pt x="1538" y="126"/>
                    </a:cubicBezTo>
                    <a:close/>
                    <a:moveTo>
                      <a:pt x="1619" y="124"/>
                    </a:moveTo>
                    <a:cubicBezTo>
                      <a:pt x="1619" y="125"/>
                      <a:pt x="1619" y="125"/>
                      <a:pt x="1619" y="126"/>
                    </a:cubicBezTo>
                    <a:cubicBezTo>
                      <a:pt x="1619" y="125"/>
                      <a:pt x="1620" y="125"/>
                      <a:pt x="1619" y="124"/>
                    </a:cubicBezTo>
                    <a:close/>
                    <a:moveTo>
                      <a:pt x="621" y="125"/>
                    </a:moveTo>
                    <a:cubicBezTo>
                      <a:pt x="621" y="125"/>
                      <a:pt x="620" y="126"/>
                      <a:pt x="620" y="126"/>
                    </a:cubicBezTo>
                    <a:cubicBezTo>
                      <a:pt x="621" y="126"/>
                      <a:pt x="621" y="126"/>
                      <a:pt x="621" y="125"/>
                    </a:cubicBezTo>
                    <a:close/>
                    <a:moveTo>
                      <a:pt x="715" y="126"/>
                    </a:moveTo>
                    <a:cubicBezTo>
                      <a:pt x="716" y="126"/>
                      <a:pt x="716" y="126"/>
                      <a:pt x="716" y="125"/>
                    </a:cubicBezTo>
                    <a:cubicBezTo>
                      <a:pt x="715" y="125"/>
                      <a:pt x="715" y="126"/>
                      <a:pt x="715" y="126"/>
                    </a:cubicBezTo>
                    <a:close/>
                    <a:moveTo>
                      <a:pt x="1297" y="125"/>
                    </a:moveTo>
                    <a:cubicBezTo>
                      <a:pt x="1297" y="126"/>
                      <a:pt x="1298" y="126"/>
                      <a:pt x="1298" y="126"/>
                    </a:cubicBezTo>
                    <a:cubicBezTo>
                      <a:pt x="1298" y="125"/>
                      <a:pt x="1298" y="125"/>
                      <a:pt x="1297" y="125"/>
                    </a:cubicBezTo>
                    <a:close/>
                    <a:moveTo>
                      <a:pt x="1557" y="125"/>
                    </a:moveTo>
                    <a:cubicBezTo>
                      <a:pt x="1557" y="126"/>
                      <a:pt x="1557" y="126"/>
                      <a:pt x="1557" y="127"/>
                    </a:cubicBezTo>
                    <a:cubicBezTo>
                      <a:pt x="1557" y="126"/>
                      <a:pt x="1557" y="125"/>
                      <a:pt x="1557" y="125"/>
                    </a:cubicBezTo>
                    <a:close/>
                    <a:moveTo>
                      <a:pt x="1639" y="126"/>
                    </a:moveTo>
                    <a:cubicBezTo>
                      <a:pt x="1639" y="126"/>
                      <a:pt x="1639" y="126"/>
                      <a:pt x="1639" y="125"/>
                    </a:cubicBezTo>
                    <a:cubicBezTo>
                      <a:pt x="1639" y="125"/>
                      <a:pt x="1639" y="126"/>
                      <a:pt x="1639" y="126"/>
                    </a:cubicBezTo>
                    <a:close/>
                    <a:moveTo>
                      <a:pt x="1774" y="125"/>
                    </a:moveTo>
                    <a:cubicBezTo>
                      <a:pt x="1774" y="125"/>
                      <a:pt x="1774" y="126"/>
                      <a:pt x="1774" y="126"/>
                    </a:cubicBezTo>
                    <a:cubicBezTo>
                      <a:pt x="1774" y="126"/>
                      <a:pt x="1774" y="126"/>
                      <a:pt x="1774" y="125"/>
                    </a:cubicBezTo>
                    <a:close/>
                    <a:moveTo>
                      <a:pt x="1014" y="127"/>
                    </a:moveTo>
                    <a:cubicBezTo>
                      <a:pt x="1014" y="127"/>
                      <a:pt x="1014" y="126"/>
                      <a:pt x="1014" y="126"/>
                    </a:cubicBezTo>
                    <a:cubicBezTo>
                      <a:pt x="1014" y="126"/>
                      <a:pt x="1014" y="127"/>
                      <a:pt x="1014" y="127"/>
                    </a:cubicBezTo>
                    <a:close/>
                    <a:moveTo>
                      <a:pt x="1264" y="126"/>
                    </a:moveTo>
                    <a:cubicBezTo>
                      <a:pt x="1263" y="126"/>
                      <a:pt x="1263" y="126"/>
                      <a:pt x="1263" y="126"/>
                    </a:cubicBezTo>
                    <a:cubicBezTo>
                      <a:pt x="1263" y="126"/>
                      <a:pt x="1263" y="126"/>
                      <a:pt x="1264" y="126"/>
                    </a:cubicBezTo>
                    <a:close/>
                    <a:moveTo>
                      <a:pt x="1298" y="126"/>
                    </a:moveTo>
                    <a:cubicBezTo>
                      <a:pt x="1298" y="126"/>
                      <a:pt x="1299" y="126"/>
                      <a:pt x="1299" y="126"/>
                    </a:cubicBezTo>
                    <a:cubicBezTo>
                      <a:pt x="1299" y="126"/>
                      <a:pt x="1299" y="126"/>
                      <a:pt x="1298" y="126"/>
                    </a:cubicBezTo>
                    <a:close/>
                    <a:moveTo>
                      <a:pt x="1619" y="126"/>
                    </a:moveTo>
                    <a:cubicBezTo>
                      <a:pt x="1619" y="126"/>
                      <a:pt x="1618" y="126"/>
                      <a:pt x="1618" y="127"/>
                    </a:cubicBezTo>
                    <a:cubicBezTo>
                      <a:pt x="1619" y="127"/>
                      <a:pt x="1619" y="126"/>
                      <a:pt x="1619" y="126"/>
                    </a:cubicBezTo>
                    <a:close/>
                    <a:moveTo>
                      <a:pt x="1538" y="127"/>
                    </a:moveTo>
                    <a:cubicBezTo>
                      <a:pt x="1538" y="127"/>
                      <a:pt x="1538" y="126"/>
                      <a:pt x="1538" y="126"/>
                    </a:cubicBezTo>
                    <a:cubicBezTo>
                      <a:pt x="1538" y="127"/>
                      <a:pt x="1538" y="127"/>
                      <a:pt x="1538" y="127"/>
                    </a:cubicBezTo>
                    <a:close/>
                    <a:moveTo>
                      <a:pt x="1600" y="128"/>
                    </a:moveTo>
                    <a:cubicBezTo>
                      <a:pt x="1600" y="127"/>
                      <a:pt x="1601" y="127"/>
                      <a:pt x="1601" y="126"/>
                    </a:cubicBezTo>
                    <a:cubicBezTo>
                      <a:pt x="1600" y="127"/>
                      <a:pt x="1600" y="127"/>
                      <a:pt x="1600" y="128"/>
                    </a:cubicBezTo>
                    <a:close/>
                    <a:moveTo>
                      <a:pt x="1638" y="128"/>
                    </a:moveTo>
                    <a:cubicBezTo>
                      <a:pt x="1638" y="127"/>
                      <a:pt x="1639" y="127"/>
                      <a:pt x="1639" y="126"/>
                    </a:cubicBezTo>
                    <a:cubicBezTo>
                      <a:pt x="1638" y="127"/>
                      <a:pt x="1638" y="127"/>
                      <a:pt x="1638" y="128"/>
                    </a:cubicBezTo>
                    <a:close/>
                    <a:moveTo>
                      <a:pt x="1774" y="126"/>
                    </a:moveTo>
                    <a:cubicBezTo>
                      <a:pt x="1773" y="126"/>
                      <a:pt x="1773" y="127"/>
                      <a:pt x="1773" y="127"/>
                    </a:cubicBezTo>
                    <a:cubicBezTo>
                      <a:pt x="1774" y="127"/>
                      <a:pt x="1774" y="127"/>
                      <a:pt x="1774" y="126"/>
                    </a:cubicBezTo>
                    <a:close/>
                    <a:moveTo>
                      <a:pt x="620" y="127"/>
                    </a:moveTo>
                    <a:cubicBezTo>
                      <a:pt x="620" y="127"/>
                      <a:pt x="620" y="127"/>
                      <a:pt x="620" y="128"/>
                    </a:cubicBezTo>
                    <a:cubicBezTo>
                      <a:pt x="620" y="128"/>
                      <a:pt x="620" y="127"/>
                      <a:pt x="620" y="127"/>
                    </a:cubicBezTo>
                    <a:close/>
                    <a:moveTo>
                      <a:pt x="715" y="128"/>
                    </a:moveTo>
                    <a:cubicBezTo>
                      <a:pt x="715" y="128"/>
                      <a:pt x="715" y="127"/>
                      <a:pt x="715" y="127"/>
                    </a:cubicBezTo>
                    <a:cubicBezTo>
                      <a:pt x="715" y="127"/>
                      <a:pt x="715" y="128"/>
                      <a:pt x="715" y="128"/>
                    </a:cubicBezTo>
                    <a:close/>
                    <a:moveTo>
                      <a:pt x="840" y="128"/>
                    </a:moveTo>
                    <a:cubicBezTo>
                      <a:pt x="840" y="128"/>
                      <a:pt x="840" y="127"/>
                      <a:pt x="840" y="127"/>
                    </a:cubicBezTo>
                    <a:cubicBezTo>
                      <a:pt x="840" y="127"/>
                      <a:pt x="840" y="128"/>
                      <a:pt x="840" y="128"/>
                    </a:cubicBezTo>
                    <a:close/>
                    <a:moveTo>
                      <a:pt x="1265" y="127"/>
                    </a:moveTo>
                    <a:cubicBezTo>
                      <a:pt x="1265" y="127"/>
                      <a:pt x="1265" y="127"/>
                      <a:pt x="1264" y="127"/>
                    </a:cubicBezTo>
                    <a:cubicBezTo>
                      <a:pt x="1264" y="127"/>
                      <a:pt x="1265" y="127"/>
                      <a:pt x="1265" y="127"/>
                    </a:cubicBezTo>
                    <a:close/>
                    <a:moveTo>
                      <a:pt x="1300" y="127"/>
                    </a:moveTo>
                    <a:cubicBezTo>
                      <a:pt x="1300" y="127"/>
                      <a:pt x="1301" y="127"/>
                      <a:pt x="1301" y="127"/>
                    </a:cubicBezTo>
                    <a:cubicBezTo>
                      <a:pt x="1301" y="127"/>
                      <a:pt x="1300" y="127"/>
                      <a:pt x="1300" y="127"/>
                    </a:cubicBezTo>
                    <a:close/>
                    <a:moveTo>
                      <a:pt x="1557" y="127"/>
                    </a:moveTo>
                    <a:cubicBezTo>
                      <a:pt x="1557" y="127"/>
                      <a:pt x="1557" y="128"/>
                      <a:pt x="1558" y="128"/>
                    </a:cubicBezTo>
                    <a:cubicBezTo>
                      <a:pt x="1558" y="128"/>
                      <a:pt x="1558" y="127"/>
                      <a:pt x="1557" y="127"/>
                    </a:cubicBezTo>
                    <a:close/>
                    <a:moveTo>
                      <a:pt x="1347" y="129"/>
                    </a:moveTo>
                    <a:cubicBezTo>
                      <a:pt x="1348" y="128"/>
                      <a:pt x="1348" y="128"/>
                      <a:pt x="1348" y="127"/>
                    </a:cubicBezTo>
                    <a:cubicBezTo>
                      <a:pt x="1347" y="128"/>
                      <a:pt x="1347" y="128"/>
                      <a:pt x="1347" y="129"/>
                    </a:cubicBezTo>
                    <a:close/>
                    <a:moveTo>
                      <a:pt x="1483" y="127"/>
                    </a:moveTo>
                    <a:cubicBezTo>
                      <a:pt x="1482" y="128"/>
                      <a:pt x="1482" y="128"/>
                      <a:pt x="1482" y="129"/>
                    </a:cubicBezTo>
                    <a:cubicBezTo>
                      <a:pt x="1483" y="128"/>
                      <a:pt x="1483" y="128"/>
                      <a:pt x="1483" y="127"/>
                    </a:cubicBezTo>
                    <a:close/>
                    <a:moveTo>
                      <a:pt x="1618" y="127"/>
                    </a:moveTo>
                    <a:cubicBezTo>
                      <a:pt x="1618" y="128"/>
                      <a:pt x="1618" y="128"/>
                      <a:pt x="1618" y="129"/>
                    </a:cubicBezTo>
                    <a:cubicBezTo>
                      <a:pt x="1618" y="128"/>
                      <a:pt x="1618" y="128"/>
                      <a:pt x="1618" y="127"/>
                    </a:cubicBezTo>
                    <a:close/>
                    <a:moveTo>
                      <a:pt x="1773" y="127"/>
                    </a:moveTo>
                    <a:cubicBezTo>
                      <a:pt x="1773" y="128"/>
                      <a:pt x="1773" y="128"/>
                      <a:pt x="1773" y="129"/>
                    </a:cubicBezTo>
                    <a:cubicBezTo>
                      <a:pt x="1773" y="128"/>
                      <a:pt x="1773" y="128"/>
                      <a:pt x="1773" y="127"/>
                    </a:cubicBezTo>
                    <a:close/>
                    <a:moveTo>
                      <a:pt x="620" y="128"/>
                    </a:moveTo>
                    <a:cubicBezTo>
                      <a:pt x="619" y="128"/>
                      <a:pt x="619" y="129"/>
                      <a:pt x="619" y="129"/>
                    </a:cubicBezTo>
                    <a:cubicBezTo>
                      <a:pt x="620" y="129"/>
                      <a:pt x="620" y="128"/>
                      <a:pt x="620" y="128"/>
                    </a:cubicBezTo>
                    <a:close/>
                    <a:moveTo>
                      <a:pt x="1267" y="129"/>
                    </a:moveTo>
                    <a:cubicBezTo>
                      <a:pt x="1267" y="128"/>
                      <a:pt x="1266" y="128"/>
                      <a:pt x="1266" y="128"/>
                    </a:cubicBezTo>
                    <a:cubicBezTo>
                      <a:pt x="1266" y="128"/>
                      <a:pt x="1267" y="129"/>
                      <a:pt x="1267" y="129"/>
                    </a:cubicBezTo>
                    <a:close/>
                    <a:moveTo>
                      <a:pt x="1599" y="129"/>
                    </a:moveTo>
                    <a:cubicBezTo>
                      <a:pt x="1600" y="129"/>
                      <a:pt x="1600" y="129"/>
                      <a:pt x="1600" y="128"/>
                    </a:cubicBezTo>
                    <a:cubicBezTo>
                      <a:pt x="1599" y="128"/>
                      <a:pt x="1599" y="129"/>
                      <a:pt x="1599" y="129"/>
                    </a:cubicBezTo>
                    <a:close/>
                    <a:moveTo>
                      <a:pt x="1637" y="129"/>
                    </a:moveTo>
                    <a:cubicBezTo>
                      <a:pt x="1638" y="129"/>
                      <a:pt x="1638" y="129"/>
                      <a:pt x="1638" y="128"/>
                    </a:cubicBezTo>
                    <a:cubicBezTo>
                      <a:pt x="1637" y="128"/>
                      <a:pt x="1637" y="129"/>
                      <a:pt x="1637" y="129"/>
                    </a:cubicBezTo>
                    <a:close/>
                    <a:moveTo>
                      <a:pt x="1482" y="129"/>
                    </a:moveTo>
                    <a:cubicBezTo>
                      <a:pt x="1482" y="129"/>
                      <a:pt x="1482" y="129"/>
                      <a:pt x="1482" y="130"/>
                    </a:cubicBezTo>
                    <a:cubicBezTo>
                      <a:pt x="1482" y="129"/>
                      <a:pt x="1482" y="129"/>
                      <a:pt x="1482" y="129"/>
                    </a:cubicBezTo>
                    <a:close/>
                    <a:moveTo>
                      <a:pt x="1558" y="129"/>
                    </a:moveTo>
                    <a:cubicBezTo>
                      <a:pt x="1558" y="129"/>
                      <a:pt x="1558" y="130"/>
                      <a:pt x="1558" y="130"/>
                    </a:cubicBezTo>
                    <a:cubicBezTo>
                      <a:pt x="1558" y="129"/>
                      <a:pt x="1558" y="129"/>
                      <a:pt x="1558" y="129"/>
                    </a:cubicBezTo>
                    <a:close/>
                    <a:moveTo>
                      <a:pt x="1618" y="129"/>
                    </a:moveTo>
                    <a:cubicBezTo>
                      <a:pt x="1617" y="129"/>
                      <a:pt x="1617" y="129"/>
                      <a:pt x="1617" y="130"/>
                    </a:cubicBezTo>
                    <a:cubicBezTo>
                      <a:pt x="1618" y="129"/>
                      <a:pt x="1618" y="129"/>
                      <a:pt x="1618" y="129"/>
                    </a:cubicBezTo>
                    <a:close/>
                    <a:moveTo>
                      <a:pt x="1028" y="129"/>
                    </a:moveTo>
                    <a:cubicBezTo>
                      <a:pt x="1028" y="129"/>
                      <a:pt x="1028" y="130"/>
                      <a:pt x="1028" y="130"/>
                    </a:cubicBezTo>
                    <a:cubicBezTo>
                      <a:pt x="1028" y="130"/>
                      <a:pt x="1028" y="129"/>
                      <a:pt x="1028" y="129"/>
                    </a:cubicBezTo>
                    <a:close/>
                    <a:moveTo>
                      <a:pt x="1098" y="129"/>
                    </a:moveTo>
                    <a:cubicBezTo>
                      <a:pt x="1097" y="129"/>
                      <a:pt x="1097" y="130"/>
                      <a:pt x="1097" y="130"/>
                    </a:cubicBezTo>
                    <a:cubicBezTo>
                      <a:pt x="1098" y="130"/>
                      <a:pt x="1098" y="129"/>
                      <a:pt x="1098" y="129"/>
                    </a:cubicBezTo>
                    <a:close/>
                    <a:moveTo>
                      <a:pt x="1269" y="130"/>
                    </a:moveTo>
                    <a:cubicBezTo>
                      <a:pt x="1269" y="129"/>
                      <a:pt x="1268" y="129"/>
                      <a:pt x="1268" y="129"/>
                    </a:cubicBezTo>
                    <a:cubicBezTo>
                      <a:pt x="1268" y="130"/>
                      <a:pt x="1268" y="130"/>
                      <a:pt x="1269" y="130"/>
                    </a:cubicBezTo>
                    <a:close/>
                    <a:moveTo>
                      <a:pt x="1347" y="130"/>
                    </a:moveTo>
                    <a:cubicBezTo>
                      <a:pt x="1347" y="130"/>
                      <a:pt x="1347" y="130"/>
                      <a:pt x="1347" y="129"/>
                    </a:cubicBezTo>
                    <a:cubicBezTo>
                      <a:pt x="1347" y="129"/>
                      <a:pt x="1347" y="130"/>
                      <a:pt x="1347" y="130"/>
                    </a:cubicBezTo>
                    <a:close/>
                    <a:moveTo>
                      <a:pt x="1539" y="130"/>
                    </a:moveTo>
                    <a:cubicBezTo>
                      <a:pt x="1539" y="130"/>
                      <a:pt x="1539" y="129"/>
                      <a:pt x="1539" y="129"/>
                    </a:cubicBezTo>
                    <a:cubicBezTo>
                      <a:pt x="1539" y="130"/>
                      <a:pt x="1539" y="130"/>
                      <a:pt x="1539" y="130"/>
                    </a:cubicBezTo>
                    <a:close/>
                    <a:moveTo>
                      <a:pt x="1773" y="129"/>
                    </a:moveTo>
                    <a:cubicBezTo>
                      <a:pt x="1772" y="129"/>
                      <a:pt x="1772" y="130"/>
                      <a:pt x="1772" y="130"/>
                    </a:cubicBezTo>
                    <a:cubicBezTo>
                      <a:pt x="1773" y="130"/>
                      <a:pt x="1773" y="129"/>
                      <a:pt x="1773" y="129"/>
                    </a:cubicBezTo>
                    <a:close/>
                    <a:moveTo>
                      <a:pt x="962" y="131"/>
                    </a:moveTo>
                    <a:cubicBezTo>
                      <a:pt x="962" y="130"/>
                      <a:pt x="962" y="130"/>
                      <a:pt x="962" y="129"/>
                    </a:cubicBezTo>
                    <a:cubicBezTo>
                      <a:pt x="962" y="130"/>
                      <a:pt x="962" y="131"/>
                      <a:pt x="962" y="131"/>
                    </a:cubicBezTo>
                    <a:close/>
                    <a:moveTo>
                      <a:pt x="1599" y="131"/>
                    </a:moveTo>
                    <a:cubicBezTo>
                      <a:pt x="1599" y="131"/>
                      <a:pt x="1599" y="130"/>
                      <a:pt x="1599" y="130"/>
                    </a:cubicBezTo>
                    <a:cubicBezTo>
                      <a:pt x="1599" y="130"/>
                      <a:pt x="1599" y="130"/>
                      <a:pt x="1599" y="131"/>
                    </a:cubicBezTo>
                    <a:close/>
                    <a:moveTo>
                      <a:pt x="1637" y="131"/>
                    </a:moveTo>
                    <a:cubicBezTo>
                      <a:pt x="1637" y="131"/>
                      <a:pt x="1637" y="130"/>
                      <a:pt x="1637" y="130"/>
                    </a:cubicBezTo>
                    <a:cubicBezTo>
                      <a:pt x="1637" y="130"/>
                      <a:pt x="1637" y="131"/>
                      <a:pt x="1637" y="131"/>
                    </a:cubicBezTo>
                    <a:close/>
                    <a:moveTo>
                      <a:pt x="426" y="130"/>
                    </a:moveTo>
                    <a:cubicBezTo>
                      <a:pt x="426" y="130"/>
                      <a:pt x="426" y="131"/>
                      <a:pt x="426" y="131"/>
                    </a:cubicBezTo>
                    <a:cubicBezTo>
                      <a:pt x="426" y="131"/>
                      <a:pt x="426" y="131"/>
                      <a:pt x="426" y="130"/>
                    </a:cubicBezTo>
                    <a:close/>
                    <a:moveTo>
                      <a:pt x="1271" y="131"/>
                    </a:moveTo>
                    <a:cubicBezTo>
                      <a:pt x="1270" y="130"/>
                      <a:pt x="1270" y="130"/>
                      <a:pt x="1269" y="130"/>
                    </a:cubicBezTo>
                    <a:cubicBezTo>
                      <a:pt x="1270" y="131"/>
                      <a:pt x="1270" y="131"/>
                      <a:pt x="1271" y="131"/>
                    </a:cubicBezTo>
                    <a:close/>
                    <a:moveTo>
                      <a:pt x="1482" y="130"/>
                    </a:moveTo>
                    <a:cubicBezTo>
                      <a:pt x="1481" y="130"/>
                      <a:pt x="1481" y="131"/>
                      <a:pt x="1481" y="131"/>
                    </a:cubicBezTo>
                    <a:cubicBezTo>
                      <a:pt x="1482" y="131"/>
                      <a:pt x="1482" y="131"/>
                      <a:pt x="1482" y="130"/>
                    </a:cubicBezTo>
                    <a:close/>
                    <a:moveTo>
                      <a:pt x="1559" y="130"/>
                    </a:moveTo>
                    <a:cubicBezTo>
                      <a:pt x="1558" y="131"/>
                      <a:pt x="1559" y="131"/>
                      <a:pt x="1559" y="132"/>
                    </a:cubicBezTo>
                    <a:cubicBezTo>
                      <a:pt x="1559" y="131"/>
                      <a:pt x="1559" y="131"/>
                      <a:pt x="1559" y="130"/>
                    </a:cubicBezTo>
                    <a:close/>
                    <a:moveTo>
                      <a:pt x="1617" y="130"/>
                    </a:moveTo>
                    <a:cubicBezTo>
                      <a:pt x="1617" y="130"/>
                      <a:pt x="1617" y="131"/>
                      <a:pt x="1617" y="131"/>
                    </a:cubicBezTo>
                    <a:cubicBezTo>
                      <a:pt x="1617" y="131"/>
                      <a:pt x="1617" y="131"/>
                      <a:pt x="1617" y="130"/>
                    </a:cubicBezTo>
                    <a:close/>
                    <a:moveTo>
                      <a:pt x="1540" y="132"/>
                    </a:moveTo>
                    <a:cubicBezTo>
                      <a:pt x="1540" y="131"/>
                      <a:pt x="1540" y="131"/>
                      <a:pt x="1540" y="131"/>
                    </a:cubicBezTo>
                    <a:cubicBezTo>
                      <a:pt x="1539" y="131"/>
                      <a:pt x="1540" y="132"/>
                      <a:pt x="1540" y="132"/>
                    </a:cubicBezTo>
                    <a:close/>
                    <a:moveTo>
                      <a:pt x="1772" y="131"/>
                    </a:moveTo>
                    <a:cubicBezTo>
                      <a:pt x="1772" y="131"/>
                      <a:pt x="1772" y="131"/>
                      <a:pt x="1772" y="132"/>
                    </a:cubicBezTo>
                    <a:cubicBezTo>
                      <a:pt x="1772" y="132"/>
                      <a:pt x="1772" y="131"/>
                      <a:pt x="1772" y="131"/>
                    </a:cubicBezTo>
                    <a:close/>
                    <a:moveTo>
                      <a:pt x="619" y="131"/>
                    </a:moveTo>
                    <a:cubicBezTo>
                      <a:pt x="618" y="132"/>
                      <a:pt x="618" y="132"/>
                      <a:pt x="618" y="133"/>
                    </a:cubicBezTo>
                    <a:cubicBezTo>
                      <a:pt x="619" y="132"/>
                      <a:pt x="619" y="132"/>
                      <a:pt x="619" y="131"/>
                    </a:cubicBezTo>
                    <a:close/>
                    <a:moveTo>
                      <a:pt x="1012" y="133"/>
                    </a:moveTo>
                    <a:cubicBezTo>
                      <a:pt x="1012" y="132"/>
                      <a:pt x="1013" y="132"/>
                      <a:pt x="1012" y="131"/>
                    </a:cubicBezTo>
                    <a:cubicBezTo>
                      <a:pt x="1012" y="132"/>
                      <a:pt x="1012" y="132"/>
                      <a:pt x="1012" y="133"/>
                    </a:cubicBezTo>
                    <a:close/>
                    <a:moveTo>
                      <a:pt x="1135" y="131"/>
                    </a:moveTo>
                    <a:cubicBezTo>
                      <a:pt x="1135" y="132"/>
                      <a:pt x="1135" y="132"/>
                      <a:pt x="1135" y="133"/>
                    </a:cubicBezTo>
                    <a:cubicBezTo>
                      <a:pt x="1135" y="132"/>
                      <a:pt x="1135" y="132"/>
                      <a:pt x="1135" y="131"/>
                    </a:cubicBezTo>
                    <a:close/>
                    <a:moveTo>
                      <a:pt x="1272" y="132"/>
                    </a:moveTo>
                    <a:cubicBezTo>
                      <a:pt x="1272" y="131"/>
                      <a:pt x="1272" y="131"/>
                      <a:pt x="1271" y="131"/>
                    </a:cubicBezTo>
                    <a:cubicBezTo>
                      <a:pt x="1271" y="132"/>
                      <a:pt x="1272" y="132"/>
                      <a:pt x="1272" y="132"/>
                    </a:cubicBezTo>
                    <a:close/>
                    <a:moveTo>
                      <a:pt x="1307" y="131"/>
                    </a:moveTo>
                    <a:cubicBezTo>
                      <a:pt x="1307" y="132"/>
                      <a:pt x="1307" y="132"/>
                      <a:pt x="1308" y="132"/>
                    </a:cubicBezTo>
                    <a:cubicBezTo>
                      <a:pt x="1308" y="132"/>
                      <a:pt x="1307" y="131"/>
                      <a:pt x="1307" y="131"/>
                    </a:cubicBezTo>
                    <a:close/>
                    <a:moveTo>
                      <a:pt x="1617" y="131"/>
                    </a:moveTo>
                    <a:cubicBezTo>
                      <a:pt x="1616" y="132"/>
                      <a:pt x="1616" y="132"/>
                      <a:pt x="1616" y="133"/>
                    </a:cubicBezTo>
                    <a:cubicBezTo>
                      <a:pt x="1617" y="132"/>
                      <a:pt x="1617" y="132"/>
                      <a:pt x="1617" y="131"/>
                    </a:cubicBezTo>
                    <a:close/>
                    <a:moveTo>
                      <a:pt x="1273" y="133"/>
                    </a:moveTo>
                    <a:cubicBezTo>
                      <a:pt x="1273" y="132"/>
                      <a:pt x="1273" y="132"/>
                      <a:pt x="1272" y="132"/>
                    </a:cubicBezTo>
                    <a:cubicBezTo>
                      <a:pt x="1272" y="132"/>
                      <a:pt x="1273" y="133"/>
                      <a:pt x="1273" y="133"/>
                    </a:cubicBezTo>
                    <a:close/>
                    <a:moveTo>
                      <a:pt x="1481" y="132"/>
                    </a:moveTo>
                    <a:cubicBezTo>
                      <a:pt x="1481" y="132"/>
                      <a:pt x="1481" y="133"/>
                      <a:pt x="1481" y="133"/>
                    </a:cubicBezTo>
                    <a:cubicBezTo>
                      <a:pt x="1481" y="133"/>
                      <a:pt x="1481" y="132"/>
                      <a:pt x="1481" y="132"/>
                    </a:cubicBezTo>
                    <a:close/>
                    <a:moveTo>
                      <a:pt x="1309" y="133"/>
                    </a:moveTo>
                    <a:cubicBezTo>
                      <a:pt x="1309" y="133"/>
                      <a:pt x="1309" y="133"/>
                      <a:pt x="1310" y="133"/>
                    </a:cubicBezTo>
                    <a:cubicBezTo>
                      <a:pt x="1309" y="133"/>
                      <a:pt x="1309" y="133"/>
                      <a:pt x="1309" y="133"/>
                    </a:cubicBezTo>
                    <a:close/>
                    <a:moveTo>
                      <a:pt x="1598" y="134"/>
                    </a:moveTo>
                    <a:cubicBezTo>
                      <a:pt x="1598" y="134"/>
                      <a:pt x="1598" y="133"/>
                      <a:pt x="1598" y="133"/>
                    </a:cubicBezTo>
                    <a:cubicBezTo>
                      <a:pt x="1598" y="133"/>
                      <a:pt x="1598" y="133"/>
                      <a:pt x="1598" y="134"/>
                    </a:cubicBezTo>
                    <a:close/>
                    <a:moveTo>
                      <a:pt x="1771" y="132"/>
                    </a:moveTo>
                    <a:cubicBezTo>
                      <a:pt x="1771" y="133"/>
                      <a:pt x="1771" y="133"/>
                      <a:pt x="1771" y="134"/>
                    </a:cubicBezTo>
                    <a:cubicBezTo>
                      <a:pt x="1772" y="133"/>
                      <a:pt x="1772" y="133"/>
                      <a:pt x="1771" y="132"/>
                    </a:cubicBezTo>
                    <a:close/>
                    <a:moveTo>
                      <a:pt x="1136" y="133"/>
                    </a:moveTo>
                    <a:cubicBezTo>
                      <a:pt x="1136" y="134"/>
                      <a:pt x="1136" y="134"/>
                      <a:pt x="1136" y="134"/>
                    </a:cubicBezTo>
                    <a:cubicBezTo>
                      <a:pt x="1136" y="134"/>
                      <a:pt x="1136" y="133"/>
                      <a:pt x="1136" y="133"/>
                    </a:cubicBezTo>
                    <a:close/>
                    <a:moveTo>
                      <a:pt x="1275" y="134"/>
                    </a:moveTo>
                    <a:cubicBezTo>
                      <a:pt x="1275" y="133"/>
                      <a:pt x="1275" y="133"/>
                      <a:pt x="1274" y="133"/>
                    </a:cubicBezTo>
                    <a:cubicBezTo>
                      <a:pt x="1274" y="134"/>
                      <a:pt x="1275" y="134"/>
                      <a:pt x="1275" y="134"/>
                    </a:cubicBezTo>
                    <a:close/>
                    <a:moveTo>
                      <a:pt x="1616" y="133"/>
                    </a:moveTo>
                    <a:cubicBezTo>
                      <a:pt x="1616" y="133"/>
                      <a:pt x="1615" y="134"/>
                      <a:pt x="1615" y="134"/>
                    </a:cubicBezTo>
                    <a:cubicBezTo>
                      <a:pt x="1616" y="134"/>
                      <a:pt x="1616" y="134"/>
                      <a:pt x="1616" y="133"/>
                    </a:cubicBezTo>
                    <a:close/>
                    <a:moveTo>
                      <a:pt x="1276" y="134"/>
                    </a:moveTo>
                    <a:cubicBezTo>
                      <a:pt x="1276" y="134"/>
                      <a:pt x="1276" y="134"/>
                      <a:pt x="1275" y="134"/>
                    </a:cubicBezTo>
                    <a:cubicBezTo>
                      <a:pt x="1275" y="134"/>
                      <a:pt x="1276" y="134"/>
                      <a:pt x="1276" y="134"/>
                    </a:cubicBezTo>
                    <a:close/>
                    <a:moveTo>
                      <a:pt x="1541" y="135"/>
                    </a:moveTo>
                    <a:cubicBezTo>
                      <a:pt x="1541" y="134"/>
                      <a:pt x="1541" y="134"/>
                      <a:pt x="1541" y="134"/>
                    </a:cubicBezTo>
                    <a:cubicBezTo>
                      <a:pt x="1541" y="134"/>
                      <a:pt x="1541" y="135"/>
                      <a:pt x="1541" y="135"/>
                    </a:cubicBezTo>
                    <a:close/>
                    <a:moveTo>
                      <a:pt x="425" y="134"/>
                    </a:moveTo>
                    <a:cubicBezTo>
                      <a:pt x="425" y="134"/>
                      <a:pt x="425" y="135"/>
                      <a:pt x="425" y="135"/>
                    </a:cubicBezTo>
                    <a:cubicBezTo>
                      <a:pt x="425" y="135"/>
                      <a:pt x="425" y="135"/>
                      <a:pt x="425" y="134"/>
                    </a:cubicBezTo>
                    <a:close/>
                    <a:moveTo>
                      <a:pt x="1311" y="134"/>
                    </a:moveTo>
                    <a:cubicBezTo>
                      <a:pt x="1311" y="135"/>
                      <a:pt x="1311" y="135"/>
                      <a:pt x="1312" y="135"/>
                    </a:cubicBezTo>
                    <a:cubicBezTo>
                      <a:pt x="1312" y="134"/>
                      <a:pt x="1311" y="134"/>
                      <a:pt x="1311" y="134"/>
                    </a:cubicBezTo>
                    <a:close/>
                    <a:moveTo>
                      <a:pt x="1597" y="136"/>
                    </a:moveTo>
                    <a:cubicBezTo>
                      <a:pt x="1598" y="135"/>
                      <a:pt x="1598" y="135"/>
                      <a:pt x="1598" y="134"/>
                    </a:cubicBezTo>
                    <a:cubicBezTo>
                      <a:pt x="1597" y="135"/>
                      <a:pt x="1597" y="135"/>
                      <a:pt x="1597" y="136"/>
                    </a:cubicBezTo>
                    <a:close/>
                    <a:moveTo>
                      <a:pt x="1174" y="96"/>
                    </a:moveTo>
                    <a:cubicBezTo>
                      <a:pt x="1174" y="97"/>
                      <a:pt x="1174" y="97"/>
                      <a:pt x="1175" y="97"/>
                    </a:cubicBezTo>
                    <a:cubicBezTo>
                      <a:pt x="1175" y="96"/>
                      <a:pt x="1174" y="96"/>
                      <a:pt x="1174" y="96"/>
                    </a:cubicBezTo>
                    <a:close/>
                    <a:moveTo>
                      <a:pt x="1096" y="135"/>
                    </a:moveTo>
                    <a:cubicBezTo>
                      <a:pt x="1096" y="135"/>
                      <a:pt x="1095" y="136"/>
                      <a:pt x="1096" y="136"/>
                    </a:cubicBezTo>
                    <a:cubicBezTo>
                      <a:pt x="1096" y="136"/>
                      <a:pt x="1096" y="135"/>
                      <a:pt x="1096" y="135"/>
                    </a:cubicBezTo>
                    <a:close/>
                    <a:moveTo>
                      <a:pt x="964" y="137"/>
                    </a:moveTo>
                    <a:cubicBezTo>
                      <a:pt x="964" y="136"/>
                      <a:pt x="964" y="136"/>
                      <a:pt x="964" y="135"/>
                    </a:cubicBezTo>
                    <a:cubicBezTo>
                      <a:pt x="964" y="136"/>
                      <a:pt x="964" y="136"/>
                      <a:pt x="964" y="137"/>
                    </a:cubicBezTo>
                    <a:close/>
                    <a:moveTo>
                      <a:pt x="1116" y="137"/>
                    </a:moveTo>
                    <a:cubicBezTo>
                      <a:pt x="1116" y="136"/>
                      <a:pt x="1116" y="136"/>
                      <a:pt x="1116" y="135"/>
                    </a:cubicBezTo>
                    <a:cubicBezTo>
                      <a:pt x="1116" y="136"/>
                      <a:pt x="1116" y="136"/>
                      <a:pt x="1116" y="137"/>
                    </a:cubicBezTo>
                    <a:close/>
                    <a:moveTo>
                      <a:pt x="1138" y="135"/>
                    </a:moveTo>
                    <a:cubicBezTo>
                      <a:pt x="1138" y="136"/>
                      <a:pt x="1138" y="136"/>
                      <a:pt x="1139" y="136"/>
                    </a:cubicBezTo>
                    <a:cubicBezTo>
                      <a:pt x="1138" y="136"/>
                      <a:pt x="1138" y="136"/>
                      <a:pt x="1138" y="135"/>
                    </a:cubicBezTo>
                    <a:close/>
                    <a:moveTo>
                      <a:pt x="1279" y="136"/>
                    </a:moveTo>
                    <a:cubicBezTo>
                      <a:pt x="1279" y="136"/>
                      <a:pt x="1279" y="135"/>
                      <a:pt x="1278" y="135"/>
                    </a:cubicBezTo>
                    <a:cubicBezTo>
                      <a:pt x="1278" y="136"/>
                      <a:pt x="1279" y="136"/>
                      <a:pt x="1279" y="136"/>
                    </a:cubicBezTo>
                    <a:close/>
                    <a:moveTo>
                      <a:pt x="1542" y="137"/>
                    </a:moveTo>
                    <a:cubicBezTo>
                      <a:pt x="1542" y="136"/>
                      <a:pt x="1542" y="136"/>
                      <a:pt x="1541" y="135"/>
                    </a:cubicBezTo>
                    <a:cubicBezTo>
                      <a:pt x="1541" y="136"/>
                      <a:pt x="1541" y="136"/>
                      <a:pt x="1542" y="137"/>
                    </a:cubicBezTo>
                    <a:close/>
                    <a:moveTo>
                      <a:pt x="1280" y="137"/>
                    </a:moveTo>
                    <a:cubicBezTo>
                      <a:pt x="1280" y="136"/>
                      <a:pt x="1280" y="136"/>
                      <a:pt x="1279" y="136"/>
                    </a:cubicBezTo>
                    <a:cubicBezTo>
                      <a:pt x="1279" y="137"/>
                      <a:pt x="1280" y="137"/>
                      <a:pt x="1280" y="137"/>
                    </a:cubicBezTo>
                    <a:close/>
                    <a:moveTo>
                      <a:pt x="1597" y="137"/>
                    </a:moveTo>
                    <a:cubicBezTo>
                      <a:pt x="1597" y="137"/>
                      <a:pt x="1597" y="137"/>
                      <a:pt x="1597" y="136"/>
                    </a:cubicBezTo>
                    <a:cubicBezTo>
                      <a:pt x="1597" y="136"/>
                      <a:pt x="1596" y="137"/>
                      <a:pt x="1597" y="137"/>
                    </a:cubicBezTo>
                    <a:close/>
                    <a:moveTo>
                      <a:pt x="1615" y="136"/>
                    </a:moveTo>
                    <a:cubicBezTo>
                      <a:pt x="1614" y="136"/>
                      <a:pt x="1614" y="137"/>
                      <a:pt x="1614" y="137"/>
                    </a:cubicBezTo>
                    <a:cubicBezTo>
                      <a:pt x="1615" y="137"/>
                      <a:pt x="1615" y="136"/>
                      <a:pt x="1615" y="136"/>
                    </a:cubicBezTo>
                    <a:close/>
                    <a:moveTo>
                      <a:pt x="454" y="138"/>
                    </a:moveTo>
                    <a:cubicBezTo>
                      <a:pt x="455" y="137"/>
                      <a:pt x="454" y="137"/>
                      <a:pt x="454" y="136"/>
                    </a:cubicBezTo>
                    <a:cubicBezTo>
                      <a:pt x="454" y="137"/>
                      <a:pt x="454" y="137"/>
                      <a:pt x="454" y="138"/>
                    </a:cubicBezTo>
                    <a:close/>
                    <a:moveTo>
                      <a:pt x="1026" y="136"/>
                    </a:moveTo>
                    <a:cubicBezTo>
                      <a:pt x="1025" y="137"/>
                      <a:pt x="1025" y="137"/>
                      <a:pt x="1025" y="138"/>
                    </a:cubicBezTo>
                    <a:cubicBezTo>
                      <a:pt x="1026" y="137"/>
                      <a:pt x="1026" y="137"/>
                      <a:pt x="1026" y="136"/>
                    </a:cubicBezTo>
                    <a:close/>
                    <a:moveTo>
                      <a:pt x="1561" y="137"/>
                    </a:moveTo>
                    <a:cubicBezTo>
                      <a:pt x="1561" y="137"/>
                      <a:pt x="1561" y="138"/>
                      <a:pt x="1561" y="138"/>
                    </a:cubicBezTo>
                    <a:cubicBezTo>
                      <a:pt x="1561" y="138"/>
                      <a:pt x="1561" y="137"/>
                      <a:pt x="1561" y="137"/>
                    </a:cubicBezTo>
                    <a:close/>
                    <a:moveTo>
                      <a:pt x="1117" y="138"/>
                    </a:moveTo>
                    <a:cubicBezTo>
                      <a:pt x="1117" y="138"/>
                      <a:pt x="1117" y="137"/>
                      <a:pt x="1116" y="137"/>
                    </a:cubicBezTo>
                    <a:cubicBezTo>
                      <a:pt x="1116" y="138"/>
                      <a:pt x="1116" y="138"/>
                      <a:pt x="1117" y="138"/>
                    </a:cubicBezTo>
                    <a:close/>
                    <a:moveTo>
                      <a:pt x="1140" y="137"/>
                    </a:moveTo>
                    <a:cubicBezTo>
                      <a:pt x="1140" y="138"/>
                      <a:pt x="1140" y="138"/>
                      <a:pt x="1141" y="138"/>
                    </a:cubicBezTo>
                    <a:cubicBezTo>
                      <a:pt x="1141" y="137"/>
                      <a:pt x="1140" y="137"/>
                      <a:pt x="1140" y="137"/>
                    </a:cubicBezTo>
                    <a:close/>
                    <a:moveTo>
                      <a:pt x="1282" y="138"/>
                    </a:moveTo>
                    <a:cubicBezTo>
                      <a:pt x="1282" y="137"/>
                      <a:pt x="1281" y="137"/>
                      <a:pt x="1281" y="137"/>
                    </a:cubicBezTo>
                    <a:cubicBezTo>
                      <a:pt x="1281" y="138"/>
                      <a:pt x="1282" y="138"/>
                      <a:pt x="1282" y="138"/>
                    </a:cubicBezTo>
                    <a:close/>
                    <a:moveTo>
                      <a:pt x="1314" y="137"/>
                    </a:moveTo>
                    <a:cubicBezTo>
                      <a:pt x="1315" y="138"/>
                      <a:pt x="1315" y="138"/>
                      <a:pt x="1315" y="138"/>
                    </a:cubicBezTo>
                    <a:cubicBezTo>
                      <a:pt x="1315" y="137"/>
                      <a:pt x="1315" y="137"/>
                      <a:pt x="1314" y="137"/>
                    </a:cubicBezTo>
                    <a:close/>
                    <a:moveTo>
                      <a:pt x="1283" y="138"/>
                    </a:moveTo>
                    <a:cubicBezTo>
                      <a:pt x="1283" y="138"/>
                      <a:pt x="1283" y="138"/>
                      <a:pt x="1282" y="138"/>
                    </a:cubicBezTo>
                    <a:cubicBezTo>
                      <a:pt x="1282" y="138"/>
                      <a:pt x="1283" y="138"/>
                      <a:pt x="1283" y="138"/>
                    </a:cubicBezTo>
                    <a:close/>
                    <a:moveTo>
                      <a:pt x="424" y="138"/>
                    </a:moveTo>
                    <a:cubicBezTo>
                      <a:pt x="423" y="138"/>
                      <a:pt x="423" y="139"/>
                      <a:pt x="423" y="139"/>
                    </a:cubicBezTo>
                    <a:cubicBezTo>
                      <a:pt x="424" y="139"/>
                      <a:pt x="424" y="139"/>
                      <a:pt x="424" y="138"/>
                    </a:cubicBezTo>
                    <a:close/>
                    <a:moveTo>
                      <a:pt x="1025" y="138"/>
                    </a:moveTo>
                    <a:cubicBezTo>
                      <a:pt x="1025" y="138"/>
                      <a:pt x="1025" y="139"/>
                      <a:pt x="1025" y="139"/>
                    </a:cubicBezTo>
                    <a:cubicBezTo>
                      <a:pt x="1025" y="139"/>
                      <a:pt x="1025" y="139"/>
                      <a:pt x="1025" y="138"/>
                    </a:cubicBezTo>
                    <a:close/>
                    <a:moveTo>
                      <a:pt x="1117" y="139"/>
                    </a:moveTo>
                    <a:cubicBezTo>
                      <a:pt x="1117" y="139"/>
                      <a:pt x="1117" y="139"/>
                      <a:pt x="1117" y="138"/>
                    </a:cubicBezTo>
                    <a:cubicBezTo>
                      <a:pt x="1117" y="139"/>
                      <a:pt x="1117" y="139"/>
                      <a:pt x="1117" y="139"/>
                    </a:cubicBezTo>
                    <a:close/>
                    <a:moveTo>
                      <a:pt x="1543" y="140"/>
                    </a:moveTo>
                    <a:cubicBezTo>
                      <a:pt x="1543" y="139"/>
                      <a:pt x="1543" y="139"/>
                      <a:pt x="1542" y="138"/>
                    </a:cubicBezTo>
                    <a:cubicBezTo>
                      <a:pt x="1542" y="139"/>
                      <a:pt x="1542" y="139"/>
                      <a:pt x="1543" y="140"/>
                    </a:cubicBezTo>
                    <a:close/>
                    <a:moveTo>
                      <a:pt x="1561" y="138"/>
                    </a:moveTo>
                    <a:cubicBezTo>
                      <a:pt x="1561" y="139"/>
                      <a:pt x="1561" y="139"/>
                      <a:pt x="1562" y="140"/>
                    </a:cubicBezTo>
                    <a:cubicBezTo>
                      <a:pt x="1562" y="139"/>
                      <a:pt x="1562" y="139"/>
                      <a:pt x="1561" y="138"/>
                    </a:cubicBezTo>
                    <a:close/>
                    <a:moveTo>
                      <a:pt x="1010" y="140"/>
                    </a:moveTo>
                    <a:cubicBezTo>
                      <a:pt x="1010" y="140"/>
                      <a:pt x="1010" y="139"/>
                      <a:pt x="1010" y="139"/>
                    </a:cubicBezTo>
                    <a:cubicBezTo>
                      <a:pt x="1010" y="139"/>
                      <a:pt x="1010" y="140"/>
                      <a:pt x="1010" y="140"/>
                    </a:cubicBezTo>
                    <a:close/>
                    <a:moveTo>
                      <a:pt x="1036" y="140"/>
                    </a:moveTo>
                    <a:cubicBezTo>
                      <a:pt x="1036" y="140"/>
                      <a:pt x="1036" y="139"/>
                      <a:pt x="1036" y="139"/>
                    </a:cubicBezTo>
                    <a:cubicBezTo>
                      <a:pt x="1036" y="139"/>
                      <a:pt x="1036" y="140"/>
                      <a:pt x="1036" y="140"/>
                    </a:cubicBezTo>
                    <a:close/>
                    <a:moveTo>
                      <a:pt x="1143" y="139"/>
                    </a:moveTo>
                    <a:cubicBezTo>
                      <a:pt x="1143" y="139"/>
                      <a:pt x="1143" y="140"/>
                      <a:pt x="1144" y="140"/>
                    </a:cubicBezTo>
                    <a:cubicBezTo>
                      <a:pt x="1144" y="139"/>
                      <a:pt x="1143" y="139"/>
                      <a:pt x="1143" y="139"/>
                    </a:cubicBezTo>
                    <a:close/>
                    <a:moveTo>
                      <a:pt x="1285" y="139"/>
                    </a:moveTo>
                    <a:cubicBezTo>
                      <a:pt x="1285" y="139"/>
                      <a:pt x="1284" y="139"/>
                      <a:pt x="1284" y="139"/>
                    </a:cubicBezTo>
                    <a:cubicBezTo>
                      <a:pt x="1284" y="139"/>
                      <a:pt x="1284" y="139"/>
                      <a:pt x="1285" y="139"/>
                    </a:cubicBezTo>
                    <a:close/>
                    <a:moveTo>
                      <a:pt x="1595" y="140"/>
                    </a:moveTo>
                    <a:cubicBezTo>
                      <a:pt x="1596" y="140"/>
                      <a:pt x="1596" y="139"/>
                      <a:pt x="1596" y="139"/>
                    </a:cubicBezTo>
                    <a:cubicBezTo>
                      <a:pt x="1595" y="139"/>
                      <a:pt x="1595" y="140"/>
                      <a:pt x="1595" y="140"/>
                    </a:cubicBezTo>
                    <a:close/>
                    <a:moveTo>
                      <a:pt x="1614" y="139"/>
                    </a:moveTo>
                    <a:cubicBezTo>
                      <a:pt x="1613" y="139"/>
                      <a:pt x="1613" y="140"/>
                      <a:pt x="1613" y="140"/>
                    </a:cubicBezTo>
                    <a:cubicBezTo>
                      <a:pt x="1614" y="140"/>
                      <a:pt x="1614" y="139"/>
                      <a:pt x="1614" y="139"/>
                    </a:cubicBezTo>
                    <a:close/>
                    <a:moveTo>
                      <a:pt x="1144" y="140"/>
                    </a:moveTo>
                    <a:cubicBezTo>
                      <a:pt x="1144" y="140"/>
                      <a:pt x="1144" y="140"/>
                      <a:pt x="1145" y="140"/>
                    </a:cubicBezTo>
                    <a:cubicBezTo>
                      <a:pt x="1145" y="140"/>
                      <a:pt x="1144" y="140"/>
                      <a:pt x="1144" y="140"/>
                    </a:cubicBezTo>
                    <a:close/>
                    <a:moveTo>
                      <a:pt x="1286" y="140"/>
                    </a:moveTo>
                    <a:cubicBezTo>
                      <a:pt x="1286" y="140"/>
                      <a:pt x="1285" y="139"/>
                      <a:pt x="1285" y="139"/>
                    </a:cubicBezTo>
                    <a:cubicBezTo>
                      <a:pt x="1285" y="140"/>
                      <a:pt x="1286" y="140"/>
                      <a:pt x="1286" y="140"/>
                    </a:cubicBezTo>
                    <a:close/>
                    <a:moveTo>
                      <a:pt x="1145" y="140"/>
                    </a:moveTo>
                    <a:cubicBezTo>
                      <a:pt x="1145" y="141"/>
                      <a:pt x="1146" y="141"/>
                      <a:pt x="1146" y="141"/>
                    </a:cubicBezTo>
                    <a:cubicBezTo>
                      <a:pt x="1146" y="140"/>
                      <a:pt x="1145" y="140"/>
                      <a:pt x="1145" y="140"/>
                    </a:cubicBezTo>
                    <a:close/>
                    <a:moveTo>
                      <a:pt x="1544" y="141"/>
                    </a:moveTo>
                    <a:cubicBezTo>
                      <a:pt x="1544" y="141"/>
                      <a:pt x="1543" y="140"/>
                      <a:pt x="1543" y="140"/>
                    </a:cubicBezTo>
                    <a:cubicBezTo>
                      <a:pt x="1543" y="140"/>
                      <a:pt x="1543" y="141"/>
                      <a:pt x="1544" y="141"/>
                    </a:cubicBezTo>
                    <a:close/>
                    <a:moveTo>
                      <a:pt x="1562" y="140"/>
                    </a:moveTo>
                    <a:cubicBezTo>
                      <a:pt x="1562" y="141"/>
                      <a:pt x="1562" y="141"/>
                      <a:pt x="1562" y="141"/>
                    </a:cubicBezTo>
                    <a:cubicBezTo>
                      <a:pt x="1563" y="141"/>
                      <a:pt x="1562" y="140"/>
                      <a:pt x="1562" y="140"/>
                    </a:cubicBezTo>
                    <a:close/>
                    <a:moveTo>
                      <a:pt x="456" y="142"/>
                    </a:moveTo>
                    <a:cubicBezTo>
                      <a:pt x="456" y="141"/>
                      <a:pt x="456" y="141"/>
                      <a:pt x="455" y="140"/>
                    </a:cubicBezTo>
                    <a:cubicBezTo>
                      <a:pt x="455" y="141"/>
                      <a:pt x="455" y="141"/>
                      <a:pt x="456" y="142"/>
                    </a:cubicBezTo>
                    <a:close/>
                    <a:moveTo>
                      <a:pt x="1094" y="140"/>
                    </a:moveTo>
                    <a:cubicBezTo>
                      <a:pt x="1094" y="141"/>
                      <a:pt x="1094" y="141"/>
                      <a:pt x="1094" y="142"/>
                    </a:cubicBezTo>
                    <a:cubicBezTo>
                      <a:pt x="1094" y="141"/>
                      <a:pt x="1094" y="141"/>
                      <a:pt x="1094" y="140"/>
                    </a:cubicBezTo>
                    <a:close/>
                    <a:moveTo>
                      <a:pt x="1119" y="142"/>
                    </a:moveTo>
                    <a:cubicBezTo>
                      <a:pt x="1119" y="141"/>
                      <a:pt x="1118" y="141"/>
                      <a:pt x="1118" y="141"/>
                    </a:cubicBezTo>
                    <a:cubicBezTo>
                      <a:pt x="1118" y="141"/>
                      <a:pt x="1118" y="142"/>
                      <a:pt x="1119" y="142"/>
                    </a:cubicBezTo>
                    <a:close/>
                    <a:moveTo>
                      <a:pt x="1146" y="141"/>
                    </a:moveTo>
                    <a:cubicBezTo>
                      <a:pt x="1146" y="141"/>
                      <a:pt x="1147" y="141"/>
                      <a:pt x="1147" y="141"/>
                    </a:cubicBezTo>
                    <a:cubicBezTo>
                      <a:pt x="1147" y="141"/>
                      <a:pt x="1147" y="141"/>
                      <a:pt x="1146" y="141"/>
                    </a:cubicBezTo>
                    <a:close/>
                    <a:moveTo>
                      <a:pt x="1288" y="141"/>
                    </a:moveTo>
                    <a:cubicBezTo>
                      <a:pt x="1288" y="141"/>
                      <a:pt x="1287" y="141"/>
                      <a:pt x="1287" y="141"/>
                    </a:cubicBezTo>
                    <a:cubicBezTo>
                      <a:pt x="1287" y="141"/>
                      <a:pt x="1287" y="141"/>
                      <a:pt x="1288" y="141"/>
                    </a:cubicBezTo>
                    <a:close/>
                    <a:moveTo>
                      <a:pt x="1595" y="142"/>
                    </a:moveTo>
                    <a:cubicBezTo>
                      <a:pt x="1595" y="142"/>
                      <a:pt x="1595" y="141"/>
                      <a:pt x="1595" y="141"/>
                    </a:cubicBezTo>
                    <a:cubicBezTo>
                      <a:pt x="1595" y="141"/>
                      <a:pt x="1595" y="141"/>
                      <a:pt x="1595" y="142"/>
                    </a:cubicBezTo>
                    <a:close/>
                    <a:moveTo>
                      <a:pt x="966" y="142"/>
                    </a:moveTo>
                    <a:cubicBezTo>
                      <a:pt x="966" y="142"/>
                      <a:pt x="966" y="141"/>
                      <a:pt x="965" y="141"/>
                    </a:cubicBezTo>
                    <a:cubicBezTo>
                      <a:pt x="965" y="142"/>
                      <a:pt x="965" y="142"/>
                      <a:pt x="966" y="142"/>
                    </a:cubicBezTo>
                    <a:close/>
                    <a:moveTo>
                      <a:pt x="1147" y="141"/>
                    </a:moveTo>
                    <a:cubicBezTo>
                      <a:pt x="1147" y="142"/>
                      <a:pt x="1148" y="142"/>
                      <a:pt x="1148" y="142"/>
                    </a:cubicBezTo>
                    <a:cubicBezTo>
                      <a:pt x="1148" y="141"/>
                      <a:pt x="1148" y="141"/>
                      <a:pt x="1147" y="141"/>
                    </a:cubicBezTo>
                    <a:close/>
                    <a:moveTo>
                      <a:pt x="514" y="142"/>
                    </a:moveTo>
                    <a:cubicBezTo>
                      <a:pt x="514" y="142"/>
                      <a:pt x="514" y="142"/>
                      <a:pt x="514" y="143"/>
                    </a:cubicBezTo>
                    <a:cubicBezTo>
                      <a:pt x="514" y="143"/>
                      <a:pt x="514" y="142"/>
                      <a:pt x="514" y="142"/>
                    </a:cubicBezTo>
                    <a:close/>
                    <a:moveTo>
                      <a:pt x="1119" y="143"/>
                    </a:moveTo>
                    <a:cubicBezTo>
                      <a:pt x="1119" y="142"/>
                      <a:pt x="1119" y="142"/>
                      <a:pt x="1119" y="142"/>
                    </a:cubicBezTo>
                    <a:cubicBezTo>
                      <a:pt x="1119" y="142"/>
                      <a:pt x="1119" y="143"/>
                      <a:pt x="1119" y="143"/>
                    </a:cubicBezTo>
                    <a:close/>
                    <a:moveTo>
                      <a:pt x="1148" y="142"/>
                    </a:moveTo>
                    <a:cubicBezTo>
                      <a:pt x="1149" y="142"/>
                      <a:pt x="1149" y="142"/>
                      <a:pt x="1150" y="142"/>
                    </a:cubicBezTo>
                    <a:cubicBezTo>
                      <a:pt x="1149" y="142"/>
                      <a:pt x="1149" y="142"/>
                      <a:pt x="1148" y="142"/>
                    </a:cubicBezTo>
                    <a:close/>
                    <a:moveTo>
                      <a:pt x="1290" y="142"/>
                    </a:moveTo>
                    <a:cubicBezTo>
                      <a:pt x="1289" y="142"/>
                      <a:pt x="1289" y="142"/>
                      <a:pt x="1289" y="142"/>
                    </a:cubicBezTo>
                    <a:cubicBezTo>
                      <a:pt x="1289" y="142"/>
                      <a:pt x="1289" y="142"/>
                      <a:pt x="1290" y="142"/>
                    </a:cubicBezTo>
                    <a:close/>
                    <a:moveTo>
                      <a:pt x="1563" y="142"/>
                    </a:moveTo>
                    <a:cubicBezTo>
                      <a:pt x="1563" y="142"/>
                      <a:pt x="1563" y="143"/>
                      <a:pt x="1563" y="143"/>
                    </a:cubicBezTo>
                    <a:cubicBezTo>
                      <a:pt x="1563" y="143"/>
                      <a:pt x="1563" y="142"/>
                      <a:pt x="1563" y="142"/>
                    </a:cubicBezTo>
                    <a:close/>
                    <a:moveTo>
                      <a:pt x="1613" y="142"/>
                    </a:moveTo>
                    <a:cubicBezTo>
                      <a:pt x="1612" y="142"/>
                      <a:pt x="1612" y="142"/>
                      <a:pt x="1612" y="143"/>
                    </a:cubicBezTo>
                    <a:cubicBezTo>
                      <a:pt x="1613" y="143"/>
                      <a:pt x="1613" y="142"/>
                      <a:pt x="1613" y="142"/>
                    </a:cubicBezTo>
                    <a:close/>
                    <a:moveTo>
                      <a:pt x="1150" y="142"/>
                    </a:moveTo>
                    <a:cubicBezTo>
                      <a:pt x="1150" y="143"/>
                      <a:pt x="1150" y="143"/>
                      <a:pt x="1151" y="143"/>
                    </a:cubicBezTo>
                    <a:cubicBezTo>
                      <a:pt x="1150" y="142"/>
                      <a:pt x="1150" y="142"/>
                      <a:pt x="1150" y="142"/>
                    </a:cubicBezTo>
                    <a:close/>
                    <a:moveTo>
                      <a:pt x="1037" y="144"/>
                    </a:moveTo>
                    <a:cubicBezTo>
                      <a:pt x="1037" y="144"/>
                      <a:pt x="1037" y="143"/>
                      <a:pt x="1037" y="143"/>
                    </a:cubicBezTo>
                    <a:cubicBezTo>
                      <a:pt x="1037" y="143"/>
                      <a:pt x="1037" y="144"/>
                      <a:pt x="1037" y="144"/>
                    </a:cubicBezTo>
                    <a:close/>
                    <a:moveTo>
                      <a:pt x="1151" y="143"/>
                    </a:moveTo>
                    <a:cubicBezTo>
                      <a:pt x="1151" y="143"/>
                      <a:pt x="1151" y="144"/>
                      <a:pt x="1152" y="143"/>
                    </a:cubicBezTo>
                    <a:cubicBezTo>
                      <a:pt x="1152" y="143"/>
                      <a:pt x="1151" y="143"/>
                      <a:pt x="1151" y="143"/>
                    </a:cubicBezTo>
                    <a:close/>
                    <a:moveTo>
                      <a:pt x="1320" y="143"/>
                    </a:moveTo>
                    <a:cubicBezTo>
                      <a:pt x="1321" y="144"/>
                      <a:pt x="1321" y="144"/>
                      <a:pt x="1321" y="144"/>
                    </a:cubicBezTo>
                    <a:cubicBezTo>
                      <a:pt x="1321" y="144"/>
                      <a:pt x="1321" y="143"/>
                      <a:pt x="1320" y="143"/>
                    </a:cubicBezTo>
                    <a:close/>
                    <a:moveTo>
                      <a:pt x="1545" y="144"/>
                    </a:moveTo>
                    <a:cubicBezTo>
                      <a:pt x="1545" y="144"/>
                      <a:pt x="1545" y="143"/>
                      <a:pt x="1544" y="143"/>
                    </a:cubicBezTo>
                    <a:cubicBezTo>
                      <a:pt x="1544" y="143"/>
                      <a:pt x="1544" y="144"/>
                      <a:pt x="1545" y="144"/>
                    </a:cubicBezTo>
                    <a:close/>
                    <a:moveTo>
                      <a:pt x="1152" y="144"/>
                    </a:moveTo>
                    <a:cubicBezTo>
                      <a:pt x="1153" y="144"/>
                      <a:pt x="1153" y="144"/>
                      <a:pt x="1154" y="144"/>
                    </a:cubicBezTo>
                    <a:cubicBezTo>
                      <a:pt x="1153" y="144"/>
                      <a:pt x="1153" y="144"/>
                      <a:pt x="1152" y="144"/>
                    </a:cubicBezTo>
                    <a:close/>
                    <a:moveTo>
                      <a:pt x="1154" y="144"/>
                    </a:moveTo>
                    <a:cubicBezTo>
                      <a:pt x="1154" y="145"/>
                      <a:pt x="1154" y="145"/>
                      <a:pt x="1155" y="145"/>
                    </a:cubicBezTo>
                    <a:cubicBezTo>
                      <a:pt x="1155" y="144"/>
                      <a:pt x="1154" y="144"/>
                      <a:pt x="1154" y="144"/>
                    </a:cubicBezTo>
                    <a:close/>
                    <a:moveTo>
                      <a:pt x="1155" y="145"/>
                    </a:moveTo>
                    <a:cubicBezTo>
                      <a:pt x="1155" y="145"/>
                      <a:pt x="1155" y="145"/>
                      <a:pt x="1156" y="145"/>
                    </a:cubicBezTo>
                    <a:cubicBezTo>
                      <a:pt x="1156" y="145"/>
                      <a:pt x="1155" y="145"/>
                      <a:pt x="1155" y="145"/>
                    </a:cubicBezTo>
                    <a:close/>
                    <a:moveTo>
                      <a:pt x="1545" y="146"/>
                    </a:moveTo>
                    <a:cubicBezTo>
                      <a:pt x="1545" y="145"/>
                      <a:pt x="1545" y="145"/>
                      <a:pt x="1545" y="144"/>
                    </a:cubicBezTo>
                    <a:cubicBezTo>
                      <a:pt x="1545" y="145"/>
                      <a:pt x="1545" y="146"/>
                      <a:pt x="1545" y="146"/>
                    </a:cubicBezTo>
                    <a:close/>
                    <a:moveTo>
                      <a:pt x="1611" y="145"/>
                    </a:moveTo>
                    <a:cubicBezTo>
                      <a:pt x="1611" y="145"/>
                      <a:pt x="1611" y="145"/>
                      <a:pt x="1611" y="146"/>
                    </a:cubicBezTo>
                    <a:cubicBezTo>
                      <a:pt x="1611" y="146"/>
                      <a:pt x="1611" y="145"/>
                      <a:pt x="1611" y="145"/>
                    </a:cubicBezTo>
                    <a:close/>
                    <a:moveTo>
                      <a:pt x="1295" y="146"/>
                    </a:moveTo>
                    <a:cubicBezTo>
                      <a:pt x="1295" y="145"/>
                      <a:pt x="1294" y="145"/>
                      <a:pt x="1294" y="145"/>
                    </a:cubicBezTo>
                    <a:cubicBezTo>
                      <a:pt x="1294" y="146"/>
                      <a:pt x="1294" y="146"/>
                      <a:pt x="1295" y="146"/>
                    </a:cubicBezTo>
                    <a:close/>
                    <a:moveTo>
                      <a:pt x="1322" y="145"/>
                    </a:moveTo>
                    <a:cubicBezTo>
                      <a:pt x="1322" y="146"/>
                      <a:pt x="1323" y="146"/>
                      <a:pt x="1323" y="146"/>
                    </a:cubicBezTo>
                    <a:cubicBezTo>
                      <a:pt x="1323" y="146"/>
                      <a:pt x="1323" y="145"/>
                      <a:pt x="1322" y="145"/>
                    </a:cubicBezTo>
                    <a:close/>
                    <a:moveTo>
                      <a:pt x="1593" y="147"/>
                    </a:moveTo>
                    <a:cubicBezTo>
                      <a:pt x="1594" y="146"/>
                      <a:pt x="1594" y="146"/>
                      <a:pt x="1594" y="145"/>
                    </a:cubicBezTo>
                    <a:cubicBezTo>
                      <a:pt x="1593" y="146"/>
                      <a:pt x="1593" y="146"/>
                      <a:pt x="1593" y="147"/>
                    </a:cubicBezTo>
                    <a:close/>
                    <a:moveTo>
                      <a:pt x="513" y="146"/>
                    </a:moveTo>
                    <a:cubicBezTo>
                      <a:pt x="513" y="146"/>
                      <a:pt x="513" y="146"/>
                      <a:pt x="513" y="147"/>
                    </a:cubicBezTo>
                    <a:cubicBezTo>
                      <a:pt x="513" y="147"/>
                      <a:pt x="513" y="146"/>
                      <a:pt x="513" y="146"/>
                    </a:cubicBezTo>
                    <a:close/>
                    <a:moveTo>
                      <a:pt x="1023" y="146"/>
                    </a:moveTo>
                    <a:cubicBezTo>
                      <a:pt x="1022" y="146"/>
                      <a:pt x="1022" y="146"/>
                      <a:pt x="1022" y="147"/>
                    </a:cubicBezTo>
                    <a:cubicBezTo>
                      <a:pt x="1023" y="147"/>
                      <a:pt x="1023" y="146"/>
                      <a:pt x="1023" y="146"/>
                    </a:cubicBezTo>
                    <a:close/>
                    <a:moveTo>
                      <a:pt x="1158" y="146"/>
                    </a:moveTo>
                    <a:cubicBezTo>
                      <a:pt x="1158" y="146"/>
                      <a:pt x="1158" y="146"/>
                      <a:pt x="1159" y="146"/>
                    </a:cubicBezTo>
                    <a:cubicBezTo>
                      <a:pt x="1159" y="146"/>
                      <a:pt x="1158" y="146"/>
                      <a:pt x="1158" y="146"/>
                    </a:cubicBezTo>
                    <a:close/>
                    <a:moveTo>
                      <a:pt x="1546" y="147"/>
                    </a:moveTo>
                    <a:cubicBezTo>
                      <a:pt x="1546" y="147"/>
                      <a:pt x="1546" y="146"/>
                      <a:pt x="1545" y="146"/>
                    </a:cubicBezTo>
                    <a:cubicBezTo>
                      <a:pt x="1545" y="146"/>
                      <a:pt x="1545" y="147"/>
                      <a:pt x="1546" y="147"/>
                    </a:cubicBezTo>
                    <a:close/>
                    <a:moveTo>
                      <a:pt x="1007" y="148"/>
                    </a:moveTo>
                    <a:cubicBezTo>
                      <a:pt x="1008" y="147"/>
                      <a:pt x="1008" y="147"/>
                      <a:pt x="1008" y="146"/>
                    </a:cubicBezTo>
                    <a:cubicBezTo>
                      <a:pt x="1007" y="147"/>
                      <a:pt x="1007" y="147"/>
                      <a:pt x="1007" y="148"/>
                    </a:cubicBezTo>
                    <a:close/>
                    <a:moveTo>
                      <a:pt x="1159" y="146"/>
                    </a:moveTo>
                    <a:cubicBezTo>
                      <a:pt x="1159" y="147"/>
                      <a:pt x="1159" y="147"/>
                      <a:pt x="1160" y="147"/>
                    </a:cubicBezTo>
                    <a:cubicBezTo>
                      <a:pt x="1160" y="147"/>
                      <a:pt x="1159" y="146"/>
                      <a:pt x="1159" y="146"/>
                    </a:cubicBezTo>
                    <a:close/>
                    <a:moveTo>
                      <a:pt x="1296" y="147"/>
                    </a:moveTo>
                    <a:cubicBezTo>
                      <a:pt x="1296" y="147"/>
                      <a:pt x="1296" y="146"/>
                      <a:pt x="1295" y="146"/>
                    </a:cubicBezTo>
                    <a:cubicBezTo>
                      <a:pt x="1296" y="147"/>
                      <a:pt x="1296" y="147"/>
                      <a:pt x="1296" y="147"/>
                    </a:cubicBezTo>
                    <a:close/>
                    <a:moveTo>
                      <a:pt x="968" y="148"/>
                    </a:moveTo>
                    <a:cubicBezTo>
                      <a:pt x="968" y="148"/>
                      <a:pt x="968" y="147"/>
                      <a:pt x="967" y="147"/>
                    </a:cubicBezTo>
                    <a:cubicBezTo>
                      <a:pt x="967" y="147"/>
                      <a:pt x="967" y="148"/>
                      <a:pt x="968" y="148"/>
                    </a:cubicBezTo>
                    <a:close/>
                    <a:moveTo>
                      <a:pt x="1038" y="148"/>
                    </a:moveTo>
                    <a:cubicBezTo>
                      <a:pt x="1038" y="148"/>
                      <a:pt x="1038" y="147"/>
                      <a:pt x="1038" y="147"/>
                    </a:cubicBezTo>
                    <a:cubicBezTo>
                      <a:pt x="1038" y="147"/>
                      <a:pt x="1038" y="148"/>
                      <a:pt x="1038" y="148"/>
                    </a:cubicBezTo>
                    <a:close/>
                    <a:moveTo>
                      <a:pt x="1160" y="147"/>
                    </a:moveTo>
                    <a:cubicBezTo>
                      <a:pt x="1160" y="148"/>
                      <a:pt x="1161" y="148"/>
                      <a:pt x="1161" y="148"/>
                    </a:cubicBezTo>
                    <a:cubicBezTo>
                      <a:pt x="1161" y="147"/>
                      <a:pt x="1160" y="147"/>
                      <a:pt x="1160" y="147"/>
                    </a:cubicBezTo>
                    <a:close/>
                    <a:moveTo>
                      <a:pt x="1323" y="147"/>
                    </a:moveTo>
                    <a:cubicBezTo>
                      <a:pt x="1323" y="147"/>
                      <a:pt x="1324" y="148"/>
                      <a:pt x="1324" y="148"/>
                    </a:cubicBezTo>
                    <a:cubicBezTo>
                      <a:pt x="1324" y="148"/>
                      <a:pt x="1324" y="147"/>
                      <a:pt x="1323" y="147"/>
                    </a:cubicBezTo>
                    <a:close/>
                    <a:moveTo>
                      <a:pt x="1593" y="148"/>
                    </a:moveTo>
                    <a:cubicBezTo>
                      <a:pt x="1593" y="148"/>
                      <a:pt x="1593" y="147"/>
                      <a:pt x="1593" y="147"/>
                    </a:cubicBezTo>
                    <a:cubicBezTo>
                      <a:pt x="1593" y="147"/>
                      <a:pt x="1592" y="148"/>
                      <a:pt x="1593" y="148"/>
                    </a:cubicBezTo>
                    <a:close/>
                    <a:moveTo>
                      <a:pt x="1022" y="147"/>
                    </a:moveTo>
                    <a:cubicBezTo>
                      <a:pt x="1022" y="148"/>
                      <a:pt x="1022" y="148"/>
                      <a:pt x="1022" y="149"/>
                    </a:cubicBezTo>
                    <a:cubicBezTo>
                      <a:pt x="1022" y="148"/>
                      <a:pt x="1022" y="148"/>
                      <a:pt x="1022" y="147"/>
                    </a:cubicBezTo>
                    <a:close/>
                    <a:moveTo>
                      <a:pt x="1161" y="148"/>
                    </a:moveTo>
                    <a:cubicBezTo>
                      <a:pt x="1161" y="148"/>
                      <a:pt x="1162" y="148"/>
                      <a:pt x="1162" y="148"/>
                    </a:cubicBezTo>
                    <a:cubicBezTo>
                      <a:pt x="1162" y="148"/>
                      <a:pt x="1162" y="148"/>
                      <a:pt x="1161" y="148"/>
                    </a:cubicBezTo>
                    <a:close/>
                    <a:moveTo>
                      <a:pt x="1546" y="149"/>
                    </a:moveTo>
                    <a:cubicBezTo>
                      <a:pt x="1546" y="148"/>
                      <a:pt x="1546" y="148"/>
                      <a:pt x="1546" y="147"/>
                    </a:cubicBezTo>
                    <a:cubicBezTo>
                      <a:pt x="1546" y="148"/>
                      <a:pt x="1546" y="148"/>
                      <a:pt x="1546" y="149"/>
                    </a:cubicBezTo>
                    <a:close/>
                    <a:moveTo>
                      <a:pt x="1610" y="147"/>
                    </a:moveTo>
                    <a:cubicBezTo>
                      <a:pt x="1610" y="148"/>
                      <a:pt x="1610" y="148"/>
                      <a:pt x="1610" y="149"/>
                    </a:cubicBezTo>
                    <a:cubicBezTo>
                      <a:pt x="1610" y="148"/>
                      <a:pt x="1610" y="148"/>
                      <a:pt x="1610" y="147"/>
                    </a:cubicBezTo>
                    <a:close/>
                    <a:moveTo>
                      <a:pt x="1162" y="148"/>
                    </a:moveTo>
                    <a:cubicBezTo>
                      <a:pt x="1162" y="149"/>
                      <a:pt x="1163" y="149"/>
                      <a:pt x="1163" y="149"/>
                    </a:cubicBezTo>
                    <a:cubicBezTo>
                      <a:pt x="1163" y="148"/>
                      <a:pt x="1163" y="148"/>
                      <a:pt x="1162" y="148"/>
                    </a:cubicBezTo>
                    <a:close/>
                    <a:moveTo>
                      <a:pt x="1565" y="148"/>
                    </a:moveTo>
                    <a:cubicBezTo>
                      <a:pt x="1565" y="149"/>
                      <a:pt x="1565" y="149"/>
                      <a:pt x="1565" y="150"/>
                    </a:cubicBezTo>
                    <a:cubicBezTo>
                      <a:pt x="1565" y="149"/>
                      <a:pt x="1565" y="148"/>
                      <a:pt x="1565" y="148"/>
                    </a:cubicBezTo>
                    <a:close/>
                    <a:moveTo>
                      <a:pt x="1325" y="149"/>
                    </a:moveTo>
                    <a:cubicBezTo>
                      <a:pt x="1325" y="149"/>
                      <a:pt x="1325" y="150"/>
                      <a:pt x="1325" y="150"/>
                    </a:cubicBezTo>
                    <a:cubicBezTo>
                      <a:pt x="1325" y="149"/>
                      <a:pt x="1325" y="149"/>
                      <a:pt x="1325" y="149"/>
                    </a:cubicBezTo>
                    <a:close/>
                    <a:moveTo>
                      <a:pt x="512" y="150"/>
                    </a:moveTo>
                    <a:cubicBezTo>
                      <a:pt x="512" y="150"/>
                      <a:pt x="512" y="150"/>
                      <a:pt x="512" y="151"/>
                    </a:cubicBezTo>
                    <a:cubicBezTo>
                      <a:pt x="512" y="151"/>
                      <a:pt x="512" y="150"/>
                      <a:pt x="512" y="150"/>
                    </a:cubicBezTo>
                    <a:close/>
                    <a:moveTo>
                      <a:pt x="1165" y="150"/>
                    </a:moveTo>
                    <a:cubicBezTo>
                      <a:pt x="1165" y="150"/>
                      <a:pt x="1166" y="150"/>
                      <a:pt x="1166" y="150"/>
                    </a:cubicBezTo>
                    <a:cubicBezTo>
                      <a:pt x="1166" y="150"/>
                      <a:pt x="1166" y="150"/>
                      <a:pt x="1165" y="150"/>
                    </a:cubicBezTo>
                    <a:close/>
                    <a:moveTo>
                      <a:pt x="1325" y="150"/>
                    </a:moveTo>
                    <a:cubicBezTo>
                      <a:pt x="1325" y="150"/>
                      <a:pt x="1325" y="151"/>
                      <a:pt x="1326" y="151"/>
                    </a:cubicBezTo>
                    <a:cubicBezTo>
                      <a:pt x="1326" y="151"/>
                      <a:pt x="1326" y="150"/>
                      <a:pt x="1325" y="150"/>
                    </a:cubicBezTo>
                    <a:close/>
                    <a:moveTo>
                      <a:pt x="1565" y="150"/>
                    </a:moveTo>
                    <a:cubicBezTo>
                      <a:pt x="1565" y="150"/>
                      <a:pt x="1565" y="151"/>
                      <a:pt x="1566" y="151"/>
                    </a:cubicBezTo>
                    <a:cubicBezTo>
                      <a:pt x="1566" y="151"/>
                      <a:pt x="1566" y="150"/>
                      <a:pt x="1565" y="150"/>
                    </a:cubicBezTo>
                    <a:close/>
                    <a:moveTo>
                      <a:pt x="1091" y="150"/>
                    </a:moveTo>
                    <a:cubicBezTo>
                      <a:pt x="1091" y="151"/>
                      <a:pt x="1091" y="151"/>
                      <a:pt x="1091" y="152"/>
                    </a:cubicBezTo>
                    <a:cubicBezTo>
                      <a:pt x="1091" y="151"/>
                      <a:pt x="1091" y="151"/>
                      <a:pt x="1091" y="150"/>
                    </a:cubicBezTo>
                    <a:close/>
                    <a:moveTo>
                      <a:pt x="1166" y="150"/>
                    </a:moveTo>
                    <a:cubicBezTo>
                      <a:pt x="1167" y="151"/>
                      <a:pt x="1167" y="151"/>
                      <a:pt x="1167" y="151"/>
                    </a:cubicBezTo>
                    <a:cubicBezTo>
                      <a:pt x="1167" y="151"/>
                      <a:pt x="1167" y="150"/>
                      <a:pt x="1166" y="150"/>
                    </a:cubicBezTo>
                    <a:close/>
                    <a:moveTo>
                      <a:pt x="1547" y="152"/>
                    </a:moveTo>
                    <a:cubicBezTo>
                      <a:pt x="1548" y="151"/>
                      <a:pt x="1547" y="151"/>
                      <a:pt x="1547" y="150"/>
                    </a:cubicBezTo>
                    <a:cubicBezTo>
                      <a:pt x="1547" y="151"/>
                      <a:pt x="1547" y="151"/>
                      <a:pt x="1547" y="152"/>
                    </a:cubicBezTo>
                    <a:close/>
                    <a:moveTo>
                      <a:pt x="1609" y="150"/>
                    </a:moveTo>
                    <a:cubicBezTo>
                      <a:pt x="1609" y="151"/>
                      <a:pt x="1609" y="151"/>
                      <a:pt x="1609" y="152"/>
                    </a:cubicBezTo>
                    <a:cubicBezTo>
                      <a:pt x="1609" y="151"/>
                      <a:pt x="1609" y="151"/>
                      <a:pt x="1609" y="150"/>
                    </a:cubicBezTo>
                    <a:close/>
                    <a:moveTo>
                      <a:pt x="1040" y="152"/>
                    </a:moveTo>
                    <a:cubicBezTo>
                      <a:pt x="1040" y="152"/>
                      <a:pt x="1040" y="151"/>
                      <a:pt x="1039" y="151"/>
                    </a:cubicBezTo>
                    <a:cubicBezTo>
                      <a:pt x="1039" y="151"/>
                      <a:pt x="1039" y="152"/>
                      <a:pt x="1040" y="152"/>
                    </a:cubicBezTo>
                    <a:close/>
                    <a:moveTo>
                      <a:pt x="1326" y="151"/>
                    </a:moveTo>
                    <a:cubicBezTo>
                      <a:pt x="1326" y="152"/>
                      <a:pt x="1326" y="152"/>
                      <a:pt x="1326" y="152"/>
                    </a:cubicBezTo>
                    <a:cubicBezTo>
                      <a:pt x="1326" y="152"/>
                      <a:pt x="1326" y="151"/>
                      <a:pt x="1326" y="151"/>
                    </a:cubicBezTo>
                    <a:close/>
                    <a:moveTo>
                      <a:pt x="1129" y="152"/>
                    </a:moveTo>
                    <a:cubicBezTo>
                      <a:pt x="1129" y="152"/>
                      <a:pt x="1129" y="152"/>
                      <a:pt x="1128" y="151"/>
                    </a:cubicBezTo>
                    <a:cubicBezTo>
                      <a:pt x="1129" y="152"/>
                      <a:pt x="1129" y="152"/>
                      <a:pt x="1129" y="152"/>
                    </a:cubicBezTo>
                    <a:close/>
                    <a:moveTo>
                      <a:pt x="1168" y="152"/>
                    </a:moveTo>
                    <a:cubicBezTo>
                      <a:pt x="1168" y="152"/>
                      <a:pt x="1169" y="152"/>
                      <a:pt x="1169" y="152"/>
                    </a:cubicBezTo>
                    <a:cubicBezTo>
                      <a:pt x="1169" y="152"/>
                      <a:pt x="1169" y="152"/>
                      <a:pt x="1168" y="152"/>
                    </a:cubicBezTo>
                    <a:close/>
                    <a:moveTo>
                      <a:pt x="1566" y="152"/>
                    </a:moveTo>
                    <a:cubicBezTo>
                      <a:pt x="1566" y="152"/>
                      <a:pt x="1566" y="153"/>
                      <a:pt x="1566" y="153"/>
                    </a:cubicBezTo>
                    <a:cubicBezTo>
                      <a:pt x="1567" y="152"/>
                      <a:pt x="1567" y="152"/>
                      <a:pt x="1566" y="152"/>
                    </a:cubicBezTo>
                    <a:close/>
                    <a:moveTo>
                      <a:pt x="1591" y="153"/>
                    </a:moveTo>
                    <a:cubicBezTo>
                      <a:pt x="1591" y="153"/>
                      <a:pt x="1591" y="152"/>
                      <a:pt x="1591" y="152"/>
                    </a:cubicBezTo>
                    <a:cubicBezTo>
                      <a:pt x="1591" y="152"/>
                      <a:pt x="1591" y="152"/>
                      <a:pt x="1591" y="153"/>
                    </a:cubicBezTo>
                    <a:close/>
                    <a:moveTo>
                      <a:pt x="1326" y="152"/>
                    </a:moveTo>
                    <a:cubicBezTo>
                      <a:pt x="1326" y="153"/>
                      <a:pt x="1326" y="153"/>
                      <a:pt x="1327" y="153"/>
                    </a:cubicBezTo>
                    <a:cubicBezTo>
                      <a:pt x="1327" y="153"/>
                      <a:pt x="1327" y="152"/>
                      <a:pt x="1326" y="152"/>
                    </a:cubicBezTo>
                    <a:close/>
                    <a:moveTo>
                      <a:pt x="1548" y="153"/>
                    </a:moveTo>
                    <a:cubicBezTo>
                      <a:pt x="1548" y="153"/>
                      <a:pt x="1548" y="152"/>
                      <a:pt x="1548" y="152"/>
                    </a:cubicBezTo>
                    <a:cubicBezTo>
                      <a:pt x="1548" y="153"/>
                      <a:pt x="1548" y="153"/>
                      <a:pt x="1548" y="153"/>
                    </a:cubicBezTo>
                    <a:close/>
                    <a:moveTo>
                      <a:pt x="1170" y="153"/>
                    </a:moveTo>
                    <a:cubicBezTo>
                      <a:pt x="1170" y="153"/>
                      <a:pt x="1170" y="153"/>
                      <a:pt x="1171" y="153"/>
                    </a:cubicBezTo>
                    <a:cubicBezTo>
                      <a:pt x="1171" y="153"/>
                      <a:pt x="1170" y="153"/>
                      <a:pt x="1170" y="153"/>
                    </a:cubicBezTo>
                    <a:close/>
                    <a:moveTo>
                      <a:pt x="1132" y="154"/>
                    </a:moveTo>
                    <a:cubicBezTo>
                      <a:pt x="1132" y="153"/>
                      <a:pt x="1132" y="153"/>
                      <a:pt x="1131" y="153"/>
                    </a:cubicBezTo>
                    <a:cubicBezTo>
                      <a:pt x="1131" y="154"/>
                      <a:pt x="1132" y="154"/>
                      <a:pt x="1132" y="154"/>
                    </a:cubicBezTo>
                    <a:close/>
                    <a:moveTo>
                      <a:pt x="1567" y="153"/>
                    </a:moveTo>
                    <a:cubicBezTo>
                      <a:pt x="1567" y="154"/>
                      <a:pt x="1567" y="154"/>
                      <a:pt x="1567" y="155"/>
                    </a:cubicBezTo>
                    <a:cubicBezTo>
                      <a:pt x="1567" y="154"/>
                      <a:pt x="1567" y="154"/>
                      <a:pt x="1567" y="153"/>
                    </a:cubicBezTo>
                    <a:close/>
                    <a:moveTo>
                      <a:pt x="1590" y="155"/>
                    </a:moveTo>
                    <a:cubicBezTo>
                      <a:pt x="1591" y="154"/>
                      <a:pt x="1591" y="154"/>
                      <a:pt x="1591" y="153"/>
                    </a:cubicBezTo>
                    <a:cubicBezTo>
                      <a:pt x="1590" y="154"/>
                      <a:pt x="1590" y="154"/>
                      <a:pt x="1590" y="155"/>
                    </a:cubicBezTo>
                    <a:close/>
                    <a:moveTo>
                      <a:pt x="1608" y="153"/>
                    </a:moveTo>
                    <a:cubicBezTo>
                      <a:pt x="1608" y="154"/>
                      <a:pt x="1607" y="154"/>
                      <a:pt x="1607" y="154"/>
                    </a:cubicBezTo>
                    <a:cubicBezTo>
                      <a:pt x="1608" y="154"/>
                      <a:pt x="1608" y="154"/>
                      <a:pt x="1608" y="153"/>
                    </a:cubicBezTo>
                    <a:close/>
                    <a:moveTo>
                      <a:pt x="1005" y="155"/>
                    </a:moveTo>
                    <a:cubicBezTo>
                      <a:pt x="1006" y="155"/>
                      <a:pt x="1006" y="154"/>
                      <a:pt x="1006" y="154"/>
                    </a:cubicBezTo>
                    <a:cubicBezTo>
                      <a:pt x="1005" y="154"/>
                      <a:pt x="1005" y="155"/>
                      <a:pt x="1005" y="155"/>
                    </a:cubicBezTo>
                    <a:close/>
                    <a:moveTo>
                      <a:pt x="1133" y="154"/>
                    </a:moveTo>
                    <a:cubicBezTo>
                      <a:pt x="1133" y="154"/>
                      <a:pt x="1133" y="154"/>
                      <a:pt x="1132" y="154"/>
                    </a:cubicBezTo>
                    <a:cubicBezTo>
                      <a:pt x="1133" y="154"/>
                      <a:pt x="1133" y="154"/>
                      <a:pt x="1133" y="154"/>
                    </a:cubicBezTo>
                    <a:close/>
                    <a:moveTo>
                      <a:pt x="970" y="156"/>
                    </a:moveTo>
                    <a:cubicBezTo>
                      <a:pt x="970" y="155"/>
                      <a:pt x="970" y="155"/>
                      <a:pt x="969" y="154"/>
                    </a:cubicBezTo>
                    <a:cubicBezTo>
                      <a:pt x="969" y="155"/>
                      <a:pt x="969" y="155"/>
                      <a:pt x="970" y="156"/>
                    </a:cubicBezTo>
                    <a:close/>
                    <a:moveTo>
                      <a:pt x="1135" y="155"/>
                    </a:moveTo>
                    <a:cubicBezTo>
                      <a:pt x="1134" y="155"/>
                      <a:pt x="1134" y="154"/>
                      <a:pt x="1134" y="154"/>
                    </a:cubicBezTo>
                    <a:cubicBezTo>
                      <a:pt x="1134" y="155"/>
                      <a:pt x="1134" y="155"/>
                      <a:pt x="1135" y="155"/>
                    </a:cubicBezTo>
                    <a:close/>
                    <a:moveTo>
                      <a:pt x="460" y="156"/>
                    </a:moveTo>
                    <a:cubicBezTo>
                      <a:pt x="460" y="156"/>
                      <a:pt x="460" y="155"/>
                      <a:pt x="459" y="155"/>
                    </a:cubicBezTo>
                    <a:cubicBezTo>
                      <a:pt x="459" y="155"/>
                      <a:pt x="459" y="156"/>
                      <a:pt x="460" y="156"/>
                    </a:cubicBezTo>
                    <a:close/>
                    <a:moveTo>
                      <a:pt x="1020" y="155"/>
                    </a:moveTo>
                    <a:cubicBezTo>
                      <a:pt x="1019" y="155"/>
                      <a:pt x="1019" y="156"/>
                      <a:pt x="1019" y="156"/>
                    </a:cubicBezTo>
                    <a:cubicBezTo>
                      <a:pt x="1020" y="156"/>
                      <a:pt x="1020" y="155"/>
                      <a:pt x="1020" y="155"/>
                    </a:cubicBezTo>
                    <a:close/>
                    <a:moveTo>
                      <a:pt x="1136" y="156"/>
                    </a:moveTo>
                    <a:cubicBezTo>
                      <a:pt x="1135" y="155"/>
                      <a:pt x="1135" y="155"/>
                      <a:pt x="1135" y="155"/>
                    </a:cubicBezTo>
                    <a:cubicBezTo>
                      <a:pt x="1135" y="156"/>
                      <a:pt x="1135" y="156"/>
                      <a:pt x="1136" y="156"/>
                    </a:cubicBezTo>
                    <a:close/>
                    <a:moveTo>
                      <a:pt x="1549" y="156"/>
                    </a:moveTo>
                    <a:cubicBezTo>
                      <a:pt x="1549" y="156"/>
                      <a:pt x="1549" y="155"/>
                      <a:pt x="1549" y="155"/>
                    </a:cubicBezTo>
                    <a:cubicBezTo>
                      <a:pt x="1549" y="155"/>
                      <a:pt x="1549" y="156"/>
                      <a:pt x="1549" y="156"/>
                    </a:cubicBezTo>
                    <a:close/>
                    <a:moveTo>
                      <a:pt x="1137" y="156"/>
                    </a:moveTo>
                    <a:cubicBezTo>
                      <a:pt x="1137" y="156"/>
                      <a:pt x="1136" y="156"/>
                      <a:pt x="1136" y="156"/>
                    </a:cubicBezTo>
                    <a:cubicBezTo>
                      <a:pt x="1136" y="156"/>
                      <a:pt x="1136" y="156"/>
                      <a:pt x="1137" y="156"/>
                    </a:cubicBezTo>
                    <a:close/>
                    <a:moveTo>
                      <a:pt x="1090" y="156"/>
                    </a:moveTo>
                    <a:cubicBezTo>
                      <a:pt x="1089" y="156"/>
                      <a:pt x="1089" y="157"/>
                      <a:pt x="1089" y="157"/>
                    </a:cubicBezTo>
                    <a:cubicBezTo>
                      <a:pt x="1090" y="157"/>
                      <a:pt x="1090" y="156"/>
                      <a:pt x="1090" y="156"/>
                    </a:cubicBezTo>
                    <a:close/>
                    <a:moveTo>
                      <a:pt x="1138" y="157"/>
                    </a:moveTo>
                    <a:cubicBezTo>
                      <a:pt x="1138" y="156"/>
                      <a:pt x="1137" y="156"/>
                      <a:pt x="1137" y="156"/>
                    </a:cubicBezTo>
                    <a:cubicBezTo>
                      <a:pt x="1137" y="157"/>
                      <a:pt x="1138" y="157"/>
                      <a:pt x="1138" y="157"/>
                    </a:cubicBezTo>
                    <a:close/>
                    <a:moveTo>
                      <a:pt x="1589" y="158"/>
                    </a:moveTo>
                    <a:cubicBezTo>
                      <a:pt x="1590" y="157"/>
                      <a:pt x="1590" y="157"/>
                      <a:pt x="1590" y="156"/>
                    </a:cubicBezTo>
                    <a:cubicBezTo>
                      <a:pt x="1589" y="157"/>
                      <a:pt x="1589" y="157"/>
                      <a:pt x="1589" y="158"/>
                    </a:cubicBezTo>
                    <a:close/>
                    <a:moveTo>
                      <a:pt x="1607" y="156"/>
                    </a:moveTo>
                    <a:cubicBezTo>
                      <a:pt x="1606" y="156"/>
                      <a:pt x="1606" y="157"/>
                      <a:pt x="1606" y="157"/>
                    </a:cubicBezTo>
                    <a:cubicBezTo>
                      <a:pt x="1607" y="157"/>
                      <a:pt x="1607" y="157"/>
                      <a:pt x="1607" y="156"/>
                    </a:cubicBezTo>
                    <a:close/>
                    <a:moveTo>
                      <a:pt x="419" y="156"/>
                    </a:moveTo>
                    <a:cubicBezTo>
                      <a:pt x="418" y="157"/>
                      <a:pt x="418" y="157"/>
                      <a:pt x="418" y="158"/>
                    </a:cubicBezTo>
                    <a:cubicBezTo>
                      <a:pt x="419" y="158"/>
                      <a:pt x="419" y="157"/>
                      <a:pt x="419" y="156"/>
                    </a:cubicBezTo>
                    <a:close/>
                    <a:moveTo>
                      <a:pt x="1019" y="157"/>
                    </a:moveTo>
                    <a:cubicBezTo>
                      <a:pt x="1019" y="157"/>
                      <a:pt x="1019" y="157"/>
                      <a:pt x="1019" y="158"/>
                    </a:cubicBezTo>
                    <a:cubicBezTo>
                      <a:pt x="1019" y="158"/>
                      <a:pt x="1019" y="157"/>
                      <a:pt x="1019" y="157"/>
                    </a:cubicBezTo>
                    <a:close/>
                    <a:moveTo>
                      <a:pt x="1139" y="157"/>
                    </a:moveTo>
                    <a:cubicBezTo>
                      <a:pt x="1139" y="157"/>
                      <a:pt x="1139" y="157"/>
                      <a:pt x="1138" y="157"/>
                    </a:cubicBezTo>
                    <a:cubicBezTo>
                      <a:pt x="1138" y="157"/>
                      <a:pt x="1139" y="157"/>
                      <a:pt x="1139" y="157"/>
                    </a:cubicBezTo>
                    <a:close/>
                    <a:moveTo>
                      <a:pt x="1307" y="158"/>
                    </a:moveTo>
                    <a:cubicBezTo>
                      <a:pt x="1307" y="157"/>
                      <a:pt x="1307" y="157"/>
                      <a:pt x="1306" y="157"/>
                    </a:cubicBezTo>
                    <a:cubicBezTo>
                      <a:pt x="1306" y="157"/>
                      <a:pt x="1306" y="158"/>
                      <a:pt x="1307" y="158"/>
                    </a:cubicBezTo>
                    <a:close/>
                    <a:moveTo>
                      <a:pt x="1550" y="158"/>
                    </a:moveTo>
                    <a:cubicBezTo>
                      <a:pt x="1550" y="157"/>
                      <a:pt x="1550" y="157"/>
                      <a:pt x="1549" y="157"/>
                    </a:cubicBezTo>
                    <a:cubicBezTo>
                      <a:pt x="1549" y="157"/>
                      <a:pt x="1549" y="158"/>
                      <a:pt x="1550" y="158"/>
                    </a:cubicBezTo>
                    <a:close/>
                    <a:moveTo>
                      <a:pt x="1140" y="158"/>
                    </a:moveTo>
                    <a:cubicBezTo>
                      <a:pt x="1140" y="157"/>
                      <a:pt x="1140" y="157"/>
                      <a:pt x="1139" y="157"/>
                    </a:cubicBezTo>
                    <a:cubicBezTo>
                      <a:pt x="1140" y="158"/>
                      <a:pt x="1140" y="158"/>
                      <a:pt x="1140" y="158"/>
                    </a:cubicBezTo>
                    <a:close/>
                    <a:moveTo>
                      <a:pt x="1142" y="158"/>
                    </a:moveTo>
                    <a:cubicBezTo>
                      <a:pt x="1141" y="158"/>
                      <a:pt x="1141" y="158"/>
                      <a:pt x="1140" y="158"/>
                    </a:cubicBezTo>
                    <a:cubicBezTo>
                      <a:pt x="1141" y="158"/>
                      <a:pt x="1141" y="158"/>
                      <a:pt x="1142" y="158"/>
                    </a:cubicBezTo>
                    <a:close/>
                    <a:moveTo>
                      <a:pt x="1588" y="159"/>
                    </a:moveTo>
                    <a:cubicBezTo>
                      <a:pt x="1589" y="159"/>
                      <a:pt x="1589" y="158"/>
                      <a:pt x="1589" y="158"/>
                    </a:cubicBezTo>
                    <a:cubicBezTo>
                      <a:pt x="1588" y="158"/>
                      <a:pt x="1588" y="159"/>
                      <a:pt x="1588" y="159"/>
                    </a:cubicBezTo>
                    <a:close/>
                    <a:moveTo>
                      <a:pt x="1308" y="160"/>
                    </a:moveTo>
                    <a:cubicBezTo>
                      <a:pt x="1308" y="159"/>
                      <a:pt x="1308" y="159"/>
                      <a:pt x="1307" y="159"/>
                    </a:cubicBezTo>
                    <a:cubicBezTo>
                      <a:pt x="1307" y="159"/>
                      <a:pt x="1307" y="159"/>
                      <a:pt x="1308" y="160"/>
                    </a:cubicBezTo>
                    <a:close/>
                    <a:moveTo>
                      <a:pt x="461" y="160"/>
                    </a:moveTo>
                    <a:cubicBezTo>
                      <a:pt x="461" y="160"/>
                      <a:pt x="461" y="159"/>
                      <a:pt x="460" y="159"/>
                    </a:cubicBezTo>
                    <a:cubicBezTo>
                      <a:pt x="460" y="159"/>
                      <a:pt x="460" y="160"/>
                      <a:pt x="461" y="160"/>
                    </a:cubicBezTo>
                    <a:close/>
                    <a:moveTo>
                      <a:pt x="1144" y="160"/>
                    </a:moveTo>
                    <a:cubicBezTo>
                      <a:pt x="1144" y="159"/>
                      <a:pt x="1144" y="159"/>
                      <a:pt x="1143" y="159"/>
                    </a:cubicBezTo>
                    <a:cubicBezTo>
                      <a:pt x="1144" y="160"/>
                      <a:pt x="1144" y="160"/>
                      <a:pt x="1144" y="160"/>
                    </a:cubicBezTo>
                    <a:close/>
                    <a:moveTo>
                      <a:pt x="1606" y="159"/>
                    </a:moveTo>
                    <a:cubicBezTo>
                      <a:pt x="1605" y="159"/>
                      <a:pt x="1605" y="160"/>
                      <a:pt x="1605" y="160"/>
                    </a:cubicBezTo>
                    <a:cubicBezTo>
                      <a:pt x="1606" y="160"/>
                      <a:pt x="1606" y="160"/>
                      <a:pt x="1606" y="159"/>
                    </a:cubicBezTo>
                    <a:close/>
                    <a:moveTo>
                      <a:pt x="1003" y="161"/>
                    </a:moveTo>
                    <a:cubicBezTo>
                      <a:pt x="1004" y="161"/>
                      <a:pt x="1004" y="160"/>
                      <a:pt x="1004" y="160"/>
                    </a:cubicBezTo>
                    <a:cubicBezTo>
                      <a:pt x="1003" y="160"/>
                      <a:pt x="1003" y="160"/>
                      <a:pt x="1003" y="161"/>
                    </a:cubicBezTo>
                    <a:close/>
                    <a:moveTo>
                      <a:pt x="1146" y="160"/>
                    </a:moveTo>
                    <a:cubicBezTo>
                      <a:pt x="1145" y="160"/>
                      <a:pt x="1145" y="160"/>
                      <a:pt x="1144" y="160"/>
                    </a:cubicBezTo>
                    <a:cubicBezTo>
                      <a:pt x="1145" y="160"/>
                      <a:pt x="1145" y="160"/>
                      <a:pt x="1146" y="160"/>
                    </a:cubicBezTo>
                    <a:close/>
                    <a:moveTo>
                      <a:pt x="1551" y="161"/>
                    </a:moveTo>
                    <a:cubicBezTo>
                      <a:pt x="1551" y="160"/>
                      <a:pt x="1551" y="160"/>
                      <a:pt x="1550" y="160"/>
                    </a:cubicBezTo>
                    <a:cubicBezTo>
                      <a:pt x="1550" y="160"/>
                      <a:pt x="1551" y="161"/>
                      <a:pt x="1551" y="161"/>
                    </a:cubicBezTo>
                    <a:close/>
                    <a:moveTo>
                      <a:pt x="1569" y="160"/>
                    </a:moveTo>
                    <a:cubicBezTo>
                      <a:pt x="1569" y="160"/>
                      <a:pt x="1569" y="161"/>
                      <a:pt x="1569" y="161"/>
                    </a:cubicBezTo>
                    <a:cubicBezTo>
                      <a:pt x="1569" y="161"/>
                      <a:pt x="1569" y="160"/>
                      <a:pt x="1569" y="160"/>
                    </a:cubicBezTo>
                    <a:close/>
                    <a:moveTo>
                      <a:pt x="1588" y="161"/>
                    </a:moveTo>
                    <a:cubicBezTo>
                      <a:pt x="1588" y="161"/>
                      <a:pt x="1588" y="160"/>
                      <a:pt x="1588" y="160"/>
                    </a:cubicBezTo>
                    <a:cubicBezTo>
                      <a:pt x="1588" y="160"/>
                      <a:pt x="1588" y="160"/>
                      <a:pt x="1588" y="161"/>
                    </a:cubicBezTo>
                    <a:close/>
                    <a:moveTo>
                      <a:pt x="972" y="161"/>
                    </a:moveTo>
                    <a:cubicBezTo>
                      <a:pt x="972" y="161"/>
                      <a:pt x="972" y="160"/>
                      <a:pt x="971" y="160"/>
                    </a:cubicBezTo>
                    <a:cubicBezTo>
                      <a:pt x="971" y="161"/>
                      <a:pt x="971" y="161"/>
                      <a:pt x="972" y="161"/>
                    </a:cubicBezTo>
                    <a:close/>
                    <a:moveTo>
                      <a:pt x="1147" y="161"/>
                    </a:moveTo>
                    <a:cubicBezTo>
                      <a:pt x="1146" y="160"/>
                      <a:pt x="1146" y="160"/>
                      <a:pt x="1146" y="160"/>
                    </a:cubicBezTo>
                    <a:cubicBezTo>
                      <a:pt x="1146" y="161"/>
                      <a:pt x="1146" y="161"/>
                      <a:pt x="1147" y="161"/>
                    </a:cubicBezTo>
                    <a:close/>
                    <a:moveTo>
                      <a:pt x="1309" y="161"/>
                    </a:moveTo>
                    <a:cubicBezTo>
                      <a:pt x="1309" y="161"/>
                      <a:pt x="1309" y="160"/>
                      <a:pt x="1308" y="160"/>
                    </a:cubicBezTo>
                    <a:cubicBezTo>
                      <a:pt x="1308" y="161"/>
                      <a:pt x="1308" y="161"/>
                      <a:pt x="1309" y="161"/>
                    </a:cubicBezTo>
                    <a:close/>
                    <a:moveTo>
                      <a:pt x="418" y="161"/>
                    </a:moveTo>
                    <a:cubicBezTo>
                      <a:pt x="417" y="161"/>
                      <a:pt x="417" y="161"/>
                      <a:pt x="417" y="162"/>
                    </a:cubicBezTo>
                    <a:cubicBezTo>
                      <a:pt x="418" y="162"/>
                      <a:pt x="418" y="161"/>
                      <a:pt x="418" y="161"/>
                    </a:cubicBezTo>
                    <a:close/>
                    <a:moveTo>
                      <a:pt x="1148" y="161"/>
                    </a:moveTo>
                    <a:cubicBezTo>
                      <a:pt x="1148" y="161"/>
                      <a:pt x="1147" y="161"/>
                      <a:pt x="1147" y="161"/>
                    </a:cubicBezTo>
                    <a:cubicBezTo>
                      <a:pt x="1147" y="161"/>
                      <a:pt x="1147" y="161"/>
                      <a:pt x="1148" y="161"/>
                    </a:cubicBezTo>
                    <a:close/>
                    <a:moveTo>
                      <a:pt x="1178" y="161"/>
                    </a:moveTo>
                    <a:cubicBezTo>
                      <a:pt x="1178" y="161"/>
                      <a:pt x="1179" y="162"/>
                      <a:pt x="1179" y="162"/>
                    </a:cubicBezTo>
                    <a:cubicBezTo>
                      <a:pt x="1179" y="161"/>
                      <a:pt x="1179" y="161"/>
                      <a:pt x="1178" y="161"/>
                    </a:cubicBezTo>
                    <a:close/>
                    <a:moveTo>
                      <a:pt x="1149" y="162"/>
                    </a:moveTo>
                    <a:cubicBezTo>
                      <a:pt x="1149" y="161"/>
                      <a:pt x="1148" y="161"/>
                      <a:pt x="1148" y="161"/>
                    </a:cubicBezTo>
                    <a:cubicBezTo>
                      <a:pt x="1148" y="162"/>
                      <a:pt x="1149" y="162"/>
                      <a:pt x="1149" y="162"/>
                    </a:cubicBezTo>
                    <a:close/>
                    <a:moveTo>
                      <a:pt x="1552" y="163"/>
                    </a:moveTo>
                    <a:cubicBezTo>
                      <a:pt x="1552" y="162"/>
                      <a:pt x="1552" y="162"/>
                      <a:pt x="1551" y="161"/>
                    </a:cubicBezTo>
                    <a:cubicBezTo>
                      <a:pt x="1551" y="162"/>
                      <a:pt x="1551" y="162"/>
                      <a:pt x="1552" y="163"/>
                    </a:cubicBezTo>
                    <a:close/>
                    <a:moveTo>
                      <a:pt x="1569" y="161"/>
                    </a:moveTo>
                    <a:cubicBezTo>
                      <a:pt x="1569" y="162"/>
                      <a:pt x="1569" y="162"/>
                      <a:pt x="1570" y="163"/>
                    </a:cubicBezTo>
                    <a:cubicBezTo>
                      <a:pt x="1570" y="162"/>
                      <a:pt x="1570" y="162"/>
                      <a:pt x="1569" y="161"/>
                    </a:cubicBezTo>
                    <a:close/>
                    <a:moveTo>
                      <a:pt x="1088" y="162"/>
                    </a:moveTo>
                    <a:cubicBezTo>
                      <a:pt x="1087" y="162"/>
                      <a:pt x="1087" y="163"/>
                      <a:pt x="1087" y="163"/>
                    </a:cubicBezTo>
                    <a:cubicBezTo>
                      <a:pt x="1088" y="163"/>
                      <a:pt x="1088" y="162"/>
                      <a:pt x="1088" y="162"/>
                    </a:cubicBezTo>
                    <a:close/>
                    <a:moveTo>
                      <a:pt x="1150" y="163"/>
                    </a:moveTo>
                    <a:cubicBezTo>
                      <a:pt x="1150" y="162"/>
                      <a:pt x="1150" y="162"/>
                      <a:pt x="1149" y="162"/>
                    </a:cubicBezTo>
                    <a:cubicBezTo>
                      <a:pt x="1149" y="162"/>
                      <a:pt x="1150" y="163"/>
                      <a:pt x="1150" y="163"/>
                    </a:cubicBezTo>
                    <a:close/>
                    <a:moveTo>
                      <a:pt x="1605" y="162"/>
                    </a:moveTo>
                    <a:cubicBezTo>
                      <a:pt x="1604" y="162"/>
                      <a:pt x="1604" y="163"/>
                      <a:pt x="1604" y="163"/>
                    </a:cubicBezTo>
                    <a:cubicBezTo>
                      <a:pt x="1604" y="163"/>
                      <a:pt x="1605" y="162"/>
                      <a:pt x="1605" y="162"/>
                    </a:cubicBezTo>
                    <a:close/>
                    <a:moveTo>
                      <a:pt x="1151" y="163"/>
                    </a:moveTo>
                    <a:cubicBezTo>
                      <a:pt x="1151" y="163"/>
                      <a:pt x="1151" y="163"/>
                      <a:pt x="1150" y="163"/>
                    </a:cubicBezTo>
                    <a:cubicBezTo>
                      <a:pt x="1150" y="163"/>
                      <a:pt x="1151" y="163"/>
                      <a:pt x="1151" y="163"/>
                    </a:cubicBezTo>
                    <a:close/>
                    <a:moveTo>
                      <a:pt x="1179" y="163"/>
                    </a:moveTo>
                    <a:cubicBezTo>
                      <a:pt x="1179" y="163"/>
                      <a:pt x="1180" y="164"/>
                      <a:pt x="1180" y="164"/>
                    </a:cubicBezTo>
                    <a:cubicBezTo>
                      <a:pt x="1180" y="163"/>
                      <a:pt x="1180" y="163"/>
                      <a:pt x="1179" y="163"/>
                    </a:cubicBezTo>
                    <a:close/>
                    <a:moveTo>
                      <a:pt x="1587" y="164"/>
                    </a:moveTo>
                    <a:cubicBezTo>
                      <a:pt x="1587" y="164"/>
                      <a:pt x="1587" y="163"/>
                      <a:pt x="1587" y="163"/>
                    </a:cubicBezTo>
                    <a:cubicBezTo>
                      <a:pt x="1587" y="163"/>
                      <a:pt x="1587" y="163"/>
                      <a:pt x="1587" y="164"/>
                    </a:cubicBezTo>
                    <a:close/>
                    <a:moveTo>
                      <a:pt x="1152" y="164"/>
                    </a:moveTo>
                    <a:cubicBezTo>
                      <a:pt x="1152" y="163"/>
                      <a:pt x="1152" y="163"/>
                      <a:pt x="1151" y="163"/>
                    </a:cubicBezTo>
                    <a:cubicBezTo>
                      <a:pt x="1152" y="164"/>
                      <a:pt x="1152" y="164"/>
                      <a:pt x="1152" y="164"/>
                    </a:cubicBezTo>
                    <a:close/>
                    <a:moveTo>
                      <a:pt x="1570" y="163"/>
                    </a:moveTo>
                    <a:cubicBezTo>
                      <a:pt x="1570" y="164"/>
                      <a:pt x="1570" y="164"/>
                      <a:pt x="1571" y="164"/>
                    </a:cubicBezTo>
                    <a:cubicBezTo>
                      <a:pt x="1571" y="164"/>
                      <a:pt x="1571" y="163"/>
                      <a:pt x="1570" y="163"/>
                    </a:cubicBezTo>
                    <a:close/>
                    <a:moveTo>
                      <a:pt x="1180" y="164"/>
                    </a:moveTo>
                    <a:cubicBezTo>
                      <a:pt x="1180" y="164"/>
                      <a:pt x="1180" y="165"/>
                      <a:pt x="1181" y="165"/>
                    </a:cubicBezTo>
                    <a:cubicBezTo>
                      <a:pt x="1181" y="165"/>
                      <a:pt x="1181" y="164"/>
                      <a:pt x="1180" y="164"/>
                    </a:cubicBezTo>
                    <a:close/>
                    <a:moveTo>
                      <a:pt x="1604" y="163"/>
                    </a:moveTo>
                    <a:cubicBezTo>
                      <a:pt x="1603" y="164"/>
                      <a:pt x="1603" y="164"/>
                      <a:pt x="1603" y="165"/>
                    </a:cubicBezTo>
                    <a:cubicBezTo>
                      <a:pt x="1604" y="165"/>
                      <a:pt x="1604" y="164"/>
                      <a:pt x="1604" y="163"/>
                    </a:cubicBezTo>
                    <a:close/>
                    <a:moveTo>
                      <a:pt x="508" y="164"/>
                    </a:moveTo>
                    <a:cubicBezTo>
                      <a:pt x="508" y="164"/>
                      <a:pt x="507" y="165"/>
                      <a:pt x="508" y="165"/>
                    </a:cubicBezTo>
                    <a:cubicBezTo>
                      <a:pt x="508" y="165"/>
                      <a:pt x="508" y="165"/>
                      <a:pt x="508" y="164"/>
                    </a:cubicBezTo>
                    <a:close/>
                    <a:moveTo>
                      <a:pt x="1017" y="164"/>
                    </a:moveTo>
                    <a:cubicBezTo>
                      <a:pt x="1017" y="164"/>
                      <a:pt x="1017" y="165"/>
                      <a:pt x="1017" y="165"/>
                    </a:cubicBezTo>
                    <a:cubicBezTo>
                      <a:pt x="1017" y="165"/>
                      <a:pt x="1017" y="165"/>
                      <a:pt x="1017" y="164"/>
                    </a:cubicBezTo>
                    <a:close/>
                    <a:moveTo>
                      <a:pt x="1154" y="165"/>
                    </a:moveTo>
                    <a:cubicBezTo>
                      <a:pt x="1154" y="164"/>
                      <a:pt x="1154" y="164"/>
                      <a:pt x="1153" y="164"/>
                    </a:cubicBezTo>
                    <a:cubicBezTo>
                      <a:pt x="1153" y="165"/>
                      <a:pt x="1154" y="165"/>
                      <a:pt x="1154" y="165"/>
                    </a:cubicBezTo>
                    <a:close/>
                    <a:moveTo>
                      <a:pt x="1553" y="165"/>
                    </a:moveTo>
                    <a:cubicBezTo>
                      <a:pt x="1553" y="165"/>
                      <a:pt x="1553" y="164"/>
                      <a:pt x="1552" y="164"/>
                    </a:cubicBezTo>
                    <a:cubicBezTo>
                      <a:pt x="1552" y="165"/>
                      <a:pt x="1552" y="165"/>
                      <a:pt x="1553" y="165"/>
                    </a:cubicBezTo>
                    <a:close/>
                    <a:moveTo>
                      <a:pt x="1586" y="166"/>
                    </a:moveTo>
                    <a:cubicBezTo>
                      <a:pt x="1587" y="165"/>
                      <a:pt x="1587" y="165"/>
                      <a:pt x="1587" y="164"/>
                    </a:cubicBezTo>
                    <a:cubicBezTo>
                      <a:pt x="1586" y="165"/>
                      <a:pt x="1586" y="165"/>
                      <a:pt x="1586" y="166"/>
                    </a:cubicBezTo>
                    <a:close/>
                    <a:moveTo>
                      <a:pt x="416" y="165"/>
                    </a:moveTo>
                    <a:cubicBezTo>
                      <a:pt x="416" y="165"/>
                      <a:pt x="416" y="165"/>
                      <a:pt x="416" y="166"/>
                    </a:cubicBezTo>
                    <a:cubicBezTo>
                      <a:pt x="416" y="166"/>
                      <a:pt x="416" y="165"/>
                      <a:pt x="416" y="165"/>
                    </a:cubicBezTo>
                    <a:close/>
                    <a:moveTo>
                      <a:pt x="1155" y="165"/>
                    </a:moveTo>
                    <a:cubicBezTo>
                      <a:pt x="1155" y="165"/>
                      <a:pt x="1155" y="165"/>
                      <a:pt x="1154" y="165"/>
                    </a:cubicBezTo>
                    <a:cubicBezTo>
                      <a:pt x="1154" y="165"/>
                      <a:pt x="1155" y="165"/>
                      <a:pt x="1155" y="165"/>
                    </a:cubicBezTo>
                    <a:close/>
                    <a:moveTo>
                      <a:pt x="1571" y="165"/>
                    </a:moveTo>
                    <a:cubicBezTo>
                      <a:pt x="1571" y="165"/>
                      <a:pt x="1571" y="166"/>
                      <a:pt x="1571" y="166"/>
                    </a:cubicBezTo>
                    <a:cubicBezTo>
                      <a:pt x="1571" y="166"/>
                      <a:pt x="1571" y="165"/>
                      <a:pt x="1571" y="165"/>
                    </a:cubicBezTo>
                    <a:close/>
                    <a:moveTo>
                      <a:pt x="1603" y="165"/>
                    </a:moveTo>
                    <a:cubicBezTo>
                      <a:pt x="1603" y="165"/>
                      <a:pt x="1603" y="166"/>
                      <a:pt x="1603" y="166"/>
                    </a:cubicBezTo>
                    <a:cubicBezTo>
                      <a:pt x="1603" y="166"/>
                      <a:pt x="1603" y="165"/>
                      <a:pt x="1603" y="165"/>
                    </a:cubicBezTo>
                    <a:close/>
                    <a:moveTo>
                      <a:pt x="1181" y="165"/>
                    </a:moveTo>
                    <a:cubicBezTo>
                      <a:pt x="1181" y="166"/>
                      <a:pt x="1181" y="166"/>
                      <a:pt x="1181" y="167"/>
                    </a:cubicBezTo>
                    <a:cubicBezTo>
                      <a:pt x="1181" y="166"/>
                      <a:pt x="1181" y="166"/>
                      <a:pt x="1181" y="165"/>
                    </a:cubicBezTo>
                    <a:close/>
                    <a:moveTo>
                      <a:pt x="973" y="167"/>
                    </a:moveTo>
                    <a:cubicBezTo>
                      <a:pt x="973" y="167"/>
                      <a:pt x="973" y="166"/>
                      <a:pt x="973" y="166"/>
                    </a:cubicBezTo>
                    <a:cubicBezTo>
                      <a:pt x="973" y="166"/>
                      <a:pt x="973" y="167"/>
                      <a:pt x="973" y="167"/>
                    </a:cubicBezTo>
                    <a:close/>
                    <a:moveTo>
                      <a:pt x="1017" y="166"/>
                    </a:moveTo>
                    <a:cubicBezTo>
                      <a:pt x="1016" y="166"/>
                      <a:pt x="1016" y="167"/>
                      <a:pt x="1016" y="167"/>
                    </a:cubicBezTo>
                    <a:cubicBezTo>
                      <a:pt x="1017" y="167"/>
                      <a:pt x="1017" y="166"/>
                      <a:pt x="1017" y="166"/>
                    </a:cubicBezTo>
                    <a:close/>
                    <a:moveTo>
                      <a:pt x="1157" y="167"/>
                    </a:moveTo>
                    <a:cubicBezTo>
                      <a:pt x="1157" y="166"/>
                      <a:pt x="1157" y="166"/>
                      <a:pt x="1156" y="166"/>
                    </a:cubicBezTo>
                    <a:cubicBezTo>
                      <a:pt x="1156" y="166"/>
                      <a:pt x="1157" y="167"/>
                      <a:pt x="1157" y="167"/>
                    </a:cubicBezTo>
                    <a:close/>
                    <a:moveTo>
                      <a:pt x="1553" y="167"/>
                    </a:moveTo>
                    <a:cubicBezTo>
                      <a:pt x="1553" y="167"/>
                      <a:pt x="1553" y="166"/>
                      <a:pt x="1553" y="166"/>
                    </a:cubicBezTo>
                    <a:cubicBezTo>
                      <a:pt x="1553" y="166"/>
                      <a:pt x="1553" y="167"/>
                      <a:pt x="1553" y="167"/>
                    </a:cubicBezTo>
                    <a:close/>
                    <a:moveTo>
                      <a:pt x="1586" y="167"/>
                    </a:moveTo>
                    <a:cubicBezTo>
                      <a:pt x="1586" y="167"/>
                      <a:pt x="1586" y="166"/>
                      <a:pt x="1586" y="166"/>
                    </a:cubicBezTo>
                    <a:cubicBezTo>
                      <a:pt x="1586" y="166"/>
                      <a:pt x="1586" y="167"/>
                      <a:pt x="1586" y="167"/>
                    </a:cubicBezTo>
                    <a:close/>
                    <a:moveTo>
                      <a:pt x="1603" y="166"/>
                    </a:moveTo>
                    <a:cubicBezTo>
                      <a:pt x="1602" y="167"/>
                      <a:pt x="1602" y="167"/>
                      <a:pt x="1602" y="168"/>
                    </a:cubicBezTo>
                    <a:cubicBezTo>
                      <a:pt x="1603" y="167"/>
                      <a:pt x="1603" y="167"/>
                      <a:pt x="1603" y="166"/>
                    </a:cubicBezTo>
                    <a:close/>
                    <a:moveTo>
                      <a:pt x="1001" y="169"/>
                    </a:moveTo>
                    <a:cubicBezTo>
                      <a:pt x="1002" y="168"/>
                      <a:pt x="1002" y="168"/>
                      <a:pt x="1002" y="167"/>
                    </a:cubicBezTo>
                    <a:cubicBezTo>
                      <a:pt x="1001" y="167"/>
                      <a:pt x="1001" y="168"/>
                      <a:pt x="1001" y="169"/>
                    </a:cubicBezTo>
                    <a:close/>
                    <a:moveTo>
                      <a:pt x="1159" y="168"/>
                    </a:moveTo>
                    <a:cubicBezTo>
                      <a:pt x="1159" y="167"/>
                      <a:pt x="1158" y="167"/>
                      <a:pt x="1158" y="167"/>
                    </a:cubicBezTo>
                    <a:cubicBezTo>
                      <a:pt x="1158" y="168"/>
                      <a:pt x="1158" y="168"/>
                      <a:pt x="1159" y="168"/>
                    </a:cubicBezTo>
                    <a:close/>
                    <a:moveTo>
                      <a:pt x="1086" y="167"/>
                    </a:moveTo>
                    <a:cubicBezTo>
                      <a:pt x="1086" y="168"/>
                      <a:pt x="1086" y="168"/>
                      <a:pt x="1086" y="169"/>
                    </a:cubicBezTo>
                    <a:cubicBezTo>
                      <a:pt x="1086" y="169"/>
                      <a:pt x="1086" y="168"/>
                      <a:pt x="1086" y="167"/>
                    </a:cubicBezTo>
                    <a:close/>
                    <a:moveTo>
                      <a:pt x="1602" y="168"/>
                    </a:moveTo>
                    <a:cubicBezTo>
                      <a:pt x="1602" y="168"/>
                      <a:pt x="1602" y="168"/>
                      <a:pt x="1602" y="169"/>
                    </a:cubicBezTo>
                    <a:cubicBezTo>
                      <a:pt x="1602" y="169"/>
                      <a:pt x="1602" y="168"/>
                      <a:pt x="1602" y="168"/>
                    </a:cubicBezTo>
                    <a:close/>
                    <a:moveTo>
                      <a:pt x="507" y="168"/>
                    </a:moveTo>
                    <a:cubicBezTo>
                      <a:pt x="506" y="168"/>
                      <a:pt x="506" y="169"/>
                      <a:pt x="506" y="169"/>
                    </a:cubicBezTo>
                    <a:cubicBezTo>
                      <a:pt x="507" y="169"/>
                      <a:pt x="507" y="169"/>
                      <a:pt x="507" y="168"/>
                    </a:cubicBezTo>
                    <a:close/>
                    <a:moveTo>
                      <a:pt x="1554" y="170"/>
                    </a:moveTo>
                    <a:cubicBezTo>
                      <a:pt x="1554" y="170"/>
                      <a:pt x="1554" y="169"/>
                      <a:pt x="1554" y="169"/>
                    </a:cubicBezTo>
                    <a:cubicBezTo>
                      <a:pt x="1554" y="169"/>
                      <a:pt x="1554" y="170"/>
                      <a:pt x="1554" y="170"/>
                    </a:cubicBezTo>
                    <a:close/>
                    <a:moveTo>
                      <a:pt x="1584" y="170"/>
                    </a:moveTo>
                    <a:cubicBezTo>
                      <a:pt x="1585" y="170"/>
                      <a:pt x="1585" y="169"/>
                      <a:pt x="1585" y="169"/>
                    </a:cubicBezTo>
                    <a:cubicBezTo>
                      <a:pt x="1584" y="169"/>
                      <a:pt x="1584" y="170"/>
                      <a:pt x="1584" y="170"/>
                    </a:cubicBezTo>
                    <a:close/>
                    <a:moveTo>
                      <a:pt x="1602" y="169"/>
                    </a:moveTo>
                    <a:cubicBezTo>
                      <a:pt x="1601" y="170"/>
                      <a:pt x="1601" y="170"/>
                      <a:pt x="1601" y="171"/>
                    </a:cubicBezTo>
                    <a:cubicBezTo>
                      <a:pt x="1602" y="170"/>
                      <a:pt x="1602" y="170"/>
                      <a:pt x="1602" y="169"/>
                    </a:cubicBezTo>
                    <a:close/>
                    <a:moveTo>
                      <a:pt x="1162" y="172"/>
                    </a:moveTo>
                    <a:cubicBezTo>
                      <a:pt x="1162" y="171"/>
                      <a:pt x="1162" y="171"/>
                      <a:pt x="1162" y="171"/>
                    </a:cubicBezTo>
                    <a:cubicBezTo>
                      <a:pt x="1162" y="171"/>
                      <a:pt x="1162" y="172"/>
                      <a:pt x="1162" y="172"/>
                    </a:cubicBezTo>
                    <a:close/>
                    <a:moveTo>
                      <a:pt x="1364" y="171"/>
                    </a:moveTo>
                    <a:cubicBezTo>
                      <a:pt x="1364" y="171"/>
                      <a:pt x="1364" y="172"/>
                      <a:pt x="1365" y="172"/>
                    </a:cubicBezTo>
                    <a:cubicBezTo>
                      <a:pt x="1365" y="171"/>
                      <a:pt x="1365" y="171"/>
                      <a:pt x="1364" y="171"/>
                    </a:cubicBezTo>
                    <a:close/>
                    <a:moveTo>
                      <a:pt x="1555" y="172"/>
                    </a:moveTo>
                    <a:cubicBezTo>
                      <a:pt x="1555" y="171"/>
                      <a:pt x="1555" y="171"/>
                      <a:pt x="1555" y="170"/>
                    </a:cubicBezTo>
                    <a:cubicBezTo>
                      <a:pt x="1554" y="171"/>
                      <a:pt x="1554" y="171"/>
                      <a:pt x="1555" y="172"/>
                    </a:cubicBezTo>
                    <a:close/>
                    <a:moveTo>
                      <a:pt x="1584" y="172"/>
                    </a:moveTo>
                    <a:cubicBezTo>
                      <a:pt x="1584" y="172"/>
                      <a:pt x="1584" y="171"/>
                      <a:pt x="1584" y="171"/>
                    </a:cubicBezTo>
                    <a:cubicBezTo>
                      <a:pt x="1584" y="171"/>
                      <a:pt x="1584" y="171"/>
                      <a:pt x="1584" y="172"/>
                    </a:cubicBezTo>
                    <a:close/>
                    <a:moveTo>
                      <a:pt x="1601" y="171"/>
                    </a:moveTo>
                    <a:cubicBezTo>
                      <a:pt x="1601" y="171"/>
                      <a:pt x="1601" y="171"/>
                      <a:pt x="1601" y="172"/>
                    </a:cubicBezTo>
                    <a:cubicBezTo>
                      <a:pt x="1601" y="171"/>
                      <a:pt x="1601" y="171"/>
                      <a:pt x="1601" y="171"/>
                    </a:cubicBezTo>
                    <a:close/>
                    <a:moveTo>
                      <a:pt x="1573" y="171"/>
                    </a:moveTo>
                    <a:cubicBezTo>
                      <a:pt x="1573" y="172"/>
                      <a:pt x="1573" y="172"/>
                      <a:pt x="1573" y="173"/>
                    </a:cubicBezTo>
                    <a:cubicBezTo>
                      <a:pt x="1573" y="172"/>
                      <a:pt x="1573" y="172"/>
                      <a:pt x="1573" y="171"/>
                    </a:cubicBezTo>
                    <a:close/>
                    <a:moveTo>
                      <a:pt x="943" y="172"/>
                    </a:moveTo>
                    <a:cubicBezTo>
                      <a:pt x="943" y="172"/>
                      <a:pt x="943" y="172"/>
                      <a:pt x="943" y="173"/>
                    </a:cubicBezTo>
                    <a:cubicBezTo>
                      <a:pt x="943" y="173"/>
                      <a:pt x="943" y="172"/>
                      <a:pt x="943" y="172"/>
                    </a:cubicBezTo>
                    <a:close/>
                    <a:moveTo>
                      <a:pt x="975" y="173"/>
                    </a:moveTo>
                    <a:cubicBezTo>
                      <a:pt x="975" y="172"/>
                      <a:pt x="975" y="172"/>
                      <a:pt x="975" y="171"/>
                    </a:cubicBezTo>
                    <a:cubicBezTo>
                      <a:pt x="975" y="172"/>
                      <a:pt x="975" y="173"/>
                      <a:pt x="975" y="173"/>
                    </a:cubicBezTo>
                    <a:close/>
                    <a:moveTo>
                      <a:pt x="1556" y="173"/>
                    </a:moveTo>
                    <a:cubicBezTo>
                      <a:pt x="1556" y="172"/>
                      <a:pt x="1555" y="172"/>
                      <a:pt x="1555" y="172"/>
                    </a:cubicBezTo>
                    <a:cubicBezTo>
                      <a:pt x="1555" y="172"/>
                      <a:pt x="1555" y="173"/>
                      <a:pt x="1556" y="173"/>
                    </a:cubicBezTo>
                    <a:close/>
                    <a:moveTo>
                      <a:pt x="506" y="172"/>
                    </a:moveTo>
                    <a:cubicBezTo>
                      <a:pt x="505" y="172"/>
                      <a:pt x="505" y="173"/>
                      <a:pt x="505" y="173"/>
                    </a:cubicBezTo>
                    <a:cubicBezTo>
                      <a:pt x="506" y="173"/>
                      <a:pt x="506" y="173"/>
                      <a:pt x="506" y="172"/>
                    </a:cubicBezTo>
                    <a:close/>
                    <a:moveTo>
                      <a:pt x="1365" y="172"/>
                    </a:moveTo>
                    <a:cubicBezTo>
                      <a:pt x="1365" y="173"/>
                      <a:pt x="1365" y="173"/>
                      <a:pt x="1365" y="174"/>
                    </a:cubicBezTo>
                    <a:cubicBezTo>
                      <a:pt x="1366" y="173"/>
                      <a:pt x="1366" y="173"/>
                      <a:pt x="1365" y="172"/>
                    </a:cubicBezTo>
                    <a:close/>
                    <a:moveTo>
                      <a:pt x="1583" y="174"/>
                    </a:moveTo>
                    <a:cubicBezTo>
                      <a:pt x="1584" y="173"/>
                      <a:pt x="1584" y="173"/>
                      <a:pt x="1584" y="172"/>
                    </a:cubicBezTo>
                    <a:cubicBezTo>
                      <a:pt x="1583" y="173"/>
                      <a:pt x="1583" y="173"/>
                      <a:pt x="1583" y="174"/>
                    </a:cubicBezTo>
                    <a:close/>
                    <a:moveTo>
                      <a:pt x="1600" y="172"/>
                    </a:moveTo>
                    <a:cubicBezTo>
                      <a:pt x="1600" y="172"/>
                      <a:pt x="1600" y="173"/>
                      <a:pt x="1600" y="173"/>
                    </a:cubicBezTo>
                    <a:cubicBezTo>
                      <a:pt x="1600" y="173"/>
                      <a:pt x="1601" y="173"/>
                      <a:pt x="1600" y="172"/>
                    </a:cubicBezTo>
                    <a:close/>
                    <a:moveTo>
                      <a:pt x="1046" y="174"/>
                    </a:moveTo>
                    <a:cubicBezTo>
                      <a:pt x="1046" y="174"/>
                      <a:pt x="1046" y="173"/>
                      <a:pt x="1045" y="173"/>
                    </a:cubicBezTo>
                    <a:cubicBezTo>
                      <a:pt x="1045" y="173"/>
                      <a:pt x="1045" y="174"/>
                      <a:pt x="1046" y="174"/>
                    </a:cubicBezTo>
                    <a:close/>
                    <a:moveTo>
                      <a:pt x="1573" y="173"/>
                    </a:moveTo>
                    <a:cubicBezTo>
                      <a:pt x="1573" y="173"/>
                      <a:pt x="1574" y="174"/>
                      <a:pt x="1574" y="174"/>
                    </a:cubicBezTo>
                    <a:cubicBezTo>
                      <a:pt x="1574" y="174"/>
                      <a:pt x="1574" y="173"/>
                      <a:pt x="1573" y="173"/>
                    </a:cubicBezTo>
                    <a:close/>
                    <a:moveTo>
                      <a:pt x="943" y="173"/>
                    </a:moveTo>
                    <a:cubicBezTo>
                      <a:pt x="942" y="174"/>
                      <a:pt x="942" y="174"/>
                      <a:pt x="942" y="175"/>
                    </a:cubicBezTo>
                    <a:cubicBezTo>
                      <a:pt x="943" y="174"/>
                      <a:pt x="943" y="174"/>
                      <a:pt x="943" y="173"/>
                    </a:cubicBezTo>
                    <a:close/>
                    <a:moveTo>
                      <a:pt x="1014" y="173"/>
                    </a:moveTo>
                    <a:cubicBezTo>
                      <a:pt x="1014" y="174"/>
                      <a:pt x="1014" y="174"/>
                      <a:pt x="1014" y="175"/>
                    </a:cubicBezTo>
                    <a:cubicBezTo>
                      <a:pt x="1014" y="174"/>
                      <a:pt x="1014" y="174"/>
                      <a:pt x="1014" y="173"/>
                    </a:cubicBezTo>
                    <a:close/>
                    <a:moveTo>
                      <a:pt x="1084" y="173"/>
                    </a:moveTo>
                    <a:cubicBezTo>
                      <a:pt x="1084" y="174"/>
                      <a:pt x="1084" y="174"/>
                      <a:pt x="1084" y="175"/>
                    </a:cubicBezTo>
                    <a:cubicBezTo>
                      <a:pt x="1085" y="174"/>
                      <a:pt x="1085" y="174"/>
                      <a:pt x="1084" y="173"/>
                    </a:cubicBezTo>
                    <a:close/>
                    <a:moveTo>
                      <a:pt x="1556" y="175"/>
                    </a:moveTo>
                    <a:cubicBezTo>
                      <a:pt x="1556" y="174"/>
                      <a:pt x="1556" y="174"/>
                      <a:pt x="1556" y="173"/>
                    </a:cubicBezTo>
                    <a:cubicBezTo>
                      <a:pt x="1556" y="174"/>
                      <a:pt x="1556" y="174"/>
                      <a:pt x="1556" y="175"/>
                    </a:cubicBezTo>
                    <a:close/>
                    <a:moveTo>
                      <a:pt x="1600" y="173"/>
                    </a:moveTo>
                    <a:cubicBezTo>
                      <a:pt x="1599" y="174"/>
                      <a:pt x="1599" y="174"/>
                      <a:pt x="1599" y="175"/>
                    </a:cubicBezTo>
                    <a:cubicBezTo>
                      <a:pt x="1600" y="174"/>
                      <a:pt x="1600" y="174"/>
                      <a:pt x="1600" y="173"/>
                    </a:cubicBezTo>
                    <a:close/>
                    <a:moveTo>
                      <a:pt x="1656" y="173"/>
                    </a:moveTo>
                    <a:cubicBezTo>
                      <a:pt x="1656" y="174"/>
                      <a:pt x="1656" y="174"/>
                      <a:pt x="1656" y="175"/>
                    </a:cubicBezTo>
                    <a:cubicBezTo>
                      <a:pt x="1656" y="174"/>
                      <a:pt x="1656" y="174"/>
                      <a:pt x="1656" y="173"/>
                    </a:cubicBezTo>
                    <a:close/>
                    <a:moveTo>
                      <a:pt x="1366" y="174"/>
                    </a:moveTo>
                    <a:cubicBezTo>
                      <a:pt x="1366" y="175"/>
                      <a:pt x="1366" y="175"/>
                      <a:pt x="1366" y="175"/>
                    </a:cubicBezTo>
                    <a:cubicBezTo>
                      <a:pt x="1366" y="175"/>
                      <a:pt x="1366" y="174"/>
                      <a:pt x="1366" y="174"/>
                    </a:cubicBezTo>
                    <a:close/>
                    <a:moveTo>
                      <a:pt x="840" y="176"/>
                    </a:moveTo>
                    <a:cubicBezTo>
                      <a:pt x="840" y="175"/>
                      <a:pt x="840" y="175"/>
                      <a:pt x="839" y="174"/>
                    </a:cubicBezTo>
                    <a:cubicBezTo>
                      <a:pt x="839" y="175"/>
                      <a:pt x="839" y="175"/>
                      <a:pt x="840" y="176"/>
                    </a:cubicBezTo>
                    <a:close/>
                    <a:moveTo>
                      <a:pt x="999" y="176"/>
                    </a:moveTo>
                    <a:cubicBezTo>
                      <a:pt x="999" y="176"/>
                      <a:pt x="999" y="175"/>
                      <a:pt x="999" y="175"/>
                    </a:cubicBezTo>
                    <a:cubicBezTo>
                      <a:pt x="999" y="175"/>
                      <a:pt x="999" y="175"/>
                      <a:pt x="999" y="176"/>
                    </a:cubicBezTo>
                    <a:close/>
                    <a:moveTo>
                      <a:pt x="1574" y="175"/>
                    </a:moveTo>
                    <a:cubicBezTo>
                      <a:pt x="1574" y="175"/>
                      <a:pt x="1574" y="176"/>
                      <a:pt x="1575" y="176"/>
                    </a:cubicBezTo>
                    <a:cubicBezTo>
                      <a:pt x="1575" y="175"/>
                      <a:pt x="1575" y="175"/>
                      <a:pt x="1574" y="175"/>
                    </a:cubicBezTo>
                    <a:close/>
                    <a:moveTo>
                      <a:pt x="1656" y="175"/>
                    </a:moveTo>
                    <a:cubicBezTo>
                      <a:pt x="1656" y="175"/>
                      <a:pt x="1656" y="176"/>
                      <a:pt x="1657" y="176"/>
                    </a:cubicBezTo>
                    <a:cubicBezTo>
                      <a:pt x="1657" y="175"/>
                      <a:pt x="1657" y="175"/>
                      <a:pt x="1656" y="175"/>
                    </a:cubicBezTo>
                    <a:close/>
                    <a:moveTo>
                      <a:pt x="374" y="176"/>
                    </a:moveTo>
                    <a:cubicBezTo>
                      <a:pt x="374" y="176"/>
                      <a:pt x="374" y="175"/>
                      <a:pt x="373" y="175"/>
                    </a:cubicBezTo>
                    <a:cubicBezTo>
                      <a:pt x="373" y="175"/>
                      <a:pt x="373" y="176"/>
                      <a:pt x="374" y="176"/>
                    </a:cubicBezTo>
                    <a:close/>
                    <a:moveTo>
                      <a:pt x="942" y="175"/>
                    </a:moveTo>
                    <a:cubicBezTo>
                      <a:pt x="942" y="175"/>
                      <a:pt x="942" y="176"/>
                      <a:pt x="942" y="176"/>
                    </a:cubicBezTo>
                    <a:cubicBezTo>
                      <a:pt x="942" y="176"/>
                      <a:pt x="942" y="176"/>
                      <a:pt x="942" y="175"/>
                    </a:cubicBezTo>
                    <a:close/>
                    <a:moveTo>
                      <a:pt x="1014" y="175"/>
                    </a:moveTo>
                    <a:cubicBezTo>
                      <a:pt x="1013" y="175"/>
                      <a:pt x="1013" y="176"/>
                      <a:pt x="1013" y="176"/>
                    </a:cubicBezTo>
                    <a:cubicBezTo>
                      <a:pt x="1014" y="176"/>
                      <a:pt x="1014" y="176"/>
                      <a:pt x="1014" y="175"/>
                    </a:cubicBezTo>
                    <a:close/>
                    <a:moveTo>
                      <a:pt x="1366" y="175"/>
                    </a:moveTo>
                    <a:cubicBezTo>
                      <a:pt x="1366" y="176"/>
                      <a:pt x="1366" y="176"/>
                      <a:pt x="1367" y="176"/>
                    </a:cubicBezTo>
                    <a:cubicBezTo>
                      <a:pt x="1367" y="176"/>
                      <a:pt x="1367" y="175"/>
                      <a:pt x="1366" y="175"/>
                    </a:cubicBezTo>
                    <a:close/>
                    <a:moveTo>
                      <a:pt x="1582" y="177"/>
                    </a:moveTo>
                    <a:cubicBezTo>
                      <a:pt x="1583" y="176"/>
                      <a:pt x="1583" y="176"/>
                      <a:pt x="1583" y="175"/>
                    </a:cubicBezTo>
                    <a:cubicBezTo>
                      <a:pt x="1582" y="176"/>
                      <a:pt x="1582" y="176"/>
                      <a:pt x="1582" y="177"/>
                    </a:cubicBezTo>
                    <a:close/>
                    <a:moveTo>
                      <a:pt x="1599" y="175"/>
                    </a:moveTo>
                    <a:cubicBezTo>
                      <a:pt x="1599" y="175"/>
                      <a:pt x="1599" y="176"/>
                      <a:pt x="1599" y="176"/>
                    </a:cubicBezTo>
                    <a:cubicBezTo>
                      <a:pt x="1599" y="176"/>
                      <a:pt x="1599" y="176"/>
                      <a:pt x="1599" y="175"/>
                    </a:cubicBezTo>
                    <a:close/>
                    <a:moveTo>
                      <a:pt x="840" y="177"/>
                    </a:moveTo>
                    <a:cubicBezTo>
                      <a:pt x="840" y="177"/>
                      <a:pt x="840" y="176"/>
                      <a:pt x="840" y="176"/>
                    </a:cubicBezTo>
                    <a:cubicBezTo>
                      <a:pt x="840" y="177"/>
                      <a:pt x="840" y="177"/>
                      <a:pt x="840" y="177"/>
                    </a:cubicBezTo>
                    <a:close/>
                    <a:moveTo>
                      <a:pt x="1367" y="176"/>
                    </a:moveTo>
                    <a:cubicBezTo>
                      <a:pt x="1367" y="177"/>
                      <a:pt x="1367" y="177"/>
                      <a:pt x="1367" y="178"/>
                    </a:cubicBezTo>
                    <a:cubicBezTo>
                      <a:pt x="1367" y="177"/>
                      <a:pt x="1367" y="177"/>
                      <a:pt x="1367" y="176"/>
                    </a:cubicBezTo>
                    <a:close/>
                    <a:moveTo>
                      <a:pt x="1557" y="178"/>
                    </a:moveTo>
                    <a:cubicBezTo>
                      <a:pt x="1557" y="177"/>
                      <a:pt x="1557" y="177"/>
                      <a:pt x="1557" y="176"/>
                    </a:cubicBezTo>
                    <a:cubicBezTo>
                      <a:pt x="1557" y="177"/>
                      <a:pt x="1557" y="177"/>
                      <a:pt x="1557" y="178"/>
                    </a:cubicBezTo>
                    <a:close/>
                    <a:moveTo>
                      <a:pt x="1575" y="176"/>
                    </a:moveTo>
                    <a:cubicBezTo>
                      <a:pt x="1575" y="177"/>
                      <a:pt x="1575" y="177"/>
                      <a:pt x="1575" y="178"/>
                    </a:cubicBezTo>
                    <a:cubicBezTo>
                      <a:pt x="1575" y="177"/>
                      <a:pt x="1575" y="177"/>
                      <a:pt x="1575" y="176"/>
                    </a:cubicBezTo>
                    <a:close/>
                    <a:moveTo>
                      <a:pt x="1599" y="176"/>
                    </a:moveTo>
                    <a:cubicBezTo>
                      <a:pt x="1598" y="177"/>
                      <a:pt x="1598" y="177"/>
                      <a:pt x="1598" y="178"/>
                    </a:cubicBezTo>
                    <a:cubicBezTo>
                      <a:pt x="1599" y="177"/>
                      <a:pt x="1599" y="177"/>
                      <a:pt x="1599" y="176"/>
                    </a:cubicBezTo>
                    <a:close/>
                    <a:moveTo>
                      <a:pt x="942" y="177"/>
                    </a:moveTo>
                    <a:cubicBezTo>
                      <a:pt x="941" y="177"/>
                      <a:pt x="941" y="178"/>
                      <a:pt x="941" y="178"/>
                    </a:cubicBezTo>
                    <a:cubicBezTo>
                      <a:pt x="942" y="178"/>
                      <a:pt x="942" y="177"/>
                      <a:pt x="942" y="177"/>
                    </a:cubicBezTo>
                    <a:close/>
                    <a:moveTo>
                      <a:pt x="1047" y="178"/>
                    </a:moveTo>
                    <a:cubicBezTo>
                      <a:pt x="1047" y="178"/>
                      <a:pt x="1047" y="177"/>
                      <a:pt x="1047" y="177"/>
                    </a:cubicBezTo>
                    <a:cubicBezTo>
                      <a:pt x="1047" y="177"/>
                      <a:pt x="1047" y="178"/>
                      <a:pt x="1047" y="178"/>
                    </a:cubicBezTo>
                    <a:close/>
                    <a:moveTo>
                      <a:pt x="1582" y="178"/>
                    </a:moveTo>
                    <a:cubicBezTo>
                      <a:pt x="1582" y="178"/>
                      <a:pt x="1582" y="177"/>
                      <a:pt x="1582" y="177"/>
                    </a:cubicBezTo>
                    <a:cubicBezTo>
                      <a:pt x="1582" y="177"/>
                      <a:pt x="1582" y="178"/>
                      <a:pt x="1582" y="178"/>
                    </a:cubicBezTo>
                    <a:close/>
                    <a:moveTo>
                      <a:pt x="466" y="179"/>
                    </a:moveTo>
                    <a:cubicBezTo>
                      <a:pt x="466" y="178"/>
                      <a:pt x="466" y="178"/>
                      <a:pt x="466" y="177"/>
                    </a:cubicBezTo>
                    <a:cubicBezTo>
                      <a:pt x="465" y="178"/>
                      <a:pt x="465" y="178"/>
                      <a:pt x="466" y="179"/>
                    </a:cubicBezTo>
                    <a:close/>
                    <a:moveTo>
                      <a:pt x="841" y="179"/>
                    </a:moveTo>
                    <a:cubicBezTo>
                      <a:pt x="841" y="178"/>
                      <a:pt x="841" y="178"/>
                      <a:pt x="840" y="177"/>
                    </a:cubicBezTo>
                    <a:cubicBezTo>
                      <a:pt x="840" y="178"/>
                      <a:pt x="840" y="178"/>
                      <a:pt x="841" y="179"/>
                    </a:cubicBezTo>
                    <a:close/>
                    <a:moveTo>
                      <a:pt x="977" y="179"/>
                    </a:moveTo>
                    <a:cubicBezTo>
                      <a:pt x="977" y="178"/>
                      <a:pt x="977" y="178"/>
                      <a:pt x="976" y="177"/>
                    </a:cubicBezTo>
                    <a:cubicBezTo>
                      <a:pt x="976" y="178"/>
                      <a:pt x="976" y="178"/>
                      <a:pt x="977" y="179"/>
                    </a:cubicBezTo>
                    <a:close/>
                    <a:moveTo>
                      <a:pt x="1309" y="179"/>
                    </a:moveTo>
                    <a:cubicBezTo>
                      <a:pt x="1309" y="179"/>
                      <a:pt x="1309" y="178"/>
                      <a:pt x="1309" y="178"/>
                    </a:cubicBezTo>
                    <a:cubicBezTo>
                      <a:pt x="1309" y="178"/>
                      <a:pt x="1309" y="178"/>
                      <a:pt x="1309" y="179"/>
                    </a:cubicBezTo>
                    <a:close/>
                    <a:moveTo>
                      <a:pt x="1348" y="179"/>
                    </a:moveTo>
                    <a:cubicBezTo>
                      <a:pt x="1348" y="178"/>
                      <a:pt x="1348" y="178"/>
                      <a:pt x="1347" y="177"/>
                    </a:cubicBezTo>
                    <a:cubicBezTo>
                      <a:pt x="1347" y="178"/>
                      <a:pt x="1347" y="178"/>
                      <a:pt x="1348" y="179"/>
                    </a:cubicBezTo>
                    <a:close/>
                    <a:moveTo>
                      <a:pt x="1367" y="178"/>
                    </a:moveTo>
                    <a:cubicBezTo>
                      <a:pt x="1367" y="178"/>
                      <a:pt x="1367" y="178"/>
                      <a:pt x="1368" y="179"/>
                    </a:cubicBezTo>
                    <a:cubicBezTo>
                      <a:pt x="1368" y="178"/>
                      <a:pt x="1368" y="178"/>
                      <a:pt x="1367" y="178"/>
                    </a:cubicBezTo>
                    <a:close/>
                    <a:moveTo>
                      <a:pt x="941" y="178"/>
                    </a:moveTo>
                    <a:cubicBezTo>
                      <a:pt x="941" y="178"/>
                      <a:pt x="941" y="179"/>
                      <a:pt x="941" y="179"/>
                    </a:cubicBezTo>
                    <a:cubicBezTo>
                      <a:pt x="941" y="179"/>
                      <a:pt x="941" y="179"/>
                      <a:pt x="941" y="178"/>
                    </a:cubicBezTo>
                    <a:close/>
                    <a:moveTo>
                      <a:pt x="1558" y="179"/>
                    </a:moveTo>
                    <a:cubicBezTo>
                      <a:pt x="1558" y="179"/>
                      <a:pt x="1558" y="178"/>
                      <a:pt x="1557" y="178"/>
                    </a:cubicBezTo>
                    <a:cubicBezTo>
                      <a:pt x="1557" y="178"/>
                      <a:pt x="1557" y="179"/>
                      <a:pt x="1558" y="179"/>
                    </a:cubicBezTo>
                    <a:close/>
                    <a:moveTo>
                      <a:pt x="1575" y="178"/>
                    </a:moveTo>
                    <a:cubicBezTo>
                      <a:pt x="1575" y="179"/>
                      <a:pt x="1575" y="179"/>
                      <a:pt x="1576" y="179"/>
                    </a:cubicBezTo>
                    <a:cubicBezTo>
                      <a:pt x="1576" y="179"/>
                      <a:pt x="1576" y="178"/>
                      <a:pt x="1575" y="178"/>
                    </a:cubicBezTo>
                    <a:close/>
                    <a:moveTo>
                      <a:pt x="1598" y="178"/>
                    </a:moveTo>
                    <a:cubicBezTo>
                      <a:pt x="1598" y="178"/>
                      <a:pt x="1598" y="179"/>
                      <a:pt x="1598" y="179"/>
                    </a:cubicBezTo>
                    <a:cubicBezTo>
                      <a:pt x="1598" y="179"/>
                      <a:pt x="1598" y="178"/>
                      <a:pt x="1598" y="178"/>
                    </a:cubicBezTo>
                    <a:close/>
                    <a:moveTo>
                      <a:pt x="1658" y="178"/>
                    </a:moveTo>
                    <a:cubicBezTo>
                      <a:pt x="1658" y="179"/>
                      <a:pt x="1658" y="179"/>
                      <a:pt x="1659" y="179"/>
                    </a:cubicBezTo>
                    <a:cubicBezTo>
                      <a:pt x="1659" y="179"/>
                      <a:pt x="1659" y="178"/>
                      <a:pt x="1658" y="178"/>
                    </a:cubicBezTo>
                    <a:close/>
                    <a:moveTo>
                      <a:pt x="1638" y="180"/>
                    </a:moveTo>
                    <a:cubicBezTo>
                      <a:pt x="1639" y="179"/>
                      <a:pt x="1638" y="179"/>
                      <a:pt x="1638" y="179"/>
                    </a:cubicBezTo>
                    <a:cubicBezTo>
                      <a:pt x="1638" y="179"/>
                      <a:pt x="1638" y="180"/>
                      <a:pt x="1638" y="180"/>
                    </a:cubicBezTo>
                    <a:close/>
                    <a:moveTo>
                      <a:pt x="842" y="180"/>
                    </a:moveTo>
                    <a:cubicBezTo>
                      <a:pt x="842" y="180"/>
                      <a:pt x="841" y="179"/>
                      <a:pt x="841" y="179"/>
                    </a:cubicBezTo>
                    <a:cubicBezTo>
                      <a:pt x="841" y="180"/>
                      <a:pt x="841" y="180"/>
                      <a:pt x="842" y="180"/>
                    </a:cubicBezTo>
                    <a:close/>
                    <a:moveTo>
                      <a:pt x="941" y="179"/>
                    </a:moveTo>
                    <a:cubicBezTo>
                      <a:pt x="940" y="180"/>
                      <a:pt x="940" y="180"/>
                      <a:pt x="940" y="180"/>
                    </a:cubicBezTo>
                    <a:cubicBezTo>
                      <a:pt x="940" y="180"/>
                      <a:pt x="941" y="180"/>
                      <a:pt x="941" y="179"/>
                    </a:cubicBezTo>
                    <a:close/>
                    <a:moveTo>
                      <a:pt x="565" y="48"/>
                    </a:moveTo>
                    <a:cubicBezTo>
                      <a:pt x="566" y="48"/>
                      <a:pt x="566" y="48"/>
                      <a:pt x="567" y="48"/>
                    </a:cubicBezTo>
                    <a:cubicBezTo>
                      <a:pt x="566" y="48"/>
                      <a:pt x="566" y="48"/>
                      <a:pt x="565" y="48"/>
                    </a:cubicBezTo>
                    <a:close/>
                    <a:moveTo>
                      <a:pt x="1083" y="179"/>
                    </a:moveTo>
                    <a:cubicBezTo>
                      <a:pt x="1082" y="179"/>
                      <a:pt x="1082" y="180"/>
                      <a:pt x="1082" y="180"/>
                    </a:cubicBezTo>
                    <a:cubicBezTo>
                      <a:pt x="1083" y="180"/>
                      <a:pt x="1083" y="180"/>
                      <a:pt x="1083" y="179"/>
                    </a:cubicBezTo>
                    <a:close/>
                    <a:moveTo>
                      <a:pt x="1308" y="180"/>
                    </a:moveTo>
                    <a:cubicBezTo>
                      <a:pt x="1308" y="180"/>
                      <a:pt x="1309" y="180"/>
                      <a:pt x="1309" y="179"/>
                    </a:cubicBezTo>
                    <a:cubicBezTo>
                      <a:pt x="1308" y="180"/>
                      <a:pt x="1308" y="180"/>
                      <a:pt x="1308" y="180"/>
                    </a:cubicBezTo>
                    <a:close/>
                    <a:moveTo>
                      <a:pt x="1348" y="180"/>
                    </a:moveTo>
                    <a:cubicBezTo>
                      <a:pt x="1348" y="180"/>
                      <a:pt x="1348" y="179"/>
                      <a:pt x="1348" y="179"/>
                    </a:cubicBezTo>
                    <a:cubicBezTo>
                      <a:pt x="1348" y="180"/>
                      <a:pt x="1348" y="180"/>
                      <a:pt x="1348" y="180"/>
                    </a:cubicBezTo>
                    <a:close/>
                    <a:moveTo>
                      <a:pt x="567" y="49"/>
                    </a:moveTo>
                    <a:cubicBezTo>
                      <a:pt x="568" y="49"/>
                      <a:pt x="568" y="49"/>
                      <a:pt x="569" y="49"/>
                    </a:cubicBezTo>
                    <a:cubicBezTo>
                      <a:pt x="568" y="49"/>
                      <a:pt x="568" y="49"/>
                      <a:pt x="567" y="49"/>
                    </a:cubicBezTo>
                    <a:close/>
                    <a:moveTo>
                      <a:pt x="569" y="49"/>
                    </a:moveTo>
                    <a:cubicBezTo>
                      <a:pt x="569" y="50"/>
                      <a:pt x="569" y="50"/>
                      <a:pt x="570" y="50"/>
                    </a:cubicBezTo>
                    <a:cubicBezTo>
                      <a:pt x="569" y="49"/>
                      <a:pt x="569" y="49"/>
                      <a:pt x="569" y="49"/>
                    </a:cubicBezTo>
                    <a:close/>
                    <a:moveTo>
                      <a:pt x="1598" y="179"/>
                    </a:moveTo>
                    <a:cubicBezTo>
                      <a:pt x="1597" y="179"/>
                      <a:pt x="1597" y="180"/>
                      <a:pt x="1597" y="180"/>
                    </a:cubicBezTo>
                    <a:cubicBezTo>
                      <a:pt x="1598" y="180"/>
                      <a:pt x="1598" y="180"/>
                      <a:pt x="1598" y="179"/>
                    </a:cubicBezTo>
                    <a:close/>
                    <a:moveTo>
                      <a:pt x="555" y="50"/>
                    </a:moveTo>
                    <a:cubicBezTo>
                      <a:pt x="556" y="50"/>
                      <a:pt x="556" y="50"/>
                      <a:pt x="556" y="50"/>
                    </a:cubicBezTo>
                    <a:cubicBezTo>
                      <a:pt x="556" y="50"/>
                      <a:pt x="556" y="50"/>
                      <a:pt x="555" y="50"/>
                    </a:cubicBezTo>
                    <a:close/>
                    <a:moveTo>
                      <a:pt x="1315" y="51"/>
                    </a:moveTo>
                    <a:cubicBezTo>
                      <a:pt x="1315" y="51"/>
                      <a:pt x="1316" y="51"/>
                      <a:pt x="1316" y="51"/>
                    </a:cubicBezTo>
                    <a:cubicBezTo>
                      <a:pt x="1316" y="51"/>
                      <a:pt x="1315" y="51"/>
                      <a:pt x="1315" y="51"/>
                    </a:cubicBezTo>
                    <a:close/>
                    <a:moveTo>
                      <a:pt x="1271" y="52"/>
                    </a:moveTo>
                    <a:cubicBezTo>
                      <a:pt x="1272" y="52"/>
                      <a:pt x="1272" y="52"/>
                      <a:pt x="1273" y="51"/>
                    </a:cubicBezTo>
                    <a:cubicBezTo>
                      <a:pt x="1272" y="51"/>
                      <a:pt x="1271" y="51"/>
                      <a:pt x="1271" y="52"/>
                    </a:cubicBezTo>
                    <a:close/>
                    <a:moveTo>
                      <a:pt x="1317" y="51"/>
                    </a:moveTo>
                    <a:cubicBezTo>
                      <a:pt x="1317" y="52"/>
                      <a:pt x="1317" y="52"/>
                      <a:pt x="1318" y="52"/>
                    </a:cubicBezTo>
                    <a:cubicBezTo>
                      <a:pt x="1317" y="51"/>
                      <a:pt x="1317" y="51"/>
                      <a:pt x="1317" y="51"/>
                    </a:cubicBezTo>
                    <a:close/>
                    <a:moveTo>
                      <a:pt x="1318" y="52"/>
                    </a:moveTo>
                    <a:cubicBezTo>
                      <a:pt x="1319" y="52"/>
                      <a:pt x="1319" y="53"/>
                      <a:pt x="1319" y="52"/>
                    </a:cubicBezTo>
                    <a:cubicBezTo>
                      <a:pt x="1319" y="52"/>
                      <a:pt x="1319" y="52"/>
                      <a:pt x="1318" y="52"/>
                    </a:cubicBezTo>
                    <a:close/>
                    <a:moveTo>
                      <a:pt x="1268" y="53"/>
                    </a:moveTo>
                    <a:cubicBezTo>
                      <a:pt x="1269" y="53"/>
                      <a:pt x="1269" y="53"/>
                      <a:pt x="1269" y="53"/>
                    </a:cubicBezTo>
                    <a:cubicBezTo>
                      <a:pt x="1269" y="53"/>
                      <a:pt x="1269" y="53"/>
                      <a:pt x="1268" y="53"/>
                    </a:cubicBezTo>
                    <a:close/>
                    <a:moveTo>
                      <a:pt x="842" y="182"/>
                    </a:moveTo>
                    <a:cubicBezTo>
                      <a:pt x="842" y="181"/>
                      <a:pt x="842" y="181"/>
                      <a:pt x="842" y="180"/>
                    </a:cubicBezTo>
                    <a:cubicBezTo>
                      <a:pt x="842" y="181"/>
                      <a:pt x="842" y="181"/>
                      <a:pt x="842" y="182"/>
                    </a:cubicBezTo>
                    <a:close/>
                    <a:moveTo>
                      <a:pt x="940" y="180"/>
                    </a:moveTo>
                    <a:cubicBezTo>
                      <a:pt x="940" y="181"/>
                      <a:pt x="939" y="181"/>
                      <a:pt x="939" y="182"/>
                    </a:cubicBezTo>
                    <a:cubicBezTo>
                      <a:pt x="940" y="181"/>
                      <a:pt x="940" y="181"/>
                      <a:pt x="940" y="180"/>
                    </a:cubicBezTo>
                    <a:close/>
                    <a:moveTo>
                      <a:pt x="1320" y="53"/>
                    </a:moveTo>
                    <a:cubicBezTo>
                      <a:pt x="1320" y="53"/>
                      <a:pt x="1321" y="53"/>
                      <a:pt x="1321" y="53"/>
                    </a:cubicBezTo>
                    <a:cubicBezTo>
                      <a:pt x="1321" y="53"/>
                      <a:pt x="1320" y="53"/>
                      <a:pt x="1320" y="53"/>
                    </a:cubicBezTo>
                    <a:close/>
                    <a:moveTo>
                      <a:pt x="430" y="55"/>
                    </a:moveTo>
                    <a:cubicBezTo>
                      <a:pt x="431" y="54"/>
                      <a:pt x="431" y="54"/>
                      <a:pt x="431" y="53"/>
                    </a:cubicBezTo>
                    <a:cubicBezTo>
                      <a:pt x="430" y="53"/>
                      <a:pt x="430" y="54"/>
                      <a:pt x="430" y="55"/>
                    </a:cubicBezTo>
                    <a:close/>
                    <a:moveTo>
                      <a:pt x="573" y="53"/>
                    </a:moveTo>
                    <a:cubicBezTo>
                      <a:pt x="573" y="54"/>
                      <a:pt x="573" y="54"/>
                      <a:pt x="574" y="54"/>
                    </a:cubicBezTo>
                    <a:cubicBezTo>
                      <a:pt x="574" y="54"/>
                      <a:pt x="574" y="53"/>
                      <a:pt x="573" y="53"/>
                    </a:cubicBezTo>
                    <a:close/>
                    <a:moveTo>
                      <a:pt x="1307" y="182"/>
                    </a:moveTo>
                    <a:cubicBezTo>
                      <a:pt x="1308" y="181"/>
                      <a:pt x="1308" y="181"/>
                      <a:pt x="1308" y="180"/>
                    </a:cubicBezTo>
                    <a:cubicBezTo>
                      <a:pt x="1308" y="181"/>
                      <a:pt x="1307" y="181"/>
                      <a:pt x="1307" y="182"/>
                    </a:cubicBezTo>
                    <a:close/>
                    <a:moveTo>
                      <a:pt x="1267" y="54"/>
                    </a:moveTo>
                    <a:cubicBezTo>
                      <a:pt x="1268" y="54"/>
                      <a:pt x="1268" y="53"/>
                      <a:pt x="1268" y="53"/>
                    </a:cubicBezTo>
                    <a:cubicBezTo>
                      <a:pt x="1268" y="53"/>
                      <a:pt x="1267" y="53"/>
                      <a:pt x="1267" y="54"/>
                    </a:cubicBezTo>
                    <a:close/>
                    <a:moveTo>
                      <a:pt x="1349" y="182"/>
                    </a:moveTo>
                    <a:cubicBezTo>
                      <a:pt x="1349" y="181"/>
                      <a:pt x="1349" y="181"/>
                      <a:pt x="1348" y="180"/>
                    </a:cubicBezTo>
                    <a:cubicBezTo>
                      <a:pt x="1348" y="181"/>
                      <a:pt x="1348" y="181"/>
                      <a:pt x="1349" y="182"/>
                    </a:cubicBezTo>
                    <a:close/>
                    <a:moveTo>
                      <a:pt x="1639" y="182"/>
                    </a:moveTo>
                    <a:cubicBezTo>
                      <a:pt x="1639" y="181"/>
                      <a:pt x="1639" y="181"/>
                      <a:pt x="1639" y="180"/>
                    </a:cubicBezTo>
                    <a:cubicBezTo>
                      <a:pt x="1639" y="181"/>
                      <a:pt x="1639" y="181"/>
                      <a:pt x="1639" y="182"/>
                    </a:cubicBezTo>
                    <a:close/>
                    <a:moveTo>
                      <a:pt x="1321" y="53"/>
                    </a:moveTo>
                    <a:cubicBezTo>
                      <a:pt x="1321" y="54"/>
                      <a:pt x="1322" y="54"/>
                      <a:pt x="1322" y="54"/>
                    </a:cubicBezTo>
                    <a:cubicBezTo>
                      <a:pt x="1322" y="53"/>
                      <a:pt x="1322" y="53"/>
                      <a:pt x="1321" y="53"/>
                    </a:cubicBezTo>
                    <a:close/>
                    <a:moveTo>
                      <a:pt x="552" y="55"/>
                    </a:moveTo>
                    <a:cubicBezTo>
                      <a:pt x="552" y="55"/>
                      <a:pt x="552" y="55"/>
                      <a:pt x="552" y="54"/>
                    </a:cubicBezTo>
                    <a:cubicBezTo>
                      <a:pt x="552" y="55"/>
                      <a:pt x="552" y="55"/>
                      <a:pt x="552" y="55"/>
                    </a:cubicBezTo>
                    <a:close/>
                    <a:moveTo>
                      <a:pt x="716" y="182"/>
                    </a:moveTo>
                    <a:cubicBezTo>
                      <a:pt x="716" y="182"/>
                      <a:pt x="716" y="181"/>
                      <a:pt x="715" y="181"/>
                    </a:cubicBezTo>
                    <a:cubicBezTo>
                      <a:pt x="715" y="181"/>
                      <a:pt x="715" y="182"/>
                      <a:pt x="716" y="182"/>
                    </a:cubicBezTo>
                    <a:close/>
                    <a:moveTo>
                      <a:pt x="574" y="54"/>
                    </a:moveTo>
                    <a:cubicBezTo>
                      <a:pt x="574" y="55"/>
                      <a:pt x="574" y="55"/>
                      <a:pt x="574" y="56"/>
                    </a:cubicBezTo>
                    <a:cubicBezTo>
                      <a:pt x="574" y="55"/>
                      <a:pt x="574" y="55"/>
                      <a:pt x="574" y="54"/>
                    </a:cubicBezTo>
                    <a:close/>
                    <a:moveTo>
                      <a:pt x="1048" y="182"/>
                    </a:moveTo>
                    <a:cubicBezTo>
                      <a:pt x="1048" y="182"/>
                      <a:pt x="1048" y="181"/>
                      <a:pt x="1048" y="181"/>
                    </a:cubicBezTo>
                    <a:cubicBezTo>
                      <a:pt x="1048" y="181"/>
                      <a:pt x="1048" y="182"/>
                      <a:pt x="1048" y="182"/>
                    </a:cubicBezTo>
                    <a:close/>
                    <a:moveTo>
                      <a:pt x="1263" y="56"/>
                    </a:moveTo>
                    <a:cubicBezTo>
                      <a:pt x="1263" y="56"/>
                      <a:pt x="1263" y="56"/>
                      <a:pt x="1264" y="55"/>
                    </a:cubicBezTo>
                    <a:cubicBezTo>
                      <a:pt x="1263" y="55"/>
                      <a:pt x="1263" y="56"/>
                      <a:pt x="1263" y="56"/>
                    </a:cubicBezTo>
                    <a:close/>
                    <a:moveTo>
                      <a:pt x="1369" y="181"/>
                    </a:moveTo>
                    <a:cubicBezTo>
                      <a:pt x="1369" y="182"/>
                      <a:pt x="1370" y="182"/>
                      <a:pt x="1370" y="182"/>
                    </a:cubicBezTo>
                    <a:cubicBezTo>
                      <a:pt x="1370" y="182"/>
                      <a:pt x="1370" y="181"/>
                      <a:pt x="1369" y="181"/>
                    </a:cubicBezTo>
                    <a:close/>
                    <a:moveTo>
                      <a:pt x="1559" y="182"/>
                    </a:moveTo>
                    <a:cubicBezTo>
                      <a:pt x="1559" y="182"/>
                      <a:pt x="1559" y="181"/>
                      <a:pt x="1559" y="181"/>
                    </a:cubicBezTo>
                    <a:cubicBezTo>
                      <a:pt x="1558" y="181"/>
                      <a:pt x="1559" y="182"/>
                      <a:pt x="1559" y="182"/>
                    </a:cubicBezTo>
                    <a:close/>
                    <a:moveTo>
                      <a:pt x="1261" y="57"/>
                    </a:moveTo>
                    <a:cubicBezTo>
                      <a:pt x="1262" y="57"/>
                      <a:pt x="1262" y="56"/>
                      <a:pt x="1262" y="56"/>
                    </a:cubicBezTo>
                    <a:cubicBezTo>
                      <a:pt x="1262" y="56"/>
                      <a:pt x="1262" y="56"/>
                      <a:pt x="1261" y="57"/>
                    </a:cubicBezTo>
                    <a:close/>
                    <a:moveTo>
                      <a:pt x="1597" y="181"/>
                    </a:moveTo>
                    <a:cubicBezTo>
                      <a:pt x="1597" y="181"/>
                      <a:pt x="1596" y="182"/>
                      <a:pt x="1596" y="182"/>
                    </a:cubicBezTo>
                    <a:cubicBezTo>
                      <a:pt x="1597" y="182"/>
                      <a:pt x="1597" y="181"/>
                      <a:pt x="1597" y="181"/>
                    </a:cubicBezTo>
                    <a:close/>
                    <a:moveTo>
                      <a:pt x="467" y="183"/>
                    </a:moveTo>
                    <a:cubicBezTo>
                      <a:pt x="467" y="182"/>
                      <a:pt x="467" y="182"/>
                      <a:pt x="467" y="181"/>
                    </a:cubicBezTo>
                    <a:cubicBezTo>
                      <a:pt x="467" y="182"/>
                      <a:pt x="467" y="182"/>
                      <a:pt x="467" y="183"/>
                    </a:cubicBezTo>
                    <a:close/>
                    <a:moveTo>
                      <a:pt x="843" y="183"/>
                    </a:moveTo>
                    <a:cubicBezTo>
                      <a:pt x="843" y="182"/>
                      <a:pt x="843" y="182"/>
                      <a:pt x="842" y="181"/>
                    </a:cubicBezTo>
                    <a:cubicBezTo>
                      <a:pt x="842" y="182"/>
                      <a:pt x="842" y="182"/>
                      <a:pt x="843" y="183"/>
                    </a:cubicBezTo>
                    <a:close/>
                    <a:moveTo>
                      <a:pt x="939" y="182"/>
                    </a:moveTo>
                    <a:cubicBezTo>
                      <a:pt x="939" y="182"/>
                      <a:pt x="939" y="182"/>
                      <a:pt x="939" y="183"/>
                    </a:cubicBezTo>
                    <a:cubicBezTo>
                      <a:pt x="939" y="182"/>
                      <a:pt x="939" y="182"/>
                      <a:pt x="939" y="182"/>
                    </a:cubicBezTo>
                    <a:close/>
                    <a:moveTo>
                      <a:pt x="1246" y="182"/>
                    </a:moveTo>
                    <a:cubicBezTo>
                      <a:pt x="1246" y="182"/>
                      <a:pt x="1246" y="182"/>
                      <a:pt x="1247" y="182"/>
                    </a:cubicBezTo>
                    <a:cubicBezTo>
                      <a:pt x="1247" y="182"/>
                      <a:pt x="1246" y="182"/>
                      <a:pt x="1246" y="182"/>
                    </a:cubicBezTo>
                    <a:close/>
                    <a:moveTo>
                      <a:pt x="1307" y="183"/>
                    </a:moveTo>
                    <a:cubicBezTo>
                      <a:pt x="1307" y="182"/>
                      <a:pt x="1307" y="182"/>
                      <a:pt x="1307" y="182"/>
                    </a:cubicBezTo>
                    <a:cubicBezTo>
                      <a:pt x="1307" y="182"/>
                      <a:pt x="1307" y="182"/>
                      <a:pt x="1307" y="183"/>
                    </a:cubicBezTo>
                    <a:close/>
                    <a:moveTo>
                      <a:pt x="1580" y="183"/>
                    </a:moveTo>
                    <a:cubicBezTo>
                      <a:pt x="1580" y="183"/>
                      <a:pt x="1580" y="182"/>
                      <a:pt x="1580" y="182"/>
                    </a:cubicBezTo>
                    <a:cubicBezTo>
                      <a:pt x="1580" y="182"/>
                      <a:pt x="1580" y="182"/>
                      <a:pt x="1580" y="183"/>
                    </a:cubicBezTo>
                    <a:close/>
                    <a:moveTo>
                      <a:pt x="1640" y="183"/>
                    </a:moveTo>
                    <a:cubicBezTo>
                      <a:pt x="1640" y="182"/>
                      <a:pt x="1640" y="182"/>
                      <a:pt x="1639" y="181"/>
                    </a:cubicBezTo>
                    <a:cubicBezTo>
                      <a:pt x="1639" y="182"/>
                      <a:pt x="1639" y="182"/>
                      <a:pt x="1640" y="183"/>
                    </a:cubicBezTo>
                    <a:close/>
                    <a:moveTo>
                      <a:pt x="1660" y="182"/>
                    </a:moveTo>
                    <a:cubicBezTo>
                      <a:pt x="1660" y="182"/>
                      <a:pt x="1661" y="182"/>
                      <a:pt x="1661" y="183"/>
                    </a:cubicBezTo>
                    <a:cubicBezTo>
                      <a:pt x="1661" y="182"/>
                      <a:pt x="1661" y="182"/>
                      <a:pt x="1660" y="182"/>
                    </a:cubicBezTo>
                    <a:close/>
                    <a:moveTo>
                      <a:pt x="1260" y="58"/>
                    </a:moveTo>
                    <a:cubicBezTo>
                      <a:pt x="1260" y="58"/>
                      <a:pt x="1261" y="58"/>
                      <a:pt x="1261" y="57"/>
                    </a:cubicBezTo>
                    <a:cubicBezTo>
                      <a:pt x="1260" y="57"/>
                      <a:pt x="1260" y="57"/>
                      <a:pt x="1260" y="58"/>
                    </a:cubicBezTo>
                    <a:close/>
                    <a:moveTo>
                      <a:pt x="716" y="183"/>
                    </a:moveTo>
                    <a:cubicBezTo>
                      <a:pt x="717" y="183"/>
                      <a:pt x="716" y="182"/>
                      <a:pt x="716" y="182"/>
                    </a:cubicBezTo>
                    <a:cubicBezTo>
                      <a:pt x="716" y="183"/>
                      <a:pt x="716" y="183"/>
                      <a:pt x="716" y="183"/>
                    </a:cubicBezTo>
                    <a:close/>
                    <a:moveTo>
                      <a:pt x="997" y="184"/>
                    </a:moveTo>
                    <a:cubicBezTo>
                      <a:pt x="997" y="183"/>
                      <a:pt x="997" y="183"/>
                      <a:pt x="997" y="182"/>
                    </a:cubicBezTo>
                    <a:cubicBezTo>
                      <a:pt x="996" y="182"/>
                      <a:pt x="996" y="183"/>
                      <a:pt x="997" y="184"/>
                    </a:cubicBezTo>
                    <a:close/>
                    <a:moveTo>
                      <a:pt x="1257" y="60"/>
                    </a:moveTo>
                    <a:cubicBezTo>
                      <a:pt x="1258" y="60"/>
                      <a:pt x="1258" y="59"/>
                      <a:pt x="1258" y="59"/>
                    </a:cubicBezTo>
                    <a:cubicBezTo>
                      <a:pt x="1258" y="59"/>
                      <a:pt x="1257" y="59"/>
                      <a:pt x="1257" y="60"/>
                    </a:cubicBezTo>
                    <a:close/>
                    <a:moveTo>
                      <a:pt x="1328" y="182"/>
                    </a:moveTo>
                    <a:cubicBezTo>
                      <a:pt x="1327" y="182"/>
                      <a:pt x="1327" y="183"/>
                      <a:pt x="1327" y="183"/>
                    </a:cubicBezTo>
                    <a:cubicBezTo>
                      <a:pt x="1327" y="183"/>
                      <a:pt x="1328" y="183"/>
                      <a:pt x="1328" y="182"/>
                    </a:cubicBezTo>
                    <a:close/>
                    <a:moveTo>
                      <a:pt x="1350" y="183"/>
                    </a:moveTo>
                    <a:cubicBezTo>
                      <a:pt x="1350" y="183"/>
                      <a:pt x="1349" y="182"/>
                      <a:pt x="1349" y="182"/>
                    </a:cubicBezTo>
                    <a:cubicBezTo>
                      <a:pt x="1349" y="182"/>
                      <a:pt x="1349" y="183"/>
                      <a:pt x="1350" y="183"/>
                    </a:cubicBezTo>
                    <a:close/>
                    <a:moveTo>
                      <a:pt x="1432" y="183"/>
                    </a:moveTo>
                    <a:cubicBezTo>
                      <a:pt x="1432" y="183"/>
                      <a:pt x="1433" y="183"/>
                      <a:pt x="1433" y="183"/>
                    </a:cubicBezTo>
                    <a:cubicBezTo>
                      <a:pt x="1433" y="182"/>
                      <a:pt x="1432" y="182"/>
                      <a:pt x="1432" y="183"/>
                    </a:cubicBezTo>
                    <a:close/>
                    <a:moveTo>
                      <a:pt x="1596" y="182"/>
                    </a:moveTo>
                    <a:cubicBezTo>
                      <a:pt x="1596" y="182"/>
                      <a:pt x="1596" y="183"/>
                      <a:pt x="1596" y="183"/>
                    </a:cubicBezTo>
                    <a:cubicBezTo>
                      <a:pt x="1596" y="183"/>
                      <a:pt x="1596" y="183"/>
                      <a:pt x="1596" y="182"/>
                    </a:cubicBezTo>
                    <a:close/>
                    <a:moveTo>
                      <a:pt x="574" y="63"/>
                    </a:moveTo>
                    <a:cubicBezTo>
                      <a:pt x="574" y="64"/>
                      <a:pt x="574" y="64"/>
                      <a:pt x="574" y="65"/>
                    </a:cubicBezTo>
                    <a:cubicBezTo>
                      <a:pt x="574" y="64"/>
                      <a:pt x="574" y="64"/>
                      <a:pt x="574" y="63"/>
                    </a:cubicBezTo>
                    <a:close/>
                    <a:moveTo>
                      <a:pt x="552" y="65"/>
                    </a:moveTo>
                    <a:cubicBezTo>
                      <a:pt x="552" y="65"/>
                      <a:pt x="552" y="64"/>
                      <a:pt x="552" y="64"/>
                    </a:cubicBezTo>
                    <a:cubicBezTo>
                      <a:pt x="552" y="65"/>
                      <a:pt x="552" y="65"/>
                      <a:pt x="552" y="65"/>
                    </a:cubicBezTo>
                    <a:close/>
                    <a:moveTo>
                      <a:pt x="843" y="184"/>
                    </a:moveTo>
                    <a:cubicBezTo>
                      <a:pt x="843" y="183"/>
                      <a:pt x="843" y="183"/>
                      <a:pt x="843" y="183"/>
                    </a:cubicBezTo>
                    <a:cubicBezTo>
                      <a:pt x="843" y="183"/>
                      <a:pt x="843" y="184"/>
                      <a:pt x="843" y="184"/>
                    </a:cubicBezTo>
                    <a:close/>
                    <a:moveTo>
                      <a:pt x="939" y="183"/>
                    </a:moveTo>
                    <a:cubicBezTo>
                      <a:pt x="938" y="183"/>
                      <a:pt x="938" y="183"/>
                      <a:pt x="938" y="184"/>
                    </a:cubicBezTo>
                    <a:cubicBezTo>
                      <a:pt x="939" y="184"/>
                      <a:pt x="939" y="183"/>
                      <a:pt x="939" y="183"/>
                    </a:cubicBezTo>
                    <a:close/>
                    <a:moveTo>
                      <a:pt x="553" y="66"/>
                    </a:moveTo>
                    <a:cubicBezTo>
                      <a:pt x="553" y="66"/>
                      <a:pt x="553" y="65"/>
                      <a:pt x="552" y="65"/>
                    </a:cubicBezTo>
                    <a:cubicBezTo>
                      <a:pt x="552" y="66"/>
                      <a:pt x="553" y="66"/>
                      <a:pt x="553" y="66"/>
                    </a:cubicBezTo>
                    <a:close/>
                    <a:moveTo>
                      <a:pt x="1011" y="182"/>
                    </a:moveTo>
                    <a:cubicBezTo>
                      <a:pt x="1011" y="183"/>
                      <a:pt x="1011" y="183"/>
                      <a:pt x="1011" y="184"/>
                    </a:cubicBezTo>
                    <a:cubicBezTo>
                      <a:pt x="1011" y="184"/>
                      <a:pt x="1011" y="183"/>
                      <a:pt x="1011" y="182"/>
                    </a:cubicBezTo>
                    <a:close/>
                    <a:moveTo>
                      <a:pt x="573" y="66"/>
                    </a:moveTo>
                    <a:cubicBezTo>
                      <a:pt x="573" y="66"/>
                      <a:pt x="572" y="66"/>
                      <a:pt x="572" y="67"/>
                    </a:cubicBezTo>
                    <a:cubicBezTo>
                      <a:pt x="573" y="67"/>
                      <a:pt x="573" y="66"/>
                      <a:pt x="573" y="66"/>
                    </a:cubicBezTo>
                    <a:close/>
                    <a:moveTo>
                      <a:pt x="536" y="66"/>
                    </a:moveTo>
                    <a:cubicBezTo>
                      <a:pt x="535" y="66"/>
                      <a:pt x="535" y="67"/>
                      <a:pt x="535" y="68"/>
                    </a:cubicBezTo>
                    <a:cubicBezTo>
                      <a:pt x="536" y="67"/>
                      <a:pt x="536" y="67"/>
                      <a:pt x="536" y="66"/>
                    </a:cubicBezTo>
                    <a:close/>
                    <a:moveTo>
                      <a:pt x="1250" y="67"/>
                    </a:moveTo>
                    <a:cubicBezTo>
                      <a:pt x="1250" y="67"/>
                      <a:pt x="1250" y="67"/>
                      <a:pt x="1251" y="66"/>
                    </a:cubicBezTo>
                    <a:cubicBezTo>
                      <a:pt x="1250" y="67"/>
                      <a:pt x="1250" y="67"/>
                      <a:pt x="1250" y="67"/>
                    </a:cubicBezTo>
                    <a:close/>
                    <a:moveTo>
                      <a:pt x="1249" y="69"/>
                    </a:moveTo>
                    <a:cubicBezTo>
                      <a:pt x="1249" y="69"/>
                      <a:pt x="1249" y="69"/>
                      <a:pt x="1249" y="68"/>
                    </a:cubicBezTo>
                    <a:cubicBezTo>
                      <a:pt x="1249" y="68"/>
                      <a:pt x="1249" y="69"/>
                      <a:pt x="1249" y="69"/>
                    </a:cubicBezTo>
                    <a:close/>
                    <a:moveTo>
                      <a:pt x="1248" y="183"/>
                    </a:moveTo>
                    <a:cubicBezTo>
                      <a:pt x="1248" y="183"/>
                      <a:pt x="1248" y="183"/>
                      <a:pt x="1249" y="183"/>
                    </a:cubicBezTo>
                    <a:cubicBezTo>
                      <a:pt x="1248" y="183"/>
                      <a:pt x="1248" y="183"/>
                      <a:pt x="1248" y="183"/>
                    </a:cubicBezTo>
                    <a:close/>
                    <a:moveTo>
                      <a:pt x="1277" y="68"/>
                    </a:moveTo>
                    <a:cubicBezTo>
                      <a:pt x="1276" y="68"/>
                      <a:pt x="1276" y="68"/>
                      <a:pt x="1276" y="69"/>
                    </a:cubicBezTo>
                    <a:cubicBezTo>
                      <a:pt x="1276" y="69"/>
                      <a:pt x="1277" y="69"/>
                      <a:pt x="1277" y="68"/>
                    </a:cubicBezTo>
                    <a:close/>
                    <a:moveTo>
                      <a:pt x="1560" y="184"/>
                    </a:moveTo>
                    <a:cubicBezTo>
                      <a:pt x="1560" y="183"/>
                      <a:pt x="1560" y="183"/>
                      <a:pt x="1559" y="182"/>
                    </a:cubicBezTo>
                    <a:cubicBezTo>
                      <a:pt x="1559" y="183"/>
                      <a:pt x="1559" y="184"/>
                      <a:pt x="1560" y="184"/>
                    </a:cubicBezTo>
                    <a:close/>
                    <a:moveTo>
                      <a:pt x="1577" y="183"/>
                    </a:moveTo>
                    <a:cubicBezTo>
                      <a:pt x="1577" y="183"/>
                      <a:pt x="1577" y="184"/>
                      <a:pt x="1577" y="184"/>
                    </a:cubicBezTo>
                    <a:cubicBezTo>
                      <a:pt x="1577" y="184"/>
                      <a:pt x="1577" y="183"/>
                      <a:pt x="1577" y="183"/>
                    </a:cubicBezTo>
                    <a:close/>
                    <a:moveTo>
                      <a:pt x="1640" y="184"/>
                    </a:moveTo>
                    <a:cubicBezTo>
                      <a:pt x="1640" y="183"/>
                      <a:pt x="1640" y="183"/>
                      <a:pt x="1640" y="183"/>
                    </a:cubicBezTo>
                    <a:cubicBezTo>
                      <a:pt x="1640" y="183"/>
                      <a:pt x="1640" y="184"/>
                      <a:pt x="1640" y="184"/>
                    </a:cubicBezTo>
                    <a:close/>
                    <a:moveTo>
                      <a:pt x="1722" y="183"/>
                    </a:moveTo>
                    <a:cubicBezTo>
                      <a:pt x="1722" y="183"/>
                      <a:pt x="1722" y="183"/>
                      <a:pt x="1723" y="183"/>
                    </a:cubicBezTo>
                    <a:cubicBezTo>
                      <a:pt x="1722" y="183"/>
                      <a:pt x="1722" y="183"/>
                      <a:pt x="1722" y="183"/>
                    </a:cubicBezTo>
                    <a:close/>
                    <a:moveTo>
                      <a:pt x="571" y="69"/>
                    </a:moveTo>
                    <a:cubicBezTo>
                      <a:pt x="570" y="69"/>
                      <a:pt x="570" y="69"/>
                      <a:pt x="570" y="69"/>
                    </a:cubicBezTo>
                    <a:cubicBezTo>
                      <a:pt x="570" y="69"/>
                      <a:pt x="571" y="69"/>
                      <a:pt x="571" y="69"/>
                    </a:cubicBezTo>
                    <a:close/>
                    <a:moveTo>
                      <a:pt x="411" y="183"/>
                    </a:moveTo>
                    <a:cubicBezTo>
                      <a:pt x="411" y="183"/>
                      <a:pt x="411" y="184"/>
                      <a:pt x="411" y="184"/>
                    </a:cubicBezTo>
                    <a:cubicBezTo>
                      <a:pt x="411" y="184"/>
                      <a:pt x="411" y="184"/>
                      <a:pt x="411" y="183"/>
                    </a:cubicBezTo>
                    <a:close/>
                    <a:moveTo>
                      <a:pt x="1276" y="69"/>
                    </a:moveTo>
                    <a:cubicBezTo>
                      <a:pt x="1275" y="69"/>
                      <a:pt x="1275" y="69"/>
                      <a:pt x="1275" y="69"/>
                    </a:cubicBezTo>
                    <a:cubicBezTo>
                      <a:pt x="1275" y="69"/>
                      <a:pt x="1275" y="69"/>
                      <a:pt x="1276" y="69"/>
                    </a:cubicBezTo>
                    <a:close/>
                    <a:moveTo>
                      <a:pt x="979" y="184"/>
                    </a:moveTo>
                    <a:cubicBezTo>
                      <a:pt x="979" y="184"/>
                      <a:pt x="979" y="183"/>
                      <a:pt x="978" y="183"/>
                    </a:cubicBezTo>
                    <a:cubicBezTo>
                      <a:pt x="978" y="184"/>
                      <a:pt x="978" y="184"/>
                      <a:pt x="979" y="184"/>
                    </a:cubicBezTo>
                    <a:close/>
                    <a:moveTo>
                      <a:pt x="1306" y="184"/>
                    </a:moveTo>
                    <a:cubicBezTo>
                      <a:pt x="1306" y="184"/>
                      <a:pt x="1306" y="184"/>
                      <a:pt x="1306" y="183"/>
                    </a:cubicBezTo>
                    <a:cubicBezTo>
                      <a:pt x="1306" y="183"/>
                      <a:pt x="1306" y="184"/>
                      <a:pt x="1306" y="184"/>
                    </a:cubicBezTo>
                    <a:close/>
                    <a:moveTo>
                      <a:pt x="1350" y="184"/>
                    </a:moveTo>
                    <a:cubicBezTo>
                      <a:pt x="1350" y="184"/>
                      <a:pt x="1350" y="183"/>
                      <a:pt x="1349" y="183"/>
                    </a:cubicBezTo>
                    <a:cubicBezTo>
                      <a:pt x="1349" y="184"/>
                      <a:pt x="1350" y="184"/>
                      <a:pt x="1350" y="184"/>
                    </a:cubicBezTo>
                    <a:close/>
                    <a:moveTo>
                      <a:pt x="1579" y="184"/>
                    </a:moveTo>
                    <a:cubicBezTo>
                      <a:pt x="1580" y="184"/>
                      <a:pt x="1580" y="184"/>
                      <a:pt x="1580" y="183"/>
                    </a:cubicBezTo>
                    <a:cubicBezTo>
                      <a:pt x="1579" y="184"/>
                      <a:pt x="1579" y="184"/>
                      <a:pt x="1579" y="184"/>
                    </a:cubicBezTo>
                    <a:close/>
                    <a:moveTo>
                      <a:pt x="717" y="185"/>
                    </a:moveTo>
                    <a:cubicBezTo>
                      <a:pt x="717" y="184"/>
                      <a:pt x="717" y="184"/>
                      <a:pt x="717" y="184"/>
                    </a:cubicBezTo>
                    <a:cubicBezTo>
                      <a:pt x="717" y="184"/>
                      <a:pt x="717" y="185"/>
                      <a:pt x="717" y="185"/>
                    </a:cubicBezTo>
                    <a:close/>
                    <a:moveTo>
                      <a:pt x="844" y="185"/>
                    </a:moveTo>
                    <a:cubicBezTo>
                      <a:pt x="844" y="184"/>
                      <a:pt x="844" y="184"/>
                      <a:pt x="843" y="184"/>
                    </a:cubicBezTo>
                    <a:cubicBezTo>
                      <a:pt x="843" y="184"/>
                      <a:pt x="843" y="185"/>
                      <a:pt x="844" y="185"/>
                    </a:cubicBezTo>
                    <a:close/>
                    <a:moveTo>
                      <a:pt x="938" y="184"/>
                    </a:moveTo>
                    <a:cubicBezTo>
                      <a:pt x="938" y="184"/>
                      <a:pt x="938" y="184"/>
                      <a:pt x="938" y="185"/>
                    </a:cubicBezTo>
                    <a:cubicBezTo>
                      <a:pt x="938" y="185"/>
                      <a:pt x="938" y="184"/>
                      <a:pt x="938" y="184"/>
                    </a:cubicBezTo>
                    <a:close/>
                    <a:moveTo>
                      <a:pt x="1313" y="69"/>
                    </a:moveTo>
                    <a:cubicBezTo>
                      <a:pt x="1312" y="69"/>
                      <a:pt x="1312" y="69"/>
                      <a:pt x="1311" y="69"/>
                    </a:cubicBezTo>
                    <a:cubicBezTo>
                      <a:pt x="1312" y="69"/>
                      <a:pt x="1312" y="69"/>
                      <a:pt x="1313" y="69"/>
                    </a:cubicBezTo>
                    <a:close/>
                    <a:moveTo>
                      <a:pt x="1275" y="69"/>
                    </a:moveTo>
                    <a:cubicBezTo>
                      <a:pt x="1274" y="69"/>
                      <a:pt x="1274" y="69"/>
                      <a:pt x="1273" y="70"/>
                    </a:cubicBezTo>
                    <a:cubicBezTo>
                      <a:pt x="1274" y="70"/>
                      <a:pt x="1274" y="70"/>
                      <a:pt x="1275" y="69"/>
                    </a:cubicBezTo>
                    <a:close/>
                    <a:moveTo>
                      <a:pt x="569" y="70"/>
                    </a:moveTo>
                    <a:cubicBezTo>
                      <a:pt x="569" y="70"/>
                      <a:pt x="568" y="70"/>
                      <a:pt x="568" y="70"/>
                    </a:cubicBezTo>
                    <a:cubicBezTo>
                      <a:pt x="568" y="70"/>
                      <a:pt x="569" y="70"/>
                      <a:pt x="569" y="70"/>
                    </a:cubicBezTo>
                    <a:close/>
                    <a:moveTo>
                      <a:pt x="1248" y="71"/>
                    </a:moveTo>
                    <a:cubicBezTo>
                      <a:pt x="1248" y="71"/>
                      <a:pt x="1248" y="70"/>
                      <a:pt x="1248" y="70"/>
                    </a:cubicBezTo>
                    <a:cubicBezTo>
                      <a:pt x="1248" y="70"/>
                      <a:pt x="1248" y="70"/>
                      <a:pt x="1248" y="71"/>
                    </a:cubicBezTo>
                    <a:close/>
                    <a:moveTo>
                      <a:pt x="1249" y="184"/>
                    </a:moveTo>
                    <a:cubicBezTo>
                      <a:pt x="1250" y="184"/>
                      <a:pt x="1250" y="184"/>
                      <a:pt x="1250" y="184"/>
                    </a:cubicBezTo>
                    <a:cubicBezTo>
                      <a:pt x="1250" y="184"/>
                      <a:pt x="1250" y="184"/>
                      <a:pt x="1249" y="184"/>
                    </a:cubicBezTo>
                    <a:close/>
                    <a:moveTo>
                      <a:pt x="1327" y="184"/>
                    </a:moveTo>
                    <a:cubicBezTo>
                      <a:pt x="1326" y="184"/>
                      <a:pt x="1326" y="184"/>
                      <a:pt x="1326" y="185"/>
                    </a:cubicBezTo>
                    <a:cubicBezTo>
                      <a:pt x="1327" y="185"/>
                      <a:pt x="1327" y="184"/>
                      <a:pt x="1327" y="184"/>
                    </a:cubicBezTo>
                    <a:close/>
                    <a:moveTo>
                      <a:pt x="1315" y="70"/>
                    </a:moveTo>
                    <a:cubicBezTo>
                      <a:pt x="1315" y="70"/>
                      <a:pt x="1315" y="70"/>
                      <a:pt x="1314" y="70"/>
                    </a:cubicBezTo>
                    <a:cubicBezTo>
                      <a:pt x="1315" y="70"/>
                      <a:pt x="1315" y="70"/>
                      <a:pt x="1315" y="70"/>
                    </a:cubicBezTo>
                    <a:close/>
                    <a:moveTo>
                      <a:pt x="1430" y="185"/>
                    </a:moveTo>
                    <a:cubicBezTo>
                      <a:pt x="1430" y="184"/>
                      <a:pt x="1430" y="184"/>
                      <a:pt x="1431" y="184"/>
                    </a:cubicBezTo>
                    <a:cubicBezTo>
                      <a:pt x="1430" y="184"/>
                      <a:pt x="1430" y="184"/>
                      <a:pt x="1430" y="185"/>
                    </a:cubicBezTo>
                    <a:close/>
                    <a:moveTo>
                      <a:pt x="534" y="70"/>
                    </a:moveTo>
                    <a:cubicBezTo>
                      <a:pt x="534" y="71"/>
                      <a:pt x="534" y="71"/>
                      <a:pt x="534" y="72"/>
                    </a:cubicBezTo>
                    <a:cubicBezTo>
                      <a:pt x="535" y="71"/>
                      <a:pt x="535" y="71"/>
                      <a:pt x="534" y="70"/>
                    </a:cubicBezTo>
                    <a:close/>
                    <a:moveTo>
                      <a:pt x="1596" y="184"/>
                    </a:moveTo>
                    <a:cubicBezTo>
                      <a:pt x="1595" y="184"/>
                      <a:pt x="1595" y="184"/>
                      <a:pt x="1595" y="185"/>
                    </a:cubicBezTo>
                    <a:cubicBezTo>
                      <a:pt x="1596" y="185"/>
                      <a:pt x="1596" y="184"/>
                      <a:pt x="1596" y="184"/>
                    </a:cubicBezTo>
                    <a:close/>
                    <a:moveTo>
                      <a:pt x="1641" y="185"/>
                    </a:moveTo>
                    <a:cubicBezTo>
                      <a:pt x="1641" y="185"/>
                      <a:pt x="1641" y="184"/>
                      <a:pt x="1640" y="184"/>
                    </a:cubicBezTo>
                    <a:cubicBezTo>
                      <a:pt x="1640" y="184"/>
                      <a:pt x="1640" y="185"/>
                      <a:pt x="1641" y="185"/>
                    </a:cubicBezTo>
                    <a:close/>
                    <a:moveTo>
                      <a:pt x="559" y="71"/>
                    </a:moveTo>
                    <a:cubicBezTo>
                      <a:pt x="559" y="70"/>
                      <a:pt x="559" y="70"/>
                      <a:pt x="558" y="70"/>
                    </a:cubicBezTo>
                    <a:cubicBezTo>
                      <a:pt x="558" y="71"/>
                      <a:pt x="559" y="71"/>
                      <a:pt x="559" y="71"/>
                    </a:cubicBezTo>
                    <a:close/>
                    <a:moveTo>
                      <a:pt x="1011" y="184"/>
                    </a:moveTo>
                    <a:cubicBezTo>
                      <a:pt x="1010" y="185"/>
                      <a:pt x="1010" y="185"/>
                      <a:pt x="1010" y="186"/>
                    </a:cubicBezTo>
                    <a:cubicBezTo>
                      <a:pt x="1011" y="185"/>
                      <a:pt x="1011" y="185"/>
                      <a:pt x="1011" y="184"/>
                    </a:cubicBezTo>
                    <a:close/>
                    <a:moveTo>
                      <a:pt x="1250" y="184"/>
                    </a:moveTo>
                    <a:cubicBezTo>
                      <a:pt x="1251" y="185"/>
                      <a:pt x="1251" y="185"/>
                      <a:pt x="1251" y="185"/>
                    </a:cubicBezTo>
                    <a:cubicBezTo>
                      <a:pt x="1251" y="185"/>
                      <a:pt x="1251" y="184"/>
                      <a:pt x="1250" y="184"/>
                    </a:cubicBezTo>
                    <a:close/>
                    <a:moveTo>
                      <a:pt x="1351" y="186"/>
                    </a:moveTo>
                    <a:cubicBezTo>
                      <a:pt x="1351" y="185"/>
                      <a:pt x="1351" y="185"/>
                      <a:pt x="1350" y="184"/>
                    </a:cubicBezTo>
                    <a:cubicBezTo>
                      <a:pt x="1350" y="185"/>
                      <a:pt x="1350" y="185"/>
                      <a:pt x="1351" y="186"/>
                    </a:cubicBezTo>
                    <a:close/>
                    <a:moveTo>
                      <a:pt x="1577" y="184"/>
                    </a:moveTo>
                    <a:cubicBezTo>
                      <a:pt x="1577" y="185"/>
                      <a:pt x="1578" y="185"/>
                      <a:pt x="1578" y="186"/>
                    </a:cubicBezTo>
                    <a:cubicBezTo>
                      <a:pt x="1578" y="185"/>
                      <a:pt x="1578" y="185"/>
                      <a:pt x="1577" y="184"/>
                    </a:cubicBezTo>
                    <a:close/>
                    <a:moveTo>
                      <a:pt x="1317" y="71"/>
                    </a:moveTo>
                    <a:cubicBezTo>
                      <a:pt x="1316" y="71"/>
                      <a:pt x="1316" y="70"/>
                      <a:pt x="1315" y="70"/>
                    </a:cubicBezTo>
                    <a:cubicBezTo>
                      <a:pt x="1316" y="71"/>
                      <a:pt x="1316" y="71"/>
                      <a:pt x="1317" y="71"/>
                    </a:cubicBezTo>
                    <a:close/>
                    <a:moveTo>
                      <a:pt x="377" y="186"/>
                    </a:moveTo>
                    <a:cubicBezTo>
                      <a:pt x="377" y="186"/>
                      <a:pt x="377" y="185"/>
                      <a:pt x="376" y="185"/>
                    </a:cubicBezTo>
                    <a:cubicBezTo>
                      <a:pt x="376" y="185"/>
                      <a:pt x="376" y="186"/>
                      <a:pt x="377" y="186"/>
                    </a:cubicBezTo>
                    <a:close/>
                    <a:moveTo>
                      <a:pt x="1247" y="72"/>
                    </a:moveTo>
                    <a:cubicBezTo>
                      <a:pt x="1247" y="72"/>
                      <a:pt x="1248" y="71"/>
                      <a:pt x="1248" y="71"/>
                    </a:cubicBezTo>
                    <a:cubicBezTo>
                      <a:pt x="1247" y="71"/>
                      <a:pt x="1247" y="72"/>
                      <a:pt x="1247" y="72"/>
                    </a:cubicBezTo>
                    <a:close/>
                    <a:moveTo>
                      <a:pt x="718" y="186"/>
                    </a:moveTo>
                    <a:cubicBezTo>
                      <a:pt x="718" y="186"/>
                      <a:pt x="718" y="185"/>
                      <a:pt x="717" y="185"/>
                    </a:cubicBezTo>
                    <a:cubicBezTo>
                      <a:pt x="717" y="185"/>
                      <a:pt x="717" y="186"/>
                      <a:pt x="718" y="186"/>
                    </a:cubicBezTo>
                    <a:close/>
                    <a:moveTo>
                      <a:pt x="979" y="186"/>
                    </a:moveTo>
                    <a:cubicBezTo>
                      <a:pt x="979" y="186"/>
                      <a:pt x="979" y="185"/>
                      <a:pt x="979" y="185"/>
                    </a:cubicBezTo>
                    <a:cubicBezTo>
                      <a:pt x="979" y="185"/>
                      <a:pt x="979" y="186"/>
                      <a:pt x="979" y="186"/>
                    </a:cubicBezTo>
                    <a:close/>
                    <a:moveTo>
                      <a:pt x="1049" y="186"/>
                    </a:moveTo>
                    <a:cubicBezTo>
                      <a:pt x="1049" y="186"/>
                      <a:pt x="1049" y="185"/>
                      <a:pt x="1049" y="185"/>
                    </a:cubicBezTo>
                    <a:cubicBezTo>
                      <a:pt x="1049" y="185"/>
                      <a:pt x="1049" y="186"/>
                      <a:pt x="1049" y="186"/>
                    </a:cubicBezTo>
                    <a:close/>
                    <a:moveTo>
                      <a:pt x="1081" y="185"/>
                    </a:moveTo>
                    <a:cubicBezTo>
                      <a:pt x="1081" y="185"/>
                      <a:pt x="1080" y="186"/>
                      <a:pt x="1081" y="186"/>
                    </a:cubicBezTo>
                    <a:cubicBezTo>
                      <a:pt x="1081" y="186"/>
                      <a:pt x="1081" y="185"/>
                      <a:pt x="1081" y="185"/>
                    </a:cubicBezTo>
                    <a:close/>
                    <a:moveTo>
                      <a:pt x="1116" y="185"/>
                    </a:moveTo>
                    <a:cubicBezTo>
                      <a:pt x="1116" y="185"/>
                      <a:pt x="1117" y="186"/>
                      <a:pt x="1117" y="186"/>
                    </a:cubicBezTo>
                    <a:cubicBezTo>
                      <a:pt x="1117" y="185"/>
                      <a:pt x="1117" y="185"/>
                      <a:pt x="1116" y="185"/>
                    </a:cubicBezTo>
                    <a:close/>
                    <a:moveTo>
                      <a:pt x="1163" y="186"/>
                    </a:moveTo>
                    <a:cubicBezTo>
                      <a:pt x="1163" y="186"/>
                      <a:pt x="1163" y="185"/>
                      <a:pt x="1163" y="185"/>
                    </a:cubicBezTo>
                    <a:cubicBezTo>
                      <a:pt x="1163" y="185"/>
                      <a:pt x="1163" y="186"/>
                      <a:pt x="1163" y="186"/>
                    </a:cubicBezTo>
                    <a:close/>
                    <a:moveTo>
                      <a:pt x="1326" y="185"/>
                    </a:moveTo>
                    <a:cubicBezTo>
                      <a:pt x="1326" y="185"/>
                      <a:pt x="1326" y="186"/>
                      <a:pt x="1326" y="186"/>
                    </a:cubicBezTo>
                    <a:cubicBezTo>
                      <a:pt x="1326" y="186"/>
                      <a:pt x="1326" y="185"/>
                      <a:pt x="1326" y="185"/>
                    </a:cubicBezTo>
                    <a:close/>
                    <a:moveTo>
                      <a:pt x="1428" y="186"/>
                    </a:moveTo>
                    <a:cubicBezTo>
                      <a:pt x="1428" y="186"/>
                      <a:pt x="1429" y="185"/>
                      <a:pt x="1429" y="185"/>
                    </a:cubicBezTo>
                    <a:cubicBezTo>
                      <a:pt x="1428" y="185"/>
                      <a:pt x="1428" y="185"/>
                      <a:pt x="1428" y="186"/>
                    </a:cubicBezTo>
                    <a:close/>
                    <a:moveTo>
                      <a:pt x="1595" y="185"/>
                    </a:moveTo>
                    <a:cubicBezTo>
                      <a:pt x="1595" y="185"/>
                      <a:pt x="1595" y="186"/>
                      <a:pt x="1595" y="186"/>
                    </a:cubicBezTo>
                    <a:cubicBezTo>
                      <a:pt x="1595" y="186"/>
                      <a:pt x="1595" y="185"/>
                      <a:pt x="1595" y="185"/>
                    </a:cubicBezTo>
                    <a:close/>
                    <a:moveTo>
                      <a:pt x="1641" y="186"/>
                    </a:moveTo>
                    <a:cubicBezTo>
                      <a:pt x="1641" y="186"/>
                      <a:pt x="1641" y="185"/>
                      <a:pt x="1641" y="185"/>
                    </a:cubicBezTo>
                    <a:cubicBezTo>
                      <a:pt x="1641" y="186"/>
                      <a:pt x="1641" y="186"/>
                      <a:pt x="1641" y="186"/>
                    </a:cubicBezTo>
                    <a:close/>
                    <a:moveTo>
                      <a:pt x="1318" y="72"/>
                    </a:moveTo>
                    <a:cubicBezTo>
                      <a:pt x="1317" y="71"/>
                      <a:pt x="1317" y="71"/>
                      <a:pt x="1317" y="71"/>
                    </a:cubicBezTo>
                    <a:cubicBezTo>
                      <a:pt x="1317" y="71"/>
                      <a:pt x="1317" y="72"/>
                      <a:pt x="1318" y="72"/>
                    </a:cubicBezTo>
                    <a:close/>
                    <a:moveTo>
                      <a:pt x="845" y="187"/>
                    </a:moveTo>
                    <a:cubicBezTo>
                      <a:pt x="845" y="186"/>
                      <a:pt x="845" y="186"/>
                      <a:pt x="844" y="186"/>
                    </a:cubicBezTo>
                    <a:cubicBezTo>
                      <a:pt x="844" y="186"/>
                      <a:pt x="845" y="187"/>
                      <a:pt x="845" y="187"/>
                    </a:cubicBezTo>
                    <a:close/>
                    <a:moveTo>
                      <a:pt x="937" y="186"/>
                    </a:moveTo>
                    <a:cubicBezTo>
                      <a:pt x="937" y="186"/>
                      <a:pt x="937" y="186"/>
                      <a:pt x="936" y="187"/>
                    </a:cubicBezTo>
                    <a:cubicBezTo>
                      <a:pt x="937" y="187"/>
                      <a:pt x="937" y="186"/>
                      <a:pt x="937" y="186"/>
                    </a:cubicBezTo>
                    <a:close/>
                    <a:moveTo>
                      <a:pt x="1351" y="187"/>
                    </a:moveTo>
                    <a:cubicBezTo>
                      <a:pt x="1351" y="186"/>
                      <a:pt x="1351" y="186"/>
                      <a:pt x="1351" y="186"/>
                    </a:cubicBezTo>
                    <a:cubicBezTo>
                      <a:pt x="1351" y="186"/>
                      <a:pt x="1351" y="186"/>
                      <a:pt x="1351" y="187"/>
                    </a:cubicBezTo>
                    <a:close/>
                    <a:moveTo>
                      <a:pt x="1561" y="187"/>
                    </a:moveTo>
                    <a:cubicBezTo>
                      <a:pt x="1561" y="186"/>
                      <a:pt x="1561" y="186"/>
                      <a:pt x="1560" y="186"/>
                    </a:cubicBezTo>
                    <a:cubicBezTo>
                      <a:pt x="1560" y="186"/>
                      <a:pt x="1560" y="186"/>
                      <a:pt x="1561" y="187"/>
                    </a:cubicBezTo>
                    <a:close/>
                    <a:moveTo>
                      <a:pt x="1246" y="73"/>
                    </a:moveTo>
                    <a:cubicBezTo>
                      <a:pt x="1247" y="73"/>
                      <a:pt x="1247" y="73"/>
                      <a:pt x="1247" y="72"/>
                    </a:cubicBezTo>
                    <a:cubicBezTo>
                      <a:pt x="1246" y="72"/>
                      <a:pt x="1246" y="73"/>
                      <a:pt x="1246" y="73"/>
                    </a:cubicBezTo>
                    <a:close/>
                    <a:moveTo>
                      <a:pt x="718" y="187"/>
                    </a:moveTo>
                    <a:cubicBezTo>
                      <a:pt x="718" y="187"/>
                      <a:pt x="718" y="186"/>
                      <a:pt x="718" y="186"/>
                    </a:cubicBezTo>
                    <a:cubicBezTo>
                      <a:pt x="718" y="187"/>
                      <a:pt x="718" y="187"/>
                      <a:pt x="718" y="187"/>
                    </a:cubicBezTo>
                    <a:close/>
                    <a:moveTo>
                      <a:pt x="1320" y="73"/>
                    </a:moveTo>
                    <a:cubicBezTo>
                      <a:pt x="1319" y="72"/>
                      <a:pt x="1319" y="72"/>
                      <a:pt x="1318" y="72"/>
                    </a:cubicBezTo>
                    <a:cubicBezTo>
                      <a:pt x="1319" y="73"/>
                      <a:pt x="1319" y="73"/>
                      <a:pt x="1320" y="73"/>
                    </a:cubicBezTo>
                    <a:close/>
                    <a:moveTo>
                      <a:pt x="1246" y="74"/>
                    </a:moveTo>
                    <a:cubicBezTo>
                      <a:pt x="1246" y="74"/>
                      <a:pt x="1246" y="74"/>
                      <a:pt x="1246" y="73"/>
                    </a:cubicBezTo>
                    <a:cubicBezTo>
                      <a:pt x="1246" y="74"/>
                      <a:pt x="1246" y="74"/>
                      <a:pt x="1246" y="74"/>
                    </a:cubicBezTo>
                    <a:close/>
                    <a:moveTo>
                      <a:pt x="1326" y="186"/>
                    </a:moveTo>
                    <a:cubicBezTo>
                      <a:pt x="1325" y="186"/>
                      <a:pt x="1325" y="187"/>
                      <a:pt x="1325" y="187"/>
                    </a:cubicBezTo>
                    <a:cubicBezTo>
                      <a:pt x="1326" y="187"/>
                      <a:pt x="1326" y="187"/>
                      <a:pt x="1326" y="186"/>
                    </a:cubicBezTo>
                    <a:close/>
                    <a:moveTo>
                      <a:pt x="1426" y="187"/>
                    </a:moveTo>
                    <a:cubicBezTo>
                      <a:pt x="1427" y="187"/>
                      <a:pt x="1427" y="187"/>
                      <a:pt x="1427" y="186"/>
                    </a:cubicBezTo>
                    <a:cubicBezTo>
                      <a:pt x="1427" y="186"/>
                      <a:pt x="1426" y="186"/>
                      <a:pt x="1426" y="187"/>
                    </a:cubicBezTo>
                    <a:close/>
                    <a:moveTo>
                      <a:pt x="1642" y="187"/>
                    </a:moveTo>
                    <a:cubicBezTo>
                      <a:pt x="1642" y="187"/>
                      <a:pt x="1642" y="186"/>
                      <a:pt x="1641" y="186"/>
                    </a:cubicBezTo>
                    <a:cubicBezTo>
                      <a:pt x="1641" y="187"/>
                      <a:pt x="1642" y="187"/>
                      <a:pt x="1642" y="187"/>
                    </a:cubicBezTo>
                    <a:close/>
                    <a:moveTo>
                      <a:pt x="1716" y="187"/>
                    </a:moveTo>
                    <a:cubicBezTo>
                      <a:pt x="1717" y="187"/>
                      <a:pt x="1717" y="187"/>
                      <a:pt x="1717" y="186"/>
                    </a:cubicBezTo>
                    <a:cubicBezTo>
                      <a:pt x="1717" y="186"/>
                      <a:pt x="1717" y="186"/>
                      <a:pt x="1716" y="187"/>
                    </a:cubicBezTo>
                    <a:close/>
                    <a:moveTo>
                      <a:pt x="533" y="74"/>
                    </a:moveTo>
                    <a:cubicBezTo>
                      <a:pt x="533" y="75"/>
                      <a:pt x="533" y="75"/>
                      <a:pt x="533" y="76"/>
                    </a:cubicBezTo>
                    <a:cubicBezTo>
                      <a:pt x="533" y="75"/>
                      <a:pt x="533" y="75"/>
                      <a:pt x="533" y="74"/>
                    </a:cubicBezTo>
                    <a:close/>
                    <a:moveTo>
                      <a:pt x="936" y="187"/>
                    </a:moveTo>
                    <a:cubicBezTo>
                      <a:pt x="936" y="187"/>
                      <a:pt x="936" y="187"/>
                      <a:pt x="936" y="188"/>
                    </a:cubicBezTo>
                    <a:cubicBezTo>
                      <a:pt x="936" y="188"/>
                      <a:pt x="937" y="187"/>
                      <a:pt x="936" y="187"/>
                    </a:cubicBezTo>
                    <a:close/>
                    <a:moveTo>
                      <a:pt x="1245" y="76"/>
                    </a:moveTo>
                    <a:cubicBezTo>
                      <a:pt x="1246" y="75"/>
                      <a:pt x="1246" y="75"/>
                      <a:pt x="1246" y="74"/>
                    </a:cubicBezTo>
                    <a:cubicBezTo>
                      <a:pt x="1245" y="75"/>
                      <a:pt x="1245" y="75"/>
                      <a:pt x="1245" y="76"/>
                    </a:cubicBezTo>
                    <a:close/>
                    <a:moveTo>
                      <a:pt x="1245" y="77"/>
                    </a:moveTo>
                    <a:cubicBezTo>
                      <a:pt x="1245" y="77"/>
                      <a:pt x="1245" y="77"/>
                      <a:pt x="1245" y="76"/>
                    </a:cubicBezTo>
                    <a:cubicBezTo>
                      <a:pt x="1245" y="76"/>
                      <a:pt x="1245" y="77"/>
                      <a:pt x="1245" y="77"/>
                    </a:cubicBezTo>
                    <a:close/>
                    <a:moveTo>
                      <a:pt x="1265" y="77"/>
                    </a:moveTo>
                    <a:cubicBezTo>
                      <a:pt x="1265" y="78"/>
                      <a:pt x="1265" y="78"/>
                      <a:pt x="1265" y="78"/>
                    </a:cubicBezTo>
                    <a:cubicBezTo>
                      <a:pt x="1265" y="78"/>
                      <a:pt x="1265" y="78"/>
                      <a:pt x="1265" y="77"/>
                    </a:cubicBezTo>
                    <a:close/>
                    <a:moveTo>
                      <a:pt x="1119" y="187"/>
                    </a:moveTo>
                    <a:cubicBezTo>
                      <a:pt x="1119" y="187"/>
                      <a:pt x="1119" y="187"/>
                      <a:pt x="1120" y="187"/>
                    </a:cubicBezTo>
                    <a:cubicBezTo>
                      <a:pt x="1119" y="187"/>
                      <a:pt x="1119" y="187"/>
                      <a:pt x="1119" y="187"/>
                    </a:cubicBezTo>
                    <a:close/>
                    <a:moveTo>
                      <a:pt x="1255" y="187"/>
                    </a:moveTo>
                    <a:cubicBezTo>
                      <a:pt x="1255" y="187"/>
                      <a:pt x="1256" y="187"/>
                      <a:pt x="1256" y="187"/>
                    </a:cubicBezTo>
                    <a:cubicBezTo>
                      <a:pt x="1256" y="187"/>
                      <a:pt x="1255" y="187"/>
                      <a:pt x="1255" y="187"/>
                    </a:cubicBezTo>
                    <a:close/>
                    <a:moveTo>
                      <a:pt x="1302" y="187"/>
                    </a:moveTo>
                    <a:cubicBezTo>
                      <a:pt x="1303" y="187"/>
                      <a:pt x="1303" y="187"/>
                      <a:pt x="1303" y="187"/>
                    </a:cubicBezTo>
                    <a:cubicBezTo>
                      <a:pt x="1303" y="187"/>
                      <a:pt x="1302" y="187"/>
                      <a:pt x="1302" y="187"/>
                    </a:cubicBezTo>
                    <a:close/>
                    <a:moveTo>
                      <a:pt x="1425" y="187"/>
                    </a:moveTo>
                    <a:cubicBezTo>
                      <a:pt x="1425" y="187"/>
                      <a:pt x="1426" y="187"/>
                      <a:pt x="1426" y="187"/>
                    </a:cubicBezTo>
                    <a:cubicBezTo>
                      <a:pt x="1426" y="187"/>
                      <a:pt x="1425" y="187"/>
                      <a:pt x="1425" y="187"/>
                    </a:cubicBezTo>
                    <a:close/>
                    <a:moveTo>
                      <a:pt x="1595" y="187"/>
                    </a:moveTo>
                    <a:cubicBezTo>
                      <a:pt x="1594" y="187"/>
                      <a:pt x="1594" y="187"/>
                      <a:pt x="1594" y="188"/>
                    </a:cubicBezTo>
                    <a:cubicBezTo>
                      <a:pt x="1595" y="188"/>
                      <a:pt x="1595" y="187"/>
                      <a:pt x="1595" y="187"/>
                    </a:cubicBezTo>
                    <a:close/>
                    <a:moveTo>
                      <a:pt x="410" y="187"/>
                    </a:moveTo>
                    <a:cubicBezTo>
                      <a:pt x="410" y="187"/>
                      <a:pt x="410" y="188"/>
                      <a:pt x="410" y="188"/>
                    </a:cubicBezTo>
                    <a:cubicBezTo>
                      <a:pt x="410" y="188"/>
                      <a:pt x="410" y="188"/>
                      <a:pt x="410" y="187"/>
                    </a:cubicBezTo>
                    <a:close/>
                    <a:moveTo>
                      <a:pt x="1244" y="79"/>
                    </a:moveTo>
                    <a:cubicBezTo>
                      <a:pt x="1245" y="79"/>
                      <a:pt x="1245" y="78"/>
                      <a:pt x="1245" y="78"/>
                    </a:cubicBezTo>
                    <a:cubicBezTo>
                      <a:pt x="1244" y="78"/>
                      <a:pt x="1244" y="79"/>
                      <a:pt x="1244" y="79"/>
                    </a:cubicBezTo>
                    <a:close/>
                    <a:moveTo>
                      <a:pt x="846" y="188"/>
                    </a:moveTo>
                    <a:cubicBezTo>
                      <a:pt x="846" y="188"/>
                      <a:pt x="846" y="188"/>
                      <a:pt x="846" y="187"/>
                    </a:cubicBezTo>
                    <a:cubicBezTo>
                      <a:pt x="846" y="188"/>
                      <a:pt x="846" y="188"/>
                      <a:pt x="846" y="188"/>
                    </a:cubicBezTo>
                    <a:close/>
                    <a:moveTo>
                      <a:pt x="1256" y="187"/>
                    </a:moveTo>
                    <a:cubicBezTo>
                      <a:pt x="1256" y="188"/>
                      <a:pt x="1257" y="188"/>
                      <a:pt x="1257" y="188"/>
                    </a:cubicBezTo>
                    <a:cubicBezTo>
                      <a:pt x="1257" y="187"/>
                      <a:pt x="1257" y="187"/>
                      <a:pt x="1256" y="187"/>
                    </a:cubicBezTo>
                    <a:close/>
                    <a:moveTo>
                      <a:pt x="1325" y="187"/>
                    </a:moveTo>
                    <a:cubicBezTo>
                      <a:pt x="1325" y="188"/>
                      <a:pt x="1325" y="188"/>
                      <a:pt x="1325" y="188"/>
                    </a:cubicBezTo>
                    <a:cubicBezTo>
                      <a:pt x="1325" y="188"/>
                      <a:pt x="1325" y="188"/>
                      <a:pt x="1325" y="187"/>
                    </a:cubicBezTo>
                    <a:close/>
                    <a:moveTo>
                      <a:pt x="1352" y="188"/>
                    </a:moveTo>
                    <a:cubicBezTo>
                      <a:pt x="1352" y="188"/>
                      <a:pt x="1352" y="188"/>
                      <a:pt x="1352" y="187"/>
                    </a:cubicBezTo>
                    <a:cubicBezTo>
                      <a:pt x="1352" y="188"/>
                      <a:pt x="1352" y="188"/>
                      <a:pt x="1352" y="188"/>
                    </a:cubicBezTo>
                    <a:close/>
                    <a:moveTo>
                      <a:pt x="1561" y="188"/>
                    </a:moveTo>
                    <a:cubicBezTo>
                      <a:pt x="1561" y="188"/>
                      <a:pt x="1561" y="187"/>
                      <a:pt x="1561" y="187"/>
                    </a:cubicBezTo>
                    <a:cubicBezTo>
                      <a:pt x="1561" y="188"/>
                      <a:pt x="1561" y="188"/>
                      <a:pt x="1561" y="188"/>
                    </a:cubicBezTo>
                    <a:close/>
                    <a:moveTo>
                      <a:pt x="1643" y="188"/>
                    </a:moveTo>
                    <a:cubicBezTo>
                      <a:pt x="1643" y="188"/>
                      <a:pt x="1643" y="187"/>
                      <a:pt x="1642" y="187"/>
                    </a:cubicBezTo>
                    <a:cubicBezTo>
                      <a:pt x="1642" y="188"/>
                      <a:pt x="1642" y="188"/>
                      <a:pt x="1643" y="188"/>
                    </a:cubicBezTo>
                    <a:close/>
                    <a:moveTo>
                      <a:pt x="1666" y="187"/>
                    </a:moveTo>
                    <a:cubicBezTo>
                      <a:pt x="1666" y="188"/>
                      <a:pt x="1666" y="188"/>
                      <a:pt x="1667" y="188"/>
                    </a:cubicBezTo>
                    <a:cubicBezTo>
                      <a:pt x="1667" y="187"/>
                      <a:pt x="1666" y="187"/>
                      <a:pt x="1666" y="187"/>
                    </a:cubicBezTo>
                    <a:close/>
                    <a:moveTo>
                      <a:pt x="719" y="189"/>
                    </a:moveTo>
                    <a:cubicBezTo>
                      <a:pt x="719" y="189"/>
                      <a:pt x="719" y="188"/>
                      <a:pt x="719" y="188"/>
                    </a:cubicBezTo>
                    <a:cubicBezTo>
                      <a:pt x="719" y="188"/>
                      <a:pt x="719" y="189"/>
                      <a:pt x="719" y="189"/>
                    </a:cubicBezTo>
                    <a:close/>
                    <a:moveTo>
                      <a:pt x="1265" y="78"/>
                    </a:moveTo>
                    <a:cubicBezTo>
                      <a:pt x="1264" y="79"/>
                      <a:pt x="1264" y="79"/>
                      <a:pt x="1264" y="80"/>
                    </a:cubicBezTo>
                    <a:cubicBezTo>
                      <a:pt x="1265" y="79"/>
                      <a:pt x="1265" y="79"/>
                      <a:pt x="1265" y="78"/>
                    </a:cubicBezTo>
                    <a:close/>
                    <a:moveTo>
                      <a:pt x="1264" y="80"/>
                    </a:moveTo>
                    <a:cubicBezTo>
                      <a:pt x="1264" y="80"/>
                      <a:pt x="1264" y="80"/>
                      <a:pt x="1264" y="81"/>
                    </a:cubicBezTo>
                    <a:cubicBezTo>
                      <a:pt x="1264" y="80"/>
                      <a:pt x="1264" y="80"/>
                      <a:pt x="1264" y="80"/>
                    </a:cubicBezTo>
                    <a:close/>
                    <a:moveTo>
                      <a:pt x="1257" y="188"/>
                    </a:moveTo>
                    <a:cubicBezTo>
                      <a:pt x="1258" y="188"/>
                      <a:pt x="1258" y="188"/>
                      <a:pt x="1258" y="188"/>
                    </a:cubicBezTo>
                    <a:cubicBezTo>
                      <a:pt x="1258" y="188"/>
                      <a:pt x="1258" y="188"/>
                      <a:pt x="1257" y="188"/>
                    </a:cubicBezTo>
                    <a:close/>
                    <a:moveTo>
                      <a:pt x="1376" y="188"/>
                    </a:moveTo>
                    <a:cubicBezTo>
                      <a:pt x="1376" y="188"/>
                      <a:pt x="1377" y="189"/>
                      <a:pt x="1377" y="189"/>
                    </a:cubicBezTo>
                    <a:cubicBezTo>
                      <a:pt x="1377" y="188"/>
                      <a:pt x="1376" y="188"/>
                      <a:pt x="1376" y="188"/>
                    </a:cubicBezTo>
                    <a:close/>
                    <a:moveTo>
                      <a:pt x="1594" y="188"/>
                    </a:moveTo>
                    <a:cubicBezTo>
                      <a:pt x="1594" y="188"/>
                      <a:pt x="1594" y="189"/>
                      <a:pt x="1594" y="189"/>
                    </a:cubicBezTo>
                    <a:cubicBezTo>
                      <a:pt x="1594" y="189"/>
                      <a:pt x="1594" y="188"/>
                      <a:pt x="1594" y="188"/>
                    </a:cubicBezTo>
                    <a:close/>
                    <a:moveTo>
                      <a:pt x="1713" y="188"/>
                    </a:moveTo>
                    <a:cubicBezTo>
                      <a:pt x="1714" y="188"/>
                      <a:pt x="1714" y="188"/>
                      <a:pt x="1715" y="188"/>
                    </a:cubicBezTo>
                    <a:cubicBezTo>
                      <a:pt x="1714" y="188"/>
                      <a:pt x="1714" y="188"/>
                      <a:pt x="1713" y="188"/>
                    </a:cubicBezTo>
                    <a:close/>
                    <a:moveTo>
                      <a:pt x="1264" y="81"/>
                    </a:moveTo>
                    <a:cubicBezTo>
                      <a:pt x="1263" y="81"/>
                      <a:pt x="1263" y="82"/>
                      <a:pt x="1263" y="82"/>
                    </a:cubicBezTo>
                    <a:cubicBezTo>
                      <a:pt x="1264" y="82"/>
                      <a:pt x="1264" y="82"/>
                      <a:pt x="1264" y="81"/>
                    </a:cubicBezTo>
                    <a:close/>
                    <a:moveTo>
                      <a:pt x="439" y="85"/>
                    </a:moveTo>
                    <a:cubicBezTo>
                      <a:pt x="438" y="86"/>
                      <a:pt x="438" y="86"/>
                      <a:pt x="438" y="87"/>
                    </a:cubicBezTo>
                    <a:cubicBezTo>
                      <a:pt x="439" y="86"/>
                      <a:pt x="439" y="86"/>
                      <a:pt x="439" y="85"/>
                    </a:cubicBezTo>
                    <a:close/>
                    <a:moveTo>
                      <a:pt x="528" y="93"/>
                    </a:moveTo>
                    <a:cubicBezTo>
                      <a:pt x="528" y="93"/>
                      <a:pt x="528" y="93"/>
                      <a:pt x="528" y="94"/>
                    </a:cubicBezTo>
                    <a:cubicBezTo>
                      <a:pt x="528" y="94"/>
                      <a:pt x="528" y="93"/>
                      <a:pt x="528" y="93"/>
                    </a:cubicBezTo>
                    <a:close/>
                    <a:moveTo>
                      <a:pt x="642" y="95"/>
                    </a:moveTo>
                    <a:cubicBezTo>
                      <a:pt x="642" y="95"/>
                      <a:pt x="643" y="95"/>
                      <a:pt x="643" y="94"/>
                    </a:cubicBezTo>
                    <a:cubicBezTo>
                      <a:pt x="643" y="94"/>
                      <a:pt x="642" y="94"/>
                      <a:pt x="642" y="95"/>
                    </a:cubicBezTo>
                    <a:close/>
                    <a:moveTo>
                      <a:pt x="1121" y="188"/>
                    </a:moveTo>
                    <a:cubicBezTo>
                      <a:pt x="1122" y="189"/>
                      <a:pt x="1122" y="189"/>
                      <a:pt x="1123" y="189"/>
                    </a:cubicBezTo>
                    <a:cubicBezTo>
                      <a:pt x="1122" y="189"/>
                      <a:pt x="1122" y="188"/>
                      <a:pt x="1121" y="188"/>
                    </a:cubicBezTo>
                    <a:close/>
                    <a:moveTo>
                      <a:pt x="1259" y="189"/>
                    </a:moveTo>
                    <a:cubicBezTo>
                      <a:pt x="1259" y="189"/>
                      <a:pt x="1260" y="189"/>
                      <a:pt x="1260" y="189"/>
                    </a:cubicBezTo>
                    <a:cubicBezTo>
                      <a:pt x="1260" y="189"/>
                      <a:pt x="1259" y="188"/>
                      <a:pt x="1259" y="189"/>
                    </a:cubicBezTo>
                    <a:close/>
                    <a:moveTo>
                      <a:pt x="1300" y="189"/>
                    </a:moveTo>
                    <a:cubicBezTo>
                      <a:pt x="1300" y="189"/>
                      <a:pt x="1301" y="189"/>
                      <a:pt x="1301" y="188"/>
                    </a:cubicBezTo>
                    <a:cubicBezTo>
                      <a:pt x="1301" y="188"/>
                      <a:pt x="1300" y="189"/>
                      <a:pt x="1300" y="189"/>
                    </a:cubicBezTo>
                    <a:close/>
                    <a:moveTo>
                      <a:pt x="1325" y="188"/>
                    </a:moveTo>
                    <a:cubicBezTo>
                      <a:pt x="1324" y="189"/>
                      <a:pt x="1324" y="189"/>
                      <a:pt x="1324" y="190"/>
                    </a:cubicBezTo>
                    <a:cubicBezTo>
                      <a:pt x="1325" y="189"/>
                      <a:pt x="1325" y="189"/>
                      <a:pt x="1325" y="188"/>
                    </a:cubicBezTo>
                    <a:close/>
                    <a:moveTo>
                      <a:pt x="1353" y="190"/>
                    </a:moveTo>
                    <a:cubicBezTo>
                      <a:pt x="1353" y="189"/>
                      <a:pt x="1353" y="189"/>
                      <a:pt x="1352" y="188"/>
                    </a:cubicBezTo>
                    <a:cubicBezTo>
                      <a:pt x="1352" y="189"/>
                      <a:pt x="1352" y="189"/>
                      <a:pt x="1353" y="190"/>
                    </a:cubicBezTo>
                    <a:close/>
                    <a:moveTo>
                      <a:pt x="664" y="94"/>
                    </a:moveTo>
                    <a:cubicBezTo>
                      <a:pt x="664" y="95"/>
                      <a:pt x="665" y="95"/>
                      <a:pt x="665" y="95"/>
                    </a:cubicBezTo>
                    <a:cubicBezTo>
                      <a:pt x="665" y="94"/>
                      <a:pt x="664" y="94"/>
                      <a:pt x="664" y="94"/>
                    </a:cubicBezTo>
                    <a:close/>
                    <a:moveTo>
                      <a:pt x="1712" y="189"/>
                    </a:moveTo>
                    <a:cubicBezTo>
                      <a:pt x="1713" y="189"/>
                      <a:pt x="1713" y="189"/>
                      <a:pt x="1713" y="188"/>
                    </a:cubicBezTo>
                    <a:cubicBezTo>
                      <a:pt x="1713" y="188"/>
                      <a:pt x="1713" y="189"/>
                      <a:pt x="1712" y="189"/>
                    </a:cubicBezTo>
                    <a:close/>
                    <a:moveTo>
                      <a:pt x="378" y="190"/>
                    </a:moveTo>
                    <a:cubicBezTo>
                      <a:pt x="378" y="190"/>
                      <a:pt x="378" y="189"/>
                      <a:pt x="377" y="189"/>
                    </a:cubicBezTo>
                    <a:cubicBezTo>
                      <a:pt x="377" y="189"/>
                      <a:pt x="377" y="190"/>
                      <a:pt x="378" y="190"/>
                    </a:cubicBezTo>
                    <a:close/>
                    <a:moveTo>
                      <a:pt x="773" y="94"/>
                    </a:moveTo>
                    <a:cubicBezTo>
                      <a:pt x="773" y="95"/>
                      <a:pt x="774" y="95"/>
                      <a:pt x="774" y="95"/>
                    </a:cubicBezTo>
                    <a:cubicBezTo>
                      <a:pt x="774" y="94"/>
                      <a:pt x="773" y="94"/>
                      <a:pt x="773" y="94"/>
                    </a:cubicBezTo>
                    <a:close/>
                    <a:moveTo>
                      <a:pt x="720" y="190"/>
                    </a:moveTo>
                    <a:cubicBezTo>
                      <a:pt x="720" y="190"/>
                      <a:pt x="720" y="189"/>
                      <a:pt x="719" y="189"/>
                    </a:cubicBezTo>
                    <a:cubicBezTo>
                      <a:pt x="719" y="190"/>
                      <a:pt x="720" y="190"/>
                      <a:pt x="720" y="190"/>
                    </a:cubicBezTo>
                    <a:close/>
                    <a:moveTo>
                      <a:pt x="847" y="190"/>
                    </a:moveTo>
                    <a:cubicBezTo>
                      <a:pt x="847" y="190"/>
                      <a:pt x="847" y="189"/>
                      <a:pt x="847" y="189"/>
                    </a:cubicBezTo>
                    <a:cubicBezTo>
                      <a:pt x="847" y="190"/>
                      <a:pt x="847" y="190"/>
                      <a:pt x="847" y="190"/>
                    </a:cubicBezTo>
                    <a:close/>
                    <a:moveTo>
                      <a:pt x="935" y="189"/>
                    </a:moveTo>
                    <a:cubicBezTo>
                      <a:pt x="934" y="189"/>
                      <a:pt x="934" y="190"/>
                      <a:pt x="934" y="190"/>
                    </a:cubicBezTo>
                    <a:cubicBezTo>
                      <a:pt x="935" y="190"/>
                      <a:pt x="935" y="190"/>
                      <a:pt x="935" y="189"/>
                    </a:cubicBezTo>
                    <a:close/>
                    <a:moveTo>
                      <a:pt x="1051" y="190"/>
                    </a:moveTo>
                    <a:cubicBezTo>
                      <a:pt x="1051" y="190"/>
                      <a:pt x="1051" y="189"/>
                      <a:pt x="1050" y="189"/>
                    </a:cubicBezTo>
                    <a:cubicBezTo>
                      <a:pt x="1050" y="189"/>
                      <a:pt x="1050" y="190"/>
                      <a:pt x="1051" y="190"/>
                    </a:cubicBezTo>
                    <a:close/>
                    <a:moveTo>
                      <a:pt x="1123" y="189"/>
                    </a:moveTo>
                    <a:cubicBezTo>
                      <a:pt x="1123" y="190"/>
                      <a:pt x="1123" y="190"/>
                      <a:pt x="1124" y="190"/>
                    </a:cubicBezTo>
                    <a:cubicBezTo>
                      <a:pt x="1123" y="189"/>
                      <a:pt x="1123" y="189"/>
                      <a:pt x="1123" y="189"/>
                    </a:cubicBezTo>
                    <a:close/>
                    <a:moveTo>
                      <a:pt x="747" y="95"/>
                    </a:moveTo>
                    <a:cubicBezTo>
                      <a:pt x="748" y="95"/>
                      <a:pt x="748" y="95"/>
                      <a:pt x="748" y="95"/>
                    </a:cubicBezTo>
                    <a:cubicBezTo>
                      <a:pt x="748" y="95"/>
                      <a:pt x="747" y="95"/>
                      <a:pt x="747" y="95"/>
                    </a:cubicBezTo>
                    <a:close/>
                    <a:moveTo>
                      <a:pt x="1299" y="190"/>
                    </a:moveTo>
                    <a:cubicBezTo>
                      <a:pt x="1299" y="190"/>
                      <a:pt x="1300" y="190"/>
                      <a:pt x="1300" y="189"/>
                    </a:cubicBezTo>
                    <a:cubicBezTo>
                      <a:pt x="1299" y="189"/>
                      <a:pt x="1299" y="189"/>
                      <a:pt x="1299" y="190"/>
                    </a:cubicBezTo>
                    <a:close/>
                    <a:moveTo>
                      <a:pt x="1378" y="189"/>
                    </a:moveTo>
                    <a:cubicBezTo>
                      <a:pt x="1378" y="189"/>
                      <a:pt x="1378" y="190"/>
                      <a:pt x="1379" y="190"/>
                    </a:cubicBezTo>
                    <a:cubicBezTo>
                      <a:pt x="1379" y="189"/>
                      <a:pt x="1378" y="189"/>
                      <a:pt x="1378" y="189"/>
                    </a:cubicBezTo>
                    <a:close/>
                    <a:moveTo>
                      <a:pt x="1644" y="190"/>
                    </a:moveTo>
                    <a:cubicBezTo>
                      <a:pt x="1644" y="190"/>
                      <a:pt x="1644" y="189"/>
                      <a:pt x="1643" y="189"/>
                    </a:cubicBezTo>
                    <a:cubicBezTo>
                      <a:pt x="1643" y="190"/>
                      <a:pt x="1643" y="190"/>
                      <a:pt x="1644" y="190"/>
                    </a:cubicBezTo>
                    <a:close/>
                    <a:moveTo>
                      <a:pt x="1711" y="190"/>
                    </a:moveTo>
                    <a:cubicBezTo>
                      <a:pt x="1712" y="190"/>
                      <a:pt x="1712" y="189"/>
                      <a:pt x="1712" y="189"/>
                    </a:cubicBezTo>
                    <a:cubicBezTo>
                      <a:pt x="1712" y="189"/>
                      <a:pt x="1711" y="189"/>
                      <a:pt x="1711" y="190"/>
                    </a:cubicBezTo>
                    <a:close/>
                    <a:moveTo>
                      <a:pt x="1139" y="95"/>
                    </a:moveTo>
                    <a:cubicBezTo>
                      <a:pt x="1140" y="95"/>
                      <a:pt x="1140" y="95"/>
                      <a:pt x="1141" y="95"/>
                    </a:cubicBezTo>
                    <a:cubicBezTo>
                      <a:pt x="1140" y="95"/>
                      <a:pt x="1140" y="95"/>
                      <a:pt x="1139" y="95"/>
                    </a:cubicBezTo>
                    <a:close/>
                    <a:moveTo>
                      <a:pt x="795" y="190"/>
                    </a:moveTo>
                    <a:cubicBezTo>
                      <a:pt x="794" y="190"/>
                      <a:pt x="794" y="190"/>
                      <a:pt x="794" y="191"/>
                    </a:cubicBezTo>
                    <a:cubicBezTo>
                      <a:pt x="795" y="191"/>
                      <a:pt x="795" y="190"/>
                      <a:pt x="795" y="190"/>
                    </a:cubicBezTo>
                    <a:close/>
                    <a:moveTo>
                      <a:pt x="1381" y="95"/>
                    </a:moveTo>
                    <a:cubicBezTo>
                      <a:pt x="1381" y="95"/>
                      <a:pt x="1381" y="95"/>
                      <a:pt x="1382" y="95"/>
                    </a:cubicBezTo>
                    <a:cubicBezTo>
                      <a:pt x="1381" y="95"/>
                      <a:pt x="1381" y="95"/>
                      <a:pt x="1381" y="95"/>
                    </a:cubicBezTo>
                    <a:close/>
                    <a:moveTo>
                      <a:pt x="1124" y="190"/>
                    </a:moveTo>
                    <a:cubicBezTo>
                      <a:pt x="1124" y="190"/>
                      <a:pt x="1124" y="190"/>
                      <a:pt x="1125" y="190"/>
                    </a:cubicBezTo>
                    <a:cubicBezTo>
                      <a:pt x="1125" y="190"/>
                      <a:pt x="1124" y="190"/>
                      <a:pt x="1124" y="190"/>
                    </a:cubicBezTo>
                    <a:close/>
                    <a:moveTo>
                      <a:pt x="1181" y="190"/>
                    </a:moveTo>
                    <a:cubicBezTo>
                      <a:pt x="1180" y="190"/>
                      <a:pt x="1180" y="190"/>
                      <a:pt x="1180" y="191"/>
                    </a:cubicBezTo>
                    <a:cubicBezTo>
                      <a:pt x="1181" y="191"/>
                      <a:pt x="1181" y="190"/>
                      <a:pt x="1181" y="190"/>
                    </a:cubicBezTo>
                    <a:close/>
                    <a:moveTo>
                      <a:pt x="1409" y="95"/>
                    </a:moveTo>
                    <a:cubicBezTo>
                      <a:pt x="1409" y="95"/>
                      <a:pt x="1409" y="95"/>
                      <a:pt x="1410" y="95"/>
                    </a:cubicBezTo>
                    <a:cubicBezTo>
                      <a:pt x="1410" y="95"/>
                      <a:pt x="1409" y="95"/>
                      <a:pt x="1409" y="95"/>
                    </a:cubicBezTo>
                    <a:close/>
                    <a:moveTo>
                      <a:pt x="1298" y="190"/>
                    </a:moveTo>
                    <a:cubicBezTo>
                      <a:pt x="1298" y="190"/>
                      <a:pt x="1299" y="190"/>
                      <a:pt x="1299" y="190"/>
                    </a:cubicBezTo>
                    <a:cubicBezTo>
                      <a:pt x="1298" y="190"/>
                      <a:pt x="1298" y="190"/>
                      <a:pt x="1298" y="190"/>
                    </a:cubicBezTo>
                    <a:close/>
                    <a:moveTo>
                      <a:pt x="1379" y="190"/>
                    </a:moveTo>
                    <a:cubicBezTo>
                      <a:pt x="1379" y="190"/>
                      <a:pt x="1379" y="190"/>
                      <a:pt x="1380" y="190"/>
                    </a:cubicBezTo>
                    <a:cubicBezTo>
                      <a:pt x="1380" y="190"/>
                      <a:pt x="1379" y="190"/>
                      <a:pt x="1379" y="190"/>
                    </a:cubicBezTo>
                    <a:close/>
                    <a:moveTo>
                      <a:pt x="1419" y="190"/>
                    </a:moveTo>
                    <a:cubicBezTo>
                      <a:pt x="1420" y="190"/>
                      <a:pt x="1420" y="190"/>
                      <a:pt x="1420" y="190"/>
                    </a:cubicBezTo>
                    <a:cubicBezTo>
                      <a:pt x="1420" y="190"/>
                      <a:pt x="1419" y="190"/>
                      <a:pt x="1419" y="190"/>
                    </a:cubicBezTo>
                    <a:close/>
                    <a:moveTo>
                      <a:pt x="1594" y="189"/>
                    </a:moveTo>
                    <a:cubicBezTo>
                      <a:pt x="1593" y="190"/>
                      <a:pt x="1593" y="190"/>
                      <a:pt x="1593" y="191"/>
                    </a:cubicBezTo>
                    <a:cubicBezTo>
                      <a:pt x="1594" y="190"/>
                      <a:pt x="1594" y="190"/>
                      <a:pt x="1594" y="189"/>
                    </a:cubicBezTo>
                    <a:close/>
                    <a:moveTo>
                      <a:pt x="1669" y="190"/>
                    </a:moveTo>
                    <a:cubicBezTo>
                      <a:pt x="1669" y="190"/>
                      <a:pt x="1670" y="190"/>
                      <a:pt x="1670" y="190"/>
                    </a:cubicBezTo>
                    <a:cubicBezTo>
                      <a:pt x="1670" y="190"/>
                      <a:pt x="1670" y="190"/>
                      <a:pt x="1669" y="190"/>
                    </a:cubicBezTo>
                    <a:close/>
                    <a:moveTo>
                      <a:pt x="1710" y="190"/>
                    </a:moveTo>
                    <a:cubicBezTo>
                      <a:pt x="1710" y="190"/>
                      <a:pt x="1711" y="190"/>
                      <a:pt x="1711" y="190"/>
                    </a:cubicBezTo>
                    <a:cubicBezTo>
                      <a:pt x="1711" y="190"/>
                      <a:pt x="1710" y="190"/>
                      <a:pt x="1710" y="190"/>
                    </a:cubicBezTo>
                    <a:close/>
                    <a:moveTo>
                      <a:pt x="1125" y="190"/>
                    </a:moveTo>
                    <a:cubicBezTo>
                      <a:pt x="1125" y="191"/>
                      <a:pt x="1125" y="191"/>
                      <a:pt x="1126" y="191"/>
                    </a:cubicBezTo>
                    <a:cubicBezTo>
                      <a:pt x="1126" y="190"/>
                      <a:pt x="1125" y="190"/>
                      <a:pt x="1125" y="190"/>
                    </a:cubicBezTo>
                    <a:close/>
                    <a:moveTo>
                      <a:pt x="1517" y="95"/>
                    </a:moveTo>
                    <a:cubicBezTo>
                      <a:pt x="1517" y="95"/>
                      <a:pt x="1518" y="95"/>
                      <a:pt x="1518" y="95"/>
                    </a:cubicBezTo>
                    <a:cubicBezTo>
                      <a:pt x="1518" y="95"/>
                      <a:pt x="1517" y="95"/>
                      <a:pt x="1517" y="95"/>
                    </a:cubicBezTo>
                    <a:close/>
                    <a:moveTo>
                      <a:pt x="1296" y="191"/>
                    </a:moveTo>
                    <a:cubicBezTo>
                      <a:pt x="1297" y="191"/>
                      <a:pt x="1297" y="191"/>
                      <a:pt x="1298" y="190"/>
                    </a:cubicBezTo>
                    <a:cubicBezTo>
                      <a:pt x="1297" y="190"/>
                      <a:pt x="1297" y="190"/>
                      <a:pt x="1296" y="191"/>
                    </a:cubicBezTo>
                    <a:close/>
                    <a:moveTo>
                      <a:pt x="1324" y="190"/>
                    </a:moveTo>
                    <a:cubicBezTo>
                      <a:pt x="1323" y="190"/>
                      <a:pt x="1323" y="191"/>
                      <a:pt x="1323" y="191"/>
                    </a:cubicBezTo>
                    <a:cubicBezTo>
                      <a:pt x="1323" y="191"/>
                      <a:pt x="1324" y="191"/>
                      <a:pt x="1324" y="190"/>
                    </a:cubicBezTo>
                    <a:close/>
                    <a:moveTo>
                      <a:pt x="1354" y="191"/>
                    </a:moveTo>
                    <a:cubicBezTo>
                      <a:pt x="1354" y="191"/>
                      <a:pt x="1354" y="190"/>
                      <a:pt x="1353" y="190"/>
                    </a:cubicBezTo>
                    <a:cubicBezTo>
                      <a:pt x="1353" y="191"/>
                      <a:pt x="1354" y="191"/>
                      <a:pt x="1354" y="191"/>
                    </a:cubicBezTo>
                    <a:close/>
                    <a:moveTo>
                      <a:pt x="1418" y="191"/>
                    </a:moveTo>
                    <a:cubicBezTo>
                      <a:pt x="1418" y="191"/>
                      <a:pt x="1419" y="191"/>
                      <a:pt x="1419" y="190"/>
                    </a:cubicBezTo>
                    <a:cubicBezTo>
                      <a:pt x="1419" y="190"/>
                      <a:pt x="1418" y="190"/>
                      <a:pt x="1418" y="191"/>
                    </a:cubicBezTo>
                    <a:close/>
                    <a:moveTo>
                      <a:pt x="1562" y="191"/>
                    </a:moveTo>
                    <a:cubicBezTo>
                      <a:pt x="1563" y="191"/>
                      <a:pt x="1562" y="190"/>
                      <a:pt x="1562" y="190"/>
                    </a:cubicBezTo>
                    <a:cubicBezTo>
                      <a:pt x="1562" y="191"/>
                      <a:pt x="1562" y="191"/>
                      <a:pt x="1562" y="191"/>
                    </a:cubicBezTo>
                    <a:close/>
                    <a:moveTo>
                      <a:pt x="1670" y="190"/>
                    </a:moveTo>
                    <a:cubicBezTo>
                      <a:pt x="1670" y="191"/>
                      <a:pt x="1671" y="191"/>
                      <a:pt x="1671" y="191"/>
                    </a:cubicBezTo>
                    <a:cubicBezTo>
                      <a:pt x="1671" y="190"/>
                      <a:pt x="1671" y="190"/>
                      <a:pt x="1670" y="190"/>
                    </a:cubicBezTo>
                    <a:close/>
                    <a:moveTo>
                      <a:pt x="1708" y="191"/>
                    </a:moveTo>
                    <a:cubicBezTo>
                      <a:pt x="1709" y="191"/>
                      <a:pt x="1709" y="191"/>
                      <a:pt x="1710" y="190"/>
                    </a:cubicBezTo>
                    <a:cubicBezTo>
                      <a:pt x="1709" y="190"/>
                      <a:pt x="1709" y="190"/>
                      <a:pt x="1708" y="191"/>
                    </a:cubicBezTo>
                    <a:close/>
                    <a:moveTo>
                      <a:pt x="1671" y="95"/>
                    </a:moveTo>
                    <a:cubicBezTo>
                      <a:pt x="1671" y="95"/>
                      <a:pt x="1672" y="95"/>
                      <a:pt x="1672" y="95"/>
                    </a:cubicBezTo>
                    <a:cubicBezTo>
                      <a:pt x="1672" y="95"/>
                      <a:pt x="1671" y="95"/>
                      <a:pt x="1671" y="95"/>
                    </a:cubicBezTo>
                    <a:close/>
                    <a:moveTo>
                      <a:pt x="501" y="190"/>
                    </a:moveTo>
                    <a:cubicBezTo>
                      <a:pt x="500" y="191"/>
                      <a:pt x="500" y="191"/>
                      <a:pt x="500" y="192"/>
                    </a:cubicBezTo>
                    <a:cubicBezTo>
                      <a:pt x="501" y="192"/>
                      <a:pt x="501" y="191"/>
                      <a:pt x="501" y="190"/>
                    </a:cubicBezTo>
                    <a:close/>
                    <a:moveTo>
                      <a:pt x="721" y="192"/>
                    </a:moveTo>
                    <a:cubicBezTo>
                      <a:pt x="721" y="191"/>
                      <a:pt x="721" y="191"/>
                      <a:pt x="721" y="191"/>
                    </a:cubicBezTo>
                    <a:cubicBezTo>
                      <a:pt x="721" y="191"/>
                      <a:pt x="721" y="192"/>
                      <a:pt x="721" y="192"/>
                    </a:cubicBezTo>
                    <a:close/>
                    <a:moveTo>
                      <a:pt x="981" y="192"/>
                    </a:moveTo>
                    <a:cubicBezTo>
                      <a:pt x="981" y="191"/>
                      <a:pt x="981" y="191"/>
                      <a:pt x="980" y="191"/>
                    </a:cubicBezTo>
                    <a:cubicBezTo>
                      <a:pt x="980" y="191"/>
                      <a:pt x="980" y="192"/>
                      <a:pt x="981" y="192"/>
                    </a:cubicBezTo>
                    <a:close/>
                    <a:moveTo>
                      <a:pt x="1790" y="95"/>
                    </a:moveTo>
                    <a:cubicBezTo>
                      <a:pt x="1791" y="95"/>
                      <a:pt x="1791" y="95"/>
                      <a:pt x="1791" y="95"/>
                    </a:cubicBezTo>
                    <a:cubicBezTo>
                      <a:pt x="1791" y="95"/>
                      <a:pt x="1790" y="95"/>
                      <a:pt x="1790" y="95"/>
                    </a:cubicBezTo>
                    <a:close/>
                    <a:moveTo>
                      <a:pt x="1079" y="190"/>
                    </a:moveTo>
                    <a:cubicBezTo>
                      <a:pt x="1079" y="191"/>
                      <a:pt x="1079" y="191"/>
                      <a:pt x="1079" y="192"/>
                    </a:cubicBezTo>
                    <a:cubicBezTo>
                      <a:pt x="1079" y="192"/>
                      <a:pt x="1079" y="191"/>
                      <a:pt x="1079" y="190"/>
                    </a:cubicBezTo>
                    <a:close/>
                    <a:moveTo>
                      <a:pt x="1126" y="191"/>
                    </a:moveTo>
                    <a:cubicBezTo>
                      <a:pt x="1126" y="191"/>
                      <a:pt x="1127" y="191"/>
                      <a:pt x="1127" y="191"/>
                    </a:cubicBezTo>
                    <a:cubicBezTo>
                      <a:pt x="1127" y="191"/>
                      <a:pt x="1126" y="191"/>
                      <a:pt x="1126" y="191"/>
                    </a:cubicBezTo>
                    <a:close/>
                    <a:moveTo>
                      <a:pt x="1158" y="191"/>
                    </a:moveTo>
                    <a:cubicBezTo>
                      <a:pt x="1158" y="191"/>
                      <a:pt x="1159" y="191"/>
                      <a:pt x="1159" y="191"/>
                    </a:cubicBezTo>
                    <a:cubicBezTo>
                      <a:pt x="1158" y="191"/>
                      <a:pt x="1158" y="191"/>
                      <a:pt x="1158" y="191"/>
                    </a:cubicBezTo>
                    <a:close/>
                    <a:moveTo>
                      <a:pt x="1180" y="191"/>
                    </a:moveTo>
                    <a:cubicBezTo>
                      <a:pt x="1180" y="191"/>
                      <a:pt x="1180" y="191"/>
                      <a:pt x="1179" y="192"/>
                    </a:cubicBezTo>
                    <a:cubicBezTo>
                      <a:pt x="1180" y="192"/>
                      <a:pt x="1180" y="191"/>
                      <a:pt x="1180" y="191"/>
                    </a:cubicBezTo>
                    <a:close/>
                    <a:moveTo>
                      <a:pt x="1266" y="191"/>
                    </a:moveTo>
                    <a:cubicBezTo>
                      <a:pt x="1266" y="191"/>
                      <a:pt x="1267" y="191"/>
                      <a:pt x="1267" y="191"/>
                    </a:cubicBezTo>
                    <a:cubicBezTo>
                      <a:pt x="1267" y="191"/>
                      <a:pt x="1266" y="191"/>
                      <a:pt x="1266" y="191"/>
                    </a:cubicBezTo>
                    <a:close/>
                    <a:moveTo>
                      <a:pt x="1295" y="191"/>
                    </a:moveTo>
                    <a:cubicBezTo>
                      <a:pt x="1295" y="191"/>
                      <a:pt x="1296" y="191"/>
                      <a:pt x="1296" y="191"/>
                    </a:cubicBezTo>
                    <a:cubicBezTo>
                      <a:pt x="1295" y="191"/>
                      <a:pt x="1295" y="191"/>
                      <a:pt x="1295" y="191"/>
                    </a:cubicBezTo>
                    <a:close/>
                    <a:moveTo>
                      <a:pt x="1381" y="191"/>
                    </a:moveTo>
                    <a:cubicBezTo>
                      <a:pt x="1381" y="191"/>
                      <a:pt x="1382" y="191"/>
                      <a:pt x="1382" y="191"/>
                    </a:cubicBezTo>
                    <a:cubicBezTo>
                      <a:pt x="1382" y="191"/>
                      <a:pt x="1381" y="191"/>
                      <a:pt x="1381" y="191"/>
                    </a:cubicBezTo>
                    <a:close/>
                    <a:moveTo>
                      <a:pt x="1416" y="191"/>
                    </a:moveTo>
                    <a:cubicBezTo>
                      <a:pt x="1417" y="191"/>
                      <a:pt x="1417" y="191"/>
                      <a:pt x="1418" y="191"/>
                    </a:cubicBezTo>
                    <a:cubicBezTo>
                      <a:pt x="1417" y="191"/>
                      <a:pt x="1417" y="191"/>
                      <a:pt x="1416" y="191"/>
                    </a:cubicBezTo>
                    <a:close/>
                    <a:moveTo>
                      <a:pt x="1593" y="191"/>
                    </a:moveTo>
                    <a:cubicBezTo>
                      <a:pt x="1593" y="191"/>
                      <a:pt x="1592" y="191"/>
                      <a:pt x="1593" y="192"/>
                    </a:cubicBezTo>
                    <a:cubicBezTo>
                      <a:pt x="1593" y="192"/>
                      <a:pt x="1593" y="191"/>
                      <a:pt x="1593" y="191"/>
                    </a:cubicBezTo>
                    <a:close/>
                    <a:moveTo>
                      <a:pt x="1645" y="192"/>
                    </a:moveTo>
                    <a:cubicBezTo>
                      <a:pt x="1645" y="191"/>
                      <a:pt x="1645" y="191"/>
                      <a:pt x="1644" y="191"/>
                    </a:cubicBezTo>
                    <a:cubicBezTo>
                      <a:pt x="1644" y="191"/>
                      <a:pt x="1644" y="192"/>
                      <a:pt x="1645" y="192"/>
                    </a:cubicBezTo>
                    <a:close/>
                    <a:moveTo>
                      <a:pt x="1671" y="191"/>
                    </a:moveTo>
                    <a:cubicBezTo>
                      <a:pt x="1672" y="191"/>
                      <a:pt x="1672" y="191"/>
                      <a:pt x="1672" y="191"/>
                    </a:cubicBezTo>
                    <a:cubicBezTo>
                      <a:pt x="1672" y="191"/>
                      <a:pt x="1672" y="191"/>
                      <a:pt x="1671" y="191"/>
                    </a:cubicBezTo>
                    <a:close/>
                    <a:moveTo>
                      <a:pt x="1707" y="191"/>
                    </a:moveTo>
                    <a:cubicBezTo>
                      <a:pt x="1708" y="191"/>
                      <a:pt x="1708" y="191"/>
                      <a:pt x="1708" y="191"/>
                    </a:cubicBezTo>
                    <a:cubicBezTo>
                      <a:pt x="1708" y="191"/>
                      <a:pt x="1707" y="191"/>
                      <a:pt x="1707" y="191"/>
                    </a:cubicBezTo>
                    <a:close/>
                    <a:moveTo>
                      <a:pt x="409" y="191"/>
                    </a:moveTo>
                    <a:cubicBezTo>
                      <a:pt x="409" y="191"/>
                      <a:pt x="408" y="192"/>
                      <a:pt x="409" y="192"/>
                    </a:cubicBezTo>
                    <a:cubicBezTo>
                      <a:pt x="409" y="192"/>
                      <a:pt x="409" y="192"/>
                      <a:pt x="409" y="191"/>
                    </a:cubicBezTo>
                    <a:close/>
                    <a:moveTo>
                      <a:pt x="1807" y="95"/>
                    </a:moveTo>
                    <a:cubicBezTo>
                      <a:pt x="1807" y="95"/>
                      <a:pt x="1808" y="95"/>
                      <a:pt x="1808" y="95"/>
                    </a:cubicBezTo>
                    <a:cubicBezTo>
                      <a:pt x="1808" y="95"/>
                      <a:pt x="1808" y="95"/>
                      <a:pt x="1807" y="95"/>
                    </a:cubicBezTo>
                    <a:close/>
                    <a:moveTo>
                      <a:pt x="794" y="191"/>
                    </a:moveTo>
                    <a:cubicBezTo>
                      <a:pt x="793" y="192"/>
                      <a:pt x="793" y="192"/>
                      <a:pt x="793" y="192"/>
                    </a:cubicBezTo>
                    <a:cubicBezTo>
                      <a:pt x="794" y="192"/>
                      <a:pt x="794" y="192"/>
                      <a:pt x="794" y="191"/>
                    </a:cubicBezTo>
                    <a:close/>
                    <a:moveTo>
                      <a:pt x="638" y="96"/>
                    </a:moveTo>
                    <a:cubicBezTo>
                      <a:pt x="638" y="96"/>
                      <a:pt x="639" y="96"/>
                      <a:pt x="639" y="95"/>
                    </a:cubicBezTo>
                    <a:cubicBezTo>
                      <a:pt x="638" y="95"/>
                      <a:pt x="638" y="95"/>
                      <a:pt x="638" y="96"/>
                    </a:cubicBezTo>
                    <a:close/>
                    <a:moveTo>
                      <a:pt x="668" y="95"/>
                    </a:moveTo>
                    <a:cubicBezTo>
                      <a:pt x="668" y="96"/>
                      <a:pt x="668" y="96"/>
                      <a:pt x="669" y="96"/>
                    </a:cubicBezTo>
                    <a:cubicBezTo>
                      <a:pt x="668" y="95"/>
                      <a:pt x="668" y="95"/>
                      <a:pt x="668" y="95"/>
                    </a:cubicBezTo>
                    <a:close/>
                    <a:moveTo>
                      <a:pt x="1128" y="191"/>
                    </a:moveTo>
                    <a:cubicBezTo>
                      <a:pt x="1128" y="192"/>
                      <a:pt x="1128" y="192"/>
                      <a:pt x="1129" y="192"/>
                    </a:cubicBezTo>
                    <a:cubicBezTo>
                      <a:pt x="1129" y="191"/>
                      <a:pt x="1128" y="191"/>
                      <a:pt x="1128" y="191"/>
                    </a:cubicBezTo>
                    <a:close/>
                    <a:moveTo>
                      <a:pt x="777" y="95"/>
                    </a:moveTo>
                    <a:cubicBezTo>
                      <a:pt x="777" y="96"/>
                      <a:pt x="778" y="96"/>
                      <a:pt x="778" y="96"/>
                    </a:cubicBezTo>
                    <a:cubicBezTo>
                      <a:pt x="778" y="95"/>
                      <a:pt x="777" y="95"/>
                      <a:pt x="777" y="95"/>
                    </a:cubicBezTo>
                    <a:close/>
                    <a:moveTo>
                      <a:pt x="910" y="95"/>
                    </a:moveTo>
                    <a:cubicBezTo>
                      <a:pt x="911" y="96"/>
                      <a:pt x="911" y="96"/>
                      <a:pt x="912" y="96"/>
                    </a:cubicBezTo>
                    <a:cubicBezTo>
                      <a:pt x="911" y="95"/>
                      <a:pt x="911" y="95"/>
                      <a:pt x="910" y="95"/>
                    </a:cubicBezTo>
                    <a:close/>
                    <a:moveTo>
                      <a:pt x="1382" y="191"/>
                    </a:moveTo>
                    <a:cubicBezTo>
                      <a:pt x="1383" y="192"/>
                      <a:pt x="1383" y="192"/>
                      <a:pt x="1383" y="192"/>
                    </a:cubicBezTo>
                    <a:cubicBezTo>
                      <a:pt x="1383" y="191"/>
                      <a:pt x="1383" y="191"/>
                      <a:pt x="1382" y="191"/>
                    </a:cubicBezTo>
                    <a:close/>
                    <a:moveTo>
                      <a:pt x="1170" y="95"/>
                    </a:moveTo>
                    <a:cubicBezTo>
                      <a:pt x="1170" y="96"/>
                      <a:pt x="1171" y="96"/>
                      <a:pt x="1171" y="96"/>
                    </a:cubicBezTo>
                    <a:cubicBezTo>
                      <a:pt x="1171" y="95"/>
                      <a:pt x="1171" y="95"/>
                      <a:pt x="1170" y="95"/>
                    </a:cubicBezTo>
                    <a:close/>
                    <a:moveTo>
                      <a:pt x="1673" y="191"/>
                    </a:moveTo>
                    <a:cubicBezTo>
                      <a:pt x="1673" y="192"/>
                      <a:pt x="1673" y="192"/>
                      <a:pt x="1674" y="192"/>
                    </a:cubicBezTo>
                    <a:cubicBezTo>
                      <a:pt x="1673" y="191"/>
                      <a:pt x="1673" y="191"/>
                      <a:pt x="1673" y="191"/>
                    </a:cubicBezTo>
                    <a:close/>
                    <a:moveTo>
                      <a:pt x="1705" y="192"/>
                    </a:moveTo>
                    <a:cubicBezTo>
                      <a:pt x="1706" y="192"/>
                      <a:pt x="1706" y="192"/>
                      <a:pt x="1707" y="191"/>
                    </a:cubicBezTo>
                    <a:cubicBezTo>
                      <a:pt x="1706" y="191"/>
                      <a:pt x="1706" y="191"/>
                      <a:pt x="1705" y="192"/>
                    </a:cubicBezTo>
                    <a:close/>
                    <a:moveTo>
                      <a:pt x="1008" y="192"/>
                    </a:moveTo>
                    <a:cubicBezTo>
                      <a:pt x="1008" y="192"/>
                      <a:pt x="1008" y="193"/>
                      <a:pt x="1008" y="193"/>
                    </a:cubicBezTo>
                    <a:cubicBezTo>
                      <a:pt x="1008" y="193"/>
                      <a:pt x="1009" y="192"/>
                      <a:pt x="1008" y="192"/>
                    </a:cubicBezTo>
                    <a:close/>
                    <a:moveTo>
                      <a:pt x="1129" y="192"/>
                    </a:moveTo>
                    <a:cubicBezTo>
                      <a:pt x="1130" y="192"/>
                      <a:pt x="1130" y="193"/>
                      <a:pt x="1131" y="192"/>
                    </a:cubicBezTo>
                    <a:cubicBezTo>
                      <a:pt x="1130" y="192"/>
                      <a:pt x="1130" y="192"/>
                      <a:pt x="1129" y="192"/>
                    </a:cubicBezTo>
                    <a:close/>
                    <a:moveTo>
                      <a:pt x="1155" y="193"/>
                    </a:moveTo>
                    <a:cubicBezTo>
                      <a:pt x="1156" y="193"/>
                      <a:pt x="1156" y="192"/>
                      <a:pt x="1157" y="192"/>
                    </a:cubicBezTo>
                    <a:cubicBezTo>
                      <a:pt x="1156" y="192"/>
                      <a:pt x="1156" y="192"/>
                      <a:pt x="1155" y="193"/>
                    </a:cubicBezTo>
                    <a:close/>
                    <a:moveTo>
                      <a:pt x="1180" y="192"/>
                    </a:moveTo>
                    <a:cubicBezTo>
                      <a:pt x="1179" y="192"/>
                      <a:pt x="1179" y="193"/>
                      <a:pt x="1179" y="193"/>
                    </a:cubicBezTo>
                    <a:cubicBezTo>
                      <a:pt x="1179" y="193"/>
                      <a:pt x="1180" y="192"/>
                      <a:pt x="1180" y="192"/>
                    </a:cubicBezTo>
                    <a:close/>
                    <a:moveTo>
                      <a:pt x="1498" y="96"/>
                    </a:moveTo>
                    <a:cubicBezTo>
                      <a:pt x="1498" y="96"/>
                      <a:pt x="1499" y="96"/>
                      <a:pt x="1499" y="95"/>
                    </a:cubicBezTo>
                    <a:cubicBezTo>
                      <a:pt x="1499" y="95"/>
                      <a:pt x="1498" y="95"/>
                      <a:pt x="1498" y="96"/>
                    </a:cubicBezTo>
                    <a:close/>
                    <a:moveTo>
                      <a:pt x="1669" y="96"/>
                    </a:moveTo>
                    <a:cubicBezTo>
                      <a:pt x="1670" y="96"/>
                      <a:pt x="1670" y="96"/>
                      <a:pt x="1670" y="95"/>
                    </a:cubicBezTo>
                    <a:cubicBezTo>
                      <a:pt x="1670" y="95"/>
                      <a:pt x="1669" y="95"/>
                      <a:pt x="1669" y="96"/>
                    </a:cubicBezTo>
                    <a:close/>
                    <a:moveTo>
                      <a:pt x="1701" y="95"/>
                    </a:moveTo>
                    <a:cubicBezTo>
                      <a:pt x="1701" y="96"/>
                      <a:pt x="1702" y="96"/>
                      <a:pt x="1702" y="96"/>
                    </a:cubicBezTo>
                    <a:cubicBezTo>
                      <a:pt x="1702" y="95"/>
                      <a:pt x="1702" y="95"/>
                      <a:pt x="1701" y="95"/>
                    </a:cubicBezTo>
                    <a:close/>
                    <a:moveTo>
                      <a:pt x="1384" y="192"/>
                    </a:moveTo>
                    <a:cubicBezTo>
                      <a:pt x="1384" y="192"/>
                      <a:pt x="1385" y="193"/>
                      <a:pt x="1385" y="192"/>
                    </a:cubicBezTo>
                    <a:cubicBezTo>
                      <a:pt x="1385" y="192"/>
                      <a:pt x="1384" y="192"/>
                      <a:pt x="1384" y="192"/>
                    </a:cubicBezTo>
                    <a:close/>
                    <a:moveTo>
                      <a:pt x="1788" y="96"/>
                    </a:moveTo>
                    <a:cubicBezTo>
                      <a:pt x="1789" y="96"/>
                      <a:pt x="1789" y="96"/>
                      <a:pt x="1790" y="95"/>
                    </a:cubicBezTo>
                    <a:cubicBezTo>
                      <a:pt x="1789" y="95"/>
                      <a:pt x="1789" y="95"/>
                      <a:pt x="1788" y="96"/>
                    </a:cubicBezTo>
                    <a:close/>
                    <a:moveTo>
                      <a:pt x="1563" y="193"/>
                    </a:moveTo>
                    <a:cubicBezTo>
                      <a:pt x="1563" y="193"/>
                      <a:pt x="1563" y="192"/>
                      <a:pt x="1563" y="192"/>
                    </a:cubicBezTo>
                    <a:cubicBezTo>
                      <a:pt x="1563" y="192"/>
                      <a:pt x="1563" y="193"/>
                      <a:pt x="1563" y="193"/>
                    </a:cubicBezTo>
                    <a:close/>
                    <a:moveTo>
                      <a:pt x="1674" y="192"/>
                    </a:moveTo>
                    <a:cubicBezTo>
                      <a:pt x="1674" y="192"/>
                      <a:pt x="1675" y="193"/>
                      <a:pt x="1675" y="192"/>
                    </a:cubicBezTo>
                    <a:cubicBezTo>
                      <a:pt x="1675" y="192"/>
                      <a:pt x="1675" y="192"/>
                      <a:pt x="1674" y="192"/>
                    </a:cubicBezTo>
                    <a:close/>
                    <a:moveTo>
                      <a:pt x="443" y="97"/>
                    </a:moveTo>
                    <a:cubicBezTo>
                      <a:pt x="443" y="96"/>
                      <a:pt x="443" y="96"/>
                      <a:pt x="443" y="95"/>
                    </a:cubicBezTo>
                    <a:cubicBezTo>
                      <a:pt x="442" y="96"/>
                      <a:pt x="442" y="97"/>
                      <a:pt x="443" y="97"/>
                    </a:cubicBezTo>
                    <a:close/>
                    <a:moveTo>
                      <a:pt x="637" y="96"/>
                    </a:moveTo>
                    <a:cubicBezTo>
                      <a:pt x="637" y="96"/>
                      <a:pt x="637" y="96"/>
                      <a:pt x="638" y="96"/>
                    </a:cubicBezTo>
                    <a:cubicBezTo>
                      <a:pt x="637" y="96"/>
                      <a:pt x="637" y="96"/>
                      <a:pt x="637" y="96"/>
                    </a:cubicBezTo>
                    <a:close/>
                    <a:moveTo>
                      <a:pt x="669" y="96"/>
                    </a:moveTo>
                    <a:cubicBezTo>
                      <a:pt x="670" y="96"/>
                      <a:pt x="670" y="96"/>
                      <a:pt x="670" y="96"/>
                    </a:cubicBezTo>
                    <a:cubicBezTo>
                      <a:pt x="670" y="96"/>
                      <a:pt x="670" y="96"/>
                      <a:pt x="669" y="96"/>
                    </a:cubicBezTo>
                    <a:close/>
                    <a:moveTo>
                      <a:pt x="744" y="96"/>
                    </a:moveTo>
                    <a:cubicBezTo>
                      <a:pt x="744" y="96"/>
                      <a:pt x="744" y="96"/>
                      <a:pt x="745" y="96"/>
                    </a:cubicBezTo>
                    <a:cubicBezTo>
                      <a:pt x="744" y="96"/>
                      <a:pt x="744" y="96"/>
                      <a:pt x="744" y="96"/>
                    </a:cubicBezTo>
                    <a:close/>
                    <a:moveTo>
                      <a:pt x="778" y="96"/>
                    </a:moveTo>
                    <a:cubicBezTo>
                      <a:pt x="778" y="96"/>
                      <a:pt x="779" y="96"/>
                      <a:pt x="779" y="96"/>
                    </a:cubicBezTo>
                    <a:cubicBezTo>
                      <a:pt x="779" y="96"/>
                      <a:pt x="779" y="96"/>
                      <a:pt x="778" y="96"/>
                    </a:cubicBezTo>
                    <a:close/>
                    <a:moveTo>
                      <a:pt x="871" y="96"/>
                    </a:moveTo>
                    <a:cubicBezTo>
                      <a:pt x="872" y="96"/>
                      <a:pt x="872" y="96"/>
                      <a:pt x="873" y="96"/>
                    </a:cubicBezTo>
                    <a:cubicBezTo>
                      <a:pt x="872" y="96"/>
                      <a:pt x="872" y="96"/>
                      <a:pt x="871" y="96"/>
                    </a:cubicBezTo>
                    <a:close/>
                    <a:moveTo>
                      <a:pt x="912" y="96"/>
                    </a:moveTo>
                    <a:cubicBezTo>
                      <a:pt x="913" y="96"/>
                      <a:pt x="913" y="96"/>
                      <a:pt x="913" y="96"/>
                    </a:cubicBezTo>
                    <a:cubicBezTo>
                      <a:pt x="913" y="96"/>
                      <a:pt x="913" y="96"/>
                      <a:pt x="912" y="96"/>
                    </a:cubicBezTo>
                    <a:close/>
                    <a:moveTo>
                      <a:pt x="1131" y="193"/>
                    </a:moveTo>
                    <a:cubicBezTo>
                      <a:pt x="1131" y="193"/>
                      <a:pt x="1132" y="193"/>
                      <a:pt x="1132" y="193"/>
                    </a:cubicBezTo>
                    <a:cubicBezTo>
                      <a:pt x="1132" y="193"/>
                      <a:pt x="1131" y="193"/>
                      <a:pt x="1131" y="193"/>
                    </a:cubicBezTo>
                    <a:close/>
                    <a:moveTo>
                      <a:pt x="1154" y="193"/>
                    </a:moveTo>
                    <a:cubicBezTo>
                      <a:pt x="1155" y="193"/>
                      <a:pt x="1155" y="193"/>
                      <a:pt x="1155" y="193"/>
                    </a:cubicBezTo>
                    <a:cubicBezTo>
                      <a:pt x="1155" y="192"/>
                      <a:pt x="1155" y="193"/>
                      <a:pt x="1154" y="193"/>
                    </a:cubicBezTo>
                    <a:close/>
                    <a:moveTo>
                      <a:pt x="952" y="97"/>
                    </a:moveTo>
                    <a:cubicBezTo>
                      <a:pt x="952" y="97"/>
                      <a:pt x="952" y="96"/>
                      <a:pt x="952" y="96"/>
                    </a:cubicBezTo>
                    <a:cubicBezTo>
                      <a:pt x="952" y="96"/>
                      <a:pt x="951" y="96"/>
                      <a:pt x="952" y="97"/>
                    </a:cubicBezTo>
                    <a:close/>
                    <a:moveTo>
                      <a:pt x="1023" y="97"/>
                    </a:moveTo>
                    <a:cubicBezTo>
                      <a:pt x="1023" y="97"/>
                      <a:pt x="1023" y="96"/>
                      <a:pt x="1024" y="96"/>
                    </a:cubicBezTo>
                    <a:cubicBezTo>
                      <a:pt x="1023" y="96"/>
                      <a:pt x="1023" y="97"/>
                      <a:pt x="1023" y="97"/>
                    </a:cubicBezTo>
                    <a:close/>
                    <a:moveTo>
                      <a:pt x="1356" y="194"/>
                    </a:moveTo>
                    <a:cubicBezTo>
                      <a:pt x="1356" y="193"/>
                      <a:pt x="1356" y="193"/>
                      <a:pt x="1355" y="193"/>
                    </a:cubicBezTo>
                    <a:cubicBezTo>
                      <a:pt x="1355" y="193"/>
                      <a:pt x="1355" y="193"/>
                      <a:pt x="1356" y="194"/>
                    </a:cubicBezTo>
                    <a:close/>
                    <a:moveTo>
                      <a:pt x="1385" y="193"/>
                    </a:moveTo>
                    <a:cubicBezTo>
                      <a:pt x="1386" y="193"/>
                      <a:pt x="1386" y="193"/>
                      <a:pt x="1387" y="193"/>
                    </a:cubicBezTo>
                    <a:cubicBezTo>
                      <a:pt x="1387" y="193"/>
                      <a:pt x="1386" y="193"/>
                      <a:pt x="1385" y="193"/>
                    </a:cubicBezTo>
                    <a:close/>
                    <a:moveTo>
                      <a:pt x="1089" y="97"/>
                    </a:moveTo>
                    <a:cubicBezTo>
                      <a:pt x="1089" y="97"/>
                      <a:pt x="1090" y="96"/>
                      <a:pt x="1090" y="96"/>
                    </a:cubicBezTo>
                    <a:cubicBezTo>
                      <a:pt x="1089" y="96"/>
                      <a:pt x="1089" y="97"/>
                      <a:pt x="1089" y="97"/>
                    </a:cubicBezTo>
                    <a:close/>
                    <a:moveTo>
                      <a:pt x="1592" y="192"/>
                    </a:moveTo>
                    <a:cubicBezTo>
                      <a:pt x="1592" y="193"/>
                      <a:pt x="1592" y="193"/>
                      <a:pt x="1592" y="194"/>
                    </a:cubicBezTo>
                    <a:cubicBezTo>
                      <a:pt x="1592" y="193"/>
                      <a:pt x="1592" y="193"/>
                      <a:pt x="1592" y="192"/>
                    </a:cubicBezTo>
                    <a:close/>
                    <a:moveTo>
                      <a:pt x="1676" y="193"/>
                    </a:moveTo>
                    <a:cubicBezTo>
                      <a:pt x="1676" y="193"/>
                      <a:pt x="1677" y="193"/>
                      <a:pt x="1677" y="193"/>
                    </a:cubicBezTo>
                    <a:cubicBezTo>
                      <a:pt x="1677" y="193"/>
                      <a:pt x="1676" y="192"/>
                      <a:pt x="1676" y="193"/>
                    </a:cubicBezTo>
                    <a:close/>
                    <a:moveTo>
                      <a:pt x="1701" y="193"/>
                    </a:moveTo>
                    <a:cubicBezTo>
                      <a:pt x="1702" y="193"/>
                      <a:pt x="1702" y="193"/>
                      <a:pt x="1703" y="193"/>
                    </a:cubicBezTo>
                    <a:cubicBezTo>
                      <a:pt x="1702" y="193"/>
                      <a:pt x="1702" y="192"/>
                      <a:pt x="1701" y="193"/>
                    </a:cubicBezTo>
                    <a:close/>
                    <a:moveTo>
                      <a:pt x="1136" y="96"/>
                    </a:moveTo>
                    <a:cubicBezTo>
                      <a:pt x="1136" y="96"/>
                      <a:pt x="1137" y="96"/>
                      <a:pt x="1137" y="96"/>
                    </a:cubicBezTo>
                    <a:cubicBezTo>
                      <a:pt x="1136" y="96"/>
                      <a:pt x="1136" y="96"/>
                      <a:pt x="1136" y="96"/>
                    </a:cubicBezTo>
                    <a:close/>
                    <a:moveTo>
                      <a:pt x="1172" y="96"/>
                    </a:moveTo>
                    <a:cubicBezTo>
                      <a:pt x="1172" y="96"/>
                      <a:pt x="1173" y="96"/>
                      <a:pt x="1173" y="96"/>
                    </a:cubicBezTo>
                    <a:cubicBezTo>
                      <a:pt x="1173" y="96"/>
                      <a:pt x="1172" y="96"/>
                      <a:pt x="1172" y="96"/>
                    </a:cubicBezTo>
                    <a:close/>
                    <a:moveTo>
                      <a:pt x="1377" y="96"/>
                    </a:moveTo>
                    <a:cubicBezTo>
                      <a:pt x="1378" y="96"/>
                      <a:pt x="1378" y="96"/>
                      <a:pt x="1378" y="96"/>
                    </a:cubicBezTo>
                    <a:cubicBezTo>
                      <a:pt x="1378" y="96"/>
                      <a:pt x="1377" y="96"/>
                      <a:pt x="1377" y="96"/>
                    </a:cubicBezTo>
                    <a:close/>
                    <a:moveTo>
                      <a:pt x="1412" y="96"/>
                    </a:moveTo>
                    <a:cubicBezTo>
                      <a:pt x="1412" y="96"/>
                      <a:pt x="1413" y="96"/>
                      <a:pt x="1413" y="96"/>
                    </a:cubicBezTo>
                    <a:cubicBezTo>
                      <a:pt x="1413" y="96"/>
                      <a:pt x="1413" y="96"/>
                      <a:pt x="1412" y="96"/>
                    </a:cubicBezTo>
                    <a:close/>
                    <a:moveTo>
                      <a:pt x="1496" y="96"/>
                    </a:moveTo>
                    <a:cubicBezTo>
                      <a:pt x="1497" y="96"/>
                      <a:pt x="1497" y="96"/>
                      <a:pt x="1498" y="96"/>
                    </a:cubicBezTo>
                    <a:cubicBezTo>
                      <a:pt x="1497" y="96"/>
                      <a:pt x="1497" y="96"/>
                      <a:pt x="1496" y="96"/>
                    </a:cubicBezTo>
                    <a:close/>
                    <a:moveTo>
                      <a:pt x="1527" y="97"/>
                    </a:moveTo>
                    <a:cubicBezTo>
                      <a:pt x="1527" y="97"/>
                      <a:pt x="1527" y="96"/>
                      <a:pt x="1527" y="96"/>
                    </a:cubicBezTo>
                    <a:cubicBezTo>
                      <a:pt x="1526" y="96"/>
                      <a:pt x="1526" y="96"/>
                      <a:pt x="1527" y="97"/>
                    </a:cubicBezTo>
                    <a:close/>
                    <a:moveTo>
                      <a:pt x="1564" y="194"/>
                    </a:moveTo>
                    <a:cubicBezTo>
                      <a:pt x="1564" y="194"/>
                      <a:pt x="1564" y="193"/>
                      <a:pt x="1563" y="193"/>
                    </a:cubicBezTo>
                    <a:cubicBezTo>
                      <a:pt x="1563" y="193"/>
                      <a:pt x="1563" y="194"/>
                      <a:pt x="1564" y="194"/>
                    </a:cubicBezTo>
                    <a:close/>
                    <a:moveTo>
                      <a:pt x="1546" y="96"/>
                    </a:moveTo>
                    <a:cubicBezTo>
                      <a:pt x="1546" y="96"/>
                      <a:pt x="1546" y="97"/>
                      <a:pt x="1547" y="97"/>
                    </a:cubicBezTo>
                    <a:cubicBezTo>
                      <a:pt x="1547" y="96"/>
                      <a:pt x="1547" y="96"/>
                      <a:pt x="1546" y="96"/>
                    </a:cubicBezTo>
                    <a:close/>
                    <a:moveTo>
                      <a:pt x="1630" y="96"/>
                    </a:moveTo>
                    <a:cubicBezTo>
                      <a:pt x="1630" y="96"/>
                      <a:pt x="1630" y="97"/>
                      <a:pt x="1630" y="97"/>
                    </a:cubicBezTo>
                    <a:cubicBezTo>
                      <a:pt x="1631" y="96"/>
                      <a:pt x="1631" y="96"/>
                      <a:pt x="1630" y="96"/>
                    </a:cubicBezTo>
                    <a:close/>
                    <a:moveTo>
                      <a:pt x="1667" y="96"/>
                    </a:moveTo>
                    <a:cubicBezTo>
                      <a:pt x="1668" y="96"/>
                      <a:pt x="1668" y="96"/>
                      <a:pt x="1669" y="96"/>
                    </a:cubicBezTo>
                    <a:cubicBezTo>
                      <a:pt x="1668" y="96"/>
                      <a:pt x="1668" y="96"/>
                      <a:pt x="1667" y="96"/>
                    </a:cubicBezTo>
                    <a:close/>
                    <a:moveTo>
                      <a:pt x="844" y="119"/>
                    </a:moveTo>
                    <a:cubicBezTo>
                      <a:pt x="844" y="119"/>
                      <a:pt x="844" y="119"/>
                      <a:pt x="844" y="118"/>
                    </a:cubicBezTo>
                    <a:cubicBezTo>
                      <a:pt x="844" y="118"/>
                      <a:pt x="844" y="119"/>
                      <a:pt x="844" y="119"/>
                    </a:cubicBezTo>
                    <a:close/>
                    <a:moveTo>
                      <a:pt x="635" y="97"/>
                    </a:moveTo>
                    <a:cubicBezTo>
                      <a:pt x="635" y="97"/>
                      <a:pt x="636" y="97"/>
                      <a:pt x="636" y="96"/>
                    </a:cubicBezTo>
                    <a:cubicBezTo>
                      <a:pt x="636" y="96"/>
                      <a:pt x="635" y="96"/>
                      <a:pt x="635" y="97"/>
                    </a:cubicBezTo>
                    <a:close/>
                    <a:moveTo>
                      <a:pt x="670" y="96"/>
                    </a:moveTo>
                    <a:cubicBezTo>
                      <a:pt x="671" y="97"/>
                      <a:pt x="671" y="97"/>
                      <a:pt x="672" y="97"/>
                    </a:cubicBezTo>
                    <a:cubicBezTo>
                      <a:pt x="671" y="96"/>
                      <a:pt x="671" y="96"/>
                      <a:pt x="670" y="96"/>
                    </a:cubicBezTo>
                    <a:close/>
                    <a:moveTo>
                      <a:pt x="742" y="97"/>
                    </a:moveTo>
                    <a:cubicBezTo>
                      <a:pt x="742" y="97"/>
                      <a:pt x="743" y="97"/>
                      <a:pt x="743" y="96"/>
                    </a:cubicBezTo>
                    <a:cubicBezTo>
                      <a:pt x="743" y="96"/>
                      <a:pt x="742" y="96"/>
                      <a:pt x="742" y="97"/>
                    </a:cubicBezTo>
                    <a:close/>
                    <a:moveTo>
                      <a:pt x="1178" y="194"/>
                    </a:moveTo>
                    <a:cubicBezTo>
                      <a:pt x="1178" y="194"/>
                      <a:pt x="1178" y="194"/>
                      <a:pt x="1178" y="195"/>
                    </a:cubicBezTo>
                    <a:cubicBezTo>
                      <a:pt x="1178" y="195"/>
                      <a:pt x="1178" y="194"/>
                      <a:pt x="1178" y="194"/>
                    </a:cubicBezTo>
                    <a:close/>
                    <a:moveTo>
                      <a:pt x="870" y="97"/>
                    </a:moveTo>
                    <a:cubicBezTo>
                      <a:pt x="870" y="97"/>
                      <a:pt x="871" y="97"/>
                      <a:pt x="871" y="96"/>
                    </a:cubicBezTo>
                    <a:cubicBezTo>
                      <a:pt x="871" y="96"/>
                      <a:pt x="870" y="96"/>
                      <a:pt x="870" y="97"/>
                    </a:cubicBezTo>
                    <a:close/>
                    <a:moveTo>
                      <a:pt x="914" y="96"/>
                    </a:moveTo>
                    <a:cubicBezTo>
                      <a:pt x="914" y="97"/>
                      <a:pt x="915" y="97"/>
                      <a:pt x="915" y="97"/>
                    </a:cubicBezTo>
                    <a:cubicBezTo>
                      <a:pt x="915" y="96"/>
                      <a:pt x="914" y="96"/>
                      <a:pt x="914" y="96"/>
                    </a:cubicBezTo>
                    <a:close/>
                    <a:moveTo>
                      <a:pt x="1592" y="194"/>
                    </a:moveTo>
                    <a:cubicBezTo>
                      <a:pt x="1591" y="194"/>
                      <a:pt x="1591" y="194"/>
                      <a:pt x="1591" y="195"/>
                    </a:cubicBezTo>
                    <a:cubicBezTo>
                      <a:pt x="1592" y="195"/>
                      <a:pt x="1592" y="194"/>
                      <a:pt x="1592" y="194"/>
                    </a:cubicBezTo>
                    <a:close/>
                    <a:moveTo>
                      <a:pt x="1134" y="97"/>
                    </a:moveTo>
                    <a:cubicBezTo>
                      <a:pt x="1135" y="97"/>
                      <a:pt x="1135" y="97"/>
                      <a:pt x="1135" y="96"/>
                    </a:cubicBezTo>
                    <a:cubicBezTo>
                      <a:pt x="1135" y="96"/>
                      <a:pt x="1134" y="96"/>
                      <a:pt x="1134" y="97"/>
                    </a:cubicBezTo>
                    <a:close/>
                    <a:moveTo>
                      <a:pt x="1375" y="97"/>
                    </a:moveTo>
                    <a:cubicBezTo>
                      <a:pt x="1376" y="97"/>
                      <a:pt x="1376" y="97"/>
                      <a:pt x="1377" y="96"/>
                    </a:cubicBezTo>
                    <a:cubicBezTo>
                      <a:pt x="1376" y="96"/>
                      <a:pt x="1376" y="96"/>
                      <a:pt x="1375" y="97"/>
                    </a:cubicBezTo>
                    <a:close/>
                    <a:moveTo>
                      <a:pt x="1414" y="96"/>
                    </a:moveTo>
                    <a:cubicBezTo>
                      <a:pt x="1414" y="97"/>
                      <a:pt x="1415" y="97"/>
                      <a:pt x="1415" y="97"/>
                    </a:cubicBezTo>
                    <a:cubicBezTo>
                      <a:pt x="1415" y="96"/>
                      <a:pt x="1414" y="96"/>
                      <a:pt x="1414" y="96"/>
                    </a:cubicBezTo>
                    <a:close/>
                    <a:moveTo>
                      <a:pt x="1495" y="97"/>
                    </a:moveTo>
                    <a:cubicBezTo>
                      <a:pt x="1496" y="97"/>
                      <a:pt x="1496" y="97"/>
                      <a:pt x="1496" y="96"/>
                    </a:cubicBezTo>
                    <a:cubicBezTo>
                      <a:pt x="1496" y="96"/>
                      <a:pt x="1495" y="96"/>
                      <a:pt x="1495" y="97"/>
                    </a:cubicBezTo>
                    <a:close/>
                    <a:moveTo>
                      <a:pt x="1611" y="98"/>
                    </a:moveTo>
                    <a:cubicBezTo>
                      <a:pt x="1611" y="97"/>
                      <a:pt x="1611" y="97"/>
                      <a:pt x="1611" y="96"/>
                    </a:cubicBezTo>
                    <a:cubicBezTo>
                      <a:pt x="1611" y="97"/>
                      <a:pt x="1611" y="97"/>
                      <a:pt x="1611" y="98"/>
                    </a:cubicBezTo>
                    <a:close/>
                    <a:moveTo>
                      <a:pt x="1704" y="96"/>
                    </a:moveTo>
                    <a:cubicBezTo>
                      <a:pt x="1704" y="97"/>
                      <a:pt x="1705" y="97"/>
                      <a:pt x="1705" y="97"/>
                    </a:cubicBezTo>
                    <a:cubicBezTo>
                      <a:pt x="1705" y="96"/>
                      <a:pt x="1705" y="96"/>
                      <a:pt x="1704" y="96"/>
                    </a:cubicBezTo>
                    <a:close/>
                    <a:moveTo>
                      <a:pt x="527" y="97"/>
                    </a:moveTo>
                    <a:cubicBezTo>
                      <a:pt x="527" y="97"/>
                      <a:pt x="527" y="98"/>
                      <a:pt x="527" y="98"/>
                    </a:cubicBezTo>
                    <a:cubicBezTo>
                      <a:pt x="527" y="98"/>
                      <a:pt x="527" y="97"/>
                      <a:pt x="527" y="97"/>
                    </a:cubicBezTo>
                    <a:close/>
                    <a:moveTo>
                      <a:pt x="634" y="98"/>
                    </a:moveTo>
                    <a:cubicBezTo>
                      <a:pt x="634" y="98"/>
                      <a:pt x="635" y="97"/>
                      <a:pt x="635" y="97"/>
                    </a:cubicBezTo>
                    <a:cubicBezTo>
                      <a:pt x="634" y="97"/>
                      <a:pt x="634" y="97"/>
                      <a:pt x="634" y="98"/>
                    </a:cubicBezTo>
                    <a:close/>
                    <a:moveTo>
                      <a:pt x="499" y="195"/>
                    </a:moveTo>
                    <a:cubicBezTo>
                      <a:pt x="499" y="195"/>
                      <a:pt x="499" y="195"/>
                      <a:pt x="499" y="196"/>
                    </a:cubicBezTo>
                    <a:cubicBezTo>
                      <a:pt x="499" y="196"/>
                      <a:pt x="499" y="195"/>
                      <a:pt x="499" y="195"/>
                    </a:cubicBezTo>
                    <a:close/>
                    <a:moveTo>
                      <a:pt x="672" y="97"/>
                    </a:moveTo>
                    <a:cubicBezTo>
                      <a:pt x="672" y="97"/>
                      <a:pt x="672" y="97"/>
                      <a:pt x="673" y="97"/>
                    </a:cubicBezTo>
                    <a:cubicBezTo>
                      <a:pt x="673" y="97"/>
                      <a:pt x="672" y="97"/>
                      <a:pt x="672" y="97"/>
                    </a:cubicBezTo>
                    <a:close/>
                    <a:moveTo>
                      <a:pt x="1564" y="196"/>
                    </a:moveTo>
                    <a:cubicBezTo>
                      <a:pt x="1564" y="195"/>
                      <a:pt x="1564" y="195"/>
                      <a:pt x="1564" y="195"/>
                    </a:cubicBezTo>
                    <a:cubicBezTo>
                      <a:pt x="1564" y="195"/>
                      <a:pt x="1564" y="196"/>
                      <a:pt x="1564" y="196"/>
                    </a:cubicBezTo>
                    <a:close/>
                    <a:moveTo>
                      <a:pt x="741" y="97"/>
                    </a:moveTo>
                    <a:cubicBezTo>
                      <a:pt x="741" y="97"/>
                      <a:pt x="742" y="97"/>
                      <a:pt x="742" y="97"/>
                    </a:cubicBezTo>
                    <a:cubicBezTo>
                      <a:pt x="741" y="97"/>
                      <a:pt x="741" y="97"/>
                      <a:pt x="741" y="97"/>
                    </a:cubicBezTo>
                    <a:close/>
                    <a:moveTo>
                      <a:pt x="868" y="98"/>
                    </a:moveTo>
                    <a:cubicBezTo>
                      <a:pt x="869" y="98"/>
                      <a:pt x="869" y="97"/>
                      <a:pt x="869" y="97"/>
                    </a:cubicBezTo>
                    <a:cubicBezTo>
                      <a:pt x="869" y="97"/>
                      <a:pt x="868" y="97"/>
                      <a:pt x="868" y="98"/>
                    </a:cubicBezTo>
                    <a:close/>
                    <a:moveTo>
                      <a:pt x="915" y="97"/>
                    </a:moveTo>
                    <a:cubicBezTo>
                      <a:pt x="916" y="97"/>
                      <a:pt x="916" y="97"/>
                      <a:pt x="916" y="97"/>
                    </a:cubicBezTo>
                    <a:cubicBezTo>
                      <a:pt x="916" y="97"/>
                      <a:pt x="916" y="97"/>
                      <a:pt x="915" y="97"/>
                    </a:cubicBezTo>
                    <a:close/>
                    <a:moveTo>
                      <a:pt x="1591" y="195"/>
                    </a:moveTo>
                    <a:cubicBezTo>
                      <a:pt x="1591" y="196"/>
                      <a:pt x="1591" y="196"/>
                      <a:pt x="1591" y="197"/>
                    </a:cubicBezTo>
                    <a:cubicBezTo>
                      <a:pt x="1591" y="196"/>
                      <a:pt x="1591" y="196"/>
                      <a:pt x="1591" y="195"/>
                    </a:cubicBezTo>
                    <a:close/>
                    <a:moveTo>
                      <a:pt x="471" y="197"/>
                    </a:moveTo>
                    <a:cubicBezTo>
                      <a:pt x="471" y="197"/>
                      <a:pt x="471" y="196"/>
                      <a:pt x="471" y="196"/>
                    </a:cubicBezTo>
                    <a:cubicBezTo>
                      <a:pt x="471" y="196"/>
                      <a:pt x="471" y="197"/>
                      <a:pt x="471" y="197"/>
                    </a:cubicBezTo>
                    <a:close/>
                    <a:moveTo>
                      <a:pt x="1133" y="98"/>
                    </a:moveTo>
                    <a:cubicBezTo>
                      <a:pt x="1133" y="98"/>
                      <a:pt x="1134" y="97"/>
                      <a:pt x="1134" y="97"/>
                    </a:cubicBezTo>
                    <a:cubicBezTo>
                      <a:pt x="1134" y="97"/>
                      <a:pt x="1133" y="97"/>
                      <a:pt x="1133" y="98"/>
                    </a:cubicBezTo>
                    <a:close/>
                    <a:moveTo>
                      <a:pt x="1175" y="97"/>
                    </a:moveTo>
                    <a:cubicBezTo>
                      <a:pt x="1175" y="97"/>
                      <a:pt x="1176" y="97"/>
                      <a:pt x="1176" y="97"/>
                    </a:cubicBezTo>
                    <a:cubicBezTo>
                      <a:pt x="1176" y="97"/>
                      <a:pt x="1175" y="97"/>
                      <a:pt x="1175" y="97"/>
                    </a:cubicBezTo>
                    <a:close/>
                    <a:moveTo>
                      <a:pt x="1374" y="97"/>
                    </a:moveTo>
                    <a:cubicBezTo>
                      <a:pt x="1375" y="97"/>
                      <a:pt x="1375" y="97"/>
                      <a:pt x="1375" y="97"/>
                    </a:cubicBezTo>
                    <a:cubicBezTo>
                      <a:pt x="1375" y="97"/>
                      <a:pt x="1374" y="97"/>
                      <a:pt x="1374" y="97"/>
                    </a:cubicBezTo>
                    <a:close/>
                    <a:moveTo>
                      <a:pt x="1415" y="97"/>
                    </a:moveTo>
                    <a:cubicBezTo>
                      <a:pt x="1415" y="97"/>
                      <a:pt x="1416" y="98"/>
                      <a:pt x="1416" y="97"/>
                    </a:cubicBezTo>
                    <a:cubicBezTo>
                      <a:pt x="1416" y="97"/>
                      <a:pt x="1416" y="97"/>
                      <a:pt x="1415" y="97"/>
                    </a:cubicBezTo>
                    <a:close/>
                    <a:moveTo>
                      <a:pt x="1494" y="98"/>
                    </a:moveTo>
                    <a:cubicBezTo>
                      <a:pt x="1495" y="98"/>
                      <a:pt x="1495" y="97"/>
                      <a:pt x="1495" y="97"/>
                    </a:cubicBezTo>
                    <a:cubicBezTo>
                      <a:pt x="1495" y="97"/>
                      <a:pt x="1494" y="97"/>
                      <a:pt x="1494" y="98"/>
                    </a:cubicBezTo>
                    <a:close/>
                    <a:moveTo>
                      <a:pt x="983" y="198"/>
                    </a:moveTo>
                    <a:cubicBezTo>
                      <a:pt x="983" y="197"/>
                      <a:pt x="983" y="197"/>
                      <a:pt x="982" y="196"/>
                    </a:cubicBezTo>
                    <a:cubicBezTo>
                      <a:pt x="982" y="197"/>
                      <a:pt x="982" y="197"/>
                      <a:pt x="983" y="198"/>
                    </a:cubicBezTo>
                    <a:close/>
                    <a:moveTo>
                      <a:pt x="1630" y="97"/>
                    </a:moveTo>
                    <a:cubicBezTo>
                      <a:pt x="1630" y="97"/>
                      <a:pt x="1630" y="98"/>
                      <a:pt x="1630" y="98"/>
                    </a:cubicBezTo>
                    <a:cubicBezTo>
                      <a:pt x="1630" y="98"/>
                      <a:pt x="1630" y="97"/>
                      <a:pt x="1630" y="97"/>
                    </a:cubicBezTo>
                    <a:close/>
                    <a:moveTo>
                      <a:pt x="1078" y="196"/>
                    </a:moveTo>
                    <a:cubicBezTo>
                      <a:pt x="1077" y="197"/>
                      <a:pt x="1077" y="197"/>
                      <a:pt x="1077" y="198"/>
                    </a:cubicBezTo>
                    <a:cubicBezTo>
                      <a:pt x="1078" y="197"/>
                      <a:pt x="1078" y="197"/>
                      <a:pt x="1078" y="196"/>
                    </a:cubicBezTo>
                    <a:close/>
                    <a:moveTo>
                      <a:pt x="1591" y="196"/>
                    </a:moveTo>
                    <a:cubicBezTo>
                      <a:pt x="1590" y="197"/>
                      <a:pt x="1590" y="197"/>
                      <a:pt x="1590" y="198"/>
                    </a:cubicBezTo>
                    <a:cubicBezTo>
                      <a:pt x="1591" y="197"/>
                      <a:pt x="1591" y="197"/>
                      <a:pt x="1591" y="196"/>
                    </a:cubicBezTo>
                    <a:close/>
                    <a:moveTo>
                      <a:pt x="1664" y="98"/>
                    </a:moveTo>
                    <a:cubicBezTo>
                      <a:pt x="1665" y="98"/>
                      <a:pt x="1665" y="97"/>
                      <a:pt x="1666" y="97"/>
                    </a:cubicBezTo>
                    <a:cubicBezTo>
                      <a:pt x="1665" y="97"/>
                      <a:pt x="1665" y="97"/>
                      <a:pt x="1664" y="98"/>
                    </a:cubicBezTo>
                    <a:close/>
                    <a:moveTo>
                      <a:pt x="1705" y="97"/>
                    </a:moveTo>
                    <a:cubicBezTo>
                      <a:pt x="1706" y="97"/>
                      <a:pt x="1706" y="97"/>
                      <a:pt x="1706" y="97"/>
                    </a:cubicBezTo>
                    <a:cubicBezTo>
                      <a:pt x="1706" y="97"/>
                      <a:pt x="1706" y="97"/>
                      <a:pt x="1705" y="97"/>
                    </a:cubicBezTo>
                    <a:close/>
                    <a:moveTo>
                      <a:pt x="633" y="98"/>
                    </a:moveTo>
                    <a:cubicBezTo>
                      <a:pt x="633" y="98"/>
                      <a:pt x="633" y="98"/>
                      <a:pt x="634" y="98"/>
                    </a:cubicBezTo>
                    <a:cubicBezTo>
                      <a:pt x="633" y="97"/>
                      <a:pt x="633" y="98"/>
                      <a:pt x="633" y="98"/>
                    </a:cubicBezTo>
                    <a:close/>
                    <a:moveTo>
                      <a:pt x="673" y="97"/>
                    </a:moveTo>
                    <a:cubicBezTo>
                      <a:pt x="673" y="98"/>
                      <a:pt x="673" y="98"/>
                      <a:pt x="674" y="98"/>
                    </a:cubicBezTo>
                    <a:cubicBezTo>
                      <a:pt x="674" y="98"/>
                      <a:pt x="673" y="97"/>
                      <a:pt x="673" y="97"/>
                    </a:cubicBezTo>
                    <a:close/>
                    <a:moveTo>
                      <a:pt x="867" y="98"/>
                    </a:moveTo>
                    <a:cubicBezTo>
                      <a:pt x="867" y="98"/>
                      <a:pt x="868" y="98"/>
                      <a:pt x="868" y="98"/>
                    </a:cubicBezTo>
                    <a:cubicBezTo>
                      <a:pt x="868" y="97"/>
                      <a:pt x="867" y="98"/>
                      <a:pt x="867" y="98"/>
                    </a:cubicBezTo>
                    <a:close/>
                    <a:moveTo>
                      <a:pt x="1565" y="199"/>
                    </a:moveTo>
                    <a:cubicBezTo>
                      <a:pt x="1565" y="198"/>
                      <a:pt x="1565" y="198"/>
                      <a:pt x="1565" y="198"/>
                    </a:cubicBezTo>
                    <a:cubicBezTo>
                      <a:pt x="1565" y="198"/>
                      <a:pt x="1565" y="199"/>
                      <a:pt x="1565" y="199"/>
                    </a:cubicBezTo>
                    <a:close/>
                    <a:moveTo>
                      <a:pt x="917" y="98"/>
                    </a:moveTo>
                    <a:cubicBezTo>
                      <a:pt x="917" y="98"/>
                      <a:pt x="918" y="98"/>
                      <a:pt x="918" y="98"/>
                    </a:cubicBezTo>
                    <a:cubicBezTo>
                      <a:pt x="918" y="98"/>
                      <a:pt x="917" y="97"/>
                      <a:pt x="917" y="98"/>
                    </a:cubicBezTo>
                    <a:close/>
                    <a:moveTo>
                      <a:pt x="1132" y="98"/>
                    </a:moveTo>
                    <a:cubicBezTo>
                      <a:pt x="1132" y="98"/>
                      <a:pt x="1133" y="98"/>
                      <a:pt x="1133" y="98"/>
                    </a:cubicBezTo>
                    <a:cubicBezTo>
                      <a:pt x="1132" y="97"/>
                      <a:pt x="1132" y="98"/>
                      <a:pt x="1132" y="98"/>
                    </a:cubicBezTo>
                    <a:close/>
                    <a:moveTo>
                      <a:pt x="1176" y="97"/>
                    </a:moveTo>
                    <a:cubicBezTo>
                      <a:pt x="1176" y="98"/>
                      <a:pt x="1177" y="98"/>
                      <a:pt x="1177" y="98"/>
                    </a:cubicBezTo>
                    <a:cubicBezTo>
                      <a:pt x="1177" y="98"/>
                      <a:pt x="1177" y="97"/>
                      <a:pt x="1176" y="97"/>
                    </a:cubicBezTo>
                    <a:close/>
                    <a:moveTo>
                      <a:pt x="1590" y="198"/>
                    </a:moveTo>
                    <a:cubicBezTo>
                      <a:pt x="1590" y="198"/>
                      <a:pt x="1590" y="199"/>
                      <a:pt x="1590" y="199"/>
                    </a:cubicBezTo>
                    <a:cubicBezTo>
                      <a:pt x="1590" y="199"/>
                      <a:pt x="1590" y="199"/>
                      <a:pt x="1590" y="198"/>
                    </a:cubicBezTo>
                    <a:close/>
                    <a:moveTo>
                      <a:pt x="381" y="200"/>
                    </a:moveTo>
                    <a:cubicBezTo>
                      <a:pt x="381" y="199"/>
                      <a:pt x="381" y="199"/>
                      <a:pt x="380" y="199"/>
                    </a:cubicBezTo>
                    <a:cubicBezTo>
                      <a:pt x="380" y="199"/>
                      <a:pt x="380" y="200"/>
                      <a:pt x="381" y="200"/>
                    </a:cubicBezTo>
                    <a:close/>
                    <a:moveTo>
                      <a:pt x="498" y="199"/>
                    </a:moveTo>
                    <a:cubicBezTo>
                      <a:pt x="498" y="199"/>
                      <a:pt x="498" y="199"/>
                      <a:pt x="498" y="200"/>
                    </a:cubicBezTo>
                    <a:cubicBezTo>
                      <a:pt x="498" y="200"/>
                      <a:pt x="498" y="199"/>
                      <a:pt x="498" y="199"/>
                    </a:cubicBezTo>
                    <a:close/>
                    <a:moveTo>
                      <a:pt x="1373" y="98"/>
                    </a:moveTo>
                    <a:cubicBezTo>
                      <a:pt x="1374" y="98"/>
                      <a:pt x="1374" y="98"/>
                      <a:pt x="1374" y="97"/>
                    </a:cubicBezTo>
                    <a:cubicBezTo>
                      <a:pt x="1374" y="97"/>
                      <a:pt x="1373" y="98"/>
                      <a:pt x="1373" y="98"/>
                    </a:cubicBezTo>
                    <a:close/>
                    <a:moveTo>
                      <a:pt x="1416" y="97"/>
                    </a:moveTo>
                    <a:cubicBezTo>
                      <a:pt x="1417" y="98"/>
                      <a:pt x="1417" y="98"/>
                      <a:pt x="1417" y="98"/>
                    </a:cubicBezTo>
                    <a:cubicBezTo>
                      <a:pt x="1417" y="98"/>
                      <a:pt x="1417" y="97"/>
                      <a:pt x="1416" y="97"/>
                    </a:cubicBezTo>
                    <a:close/>
                    <a:moveTo>
                      <a:pt x="1527" y="99"/>
                    </a:moveTo>
                    <a:cubicBezTo>
                      <a:pt x="1527" y="98"/>
                      <a:pt x="1527" y="98"/>
                      <a:pt x="1527" y="97"/>
                    </a:cubicBezTo>
                    <a:cubicBezTo>
                      <a:pt x="1527" y="98"/>
                      <a:pt x="1527" y="98"/>
                      <a:pt x="1527" y="99"/>
                    </a:cubicBezTo>
                    <a:close/>
                    <a:moveTo>
                      <a:pt x="1663" y="98"/>
                    </a:moveTo>
                    <a:cubicBezTo>
                      <a:pt x="1664" y="98"/>
                      <a:pt x="1664" y="98"/>
                      <a:pt x="1664" y="98"/>
                    </a:cubicBezTo>
                    <a:cubicBezTo>
                      <a:pt x="1664" y="97"/>
                      <a:pt x="1664" y="98"/>
                      <a:pt x="1663" y="98"/>
                    </a:cubicBezTo>
                    <a:close/>
                    <a:moveTo>
                      <a:pt x="1006" y="199"/>
                    </a:moveTo>
                    <a:cubicBezTo>
                      <a:pt x="1006" y="199"/>
                      <a:pt x="1006" y="200"/>
                      <a:pt x="1006" y="201"/>
                    </a:cubicBezTo>
                    <a:cubicBezTo>
                      <a:pt x="1006" y="200"/>
                      <a:pt x="1006" y="200"/>
                      <a:pt x="1006" y="199"/>
                    </a:cubicBezTo>
                    <a:close/>
                    <a:moveTo>
                      <a:pt x="1433" y="199"/>
                    </a:moveTo>
                    <a:cubicBezTo>
                      <a:pt x="1432" y="199"/>
                      <a:pt x="1432" y="200"/>
                      <a:pt x="1432" y="200"/>
                    </a:cubicBezTo>
                    <a:cubicBezTo>
                      <a:pt x="1432" y="200"/>
                      <a:pt x="1433" y="200"/>
                      <a:pt x="1433" y="199"/>
                    </a:cubicBezTo>
                    <a:close/>
                    <a:moveTo>
                      <a:pt x="1566" y="201"/>
                    </a:moveTo>
                    <a:cubicBezTo>
                      <a:pt x="1566" y="200"/>
                      <a:pt x="1566" y="200"/>
                      <a:pt x="1565" y="199"/>
                    </a:cubicBezTo>
                    <a:cubicBezTo>
                      <a:pt x="1565" y="200"/>
                      <a:pt x="1565" y="200"/>
                      <a:pt x="1566" y="201"/>
                    </a:cubicBezTo>
                    <a:close/>
                    <a:moveTo>
                      <a:pt x="1590" y="199"/>
                    </a:moveTo>
                    <a:cubicBezTo>
                      <a:pt x="1589" y="200"/>
                      <a:pt x="1589" y="200"/>
                      <a:pt x="1589" y="201"/>
                    </a:cubicBezTo>
                    <a:cubicBezTo>
                      <a:pt x="1590" y="200"/>
                      <a:pt x="1590" y="200"/>
                      <a:pt x="1590" y="199"/>
                    </a:cubicBezTo>
                    <a:close/>
                    <a:moveTo>
                      <a:pt x="472" y="201"/>
                    </a:moveTo>
                    <a:cubicBezTo>
                      <a:pt x="472" y="201"/>
                      <a:pt x="472" y="200"/>
                      <a:pt x="472" y="200"/>
                    </a:cubicBezTo>
                    <a:cubicBezTo>
                      <a:pt x="472" y="200"/>
                      <a:pt x="472" y="201"/>
                      <a:pt x="472" y="201"/>
                    </a:cubicBezTo>
                    <a:close/>
                    <a:moveTo>
                      <a:pt x="1784" y="98"/>
                    </a:moveTo>
                    <a:cubicBezTo>
                      <a:pt x="1784" y="98"/>
                      <a:pt x="1785" y="98"/>
                      <a:pt x="1785" y="97"/>
                    </a:cubicBezTo>
                    <a:cubicBezTo>
                      <a:pt x="1784" y="97"/>
                      <a:pt x="1784" y="98"/>
                      <a:pt x="1784" y="98"/>
                    </a:cubicBezTo>
                    <a:close/>
                    <a:moveTo>
                      <a:pt x="783" y="98"/>
                    </a:moveTo>
                    <a:cubicBezTo>
                      <a:pt x="783" y="98"/>
                      <a:pt x="783" y="99"/>
                      <a:pt x="784" y="99"/>
                    </a:cubicBezTo>
                    <a:cubicBezTo>
                      <a:pt x="784" y="98"/>
                      <a:pt x="783" y="98"/>
                      <a:pt x="783" y="98"/>
                    </a:cubicBezTo>
                    <a:close/>
                    <a:moveTo>
                      <a:pt x="866" y="99"/>
                    </a:moveTo>
                    <a:cubicBezTo>
                      <a:pt x="866" y="99"/>
                      <a:pt x="867" y="98"/>
                      <a:pt x="867" y="98"/>
                    </a:cubicBezTo>
                    <a:cubicBezTo>
                      <a:pt x="866" y="98"/>
                      <a:pt x="866" y="98"/>
                      <a:pt x="866" y="99"/>
                    </a:cubicBezTo>
                    <a:close/>
                    <a:moveTo>
                      <a:pt x="918" y="98"/>
                    </a:moveTo>
                    <a:cubicBezTo>
                      <a:pt x="918" y="99"/>
                      <a:pt x="919" y="99"/>
                      <a:pt x="919" y="99"/>
                    </a:cubicBezTo>
                    <a:cubicBezTo>
                      <a:pt x="919" y="98"/>
                      <a:pt x="919" y="98"/>
                      <a:pt x="918" y="98"/>
                    </a:cubicBezTo>
                    <a:close/>
                    <a:moveTo>
                      <a:pt x="1131" y="99"/>
                    </a:moveTo>
                    <a:cubicBezTo>
                      <a:pt x="1131" y="99"/>
                      <a:pt x="1132" y="99"/>
                      <a:pt x="1132" y="98"/>
                    </a:cubicBezTo>
                    <a:cubicBezTo>
                      <a:pt x="1131" y="98"/>
                      <a:pt x="1131" y="98"/>
                      <a:pt x="1131" y="99"/>
                    </a:cubicBezTo>
                    <a:close/>
                    <a:moveTo>
                      <a:pt x="1363" y="201"/>
                    </a:moveTo>
                    <a:cubicBezTo>
                      <a:pt x="1363" y="200"/>
                      <a:pt x="1363" y="200"/>
                      <a:pt x="1362" y="200"/>
                    </a:cubicBezTo>
                    <a:cubicBezTo>
                      <a:pt x="1362" y="200"/>
                      <a:pt x="1363" y="201"/>
                      <a:pt x="1363" y="201"/>
                    </a:cubicBezTo>
                    <a:close/>
                    <a:moveTo>
                      <a:pt x="1722" y="200"/>
                    </a:moveTo>
                    <a:cubicBezTo>
                      <a:pt x="1722" y="200"/>
                      <a:pt x="1722" y="200"/>
                      <a:pt x="1721" y="201"/>
                    </a:cubicBezTo>
                    <a:cubicBezTo>
                      <a:pt x="1722" y="201"/>
                      <a:pt x="1722" y="200"/>
                      <a:pt x="1722" y="200"/>
                    </a:cubicBezTo>
                    <a:close/>
                    <a:moveTo>
                      <a:pt x="1372" y="99"/>
                    </a:moveTo>
                    <a:cubicBezTo>
                      <a:pt x="1372" y="99"/>
                      <a:pt x="1373" y="98"/>
                      <a:pt x="1373" y="98"/>
                    </a:cubicBezTo>
                    <a:cubicBezTo>
                      <a:pt x="1373" y="98"/>
                      <a:pt x="1372" y="98"/>
                      <a:pt x="1372" y="99"/>
                    </a:cubicBezTo>
                    <a:close/>
                    <a:moveTo>
                      <a:pt x="1417" y="98"/>
                    </a:moveTo>
                    <a:cubicBezTo>
                      <a:pt x="1418" y="99"/>
                      <a:pt x="1418" y="99"/>
                      <a:pt x="1419" y="99"/>
                    </a:cubicBezTo>
                    <a:cubicBezTo>
                      <a:pt x="1418" y="98"/>
                      <a:pt x="1418" y="98"/>
                      <a:pt x="1417" y="98"/>
                    </a:cubicBezTo>
                    <a:close/>
                    <a:moveTo>
                      <a:pt x="1492" y="99"/>
                    </a:moveTo>
                    <a:cubicBezTo>
                      <a:pt x="1493" y="99"/>
                      <a:pt x="1493" y="98"/>
                      <a:pt x="1493" y="98"/>
                    </a:cubicBezTo>
                    <a:cubicBezTo>
                      <a:pt x="1493" y="98"/>
                      <a:pt x="1492" y="98"/>
                      <a:pt x="1492" y="99"/>
                    </a:cubicBezTo>
                    <a:close/>
                    <a:moveTo>
                      <a:pt x="1431" y="200"/>
                    </a:moveTo>
                    <a:cubicBezTo>
                      <a:pt x="1431" y="200"/>
                      <a:pt x="1430" y="201"/>
                      <a:pt x="1430" y="201"/>
                    </a:cubicBezTo>
                    <a:cubicBezTo>
                      <a:pt x="1431" y="201"/>
                      <a:pt x="1431" y="201"/>
                      <a:pt x="1431" y="200"/>
                    </a:cubicBezTo>
                    <a:close/>
                    <a:moveTo>
                      <a:pt x="1610" y="99"/>
                    </a:moveTo>
                    <a:cubicBezTo>
                      <a:pt x="1611" y="99"/>
                      <a:pt x="1611" y="99"/>
                      <a:pt x="1611" y="98"/>
                    </a:cubicBezTo>
                    <a:cubicBezTo>
                      <a:pt x="1610" y="98"/>
                      <a:pt x="1610" y="99"/>
                      <a:pt x="1610" y="99"/>
                    </a:cubicBezTo>
                    <a:close/>
                    <a:moveTo>
                      <a:pt x="1662" y="99"/>
                    </a:moveTo>
                    <a:cubicBezTo>
                      <a:pt x="1663" y="99"/>
                      <a:pt x="1663" y="99"/>
                      <a:pt x="1663" y="98"/>
                    </a:cubicBezTo>
                    <a:cubicBezTo>
                      <a:pt x="1663" y="98"/>
                      <a:pt x="1662" y="98"/>
                      <a:pt x="1662" y="99"/>
                    </a:cubicBezTo>
                    <a:close/>
                    <a:moveTo>
                      <a:pt x="1708" y="98"/>
                    </a:moveTo>
                    <a:cubicBezTo>
                      <a:pt x="1708" y="98"/>
                      <a:pt x="1708" y="99"/>
                      <a:pt x="1709" y="99"/>
                    </a:cubicBezTo>
                    <a:cubicBezTo>
                      <a:pt x="1709" y="98"/>
                      <a:pt x="1708" y="98"/>
                      <a:pt x="1708" y="98"/>
                    </a:cubicBezTo>
                    <a:close/>
                    <a:moveTo>
                      <a:pt x="923" y="201"/>
                    </a:moveTo>
                    <a:cubicBezTo>
                      <a:pt x="922" y="201"/>
                      <a:pt x="922" y="201"/>
                      <a:pt x="922" y="202"/>
                    </a:cubicBezTo>
                    <a:cubicBezTo>
                      <a:pt x="922" y="202"/>
                      <a:pt x="922" y="202"/>
                      <a:pt x="923" y="201"/>
                    </a:cubicBezTo>
                    <a:close/>
                    <a:moveTo>
                      <a:pt x="1006" y="201"/>
                    </a:moveTo>
                    <a:cubicBezTo>
                      <a:pt x="1005" y="201"/>
                      <a:pt x="1005" y="202"/>
                      <a:pt x="1005" y="202"/>
                    </a:cubicBezTo>
                    <a:cubicBezTo>
                      <a:pt x="1006" y="202"/>
                      <a:pt x="1006" y="201"/>
                      <a:pt x="1006" y="201"/>
                    </a:cubicBezTo>
                    <a:close/>
                    <a:moveTo>
                      <a:pt x="631" y="99"/>
                    </a:moveTo>
                    <a:cubicBezTo>
                      <a:pt x="631" y="99"/>
                      <a:pt x="632" y="99"/>
                      <a:pt x="632" y="99"/>
                    </a:cubicBezTo>
                    <a:cubicBezTo>
                      <a:pt x="631" y="99"/>
                      <a:pt x="631" y="99"/>
                      <a:pt x="631" y="99"/>
                    </a:cubicBezTo>
                    <a:close/>
                    <a:moveTo>
                      <a:pt x="1589" y="201"/>
                    </a:moveTo>
                    <a:cubicBezTo>
                      <a:pt x="1588" y="201"/>
                      <a:pt x="1588" y="202"/>
                      <a:pt x="1588" y="202"/>
                    </a:cubicBezTo>
                    <a:cubicBezTo>
                      <a:pt x="1589" y="202"/>
                      <a:pt x="1589" y="201"/>
                      <a:pt x="1589" y="201"/>
                    </a:cubicBezTo>
                    <a:close/>
                    <a:moveTo>
                      <a:pt x="1655" y="202"/>
                    </a:moveTo>
                    <a:cubicBezTo>
                      <a:pt x="1655" y="201"/>
                      <a:pt x="1655" y="201"/>
                      <a:pt x="1654" y="201"/>
                    </a:cubicBezTo>
                    <a:cubicBezTo>
                      <a:pt x="1654" y="202"/>
                      <a:pt x="1655" y="202"/>
                      <a:pt x="1655" y="202"/>
                    </a:cubicBezTo>
                    <a:close/>
                    <a:moveTo>
                      <a:pt x="1721" y="201"/>
                    </a:moveTo>
                    <a:cubicBezTo>
                      <a:pt x="1720" y="201"/>
                      <a:pt x="1720" y="201"/>
                      <a:pt x="1720" y="202"/>
                    </a:cubicBezTo>
                    <a:cubicBezTo>
                      <a:pt x="1720" y="202"/>
                      <a:pt x="1721" y="202"/>
                      <a:pt x="1721" y="201"/>
                    </a:cubicBezTo>
                    <a:close/>
                    <a:moveTo>
                      <a:pt x="675" y="99"/>
                    </a:moveTo>
                    <a:cubicBezTo>
                      <a:pt x="675" y="99"/>
                      <a:pt x="675" y="99"/>
                      <a:pt x="676" y="99"/>
                    </a:cubicBezTo>
                    <a:cubicBezTo>
                      <a:pt x="675" y="99"/>
                      <a:pt x="675" y="99"/>
                      <a:pt x="675" y="99"/>
                    </a:cubicBezTo>
                    <a:close/>
                    <a:moveTo>
                      <a:pt x="731" y="202"/>
                    </a:moveTo>
                    <a:cubicBezTo>
                      <a:pt x="731" y="202"/>
                      <a:pt x="731" y="202"/>
                      <a:pt x="730" y="202"/>
                    </a:cubicBezTo>
                    <a:cubicBezTo>
                      <a:pt x="731" y="202"/>
                      <a:pt x="731" y="202"/>
                      <a:pt x="731" y="202"/>
                    </a:cubicBezTo>
                    <a:close/>
                    <a:moveTo>
                      <a:pt x="784" y="202"/>
                    </a:moveTo>
                    <a:cubicBezTo>
                      <a:pt x="784" y="202"/>
                      <a:pt x="784" y="202"/>
                      <a:pt x="783" y="202"/>
                    </a:cubicBezTo>
                    <a:cubicBezTo>
                      <a:pt x="784" y="202"/>
                      <a:pt x="784" y="202"/>
                      <a:pt x="784" y="202"/>
                    </a:cubicBezTo>
                    <a:close/>
                    <a:moveTo>
                      <a:pt x="1245" y="202"/>
                    </a:moveTo>
                    <a:cubicBezTo>
                      <a:pt x="1244" y="202"/>
                      <a:pt x="1244" y="202"/>
                      <a:pt x="1244" y="202"/>
                    </a:cubicBezTo>
                    <a:cubicBezTo>
                      <a:pt x="1244" y="202"/>
                      <a:pt x="1244" y="202"/>
                      <a:pt x="1245" y="202"/>
                    </a:cubicBezTo>
                    <a:close/>
                    <a:moveTo>
                      <a:pt x="1366" y="202"/>
                    </a:moveTo>
                    <a:cubicBezTo>
                      <a:pt x="1365" y="202"/>
                      <a:pt x="1365" y="202"/>
                      <a:pt x="1365" y="202"/>
                    </a:cubicBezTo>
                    <a:cubicBezTo>
                      <a:pt x="1365" y="202"/>
                      <a:pt x="1365" y="202"/>
                      <a:pt x="1366" y="202"/>
                    </a:cubicBezTo>
                    <a:close/>
                    <a:moveTo>
                      <a:pt x="1429" y="202"/>
                    </a:moveTo>
                    <a:cubicBezTo>
                      <a:pt x="1429" y="202"/>
                      <a:pt x="1429" y="202"/>
                      <a:pt x="1428" y="202"/>
                    </a:cubicBezTo>
                    <a:cubicBezTo>
                      <a:pt x="1429" y="202"/>
                      <a:pt x="1429" y="202"/>
                      <a:pt x="1429" y="202"/>
                    </a:cubicBezTo>
                    <a:close/>
                    <a:moveTo>
                      <a:pt x="1720" y="202"/>
                    </a:moveTo>
                    <a:cubicBezTo>
                      <a:pt x="1719" y="202"/>
                      <a:pt x="1719" y="202"/>
                      <a:pt x="1719" y="202"/>
                    </a:cubicBezTo>
                    <a:cubicBezTo>
                      <a:pt x="1719" y="202"/>
                      <a:pt x="1719" y="202"/>
                      <a:pt x="1720" y="202"/>
                    </a:cubicBezTo>
                    <a:close/>
                    <a:moveTo>
                      <a:pt x="862" y="203"/>
                    </a:moveTo>
                    <a:cubicBezTo>
                      <a:pt x="861" y="202"/>
                      <a:pt x="861" y="202"/>
                      <a:pt x="861" y="202"/>
                    </a:cubicBezTo>
                    <a:cubicBezTo>
                      <a:pt x="861" y="203"/>
                      <a:pt x="861" y="203"/>
                      <a:pt x="862" y="203"/>
                    </a:cubicBezTo>
                    <a:close/>
                    <a:moveTo>
                      <a:pt x="921" y="202"/>
                    </a:moveTo>
                    <a:cubicBezTo>
                      <a:pt x="920" y="202"/>
                      <a:pt x="920" y="202"/>
                      <a:pt x="920" y="203"/>
                    </a:cubicBezTo>
                    <a:cubicBezTo>
                      <a:pt x="920" y="203"/>
                      <a:pt x="921" y="203"/>
                      <a:pt x="921" y="202"/>
                    </a:cubicBezTo>
                    <a:close/>
                    <a:moveTo>
                      <a:pt x="984" y="203"/>
                    </a:moveTo>
                    <a:cubicBezTo>
                      <a:pt x="984" y="203"/>
                      <a:pt x="984" y="202"/>
                      <a:pt x="984" y="202"/>
                    </a:cubicBezTo>
                    <a:cubicBezTo>
                      <a:pt x="984" y="203"/>
                      <a:pt x="984" y="203"/>
                      <a:pt x="984" y="203"/>
                    </a:cubicBezTo>
                    <a:close/>
                    <a:moveTo>
                      <a:pt x="1076" y="202"/>
                    </a:moveTo>
                    <a:cubicBezTo>
                      <a:pt x="1075" y="202"/>
                      <a:pt x="1075" y="203"/>
                      <a:pt x="1075" y="203"/>
                    </a:cubicBezTo>
                    <a:cubicBezTo>
                      <a:pt x="1076" y="203"/>
                      <a:pt x="1076" y="203"/>
                      <a:pt x="1076" y="202"/>
                    </a:cubicBezTo>
                    <a:close/>
                    <a:moveTo>
                      <a:pt x="1170" y="202"/>
                    </a:moveTo>
                    <a:cubicBezTo>
                      <a:pt x="1170" y="202"/>
                      <a:pt x="1169" y="202"/>
                      <a:pt x="1169" y="203"/>
                    </a:cubicBezTo>
                    <a:cubicBezTo>
                      <a:pt x="1170" y="203"/>
                      <a:pt x="1170" y="203"/>
                      <a:pt x="1170" y="202"/>
                    </a:cubicBezTo>
                    <a:close/>
                    <a:moveTo>
                      <a:pt x="1246" y="203"/>
                    </a:moveTo>
                    <a:cubicBezTo>
                      <a:pt x="1245" y="202"/>
                      <a:pt x="1245" y="202"/>
                      <a:pt x="1245" y="202"/>
                    </a:cubicBezTo>
                    <a:cubicBezTo>
                      <a:pt x="1245" y="203"/>
                      <a:pt x="1245" y="203"/>
                      <a:pt x="1246" y="203"/>
                    </a:cubicBezTo>
                    <a:close/>
                    <a:moveTo>
                      <a:pt x="1311" y="202"/>
                    </a:moveTo>
                    <a:cubicBezTo>
                      <a:pt x="1310" y="202"/>
                      <a:pt x="1310" y="202"/>
                      <a:pt x="1310" y="203"/>
                    </a:cubicBezTo>
                    <a:cubicBezTo>
                      <a:pt x="1310" y="203"/>
                      <a:pt x="1311" y="203"/>
                      <a:pt x="1311" y="202"/>
                    </a:cubicBezTo>
                    <a:close/>
                    <a:moveTo>
                      <a:pt x="1428" y="202"/>
                    </a:moveTo>
                    <a:cubicBezTo>
                      <a:pt x="1428" y="202"/>
                      <a:pt x="1427" y="202"/>
                      <a:pt x="1427" y="203"/>
                    </a:cubicBezTo>
                    <a:cubicBezTo>
                      <a:pt x="1428" y="203"/>
                      <a:pt x="1428" y="203"/>
                      <a:pt x="1428" y="202"/>
                    </a:cubicBezTo>
                    <a:close/>
                    <a:moveTo>
                      <a:pt x="1567" y="203"/>
                    </a:moveTo>
                    <a:cubicBezTo>
                      <a:pt x="1567" y="203"/>
                      <a:pt x="1567" y="203"/>
                      <a:pt x="1567" y="202"/>
                    </a:cubicBezTo>
                    <a:cubicBezTo>
                      <a:pt x="1567" y="203"/>
                      <a:pt x="1567" y="203"/>
                      <a:pt x="1567" y="203"/>
                    </a:cubicBezTo>
                    <a:close/>
                    <a:moveTo>
                      <a:pt x="1588" y="202"/>
                    </a:moveTo>
                    <a:cubicBezTo>
                      <a:pt x="1588" y="203"/>
                      <a:pt x="1588" y="203"/>
                      <a:pt x="1588" y="203"/>
                    </a:cubicBezTo>
                    <a:cubicBezTo>
                      <a:pt x="1588" y="203"/>
                      <a:pt x="1588" y="203"/>
                      <a:pt x="1588" y="202"/>
                    </a:cubicBezTo>
                    <a:close/>
                    <a:moveTo>
                      <a:pt x="1657" y="203"/>
                    </a:moveTo>
                    <a:cubicBezTo>
                      <a:pt x="1657" y="202"/>
                      <a:pt x="1656" y="202"/>
                      <a:pt x="1656" y="202"/>
                    </a:cubicBezTo>
                    <a:cubicBezTo>
                      <a:pt x="1656" y="203"/>
                      <a:pt x="1656" y="203"/>
                      <a:pt x="1657" y="203"/>
                    </a:cubicBezTo>
                    <a:close/>
                    <a:moveTo>
                      <a:pt x="1719" y="202"/>
                    </a:moveTo>
                    <a:cubicBezTo>
                      <a:pt x="1718" y="202"/>
                      <a:pt x="1718" y="202"/>
                      <a:pt x="1718" y="203"/>
                    </a:cubicBezTo>
                    <a:cubicBezTo>
                      <a:pt x="1718" y="203"/>
                      <a:pt x="1718" y="203"/>
                      <a:pt x="1719" y="202"/>
                    </a:cubicBezTo>
                    <a:close/>
                    <a:moveTo>
                      <a:pt x="382" y="204"/>
                    </a:moveTo>
                    <a:cubicBezTo>
                      <a:pt x="382" y="203"/>
                      <a:pt x="382" y="203"/>
                      <a:pt x="381" y="203"/>
                    </a:cubicBezTo>
                    <a:cubicBezTo>
                      <a:pt x="381" y="203"/>
                      <a:pt x="381" y="204"/>
                      <a:pt x="382" y="204"/>
                    </a:cubicBezTo>
                    <a:close/>
                    <a:moveTo>
                      <a:pt x="737" y="99"/>
                    </a:moveTo>
                    <a:cubicBezTo>
                      <a:pt x="738" y="99"/>
                      <a:pt x="738" y="99"/>
                      <a:pt x="738" y="99"/>
                    </a:cubicBezTo>
                    <a:cubicBezTo>
                      <a:pt x="738" y="99"/>
                      <a:pt x="738" y="99"/>
                      <a:pt x="737" y="99"/>
                    </a:cubicBezTo>
                    <a:close/>
                    <a:moveTo>
                      <a:pt x="733" y="203"/>
                    </a:moveTo>
                    <a:cubicBezTo>
                      <a:pt x="733" y="203"/>
                      <a:pt x="733" y="203"/>
                      <a:pt x="732" y="203"/>
                    </a:cubicBezTo>
                    <a:cubicBezTo>
                      <a:pt x="732" y="203"/>
                      <a:pt x="733" y="203"/>
                      <a:pt x="733" y="203"/>
                    </a:cubicBezTo>
                    <a:close/>
                    <a:moveTo>
                      <a:pt x="783" y="203"/>
                    </a:moveTo>
                    <a:cubicBezTo>
                      <a:pt x="782" y="203"/>
                      <a:pt x="782" y="203"/>
                      <a:pt x="782" y="203"/>
                    </a:cubicBezTo>
                    <a:cubicBezTo>
                      <a:pt x="782" y="203"/>
                      <a:pt x="783" y="203"/>
                      <a:pt x="783" y="203"/>
                    </a:cubicBezTo>
                    <a:close/>
                    <a:moveTo>
                      <a:pt x="920" y="203"/>
                    </a:moveTo>
                    <a:cubicBezTo>
                      <a:pt x="919" y="203"/>
                      <a:pt x="919" y="203"/>
                      <a:pt x="919" y="203"/>
                    </a:cubicBezTo>
                    <a:cubicBezTo>
                      <a:pt x="919" y="203"/>
                      <a:pt x="920" y="203"/>
                      <a:pt x="920" y="203"/>
                    </a:cubicBezTo>
                    <a:close/>
                    <a:moveTo>
                      <a:pt x="919" y="99"/>
                    </a:moveTo>
                    <a:cubicBezTo>
                      <a:pt x="919" y="99"/>
                      <a:pt x="920" y="99"/>
                      <a:pt x="920" y="99"/>
                    </a:cubicBezTo>
                    <a:cubicBezTo>
                      <a:pt x="920" y="99"/>
                      <a:pt x="920" y="99"/>
                      <a:pt x="919" y="99"/>
                    </a:cubicBezTo>
                    <a:close/>
                    <a:moveTo>
                      <a:pt x="1264" y="99"/>
                    </a:moveTo>
                    <a:cubicBezTo>
                      <a:pt x="1264" y="99"/>
                      <a:pt x="1264" y="100"/>
                      <a:pt x="1264" y="100"/>
                    </a:cubicBezTo>
                    <a:cubicBezTo>
                      <a:pt x="1264" y="99"/>
                      <a:pt x="1264" y="99"/>
                      <a:pt x="1264" y="99"/>
                    </a:cubicBezTo>
                    <a:close/>
                    <a:moveTo>
                      <a:pt x="1247" y="203"/>
                    </a:moveTo>
                    <a:cubicBezTo>
                      <a:pt x="1247" y="203"/>
                      <a:pt x="1246" y="203"/>
                      <a:pt x="1246" y="203"/>
                    </a:cubicBezTo>
                    <a:cubicBezTo>
                      <a:pt x="1246" y="203"/>
                      <a:pt x="1246" y="203"/>
                      <a:pt x="1247" y="203"/>
                    </a:cubicBezTo>
                    <a:close/>
                    <a:moveTo>
                      <a:pt x="1310" y="203"/>
                    </a:moveTo>
                    <a:cubicBezTo>
                      <a:pt x="1309" y="203"/>
                      <a:pt x="1309" y="203"/>
                      <a:pt x="1309" y="203"/>
                    </a:cubicBezTo>
                    <a:cubicBezTo>
                      <a:pt x="1309" y="203"/>
                      <a:pt x="1309" y="203"/>
                      <a:pt x="1310" y="203"/>
                    </a:cubicBezTo>
                    <a:close/>
                    <a:moveTo>
                      <a:pt x="1367" y="203"/>
                    </a:moveTo>
                    <a:cubicBezTo>
                      <a:pt x="1367" y="203"/>
                      <a:pt x="1367" y="203"/>
                      <a:pt x="1366" y="203"/>
                    </a:cubicBezTo>
                    <a:cubicBezTo>
                      <a:pt x="1366" y="203"/>
                      <a:pt x="1367" y="203"/>
                      <a:pt x="1367" y="203"/>
                    </a:cubicBezTo>
                    <a:close/>
                    <a:moveTo>
                      <a:pt x="1427" y="203"/>
                    </a:moveTo>
                    <a:cubicBezTo>
                      <a:pt x="1427" y="203"/>
                      <a:pt x="1426" y="203"/>
                      <a:pt x="1426" y="203"/>
                    </a:cubicBezTo>
                    <a:cubicBezTo>
                      <a:pt x="1427" y="203"/>
                      <a:pt x="1427" y="203"/>
                      <a:pt x="1427" y="203"/>
                    </a:cubicBezTo>
                    <a:close/>
                    <a:moveTo>
                      <a:pt x="1371" y="99"/>
                    </a:moveTo>
                    <a:cubicBezTo>
                      <a:pt x="1371" y="99"/>
                      <a:pt x="1372" y="99"/>
                      <a:pt x="1372" y="99"/>
                    </a:cubicBezTo>
                    <a:cubicBezTo>
                      <a:pt x="1371" y="99"/>
                      <a:pt x="1371" y="99"/>
                      <a:pt x="1371" y="99"/>
                    </a:cubicBezTo>
                    <a:close/>
                    <a:moveTo>
                      <a:pt x="863" y="204"/>
                    </a:moveTo>
                    <a:cubicBezTo>
                      <a:pt x="863" y="203"/>
                      <a:pt x="863" y="203"/>
                      <a:pt x="862" y="203"/>
                    </a:cubicBezTo>
                    <a:cubicBezTo>
                      <a:pt x="862" y="204"/>
                      <a:pt x="863" y="204"/>
                      <a:pt x="863" y="204"/>
                    </a:cubicBezTo>
                    <a:close/>
                    <a:moveTo>
                      <a:pt x="919" y="203"/>
                    </a:moveTo>
                    <a:cubicBezTo>
                      <a:pt x="918" y="203"/>
                      <a:pt x="918" y="204"/>
                      <a:pt x="918" y="204"/>
                    </a:cubicBezTo>
                    <a:cubicBezTo>
                      <a:pt x="918" y="204"/>
                      <a:pt x="918" y="204"/>
                      <a:pt x="919" y="203"/>
                    </a:cubicBezTo>
                    <a:close/>
                    <a:moveTo>
                      <a:pt x="1116" y="204"/>
                    </a:moveTo>
                    <a:cubicBezTo>
                      <a:pt x="1115" y="203"/>
                      <a:pt x="1115" y="203"/>
                      <a:pt x="1115" y="203"/>
                    </a:cubicBezTo>
                    <a:cubicBezTo>
                      <a:pt x="1115" y="204"/>
                      <a:pt x="1115" y="204"/>
                      <a:pt x="1116" y="204"/>
                    </a:cubicBezTo>
                    <a:close/>
                    <a:moveTo>
                      <a:pt x="1169" y="203"/>
                    </a:moveTo>
                    <a:cubicBezTo>
                      <a:pt x="1168" y="203"/>
                      <a:pt x="1168" y="203"/>
                      <a:pt x="1167" y="204"/>
                    </a:cubicBezTo>
                    <a:cubicBezTo>
                      <a:pt x="1168" y="204"/>
                      <a:pt x="1168" y="204"/>
                      <a:pt x="1169" y="203"/>
                    </a:cubicBezTo>
                    <a:close/>
                    <a:moveTo>
                      <a:pt x="1248" y="204"/>
                    </a:moveTo>
                    <a:cubicBezTo>
                      <a:pt x="1248" y="203"/>
                      <a:pt x="1247" y="203"/>
                      <a:pt x="1247" y="203"/>
                    </a:cubicBezTo>
                    <a:cubicBezTo>
                      <a:pt x="1247" y="204"/>
                      <a:pt x="1248" y="204"/>
                      <a:pt x="1248" y="204"/>
                    </a:cubicBezTo>
                    <a:close/>
                    <a:moveTo>
                      <a:pt x="1309" y="203"/>
                    </a:moveTo>
                    <a:cubicBezTo>
                      <a:pt x="1308" y="203"/>
                      <a:pt x="1308" y="204"/>
                      <a:pt x="1307" y="204"/>
                    </a:cubicBezTo>
                    <a:cubicBezTo>
                      <a:pt x="1308" y="204"/>
                      <a:pt x="1308" y="204"/>
                      <a:pt x="1309" y="203"/>
                    </a:cubicBezTo>
                    <a:close/>
                    <a:moveTo>
                      <a:pt x="1368" y="204"/>
                    </a:moveTo>
                    <a:cubicBezTo>
                      <a:pt x="1368" y="204"/>
                      <a:pt x="1368" y="203"/>
                      <a:pt x="1367" y="203"/>
                    </a:cubicBezTo>
                    <a:cubicBezTo>
                      <a:pt x="1368" y="204"/>
                      <a:pt x="1368" y="204"/>
                      <a:pt x="1368" y="204"/>
                    </a:cubicBezTo>
                    <a:close/>
                    <a:moveTo>
                      <a:pt x="1426" y="203"/>
                    </a:moveTo>
                    <a:cubicBezTo>
                      <a:pt x="1426" y="203"/>
                      <a:pt x="1425" y="204"/>
                      <a:pt x="1425" y="204"/>
                    </a:cubicBezTo>
                    <a:cubicBezTo>
                      <a:pt x="1425" y="204"/>
                      <a:pt x="1426" y="204"/>
                      <a:pt x="1426" y="203"/>
                    </a:cubicBezTo>
                    <a:close/>
                    <a:moveTo>
                      <a:pt x="1659" y="204"/>
                    </a:moveTo>
                    <a:cubicBezTo>
                      <a:pt x="1659" y="203"/>
                      <a:pt x="1658" y="203"/>
                      <a:pt x="1658" y="203"/>
                    </a:cubicBezTo>
                    <a:cubicBezTo>
                      <a:pt x="1658" y="204"/>
                      <a:pt x="1658" y="204"/>
                      <a:pt x="1659" y="204"/>
                    </a:cubicBezTo>
                    <a:close/>
                    <a:moveTo>
                      <a:pt x="1717" y="203"/>
                    </a:moveTo>
                    <a:cubicBezTo>
                      <a:pt x="1716" y="203"/>
                      <a:pt x="1716" y="203"/>
                      <a:pt x="1716" y="204"/>
                    </a:cubicBezTo>
                    <a:cubicBezTo>
                      <a:pt x="1716" y="204"/>
                      <a:pt x="1717" y="204"/>
                      <a:pt x="1717" y="203"/>
                    </a:cubicBezTo>
                    <a:close/>
                    <a:moveTo>
                      <a:pt x="1528" y="100"/>
                    </a:moveTo>
                    <a:cubicBezTo>
                      <a:pt x="1528" y="99"/>
                      <a:pt x="1528" y="99"/>
                      <a:pt x="1527" y="99"/>
                    </a:cubicBezTo>
                    <a:cubicBezTo>
                      <a:pt x="1527" y="99"/>
                      <a:pt x="1527" y="99"/>
                      <a:pt x="1528" y="100"/>
                    </a:cubicBezTo>
                    <a:close/>
                    <a:moveTo>
                      <a:pt x="735" y="205"/>
                    </a:moveTo>
                    <a:cubicBezTo>
                      <a:pt x="735" y="204"/>
                      <a:pt x="734" y="204"/>
                      <a:pt x="734" y="204"/>
                    </a:cubicBezTo>
                    <a:cubicBezTo>
                      <a:pt x="734" y="204"/>
                      <a:pt x="734" y="205"/>
                      <a:pt x="735" y="205"/>
                    </a:cubicBezTo>
                    <a:close/>
                    <a:moveTo>
                      <a:pt x="781" y="204"/>
                    </a:moveTo>
                    <a:cubicBezTo>
                      <a:pt x="781" y="204"/>
                      <a:pt x="780" y="204"/>
                      <a:pt x="780" y="205"/>
                    </a:cubicBezTo>
                    <a:cubicBezTo>
                      <a:pt x="780" y="205"/>
                      <a:pt x="781" y="204"/>
                      <a:pt x="781" y="204"/>
                    </a:cubicBezTo>
                    <a:close/>
                    <a:moveTo>
                      <a:pt x="865" y="204"/>
                    </a:moveTo>
                    <a:cubicBezTo>
                      <a:pt x="864" y="204"/>
                      <a:pt x="864" y="204"/>
                      <a:pt x="863" y="204"/>
                    </a:cubicBezTo>
                    <a:cubicBezTo>
                      <a:pt x="864" y="204"/>
                      <a:pt x="864" y="205"/>
                      <a:pt x="865" y="204"/>
                    </a:cubicBezTo>
                    <a:close/>
                    <a:moveTo>
                      <a:pt x="917" y="204"/>
                    </a:moveTo>
                    <a:cubicBezTo>
                      <a:pt x="917" y="204"/>
                      <a:pt x="917" y="204"/>
                      <a:pt x="916" y="205"/>
                    </a:cubicBezTo>
                    <a:cubicBezTo>
                      <a:pt x="917" y="205"/>
                      <a:pt x="917" y="204"/>
                      <a:pt x="917" y="204"/>
                    </a:cubicBezTo>
                    <a:close/>
                    <a:moveTo>
                      <a:pt x="1630" y="98"/>
                    </a:moveTo>
                    <a:cubicBezTo>
                      <a:pt x="1629" y="99"/>
                      <a:pt x="1629" y="99"/>
                      <a:pt x="1629" y="100"/>
                    </a:cubicBezTo>
                    <a:cubicBezTo>
                      <a:pt x="1630" y="99"/>
                      <a:pt x="1630" y="99"/>
                      <a:pt x="1630" y="98"/>
                    </a:cubicBezTo>
                    <a:close/>
                    <a:moveTo>
                      <a:pt x="1661" y="99"/>
                    </a:moveTo>
                    <a:cubicBezTo>
                      <a:pt x="1662" y="99"/>
                      <a:pt x="1662" y="99"/>
                      <a:pt x="1662" y="99"/>
                    </a:cubicBezTo>
                    <a:cubicBezTo>
                      <a:pt x="1662" y="99"/>
                      <a:pt x="1661" y="99"/>
                      <a:pt x="1661" y="99"/>
                    </a:cubicBezTo>
                    <a:close/>
                    <a:moveTo>
                      <a:pt x="1117" y="205"/>
                    </a:moveTo>
                    <a:cubicBezTo>
                      <a:pt x="1117" y="204"/>
                      <a:pt x="1116" y="204"/>
                      <a:pt x="1116" y="204"/>
                    </a:cubicBezTo>
                    <a:cubicBezTo>
                      <a:pt x="1116" y="204"/>
                      <a:pt x="1116" y="205"/>
                      <a:pt x="1117" y="205"/>
                    </a:cubicBezTo>
                    <a:close/>
                    <a:moveTo>
                      <a:pt x="1167" y="204"/>
                    </a:moveTo>
                    <a:cubicBezTo>
                      <a:pt x="1167" y="204"/>
                      <a:pt x="1167" y="204"/>
                      <a:pt x="1166" y="205"/>
                    </a:cubicBezTo>
                    <a:cubicBezTo>
                      <a:pt x="1167" y="205"/>
                      <a:pt x="1167" y="204"/>
                      <a:pt x="1167" y="204"/>
                    </a:cubicBezTo>
                    <a:close/>
                    <a:moveTo>
                      <a:pt x="1709" y="99"/>
                    </a:moveTo>
                    <a:cubicBezTo>
                      <a:pt x="1709" y="99"/>
                      <a:pt x="1709" y="99"/>
                      <a:pt x="1710" y="99"/>
                    </a:cubicBezTo>
                    <a:cubicBezTo>
                      <a:pt x="1710" y="99"/>
                      <a:pt x="1709" y="99"/>
                      <a:pt x="1709" y="99"/>
                    </a:cubicBezTo>
                    <a:close/>
                    <a:moveTo>
                      <a:pt x="1307" y="204"/>
                    </a:moveTo>
                    <a:cubicBezTo>
                      <a:pt x="1307" y="204"/>
                      <a:pt x="1307" y="204"/>
                      <a:pt x="1306" y="205"/>
                    </a:cubicBezTo>
                    <a:cubicBezTo>
                      <a:pt x="1307" y="205"/>
                      <a:pt x="1307" y="204"/>
                      <a:pt x="1307" y="204"/>
                    </a:cubicBezTo>
                    <a:close/>
                    <a:moveTo>
                      <a:pt x="1370" y="205"/>
                    </a:moveTo>
                    <a:cubicBezTo>
                      <a:pt x="1369" y="204"/>
                      <a:pt x="1369" y="204"/>
                      <a:pt x="1368" y="204"/>
                    </a:cubicBezTo>
                    <a:cubicBezTo>
                      <a:pt x="1369" y="204"/>
                      <a:pt x="1369" y="205"/>
                      <a:pt x="1370" y="205"/>
                    </a:cubicBezTo>
                    <a:close/>
                    <a:moveTo>
                      <a:pt x="1425" y="204"/>
                    </a:moveTo>
                    <a:cubicBezTo>
                      <a:pt x="1424" y="204"/>
                      <a:pt x="1424" y="204"/>
                      <a:pt x="1424" y="205"/>
                    </a:cubicBezTo>
                    <a:cubicBezTo>
                      <a:pt x="1424" y="205"/>
                      <a:pt x="1425" y="204"/>
                      <a:pt x="1425" y="204"/>
                    </a:cubicBezTo>
                    <a:close/>
                    <a:moveTo>
                      <a:pt x="1568" y="205"/>
                    </a:moveTo>
                    <a:cubicBezTo>
                      <a:pt x="1568" y="205"/>
                      <a:pt x="1568" y="204"/>
                      <a:pt x="1567" y="204"/>
                    </a:cubicBezTo>
                    <a:cubicBezTo>
                      <a:pt x="1567" y="204"/>
                      <a:pt x="1567" y="205"/>
                      <a:pt x="1568" y="205"/>
                    </a:cubicBezTo>
                    <a:close/>
                    <a:moveTo>
                      <a:pt x="1588" y="204"/>
                    </a:moveTo>
                    <a:cubicBezTo>
                      <a:pt x="1587" y="204"/>
                      <a:pt x="1587" y="205"/>
                      <a:pt x="1587" y="205"/>
                    </a:cubicBezTo>
                    <a:cubicBezTo>
                      <a:pt x="1588" y="205"/>
                      <a:pt x="1588" y="204"/>
                      <a:pt x="1588" y="204"/>
                    </a:cubicBezTo>
                    <a:close/>
                    <a:moveTo>
                      <a:pt x="1660" y="205"/>
                    </a:moveTo>
                    <a:cubicBezTo>
                      <a:pt x="1660" y="204"/>
                      <a:pt x="1659" y="204"/>
                      <a:pt x="1659" y="204"/>
                    </a:cubicBezTo>
                    <a:cubicBezTo>
                      <a:pt x="1659" y="204"/>
                      <a:pt x="1659" y="205"/>
                      <a:pt x="1660" y="205"/>
                    </a:cubicBezTo>
                    <a:close/>
                    <a:moveTo>
                      <a:pt x="1782" y="99"/>
                    </a:moveTo>
                    <a:cubicBezTo>
                      <a:pt x="1782" y="99"/>
                      <a:pt x="1783" y="99"/>
                      <a:pt x="1783" y="99"/>
                    </a:cubicBezTo>
                    <a:cubicBezTo>
                      <a:pt x="1783" y="99"/>
                      <a:pt x="1782" y="99"/>
                      <a:pt x="1782" y="99"/>
                    </a:cubicBezTo>
                    <a:close/>
                    <a:moveTo>
                      <a:pt x="736" y="100"/>
                    </a:moveTo>
                    <a:cubicBezTo>
                      <a:pt x="737" y="100"/>
                      <a:pt x="737" y="100"/>
                      <a:pt x="737" y="99"/>
                    </a:cubicBezTo>
                    <a:cubicBezTo>
                      <a:pt x="737" y="99"/>
                      <a:pt x="736" y="99"/>
                      <a:pt x="736" y="100"/>
                    </a:cubicBezTo>
                    <a:close/>
                    <a:moveTo>
                      <a:pt x="953" y="100"/>
                    </a:moveTo>
                    <a:cubicBezTo>
                      <a:pt x="953" y="100"/>
                      <a:pt x="953" y="99"/>
                      <a:pt x="953" y="99"/>
                    </a:cubicBezTo>
                    <a:cubicBezTo>
                      <a:pt x="953" y="99"/>
                      <a:pt x="953" y="100"/>
                      <a:pt x="953" y="100"/>
                    </a:cubicBezTo>
                    <a:close/>
                    <a:moveTo>
                      <a:pt x="736" y="205"/>
                    </a:moveTo>
                    <a:cubicBezTo>
                      <a:pt x="736" y="205"/>
                      <a:pt x="735" y="205"/>
                      <a:pt x="735" y="205"/>
                    </a:cubicBezTo>
                    <a:cubicBezTo>
                      <a:pt x="735" y="205"/>
                      <a:pt x="736" y="205"/>
                      <a:pt x="736" y="205"/>
                    </a:cubicBezTo>
                    <a:close/>
                    <a:moveTo>
                      <a:pt x="780" y="205"/>
                    </a:moveTo>
                    <a:cubicBezTo>
                      <a:pt x="779" y="205"/>
                      <a:pt x="779" y="205"/>
                      <a:pt x="779" y="205"/>
                    </a:cubicBezTo>
                    <a:cubicBezTo>
                      <a:pt x="779" y="205"/>
                      <a:pt x="780" y="205"/>
                      <a:pt x="780" y="205"/>
                    </a:cubicBezTo>
                    <a:close/>
                    <a:moveTo>
                      <a:pt x="866" y="205"/>
                    </a:moveTo>
                    <a:cubicBezTo>
                      <a:pt x="866" y="205"/>
                      <a:pt x="865" y="205"/>
                      <a:pt x="865" y="204"/>
                    </a:cubicBezTo>
                    <a:cubicBezTo>
                      <a:pt x="865" y="205"/>
                      <a:pt x="865" y="205"/>
                      <a:pt x="866" y="205"/>
                    </a:cubicBezTo>
                    <a:close/>
                    <a:moveTo>
                      <a:pt x="916" y="205"/>
                    </a:moveTo>
                    <a:cubicBezTo>
                      <a:pt x="916" y="205"/>
                      <a:pt x="915" y="205"/>
                      <a:pt x="915" y="205"/>
                    </a:cubicBezTo>
                    <a:cubicBezTo>
                      <a:pt x="916" y="205"/>
                      <a:pt x="916" y="205"/>
                      <a:pt x="916" y="205"/>
                    </a:cubicBezTo>
                    <a:close/>
                    <a:moveTo>
                      <a:pt x="1129" y="100"/>
                    </a:moveTo>
                    <a:cubicBezTo>
                      <a:pt x="1129" y="100"/>
                      <a:pt x="1130" y="100"/>
                      <a:pt x="1130" y="99"/>
                    </a:cubicBezTo>
                    <a:cubicBezTo>
                      <a:pt x="1129" y="99"/>
                      <a:pt x="1129" y="99"/>
                      <a:pt x="1129" y="100"/>
                    </a:cubicBezTo>
                    <a:close/>
                    <a:moveTo>
                      <a:pt x="1370" y="100"/>
                    </a:moveTo>
                    <a:cubicBezTo>
                      <a:pt x="1370" y="100"/>
                      <a:pt x="1371" y="100"/>
                      <a:pt x="1371" y="99"/>
                    </a:cubicBezTo>
                    <a:cubicBezTo>
                      <a:pt x="1370" y="99"/>
                      <a:pt x="1370" y="99"/>
                      <a:pt x="1370" y="100"/>
                    </a:cubicBezTo>
                    <a:close/>
                    <a:moveTo>
                      <a:pt x="1118" y="205"/>
                    </a:moveTo>
                    <a:cubicBezTo>
                      <a:pt x="1118" y="205"/>
                      <a:pt x="1117" y="205"/>
                      <a:pt x="1117" y="205"/>
                    </a:cubicBezTo>
                    <a:cubicBezTo>
                      <a:pt x="1117" y="205"/>
                      <a:pt x="1117" y="205"/>
                      <a:pt x="1118" y="205"/>
                    </a:cubicBezTo>
                    <a:close/>
                    <a:moveTo>
                      <a:pt x="1166" y="205"/>
                    </a:moveTo>
                    <a:cubicBezTo>
                      <a:pt x="1166" y="205"/>
                      <a:pt x="1165" y="205"/>
                      <a:pt x="1165" y="205"/>
                    </a:cubicBezTo>
                    <a:cubicBezTo>
                      <a:pt x="1166" y="205"/>
                      <a:pt x="1166" y="205"/>
                      <a:pt x="1166" y="205"/>
                    </a:cubicBezTo>
                    <a:close/>
                    <a:moveTo>
                      <a:pt x="444" y="101"/>
                    </a:moveTo>
                    <a:cubicBezTo>
                      <a:pt x="444" y="100"/>
                      <a:pt x="444" y="100"/>
                      <a:pt x="444" y="100"/>
                    </a:cubicBezTo>
                    <a:cubicBezTo>
                      <a:pt x="444" y="100"/>
                      <a:pt x="444" y="101"/>
                      <a:pt x="444" y="101"/>
                    </a:cubicBezTo>
                    <a:close/>
                    <a:moveTo>
                      <a:pt x="1306" y="205"/>
                    </a:moveTo>
                    <a:cubicBezTo>
                      <a:pt x="1306" y="205"/>
                      <a:pt x="1305" y="205"/>
                      <a:pt x="1305" y="205"/>
                    </a:cubicBezTo>
                    <a:cubicBezTo>
                      <a:pt x="1306" y="205"/>
                      <a:pt x="1306" y="205"/>
                      <a:pt x="1306" y="205"/>
                    </a:cubicBezTo>
                    <a:close/>
                    <a:moveTo>
                      <a:pt x="1371" y="205"/>
                    </a:moveTo>
                    <a:cubicBezTo>
                      <a:pt x="1370" y="205"/>
                      <a:pt x="1370" y="205"/>
                      <a:pt x="1370" y="205"/>
                    </a:cubicBezTo>
                    <a:cubicBezTo>
                      <a:pt x="1370" y="205"/>
                      <a:pt x="1370" y="205"/>
                      <a:pt x="1371" y="205"/>
                    </a:cubicBezTo>
                    <a:close/>
                    <a:moveTo>
                      <a:pt x="1424" y="205"/>
                    </a:moveTo>
                    <a:cubicBezTo>
                      <a:pt x="1423" y="205"/>
                      <a:pt x="1423" y="205"/>
                      <a:pt x="1423" y="205"/>
                    </a:cubicBezTo>
                    <a:cubicBezTo>
                      <a:pt x="1423" y="205"/>
                      <a:pt x="1423" y="205"/>
                      <a:pt x="1424" y="205"/>
                    </a:cubicBezTo>
                    <a:close/>
                    <a:moveTo>
                      <a:pt x="1661" y="205"/>
                    </a:moveTo>
                    <a:cubicBezTo>
                      <a:pt x="1661" y="205"/>
                      <a:pt x="1660" y="205"/>
                      <a:pt x="1660" y="205"/>
                    </a:cubicBezTo>
                    <a:cubicBezTo>
                      <a:pt x="1660" y="205"/>
                      <a:pt x="1661" y="205"/>
                      <a:pt x="1661" y="205"/>
                    </a:cubicBezTo>
                    <a:close/>
                    <a:moveTo>
                      <a:pt x="1714" y="205"/>
                    </a:moveTo>
                    <a:cubicBezTo>
                      <a:pt x="1713" y="205"/>
                      <a:pt x="1713" y="205"/>
                      <a:pt x="1713" y="205"/>
                    </a:cubicBezTo>
                    <a:cubicBezTo>
                      <a:pt x="1713" y="205"/>
                      <a:pt x="1714" y="205"/>
                      <a:pt x="1714" y="205"/>
                    </a:cubicBezTo>
                    <a:close/>
                    <a:moveTo>
                      <a:pt x="862" y="100"/>
                    </a:moveTo>
                    <a:cubicBezTo>
                      <a:pt x="863" y="100"/>
                      <a:pt x="863" y="100"/>
                      <a:pt x="863" y="100"/>
                    </a:cubicBezTo>
                    <a:cubicBezTo>
                      <a:pt x="863" y="100"/>
                      <a:pt x="862" y="100"/>
                      <a:pt x="862" y="100"/>
                    </a:cubicBezTo>
                    <a:close/>
                    <a:moveTo>
                      <a:pt x="737" y="206"/>
                    </a:moveTo>
                    <a:cubicBezTo>
                      <a:pt x="737" y="205"/>
                      <a:pt x="737" y="205"/>
                      <a:pt x="736" y="205"/>
                    </a:cubicBezTo>
                    <a:cubicBezTo>
                      <a:pt x="736" y="206"/>
                      <a:pt x="737" y="206"/>
                      <a:pt x="737" y="206"/>
                    </a:cubicBezTo>
                    <a:close/>
                    <a:moveTo>
                      <a:pt x="779" y="205"/>
                    </a:moveTo>
                    <a:cubicBezTo>
                      <a:pt x="778" y="205"/>
                      <a:pt x="778" y="205"/>
                      <a:pt x="778" y="206"/>
                    </a:cubicBezTo>
                    <a:cubicBezTo>
                      <a:pt x="778" y="206"/>
                      <a:pt x="778" y="206"/>
                      <a:pt x="779" y="205"/>
                    </a:cubicBezTo>
                    <a:close/>
                    <a:moveTo>
                      <a:pt x="1264" y="100"/>
                    </a:moveTo>
                    <a:cubicBezTo>
                      <a:pt x="1264" y="100"/>
                      <a:pt x="1264" y="101"/>
                      <a:pt x="1265" y="101"/>
                    </a:cubicBezTo>
                    <a:cubicBezTo>
                      <a:pt x="1265" y="100"/>
                      <a:pt x="1265" y="100"/>
                      <a:pt x="1264" y="100"/>
                    </a:cubicBezTo>
                    <a:close/>
                    <a:moveTo>
                      <a:pt x="915" y="205"/>
                    </a:moveTo>
                    <a:cubicBezTo>
                      <a:pt x="915" y="205"/>
                      <a:pt x="914" y="205"/>
                      <a:pt x="914" y="206"/>
                    </a:cubicBezTo>
                    <a:cubicBezTo>
                      <a:pt x="915" y="206"/>
                      <a:pt x="915" y="206"/>
                      <a:pt x="915" y="205"/>
                    </a:cubicBezTo>
                    <a:close/>
                    <a:moveTo>
                      <a:pt x="1119" y="206"/>
                    </a:moveTo>
                    <a:cubicBezTo>
                      <a:pt x="1119" y="205"/>
                      <a:pt x="1118" y="205"/>
                      <a:pt x="1118" y="205"/>
                    </a:cubicBezTo>
                    <a:cubicBezTo>
                      <a:pt x="1118" y="206"/>
                      <a:pt x="1119" y="206"/>
                      <a:pt x="1119" y="206"/>
                    </a:cubicBezTo>
                    <a:close/>
                    <a:moveTo>
                      <a:pt x="1165" y="205"/>
                    </a:moveTo>
                    <a:cubicBezTo>
                      <a:pt x="1165" y="205"/>
                      <a:pt x="1164" y="205"/>
                      <a:pt x="1164" y="206"/>
                    </a:cubicBezTo>
                    <a:cubicBezTo>
                      <a:pt x="1165" y="206"/>
                      <a:pt x="1165" y="206"/>
                      <a:pt x="1165" y="205"/>
                    </a:cubicBezTo>
                    <a:close/>
                    <a:moveTo>
                      <a:pt x="1420" y="100"/>
                    </a:moveTo>
                    <a:cubicBezTo>
                      <a:pt x="1420" y="100"/>
                      <a:pt x="1421" y="100"/>
                      <a:pt x="1421" y="100"/>
                    </a:cubicBezTo>
                    <a:cubicBezTo>
                      <a:pt x="1421" y="100"/>
                      <a:pt x="1421" y="100"/>
                      <a:pt x="1420" y="100"/>
                    </a:cubicBezTo>
                    <a:close/>
                    <a:moveTo>
                      <a:pt x="1305" y="205"/>
                    </a:moveTo>
                    <a:cubicBezTo>
                      <a:pt x="1305" y="205"/>
                      <a:pt x="1304" y="205"/>
                      <a:pt x="1304" y="206"/>
                    </a:cubicBezTo>
                    <a:cubicBezTo>
                      <a:pt x="1304" y="206"/>
                      <a:pt x="1305" y="206"/>
                      <a:pt x="1305" y="205"/>
                    </a:cubicBezTo>
                    <a:close/>
                    <a:moveTo>
                      <a:pt x="1372" y="206"/>
                    </a:moveTo>
                    <a:cubicBezTo>
                      <a:pt x="1372" y="205"/>
                      <a:pt x="1371" y="205"/>
                      <a:pt x="1371" y="205"/>
                    </a:cubicBezTo>
                    <a:cubicBezTo>
                      <a:pt x="1371" y="206"/>
                      <a:pt x="1371" y="206"/>
                      <a:pt x="1372" y="206"/>
                    </a:cubicBezTo>
                    <a:close/>
                    <a:moveTo>
                      <a:pt x="1490" y="101"/>
                    </a:moveTo>
                    <a:cubicBezTo>
                      <a:pt x="1491" y="100"/>
                      <a:pt x="1491" y="100"/>
                      <a:pt x="1491" y="100"/>
                    </a:cubicBezTo>
                    <a:cubicBezTo>
                      <a:pt x="1491" y="100"/>
                      <a:pt x="1490" y="100"/>
                      <a:pt x="1490" y="101"/>
                    </a:cubicBezTo>
                    <a:close/>
                    <a:moveTo>
                      <a:pt x="1610" y="101"/>
                    </a:moveTo>
                    <a:cubicBezTo>
                      <a:pt x="1610" y="101"/>
                      <a:pt x="1610" y="100"/>
                      <a:pt x="1610" y="100"/>
                    </a:cubicBezTo>
                    <a:cubicBezTo>
                      <a:pt x="1610" y="100"/>
                      <a:pt x="1610" y="100"/>
                      <a:pt x="1610" y="101"/>
                    </a:cubicBezTo>
                    <a:close/>
                    <a:moveTo>
                      <a:pt x="1587" y="205"/>
                    </a:moveTo>
                    <a:cubicBezTo>
                      <a:pt x="1587" y="205"/>
                      <a:pt x="1587" y="206"/>
                      <a:pt x="1587" y="206"/>
                    </a:cubicBezTo>
                    <a:cubicBezTo>
                      <a:pt x="1587" y="206"/>
                      <a:pt x="1587" y="206"/>
                      <a:pt x="1587" y="205"/>
                    </a:cubicBezTo>
                    <a:close/>
                    <a:moveTo>
                      <a:pt x="1662" y="206"/>
                    </a:moveTo>
                    <a:cubicBezTo>
                      <a:pt x="1662" y="205"/>
                      <a:pt x="1662" y="205"/>
                      <a:pt x="1661" y="205"/>
                    </a:cubicBezTo>
                    <a:cubicBezTo>
                      <a:pt x="1661" y="206"/>
                      <a:pt x="1662" y="206"/>
                      <a:pt x="1662" y="206"/>
                    </a:cubicBezTo>
                    <a:close/>
                    <a:moveTo>
                      <a:pt x="1713" y="205"/>
                    </a:moveTo>
                    <a:cubicBezTo>
                      <a:pt x="1712" y="205"/>
                      <a:pt x="1712" y="205"/>
                      <a:pt x="1711" y="206"/>
                    </a:cubicBezTo>
                    <a:cubicBezTo>
                      <a:pt x="1712" y="206"/>
                      <a:pt x="1712" y="206"/>
                      <a:pt x="1713" y="205"/>
                    </a:cubicBezTo>
                    <a:close/>
                    <a:moveTo>
                      <a:pt x="1629" y="100"/>
                    </a:moveTo>
                    <a:cubicBezTo>
                      <a:pt x="1629" y="100"/>
                      <a:pt x="1629" y="100"/>
                      <a:pt x="1629" y="101"/>
                    </a:cubicBezTo>
                    <a:cubicBezTo>
                      <a:pt x="1629" y="101"/>
                      <a:pt x="1629" y="100"/>
                      <a:pt x="1629" y="100"/>
                    </a:cubicBezTo>
                    <a:close/>
                    <a:moveTo>
                      <a:pt x="738" y="206"/>
                    </a:moveTo>
                    <a:cubicBezTo>
                      <a:pt x="738" y="206"/>
                      <a:pt x="738" y="206"/>
                      <a:pt x="737" y="206"/>
                    </a:cubicBezTo>
                    <a:cubicBezTo>
                      <a:pt x="738" y="206"/>
                      <a:pt x="738" y="206"/>
                      <a:pt x="738" y="206"/>
                    </a:cubicBezTo>
                    <a:close/>
                    <a:moveTo>
                      <a:pt x="778" y="206"/>
                    </a:moveTo>
                    <a:cubicBezTo>
                      <a:pt x="777" y="206"/>
                      <a:pt x="777" y="206"/>
                      <a:pt x="776" y="206"/>
                    </a:cubicBezTo>
                    <a:cubicBezTo>
                      <a:pt x="777" y="206"/>
                      <a:pt x="777" y="206"/>
                      <a:pt x="778" y="206"/>
                    </a:cubicBezTo>
                    <a:close/>
                    <a:moveTo>
                      <a:pt x="869" y="206"/>
                    </a:moveTo>
                    <a:cubicBezTo>
                      <a:pt x="868" y="206"/>
                      <a:pt x="868" y="206"/>
                      <a:pt x="867" y="206"/>
                    </a:cubicBezTo>
                    <a:cubicBezTo>
                      <a:pt x="868" y="206"/>
                      <a:pt x="868" y="206"/>
                      <a:pt x="869" y="206"/>
                    </a:cubicBezTo>
                    <a:close/>
                    <a:moveTo>
                      <a:pt x="1711" y="100"/>
                    </a:moveTo>
                    <a:cubicBezTo>
                      <a:pt x="1711" y="100"/>
                      <a:pt x="1711" y="100"/>
                      <a:pt x="1712" y="100"/>
                    </a:cubicBezTo>
                    <a:cubicBezTo>
                      <a:pt x="1711" y="100"/>
                      <a:pt x="1711" y="100"/>
                      <a:pt x="1711" y="100"/>
                    </a:cubicBezTo>
                    <a:close/>
                    <a:moveTo>
                      <a:pt x="677" y="100"/>
                    </a:moveTo>
                    <a:cubicBezTo>
                      <a:pt x="677" y="101"/>
                      <a:pt x="677" y="101"/>
                      <a:pt x="678" y="101"/>
                    </a:cubicBezTo>
                    <a:cubicBezTo>
                      <a:pt x="678" y="101"/>
                      <a:pt x="677" y="100"/>
                      <a:pt x="677" y="100"/>
                    </a:cubicBezTo>
                    <a:close/>
                    <a:moveTo>
                      <a:pt x="734" y="101"/>
                    </a:moveTo>
                    <a:cubicBezTo>
                      <a:pt x="735" y="101"/>
                      <a:pt x="735" y="101"/>
                      <a:pt x="735" y="100"/>
                    </a:cubicBezTo>
                    <a:cubicBezTo>
                      <a:pt x="735" y="100"/>
                      <a:pt x="735" y="100"/>
                      <a:pt x="734" y="101"/>
                    </a:cubicBezTo>
                    <a:close/>
                    <a:moveTo>
                      <a:pt x="1164" y="206"/>
                    </a:moveTo>
                    <a:cubicBezTo>
                      <a:pt x="1164" y="206"/>
                      <a:pt x="1163" y="206"/>
                      <a:pt x="1163" y="206"/>
                    </a:cubicBezTo>
                    <a:cubicBezTo>
                      <a:pt x="1163" y="206"/>
                      <a:pt x="1164" y="206"/>
                      <a:pt x="1164" y="206"/>
                    </a:cubicBezTo>
                    <a:close/>
                    <a:moveTo>
                      <a:pt x="786" y="100"/>
                    </a:moveTo>
                    <a:cubicBezTo>
                      <a:pt x="786" y="101"/>
                      <a:pt x="787" y="101"/>
                      <a:pt x="787" y="101"/>
                    </a:cubicBezTo>
                    <a:cubicBezTo>
                      <a:pt x="787" y="101"/>
                      <a:pt x="787" y="100"/>
                      <a:pt x="786" y="100"/>
                    </a:cubicBezTo>
                    <a:close/>
                    <a:moveTo>
                      <a:pt x="861" y="101"/>
                    </a:moveTo>
                    <a:cubicBezTo>
                      <a:pt x="862" y="101"/>
                      <a:pt x="862" y="101"/>
                      <a:pt x="862" y="100"/>
                    </a:cubicBezTo>
                    <a:cubicBezTo>
                      <a:pt x="862" y="100"/>
                      <a:pt x="861" y="100"/>
                      <a:pt x="861" y="101"/>
                    </a:cubicBezTo>
                    <a:close/>
                    <a:moveTo>
                      <a:pt x="1373" y="206"/>
                    </a:moveTo>
                    <a:cubicBezTo>
                      <a:pt x="1373" y="206"/>
                      <a:pt x="1372" y="206"/>
                      <a:pt x="1372" y="206"/>
                    </a:cubicBezTo>
                    <a:cubicBezTo>
                      <a:pt x="1372" y="206"/>
                      <a:pt x="1373" y="206"/>
                      <a:pt x="1373" y="206"/>
                    </a:cubicBezTo>
                    <a:close/>
                    <a:moveTo>
                      <a:pt x="1421" y="206"/>
                    </a:moveTo>
                    <a:cubicBezTo>
                      <a:pt x="1420" y="206"/>
                      <a:pt x="1420" y="206"/>
                      <a:pt x="1419" y="206"/>
                    </a:cubicBezTo>
                    <a:cubicBezTo>
                      <a:pt x="1420" y="206"/>
                      <a:pt x="1421" y="206"/>
                      <a:pt x="1421" y="206"/>
                    </a:cubicBezTo>
                    <a:close/>
                    <a:moveTo>
                      <a:pt x="1663" y="206"/>
                    </a:moveTo>
                    <a:cubicBezTo>
                      <a:pt x="1663" y="206"/>
                      <a:pt x="1663" y="206"/>
                      <a:pt x="1662" y="206"/>
                    </a:cubicBezTo>
                    <a:cubicBezTo>
                      <a:pt x="1662" y="206"/>
                      <a:pt x="1663" y="206"/>
                      <a:pt x="1663" y="206"/>
                    </a:cubicBezTo>
                    <a:close/>
                    <a:moveTo>
                      <a:pt x="1711" y="206"/>
                    </a:moveTo>
                    <a:cubicBezTo>
                      <a:pt x="1711" y="206"/>
                      <a:pt x="1710" y="206"/>
                      <a:pt x="1710" y="206"/>
                    </a:cubicBezTo>
                    <a:cubicBezTo>
                      <a:pt x="1710" y="206"/>
                      <a:pt x="1711" y="206"/>
                      <a:pt x="1711" y="206"/>
                    </a:cubicBezTo>
                    <a:close/>
                    <a:moveTo>
                      <a:pt x="922" y="100"/>
                    </a:moveTo>
                    <a:cubicBezTo>
                      <a:pt x="922" y="101"/>
                      <a:pt x="923" y="101"/>
                      <a:pt x="923" y="101"/>
                    </a:cubicBezTo>
                    <a:cubicBezTo>
                      <a:pt x="923" y="100"/>
                      <a:pt x="923" y="100"/>
                      <a:pt x="922" y="100"/>
                    </a:cubicBezTo>
                    <a:close/>
                    <a:moveTo>
                      <a:pt x="740" y="207"/>
                    </a:moveTo>
                    <a:cubicBezTo>
                      <a:pt x="739" y="206"/>
                      <a:pt x="739" y="206"/>
                      <a:pt x="738" y="206"/>
                    </a:cubicBezTo>
                    <a:cubicBezTo>
                      <a:pt x="739" y="207"/>
                      <a:pt x="739" y="207"/>
                      <a:pt x="740" y="207"/>
                    </a:cubicBezTo>
                    <a:close/>
                    <a:moveTo>
                      <a:pt x="776" y="206"/>
                    </a:moveTo>
                    <a:cubicBezTo>
                      <a:pt x="776" y="206"/>
                      <a:pt x="775" y="206"/>
                      <a:pt x="775" y="207"/>
                    </a:cubicBezTo>
                    <a:cubicBezTo>
                      <a:pt x="776" y="207"/>
                      <a:pt x="776" y="207"/>
                      <a:pt x="776" y="206"/>
                    </a:cubicBezTo>
                    <a:close/>
                    <a:moveTo>
                      <a:pt x="1106" y="100"/>
                    </a:moveTo>
                    <a:cubicBezTo>
                      <a:pt x="1106" y="100"/>
                      <a:pt x="1106" y="101"/>
                      <a:pt x="1106" y="101"/>
                    </a:cubicBezTo>
                    <a:cubicBezTo>
                      <a:pt x="1106" y="101"/>
                      <a:pt x="1106" y="101"/>
                      <a:pt x="1106" y="100"/>
                    </a:cubicBezTo>
                    <a:close/>
                    <a:moveTo>
                      <a:pt x="912" y="206"/>
                    </a:moveTo>
                    <a:cubicBezTo>
                      <a:pt x="912" y="206"/>
                      <a:pt x="911" y="206"/>
                      <a:pt x="911" y="207"/>
                    </a:cubicBezTo>
                    <a:cubicBezTo>
                      <a:pt x="912" y="207"/>
                      <a:pt x="912" y="207"/>
                      <a:pt x="912" y="206"/>
                    </a:cubicBezTo>
                    <a:close/>
                    <a:moveTo>
                      <a:pt x="1127" y="101"/>
                    </a:moveTo>
                    <a:cubicBezTo>
                      <a:pt x="1128" y="101"/>
                      <a:pt x="1128" y="101"/>
                      <a:pt x="1128" y="100"/>
                    </a:cubicBezTo>
                    <a:cubicBezTo>
                      <a:pt x="1128" y="100"/>
                      <a:pt x="1127" y="101"/>
                      <a:pt x="1127" y="101"/>
                    </a:cubicBezTo>
                    <a:close/>
                    <a:moveTo>
                      <a:pt x="1122" y="207"/>
                    </a:moveTo>
                    <a:cubicBezTo>
                      <a:pt x="1122" y="206"/>
                      <a:pt x="1121" y="206"/>
                      <a:pt x="1121" y="206"/>
                    </a:cubicBezTo>
                    <a:cubicBezTo>
                      <a:pt x="1121" y="207"/>
                      <a:pt x="1122" y="207"/>
                      <a:pt x="1122" y="207"/>
                    </a:cubicBezTo>
                    <a:close/>
                    <a:moveTo>
                      <a:pt x="1163" y="206"/>
                    </a:moveTo>
                    <a:cubicBezTo>
                      <a:pt x="1162" y="206"/>
                      <a:pt x="1162" y="206"/>
                      <a:pt x="1162" y="207"/>
                    </a:cubicBezTo>
                    <a:cubicBezTo>
                      <a:pt x="1162" y="207"/>
                      <a:pt x="1163" y="207"/>
                      <a:pt x="1163" y="206"/>
                    </a:cubicBezTo>
                    <a:close/>
                    <a:moveTo>
                      <a:pt x="1368" y="101"/>
                    </a:moveTo>
                    <a:cubicBezTo>
                      <a:pt x="1368" y="101"/>
                      <a:pt x="1369" y="101"/>
                      <a:pt x="1369" y="100"/>
                    </a:cubicBezTo>
                    <a:cubicBezTo>
                      <a:pt x="1368" y="100"/>
                      <a:pt x="1368" y="100"/>
                      <a:pt x="1368" y="101"/>
                    </a:cubicBezTo>
                    <a:close/>
                    <a:moveTo>
                      <a:pt x="1529" y="101"/>
                    </a:moveTo>
                    <a:cubicBezTo>
                      <a:pt x="1529" y="101"/>
                      <a:pt x="1528" y="101"/>
                      <a:pt x="1528" y="100"/>
                    </a:cubicBezTo>
                    <a:cubicBezTo>
                      <a:pt x="1528" y="101"/>
                      <a:pt x="1528" y="101"/>
                      <a:pt x="1529" y="101"/>
                    </a:cubicBezTo>
                    <a:close/>
                    <a:moveTo>
                      <a:pt x="1658" y="101"/>
                    </a:moveTo>
                    <a:cubicBezTo>
                      <a:pt x="1659" y="101"/>
                      <a:pt x="1659" y="101"/>
                      <a:pt x="1659" y="100"/>
                    </a:cubicBezTo>
                    <a:cubicBezTo>
                      <a:pt x="1659" y="100"/>
                      <a:pt x="1658" y="100"/>
                      <a:pt x="1658" y="101"/>
                    </a:cubicBezTo>
                    <a:close/>
                    <a:moveTo>
                      <a:pt x="627" y="102"/>
                    </a:moveTo>
                    <a:cubicBezTo>
                      <a:pt x="628" y="102"/>
                      <a:pt x="628" y="101"/>
                      <a:pt x="628" y="101"/>
                    </a:cubicBezTo>
                    <a:cubicBezTo>
                      <a:pt x="628" y="101"/>
                      <a:pt x="627" y="101"/>
                      <a:pt x="627" y="102"/>
                    </a:cubicBezTo>
                    <a:close/>
                    <a:moveTo>
                      <a:pt x="1265" y="101"/>
                    </a:moveTo>
                    <a:cubicBezTo>
                      <a:pt x="1265" y="101"/>
                      <a:pt x="1265" y="102"/>
                      <a:pt x="1265" y="102"/>
                    </a:cubicBezTo>
                    <a:cubicBezTo>
                      <a:pt x="1265" y="102"/>
                      <a:pt x="1265" y="101"/>
                      <a:pt x="1265" y="101"/>
                    </a:cubicBezTo>
                    <a:close/>
                    <a:moveTo>
                      <a:pt x="1712" y="101"/>
                    </a:moveTo>
                    <a:cubicBezTo>
                      <a:pt x="1712" y="101"/>
                      <a:pt x="1713" y="102"/>
                      <a:pt x="1713" y="102"/>
                    </a:cubicBezTo>
                    <a:cubicBezTo>
                      <a:pt x="1713" y="101"/>
                      <a:pt x="1713" y="101"/>
                      <a:pt x="1712" y="101"/>
                    </a:cubicBezTo>
                    <a:close/>
                    <a:moveTo>
                      <a:pt x="733" y="102"/>
                    </a:moveTo>
                    <a:cubicBezTo>
                      <a:pt x="733" y="102"/>
                      <a:pt x="734" y="102"/>
                      <a:pt x="734" y="101"/>
                    </a:cubicBezTo>
                    <a:cubicBezTo>
                      <a:pt x="733" y="102"/>
                      <a:pt x="733" y="102"/>
                      <a:pt x="733" y="102"/>
                    </a:cubicBezTo>
                    <a:close/>
                    <a:moveTo>
                      <a:pt x="859" y="102"/>
                    </a:moveTo>
                    <a:cubicBezTo>
                      <a:pt x="860" y="102"/>
                      <a:pt x="860" y="102"/>
                      <a:pt x="860" y="101"/>
                    </a:cubicBezTo>
                    <a:cubicBezTo>
                      <a:pt x="860" y="102"/>
                      <a:pt x="860" y="102"/>
                      <a:pt x="859" y="102"/>
                    </a:cubicBezTo>
                    <a:close/>
                    <a:moveTo>
                      <a:pt x="924" y="102"/>
                    </a:moveTo>
                    <a:cubicBezTo>
                      <a:pt x="924" y="102"/>
                      <a:pt x="924" y="102"/>
                      <a:pt x="925" y="102"/>
                    </a:cubicBezTo>
                    <a:cubicBezTo>
                      <a:pt x="925" y="102"/>
                      <a:pt x="924" y="102"/>
                      <a:pt x="924" y="102"/>
                    </a:cubicBezTo>
                    <a:close/>
                    <a:moveTo>
                      <a:pt x="911" y="207"/>
                    </a:moveTo>
                    <a:cubicBezTo>
                      <a:pt x="910" y="207"/>
                      <a:pt x="910" y="207"/>
                      <a:pt x="909" y="207"/>
                    </a:cubicBezTo>
                    <a:cubicBezTo>
                      <a:pt x="910" y="207"/>
                      <a:pt x="910" y="207"/>
                      <a:pt x="911" y="207"/>
                    </a:cubicBezTo>
                    <a:close/>
                    <a:moveTo>
                      <a:pt x="1124" y="207"/>
                    </a:moveTo>
                    <a:cubicBezTo>
                      <a:pt x="1124" y="207"/>
                      <a:pt x="1123" y="207"/>
                      <a:pt x="1123" y="207"/>
                    </a:cubicBezTo>
                    <a:cubicBezTo>
                      <a:pt x="1123" y="207"/>
                      <a:pt x="1123" y="207"/>
                      <a:pt x="1124" y="207"/>
                    </a:cubicBezTo>
                    <a:close/>
                    <a:moveTo>
                      <a:pt x="1366" y="102"/>
                    </a:moveTo>
                    <a:cubicBezTo>
                      <a:pt x="1367" y="102"/>
                      <a:pt x="1367" y="102"/>
                      <a:pt x="1367" y="101"/>
                    </a:cubicBezTo>
                    <a:cubicBezTo>
                      <a:pt x="1367" y="102"/>
                      <a:pt x="1366" y="102"/>
                      <a:pt x="1366" y="102"/>
                    </a:cubicBezTo>
                    <a:close/>
                    <a:moveTo>
                      <a:pt x="1423" y="101"/>
                    </a:moveTo>
                    <a:cubicBezTo>
                      <a:pt x="1423" y="102"/>
                      <a:pt x="1423" y="102"/>
                      <a:pt x="1424" y="102"/>
                    </a:cubicBezTo>
                    <a:cubicBezTo>
                      <a:pt x="1424" y="102"/>
                      <a:pt x="1423" y="102"/>
                      <a:pt x="1423" y="101"/>
                    </a:cubicBezTo>
                    <a:close/>
                    <a:moveTo>
                      <a:pt x="1629" y="101"/>
                    </a:moveTo>
                    <a:cubicBezTo>
                      <a:pt x="1628" y="102"/>
                      <a:pt x="1628" y="102"/>
                      <a:pt x="1628" y="103"/>
                    </a:cubicBezTo>
                    <a:cubicBezTo>
                      <a:pt x="1629" y="102"/>
                      <a:pt x="1629" y="102"/>
                      <a:pt x="1629" y="101"/>
                    </a:cubicBezTo>
                    <a:close/>
                    <a:moveTo>
                      <a:pt x="1376" y="207"/>
                    </a:moveTo>
                    <a:cubicBezTo>
                      <a:pt x="1376" y="207"/>
                      <a:pt x="1375" y="207"/>
                      <a:pt x="1375" y="207"/>
                    </a:cubicBezTo>
                    <a:cubicBezTo>
                      <a:pt x="1375" y="207"/>
                      <a:pt x="1376" y="207"/>
                      <a:pt x="1376" y="207"/>
                    </a:cubicBezTo>
                    <a:close/>
                    <a:moveTo>
                      <a:pt x="1265" y="102"/>
                    </a:moveTo>
                    <a:cubicBezTo>
                      <a:pt x="1265" y="103"/>
                      <a:pt x="1266" y="103"/>
                      <a:pt x="1266" y="103"/>
                    </a:cubicBezTo>
                    <a:cubicBezTo>
                      <a:pt x="1266" y="103"/>
                      <a:pt x="1266" y="102"/>
                      <a:pt x="1265" y="102"/>
                    </a:cubicBezTo>
                    <a:close/>
                    <a:moveTo>
                      <a:pt x="1549" y="102"/>
                    </a:moveTo>
                    <a:cubicBezTo>
                      <a:pt x="1549" y="103"/>
                      <a:pt x="1549" y="103"/>
                      <a:pt x="1549" y="103"/>
                    </a:cubicBezTo>
                    <a:cubicBezTo>
                      <a:pt x="1549" y="103"/>
                      <a:pt x="1549" y="102"/>
                      <a:pt x="1549" y="102"/>
                    </a:cubicBezTo>
                    <a:close/>
                    <a:moveTo>
                      <a:pt x="858" y="103"/>
                    </a:moveTo>
                    <a:cubicBezTo>
                      <a:pt x="858" y="103"/>
                      <a:pt x="859" y="103"/>
                      <a:pt x="859" y="103"/>
                    </a:cubicBezTo>
                    <a:cubicBezTo>
                      <a:pt x="858" y="103"/>
                      <a:pt x="858" y="103"/>
                      <a:pt x="858" y="103"/>
                    </a:cubicBezTo>
                    <a:close/>
                    <a:moveTo>
                      <a:pt x="1609" y="104"/>
                    </a:moveTo>
                    <a:cubicBezTo>
                      <a:pt x="1609" y="104"/>
                      <a:pt x="1609" y="103"/>
                      <a:pt x="1609" y="103"/>
                    </a:cubicBezTo>
                    <a:cubicBezTo>
                      <a:pt x="1609" y="103"/>
                      <a:pt x="1609" y="103"/>
                      <a:pt x="1609" y="104"/>
                    </a:cubicBezTo>
                    <a:close/>
                    <a:moveTo>
                      <a:pt x="1628" y="103"/>
                    </a:moveTo>
                    <a:cubicBezTo>
                      <a:pt x="1628" y="103"/>
                      <a:pt x="1628" y="103"/>
                      <a:pt x="1628" y="104"/>
                    </a:cubicBezTo>
                    <a:cubicBezTo>
                      <a:pt x="1628" y="104"/>
                      <a:pt x="1628" y="103"/>
                      <a:pt x="1628" y="103"/>
                    </a:cubicBezTo>
                    <a:close/>
                    <a:moveTo>
                      <a:pt x="926" y="103"/>
                    </a:moveTo>
                    <a:cubicBezTo>
                      <a:pt x="926" y="104"/>
                      <a:pt x="927" y="104"/>
                      <a:pt x="927" y="104"/>
                    </a:cubicBezTo>
                    <a:cubicBezTo>
                      <a:pt x="927" y="103"/>
                      <a:pt x="927" y="103"/>
                      <a:pt x="926" y="103"/>
                    </a:cubicBezTo>
                    <a:close/>
                    <a:moveTo>
                      <a:pt x="1021" y="105"/>
                    </a:moveTo>
                    <a:cubicBezTo>
                      <a:pt x="1021" y="104"/>
                      <a:pt x="1021" y="104"/>
                      <a:pt x="1021" y="103"/>
                    </a:cubicBezTo>
                    <a:cubicBezTo>
                      <a:pt x="1021" y="104"/>
                      <a:pt x="1021" y="104"/>
                      <a:pt x="1021" y="105"/>
                    </a:cubicBezTo>
                    <a:close/>
                    <a:moveTo>
                      <a:pt x="1364" y="104"/>
                    </a:moveTo>
                    <a:cubicBezTo>
                      <a:pt x="1364" y="104"/>
                      <a:pt x="1365" y="104"/>
                      <a:pt x="1365" y="103"/>
                    </a:cubicBezTo>
                    <a:cubicBezTo>
                      <a:pt x="1364" y="103"/>
                      <a:pt x="1364" y="103"/>
                      <a:pt x="1364" y="104"/>
                    </a:cubicBezTo>
                    <a:close/>
                    <a:moveTo>
                      <a:pt x="1530" y="104"/>
                    </a:moveTo>
                    <a:cubicBezTo>
                      <a:pt x="1530" y="104"/>
                      <a:pt x="1530" y="103"/>
                      <a:pt x="1529" y="103"/>
                    </a:cubicBezTo>
                    <a:cubicBezTo>
                      <a:pt x="1529" y="104"/>
                      <a:pt x="1529" y="104"/>
                      <a:pt x="1530" y="104"/>
                    </a:cubicBezTo>
                    <a:close/>
                    <a:moveTo>
                      <a:pt x="434" y="104"/>
                    </a:moveTo>
                    <a:cubicBezTo>
                      <a:pt x="433" y="104"/>
                      <a:pt x="433" y="104"/>
                      <a:pt x="433" y="105"/>
                    </a:cubicBezTo>
                    <a:cubicBezTo>
                      <a:pt x="434" y="105"/>
                      <a:pt x="434" y="104"/>
                      <a:pt x="434" y="104"/>
                    </a:cubicBezTo>
                    <a:close/>
                    <a:moveTo>
                      <a:pt x="681" y="104"/>
                    </a:moveTo>
                    <a:cubicBezTo>
                      <a:pt x="681" y="104"/>
                      <a:pt x="681" y="105"/>
                      <a:pt x="681" y="105"/>
                    </a:cubicBezTo>
                    <a:cubicBezTo>
                      <a:pt x="681" y="104"/>
                      <a:pt x="681" y="104"/>
                      <a:pt x="681" y="104"/>
                    </a:cubicBezTo>
                    <a:close/>
                    <a:moveTo>
                      <a:pt x="730" y="105"/>
                    </a:moveTo>
                    <a:cubicBezTo>
                      <a:pt x="730" y="104"/>
                      <a:pt x="731" y="104"/>
                      <a:pt x="731" y="104"/>
                    </a:cubicBezTo>
                    <a:cubicBezTo>
                      <a:pt x="730" y="104"/>
                      <a:pt x="730" y="104"/>
                      <a:pt x="730" y="105"/>
                    </a:cubicBezTo>
                    <a:close/>
                    <a:moveTo>
                      <a:pt x="1245" y="105"/>
                    </a:moveTo>
                    <a:cubicBezTo>
                      <a:pt x="1245" y="104"/>
                      <a:pt x="1245" y="104"/>
                      <a:pt x="1245" y="104"/>
                    </a:cubicBezTo>
                    <a:cubicBezTo>
                      <a:pt x="1245" y="104"/>
                      <a:pt x="1245" y="105"/>
                      <a:pt x="1245" y="105"/>
                    </a:cubicBezTo>
                    <a:close/>
                    <a:moveTo>
                      <a:pt x="1549" y="104"/>
                    </a:moveTo>
                    <a:cubicBezTo>
                      <a:pt x="1549" y="104"/>
                      <a:pt x="1549" y="105"/>
                      <a:pt x="1550" y="105"/>
                    </a:cubicBezTo>
                    <a:cubicBezTo>
                      <a:pt x="1550" y="105"/>
                      <a:pt x="1550" y="104"/>
                      <a:pt x="1549" y="104"/>
                    </a:cubicBezTo>
                    <a:close/>
                    <a:moveTo>
                      <a:pt x="1654" y="105"/>
                    </a:moveTo>
                    <a:cubicBezTo>
                      <a:pt x="1654" y="104"/>
                      <a:pt x="1654" y="104"/>
                      <a:pt x="1655" y="104"/>
                    </a:cubicBezTo>
                    <a:cubicBezTo>
                      <a:pt x="1654" y="104"/>
                      <a:pt x="1654" y="104"/>
                      <a:pt x="1654" y="105"/>
                    </a:cubicBezTo>
                    <a:close/>
                    <a:moveTo>
                      <a:pt x="1608" y="106"/>
                    </a:moveTo>
                    <a:cubicBezTo>
                      <a:pt x="1609" y="105"/>
                      <a:pt x="1609" y="105"/>
                      <a:pt x="1609" y="104"/>
                    </a:cubicBezTo>
                    <a:cubicBezTo>
                      <a:pt x="1608" y="105"/>
                      <a:pt x="1608" y="105"/>
                      <a:pt x="1608" y="106"/>
                    </a:cubicBezTo>
                    <a:close/>
                    <a:moveTo>
                      <a:pt x="1628" y="104"/>
                    </a:moveTo>
                    <a:cubicBezTo>
                      <a:pt x="1627" y="104"/>
                      <a:pt x="1627" y="105"/>
                      <a:pt x="1627" y="106"/>
                    </a:cubicBezTo>
                    <a:cubicBezTo>
                      <a:pt x="1628" y="105"/>
                      <a:pt x="1628" y="105"/>
                      <a:pt x="1628" y="104"/>
                    </a:cubicBezTo>
                    <a:close/>
                    <a:moveTo>
                      <a:pt x="955" y="106"/>
                    </a:moveTo>
                    <a:cubicBezTo>
                      <a:pt x="955" y="106"/>
                      <a:pt x="955" y="105"/>
                      <a:pt x="954" y="105"/>
                    </a:cubicBezTo>
                    <a:cubicBezTo>
                      <a:pt x="954" y="105"/>
                      <a:pt x="954" y="106"/>
                      <a:pt x="955" y="106"/>
                    </a:cubicBezTo>
                    <a:close/>
                    <a:moveTo>
                      <a:pt x="1043" y="105"/>
                    </a:moveTo>
                    <a:cubicBezTo>
                      <a:pt x="1042" y="106"/>
                      <a:pt x="1043" y="106"/>
                      <a:pt x="1043" y="106"/>
                    </a:cubicBezTo>
                    <a:cubicBezTo>
                      <a:pt x="1043" y="106"/>
                      <a:pt x="1043" y="105"/>
                      <a:pt x="1043" y="105"/>
                    </a:cubicBezTo>
                    <a:close/>
                    <a:moveTo>
                      <a:pt x="1267" y="105"/>
                    </a:moveTo>
                    <a:cubicBezTo>
                      <a:pt x="1268" y="106"/>
                      <a:pt x="1268" y="106"/>
                      <a:pt x="1268" y="106"/>
                    </a:cubicBezTo>
                    <a:cubicBezTo>
                      <a:pt x="1268" y="106"/>
                      <a:pt x="1268" y="105"/>
                      <a:pt x="1267" y="105"/>
                    </a:cubicBezTo>
                    <a:close/>
                    <a:moveTo>
                      <a:pt x="1530" y="106"/>
                    </a:moveTo>
                    <a:cubicBezTo>
                      <a:pt x="1530" y="106"/>
                      <a:pt x="1530" y="105"/>
                      <a:pt x="1530" y="105"/>
                    </a:cubicBezTo>
                    <a:cubicBezTo>
                      <a:pt x="1530" y="105"/>
                      <a:pt x="1530" y="106"/>
                      <a:pt x="1530" y="106"/>
                    </a:cubicBezTo>
                    <a:close/>
                    <a:moveTo>
                      <a:pt x="792" y="106"/>
                    </a:moveTo>
                    <a:cubicBezTo>
                      <a:pt x="792" y="106"/>
                      <a:pt x="792" y="106"/>
                      <a:pt x="793" y="107"/>
                    </a:cubicBezTo>
                    <a:cubicBezTo>
                      <a:pt x="793" y="106"/>
                      <a:pt x="792" y="106"/>
                      <a:pt x="792" y="106"/>
                    </a:cubicBezTo>
                    <a:close/>
                    <a:moveTo>
                      <a:pt x="1550" y="106"/>
                    </a:moveTo>
                    <a:cubicBezTo>
                      <a:pt x="1550" y="106"/>
                      <a:pt x="1550" y="107"/>
                      <a:pt x="1550" y="107"/>
                    </a:cubicBezTo>
                    <a:cubicBezTo>
                      <a:pt x="1550" y="106"/>
                      <a:pt x="1550" y="106"/>
                      <a:pt x="1550" y="106"/>
                    </a:cubicBezTo>
                    <a:close/>
                    <a:moveTo>
                      <a:pt x="1627" y="105"/>
                    </a:moveTo>
                    <a:cubicBezTo>
                      <a:pt x="1627" y="106"/>
                      <a:pt x="1626" y="106"/>
                      <a:pt x="1626" y="107"/>
                    </a:cubicBezTo>
                    <a:cubicBezTo>
                      <a:pt x="1627" y="106"/>
                      <a:pt x="1627" y="106"/>
                      <a:pt x="1627" y="105"/>
                    </a:cubicBezTo>
                    <a:close/>
                    <a:moveTo>
                      <a:pt x="1775" y="107"/>
                    </a:moveTo>
                    <a:cubicBezTo>
                      <a:pt x="1775" y="106"/>
                      <a:pt x="1776" y="106"/>
                      <a:pt x="1776" y="106"/>
                    </a:cubicBezTo>
                    <a:cubicBezTo>
                      <a:pt x="1775" y="106"/>
                      <a:pt x="1775" y="106"/>
                      <a:pt x="1775" y="107"/>
                    </a:cubicBezTo>
                    <a:close/>
                    <a:moveTo>
                      <a:pt x="682" y="106"/>
                    </a:moveTo>
                    <a:cubicBezTo>
                      <a:pt x="683" y="107"/>
                      <a:pt x="683" y="107"/>
                      <a:pt x="683" y="107"/>
                    </a:cubicBezTo>
                    <a:cubicBezTo>
                      <a:pt x="683" y="107"/>
                      <a:pt x="683" y="106"/>
                      <a:pt x="682" y="106"/>
                    </a:cubicBezTo>
                    <a:close/>
                    <a:moveTo>
                      <a:pt x="1105" y="106"/>
                    </a:moveTo>
                    <a:cubicBezTo>
                      <a:pt x="1104" y="106"/>
                      <a:pt x="1104" y="107"/>
                      <a:pt x="1104" y="107"/>
                    </a:cubicBezTo>
                    <a:cubicBezTo>
                      <a:pt x="1105" y="107"/>
                      <a:pt x="1105" y="106"/>
                      <a:pt x="1105" y="106"/>
                    </a:cubicBezTo>
                    <a:close/>
                    <a:moveTo>
                      <a:pt x="1484" y="107"/>
                    </a:moveTo>
                    <a:cubicBezTo>
                      <a:pt x="1485" y="107"/>
                      <a:pt x="1485" y="107"/>
                      <a:pt x="1485" y="106"/>
                    </a:cubicBezTo>
                    <a:cubicBezTo>
                      <a:pt x="1484" y="106"/>
                      <a:pt x="1484" y="107"/>
                      <a:pt x="1484" y="107"/>
                    </a:cubicBezTo>
                    <a:close/>
                    <a:moveTo>
                      <a:pt x="1246" y="108"/>
                    </a:moveTo>
                    <a:cubicBezTo>
                      <a:pt x="1246" y="107"/>
                      <a:pt x="1246" y="107"/>
                      <a:pt x="1246" y="107"/>
                    </a:cubicBezTo>
                    <a:cubicBezTo>
                      <a:pt x="1246" y="107"/>
                      <a:pt x="1246" y="108"/>
                      <a:pt x="1246" y="108"/>
                    </a:cubicBezTo>
                    <a:close/>
                    <a:moveTo>
                      <a:pt x="621" y="108"/>
                    </a:moveTo>
                    <a:cubicBezTo>
                      <a:pt x="621" y="108"/>
                      <a:pt x="622" y="108"/>
                      <a:pt x="622" y="107"/>
                    </a:cubicBezTo>
                    <a:cubicBezTo>
                      <a:pt x="621" y="107"/>
                      <a:pt x="621" y="108"/>
                      <a:pt x="621" y="108"/>
                    </a:cubicBezTo>
                    <a:close/>
                    <a:moveTo>
                      <a:pt x="1550" y="107"/>
                    </a:moveTo>
                    <a:cubicBezTo>
                      <a:pt x="1550" y="108"/>
                      <a:pt x="1551" y="108"/>
                      <a:pt x="1551" y="108"/>
                    </a:cubicBezTo>
                    <a:cubicBezTo>
                      <a:pt x="1551" y="108"/>
                      <a:pt x="1551" y="108"/>
                      <a:pt x="1550" y="107"/>
                    </a:cubicBezTo>
                    <a:close/>
                    <a:moveTo>
                      <a:pt x="1626" y="107"/>
                    </a:moveTo>
                    <a:cubicBezTo>
                      <a:pt x="1626" y="107"/>
                      <a:pt x="1626" y="108"/>
                      <a:pt x="1626" y="108"/>
                    </a:cubicBezTo>
                    <a:cubicBezTo>
                      <a:pt x="1626" y="108"/>
                      <a:pt x="1626" y="108"/>
                      <a:pt x="1626" y="107"/>
                    </a:cubicBezTo>
                    <a:close/>
                    <a:moveTo>
                      <a:pt x="1774" y="108"/>
                    </a:moveTo>
                    <a:cubicBezTo>
                      <a:pt x="1774" y="108"/>
                      <a:pt x="1774" y="108"/>
                      <a:pt x="1775" y="107"/>
                    </a:cubicBezTo>
                    <a:cubicBezTo>
                      <a:pt x="1774" y="107"/>
                      <a:pt x="1774" y="108"/>
                      <a:pt x="1774" y="108"/>
                    </a:cubicBezTo>
                    <a:close/>
                    <a:moveTo>
                      <a:pt x="433" y="108"/>
                    </a:moveTo>
                    <a:cubicBezTo>
                      <a:pt x="432" y="108"/>
                      <a:pt x="432" y="108"/>
                      <a:pt x="432" y="109"/>
                    </a:cubicBezTo>
                    <a:cubicBezTo>
                      <a:pt x="433" y="109"/>
                      <a:pt x="433" y="108"/>
                      <a:pt x="433" y="108"/>
                    </a:cubicBezTo>
                    <a:close/>
                    <a:moveTo>
                      <a:pt x="684" y="108"/>
                    </a:moveTo>
                    <a:cubicBezTo>
                      <a:pt x="684" y="108"/>
                      <a:pt x="684" y="109"/>
                      <a:pt x="684" y="109"/>
                    </a:cubicBezTo>
                    <a:cubicBezTo>
                      <a:pt x="684" y="108"/>
                      <a:pt x="684" y="108"/>
                      <a:pt x="684" y="108"/>
                    </a:cubicBezTo>
                    <a:close/>
                    <a:moveTo>
                      <a:pt x="794" y="108"/>
                    </a:moveTo>
                    <a:cubicBezTo>
                      <a:pt x="794" y="108"/>
                      <a:pt x="794" y="109"/>
                      <a:pt x="794" y="109"/>
                    </a:cubicBezTo>
                    <a:cubicBezTo>
                      <a:pt x="794" y="108"/>
                      <a:pt x="794" y="108"/>
                      <a:pt x="794" y="108"/>
                    </a:cubicBezTo>
                    <a:close/>
                    <a:moveTo>
                      <a:pt x="1247" y="109"/>
                    </a:moveTo>
                    <a:cubicBezTo>
                      <a:pt x="1247" y="108"/>
                      <a:pt x="1247" y="108"/>
                      <a:pt x="1246" y="108"/>
                    </a:cubicBezTo>
                    <a:cubicBezTo>
                      <a:pt x="1246" y="108"/>
                      <a:pt x="1246" y="109"/>
                      <a:pt x="1247" y="109"/>
                    </a:cubicBezTo>
                    <a:close/>
                    <a:moveTo>
                      <a:pt x="1429" y="108"/>
                    </a:moveTo>
                    <a:cubicBezTo>
                      <a:pt x="1429" y="108"/>
                      <a:pt x="1430" y="109"/>
                      <a:pt x="1430" y="109"/>
                    </a:cubicBezTo>
                    <a:cubicBezTo>
                      <a:pt x="1430" y="108"/>
                      <a:pt x="1430" y="108"/>
                      <a:pt x="1429" y="108"/>
                    </a:cubicBezTo>
                    <a:close/>
                    <a:moveTo>
                      <a:pt x="1483" y="109"/>
                    </a:moveTo>
                    <a:cubicBezTo>
                      <a:pt x="1484" y="109"/>
                      <a:pt x="1484" y="108"/>
                      <a:pt x="1484" y="108"/>
                    </a:cubicBezTo>
                    <a:cubicBezTo>
                      <a:pt x="1483" y="108"/>
                      <a:pt x="1483" y="108"/>
                      <a:pt x="1483" y="109"/>
                    </a:cubicBezTo>
                    <a:close/>
                    <a:moveTo>
                      <a:pt x="1531" y="109"/>
                    </a:moveTo>
                    <a:cubicBezTo>
                      <a:pt x="1531" y="108"/>
                      <a:pt x="1531" y="108"/>
                      <a:pt x="1531" y="108"/>
                    </a:cubicBezTo>
                    <a:cubicBezTo>
                      <a:pt x="1531" y="108"/>
                      <a:pt x="1531" y="109"/>
                      <a:pt x="1531" y="109"/>
                    </a:cubicBezTo>
                    <a:close/>
                    <a:moveTo>
                      <a:pt x="1119" y="110"/>
                    </a:moveTo>
                    <a:cubicBezTo>
                      <a:pt x="1120" y="109"/>
                      <a:pt x="1120" y="109"/>
                      <a:pt x="1120" y="108"/>
                    </a:cubicBezTo>
                    <a:cubicBezTo>
                      <a:pt x="1119" y="109"/>
                      <a:pt x="1119" y="109"/>
                      <a:pt x="1119" y="110"/>
                    </a:cubicBezTo>
                    <a:close/>
                    <a:moveTo>
                      <a:pt x="1626" y="108"/>
                    </a:moveTo>
                    <a:cubicBezTo>
                      <a:pt x="1625" y="109"/>
                      <a:pt x="1625" y="109"/>
                      <a:pt x="1625" y="110"/>
                    </a:cubicBezTo>
                    <a:cubicBezTo>
                      <a:pt x="1626" y="109"/>
                      <a:pt x="1626" y="109"/>
                      <a:pt x="1626" y="108"/>
                    </a:cubicBezTo>
                    <a:close/>
                    <a:moveTo>
                      <a:pt x="1720" y="108"/>
                    </a:moveTo>
                    <a:cubicBezTo>
                      <a:pt x="1720" y="109"/>
                      <a:pt x="1720" y="109"/>
                      <a:pt x="1721" y="109"/>
                    </a:cubicBezTo>
                    <a:cubicBezTo>
                      <a:pt x="1721" y="109"/>
                      <a:pt x="1721" y="109"/>
                      <a:pt x="1720" y="108"/>
                    </a:cubicBezTo>
                    <a:close/>
                    <a:moveTo>
                      <a:pt x="1248" y="110"/>
                    </a:moveTo>
                    <a:cubicBezTo>
                      <a:pt x="1248" y="110"/>
                      <a:pt x="1247" y="109"/>
                      <a:pt x="1247" y="109"/>
                    </a:cubicBezTo>
                    <a:cubicBezTo>
                      <a:pt x="1247" y="109"/>
                      <a:pt x="1247" y="110"/>
                      <a:pt x="1248" y="110"/>
                    </a:cubicBezTo>
                    <a:close/>
                    <a:moveTo>
                      <a:pt x="1606" y="110"/>
                    </a:moveTo>
                    <a:cubicBezTo>
                      <a:pt x="1607" y="110"/>
                      <a:pt x="1607" y="110"/>
                      <a:pt x="1607" y="109"/>
                    </a:cubicBezTo>
                    <a:cubicBezTo>
                      <a:pt x="1606" y="109"/>
                      <a:pt x="1606" y="110"/>
                      <a:pt x="1606" y="110"/>
                    </a:cubicBezTo>
                    <a:close/>
                    <a:moveTo>
                      <a:pt x="1773" y="110"/>
                    </a:moveTo>
                    <a:cubicBezTo>
                      <a:pt x="1773" y="110"/>
                      <a:pt x="1773" y="110"/>
                      <a:pt x="1773" y="109"/>
                    </a:cubicBezTo>
                    <a:cubicBezTo>
                      <a:pt x="1773" y="109"/>
                      <a:pt x="1773" y="110"/>
                      <a:pt x="1773" y="110"/>
                    </a:cubicBezTo>
                    <a:close/>
                    <a:moveTo>
                      <a:pt x="619" y="111"/>
                    </a:moveTo>
                    <a:cubicBezTo>
                      <a:pt x="620" y="110"/>
                      <a:pt x="620" y="110"/>
                      <a:pt x="620" y="110"/>
                    </a:cubicBezTo>
                    <a:cubicBezTo>
                      <a:pt x="619" y="110"/>
                      <a:pt x="619" y="110"/>
                      <a:pt x="619" y="111"/>
                    </a:cubicBezTo>
                    <a:close/>
                    <a:moveTo>
                      <a:pt x="685" y="110"/>
                    </a:moveTo>
                    <a:cubicBezTo>
                      <a:pt x="685" y="110"/>
                      <a:pt x="685" y="111"/>
                      <a:pt x="685" y="111"/>
                    </a:cubicBezTo>
                    <a:cubicBezTo>
                      <a:pt x="685" y="110"/>
                      <a:pt x="685" y="110"/>
                      <a:pt x="685" y="110"/>
                    </a:cubicBezTo>
                    <a:close/>
                    <a:moveTo>
                      <a:pt x="933" y="110"/>
                    </a:moveTo>
                    <a:cubicBezTo>
                      <a:pt x="933" y="110"/>
                      <a:pt x="933" y="110"/>
                      <a:pt x="934" y="111"/>
                    </a:cubicBezTo>
                    <a:cubicBezTo>
                      <a:pt x="934" y="110"/>
                      <a:pt x="933" y="110"/>
                      <a:pt x="933" y="110"/>
                    </a:cubicBezTo>
                    <a:close/>
                    <a:moveTo>
                      <a:pt x="1532" y="111"/>
                    </a:moveTo>
                    <a:cubicBezTo>
                      <a:pt x="1532" y="110"/>
                      <a:pt x="1532" y="110"/>
                      <a:pt x="1531" y="109"/>
                    </a:cubicBezTo>
                    <a:cubicBezTo>
                      <a:pt x="1531" y="110"/>
                      <a:pt x="1531" y="110"/>
                      <a:pt x="1532" y="111"/>
                    </a:cubicBezTo>
                    <a:close/>
                    <a:moveTo>
                      <a:pt x="1118" y="111"/>
                    </a:moveTo>
                    <a:cubicBezTo>
                      <a:pt x="1118" y="111"/>
                      <a:pt x="1119" y="111"/>
                      <a:pt x="1119" y="110"/>
                    </a:cubicBezTo>
                    <a:cubicBezTo>
                      <a:pt x="1118" y="110"/>
                      <a:pt x="1118" y="111"/>
                      <a:pt x="1118" y="111"/>
                    </a:cubicBezTo>
                    <a:close/>
                    <a:moveTo>
                      <a:pt x="1431" y="110"/>
                    </a:moveTo>
                    <a:cubicBezTo>
                      <a:pt x="1431" y="111"/>
                      <a:pt x="1431" y="111"/>
                      <a:pt x="1432" y="111"/>
                    </a:cubicBezTo>
                    <a:cubicBezTo>
                      <a:pt x="1432" y="111"/>
                      <a:pt x="1432" y="110"/>
                      <a:pt x="1431" y="110"/>
                    </a:cubicBezTo>
                    <a:close/>
                    <a:moveTo>
                      <a:pt x="1625" y="110"/>
                    </a:moveTo>
                    <a:cubicBezTo>
                      <a:pt x="1625" y="110"/>
                      <a:pt x="1625" y="111"/>
                      <a:pt x="1625" y="111"/>
                    </a:cubicBezTo>
                    <a:cubicBezTo>
                      <a:pt x="1625" y="111"/>
                      <a:pt x="1625" y="110"/>
                      <a:pt x="1625" y="110"/>
                    </a:cubicBezTo>
                    <a:close/>
                    <a:moveTo>
                      <a:pt x="1772" y="111"/>
                    </a:moveTo>
                    <a:cubicBezTo>
                      <a:pt x="1773" y="111"/>
                      <a:pt x="1773" y="111"/>
                      <a:pt x="1773" y="110"/>
                    </a:cubicBezTo>
                    <a:cubicBezTo>
                      <a:pt x="1772" y="110"/>
                      <a:pt x="1772" y="111"/>
                      <a:pt x="1772" y="111"/>
                    </a:cubicBezTo>
                    <a:close/>
                    <a:moveTo>
                      <a:pt x="636" y="111"/>
                    </a:moveTo>
                    <a:cubicBezTo>
                      <a:pt x="636" y="111"/>
                      <a:pt x="636" y="111"/>
                      <a:pt x="635" y="111"/>
                    </a:cubicBezTo>
                    <a:cubicBezTo>
                      <a:pt x="636" y="111"/>
                      <a:pt x="636" y="111"/>
                      <a:pt x="636" y="111"/>
                    </a:cubicBezTo>
                    <a:close/>
                    <a:moveTo>
                      <a:pt x="660" y="111"/>
                    </a:moveTo>
                    <a:cubicBezTo>
                      <a:pt x="659" y="111"/>
                      <a:pt x="659" y="111"/>
                      <a:pt x="658" y="111"/>
                    </a:cubicBezTo>
                    <a:cubicBezTo>
                      <a:pt x="659" y="111"/>
                      <a:pt x="659" y="111"/>
                      <a:pt x="660" y="111"/>
                    </a:cubicBezTo>
                    <a:close/>
                    <a:moveTo>
                      <a:pt x="685" y="111"/>
                    </a:moveTo>
                    <a:cubicBezTo>
                      <a:pt x="685" y="111"/>
                      <a:pt x="686" y="112"/>
                      <a:pt x="686" y="112"/>
                    </a:cubicBezTo>
                    <a:cubicBezTo>
                      <a:pt x="686" y="111"/>
                      <a:pt x="686" y="111"/>
                      <a:pt x="685" y="111"/>
                    </a:cubicBezTo>
                    <a:close/>
                    <a:moveTo>
                      <a:pt x="1659" y="179"/>
                    </a:moveTo>
                    <a:cubicBezTo>
                      <a:pt x="1659" y="180"/>
                      <a:pt x="1659" y="180"/>
                      <a:pt x="1659" y="180"/>
                    </a:cubicBezTo>
                    <a:cubicBezTo>
                      <a:pt x="1659" y="180"/>
                      <a:pt x="1659" y="179"/>
                      <a:pt x="1659" y="179"/>
                    </a:cubicBezTo>
                    <a:close/>
                    <a:moveTo>
                      <a:pt x="625" y="119"/>
                    </a:moveTo>
                    <a:cubicBezTo>
                      <a:pt x="625" y="119"/>
                      <a:pt x="625" y="119"/>
                      <a:pt x="625" y="119"/>
                    </a:cubicBezTo>
                    <a:cubicBezTo>
                      <a:pt x="625" y="119"/>
                      <a:pt x="625" y="119"/>
                      <a:pt x="625" y="119"/>
                    </a:cubicBezTo>
                    <a:close/>
                    <a:moveTo>
                      <a:pt x="850" y="110"/>
                    </a:moveTo>
                    <a:cubicBezTo>
                      <a:pt x="851" y="110"/>
                      <a:pt x="851" y="110"/>
                      <a:pt x="851" y="110"/>
                    </a:cubicBezTo>
                    <a:cubicBezTo>
                      <a:pt x="850" y="110"/>
                      <a:pt x="850" y="110"/>
                      <a:pt x="850" y="110"/>
                    </a:cubicBezTo>
                    <a:close/>
                    <a:moveTo>
                      <a:pt x="725" y="110"/>
                    </a:moveTo>
                    <a:cubicBezTo>
                      <a:pt x="725" y="110"/>
                      <a:pt x="725" y="110"/>
                      <a:pt x="725" y="110"/>
                    </a:cubicBezTo>
                    <a:cubicBezTo>
                      <a:pt x="725" y="110"/>
                      <a:pt x="725" y="110"/>
                      <a:pt x="725" y="110"/>
                    </a:cubicBezTo>
                    <a:close/>
                    <a:moveTo>
                      <a:pt x="1648" y="110"/>
                    </a:moveTo>
                    <a:cubicBezTo>
                      <a:pt x="1649" y="110"/>
                      <a:pt x="1649" y="109"/>
                      <a:pt x="1649" y="109"/>
                    </a:cubicBezTo>
                    <a:cubicBezTo>
                      <a:pt x="1649" y="109"/>
                      <a:pt x="1648" y="109"/>
                      <a:pt x="1648" y="110"/>
                    </a:cubicBezTo>
                    <a:close/>
                    <a:moveTo>
                      <a:pt x="1483" y="110"/>
                    </a:moveTo>
                    <a:cubicBezTo>
                      <a:pt x="1483" y="110"/>
                      <a:pt x="1483" y="109"/>
                      <a:pt x="1483" y="109"/>
                    </a:cubicBezTo>
                    <a:cubicBezTo>
                      <a:pt x="1483" y="109"/>
                      <a:pt x="1483" y="109"/>
                      <a:pt x="1483" y="110"/>
                    </a:cubicBezTo>
                    <a:close/>
                    <a:moveTo>
                      <a:pt x="1306" y="183"/>
                    </a:moveTo>
                    <a:cubicBezTo>
                      <a:pt x="1307" y="183"/>
                      <a:pt x="1307" y="183"/>
                      <a:pt x="1307" y="183"/>
                    </a:cubicBezTo>
                    <a:cubicBezTo>
                      <a:pt x="1307" y="183"/>
                      <a:pt x="1306" y="183"/>
                      <a:pt x="1306" y="183"/>
                    </a:cubicBezTo>
                    <a:close/>
                    <a:moveTo>
                      <a:pt x="1371" y="183"/>
                    </a:moveTo>
                    <a:cubicBezTo>
                      <a:pt x="1371" y="183"/>
                      <a:pt x="1371" y="183"/>
                      <a:pt x="1371" y="183"/>
                    </a:cubicBezTo>
                    <a:cubicBezTo>
                      <a:pt x="1371" y="183"/>
                      <a:pt x="1371" y="183"/>
                      <a:pt x="1371" y="183"/>
                    </a:cubicBezTo>
                    <a:close/>
                    <a:moveTo>
                      <a:pt x="1431" y="183"/>
                    </a:moveTo>
                    <a:cubicBezTo>
                      <a:pt x="1432" y="183"/>
                      <a:pt x="1432" y="183"/>
                      <a:pt x="1432" y="183"/>
                    </a:cubicBezTo>
                    <a:cubicBezTo>
                      <a:pt x="1432" y="183"/>
                      <a:pt x="1431" y="183"/>
                      <a:pt x="1431" y="183"/>
                    </a:cubicBezTo>
                    <a:close/>
                    <a:moveTo>
                      <a:pt x="1430" y="109"/>
                    </a:moveTo>
                    <a:cubicBezTo>
                      <a:pt x="1430" y="109"/>
                      <a:pt x="1430" y="110"/>
                      <a:pt x="1431" y="110"/>
                    </a:cubicBezTo>
                    <a:cubicBezTo>
                      <a:pt x="1430" y="109"/>
                      <a:pt x="1430" y="109"/>
                      <a:pt x="1430" y="109"/>
                    </a:cubicBezTo>
                    <a:close/>
                    <a:moveTo>
                      <a:pt x="1169" y="152"/>
                    </a:moveTo>
                    <a:cubicBezTo>
                      <a:pt x="1169" y="153"/>
                      <a:pt x="1169" y="153"/>
                      <a:pt x="1170" y="153"/>
                    </a:cubicBezTo>
                    <a:cubicBezTo>
                      <a:pt x="1170" y="152"/>
                      <a:pt x="1169" y="152"/>
                      <a:pt x="1169" y="152"/>
                    </a:cubicBezTo>
                    <a:close/>
                    <a:moveTo>
                      <a:pt x="1779" y="118"/>
                    </a:moveTo>
                    <a:cubicBezTo>
                      <a:pt x="1779" y="118"/>
                      <a:pt x="1779" y="118"/>
                      <a:pt x="1779" y="119"/>
                    </a:cubicBezTo>
                    <a:cubicBezTo>
                      <a:pt x="1779" y="119"/>
                      <a:pt x="1779" y="118"/>
                      <a:pt x="1779" y="118"/>
                    </a:cubicBezTo>
                    <a:close/>
                    <a:moveTo>
                      <a:pt x="1489" y="118"/>
                    </a:moveTo>
                    <a:cubicBezTo>
                      <a:pt x="1488" y="118"/>
                      <a:pt x="1488" y="118"/>
                      <a:pt x="1488" y="119"/>
                    </a:cubicBezTo>
                    <a:cubicBezTo>
                      <a:pt x="1488" y="119"/>
                      <a:pt x="1489" y="118"/>
                      <a:pt x="1489" y="118"/>
                    </a:cubicBezTo>
                    <a:close/>
                    <a:moveTo>
                      <a:pt x="1661" y="183"/>
                    </a:moveTo>
                    <a:cubicBezTo>
                      <a:pt x="1661" y="183"/>
                      <a:pt x="1661" y="183"/>
                      <a:pt x="1662" y="183"/>
                    </a:cubicBezTo>
                    <a:cubicBezTo>
                      <a:pt x="1661" y="183"/>
                      <a:pt x="1661" y="183"/>
                      <a:pt x="1661" y="183"/>
                    </a:cubicBezTo>
                    <a:close/>
                    <a:moveTo>
                      <a:pt x="1358" y="110"/>
                    </a:moveTo>
                    <a:cubicBezTo>
                      <a:pt x="1358" y="110"/>
                      <a:pt x="1359" y="109"/>
                      <a:pt x="1359" y="109"/>
                    </a:cubicBezTo>
                    <a:cubicBezTo>
                      <a:pt x="1358" y="109"/>
                      <a:pt x="1358" y="109"/>
                      <a:pt x="1358" y="110"/>
                    </a:cubicBezTo>
                    <a:close/>
                    <a:moveTo>
                      <a:pt x="1272" y="109"/>
                    </a:moveTo>
                    <a:cubicBezTo>
                      <a:pt x="1272" y="109"/>
                      <a:pt x="1272" y="110"/>
                      <a:pt x="1272" y="110"/>
                    </a:cubicBezTo>
                    <a:cubicBezTo>
                      <a:pt x="1272" y="109"/>
                      <a:pt x="1272" y="109"/>
                      <a:pt x="1272" y="109"/>
                    </a:cubicBezTo>
                    <a:close/>
                    <a:moveTo>
                      <a:pt x="932" y="109"/>
                    </a:moveTo>
                    <a:cubicBezTo>
                      <a:pt x="932" y="109"/>
                      <a:pt x="933" y="110"/>
                      <a:pt x="933" y="110"/>
                    </a:cubicBezTo>
                    <a:cubicBezTo>
                      <a:pt x="933" y="109"/>
                      <a:pt x="933" y="109"/>
                      <a:pt x="932" y="109"/>
                    </a:cubicBezTo>
                    <a:close/>
                    <a:moveTo>
                      <a:pt x="851" y="110"/>
                    </a:moveTo>
                    <a:cubicBezTo>
                      <a:pt x="851" y="110"/>
                      <a:pt x="851" y="109"/>
                      <a:pt x="851" y="109"/>
                    </a:cubicBezTo>
                    <a:cubicBezTo>
                      <a:pt x="851" y="109"/>
                      <a:pt x="851" y="109"/>
                      <a:pt x="851" y="110"/>
                    </a:cubicBezTo>
                    <a:close/>
                    <a:moveTo>
                      <a:pt x="794" y="109"/>
                    </a:moveTo>
                    <a:cubicBezTo>
                      <a:pt x="794" y="109"/>
                      <a:pt x="794" y="110"/>
                      <a:pt x="795" y="110"/>
                    </a:cubicBezTo>
                    <a:cubicBezTo>
                      <a:pt x="795" y="109"/>
                      <a:pt x="795" y="109"/>
                      <a:pt x="794" y="109"/>
                    </a:cubicBezTo>
                    <a:close/>
                    <a:moveTo>
                      <a:pt x="1249" y="183"/>
                    </a:moveTo>
                    <a:cubicBezTo>
                      <a:pt x="1249" y="184"/>
                      <a:pt x="1249" y="184"/>
                      <a:pt x="1249" y="184"/>
                    </a:cubicBezTo>
                    <a:cubicBezTo>
                      <a:pt x="1249" y="184"/>
                      <a:pt x="1249" y="183"/>
                      <a:pt x="1249" y="183"/>
                    </a:cubicBezTo>
                    <a:close/>
                    <a:moveTo>
                      <a:pt x="684" y="109"/>
                    </a:moveTo>
                    <a:cubicBezTo>
                      <a:pt x="684" y="109"/>
                      <a:pt x="684" y="110"/>
                      <a:pt x="685" y="110"/>
                    </a:cubicBezTo>
                    <a:cubicBezTo>
                      <a:pt x="685" y="109"/>
                      <a:pt x="684" y="109"/>
                      <a:pt x="684" y="109"/>
                    </a:cubicBezTo>
                    <a:close/>
                    <a:moveTo>
                      <a:pt x="1118" y="141"/>
                    </a:moveTo>
                    <a:cubicBezTo>
                      <a:pt x="1118" y="140"/>
                      <a:pt x="1118" y="140"/>
                      <a:pt x="1117" y="140"/>
                    </a:cubicBezTo>
                    <a:cubicBezTo>
                      <a:pt x="1117" y="140"/>
                      <a:pt x="1118" y="140"/>
                      <a:pt x="1118" y="141"/>
                    </a:cubicBezTo>
                    <a:close/>
                    <a:moveTo>
                      <a:pt x="1371" y="183"/>
                    </a:moveTo>
                    <a:cubicBezTo>
                      <a:pt x="1371" y="184"/>
                      <a:pt x="1371" y="184"/>
                      <a:pt x="1372" y="184"/>
                    </a:cubicBezTo>
                    <a:cubicBezTo>
                      <a:pt x="1372" y="184"/>
                      <a:pt x="1372" y="183"/>
                      <a:pt x="1371" y="183"/>
                    </a:cubicBezTo>
                    <a:close/>
                    <a:moveTo>
                      <a:pt x="1431" y="184"/>
                    </a:moveTo>
                    <a:cubicBezTo>
                      <a:pt x="1431" y="184"/>
                      <a:pt x="1431" y="184"/>
                      <a:pt x="1431" y="183"/>
                    </a:cubicBezTo>
                    <a:cubicBezTo>
                      <a:pt x="1431" y="183"/>
                      <a:pt x="1431" y="184"/>
                      <a:pt x="1431" y="184"/>
                    </a:cubicBezTo>
                    <a:close/>
                    <a:moveTo>
                      <a:pt x="620" y="110"/>
                    </a:moveTo>
                    <a:cubicBezTo>
                      <a:pt x="620" y="110"/>
                      <a:pt x="620" y="109"/>
                      <a:pt x="620" y="109"/>
                    </a:cubicBezTo>
                    <a:cubicBezTo>
                      <a:pt x="620" y="109"/>
                      <a:pt x="620" y="109"/>
                      <a:pt x="620" y="110"/>
                    </a:cubicBezTo>
                    <a:close/>
                    <a:moveTo>
                      <a:pt x="1662" y="183"/>
                    </a:moveTo>
                    <a:cubicBezTo>
                      <a:pt x="1662" y="184"/>
                      <a:pt x="1662" y="184"/>
                      <a:pt x="1662" y="184"/>
                    </a:cubicBezTo>
                    <a:cubicBezTo>
                      <a:pt x="1662" y="184"/>
                      <a:pt x="1662" y="183"/>
                      <a:pt x="1662" y="183"/>
                    </a:cubicBezTo>
                    <a:close/>
                    <a:moveTo>
                      <a:pt x="1721" y="184"/>
                    </a:moveTo>
                    <a:cubicBezTo>
                      <a:pt x="1721" y="184"/>
                      <a:pt x="1721" y="184"/>
                      <a:pt x="1722" y="183"/>
                    </a:cubicBezTo>
                    <a:cubicBezTo>
                      <a:pt x="1721" y="183"/>
                      <a:pt x="1721" y="184"/>
                      <a:pt x="1721" y="184"/>
                    </a:cubicBezTo>
                    <a:close/>
                    <a:moveTo>
                      <a:pt x="1773" y="109"/>
                    </a:moveTo>
                    <a:cubicBezTo>
                      <a:pt x="1774" y="109"/>
                      <a:pt x="1774" y="109"/>
                      <a:pt x="1774" y="108"/>
                    </a:cubicBezTo>
                    <a:cubicBezTo>
                      <a:pt x="1774" y="109"/>
                      <a:pt x="1774" y="109"/>
                      <a:pt x="1773" y="109"/>
                    </a:cubicBezTo>
                    <a:close/>
                    <a:moveTo>
                      <a:pt x="1306" y="131"/>
                    </a:moveTo>
                    <a:cubicBezTo>
                      <a:pt x="1306" y="131"/>
                      <a:pt x="1306" y="131"/>
                      <a:pt x="1307" y="131"/>
                    </a:cubicBezTo>
                    <a:cubicBezTo>
                      <a:pt x="1307" y="131"/>
                      <a:pt x="1306" y="131"/>
                      <a:pt x="1306" y="131"/>
                    </a:cubicBezTo>
                    <a:close/>
                    <a:moveTo>
                      <a:pt x="1171" y="153"/>
                    </a:moveTo>
                    <a:cubicBezTo>
                      <a:pt x="1171" y="154"/>
                      <a:pt x="1171" y="154"/>
                      <a:pt x="1171" y="154"/>
                    </a:cubicBezTo>
                    <a:cubicBezTo>
                      <a:pt x="1171" y="154"/>
                      <a:pt x="1171" y="153"/>
                      <a:pt x="1171" y="153"/>
                    </a:cubicBezTo>
                    <a:close/>
                    <a:moveTo>
                      <a:pt x="1304" y="154"/>
                    </a:moveTo>
                    <a:cubicBezTo>
                      <a:pt x="1304" y="153"/>
                      <a:pt x="1304" y="153"/>
                      <a:pt x="1304" y="153"/>
                    </a:cubicBezTo>
                    <a:cubicBezTo>
                      <a:pt x="1304" y="154"/>
                      <a:pt x="1304" y="154"/>
                      <a:pt x="1304" y="154"/>
                    </a:cubicBezTo>
                    <a:close/>
                    <a:moveTo>
                      <a:pt x="1649" y="109"/>
                    </a:moveTo>
                    <a:cubicBezTo>
                      <a:pt x="1649" y="109"/>
                      <a:pt x="1649" y="109"/>
                      <a:pt x="1650" y="108"/>
                    </a:cubicBezTo>
                    <a:cubicBezTo>
                      <a:pt x="1649" y="109"/>
                      <a:pt x="1649" y="109"/>
                      <a:pt x="1649" y="109"/>
                    </a:cubicBezTo>
                    <a:close/>
                    <a:moveTo>
                      <a:pt x="1359" y="109"/>
                    </a:moveTo>
                    <a:cubicBezTo>
                      <a:pt x="1359" y="109"/>
                      <a:pt x="1359" y="109"/>
                      <a:pt x="1359" y="108"/>
                    </a:cubicBezTo>
                    <a:cubicBezTo>
                      <a:pt x="1359" y="109"/>
                      <a:pt x="1359" y="109"/>
                      <a:pt x="1359" y="109"/>
                    </a:cubicBezTo>
                    <a:close/>
                    <a:moveTo>
                      <a:pt x="1287" y="141"/>
                    </a:moveTo>
                    <a:cubicBezTo>
                      <a:pt x="1287" y="140"/>
                      <a:pt x="1286" y="140"/>
                      <a:pt x="1286" y="140"/>
                    </a:cubicBezTo>
                    <a:cubicBezTo>
                      <a:pt x="1286" y="140"/>
                      <a:pt x="1286" y="141"/>
                      <a:pt x="1287" y="141"/>
                    </a:cubicBezTo>
                    <a:close/>
                    <a:moveTo>
                      <a:pt x="1318" y="140"/>
                    </a:moveTo>
                    <a:cubicBezTo>
                      <a:pt x="1318" y="140"/>
                      <a:pt x="1318" y="141"/>
                      <a:pt x="1318" y="141"/>
                    </a:cubicBezTo>
                    <a:cubicBezTo>
                      <a:pt x="1318" y="140"/>
                      <a:pt x="1318" y="140"/>
                      <a:pt x="1318" y="140"/>
                    </a:cubicBezTo>
                    <a:close/>
                    <a:moveTo>
                      <a:pt x="1266" y="128"/>
                    </a:moveTo>
                    <a:cubicBezTo>
                      <a:pt x="1266" y="128"/>
                      <a:pt x="1266" y="127"/>
                      <a:pt x="1265" y="127"/>
                    </a:cubicBezTo>
                    <a:cubicBezTo>
                      <a:pt x="1265" y="128"/>
                      <a:pt x="1266" y="128"/>
                      <a:pt x="1266" y="128"/>
                    </a:cubicBezTo>
                    <a:close/>
                    <a:moveTo>
                      <a:pt x="932" y="108"/>
                    </a:moveTo>
                    <a:cubicBezTo>
                      <a:pt x="932" y="109"/>
                      <a:pt x="932" y="109"/>
                      <a:pt x="932" y="109"/>
                    </a:cubicBezTo>
                    <a:cubicBezTo>
                      <a:pt x="932" y="109"/>
                      <a:pt x="932" y="109"/>
                      <a:pt x="932" y="108"/>
                    </a:cubicBezTo>
                    <a:close/>
                    <a:moveTo>
                      <a:pt x="1484" y="126"/>
                    </a:moveTo>
                    <a:cubicBezTo>
                      <a:pt x="1483" y="126"/>
                      <a:pt x="1483" y="126"/>
                      <a:pt x="1483" y="127"/>
                    </a:cubicBezTo>
                    <a:cubicBezTo>
                      <a:pt x="1483" y="127"/>
                      <a:pt x="1484" y="126"/>
                      <a:pt x="1484" y="126"/>
                    </a:cubicBezTo>
                    <a:close/>
                    <a:moveTo>
                      <a:pt x="851" y="109"/>
                    </a:moveTo>
                    <a:cubicBezTo>
                      <a:pt x="852" y="109"/>
                      <a:pt x="852" y="109"/>
                      <a:pt x="852" y="108"/>
                    </a:cubicBezTo>
                    <a:cubicBezTo>
                      <a:pt x="852" y="109"/>
                      <a:pt x="852" y="109"/>
                      <a:pt x="851" y="109"/>
                    </a:cubicBezTo>
                    <a:close/>
                    <a:moveTo>
                      <a:pt x="1285" y="118"/>
                    </a:moveTo>
                    <a:cubicBezTo>
                      <a:pt x="1285" y="119"/>
                      <a:pt x="1286" y="119"/>
                      <a:pt x="1286" y="119"/>
                    </a:cubicBezTo>
                    <a:cubicBezTo>
                      <a:pt x="1286" y="118"/>
                      <a:pt x="1286" y="118"/>
                      <a:pt x="1285" y="118"/>
                    </a:cubicBezTo>
                    <a:close/>
                    <a:moveTo>
                      <a:pt x="1171" y="154"/>
                    </a:moveTo>
                    <a:cubicBezTo>
                      <a:pt x="1172" y="154"/>
                      <a:pt x="1172" y="154"/>
                      <a:pt x="1172" y="154"/>
                    </a:cubicBezTo>
                    <a:cubicBezTo>
                      <a:pt x="1172" y="154"/>
                      <a:pt x="1172" y="154"/>
                      <a:pt x="1171" y="154"/>
                    </a:cubicBezTo>
                    <a:close/>
                    <a:moveTo>
                      <a:pt x="1662" y="184"/>
                    </a:moveTo>
                    <a:cubicBezTo>
                      <a:pt x="1662" y="184"/>
                      <a:pt x="1662" y="184"/>
                      <a:pt x="1663" y="185"/>
                    </a:cubicBezTo>
                    <a:cubicBezTo>
                      <a:pt x="1663" y="184"/>
                      <a:pt x="1662" y="184"/>
                      <a:pt x="1662" y="184"/>
                    </a:cubicBezTo>
                    <a:close/>
                    <a:moveTo>
                      <a:pt x="1720" y="184"/>
                    </a:moveTo>
                    <a:cubicBezTo>
                      <a:pt x="1721" y="184"/>
                      <a:pt x="1721" y="184"/>
                      <a:pt x="1721" y="184"/>
                    </a:cubicBezTo>
                    <a:cubicBezTo>
                      <a:pt x="1721" y="184"/>
                      <a:pt x="1721" y="184"/>
                      <a:pt x="1720" y="184"/>
                    </a:cubicBezTo>
                    <a:close/>
                    <a:moveTo>
                      <a:pt x="1305" y="154"/>
                    </a:moveTo>
                    <a:cubicBezTo>
                      <a:pt x="1305" y="154"/>
                      <a:pt x="1304" y="154"/>
                      <a:pt x="1304" y="154"/>
                    </a:cubicBezTo>
                    <a:cubicBezTo>
                      <a:pt x="1304" y="154"/>
                      <a:pt x="1304" y="154"/>
                      <a:pt x="1305" y="154"/>
                    </a:cubicBezTo>
                    <a:close/>
                    <a:moveTo>
                      <a:pt x="620" y="109"/>
                    </a:moveTo>
                    <a:cubicBezTo>
                      <a:pt x="621" y="109"/>
                      <a:pt x="621" y="109"/>
                      <a:pt x="621" y="108"/>
                    </a:cubicBezTo>
                    <a:cubicBezTo>
                      <a:pt x="621" y="109"/>
                      <a:pt x="621" y="109"/>
                      <a:pt x="620" y="109"/>
                    </a:cubicBezTo>
                    <a:close/>
                    <a:moveTo>
                      <a:pt x="1116" y="184"/>
                    </a:moveTo>
                    <a:cubicBezTo>
                      <a:pt x="1116" y="185"/>
                      <a:pt x="1116" y="185"/>
                      <a:pt x="1116" y="185"/>
                    </a:cubicBezTo>
                    <a:cubicBezTo>
                      <a:pt x="1116" y="185"/>
                      <a:pt x="1116" y="185"/>
                      <a:pt x="1116" y="184"/>
                    </a:cubicBezTo>
                    <a:close/>
                    <a:moveTo>
                      <a:pt x="1720" y="108"/>
                    </a:moveTo>
                    <a:cubicBezTo>
                      <a:pt x="1720" y="108"/>
                      <a:pt x="1720" y="108"/>
                      <a:pt x="1720" y="109"/>
                    </a:cubicBezTo>
                    <a:cubicBezTo>
                      <a:pt x="1720" y="108"/>
                      <a:pt x="1720" y="108"/>
                      <a:pt x="1720" y="108"/>
                    </a:cubicBezTo>
                    <a:close/>
                    <a:moveTo>
                      <a:pt x="1305" y="185"/>
                    </a:moveTo>
                    <a:cubicBezTo>
                      <a:pt x="1305" y="185"/>
                      <a:pt x="1306" y="185"/>
                      <a:pt x="1306" y="184"/>
                    </a:cubicBezTo>
                    <a:cubicBezTo>
                      <a:pt x="1305" y="185"/>
                      <a:pt x="1305" y="185"/>
                      <a:pt x="1305" y="185"/>
                    </a:cubicBezTo>
                    <a:close/>
                    <a:moveTo>
                      <a:pt x="1271" y="131"/>
                    </a:moveTo>
                    <a:cubicBezTo>
                      <a:pt x="1271" y="131"/>
                      <a:pt x="1271" y="131"/>
                      <a:pt x="1271" y="131"/>
                    </a:cubicBezTo>
                    <a:cubicBezTo>
                      <a:pt x="1271" y="131"/>
                      <a:pt x="1271" y="131"/>
                      <a:pt x="1271" y="131"/>
                    </a:cubicBezTo>
                    <a:close/>
                    <a:moveTo>
                      <a:pt x="1429" y="185"/>
                    </a:moveTo>
                    <a:cubicBezTo>
                      <a:pt x="1429" y="185"/>
                      <a:pt x="1429" y="185"/>
                      <a:pt x="1430" y="184"/>
                    </a:cubicBezTo>
                    <a:cubicBezTo>
                      <a:pt x="1429" y="185"/>
                      <a:pt x="1429" y="185"/>
                      <a:pt x="1429" y="185"/>
                    </a:cubicBezTo>
                    <a:close/>
                    <a:moveTo>
                      <a:pt x="1650" y="108"/>
                    </a:moveTo>
                    <a:cubicBezTo>
                      <a:pt x="1650" y="108"/>
                      <a:pt x="1650" y="108"/>
                      <a:pt x="1650" y="108"/>
                    </a:cubicBezTo>
                    <a:cubicBezTo>
                      <a:pt x="1650" y="108"/>
                      <a:pt x="1650" y="108"/>
                      <a:pt x="1650" y="108"/>
                    </a:cubicBezTo>
                    <a:close/>
                    <a:moveTo>
                      <a:pt x="1359" y="108"/>
                    </a:moveTo>
                    <a:cubicBezTo>
                      <a:pt x="1360" y="108"/>
                      <a:pt x="1360" y="108"/>
                      <a:pt x="1360" y="108"/>
                    </a:cubicBezTo>
                    <a:cubicBezTo>
                      <a:pt x="1360" y="108"/>
                      <a:pt x="1359" y="108"/>
                      <a:pt x="1359" y="108"/>
                    </a:cubicBezTo>
                    <a:close/>
                    <a:moveTo>
                      <a:pt x="1663" y="184"/>
                    </a:moveTo>
                    <a:cubicBezTo>
                      <a:pt x="1663" y="185"/>
                      <a:pt x="1663" y="185"/>
                      <a:pt x="1663" y="185"/>
                    </a:cubicBezTo>
                    <a:cubicBezTo>
                      <a:pt x="1663" y="185"/>
                      <a:pt x="1663" y="185"/>
                      <a:pt x="1663" y="184"/>
                    </a:cubicBezTo>
                    <a:close/>
                    <a:moveTo>
                      <a:pt x="1719" y="185"/>
                    </a:moveTo>
                    <a:cubicBezTo>
                      <a:pt x="1720" y="185"/>
                      <a:pt x="1720" y="185"/>
                      <a:pt x="1720" y="185"/>
                    </a:cubicBezTo>
                    <a:cubicBezTo>
                      <a:pt x="1720" y="185"/>
                      <a:pt x="1719" y="185"/>
                      <a:pt x="1719" y="185"/>
                    </a:cubicBezTo>
                    <a:close/>
                    <a:moveTo>
                      <a:pt x="1255" y="119"/>
                    </a:moveTo>
                    <a:cubicBezTo>
                      <a:pt x="1254" y="118"/>
                      <a:pt x="1254" y="118"/>
                      <a:pt x="1254" y="118"/>
                    </a:cubicBezTo>
                    <a:cubicBezTo>
                      <a:pt x="1254" y="118"/>
                      <a:pt x="1254" y="119"/>
                      <a:pt x="1255" y="119"/>
                    </a:cubicBezTo>
                    <a:close/>
                    <a:moveTo>
                      <a:pt x="1120" y="109"/>
                    </a:moveTo>
                    <a:cubicBezTo>
                      <a:pt x="1120" y="108"/>
                      <a:pt x="1120" y="108"/>
                      <a:pt x="1120" y="108"/>
                    </a:cubicBezTo>
                    <a:cubicBezTo>
                      <a:pt x="1120" y="108"/>
                      <a:pt x="1120" y="108"/>
                      <a:pt x="1120" y="109"/>
                    </a:cubicBezTo>
                    <a:close/>
                    <a:moveTo>
                      <a:pt x="1305" y="155"/>
                    </a:moveTo>
                    <a:cubicBezTo>
                      <a:pt x="1305" y="155"/>
                      <a:pt x="1305" y="154"/>
                      <a:pt x="1305" y="154"/>
                    </a:cubicBezTo>
                    <a:cubicBezTo>
                      <a:pt x="1305" y="155"/>
                      <a:pt x="1305" y="155"/>
                      <a:pt x="1305" y="155"/>
                    </a:cubicBezTo>
                    <a:close/>
                    <a:moveTo>
                      <a:pt x="844" y="186"/>
                    </a:moveTo>
                    <a:cubicBezTo>
                      <a:pt x="844" y="185"/>
                      <a:pt x="844" y="185"/>
                      <a:pt x="844" y="185"/>
                    </a:cubicBezTo>
                    <a:cubicBezTo>
                      <a:pt x="844" y="185"/>
                      <a:pt x="844" y="185"/>
                      <a:pt x="844" y="186"/>
                    </a:cubicBezTo>
                    <a:close/>
                    <a:moveTo>
                      <a:pt x="938" y="185"/>
                    </a:moveTo>
                    <a:cubicBezTo>
                      <a:pt x="937" y="185"/>
                      <a:pt x="937" y="185"/>
                      <a:pt x="937" y="186"/>
                    </a:cubicBezTo>
                    <a:cubicBezTo>
                      <a:pt x="937" y="185"/>
                      <a:pt x="937" y="185"/>
                      <a:pt x="938" y="185"/>
                    </a:cubicBezTo>
                    <a:close/>
                    <a:moveTo>
                      <a:pt x="931" y="108"/>
                    </a:moveTo>
                    <a:cubicBezTo>
                      <a:pt x="931" y="108"/>
                      <a:pt x="932" y="108"/>
                      <a:pt x="932" y="108"/>
                    </a:cubicBezTo>
                    <a:cubicBezTo>
                      <a:pt x="932" y="108"/>
                      <a:pt x="931" y="108"/>
                      <a:pt x="931" y="108"/>
                    </a:cubicBezTo>
                    <a:close/>
                    <a:moveTo>
                      <a:pt x="852" y="108"/>
                    </a:moveTo>
                    <a:cubicBezTo>
                      <a:pt x="852" y="108"/>
                      <a:pt x="852" y="108"/>
                      <a:pt x="852" y="108"/>
                    </a:cubicBezTo>
                    <a:cubicBezTo>
                      <a:pt x="852" y="108"/>
                      <a:pt x="852" y="108"/>
                      <a:pt x="852" y="108"/>
                    </a:cubicBezTo>
                    <a:close/>
                    <a:moveTo>
                      <a:pt x="1719" y="107"/>
                    </a:moveTo>
                    <a:cubicBezTo>
                      <a:pt x="1719" y="108"/>
                      <a:pt x="1719" y="108"/>
                      <a:pt x="1720" y="108"/>
                    </a:cubicBezTo>
                    <a:cubicBezTo>
                      <a:pt x="1720" y="108"/>
                      <a:pt x="1719" y="107"/>
                      <a:pt x="1719" y="107"/>
                    </a:cubicBezTo>
                    <a:close/>
                    <a:moveTo>
                      <a:pt x="668" y="119"/>
                    </a:moveTo>
                    <a:cubicBezTo>
                      <a:pt x="668" y="118"/>
                      <a:pt x="667" y="118"/>
                      <a:pt x="667" y="118"/>
                    </a:cubicBezTo>
                    <a:cubicBezTo>
                      <a:pt x="667" y="118"/>
                      <a:pt x="667" y="119"/>
                      <a:pt x="668" y="119"/>
                    </a:cubicBezTo>
                    <a:close/>
                    <a:moveTo>
                      <a:pt x="626" y="118"/>
                    </a:moveTo>
                    <a:cubicBezTo>
                      <a:pt x="626" y="118"/>
                      <a:pt x="625" y="118"/>
                      <a:pt x="625" y="119"/>
                    </a:cubicBezTo>
                    <a:cubicBezTo>
                      <a:pt x="626" y="119"/>
                      <a:pt x="626" y="118"/>
                      <a:pt x="626" y="118"/>
                    </a:cubicBezTo>
                    <a:close/>
                    <a:moveTo>
                      <a:pt x="1251" y="185"/>
                    </a:moveTo>
                    <a:cubicBezTo>
                      <a:pt x="1252" y="185"/>
                      <a:pt x="1252" y="186"/>
                      <a:pt x="1252" y="185"/>
                    </a:cubicBezTo>
                    <a:cubicBezTo>
                      <a:pt x="1252" y="185"/>
                      <a:pt x="1252" y="185"/>
                      <a:pt x="1251" y="185"/>
                    </a:cubicBezTo>
                    <a:close/>
                    <a:moveTo>
                      <a:pt x="1305" y="186"/>
                    </a:moveTo>
                    <a:cubicBezTo>
                      <a:pt x="1305" y="186"/>
                      <a:pt x="1305" y="185"/>
                      <a:pt x="1305" y="185"/>
                    </a:cubicBezTo>
                    <a:cubicBezTo>
                      <a:pt x="1305" y="185"/>
                      <a:pt x="1305" y="185"/>
                      <a:pt x="1305" y="186"/>
                    </a:cubicBezTo>
                    <a:close/>
                    <a:moveTo>
                      <a:pt x="1650" y="108"/>
                    </a:moveTo>
                    <a:cubicBezTo>
                      <a:pt x="1650" y="108"/>
                      <a:pt x="1651" y="108"/>
                      <a:pt x="1651" y="107"/>
                    </a:cubicBezTo>
                    <a:cubicBezTo>
                      <a:pt x="1650" y="107"/>
                      <a:pt x="1650" y="108"/>
                      <a:pt x="1650" y="108"/>
                    </a:cubicBezTo>
                    <a:close/>
                    <a:moveTo>
                      <a:pt x="1299" y="126"/>
                    </a:moveTo>
                    <a:cubicBezTo>
                      <a:pt x="1299" y="127"/>
                      <a:pt x="1300" y="127"/>
                      <a:pt x="1300" y="127"/>
                    </a:cubicBezTo>
                    <a:cubicBezTo>
                      <a:pt x="1300" y="127"/>
                      <a:pt x="1300" y="126"/>
                      <a:pt x="1299" y="126"/>
                    </a:cubicBezTo>
                    <a:close/>
                    <a:moveTo>
                      <a:pt x="1484" y="108"/>
                    </a:moveTo>
                    <a:cubicBezTo>
                      <a:pt x="1484" y="108"/>
                      <a:pt x="1484" y="108"/>
                      <a:pt x="1484" y="107"/>
                    </a:cubicBezTo>
                    <a:cubicBezTo>
                      <a:pt x="1484" y="107"/>
                      <a:pt x="1484" y="108"/>
                      <a:pt x="1484" y="108"/>
                    </a:cubicBezTo>
                    <a:close/>
                    <a:moveTo>
                      <a:pt x="1429" y="107"/>
                    </a:moveTo>
                    <a:cubicBezTo>
                      <a:pt x="1429" y="108"/>
                      <a:pt x="1429" y="108"/>
                      <a:pt x="1429" y="108"/>
                    </a:cubicBezTo>
                    <a:cubicBezTo>
                      <a:pt x="1429" y="108"/>
                      <a:pt x="1429" y="107"/>
                      <a:pt x="1429" y="107"/>
                    </a:cubicBezTo>
                    <a:close/>
                    <a:moveTo>
                      <a:pt x="1663" y="185"/>
                    </a:moveTo>
                    <a:cubicBezTo>
                      <a:pt x="1663" y="185"/>
                      <a:pt x="1663" y="186"/>
                      <a:pt x="1664" y="186"/>
                    </a:cubicBezTo>
                    <a:cubicBezTo>
                      <a:pt x="1664" y="185"/>
                      <a:pt x="1664" y="185"/>
                      <a:pt x="1663" y="185"/>
                    </a:cubicBezTo>
                    <a:close/>
                    <a:moveTo>
                      <a:pt x="1719" y="185"/>
                    </a:moveTo>
                    <a:cubicBezTo>
                      <a:pt x="1719" y="186"/>
                      <a:pt x="1719" y="185"/>
                      <a:pt x="1719" y="185"/>
                    </a:cubicBezTo>
                    <a:cubicBezTo>
                      <a:pt x="1719" y="185"/>
                      <a:pt x="1719" y="185"/>
                      <a:pt x="1719" y="185"/>
                    </a:cubicBezTo>
                    <a:close/>
                    <a:moveTo>
                      <a:pt x="1264" y="127"/>
                    </a:moveTo>
                    <a:cubicBezTo>
                      <a:pt x="1264" y="126"/>
                      <a:pt x="1264" y="126"/>
                      <a:pt x="1264" y="126"/>
                    </a:cubicBezTo>
                    <a:cubicBezTo>
                      <a:pt x="1264" y="127"/>
                      <a:pt x="1264" y="127"/>
                      <a:pt x="1264" y="127"/>
                    </a:cubicBezTo>
                    <a:close/>
                    <a:moveTo>
                      <a:pt x="1360" y="108"/>
                    </a:moveTo>
                    <a:cubicBezTo>
                      <a:pt x="1360" y="108"/>
                      <a:pt x="1360" y="108"/>
                      <a:pt x="1360" y="107"/>
                    </a:cubicBezTo>
                    <a:cubicBezTo>
                      <a:pt x="1360" y="107"/>
                      <a:pt x="1360" y="108"/>
                      <a:pt x="1360" y="108"/>
                    </a:cubicBezTo>
                    <a:close/>
                    <a:moveTo>
                      <a:pt x="1269" y="107"/>
                    </a:moveTo>
                    <a:cubicBezTo>
                      <a:pt x="1270" y="108"/>
                      <a:pt x="1270" y="108"/>
                      <a:pt x="1270" y="108"/>
                    </a:cubicBezTo>
                    <a:cubicBezTo>
                      <a:pt x="1270" y="108"/>
                      <a:pt x="1270" y="107"/>
                      <a:pt x="1269" y="107"/>
                    </a:cubicBezTo>
                    <a:close/>
                    <a:moveTo>
                      <a:pt x="1117" y="186"/>
                    </a:moveTo>
                    <a:cubicBezTo>
                      <a:pt x="1117" y="186"/>
                      <a:pt x="1118" y="186"/>
                      <a:pt x="1118" y="186"/>
                    </a:cubicBezTo>
                    <a:cubicBezTo>
                      <a:pt x="1118" y="186"/>
                      <a:pt x="1118" y="186"/>
                      <a:pt x="1117" y="186"/>
                    </a:cubicBezTo>
                    <a:close/>
                    <a:moveTo>
                      <a:pt x="1253" y="186"/>
                    </a:moveTo>
                    <a:cubicBezTo>
                      <a:pt x="1253" y="186"/>
                      <a:pt x="1253" y="186"/>
                      <a:pt x="1253" y="186"/>
                    </a:cubicBezTo>
                    <a:cubicBezTo>
                      <a:pt x="1253" y="186"/>
                      <a:pt x="1253" y="186"/>
                      <a:pt x="1253" y="186"/>
                    </a:cubicBezTo>
                    <a:close/>
                    <a:moveTo>
                      <a:pt x="1304" y="186"/>
                    </a:moveTo>
                    <a:cubicBezTo>
                      <a:pt x="1304" y="186"/>
                      <a:pt x="1304" y="186"/>
                      <a:pt x="1305" y="186"/>
                    </a:cubicBezTo>
                    <a:cubicBezTo>
                      <a:pt x="1304" y="186"/>
                      <a:pt x="1304" y="186"/>
                      <a:pt x="1304" y="186"/>
                    </a:cubicBezTo>
                    <a:close/>
                    <a:moveTo>
                      <a:pt x="1120" y="108"/>
                    </a:moveTo>
                    <a:cubicBezTo>
                      <a:pt x="1121" y="108"/>
                      <a:pt x="1121" y="108"/>
                      <a:pt x="1121" y="107"/>
                    </a:cubicBezTo>
                    <a:cubicBezTo>
                      <a:pt x="1121" y="107"/>
                      <a:pt x="1120" y="108"/>
                      <a:pt x="1120" y="108"/>
                    </a:cubicBezTo>
                    <a:close/>
                    <a:moveTo>
                      <a:pt x="1373" y="186"/>
                    </a:moveTo>
                    <a:cubicBezTo>
                      <a:pt x="1374" y="186"/>
                      <a:pt x="1374" y="186"/>
                      <a:pt x="1374" y="186"/>
                    </a:cubicBezTo>
                    <a:cubicBezTo>
                      <a:pt x="1374" y="186"/>
                      <a:pt x="1374" y="186"/>
                      <a:pt x="1373" y="186"/>
                    </a:cubicBezTo>
                    <a:close/>
                    <a:moveTo>
                      <a:pt x="1427" y="186"/>
                    </a:moveTo>
                    <a:cubicBezTo>
                      <a:pt x="1428" y="186"/>
                      <a:pt x="1428" y="186"/>
                      <a:pt x="1428" y="186"/>
                    </a:cubicBezTo>
                    <a:cubicBezTo>
                      <a:pt x="1428" y="186"/>
                      <a:pt x="1427" y="186"/>
                      <a:pt x="1427" y="186"/>
                    </a:cubicBezTo>
                    <a:close/>
                    <a:moveTo>
                      <a:pt x="931" y="107"/>
                    </a:moveTo>
                    <a:cubicBezTo>
                      <a:pt x="931" y="108"/>
                      <a:pt x="931" y="108"/>
                      <a:pt x="931" y="108"/>
                    </a:cubicBezTo>
                    <a:cubicBezTo>
                      <a:pt x="931" y="108"/>
                      <a:pt x="931" y="107"/>
                      <a:pt x="931" y="107"/>
                    </a:cubicBezTo>
                    <a:close/>
                    <a:moveTo>
                      <a:pt x="1664" y="186"/>
                    </a:moveTo>
                    <a:cubicBezTo>
                      <a:pt x="1664" y="186"/>
                      <a:pt x="1664" y="186"/>
                      <a:pt x="1664" y="186"/>
                    </a:cubicBezTo>
                    <a:cubicBezTo>
                      <a:pt x="1664" y="186"/>
                      <a:pt x="1664" y="186"/>
                      <a:pt x="1664" y="186"/>
                    </a:cubicBezTo>
                    <a:close/>
                    <a:moveTo>
                      <a:pt x="1717" y="186"/>
                    </a:moveTo>
                    <a:cubicBezTo>
                      <a:pt x="1718" y="186"/>
                      <a:pt x="1718" y="186"/>
                      <a:pt x="1718" y="186"/>
                    </a:cubicBezTo>
                    <a:cubicBezTo>
                      <a:pt x="1718" y="186"/>
                      <a:pt x="1718" y="186"/>
                      <a:pt x="1717" y="186"/>
                    </a:cubicBezTo>
                    <a:close/>
                    <a:moveTo>
                      <a:pt x="1139" y="137"/>
                    </a:moveTo>
                    <a:cubicBezTo>
                      <a:pt x="1139" y="137"/>
                      <a:pt x="1139" y="137"/>
                      <a:pt x="1140" y="137"/>
                    </a:cubicBezTo>
                    <a:cubicBezTo>
                      <a:pt x="1140" y="137"/>
                      <a:pt x="1139" y="137"/>
                      <a:pt x="1139" y="137"/>
                    </a:cubicBezTo>
                    <a:close/>
                    <a:moveTo>
                      <a:pt x="1174" y="156"/>
                    </a:moveTo>
                    <a:cubicBezTo>
                      <a:pt x="1174" y="156"/>
                      <a:pt x="1174" y="156"/>
                      <a:pt x="1174" y="156"/>
                    </a:cubicBezTo>
                    <a:cubicBezTo>
                      <a:pt x="1174" y="156"/>
                      <a:pt x="1174" y="156"/>
                      <a:pt x="1174" y="156"/>
                    </a:cubicBezTo>
                    <a:close/>
                    <a:moveTo>
                      <a:pt x="1731" y="155"/>
                    </a:moveTo>
                    <a:cubicBezTo>
                      <a:pt x="1731" y="156"/>
                      <a:pt x="1731" y="156"/>
                      <a:pt x="1731" y="156"/>
                    </a:cubicBezTo>
                    <a:cubicBezTo>
                      <a:pt x="1731" y="156"/>
                      <a:pt x="1731" y="156"/>
                      <a:pt x="1731" y="155"/>
                    </a:cubicBezTo>
                    <a:close/>
                    <a:moveTo>
                      <a:pt x="1118" y="186"/>
                    </a:moveTo>
                    <a:cubicBezTo>
                      <a:pt x="1118" y="187"/>
                      <a:pt x="1118" y="187"/>
                      <a:pt x="1119" y="187"/>
                    </a:cubicBezTo>
                    <a:cubicBezTo>
                      <a:pt x="1118" y="187"/>
                      <a:pt x="1118" y="186"/>
                      <a:pt x="1118" y="186"/>
                    </a:cubicBezTo>
                    <a:close/>
                    <a:moveTo>
                      <a:pt x="1162" y="187"/>
                    </a:moveTo>
                    <a:cubicBezTo>
                      <a:pt x="1163" y="187"/>
                      <a:pt x="1163" y="187"/>
                      <a:pt x="1163" y="186"/>
                    </a:cubicBezTo>
                    <a:cubicBezTo>
                      <a:pt x="1163" y="186"/>
                      <a:pt x="1162" y="187"/>
                      <a:pt x="1162" y="187"/>
                    </a:cubicBezTo>
                    <a:close/>
                    <a:moveTo>
                      <a:pt x="852" y="108"/>
                    </a:moveTo>
                    <a:cubicBezTo>
                      <a:pt x="853" y="108"/>
                      <a:pt x="853" y="108"/>
                      <a:pt x="853" y="107"/>
                    </a:cubicBezTo>
                    <a:cubicBezTo>
                      <a:pt x="853" y="107"/>
                      <a:pt x="853" y="108"/>
                      <a:pt x="852" y="108"/>
                    </a:cubicBezTo>
                    <a:close/>
                    <a:moveTo>
                      <a:pt x="1254" y="186"/>
                    </a:moveTo>
                    <a:cubicBezTo>
                      <a:pt x="1254" y="187"/>
                      <a:pt x="1254" y="187"/>
                      <a:pt x="1254" y="187"/>
                    </a:cubicBezTo>
                    <a:cubicBezTo>
                      <a:pt x="1254" y="187"/>
                      <a:pt x="1254" y="186"/>
                      <a:pt x="1254" y="186"/>
                    </a:cubicBezTo>
                    <a:close/>
                    <a:moveTo>
                      <a:pt x="1303" y="187"/>
                    </a:moveTo>
                    <a:cubicBezTo>
                      <a:pt x="1304" y="187"/>
                      <a:pt x="1304" y="187"/>
                      <a:pt x="1304" y="186"/>
                    </a:cubicBezTo>
                    <a:cubicBezTo>
                      <a:pt x="1304" y="186"/>
                      <a:pt x="1304" y="187"/>
                      <a:pt x="1303" y="187"/>
                    </a:cubicBezTo>
                    <a:close/>
                    <a:moveTo>
                      <a:pt x="1281" y="137"/>
                    </a:moveTo>
                    <a:cubicBezTo>
                      <a:pt x="1281" y="137"/>
                      <a:pt x="1281" y="137"/>
                      <a:pt x="1280" y="137"/>
                    </a:cubicBezTo>
                    <a:cubicBezTo>
                      <a:pt x="1280" y="137"/>
                      <a:pt x="1281" y="137"/>
                      <a:pt x="1281" y="137"/>
                    </a:cubicBezTo>
                    <a:close/>
                    <a:moveTo>
                      <a:pt x="1374" y="186"/>
                    </a:moveTo>
                    <a:cubicBezTo>
                      <a:pt x="1374" y="187"/>
                      <a:pt x="1374" y="187"/>
                      <a:pt x="1375" y="187"/>
                    </a:cubicBezTo>
                    <a:cubicBezTo>
                      <a:pt x="1375" y="186"/>
                      <a:pt x="1374" y="186"/>
                      <a:pt x="1374" y="186"/>
                    </a:cubicBezTo>
                    <a:close/>
                    <a:moveTo>
                      <a:pt x="1318" y="141"/>
                    </a:moveTo>
                    <a:cubicBezTo>
                      <a:pt x="1318" y="141"/>
                      <a:pt x="1319" y="141"/>
                      <a:pt x="1319" y="141"/>
                    </a:cubicBezTo>
                    <a:cubicBezTo>
                      <a:pt x="1319" y="141"/>
                      <a:pt x="1319" y="141"/>
                      <a:pt x="1318" y="141"/>
                    </a:cubicBezTo>
                    <a:close/>
                    <a:moveTo>
                      <a:pt x="1578" y="186"/>
                    </a:moveTo>
                    <a:cubicBezTo>
                      <a:pt x="1578" y="186"/>
                      <a:pt x="1578" y="187"/>
                      <a:pt x="1578" y="187"/>
                    </a:cubicBezTo>
                    <a:cubicBezTo>
                      <a:pt x="1579" y="187"/>
                      <a:pt x="1579" y="186"/>
                      <a:pt x="1579" y="186"/>
                    </a:cubicBezTo>
                    <a:cubicBezTo>
                      <a:pt x="1578" y="186"/>
                      <a:pt x="1578" y="186"/>
                      <a:pt x="1578" y="186"/>
                    </a:cubicBezTo>
                    <a:close/>
                    <a:moveTo>
                      <a:pt x="1174" y="156"/>
                    </a:moveTo>
                    <a:cubicBezTo>
                      <a:pt x="1174" y="157"/>
                      <a:pt x="1175" y="157"/>
                      <a:pt x="1175" y="157"/>
                    </a:cubicBezTo>
                    <a:cubicBezTo>
                      <a:pt x="1175" y="157"/>
                      <a:pt x="1175" y="156"/>
                      <a:pt x="1174" y="156"/>
                    </a:cubicBezTo>
                    <a:close/>
                    <a:moveTo>
                      <a:pt x="1664" y="186"/>
                    </a:moveTo>
                    <a:cubicBezTo>
                      <a:pt x="1664" y="187"/>
                      <a:pt x="1665" y="187"/>
                      <a:pt x="1665" y="187"/>
                    </a:cubicBezTo>
                    <a:cubicBezTo>
                      <a:pt x="1665" y="187"/>
                      <a:pt x="1665" y="186"/>
                      <a:pt x="1664" y="186"/>
                    </a:cubicBezTo>
                    <a:close/>
                    <a:moveTo>
                      <a:pt x="793" y="107"/>
                    </a:moveTo>
                    <a:cubicBezTo>
                      <a:pt x="793" y="108"/>
                      <a:pt x="793" y="108"/>
                      <a:pt x="794" y="108"/>
                    </a:cubicBezTo>
                    <a:cubicBezTo>
                      <a:pt x="794" y="108"/>
                      <a:pt x="793" y="107"/>
                      <a:pt x="793" y="107"/>
                    </a:cubicBezTo>
                    <a:close/>
                    <a:moveTo>
                      <a:pt x="726" y="108"/>
                    </a:moveTo>
                    <a:cubicBezTo>
                      <a:pt x="727" y="108"/>
                      <a:pt x="727" y="108"/>
                      <a:pt x="727" y="107"/>
                    </a:cubicBezTo>
                    <a:cubicBezTo>
                      <a:pt x="727" y="107"/>
                      <a:pt x="726" y="108"/>
                      <a:pt x="726" y="108"/>
                    </a:cubicBezTo>
                    <a:close/>
                    <a:moveTo>
                      <a:pt x="845" y="187"/>
                    </a:moveTo>
                    <a:cubicBezTo>
                      <a:pt x="845" y="187"/>
                      <a:pt x="845" y="187"/>
                      <a:pt x="845" y="187"/>
                    </a:cubicBezTo>
                    <a:cubicBezTo>
                      <a:pt x="845" y="187"/>
                      <a:pt x="845" y="187"/>
                      <a:pt x="845" y="187"/>
                    </a:cubicBezTo>
                    <a:close/>
                    <a:moveTo>
                      <a:pt x="1314" y="137"/>
                    </a:moveTo>
                    <a:cubicBezTo>
                      <a:pt x="1314" y="137"/>
                      <a:pt x="1314" y="137"/>
                      <a:pt x="1314" y="137"/>
                    </a:cubicBezTo>
                    <a:cubicBezTo>
                      <a:pt x="1314" y="137"/>
                      <a:pt x="1314" y="137"/>
                      <a:pt x="1314" y="137"/>
                    </a:cubicBezTo>
                    <a:close/>
                    <a:moveTo>
                      <a:pt x="1780" y="118"/>
                    </a:moveTo>
                    <a:cubicBezTo>
                      <a:pt x="1779" y="118"/>
                      <a:pt x="1779" y="118"/>
                      <a:pt x="1779" y="118"/>
                    </a:cubicBezTo>
                    <a:cubicBezTo>
                      <a:pt x="1779" y="118"/>
                      <a:pt x="1779" y="118"/>
                      <a:pt x="1780" y="118"/>
                    </a:cubicBezTo>
                    <a:close/>
                    <a:moveTo>
                      <a:pt x="683" y="107"/>
                    </a:moveTo>
                    <a:cubicBezTo>
                      <a:pt x="683" y="108"/>
                      <a:pt x="683" y="108"/>
                      <a:pt x="684" y="108"/>
                    </a:cubicBezTo>
                    <a:cubicBezTo>
                      <a:pt x="684" y="108"/>
                      <a:pt x="683" y="107"/>
                      <a:pt x="683" y="107"/>
                    </a:cubicBezTo>
                    <a:close/>
                    <a:moveTo>
                      <a:pt x="1489" y="118"/>
                    </a:moveTo>
                    <a:cubicBezTo>
                      <a:pt x="1489" y="118"/>
                      <a:pt x="1489" y="118"/>
                      <a:pt x="1489" y="118"/>
                    </a:cubicBezTo>
                    <a:cubicBezTo>
                      <a:pt x="1489" y="118"/>
                      <a:pt x="1489" y="118"/>
                      <a:pt x="1489" y="118"/>
                    </a:cubicBezTo>
                    <a:close/>
                    <a:moveTo>
                      <a:pt x="1774" y="107"/>
                    </a:moveTo>
                    <a:cubicBezTo>
                      <a:pt x="1775" y="107"/>
                      <a:pt x="1775" y="107"/>
                      <a:pt x="1775" y="107"/>
                    </a:cubicBezTo>
                    <a:cubicBezTo>
                      <a:pt x="1775" y="107"/>
                      <a:pt x="1775" y="107"/>
                      <a:pt x="1774" y="107"/>
                    </a:cubicBezTo>
                    <a:close/>
                    <a:moveTo>
                      <a:pt x="1719" y="107"/>
                    </a:moveTo>
                    <a:cubicBezTo>
                      <a:pt x="1719" y="107"/>
                      <a:pt x="1719" y="107"/>
                      <a:pt x="1719" y="107"/>
                    </a:cubicBezTo>
                    <a:cubicBezTo>
                      <a:pt x="1719" y="107"/>
                      <a:pt x="1719" y="107"/>
                      <a:pt x="1719" y="107"/>
                    </a:cubicBezTo>
                    <a:close/>
                    <a:moveTo>
                      <a:pt x="1284" y="118"/>
                    </a:moveTo>
                    <a:cubicBezTo>
                      <a:pt x="1284" y="118"/>
                      <a:pt x="1285" y="118"/>
                      <a:pt x="1285" y="118"/>
                    </a:cubicBezTo>
                    <a:cubicBezTo>
                      <a:pt x="1285" y="118"/>
                      <a:pt x="1285" y="118"/>
                      <a:pt x="1284" y="118"/>
                    </a:cubicBezTo>
                    <a:close/>
                    <a:moveTo>
                      <a:pt x="1352" y="187"/>
                    </a:moveTo>
                    <a:cubicBezTo>
                      <a:pt x="1352" y="187"/>
                      <a:pt x="1352" y="187"/>
                      <a:pt x="1351" y="187"/>
                    </a:cubicBezTo>
                    <a:cubicBezTo>
                      <a:pt x="1351" y="187"/>
                      <a:pt x="1352" y="187"/>
                      <a:pt x="1352" y="187"/>
                    </a:cubicBezTo>
                    <a:close/>
                    <a:moveTo>
                      <a:pt x="1375" y="187"/>
                    </a:moveTo>
                    <a:cubicBezTo>
                      <a:pt x="1375" y="187"/>
                      <a:pt x="1375" y="187"/>
                      <a:pt x="1375" y="187"/>
                    </a:cubicBezTo>
                    <a:cubicBezTo>
                      <a:pt x="1375" y="187"/>
                      <a:pt x="1375" y="187"/>
                      <a:pt x="1375" y="187"/>
                    </a:cubicBezTo>
                    <a:close/>
                    <a:moveTo>
                      <a:pt x="1651" y="107"/>
                    </a:moveTo>
                    <a:cubicBezTo>
                      <a:pt x="1651" y="107"/>
                      <a:pt x="1651" y="107"/>
                      <a:pt x="1651" y="107"/>
                    </a:cubicBezTo>
                    <a:cubicBezTo>
                      <a:pt x="1651" y="107"/>
                      <a:pt x="1651" y="107"/>
                      <a:pt x="1651" y="107"/>
                    </a:cubicBezTo>
                    <a:close/>
                    <a:moveTo>
                      <a:pt x="1428" y="107"/>
                    </a:moveTo>
                    <a:cubicBezTo>
                      <a:pt x="1428" y="107"/>
                      <a:pt x="1429" y="107"/>
                      <a:pt x="1429" y="107"/>
                    </a:cubicBezTo>
                    <a:cubicBezTo>
                      <a:pt x="1429" y="107"/>
                      <a:pt x="1429" y="107"/>
                      <a:pt x="1428" y="107"/>
                    </a:cubicBezTo>
                    <a:close/>
                    <a:moveTo>
                      <a:pt x="1665" y="187"/>
                    </a:moveTo>
                    <a:cubicBezTo>
                      <a:pt x="1665" y="187"/>
                      <a:pt x="1665" y="187"/>
                      <a:pt x="1666" y="187"/>
                    </a:cubicBezTo>
                    <a:cubicBezTo>
                      <a:pt x="1665" y="187"/>
                      <a:pt x="1665" y="187"/>
                      <a:pt x="1665" y="187"/>
                    </a:cubicBezTo>
                    <a:close/>
                    <a:moveTo>
                      <a:pt x="1716" y="187"/>
                    </a:moveTo>
                    <a:cubicBezTo>
                      <a:pt x="1716" y="187"/>
                      <a:pt x="1716" y="187"/>
                      <a:pt x="1716" y="187"/>
                    </a:cubicBezTo>
                    <a:cubicBezTo>
                      <a:pt x="1716" y="187"/>
                      <a:pt x="1716" y="187"/>
                      <a:pt x="1716" y="187"/>
                    </a:cubicBezTo>
                    <a:close/>
                    <a:moveTo>
                      <a:pt x="1360" y="107"/>
                    </a:moveTo>
                    <a:cubicBezTo>
                      <a:pt x="1361" y="107"/>
                      <a:pt x="1361" y="107"/>
                      <a:pt x="1361" y="107"/>
                    </a:cubicBezTo>
                    <a:cubicBezTo>
                      <a:pt x="1361" y="107"/>
                      <a:pt x="1361" y="107"/>
                      <a:pt x="1360" y="107"/>
                    </a:cubicBezTo>
                    <a:close/>
                    <a:moveTo>
                      <a:pt x="1484" y="125"/>
                    </a:moveTo>
                    <a:cubicBezTo>
                      <a:pt x="1484" y="125"/>
                      <a:pt x="1484" y="125"/>
                      <a:pt x="1484" y="126"/>
                    </a:cubicBezTo>
                    <a:cubicBezTo>
                      <a:pt x="1484" y="125"/>
                      <a:pt x="1484" y="125"/>
                      <a:pt x="1484" y="125"/>
                    </a:cubicBezTo>
                    <a:close/>
                    <a:moveTo>
                      <a:pt x="719" y="188"/>
                    </a:moveTo>
                    <a:cubicBezTo>
                      <a:pt x="719" y="188"/>
                      <a:pt x="719" y="187"/>
                      <a:pt x="718" y="187"/>
                    </a:cubicBezTo>
                    <a:cubicBezTo>
                      <a:pt x="718" y="187"/>
                      <a:pt x="719" y="188"/>
                      <a:pt x="719" y="188"/>
                    </a:cubicBezTo>
                    <a:close/>
                    <a:moveTo>
                      <a:pt x="1175" y="157"/>
                    </a:moveTo>
                    <a:cubicBezTo>
                      <a:pt x="1175" y="157"/>
                      <a:pt x="1175" y="157"/>
                      <a:pt x="1175" y="157"/>
                    </a:cubicBezTo>
                    <a:cubicBezTo>
                      <a:pt x="1175" y="157"/>
                      <a:pt x="1175" y="157"/>
                      <a:pt x="1175" y="157"/>
                    </a:cubicBezTo>
                    <a:close/>
                    <a:moveTo>
                      <a:pt x="1120" y="187"/>
                    </a:moveTo>
                    <a:cubicBezTo>
                      <a:pt x="1120" y="188"/>
                      <a:pt x="1120" y="188"/>
                      <a:pt x="1120" y="188"/>
                    </a:cubicBezTo>
                    <a:cubicBezTo>
                      <a:pt x="1120" y="188"/>
                      <a:pt x="1120" y="187"/>
                      <a:pt x="1120" y="187"/>
                    </a:cubicBezTo>
                    <a:close/>
                    <a:moveTo>
                      <a:pt x="1162" y="188"/>
                    </a:moveTo>
                    <a:cubicBezTo>
                      <a:pt x="1162" y="188"/>
                      <a:pt x="1162" y="188"/>
                      <a:pt x="1162" y="187"/>
                    </a:cubicBezTo>
                    <a:cubicBezTo>
                      <a:pt x="1162" y="188"/>
                      <a:pt x="1162" y="188"/>
                      <a:pt x="1162" y="188"/>
                    </a:cubicBezTo>
                    <a:close/>
                    <a:moveTo>
                      <a:pt x="1305" y="130"/>
                    </a:moveTo>
                    <a:cubicBezTo>
                      <a:pt x="1306" y="131"/>
                      <a:pt x="1306" y="131"/>
                      <a:pt x="1306" y="131"/>
                    </a:cubicBezTo>
                    <a:cubicBezTo>
                      <a:pt x="1306" y="131"/>
                      <a:pt x="1306" y="130"/>
                      <a:pt x="1305" y="130"/>
                    </a:cubicBezTo>
                    <a:close/>
                    <a:moveTo>
                      <a:pt x="1302" y="188"/>
                    </a:moveTo>
                    <a:cubicBezTo>
                      <a:pt x="1302" y="188"/>
                      <a:pt x="1302" y="188"/>
                      <a:pt x="1302" y="187"/>
                    </a:cubicBezTo>
                    <a:cubicBezTo>
                      <a:pt x="1302" y="187"/>
                      <a:pt x="1302" y="188"/>
                      <a:pt x="1302" y="188"/>
                    </a:cubicBezTo>
                    <a:close/>
                    <a:moveTo>
                      <a:pt x="1269" y="107"/>
                    </a:moveTo>
                    <a:cubicBezTo>
                      <a:pt x="1269" y="107"/>
                      <a:pt x="1269" y="107"/>
                      <a:pt x="1269" y="107"/>
                    </a:cubicBezTo>
                    <a:cubicBezTo>
                      <a:pt x="1269" y="107"/>
                      <a:pt x="1269" y="107"/>
                      <a:pt x="1269" y="107"/>
                    </a:cubicBezTo>
                    <a:close/>
                    <a:moveTo>
                      <a:pt x="1289" y="142"/>
                    </a:moveTo>
                    <a:cubicBezTo>
                      <a:pt x="1288" y="141"/>
                      <a:pt x="1288" y="141"/>
                      <a:pt x="1288" y="141"/>
                    </a:cubicBezTo>
                    <a:cubicBezTo>
                      <a:pt x="1288" y="142"/>
                      <a:pt x="1288" y="142"/>
                      <a:pt x="1289" y="142"/>
                    </a:cubicBezTo>
                    <a:close/>
                    <a:moveTo>
                      <a:pt x="1375" y="187"/>
                    </a:moveTo>
                    <a:cubicBezTo>
                      <a:pt x="1375" y="188"/>
                      <a:pt x="1376" y="188"/>
                      <a:pt x="1376" y="188"/>
                    </a:cubicBezTo>
                    <a:cubicBezTo>
                      <a:pt x="1376" y="188"/>
                      <a:pt x="1376" y="187"/>
                      <a:pt x="1375" y="187"/>
                    </a:cubicBezTo>
                    <a:close/>
                    <a:moveTo>
                      <a:pt x="1424" y="188"/>
                    </a:moveTo>
                    <a:cubicBezTo>
                      <a:pt x="1425" y="188"/>
                      <a:pt x="1425" y="188"/>
                      <a:pt x="1425" y="187"/>
                    </a:cubicBezTo>
                    <a:cubicBezTo>
                      <a:pt x="1425" y="188"/>
                      <a:pt x="1425" y="188"/>
                      <a:pt x="1424" y="188"/>
                    </a:cubicBezTo>
                    <a:close/>
                    <a:moveTo>
                      <a:pt x="930" y="107"/>
                    </a:moveTo>
                    <a:cubicBezTo>
                      <a:pt x="930" y="107"/>
                      <a:pt x="930" y="107"/>
                      <a:pt x="931" y="107"/>
                    </a:cubicBezTo>
                    <a:cubicBezTo>
                      <a:pt x="931" y="107"/>
                      <a:pt x="930" y="107"/>
                      <a:pt x="930" y="107"/>
                    </a:cubicBezTo>
                    <a:close/>
                    <a:moveTo>
                      <a:pt x="853" y="107"/>
                    </a:moveTo>
                    <a:cubicBezTo>
                      <a:pt x="853" y="107"/>
                      <a:pt x="854" y="107"/>
                      <a:pt x="854" y="107"/>
                    </a:cubicBezTo>
                    <a:cubicBezTo>
                      <a:pt x="853" y="107"/>
                      <a:pt x="853" y="107"/>
                      <a:pt x="853" y="107"/>
                    </a:cubicBezTo>
                    <a:close/>
                    <a:moveTo>
                      <a:pt x="793" y="107"/>
                    </a:moveTo>
                    <a:cubicBezTo>
                      <a:pt x="793" y="107"/>
                      <a:pt x="793" y="107"/>
                      <a:pt x="793" y="107"/>
                    </a:cubicBezTo>
                    <a:cubicBezTo>
                      <a:pt x="793" y="107"/>
                      <a:pt x="793" y="107"/>
                      <a:pt x="793" y="107"/>
                    </a:cubicBezTo>
                    <a:close/>
                    <a:moveTo>
                      <a:pt x="1715" y="188"/>
                    </a:moveTo>
                    <a:cubicBezTo>
                      <a:pt x="1715" y="188"/>
                      <a:pt x="1715" y="188"/>
                      <a:pt x="1715" y="187"/>
                    </a:cubicBezTo>
                    <a:cubicBezTo>
                      <a:pt x="1715" y="187"/>
                      <a:pt x="1715" y="188"/>
                      <a:pt x="1715" y="188"/>
                    </a:cubicBezTo>
                    <a:close/>
                    <a:moveTo>
                      <a:pt x="1319" y="141"/>
                    </a:moveTo>
                    <a:cubicBezTo>
                      <a:pt x="1319" y="142"/>
                      <a:pt x="1319" y="142"/>
                      <a:pt x="1319" y="142"/>
                    </a:cubicBezTo>
                    <a:cubicBezTo>
                      <a:pt x="1319" y="142"/>
                      <a:pt x="1319" y="141"/>
                      <a:pt x="1319" y="141"/>
                    </a:cubicBezTo>
                    <a:close/>
                    <a:moveTo>
                      <a:pt x="936" y="188"/>
                    </a:moveTo>
                    <a:cubicBezTo>
                      <a:pt x="935" y="188"/>
                      <a:pt x="935" y="188"/>
                      <a:pt x="935" y="188"/>
                    </a:cubicBezTo>
                    <a:cubicBezTo>
                      <a:pt x="936" y="188"/>
                      <a:pt x="936" y="188"/>
                      <a:pt x="936" y="188"/>
                    </a:cubicBezTo>
                    <a:close/>
                    <a:moveTo>
                      <a:pt x="1175" y="157"/>
                    </a:moveTo>
                    <a:cubicBezTo>
                      <a:pt x="1175" y="158"/>
                      <a:pt x="1176" y="158"/>
                      <a:pt x="1176" y="158"/>
                    </a:cubicBezTo>
                    <a:cubicBezTo>
                      <a:pt x="1176" y="158"/>
                      <a:pt x="1176" y="157"/>
                      <a:pt x="1175" y="157"/>
                    </a:cubicBezTo>
                    <a:close/>
                    <a:moveTo>
                      <a:pt x="1121" y="188"/>
                    </a:moveTo>
                    <a:cubicBezTo>
                      <a:pt x="1121" y="188"/>
                      <a:pt x="1121" y="188"/>
                      <a:pt x="1121" y="188"/>
                    </a:cubicBezTo>
                    <a:cubicBezTo>
                      <a:pt x="1121" y="188"/>
                      <a:pt x="1121" y="188"/>
                      <a:pt x="1121" y="188"/>
                    </a:cubicBezTo>
                    <a:close/>
                    <a:moveTo>
                      <a:pt x="1161" y="189"/>
                    </a:moveTo>
                    <a:cubicBezTo>
                      <a:pt x="1162" y="188"/>
                      <a:pt x="1162" y="188"/>
                      <a:pt x="1162" y="188"/>
                    </a:cubicBezTo>
                    <a:cubicBezTo>
                      <a:pt x="1161" y="188"/>
                      <a:pt x="1161" y="188"/>
                      <a:pt x="1161" y="189"/>
                    </a:cubicBezTo>
                    <a:close/>
                    <a:moveTo>
                      <a:pt x="727" y="107"/>
                    </a:moveTo>
                    <a:cubicBezTo>
                      <a:pt x="727" y="107"/>
                      <a:pt x="728" y="107"/>
                      <a:pt x="728" y="107"/>
                    </a:cubicBezTo>
                    <a:cubicBezTo>
                      <a:pt x="727" y="107"/>
                      <a:pt x="727" y="107"/>
                      <a:pt x="727" y="107"/>
                    </a:cubicBezTo>
                    <a:close/>
                    <a:moveTo>
                      <a:pt x="622" y="107"/>
                    </a:moveTo>
                    <a:cubicBezTo>
                      <a:pt x="622" y="107"/>
                      <a:pt x="622" y="107"/>
                      <a:pt x="622" y="107"/>
                    </a:cubicBezTo>
                    <a:cubicBezTo>
                      <a:pt x="622" y="107"/>
                      <a:pt x="622" y="107"/>
                      <a:pt x="622" y="107"/>
                    </a:cubicBezTo>
                    <a:close/>
                    <a:moveTo>
                      <a:pt x="1301" y="188"/>
                    </a:moveTo>
                    <a:cubicBezTo>
                      <a:pt x="1301" y="188"/>
                      <a:pt x="1302" y="188"/>
                      <a:pt x="1302" y="188"/>
                    </a:cubicBezTo>
                    <a:cubicBezTo>
                      <a:pt x="1301" y="188"/>
                      <a:pt x="1301" y="188"/>
                      <a:pt x="1301" y="188"/>
                    </a:cubicBezTo>
                    <a:close/>
                    <a:moveTo>
                      <a:pt x="1718" y="106"/>
                    </a:moveTo>
                    <a:cubicBezTo>
                      <a:pt x="1718" y="106"/>
                      <a:pt x="1718" y="107"/>
                      <a:pt x="1719" y="107"/>
                    </a:cubicBezTo>
                    <a:cubicBezTo>
                      <a:pt x="1718" y="106"/>
                      <a:pt x="1718" y="106"/>
                      <a:pt x="1718" y="106"/>
                    </a:cubicBezTo>
                    <a:close/>
                    <a:moveTo>
                      <a:pt x="1423" y="188"/>
                    </a:moveTo>
                    <a:cubicBezTo>
                      <a:pt x="1424" y="188"/>
                      <a:pt x="1424" y="188"/>
                      <a:pt x="1424" y="188"/>
                    </a:cubicBezTo>
                    <a:cubicBezTo>
                      <a:pt x="1424" y="188"/>
                      <a:pt x="1423" y="188"/>
                      <a:pt x="1423" y="188"/>
                    </a:cubicBezTo>
                    <a:close/>
                    <a:moveTo>
                      <a:pt x="1651" y="107"/>
                    </a:moveTo>
                    <a:cubicBezTo>
                      <a:pt x="1652" y="107"/>
                      <a:pt x="1652" y="106"/>
                      <a:pt x="1652" y="106"/>
                    </a:cubicBezTo>
                    <a:cubicBezTo>
                      <a:pt x="1652" y="106"/>
                      <a:pt x="1651" y="107"/>
                      <a:pt x="1651" y="107"/>
                    </a:cubicBezTo>
                    <a:close/>
                    <a:moveTo>
                      <a:pt x="1667" y="188"/>
                    </a:moveTo>
                    <a:cubicBezTo>
                      <a:pt x="1667" y="188"/>
                      <a:pt x="1667" y="188"/>
                      <a:pt x="1667" y="188"/>
                    </a:cubicBezTo>
                    <a:cubicBezTo>
                      <a:pt x="1667" y="188"/>
                      <a:pt x="1667" y="188"/>
                      <a:pt x="1667" y="188"/>
                    </a:cubicBezTo>
                    <a:close/>
                    <a:moveTo>
                      <a:pt x="1254" y="118"/>
                    </a:moveTo>
                    <a:cubicBezTo>
                      <a:pt x="1254" y="118"/>
                      <a:pt x="1254" y="118"/>
                      <a:pt x="1253" y="118"/>
                    </a:cubicBezTo>
                    <a:cubicBezTo>
                      <a:pt x="1253" y="118"/>
                      <a:pt x="1254" y="118"/>
                      <a:pt x="1254" y="118"/>
                    </a:cubicBezTo>
                    <a:close/>
                    <a:moveTo>
                      <a:pt x="1176" y="158"/>
                    </a:moveTo>
                    <a:cubicBezTo>
                      <a:pt x="1176" y="158"/>
                      <a:pt x="1176" y="159"/>
                      <a:pt x="1177" y="159"/>
                    </a:cubicBezTo>
                    <a:cubicBezTo>
                      <a:pt x="1177" y="158"/>
                      <a:pt x="1176" y="158"/>
                      <a:pt x="1176" y="158"/>
                    </a:cubicBezTo>
                    <a:close/>
                    <a:moveTo>
                      <a:pt x="1307" y="159"/>
                    </a:moveTo>
                    <a:cubicBezTo>
                      <a:pt x="1307" y="158"/>
                      <a:pt x="1307" y="158"/>
                      <a:pt x="1307" y="158"/>
                    </a:cubicBezTo>
                    <a:cubicBezTo>
                      <a:pt x="1307" y="158"/>
                      <a:pt x="1307" y="158"/>
                      <a:pt x="1307" y="159"/>
                    </a:cubicBezTo>
                    <a:close/>
                    <a:moveTo>
                      <a:pt x="847" y="189"/>
                    </a:moveTo>
                    <a:cubicBezTo>
                      <a:pt x="847" y="189"/>
                      <a:pt x="846" y="188"/>
                      <a:pt x="846" y="188"/>
                    </a:cubicBezTo>
                    <a:cubicBezTo>
                      <a:pt x="846" y="189"/>
                      <a:pt x="846" y="189"/>
                      <a:pt x="847" y="189"/>
                    </a:cubicBezTo>
                    <a:close/>
                    <a:moveTo>
                      <a:pt x="935" y="188"/>
                    </a:moveTo>
                    <a:cubicBezTo>
                      <a:pt x="935" y="188"/>
                      <a:pt x="935" y="189"/>
                      <a:pt x="935" y="189"/>
                    </a:cubicBezTo>
                    <a:cubicBezTo>
                      <a:pt x="935" y="189"/>
                      <a:pt x="935" y="189"/>
                      <a:pt x="935" y="188"/>
                    </a:cubicBezTo>
                    <a:close/>
                    <a:moveTo>
                      <a:pt x="1428" y="106"/>
                    </a:moveTo>
                    <a:cubicBezTo>
                      <a:pt x="1428" y="106"/>
                      <a:pt x="1428" y="107"/>
                      <a:pt x="1428" y="107"/>
                    </a:cubicBezTo>
                    <a:cubicBezTo>
                      <a:pt x="1428" y="107"/>
                      <a:pt x="1428" y="106"/>
                      <a:pt x="1428" y="106"/>
                    </a:cubicBezTo>
                    <a:close/>
                    <a:moveTo>
                      <a:pt x="1361" y="107"/>
                    </a:moveTo>
                    <a:cubicBezTo>
                      <a:pt x="1361" y="107"/>
                      <a:pt x="1361" y="106"/>
                      <a:pt x="1361" y="106"/>
                    </a:cubicBezTo>
                    <a:cubicBezTo>
                      <a:pt x="1361" y="106"/>
                      <a:pt x="1361" y="106"/>
                      <a:pt x="1361" y="107"/>
                    </a:cubicBezTo>
                    <a:close/>
                    <a:moveTo>
                      <a:pt x="627" y="117"/>
                    </a:moveTo>
                    <a:cubicBezTo>
                      <a:pt x="626" y="118"/>
                      <a:pt x="626" y="118"/>
                      <a:pt x="626" y="118"/>
                    </a:cubicBezTo>
                    <a:cubicBezTo>
                      <a:pt x="626" y="118"/>
                      <a:pt x="627" y="118"/>
                      <a:pt x="627" y="117"/>
                    </a:cubicBezTo>
                    <a:close/>
                    <a:moveTo>
                      <a:pt x="1161" y="189"/>
                    </a:moveTo>
                    <a:cubicBezTo>
                      <a:pt x="1161" y="189"/>
                      <a:pt x="1161" y="189"/>
                      <a:pt x="1161" y="189"/>
                    </a:cubicBezTo>
                    <a:cubicBezTo>
                      <a:pt x="1161" y="189"/>
                      <a:pt x="1161" y="189"/>
                      <a:pt x="1161" y="189"/>
                    </a:cubicBezTo>
                    <a:close/>
                    <a:moveTo>
                      <a:pt x="1268" y="106"/>
                    </a:moveTo>
                    <a:cubicBezTo>
                      <a:pt x="1268" y="106"/>
                      <a:pt x="1269" y="107"/>
                      <a:pt x="1269" y="107"/>
                    </a:cubicBezTo>
                    <a:cubicBezTo>
                      <a:pt x="1269" y="106"/>
                      <a:pt x="1269" y="106"/>
                      <a:pt x="1268" y="106"/>
                    </a:cubicBezTo>
                    <a:close/>
                    <a:moveTo>
                      <a:pt x="930" y="106"/>
                    </a:moveTo>
                    <a:cubicBezTo>
                      <a:pt x="930" y="106"/>
                      <a:pt x="930" y="107"/>
                      <a:pt x="930" y="107"/>
                    </a:cubicBezTo>
                    <a:cubicBezTo>
                      <a:pt x="930" y="107"/>
                      <a:pt x="930" y="106"/>
                      <a:pt x="930" y="106"/>
                    </a:cubicBezTo>
                    <a:close/>
                    <a:moveTo>
                      <a:pt x="854" y="107"/>
                    </a:moveTo>
                    <a:cubicBezTo>
                      <a:pt x="854" y="107"/>
                      <a:pt x="854" y="107"/>
                      <a:pt x="854" y="106"/>
                    </a:cubicBezTo>
                    <a:cubicBezTo>
                      <a:pt x="854" y="106"/>
                      <a:pt x="854" y="106"/>
                      <a:pt x="854" y="107"/>
                    </a:cubicBezTo>
                    <a:close/>
                    <a:moveTo>
                      <a:pt x="728" y="107"/>
                    </a:moveTo>
                    <a:cubicBezTo>
                      <a:pt x="728" y="107"/>
                      <a:pt x="728" y="107"/>
                      <a:pt x="728" y="106"/>
                    </a:cubicBezTo>
                    <a:cubicBezTo>
                      <a:pt x="728" y="106"/>
                      <a:pt x="728" y="106"/>
                      <a:pt x="728" y="107"/>
                    </a:cubicBezTo>
                    <a:close/>
                    <a:moveTo>
                      <a:pt x="1377" y="189"/>
                    </a:moveTo>
                    <a:cubicBezTo>
                      <a:pt x="1377" y="189"/>
                      <a:pt x="1377" y="189"/>
                      <a:pt x="1378" y="189"/>
                    </a:cubicBezTo>
                    <a:cubicBezTo>
                      <a:pt x="1378" y="189"/>
                      <a:pt x="1377" y="189"/>
                      <a:pt x="1377" y="189"/>
                    </a:cubicBezTo>
                    <a:close/>
                    <a:moveTo>
                      <a:pt x="1422" y="189"/>
                    </a:moveTo>
                    <a:cubicBezTo>
                      <a:pt x="1422" y="189"/>
                      <a:pt x="1423" y="189"/>
                      <a:pt x="1423" y="189"/>
                    </a:cubicBezTo>
                    <a:cubicBezTo>
                      <a:pt x="1422" y="189"/>
                      <a:pt x="1422" y="189"/>
                      <a:pt x="1422" y="189"/>
                    </a:cubicBezTo>
                    <a:close/>
                    <a:moveTo>
                      <a:pt x="622" y="107"/>
                    </a:moveTo>
                    <a:cubicBezTo>
                      <a:pt x="623" y="107"/>
                      <a:pt x="623" y="106"/>
                      <a:pt x="623" y="106"/>
                    </a:cubicBezTo>
                    <a:cubicBezTo>
                      <a:pt x="622" y="106"/>
                      <a:pt x="622" y="106"/>
                      <a:pt x="622" y="107"/>
                    </a:cubicBezTo>
                    <a:close/>
                    <a:moveTo>
                      <a:pt x="1643" y="189"/>
                    </a:moveTo>
                    <a:cubicBezTo>
                      <a:pt x="1643" y="189"/>
                      <a:pt x="1643" y="188"/>
                      <a:pt x="1643" y="188"/>
                    </a:cubicBezTo>
                    <a:cubicBezTo>
                      <a:pt x="1643" y="189"/>
                      <a:pt x="1643" y="189"/>
                      <a:pt x="1643" y="189"/>
                    </a:cubicBezTo>
                    <a:close/>
                    <a:moveTo>
                      <a:pt x="1667" y="188"/>
                    </a:moveTo>
                    <a:cubicBezTo>
                      <a:pt x="1667" y="189"/>
                      <a:pt x="1668" y="189"/>
                      <a:pt x="1668" y="189"/>
                    </a:cubicBezTo>
                    <a:cubicBezTo>
                      <a:pt x="1668" y="189"/>
                      <a:pt x="1667" y="189"/>
                      <a:pt x="1667" y="188"/>
                    </a:cubicBezTo>
                    <a:close/>
                    <a:moveTo>
                      <a:pt x="1652" y="106"/>
                    </a:moveTo>
                    <a:cubicBezTo>
                      <a:pt x="1652" y="106"/>
                      <a:pt x="1652" y="106"/>
                      <a:pt x="1652" y="106"/>
                    </a:cubicBezTo>
                    <a:cubicBezTo>
                      <a:pt x="1652" y="106"/>
                      <a:pt x="1652" y="106"/>
                      <a:pt x="1652" y="106"/>
                    </a:cubicBezTo>
                    <a:close/>
                    <a:moveTo>
                      <a:pt x="1780" y="117"/>
                    </a:moveTo>
                    <a:cubicBezTo>
                      <a:pt x="1780" y="117"/>
                      <a:pt x="1780" y="117"/>
                      <a:pt x="1780" y="118"/>
                    </a:cubicBezTo>
                    <a:cubicBezTo>
                      <a:pt x="1780" y="117"/>
                      <a:pt x="1780" y="117"/>
                      <a:pt x="1780" y="117"/>
                    </a:cubicBezTo>
                    <a:close/>
                    <a:moveTo>
                      <a:pt x="1263" y="126"/>
                    </a:moveTo>
                    <a:cubicBezTo>
                      <a:pt x="1263" y="125"/>
                      <a:pt x="1262" y="125"/>
                      <a:pt x="1262" y="125"/>
                    </a:cubicBezTo>
                    <a:cubicBezTo>
                      <a:pt x="1262" y="125"/>
                      <a:pt x="1262" y="126"/>
                      <a:pt x="1263" y="126"/>
                    </a:cubicBezTo>
                    <a:close/>
                    <a:moveTo>
                      <a:pt x="1485" y="106"/>
                    </a:moveTo>
                    <a:cubicBezTo>
                      <a:pt x="1485" y="106"/>
                      <a:pt x="1485" y="106"/>
                      <a:pt x="1485" y="106"/>
                    </a:cubicBezTo>
                    <a:cubicBezTo>
                      <a:pt x="1485" y="106"/>
                      <a:pt x="1485" y="106"/>
                      <a:pt x="1485" y="106"/>
                    </a:cubicBezTo>
                    <a:close/>
                    <a:moveTo>
                      <a:pt x="1427" y="106"/>
                    </a:moveTo>
                    <a:cubicBezTo>
                      <a:pt x="1427" y="106"/>
                      <a:pt x="1427" y="106"/>
                      <a:pt x="1428" y="106"/>
                    </a:cubicBezTo>
                    <a:cubicBezTo>
                      <a:pt x="1428" y="106"/>
                      <a:pt x="1427" y="106"/>
                      <a:pt x="1427" y="106"/>
                    </a:cubicBezTo>
                    <a:close/>
                    <a:moveTo>
                      <a:pt x="1362" y="106"/>
                    </a:moveTo>
                    <a:cubicBezTo>
                      <a:pt x="1362" y="106"/>
                      <a:pt x="1362" y="106"/>
                      <a:pt x="1362" y="106"/>
                    </a:cubicBezTo>
                    <a:cubicBezTo>
                      <a:pt x="1362" y="106"/>
                      <a:pt x="1362" y="106"/>
                      <a:pt x="1362" y="106"/>
                    </a:cubicBezTo>
                    <a:close/>
                    <a:moveTo>
                      <a:pt x="929" y="106"/>
                    </a:moveTo>
                    <a:cubicBezTo>
                      <a:pt x="929" y="106"/>
                      <a:pt x="929" y="106"/>
                      <a:pt x="930" y="106"/>
                    </a:cubicBezTo>
                    <a:cubicBezTo>
                      <a:pt x="929" y="106"/>
                      <a:pt x="929" y="106"/>
                      <a:pt x="929" y="106"/>
                    </a:cubicBezTo>
                    <a:close/>
                    <a:moveTo>
                      <a:pt x="1643" y="118"/>
                    </a:moveTo>
                    <a:cubicBezTo>
                      <a:pt x="1643" y="118"/>
                      <a:pt x="1643" y="117"/>
                      <a:pt x="1643" y="117"/>
                    </a:cubicBezTo>
                    <a:cubicBezTo>
                      <a:pt x="1643" y="117"/>
                      <a:pt x="1643" y="117"/>
                      <a:pt x="1643" y="118"/>
                    </a:cubicBezTo>
                    <a:close/>
                    <a:moveTo>
                      <a:pt x="1160" y="190"/>
                    </a:moveTo>
                    <a:cubicBezTo>
                      <a:pt x="1160" y="190"/>
                      <a:pt x="1161" y="190"/>
                      <a:pt x="1161" y="189"/>
                    </a:cubicBezTo>
                    <a:cubicBezTo>
                      <a:pt x="1160" y="189"/>
                      <a:pt x="1160" y="189"/>
                      <a:pt x="1160" y="190"/>
                    </a:cubicBezTo>
                    <a:close/>
                    <a:moveTo>
                      <a:pt x="854" y="106"/>
                    </a:moveTo>
                    <a:cubicBezTo>
                      <a:pt x="855" y="106"/>
                      <a:pt x="855" y="106"/>
                      <a:pt x="855" y="106"/>
                    </a:cubicBezTo>
                    <a:cubicBezTo>
                      <a:pt x="855" y="106"/>
                      <a:pt x="854" y="106"/>
                      <a:pt x="854" y="106"/>
                    </a:cubicBezTo>
                    <a:close/>
                    <a:moveTo>
                      <a:pt x="1490" y="117"/>
                    </a:moveTo>
                    <a:cubicBezTo>
                      <a:pt x="1490" y="117"/>
                      <a:pt x="1489" y="117"/>
                      <a:pt x="1489" y="118"/>
                    </a:cubicBezTo>
                    <a:cubicBezTo>
                      <a:pt x="1490" y="117"/>
                      <a:pt x="1490" y="117"/>
                      <a:pt x="1490" y="117"/>
                    </a:cubicBezTo>
                    <a:close/>
                    <a:moveTo>
                      <a:pt x="728" y="106"/>
                    </a:moveTo>
                    <a:cubicBezTo>
                      <a:pt x="728" y="106"/>
                      <a:pt x="729" y="106"/>
                      <a:pt x="729" y="106"/>
                    </a:cubicBezTo>
                    <a:cubicBezTo>
                      <a:pt x="728" y="106"/>
                      <a:pt x="728" y="106"/>
                      <a:pt x="728" y="106"/>
                    </a:cubicBezTo>
                    <a:close/>
                    <a:moveTo>
                      <a:pt x="1421" y="190"/>
                    </a:moveTo>
                    <a:cubicBezTo>
                      <a:pt x="1421" y="190"/>
                      <a:pt x="1421" y="189"/>
                      <a:pt x="1422" y="189"/>
                    </a:cubicBezTo>
                    <a:cubicBezTo>
                      <a:pt x="1421" y="189"/>
                      <a:pt x="1421" y="189"/>
                      <a:pt x="1421" y="190"/>
                    </a:cubicBezTo>
                    <a:close/>
                    <a:moveTo>
                      <a:pt x="682" y="106"/>
                    </a:moveTo>
                    <a:cubicBezTo>
                      <a:pt x="682" y="106"/>
                      <a:pt x="682" y="106"/>
                      <a:pt x="683" y="106"/>
                    </a:cubicBezTo>
                    <a:cubicBezTo>
                      <a:pt x="682" y="106"/>
                      <a:pt x="682" y="106"/>
                      <a:pt x="682" y="106"/>
                    </a:cubicBezTo>
                    <a:close/>
                    <a:moveTo>
                      <a:pt x="1668" y="189"/>
                    </a:moveTo>
                    <a:cubicBezTo>
                      <a:pt x="1668" y="189"/>
                      <a:pt x="1669" y="190"/>
                      <a:pt x="1669" y="190"/>
                    </a:cubicBezTo>
                    <a:cubicBezTo>
                      <a:pt x="1669" y="189"/>
                      <a:pt x="1669" y="189"/>
                      <a:pt x="1668" y="189"/>
                    </a:cubicBezTo>
                    <a:close/>
                    <a:moveTo>
                      <a:pt x="623" y="106"/>
                    </a:moveTo>
                    <a:cubicBezTo>
                      <a:pt x="623" y="106"/>
                      <a:pt x="623" y="106"/>
                      <a:pt x="623" y="106"/>
                    </a:cubicBezTo>
                    <a:cubicBezTo>
                      <a:pt x="623" y="106"/>
                      <a:pt x="623" y="106"/>
                      <a:pt x="623" y="106"/>
                    </a:cubicBezTo>
                    <a:close/>
                    <a:moveTo>
                      <a:pt x="1776" y="106"/>
                    </a:moveTo>
                    <a:cubicBezTo>
                      <a:pt x="1776" y="106"/>
                      <a:pt x="1776" y="105"/>
                      <a:pt x="1776" y="105"/>
                    </a:cubicBezTo>
                    <a:cubicBezTo>
                      <a:pt x="1776" y="105"/>
                      <a:pt x="1776" y="105"/>
                      <a:pt x="1776" y="106"/>
                    </a:cubicBezTo>
                    <a:close/>
                    <a:moveTo>
                      <a:pt x="1253" y="118"/>
                    </a:moveTo>
                    <a:cubicBezTo>
                      <a:pt x="1253" y="117"/>
                      <a:pt x="1253" y="117"/>
                      <a:pt x="1253" y="117"/>
                    </a:cubicBezTo>
                    <a:cubicBezTo>
                      <a:pt x="1253" y="117"/>
                      <a:pt x="1253" y="117"/>
                      <a:pt x="1253" y="118"/>
                    </a:cubicBezTo>
                    <a:close/>
                    <a:moveTo>
                      <a:pt x="1652" y="106"/>
                    </a:moveTo>
                    <a:cubicBezTo>
                      <a:pt x="1653" y="106"/>
                      <a:pt x="1653" y="105"/>
                      <a:pt x="1653" y="105"/>
                    </a:cubicBezTo>
                    <a:cubicBezTo>
                      <a:pt x="1653" y="105"/>
                      <a:pt x="1652" y="105"/>
                      <a:pt x="1652" y="106"/>
                    </a:cubicBezTo>
                    <a:close/>
                    <a:moveTo>
                      <a:pt x="1296" y="125"/>
                    </a:moveTo>
                    <a:cubicBezTo>
                      <a:pt x="1296" y="125"/>
                      <a:pt x="1297" y="125"/>
                      <a:pt x="1297" y="125"/>
                    </a:cubicBezTo>
                    <a:cubicBezTo>
                      <a:pt x="1297" y="125"/>
                      <a:pt x="1297" y="125"/>
                      <a:pt x="1296" y="125"/>
                    </a:cubicBezTo>
                    <a:close/>
                    <a:moveTo>
                      <a:pt x="1159" y="190"/>
                    </a:moveTo>
                    <a:cubicBezTo>
                      <a:pt x="1160" y="190"/>
                      <a:pt x="1160" y="190"/>
                      <a:pt x="1160" y="190"/>
                    </a:cubicBezTo>
                    <a:cubicBezTo>
                      <a:pt x="1160" y="190"/>
                      <a:pt x="1160" y="190"/>
                      <a:pt x="1159" y="190"/>
                    </a:cubicBezTo>
                    <a:close/>
                    <a:moveTo>
                      <a:pt x="1262" y="125"/>
                    </a:moveTo>
                    <a:cubicBezTo>
                      <a:pt x="1262" y="125"/>
                      <a:pt x="1262" y="125"/>
                      <a:pt x="1261" y="125"/>
                    </a:cubicBezTo>
                    <a:cubicBezTo>
                      <a:pt x="1261" y="125"/>
                      <a:pt x="1262" y="125"/>
                      <a:pt x="1262" y="125"/>
                    </a:cubicBezTo>
                    <a:close/>
                    <a:moveTo>
                      <a:pt x="621" y="124"/>
                    </a:moveTo>
                    <a:cubicBezTo>
                      <a:pt x="621" y="125"/>
                      <a:pt x="621" y="125"/>
                      <a:pt x="621" y="125"/>
                    </a:cubicBezTo>
                    <a:cubicBezTo>
                      <a:pt x="621" y="125"/>
                      <a:pt x="621" y="125"/>
                      <a:pt x="621" y="124"/>
                    </a:cubicBezTo>
                    <a:close/>
                    <a:moveTo>
                      <a:pt x="1319" y="142"/>
                    </a:moveTo>
                    <a:cubicBezTo>
                      <a:pt x="1319" y="142"/>
                      <a:pt x="1320" y="142"/>
                      <a:pt x="1320" y="143"/>
                    </a:cubicBezTo>
                    <a:cubicBezTo>
                      <a:pt x="1320" y="142"/>
                      <a:pt x="1320" y="142"/>
                      <a:pt x="1319" y="142"/>
                    </a:cubicBezTo>
                    <a:close/>
                    <a:moveTo>
                      <a:pt x="1324" y="190"/>
                    </a:moveTo>
                    <a:cubicBezTo>
                      <a:pt x="1324" y="190"/>
                      <a:pt x="1324" y="190"/>
                      <a:pt x="1324" y="190"/>
                    </a:cubicBezTo>
                    <a:cubicBezTo>
                      <a:pt x="1324" y="190"/>
                      <a:pt x="1324" y="190"/>
                      <a:pt x="1324" y="190"/>
                    </a:cubicBezTo>
                    <a:close/>
                    <a:moveTo>
                      <a:pt x="1353" y="190"/>
                    </a:moveTo>
                    <a:cubicBezTo>
                      <a:pt x="1353" y="190"/>
                      <a:pt x="1353" y="190"/>
                      <a:pt x="1353" y="189"/>
                    </a:cubicBezTo>
                    <a:cubicBezTo>
                      <a:pt x="1353" y="190"/>
                      <a:pt x="1353" y="190"/>
                      <a:pt x="1353" y="190"/>
                    </a:cubicBezTo>
                    <a:close/>
                    <a:moveTo>
                      <a:pt x="1310" y="134"/>
                    </a:moveTo>
                    <a:cubicBezTo>
                      <a:pt x="1310" y="134"/>
                      <a:pt x="1311" y="134"/>
                      <a:pt x="1311" y="134"/>
                    </a:cubicBezTo>
                    <a:cubicBezTo>
                      <a:pt x="1311" y="134"/>
                      <a:pt x="1310" y="134"/>
                      <a:pt x="1310" y="134"/>
                    </a:cubicBezTo>
                    <a:close/>
                    <a:moveTo>
                      <a:pt x="1485" y="106"/>
                    </a:moveTo>
                    <a:cubicBezTo>
                      <a:pt x="1486" y="105"/>
                      <a:pt x="1486" y="105"/>
                      <a:pt x="1486" y="105"/>
                    </a:cubicBezTo>
                    <a:cubicBezTo>
                      <a:pt x="1486" y="105"/>
                      <a:pt x="1486" y="105"/>
                      <a:pt x="1485" y="106"/>
                    </a:cubicBezTo>
                    <a:close/>
                    <a:moveTo>
                      <a:pt x="627" y="117"/>
                    </a:moveTo>
                    <a:cubicBezTo>
                      <a:pt x="627" y="117"/>
                      <a:pt x="627" y="117"/>
                      <a:pt x="627" y="117"/>
                    </a:cubicBezTo>
                    <a:cubicBezTo>
                      <a:pt x="627" y="117"/>
                      <a:pt x="627" y="117"/>
                      <a:pt x="627" y="117"/>
                    </a:cubicBezTo>
                    <a:close/>
                    <a:moveTo>
                      <a:pt x="1178" y="160"/>
                    </a:moveTo>
                    <a:cubicBezTo>
                      <a:pt x="1178" y="161"/>
                      <a:pt x="1178" y="161"/>
                      <a:pt x="1178" y="161"/>
                    </a:cubicBezTo>
                    <a:cubicBezTo>
                      <a:pt x="1178" y="161"/>
                      <a:pt x="1178" y="160"/>
                      <a:pt x="1178" y="160"/>
                    </a:cubicBezTo>
                    <a:close/>
                    <a:moveTo>
                      <a:pt x="1304" y="130"/>
                    </a:moveTo>
                    <a:cubicBezTo>
                      <a:pt x="1305" y="130"/>
                      <a:pt x="1305" y="130"/>
                      <a:pt x="1305" y="130"/>
                    </a:cubicBezTo>
                    <a:cubicBezTo>
                      <a:pt x="1305" y="130"/>
                      <a:pt x="1305" y="130"/>
                      <a:pt x="1304" y="130"/>
                    </a:cubicBezTo>
                    <a:close/>
                    <a:moveTo>
                      <a:pt x="721" y="191"/>
                    </a:moveTo>
                    <a:cubicBezTo>
                      <a:pt x="721" y="190"/>
                      <a:pt x="720" y="190"/>
                      <a:pt x="720" y="190"/>
                    </a:cubicBezTo>
                    <a:cubicBezTo>
                      <a:pt x="720" y="190"/>
                      <a:pt x="720" y="191"/>
                      <a:pt x="721" y="191"/>
                    </a:cubicBezTo>
                    <a:close/>
                    <a:moveTo>
                      <a:pt x="848" y="191"/>
                    </a:moveTo>
                    <a:cubicBezTo>
                      <a:pt x="848" y="190"/>
                      <a:pt x="848" y="190"/>
                      <a:pt x="847" y="190"/>
                    </a:cubicBezTo>
                    <a:cubicBezTo>
                      <a:pt x="847" y="190"/>
                      <a:pt x="848" y="191"/>
                      <a:pt x="848" y="191"/>
                    </a:cubicBezTo>
                    <a:close/>
                    <a:moveTo>
                      <a:pt x="934" y="190"/>
                    </a:moveTo>
                    <a:cubicBezTo>
                      <a:pt x="934" y="190"/>
                      <a:pt x="934" y="190"/>
                      <a:pt x="934" y="191"/>
                    </a:cubicBezTo>
                    <a:cubicBezTo>
                      <a:pt x="934" y="191"/>
                      <a:pt x="934" y="190"/>
                      <a:pt x="934" y="190"/>
                    </a:cubicBezTo>
                    <a:close/>
                    <a:moveTo>
                      <a:pt x="1427" y="105"/>
                    </a:moveTo>
                    <a:cubicBezTo>
                      <a:pt x="1427" y="105"/>
                      <a:pt x="1427" y="105"/>
                      <a:pt x="1427" y="106"/>
                    </a:cubicBezTo>
                    <a:cubicBezTo>
                      <a:pt x="1427" y="105"/>
                      <a:pt x="1427" y="105"/>
                      <a:pt x="1427" y="105"/>
                    </a:cubicBezTo>
                    <a:close/>
                    <a:moveTo>
                      <a:pt x="1159" y="191"/>
                    </a:moveTo>
                    <a:cubicBezTo>
                      <a:pt x="1159" y="191"/>
                      <a:pt x="1159" y="191"/>
                      <a:pt x="1159" y="190"/>
                    </a:cubicBezTo>
                    <a:cubicBezTo>
                      <a:pt x="1159" y="190"/>
                      <a:pt x="1159" y="190"/>
                      <a:pt x="1159" y="191"/>
                    </a:cubicBezTo>
                    <a:close/>
                    <a:moveTo>
                      <a:pt x="1362" y="106"/>
                    </a:moveTo>
                    <a:cubicBezTo>
                      <a:pt x="1362" y="105"/>
                      <a:pt x="1363" y="105"/>
                      <a:pt x="1363" y="105"/>
                    </a:cubicBezTo>
                    <a:cubicBezTo>
                      <a:pt x="1363" y="105"/>
                      <a:pt x="1362" y="105"/>
                      <a:pt x="1362" y="106"/>
                    </a:cubicBezTo>
                    <a:close/>
                    <a:moveTo>
                      <a:pt x="1122" y="106"/>
                    </a:moveTo>
                    <a:cubicBezTo>
                      <a:pt x="1122" y="106"/>
                      <a:pt x="1123" y="105"/>
                      <a:pt x="1123" y="105"/>
                    </a:cubicBezTo>
                    <a:cubicBezTo>
                      <a:pt x="1122" y="105"/>
                      <a:pt x="1122" y="105"/>
                      <a:pt x="1122" y="106"/>
                    </a:cubicBezTo>
                    <a:close/>
                    <a:moveTo>
                      <a:pt x="1781" y="116"/>
                    </a:moveTo>
                    <a:cubicBezTo>
                      <a:pt x="1780" y="116"/>
                      <a:pt x="1780" y="117"/>
                      <a:pt x="1780" y="117"/>
                    </a:cubicBezTo>
                    <a:cubicBezTo>
                      <a:pt x="1780" y="117"/>
                      <a:pt x="1781" y="117"/>
                      <a:pt x="1781" y="116"/>
                    </a:cubicBezTo>
                    <a:close/>
                    <a:moveTo>
                      <a:pt x="928" y="105"/>
                    </a:moveTo>
                    <a:cubicBezTo>
                      <a:pt x="928" y="105"/>
                      <a:pt x="929" y="106"/>
                      <a:pt x="929" y="106"/>
                    </a:cubicBezTo>
                    <a:cubicBezTo>
                      <a:pt x="929" y="105"/>
                      <a:pt x="929" y="105"/>
                      <a:pt x="928" y="105"/>
                    </a:cubicBezTo>
                    <a:close/>
                    <a:moveTo>
                      <a:pt x="1380" y="190"/>
                    </a:moveTo>
                    <a:cubicBezTo>
                      <a:pt x="1380" y="191"/>
                      <a:pt x="1380" y="191"/>
                      <a:pt x="1381" y="191"/>
                    </a:cubicBezTo>
                    <a:cubicBezTo>
                      <a:pt x="1380" y="191"/>
                      <a:pt x="1380" y="190"/>
                      <a:pt x="1380" y="190"/>
                    </a:cubicBezTo>
                    <a:close/>
                    <a:moveTo>
                      <a:pt x="791" y="105"/>
                    </a:moveTo>
                    <a:cubicBezTo>
                      <a:pt x="791" y="105"/>
                      <a:pt x="792" y="106"/>
                      <a:pt x="792" y="106"/>
                    </a:cubicBezTo>
                    <a:cubicBezTo>
                      <a:pt x="792" y="105"/>
                      <a:pt x="792" y="105"/>
                      <a:pt x="791" y="105"/>
                    </a:cubicBezTo>
                    <a:close/>
                    <a:moveTo>
                      <a:pt x="729" y="106"/>
                    </a:moveTo>
                    <a:cubicBezTo>
                      <a:pt x="729" y="106"/>
                      <a:pt x="729" y="105"/>
                      <a:pt x="729" y="105"/>
                    </a:cubicBezTo>
                    <a:cubicBezTo>
                      <a:pt x="729" y="105"/>
                      <a:pt x="729" y="105"/>
                      <a:pt x="729" y="106"/>
                    </a:cubicBezTo>
                    <a:close/>
                    <a:moveTo>
                      <a:pt x="1644" y="191"/>
                    </a:moveTo>
                    <a:cubicBezTo>
                      <a:pt x="1644" y="190"/>
                      <a:pt x="1644" y="190"/>
                      <a:pt x="1644" y="190"/>
                    </a:cubicBezTo>
                    <a:cubicBezTo>
                      <a:pt x="1644" y="190"/>
                      <a:pt x="1644" y="191"/>
                      <a:pt x="1644" y="191"/>
                    </a:cubicBezTo>
                    <a:close/>
                    <a:moveTo>
                      <a:pt x="682" y="105"/>
                    </a:moveTo>
                    <a:cubicBezTo>
                      <a:pt x="682" y="105"/>
                      <a:pt x="682" y="105"/>
                      <a:pt x="682" y="106"/>
                    </a:cubicBezTo>
                    <a:cubicBezTo>
                      <a:pt x="682" y="105"/>
                      <a:pt x="682" y="105"/>
                      <a:pt x="682" y="105"/>
                    </a:cubicBezTo>
                    <a:close/>
                    <a:moveTo>
                      <a:pt x="1490" y="116"/>
                    </a:moveTo>
                    <a:cubicBezTo>
                      <a:pt x="1490" y="116"/>
                      <a:pt x="1490" y="117"/>
                      <a:pt x="1490" y="117"/>
                    </a:cubicBezTo>
                    <a:cubicBezTo>
                      <a:pt x="1490" y="117"/>
                      <a:pt x="1490" y="117"/>
                      <a:pt x="1490" y="116"/>
                    </a:cubicBezTo>
                    <a:close/>
                    <a:moveTo>
                      <a:pt x="1282" y="117"/>
                    </a:moveTo>
                    <a:cubicBezTo>
                      <a:pt x="1283" y="117"/>
                      <a:pt x="1283" y="117"/>
                      <a:pt x="1283" y="117"/>
                    </a:cubicBezTo>
                    <a:cubicBezTo>
                      <a:pt x="1283" y="117"/>
                      <a:pt x="1283" y="117"/>
                      <a:pt x="1282" y="117"/>
                    </a:cubicBezTo>
                    <a:close/>
                    <a:moveTo>
                      <a:pt x="623" y="106"/>
                    </a:moveTo>
                    <a:cubicBezTo>
                      <a:pt x="624" y="105"/>
                      <a:pt x="624" y="105"/>
                      <a:pt x="624" y="105"/>
                    </a:cubicBezTo>
                    <a:cubicBezTo>
                      <a:pt x="624" y="105"/>
                      <a:pt x="623" y="105"/>
                      <a:pt x="623" y="106"/>
                    </a:cubicBezTo>
                    <a:close/>
                    <a:moveTo>
                      <a:pt x="1776" y="105"/>
                    </a:moveTo>
                    <a:cubicBezTo>
                      <a:pt x="1777" y="105"/>
                      <a:pt x="1777" y="105"/>
                      <a:pt x="1777" y="104"/>
                    </a:cubicBezTo>
                    <a:cubicBezTo>
                      <a:pt x="1777" y="105"/>
                      <a:pt x="1776" y="105"/>
                      <a:pt x="1776" y="105"/>
                    </a:cubicBezTo>
                    <a:close/>
                    <a:moveTo>
                      <a:pt x="794" y="191"/>
                    </a:moveTo>
                    <a:cubicBezTo>
                      <a:pt x="794" y="191"/>
                      <a:pt x="794" y="191"/>
                      <a:pt x="794" y="191"/>
                    </a:cubicBezTo>
                    <a:cubicBezTo>
                      <a:pt x="794" y="191"/>
                      <a:pt x="794" y="191"/>
                      <a:pt x="794" y="191"/>
                    </a:cubicBezTo>
                    <a:close/>
                    <a:moveTo>
                      <a:pt x="848" y="191"/>
                    </a:moveTo>
                    <a:cubicBezTo>
                      <a:pt x="848" y="191"/>
                      <a:pt x="848" y="191"/>
                      <a:pt x="848" y="191"/>
                    </a:cubicBezTo>
                    <a:cubicBezTo>
                      <a:pt x="848" y="191"/>
                      <a:pt x="848" y="191"/>
                      <a:pt x="848" y="191"/>
                    </a:cubicBezTo>
                    <a:close/>
                    <a:moveTo>
                      <a:pt x="934" y="191"/>
                    </a:moveTo>
                    <a:cubicBezTo>
                      <a:pt x="933" y="191"/>
                      <a:pt x="933" y="191"/>
                      <a:pt x="933" y="191"/>
                    </a:cubicBezTo>
                    <a:cubicBezTo>
                      <a:pt x="933" y="191"/>
                      <a:pt x="934" y="191"/>
                      <a:pt x="934" y="191"/>
                    </a:cubicBezTo>
                    <a:close/>
                    <a:moveTo>
                      <a:pt x="1653" y="105"/>
                    </a:moveTo>
                    <a:cubicBezTo>
                      <a:pt x="1653" y="105"/>
                      <a:pt x="1654" y="105"/>
                      <a:pt x="1654" y="104"/>
                    </a:cubicBezTo>
                    <a:cubicBezTo>
                      <a:pt x="1653" y="105"/>
                      <a:pt x="1653" y="105"/>
                      <a:pt x="1653" y="105"/>
                    </a:cubicBezTo>
                    <a:close/>
                    <a:moveTo>
                      <a:pt x="1426" y="104"/>
                    </a:moveTo>
                    <a:cubicBezTo>
                      <a:pt x="1426" y="105"/>
                      <a:pt x="1426" y="105"/>
                      <a:pt x="1427" y="105"/>
                    </a:cubicBezTo>
                    <a:cubicBezTo>
                      <a:pt x="1426" y="105"/>
                      <a:pt x="1426" y="105"/>
                      <a:pt x="1426" y="104"/>
                    </a:cubicBezTo>
                    <a:close/>
                    <a:moveTo>
                      <a:pt x="1253" y="117"/>
                    </a:moveTo>
                    <a:cubicBezTo>
                      <a:pt x="1253" y="117"/>
                      <a:pt x="1253" y="116"/>
                      <a:pt x="1252" y="116"/>
                    </a:cubicBezTo>
                    <a:cubicBezTo>
                      <a:pt x="1252" y="117"/>
                      <a:pt x="1252" y="117"/>
                      <a:pt x="1253" y="117"/>
                    </a:cubicBezTo>
                    <a:close/>
                    <a:moveTo>
                      <a:pt x="1363" y="105"/>
                    </a:moveTo>
                    <a:cubicBezTo>
                      <a:pt x="1363" y="105"/>
                      <a:pt x="1363" y="105"/>
                      <a:pt x="1363" y="104"/>
                    </a:cubicBezTo>
                    <a:cubicBezTo>
                      <a:pt x="1363" y="104"/>
                      <a:pt x="1363" y="105"/>
                      <a:pt x="1363" y="105"/>
                    </a:cubicBezTo>
                    <a:close/>
                    <a:moveTo>
                      <a:pt x="938" y="116"/>
                    </a:moveTo>
                    <a:cubicBezTo>
                      <a:pt x="938" y="117"/>
                      <a:pt x="938" y="117"/>
                      <a:pt x="938" y="117"/>
                    </a:cubicBezTo>
                    <a:cubicBezTo>
                      <a:pt x="938" y="117"/>
                      <a:pt x="938" y="117"/>
                      <a:pt x="938" y="116"/>
                    </a:cubicBezTo>
                    <a:close/>
                    <a:moveTo>
                      <a:pt x="845" y="117"/>
                    </a:moveTo>
                    <a:cubicBezTo>
                      <a:pt x="845" y="117"/>
                      <a:pt x="846" y="117"/>
                      <a:pt x="846" y="116"/>
                    </a:cubicBezTo>
                    <a:cubicBezTo>
                      <a:pt x="845" y="117"/>
                      <a:pt x="845" y="117"/>
                      <a:pt x="845" y="117"/>
                    </a:cubicBezTo>
                    <a:close/>
                    <a:moveTo>
                      <a:pt x="1267" y="104"/>
                    </a:moveTo>
                    <a:cubicBezTo>
                      <a:pt x="1267" y="105"/>
                      <a:pt x="1267" y="105"/>
                      <a:pt x="1268" y="105"/>
                    </a:cubicBezTo>
                    <a:cubicBezTo>
                      <a:pt x="1268" y="105"/>
                      <a:pt x="1267" y="105"/>
                      <a:pt x="1267" y="104"/>
                    </a:cubicBezTo>
                    <a:close/>
                    <a:moveTo>
                      <a:pt x="1123" y="105"/>
                    </a:moveTo>
                    <a:cubicBezTo>
                      <a:pt x="1123" y="105"/>
                      <a:pt x="1123" y="105"/>
                      <a:pt x="1123" y="104"/>
                    </a:cubicBezTo>
                    <a:cubicBezTo>
                      <a:pt x="1123" y="105"/>
                      <a:pt x="1123" y="105"/>
                      <a:pt x="1123" y="105"/>
                    </a:cubicBezTo>
                    <a:close/>
                    <a:moveTo>
                      <a:pt x="928" y="104"/>
                    </a:moveTo>
                    <a:cubicBezTo>
                      <a:pt x="928" y="105"/>
                      <a:pt x="928" y="105"/>
                      <a:pt x="928" y="105"/>
                    </a:cubicBezTo>
                    <a:cubicBezTo>
                      <a:pt x="928" y="105"/>
                      <a:pt x="928" y="105"/>
                      <a:pt x="928" y="104"/>
                    </a:cubicBezTo>
                    <a:close/>
                    <a:moveTo>
                      <a:pt x="791" y="104"/>
                    </a:moveTo>
                    <a:cubicBezTo>
                      <a:pt x="791" y="105"/>
                      <a:pt x="791" y="105"/>
                      <a:pt x="791" y="105"/>
                    </a:cubicBezTo>
                    <a:cubicBezTo>
                      <a:pt x="791" y="105"/>
                      <a:pt x="791" y="105"/>
                      <a:pt x="791" y="104"/>
                    </a:cubicBezTo>
                    <a:close/>
                    <a:moveTo>
                      <a:pt x="1310" y="133"/>
                    </a:moveTo>
                    <a:cubicBezTo>
                      <a:pt x="1310" y="134"/>
                      <a:pt x="1310" y="134"/>
                      <a:pt x="1310" y="134"/>
                    </a:cubicBezTo>
                    <a:cubicBezTo>
                      <a:pt x="1310" y="133"/>
                      <a:pt x="1310" y="133"/>
                      <a:pt x="1310" y="133"/>
                    </a:cubicBezTo>
                    <a:close/>
                    <a:moveTo>
                      <a:pt x="666" y="117"/>
                    </a:moveTo>
                    <a:cubicBezTo>
                      <a:pt x="666" y="117"/>
                      <a:pt x="666" y="117"/>
                      <a:pt x="666" y="116"/>
                    </a:cubicBezTo>
                    <a:cubicBezTo>
                      <a:pt x="666" y="117"/>
                      <a:pt x="666" y="117"/>
                      <a:pt x="666" y="117"/>
                    </a:cubicBezTo>
                    <a:close/>
                    <a:moveTo>
                      <a:pt x="1179" y="162"/>
                    </a:moveTo>
                    <a:cubicBezTo>
                      <a:pt x="1179" y="162"/>
                      <a:pt x="1179" y="163"/>
                      <a:pt x="1179" y="163"/>
                    </a:cubicBezTo>
                    <a:cubicBezTo>
                      <a:pt x="1179" y="162"/>
                      <a:pt x="1179" y="162"/>
                      <a:pt x="1179" y="162"/>
                    </a:cubicBezTo>
                    <a:close/>
                    <a:moveTo>
                      <a:pt x="729" y="105"/>
                    </a:moveTo>
                    <a:cubicBezTo>
                      <a:pt x="730" y="105"/>
                      <a:pt x="730" y="105"/>
                      <a:pt x="730" y="105"/>
                    </a:cubicBezTo>
                    <a:cubicBezTo>
                      <a:pt x="730" y="105"/>
                      <a:pt x="729" y="105"/>
                      <a:pt x="729" y="105"/>
                    </a:cubicBezTo>
                    <a:close/>
                    <a:moveTo>
                      <a:pt x="1320" y="142"/>
                    </a:moveTo>
                    <a:cubicBezTo>
                      <a:pt x="1320" y="143"/>
                      <a:pt x="1320" y="143"/>
                      <a:pt x="1321" y="143"/>
                    </a:cubicBezTo>
                    <a:cubicBezTo>
                      <a:pt x="1320" y="143"/>
                      <a:pt x="1320" y="143"/>
                      <a:pt x="1320" y="142"/>
                    </a:cubicBezTo>
                    <a:close/>
                    <a:moveTo>
                      <a:pt x="624" y="105"/>
                    </a:moveTo>
                    <a:cubicBezTo>
                      <a:pt x="624" y="105"/>
                      <a:pt x="624" y="105"/>
                      <a:pt x="624" y="104"/>
                    </a:cubicBezTo>
                    <a:cubicBezTo>
                      <a:pt x="624" y="105"/>
                      <a:pt x="624" y="105"/>
                      <a:pt x="624" y="105"/>
                    </a:cubicBezTo>
                    <a:close/>
                    <a:moveTo>
                      <a:pt x="1777" y="104"/>
                    </a:moveTo>
                    <a:cubicBezTo>
                      <a:pt x="1777" y="104"/>
                      <a:pt x="1777" y="104"/>
                      <a:pt x="1777" y="104"/>
                    </a:cubicBezTo>
                    <a:cubicBezTo>
                      <a:pt x="1777" y="104"/>
                      <a:pt x="1777" y="104"/>
                      <a:pt x="1777" y="104"/>
                    </a:cubicBezTo>
                    <a:close/>
                    <a:moveTo>
                      <a:pt x="628" y="116"/>
                    </a:moveTo>
                    <a:cubicBezTo>
                      <a:pt x="627" y="116"/>
                      <a:pt x="627" y="117"/>
                      <a:pt x="627" y="117"/>
                    </a:cubicBezTo>
                    <a:cubicBezTo>
                      <a:pt x="627" y="117"/>
                      <a:pt x="628" y="117"/>
                      <a:pt x="628" y="116"/>
                    </a:cubicBezTo>
                    <a:close/>
                    <a:moveTo>
                      <a:pt x="1781" y="116"/>
                    </a:moveTo>
                    <a:cubicBezTo>
                      <a:pt x="1781" y="116"/>
                      <a:pt x="1781" y="116"/>
                      <a:pt x="1781" y="116"/>
                    </a:cubicBezTo>
                    <a:cubicBezTo>
                      <a:pt x="1781" y="116"/>
                      <a:pt x="1781" y="116"/>
                      <a:pt x="1781" y="116"/>
                    </a:cubicBezTo>
                    <a:close/>
                    <a:moveTo>
                      <a:pt x="1425" y="104"/>
                    </a:moveTo>
                    <a:cubicBezTo>
                      <a:pt x="1426" y="104"/>
                      <a:pt x="1426" y="104"/>
                      <a:pt x="1426" y="104"/>
                    </a:cubicBezTo>
                    <a:cubicBezTo>
                      <a:pt x="1426" y="104"/>
                      <a:pt x="1426" y="104"/>
                      <a:pt x="1425" y="104"/>
                    </a:cubicBezTo>
                    <a:close/>
                    <a:moveTo>
                      <a:pt x="1157" y="192"/>
                    </a:moveTo>
                    <a:cubicBezTo>
                      <a:pt x="1157" y="192"/>
                      <a:pt x="1158" y="192"/>
                      <a:pt x="1158" y="191"/>
                    </a:cubicBezTo>
                    <a:cubicBezTo>
                      <a:pt x="1158" y="192"/>
                      <a:pt x="1157" y="192"/>
                      <a:pt x="1157" y="192"/>
                    </a:cubicBezTo>
                    <a:close/>
                    <a:moveTo>
                      <a:pt x="1363" y="104"/>
                    </a:moveTo>
                    <a:cubicBezTo>
                      <a:pt x="1364" y="104"/>
                      <a:pt x="1364" y="104"/>
                      <a:pt x="1364" y="104"/>
                    </a:cubicBezTo>
                    <a:cubicBezTo>
                      <a:pt x="1364" y="104"/>
                      <a:pt x="1363" y="104"/>
                      <a:pt x="1363" y="104"/>
                    </a:cubicBezTo>
                    <a:close/>
                    <a:moveTo>
                      <a:pt x="1491" y="116"/>
                    </a:moveTo>
                    <a:cubicBezTo>
                      <a:pt x="1491" y="116"/>
                      <a:pt x="1490" y="116"/>
                      <a:pt x="1490" y="116"/>
                    </a:cubicBezTo>
                    <a:cubicBezTo>
                      <a:pt x="1491" y="116"/>
                      <a:pt x="1491" y="116"/>
                      <a:pt x="1491" y="116"/>
                    </a:cubicBezTo>
                    <a:close/>
                    <a:moveTo>
                      <a:pt x="1323" y="191"/>
                    </a:moveTo>
                    <a:cubicBezTo>
                      <a:pt x="1323" y="191"/>
                      <a:pt x="1322" y="192"/>
                      <a:pt x="1322" y="192"/>
                    </a:cubicBezTo>
                    <a:cubicBezTo>
                      <a:pt x="1323" y="192"/>
                      <a:pt x="1323" y="192"/>
                      <a:pt x="1323" y="191"/>
                    </a:cubicBezTo>
                    <a:close/>
                    <a:moveTo>
                      <a:pt x="1355" y="192"/>
                    </a:moveTo>
                    <a:cubicBezTo>
                      <a:pt x="1355" y="192"/>
                      <a:pt x="1355" y="191"/>
                      <a:pt x="1354" y="191"/>
                    </a:cubicBezTo>
                    <a:cubicBezTo>
                      <a:pt x="1354" y="192"/>
                      <a:pt x="1354" y="192"/>
                      <a:pt x="1355" y="192"/>
                    </a:cubicBezTo>
                    <a:close/>
                    <a:moveTo>
                      <a:pt x="1266" y="104"/>
                    </a:moveTo>
                    <a:cubicBezTo>
                      <a:pt x="1267" y="104"/>
                      <a:pt x="1267" y="104"/>
                      <a:pt x="1267" y="104"/>
                    </a:cubicBezTo>
                    <a:cubicBezTo>
                      <a:pt x="1267" y="104"/>
                      <a:pt x="1267" y="104"/>
                      <a:pt x="1266" y="104"/>
                    </a:cubicBezTo>
                    <a:close/>
                    <a:moveTo>
                      <a:pt x="1123" y="105"/>
                    </a:moveTo>
                    <a:cubicBezTo>
                      <a:pt x="1124" y="104"/>
                      <a:pt x="1124" y="104"/>
                      <a:pt x="1124" y="104"/>
                    </a:cubicBezTo>
                    <a:cubicBezTo>
                      <a:pt x="1123" y="104"/>
                      <a:pt x="1123" y="104"/>
                      <a:pt x="1123" y="105"/>
                    </a:cubicBezTo>
                    <a:close/>
                    <a:moveTo>
                      <a:pt x="927" y="104"/>
                    </a:moveTo>
                    <a:cubicBezTo>
                      <a:pt x="927" y="104"/>
                      <a:pt x="927" y="104"/>
                      <a:pt x="928" y="104"/>
                    </a:cubicBezTo>
                    <a:cubicBezTo>
                      <a:pt x="928" y="104"/>
                      <a:pt x="928" y="104"/>
                      <a:pt x="927" y="104"/>
                    </a:cubicBezTo>
                    <a:close/>
                    <a:moveTo>
                      <a:pt x="856" y="104"/>
                    </a:moveTo>
                    <a:cubicBezTo>
                      <a:pt x="857" y="104"/>
                      <a:pt x="857" y="104"/>
                      <a:pt x="857" y="104"/>
                    </a:cubicBezTo>
                    <a:cubicBezTo>
                      <a:pt x="857" y="104"/>
                      <a:pt x="857" y="104"/>
                      <a:pt x="856" y="104"/>
                    </a:cubicBezTo>
                    <a:close/>
                    <a:moveTo>
                      <a:pt x="722" y="192"/>
                    </a:moveTo>
                    <a:cubicBezTo>
                      <a:pt x="722" y="192"/>
                      <a:pt x="722" y="192"/>
                      <a:pt x="721" y="192"/>
                    </a:cubicBezTo>
                    <a:cubicBezTo>
                      <a:pt x="721" y="192"/>
                      <a:pt x="721" y="192"/>
                      <a:pt x="722" y="192"/>
                    </a:cubicBezTo>
                    <a:close/>
                    <a:moveTo>
                      <a:pt x="790" y="104"/>
                    </a:moveTo>
                    <a:cubicBezTo>
                      <a:pt x="790" y="104"/>
                      <a:pt x="790" y="104"/>
                      <a:pt x="791" y="104"/>
                    </a:cubicBezTo>
                    <a:cubicBezTo>
                      <a:pt x="791" y="104"/>
                      <a:pt x="791" y="104"/>
                      <a:pt x="790" y="104"/>
                    </a:cubicBezTo>
                    <a:close/>
                    <a:moveTo>
                      <a:pt x="1274" y="133"/>
                    </a:moveTo>
                    <a:cubicBezTo>
                      <a:pt x="1274" y="133"/>
                      <a:pt x="1274" y="133"/>
                      <a:pt x="1273" y="133"/>
                    </a:cubicBezTo>
                    <a:cubicBezTo>
                      <a:pt x="1274" y="133"/>
                      <a:pt x="1274" y="133"/>
                      <a:pt x="1274" y="133"/>
                    </a:cubicBezTo>
                    <a:close/>
                    <a:moveTo>
                      <a:pt x="1120" y="144"/>
                    </a:moveTo>
                    <a:cubicBezTo>
                      <a:pt x="1120" y="143"/>
                      <a:pt x="1120" y="143"/>
                      <a:pt x="1119" y="143"/>
                    </a:cubicBezTo>
                    <a:cubicBezTo>
                      <a:pt x="1119" y="143"/>
                      <a:pt x="1119" y="143"/>
                      <a:pt x="1120" y="144"/>
                    </a:cubicBezTo>
                    <a:close/>
                    <a:moveTo>
                      <a:pt x="624" y="104"/>
                    </a:moveTo>
                    <a:cubicBezTo>
                      <a:pt x="625" y="104"/>
                      <a:pt x="625" y="104"/>
                      <a:pt x="625" y="104"/>
                    </a:cubicBezTo>
                    <a:cubicBezTo>
                      <a:pt x="625" y="104"/>
                      <a:pt x="625" y="104"/>
                      <a:pt x="624" y="104"/>
                    </a:cubicBezTo>
                    <a:close/>
                    <a:moveTo>
                      <a:pt x="1777" y="104"/>
                    </a:moveTo>
                    <a:cubicBezTo>
                      <a:pt x="1778" y="104"/>
                      <a:pt x="1778" y="104"/>
                      <a:pt x="1778" y="103"/>
                    </a:cubicBezTo>
                    <a:cubicBezTo>
                      <a:pt x="1778" y="103"/>
                      <a:pt x="1777" y="104"/>
                      <a:pt x="1777" y="104"/>
                    </a:cubicBezTo>
                    <a:close/>
                    <a:moveTo>
                      <a:pt x="1715" y="103"/>
                    </a:moveTo>
                    <a:cubicBezTo>
                      <a:pt x="1715" y="104"/>
                      <a:pt x="1715" y="104"/>
                      <a:pt x="1716" y="104"/>
                    </a:cubicBezTo>
                    <a:cubicBezTo>
                      <a:pt x="1716" y="104"/>
                      <a:pt x="1715" y="103"/>
                      <a:pt x="1715" y="103"/>
                    </a:cubicBezTo>
                    <a:close/>
                    <a:moveTo>
                      <a:pt x="1655" y="104"/>
                    </a:moveTo>
                    <a:cubicBezTo>
                      <a:pt x="1655" y="104"/>
                      <a:pt x="1655" y="104"/>
                      <a:pt x="1655" y="103"/>
                    </a:cubicBezTo>
                    <a:cubicBezTo>
                      <a:pt x="1655" y="103"/>
                      <a:pt x="1655" y="104"/>
                      <a:pt x="1655" y="104"/>
                    </a:cubicBezTo>
                    <a:close/>
                    <a:moveTo>
                      <a:pt x="1355" y="192"/>
                    </a:moveTo>
                    <a:cubicBezTo>
                      <a:pt x="1355" y="192"/>
                      <a:pt x="1355" y="192"/>
                      <a:pt x="1355" y="192"/>
                    </a:cubicBezTo>
                    <a:cubicBezTo>
                      <a:pt x="1355" y="192"/>
                      <a:pt x="1355" y="192"/>
                      <a:pt x="1355" y="192"/>
                    </a:cubicBezTo>
                    <a:close/>
                    <a:moveTo>
                      <a:pt x="1425" y="103"/>
                    </a:moveTo>
                    <a:cubicBezTo>
                      <a:pt x="1425" y="104"/>
                      <a:pt x="1425" y="104"/>
                      <a:pt x="1425" y="104"/>
                    </a:cubicBezTo>
                    <a:cubicBezTo>
                      <a:pt x="1425" y="104"/>
                      <a:pt x="1425" y="103"/>
                      <a:pt x="1425" y="103"/>
                    </a:cubicBezTo>
                    <a:close/>
                    <a:moveTo>
                      <a:pt x="1153" y="164"/>
                    </a:moveTo>
                    <a:cubicBezTo>
                      <a:pt x="1153" y="164"/>
                      <a:pt x="1153" y="164"/>
                      <a:pt x="1153" y="164"/>
                    </a:cubicBezTo>
                    <a:cubicBezTo>
                      <a:pt x="1153" y="164"/>
                      <a:pt x="1153" y="164"/>
                      <a:pt x="1153" y="164"/>
                    </a:cubicBezTo>
                    <a:close/>
                    <a:moveTo>
                      <a:pt x="1485" y="124"/>
                    </a:moveTo>
                    <a:cubicBezTo>
                      <a:pt x="1484" y="124"/>
                      <a:pt x="1484" y="124"/>
                      <a:pt x="1484" y="125"/>
                    </a:cubicBezTo>
                    <a:cubicBezTo>
                      <a:pt x="1485" y="124"/>
                      <a:pt x="1485" y="124"/>
                      <a:pt x="1485" y="124"/>
                    </a:cubicBezTo>
                    <a:close/>
                    <a:moveTo>
                      <a:pt x="1646" y="192"/>
                    </a:moveTo>
                    <a:cubicBezTo>
                      <a:pt x="1645" y="192"/>
                      <a:pt x="1645" y="192"/>
                      <a:pt x="1645" y="192"/>
                    </a:cubicBezTo>
                    <a:cubicBezTo>
                      <a:pt x="1645" y="192"/>
                      <a:pt x="1645" y="192"/>
                      <a:pt x="1646" y="192"/>
                    </a:cubicBezTo>
                    <a:close/>
                    <a:moveTo>
                      <a:pt x="1266" y="103"/>
                    </a:moveTo>
                    <a:cubicBezTo>
                      <a:pt x="1266" y="104"/>
                      <a:pt x="1266" y="104"/>
                      <a:pt x="1266" y="104"/>
                    </a:cubicBezTo>
                    <a:cubicBezTo>
                      <a:pt x="1266" y="104"/>
                      <a:pt x="1266" y="103"/>
                      <a:pt x="1266" y="103"/>
                    </a:cubicBezTo>
                    <a:close/>
                    <a:moveTo>
                      <a:pt x="1295" y="124"/>
                    </a:moveTo>
                    <a:cubicBezTo>
                      <a:pt x="1295" y="124"/>
                      <a:pt x="1296" y="124"/>
                      <a:pt x="1296" y="124"/>
                    </a:cubicBezTo>
                    <a:cubicBezTo>
                      <a:pt x="1296" y="124"/>
                      <a:pt x="1295" y="124"/>
                      <a:pt x="1295" y="124"/>
                    </a:cubicBezTo>
                    <a:close/>
                    <a:moveTo>
                      <a:pt x="1124" y="104"/>
                    </a:moveTo>
                    <a:cubicBezTo>
                      <a:pt x="1124" y="104"/>
                      <a:pt x="1124" y="104"/>
                      <a:pt x="1124" y="103"/>
                    </a:cubicBezTo>
                    <a:cubicBezTo>
                      <a:pt x="1124" y="103"/>
                      <a:pt x="1124" y="104"/>
                      <a:pt x="1124" y="104"/>
                    </a:cubicBezTo>
                    <a:close/>
                    <a:moveTo>
                      <a:pt x="1260" y="123"/>
                    </a:moveTo>
                    <a:cubicBezTo>
                      <a:pt x="1260" y="123"/>
                      <a:pt x="1259" y="123"/>
                      <a:pt x="1259" y="123"/>
                    </a:cubicBezTo>
                    <a:cubicBezTo>
                      <a:pt x="1259" y="123"/>
                      <a:pt x="1259" y="123"/>
                      <a:pt x="1260" y="123"/>
                    </a:cubicBezTo>
                    <a:close/>
                    <a:moveTo>
                      <a:pt x="857" y="104"/>
                    </a:moveTo>
                    <a:cubicBezTo>
                      <a:pt x="857" y="104"/>
                      <a:pt x="858" y="104"/>
                      <a:pt x="858" y="103"/>
                    </a:cubicBezTo>
                    <a:cubicBezTo>
                      <a:pt x="857" y="103"/>
                      <a:pt x="857" y="104"/>
                      <a:pt x="857" y="104"/>
                    </a:cubicBezTo>
                    <a:close/>
                    <a:moveTo>
                      <a:pt x="793" y="192"/>
                    </a:moveTo>
                    <a:cubicBezTo>
                      <a:pt x="793" y="192"/>
                      <a:pt x="793" y="193"/>
                      <a:pt x="793" y="193"/>
                    </a:cubicBezTo>
                    <a:cubicBezTo>
                      <a:pt x="793" y="193"/>
                      <a:pt x="793" y="193"/>
                      <a:pt x="793" y="192"/>
                    </a:cubicBezTo>
                    <a:close/>
                    <a:moveTo>
                      <a:pt x="1353" y="117"/>
                    </a:moveTo>
                    <a:cubicBezTo>
                      <a:pt x="1353" y="116"/>
                      <a:pt x="1353" y="116"/>
                      <a:pt x="1353" y="116"/>
                    </a:cubicBezTo>
                    <a:cubicBezTo>
                      <a:pt x="1353" y="116"/>
                      <a:pt x="1353" y="116"/>
                      <a:pt x="1353" y="117"/>
                    </a:cubicBezTo>
                    <a:close/>
                    <a:moveTo>
                      <a:pt x="1281" y="116"/>
                    </a:moveTo>
                    <a:cubicBezTo>
                      <a:pt x="1281" y="116"/>
                      <a:pt x="1282" y="116"/>
                      <a:pt x="1282" y="116"/>
                    </a:cubicBezTo>
                    <a:cubicBezTo>
                      <a:pt x="1282" y="116"/>
                      <a:pt x="1282" y="116"/>
                      <a:pt x="1281" y="116"/>
                    </a:cubicBezTo>
                    <a:close/>
                    <a:moveTo>
                      <a:pt x="1252" y="116"/>
                    </a:moveTo>
                    <a:cubicBezTo>
                      <a:pt x="1252" y="116"/>
                      <a:pt x="1252" y="116"/>
                      <a:pt x="1252" y="116"/>
                    </a:cubicBezTo>
                    <a:cubicBezTo>
                      <a:pt x="1252" y="116"/>
                      <a:pt x="1252" y="116"/>
                      <a:pt x="1252" y="116"/>
                    </a:cubicBezTo>
                    <a:close/>
                    <a:moveTo>
                      <a:pt x="1136" y="116"/>
                    </a:moveTo>
                    <a:cubicBezTo>
                      <a:pt x="1135" y="116"/>
                      <a:pt x="1135" y="116"/>
                      <a:pt x="1135" y="116"/>
                    </a:cubicBezTo>
                    <a:cubicBezTo>
                      <a:pt x="1135" y="116"/>
                      <a:pt x="1136" y="116"/>
                      <a:pt x="1136" y="116"/>
                    </a:cubicBezTo>
                    <a:close/>
                    <a:moveTo>
                      <a:pt x="790" y="103"/>
                    </a:moveTo>
                    <a:cubicBezTo>
                      <a:pt x="790" y="104"/>
                      <a:pt x="790" y="104"/>
                      <a:pt x="790" y="104"/>
                    </a:cubicBezTo>
                    <a:cubicBezTo>
                      <a:pt x="790" y="104"/>
                      <a:pt x="790" y="103"/>
                      <a:pt x="790" y="103"/>
                    </a:cubicBezTo>
                    <a:close/>
                    <a:moveTo>
                      <a:pt x="720" y="117"/>
                    </a:moveTo>
                    <a:cubicBezTo>
                      <a:pt x="720" y="116"/>
                      <a:pt x="721" y="116"/>
                      <a:pt x="721" y="116"/>
                    </a:cubicBezTo>
                    <a:cubicBezTo>
                      <a:pt x="720" y="116"/>
                      <a:pt x="720" y="116"/>
                      <a:pt x="720" y="117"/>
                    </a:cubicBezTo>
                    <a:close/>
                    <a:moveTo>
                      <a:pt x="731" y="104"/>
                    </a:moveTo>
                    <a:cubicBezTo>
                      <a:pt x="731" y="104"/>
                      <a:pt x="731" y="104"/>
                      <a:pt x="731" y="103"/>
                    </a:cubicBezTo>
                    <a:cubicBezTo>
                      <a:pt x="731" y="103"/>
                      <a:pt x="731" y="104"/>
                      <a:pt x="731" y="104"/>
                    </a:cubicBezTo>
                    <a:close/>
                    <a:moveTo>
                      <a:pt x="680" y="103"/>
                    </a:moveTo>
                    <a:cubicBezTo>
                      <a:pt x="680" y="104"/>
                      <a:pt x="680" y="104"/>
                      <a:pt x="681" y="104"/>
                    </a:cubicBezTo>
                    <a:cubicBezTo>
                      <a:pt x="681" y="104"/>
                      <a:pt x="680" y="103"/>
                      <a:pt x="680" y="103"/>
                    </a:cubicBezTo>
                    <a:close/>
                    <a:moveTo>
                      <a:pt x="625" y="104"/>
                    </a:moveTo>
                    <a:cubicBezTo>
                      <a:pt x="625" y="104"/>
                      <a:pt x="626" y="104"/>
                      <a:pt x="626" y="103"/>
                    </a:cubicBezTo>
                    <a:cubicBezTo>
                      <a:pt x="625" y="103"/>
                      <a:pt x="625" y="104"/>
                      <a:pt x="625" y="104"/>
                    </a:cubicBezTo>
                    <a:close/>
                    <a:moveTo>
                      <a:pt x="1776" y="122"/>
                    </a:moveTo>
                    <a:cubicBezTo>
                      <a:pt x="1776" y="122"/>
                      <a:pt x="1776" y="122"/>
                      <a:pt x="1776" y="123"/>
                    </a:cubicBezTo>
                    <a:cubicBezTo>
                      <a:pt x="1776" y="123"/>
                      <a:pt x="1776" y="122"/>
                      <a:pt x="1776" y="122"/>
                    </a:cubicBezTo>
                    <a:close/>
                    <a:moveTo>
                      <a:pt x="666" y="116"/>
                    </a:moveTo>
                    <a:cubicBezTo>
                      <a:pt x="666" y="116"/>
                      <a:pt x="666" y="116"/>
                      <a:pt x="665" y="116"/>
                    </a:cubicBezTo>
                    <a:cubicBezTo>
                      <a:pt x="665" y="116"/>
                      <a:pt x="666" y="116"/>
                      <a:pt x="666" y="116"/>
                    </a:cubicBezTo>
                    <a:close/>
                    <a:moveTo>
                      <a:pt x="1646" y="193"/>
                    </a:moveTo>
                    <a:cubicBezTo>
                      <a:pt x="1646" y="193"/>
                      <a:pt x="1646" y="192"/>
                      <a:pt x="1645" y="192"/>
                    </a:cubicBezTo>
                    <a:cubicBezTo>
                      <a:pt x="1646" y="193"/>
                      <a:pt x="1646" y="193"/>
                      <a:pt x="1646" y="193"/>
                    </a:cubicBezTo>
                    <a:close/>
                    <a:moveTo>
                      <a:pt x="628" y="116"/>
                    </a:moveTo>
                    <a:cubicBezTo>
                      <a:pt x="628" y="116"/>
                      <a:pt x="628" y="116"/>
                      <a:pt x="628" y="116"/>
                    </a:cubicBezTo>
                    <a:cubicBezTo>
                      <a:pt x="628" y="116"/>
                      <a:pt x="628" y="116"/>
                      <a:pt x="628" y="116"/>
                    </a:cubicBezTo>
                    <a:close/>
                    <a:moveTo>
                      <a:pt x="1715" y="103"/>
                    </a:moveTo>
                    <a:cubicBezTo>
                      <a:pt x="1715" y="103"/>
                      <a:pt x="1715" y="103"/>
                      <a:pt x="1715" y="103"/>
                    </a:cubicBezTo>
                    <a:cubicBezTo>
                      <a:pt x="1715" y="103"/>
                      <a:pt x="1715" y="103"/>
                      <a:pt x="1715" y="103"/>
                    </a:cubicBezTo>
                    <a:close/>
                    <a:moveTo>
                      <a:pt x="1655" y="103"/>
                    </a:moveTo>
                    <a:cubicBezTo>
                      <a:pt x="1656" y="103"/>
                      <a:pt x="1656" y="103"/>
                      <a:pt x="1656" y="103"/>
                    </a:cubicBezTo>
                    <a:cubicBezTo>
                      <a:pt x="1656" y="103"/>
                      <a:pt x="1655" y="103"/>
                      <a:pt x="1655" y="103"/>
                    </a:cubicBezTo>
                    <a:close/>
                    <a:moveTo>
                      <a:pt x="1487" y="103"/>
                    </a:moveTo>
                    <a:cubicBezTo>
                      <a:pt x="1488" y="103"/>
                      <a:pt x="1488" y="103"/>
                      <a:pt x="1488" y="103"/>
                    </a:cubicBezTo>
                    <a:cubicBezTo>
                      <a:pt x="1487" y="103"/>
                      <a:pt x="1487" y="103"/>
                      <a:pt x="1487" y="103"/>
                    </a:cubicBezTo>
                    <a:close/>
                    <a:moveTo>
                      <a:pt x="850" y="194"/>
                    </a:moveTo>
                    <a:cubicBezTo>
                      <a:pt x="850" y="193"/>
                      <a:pt x="850" y="193"/>
                      <a:pt x="850" y="193"/>
                    </a:cubicBezTo>
                    <a:cubicBezTo>
                      <a:pt x="850" y="193"/>
                      <a:pt x="850" y="193"/>
                      <a:pt x="850" y="194"/>
                    </a:cubicBezTo>
                    <a:close/>
                    <a:moveTo>
                      <a:pt x="1424" y="103"/>
                    </a:moveTo>
                    <a:cubicBezTo>
                      <a:pt x="1424" y="103"/>
                      <a:pt x="1425" y="103"/>
                      <a:pt x="1425" y="103"/>
                    </a:cubicBezTo>
                    <a:cubicBezTo>
                      <a:pt x="1425" y="103"/>
                      <a:pt x="1425" y="103"/>
                      <a:pt x="1424" y="103"/>
                    </a:cubicBezTo>
                    <a:close/>
                    <a:moveTo>
                      <a:pt x="1365" y="103"/>
                    </a:moveTo>
                    <a:cubicBezTo>
                      <a:pt x="1365" y="103"/>
                      <a:pt x="1365" y="103"/>
                      <a:pt x="1366" y="103"/>
                    </a:cubicBezTo>
                    <a:cubicBezTo>
                      <a:pt x="1365" y="103"/>
                      <a:pt x="1365" y="103"/>
                      <a:pt x="1365" y="103"/>
                    </a:cubicBezTo>
                    <a:close/>
                    <a:moveTo>
                      <a:pt x="1179" y="193"/>
                    </a:moveTo>
                    <a:cubicBezTo>
                      <a:pt x="1179" y="193"/>
                      <a:pt x="1178" y="193"/>
                      <a:pt x="1178" y="194"/>
                    </a:cubicBezTo>
                    <a:cubicBezTo>
                      <a:pt x="1179" y="193"/>
                      <a:pt x="1179" y="193"/>
                      <a:pt x="1179" y="193"/>
                    </a:cubicBezTo>
                    <a:close/>
                    <a:moveTo>
                      <a:pt x="1156" y="166"/>
                    </a:moveTo>
                    <a:cubicBezTo>
                      <a:pt x="1156" y="166"/>
                      <a:pt x="1156" y="165"/>
                      <a:pt x="1155" y="165"/>
                    </a:cubicBezTo>
                    <a:cubicBezTo>
                      <a:pt x="1156" y="166"/>
                      <a:pt x="1156" y="166"/>
                      <a:pt x="1156" y="166"/>
                    </a:cubicBezTo>
                    <a:close/>
                    <a:moveTo>
                      <a:pt x="1782" y="115"/>
                    </a:moveTo>
                    <a:cubicBezTo>
                      <a:pt x="1782" y="115"/>
                      <a:pt x="1781" y="116"/>
                      <a:pt x="1781" y="116"/>
                    </a:cubicBezTo>
                    <a:cubicBezTo>
                      <a:pt x="1782" y="116"/>
                      <a:pt x="1782" y="116"/>
                      <a:pt x="1782" y="115"/>
                    </a:cubicBezTo>
                    <a:close/>
                    <a:moveTo>
                      <a:pt x="926" y="103"/>
                    </a:moveTo>
                    <a:cubicBezTo>
                      <a:pt x="926" y="103"/>
                      <a:pt x="926" y="103"/>
                      <a:pt x="926" y="103"/>
                    </a:cubicBezTo>
                    <a:cubicBezTo>
                      <a:pt x="926" y="103"/>
                      <a:pt x="926" y="103"/>
                      <a:pt x="926" y="103"/>
                    </a:cubicBezTo>
                    <a:close/>
                    <a:moveTo>
                      <a:pt x="789" y="103"/>
                    </a:moveTo>
                    <a:cubicBezTo>
                      <a:pt x="789" y="103"/>
                      <a:pt x="789" y="103"/>
                      <a:pt x="790" y="103"/>
                    </a:cubicBezTo>
                    <a:cubicBezTo>
                      <a:pt x="789" y="103"/>
                      <a:pt x="789" y="103"/>
                      <a:pt x="789" y="103"/>
                    </a:cubicBezTo>
                    <a:close/>
                    <a:moveTo>
                      <a:pt x="732" y="103"/>
                    </a:moveTo>
                    <a:cubicBezTo>
                      <a:pt x="732" y="103"/>
                      <a:pt x="732" y="103"/>
                      <a:pt x="732" y="103"/>
                    </a:cubicBezTo>
                    <a:cubicBezTo>
                      <a:pt x="732" y="103"/>
                      <a:pt x="732" y="103"/>
                      <a:pt x="732" y="103"/>
                    </a:cubicBezTo>
                    <a:close/>
                    <a:moveTo>
                      <a:pt x="680" y="103"/>
                    </a:moveTo>
                    <a:cubicBezTo>
                      <a:pt x="680" y="103"/>
                      <a:pt x="680" y="103"/>
                      <a:pt x="680" y="103"/>
                    </a:cubicBezTo>
                    <a:cubicBezTo>
                      <a:pt x="680" y="103"/>
                      <a:pt x="680" y="103"/>
                      <a:pt x="680" y="103"/>
                    </a:cubicBezTo>
                    <a:close/>
                    <a:moveTo>
                      <a:pt x="1644" y="116"/>
                    </a:moveTo>
                    <a:cubicBezTo>
                      <a:pt x="1644" y="116"/>
                      <a:pt x="1644" y="116"/>
                      <a:pt x="1644" y="115"/>
                    </a:cubicBezTo>
                    <a:cubicBezTo>
                      <a:pt x="1644" y="116"/>
                      <a:pt x="1644" y="116"/>
                      <a:pt x="1644" y="116"/>
                    </a:cubicBezTo>
                    <a:close/>
                    <a:moveTo>
                      <a:pt x="851" y="194"/>
                    </a:moveTo>
                    <a:cubicBezTo>
                      <a:pt x="851" y="194"/>
                      <a:pt x="851" y="194"/>
                      <a:pt x="850" y="194"/>
                    </a:cubicBezTo>
                    <a:cubicBezTo>
                      <a:pt x="850" y="194"/>
                      <a:pt x="850" y="194"/>
                      <a:pt x="851" y="194"/>
                    </a:cubicBezTo>
                    <a:close/>
                    <a:moveTo>
                      <a:pt x="931" y="193"/>
                    </a:moveTo>
                    <a:cubicBezTo>
                      <a:pt x="931" y="194"/>
                      <a:pt x="931" y="194"/>
                      <a:pt x="931" y="194"/>
                    </a:cubicBezTo>
                    <a:cubicBezTo>
                      <a:pt x="931" y="194"/>
                      <a:pt x="931" y="194"/>
                      <a:pt x="931" y="193"/>
                    </a:cubicBezTo>
                    <a:close/>
                    <a:moveTo>
                      <a:pt x="626" y="103"/>
                    </a:moveTo>
                    <a:cubicBezTo>
                      <a:pt x="626" y="103"/>
                      <a:pt x="626" y="103"/>
                      <a:pt x="626" y="103"/>
                    </a:cubicBezTo>
                    <a:cubicBezTo>
                      <a:pt x="626" y="103"/>
                      <a:pt x="626" y="103"/>
                      <a:pt x="626" y="103"/>
                    </a:cubicBezTo>
                    <a:close/>
                    <a:moveTo>
                      <a:pt x="1492" y="115"/>
                    </a:moveTo>
                    <a:cubicBezTo>
                      <a:pt x="1491" y="115"/>
                      <a:pt x="1491" y="115"/>
                      <a:pt x="1491" y="116"/>
                    </a:cubicBezTo>
                    <a:cubicBezTo>
                      <a:pt x="1491" y="116"/>
                      <a:pt x="1492" y="116"/>
                      <a:pt x="1492" y="115"/>
                    </a:cubicBezTo>
                    <a:close/>
                    <a:moveTo>
                      <a:pt x="1434" y="115"/>
                    </a:moveTo>
                    <a:cubicBezTo>
                      <a:pt x="1434" y="116"/>
                      <a:pt x="1434" y="116"/>
                      <a:pt x="1435" y="116"/>
                    </a:cubicBezTo>
                    <a:cubicBezTo>
                      <a:pt x="1435" y="116"/>
                      <a:pt x="1434" y="115"/>
                      <a:pt x="1434" y="115"/>
                    </a:cubicBezTo>
                    <a:close/>
                    <a:moveTo>
                      <a:pt x="1136" y="115"/>
                    </a:moveTo>
                    <a:cubicBezTo>
                      <a:pt x="1136" y="115"/>
                      <a:pt x="1136" y="116"/>
                      <a:pt x="1136" y="116"/>
                    </a:cubicBezTo>
                    <a:cubicBezTo>
                      <a:pt x="1136" y="116"/>
                      <a:pt x="1136" y="116"/>
                      <a:pt x="1136" y="115"/>
                    </a:cubicBezTo>
                    <a:close/>
                    <a:moveTo>
                      <a:pt x="1321" y="194"/>
                    </a:moveTo>
                    <a:cubicBezTo>
                      <a:pt x="1321" y="194"/>
                      <a:pt x="1321" y="194"/>
                      <a:pt x="1321" y="194"/>
                    </a:cubicBezTo>
                    <a:cubicBezTo>
                      <a:pt x="1321" y="194"/>
                      <a:pt x="1321" y="194"/>
                      <a:pt x="1321" y="194"/>
                    </a:cubicBezTo>
                    <a:close/>
                    <a:moveTo>
                      <a:pt x="1356" y="194"/>
                    </a:moveTo>
                    <a:cubicBezTo>
                      <a:pt x="1356" y="194"/>
                      <a:pt x="1356" y="194"/>
                      <a:pt x="1356" y="193"/>
                    </a:cubicBezTo>
                    <a:cubicBezTo>
                      <a:pt x="1356" y="194"/>
                      <a:pt x="1356" y="194"/>
                      <a:pt x="1356" y="194"/>
                    </a:cubicBezTo>
                    <a:close/>
                    <a:moveTo>
                      <a:pt x="1714" y="102"/>
                    </a:moveTo>
                    <a:cubicBezTo>
                      <a:pt x="1714" y="102"/>
                      <a:pt x="1714" y="103"/>
                      <a:pt x="1715" y="103"/>
                    </a:cubicBezTo>
                    <a:cubicBezTo>
                      <a:pt x="1714" y="102"/>
                      <a:pt x="1714" y="102"/>
                      <a:pt x="1714" y="102"/>
                    </a:cubicBezTo>
                    <a:close/>
                    <a:moveTo>
                      <a:pt x="937" y="115"/>
                    </a:moveTo>
                    <a:cubicBezTo>
                      <a:pt x="937" y="116"/>
                      <a:pt x="937" y="116"/>
                      <a:pt x="938" y="116"/>
                    </a:cubicBezTo>
                    <a:cubicBezTo>
                      <a:pt x="938" y="116"/>
                      <a:pt x="937" y="116"/>
                      <a:pt x="937" y="115"/>
                    </a:cubicBezTo>
                    <a:close/>
                    <a:moveTo>
                      <a:pt x="1656" y="103"/>
                    </a:moveTo>
                    <a:cubicBezTo>
                      <a:pt x="1656" y="103"/>
                      <a:pt x="1657" y="103"/>
                      <a:pt x="1657" y="102"/>
                    </a:cubicBezTo>
                    <a:cubicBezTo>
                      <a:pt x="1656" y="102"/>
                      <a:pt x="1656" y="102"/>
                      <a:pt x="1656" y="103"/>
                    </a:cubicBezTo>
                    <a:close/>
                    <a:moveTo>
                      <a:pt x="1488" y="103"/>
                    </a:moveTo>
                    <a:cubicBezTo>
                      <a:pt x="1488" y="103"/>
                      <a:pt x="1488" y="103"/>
                      <a:pt x="1488" y="102"/>
                    </a:cubicBezTo>
                    <a:cubicBezTo>
                      <a:pt x="1488" y="102"/>
                      <a:pt x="1488" y="102"/>
                      <a:pt x="1488" y="103"/>
                    </a:cubicBezTo>
                    <a:close/>
                    <a:moveTo>
                      <a:pt x="1424" y="102"/>
                    </a:moveTo>
                    <a:cubicBezTo>
                      <a:pt x="1424" y="103"/>
                      <a:pt x="1424" y="103"/>
                      <a:pt x="1424" y="103"/>
                    </a:cubicBezTo>
                    <a:cubicBezTo>
                      <a:pt x="1424" y="102"/>
                      <a:pt x="1424" y="102"/>
                      <a:pt x="1424" y="102"/>
                    </a:cubicBezTo>
                    <a:close/>
                    <a:moveTo>
                      <a:pt x="724" y="195"/>
                    </a:moveTo>
                    <a:cubicBezTo>
                      <a:pt x="723" y="194"/>
                      <a:pt x="723" y="194"/>
                      <a:pt x="723" y="194"/>
                    </a:cubicBezTo>
                    <a:cubicBezTo>
                      <a:pt x="723" y="194"/>
                      <a:pt x="723" y="195"/>
                      <a:pt x="724" y="195"/>
                    </a:cubicBezTo>
                    <a:close/>
                    <a:moveTo>
                      <a:pt x="851" y="195"/>
                    </a:moveTo>
                    <a:cubicBezTo>
                      <a:pt x="851" y="194"/>
                      <a:pt x="851" y="194"/>
                      <a:pt x="851" y="194"/>
                    </a:cubicBezTo>
                    <a:cubicBezTo>
                      <a:pt x="851" y="194"/>
                      <a:pt x="851" y="195"/>
                      <a:pt x="851" y="195"/>
                    </a:cubicBezTo>
                    <a:close/>
                    <a:moveTo>
                      <a:pt x="931" y="194"/>
                    </a:moveTo>
                    <a:cubicBezTo>
                      <a:pt x="930" y="194"/>
                      <a:pt x="930" y="194"/>
                      <a:pt x="930" y="195"/>
                    </a:cubicBezTo>
                    <a:cubicBezTo>
                      <a:pt x="930" y="195"/>
                      <a:pt x="931" y="194"/>
                      <a:pt x="931" y="194"/>
                    </a:cubicBezTo>
                    <a:close/>
                    <a:moveTo>
                      <a:pt x="1158" y="167"/>
                    </a:moveTo>
                    <a:cubicBezTo>
                      <a:pt x="1158" y="167"/>
                      <a:pt x="1157" y="167"/>
                      <a:pt x="1157" y="167"/>
                    </a:cubicBezTo>
                    <a:cubicBezTo>
                      <a:pt x="1157" y="167"/>
                      <a:pt x="1157" y="167"/>
                      <a:pt x="1158" y="167"/>
                    </a:cubicBezTo>
                    <a:close/>
                    <a:moveTo>
                      <a:pt x="1366" y="103"/>
                    </a:moveTo>
                    <a:cubicBezTo>
                      <a:pt x="1366" y="103"/>
                      <a:pt x="1366" y="102"/>
                      <a:pt x="1366" y="102"/>
                    </a:cubicBezTo>
                    <a:cubicBezTo>
                      <a:pt x="1366" y="102"/>
                      <a:pt x="1366" y="102"/>
                      <a:pt x="1366" y="103"/>
                    </a:cubicBezTo>
                    <a:close/>
                    <a:moveTo>
                      <a:pt x="925" y="102"/>
                    </a:moveTo>
                    <a:cubicBezTo>
                      <a:pt x="925" y="103"/>
                      <a:pt x="925" y="103"/>
                      <a:pt x="926" y="103"/>
                    </a:cubicBezTo>
                    <a:cubicBezTo>
                      <a:pt x="925" y="102"/>
                      <a:pt x="925" y="102"/>
                      <a:pt x="925" y="102"/>
                    </a:cubicBezTo>
                    <a:close/>
                    <a:moveTo>
                      <a:pt x="1321" y="194"/>
                    </a:moveTo>
                    <a:cubicBezTo>
                      <a:pt x="1320" y="194"/>
                      <a:pt x="1320" y="194"/>
                      <a:pt x="1320" y="195"/>
                    </a:cubicBezTo>
                    <a:cubicBezTo>
                      <a:pt x="1320" y="195"/>
                      <a:pt x="1321" y="194"/>
                      <a:pt x="1321" y="194"/>
                    </a:cubicBezTo>
                    <a:close/>
                    <a:moveTo>
                      <a:pt x="1357" y="195"/>
                    </a:moveTo>
                    <a:cubicBezTo>
                      <a:pt x="1357" y="194"/>
                      <a:pt x="1357" y="194"/>
                      <a:pt x="1356" y="194"/>
                    </a:cubicBezTo>
                    <a:cubicBezTo>
                      <a:pt x="1356" y="194"/>
                      <a:pt x="1357" y="195"/>
                      <a:pt x="1357" y="195"/>
                    </a:cubicBezTo>
                    <a:close/>
                    <a:moveTo>
                      <a:pt x="1292" y="122"/>
                    </a:moveTo>
                    <a:cubicBezTo>
                      <a:pt x="1292" y="123"/>
                      <a:pt x="1293" y="123"/>
                      <a:pt x="1293" y="123"/>
                    </a:cubicBezTo>
                    <a:cubicBezTo>
                      <a:pt x="1293" y="122"/>
                      <a:pt x="1293" y="122"/>
                      <a:pt x="1292" y="122"/>
                    </a:cubicBezTo>
                    <a:close/>
                    <a:moveTo>
                      <a:pt x="859" y="103"/>
                    </a:moveTo>
                    <a:cubicBezTo>
                      <a:pt x="859" y="103"/>
                      <a:pt x="859" y="102"/>
                      <a:pt x="859" y="102"/>
                    </a:cubicBezTo>
                    <a:cubicBezTo>
                      <a:pt x="859" y="102"/>
                      <a:pt x="859" y="102"/>
                      <a:pt x="859" y="103"/>
                    </a:cubicBezTo>
                    <a:close/>
                    <a:moveTo>
                      <a:pt x="788" y="102"/>
                    </a:moveTo>
                    <a:cubicBezTo>
                      <a:pt x="789" y="102"/>
                      <a:pt x="789" y="103"/>
                      <a:pt x="789" y="103"/>
                    </a:cubicBezTo>
                    <a:cubicBezTo>
                      <a:pt x="789" y="102"/>
                      <a:pt x="789" y="102"/>
                      <a:pt x="788" y="102"/>
                    </a:cubicBezTo>
                    <a:close/>
                    <a:moveTo>
                      <a:pt x="1321" y="144"/>
                    </a:moveTo>
                    <a:cubicBezTo>
                      <a:pt x="1321" y="144"/>
                      <a:pt x="1321" y="145"/>
                      <a:pt x="1322" y="145"/>
                    </a:cubicBezTo>
                    <a:cubicBezTo>
                      <a:pt x="1322" y="145"/>
                      <a:pt x="1321" y="144"/>
                      <a:pt x="1321" y="144"/>
                    </a:cubicBezTo>
                    <a:close/>
                    <a:moveTo>
                      <a:pt x="724" y="195"/>
                    </a:moveTo>
                    <a:cubicBezTo>
                      <a:pt x="724" y="195"/>
                      <a:pt x="724" y="195"/>
                      <a:pt x="723" y="195"/>
                    </a:cubicBezTo>
                    <a:cubicBezTo>
                      <a:pt x="724" y="195"/>
                      <a:pt x="724" y="195"/>
                      <a:pt x="724" y="195"/>
                    </a:cubicBezTo>
                    <a:close/>
                    <a:moveTo>
                      <a:pt x="791" y="195"/>
                    </a:moveTo>
                    <a:cubicBezTo>
                      <a:pt x="791" y="195"/>
                      <a:pt x="791" y="195"/>
                      <a:pt x="791" y="195"/>
                    </a:cubicBezTo>
                    <a:cubicBezTo>
                      <a:pt x="791" y="195"/>
                      <a:pt x="791" y="195"/>
                      <a:pt x="791" y="195"/>
                    </a:cubicBezTo>
                    <a:close/>
                    <a:moveTo>
                      <a:pt x="852" y="195"/>
                    </a:moveTo>
                    <a:cubicBezTo>
                      <a:pt x="852" y="195"/>
                      <a:pt x="852" y="195"/>
                      <a:pt x="851" y="195"/>
                    </a:cubicBezTo>
                    <a:cubicBezTo>
                      <a:pt x="851" y="195"/>
                      <a:pt x="852" y="195"/>
                      <a:pt x="852" y="195"/>
                    </a:cubicBezTo>
                    <a:close/>
                    <a:moveTo>
                      <a:pt x="930" y="195"/>
                    </a:moveTo>
                    <a:cubicBezTo>
                      <a:pt x="930" y="195"/>
                      <a:pt x="930" y="195"/>
                      <a:pt x="929" y="195"/>
                    </a:cubicBezTo>
                    <a:cubicBezTo>
                      <a:pt x="930" y="195"/>
                      <a:pt x="930" y="195"/>
                      <a:pt x="930" y="195"/>
                    </a:cubicBezTo>
                    <a:close/>
                    <a:moveTo>
                      <a:pt x="732" y="103"/>
                    </a:moveTo>
                    <a:cubicBezTo>
                      <a:pt x="732" y="103"/>
                      <a:pt x="733" y="103"/>
                      <a:pt x="733" y="102"/>
                    </a:cubicBezTo>
                    <a:cubicBezTo>
                      <a:pt x="732" y="102"/>
                      <a:pt x="732" y="102"/>
                      <a:pt x="732" y="103"/>
                    </a:cubicBezTo>
                    <a:close/>
                    <a:moveTo>
                      <a:pt x="1178" y="195"/>
                    </a:moveTo>
                    <a:cubicBezTo>
                      <a:pt x="1177" y="195"/>
                      <a:pt x="1177" y="195"/>
                      <a:pt x="1177" y="195"/>
                    </a:cubicBezTo>
                    <a:cubicBezTo>
                      <a:pt x="1178" y="195"/>
                      <a:pt x="1178" y="195"/>
                      <a:pt x="1178" y="195"/>
                    </a:cubicBezTo>
                    <a:close/>
                    <a:moveTo>
                      <a:pt x="1320" y="195"/>
                    </a:moveTo>
                    <a:cubicBezTo>
                      <a:pt x="1320" y="195"/>
                      <a:pt x="1319" y="195"/>
                      <a:pt x="1319" y="195"/>
                    </a:cubicBezTo>
                    <a:cubicBezTo>
                      <a:pt x="1320" y="195"/>
                      <a:pt x="1320" y="195"/>
                      <a:pt x="1320" y="195"/>
                    </a:cubicBezTo>
                    <a:close/>
                    <a:moveTo>
                      <a:pt x="1358" y="195"/>
                    </a:moveTo>
                    <a:cubicBezTo>
                      <a:pt x="1358" y="195"/>
                      <a:pt x="1357" y="195"/>
                      <a:pt x="1357" y="195"/>
                    </a:cubicBezTo>
                    <a:cubicBezTo>
                      <a:pt x="1357" y="195"/>
                      <a:pt x="1357" y="195"/>
                      <a:pt x="1358" y="195"/>
                    </a:cubicBezTo>
                    <a:close/>
                    <a:moveTo>
                      <a:pt x="665" y="116"/>
                    </a:moveTo>
                    <a:cubicBezTo>
                      <a:pt x="665" y="115"/>
                      <a:pt x="665" y="115"/>
                      <a:pt x="665" y="115"/>
                    </a:cubicBezTo>
                    <a:cubicBezTo>
                      <a:pt x="665" y="116"/>
                      <a:pt x="665" y="116"/>
                      <a:pt x="665" y="116"/>
                    </a:cubicBezTo>
                    <a:close/>
                    <a:moveTo>
                      <a:pt x="1648" y="195"/>
                    </a:moveTo>
                    <a:cubicBezTo>
                      <a:pt x="1648" y="195"/>
                      <a:pt x="1648" y="195"/>
                      <a:pt x="1647" y="195"/>
                    </a:cubicBezTo>
                    <a:cubicBezTo>
                      <a:pt x="1647" y="195"/>
                      <a:pt x="1648" y="195"/>
                      <a:pt x="1648" y="195"/>
                    </a:cubicBezTo>
                    <a:close/>
                    <a:moveTo>
                      <a:pt x="679" y="102"/>
                    </a:moveTo>
                    <a:cubicBezTo>
                      <a:pt x="679" y="103"/>
                      <a:pt x="679" y="103"/>
                      <a:pt x="680" y="103"/>
                    </a:cubicBezTo>
                    <a:cubicBezTo>
                      <a:pt x="680" y="102"/>
                      <a:pt x="679" y="102"/>
                      <a:pt x="679" y="102"/>
                    </a:cubicBezTo>
                    <a:close/>
                    <a:moveTo>
                      <a:pt x="725" y="196"/>
                    </a:moveTo>
                    <a:cubicBezTo>
                      <a:pt x="725" y="196"/>
                      <a:pt x="724" y="195"/>
                      <a:pt x="724" y="195"/>
                    </a:cubicBezTo>
                    <a:cubicBezTo>
                      <a:pt x="724" y="196"/>
                      <a:pt x="724" y="196"/>
                      <a:pt x="725" y="196"/>
                    </a:cubicBezTo>
                    <a:close/>
                    <a:moveTo>
                      <a:pt x="791" y="195"/>
                    </a:moveTo>
                    <a:cubicBezTo>
                      <a:pt x="790" y="195"/>
                      <a:pt x="790" y="196"/>
                      <a:pt x="790" y="196"/>
                    </a:cubicBezTo>
                    <a:cubicBezTo>
                      <a:pt x="790" y="196"/>
                      <a:pt x="791" y="196"/>
                      <a:pt x="791" y="195"/>
                    </a:cubicBezTo>
                    <a:close/>
                    <a:moveTo>
                      <a:pt x="853" y="196"/>
                    </a:moveTo>
                    <a:cubicBezTo>
                      <a:pt x="852" y="196"/>
                      <a:pt x="852" y="195"/>
                      <a:pt x="852" y="195"/>
                    </a:cubicBezTo>
                    <a:cubicBezTo>
                      <a:pt x="852" y="196"/>
                      <a:pt x="852" y="196"/>
                      <a:pt x="853" y="196"/>
                    </a:cubicBezTo>
                    <a:close/>
                    <a:moveTo>
                      <a:pt x="930" y="195"/>
                    </a:moveTo>
                    <a:cubicBezTo>
                      <a:pt x="929" y="195"/>
                      <a:pt x="929" y="196"/>
                      <a:pt x="929" y="196"/>
                    </a:cubicBezTo>
                    <a:cubicBezTo>
                      <a:pt x="929" y="196"/>
                      <a:pt x="929" y="196"/>
                      <a:pt x="930" y="195"/>
                    </a:cubicBezTo>
                    <a:close/>
                    <a:moveTo>
                      <a:pt x="626" y="103"/>
                    </a:moveTo>
                    <a:cubicBezTo>
                      <a:pt x="627" y="103"/>
                      <a:pt x="627" y="103"/>
                      <a:pt x="627" y="102"/>
                    </a:cubicBezTo>
                    <a:cubicBezTo>
                      <a:pt x="626" y="102"/>
                      <a:pt x="626" y="102"/>
                      <a:pt x="626" y="103"/>
                    </a:cubicBezTo>
                    <a:close/>
                    <a:moveTo>
                      <a:pt x="1713" y="102"/>
                    </a:moveTo>
                    <a:cubicBezTo>
                      <a:pt x="1713" y="102"/>
                      <a:pt x="1714" y="102"/>
                      <a:pt x="1714" y="102"/>
                    </a:cubicBezTo>
                    <a:cubicBezTo>
                      <a:pt x="1714" y="102"/>
                      <a:pt x="1714" y="102"/>
                      <a:pt x="1713" y="102"/>
                    </a:cubicBezTo>
                    <a:close/>
                    <a:moveTo>
                      <a:pt x="1319" y="195"/>
                    </a:moveTo>
                    <a:cubicBezTo>
                      <a:pt x="1319" y="195"/>
                      <a:pt x="1319" y="196"/>
                      <a:pt x="1319" y="196"/>
                    </a:cubicBezTo>
                    <a:cubicBezTo>
                      <a:pt x="1319" y="196"/>
                      <a:pt x="1319" y="196"/>
                      <a:pt x="1319" y="195"/>
                    </a:cubicBezTo>
                    <a:close/>
                    <a:moveTo>
                      <a:pt x="1358" y="196"/>
                    </a:moveTo>
                    <a:cubicBezTo>
                      <a:pt x="1358" y="196"/>
                      <a:pt x="1358" y="195"/>
                      <a:pt x="1358" y="195"/>
                    </a:cubicBezTo>
                    <a:cubicBezTo>
                      <a:pt x="1358" y="196"/>
                      <a:pt x="1358" y="196"/>
                      <a:pt x="1358" y="196"/>
                    </a:cubicBezTo>
                    <a:close/>
                    <a:moveTo>
                      <a:pt x="1657" y="102"/>
                    </a:moveTo>
                    <a:cubicBezTo>
                      <a:pt x="1657" y="102"/>
                      <a:pt x="1657" y="102"/>
                      <a:pt x="1658" y="102"/>
                    </a:cubicBezTo>
                    <a:cubicBezTo>
                      <a:pt x="1657" y="102"/>
                      <a:pt x="1657" y="102"/>
                      <a:pt x="1657" y="102"/>
                    </a:cubicBezTo>
                    <a:close/>
                    <a:moveTo>
                      <a:pt x="1648" y="196"/>
                    </a:moveTo>
                    <a:cubicBezTo>
                      <a:pt x="1648" y="196"/>
                      <a:pt x="1648" y="195"/>
                      <a:pt x="1648" y="195"/>
                    </a:cubicBezTo>
                    <a:cubicBezTo>
                      <a:pt x="1648" y="196"/>
                      <a:pt x="1648" y="196"/>
                      <a:pt x="1648" y="196"/>
                    </a:cubicBezTo>
                    <a:close/>
                    <a:moveTo>
                      <a:pt x="1488" y="102"/>
                    </a:moveTo>
                    <a:cubicBezTo>
                      <a:pt x="1489" y="102"/>
                      <a:pt x="1489" y="102"/>
                      <a:pt x="1489" y="102"/>
                    </a:cubicBezTo>
                    <a:cubicBezTo>
                      <a:pt x="1489" y="102"/>
                      <a:pt x="1488" y="102"/>
                      <a:pt x="1488" y="102"/>
                    </a:cubicBezTo>
                    <a:close/>
                    <a:moveTo>
                      <a:pt x="1126" y="102"/>
                    </a:moveTo>
                    <a:cubicBezTo>
                      <a:pt x="1126" y="102"/>
                      <a:pt x="1127" y="102"/>
                      <a:pt x="1127" y="102"/>
                    </a:cubicBezTo>
                    <a:cubicBezTo>
                      <a:pt x="1126" y="102"/>
                      <a:pt x="1126" y="102"/>
                      <a:pt x="1126" y="102"/>
                    </a:cubicBezTo>
                    <a:close/>
                    <a:moveTo>
                      <a:pt x="790" y="196"/>
                    </a:moveTo>
                    <a:cubicBezTo>
                      <a:pt x="790" y="196"/>
                      <a:pt x="790" y="196"/>
                      <a:pt x="790" y="197"/>
                    </a:cubicBezTo>
                    <a:cubicBezTo>
                      <a:pt x="790" y="196"/>
                      <a:pt x="790" y="196"/>
                      <a:pt x="790" y="196"/>
                    </a:cubicBezTo>
                    <a:close/>
                    <a:moveTo>
                      <a:pt x="853" y="196"/>
                    </a:moveTo>
                    <a:cubicBezTo>
                      <a:pt x="853" y="196"/>
                      <a:pt x="853" y="196"/>
                      <a:pt x="853" y="196"/>
                    </a:cubicBezTo>
                    <a:cubicBezTo>
                      <a:pt x="853" y="196"/>
                      <a:pt x="853" y="196"/>
                      <a:pt x="853" y="196"/>
                    </a:cubicBezTo>
                    <a:close/>
                    <a:moveTo>
                      <a:pt x="929" y="196"/>
                    </a:moveTo>
                    <a:cubicBezTo>
                      <a:pt x="929" y="196"/>
                      <a:pt x="928" y="196"/>
                      <a:pt x="928" y="196"/>
                    </a:cubicBezTo>
                    <a:cubicBezTo>
                      <a:pt x="929" y="196"/>
                      <a:pt x="929" y="196"/>
                      <a:pt x="929" y="196"/>
                    </a:cubicBezTo>
                    <a:close/>
                    <a:moveTo>
                      <a:pt x="1319" y="196"/>
                    </a:moveTo>
                    <a:cubicBezTo>
                      <a:pt x="1319" y="196"/>
                      <a:pt x="1318" y="196"/>
                      <a:pt x="1318" y="196"/>
                    </a:cubicBezTo>
                    <a:cubicBezTo>
                      <a:pt x="1319" y="196"/>
                      <a:pt x="1319" y="196"/>
                      <a:pt x="1319" y="196"/>
                    </a:cubicBezTo>
                    <a:close/>
                    <a:moveTo>
                      <a:pt x="1359" y="196"/>
                    </a:moveTo>
                    <a:cubicBezTo>
                      <a:pt x="1359" y="196"/>
                      <a:pt x="1358" y="196"/>
                      <a:pt x="1358" y="196"/>
                    </a:cubicBezTo>
                    <a:cubicBezTo>
                      <a:pt x="1358" y="196"/>
                      <a:pt x="1358" y="196"/>
                      <a:pt x="1359" y="196"/>
                    </a:cubicBezTo>
                    <a:close/>
                    <a:moveTo>
                      <a:pt x="788" y="102"/>
                    </a:moveTo>
                    <a:cubicBezTo>
                      <a:pt x="788" y="102"/>
                      <a:pt x="788" y="102"/>
                      <a:pt x="788" y="102"/>
                    </a:cubicBezTo>
                    <a:cubicBezTo>
                      <a:pt x="788" y="102"/>
                      <a:pt x="788" y="102"/>
                      <a:pt x="788" y="102"/>
                    </a:cubicBezTo>
                    <a:close/>
                    <a:moveTo>
                      <a:pt x="1649" y="196"/>
                    </a:moveTo>
                    <a:cubicBezTo>
                      <a:pt x="1649" y="196"/>
                      <a:pt x="1649" y="196"/>
                      <a:pt x="1648" y="196"/>
                    </a:cubicBezTo>
                    <a:cubicBezTo>
                      <a:pt x="1648" y="196"/>
                      <a:pt x="1649" y="196"/>
                      <a:pt x="1649" y="196"/>
                    </a:cubicBezTo>
                    <a:close/>
                    <a:moveTo>
                      <a:pt x="678" y="102"/>
                    </a:moveTo>
                    <a:cubicBezTo>
                      <a:pt x="678" y="102"/>
                      <a:pt x="679" y="102"/>
                      <a:pt x="679" y="102"/>
                    </a:cubicBezTo>
                    <a:cubicBezTo>
                      <a:pt x="679" y="102"/>
                      <a:pt x="679" y="102"/>
                      <a:pt x="678" y="102"/>
                    </a:cubicBezTo>
                    <a:close/>
                    <a:moveTo>
                      <a:pt x="629" y="115"/>
                    </a:moveTo>
                    <a:cubicBezTo>
                      <a:pt x="629" y="115"/>
                      <a:pt x="628" y="115"/>
                      <a:pt x="628" y="116"/>
                    </a:cubicBezTo>
                    <a:cubicBezTo>
                      <a:pt x="629" y="116"/>
                      <a:pt x="629" y="116"/>
                      <a:pt x="629" y="115"/>
                    </a:cubicBezTo>
                    <a:close/>
                    <a:moveTo>
                      <a:pt x="1159" y="168"/>
                    </a:moveTo>
                    <a:cubicBezTo>
                      <a:pt x="1159" y="168"/>
                      <a:pt x="1159" y="168"/>
                      <a:pt x="1159" y="168"/>
                    </a:cubicBezTo>
                    <a:cubicBezTo>
                      <a:pt x="1159" y="168"/>
                      <a:pt x="1159" y="168"/>
                      <a:pt x="1159" y="168"/>
                    </a:cubicBezTo>
                    <a:close/>
                    <a:moveTo>
                      <a:pt x="854" y="197"/>
                    </a:moveTo>
                    <a:cubicBezTo>
                      <a:pt x="854" y="197"/>
                      <a:pt x="853" y="196"/>
                      <a:pt x="853" y="196"/>
                    </a:cubicBezTo>
                    <a:cubicBezTo>
                      <a:pt x="853" y="197"/>
                      <a:pt x="853" y="197"/>
                      <a:pt x="854" y="197"/>
                    </a:cubicBezTo>
                    <a:close/>
                    <a:moveTo>
                      <a:pt x="928" y="196"/>
                    </a:moveTo>
                    <a:cubicBezTo>
                      <a:pt x="928" y="196"/>
                      <a:pt x="928" y="197"/>
                      <a:pt x="928" y="197"/>
                    </a:cubicBezTo>
                    <a:cubicBezTo>
                      <a:pt x="928" y="197"/>
                      <a:pt x="928" y="197"/>
                      <a:pt x="928" y="196"/>
                    </a:cubicBezTo>
                    <a:close/>
                    <a:moveTo>
                      <a:pt x="627" y="102"/>
                    </a:moveTo>
                    <a:cubicBezTo>
                      <a:pt x="627" y="102"/>
                      <a:pt x="627" y="102"/>
                      <a:pt x="627" y="102"/>
                    </a:cubicBezTo>
                    <a:cubicBezTo>
                      <a:pt x="627" y="102"/>
                      <a:pt x="627" y="102"/>
                      <a:pt x="627" y="102"/>
                    </a:cubicBezTo>
                    <a:close/>
                    <a:moveTo>
                      <a:pt x="1492" y="115"/>
                    </a:moveTo>
                    <a:cubicBezTo>
                      <a:pt x="1492" y="115"/>
                      <a:pt x="1492" y="115"/>
                      <a:pt x="1492" y="115"/>
                    </a:cubicBezTo>
                    <a:cubicBezTo>
                      <a:pt x="1492" y="115"/>
                      <a:pt x="1492" y="115"/>
                      <a:pt x="1492" y="115"/>
                    </a:cubicBezTo>
                    <a:close/>
                    <a:moveTo>
                      <a:pt x="1658" y="102"/>
                    </a:moveTo>
                    <a:cubicBezTo>
                      <a:pt x="1658" y="102"/>
                      <a:pt x="1658" y="101"/>
                      <a:pt x="1658" y="101"/>
                    </a:cubicBezTo>
                    <a:cubicBezTo>
                      <a:pt x="1658" y="101"/>
                      <a:pt x="1658" y="101"/>
                      <a:pt x="1658" y="102"/>
                    </a:cubicBezTo>
                    <a:close/>
                    <a:moveTo>
                      <a:pt x="1318" y="196"/>
                    </a:moveTo>
                    <a:cubicBezTo>
                      <a:pt x="1318" y="197"/>
                      <a:pt x="1318" y="197"/>
                      <a:pt x="1318" y="197"/>
                    </a:cubicBezTo>
                    <a:cubicBezTo>
                      <a:pt x="1318" y="197"/>
                      <a:pt x="1318" y="197"/>
                      <a:pt x="1318" y="196"/>
                    </a:cubicBezTo>
                    <a:close/>
                    <a:moveTo>
                      <a:pt x="1359" y="197"/>
                    </a:moveTo>
                    <a:cubicBezTo>
                      <a:pt x="1359" y="197"/>
                      <a:pt x="1359" y="197"/>
                      <a:pt x="1359" y="197"/>
                    </a:cubicBezTo>
                    <a:cubicBezTo>
                      <a:pt x="1359" y="197"/>
                      <a:pt x="1359" y="197"/>
                      <a:pt x="1359" y="197"/>
                    </a:cubicBezTo>
                    <a:close/>
                    <a:moveTo>
                      <a:pt x="1489" y="102"/>
                    </a:moveTo>
                    <a:cubicBezTo>
                      <a:pt x="1489" y="102"/>
                      <a:pt x="1489" y="101"/>
                      <a:pt x="1490" y="101"/>
                    </a:cubicBezTo>
                    <a:cubicBezTo>
                      <a:pt x="1489" y="101"/>
                      <a:pt x="1489" y="101"/>
                      <a:pt x="1489" y="102"/>
                    </a:cubicBezTo>
                    <a:close/>
                    <a:moveTo>
                      <a:pt x="1650" y="197"/>
                    </a:moveTo>
                    <a:cubicBezTo>
                      <a:pt x="1650" y="197"/>
                      <a:pt x="1649" y="196"/>
                      <a:pt x="1649" y="196"/>
                    </a:cubicBezTo>
                    <a:cubicBezTo>
                      <a:pt x="1649" y="197"/>
                      <a:pt x="1649" y="197"/>
                      <a:pt x="1650" y="197"/>
                    </a:cubicBezTo>
                    <a:close/>
                    <a:moveTo>
                      <a:pt x="1422" y="101"/>
                    </a:moveTo>
                    <a:cubicBezTo>
                      <a:pt x="1422" y="101"/>
                      <a:pt x="1422" y="101"/>
                      <a:pt x="1423" y="101"/>
                    </a:cubicBezTo>
                    <a:cubicBezTo>
                      <a:pt x="1422" y="101"/>
                      <a:pt x="1422" y="101"/>
                      <a:pt x="1422" y="101"/>
                    </a:cubicBezTo>
                    <a:close/>
                    <a:moveTo>
                      <a:pt x="854" y="198"/>
                    </a:moveTo>
                    <a:cubicBezTo>
                      <a:pt x="854" y="197"/>
                      <a:pt x="854" y="197"/>
                      <a:pt x="854" y="197"/>
                    </a:cubicBezTo>
                    <a:cubicBezTo>
                      <a:pt x="854" y="197"/>
                      <a:pt x="854" y="198"/>
                      <a:pt x="854" y="198"/>
                    </a:cubicBezTo>
                    <a:close/>
                    <a:moveTo>
                      <a:pt x="1280" y="115"/>
                    </a:moveTo>
                    <a:cubicBezTo>
                      <a:pt x="1280" y="115"/>
                      <a:pt x="1280" y="115"/>
                      <a:pt x="1280" y="115"/>
                    </a:cubicBezTo>
                    <a:cubicBezTo>
                      <a:pt x="1280" y="115"/>
                      <a:pt x="1280" y="115"/>
                      <a:pt x="1280" y="115"/>
                    </a:cubicBezTo>
                    <a:close/>
                    <a:moveTo>
                      <a:pt x="1160" y="169"/>
                    </a:moveTo>
                    <a:cubicBezTo>
                      <a:pt x="1160" y="168"/>
                      <a:pt x="1160" y="168"/>
                      <a:pt x="1159" y="168"/>
                    </a:cubicBezTo>
                    <a:cubicBezTo>
                      <a:pt x="1160" y="169"/>
                      <a:pt x="1160" y="169"/>
                      <a:pt x="1160" y="169"/>
                    </a:cubicBezTo>
                    <a:close/>
                    <a:moveTo>
                      <a:pt x="1176" y="197"/>
                    </a:moveTo>
                    <a:cubicBezTo>
                      <a:pt x="1176" y="197"/>
                      <a:pt x="1175" y="197"/>
                      <a:pt x="1175" y="198"/>
                    </a:cubicBezTo>
                    <a:cubicBezTo>
                      <a:pt x="1176" y="198"/>
                      <a:pt x="1176" y="197"/>
                      <a:pt x="1176" y="197"/>
                    </a:cubicBezTo>
                    <a:close/>
                    <a:moveTo>
                      <a:pt x="1318" y="197"/>
                    </a:moveTo>
                    <a:cubicBezTo>
                      <a:pt x="1317" y="197"/>
                      <a:pt x="1317" y="197"/>
                      <a:pt x="1317" y="198"/>
                    </a:cubicBezTo>
                    <a:cubicBezTo>
                      <a:pt x="1317" y="198"/>
                      <a:pt x="1318" y="197"/>
                      <a:pt x="1318" y="197"/>
                    </a:cubicBezTo>
                    <a:close/>
                    <a:moveTo>
                      <a:pt x="1360" y="198"/>
                    </a:moveTo>
                    <a:cubicBezTo>
                      <a:pt x="1360" y="197"/>
                      <a:pt x="1360" y="197"/>
                      <a:pt x="1359" y="197"/>
                    </a:cubicBezTo>
                    <a:cubicBezTo>
                      <a:pt x="1359" y="197"/>
                      <a:pt x="1360" y="197"/>
                      <a:pt x="1360" y="198"/>
                    </a:cubicBezTo>
                    <a:close/>
                    <a:moveTo>
                      <a:pt x="1650" y="198"/>
                    </a:moveTo>
                    <a:cubicBezTo>
                      <a:pt x="1650" y="197"/>
                      <a:pt x="1650" y="197"/>
                      <a:pt x="1650" y="197"/>
                    </a:cubicBezTo>
                    <a:cubicBezTo>
                      <a:pt x="1650" y="197"/>
                      <a:pt x="1650" y="198"/>
                      <a:pt x="1650" y="198"/>
                    </a:cubicBezTo>
                    <a:close/>
                    <a:moveTo>
                      <a:pt x="1367" y="101"/>
                    </a:moveTo>
                    <a:cubicBezTo>
                      <a:pt x="1368" y="101"/>
                      <a:pt x="1368" y="101"/>
                      <a:pt x="1368" y="101"/>
                    </a:cubicBezTo>
                    <a:cubicBezTo>
                      <a:pt x="1368" y="101"/>
                      <a:pt x="1368" y="101"/>
                      <a:pt x="1367" y="101"/>
                    </a:cubicBezTo>
                    <a:close/>
                    <a:moveTo>
                      <a:pt x="1127" y="102"/>
                    </a:moveTo>
                    <a:cubicBezTo>
                      <a:pt x="1127" y="102"/>
                      <a:pt x="1127" y="101"/>
                      <a:pt x="1127" y="101"/>
                    </a:cubicBezTo>
                    <a:cubicBezTo>
                      <a:pt x="1127" y="101"/>
                      <a:pt x="1127" y="101"/>
                      <a:pt x="1127" y="102"/>
                    </a:cubicBezTo>
                    <a:close/>
                    <a:moveTo>
                      <a:pt x="1175" y="198"/>
                    </a:moveTo>
                    <a:cubicBezTo>
                      <a:pt x="1175" y="198"/>
                      <a:pt x="1175" y="198"/>
                      <a:pt x="1175" y="198"/>
                    </a:cubicBezTo>
                    <a:cubicBezTo>
                      <a:pt x="1175" y="198"/>
                      <a:pt x="1175" y="198"/>
                      <a:pt x="1175" y="198"/>
                    </a:cubicBezTo>
                    <a:close/>
                    <a:moveTo>
                      <a:pt x="1317" y="198"/>
                    </a:moveTo>
                    <a:cubicBezTo>
                      <a:pt x="1317" y="198"/>
                      <a:pt x="1317" y="198"/>
                      <a:pt x="1316" y="198"/>
                    </a:cubicBezTo>
                    <a:cubicBezTo>
                      <a:pt x="1317" y="198"/>
                      <a:pt x="1317" y="198"/>
                      <a:pt x="1317" y="198"/>
                    </a:cubicBezTo>
                    <a:close/>
                    <a:moveTo>
                      <a:pt x="1360" y="198"/>
                    </a:moveTo>
                    <a:cubicBezTo>
                      <a:pt x="1360" y="198"/>
                      <a:pt x="1360" y="198"/>
                      <a:pt x="1360" y="198"/>
                    </a:cubicBezTo>
                    <a:cubicBezTo>
                      <a:pt x="1360" y="198"/>
                      <a:pt x="1360" y="198"/>
                      <a:pt x="1360" y="198"/>
                    </a:cubicBezTo>
                    <a:close/>
                    <a:moveTo>
                      <a:pt x="923" y="101"/>
                    </a:moveTo>
                    <a:cubicBezTo>
                      <a:pt x="923" y="101"/>
                      <a:pt x="924" y="101"/>
                      <a:pt x="924" y="101"/>
                    </a:cubicBezTo>
                    <a:cubicBezTo>
                      <a:pt x="924" y="101"/>
                      <a:pt x="923" y="101"/>
                      <a:pt x="923" y="101"/>
                    </a:cubicBezTo>
                    <a:close/>
                    <a:moveTo>
                      <a:pt x="1651" y="198"/>
                    </a:moveTo>
                    <a:cubicBezTo>
                      <a:pt x="1651" y="198"/>
                      <a:pt x="1650" y="198"/>
                      <a:pt x="1650" y="198"/>
                    </a:cubicBezTo>
                    <a:cubicBezTo>
                      <a:pt x="1650" y="198"/>
                      <a:pt x="1650" y="198"/>
                      <a:pt x="1651" y="198"/>
                    </a:cubicBezTo>
                    <a:close/>
                    <a:moveTo>
                      <a:pt x="926" y="198"/>
                    </a:moveTo>
                    <a:cubicBezTo>
                      <a:pt x="926" y="198"/>
                      <a:pt x="926" y="198"/>
                      <a:pt x="926" y="199"/>
                    </a:cubicBezTo>
                    <a:cubicBezTo>
                      <a:pt x="926" y="199"/>
                      <a:pt x="926" y="198"/>
                      <a:pt x="926" y="198"/>
                    </a:cubicBezTo>
                    <a:close/>
                    <a:moveTo>
                      <a:pt x="861" y="101"/>
                    </a:moveTo>
                    <a:cubicBezTo>
                      <a:pt x="861" y="101"/>
                      <a:pt x="861" y="101"/>
                      <a:pt x="861" y="101"/>
                    </a:cubicBezTo>
                    <a:cubicBezTo>
                      <a:pt x="861" y="101"/>
                      <a:pt x="861" y="101"/>
                      <a:pt x="861" y="101"/>
                    </a:cubicBezTo>
                    <a:close/>
                    <a:moveTo>
                      <a:pt x="787" y="101"/>
                    </a:moveTo>
                    <a:cubicBezTo>
                      <a:pt x="787" y="101"/>
                      <a:pt x="788" y="102"/>
                      <a:pt x="788" y="102"/>
                    </a:cubicBezTo>
                    <a:cubicBezTo>
                      <a:pt x="788" y="101"/>
                      <a:pt x="788" y="101"/>
                      <a:pt x="787" y="101"/>
                    </a:cubicBezTo>
                    <a:close/>
                    <a:moveTo>
                      <a:pt x="1175" y="198"/>
                    </a:moveTo>
                    <a:cubicBezTo>
                      <a:pt x="1175" y="198"/>
                      <a:pt x="1174" y="198"/>
                      <a:pt x="1174" y="199"/>
                    </a:cubicBezTo>
                    <a:cubicBezTo>
                      <a:pt x="1175" y="199"/>
                      <a:pt x="1175" y="198"/>
                      <a:pt x="1175" y="198"/>
                    </a:cubicBezTo>
                    <a:close/>
                    <a:moveTo>
                      <a:pt x="734" y="101"/>
                    </a:moveTo>
                    <a:cubicBezTo>
                      <a:pt x="734" y="101"/>
                      <a:pt x="734" y="101"/>
                      <a:pt x="734" y="101"/>
                    </a:cubicBezTo>
                    <a:cubicBezTo>
                      <a:pt x="734" y="101"/>
                      <a:pt x="734" y="101"/>
                      <a:pt x="734" y="101"/>
                    </a:cubicBezTo>
                    <a:close/>
                    <a:moveTo>
                      <a:pt x="1361" y="199"/>
                    </a:moveTo>
                    <a:cubicBezTo>
                      <a:pt x="1361" y="198"/>
                      <a:pt x="1361" y="198"/>
                      <a:pt x="1360" y="198"/>
                    </a:cubicBezTo>
                    <a:cubicBezTo>
                      <a:pt x="1361" y="198"/>
                      <a:pt x="1361" y="199"/>
                      <a:pt x="1361" y="199"/>
                    </a:cubicBezTo>
                    <a:close/>
                    <a:moveTo>
                      <a:pt x="1161" y="169"/>
                    </a:moveTo>
                    <a:cubicBezTo>
                      <a:pt x="1161" y="169"/>
                      <a:pt x="1160" y="169"/>
                      <a:pt x="1160" y="169"/>
                    </a:cubicBezTo>
                    <a:cubicBezTo>
                      <a:pt x="1160" y="169"/>
                      <a:pt x="1160" y="169"/>
                      <a:pt x="1161" y="169"/>
                    </a:cubicBezTo>
                    <a:close/>
                    <a:moveTo>
                      <a:pt x="1651" y="199"/>
                    </a:moveTo>
                    <a:cubicBezTo>
                      <a:pt x="1651" y="198"/>
                      <a:pt x="1651" y="198"/>
                      <a:pt x="1651" y="198"/>
                    </a:cubicBezTo>
                    <a:cubicBezTo>
                      <a:pt x="1651" y="198"/>
                      <a:pt x="1651" y="199"/>
                      <a:pt x="1651" y="199"/>
                    </a:cubicBezTo>
                    <a:close/>
                    <a:moveTo>
                      <a:pt x="678" y="101"/>
                    </a:moveTo>
                    <a:cubicBezTo>
                      <a:pt x="678" y="101"/>
                      <a:pt x="678" y="102"/>
                      <a:pt x="678" y="102"/>
                    </a:cubicBezTo>
                    <a:cubicBezTo>
                      <a:pt x="678" y="101"/>
                      <a:pt x="678" y="101"/>
                      <a:pt x="678" y="101"/>
                    </a:cubicBezTo>
                    <a:close/>
                    <a:moveTo>
                      <a:pt x="1176" y="115"/>
                    </a:moveTo>
                    <a:cubicBezTo>
                      <a:pt x="1176" y="115"/>
                      <a:pt x="1175" y="115"/>
                      <a:pt x="1175" y="115"/>
                    </a:cubicBezTo>
                    <a:cubicBezTo>
                      <a:pt x="1175" y="115"/>
                      <a:pt x="1175" y="115"/>
                      <a:pt x="1176" y="115"/>
                    </a:cubicBezTo>
                    <a:close/>
                    <a:moveTo>
                      <a:pt x="857" y="199"/>
                    </a:moveTo>
                    <a:cubicBezTo>
                      <a:pt x="856" y="199"/>
                      <a:pt x="856" y="199"/>
                      <a:pt x="856" y="199"/>
                    </a:cubicBezTo>
                    <a:cubicBezTo>
                      <a:pt x="856" y="199"/>
                      <a:pt x="856" y="199"/>
                      <a:pt x="857" y="199"/>
                    </a:cubicBezTo>
                    <a:close/>
                    <a:moveTo>
                      <a:pt x="926" y="199"/>
                    </a:moveTo>
                    <a:cubicBezTo>
                      <a:pt x="925" y="199"/>
                      <a:pt x="925" y="199"/>
                      <a:pt x="925" y="199"/>
                    </a:cubicBezTo>
                    <a:cubicBezTo>
                      <a:pt x="925" y="199"/>
                      <a:pt x="925" y="199"/>
                      <a:pt x="926" y="199"/>
                    </a:cubicBezTo>
                    <a:close/>
                    <a:moveTo>
                      <a:pt x="846" y="115"/>
                    </a:moveTo>
                    <a:cubicBezTo>
                      <a:pt x="847" y="115"/>
                      <a:pt x="847" y="115"/>
                      <a:pt x="847" y="115"/>
                    </a:cubicBezTo>
                    <a:cubicBezTo>
                      <a:pt x="846" y="115"/>
                      <a:pt x="846" y="115"/>
                      <a:pt x="846" y="115"/>
                    </a:cubicBezTo>
                    <a:close/>
                    <a:moveTo>
                      <a:pt x="1174" y="199"/>
                    </a:moveTo>
                    <a:cubicBezTo>
                      <a:pt x="1174" y="199"/>
                      <a:pt x="1174" y="199"/>
                      <a:pt x="1174" y="199"/>
                    </a:cubicBezTo>
                    <a:cubicBezTo>
                      <a:pt x="1174" y="199"/>
                      <a:pt x="1174" y="199"/>
                      <a:pt x="1174" y="199"/>
                    </a:cubicBezTo>
                    <a:close/>
                    <a:moveTo>
                      <a:pt x="1362" y="199"/>
                    </a:moveTo>
                    <a:cubicBezTo>
                      <a:pt x="1362" y="199"/>
                      <a:pt x="1361" y="199"/>
                      <a:pt x="1361" y="199"/>
                    </a:cubicBezTo>
                    <a:cubicBezTo>
                      <a:pt x="1361" y="199"/>
                      <a:pt x="1361" y="199"/>
                      <a:pt x="1362" y="199"/>
                    </a:cubicBezTo>
                    <a:close/>
                    <a:moveTo>
                      <a:pt x="1780" y="101"/>
                    </a:moveTo>
                    <a:cubicBezTo>
                      <a:pt x="1781" y="101"/>
                      <a:pt x="1781" y="101"/>
                      <a:pt x="1781" y="100"/>
                    </a:cubicBezTo>
                    <a:cubicBezTo>
                      <a:pt x="1781" y="101"/>
                      <a:pt x="1780" y="101"/>
                      <a:pt x="1780" y="101"/>
                    </a:cubicBezTo>
                    <a:close/>
                    <a:moveTo>
                      <a:pt x="1712" y="100"/>
                    </a:moveTo>
                    <a:cubicBezTo>
                      <a:pt x="1712" y="101"/>
                      <a:pt x="1712" y="101"/>
                      <a:pt x="1712" y="101"/>
                    </a:cubicBezTo>
                    <a:cubicBezTo>
                      <a:pt x="1712" y="101"/>
                      <a:pt x="1712" y="101"/>
                      <a:pt x="1712" y="100"/>
                    </a:cubicBezTo>
                    <a:close/>
                    <a:moveTo>
                      <a:pt x="857" y="200"/>
                    </a:moveTo>
                    <a:cubicBezTo>
                      <a:pt x="857" y="200"/>
                      <a:pt x="857" y="199"/>
                      <a:pt x="857" y="199"/>
                    </a:cubicBezTo>
                    <a:cubicBezTo>
                      <a:pt x="857" y="200"/>
                      <a:pt x="857" y="200"/>
                      <a:pt x="857" y="200"/>
                    </a:cubicBezTo>
                    <a:close/>
                    <a:moveTo>
                      <a:pt x="1489" y="101"/>
                    </a:moveTo>
                    <a:cubicBezTo>
                      <a:pt x="1490" y="101"/>
                      <a:pt x="1490" y="101"/>
                      <a:pt x="1490" y="100"/>
                    </a:cubicBezTo>
                    <a:cubicBezTo>
                      <a:pt x="1490" y="101"/>
                      <a:pt x="1490" y="101"/>
                      <a:pt x="1489" y="101"/>
                    </a:cubicBezTo>
                    <a:close/>
                    <a:moveTo>
                      <a:pt x="1421" y="100"/>
                    </a:moveTo>
                    <a:cubicBezTo>
                      <a:pt x="1421" y="101"/>
                      <a:pt x="1422" y="101"/>
                      <a:pt x="1422" y="101"/>
                    </a:cubicBezTo>
                    <a:cubicBezTo>
                      <a:pt x="1422" y="101"/>
                      <a:pt x="1422" y="100"/>
                      <a:pt x="1421" y="100"/>
                    </a:cubicBezTo>
                    <a:close/>
                    <a:moveTo>
                      <a:pt x="1174" y="199"/>
                    </a:moveTo>
                    <a:cubicBezTo>
                      <a:pt x="1173" y="199"/>
                      <a:pt x="1173" y="200"/>
                      <a:pt x="1173" y="200"/>
                    </a:cubicBezTo>
                    <a:cubicBezTo>
                      <a:pt x="1173" y="200"/>
                      <a:pt x="1174" y="200"/>
                      <a:pt x="1174" y="199"/>
                    </a:cubicBezTo>
                    <a:close/>
                    <a:moveTo>
                      <a:pt x="1315" y="199"/>
                    </a:moveTo>
                    <a:cubicBezTo>
                      <a:pt x="1315" y="199"/>
                      <a:pt x="1314" y="200"/>
                      <a:pt x="1314" y="200"/>
                    </a:cubicBezTo>
                    <a:cubicBezTo>
                      <a:pt x="1315" y="200"/>
                      <a:pt x="1315" y="200"/>
                      <a:pt x="1315" y="199"/>
                    </a:cubicBezTo>
                    <a:close/>
                    <a:moveTo>
                      <a:pt x="1362" y="200"/>
                    </a:moveTo>
                    <a:cubicBezTo>
                      <a:pt x="1362" y="199"/>
                      <a:pt x="1362" y="199"/>
                      <a:pt x="1362" y="199"/>
                    </a:cubicBezTo>
                    <a:cubicBezTo>
                      <a:pt x="1362" y="200"/>
                      <a:pt x="1362" y="200"/>
                      <a:pt x="1362" y="200"/>
                    </a:cubicBezTo>
                    <a:close/>
                    <a:moveTo>
                      <a:pt x="628" y="101"/>
                    </a:moveTo>
                    <a:cubicBezTo>
                      <a:pt x="629" y="101"/>
                      <a:pt x="629" y="101"/>
                      <a:pt x="629" y="100"/>
                    </a:cubicBezTo>
                    <a:cubicBezTo>
                      <a:pt x="629" y="101"/>
                      <a:pt x="629" y="101"/>
                      <a:pt x="628" y="101"/>
                    </a:cubicBezTo>
                    <a:close/>
                    <a:moveTo>
                      <a:pt x="1781" y="100"/>
                    </a:moveTo>
                    <a:cubicBezTo>
                      <a:pt x="1781" y="100"/>
                      <a:pt x="1781" y="100"/>
                      <a:pt x="1781" y="100"/>
                    </a:cubicBezTo>
                    <a:cubicBezTo>
                      <a:pt x="1781" y="100"/>
                      <a:pt x="1781" y="100"/>
                      <a:pt x="1781" y="100"/>
                    </a:cubicBezTo>
                    <a:close/>
                    <a:moveTo>
                      <a:pt x="1659" y="100"/>
                    </a:moveTo>
                    <a:cubicBezTo>
                      <a:pt x="1660" y="100"/>
                      <a:pt x="1660" y="100"/>
                      <a:pt x="1660" y="100"/>
                    </a:cubicBezTo>
                    <a:cubicBezTo>
                      <a:pt x="1660" y="100"/>
                      <a:pt x="1659" y="100"/>
                      <a:pt x="1659" y="100"/>
                    </a:cubicBezTo>
                    <a:close/>
                    <a:moveTo>
                      <a:pt x="1723" y="199"/>
                    </a:moveTo>
                    <a:cubicBezTo>
                      <a:pt x="1723" y="199"/>
                      <a:pt x="1723" y="199"/>
                      <a:pt x="1722" y="200"/>
                    </a:cubicBezTo>
                    <a:cubicBezTo>
                      <a:pt x="1723" y="200"/>
                      <a:pt x="1723" y="200"/>
                      <a:pt x="1723" y="199"/>
                    </a:cubicBezTo>
                    <a:close/>
                    <a:moveTo>
                      <a:pt x="1161" y="170"/>
                    </a:moveTo>
                    <a:cubicBezTo>
                      <a:pt x="1161" y="170"/>
                      <a:pt x="1161" y="169"/>
                      <a:pt x="1161" y="169"/>
                    </a:cubicBezTo>
                    <a:cubicBezTo>
                      <a:pt x="1161" y="170"/>
                      <a:pt x="1161" y="170"/>
                      <a:pt x="1161" y="170"/>
                    </a:cubicBezTo>
                    <a:close/>
                    <a:moveTo>
                      <a:pt x="729" y="201"/>
                    </a:moveTo>
                    <a:cubicBezTo>
                      <a:pt x="729" y="200"/>
                      <a:pt x="729" y="200"/>
                      <a:pt x="729" y="200"/>
                    </a:cubicBezTo>
                    <a:cubicBezTo>
                      <a:pt x="729" y="200"/>
                      <a:pt x="729" y="200"/>
                      <a:pt x="729" y="201"/>
                    </a:cubicBezTo>
                    <a:close/>
                    <a:moveTo>
                      <a:pt x="786" y="200"/>
                    </a:moveTo>
                    <a:cubicBezTo>
                      <a:pt x="786" y="200"/>
                      <a:pt x="786" y="200"/>
                      <a:pt x="786" y="201"/>
                    </a:cubicBezTo>
                    <a:cubicBezTo>
                      <a:pt x="786" y="200"/>
                      <a:pt x="786" y="200"/>
                      <a:pt x="786" y="200"/>
                    </a:cubicBezTo>
                    <a:close/>
                    <a:moveTo>
                      <a:pt x="1369" y="100"/>
                    </a:moveTo>
                    <a:cubicBezTo>
                      <a:pt x="1369" y="100"/>
                      <a:pt x="1370" y="100"/>
                      <a:pt x="1370" y="100"/>
                    </a:cubicBezTo>
                    <a:cubicBezTo>
                      <a:pt x="1369" y="100"/>
                      <a:pt x="1369" y="100"/>
                      <a:pt x="1369" y="100"/>
                    </a:cubicBezTo>
                    <a:close/>
                    <a:moveTo>
                      <a:pt x="665" y="115"/>
                    </a:moveTo>
                    <a:cubicBezTo>
                      <a:pt x="665" y="115"/>
                      <a:pt x="665" y="115"/>
                      <a:pt x="664" y="115"/>
                    </a:cubicBezTo>
                    <a:cubicBezTo>
                      <a:pt x="664" y="115"/>
                      <a:pt x="664" y="115"/>
                      <a:pt x="665" y="115"/>
                    </a:cubicBezTo>
                    <a:close/>
                    <a:moveTo>
                      <a:pt x="1128" y="100"/>
                    </a:moveTo>
                    <a:cubicBezTo>
                      <a:pt x="1129" y="100"/>
                      <a:pt x="1129" y="100"/>
                      <a:pt x="1129" y="100"/>
                    </a:cubicBezTo>
                    <a:cubicBezTo>
                      <a:pt x="1129" y="100"/>
                      <a:pt x="1129" y="100"/>
                      <a:pt x="1128" y="100"/>
                    </a:cubicBezTo>
                    <a:close/>
                    <a:moveTo>
                      <a:pt x="921" y="100"/>
                    </a:moveTo>
                    <a:cubicBezTo>
                      <a:pt x="921" y="100"/>
                      <a:pt x="922" y="100"/>
                      <a:pt x="922" y="100"/>
                    </a:cubicBezTo>
                    <a:cubicBezTo>
                      <a:pt x="922" y="100"/>
                      <a:pt x="922" y="100"/>
                      <a:pt x="921" y="100"/>
                    </a:cubicBezTo>
                    <a:close/>
                    <a:moveTo>
                      <a:pt x="1162" y="171"/>
                    </a:moveTo>
                    <a:cubicBezTo>
                      <a:pt x="1162" y="170"/>
                      <a:pt x="1162" y="170"/>
                      <a:pt x="1161" y="170"/>
                    </a:cubicBezTo>
                    <a:cubicBezTo>
                      <a:pt x="1161" y="170"/>
                      <a:pt x="1162" y="170"/>
                      <a:pt x="1162" y="171"/>
                    </a:cubicBezTo>
                    <a:close/>
                    <a:moveTo>
                      <a:pt x="786" y="100"/>
                    </a:moveTo>
                    <a:cubicBezTo>
                      <a:pt x="786" y="100"/>
                      <a:pt x="786" y="100"/>
                      <a:pt x="786" y="100"/>
                    </a:cubicBezTo>
                    <a:cubicBezTo>
                      <a:pt x="786" y="100"/>
                      <a:pt x="786" y="100"/>
                      <a:pt x="786" y="100"/>
                    </a:cubicBezTo>
                    <a:close/>
                    <a:moveTo>
                      <a:pt x="1432" y="200"/>
                    </a:moveTo>
                    <a:cubicBezTo>
                      <a:pt x="1431" y="200"/>
                      <a:pt x="1431" y="200"/>
                      <a:pt x="1431" y="200"/>
                    </a:cubicBezTo>
                    <a:cubicBezTo>
                      <a:pt x="1431" y="200"/>
                      <a:pt x="1432" y="200"/>
                      <a:pt x="1432" y="200"/>
                    </a:cubicBezTo>
                    <a:close/>
                    <a:moveTo>
                      <a:pt x="1654" y="201"/>
                    </a:moveTo>
                    <a:cubicBezTo>
                      <a:pt x="1653" y="200"/>
                      <a:pt x="1653" y="200"/>
                      <a:pt x="1653" y="200"/>
                    </a:cubicBezTo>
                    <a:cubicBezTo>
                      <a:pt x="1653" y="200"/>
                      <a:pt x="1653" y="200"/>
                      <a:pt x="1654" y="201"/>
                    </a:cubicBezTo>
                    <a:close/>
                    <a:moveTo>
                      <a:pt x="736" y="100"/>
                    </a:moveTo>
                    <a:cubicBezTo>
                      <a:pt x="736" y="100"/>
                      <a:pt x="736" y="100"/>
                      <a:pt x="736" y="100"/>
                    </a:cubicBezTo>
                    <a:cubicBezTo>
                      <a:pt x="736" y="100"/>
                      <a:pt x="736" y="100"/>
                      <a:pt x="736" y="100"/>
                    </a:cubicBezTo>
                    <a:close/>
                    <a:moveTo>
                      <a:pt x="676" y="100"/>
                    </a:moveTo>
                    <a:cubicBezTo>
                      <a:pt x="676" y="100"/>
                      <a:pt x="676" y="100"/>
                      <a:pt x="677" y="100"/>
                    </a:cubicBezTo>
                    <a:cubicBezTo>
                      <a:pt x="677" y="100"/>
                      <a:pt x="676" y="100"/>
                      <a:pt x="676" y="100"/>
                    </a:cubicBezTo>
                    <a:close/>
                    <a:moveTo>
                      <a:pt x="629" y="100"/>
                    </a:moveTo>
                    <a:cubicBezTo>
                      <a:pt x="629" y="100"/>
                      <a:pt x="630" y="100"/>
                      <a:pt x="630" y="100"/>
                    </a:cubicBezTo>
                    <a:cubicBezTo>
                      <a:pt x="629" y="100"/>
                      <a:pt x="629" y="100"/>
                      <a:pt x="629" y="100"/>
                    </a:cubicBezTo>
                    <a:close/>
                    <a:moveTo>
                      <a:pt x="730" y="201"/>
                    </a:moveTo>
                    <a:cubicBezTo>
                      <a:pt x="730" y="201"/>
                      <a:pt x="730" y="201"/>
                      <a:pt x="729" y="201"/>
                    </a:cubicBezTo>
                    <a:cubicBezTo>
                      <a:pt x="729" y="201"/>
                      <a:pt x="730" y="201"/>
                      <a:pt x="730" y="201"/>
                    </a:cubicBezTo>
                    <a:close/>
                    <a:moveTo>
                      <a:pt x="786" y="201"/>
                    </a:moveTo>
                    <a:cubicBezTo>
                      <a:pt x="785" y="201"/>
                      <a:pt x="785" y="201"/>
                      <a:pt x="785" y="201"/>
                    </a:cubicBezTo>
                    <a:cubicBezTo>
                      <a:pt x="785" y="201"/>
                      <a:pt x="785" y="201"/>
                      <a:pt x="786" y="201"/>
                    </a:cubicBezTo>
                    <a:close/>
                    <a:moveTo>
                      <a:pt x="923" y="201"/>
                    </a:moveTo>
                    <a:cubicBezTo>
                      <a:pt x="923" y="201"/>
                      <a:pt x="923" y="201"/>
                      <a:pt x="923" y="201"/>
                    </a:cubicBezTo>
                    <a:cubicBezTo>
                      <a:pt x="923" y="201"/>
                      <a:pt x="923" y="201"/>
                      <a:pt x="923" y="201"/>
                    </a:cubicBezTo>
                    <a:close/>
                    <a:moveTo>
                      <a:pt x="1781" y="100"/>
                    </a:moveTo>
                    <a:cubicBezTo>
                      <a:pt x="1782" y="100"/>
                      <a:pt x="1782" y="100"/>
                      <a:pt x="1782" y="99"/>
                    </a:cubicBezTo>
                    <a:cubicBezTo>
                      <a:pt x="1782" y="99"/>
                      <a:pt x="1781" y="99"/>
                      <a:pt x="1781" y="100"/>
                    </a:cubicBezTo>
                    <a:close/>
                    <a:moveTo>
                      <a:pt x="1364" y="201"/>
                    </a:moveTo>
                    <a:cubicBezTo>
                      <a:pt x="1364" y="201"/>
                      <a:pt x="1364" y="201"/>
                      <a:pt x="1363" y="201"/>
                    </a:cubicBezTo>
                    <a:cubicBezTo>
                      <a:pt x="1363" y="201"/>
                      <a:pt x="1364" y="201"/>
                      <a:pt x="1364" y="201"/>
                    </a:cubicBezTo>
                    <a:close/>
                    <a:moveTo>
                      <a:pt x="1710" y="99"/>
                    </a:moveTo>
                    <a:cubicBezTo>
                      <a:pt x="1710" y="100"/>
                      <a:pt x="1710" y="100"/>
                      <a:pt x="1711" y="100"/>
                    </a:cubicBezTo>
                    <a:cubicBezTo>
                      <a:pt x="1710" y="100"/>
                      <a:pt x="1710" y="99"/>
                      <a:pt x="1710" y="99"/>
                    </a:cubicBezTo>
                    <a:close/>
                    <a:moveTo>
                      <a:pt x="1259" y="123"/>
                    </a:moveTo>
                    <a:cubicBezTo>
                      <a:pt x="1259" y="122"/>
                      <a:pt x="1259" y="122"/>
                      <a:pt x="1258" y="122"/>
                    </a:cubicBezTo>
                    <a:cubicBezTo>
                      <a:pt x="1259" y="122"/>
                      <a:pt x="1259" y="123"/>
                      <a:pt x="1259" y="123"/>
                    </a:cubicBezTo>
                    <a:close/>
                    <a:moveTo>
                      <a:pt x="1654" y="201"/>
                    </a:moveTo>
                    <a:cubicBezTo>
                      <a:pt x="1654" y="201"/>
                      <a:pt x="1654" y="201"/>
                      <a:pt x="1654" y="201"/>
                    </a:cubicBezTo>
                    <a:cubicBezTo>
                      <a:pt x="1654" y="201"/>
                      <a:pt x="1654" y="201"/>
                      <a:pt x="1654" y="201"/>
                    </a:cubicBezTo>
                    <a:close/>
                    <a:moveTo>
                      <a:pt x="1721" y="201"/>
                    </a:moveTo>
                    <a:cubicBezTo>
                      <a:pt x="1721" y="201"/>
                      <a:pt x="1721" y="201"/>
                      <a:pt x="1721" y="201"/>
                    </a:cubicBezTo>
                    <a:cubicBezTo>
                      <a:pt x="1721" y="201"/>
                      <a:pt x="1721" y="201"/>
                      <a:pt x="1721" y="201"/>
                    </a:cubicBezTo>
                    <a:close/>
                    <a:moveTo>
                      <a:pt x="1294" y="145"/>
                    </a:moveTo>
                    <a:cubicBezTo>
                      <a:pt x="1294" y="145"/>
                      <a:pt x="1293" y="145"/>
                      <a:pt x="1293" y="145"/>
                    </a:cubicBezTo>
                    <a:cubicBezTo>
                      <a:pt x="1293" y="145"/>
                      <a:pt x="1293" y="145"/>
                      <a:pt x="1294" y="145"/>
                    </a:cubicBezTo>
                    <a:close/>
                    <a:moveTo>
                      <a:pt x="731" y="202"/>
                    </a:moveTo>
                    <a:cubicBezTo>
                      <a:pt x="730" y="201"/>
                      <a:pt x="730" y="201"/>
                      <a:pt x="730" y="201"/>
                    </a:cubicBezTo>
                    <a:cubicBezTo>
                      <a:pt x="730" y="201"/>
                      <a:pt x="730" y="202"/>
                      <a:pt x="731" y="202"/>
                    </a:cubicBezTo>
                    <a:close/>
                    <a:moveTo>
                      <a:pt x="785" y="201"/>
                    </a:moveTo>
                    <a:cubicBezTo>
                      <a:pt x="785" y="201"/>
                      <a:pt x="784" y="201"/>
                      <a:pt x="784" y="202"/>
                    </a:cubicBezTo>
                    <a:cubicBezTo>
                      <a:pt x="785" y="202"/>
                      <a:pt x="785" y="201"/>
                      <a:pt x="785" y="201"/>
                    </a:cubicBezTo>
                    <a:close/>
                    <a:moveTo>
                      <a:pt x="1322" y="145"/>
                    </a:moveTo>
                    <a:cubicBezTo>
                      <a:pt x="1322" y="145"/>
                      <a:pt x="1322" y="145"/>
                      <a:pt x="1322" y="145"/>
                    </a:cubicBezTo>
                    <a:cubicBezTo>
                      <a:pt x="1322" y="145"/>
                      <a:pt x="1322" y="145"/>
                      <a:pt x="1322" y="145"/>
                    </a:cubicBezTo>
                    <a:close/>
                    <a:moveTo>
                      <a:pt x="1291" y="122"/>
                    </a:moveTo>
                    <a:cubicBezTo>
                      <a:pt x="1291" y="122"/>
                      <a:pt x="1292" y="122"/>
                      <a:pt x="1292" y="122"/>
                    </a:cubicBezTo>
                    <a:cubicBezTo>
                      <a:pt x="1292" y="122"/>
                      <a:pt x="1291" y="122"/>
                      <a:pt x="1291" y="122"/>
                    </a:cubicBezTo>
                    <a:close/>
                    <a:moveTo>
                      <a:pt x="630" y="115"/>
                    </a:moveTo>
                    <a:cubicBezTo>
                      <a:pt x="629" y="115"/>
                      <a:pt x="629" y="115"/>
                      <a:pt x="629" y="115"/>
                    </a:cubicBezTo>
                    <a:cubicBezTo>
                      <a:pt x="629" y="115"/>
                      <a:pt x="629" y="115"/>
                      <a:pt x="630" y="115"/>
                    </a:cubicBezTo>
                    <a:close/>
                    <a:moveTo>
                      <a:pt x="1171" y="201"/>
                    </a:moveTo>
                    <a:cubicBezTo>
                      <a:pt x="1171" y="201"/>
                      <a:pt x="1171" y="201"/>
                      <a:pt x="1171" y="202"/>
                    </a:cubicBezTo>
                    <a:cubicBezTo>
                      <a:pt x="1171" y="201"/>
                      <a:pt x="1171" y="201"/>
                      <a:pt x="1171" y="201"/>
                    </a:cubicBezTo>
                    <a:close/>
                    <a:moveTo>
                      <a:pt x="1660" y="100"/>
                    </a:moveTo>
                    <a:cubicBezTo>
                      <a:pt x="1661" y="100"/>
                      <a:pt x="1661" y="100"/>
                      <a:pt x="1661" y="99"/>
                    </a:cubicBezTo>
                    <a:cubicBezTo>
                      <a:pt x="1661" y="99"/>
                      <a:pt x="1661" y="100"/>
                      <a:pt x="1660" y="100"/>
                    </a:cubicBezTo>
                    <a:close/>
                    <a:moveTo>
                      <a:pt x="1365" y="202"/>
                    </a:moveTo>
                    <a:cubicBezTo>
                      <a:pt x="1364" y="201"/>
                      <a:pt x="1364" y="201"/>
                      <a:pt x="1364" y="201"/>
                    </a:cubicBezTo>
                    <a:cubicBezTo>
                      <a:pt x="1364" y="201"/>
                      <a:pt x="1364" y="202"/>
                      <a:pt x="1365" y="202"/>
                    </a:cubicBezTo>
                    <a:close/>
                    <a:moveTo>
                      <a:pt x="1430" y="201"/>
                    </a:moveTo>
                    <a:cubicBezTo>
                      <a:pt x="1430" y="201"/>
                      <a:pt x="1429" y="201"/>
                      <a:pt x="1429" y="202"/>
                    </a:cubicBezTo>
                    <a:cubicBezTo>
                      <a:pt x="1430" y="202"/>
                      <a:pt x="1430" y="201"/>
                      <a:pt x="1430" y="201"/>
                    </a:cubicBezTo>
                    <a:close/>
                    <a:moveTo>
                      <a:pt x="1491" y="100"/>
                    </a:moveTo>
                    <a:cubicBezTo>
                      <a:pt x="1491" y="100"/>
                      <a:pt x="1492" y="100"/>
                      <a:pt x="1492" y="99"/>
                    </a:cubicBezTo>
                    <a:cubicBezTo>
                      <a:pt x="1492" y="99"/>
                      <a:pt x="1491" y="100"/>
                      <a:pt x="1491" y="100"/>
                    </a:cubicBezTo>
                    <a:close/>
                    <a:moveTo>
                      <a:pt x="1419" y="99"/>
                    </a:moveTo>
                    <a:cubicBezTo>
                      <a:pt x="1420" y="100"/>
                      <a:pt x="1420" y="100"/>
                      <a:pt x="1420" y="100"/>
                    </a:cubicBezTo>
                    <a:cubicBezTo>
                      <a:pt x="1420" y="99"/>
                      <a:pt x="1420" y="99"/>
                      <a:pt x="1419" y="99"/>
                    </a:cubicBezTo>
                    <a:close/>
                    <a:moveTo>
                      <a:pt x="920" y="99"/>
                    </a:moveTo>
                    <a:cubicBezTo>
                      <a:pt x="920" y="100"/>
                      <a:pt x="921" y="100"/>
                      <a:pt x="921" y="100"/>
                    </a:cubicBezTo>
                    <a:cubicBezTo>
                      <a:pt x="921" y="99"/>
                      <a:pt x="921" y="99"/>
                      <a:pt x="920" y="99"/>
                    </a:cubicBezTo>
                    <a:close/>
                    <a:moveTo>
                      <a:pt x="863" y="100"/>
                    </a:moveTo>
                    <a:cubicBezTo>
                      <a:pt x="864" y="100"/>
                      <a:pt x="864" y="100"/>
                      <a:pt x="864" y="99"/>
                    </a:cubicBezTo>
                    <a:cubicBezTo>
                      <a:pt x="864" y="99"/>
                      <a:pt x="864" y="99"/>
                      <a:pt x="863" y="100"/>
                    </a:cubicBezTo>
                    <a:close/>
                    <a:moveTo>
                      <a:pt x="785" y="99"/>
                    </a:moveTo>
                    <a:cubicBezTo>
                      <a:pt x="785" y="100"/>
                      <a:pt x="785" y="100"/>
                      <a:pt x="786" y="100"/>
                    </a:cubicBezTo>
                    <a:cubicBezTo>
                      <a:pt x="785" y="99"/>
                      <a:pt x="785" y="99"/>
                      <a:pt x="785" y="99"/>
                    </a:cubicBezTo>
                    <a:close/>
                    <a:moveTo>
                      <a:pt x="676" y="99"/>
                    </a:moveTo>
                    <a:cubicBezTo>
                      <a:pt x="676" y="100"/>
                      <a:pt x="676" y="100"/>
                      <a:pt x="676" y="100"/>
                    </a:cubicBezTo>
                    <a:cubicBezTo>
                      <a:pt x="676" y="99"/>
                      <a:pt x="676" y="99"/>
                      <a:pt x="676" y="99"/>
                    </a:cubicBezTo>
                    <a:close/>
                    <a:moveTo>
                      <a:pt x="922" y="202"/>
                    </a:moveTo>
                    <a:cubicBezTo>
                      <a:pt x="921" y="202"/>
                      <a:pt x="921" y="202"/>
                      <a:pt x="921" y="202"/>
                    </a:cubicBezTo>
                    <a:cubicBezTo>
                      <a:pt x="921" y="202"/>
                      <a:pt x="921" y="202"/>
                      <a:pt x="922" y="202"/>
                    </a:cubicBezTo>
                    <a:close/>
                    <a:moveTo>
                      <a:pt x="1171" y="202"/>
                    </a:moveTo>
                    <a:cubicBezTo>
                      <a:pt x="1171" y="202"/>
                      <a:pt x="1170" y="202"/>
                      <a:pt x="1170" y="202"/>
                    </a:cubicBezTo>
                    <a:cubicBezTo>
                      <a:pt x="1171" y="202"/>
                      <a:pt x="1171" y="202"/>
                      <a:pt x="1171" y="202"/>
                    </a:cubicBezTo>
                    <a:close/>
                    <a:moveTo>
                      <a:pt x="630" y="100"/>
                    </a:moveTo>
                    <a:cubicBezTo>
                      <a:pt x="631" y="100"/>
                      <a:pt x="631" y="100"/>
                      <a:pt x="631" y="99"/>
                    </a:cubicBezTo>
                    <a:cubicBezTo>
                      <a:pt x="631" y="99"/>
                      <a:pt x="630" y="100"/>
                      <a:pt x="630" y="100"/>
                    </a:cubicBezTo>
                    <a:close/>
                    <a:moveTo>
                      <a:pt x="623" y="122"/>
                    </a:moveTo>
                    <a:cubicBezTo>
                      <a:pt x="623" y="122"/>
                      <a:pt x="623" y="122"/>
                      <a:pt x="623" y="122"/>
                    </a:cubicBezTo>
                    <a:cubicBezTo>
                      <a:pt x="623" y="122"/>
                      <a:pt x="623" y="122"/>
                      <a:pt x="623" y="122"/>
                    </a:cubicBezTo>
                    <a:close/>
                    <a:moveTo>
                      <a:pt x="1492" y="99"/>
                    </a:moveTo>
                    <a:cubicBezTo>
                      <a:pt x="1492" y="99"/>
                      <a:pt x="1492" y="99"/>
                      <a:pt x="1492" y="99"/>
                    </a:cubicBezTo>
                    <a:cubicBezTo>
                      <a:pt x="1492" y="99"/>
                      <a:pt x="1492" y="99"/>
                      <a:pt x="1492" y="99"/>
                    </a:cubicBezTo>
                    <a:close/>
                    <a:moveTo>
                      <a:pt x="1656" y="202"/>
                    </a:moveTo>
                    <a:cubicBezTo>
                      <a:pt x="1656" y="202"/>
                      <a:pt x="1656" y="202"/>
                      <a:pt x="1655" y="202"/>
                    </a:cubicBezTo>
                    <a:cubicBezTo>
                      <a:pt x="1655" y="202"/>
                      <a:pt x="1656" y="202"/>
                      <a:pt x="1656" y="202"/>
                    </a:cubicBezTo>
                    <a:close/>
                    <a:moveTo>
                      <a:pt x="1122" y="146"/>
                    </a:moveTo>
                    <a:cubicBezTo>
                      <a:pt x="1121" y="145"/>
                      <a:pt x="1121" y="145"/>
                      <a:pt x="1121" y="145"/>
                    </a:cubicBezTo>
                    <a:cubicBezTo>
                      <a:pt x="1121" y="145"/>
                      <a:pt x="1121" y="146"/>
                      <a:pt x="1122" y="146"/>
                    </a:cubicBezTo>
                    <a:close/>
                    <a:moveTo>
                      <a:pt x="732" y="203"/>
                    </a:moveTo>
                    <a:cubicBezTo>
                      <a:pt x="732" y="202"/>
                      <a:pt x="732" y="202"/>
                      <a:pt x="732" y="202"/>
                    </a:cubicBezTo>
                    <a:cubicBezTo>
                      <a:pt x="732" y="203"/>
                      <a:pt x="732" y="203"/>
                      <a:pt x="732" y="203"/>
                    </a:cubicBezTo>
                    <a:close/>
                    <a:moveTo>
                      <a:pt x="783" y="202"/>
                    </a:moveTo>
                    <a:cubicBezTo>
                      <a:pt x="783" y="202"/>
                      <a:pt x="783" y="202"/>
                      <a:pt x="783" y="203"/>
                    </a:cubicBezTo>
                    <a:cubicBezTo>
                      <a:pt x="783" y="203"/>
                      <a:pt x="783" y="203"/>
                      <a:pt x="783" y="202"/>
                    </a:cubicBezTo>
                    <a:close/>
                    <a:moveTo>
                      <a:pt x="1156" y="145"/>
                    </a:moveTo>
                    <a:cubicBezTo>
                      <a:pt x="1156" y="146"/>
                      <a:pt x="1157" y="146"/>
                      <a:pt x="1157" y="146"/>
                    </a:cubicBezTo>
                    <a:cubicBezTo>
                      <a:pt x="1157" y="145"/>
                      <a:pt x="1157" y="145"/>
                      <a:pt x="1156" y="145"/>
                    </a:cubicBezTo>
                    <a:close/>
                    <a:moveTo>
                      <a:pt x="1418" y="99"/>
                    </a:moveTo>
                    <a:cubicBezTo>
                      <a:pt x="1419" y="99"/>
                      <a:pt x="1419" y="99"/>
                      <a:pt x="1419" y="99"/>
                    </a:cubicBezTo>
                    <a:cubicBezTo>
                      <a:pt x="1419" y="99"/>
                      <a:pt x="1419" y="99"/>
                      <a:pt x="1418" y="99"/>
                    </a:cubicBezTo>
                    <a:close/>
                    <a:moveTo>
                      <a:pt x="1163" y="172"/>
                    </a:moveTo>
                    <a:cubicBezTo>
                      <a:pt x="1163" y="172"/>
                      <a:pt x="1163" y="172"/>
                      <a:pt x="1162" y="172"/>
                    </a:cubicBezTo>
                    <a:cubicBezTo>
                      <a:pt x="1162" y="172"/>
                      <a:pt x="1163" y="172"/>
                      <a:pt x="1163" y="172"/>
                    </a:cubicBezTo>
                    <a:close/>
                    <a:moveTo>
                      <a:pt x="1141" y="138"/>
                    </a:moveTo>
                    <a:cubicBezTo>
                      <a:pt x="1141" y="138"/>
                      <a:pt x="1141" y="138"/>
                      <a:pt x="1142" y="138"/>
                    </a:cubicBezTo>
                    <a:cubicBezTo>
                      <a:pt x="1141" y="138"/>
                      <a:pt x="1141" y="138"/>
                      <a:pt x="1141" y="138"/>
                    </a:cubicBezTo>
                    <a:close/>
                    <a:moveTo>
                      <a:pt x="1130" y="99"/>
                    </a:moveTo>
                    <a:cubicBezTo>
                      <a:pt x="1130" y="99"/>
                      <a:pt x="1131" y="99"/>
                      <a:pt x="1131" y="99"/>
                    </a:cubicBezTo>
                    <a:cubicBezTo>
                      <a:pt x="1130" y="99"/>
                      <a:pt x="1130" y="99"/>
                      <a:pt x="1130" y="99"/>
                    </a:cubicBezTo>
                    <a:close/>
                    <a:moveTo>
                      <a:pt x="1136" y="134"/>
                    </a:moveTo>
                    <a:cubicBezTo>
                      <a:pt x="1136" y="135"/>
                      <a:pt x="1137" y="135"/>
                      <a:pt x="1137" y="135"/>
                    </a:cubicBezTo>
                    <a:cubicBezTo>
                      <a:pt x="1137" y="135"/>
                      <a:pt x="1137" y="134"/>
                      <a:pt x="1136" y="134"/>
                    </a:cubicBezTo>
                    <a:close/>
                    <a:moveTo>
                      <a:pt x="865" y="99"/>
                    </a:moveTo>
                    <a:cubicBezTo>
                      <a:pt x="865" y="99"/>
                      <a:pt x="865" y="99"/>
                      <a:pt x="865" y="99"/>
                    </a:cubicBezTo>
                    <a:cubicBezTo>
                      <a:pt x="865" y="99"/>
                      <a:pt x="865" y="99"/>
                      <a:pt x="865" y="99"/>
                    </a:cubicBezTo>
                    <a:close/>
                    <a:moveTo>
                      <a:pt x="1366" y="203"/>
                    </a:moveTo>
                    <a:cubicBezTo>
                      <a:pt x="1366" y="202"/>
                      <a:pt x="1366" y="202"/>
                      <a:pt x="1366" y="202"/>
                    </a:cubicBezTo>
                    <a:cubicBezTo>
                      <a:pt x="1366" y="203"/>
                      <a:pt x="1366" y="203"/>
                      <a:pt x="1366" y="203"/>
                    </a:cubicBezTo>
                    <a:close/>
                    <a:moveTo>
                      <a:pt x="784" y="99"/>
                    </a:moveTo>
                    <a:cubicBezTo>
                      <a:pt x="784" y="99"/>
                      <a:pt x="784" y="99"/>
                      <a:pt x="784" y="99"/>
                    </a:cubicBezTo>
                    <a:cubicBezTo>
                      <a:pt x="784" y="99"/>
                      <a:pt x="784" y="99"/>
                      <a:pt x="784" y="99"/>
                    </a:cubicBezTo>
                    <a:close/>
                    <a:moveTo>
                      <a:pt x="1783" y="99"/>
                    </a:moveTo>
                    <a:cubicBezTo>
                      <a:pt x="1783" y="99"/>
                      <a:pt x="1784" y="98"/>
                      <a:pt x="1784" y="98"/>
                    </a:cubicBezTo>
                    <a:cubicBezTo>
                      <a:pt x="1783" y="98"/>
                      <a:pt x="1783" y="98"/>
                      <a:pt x="1783" y="99"/>
                    </a:cubicBezTo>
                    <a:close/>
                    <a:moveTo>
                      <a:pt x="738" y="99"/>
                    </a:moveTo>
                    <a:cubicBezTo>
                      <a:pt x="739" y="99"/>
                      <a:pt x="739" y="98"/>
                      <a:pt x="739" y="98"/>
                    </a:cubicBezTo>
                    <a:cubicBezTo>
                      <a:pt x="739" y="98"/>
                      <a:pt x="739" y="98"/>
                      <a:pt x="738" y="99"/>
                    </a:cubicBezTo>
                    <a:close/>
                    <a:moveTo>
                      <a:pt x="1315" y="138"/>
                    </a:moveTo>
                    <a:cubicBezTo>
                      <a:pt x="1315" y="138"/>
                      <a:pt x="1316" y="138"/>
                      <a:pt x="1316" y="138"/>
                    </a:cubicBezTo>
                    <a:cubicBezTo>
                      <a:pt x="1316" y="138"/>
                      <a:pt x="1316" y="138"/>
                      <a:pt x="1315" y="138"/>
                    </a:cubicBezTo>
                    <a:close/>
                    <a:moveTo>
                      <a:pt x="1486" y="121"/>
                    </a:moveTo>
                    <a:cubicBezTo>
                      <a:pt x="1486" y="121"/>
                      <a:pt x="1486" y="121"/>
                      <a:pt x="1486" y="122"/>
                    </a:cubicBezTo>
                    <a:cubicBezTo>
                      <a:pt x="1486" y="121"/>
                      <a:pt x="1486" y="121"/>
                      <a:pt x="1486" y="121"/>
                    </a:cubicBezTo>
                    <a:close/>
                    <a:moveTo>
                      <a:pt x="1312" y="136"/>
                    </a:moveTo>
                    <a:cubicBezTo>
                      <a:pt x="1313" y="136"/>
                      <a:pt x="1313" y="136"/>
                      <a:pt x="1313" y="136"/>
                    </a:cubicBezTo>
                    <a:cubicBezTo>
                      <a:pt x="1313" y="136"/>
                      <a:pt x="1313" y="136"/>
                      <a:pt x="1312" y="136"/>
                    </a:cubicBezTo>
                    <a:close/>
                    <a:moveTo>
                      <a:pt x="674" y="98"/>
                    </a:moveTo>
                    <a:cubicBezTo>
                      <a:pt x="674" y="98"/>
                      <a:pt x="674" y="99"/>
                      <a:pt x="674" y="99"/>
                    </a:cubicBezTo>
                    <a:cubicBezTo>
                      <a:pt x="674" y="98"/>
                      <a:pt x="674" y="98"/>
                      <a:pt x="674" y="98"/>
                    </a:cubicBezTo>
                    <a:close/>
                    <a:moveTo>
                      <a:pt x="632" y="99"/>
                    </a:moveTo>
                    <a:cubicBezTo>
                      <a:pt x="632" y="99"/>
                      <a:pt x="632" y="98"/>
                      <a:pt x="633" y="98"/>
                    </a:cubicBezTo>
                    <a:cubicBezTo>
                      <a:pt x="632" y="98"/>
                      <a:pt x="632" y="98"/>
                      <a:pt x="632" y="99"/>
                    </a:cubicBezTo>
                    <a:close/>
                    <a:moveTo>
                      <a:pt x="1707" y="98"/>
                    </a:moveTo>
                    <a:cubicBezTo>
                      <a:pt x="1707" y="98"/>
                      <a:pt x="1707" y="98"/>
                      <a:pt x="1708" y="98"/>
                    </a:cubicBezTo>
                    <a:cubicBezTo>
                      <a:pt x="1707" y="98"/>
                      <a:pt x="1707" y="98"/>
                      <a:pt x="1707" y="98"/>
                    </a:cubicBezTo>
                    <a:close/>
                    <a:moveTo>
                      <a:pt x="862" y="203"/>
                    </a:moveTo>
                    <a:cubicBezTo>
                      <a:pt x="862" y="203"/>
                      <a:pt x="862" y="203"/>
                      <a:pt x="862" y="203"/>
                    </a:cubicBezTo>
                    <a:cubicBezTo>
                      <a:pt x="862" y="203"/>
                      <a:pt x="862" y="203"/>
                      <a:pt x="862" y="203"/>
                    </a:cubicBezTo>
                    <a:close/>
                    <a:moveTo>
                      <a:pt x="1493" y="98"/>
                    </a:moveTo>
                    <a:cubicBezTo>
                      <a:pt x="1494" y="98"/>
                      <a:pt x="1494" y="98"/>
                      <a:pt x="1494" y="98"/>
                    </a:cubicBezTo>
                    <a:cubicBezTo>
                      <a:pt x="1494" y="98"/>
                      <a:pt x="1494" y="98"/>
                      <a:pt x="1493" y="98"/>
                    </a:cubicBezTo>
                    <a:close/>
                    <a:moveTo>
                      <a:pt x="1122" y="146"/>
                    </a:moveTo>
                    <a:cubicBezTo>
                      <a:pt x="1122" y="146"/>
                      <a:pt x="1122" y="146"/>
                      <a:pt x="1121" y="146"/>
                    </a:cubicBezTo>
                    <a:cubicBezTo>
                      <a:pt x="1122" y="146"/>
                      <a:pt x="1122" y="146"/>
                      <a:pt x="1122" y="146"/>
                    </a:cubicBezTo>
                    <a:close/>
                    <a:moveTo>
                      <a:pt x="1777" y="120"/>
                    </a:moveTo>
                    <a:cubicBezTo>
                      <a:pt x="1777" y="121"/>
                      <a:pt x="1777" y="121"/>
                      <a:pt x="1777" y="121"/>
                    </a:cubicBezTo>
                    <a:cubicBezTo>
                      <a:pt x="1777" y="121"/>
                      <a:pt x="1777" y="121"/>
                      <a:pt x="1777" y="120"/>
                    </a:cubicBezTo>
                    <a:close/>
                    <a:moveTo>
                      <a:pt x="1169" y="203"/>
                    </a:moveTo>
                    <a:cubicBezTo>
                      <a:pt x="1169" y="203"/>
                      <a:pt x="1169" y="203"/>
                      <a:pt x="1169" y="203"/>
                    </a:cubicBezTo>
                    <a:cubicBezTo>
                      <a:pt x="1169" y="203"/>
                      <a:pt x="1169" y="203"/>
                      <a:pt x="1169" y="203"/>
                    </a:cubicBezTo>
                    <a:close/>
                    <a:moveTo>
                      <a:pt x="782" y="98"/>
                    </a:moveTo>
                    <a:cubicBezTo>
                      <a:pt x="782" y="98"/>
                      <a:pt x="782" y="98"/>
                      <a:pt x="783" y="98"/>
                    </a:cubicBezTo>
                    <a:cubicBezTo>
                      <a:pt x="783" y="98"/>
                      <a:pt x="782" y="98"/>
                      <a:pt x="782" y="98"/>
                    </a:cubicBezTo>
                    <a:close/>
                    <a:moveTo>
                      <a:pt x="740" y="98"/>
                    </a:moveTo>
                    <a:cubicBezTo>
                      <a:pt x="740" y="98"/>
                      <a:pt x="740" y="98"/>
                      <a:pt x="740" y="98"/>
                    </a:cubicBezTo>
                    <a:cubicBezTo>
                      <a:pt x="740" y="98"/>
                      <a:pt x="740" y="98"/>
                      <a:pt x="740" y="98"/>
                    </a:cubicBezTo>
                    <a:close/>
                    <a:moveTo>
                      <a:pt x="1785" y="97"/>
                    </a:moveTo>
                    <a:cubicBezTo>
                      <a:pt x="1785" y="97"/>
                      <a:pt x="1785" y="97"/>
                      <a:pt x="1786" y="97"/>
                    </a:cubicBezTo>
                    <a:cubicBezTo>
                      <a:pt x="1785" y="97"/>
                      <a:pt x="1785" y="97"/>
                      <a:pt x="1785" y="97"/>
                    </a:cubicBezTo>
                    <a:close/>
                    <a:moveTo>
                      <a:pt x="1295" y="146"/>
                    </a:moveTo>
                    <a:cubicBezTo>
                      <a:pt x="1295" y="146"/>
                      <a:pt x="1295" y="146"/>
                      <a:pt x="1295" y="146"/>
                    </a:cubicBezTo>
                    <a:cubicBezTo>
                      <a:pt x="1295" y="146"/>
                      <a:pt x="1295" y="146"/>
                      <a:pt x="1295" y="146"/>
                    </a:cubicBezTo>
                    <a:close/>
                    <a:moveTo>
                      <a:pt x="1658" y="203"/>
                    </a:moveTo>
                    <a:cubicBezTo>
                      <a:pt x="1658" y="203"/>
                      <a:pt x="1657" y="203"/>
                      <a:pt x="1657" y="203"/>
                    </a:cubicBezTo>
                    <a:cubicBezTo>
                      <a:pt x="1657" y="203"/>
                      <a:pt x="1657" y="203"/>
                      <a:pt x="1658" y="203"/>
                    </a:cubicBezTo>
                    <a:close/>
                    <a:moveTo>
                      <a:pt x="1717" y="203"/>
                    </a:moveTo>
                    <a:cubicBezTo>
                      <a:pt x="1717" y="203"/>
                      <a:pt x="1717" y="203"/>
                      <a:pt x="1717" y="203"/>
                    </a:cubicBezTo>
                    <a:cubicBezTo>
                      <a:pt x="1717" y="203"/>
                      <a:pt x="1717" y="203"/>
                      <a:pt x="1717" y="203"/>
                    </a:cubicBezTo>
                    <a:close/>
                    <a:moveTo>
                      <a:pt x="781" y="97"/>
                    </a:moveTo>
                    <a:cubicBezTo>
                      <a:pt x="781" y="97"/>
                      <a:pt x="781" y="97"/>
                      <a:pt x="782" y="97"/>
                    </a:cubicBezTo>
                    <a:cubicBezTo>
                      <a:pt x="781" y="97"/>
                      <a:pt x="781" y="97"/>
                      <a:pt x="781" y="97"/>
                    </a:cubicBezTo>
                    <a:close/>
                    <a:moveTo>
                      <a:pt x="734" y="204"/>
                    </a:moveTo>
                    <a:cubicBezTo>
                      <a:pt x="734" y="204"/>
                      <a:pt x="734" y="203"/>
                      <a:pt x="733" y="203"/>
                    </a:cubicBezTo>
                    <a:cubicBezTo>
                      <a:pt x="733" y="204"/>
                      <a:pt x="734" y="204"/>
                      <a:pt x="734" y="204"/>
                    </a:cubicBezTo>
                    <a:close/>
                    <a:moveTo>
                      <a:pt x="782" y="203"/>
                    </a:moveTo>
                    <a:cubicBezTo>
                      <a:pt x="781" y="203"/>
                      <a:pt x="781" y="204"/>
                      <a:pt x="781" y="204"/>
                    </a:cubicBezTo>
                    <a:cubicBezTo>
                      <a:pt x="781" y="204"/>
                      <a:pt x="781" y="204"/>
                      <a:pt x="782" y="203"/>
                    </a:cubicBezTo>
                    <a:close/>
                    <a:moveTo>
                      <a:pt x="1257" y="121"/>
                    </a:moveTo>
                    <a:cubicBezTo>
                      <a:pt x="1257" y="121"/>
                      <a:pt x="1257" y="120"/>
                      <a:pt x="1256" y="120"/>
                    </a:cubicBezTo>
                    <a:cubicBezTo>
                      <a:pt x="1256" y="121"/>
                      <a:pt x="1257" y="121"/>
                      <a:pt x="1257" y="121"/>
                    </a:cubicBezTo>
                    <a:close/>
                    <a:moveTo>
                      <a:pt x="1786" y="97"/>
                    </a:moveTo>
                    <a:cubicBezTo>
                      <a:pt x="1786" y="97"/>
                      <a:pt x="1787" y="97"/>
                      <a:pt x="1787" y="96"/>
                    </a:cubicBezTo>
                    <a:cubicBezTo>
                      <a:pt x="1786" y="97"/>
                      <a:pt x="1786" y="97"/>
                      <a:pt x="1786" y="97"/>
                    </a:cubicBezTo>
                    <a:close/>
                    <a:moveTo>
                      <a:pt x="1784" y="114"/>
                    </a:moveTo>
                    <a:cubicBezTo>
                      <a:pt x="1783" y="114"/>
                      <a:pt x="1783" y="114"/>
                      <a:pt x="1783" y="115"/>
                    </a:cubicBezTo>
                    <a:cubicBezTo>
                      <a:pt x="1783" y="115"/>
                      <a:pt x="1783" y="114"/>
                      <a:pt x="1784" y="114"/>
                    </a:cubicBezTo>
                    <a:close/>
                    <a:moveTo>
                      <a:pt x="1666" y="97"/>
                    </a:moveTo>
                    <a:cubicBezTo>
                      <a:pt x="1667" y="97"/>
                      <a:pt x="1667" y="97"/>
                      <a:pt x="1667" y="96"/>
                    </a:cubicBezTo>
                    <a:cubicBezTo>
                      <a:pt x="1667" y="96"/>
                      <a:pt x="1666" y="97"/>
                      <a:pt x="1666" y="97"/>
                    </a:cubicBezTo>
                    <a:close/>
                    <a:moveTo>
                      <a:pt x="1434" y="114"/>
                    </a:moveTo>
                    <a:cubicBezTo>
                      <a:pt x="1434" y="115"/>
                      <a:pt x="1434" y="115"/>
                      <a:pt x="1434" y="115"/>
                    </a:cubicBezTo>
                    <a:cubicBezTo>
                      <a:pt x="1434" y="115"/>
                      <a:pt x="1434" y="114"/>
                      <a:pt x="1434" y="114"/>
                    </a:cubicBezTo>
                    <a:close/>
                    <a:moveTo>
                      <a:pt x="780" y="96"/>
                    </a:moveTo>
                    <a:cubicBezTo>
                      <a:pt x="780" y="97"/>
                      <a:pt x="780" y="97"/>
                      <a:pt x="780" y="97"/>
                    </a:cubicBezTo>
                    <a:cubicBezTo>
                      <a:pt x="780" y="97"/>
                      <a:pt x="780" y="96"/>
                      <a:pt x="780" y="96"/>
                    </a:cubicBezTo>
                    <a:close/>
                    <a:moveTo>
                      <a:pt x="1354" y="115"/>
                    </a:moveTo>
                    <a:cubicBezTo>
                      <a:pt x="1354" y="115"/>
                      <a:pt x="1355" y="115"/>
                      <a:pt x="1355" y="114"/>
                    </a:cubicBezTo>
                    <a:cubicBezTo>
                      <a:pt x="1354" y="114"/>
                      <a:pt x="1354" y="115"/>
                      <a:pt x="1354" y="115"/>
                    </a:cubicBezTo>
                    <a:close/>
                    <a:moveTo>
                      <a:pt x="721" y="115"/>
                    </a:moveTo>
                    <a:cubicBezTo>
                      <a:pt x="722" y="115"/>
                      <a:pt x="722" y="114"/>
                      <a:pt x="722" y="114"/>
                    </a:cubicBezTo>
                    <a:cubicBezTo>
                      <a:pt x="722" y="114"/>
                      <a:pt x="721" y="115"/>
                      <a:pt x="721" y="115"/>
                    </a:cubicBezTo>
                    <a:close/>
                    <a:moveTo>
                      <a:pt x="1787" y="96"/>
                    </a:moveTo>
                    <a:cubicBezTo>
                      <a:pt x="1787" y="96"/>
                      <a:pt x="1788" y="96"/>
                      <a:pt x="1788" y="96"/>
                    </a:cubicBezTo>
                    <a:cubicBezTo>
                      <a:pt x="1788" y="96"/>
                      <a:pt x="1787" y="96"/>
                      <a:pt x="1787" y="96"/>
                    </a:cubicBezTo>
                    <a:close/>
                    <a:moveTo>
                      <a:pt x="439" y="85"/>
                    </a:moveTo>
                    <a:cubicBezTo>
                      <a:pt x="440" y="85"/>
                      <a:pt x="440" y="85"/>
                      <a:pt x="440" y="85"/>
                    </a:cubicBezTo>
                    <a:cubicBezTo>
                      <a:pt x="439" y="85"/>
                      <a:pt x="439" y="84"/>
                      <a:pt x="439" y="84"/>
                    </a:cubicBezTo>
                    <a:cubicBezTo>
                      <a:pt x="439" y="84"/>
                      <a:pt x="439" y="85"/>
                      <a:pt x="439" y="85"/>
                    </a:cubicBezTo>
                    <a:close/>
                    <a:moveTo>
                      <a:pt x="1266" y="77"/>
                    </a:moveTo>
                    <a:cubicBezTo>
                      <a:pt x="1266" y="77"/>
                      <a:pt x="1265" y="77"/>
                      <a:pt x="1265" y="77"/>
                    </a:cubicBezTo>
                    <a:cubicBezTo>
                      <a:pt x="1266" y="77"/>
                      <a:pt x="1266" y="77"/>
                      <a:pt x="1266" y="77"/>
                    </a:cubicBezTo>
                    <a:close/>
                    <a:moveTo>
                      <a:pt x="1268" y="74"/>
                    </a:moveTo>
                    <a:cubicBezTo>
                      <a:pt x="1267" y="74"/>
                      <a:pt x="1267" y="75"/>
                      <a:pt x="1267" y="75"/>
                    </a:cubicBezTo>
                    <a:cubicBezTo>
                      <a:pt x="1267" y="75"/>
                      <a:pt x="1267" y="75"/>
                      <a:pt x="1268" y="74"/>
                    </a:cubicBezTo>
                    <a:close/>
                    <a:moveTo>
                      <a:pt x="664" y="115"/>
                    </a:moveTo>
                    <a:cubicBezTo>
                      <a:pt x="664" y="114"/>
                      <a:pt x="664" y="114"/>
                      <a:pt x="664" y="114"/>
                    </a:cubicBezTo>
                    <a:cubicBezTo>
                      <a:pt x="664" y="114"/>
                      <a:pt x="664" y="115"/>
                      <a:pt x="664" y="115"/>
                    </a:cubicBezTo>
                    <a:close/>
                    <a:moveTo>
                      <a:pt x="1322" y="74"/>
                    </a:moveTo>
                    <a:cubicBezTo>
                      <a:pt x="1322" y="74"/>
                      <a:pt x="1322" y="74"/>
                      <a:pt x="1321" y="74"/>
                    </a:cubicBezTo>
                    <a:cubicBezTo>
                      <a:pt x="1321" y="74"/>
                      <a:pt x="1322" y="74"/>
                      <a:pt x="1322" y="74"/>
                    </a:cubicBezTo>
                    <a:close/>
                    <a:moveTo>
                      <a:pt x="1268" y="74"/>
                    </a:moveTo>
                    <a:cubicBezTo>
                      <a:pt x="1268" y="74"/>
                      <a:pt x="1268" y="74"/>
                      <a:pt x="1268" y="74"/>
                    </a:cubicBezTo>
                    <a:cubicBezTo>
                      <a:pt x="1268" y="74"/>
                      <a:pt x="1268" y="74"/>
                      <a:pt x="1268" y="74"/>
                    </a:cubicBezTo>
                    <a:close/>
                    <a:moveTo>
                      <a:pt x="1645" y="114"/>
                    </a:moveTo>
                    <a:cubicBezTo>
                      <a:pt x="1645" y="114"/>
                      <a:pt x="1645" y="114"/>
                      <a:pt x="1645" y="114"/>
                    </a:cubicBezTo>
                    <a:cubicBezTo>
                      <a:pt x="1645" y="114"/>
                      <a:pt x="1645" y="114"/>
                      <a:pt x="1645" y="114"/>
                    </a:cubicBezTo>
                    <a:close/>
                    <a:moveTo>
                      <a:pt x="1137" y="135"/>
                    </a:moveTo>
                    <a:cubicBezTo>
                      <a:pt x="1137" y="135"/>
                      <a:pt x="1137" y="135"/>
                      <a:pt x="1138" y="135"/>
                    </a:cubicBezTo>
                    <a:cubicBezTo>
                      <a:pt x="1137" y="135"/>
                      <a:pt x="1137" y="135"/>
                      <a:pt x="1137" y="135"/>
                    </a:cubicBezTo>
                    <a:close/>
                    <a:moveTo>
                      <a:pt x="1269" y="73"/>
                    </a:moveTo>
                    <a:cubicBezTo>
                      <a:pt x="1268" y="73"/>
                      <a:pt x="1268" y="73"/>
                      <a:pt x="1268" y="74"/>
                    </a:cubicBezTo>
                    <a:cubicBezTo>
                      <a:pt x="1269" y="74"/>
                      <a:pt x="1269" y="74"/>
                      <a:pt x="1269" y="73"/>
                    </a:cubicBezTo>
                    <a:close/>
                    <a:moveTo>
                      <a:pt x="1269" y="73"/>
                    </a:moveTo>
                    <a:cubicBezTo>
                      <a:pt x="1269" y="73"/>
                      <a:pt x="1269" y="73"/>
                      <a:pt x="1269" y="73"/>
                    </a:cubicBezTo>
                    <a:cubicBezTo>
                      <a:pt x="1269" y="73"/>
                      <a:pt x="1269" y="73"/>
                      <a:pt x="1269" y="73"/>
                    </a:cubicBezTo>
                    <a:close/>
                    <a:moveTo>
                      <a:pt x="1318" y="72"/>
                    </a:moveTo>
                    <a:cubicBezTo>
                      <a:pt x="1318" y="72"/>
                      <a:pt x="1318" y="72"/>
                      <a:pt x="1318" y="72"/>
                    </a:cubicBezTo>
                    <a:cubicBezTo>
                      <a:pt x="1318" y="72"/>
                      <a:pt x="1318" y="72"/>
                      <a:pt x="1318" y="72"/>
                    </a:cubicBezTo>
                    <a:close/>
                    <a:moveTo>
                      <a:pt x="1272" y="71"/>
                    </a:moveTo>
                    <a:cubicBezTo>
                      <a:pt x="1271" y="71"/>
                      <a:pt x="1271" y="71"/>
                      <a:pt x="1271" y="71"/>
                    </a:cubicBezTo>
                    <a:cubicBezTo>
                      <a:pt x="1271" y="71"/>
                      <a:pt x="1272" y="71"/>
                      <a:pt x="1272" y="71"/>
                    </a:cubicBezTo>
                    <a:close/>
                    <a:moveTo>
                      <a:pt x="1494" y="114"/>
                    </a:moveTo>
                    <a:cubicBezTo>
                      <a:pt x="1494" y="114"/>
                      <a:pt x="1493" y="114"/>
                      <a:pt x="1493" y="114"/>
                    </a:cubicBezTo>
                    <a:cubicBezTo>
                      <a:pt x="1494" y="114"/>
                      <a:pt x="1494" y="114"/>
                      <a:pt x="1494" y="114"/>
                    </a:cubicBezTo>
                    <a:close/>
                    <a:moveTo>
                      <a:pt x="1278" y="114"/>
                    </a:moveTo>
                    <a:cubicBezTo>
                      <a:pt x="1278" y="114"/>
                      <a:pt x="1278" y="114"/>
                      <a:pt x="1279" y="114"/>
                    </a:cubicBezTo>
                    <a:cubicBezTo>
                      <a:pt x="1278" y="114"/>
                      <a:pt x="1278" y="114"/>
                      <a:pt x="1278" y="114"/>
                    </a:cubicBezTo>
                    <a:close/>
                    <a:moveTo>
                      <a:pt x="1250" y="114"/>
                    </a:moveTo>
                    <a:cubicBezTo>
                      <a:pt x="1250" y="114"/>
                      <a:pt x="1250" y="114"/>
                      <a:pt x="1250" y="114"/>
                    </a:cubicBezTo>
                    <a:cubicBezTo>
                      <a:pt x="1250" y="114"/>
                      <a:pt x="1250" y="114"/>
                      <a:pt x="1250" y="114"/>
                    </a:cubicBezTo>
                    <a:close/>
                    <a:moveTo>
                      <a:pt x="1248" y="70"/>
                    </a:moveTo>
                    <a:cubicBezTo>
                      <a:pt x="1248" y="70"/>
                      <a:pt x="1249" y="70"/>
                      <a:pt x="1249" y="69"/>
                    </a:cubicBezTo>
                    <a:cubicBezTo>
                      <a:pt x="1248" y="69"/>
                      <a:pt x="1248" y="70"/>
                      <a:pt x="1248" y="70"/>
                    </a:cubicBezTo>
                    <a:close/>
                    <a:moveTo>
                      <a:pt x="1123" y="147"/>
                    </a:moveTo>
                    <a:cubicBezTo>
                      <a:pt x="1123" y="147"/>
                      <a:pt x="1122" y="146"/>
                      <a:pt x="1122" y="146"/>
                    </a:cubicBezTo>
                    <a:cubicBezTo>
                      <a:pt x="1122" y="147"/>
                      <a:pt x="1122" y="147"/>
                      <a:pt x="1123" y="147"/>
                    </a:cubicBezTo>
                    <a:close/>
                    <a:moveTo>
                      <a:pt x="570" y="69"/>
                    </a:moveTo>
                    <a:cubicBezTo>
                      <a:pt x="569" y="69"/>
                      <a:pt x="569" y="69"/>
                      <a:pt x="569" y="70"/>
                    </a:cubicBezTo>
                    <a:cubicBezTo>
                      <a:pt x="569" y="70"/>
                      <a:pt x="570" y="70"/>
                      <a:pt x="570" y="69"/>
                    </a:cubicBezTo>
                    <a:close/>
                    <a:moveTo>
                      <a:pt x="843" y="121"/>
                    </a:moveTo>
                    <a:cubicBezTo>
                      <a:pt x="843" y="121"/>
                      <a:pt x="843" y="121"/>
                      <a:pt x="843" y="121"/>
                    </a:cubicBezTo>
                    <a:cubicBezTo>
                      <a:pt x="843" y="121"/>
                      <a:pt x="843" y="121"/>
                      <a:pt x="843" y="121"/>
                    </a:cubicBezTo>
                    <a:close/>
                    <a:moveTo>
                      <a:pt x="556" y="69"/>
                    </a:moveTo>
                    <a:cubicBezTo>
                      <a:pt x="556" y="69"/>
                      <a:pt x="556" y="69"/>
                      <a:pt x="555" y="69"/>
                    </a:cubicBezTo>
                    <a:cubicBezTo>
                      <a:pt x="556" y="69"/>
                      <a:pt x="556" y="69"/>
                      <a:pt x="556" y="69"/>
                    </a:cubicBezTo>
                    <a:close/>
                    <a:moveTo>
                      <a:pt x="1269" y="130"/>
                    </a:moveTo>
                    <a:cubicBezTo>
                      <a:pt x="1269" y="130"/>
                      <a:pt x="1269" y="130"/>
                      <a:pt x="1269" y="130"/>
                    </a:cubicBezTo>
                    <a:cubicBezTo>
                      <a:pt x="1269" y="130"/>
                      <a:pt x="1269" y="130"/>
                      <a:pt x="1269" y="130"/>
                    </a:cubicBezTo>
                    <a:close/>
                    <a:moveTo>
                      <a:pt x="1323" y="146"/>
                    </a:moveTo>
                    <a:cubicBezTo>
                      <a:pt x="1323" y="147"/>
                      <a:pt x="1323" y="147"/>
                      <a:pt x="1323" y="147"/>
                    </a:cubicBezTo>
                    <a:cubicBezTo>
                      <a:pt x="1323" y="147"/>
                      <a:pt x="1323" y="147"/>
                      <a:pt x="1323" y="146"/>
                    </a:cubicBezTo>
                    <a:close/>
                    <a:moveTo>
                      <a:pt x="936" y="114"/>
                    </a:moveTo>
                    <a:cubicBezTo>
                      <a:pt x="936" y="114"/>
                      <a:pt x="936" y="114"/>
                      <a:pt x="936" y="114"/>
                    </a:cubicBezTo>
                    <a:cubicBezTo>
                      <a:pt x="936" y="114"/>
                      <a:pt x="936" y="114"/>
                      <a:pt x="936" y="114"/>
                    </a:cubicBezTo>
                    <a:close/>
                    <a:moveTo>
                      <a:pt x="571" y="68"/>
                    </a:moveTo>
                    <a:cubicBezTo>
                      <a:pt x="571" y="68"/>
                      <a:pt x="571" y="68"/>
                      <a:pt x="571" y="69"/>
                    </a:cubicBezTo>
                    <a:cubicBezTo>
                      <a:pt x="571" y="69"/>
                      <a:pt x="571" y="68"/>
                      <a:pt x="571" y="68"/>
                    </a:cubicBezTo>
                    <a:close/>
                    <a:moveTo>
                      <a:pt x="1249" y="68"/>
                    </a:moveTo>
                    <a:cubicBezTo>
                      <a:pt x="1250" y="68"/>
                      <a:pt x="1250" y="68"/>
                      <a:pt x="1250" y="68"/>
                    </a:cubicBezTo>
                    <a:cubicBezTo>
                      <a:pt x="1250" y="68"/>
                      <a:pt x="1249" y="68"/>
                      <a:pt x="1249" y="68"/>
                    </a:cubicBezTo>
                    <a:close/>
                    <a:moveTo>
                      <a:pt x="572" y="67"/>
                    </a:moveTo>
                    <a:cubicBezTo>
                      <a:pt x="572" y="67"/>
                      <a:pt x="571" y="68"/>
                      <a:pt x="571" y="68"/>
                    </a:cubicBezTo>
                    <a:cubicBezTo>
                      <a:pt x="572" y="68"/>
                      <a:pt x="572" y="68"/>
                      <a:pt x="572" y="67"/>
                    </a:cubicBezTo>
                    <a:close/>
                    <a:moveTo>
                      <a:pt x="572" y="67"/>
                    </a:moveTo>
                    <a:cubicBezTo>
                      <a:pt x="572" y="67"/>
                      <a:pt x="572" y="67"/>
                      <a:pt x="572" y="67"/>
                    </a:cubicBezTo>
                    <a:cubicBezTo>
                      <a:pt x="572" y="67"/>
                      <a:pt x="572" y="67"/>
                      <a:pt x="572" y="67"/>
                    </a:cubicBezTo>
                    <a:close/>
                    <a:moveTo>
                      <a:pt x="554" y="67"/>
                    </a:moveTo>
                    <a:cubicBezTo>
                      <a:pt x="554" y="67"/>
                      <a:pt x="553" y="66"/>
                      <a:pt x="553" y="66"/>
                    </a:cubicBezTo>
                    <a:cubicBezTo>
                      <a:pt x="553" y="67"/>
                      <a:pt x="553" y="67"/>
                      <a:pt x="554" y="67"/>
                    </a:cubicBezTo>
                    <a:close/>
                    <a:moveTo>
                      <a:pt x="1251" y="67"/>
                    </a:moveTo>
                    <a:cubicBezTo>
                      <a:pt x="1251" y="66"/>
                      <a:pt x="1251" y="66"/>
                      <a:pt x="1251" y="66"/>
                    </a:cubicBezTo>
                    <a:cubicBezTo>
                      <a:pt x="1251" y="66"/>
                      <a:pt x="1251" y="66"/>
                      <a:pt x="1251" y="67"/>
                    </a:cubicBezTo>
                    <a:close/>
                    <a:moveTo>
                      <a:pt x="1251" y="66"/>
                    </a:moveTo>
                    <a:cubicBezTo>
                      <a:pt x="1251" y="66"/>
                      <a:pt x="1252" y="66"/>
                      <a:pt x="1252" y="65"/>
                    </a:cubicBezTo>
                    <a:cubicBezTo>
                      <a:pt x="1251" y="65"/>
                      <a:pt x="1251" y="66"/>
                      <a:pt x="1251" y="66"/>
                    </a:cubicBezTo>
                    <a:close/>
                    <a:moveTo>
                      <a:pt x="664" y="114"/>
                    </a:moveTo>
                    <a:cubicBezTo>
                      <a:pt x="664" y="114"/>
                      <a:pt x="663" y="114"/>
                      <a:pt x="663" y="114"/>
                    </a:cubicBezTo>
                    <a:cubicBezTo>
                      <a:pt x="663" y="114"/>
                      <a:pt x="663" y="114"/>
                      <a:pt x="664" y="114"/>
                    </a:cubicBezTo>
                    <a:close/>
                    <a:moveTo>
                      <a:pt x="574" y="65"/>
                    </a:moveTo>
                    <a:cubicBezTo>
                      <a:pt x="573" y="65"/>
                      <a:pt x="573" y="65"/>
                      <a:pt x="573" y="66"/>
                    </a:cubicBezTo>
                    <a:cubicBezTo>
                      <a:pt x="573" y="66"/>
                      <a:pt x="574" y="65"/>
                      <a:pt x="574" y="65"/>
                    </a:cubicBezTo>
                    <a:close/>
                    <a:moveTo>
                      <a:pt x="1252" y="65"/>
                    </a:moveTo>
                    <a:cubicBezTo>
                      <a:pt x="1252" y="65"/>
                      <a:pt x="1252" y="65"/>
                      <a:pt x="1252" y="65"/>
                    </a:cubicBezTo>
                    <a:cubicBezTo>
                      <a:pt x="1252" y="65"/>
                      <a:pt x="1252" y="65"/>
                      <a:pt x="1252" y="65"/>
                    </a:cubicBezTo>
                    <a:close/>
                    <a:moveTo>
                      <a:pt x="1252" y="65"/>
                    </a:moveTo>
                    <a:cubicBezTo>
                      <a:pt x="1252" y="65"/>
                      <a:pt x="1253" y="64"/>
                      <a:pt x="1253" y="64"/>
                    </a:cubicBezTo>
                    <a:cubicBezTo>
                      <a:pt x="1252" y="64"/>
                      <a:pt x="1252" y="64"/>
                      <a:pt x="1252" y="65"/>
                    </a:cubicBezTo>
                    <a:close/>
                    <a:moveTo>
                      <a:pt x="1142" y="138"/>
                    </a:moveTo>
                    <a:cubicBezTo>
                      <a:pt x="1142" y="139"/>
                      <a:pt x="1142" y="139"/>
                      <a:pt x="1143" y="139"/>
                    </a:cubicBezTo>
                    <a:cubicBezTo>
                      <a:pt x="1142" y="139"/>
                      <a:pt x="1142" y="138"/>
                      <a:pt x="1142" y="138"/>
                    </a:cubicBezTo>
                    <a:close/>
                    <a:moveTo>
                      <a:pt x="1785" y="113"/>
                    </a:moveTo>
                    <a:cubicBezTo>
                      <a:pt x="1785" y="113"/>
                      <a:pt x="1785" y="113"/>
                      <a:pt x="1785" y="113"/>
                    </a:cubicBezTo>
                    <a:cubicBezTo>
                      <a:pt x="1785" y="113"/>
                      <a:pt x="1785" y="113"/>
                      <a:pt x="1785" y="113"/>
                    </a:cubicBezTo>
                    <a:close/>
                    <a:moveTo>
                      <a:pt x="1284" y="139"/>
                    </a:moveTo>
                    <a:cubicBezTo>
                      <a:pt x="1284" y="138"/>
                      <a:pt x="1284" y="138"/>
                      <a:pt x="1283" y="138"/>
                    </a:cubicBezTo>
                    <a:cubicBezTo>
                      <a:pt x="1283" y="139"/>
                      <a:pt x="1284" y="139"/>
                      <a:pt x="1284" y="139"/>
                    </a:cubicBezTo>
                    <a:close/>
                    <a:moveTo>
                      <a:pt x="1123" y="147"/>
                    </a:moveTo>
                    <a:cubicBezTo>
                      <a:pt x="1123" y="147"/>
                      <a:pt x="1123" y="147"/>
                      <a:pt x="1123" y="147"/>
                    </a:cubicBezTo>
                    <a:cubicBezTo>
                      <a:pt x="1123" y="147"/>
                      <a:pt x="1123" y="147"/>
                      <a:pt x="1123" y="147"/>
                    </a:cubicBezTo>
                    <a:close/>
                    <a:moveTo>
                      <a:pt x="1657" y="176"/>
                    </a:moveTo>
                    <a:cubicBezTo>
                      <a:pt x="1657" y="177"/>
                      <a:pt x="1657" y="177"/>
                      <a:pt x="1657" y="177"/>
                    </a:cubicBezTo>
                    <a:cubicBezTo>
                      <a:pt x="1657" y="177"/>
                      <a:pt x="1657" y="177"/>
                      <a:pt x="1657" y="176"/>
                    </a:cubicBezTo>
                    <a:close/>
                    <a:moveTo>
                      <a:pt x="1253" y="64"/>
                    </a:moveTo>
                    <a:cubicBezTo>
                      <a:pt x="1253" y="64"/>
                      <a:pt x="1253" y="64"/>
                      <a:pt x="1253" y="63"/>
                    </a:cubicBezTo>
                    <a:cubicBezTo>
                      <a:pt x="1253" y="64"/>
                      <a:pt x="1253" y="64"/>
                      <a:pt x="1253" y="64"/>
                    </a:cubicBezTo>
                    <a:close/>
                    <a:moveTo>
                      <a:pt x="1253" y="63"/>
                    </a:moveTo>
                    <a:cubicBezTo>
                      <a:pt x="1254" y="63"/>
                      <a:pt x="1254" y="63"/>
                      <a:pt x="1254" y="63"/>
                    </a:cubicBezTo>
                    <a:cubicBezTo>
                      <a:pt x="1254" y="63"/>
                      <a:pt x="1253" y="63"/>
                      <a:pt x="1253" y="63"/>
                    </a:cubicBezTo>
                    <a:close/>
                    <a:moveTo>
                      <a:pt x="1254" y="63"/>
                    </a:moveTo>
                    <a:cubicBezTo>
                      <a:pt x="1254" y="63"/>
                      <a:pt x="1254" y="63"/>
                      <a:pt x="1254" y="62"/>
                    </a:cubicBezTo>
                    <a:cubicBezTo>
                      <a:pt x="1254" y="62"/>
                      <a:pt x="1254" y="63"/>
                      <a:pt x="1254" y="63"/>
                    </a:cubicBezTo>
                    <a:close/>
                    <a:moveTo>
                      <a:pt x="1316" y="138"/>
                    </a:moveTo>
                    <a:cubicBezTo>
                      <a:pt x="1316" y="139"/>
                      <a:pt x="1316" y="139"/>
                      <a:pt x="1317" y="139"/>
                    </a:cubicBezTo>
                    <a:cubicBezTo>
                      <a:pt x="1316" y="139"/>
                      <a:pt x="1316" y="139"/>
                      <a:pt x="1316" y="138"/>
                    </a:cubicBezTo>
                    <a:close/>
                    <a:moveTo>
                      <a:pt x="1254" y="62"/>
                    </a:moveTo>
                    <a:cubicBezTo>
                      <a:pt x="1255" y="62"/>
                      <a:pt x="1255" y="62"/>
                      <a:pt x="1255" y="62"/>
                    </a:cubicBezTo>
                    <a:cubicBezTo>
                      <a:pt x="1255" y="62"/>
                      <a:pt x="1255" y="62"/>
                      <a:pt x="1254" y="62"/>
                    </a:cubicBezTo>
                    <a:close/>
                    <a:moveTo>
                      <a:pt x="1297" y="148"/>
                    </a:moveTo>
                    <a:cubicBezTo>
                      <a:pt x="1297" y="147"/>
                      <a:pt x="1297" y="147"/>
                      <a:pt x="1296" y="147"/>
                    </a:cubicBezTo>
                    <a:cubicBezTo>
                      <a:pt x="1297" y="147"/>
                      <a:pt x="1297" y="147"/>
                      <a:pt x="1297" y="148"/>
                    </a:cubicBezTo>
                    <a:close/>
                    <a:moveTo>
                      <a:pt x="1255" y="62"/>
                    </a:moveTo>
                    <a:cubicBezTo>
                      <a:pt x="1255" y="62"/>
                      <a:pt x="1255" y="62"/>
                      <a:pt x="1256" y="61"/>
                    </a:cubicBezTo>
                    <a:cubicBezTo>
                      <a:pt x="1255" y="61"/>
                      <a:pt x="1255" y="62"/>
                      <a:pt x="1255" y="62"/>
                    </a:cubicBezTo>
                    <a:close/>
                    <a:moveTo>
                      <a:pt x="1778" y="120"/>
                    </a:moveTo>
                    <a:cubicBezTo>
                      <a:pt x="1777" y="120"/>
                      <a:pt x="1777" y="120"/>
                      <a:pt x="1777" y="120"/>
                    </a:cubicBezTo>
                    <a:cubicBezTo>
                      <a:pt x="1778" y="120"/>
                      <a:pt x="1778" y="120"/>
                      <a:pt x="1778" y="120"/>
                    </a:cubicBezTo>
                    <a:close/>
                    <a:moveTo>
                      <a:pt x="1256" y="61"/>
                    </a:moveTo>
                    <a:cubicBezTo>
                      <a:pt x="1256" y="61"/>
                      <a:pt x="1256" y="61"/>
                      <a:pt x="1256" y="61"/>
                    </a:cubicBezTo>
                    <a:cubicBezTo>
                      <a:pt x="1256" y="61"/>
                      <a:pt x="1256" y="61"/>
                      <a:pt x="1256" y="61"/>
                    </a:cubicBezTo>
                    <a:close/>
                    <a:moveTo>
                      <a:pt x="1277" y="113"/>
                    </a:moveTo>
                    <a:cubicBezTo>
                      <a:pt x="1277" y="113"/>
                      <a:pt x="1277" y="114"/>
                      <a:pt x="1277" y="113"/>
                    </a:cubicBezTo>
                    <a:cubicBezTo>
                      <a:pt x="1277" y="113"/>
                      <a:pt x="1277" y="113"/>
                      <a:pt x="1277" y="113"/>
                    </a:cubicBezTo>
                    <a:close/>
                    <a:moveTo>
                      <a:pt x="1256" y="61"/>
                    </a:moveTo>
                    <a:cubicBezTo>
                      <a:pt x="1257" y="61"/>
                      <a:pt x="1257" y="60"/>
                      <a:pt x="1257" y="60"/>
                    </a:cubicBezTo>
                    <a:cubicBezTo>
                      <a:pt x="1257" y="60"/>
                      <a:pt x="1256" y="60"/>
                      <a:pt x="1256" y="61"/>
                    </a:cubicBezTo>
                    <a:close/>
                    <a:moveTo>
                      <a:pt x="1304" y="129"/>
                    </a:moveTo>
                    <a:cubicBezTo>
                      <a:pt x="1304" y="130"/>
                      <a:pt x="1304" y="130"/>
                      <a:pt x="1304" y="130"/>
                    </a:cubicBezTo>
                    <a:cubicBezTo>
                      <a:pt x="1304" y="129"/>
                      <a:pt x="1304" y="129"/>
                      <a:pt x="1304" y="129"/>
                    </a:cubicBezTo>
                    <a:close/>
                    <a:moveTo>
                      <a:pt x="847" y="114"/>
                    </a:moveTo>
                    <a:cubicBezTo>
                      <a:pt x="848" y="114"/>
                      <a:pt x="848" y="113"/>
                      <a:pt x="848" y="113"/>
                    </a:cubicBezTo>
                    <a:cubicBezTo>
                      <a:pt x="848" y="113"/>
                      <a:pt x="847" y="113"/>
                      <a:pt x="847" y="114"/>
                    </a:cubicBezTo>
                    <a:close/>
                    <a:moveTo>
                      <a:pt x="1257" y="60"/>
                    </a:moveTo>
                    <a:cubicBezTo>
                      <a:pt x="1257" y="60"/>
                      <a:pt x="1257" y="60"/>
                      <a:pt x="1257" y="60"/>
                    </a:cubicBezTo>
                    <a:cubicBezTo>
                      <a:pt x="1257" y="60"/>
                      <a:pt x="1257" y="60"/>
                      <a:pt x="1257" y="60"/>
                    </a:cubicBezTo>
                    <a:close/>
                    <a:moveTo>
                      <a:pt x="1303" y="129"/>
                    </a:moveTo>
                    <a:cubicBezTo>
                      <a:pt x="1303" y="129"/>
                      <a:pt x="1303" y="129"/>
                      <a:pt x="1303" y="129"/>
                    </a:cubicBezTo>
                    <a:cubicBezTo>
                      <a:pt x="1303" y="129"/>
                      <a:pt x="1303" y="129"/>
                      <a:pt x="1303" y="129"/>
                    </a:cubicBezTo>
                    <a:close/>
                    <a:moveTo>
                      <a:pt x="1124" y="148"/>
                    </a:moveTo>
                    <a:cubicBezTo>
                      <a:pt x="1124" y="148"/>
                      <a:pt x="1124" y="147"/>
                      <a:pt x="1123" y="147"/>
                    </a:cubicBezTo>
                    <a:cubicBezTo>
                      <a:pt x="1123" y="148"/>
                      <a:pt x="1123" y="148"/>
                      <a:pt x="1124" y="148"/>
                    </a:cubicBezTo>
                    <a:close/>
                    <a:moveTo>
                      <a:pt x="1351" y="121"/>
                    </a:moveTo>
                    <a:cubicBezTo>
                      <a:pt x="1351" y="121"/>
                      <a:pt x="1351" y="120"/>
                      <a:pt x="1351" y="120"/>
                    </a:cubicBezTo>
                    <a:cubicBezTo>
                      <a:pt x="1351" y="120"/>
                      <a:pt x="1351" y="120"/>
                      <a:pt x="1351" y="121"/>
                    </a:cubicBezTo>
                    <a:close/>
                    <a:moveTo>
                      <a:pt x="1658" y="178"/>
                    </a:moveTo>
                    <a:cubicBezTo>
                      <a:pt x="1658" y="178"/>
                      <a:pt x="1658" y="178"/>
                      <a:pt x="1658" y="178"/>
                    </a:cubicBezTo>
                    <a:cubicBezTo>
                      <a:pt x="1658" y="178"/>
                      <a:pt x="1658" y="178"/>
                      <a:pt x="1658" y="178"/>
                    </a:cubicBezTo>
                    <a:close/>
                    <a:moveTo>
                      <a:pt x="1258" y="59"/>
                    </a:moveTo>
                    <a:cubicBezTo>
                      <a:pt x="1259" y="59"/>
                      <a:pt x="1259" y="59"/>
                      <a:pt x="1259" y="58"/>
                    </a:cubicBezTo>
                    <a:cubicBezTo>
                      <a:pt x="1259" y="58"/>
                      <a:pt x="1259" y="59"/>
                      <a:pt x="1258" y="59"/>
                    </a:cubicBezTo>
                    <a:close/>
                    <a:moveTo>
                      <a:pt x="1259" y="58"/>
                    </a:moveTo>
                    <a:cubicBezTo>
                      <a:pt x="1259" y="58"/>
                      <a:pt x="1260" y="58"/>
                      <a:pt x="1260" y="58"/>
                    </a:cubicBezTo>
                    <a:cubicBezTo>
                      <a:pt x="1259" y="58"/>
                      <a:pt x="1259" y="58"/>
                      <a:pt x="1259" y="58"/>
                    </a:cubicBezTo>
                    <a:close/>
                    <a:moveTo>
                      <a:pt x="1298" y="148"/>
                    </a:moveTo>
                    <a:cubicBezTo>
                      <a:pt x="1298" y="148"/>
                      <a:pt x="1297" y="148"/>
                      <a:pt x="1297" y="148"/>
                    </a:cubicBezTo>
                    <a:cubicBezTo>
                      <a:pt x="1297" y="148"/>
                      <a:pt x="1297" y="148"/>
                      <a:pt x="1298" y="148"/>
                    </a:cubicBezTo>
                    <a:close/>
                    <a:moveTo>
                      <a:pt x="1261" y="57"/>
                    </a:moveTo>
                    <a:cubicBezTo>
                      <a:pt x="1261" y="57"/>
                      <a:pt x="1261" y="57"/>
                      <a:pt x="1261" y="57"/>
                    </a:cubicBezTo>
                    <a:cubicBezTo>
                      <a:pt x="1261" y="57"/>
                      <a:pt x="1261" y="57"/>
                      <a:pt x="1261" y="57"/>
                    </a:cubicBezTo>
                    <a:close/>
                    <a:moveTo>
                      <a:pt x="1264" y="55"/>
                    </a:moveTo>
                    <a:cubicBezTo>
                      <a:pt x="1264" y="55"/>
                      <a:pt x="1264" y="55"/>
                      <a:pt x="1264" y="55"/>
                    </a:cubicBezTo>
                    <a:cubicBezTo>
                      <a:pt x="1264" y="55"/>
                      <a:pt x="1264" y="55"/>
                      <a:pt x="1264" y="55"/>
                    </a:cubicBezTo>
                    <a:close/>
                    <a:moveTo>
                      <a:pt x="1265" y="55"/>
                    </a:moveTo>
                    <a:cubicBezTo>
                      <a:pt x="1265" y="55"/>
                      <a:pt x="1265" y="55"/>
                      <a:pt x="1266" y="54"/>
                    </a:cubicBezTo>
                    <a:cubicBezTo>
                      <a:pt x="1265" y="54"/>
                      <a:pt x="1265" y="55"/>
                      <a:pt x="1265" y="55"/>
                    </a:cubicBezTo>
                    <a:close/>
                    <a:moveTo>
                      <a:pt x="1288" y="120"/>
                    </a:moveTo>
                    <a:cubicBezTo>
                      <a:pt x="1288" y="120"/>
                      <a:pt x="1289" y="120"/>
                      <a:pt x="1289" y="120"/>
                    </a:cubicBezTo>
                    <a:cubicBezTo>
                      <a:pt x="1289" y="120"/>
                      <a:pt x="1289" y="120"/>
                      <a:pt x="1288" y="120"/>
                    </a:cubicBezTo>
                    <a:close/>
                    <a:moveTo>
                      <a:pt x="1256" y="120"/>
                    </a:moveTo>
                    <a:cubicBezTo>
                      <a:pt x="1256" y="120"/>
                      <a:pt x="1256" y="120"/>
                      <a:pt x="1256" y="120"/>
                    </a:cubicBezTo>
                    <a:cubicBezTo>
                      <a:pt x="1256" y="120"/>
                      <a:pt x="1256" y="120"/>
                      <a:pt x="1256" y="120"/>
                    </a:cubicBezTo>
                    <a:close/>
                    <a:moveTo>
                      <a:pt x="1266" y="54"/>
                    </a:moveTo>
                    <a:cubicBezTo>
                      <a:pt x="1266" y="54"/>
                      <a:pt x="1267" y="54"/>
                      <a:pt x="1267" y="54"/>
                    </a:cubicBezTo>
                    <a:cubicBezTo>
                      <a:pt x="1266" y="54"/>
                      <a:pt x="1266" y="54"/>
                      <a:pt x="1266" y="54"/>
                    </a:cubicBezTo>
                    <a:close/>
                    <a:moveTo>
                      <a:pt x="663" y="114"/>
                    </a:moveTo>
                    <a:cubicBezTo>
                      <a:pt x="663" y="113"/>
                      <a:pt x="663" y="113"/>
                      <a:pt x="662" y="113"/>
                    </a:cubicBezTo>
                    <a:cubicBezTo>
                      <a:pt x="663" y="113"/>
                      <a:pt x="663" y="113"/>
                      <a:pt x="663" y="114"/>
                    </a:cubicBezTo>
                    <a:close/>
                    <a:moveTo>
                      <a:pt x="632" y="113"/>
                    </a:moveTo>
                    <a:cubicBezTo>
                      <a:pt x="632" y="113"/>
                      <a:pt x="631" y="113"/>
                      <a:pt x="631" y="114"/>
                    </a:cubicBezTo>
                    <a:cubicBezTo>
                      <a:pt x="632" y="113"/>
                      <a:pt x="632" y="113"/>
                      <a:pt x="632" y="113"/>
                    </a:cubicBezTo>
                    <a:close/>
                    <a:moveTo>
                      <a:pt x="553" y="54"/>
                    </a:moveTo>
                    <a:cubicBezTo>
                      <a:pt x="553" y="54"/>
                      <a:pt x="553" y="54"/>
                      <a:pt x="553" y="53"/>
                    </a:cubicBezTo>
                    <a:cubicBezTo>
                      <a:pt x="553" y="53"/>
                      <a:pt x="553" y="54"/>
                      <a:pt x="553" y="54"/>
                    </a:cubicBezTo>
                    <a:close/>
                    <a:moveTo>
                      <a:pt x="573" y="53"/>
                    </a:moveTo>
                    <a:cubicBezTo>
                      <a:pt x="573" y="53"/>
                      <a:pt x="573" y="53"/>
                      <a:pt x="573" y="53"/>
                    </a:cubicBezTo>
                    <a:cubicBezTo>
                      <a:pt x="573" y="53"/>
                      <a:pt x="573" y="53"/>
                      <a:pt x="573" y="53"/>
                    </a:cubicBezTo>
                    <a:close/>
                    <a:moveTo>
                      <a:pt x="572" y="52"/>
                    </a:moveTo>
                    <a:cubicBezTo>
                      <a:pt x="572" y="52"/>
                      <a:pt x="572" y="52"/>
                      <a:pt x="573" y="53"/>
                    </a:cubicBezTo>
                    <a:cubicBezTo>
                      <a:pt x="572" y="52"/>
                      <a:pt x="572" y="52"/>
                      <a:pt x="572" y="52"/>
                    </a:cubicBezTo>
                    <a:close/>
                    <a:moveTo>
                      <a:pt x="554" y="52"/>
                    </a:moveTo>
                    <a:cubicBezTo>
                      <a:pt x="555" y="51"/>
                      <a:pt x="555" y="51"/>
                      <a:pt x="555" y="51"/>
                    </a:cubicBezTo>
                    <a:cubicBezTo>
                      <a:pt x="554" y="51"/>
                      <a:pt x="554" y="51"/>
                      <a:pt x="554" y="52"/>
                    </a:cubicBezTo>
                    <a:close/>
                    <a:moveTo>
                      <a:pt x="570" y="50"/>
                    </a:moveTo>
                    <a:cubicBezTo>
                      <a:pt x="570" y="51"/>
                      <a:pt x="571" y="51"/>
                      <a:pt x="571" y="51"/>
                    </a:cubicBezTo>
                    <a:cubicBezTo>
                      <a:pt x="571" y="51"/>
                      <a:pt x="570" y="50"/>
                      <a:pt x="570" y="50"/>
                    </a:cubicBezTo>
                    <a:close/>
                    <a:moveTo>
                      <a:pt x="555" y="51"/>
                    </a:moveTo>
                    <a:cubicBezTo>
                      <a:pt x="555" y="51"/>
                      <a:pt x="555" y="51"/>
                      <a:pt x="555" y="50"/>
                    </a:cubicBezTo>
                    <a:cubicBezTo>
                      <a:pt x="555" y="50"/>
                      <a:pt x="555" y="51"/>
                      <a:pt x="555" y="51"/>
                    </a:cubicBezTo>
                    <a:close/>
                    <a:moveTo>
                      <a:pt x="1368" y="179"/>
                    </a:moveTo>
                    <a:cubicBezTo>
                      <a:pt x="1368" y="179"/>
                      <a:pt x="1368" y="179"/>
                      <a:pt x="1368" y="180"/>
                    </a:cubicBezTo>
                    <a:cubicBezTo>
                      <a:pt x="1368" y="179"/>
                      <a:pt x="1368" y="179"/>
                      <a:pt x="1368" y="179"/>
                    </a:cubicBezTo>
                    <a:close/>
                    <a:moveTo>
                      <a:pt x="1355" y="113"/>
                    </a:moveTo>
                    <a:cubicBezTo>
                      <a:pt x="1356" y="113"/>
                      <a:pt x="1356" y="113"/>
                      <a:pt x="1356" y="112"/>
                    </a:cubicBezTo>
                    <a:cubicBezTo>
                      <a:pt x="1355" y="113"/>
                      <a:pt x="1355" y="113"/>
                      <a:pt x="1355" y="113"/>
                    </a:cubicBezTo>
                    <a:close/>
                    <a:moveTo>
                      <a:pt x="570" y="50"/>
                    </a:moveTo>
                    <a:cubicBezTo>
                      <a:pt x="570" y="50"/>
                      <a:pt x="570" y="50"/>
                      <a:pt x="570" y="50"/>
                    </a:cubicBezTo>
                    <a:cubicBezTo>
                      <a:pt x="570" y="50"/>
                      <a:pt x="570" y="50"/>
                      <a:pt x="570" y="50"/>
                    </a:cubicBezTo>
                    <a:close/>
                    <a:moveTo>
                      <a:pt x="556" y="50"/>
                    </a:moveTo>
                    <a:cubicBezTo>
                      <a:pt x="557" y="50"/>
                      <a:pt x="557" y="50"/>
                      <a:pt x="557" y="49"/>
                    </a:cubicBezTo>
                    <a:cubicBezTo>
                      <a:pt x="557" y="49"/>
                      <a:pt x="557" y="49"/>
                      <a:pt x="556" y="50"/>
                    </a:cubicBezTo>
                    <a:close/>
                    <a:moveTo>
                      <a:pt x="558" y="49"/>
                    </a:moveTo>
                    <a:cubicBezTo>
                      <a:pt x="558" y="49"/>
                      <a:pt x="558" y="49"/>
                      <a:pt x="558" y="49"/>
                    </a:cubicBezTo>
                    <a:cubicBezTo>
                      <a:pt x="558" y="49"/>
                      <a:pt x="558" y="49"/>
                      <a:pt x="558" y="49"/>
                    </a:cubicBezTo>
                    <a:close/>
                    <a:moveTo>
                      <a:pt x="1276" y="113"/>
                    </a:moveTo>
                    <a:cubicBezTo>
                      <a:pt x="1276" y="113"/>
                      <a:pt x="1277" y="113"/>
                      <a:pt x="1277" y="113"/>
                    </a:cubicBezTo>
                    <a:cubicBezTo>
                      <a:pt x="1277" y="113"/>
                      <a:pt x="1277" y="113"/>
                      <a:pt x="1276" y="113"/>
                    </a:cubicBezTo>
                    <a:close/>
                    <a:moveTo>
                      <a:pt x="1139" y="112"/>
                    </a:moveTo>
                    <a:cubicBezTo>
                      <a:pt x="1139" y="112"/>
                      <a:pt x="1139" y="113"/>
                      <a:pt x="1139" y="113"/>
                    </a:cubicBezTo>
                    <a:cubicBezTo>
                      <a:pt x="1139" y="113"/>
                      <a:pt x="1139" y="113"/>
                      <a:pt x="1139" y="112"/>
                    </a:cubicBezTo>
                    <a:close/>
                    <a:moveTo>
                      <a:pt x="1287" y="119"/>
                    </a:moveTo>
                    <a:cubicBezTo>
                      <a:pt x="1287" y="120"/>
                      <a:pt x="1287" y="120"/>
                      <a:pt x="1288" y="120"/>
                    </a:cubicBezTo>
                    <a:cubicBezTo>
                      <a:pt x="1288" y="120"/>
                      <a:pt x="1287" y="120"/>
                      <a:pt x="1287" y="119"/>
                    </a:cubicBezTo>
                    <a:close/>
                    <a:moveTo>
                      <a:pt x="848" y="113"/>
                    </a:moveTo>
                    <a:cubicBezTo>
                      <a:pt x="848" y="113"/>
                      <a:pt x="848" y="113"/>
                      <a:pt x="848" y="112"/>
                    </a:cubicBezTo>
                    <a:cubicBezTo>
                      <a:pt x="848" y="113"/>
                      <a:pt x="848" y="113"/>
                      <a:pt x="848" y="113"/>
                    </a:cubicBezTo>
                    <a:close/>
                    <a:moveTo>
                      <a:pt x="1324" y="148"/>
                    </a:moveTo>
                    <a:cubicBezTo>
                      <a:pt x="1324" y="148"/>
                      <a:pt x="1324" y="149"/>
                      <a:pt x="1325" y="149"/>
                    </a:cubicBezTo>
                    <a:cubicBezTo>
                      <a:pt x="1324" y="149"/>
                      <a:pt x="1324" y="148"/>
                      <a:pt x="1324" y="148"/>
                    </a:cubicBezTo>
                    <a:close/>
                    <a:moveTo>
                      <a:pt x="1268" y="129"/>
                    </a:moveTo>
                    <a:cubicBezTo>
                      <a:pt x="1268" y="129"/>
                      <a:pt x="1267" y="129"/>
                      <a:pt x="1267" y="129"/>
                    </a:cubicBezTo>
                    <a:cubicBezTo>
                      <a:pt x="1267" y="129"/>
                      <a:pt x="1267" y="129"/>
                      <a:pt x="1268" y="129"/>
                    </a:cubicBezTo>
                    <a:close/>
                    <a:moveTo>
                      <a:pt x="722" y="113"/>
                    </a:moveTo>
                    <a:cubicBezTo>
                      <a:pt x="723" y="113"/>
                      <a:pt x="723" y="113"/>
                      <a:pt x="723" y="112"/>
                    </a:cubicBezTo>
                    <a:cubicBezTo>
                      <a:pt x="723" y="113"/>
                      <a:pt x="723" y="113"/>
                      <a:pt x="722" y="113"/>
                    </a:cubicBezTo>
                    <a:close/>
                    <a:moveTo>
                      <a:pt x="618" y="113"/>
                    </a:moveTo>
                    <a:cubicBezTo>
                      <a:pt x="618" y="113"/>
                      <a:pt x="618" y="113"/>
                      <a:pt x="618" y="112"/>
                    </a:cubicBezTo>
                    <a:cubicBezTo>
                      <a:pt x="618" y="113"/>
                      <a:pt x="618" y="113"/>
                      <a:pt x="618" y="113"/>
                    </a:cubicBezTo>
                    <a:close/>
                    <a:moveTo>
                      <a:pt x="1723" y="112"/>
                    </a:moveTo>
                    <a:cubicBezTo>
                      <a:pt x="1723" y="112"/>
                      <a:pt x="1723" y="112"/>
                      <a:pt x="1723" y="113"/>
                    </a:cubicBezTo>
                    <a:cubicBezTo>
                      <a:pt x="1723" y="112"/>
                      <a:pt x="1723" y="112"/>
                      <a:pt x="1723" y="112"/>
                    </a:cubicBezTo>
                    <a:close/>
                    <a:moveTo>
                      <a:pt x="1646" y="113"/>
                    </a:moveTo>
                    <a:cubicBezTo>
                      <a:pt x="1646" y="112"/>
                      <a:pt x="1647" y="112"/>
                      <a:pt x="1647" y="112"/>
                    </a:cubicBezTo>
                    <a:cubicBezTo>
                      <a:pt x="1646" y="112"/>
                      <a:pt x="1646" y="112"/>
                      <a:pt x="1646" y="113"/>
                    </a:cubicBezTo>
                    <a:close/>
                    <a:moveTo>
                      <a:pt x="1356" y="112"/>
                    </a:moveTo>
                    <a:cubicBezTo>
                      <a:pt x="1356" y="112"/>
                      <a:pt x="1356" y="112"/>
                      <a:pt x="1356" y="112"/>
                    </a:cubicBezTo>
                    <a:cubicBezTo>
                      <a:pt x="1356" y="112"/>
                      <a:pt x="1356" y="112"/>
                      <a:pt x="1356" y="112"/>
                    </a:cubicBezTo>
                    <a:close/>
                    <a:moveTo>
                      <a:pt x="935" y="112"/>
                    </a:moveTo>
                    <a:cubicBezTo>
                      <a:pt x="935" y="112"/>
                      <a:pt x="935" y="113"/>
                      <a:pt x="935" y="113"/>
                    </a:cubicBezTo>
                    <a:cubicBezTo>
                      <a:pt x="935" y="112"/>
                      <a:pt x="935" y="112"/>
                      <a:pt x="935" y="112"/>
                    </a:cubicBezTo>
                    <a:close/>
                    <a:moveTo>
                      <a:pt x="848" y="112"/>
                    </a:moveTo>
                    <a:cubicBezTo>
                      <a:pt x="849" y="112"/>
                      <a:pt x="849" y="112"/>
                      <a:pt x="849" y="112"/>
                    </a:cubicBezTo>
                    <a:cubicBezTo>
                      <a:pt x="849" y="112"/>
                      <a:pt x="849" y="112"/>
                      <a:pt x="848" y="112"/>
                    </a:cubicBezTo>
                    <a:close/>
                    <a:moveTo>
                      <a:pt x="1244" y="180"/>
                    </a:moveTo>
                    <a:cubicBezTo>
                      <a:pt x="1244" y="180"/>
                      <a:pt x="1244" y="180"/>
                      <a:pt x="1245" y="181"/>
                    </a:cubicBezTo>
                    <a:cubicBezTo>
                      <a:pt x="1244" y="180"/>
                      <a:pt x="1244" y="180"/>
                      <a:pt x="1244" y="180"/>
                    </a:cubicBezTo>
                    <a:close/>
                    <a:moveTo>
                      <a:pt x="1369" y="180"/>
                    </a:moveTo>
                    <a:cubicBezTo>
                      <a:pt x="1369" y="180"/>
                      <a:pt x="1369" y="180"/>
                      <a:pt x="1369" y="180"/>
                    </a:cubicBezTo>
                    <a:cubicBezTo>
                      <a:pt x="1369" y="180"/>
                      <a:pt x="1369" y="180"/>
                      <a:pt x="1369" y="180"/>
                    </a:cubicBezTo>
                    <a:close/>
                    <a:moveTo>
                      <a:pt x="661" y="112"/>
                    </a:moveTo>
                    <a:cubicBezTo>
                      <a:pt x="661" y="112"/>
                      <a:pt x="661" y="112"/>
                      <a:pt x="661" y="112"/>
                    </a:cubicBezTo>
                    <a:cubicBezTo>
                      <a:pt x="661" y="112"/>
                      <a:pt x="661" y="112"/>
                      <a:pt x="661" y="112"/>
                    </a:cubicBezTo>
                    <a:close/>
                    <a:moveTo>
                      <a:pt x="1163" y="149"/>
                    </a:moveTo>
                    <a:cubicBezTo>
                      <a:pt x="1163" y="149"/>
                      <a:pt x="1164" y="149"/>
                      <a:pt x="1164" y="149"/>
                    </a:cubicBezTo>
                    <a:cubicBezTo>
                      <a:pt x="1164" y="149"/>
                      <a:pt x="1164" y="149"/>
                      <a:pt x="1163" y="149"/>
                    </a:cubicBezTo>
                    <a:close/>
                    <a:moveTo>
                      <a:pt x="1302" y="128"/>
                    </a:moveTo>
                    <a:cubicBezTo>
                      <a:pt x="1302" y="128"/>
                      <a:pt x="1302" y="129"/>
                      <a:pt x="1303" y="129"/>
                    </a:cubicBezTo>
                    <a:cubicBezTo>
                      <a:pt x="1303" y="128"/>
                      <a:pt x="1302" y="128"/>
                      <a:pt x="1302" y="128"/>
                    </a:cubicBezTo>
                    <a:close/>
                    <a:moveTo>
                      <a:pt x="1647" y="112"/>
                    </a:moveTo>
                    <a:cubicBezTo>
                      <a:pt x="1647" y="112"/>
                      <a:pt x="1647" y="112"/>
                      <a:pt x="1647" y="111"/>
                    </a:cubicBezTo>
                    <a:cubicBezTo>
                      <a:pt x="1647" y="111"/>
                      <a:pt x="1647" y="112"/>
                      <a:pt x="1647" y="112"/>
                    </a:cubicBezTo>
                    <a:close/>
                    <a:moveTo>
                      <a:pt x="1432" y="111"/>
                    </a:moveTo>
                    <a:cubicBezTo>
                      <a:pt x="1432" y="112"/>
                      <a:pt x="1432" y="112"/>
                      <a:pt x="1432" y="112"/>
                    </a:cubicBezTo>
                    <a:cubicBezTo>
                      <a:pt x="1432" y="112"/>
                      <a:pt x="1432" y="111"/>
                      <a:pt x="1432" y="111"/>
                    </a:cubicBezTo>
                    <a:close/>
                    <a:moveTo>
                      <a:pt x="1274" y="111"/>
                    </a:moveTo>
                    <a:cubicBezTo>
                      <a:pt x="1275" y="112"/>
                      <a:pt x="1275" y="112"/>
                      <a:pt x="1275" y="112"/>
                    </a:cubicBezTo>
                    <a:cubicBezTo>
                      <a:pt x="1275" y="112"/>
                      <a:pt x="1275" y="111"/>
                      <a:pt x="1274" y="111"/>
                    </a:cubicBezTo>
                    <a:close/>
                    <a:moveTo>
                      <a:pt x="934" y="111"/>
                    </a:moveTo>
                    <a:cubicBezTo>
                      <a:pt x="934" y="112"/>
                      <a:pt x="934" y="112"/>
                      <a:pt x="935" y="112"/>
                    </a:cubicBezTo>
                    <a:cubicBezTo>
                      <a:pt x="935" y="112"/>
                      <a:pt x="934" y="112"/>
                      <a:pt x="934" y="111"/>
                    </a:cubicBezTo>
                    <a:close/>
                    <a:moveTo>
                      <a:pt x="1245" y="180"/>
                    </a:moveTo>
                    <a:cubicBezTo>
                      <a:pt x="1245" y="181"/>
                      <a:pt x="1245" y="181"/>
                      <a:pt x="1245" y="181"/>
                    </a:cubicBezTo>
                    <a:cubicBezTo>
                      <a:pt x="1245" y="181"/>
                      <a:pt x="1245" y="181"/>
                      <a:pt x="1245" y="180"/>
                    </a:cubicBezTo>
                    <a:close/>
                    <a:moveTo>
                      <a:pt x="1126" y="150"/>
                    </a:moveTo>
                    <a:cubicBezTo>
                      <a:pt x="1126" y="149"/>
                      <a:pt x="1126" y="149"/>
                      <a:pt x="1125" y="149"/>
                    </a:cubicBezTo>
                    <a:cubicBezTo>
                      <a:pt x="1126" y="150"/>
                      <a:pt x="1126" y="150"/>
                      <a:pt x="1126" y="150"/>
                    </a:cubicBezTo>
                    <a:close/>
                    <a:moveTo>
                      <a:pt x="1164" y="149"/>
                    </a:moveTo>
                    <a:cubicBezTo>
                      <a:pt x="1165" y="150"/>
                      <a:pt x="1165" y="150"/>
                      <a:pt x="1165" y="150"/>
                    </a:cubicBezTo>
                    <a:cubicBezTo>
                      <a:pt x="1165" y="150"/>
                      <a:pt x="1165" y="149"/>
                      <a:pt x="1164" y="149"/>
                    </a:cubicBezTo>
                    <a:close/>
                    <a:moveTo>
                      <a:pt x="1300" y="150"/>
                    </a:moveTo>
                    <a:cubicBezTo>
                      <a:pt x="1300" y="150"/>
                      <a:pt x="1300" y="149"/>
                      <a:pt x="1299" y="149"/>
                    </a:cubicBezTo>
                    <a:cubicBezTo>
                      <a:pt x="1300" y="149"/>
                      <a:pt x="1300" y="150"/>
                      <a:pt x="1300" y="150"/>
                    </a:cubicBezTo>
                    <a:close/>
                    <a:moveTo>
                      <a:pt x="1369" y="180"/>
                    </a:moveTo>
                    <a:cubicBezTo>
                      <a:pt x="1369" y="181"/>
                      <a:pt x="1369" y="181"/>
                      <a:pt x="1369" y="181"/>
                    </a:cubicBezTo>
                    <a:cubicBezTo>
                      <a:pt x="1369" y="181"/>
                      <a:pt x="1369" y="181"/>
                      <a:pt x="1369" y="180"/>
                    </a:cubicBezTo>
                    <a:close/>
                    <a:moveTo>
                      <a:pt x="1139" y="136"/>
                    </a:moveTo>
                    <a:cubicBezTo>
                      <a:pt x="1139" y="137"/>
                      <a:pt x="1139" y="137"/>
                      <a:pt x="1139" y="137"/>
                    </a:cubicBezTo>
                    <a:cubicBezTo>
                      <a:pt x="1139" y="136"/>
                      <a:pt x="1139" y="136"/>
                      <a:pt x="1139" y="136"/>
                    </a:cubicBezTo>
                    <a:close/>
                    <a:moveTo>
                      <a:pt x="1659" y="180"/>
                    </a:moveTo>
                    <a:cubicBezTo>
                      <a:pt x="1659" y="181"/>
                      <a:pt x="1659" y="181"/>
                      <a:pt x="1660" y="181"/>
                    </a:cubicBezTo>
                    <a:cubicBezTo>
                      <a:pt x="1660" y="181"/>
                      <a:pt x="1659" y="181"/>
                      <a:pt x="1659" y="180"/>
                    </a:cubicBezTo>
                    <a:close/>
                    <a:moveTo>
                      <a:pt x="934" y="111"/>
                    </a:moveTo>
                    <a:cubicBezTo>
                      <a:pt x="934" y="111"/>
                      <a:pt x="934" y="111"/>
                      <a:pt x="934" y="111"/>
                    </a:cubicBezTo>
                    <a:cubicBezTo>
                      <a:pt x="934" y="111"/>
                      <a:pt x="934" y="111"/>
                      <a:pt x="934" y="111"/>
                    </a:cubicBezTo>
                    <a:close/>
                    <a:moveTo>
                      <a:pt x="724" y="111"/>
                    </a:moveTo>
                    <a:cubicBezTo>
                      <a:pt x="724" y="111"/>
                      <a:pt x="724" y="111"/>
                      <a:pt x="724" y="111"/>
                    </a:cubicBezTo>
                    <a:cubicBezTo>
                      <a:pt x="724" y="111"/>
                      <a:pt x="724" y="111"/>
                      <a:pt x="724" y="111"/>
                    </a:cubicBezTo>
                    <a:close/>
                    <a:moveTo>
                      <a:pt x="1312" y="135"/>
                    </a:moveTo>
                    <a:cubicBezTo>
                      <a:pt x="1312" y="135"/>
                      <a:pt x="1312" y="136"/>
                      <a:pt x="1313" y="136"/>
                    </a:cubicBezTo>
                    <a:cubicBezTo>
                      <a:pt x="1312" y="135"/>
                      <a:pt x="1312" y="135"/>
                      <a:pt x="1312" y="135"/>
                    </a:cubicBezTo>
                    <a:close/>
                    <a:moveTo>
                      <a:pt x="1301" y="150"/>
                    </a:moveTo>
                    <a:cubicBezTo>
                      <a:pt x="1301" y="150"/>
                      <a:pt x="1300" y="150"/>
                      <a:pt x="1300" y="150"/>
                    </a:cubicBezTo>
                    <a:cubicBezTo>
                      <a:pt x="1300" y="150"/>
                      <a:pt x="1300" y="150"/>
                      <a:pt x="1301" y="150"/>
                    </a:cubicBezTo>
                    <a:close/>
                    <a:moveTo>
                      <a:pt x="1316" y="139"/>
                    </a:moveTo>
                    <a:cubicBezTo>
                      <a:pt x="1317" y="139"/>
                      <a:pt x="1317" y="140"/>
                      <a:pt x="1317" y="140"/>
                    </a:cubicBezTo>
                    <a:cubicBezTo>
                      <a:pt x="1317" y="139"/>
                      <a:pt x="1317" y="139"/>
                      <a:pt x="1316" y="139"/>
                    </a:cubicBezTo>
                    <a:close/>
                    <a:moveTo>
                      <a:pt x="1313" y="136"/>
                    </a:moveTo>
                    <a:cubicBezTo>
                      <a:pt x="1313" y="136"/>
                      <a:pt x="1313" y="137"/>
                      <a:pt x="1314" y="137"/>
                    </a:cubicBezTo>
                    <a:cubicBezTo>
                      <a:pt x="1314" y="136"/>
                      <a:pt x="1313" y="136"/>
                      <a:pt x="1313" y="136"/>
                    </a:cubicBezTo>
                    <a:close/>
                    <a:moveTo>
                      <a:pt x="1245" y="181"/>
                    </a:moveTo>
                    <a:cubicBezTo>
                      <a:pt x="1245" y="181"/>
                      <a:pt x="1245" y="181"/>
                      <a:pt x="1246" y="181"/>
                    </a:cubicBezTo>
                    <a:cubicBezTo>
                      <a:pt x="1246" y="181"/>
                      <a:pt x="1245" y="181"/>
                      <a:pt x="1245" y="181"/>
                    </a:cubicBezTo>
                    <a:close/>
                    <a:moveTo>
                      <a:pt x="619" y="111"/>
                    </a:moveTo>
                    <a:cubicBezTo>
                      <a:pt x="619" y="111"/>
                      <a:pt x="619" y="111"/>
                      <a:pt x="619" y="111"/>
                    </a:cubicBezTo>
                    <a:cubicBezTo>
                      <a:pt x="619" y="111"/>
                      <a:pt x="619" y="111"/>
                      <a:pt x="619" y="111"/>
                    </a:cubicBezTo>
                    <a:close/>
                    <a:moveTo>
                      <a:pt x="1721" y="110"/>
                    </a:moveTo>
                    <a:cubicBezTo>
                      <a:pt x="1721" y="111"/>
                      <a:pt x="1722" y="111"/>
                      <a:pt x="1722" y="111"/>
                    </a:cubicBezTo>
                    <a:cubicBezTo>
                      <a:pt x="1722" y="111"/>
                      <a:pt x="1722" y="110"/>
                      <a:pt x="1721" y="110"/>
                    </a:cubicBezTo>
                    <a:close/>
                    <a:moveTo>
                      <a:pt x="1482" y="111"/>
                    </a:moveTo>
                    <a:cubicBezTo>
                      <a:pt x="1482" y="111"/>
                      <a:pt x="1482" y="110"/>
                      <a:pt x="1482" y="110"/>
                    </a:cubicBezTo>
                    <a:cubicBezTo>
                      <a:pt x="1482" y="110"/>
                      <a:pt x="1482" y="111"/>
                      <a:pt x="1482" y="111"/>
                    </a:cubicBezTo>
                    <a:close/>
                    <a:moveTo>
                      <a:pt x="1357" y="111"/>
                    </a:moveTo>
                    <a:cubicBezTo>
                      <a:pt x="1357" y="111"/>
                      <a:pt x="1358" y="111"/>
                      <a:pt x="1358" y="110"/>
                    </a:cubicBezTo>
                    <a:cubicBezTo>
                      <a:pt x="1357" y="110"/>
                      <a:pt x="1357" y="111"/>
                      <a:pt x="1357" y="111"/>
                    </a:cubicBezTo>
                    <a:close/>
                    <a:moveTo>
                      <a:pt x="1660" y="181"/>
                    </a:moveTo>
                    <a:cubicBezTo>
                      <a:pt x="1660" y="181"/>
                      <a:pt x="1660" y="182"/>
                      <a:pt x="1660" y="182"/>
                    </a:cubicBezTo>
                    <a:cubicBezTo>
                      <a:pt x="1660" y="181"/>
                      <a:pt x="1660" y="181"/>
                      <a:pt x="1660" y="181"/>
                    </a:cubicBezTo>
                    <a:close/>
                    <a:moveTo>
                      <a:pt x="1273" y="110"/>
                    </a:moveTo>
                    <a:cubicBezTo>
                      <a:pt x="1273" y="110"/>
                      <a:pt x="1273" y="111"/>
                      <a:pt x="1273" y="111"/>
                    </a:cubicBezTo>
                    <a:cubicBezTo>
                      <a:pt x="1273" y="110"/>
                      <a:pt x="1273" y="110"/>
                      <a:pt x="1273" y="110"/>
                    </a:cubicBezTo>
                    <a:close/>
                    <a:moveTo>
                      <a:pt x="1248" y="111"/>
                    </a:moveTo>
                    <a:cubicBezTo>
                      <a:pt x="1248" y="110"/>
                      <a:pt x="1248" y="110"/>
                      <a:pt x="1248" y="110"/>
                    </a:cubicBezTo>
                    <a:cubicBezTo>
                      <a:pt x="1248" y="110"/>
                      <a:pt x="1248" y="110"/>
                      <a:pt x="1248" y="111"/>
                    </a:cubicBezTo>
                    <a:close/>
                    <a:moveTo>
                      <a:pt x="850" y="111"/>
                    </a:moveTo>
                    <a:cubicBezTo>
                      <a:pt x="850" y="111"/>
                      <a:pt x="850" y="111"/>
                      <a:pt x="850" y="110"/>
                    </a:cubicBezTo>
                    <a:cubicBezTo>
                      <a:pt x="850" y="110"/>
                      <a:pt x="850" y="111"/>
                      <a:pt x="850" y="111"/>
                    </a:cubicBezTo>
                    <a:close/>
                    <a:moveTo>
                      <a:pt x="1301" y="127"/>
                    </a:moveTo>
                    <a:cubicBezTo>
                      <a:pt x="1301" y="128"/>
                      <a:pt x="1301" y="128"/>
                      <a:pt x="1302" y="128"/>
                    </a:cubicBezTo>
                    <a:cubicBezTo>
                      <a:pt x="1301" y="128"/>
                      <a:pt x="1301" y="128"/>
                      <a:pt x="1301" y="127"/>
                    </a:cubicBezTo>
                    <a:close/>
                    <a:moveTo>
                      <a:pt x="1256" y="120"/>
                    </a:moveTo>
                    <a:cubicBezTo>
                      <a:pt x="1256" y="119"/>
                      <a:pt x="1255" y="119"/>
                      <a:pt x="1255" y="119"/>
                    </a:cubicBezTo>
                    <a:cubicBezTo>
                      <a:pt x="1255" y="120"/>
                      <a:pt x="1255" y="120"/>
                      <a:pt x="1256" y="120"/>
                    </a:cubicBezTo>
                    <a:close/>
                    <a:moveTo>
                      <a:pt x="1301" y="151"/>
                    </a:moveTo>
                    <a:cubicBezTo>
                      <a:pt x="1301" y="151"/>
                      <a:pt x="1301" y="150"/>
                      <a:pt x="1301" y="150"/>
                    </a:cubicBezTo>
                    <a:cubicBezTo>
                      <a:pt x="1301" y="151"/>
                      <a:pt x="1301" y="151"/>
                      <a:pt x="1301" y="151"/>
                    </a:cubicBezTo>
                    <a:close/>
                    <a:moveTo>
                      <a:pt x="1135" y="133"/>
                    </a:moveTo>
                    <a:cubicBezTo>
                      <a:pt x="1135" y="133"/>
                      <a:pt x="1135" y="133"/>
                      <a:pt x="1136" y="133"/>
                    </a:cubicBezTo>
                    <a:cubicBezTo>
                      <a:pt x="1136" y="133"/>
                      <a:pt x="1135" y="133"/>
                      <a:pt x="1135" y="133"/>
                    </a:cubicBezTo>
                    <a:close/>
                    <a:moveTo>
                      <a:pt x="1308" y="132"/>
                    </a:moveTo>
                    <a:cubicBezTo>
                      <a:pt x="1308" y="132"/>
                      <a:pt x="1308" y="133"/>
                      <a:pt x="1309" y="133"/>
                    </a:cubicBezTo>
                    <a:cubicBezTo>
                      <a:pt x="1308" y="132"/>
                      <a:pt x="1308" y="132"/>
                      <a:pt x="1308" y="132"/>
                    </a:cubicBezTo>
                    <a:close/>
                    <a:moveTo>
                      <a:pt x="724" y="111"/>
                    </a:moveTo>
                    <a:cubicBezTo>
                      <a:pt x="724" y="111"/>
                      <a:pt x="725" y="110"/>
                      <a:pt x="725" y="110"/>
                    </a:cubicBezTo>
                    <a:cubicBezTo>
                      <a:pt x="724" y="110"/>
                      <a:pt x="724" y="110"/>
                      <a:pt x="724" y="111"/>
                    </a:cubicBezTo>
                    <a:close/>
                    <a:moveTo>
                      <a:pt x="1721" y="110"/>
                    </a:moveTo>
                    <a:cubicBezTo>
                      <a:pt x="1721" y="110"/>
                      <a:pt x="1721" y="110"/>
                      <a:pt x="1721" y="110"/>
                    </a:cubicBezTo>
                    <a:cubicBezTo>
                      <a:pt x="1721" y="110"/>
                      <a:pt x="1721" y="110"/>
                      <a:pt x="1721" y="110"/>
                    </a:cubicBezTo>
                    <a:close/>
                    <a:moveTo>
                      <a:pt x="1431" y="110"/>
                    </a:moveTo>
                    <a:cubicBezTo>
                      <a:pt x="1431" y="110"/>
                      <a:pt x="1431" y="110"/>
                      <a:pt x="1431" y="110"/>
                    </a:cubicBezTo>
                    <a:cubicBezTo>
                      <a:pt x="1431" y="110"/>
                      <a:pt x="1431" y="110"/>
                      <a:pt x="1431" y="110"/>
                    </a:cubicBezTo>
                    <a:close/>
                    <a:moveTo>
                      <a:pt x="1317" y="140"/>
                    </a:moveTo>
                    <a:cubicBezTo>
                      <a:pt x="1317" y="140"/>
                      <a:pt x="1317" y="140"/>
                      <a:pt x="1318" y="140"/>
                    </a:cubicBezTo>
                    <a:cubicBezTo>
                      <a:pt x="1318" y="140"/>
                      <a:pt x="1317" y="140"/>
                      <a:pt x="1317" y="140"/>
                    </a:cubicBezTo>
                    <a:close/>
                    <a:moveTo>
                      <a:pt x="1247" y="182"/>
                    </a:moveTo>
                    <a:cubicBezTo>
                      <a:pt x="1247" y="183"/>
                      <a:pt x="1247" y="183"/>
                      <a:pt x="1247" y="183"/>
                    </a:cubicBezTo>
                    <a:cubicBezTo>
                      <a:pt x="1247" y="182"/>
                      <a:pt x="1247" y="182"/>
                      <a:pt x="1247" y="182"/>
                    </a:cubicBezTo>
                    <a:close/>
                    <a:moveTo>
                      <a:pt x="1128" y="151"/>
                    </a:moveTo>
                    <a:cubicBezTo>
                      <a:pt x="1128" y="151"/>
                      <a:pt x="1128" y="151"/>
                      <a:pt x="1128" y="151"/>
                    </a:cubicBezTo>
                    <a:cubicBezTo>
                      <a:pt x="1128" y="151"/>
                      <a:pt x="1128" y="151"/>
                      <a:pt x="1128" y="151"/>
                    </a:cubicBezTo>
                    <a:close/>
                    <a:moveTo>
                      <a:pt x="1167" y="151"/>
                    </a:moveTo>
                    <a:cubicBezTo>
                      <a:pt x="1167" y="151"/>
                      <a:pt x="1168" y="152"/>
                      <a:pt x="1168" y="152"/>
                    </a:cubicBezTo>
                    <a:cubicBezTo>
                      <a:pt x="1168" y="151"/>
                      <a:pt x="1168" y="151"/>
                      <a:pt x="1167" y="151"/>
                    </a:cubicBezTo>
                    <a:close/>
                    <a:moveTo>
                      <a:pt x="1370" y="182"/>
                    </a:moveTo>
                    <a:cubicBezTo>
                      <a:pt x="1370" y="182"/>
                      <a:pt x="1370" y="183"/>
                      <a:pt x="1371" y="183"/>
                    </a:cubicBezTo>
                    <a:cubicBezTo>
                      <a:pt x="1371" y="183"/>
                      <a:pt x="1370" y="182"/>
                      <a:pt x="1370" y="182"/>
                    </a:cubicBezTo>
                    <a:close/>
                    <a:moveTo>
                      <a:pt x="1302" y="151"/>
                    </a:moveTo>
                    <a:cubicBezTo>
                      <a:pt x="1302" y="151"/>
                      <a:pt x="1302" y="151"/>
                      <a:pt x="1301" y="151"/>
                    </a:cubicBezTo>
                    <a:cubicBezTo>
                      <a:pt x="1301" y="151"/>
                      <a:pt x="1301" y="151"/>
                      <a:pt x="1302" y="151"/>
                    </a:cubicBezTo>
                    <a:close/>
                    <a:moveTo>
                      <a:pt x="625" y="119"/>
                    </a:moveTo>
                    <a:cubicBezTo>
                      <a:pt x="625" y="119"/>
                      <a:pt x="624" y="120"/>
                      <a:pt x="624" y="120"/>
                    </a:cubicBezTo>
                    <a:cubicBezTo>
                      <a:pt x="625" y="120"/>
                      <a:pt x="625" y="119"/>
                      <a:pt x="625" y="119"/>
                    </a:cubicBezTo>
                    <a:close/>
                    <a:moveTo>
                      <a:pt x="1358" y="110"/>
                    </a:moveTo>
                    <a:cubicBezTo>
                      <a:pt x="1358" y="110"/>
                      <a:pt x="1358" y="110"/>
                      <a:pt x="1358" y="110"/>
                    </a:cubicBezTo>
                    <a:cubicBezTo>
                      <a:pt x="1358" y="110"/>
                      <a:pt x="1358" y="110"/>
                      <a:pt x="1358" y="110"/>
                    </a:cubicBezTo>
                    <a:close/>
                    <a:moveTo>
                      <a:pt x="1272" y="110"/>
                    </a:moveTo>
                    <a:cubicBezTo>
                      <a:pt x="1272" y="110"/>
                      <a:pt x="1272" y="110"/>
                      <a:pt x="1273" y="110"/>
                    </a:cubicBezTo>
                    <a:cubicBezTo>
                      <a:pt x="1273" y="110"/>
                      <a:pt x="1272" y="110"/>
                      <a:pt x="1272" y="110"/>
                    </a:cubicBezTo>
                    <a:close/>
                    <a:moveTo>
                      <a:pt x="1488" y="119"/>
                    </a:moveTo>
                    <a:cubicBezTo>
                      <a:pt x="1488" y="119"/>
                      <a:pt x="1488" y="119"/>
                      <a:pt x="1488" y="119"/>
                    </a:cubicBezTo>
                    <a:cubicBezTo>
                      <a:pt x="1488" y="119"/>
                      <a:pt x="1488" y="119"/>
                      <a:pt x="1488" y="119"/>
                    </a:cubicBezTo>
                    <a:close/>
                    <a:moveTo>
                      <a:pt x="1351" y="120"/>
                    </a:moveTo>
                    <a:cubicBezTo>
                      <a:pt x="1352" y="119"/>
                      <a:pt x="1352" y="119"/>
                      <a:pt x="1352" y="119"/>
                    </a:cubicBezTo>
                    <a:cubicBezTo>
                      <a:pt x="1351" y="119"/>
                      <a:pt x="1351" y="119"/>
                      <a:pt x="1351" y="120"/>
                    </a:cubicBezTo>
                    <a:close/>
                    <a:moveTo>
                      <a:pt x="1119" y="110"/>
                    </a:moveTo>
                    <a:cubicBezTo>
                      <a:pt x="1119" y="110"/>
                      <a:pt x="1119" y="110"/>
                      <a:pt x="1119" y="110"/>
                    </a:cubicBezTo>
                    <a:cubicBezTo>
                      <a:pt x="1119" y="110"/>
                      <a:pt x="1119" y="110"/>
                      <a:pt x="1119" y="110"/>
                    </a:cubicBezTo>
                    <a:close/>
                    <a:moveTo>
                      <a:pt x="1255" y="119"/>
                    </a:moveTo>
                    <a:cubicBezTo>
                      <a:pt x="1255" y="119"/>
                      <a:pt x="1255" y="119"/>
                      <a:pt x="1254" y="119"/>
                    </a:cubicBezTo>
                    <a:cubicBezTo>
                      <a:pt x="1255" y="119"/>
                      <a:pt x="1255" y="119"/>
                      <a:pt x="1255" y="119"/>
                    </a:cubicBezTo>
                    <a:close/>
                    <a:moveTo>
                      <a:pt x="796" y="141"/>
                    </a:moveTo>
                    <a:cubicBezTo>
                      <a:pt x="796" y="135"/>
                      <a:pt x="795" y="130"/>
                      <a:pt x="792" y="125"/>
                    </a:cubicBezTo>
                    <a:cubicBezTo>
                      <a:pt x="784" y="110"/>
                      <a:pt x="768" y="105"/>
                      <a:pt x="752" y="111"/>
                    </a:cubicBezTo>
                    <a:cubicBezTo>
                      <a:pt x="743" y="114"/>
                      <a:pt x="737" y="121"/>
                      <a:pt x="733" y="130"/>
                    </a:cubicBezTo>
                    <a:cubicBezTo>
                      <a:pt x="730" y="138"/>
                      <a:pt x="729" y="147"/>
                      <a:pt x="730" y="155"/>
                    </a:cubicBezTo>
                    <a:cubicBezTo>
                      <a:pt x="730" y="161"/>
                      <a:pt x="730" y="166"/>
                      <a:pt x="732" y="172"/>
                    </a:cubicBezTo>
                    <a:cubicBezTo>
                      <a:pt x="740" y="194"/>
                      <a:pt x="759" y="198"/>
                      <a:pt x="774" y="192"/>
                    </a:cubicBezTo>
                    <a:cubicBezTo>
                      <a:pt x="786" y="188"/>
                      <a:pt x="792" y="179"/>
                      <a:pt x="795" y="167"/>
                    </a:cubicBezTo>
                    <a:cubicBezTo>
                      <a:pt x="796" y="161"/>
                      <a:pt x="796" y="155"/>
                      <a:pt x="796" y="149"/>
                    </a:cubicBezTo>
                    <a:cubicBezTo>
                      <a:pt x="796" y="146"/>
                      <a:pt x="796" y="143"/>
                      <a:pt x="796" y="141"/>
                    </a:cubicBezTo>
                    <a:close/>
                    <a:moveTo>
                      <a:pt x="1365" y="141"/>
                    </a:moveTo>
                    <a:cubicBezTo>
                      <a:pt x="1383" y="141"/>
                      <a:pt x="1401" y="141"/>
                      <a:pt x="1420" y="141"/>
                    </a:cubicBezTo>
                    <a:cubicBezTo>
                      <a:pt x="1420" y="141"/>
                      <a:pt x="1420" y="141"/>
                      <a:pt x="1421" y="141"/>
                    </a:cubicBezTo>
                    <a:cubicBezTo>
                      <a:pt x="1422" y="141"/>
                      <a:pt x="1422" y="140"/>
                      <a:pt x="1422" y="139"/>
                    </a:cubicBezTo>
                    <a:cubicBezTo>
                      <a:pt x="1422" y="135"/>
                      <a:pt x="1422" y="131"/>
                      <a:pt x="1420" y="127"/>
                    </a:cubicBezTo>
                    <a:cubicBezTo>
                      <a:pt x="1418" y="120"/>
                      <a:pt x="1414" y="113"/>
                      <a:pt x="1406" y="110"/>
                    </a:cubicBezTo>
                    <a:cubicBezTo>
                      <a:pt x="1395" y="106"/>
                      <a:pt x="1384" y="108"/>
                      <a:pt x="1375" y="116"/>
                    </a:cubicBezTo>
                    <a:cubicBezTo>
                      <a:pt x="1369" y="121"/>
                      <a:pt x="1366" y="127"/>
                      <a:pt x="1364" y="134"/>
                    </a:cubicBezTo>
                    <a:cubicBezTo>
                      <a:pt x="1363" y="136"/>
                      <a:pt x="1363" y="138"/>
                      <a:pt x="1363" y="141"/>
                    </a:cubicBezTo>
                    <a:cubicBezTo>
                      <a:pt x="1363" y="141"/>
                      <a:pt x="1364" y="141"/>
                      <a:pt x="1365" y="141"/>
                    </a:cubicBezTo>
                    <a:close/>
                    <a:moveTo>
                      <a:pt x="1656" y="141"/>
                    </a:moveTo>
                    <a:cubicBezTo>
                      <a:pt x="1674" y="141"/>
                      <a:pt x="1692" y="141"/>
                      <a:pt x="1709" y="141"/>
                    </a:cubicBezTo>
                    <a:cubicBezTo>
                      <a:pt x="1710" y="141"/>
                      <a:pt x="1711" y="141"/>
                      <a:pt x="1711" y="141"/>
                    </a:cubicBezTo>
                    <a:cubicBezTo>
                      <a:pt x="1713" y="141"/>
                      <a:pt x="1713" y="140"/>
                      <a:pt x="1713" y="139"/>
                    </a:cubicBezTo>
                    <a:cubicBezTo>
                      <a:pt x="1712" y="134"/>
                      <a:pt x="1712" y="128"/>
                      <a:pt x="1709" y="124"/>
                    </a:cubicBezTo>
                    <a:cubicBezTo>
                      <a:pt x="1706" y="117"/>
                      <a:pt x="1702" y="112"/>
                      <a:pt x="1694" y="110"/>
                    </a:cubicBezTo>
                    <a:cubicBezTo>
                      <a:pt x="1689" y="108"/>
                      <a:pt x="1683" y="108"/>
                      <a:pt x="1678" y="109"/>
                    </a:cubicBezTo>
                    <a:cubicBezTo>
                      <a:pt x="1664" y="112"/>
                      <a:pt x="1655" y="126"/>
                      <a:pt x="1653" y="140"/>
                    </a:cubicBezTo>
                    <a:cubicBezTo>
                      <a:pt x="1654" y="141"/>
                      <a:pt x="1655" y="141"/>
                      <a:pt x="1656" y="141"/>
                    </a:cubicBezTo>
                    <a:close/>
                    <a:moveTo>
                      <a:pt x="924" y="130"/>
                    </a:moveTo>
                    <a:cubicBezTo>
                      <a:pt x="920" y="120"/>
                      <a:pt x="913" y="113"/>
                      <a:pt x="903" y="110"/>
                    </a:cubicBezTo>
                    <a:cubicBezTo>
                      <a:pt x="899" y="109"/>
                      <a:pt x="894" y="108"/>
                      <a:pt x="890" y="108"/>
                    </a:cubicBezTo>
                    <a:cubicBezTo>
                      <a:pt x="875" y="109"/>
                      <a:pt x="863" y="117"/>
                      <a:pt x="858" y="131"/>
                    </a:cubicBezTo>
                    <a:cubicBezTo>
                      <a:pt x="853" y="144"/>
                      <a:pt x="853" y="158"/>
                      <a:pt x="858" y="171"/>
                    </a:cubicBezTo>
                    <a:cubicBezTo>
                      <a:pt x="861" y="182"/>
                      <a:pt x="869" y="189"/>
                      <a:pt x="880" y="193"/>
                    </a:cubicBezTo>
                    <a:cubicBezTo>
                      <a:pt x="885" y="195"/>
                      <a:pt x="890" y="195"/>
                      <a:pt x="896" y="194"/>
                    </a:cubicBezTo>
                    <a:cubicBezTo>
                      <a:pt x="910" y="193"/>
                      <a:pt x="920" y="186"/>
                      <a:pt x="924" y="172"/>
                    </a:cubicBezTo>
                    <a:cubicBezTo>
                      <a:pt x="927" y="166"/>
                      <a:pt x="927" y="159"/>
                      <a:pt x="927" y="152"/>
                    </a:cubicBezTo>
                    <a:cubicBezTo>
                      <a:pt x="928" y="144"/>
                      <a:pt x="927" y="137"/>
                      <a:pt x="924" y="13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8" name="Freeform 5"/>
              <p:cNvSpPr>
                <a:spLocks noEditPoints="1"/>
              </p:cNvSpPr>
              <p:nvPr/>
            </p:nvSpPr>
            <p:spPr bwMode="auto">
              <a:xfrm>
                <a:off x="8753686" y="5755574"/>
                <a:ext cx="2282474" cy="323058"/>
              </a:xfrm>
              <a:custGeom>
                <a:avLst/>
                <a:gdLst>
                  <a:gd name="T0" fmla="*/ 261 w 2216"/>
                  <a:gd name="T1" fmla="*/ 97 h 311"/>
                  <a:gd name="T2" fmla="*/ 3 w 2216"/>
                  <a:gd name="T3" fmla="*/ 256 h 311"/>
                  <a:gd name="T4" fmla="*/ 124 w 2216"/>
                  <a:gd name="T5" fmla="*/ 205 h 311"/>
                  <a:gd name="T6" fmla="*/ 8 w 2216"/>
                  <a:gd name="T7" fmla="*/ 250 h 311"/>
                  <a:gd name="T8" fmla="*/ 9 w 2216"/>
                  <a:gd name="T9" fmla="*/ 252 h 311"/>
                  <a:gd name="T10" fmla="*/ 504 w 2216"/>
                  <a:gd name="T11" fmla="*/ 123 h 311"/>
                  <a:gd name="T12" fmla="*/ 502 w 2216"/>
                  <a:gd name="T13" fmla="*/ 91 h 311"/>
                  <a:gd name="T14" fmla="*/ 356 w 2216"/>
                  <a:gd name="T15" fmla="*/ 252 h 311"/>
                  <a:gd name="T16" fmla="*/ 20 w 2216"/>
                  <a:gd name="T17" fmla="*/ 242 h 311"/>
                  <a:gd name="T18" fmla="*/ 7 w 2216"/>
                  <a:gd name="T19" fmla="*/ 252 h 311"/>
                  <a:gd name="T20" fmla="*/ 208 w 2216"/>
                  <a:gd name="T21" fmla="*/ 224 h 311"/>
                  <a:gd name="T22" fmla="*/ 137 w 2216"/>
                  <a:gd name="T23" fmla="*/ 208 h 311"/>
                  <a:gd name="T24" fmla="*/ 1209 w 2216"/>
                  <a:gd name="T25" fmla="*/ 154 h 311"/>
                  <a:gd name="T26" fmla="*/ 1187 w 2216"/>
                  <a:gd name="T27" fmla="*/ 112 h 311"/>
                  <a:gd name="T28" fmla="*/ 1175 w 2216"/>
                  <a:gd name="T29" fmla="*/ 84 h 311"/>
                  <a:gd name="T30" fmla="*/ 1124 w 2216"/>
                  <a:gd name="T31" fmla="*/ 157 h 311"/>
                  <a:gd name="T32" fmla="*/ 1146 w 2216"/>
                  <a:gd name="T33" fmla="*/ 154 h 311"/>
                  <a:gd name="T34" fmla="*/ 1822 w 2216"/>
                  <a:gd name="T35" fmla="*/ 156 h 311"/>
                  <a:gd name="T36" fmla="*/ 1822 w 2216"/>
                  <a:gd name="T37" fmla="*/ 191 h 311"/>
                  <a:gd name="T38" fmla="*/ 1896 w 2216"/>
                  <a:gd name="T39" fmla="*/ 254 h 311"/>
                  <a:gd name="T40" fmla="*/ 1969 w 2216"/>
                  <a:gd name="T41" fmla="*/ 253 h 311"/>
                  <a:gd name="T42" fmla="*/ 1822 w 2216"/>
                  <a:gd name="T43" fmla="*/ 156 h 311"/>
                  <a:gd name="T44" fmla="*/ 1532 w 2216"/>
                  <a:gd name="T45" fmla="*/ 142 h 311"/>
                  <a:gd name="T46" fmla="*/ 1486 w 2216"/>
                  <a:gd name="T47" fmla="*/ 258 h 311"/>
                  <a:gd name="T48" fmla="*/ 1565 w 2216"/>
                  <a:gd name="T49" fmla="*/ 252 h 311"/>
                  <a:gd name="T50" fmla="*/ 1644 w 2216"/>
                  <a:gd name="T51" fmla="*/ 252 h 311"/>
                  <a:gd name="T52" fmla="*/ 1587 w 2216"/>
                  <a:gd name="T53" fmla="*/ 154 h 311"/>
                  <a:gd name="T54" fmla="*/ 2181 w 2216"/>
                  <a:gd name="T55" fmla="*/ 189 h 311"/>
                  <a:gd name="T56" fmla="*/ 2151 w 2216"/>
                  <a:gd name="T57" fmla="*/ 146 h 311"/>
                  <a:gd name="T58" fmla="*/ 901 w 2216"/>
                  <a:gd name="T59" fmla="*/ 252 h 311"/>
                  <a:gd name="T60" fmla="*/ 964 w 2216"/>
                  <a:gd name="T61" fmla="*/ 158 h 311"/>
                  <a:gd name="T62" fmla="*/ 939 w 2216"/>
                  <a:gd name="T63" fmla="*/ 242 h 311"/>
                  <a:gd name="T64" fmla="*/ 2106 w 2216"/>
                  <a:gd name="T65" fmla="*/ 258 h 311"/>
                  <a:gd name="T66" fmla="*/ 2127 w 2216"/>
                  <a:gd name="T67" fmla="*/ 160 h 311"/>
                  <a:gd name="T68" fmla="*/ 649 w 2216"/>
                  <a:gd name="T69" fmla="*/ 136 h 311"/>
                  <a:gd name="T70" fmla="*/ 738 w 2216"/>
                  <a:gd name="T71" fmla="*/ 144 h 311"/>
                  <a:gd name="T72" fmla="*/ 725 w 2216"/>
                  <a:gd name="T73" fmla="*/ 256 h 311"/>
                  <a:gd name="T74" fmla="*/ 573 w 2216"/>
                  <a:gd name="T75" fmla="*/ 138 h 311"/>
                  <a:gd name="T76" fmla="*/ 576 w 2216"/>
                  <a:gd name="T77" fmla="*/ 158 h 311"/>
                  <a:gd name="T78" fmla="*/ 1995 w 2216"/>
                  <a:gd name="T79" fmla="*/ 100 h 311"/>
                  <a:gd name="T80" fmla="*/ 12 w 2216"/>
                  <a:gd name="T81" fmla="*/ 250 h 311"/>
                  <a:gd name="T82" fmla="*/ 6 w 2216"/>
                  <a:gd name="T83" fmla="*/ 253 h 311"/>
                  <a:gd name="T84" fmla="*/ 18 w 2216"/>
                  <a:gd name="T85" fmla="*/ 244 h 311"/>
                  <a:gd name="T86" fmla="*/ 8 w 2216"/>
                  <a:gd name="T87" fmla="*/ 250 h 311"/>
                  <a:gd name="T88" fmla="*/ 13 w 2216"/>
                  <a:gd name="T89" fmla="*/ 246 h 311"/>
                  <a:gd name="T90" fmla="*/ 12 w 2216"/>
                  <a:gd name="T91" fmla="*/ 247 h 311"/>
                  <a:gd name="T92" fmla="*/ 9 w 2216"/>
                  <a:gd name="T93" fmla="*/ 251 h 311"/>
                  <a:gd name="T94" fmla="*/ 6 w 2216"/>
                  <a:gd name="T95" fmla="*/ 253 h 311"/>
                  <a:gd name="T96" fmla="*/ 14 w 2216"/>
                  <a:gd name="T97" fmla="*/ 246 h 311"/>
                  <a:gd name="T98" fmla="*/ 8 w 2216"/>
                  <a:gd name="T99" fmla="*/ 250 h 311"/>
                  <a:gd name="T100" fmla="*/ 6 w 2216"/>
                  <a:gd name="T101" fmla="*/ 252 h 311"/>
                  <a:gd name="T102" fmla="*/ 6 w 2216"/>
                  <a:gd name="T103" fmla="*/ 253 h 311"/>
                  <a:gd name="T104" fmla="*/ 1307 w 2216"/>
                  <a:gd name="T105" fmla="*/ 91 h 311"/>
                  <a:gd name="T106" fmla="*/ 1323 w 2216"/>
                  <a:gd name="T107" fmla="*/ 112 h 311"/>
                  <a:gd name="T108" fmla="*/ 1756 w 2216"/>
                  <a:gd name="T109" fmla="*/ 249 h 311"/>
                  <a:gd name="T110" fmla="*/ 1754 w 2216"/>
                  <a:gd name="T111" fmla="*/ 168 h 311"/>
                  <a:gd name="T112" fmla="*/ 1775 w 2216"/>
                  <a:gd name="T113" fmla="*/ 253 h 311"/>
                  <a:gd name="T114" fmla="*/ 1756 w 2216"/>
                  <a:gd name="T115" fmla="*/ 204 h 311"/>
                  <a:gd name="T116" fmla="*/ 1099 w 2216"/>
                  <a:gd name="T117" fmla="*/ 203 h 311"/>
                  <a:gd name="T118" fmla="*/ 1075 w 2216"/>
                  <a:gd name="T119" fmla="*/ 223 h 311"/>
                  <a:gd name="T120" fmla="*/ 882 w 2216"/>
                  <a:gd name="T121" fmla="*/ 172 h 311"/>
                  <a:gd name="T122" fmla="*/ 867 w 2216"/>
                  <a:gd name="T123"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6" h="311">
                    <a:moveTo>
                      <a:pt x="22" y="246"/>
                    </a:moveTo>
                    <a:cubicBezTo>
                      <a:pt x="30" y="243"/>
                      <a:pt x="38" y="240"/>
                      <a:pt x="47" y="237"/>
                    </a:cubicBezTo>
                    <a:cubicBezTo>
                      <a:pt x="67" y="231"/>
                      <a:pt x="88" y="226"/>
                      <a:pt x="110" y="224"/>
                    </a:cubicBezTo>
                    <a:cubicBezTo>
                      <a:pt x="128" y="222"/>
                      <a:pt x="147" y="222"/>
                      <a:pt x="165" y="223"/>
                    </a:cubicBezTo>
                    <a:cubicBezTo>
                      <a:pt x="180" y="225"/>
                      <a:pt x="195" y="227"/>
                      <a:pt x="209" y="230"/>
                    </a:cubicBezTo>
                    <a:cubicBezTo>
                      <a:pt x="212" y="231"/>
                      <a:pt x="214" y="230"/>
                      <a:pt x="216" y="230"/>
                    </a:cubicBezTo>
                    <a:cubicBezTo>
                      <a:pt x="216" y="230"/>
                      <a:pt x="216" y="229"/>
                      <a:pt x="216" y="228"/>
                    </a:cubicBezTo>
                    <a:cubicBezTo>
                      <a:pt x="216" y="228"/>
                      <a:pt x="216" y="227"/>
                      <a:pt x="216" y="226"/>
                    </a:cubicBezTo>
                    <a:cubicBezTo>
                      <a:pt x="216" y="198"/>
                      <a:pt x="216" y="170"/>
                      <a:pt x="216" y="142"/>
                    </a:cubicBezTo>
                    <a:cubicBezTo>
                      <a:pt x="216" y="139"/>
                      <a:pt x="217" y="138"/>
                      <a:pt x="219" y="137"/>
                    </a:cubicBezTo>
                    <a:cubicBezTo>
                      <a:pt x="233" y="123"/>
                      <a:pt x="248" y="111"/>
                      <a:pt x="261" y="97"/>
                    </a:cubicBezTo>
                    <a:cubicBezTo>
                      <a:pt x="264" y="94"/>
                      <a:pt x="266" y="92"/>
                      <a:pt x="268" y="89"/>
                    </a:cubicBezTo>
                    <a:cubicBezTo>
                      <a:pt x="269" y="88"/>
                      <a:pt x="270" y="87"/>
                      <a:pt x="271" y="88"/>
                    </a:cubicBezTo>
                    <a:cubicBezTo>
                      <a:pt x="273" y="89"/>
                      <a:pt x="274" y="90"/>
                      <a:pt x="274" y="93"/>
                    </a:cubicBezTo>
                    <a:cubicBezTo>
                      <a:pt x="274" y="146"/>
                      <a:pt x="274" y="199"/>
                      <a:pt x="274" y="252"/>
                    </a:cubicBezTo>
                    <a:cubicBezTo>
                      <a:pt x="274" y="253"/>
                      <a:pt x="275" y="255"/>
                      <a:pt x="273" y="256"/>
                    </a:cubicBezTo>
                    <a:cubicBezTo>
                      <a:pt x="271" y="257"/>
                      <a:pt x="269" y="258"/>
                      <a:pt x="267" y="257"/>
                    </a:cubicBezTo>
                    <a:cubicBezTo>
                      <a:pt x="261" y="255"/>
                      <a:pt x="255" y="253"/>
                      <a:pt x="249" y="252"/>
                    </a:cubicBezTo>
                    <a:cubicBezTo>
                      <a:pt x="229" y="246"/>
                      <a:pt x="209" y="242"/>
                      <a:pt x="188" y="239"/>
                    </a:cubicBezTo>
                    <a:cubicBezTo>
                      <a:pt x="162" y="236"/>
                      <a:pt x="136" y="235"/>
                      <a:pt x="109" y="236"/>
                    </a:cubicBezTo>
                    <a:cubicBezTo>
                      <a:pt x="76" y="238"/>
                      <a:pt x="44" y="243"/>
                      <a:pt x="12" y="253"/>
                    </a:cubicBezTo>
                    <a:cubicBezTo>
                      <a:pt x="9" y="254"/>
                      <a:pt x="6" y="255"/>
                      <a:pt x="3" y="256"/>
                    </a:cubicBezTo>
                    <a:cubicBezTo>
                      <a:pt x="0" y="257"/>
                      <a:pt x="0" y="257"/>
                      <a:pt x="0" y="254"/>
                    </a:cubicBezTo>
                    <a:cubicBezTo>
                      <a:pt x="0" y="249"/>
                      <a:pt x="0" y="244"/>
                      <a:pt x="0" y="238"/>
                    </a:cubicBezTo>
                    <a:cubicBezTo>
                      <a:pt x="0" y="237"/>
                      <a:pt x="0" y="235"/>
                      <a:pt x="2" y="234"/>
                    </a:cubicBezTo>
                    <a:cubicBezTo>
                      <a:pt x="22" y="213"/>
                      <a:pt x="41" y="190"/>
                      <a:pt x="57" y="165"/>
                    </a:cubicBezTo>
                    <a:cubicBezTo>
                      <a:pt x="82" y="128"/>
                      <a:pt x="103" y="89"/>
                      <a:pt x="117" y="46"/>
                    </a:cubicBezTo>
                    <a:cubicBezTo>
                      <a:pt x="122" y="32"/>
                      <a:pt x="126" y="17"/>
                      <a:pt x="129" y="2"/>
                    </a:cubicBezTo>
                    <a:cubicBezTo>
                      <a:pt x="129" y="0"/>
                      <a:pt x="129" y="0"/>
                      <a:pt x="131" y="1"/>
                    </a:cubicBezTo>
                    <a:cubicBezTo>
                      <a:pt x="136" y="2"/>
                      <a:pt x="136" y="2"/>
                      <a:pt x="136" y="7"/>
                    </a:cubicBezTo>
                    <a:cubicBezTo>
                      <a:pt x="136" y="71"/>
                      <a:pt x="136" y="135"/>
                      <a:pt x="136" y="199"/>
                    </a:cubicBezTo>
                    <a:cubicBezTo>
                      <a:pt x="136" y="203"/>
                      <a:pt x="136" y="203"/>
                      <a:pt x="132" y="204"/>
                    </a:cubicBezTo>
                    <a:cubicBezTo>
                      <a:pt x="129" y="205"/>
                      <a:pt x="127" y="205"/>
                      <a:pt x="124" y="205"/>
                    </a:cubicBezTo>
                    <a:cubicBezTo>
                      <a:pt x="89" y="209"/>
                      <a:pt x="55" y="220"/>
                      <a:pt x="25" y="239"/>
                    </a:cubicBezTo>
                    <a:cubicBezTo>
                      <a:pt x="24" y="239"/>
                      <a:pt x="23" y="240"/>
                      <a:pt x="22" y="240"/>
                    </a:cubicBezTo>
                    <a:cubicBezTo>
                      <a:pt x="22" y="241"/>
                      <a:pt x="21" y="242"/>
                      <a:pt x="20" y="242"/>
                    </a:cubicBezTo>
                    <a:cubicBezTo>
                      <a:pt x="19" y="243"/>
                      <a:pt x="18" y="243"/>
                      <a:pt x="17" y="244"/>
                    </a:cubicBezTo>
                    <a:cubicBezTo>
                      <a:pt x="16" y="245"/>
                      <a:pt x="16" y="245"/>
                      <a:pt x="15" y="246"/>
                    </a:cubicBezTo>
                    <a:cubicBezTo>
                      <a:pt x="14" y="246"/>
                      <a:pt x="14" y="246"/>
                      <a:pt x="14" y="246"/>
                    </a:cubicBezTo>
                    <a:cubicBezTo>
                      <a:pt x="13" y="247"/>
                      <a:pt x="13" y="247"/>
                      <a:pt x="12" y="247"/>
                    </a:cubicBezTo>
                    <a:cubicBezTo>
                      <a:pt x="12" y="247"/>
                      <a:pt x="12" y="248"/>
                      <a:pt x="12" y="248"/>
                    </a:cubicBezTo>
                    <a:cubicBezTo>
                      <a:pt x="11" y="248"/>
                      <a:pt x="11" y="248"/>
                      <a:pt x="11" y="249"/>
                    </a:cubicBezTo>
                    <a:cubicBezTo>
                      <a:pt x="10" y="249"/>
                      <a:pt x="10" y="249"/>
                      <a:pt x="10" y="249"/>
                    </a:cubicBezTo>
                    <a:cubicBezTo>
                      <a:pt x="9" y="249"/>
                      <a:pt x="9" y="250"/>
                      <a:pt x="8" y="250"/>
                    </a:cubicBezTo>
                    <a:cubicBezTo>
                      <a:pt x="8" y="250"/>
                      <a:pt x="8" y="250"/>
                      <a:pt x="8" y="250"/>
                    </a:cubicBezTo>
                    <a:cubicBezTo>
                      <a:pt x="8" y="251"/>
                      <a:pt x="8" y="251"/>
                      <a:pt x="8" y="251"/>
                    </a:cubicBezTo>
                    <a:cubicBezTo>
                      <a:pt x="7" y="251"/>
                      <a:pt x="6" y="252"/>
                      <a:pt x="6" y="252"/>
                    </a:cubicBezTo>
                    <a:cubicBezTo>
                      <a:pt x="5" y="252"/>
                      <a:pt x="5" y="253"/>
                      <a:pt x="5" y="253"/>
                    </a:cubicBezTo>
                    <a:cubicBezTo>
                      <a:pt x="5" y="253"/>
                      <a:pt x="4" y="253"/>
                      <a:pt x="4" y="254"/>
                    </a:cubicBezTo>
                    <a:cubicBezTo>
                      <a:pt x="4" y="254"/>
                      <a:pt x="3" y="254"/>
                      <a:pt x="4" y="254"/>
                    </a:cubicBezTo>
                    <a:cubicBezTo>
                      <a:pt x="4" y="254"/>
                      <a:pt x="4" y="254"/>
                      <a:pt x="4" y="254"/>
                    </a:cubicBezTo>
                    <a:cubicBezTo>
                      <a:pt x="5" y="253"/>
                      <a:pt x="5" y="253"/>
                      <a:pt x="6" y="253"/>
                    </a:cubicBezTo>
                    <a:cubicBezTo>
                      <a:pt x="6" y="253"/>
                      <a:pt x="6" y="253"/>
                      <a:pt x="6" y="253"/>
                    </a:cubicBezTo>
                    <a:cubicBezTo>
                      <a:pt x="7" y="253"/>
                      <a:pt x="7" y="252"/>
                      <a:pt x="7" y="252"/>
                    </a:cubicBezTo>
                    <a:cubicBezTo>
                      <a:pt x="8" y="252"/>
                      <a:pt x="8" y="252"/>
                      <a:pt x="9" y="252"/>
                    </a:cubicBezTo>
                    <a:cubicBezTo>
                      <a:pt x="9" y="251"/>
                      <a:pt x="9" y="251"/>
                      <a:pt x="9" y="251"/>
                    </a:cubicBezTo>
                    <a:cubicBezTo>
                      <a:pt x="10" y="251"/>
                      <a:pt x="10" y="251"/>
                      <a:pt x="11" y="250"/>
                    </a:cubicBezTo>
                    <a:cubicBezTo>
                      <a:pt x="12" y="250"/>
                      <a:pt x="12" y="250"/>
                      <a:pt x="12" y="249"/>
                    </a:cubicBezTo>
                    <a:cubicBezTo>
                      <a:pt x="16" y="248"/>
                      <a:pt x="19" y="246"/>
                      <a:pt x="22" y="246"/>
                    </a:cubicBezTo>
                    <a:close/>
                    <a:moveTo>
                      <a:pt x="377" y="125"/>
                    </a:moveTo>
                    <a:cubicBezTo>
                      <a:pt x="395" y="167"/>
                      <a:pt x="414" y="209"/>
                      <a:pt x="433" y="250"/>
                    </a:cubicBezTo>
                    <a:cubicBezTo>
                      <a:pt x="434" y="252"/>
                      <a:pt x="434" y="254"/>
                      <a:pt x="435" y="255"/>
                    </a:cubicBezTo>
                    <a:cubicBezTo>
                      <a:pt x="437" y="256"/>
                      <a:pt x="439" y="256"/>
                      <a:pt x="441" y="256"/>
                    </a:cubicBezTo>
                    <a:cubicBezTo>
                      <a:pt x="445" y="256"/>
                      <a:pt x="445" y="256"/>
                      <a:pt x="446" y="252"/>
                    </a:cubicBezTo>
                    <a:cubicBezTo>
                      <a:pt x="465" y="210"/>
                      <a:pt x="484" y="168"/>
                      <a:pt x="502" y="126"/>
                    </a:cubicBezTo>
                    <a:cubicBezTo>
                      <a:pt x="503" y="125"/>
                      <a:pt x="503" y="124"/>
                      <a:pt x="504" y="123"/>
                    </a:cubicBezTo>
                    <a:cubicBezTo>
                      <a:pt x="504" y="123"/>
                      <a:pt x="504" y="123"/>
                      <a:pt x="504" y="123"/>
                    </a:cubicBezTo>
                    <a:cubicBezTo>
                      <a:pt x="504" y="124"/>
                      <a:pt x="504" y="125"/>
                      <a:pt x="504" y="126"/>
                    </a:cubicBezTo>
                    <a:cubicBezTo>
                      <a:pt x="504" y="168"/>
                      <a:pt x="504" y="210"/>
                      <a:pt x="504" y="251"/>
                    </a:cubicBezTo>
                    <a:cubicBezTo>
                      <a:pt x="504" y="252"/>
                      <a:pt x="505" y="253"/>
                      <a:pt x="504" y="254"/>
                    </a:cubicBezTo>
                    <a:cubicBezTo>
                      <a:pt x="504" y="255"/>
                      <a:pt x="505" y="256"/>
                      <a:pt x="507" y="256"/>
                    </a:cubicBezTo>
                    <a:cubicBezTo>
                      <a:pt x="511" y="256"/>
                      <a:pt x="515" y="256"/>
                      <a:pt x="520" y="256"/>
                    </a:cubicBezTo>
                    <a:cubicBezTo>
                      <a:pt x="524" y="256"/>
                      <a:pt x="524" y="256"/>
                      <a:pt x="524" y="252"/>
                    </a:cubicBezTo>
                    <a:cubicBezTo>
                      <a:pt x="524" y="200"/>
                      <a:pt x="524" y="147"/>
                      <a:pt x="524" y="95"/>
                    </a:cubicBezTo>
                    <a:cubicBezTo>
                      <a:pt x="524" y="94"/>
                      <a:pt x="524" y="94"/>
                      <a:pt x="524" y="93"/>
                    </a:cubicBezTo>
                    <a:cubicBezTo>
                      <a:pt x="524" y="92"/>
                      <a:pt x="523" y="91"/>
                      <a:pt x="522" y="91"/>
                    </a:cubicBezTo>
                    <a:cubicBezTo>
                      <a:pt x="515" y="91"/>
                      <a:pt x="508" y="91"/>
                      <a:pt x="502" y="91"/>
                    </a:cubicBezTo>
                    <a:cubicBezTo>
                      <a:pt x="500" y="91"/>
                      <a:pt x="499" y="92"/>
                      <a:pt x="499" y="93"/>
                    </a:cubicBezTo>
                    <a:cubicBezTo>
                      <a:pt x="496" y="99"/>
                      <a:pt x="493" y="106"/>
                      <a:pt x="490" y="112"/>
                    </a:cubicBezTo>
                    <a:cubicBezTo>
                      <a:pt x="474" y="148"/>
                      <a:pt x="458" y="184"/>
                      <a:pt x="442" y="220"/>
                    </a:cubicBezTo>
                    <a:cubicBezTo>
                      <a:pt x="441" y="221"/>
                      <a:pt x="441" y="222"/>
                      <a:pt x="440" y="223"/>
                    </a:cubicBezTo>
                    <a:cubicBezTo>
                      <a:pt x="439" y="222"/>
                      <a:pt x="439" y="221"/>
                      <a:pt x="438" y="220"/>
                    </a:cubicBezTo>
                    <a:cubicBezTo>
                      <a:pt x="433" y="208"/>
                      <a:pt x="427" y="195"/>
                      <a:pt x="422" y="183"/>
                    </a:cubicBezTo>
                    <a:cubicBezTo>
                      <a:pt x="409" y="153"/>
                      <a:pt x="396" y="124"/>
                      <a:pt x="383" y="94"/>
                    </a:cubicBezTo>
                    <a:cubicBezTo>
                      <a:pt x="382" y="92"/>
                      <a:pt x="381" y="91"/>
                      <a:pt x="378" y="91"/>
                    </a:cubicBezTo>
                    <a:cubicBezTo>
                      <a:pt x="372" y="91"/>
                      <a:pt x="366" y="91"/>
                      <a:pt x="360" y="91"/>
                    </a:cubicBezTo>
                    <a:cubicBezTo>
                      <a:pt x="356" y="91"/>
                      <a:pt x="356" y="91"/>
                      <a:pt x="356" y="95"/>
                    </a:cubicBezTo>
                    <a:cubicBezTo>
                      <a:pt x="356" y="147"/>
                      <a:pt x="356" y="200"/>
                      <a:pt x="356" y="252"/>
                    </a:cubicBezTo>
                    <a:cubicBezTo>
                      <a:pt x="356" y="252"/>
                      <a:pt x="356" y="253"/>
                      <a:pt x="356" y="254"/>
                    </a:cubicBezTo>
                    <a:cubicBezTo>
                      <a:pt x="356" y="255"/>
                      <a:pt x="357" y="256"/>
                      <a:pt x="358" y="256"/>
                    </a:cubicBezTo>
                    <a:cubicBezTo>
                      <a:pt x="362" y="256"/>
                      <a:pt x="366" y="256"/>
                      <a:pt x="369" y="256"/>
                    </a:cubicBezTo>
                    <a:cubicBezTo>
                      <a:pt x="371" y="256"/>
                      <a:pt x="373" y="256"/>
                      <a:pt x="374" y="255"/>
                    </a:cubicBezTo>
                    <a:cubicBezTo>
                      <a:pt x="375" y="254"/>
                      <a:pt x="375" y="252"/>
                      <a:pt x="375" y="251"/>
                    </a:cubicBezTo>
                    <a:cubicBezTo>
                      <a:pt x="375" y="209"/>
                      <a:pt x="375" y="167"/>
                      <a:pt x="375" y="125"/>
                    </a:cubicBezTo>
                    <a:cubicBezTo>
                      <a:pt x="375" y="124"/>
                      <a:pt x="375" y="123"/>
                      <a:pt x="375" y="122"/>
                    </a:cubicBezTo>
                    <a:cubicBezTo>
                      <a:pt x="376" y="123"/>
                      <a:pt x="376" y="124"/>
                      <a:pt x="377" y="125"/>
                    </a:cubicBezTo>
                    <a:close/>
                    <a:moveTo>
                      <a:pt x="21" y="242"/>
                    </a:moveTo>
                    <a:cubicBezTo>
                      <a:pt x="21" y="242"/>
                      <a:pt x="21" y="242"/>
                      <a:pt x="20" y="242"/>
                    </a:cubicBezTo>
                    <a:cubicBezTo>
                      <a:pt x="20" y="242"/>
                      <a:pt x="20" y="242"/>
                      <a:pt x="20" y="242"/>
                    </a:cubicBezTo>
                    <a:cubicBezTo>
                      <a:pt x="19" y="243"/>
                      <a:pt x="18" y="243"/>
                      <a:pt x="17" y="244"/>
                    </a:cubicBezTo>
                    <a:cubicBezTo>
                      <a:pt x="16" y="245"/>
                      <a:pt x="15" y="245"/>
                      <a:pt x="14" y="246"/>
                    </a:cubicBezTo>
                    <a:cubicBezTo>
                      <a:pt x="14" y="246"/>
                      <a:pt x="14" y="246"/>
                      <a:pt x="14" y="246"/>
                    </a:cubicBezTo>
                    <a:cubicBezTo>
                      <a:pt x="13" y="247"/>
                      <a:pt x="13" y="247"/>
                      <a:pt x="12" y="247"/>
                    </a:cubicBezTo>
                    <a:cubicBezTo>
                      <a:pt x="12" y="247"/>
                      <a:pt x="12" y="248"/>
                      <a:pt x="11" y="248"/>
                    </a:cubicBezTo>
                    <a:cubicBezTo>
                      <a:pt x="11" y="248"/>
                      <a:pt x="11" y="248"/>
                      <a:pt x="10" y="249"/>
                    </a:cubicBezTo>
                    <a:cubicBezTo>
                      <a:pt x="10" y="249"/>
                      <a:pt x="10" y="249"/>
                      <a:pt x="10" y="249"/>
                    </a:cubicBezTo>
                    <a:cubicBezTo>
                      <a:pt x="9" y="249"/>
                      <a:pt x="8" y="250"/>
                      <a:pt x="8" y="250"/>
                    </a:cubicBezTo>
                    <a:cubicBezTo>
                      <a:pt x="8" y="250"/>
                      <a:pt x="8" y="250"/>
                      <a:pt x="8" y="250"/>
                    </a:cubicBezTo>
                    <a:cubicBezTo>
                      <a:pt x="8" y="250"/>
                      <a:pt x="7" y="250"/>
                      <a:pt x="7" y="251"/>
                    </a:cubicBezTo>
                    <a:cubicBezTo>
                      <a:pt x="7" y="251"/>
                      <a:pt x="6" y="251"/>
                      <a:pt x="7" y="252"/>
                    </a:cubicBezTo>
                    <a:cubicBezTo>
                      <a:pt x="7" y="252"/>
                      <a:pt x="7" y="252"/>
                      <a:pt x="7" y="252"/>
                    </a:cubicBezTo>
                    <a:cubicBezTo>
                      <a:pt x="8" y="252"/>
                      <a:pt x="8" y="252"/>
                      <a:pt x="9" y="252"/>
                    </a:cubicBezTo>
                    <a:cubicBezTo>
                      <a:pt x="9" y="252"/>
                      <a:pt x="9" y="252"/>
                      <a:pt x="9" y="251"/>
                    </a:cubicBezTo>
                    <a:cubicBezTo>
                      <a:pt x="10" y="251"/>
                      <a:pt x="10" y="251"/>
                      <a:pt x="11" y="251"/>
                    </a:cubicBezTo>
                    <a:cubicBezTo>
                      <a:pt x="11" y="250"/>
                      <a:pt x="12" y="250"/>
                      <a:pt x="13" y="250"/>
                    </a:cubicBezTo>
                    <a:cubicBezTo>
                      <a:pt x="15" y="248"/>
                      <a:pt x="18" y="247"/>
                      <a:pt x="21" y="245"/>
                    </a:cubicBezTo>
                    <a:cubicBezTo>
                      <a:pt x="21" y="245"/>
                      <a:pt x="22" y="245"/>
                      <a:pt x="22" y="244"/>
                    </a:cubicBezTo>
                    <a:cubicBezTo>
                      <a:pt x="55" y="229"/>
                      <a:pt x="90" y="221"/>
                      <a:pt x="127" y="219"/>
                    </a:cubicBezTo>
                    <a:cubicBezTo>
                      <a:pt x="139" y="218"/>
                      <a:pt x="152" y="219"/>
                      <a:pt x="165" y="220"/>
                    </a:cubicBezTo>
                    <a:cubicBezTo>
                      <a:pt x="176" y="220"/>
                      <a:pt x="188" y="222"/>
                      <a:pt x="199" y="224"/>
                    </a:cubicBezTo>
                    <a:cubicBezTo>
                      <a:pt x="202" y="225"/>
                      <a:pt x="205" y="225"/>
                      <a:pt x="208" y="224"/>
                    </a:cubicBezTo>
                    <a:cubicBezTo>
                      <a:pt x="211" y="224"/>
                      <a:pt x="211" y="224"/>
                      <a:pt x="211" y="220"/>
                    </a:cubicBezTo>
                    <a:cubicBezTo>
                      <a:pt x="211" y="163"/>
                      <a:pt x="211" y="107"/>
                      <a:pt x="211" y="50"/>
                    </a:cubicBezTo>
                    <a:cubicBezTo>
                      <a:pt x="211" y="46"/>
                      <a:pt x="212" y="47"/>
                      <a:pt x="208" y="45"/>
                    </a:cubicBezTo>
                    <a:cubicBezTo>
                      <a:pt x="206" y="45"/>
                      <a:pt x="206" y="45"/>
                      <a:pt x="205" y="47"/>
                    </a:cubicBezTo>
                    <a:cubicBezTo>
                      <a:pt x="202" y="55"/>
                      <a:pt x="198" y="63"/>
                      <a:pt x="194" y="71"/>
                    </a:cubicBezTo>
                    <a:cubicBezTo>
                      <a:pt x="180" y="98"/>
                      <a:pt x="163" y="122"/>
                      <a:pt x="142" y="144"/>
                    </a:cubicBezTo>
                    <a:cubicBezTo>
                      <a:pt x="141" y="145"/>
                      <a:pt x="141" y="147"/>
                      <a:pt x="141" y="148"/>
                    </a:cubicBezTo>
                    <a:cubicBezTo>
                      <a:pt x="141" y="166"/>
                      <a:pt x="141" y="183"/>
                      <a:pt x="141" y="200"/>
                    </a:cubicBezTo>
                    <a:cubicBezTo>
                      <a:pt x="141" y="202"/>
                      <a:pt x="141" y="204"/>
                      <a:pt x="141" y="205"/>
                    </a:cubicBezTo>
                    <a:cubicBezTo>
                      <a:pt x="141" y="207"/>
                      <a:pt x="140" y="207"/>
                      <a:pt x="139" y="208"/>
                    </a:cubicBezTo>
                    <a:cubicBezTo>
                      <a:pt x="138" y="208"/>
                      <a:pt x="137" y="208"/>
                      <a:pt x="137" y="208"/>
                    </a:cubicBezTo>
                    <a:cubicBezTo>
                      <a:pt x="128" y="209"/>
                      <a:pt x="120" y="210"/>
                      <a:pt x="111" y="211"/>
                    </a:cubicBezTo>
                    <a:cubicBezTo>
                      <a:pt x="89" y="214"/>
                      <a:pt x="68" y="220"/>
                      <a:pt x="48" y="229"/>
                    </a:cubicBezTo>
                    <a:cubicBezTo>
                      <a:pt x="39" y="232"/>
                      <a:pt x="31" y="237"/>
                      <a:pt x="23" y="241"/>
                    </a:cubicBezTo>
                    <a:cubicBezTo>
                      <a:pt x="22" y="241"/>
                      <a:pt x="22" y="241"/>
                      <a:pt x="21" y="242"/>
                    </a:cubicBezTo>
                    <a:close/>
                    <a:moveTo>
                      <a:pt x="1219" y="242"/>
                    </a:moveTo>
                    <a:cubicBezTo>
                      <a:pt x="1212" y="241"/>
                      <a:pt x="1209" y="237"/>
                      <a:pt x="1207" y="231"/>
                    </a:cubicBezTo>
                    <a:cubicBezTo>
                      <a:pt x="1206" y="227"/>
                      <a:pt x="1206" y="224"/>
                      <a:pt x="1206" y="220"/>
                    </a:cubicBezTo>
                    <a:cubicBezTo>
                      <a:pt x="1206" y="199"/>
                      <a:pt x="1206" y="178"/>
                      <a:pt x="1206" y="158"/>
                    </a:cubicBezTo>
                    <a:cubicBezTo>
                      <a:pt x="1206" y="157"/>
                      <a:pt x="1206" y="156"/>
                      <a:pt x="1206" y="156"/>
                    </a:cubicBezTo>
                    <a:cubicBezTo>
                      <a:pt x="1206" y="155"/>
                      <a:pt x="1206" y="154"/>
                      <a:pt x="1207" y="154"/>
                    </a:cubicBezTo>
                    <a:cubicBezTo>
                      <a:pt x="1208" y="154"/>
                      <a:pt x="1209" y="154"/>
                      <a:pt x="1209" y="154"/>
                    </a:cubicBezTo>
                    <a:cubicBezTo>
                      <a:pt x="1217" y="154"/>
                      <a:pt x="1225" y="154"/>
                      <a:pt x="1233" y="154"/>
                    </a:cubicBezTo>
                    <a:cubicBezTo>
                      <a:pt x="1236" y="154"/>
                      <a:pt x="1236" y="154"/>
                      <a:pt x="1236" y="152"/>
                    </a:cubicBezTo>
                    <a:cubicBezTo>
                      <a:pt x="1236" y="148"/>
                      <a:pt x="1236" y="145"/>
                      <a:pt x="1236" y="141"/>
                    </a:cubicBezTo>
                    <a:cubicBezTo>
                      <a:pt x="1236" y="138"/>
                      <a:pt x="1236" y="138"/>
                      <a:pt x="1233" y="138"/>
                    </a:cubicBezTo>
                    <a:cubicBezTo>
                      <a:pt x="1225" y="138"/>
                      <a:pt x="1217" y="138"/>
                      <a:pt x="1209" y="138"/>
                    </a:cubicBezTo>
                    <a:cubicBezTo>
                      <a:pt x="1206" y="138"/>
                      <a:pt x="1206" y="138"/>
                      <a:pt x="1206" y="136"/>
                    </a:cubicBezTo>
                    <a:cubicBezTo>
                      <a:pt x="1206" y="126"/>
                      <a:pt x="1206" y="117"/>
                      <a:pt x="1206" y="107"/>
                    </a:cubicBezTo>
                    <a:cubicBezTo>
                      <a:pt x="1206" y="106"/>
                      <a:pt x="1206" y="105"/>
                      <a:pt x="1206" y="104"/>
                    </a:cubicBezTo>
                    <a:cubicBezTo>
                      <a:pt x="1205" y="104"/>
                      <a:pt x="1204" y="104"/>
                      <a:pt x="1204" y="104"/>
                    </a:cubicBezTo>
                    <a:cubicBezTo>
                      <a:pt x="1199" y="106"/>
                      <a:pt x="1194" y="107"/>
                      <a:pt x="1189" y="109"/>
                    </a:cubicBezTo>
                    <a:cubicBezTo>
                      <a:pt x="1188" y="109"/>
                      <a:pt x="1187" y="110"/>
                      <a:pt x="1187" y="112"/>
                    </a:cubicBezTo>
                    <a:cubicBezTo>
                      <a:pt x="1187" y="120"/>
                      <a:pt x="1187" y="128"/>
                      <a:pt x="1187" y="136"/>
                    </a:cubicBezTo>
                    <a:cubicBezTo>
                      <a:pt x="1187" y="138"/>
                      <a:pt x="1187" y="138"/>
                      <a:pt x="1185" y="138"/>
                    </a:cubicBezTo>
                    <a:cubicBezTo>
                      <a:pt x="1178" y="138"/>
                      <a:pt x="1171" y="138"/>
                      <a:pt x="1165" y="138"/>
                    </a:cubicBezTo>
                    <a:cubicBezTo>
                      <a:pt x="1158" y="138"/>
                      <a:pt x="1152" y="138"/>
                      <a:pt x="1145" y="138"/>
                    </a:cubicBezTo>
                    <a:cubicBezTo>
                      <a:pt x="1143" y="138"/>
                      <a:pt x="1143" y="138"/>
                      <a:pt x="1143" y="136"/>
                    </a:cubicBezTo>
                    <a:cubicBezTo>
                      <a:pt x="1143" y="130"/>
                      <a:pt x="1143" y="125"/>
                      <a:pt x="1143" y="120"/>
                    </a:cubicBezTo>
                    <a:cubicBezTo>
                      <a:pt x="1143" y="115"/>
                      <a:pt x="1143" y="111"/>
                      <a:pt x="1145" y="107"/>
                    </a:cubicBezTo>
                    <a:cubicBezTo>
                      <a:pt x="1147" y="101"/>
                      <a:pt x="1151" y="97"/>
                      <a:pt x="1158" y="96"/>
                    </a:cubicBezTo>
                    <a:cubicBezTo>
                      <a:pt x="1163" y="95"/>
                      <a:pt x="1167" y="95"/>
                      <a:pt x="1172" y="97"/>
                    </a:cubicBezTo>
                    <a:cubicBezTo>
                      <a:pt x="1173" y="97"/>
                      <a:pt x="1174" y="98"/>
                      <a:pt x="1175" y="98"/>
                    </a:cubicBezTo>
                    <a:cubicBezTo>
                      <a:pt x="1175" y="93"/>
                      <a:pt x="1175" y="88"/>
                      <a:pt x="1175" y="84"/>
                    </a:cubicBezTo>
                    <a:cubicBezTo>
                      <a:pt x="1175" y="81"/>
                      <a:pt x="1175" y="81"/>
                      <a:pt x="1173" y="81"/>
                    </a:cubicBezTo>
                    <a:cubicBezTo>
                      <a:pt x="1165" y="79"/>
                      <a:pt x="1157" y="79"/>
                      <a:pt x="1149" y="81"/>
                    </a:cubicBezTo>
                    <a:cubicBezTo>
                      <a:pt x="1135" y="86"/>
                      <a:pt x="1125" y="99"/>
                      <a:pt x="1124" y="114"/>
                    </a:cubicBezTo>
                    <a:cubicBezTo>
                      <a:pt x="1124" y="121"/>
                      <a:pt x="1124" y="128"/>
                      <a:pt x="1124" y="135"/>
                    </a:cubicBezTo>
                    <a:cubicBezTo>
                      <a:pt x="1124" y="139"/>
                      <a:pt x="1124" y="138"/>
                      <a:pt x="1121" y="138"/>
                    </a:cubicBezTo>
                    <a:cubicBezTo>
                      <a:pt x="1116" y="138"/>
                      <a:pt x="1111" y="138"/>
                      <a:pt x="1106" y="138"/>
                    </a:cubicBezTo>
                    <a:cubicBezTo>
                      <a:pt x="1104" y="138"/>
                      <a:pt x="1104" y="138"/>
                      <a:pt x="1104" y="140"/>
                    </a:cubicBezTo>
                    <a:cubicBezTo>
                      <a:pt x="1104" y="144"/>
                      <a:pt x="1104" y="148"/>
                      <a:pt x="1104" y="152"/>
                    </a:cubicBezTo>
                    <a:cubicBezTo>
                      <a:pt x="1104" y="154"/>
                      <a:pt x="1104" y="154"/>
                      <a:pt x="1106" y="154"/>
                    </a:cubicBezTo>
                    <a:cubicBezTo>
                      <a:pt x="1111" y="154"/>
                      <a:pt x="1116" y="154"/>
                      <a:pt x="1121" y="154"/>
                    </a:cubicBezTo>
                    <a:cubicBezTo>
                      <a:pt x="1124" y="154"/>
                      <a:pt x="1124" y="154"/>
                      <a:pt x="1124" y="157"/>
                    </a:cubicBezTo>
                    <a:cubicBezTo>
                      <a:pt x="1124" y="158"/>
                      <a:pt x="1124" y="159"/>
                      <a:pt x="1124" y="159"/>
                    </a:cubicBezTo>
                    <a:cubicBezTo>
                      <a:pt x="1124" y="190"/>
                      <a:pt x="1124" y="221"/>
                      <a:pt x="1124" y="251"/>
                    </a:cubicBezTo>
                    <a:cubicBezTo>
                      <a:pt x="1124" y="252"/>
                      <a:pt x="1124" y="253"/>
                      <a:pt x="1124" y="254"/>
                    </a:cubicBezTo>
                    <a:cubicBezTo>
                      <a:pt x="1124" y="255"/>
                      <a:pt x="1124" y="256"/>
                      <a:pt x="1126" y="256"/>
                    </a:cubicBezTo>
                    <a:cubicBezTo>
                      <a:pt x="1131" y="256"/>
                      <a:pt x="1135" y="256"/>
                      <a:pt x="1140" y="256"/>
                    </a:cubicBezTo>
                    <a:cubicBezTo>
                      <a:pt x="1143" y="256"/>
                      <a:pt x="1143" y="256"/>
                      <a:pt x="1143" y="253"/>
                    </a:cubicBezTo>
                    <a:cubicBezTo>
                      <a:pt x="1143" y="252"/>
                      <a:pt x="1143" y="252"/>
                      <a:pt x="1143" y="251"/>
                    </a:cubicBezTo>
                    <a:cubicBezTo>
                      <a:pt x="1143" y="220"/>
                      <a:pt x="1143" y="189"/>
                      <a:pt x="1143" y="158"/>
                    </a:cubicBezTo>
                    <a:cubicBezTo>
                      <a:pt x="1143" y="157"/>
                      <a:pt x="1143" y="156"/>
                      <a:pt x="1143" y="156"/>
                    </a:cubicBezTo>
                    <a:cubicBezTo>
                      <a:pt x="1143" y="155"/>
                      <a:pt x="1143" y="154"/>
                      <a:pt x="1144" y="154"/>
                    </a:cubicBezTo>
                    <a:cubicBezTo>
                      <a:pt x="1145" y="154"/>
                      <a:pt x="1146" y="154"/>
                      <a:pt x="1146" y="154"/>
                    </a:cubicBezTo>
                    <a:cubicBezTo>
                      <a:pt x="1159" y="154"/>
                      <a:pt x="1171" y="154"/>
                      <a:pt x="1184" y="154"/>
                    </a:cubicBezTo>
                    <a:cubicBezTo>
                      <a:pt x="1188" y="154"/>
                      <a:pt x="1187" y="154"/>
                      <a:pt x="1187" y="158"/>
                    </a:cubicBezTo>
                    <a:cubicBezTo>
                      <a:pt x="1187" y="180"/>
                      <a:pt x="1187" y="201"/>
                      <a:pt x="1187" y="223"/>
                    </a:cubicBezTo>
                    <a:cubicBezTo>
                      <a:pt x="1187" y="228"/>
                      <a:pt x="1187" y="233"/>
                      <a:pt x="1189" y="238"/>
                    </a:cubicBezTo>
                    <a:cubicBezTo>
                      <a:pt x="1191" y="246"/>
                      <a:pt x="1195" y="252"/>
                      <a:pt x="1203" y="256"/>
                    </a:cubicBezTo>
                    <a:cubicBezTo>
                      <a:pt x="1207" y="257"/>
                      <a:pt x="1212" y="258"/>
                      <a:pt x="1216" y="258"/>
                    </a:cubicBezTo>
                    <a:cubicBezTo>
                      <a:pt x="1222" y="258"/>
                      <a:pt x="1228" y="258"/>
                      <a:pt x="1234" y="256"/>
                    </a:cubicBezTo>
                    <a:cubicBezTo>
                      <a:pt x="1235" y="255"/>
                      <a:pt x="1236" y="255"/>
                      <a:pt x="1236" y="253"/>
                    </a:cubicBezTo>
                    <a:cubicBezTo>
                      <a:pt x="1236" y="248"/>
                      <a:pt x="1236" y="244"/>
                      <a:pt x="1236" y="238"/>
                    </a:cubicBezTo>
                    <a:cubicBezTo>
                      <a:pt x="1230" y="242"/>
                      <a:pt x="1224" y="243"/>
                      <a:pt x="1219" y="242"/>
                    </a:cubicBezTo>
                    <a:close/>
                    <a:moveTo>
                      <a:pt x="1822" y="156"/>
                    </a:moveTo>
                    <a:cubicBezTo>
                      <a:pt x="1822" y="151"/>
                      <a:pt x="1822" y="146"/>
                      <a:pt x="1822" y="142"/>
                    </a:cubicBezTo>
                    <a:cubicBezTo>
                      <a:pt x="1822" y="138"/>
                      <a:pt x="1822" y="138"/>
                      <a:pt x="1818" y="138"/>
                    </a:cubicBezTo>
                    <a:cubicBezTo>
                      <a:pt x="1814" y="138"/>
                      <a:pt x="1810" y="138"/>
                      <a:pt x="1806" y="138"/>
                    </a:cubicBezTo>
                    <a:cubicBezTo>
                      <a:pt x="1802" y="138"/>
                      <a:pt x="1803" y="138"/>
                      <a:pt x="1803" y="142"/>
                    </a:cubicBezTo>
                    <a:cubicBezTo>
                      <a:pt x="1803" y="179"/>
                      <a:pt x="1803" y="215"/>
                      <a:pt x="1803" y="252"/>
                    </a:cubicBezTo>
                    <a:cubicBezTo>
                      <a:pt x="1803" y="253"/>
                      <a:pt x="1803" y="254"/>
                      <a:pt x="1803" y="254"/>
                    </a:cubicBezTo>
                    <a:cubicBezTo>
                      <a:pt x="1803" y="255"/>
                      <a:pt x="1803" y="256"/>
                      <a:pt x="1804" y="256"/>
                    </a:cubicBezTo>
                    <a:cubicBezTo>
                      <a:pt x="1810" y="256"/>
                      <a:pt x="1815" y="256"/>
                      <a:pt x="1820" y="256"/>
                    </a:cubicBezTo>
                    <a:cubicBezTo>
                      <a:pt x="1821" y="256"/>
                      <a:pt x="1822" y="255"/>
                      <a:pt x="1822" y="254"/>
                    </a:cubicBezTo>
                    <a:cubicBezTo>
                      <a:pt x="1822" y="254"/>
                      <a:pt x="1822" y="253"/>
                      <a:pt x="1822" y="252"/>
                    </a:cubicBezTo>
                    <a:cubicBezTo>
                      <a:pt x="1822" y="232"/>
                      <a:pt x="1822" y="211"/>
                      <a:pt x="1822" y="191"/>
                    </a:cubicBezTo>
                    <a:cubicBezTo>
                      <a:pt x="1822" y="187"/>
                      <a:pt x="1822" y="184"/>
                      <a:pt x="1822" y="181"/>
                    </a:cubicBezTo>
                    <a:cubicBezTo>
                      <a:pt x="1823" y="174"/>
                      <a:pt x="1826" y="167"/>
                      <a:pt x="1830" y="161"/>
                    </a:cubicBezTo>
                    <a:cubicBezTo>
                      <a:pt x="1836" y="154"/>
                      <a:pt x="1843" y="151"/>
                      <a:pt x="1852" y="152"/>
                    </a:cubicBezTo>
                    <a:cubicBezTo>
                      <a:pt x="1863" y="152"/>
                      <a:pt x="1871" y="158"/>
                      <a:pt x="1874" y="169"/>
                    </a:cubicBezTo>
                    <a:cubicBezTo>
                      <a:pt x="1875" y="170"/>
                      <a:pt x="1875" y="171"/>
                      <a:pt x="1875" y="171"/>
                    </a:cubicBezTo>
                    <a:cubicBezTo>
                      <a:pt x="1876" y="177"/>
                      <a:pt x="1877" y="182"/>
                      <a:pt x="1877" y="187"/>
                    </a:cubicBezTo>
                    <a:cubicBezTo>
                      <a:pt x="1877" y="204"/>
                      <a:pt x="1877" y="220"/>
                      <a:pt x="1877" y="236"/>
                    </a:cubicBezTo>
                    <a:cubicBezTo>
                      <a:pt x="1877" y="242"/>
                      <a:pt x="1877" y="248"/>
                      <a:pt x="1877" y="254"/>
                    </a:cubicBezTo>
                    <a:cubicBezTo>
                      <a:pt x="1877" y="255"/>
                      <a:pt x="1877" y="256"/>
                      <a:pt x="1879" y="256"/>
                    </a:cubicBezTo>
                    <a:cubicBezTo>
                      <a:pt x="1884" y="256"/>
                      <a:pt x="1889" y="256"/>
                      <a:pt x="1894" y="256"/>
                    </a:cubicBezTo>
                    <a:cubicBezTo>
                      <a:pt x="1895" y="256"/>
                      <a:pt x="1896" y="255"/>
                      <a:pt x="1896" y="254"/>
                    </a:cubicBezTo>
                    <a:cubicBezTo>
                      <a:pt x="1896" y="253"/>
                      <a:pt x="1896" y="252"/>
                      <a:pt x="1896" y="252"/>
                    </a:cubicBezTo>
                    <a:cubicBezTo>
                      <a:pt x="1896" y="230"/>
                      <a:pt x="1896" y="209"/>
                      <a:pt x="1896" y="188"/>
                    </a:cubicBezTo>
                    <a:cubicBezTo>
                      <a:pt x="1896" y="178"/>
                      <a:pt x="1899" y="168"/>
                      <a:pt x="1906" y="160"/>
                    </a:cubicBezTo>
                    <a:cubicBezTo>
                      <a:pt x="1911" y="154"/>
                      <a:pt x="1918" y="151"/>
                      <a:pt x="1927" y="152"/>
                    </a:cubicBezTo>
                    <a:cubicBezTo>
                      <a:pt x="1939" y="152"/>
                      <a:pt x="1946" y="158"/>
                      <a:pt x="1949" y="170"/>
                    </a:cubicBezTo>
                    <a:cubicBezTo>
                      <a:pt x="1950" y="175"/>
                      <a:pt x="1951" y="180"/>
                      <a:pt x="1951" y="185"/>
                    </a:cubicBezTo>
                    <a:cubicBezTo>
                      <a:pt x="1951" y="207"/>
                      <a:pt x="1951" y="228"/>
                      <a:pt x="1951" y="250"/>
                    </a:cubicBezTo>
                    <a:cubicBezTo>
                      <a:pt x="1951" y="252"/>
                      <a:pt x="1950" y="254"/>
                      <a:pt x="1951" y="255"/>
                    </a:cubicBezTo>
                    <a:cubicBezTo>
                      <a:pt x="1952" y="256"/>
                      <a:pt x="1954" y="256"/>
                      <a:pt x="1956" y="256"/>
                    </a:cubicBezTo>
                    <a:cubicBezTo>
                      <a:pt x="1959" y="256"/>
                      <a:pt x="1963" y="256"/>
                      <a:pt x="1966" y="256"/>
                    </a:cubicBezTo>
                    <a:cubicBezTo>
                      <a:pt x="1970" y="256"/>
                      <a:pt x="1969" y="256"/>
                      <a:pt x="1969" y="253"/>
                    </a:cubicBezTo>
                    <a:cubicBezTo>
                      <a:pt x="1969" y="230"/>
                      <a:pt x="1969" y="207"/>
                      <a:pt x="1969" y="183"/>
                    </a:cubicBezTo>
                    <a:cubicBezTo>
                      <a:pt x="1969" y="176"/>
                      <a:pt x="1969" y="168"/>
                      <a:pt x="1966" y="160"/>
                    </a:cubicBezTo>
                    <a:cubicBezTo>
                      <a:pt x="1963" y="149"/>
                      <a:pt x="1956" y="140"/>
                      <a:pt x="1944" y="137"/>
                    </a:cubicBezTo>
                    <a:cubicBezTo>
                      <a:pt x="1936" y="135"/>
                      <a:pt x="1928" y="135"/>
                      <a:pt x="1920" y="137"/>
                    </a:cubicBezTo>
                    <a:cubicBezTo>
                      <a:pt x="1909" y="139"/>
                      <a:pt x="1901" y="146"/>
                      <a:pt x="1894" y="155"/>
                    </a:cubicBezTo>
                    <a:cubicBezTo>
                      <a:pt x="1894" y="156"/>
                      <a:pt x="1893" y="158"/>
                      <a:pt x="1892" y="159"/>
                    </a:cubicBezTo>
                    <a:cubicBezTo>
                      <a:pt x="1891" y="158"/>
                      <a:pt x="1891" y="157"/>
                      <a:pt x="1890" y="155"/>
                    </a:cubicBezTo>
                    <a:cubicBezTo>
                      <a:pt x="1884" y="142"/>
                      <a:pt x="1870" y="133"/>
                      <a:pt x="1851" y="136"/>
                    </a:cubicBezTo>
                    <a:cubicBezTo>
                      <a:pt x="1840" y="138"/>
                      <a:pt x="1831" y="144"/>
                      <a:pt x="1824" y="154"/>
                    </a:cubicBezTo>
                    <a:cubicBezTo>
                      <a:pt x="1823" y="155"/>
                      <a:pt x="1823" y="156"/>
                      <a:pt x="1822" y="156"/>
                    </a:cubicBezTo>
                    <a:cubicBezTo>
                      <a:pt x="1822" y="156"/>
                      <a:pt x="1822" y="156"/>
                      <a:pt x="1822" y="156"/>
                    </a:cubicBezTo>
                    <a:close/>
                    <a:moveTo>
                      <a:pt x="1445" y="308"/>
                    </a:moveTo>
                    <a:cubicBezTo>
                      <a:pt x="1445" y="309"/>
                      <a:pt x="1446" y="310"/>
                      <a:pt x="1447" y="310"/>
                    </a:cubicBezTo>
                    <a:cubicBezTo>
                      <a:pt x="1449" y="310"/>
                      <a:pt x="1452" y="311"/>
                      <a:pt x="1454" y="311"/>
                    </a:cubicBezTo>
                    <a:cubicBezTo>
                      <a:pt x="1463" y="311"/>
                      <a:pt x="1471" y="309"/>
                      <a:pt x="1479" y="304"/>
                    </a:cubicBezTo>
                    <a:cubicBezTo>
                      <a:pt x="1482" y="301"/>
                      <a:pt x="1486" y="297"/>
                      <a:pt x="1489" y="293"/>
                    </a:cubicBezTo>
                    <a:cubicBezTo>
                      <a:pt x="1493" y="287"/>
                      <a:pt x="1496" y="281"/>
                      <a:pt x="1499" y="274"/>
                    </a:cubicBezTo>
                    <a:cubicBezTo>
                      <a:pt x="1516" y="230"/>
                      <a:pt x="1534" y="185"/>
                      <a:pt x="1551" y="141"/>
                    </a:cubicBezTo>
                    <a:cubicBezTo>
                      <a:pt x="1552" y="140"/>
                      <a:pt x="1552" y="139"/>
                      <a:pt x="1552" y="138"/>
                    </a:cubicBezTo>
                    <a:cubicBezTo>
                      <a:pt x="1547" y="138"/>
                      <a:pt x="1541" y="138"/>
                      <a:pt x="1536" y="138"/>
                    </a:cubicBezTo>
                    <a:cubicBezTo>
                      <a:pt x="1532" y="138"/>
                      <a:pt x="1533" y="138"/>
                      <a:pt x="1532" y="141"/>
                    </a:cubicBezTo>
                    <a:cubicBezTo>
                      <a:pt x="1532" y="141"/>
                      <a:pt x="1532" y="141"/>
                      <a:pt x="1532" y="142"/>
                    </a:cubicBezTo>
                    <a:cubicBezTo>
                      <a:pt x="1520" y="172"/>
                      <a:pt x="1509" y="202"/>
                      <a:pt x="1498" y="233"/>
                    </a:cubicBezTo>
                    <a:cubicBezTo>
                      <a:pt x="1498" y="234"/>
                      <a:pt x="1498" y="235"/>
                      <a:pt x="1497" y="235"/>
                    </a:cubicBezTo>
                    <a:cubicBezTo>
                      <a:pt x="1496" y="235"/>
                      <a:pt x="1496" y="233"/>
                      <a:pt x="1495" y="233"/>
                    </a:cubicBezTo>
                    <a:cubicBezTo>
                      <a:pt x="1489" y="213"/>
                      <a:pt x="1482" y="194"/>
                      <a:pt x="1475" y="174"/>
                    </a:cubicBezTo>
                    <a:cubicBezTo>
                      <a:pt x="1471" y="163"/>
                      <a:pt x="1467" y="152"/>
                      <a:pt x="1463" y="141"/>
                    </a:cubicBezTo>
                    <a:cubicBezTo>
                      <a:pt x="1462" y="138"/>
                      <a:pt x="1463" y="138"/>
                      <a:pt x="1460" y="138"/>
                    </a:cubicBezTo>
                    <a:cubicBezTo>
                      <a:pt x="1457" y="138"/>
                      <a:pt x="1453" y="138"/>
                      <a:pt x="1450" y="138"/>
                    </a:cubicBezTo>
                    <a:cubicBezTo>
                      <a:pt x="1448" y="138"/>
                      <a:pt x="1445" y="138"/>
                      <a:pt x="1442" y="138"/>
                    </a:cubicBezTo>
                    <a:cubicBezTo>
                      <a:pt x="1442" y="140"/>
                      <a:pt x="1443" y="141"/>
                      <a:pt x="1443" y="142"/>
                    </a:cubicBezTo>
                    <a:cubicBezTo>
                      <a:pt x="1457" y="179"/>
                      <a:pt x="1472" y="216"/>
                      <a:pt x="1486" y="253"/>
                    </a:cubicBezTo>
                    <a:cubicBezTo>
                      <a:pt x="1487" y="255"/>
                      <a:pt x="1487" y="256"/>
                      <a:pt x="1486" y="258"/>
                    </a:cubicBezTo>
                    <a:cubicBezTo>
                      <a:pt x="1483" y="264"/>
                      <a:pt x="1481" y="271"/>
                      <a:pt x="1478" y="277"/>
                    </a:cubicBezTo>
                    <a:cubicBezTo>
                      <a:pt x="1477" y="280"/>
                      <a:pt x="1475" y="283"/>
                      <a:pt x="1474" y="286"/>
                    </a:cubicBezTo>
                    <a:cubicBezTo>
                      <a:pt x="1468" y="293"/>
                      <a:pt x="1461" y="296"/>
                      <a:pt x="1452" y="294"/>
                    </a:cubicBezTo>
                    <a:cubicBezTo>
                      <a:pt x="1450" y="294"/>
                      <a:pt x="1448" y="293"/>
                      <a:pt x="1445" y="293"/>
                    </a:cubicBezTo>
                    <a:cubicBezTo>
                      <a:pt x="1445" y="298"/>
                      <a:pt x="1445" y="303"/>
                      <a:pt x="1445" y="308"/>
                    </a:cubicBezTo>
                    <a:close/>
                    <a:moveTo>
                      <a:pt x="1584" y="155"/>
                    </a:moveTo>
                    <a:cubicBezTo>
                      <a:pt x="1584" y="150"/>
                      <a:pt x="1584" y="146"/>
                      <a:pt x="1584" y="141"/>
                    </a:cubicBezTo>
                    <a:cubicBezTo>
                      <a:pt x="1584" y="138"/>
                      <a:pt x="1584" y="138"/>
                      <a:pt x="1581" y="138"/>
                    </a:cubicBezTo>
                    <a:cubicBezTo>
                      <a:pt x="1577" y="138"/>
                      <a:pt x="1573" y="138"/>
                      <a:pt x="1569" y="138"/>
                    </a:cubicBezTo>
                    <a:cubicBezTo>
                      <a:pt x="1565" y="138"/>
                      <a:pt x="1565" y="138"/>
                      <a:pt x="1565" y="142"/>
                    </a:cubicBezTo>
                    <a:cubicBezTo>
                      <a:pt x="1565" y="179"/>
                      <a:pt x="1565" y="215"/>
                      <a:pt x="1565" y="252"/>
                    </a:cubicBezTo>
                    <a:cubicBezTo>
                      <a:pt x="1565" y="253"/>
                      <a:pt x="1565" y="253"/>
                      <a:pt x="1565" y="254"/>
                    </a:cubicBezTo>
                    <a:cubicBezTo>
                      <a:pt x="1565" y="255"/>
                      <a:pt x="1566" y="256"/>
                      <a:pt x="1567" y="256"/>
                    </a:cubicBezTo>
                    <a:cubicBezTo>
                      <a:pt x="1572" y="256"/>
                      <a:pt x="1578" y="256"/>
                      <a:pt x="1583" y="256"/>
                    </a:cubicBezTo>
                    <a:cubicBezTo>
                      <a:pt x="1584" y="256"/>
                      <a:pt x="1584" y="255"/>
                      <a:pt x="1584" y="254"/>
                    </a:cubicBezTo>
                    <a:cubicBezTo>
                      <a:pt x="1584" y="253"/>
                      <a:pt x="1584" y="253"/>
                      <a:pt x="1584" y="252"/>
                    </a:cubicBezTo>
                    <a:cubicBezTo>
                      <a:pt x="1584" y="231"/>
                      <a:pt x="1584" y="211"/>
                      <a:pt x="1584" y="190"/>
                    </a:cubicBezTo>
                    <a:cubicBezTo>
                      <a:pt x="1584" y="186"/>
                      <a:pt x="1584" y="181"/>
                      <a:pt x="1586" y="177"/>
                    </a:cubicBezTo>
                    <a:cubicBezTo>
                      <a:pt x="1590" y="163"/>
                      <a:pt x="1598" y="154"/>
                      <a:pt x="1613" y="152"/>
                    </a:cubicBezTo>
                    <a:cubicBezTo>
                      <a:pt x="1627" y="150"/>
                      <a:pt x="1637" y="156"/>
                      <a:pt x="1642" y="170"/>
                    </a:cubicBezTo>
                    <a:cubicBezTo>
                      <a:pt x="1644" y="176"/>
                      <a:pt x="1644" y="182"/>
                      <a:pt x="1644" y="188"/>
                    </a:cubicBezTo>
                    <a:cubicBezTo>
                      <a:pt x="1644" y="210"/>
                      <a:pt x="1644" y="231"/>
                      <a:pt x="1644" y="252"/>
                    </a:cubicBezTo>
                    <a:cubicBezTo>
                      <a:pt x="1644" y="253"/>
                      <a:pt x="1644" y="253"/>
                      <a:pt x="1644" y="254"/>
                    </a:cubicBezTo>
                    <a:cubicBezTo>
                      <a:pt x="1644" y="255"/>
                      <a:pt x="1644" y="256"/>
                      <a:pt x="1646" y="256"/>
                    </a:cubicBezTo>
                    <a:cubicBezTo>
                      <a:pt x="1651" y="256"/>
                      <a:pt x="1656" y="256"/>
                      <a:pt x="1661" y="256"/>
                    </a:cubicBezTo>
                    <a:cubicBezTo>
                      <a:pt x="1663" y="256"/>
                      <a:pt x="1663" y="255"/>
                      <a:pt x="1663" y="254"/>
                    </a:cubicBezTo>
                    <a:cubicBezTo>
                      <a:pt x="1663" y="253"/>
                      <a:pt x="1663" y="252"/>
                      <a:pt x="1663" y="252"/>
                    </a:cubicBezTo>
                    <a:cubicBezTo>
                      <a:pt x="1663" y="230"/>
                      <a:pt x="1663" y="209"/>
                      <a:pt x="1663" y="187"/>
                    </a:cubicBezTo>
                    <a:cubicBezTo>
                      <a:pt x="1663" y="183"/>
                      <a:pt x="1663" y="179"/>
                      <a:pt x="1663" y="175"/>
                    </a:cubicBezTo>
                    <a:cubicBezTo>
                      <a:pt x="1662" y="168"/>
                      <a:pt x="1660" y="162"/>
                      <a:pt x="1658" y="156"/>
                    </a:cubicBezTo>
                    <a:cubicBezTo>
                      <a:pt x="1653" y="146"/>
                      <a:pt x="1645" y="139"/>
                      <a:pt x="1634" y="136"/>
                    </a:cubicBezTo>
                    <a:cubicBezTo>
                      <a:pt x="1630" y="136"/>
                      <a:pt x="1625" y="135"/>
                      <a:pt x="1621" y="136"/>
                    </a:cubicBezTo>
                    <a:cubicBezTo>
                      <a:pt x="1607" y="136"/>
                      <a:pt x="1595" y="142"/>
                      <a:pt x="1587" y="154"/>
                    </a:cubicBezTo>
                    <a:cubicBezTo>
                      <a:pt x="1586" y="155"/>
                      <a:pt x="1586" y="156"/>
                      <a:pt x="1585" y="158"/>
                    </a:cubicBezTo>
                    <a:cubicBezTo>
                      <a:pt x="1584" y="156"/>
                      <a:pt x="1584" y="155"/>
                      <a:pt x="1584" y="155"/>
                    </a:cubicBezTo>
                    <a:close/>
                    <a:moveTo>
                      <a:pt x="2140" y="232"/>
                    </a:moveTo>
                    <a:cubicBezTo>
                      <a:pt x="2140" y="237"/>
                      <a:pt x="2140" y="241"/>
                      <a:pt x="2140" y="245"/>
                    </a:cubicBezTo>
                    <a:cubicBezTo>
                      <a:pt x="2140" y="247"/>
                      <a:pt x="2139" y="250"/>
                      <a:pt x="2141" y="251"/>
                    </a:cubicBezTo>
                    <a:cubicBezTo>
                      <a:pt x="2142" y="253"/>
                      <a:pt x="2144" y="254"/>
                      <a:pt x="2146" y="254"/>
                    </a:cubicBezTo>
                    <a:cubicBezTo>
                      <a:pt x="2157" y="259"/>
                      <a:pt x="2169" y="260"/>
                      <a:pt x="2180" y="258"/>
                    </a:cubicBezTo>
                    <a:cubicBezTo>
                      <a:pt x="2189" y="256"/>
                      <a:pt x="2196" y="253"/>
                      <a:pt x="2202" y="247"/>
                    </a:cubicBezTo>
                    <a:cubicBezTo>
                      <a:pt x="2216" y="236"/>
                      <a:pt x="2216" y="211"/>
                      <a:pt x="2200" y="200"/>
                    </a:cubicBezTo>
                    <a:cubicBezTo>
                      <a:pt x="2198" y="198"/>
                      <a:pt x="2196" y="197"/>
                      <a:pt x="2193" y="195"/>
                    </a:cubicBezTo>
                    <a:cubicBezTo>
                      <a:pt x="2189" y="193"/>
                      <a:pt x="2185" y="191"/>
                      <a:pt x="2181" y="189"/>
                    </a:cubicBezTo>
                    <a:cubicBezTo>
                      <a:pt x="2176" y="187"/>
                      <a:pt x="2171" y="185"/>
                      <a:pt x="2167" y="182"/>
                    </a:cubicBezTo>
                    <a:cubicBezTo>
                      <a:pt x="2164" y="181"/>
                      <a:pt x="2162" y="179"/>
                      <a:pt x="2161" y="176"/>
                    </a:cubicBezTo>
                    <a:cubicBezTo>
                      <a:pt x="2158" y="167"/>
                      <a:pt x="2160" y="157"/>
                      <a:pt x="2170" y="153"/>
                    </a:cubicBezTo>
                    <a:cubicBezTo>
                      <a:pt x="2172" y="153"/>
                      <a:pt x="2173" y="152"/>
                      <a:pt x="2175" y="152"/>
                    </a:cubicBezTo>
                    <a:cubicBezTo>
                      <a:pt x="2185" y="151"/>
                      <a:pt x="2195" y="153"/>
                      <a:pt x="2204" y="158"/>
                    </a:cubicBezTo>
                    <a:cubicBezTo>
                      <a:pt x="2205" y="158"/>
                      <a:pt x="2205" y="159"/>
                      <a:pt x="2207" y="159"/>
                    </a:cubicBezTo>
                    <a:cubicBezTo>
                      <a:pt x="2207" y="154"/>
                      <a:pt x="2207" y="148"/>
                      <a:pt x="2207" y="142"/>
                    </a:cubicBezTo>
                    <a:cubicBezTo>
                      <a:pt x="2207" y="141"/>
                      <a:pt x="2207" y="141"/>
                      <a:pt x="2206" y="140"/>
                    </a:cubicBezTo>
                    <a:cubicBezTo>
                      <a:pt x="2205" y="140"/>
                      <a:pt x="2204" y="140"/>
                      <a:pt x="2203" y="139"/>
                    </a:cubicBezTo>
                    <a:cubicBezTo>
                      <a:pt x="2194" y="136"/>
                      <a:pt x="2184" y="135"/>
                      <a:pt x="2175" y="136"/>
                    </a:cubicBezTo>
                    <a:cubicBezTo>
                      <a:pt x="2166" y="137"/>
                      <a:pt x="2158" y="140"/>
                      <a:pt x="2151" y="146"/>
                    </a:cubicBezTo>
                    <a:cubicBezTo>
                      <a:pt x="2136" y="158"/>
                      <a:pt x="2136" y="185"/>
                      <a:pt x="2154" y="196"/>
                    </a:cubicBezTo>
                    <a:cubicBezTo>
                      <a:pt x="2158" y="199"/>
                      <a:pt x="2163" y="202"/>
                      <a:pt x="2168" y="204"/>
                    </a:cubicBezTo>
                    <a:cubicBezTo>
                      <a:pt x="2174" y="207"/>
                      <a:pt x="2181" y="210"/>
                      <a:pt x="2186" y="214"/>
                    </a:cubicBezTo>
                    <a:cubicBezTo>
                      <a:pt x="2192" y="217"/>
                      <a:pt x="2194" y="223"/>
                      <a:pt x="2193" y="229"/>
                    </a:cubicBezTo>
                    <a:cubicBezTo>
                      <a:pt x="2192" y="235"/>
                      <a:pt x="2188" y="239"/>
                      <a:pt x="2182" y="241"/>
                    </a:cubicBezTo>
                    <a:cubicBezTo>
                      <a:pt x="2181" y="241"/>
                      <a:pt x="2180" y="241"/>
                      <a:pt x="2179" y="242"/>
                    </a:cubicBezTo>
                    <a:cubicBezTo>
                      <a:pt x="2166" y="244"/>
                      <a:pt x="2154" y="241"/>
                      <a:pt x="2143" y="234"/>
                    </a:cubicBezTo>
                    <a:cubicBezTo>
                      <a:pt x="2142" y="233"/>
                      <a:pt x="2142" y="232"/>
                      <a:pt x="2140" y="232"/>
                    </a:cubicBezTo>
                    <a:cubicBezTo>
                      <a:pt x="2140" y="232"/>
                      <a:pt x="2140" y="232"/>
                      <a:pt x="2140" y="232"/>
                    </a:cubicBezTo>
                    <a:close/>
                    <a:moveTo>
                      <a:pt x="900" y="251"/>
                    </a:moveTo>
                    <a:cubicBezTo>
                      <a:pt x="900" y="252"/>
                      <a:pt x="901" y="252"/>
                      <a:pt x="901" y="252"/>
                    </a:cubicBezTo>
                    <a:cubicBezTo>
                      <a:pt x="903" y="253"/>
                      <a:pt x="905" y="254"/>
                      <a:pt x="908" y="255"/>
                    </a:cubicBezTo>
                    <a:cubicBezTo>
                      <a:pt x="918" y="259"/>
                      <a:pt x="929" y="259"/>
                      <a:pt x="939" y="258"/>
                    </a:cubicBezTo>
                    <a:cubicBezTo>
                      <a:pt x="947" y="257"/>
                      <a:pt x="954" y="254"/>
                      <a:pt x="960" y="249"/>
                    </a:cubicBezTo>
                    <a:cubicBezTo>
                      <a:pt x="976" y="237"/>
                      <a:pt x="977" y="211"/>
                      <a:pt x="959" y="199"/>
                    </a:cubicBezTo>
                    <a:cubicBezTo>
                      <a:pt x="958" y="198"/>
                      <a:pt x="956" y="197"/>
                      <a:pt x="955" y="196"/>
                    </a:cubicBezTo>
                    <a:cubicBezTo>
                      <a:pt x="950" y="193"/>
                      <a:pt x="946" y="191"/>
                      <a:pt x="941" y="189"/>
                    </a:cubicBezTo>
                    <a:cubicBezTo>
                      <a:pt x="936" y="187"/>
                      <a:pt x="931" y="185"/>
                      <a:pt x="927" y="182"/>
                    </a:cubicBezTo>
                    <a:cubicBezTo>
                      <a:pt x="924" y="180"/>
                      <a:pt x="922" y="179"/>
                      <a:pt x="921" y="176"/>
                    </a:cubicBezTo>
                    <a:cubicBezTo>
                      <a:pt x="918" y="168"/>
                      <a:pt x="919" y="158"/>
                      <a:pt x="929" y="154"/>
                    </a:cubicBezTo>
                    <a:cubicBezTo>
                      <a:pt x="931" y="153"/>
                      <a:pt x="933" y="152"/>
                      <a:pt x="934" y="152"/>
                    </a:cubicBezTo>
                    <a:cubicBezTo>
                      <a:pt x="945" y="150"/>
                      <a:pt x="955" y="153"/>
                      <a:pt x="964" y="158"/>
                    </a:cubicBezTo>
                    <a:cubicBezTo>
                      <a:pt x="965" y="159"/>
                      <a:pt x="965" y="159"/>
                      <a:pt x="967" y="159"/>
                    </a:cubicBezTo>
                    <a:cubicBezTo>
                      <a:pt x="967" y="154"/>
                      <a:pt x="967" y="149"/>
                      <a:pt x="967" y="144"/>
                    </a:cubicBezTo>
                    <a:cubicBezTo>
                      <a:pt x="967" y="141"/>
                      <a:pt x="967" y="141"/>
                      <a:pt x="964" y="140"/>
                    </a:cubicBezTo>
                    <a:cubicBezTo>
                      <a:pt x="954" y="136"/>
                      <a:pt x="944" y="135"/>
                      <a:pt x="934" y="136"/>
                    </a:cubicBezTo>
                    <a:cubicBezTo>
                      <a:pt x="926" y="137"/>
                      <a:pt x="919" y="140"/>
                      <a:pt x="912" y="145"/>
                    </a:cubicBezTo>
                    <a:cubicBezTo>
                      <a:pt x="896" y="158"/>
                      <a:pt x="896" y="186"/>
                      <a:pt x="914" y="196"/>
                    </a:cubicBezTo>
                    <a:cubicBezTo>
                      <a:pt x="919" y="199"/>
                      <a:pt x="923" y="202"/>
                      <a:pt x="928" y="204"/>
                    </a:cubicBezTo>
                    <a:cubicBezTo>
                      <a:pt x="934" y="207"/>
                      <a:pt x="941" y="210"/>
                      <a:pt x="946" y="214"/>
                    </a:cubicBezTo>
                    <a:cubicBezTo>
                      <a:pt x="952" y="218"/>
                      <a:pt x="953" y="223"/>
                      <a:pt x="952" y="230"/>
                    </a:cubicBezTo>
                    <a:cubicBezTo>
                      <a:pt x="951" y="236"/>
                      <a:pt x="947" y="239"/>
                      <a:pt x="942" y="241"/>
                    </a:cubicBezTo>
                    <a:cubicBezTo>
                      <a:pt x="941" y="241"/>
                      <a:pt x="940" y="241"/>
                      <a:pt x="939" y="242"/>
                    </a:cubicBezTo>
                    <a:cubicBezTo>
                      <a:pt x="926" y="244"/>
                      <a:pt x="914" y="241"/>
                      <a:pt x="903" y="234"/>
                    </a:cubicBezTo>
                    <a:cubicBezTo>
                      <a:pt x="902" y="233"/>
                      <a:pt x="901" y="232"/>
                      <a:pt x="900" y="231"/>
                    </a:cubicBezTo>
                    <a:cubicBezTo>
                      <a:pt x="900" y="238"/>
                      <a:pt x="900" y="244"/>
                      <a:pt x="900" y="251"/>
                    </a:cubicBezTo>
                    <a:close/>
                    <a:moveTo>
                      <a:pt x="2127" y="143"/>
                    </a:moveTo>
                    <a:cubicBezTo>
                      <a:pt x="2127" y="142"/>
                      <a:pt x="2127" y="141"/>
                      <a:pt x="2126" y="141"/>
                    </a:cubicBezTo>
                    <a:cubicBezTo>
                      <a:pt x="2124" y="140"/>
                      <a:pt x="2122" y="139"/>
                      <a:pt x="2121" y="139"/>
                    </a:cubicBezTo>
                    <a:cubicBezTo>
                      <a:pt x="2110" y="135"/>
                      <a:pt x="2100" y="135"/>
                      <a:pt x="2089" y="136"/>
                    </a:cubicBezTo>
                    <a:cubicBezTo>
                      <a:pt x="2069" y="139"/>
                      <a:pt x="2055" y="149"/>
                      <a:pt x="2046" y="167"/>
                    </a:cubicBezTo>
                    <a:cubicBezTo>
                      <a:pt x="2037" y="185"/>
                      <a:pt x="2036" y="204"/>
                      <a:pt x="2043" y="223"/>
                    </a:cubicBezTo>
                    <a:cubicBezTo>
                      <a:pt x="2048" y="239"/>
                      <a:pt x="2059" y="250"/>
                      <a:pt x="2075" y="255"/>
                    </a:cubicBezTo>
                    <a:cubicBezTo>
                      <a:pt x="2085" y="259"/>
                      <a:pt x="2095" y="259"/>
                      <a:pt x="2106" y="258"/>
                    </a:cubicBezTo>
                    <a:cubicBezTo>
                      <a:pt x="2112" y="257"/>
                      <a:pt x="2119" y="255"/>
                      <a:pt x="2124" y="252"/>
                    </a:cubicBezTo>
                    <a:cubicBezTo>
                      <a:pt x="2126" y="251"/>
                      <a:pt x="2127" y="250"/>
                      <a:pt x="2127" y="248"/>
                    </a:cubicBezTo>
                    <a:cubicBezTo>
                      <a:pt x="2127" y="244"/>
                      <a:pt x="2127" y="239"/>
                      <a:pt x="2127" y="235"/>
                    </a:cubicBezTo>
                    <a:cubicBezTo>
                      <a:pt x="2127" y="234"/>
                      <a:pt x="2127" y="234"/>
                      <a:pt x="2126" y="233"/>
                    </a:cubicBezTo>
                    <a:cubicBezTo>
                      <a:pt x="2125" y="233"/>
                      <a:pt x="2125" y="234"/>
                      <a:pt x="2124" y="234"/>
                    </a:cubicBezTo>
                    <a:cubicBezTo>
                      <a:pt x="2115" y="240"/>
                      <a:pt x="2105" y="243"/>
                      <a:pt x="2094" y="242"/>
                    </a:cubicBezTo>
                    <a:cubicBezTo>
                      <a:pt x="2078" y="241"/>
                      <a:pt x="2067" y="233"/>
                      <a:pt x="2061" y="218"/>
                    </a:cubicBezTo>
                    <a:cubicBezTo>
                      <a:pt x="2056" y="205"/>
                      <a:pt x="2057" y="191"/>
                      <a:pt x="2062" y="177"/>
                    </a:cubicBezTo>
                    <a:cubicBezTo>
                      <a:pt x="2067" y="164"/>
                      <a:pt x="2076" y="155"/>
                      <a:pt x="2090" y="152"/>
                    </a:cubicBezTo>
                    <a:cubicBezTo>
                      <a:pt x="2102" y="150"/>
                      <a:pt x="2113" y="152"/>
                      <a:pt x="2124" y="159"/>
                    </a:cubicBezTo>
                    <a:cubicBezTo>
                      <a:pt x="2125" y="159"/>
                      <a:pt x="2125" y="160"/>
                      <a:pt x="2127" y="160"/>
                    </a:cubicBezTo>
                    <a:cubicBezTo>
                      <a:pt x="2127" y="154"/>
                      <a:pt x="2127" y="149"/>
                      <a:pt x="2127" y="143"/>
                    </a:cubicBezTo>
                    <a:close/>
                    <a:moveTo>
                      <a:pt x="684" y="234"/>
                    </a:moveTo>
                    <a:cubicBezTo>
                      <a:pt x="675" y="240"/>
                      <a:pt x="665" y="243"/>
                      <a:pt x="654" y="242"/>
                    </a:cubicBezTo>
                    <a:cubicBezTo>
                      <a:pt x="639" y="241"/>
                      <a:pt x="628" y="234"/>
                      <a:pt x="622" y="220"/>
                    </a:cubicBezTo>
                    <a:cubicBezTo>
                      <a:pt x="615" y="205"/>
                      <a:pt x="616" y="189"/>
                      <a:pt x="623" y="174"/>
                    </a:cubicBezTo>
                    <a:cubicBezTo>
                      <a:pt x="628" y="162"/>
                      <a:pt x="638" y="154"/>
                      <a:pt x="651" y="152"/>
                    </a:cubicBezTo>
                    <a:cubicBezTo>
                      <a:pt x="663" y="150"/>
                      <a:pt x="673" y="153"/>
                      <a:pt x="683" y="159"/>
                    </a:cubicBezTo>
                    <a:cubicBezTo>
                      <a:pt x="684" y="159"/>
                      <a:pt x="685" y="160"/>
                      <a:pt x="687" y="160"/>
                    </a:cubicBezTo>
                    <a:cubicBezTo>
                      <a:pt x="687" y="156"/>
                      <a:pt x="687" y="151"/>
                      <a:pt x="687" y="146"/>
                    </a:cubicBezTo>
                    <a:cubicBezTo>
                      <a:pt x="687" y="141"/>
                      <a:pt x="687" y="141"/>
                      <a:pt x="682" y="139"/>
                    </a:cubicBezTo>
                    <a:cubicBezTo>
                      <a:pt x="671" y="135"/>
                      <a:pt x="660" y="135"/>
                      <a:pt x="649" y="136"/>
                    </a:cubicBezTo>
                    <a:cubicBezTo>
                      <a:pt x="629" y="139"/>
                      <a:pt x="615" y="149"/>
                      <a:pt x="606" y="166"/>
                    </a:cubicBezTo>
                    <a:cubicBezTo>
                      <a:pt x="596" y="185"/>
                      <a:pt x="595" y="205"/>
                      <a:pt x="603" y="225"/>
                    </a:cubicBezTo>
                    <a:cubicBezTo>
                      <a:pt x="609" y="241"/>
                      <a:pt x="621" y="251"/>
                      <a:pt x="637" y="256"/>
                    </a:cubicBezTo>
                    <a:cubicBezTo>
                      <a:pt x="647" y="259"/>
                      <a:pt x="658" y="259"/>
                      <a:pt x="669" y="257"/>
                    </a:cubicBezTo>
                    <a:cubicBezTo>
                      <a:pt x="674" y="256"/>
                      <a:pt x="680" y="254"/>
                      <a:pt x="685" y="251"/>
                    </a:cubicBezTo>
                    <a:cubicBezTo>
                      <a:pt x="686" y="251"/>
                      <a:pt x="686" y="250"/>
                      <a:pt x="686" y="249"/>
                    </a:cubicBezTo>
                    <a:cubicBezTo>
                      <a:pt x="686" y="244"/>
                      <a:pt x="686" y="238"/>
                      <a:pt x="686" y="233"/>
                    </a:cubicBezTo>
                    <a:cubicBezTo>
                      <a:pt x="685" y="233"/>
                      <a:pt x="685" y="234"/>
                      <a:pt x="684" y="234"/>
                    </a:cubicBezTo>
                    <a:close/>
                    <a:moveTo>
                      <a:pt x="769" y="139"/>
                    </a:moveTo>
                    <a:cubicBezTo>
                      <a:pt x="769" y="138"/>
                      <a:pt x="768" y="137"/>
                      <a:pt x="767" y="137"/>
                    </a:cubicBezTo>
                    <a:cubicBezTo>
                      <a:pt x="756" y="135"/>
                      <a:pt x="746" y="136"/>
                      <a:pt x="738" y="144"/>
                    </a:cubicBezTo>
                    <a:cubicBezTo>
                      <a:pt x="733" y="149"/>
                      <a:pt x="730" y="154"/>
                      <a:pt x="728" y="159"/>
                    </a:cubicBezTo>
                    <a:cubicBezTo>
                      <a:pt x="728" y="160"/>
                      <a:pt x="728" y="161"/>
                      <a:pt x="727" y="162"/>
                    </a:cubicBezTo>
                    <a:cubicBezTo>
                      <a:pt x="727" y="155"/>
                      <a:pt x="727" y="148"/>
                      <a:pt x="727" y="142"/>
                    </a:cubicBezTo>
                    <a:cubicBezTo>
                      <a:pt x="727" y="138"/>
                      <a:pt x="727" y="138"/>
                      <a:pt x="723" y="138"/>
                    </a:cubicBezTo>
                    <a:cubicBezTo>
                      <a:pt x="719" y="138"/>
                      <a:pt x="715" y="138"/>
                      <a:pt x="711" y="138"/>
                    </a:cubicBezTo>
                    <a:cubicBezTo>
                      <a:pt x="707" y="138"/>
                      <a:pt x="708" y="138"/>
                      <a:pt x="708" y="142"/>
                    </a:cubicBezTo>
                    <a:cubicBezTo>
                      <a:pt x="708" y="179"/>
                      <a:pt x="708" y="215"/>
                      <a:pt x="708" y="252"/>
                    </a:cubicBezTo>
                    <a:cubicBezTo>
                      <a:pt x="708" y="252"/>
                      <a:pt x="708" y="253"/>
                      <a:pt x="708" y="253"/>
                    </a:cubicBezTo>
                    <a:cubicBezTo>
                      <a:pt x="708" y="256"/>
                      <a:pt x="708" y="256"/>
                      <a:pt x="710" y="256"/>
                    </a:cubicBezTo>
                    <a:cubicBezTo>
                      <a:pt x="713" y="256"/>
                      <a:pt x="717" y="256"/>
                      <a:pt x="720" y="256"/>
                    </a:cubicBezTo>
                    <a:cubicBezTo>
                      <a:pt x="722" y="256"/>
                      <a:pt x="723" y="256"/>
                      <a:pt x="725" y="256"/>
                    </a:cubicBezTo>
                    <a:cubicBezTo>
                      <a:pt x="726" y="256"/>
                      <a:pt x="727" y="255"/>
                      <a:pt x="727" y="254"/>
                    </a:cubicBezTo>
                    <a:cubicBezTo>
                      <a:pt x="726" y="253"/>
                      <a:pt x="727" y="252"/>
                      <a:pt x="727" y="252"/>
                    </a:cubicBezTo>
                    <a:cubicBezTo>
                      <a:pt x="727" y="233"/>
                      <a:pt x="727" y="214"/>
                      <a:pt x="727" y="195"/>
                    </a:cubicBezTo>
                    <a:cubicBezTo>
                      <a:pt x="727" y="191"/>
                      <a:pt x="727" y="186"/>
                      <a:pt x="728" y="182"/>
                    </a:cubicBezTo>
                    <a:cubicBezTo>
                      <a:pt x="729" y="174"/>
                      <a:pt x="732" y="167"/>
                      <a:pt x="737" y="162"/>
                    </a:cubicBezTo>
                    <a:cubicBezTo>
                      <a:pt x="741" y="157"/>
                      <a:pt x="747" y="154"/>
                      <a:pt x="753" y="154"/>
                    </a:cubicBezTo>
                    <a:cubicBezTo>
                      <a:pt x="758" y="153"/>
                      <a:pt x="764" y="154"/>
                      <a:pt x="769" y="157"/>
                    </a:cubicBezTo>
                    <a:cubicBezTo>
                      <a:pt x="769" y="151"/>
                      <a:pt x="769" y="145"/>
                      <a:pt x="769" y="139"/>
                    </a:cubicBezTo>
                    <a:close/>
                    <a:moveTo>
                      <a:pt x="576" y="158"/>
                    </a:moveTo>
                    <a:cubicBezTo>
                      <a:pt x="576" y="152"/>
                      <a:pt x="576" y="146"/>
                      <a:pt x="576" y="141"/>
                    </a:cubicBezTo>
                    <a:cubicBezTo>
                      <a:pt x="576" y="138"/>
                      <a:pt x="576" y="138"/>
                      <a:pt x="573" y="138"/>
                    </a:cubicBezTo>
                    <a:cubicBezTo>
                      <a:pt x="569" y="138"/>
                      <a:pt x="565" y="138"/>
                      <a:pt x="560" y="138"/>
                    </a:cubicBezTo>
                    <a:cubicBezTo>
                      <a:pt x="557" y="138"/>
                      <a:pt x="557" y="138"/>
                      <a:pt x="557" y="141"/>
                    </a:cubicBezTo>
                    <a:cubicBezTo>
                      <a:pt x="557" y="141"/>
                      <a:pt x="557" y="141"/>
                      <a:pt x="557" y="142"/>
                    </a:cubicBezTo>
                    <a:cubicBezTo>
                      <a:pt x="557" y="179"/>
                      <a:pt x="557" y="215"/>
                      <a:pt x="557" y="252"/>
                    </a:cubicBezTo>
                    <a:cubicBezTo>
                      <a:pt x="557" y="253"/>
                      <a:pt x="557" y="254"/>
                      <a:pt x="557" y="254"/>
                    </a:cubicBezTo>
                    <a:cubicBezTo>
                      <a:pt x="557" y="255"/>
                      <a:pt x="558" y="256"/>
                      <a:pt x="559" y="256"/>
                    </a:cubicBezTo>
                    <a:cubicBezTo>
                      <a:pt x="564" y="256"/>
                      <a:pt x="569" y="256"/>
                      <a:pt x="575" y="256"/>
                    </a:cubicBezTo>
                    <a:cubicBezTo>
                      <a:pt x="576" y="256"/>
                      <a:pt x="576" y="255"/>
                      <a:pt x="576" y="254"/>
                    </a:cubicBezTo>
                    <a:cubicBezTo>
                      <a:pt x="576" y="254"/>
                      <a:pt x="576" y="253"/>
                      <a:pt x="576" y="252"/>
                    </a:cubicBezTo>
                    <a:cubicBezTo>
                      <a:pt x="576" y="234"/>
                      <a:pt x="576" y="216"/>
                      <a:pt x="576" y="197"/>
                    </a:cubicBezTo>
                    <a:cubicBezTo>
                      <a:pt x="576" y="184"/>
                      <a:pt x="576" y="171"/>
                      <a:pt x="576" y="158"/>
                    </a:cubicBezTo>
                    <a:close/>
                    <a:moveTo>
                      <a:pt x="2013" y="256"/>
                    </a:moveTo>
                    <a:cubicBezTo>
                      <a:pt x="2017" y="256"/>
                      <a:pt x="2017" y="256"/>
                      <a:pt x="2017" y="252"/>
                    </a:cubicBezTo>
                    <a:cubicBezTo>
                      <a:pt x="2017" y="215"/>
                      <a:pt x="2017" y="179"/>
                      <a:pt x="2017" y="142"/>
                    </a:cubicBezTo>
                    <a:cubicBezTo>
                      <a:pt x="2017" y="141"/>
                      <a:pt x="2017" y="141"/>
                      <a:pt x="2017" y="140"/>
                    </a:cubicBezTo>
                    <a:cubicBezTo>
                      <a:pt x="2017" y="139"/>
                      <a:pt x="2016" y="138"/>
                      <a:pt x="2015" y="138"/>
                    </a:cubicBezTo>
                    <a:cubicBezTo>
                      <a:pt x="2010" y="138"/>
                      <a:pt x="2006" y="138"/>
                      <a:pt x="2002" y="138"/>
                    </a:cubicBezTo>
                    <a:cubicBezTo>
                      <a:pt x="1997" y="138"/>
                      <a:pt x="1998" y="137"/>
                      <a:pt x="1998" y="142"/>
                    </a:cubicBezTo>
                    <a:cubicBezTo>
                      <a:pt x="1998" y="179"/>
                      <a:pt x="1998" y="215"/>
                      <a:pt x="1998" y="252"/>
                    </a:cubicBezTo>
                    <a:cubicBezTo>
                      <a:pt x="1998" y="253"/>
                      <a:pt x="1998" y="254"/>
                      <a:pt x="1998" y="256"/>
                    </a:cubicBezTo>
                    <a:cubicBezTo>
                      <a:pt x="2003" y="256"/>
                      <a:pt x="2008" y="256"/>
                      <a:pt x="2013" y="256"/>
                    </a:cubicBezTo>
                    <a:close/>
                    <a:moveTo>
                      <a:pt x="1995" y="100"/>
                    </a:moveTo>
                    <a:cubicBezTo>
                      <a:pt x="1995" y="107"/>
                      <a:pt x="2000" y="112"/>
                      <a:pt x="2008" y="112"/>
                    </a:cubicBezTo>
                    <a:cubicBezTo>
                      <a:pt x="2015" y="112"/>
                      <a:pt x="2020" y="107"/>
                      <a:pt x="2020" y="100"/>
                    </a:cubicBezTo>
                    <a:cubicBezTo>
                      <a:pt x="2020" y="93"/>
                      <a:pt x="2015" y="87"/>
                      <a:pt x="2008" y="87"/>
                    </a:cubicBezTo>
                    <a:cubicBezTo>
                      <a:pt x="2001" y="87"/>
                      <a:pt x="1995" y="93"/>
                      <a:pt x="1995" y="100"/>
                    </a:cubicBezTo>
                    <a:close/>
                    <a:moveTo>
                      <a:pt x="555" y="100"/>
                    </a:moveTo>
                    <a:cubicBezTo>
                      <a:pt x="555" y="107"/>
                      <a:pt x="560" y="112"/>
                      <a:pt x="567" y="112"/>
                    </a:cubicBezTo>
                    <a:cubicBezTo>
                      <a:pt x="574" y="112"/>
                      <a:pt x="580" y="107"/>
                      <a:pt x="580" y="100"/>
                    </a:cubicBezTo>
                    <a:cubicBezTo>
                      <a:pt x="580" y="93"/>
                      <a:pt x="574" y="87"/>
                      <a:pt x="567" y="87"/>
                    </a:cubicBezTo>
                    <a:cubicBezTo>
                      <a:pt x="560" y="87"/>
                      <a:pt x="555" y="93"/>
                      <a:pt x="555" y="100"/>
                    </a:cubicBezTo>
                    <a:close/>
                    <a:moveTo>
                      <a:pt x="12" y="250"/>
                    </a:moveTo>
                    <a:cubicBezTo>
                      <a:pt x="12" y="250"/>
                      <a:pt x="12" y="250"/>
                      <a:pt x="12" y="250"/>
                    </a:cubicBezTo>
                    <a:cubicBezTo>
                      <a:pt x="16" y="249"/>
                      <a:pt x="19" y="248"/>
                      <a:pt x="22" y="246"/>
                    </a:cubicBezTo>
                    <a:cubicBezTo>
                      <a:pt x="22" y="246"/>
                      <a:pt x="21" y="246"/>
                      <a:pt x="21" y="245"/>
                    </a:cubicBezTo>
                    <a:cubicBezTo>
                      <a:pt x="18" y="246"/>
                      <a:pt x="15" y="248"/>
                      <a:pt x="12" y="250"/>
                    </a:cubicBezTo>
                    <a:cubicBezTo>
                      <a:pt x="12" y="250"/>
                      <a:pt x="12" y="250"/>
                      <a:pt x="12" y="250"/>
                    </a:cubicBezTo>
                    <a:close/>
                    <a:moveTo>
                      <a:pt x="22" y="240"/>
                    </a:moveTo>
                    <a:cubicBezTo>
                      <a:pt x="21" y="241"/>
                      <a:pt x="21" y="241"/>
                      <a:pt x="20" y="242"/>
                    </a:cubicBezTo>
                    <a:cubicBezTo>
                      <a:pt x="20" y="242"/>
                      <a:pt x="20" y="242"/>
                      <a:pt x="21" y="242"/>
                    </a:cubicBezTo>
                    <a:cubicBezTo>
                      <a:pt x="22" y="242"/>
                      <a:pt x="22" y="242"/>
                      <a:pt x="23" y="241"/>
                    </a:cubicBezTo>
                    <a:cubicBezTo>
                      <a:pt x="22" y="241"/>
                      <a:pt x="22" y="241"/>
                      <a:pt x="22" y="240"/>
                    </a:cubicBezTo>
                    <a:close/>
                    <a:moveTo>
                      <a:pt x="6" y="253"/>
                    </a:moveTo>
                    <a:cubicBezTo>
                      <a:pt x="6" y="253"/>
                      <a:pt x="6" y="253"/>
                      <a:pt x="6" y="253"/>
                    </a:cubicBezTo>
                    <a:cubicBezTo>
                      <a:pt x="6" y="253"/>
                      <a:pt x="6" y="253"/>
                      <a:pt x="6" y="253"/>
                    </a:cubicBezTo>
                    <a:cubicBezTo>
                      <a:pt x="6" y="252"/>
                      <a:pt x="6" y="252"/>
                      <a:pt x="6" y="252"/>
                    </a:cubicBezTo>
                    <a:cubicBezTo>
                      <a:pt x="6" y="252"/>
                      <a:pt x="5" y="252"/>
                      <a:pt x="5" y="252"/>
                    </a:cubicBezTo>
                    <a:cubicBezTo>
                      <a:pt x="4" y="253"/>
                      <a:pt x="3" y="254"/>
                      <a:pt x="2" y="255"/>
                    </a:cubicBezTo>
                    <a:cubicBezTo>
                      <a:pt x="3" y="255"/>
                      <a:pt x="4" y="255"/>
                      <a:pt x="5" y="254"/>
                    </a:cubicBezTo>
                    <a:cubicBezTo>
                      <a:pt x="5" y="253"/>
                      <a:pt x="6" y="253"/>
                      <a:pt x="6" y="253"/>
                    </a:cubicBezTo>
                    <a:close/>
                    <a:moveTo>
                      <a:pt x="17" y="243"/>
                    </a:moveTo>
                    <a:cubicBezTo>
                      <a:pt x="16" y="244"/>
                      <a:pt x="15" y="245"/>
                      <a:pt x="14" y="246"/>
                    </a:cubicBezTo>
                    <a:cubicBezTo>
                      <a:pt x="14" y="246"/>
                      <a:pt x="14" y="246"/>
                      <a:pt x="14" y="246"/>
                    </a:cubicBezTo>
                    <a:cubicBezTo>
                      <a:pt x="14" y="246"/>
                      <a:pt x="14" y="246"/>
                      <a:pt x="14" y="246"/>
                    </a:cubicBezTo>
                    <a:cubicBezTo>
                      <a:pt x="15" y="246"/>
                      <a:pt x="17" y="245"/>
                      <a:pt x="18" y="244"/>
                    </a:cubicBezTo>
                    <a:cubicBezTo>
                      <a:pt x="18" y="244"/>
                      <a:pt x="17" y="244"/>
                      <a:pt x="17" y="243"/>
                    </a:cubicBezTo>
                    <a:close/>
                    <a:moveTo>
                      <a:pt x="20" y="243"/>
                    </a:moveTo>
                    <a:cubicBezTo>
                      <a:pt x="20" y="243"/>
                      <a:pt x="21" y="242"/>
                      <a:pt x="21" y="242"/>
                    </a:cubicBezTo>
                    <a:cubicBezTo>
                      <a:pt x="21" y="242"/>
                      <a:pt x="21" y="242"/>
                      <a:pt x="21" y="242"/>
                    </a:cubicBezTo>
                    <a:cubicBezTo>
                      <a:pt x="21" y="242"/>
                      <a:pt x="20" y="242"/>
                      <a:pt x="20" y="242"/>
                    </a:cubicBezTo>
                    <a:cubicBezTo>
                      <a:pt x="19" y="242"/>
                      <a:pt x="18" y="243"/>
                      <a:pt x="17" y="243"/>
                    </a:cubicBezTo>
                    <a:cubicBezTo>
                      <a:pt x="17" y="244"/>
                      <a:pt x="18" y="244"/>
                      <a:pt x="18" y="244"/>
                    </a:cubicBezTo>
                    <a:cubicBezTo>
                      <a:pt x="19" y="244"/>
                      <a:pt x="19" y="243"/>
                      <a:pt x="20" y="243"/>
                    </a:cubicBezTo>
                    <a:close/>
                    <a:moveTo>
                      <a:pt x="10" y="249"/>
                    </a:moveTo>
                    <a:cubicBezTo>
                      <a:pt x="10" y="249"/>
                      <a:pt x="10" y="249"/>
                      <a:pt x="10" y="248"/>
                    </a:cubicBezTo>
                    <a:cubicBezTo>
                      <a:pt x="9" y="249"/>
                      <a:pt x="8" y="249"/>
                      <a:pt x="8" y="250"/>
                    </a:cubicBezTo>
                    <a:cubicBezTo>
                      <a:pt x="9" y="250"/>
                      <a:pt x="9" y="250"/>
                      <a:pt x="10" y="249"/>
                    </a:cubicBezTo>
                    <a:cubicBezTo>
                      <a:pt x="10" y="249"/>
                      <a:pt x="10" y="249"/>
                      <a:pt x="10" y="249"/>
                    </a:cubicBezTo>
                    <a:close/>
                    <a:moveTo>
                      <a:pt x="7" y="250"/>
                    </a:moveTo>
                    <a:cubicBezTo>
                      <a:pt x="7" y="251"/>
                      <a:pt x="6" y="251"/>
                      <a:pt x="6" y="252"/>
                    </a:cubicBezTo>
                    <a:cubicBezTo>
                      <a:pt x="6" y="252"/>
                      <a:pt x="6" y="252"/>
                      <a:pt x="6" y="252"/>
                    </a:cubicBezTo>
                    <a:cubicBezTo>
                      <a:pt x="6" y="252"/>
                      <a:pt x="6" y="252"/>
                      <a:pt x="6" y="252"/>
                    </a:cubicBezTo>
                    <a:cubicBezTo>
                      <a:pt x="7" y="252"/>
                      <a:pt x="7" y="252"/>
                      <a:pt x="7" y="252"/>
                    </a:cubicBezTo>
                    <a:cubicBezTo>
                      <a:pt x="7" y="252"/>
                      <a:pt x="7" y="251"/>
                      <a:pt x="7" y="251"/>
                    </a:cubicBezTo>
                    <a:cubicBezTo>
                      <a:pt x="8" y="251"/>
                      <a:pt x="8" y="250"/>
                      <a:pt x="7" y="250"/>
                    </a:cubicBezTo>
                    <a:close/>
                    <a:moveTo>
                      <a:pt x="14" y="246"/>
                    </a:moveTo>
                    <a:cubicBezTo>
                      <a:pt x="14" y="246"/>
                      <a:pt x="14" y="246"/>
                      <a:pt x="13" y="246"/>
                    </a:cubicBezTo>
                    <a:cubicBezTo>
                      <a:pt x="13" y="246"/>
                      <a:pt x="12" y="246"/>
                      <a:pt x="12" y="247"/>
                    </a:cubicBezTo>
                    <a:cubicBezTo>
                      <a:pt x="12" y="247"/>
                      <a:pt x="12" y="247"/>
                      <a:pt x="12" y="247"/>
                    </a:cubicBezTo>
                    <a:cubicBezTo>
                      <a:pt x="12" y="247"/>
                      <a:pt x="12" y="247"/>
                      <a:pt x="12" y="248"/>
                    </a:cubicBezTo>
                    <a:cubicBezTo>
                      <a:pt x="13" y="247"/>
                      <a:pt x="13" y="247"/>
                      <a:pt x="13" y="247"/>
                    </a:cubicBezTo>
                    <a:cubicBezTo>
                      <a:pt x="14" y="247"/>
                      <a:pt x="14" y="247"/>
                      <a:pt x="14" y="246"/>
                    </a:cubicBezTo>
                    <a:close/>
                    <a:moveTo>
                      <a:pt x="12" y="247"/>
                    </a:moveTo>
                    <a:cubicBezTo>
                      <a:pt x="11" y="247"/>
                      <a:pt x="11" y="248"/>
                      <a:pt x="10" y="248"/>
                    </a:cubicBezTo>
                    <a:cubicBezTo>
                      <a:pt x="10" y="248"/>
                      <a:pt x="10" y="248"/>
                      <a:pt x="10" y="248"/>
                    </a:cubicBezTo>
                    <a:cubicBezTo>
                      <a:pt x="10" y="249"/>
                      <a:pt x="10" y="249"/>
                      <a:pt x="10" y="249"/>
                    </a:cubicBezTo>
                    <a:cubicBezTo>
                      <a:pt x="11" y="249"/>
                      <a:pt x="11" y="248"/>
                      <a:pt x="12" y="248"/>
                    </a:cubicBezTo>
                    <a:cubicBezTo>
                      <a:pt x="12" y="248"/>
                      <a:pt x="12" y="247"/>
                      <a:pt x="12" y="247"/>
                    </a:cubicBezTo>
                    <a:close/>
                    <a:moveTo>
                      <a:pt x="10" y="251"/>
                    </a:moveTo>
                    <a:cubicBezTo>
                      <a:pt x="10" y="251"/>
                      <a:pt x="11" y="251"/>
                      <a:pt x="11" y="251"/>
                    </a:cubicBezTo>
                    <a:cubicBezTo>
                      <a:pt x="12" y="251"/>
                      <a:pt x="12" y="251"/>
                      <a:pt x="12" y="250"/>
                    </a:cubicBezTo>
                    <a:cubicBezTo>
                      <a:pt x="12" y="250"/>
                      <a:pt x="12" y="250"/>
                      <a:pt x="12" y="250"/>
                    </a:cubicBezTo>
                    <a:cubicBezTo>
                      <a:pt x="11" y="250"/>
                      <a:pt x="11" y="250"/>
                      <a:pt x="10" y="251"/>
                    </a:cubicBezTo>
                    <a:close/>
                    <a:moveTo>
                      <a:pt x="9" y="251"/>
                    </a:moveTo>
                    <a:cubicBezTo>
                      <a:pt x="9" y="251"/>
                      <a:pt x="9" y="251"/>
                      <a:pt x="9" y="251"/>
                    </a:cubicBezTo>
                    <a:cubicBezTo>
                      <a:pt x="9" y="252"/>
                      <a:pt x="9" y="252"/>
                      <a:pt x="9" y="252"/>
                    </a:cubicBezTo>
                    <a:cubicBezTo>
                      <a:pt x="10" y="252"/>
                      <a:pt x="11" y="251"/>
                      <a:pt x="11" y="251"/>
                    </a:cubicBezTo>
                    <a:cubicBezTo>
                      <a:pt x="11" y="251"/>
                      <a:pt x="10" y="251"/>
                      <a:pt x="10" y="251"/>
                    </a:cubicBezTo>
                    <a:cubicBezTo>
                      <a:pt x="10" y="251"/>
                      <a:pt x="9" y="251"/>
                      <a:pt x="9" y="251"/>
                    </a:cubicBezTo>
                    <a:close/>
                    <a:moveTo>
                      <a:pt x="7" y="252"/>
                    </a:moveTo>
                    <a:cubicBezTo>
                      <a:pt x="7" y="252"/>
                      <a:pt x="7" y="253"/>
                      <a:pt x="7" y="253"/>
                    </a:cubicBezTo>
                    <a:cubicBezTo>
                      <a:pt x="8" y="253"/>
                      <a:pt x="8" y="252"/>
                      <a:pt x="9" y="252"/>
                    </a:cubicBezTo>
                    <a:cubicBezTo>
                      <a:pt x="9" y="252"/>
                      <a:pt x="9" y="252"/>
                      <a:pt x="9" y="252"/>
                    </a:cubicBezTo>
                    <a:cubicBezTo>
                      <a:pt x="9" y="252"/>
                      <a:pt x="9" y="252"/>
                      <a:pt x="9" y="251"/>
                    </a:cubicBezTo>
                    <a:cubicBezTo>
                      <a:pt x="8" y="252"/>
                      <a:pt x="8" y="252"/>
                      <a:pt x="7" y="252"/>
                    </a:cubicBezTo>
                    <a:cubicBezTo>
                      <a:pt x="7" y="252"/>
                      <a:pt x="7" y="252"/>
                      <a:pt x="7" y="252"/>
                    </a:cubicBezTo>
                    <a:close/>
                    <a:moveTo>
                      <a:pt x="7" y="252"/>
                    </a:moveTo>
                    <a:cubicBezTo>
                      <a:pt x="7" y="252"/>
                      <a:pt x="7" y="252"/>
                      <a:pt x="7" y="252"/>
                    </a:cubicBezTo>
                    <a:cubicBezTo>
                      <a:pt x="7" y="252"/>
                      <a:pt x="6" y="252"/>
                      <a:pt x="6" y="253"/>
                    </a:cubicBezTo>
                    <a:cubicBezTo>
                      <a:pt x="6" y="253"/>
                      <a:pt x="6" y="253"/>
                      <a:pt x="6" y="253"/>
                    </a:cubicBezTo>
                    <a:cubicBezTo>
                      <a:pt x="7" y="253"/>
                      <a:pt x="7" y="253"/>
                      <a:pt x="7" y="253"/>
                    </a:cubicBezTo>
                    <a:cubicBezTo>
                      <a:pt x="7" y="252"/>
                      <a:pt x="7" y="252"/>
                      <a:pt x="7" y="252"/>
                    </a:cubicBezTo>
                    <a:cubicBezTo>
                      <a:pt x="7" y="252"/>
                      <a:pt x="7" y="252"/>
                      <a:pt x="7" y="252"/>
                    </a:cubicBezTo>
                    <a:close/>
                    <a:moveTo>
                      <a:pt x="6" y="253"/>
                    </a:moveTo>
                    <a:cubicBezTo>
                      <a:pt x="6" y="253"/>
                      <a:pt x="5" y="253"/>
                      <a:pt x="5" y="254"/>
                    </a:cubicBezTo>
                    <a:cubicBezTo>
                      <a:pt x="5" y="254"/>
                      <a:pt x="6" y="254"/>
                      <a:pt x="6" y="253"/>
                    </a:cubicBezTo>
                    <a:close/>
                    <a:moveTo>
                      <a:pt x="14" y="246"/>
                    </a:moveTo>
                    <a:cubicBezTo>
                      <a:pt x="14" y="246"/>
                      <a:pt x="14" y="246"/>
                      <a:pt x="14" y="246"/>
                    </a:cubicBezTo>
                    <a:cubicBezTo>
                      <a:pt x="14" y="246"/>
                      <a:pt x="14" y="246"/>
                      <a:pt x="13" y="246"/>
                    </a:cubicBezTo>
                    <a:cubicBezTo>
                      <a:pt x="13" y="246"/>
                      <a:pt x="13" y="246"/>
                      <a:pt x="13" y="247"/>
                    </a:cubicBezTo>
                    <a:cubicBezTo>
                      <a:pt x="14" y="247"/>
                      <a:pt x="14" y="246"/>
                      <a:pt x="14" y="246"/>
                    </a:cubicBezTo>
                    <a:close/>
                    <a:moveTo>
                      <a:pt x="12" y="248"/>
                    </a:moveTo>
                    <a:cubicBezTo>
                      <a:pt x="12" y="247"/>
                      <a:pt x="12" y="247"/>
                      <a:pt x="12" y="247"/>
                    </a:cubicBezTo>
                    <a:cubicBezTo>
                      <a:pt x="12" y="247"/>
                      <a:pt x="12" y="247"/>
                      <a:pt x="12" y="247"/>
                    </a:cubicBezTo>
                    <a:cubicBezTo>
                      <a:pt x="12" y="247"/>
                      <a:pt x="12" y="248"/>
                      <a:pt x="12" y="248"/>
                    </a:cubicBezTo>
                    <a:cubicBezTo>
                      <a:pt x="12" y="248"/>
                      <a:pt x="12" y="248"/>
                      <a:pt x="12" y="248"/>
                    </a:cubicBezTo>
                    <a:close/>
                    <a:moveTo>
                      <a:pt x="10" y="248"/>
                    </a:moveTo>
                    <a:cubicBezTo>
                      <a:pt x="10" y="249"/>
                      <a:pt x="10" y="249"/>
                      <a:pt x="10" y="249"/>
                    </a:cubicBezTo>
                    <a:cubicBezTo>
                      <a:pt x="10" y="249"/>
                      <a:pt x="10" y="249"/>
                      <a:pt x="10" y="249"/>
                    </a:cubicBezTo>
                    <a:cubicBezTo>
                      <a:pt x="10" y="249"/>
                      <a:pt x="10" y="248"/>
                      <a:pt x="10" y="248"/>
                    </a:cubicBezTo>
                    <a:cubicBezTo>
                      <a:pt x="10" y="248"/>
                      <a:pt x="10" y="248"/>
                      <a:pt x="10" y="248"/>
                    </a:cubicBezTo>
                    <a:close/>
                    <a:moveTo>
                      <a:pt x="8" y="250"/>
                    </a:moveTo>
                    <a:cubicBezTo>
                      <a:pt x="8" y="250"/>
                      <a:pt x="8" y="250"/>
                      <a:pt x="7" y="250"/>
                    </a:cubicBezTo>
                    <a:cubicBezTo>
                      <a:pt x="7" y="250"/>
                      <a:pt x="7" y="251"/>
                      <a:pt x="7" y="251"/>
                    </a:cubicBezTo>
                    <a:cubicBezTo>
                      <a:pt x="8" y="251"/>
                      <a:pt x="8" y="251"/>
                      <a:pt x="8" y="250"/>
                    </a:cubicBezTo>
                    <a:close/>
                    <a:moveTo>
                      <a:pt x="9" y="252"/>
                    </a:moveTo>
                    <a:cubicBezTo>
                      <a:pt x="9" y="252"/>
                      <a:pt x="9" y="251"/>
                      <a:pt x="9" y="251"/>
                    </a:cubicBezTo>
                    <a:cubicBezTo>
                      <a:pt x="9" y="251"/>
                      <a:pt x="9" y="251"/>
                      <a:pt x="9" y="251"/>
                    </a:cubicBezTo>
                    <a:cubicBezTo>
                      <a:pt x="9" y="252"/>
                      <a:pt x="9" y="252"/>
                      <a:pt x="9" y="252"/>
                    </a:cubicBezTo>
                    <a:cubicBezTo>
                      <a:pt x="9" y="252"/>
                      <a:pt x="9" y="252"/>
                      <a:pt x="9" y="252"/>
                    </a:cubicBezTo>
                    <a:close/>
                    <a:moveTo>
                      <a:pt x="6" y="252"/>
                    </a:moveTo>
                    <a:cubicBezTo>
                      <a:pt x="6" y="252"/>
                      <a:pt x="6" y="252"/>
                      <a:pt x="6" y="252"/>
                    </a:cubicBezTo>
                    <a:cubicBezTo>
                      <a:pt x="6" y="252"/>
                      <a:pt x="6" y="252"/>
                      <a:pt x="6" y="252"/>
                    </a:cubicBezTo>
                    <a:cubicBezTo>
                      <a:pt x="5" y="252"/>
                      <a:pt x="5" y="252"/>
                      <a:pt x="5" y="252"/>
                    </a:cubicBezTo>
                    <a:cubicBezTo>
                      <a:pt x="5" y="252"/>
                      <a:pt x="5" y="252"/>
                      <a:pt x="5" y="253"/>
                    </a:cubicBezTo>
                    <a:cubicBezTo>
                      <a:pt x="6" y="253"/>
                      <a:pt x="6" y="252"/>
                      <a:pt x="6" y="252"/>
                    </a:cubicBezTo>
                    <a:close/>
                    <a:moveTo>
                      <a:pt x="21" y="242"/>
                    </a:moveTo>
                    <a:cubicBezTo>
                      <a:pt x="21" y="242"/>
                      <a:pt x="20" y="243"/>
                      <a:pt x="20" y="243"/>
                    </a:cubicBezTo>
                    <a:cubicBezTo>
                      <a:pt x="20" y="243"/>
                      <a:pt x="21" y="243"/>
                      <a:pt x="21" y="242"/>
                    </a:cubicBezTo>
                    <a:close/>
                    <a:moveTo>
                      <a:pt x="6" y="253"/>
                    </a:moveTo>
                    <a:cubicBezTo>
                      <a:pt x="6" y="252"/>
                      <a:pt x="7" y="252"/>
                      <a:pt x="7" y="252"/>
                    </a:cubicBezTo>
                    <a:cubicBezTo>
                      <a:pt x="6" y="252"/>
                      <a:pt x="6" y="252"/>
                      <a:pt x="6" y="252"/>
                    </a:cubicBezTo>
                    <a:cubicBezTo>
                      <a:pt x="6" y="252"/>
                      <a:pt x="5" y="252"/>
                      <a:pt x="5" y="253"/>
                    </a:cubicBezTo>
                    <a:cubicBezTo>
                      <a:pt x="6" y="253"/>
                      <a:pt x="6" y="253"/>
                      <a:pt x="6" y="253"/>
                    </a:cubicBezTo>
                    <a:close/>
                    <a:moveTo>
                      <a:pt x="1433" y="197"/>
                    </a:moveTo>
                    <a:cubicBezTo>
                      <a:pt x="1425" y="224"/>
                      <a:pt x="1408" y="241"/>
                      <a:pt x="1383" y="250"/>
                    </a:cubicBezTo>
                    <a:cubicBezTo>
                      <a:pt x="1372" y="254"/>
                      <a:pt x="1361" y="256"/>
                      <a:pt x="1350" y="256"/>
                    </a:cubicBezTo>
                    <a:cubicBezTo>
                      <a:pt x="1335" y="256"/>
                      <a:pt x="1321" y="256"/>
                      <a:pt x="1307" y="256"/>
                    </a:cubicBezTo>
                    <a:cubicBezTo>
                      <a:pt x="1306" y="256"/>
                      <a:pt x="1306" y="256"/>
                      <a:pt x="1305" y="256"/>
                    </a:cubicBezTo>
                    <a:cubicBezTo>
                      <a:pt x="1304" y="256"/>
                      <a:pt x="1304" y="255"/>
                      <a:pt x="1304" y="254"/>
                    </a:cubicBezTo>
                    <a:cubicBezTo>
                      <a:pt x="1304" y="253"/>
                      <a:pt x="1304" y="253"/>
                      <a:pt x="1304" y="252"/>
                    </a:cubicBezTo>
                    <a:cubicBezTo>
                      <a:pt x="1304" y="226"/>
                      <a:pt x="1304" y="199"/>
                      <a:pt x="1304" y="173"/>
                    </a:cubicBezTo>
                    <a:cubicBezTo>
                      <a:pt x="1304" y="147"/>
                      <a:pt x="1304" y="122"/>
                      <a:pt x="1304" y="96"/>
                    </a:cubicBezTo>
                    <a:cubicBezTo>
                      <a:pt x="1304" y="95"/>
                      <a:pt x="1304" y="94"/>
                      <a:pt x="1304" y="94"/>
                    </a:cubicBezTo>
                    <a:cubicBezTo>
                      <a:pt x="1304" y="91"/>
                      <a:pt x="1304" y="91"/>
                      <a:pt x="1307" y="91"/>
                    </a:cubicBezTo>
                    <a:cubicBezTo>
                      <a:pt x="1322" y="91"/>
                      <a:pt x="1338" y="91"/>
                      <a:pt x="1353" y="91"/>
                    </a:cubicBezTo>
                    <a:cubicBezTo>
                      <a:pt x="1366" y="92"/>
                      <a:pt x="1378" y="93"/>
                      <a:pt x="1390" y="97"/>
                    </a:cubicBezTo>
                    <a:cubicBezTo>
                      <a:pt x="1412" y="105"/>
                      <a:pt x="1426" y="120"/>
                      <a:pt x="1432" y="142"/>
                    </a:cubicBezTo>
                    <a:cubicBezTo>
                      <a:pt x="1437" y="160"/>
                      <a:pt x="1438" y="179"/>
                      <a:pt x="1433" y="197"/>
                    </a:cubicBezTo>
                    <a:close/>
                    <a:moveTo>
                      <a:pt x="1412" y="147"/>
                    </a:moveTo>
                    <a:cubicBezTo>
                      <a:pt x="1408" y="131"/>
                      <a:pt x="1397" y="120"/>
                      <a:pt x="1381" y="114"/>
                    </a:cubicBezTo>
                    <a:cubicBezTo>
                      <a:pt x="1372" y="110"/>
                      <a:pt x="1363" y="109"/>
                      <a:pt x="1353" y="109"/>
                    </a:cubicBezTo>
                    <a:cubicBezTo>
                      <a:pt x="1344" y="109"/>
                      <a:pt x="1335" y="109"/>
                      <a:pt x="1326" y="109"/>
                    </a:cubicBezTo>
                    <a:cubicBezTo>
                      <a:pt x="1325" y="109"/>
                      <a:pt x="1325" y="109"/>
                      <a:pt x="1325" y="109"/>
                    </a:cubicBezTo>
                    <a:cubicBezTo>
                      <a:pt x="1324" y="109"/>
                      <a:pt x="1323" y="109"/>
                      <a:pt x="1323" y="110"/>
                    </a:cubicBezTo>
                    <a:cubicBezTo>
                      <a:pt x="1323" y="111"/>
                      <a:pt x="1323" y="112"/>
                      <a:pt x="1323" y="112"/>
                    </a:cubicBezTo>
                    <a:cubicBezTo>
                      <a:pt x="1323" y="133"/>
                      <a:pt x="1323" y="153"/>
                      <a:pt x="1323" y="173"/>
                    </a:cubicBezTo>
                    <a:cubicBezTo>
                      <a:pt x="1323" y="194"/>
                      <a:pt x="1323" y="215"/>
                      <a:pt x="1323" y="235"/>
                    </a:cubicBezTo>
                    <a:cubicBezTo>
                      <a:pt x="1323" y="238"/>
                      <a:pt x="1323" y="238"/>
                      <a:pt x="1326" y="238"/>
                    </a:cubicBezTo>
                    <a:cubicBezTo>
                      <a:pt x="1333" y="238"/>
                      <a:pt x="1339" y="238"/>
                      <a:pt x="1346" y="238"/>
                    </a:cubicBezTo>
                    <a:cubicBezTo>
                      <a:pt x="1354" y="238"/>
                      <a:pt x="1363" y="238"/>
                      <a:pt x="1371" y="236"/>
                    </a:cubicBezTo>
                    <a:cubicBezTo>
                      <a:pt x="1391" y="230"/>
                      <a:pt x="1406" y="218"/>
                      <a:pt x="1412" y="198"/>
                    </a:cubicBezTo>
                    <a:cubicBezTo>
                      <a:pt x="1417" y="181"/>
                      <a:pt x="1417" y="164"/>
                      <a:pt x="1412" y="147"/>
                    </a:cubicBezTo>
                    <a:close/>
                    <a:moveTo>
                      <a:pt x="1772" y="256"/>
                    </a:moveTo>
                    <a:cubicBezTo>
                      <a:pt x="1769" y="256"/>
                      <a:pt x="1765" y="256"/>
                      <a:pt x="1762" y="256"/>
                    </a:cubicBezTo>
                    <a:cubicBezTo>
                      <a:pt x="1760" y="256"/>
                      <a:pt x="1757" y="256"/>
                      <a:pt x="1756" y="255"/>
                    </a:cubicBezTo>
                    <a:cubicBezTo>
                      <a:pt x="1755" y="254"/>
                      <a:pt x="1756" y="251"/>
                      <a:pt x="1756" y="249"/>
                    </a:cubicBezTo>
                    <a:cubicBezTo>
                      <a:pt x="1756" y="245"/>
                      <a:pt x="1756" y="242"/>
                      <a:pt x="1756" y="238"/>
                    </a:cubicBezTo>
                    <a:cubicBezTo>
                      <a:pt x="1754" y="238"/>
                      <a:pt x="1754" y="239"/>
                      <a:pt x="1754" y="240"/>
                    </a:cubicBezTo>
                    <a:cubicBezTo>
                      <a:pt x="1749" y="248"/>
                      <a:pt x="1742" y="254"/>
                      <a:pt x="1733" y="256"/>
                    </a:cubicBezTo>
                    <a:cubicBezTo>
                      <a:pt x="1723" y="260"/>
                      <a:pt x="1713" y="259"/>
                      <a:pt x="1703" y="256"/>
                    </a:cubicBezTo>
                    <a:cubicBezTo>
                      <a:pt x="1690" y="251"/>
                      <a:pt x="1682" y="240"/>
                      <a:pt x="1682" y="226"/>
                    </a:cubicBezTo>
                    <a:cubicBezTo>
                      <a:pt x="1682" y="222"/>
                      <a:pt x="1682" y="217"/>
                      <a:pt x="1683" y="213"/>
                    </a:cubicBezTo>
                    <a:cubicBezTo>
                      <a:pt x="1685" y="203"/>
                      <a:pt x="1692" y="196"/>
                      <a:pt x="1701" y="192"/>
                    </a:cubicBezTo>
                    <a:cubicBezTo>
                      <a:pt x="1707" y="189"/>
                      <a:pt x="1714" y="187"/>
                      <a:pt x="1721" y="186"/>
                    </a:cubicBezTo>
                    <a:cubicBezTo>
                      <a:pt x="1731" y="185"/>
                      <a:pt x="1742" y="183"/>
                      <a:pt x="1752" y="182"/>
                    </a:cubicBezTo>
                    <a:cubicBezTo>
                      <a:pt x="1756" y="181"/>
                      <a:pt x="1756" y="181"/>
                      <a:pt x="1755" y="178"/>
                    </a:cubicBezTo>
                    <a:cubicBezTo>
                      <a:pt x="1755" y="175"/>
                      <a:pt x="1755" y="172"/>
                      <a:pt x="1754" y="168"/>
                    </a:cubicBezTo>
                    <a:cubicBezTo>
                      <a:pt x="1751" y="157"/>
                      <a:pt x="1744" y="152"/>
                      <a:pt x="1732" y="152"/>
                    </a:cubicBezTo>
                    <a:cubicBezTo>
                      <a:pt x="1719" y="151"/>
                      <a:pt x="1707" y="155"/>
                      <a:pt x="1696" y="164"/>
                    </a:cubicBezTo>
                    <a:cubicBezTo>
                      <a:pt x="1695" y="164"/>
                      <a:pt x="1695" y="165"/>
                      <a:pt x="1693" y="165"/>
                    </a:cubicBezTo>
                    <a:cubicBezTo>
                      <a:pt x="1693" y="159"/>
                      <a:pt x="1693" y="154"/>
                      <a:pt x="1693" y="148"/>
                    </a:cubicBezTo>
                    <a:cubicBezTo>
                      <a:pt x="1693" y="147"/>
                      <a:pt x="1694" y="146"/>
                      <a:pt x="1695" y="145"/>
                    </a:cubicBezTo>
                    <a:cubicBezTo>
                      <a:pt x="1696" y="145"/>
                      <a:pt x="1697" y="144"/>
                      <a:pt x="1699" y="143"/>
                    </a:cubicBezTo>
                    <a:cubicBezTo>
                      <a:pt x="1711" y="138"/>
                      <a:pt x="1724" y="135"/>
                      <a:pt x="1738" y="136"/>
                    </a:cubicBezTo>
                    <a:cubicBezTo>
                      <a:pt x="1742" y="136"/>
                      <a:pt x="1746" y="137"/>
                      <a:pt x="1750" y="138"/>
                    </a:cubicBezTo>
                    <a:cubicBezTo>
                      <a:pt x="1763" y="142"/>
                      <a:pt x="1770" y="151"/>
                      <a:pt x="1773" y="163"/>
                    </a:cubicBezTo>
                    <a:cubicBezTo>
                      <a:pt x="1774" y="169"/>
                      <a:pt x="1774" y="175"/>
                      <a:pt x="1774" y="181"/>
                    </a:cubicBezTo>
                    <a:cubicBezTo>
                      <a:pt x="1775" y="205"/>
                      <a:pt x="1775" y="229"/>
                      <a:pt x="1775" y="253"/>
                    </a:cubicBezTo>
                    <a:cubicBezTo>
                      <a:pt x="1775" y="256"/>
                      <a:pt x="1775" y="256"/>
                      <a:pt x="1772" y="256"/>
                    </a:cubicBezTo>
                    <a:close/>
                    <a:moveTo>
                      <a:pt x="1756" y="204"/>
                    </a:moveTo>
                    <a:cubicBezTo>
                      <a:pt x="1756" y="202"/>
                      <a:pt x="1756" y="200"/>
                      <a:pt x="1756" y="199"/>
                    </a:cubicBezTo>
                    <a:cubicBezTo>
                      <a:pt x="1756" y="196"/>
                      <a:pt x="1756" y="196"/>
                      <a:pt x="1753" y="197"/>
                    </a:cubicBezTo>
                    <a:cubicBezTo>
                      <a:pt x="1753" y="197"/>
                      <a:pt x="1753" y="197"/>
                      <a:pt x="1753" y="197"/>
                    </a:cubicBezTo>
                    <a:cubicBezTo>
                      <a:pt x="1746" y="198"/>
                      <a:pt x="1739" y="199"/>
                      <a:pt x="1732" y="200"/>
                    </a:cubicBezTo>
                    <a:cubicBezTo>
                      <a:pt x="1726" y="201"/>
                      <a:pt x="1720" y="201"/>
                      <a:pt x="1714" y="203"/>
                    </a:cubicBezTo>
                    <a:cubicBezTo>
                      <a:pt x="1706" y="206"/>
                      <a:pt x="1702" y="211"/>
                      <a:pt x="1701" y="219"/>
                    </a:cubicBezTo>
                    <a:cubicBezTo>
                      <a:pt x="1700" y="231"/>
                      <a:pt x="1706" y="239"/>
                      <a:pt x="1717" y="242"/>
                    </a:cubicBezTo>
                    <a:cubicBezTo>
                      <a:pt x="1736" y="246"/>
                      <a:pt x="1749" y="234"/>
                      <a:pt x="1753" y="221"/>
                    </a:cubicBezTo>
                    <a:cubicBezTo>
                      <a:pt x="1755" y="216"/>
                      <a:pt x="1756" y="210"/>
                      <a:pt x="1756" y="204"/>
                    </a:cubicBezTo>
                    <a:close/>
                    <a:moveTo>
                      <a:pt x="1099" y="203"/>
                    </a:moveTo>
                    <a:cubicBezTo>
                      <a:pt x="1098" y="211"/>
                      <a:pt x="1097" y="219"/>
                      <a:pt x="1093" y="226"/>
                    </a:cubicBezTo>
                    <a:cubicBezTo>
                      <a:pt x="1084" y="245"/>
                      <a:pt x="1070" y="256"/>
                      <a:pt x="1049" y="258"/>
                    </a:cubicBezTo>
                    <a:cubicBezTo>
                      <a:pt x="1040" y="259"/>
                      <a:pt x="1031" y="259"/>
                      <a:pt x="1022" y="256"/>
                    </a:cubicBezTo>
                    <a:cubicBezTo>
                      <a:pt x="1005" y="251"/>
                      <a:pt x="994" y="240"/>
                      <a:pt x="988" y="224"/>
                    </a:cubicBezTo>
                    <a:cubicBezTo>
                      <a:pt x="981" y="205"/>
                      <a:pt x="982" y="186"/>
                      <a:pt x="990" y="167"/>
                    </a:cubicBezTo>
                    <a:cubicBezTo>
                      <a:pt x="997" y="150"/>
                      <a:pt x="1010" y="140"/>
                      <a:pt x="1028" y="137"/>
                    </a:cubicBezTo>
                    <a:cubicBezTo>
                      <a:pt x="1033" y="136"/>
                      <a:pt x="1038" y="135"/>
                      <a:pt x="1044" y="135"/>
                    </a:cubicBezTo>
                    <a:cubicBezTo>
                      <a:pt x="1051" y="135"/>
                      <a:pt x="1059" y="136"/>
                      <a:pt x="1067" y="140"/>
                    </a:cubicBezTo>
                    <a:cubicBezTo>
                      <a:pt x="1081" y="145"/>
                      <a:pt x="1090" y="156"/>
                      <a:pt x="1095" y="170"/>
                    </a:cubicBezTo>
                    <a:cubicBezTo>
                      <a:pt x="1099" y="180"/>
                      <a:pt x="1100" y="192"/>
                      <a:pt x="1099" y="203"/>
                    </a:cubicBezTo>
                    <a:close/>
                    <a:moveTo>
                      <a:pt x="1079" y="189"/>
                    </a:moveTo>
                    <a:cubicBezTo>
                      <a:pt x="1079" y="183"/>
                      <a:pt x="1078" y="178"/>
                      <a:pt x="1075" y="172"/>
                    </a:cubicBezTo>
                    <a:cubicBezTo>
                      <a:pt x="1071" y="162"/>
                      <a:pt x="1064" y="156"/>
                      <a:pt x="1053" y="153"/>
                    </a:cubicBezTo>
                    <a:cubicBezTo>
                      <a:pt x="1049" y="152"/>
                      <a:pt x="1044" y="151"/>
                      <a:pt x="1039" y="152"/>
                    </a:cubicBezTo>
                    <a:cubicBezTo>
                      <a:pt x="1023" y="152"/>
                      <a:pt x="1011" y="161"/>
                      <a:pt x="1006" y="177"/>
                    </a:cubicBezTo>
                    <a:cubicBezTo>
                      <a:pt x="1004" y="183"/>
                      <a:pt x="1003" y="190"/>
                      <a:pt x="1003" y="198"/>
                    </a:cubicBezTo>
                    <a:cubicBezTo>
                      <a:pt x="1003" y="201"/>
                      <a:pt x="1003" y="205"/>
                      <a:pt x="1004" y="208"/>
                    </a:cubicBezTo>
                    <a:cubicBezTo>
                      <a:pt x="1004" y="210"/>
                      <a:pt x="1004" y="212"/>
                      <a:pt x="1005" y="214"/>
                    </a:cubicBezTo>
                    <a:cubicBezTo>
                      <a:pt x="1009" y="227"/>
                      <a:pt x="1016" y="237"/>
                      <a:pt x="1030" y="241"/>
                    </a:cubicBezTo>
                    <a:cubicBezTo>
                      <a:pt x="1035" y="243"/>
                      <a:pt x="1042" y="243"/>
                      <a:pt x="1048" y="242"/>
                    </a:cubicBezTo>
                    <a:cubicBezTo>
                      <a:pt x="1060" y="241"/>
                      <a:pt x="1069" y="235"/>
                      <a:pt x="1075" y="223"/>
                    </a:cubicBezTo>
                    <a:cubicBezTo>
                      <a:pt x="1076" y="221"/>
                      <a:pt x="1077" y="219"/>
                      <a:pt x="1077" y="217"/>
                    </a:cubicBezTo>
                    <a:cubicBezTo>
                      <a:pt x="1080" y="208"/>
                      <a:pt x="1080" y="198"/>
                      <a:pt x="1079" y="189"/>
                    </a:cubicBezTo>
                    <a:close/>
                    <a:moveTo>
                      <a:pt x="886" y="195"/>
                    </a:moveTo>
                    <a:cubicBezTo>
                      <a:pt x="886" y="206"/>
                      <a:pt x="885" y="218"/>
                      <a:pt x="879" y="228"/>
                    </a:cubicBezTo>
                    <a:cubicBezTo>
                      <a:pt x="870" y="246"/>
                      <a:pt x="855" y="256"/>
                      <a:pt x="836" y="258"/>
                    </a:cubicBezTo>
                    <a:cubicBezTo>
                      <a:pt x="826" y="259"/>
                      <a:pt x="817" y="259"/>
                      <a:pt x="808" y="256"/>
                    </a:cubicBezTo>
                    <a:cubicBezTo>
                      <a:pt x="791" y="251"/>
                      <a:pt x="780" y="239"/>
                      <a:pt x="774" y="223"/>
                    </a:cubicBezTo>
                    <a:cubicBezTo>
                      <a:pt x="768" y="205"/>
                      <a:pt x="769" y="186"/>
                      <a:pt x="776" y="169"/>
                    </a:cubicBezTo>
                    <a:cubicBezTo>
                      <a:pt x="784" y="150"/>
                      <a:pt x="798" y="139"/>
                      <a:pt x="819" y="136"/>
                    </a:cubicBezTo>
                    <a:cubicBezTo>
                      <a:pt x="828" y="135"/>
                      <a:pt x="837" y="135"/>
                      <a:pt x="846" y="137"/>
                    </a:cubicBezTo>
                    <a:cubicBezTo>
                      <a:pt x="865" y="142"/>
                      <a:pt x="876" y="154"/>
                      <a:pt x="882" y="172"/>
                    </a:cubicBezTo>
                    <a:cubicBezTo>
                      <a:pt x="885" y="179"/>
                      <a:pt x="886" y="186"/>
                      <a:pt x="886" y="195"/>
                    </a:cubicBezTo>
                    <a:close/>
                    <a:moveTo>
                      <a:pt x="867" y="198"/>
                    </a:moveTo>
                    <a:cubicBezTo>
                      <a:pt x="867" y="190"/>
                      <a:pt x="866" y="183"/>
                      <a:pt x="864" y="176"/>
                    </a:cubicBezTo>
                    <a:cubicBezTo>
                      <a:pt x="860" y="164"/>
                      <a:pt x="852" y="156"/>
                      <a:pt x="840" y="153"/>
                    </a:cubicBezTo>
                    <a:cubicBezTo>
                      <a:pt x="836" y="152"/>
                      <a:pt x="831" y="151"/>
                      <a:pt x="827" y="152"/>
                    </a:cubicBezTo>
                    <a:cubicBezTo>
                      <a:pt x="811" y="152"/>
                      <a:pt x="799" y="161"/>
                      <a:pt x="793" y="176"/>
                    </a:cubicBezTo>
                    <a:cubicBezTo>
                      <a:pt x="788" y="189"/>
                      <a:pt x="788" y="203"/>
                      <a:pt x="793" y="217"/>
                    </a:cubicBezTo>
                    <a:cubicBezTo>
                      <a:pt x="796" y="229"/>
                      <a:pt x="804" y="237"/>
                      <a:pt x="816" y="241"/>
                    </a:cubicBezTo>
                    <a:cubicBezTo>
                      <a:pt x="822" y="242"/>
                      <a:pt x="827" y="243"/>
                      <a:pt x="833" y="242"/>
                    </a:cubicBezTo>
                    <a:cubicBezTo>
                      <a:pt x="847" y="241"/>
                      <a:pt x="857" y="234"/>
                      <a:pt x="862" y="221"/>
                    </a:cubicBezTo>
                    <a:cubicBezTo>
                      <a:pt x="866" y="214"/>
                      <a:pt x="867" y="205"/>
                      <a:pt x="867" y="19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7" name="Group 4"/>
              <p:cNvGrpSpPr>
                <a:grpSpLocks noChangeAspect="1"/>
              </p:cNvGrpSpPr>
              <p:nvPr/>
            </p:nvGrpSpPr>
            <p:grpSpPr bwMode="auto">
              <a:xfrm>
                <a:off x="8789732" y="5270620"/>
                <a:ext cx="2155939" cy="239855"/>
                <a:chOff x="-3439" y="2623"/>
                <a:chExt cx="3128" cy="348"/>
              </a:xfrm>
              <a:solidFill>
                <a:schemeClr val="accent5"/>
              </a:solidFill>
            </p:grpSpPr>
            <p:sp>
              <p:nvSpPr>
                <p:cNvPr id="9" name="Freeform 5"/>
                <p:cNvSpPr>
                  <a:spLocks/>
                </p:cNvSpPr>
                <p:nvPr/>
              </p:nvSpPr>
              <p:spPr bwMode="auto">
                <a:xfrm>
                  <a:off x="-3439" y="2642"/>
                  <a:ext cx="269" cy="264"/>
                </a:xfrm>
                <a:custGeom>
                  <a:avLst/>
                  <a:gdLst>
                    <a:gd name="T0" fmla="*/ 269 w 269"/>
                    <a:gd name="T1" fmla="*/ 264 h 264"/>
                    <a:gd name="T2" fmla="*/ 238 w 269"/>
                    <a:gd name="T3" fmla="*/ 264 h 264"/>
                    <a:gd name="T4" fmla="*/ 238 w 269"/>
                    <a:gd name="T5" fmla="*/ 50 h 264"/>
                    <a:gd name="T6" fmla="*/ 238 w 269"/>
                    <a:gd name="T7" fmla="*/ 50 h 264"/>
                    <a:gd name="T8" fmla="*/ 143 w 269"/>
                    <a:gd name="T9" fmla="*/ 264 h 264"/>
                    <a:gd name="T10" fmla="*/ 127 w 269"/>
                    <a:gd name="T11" fmla="*/ 264 h 264"/>
                    <a:gd name="T12" fmla="*/ 31 w 269"/>
                    <a:gd name="T13" fmla="*/ 49 h 264"/>
                    <a:gd name="T14" fmla="*/ 30 w 269"/>
                    <a:gd name="T15" fmla="*/ 49 h 264"/>
                    <a:gd name="T16" fmla="*/ 30 w 269"/>
                    <a:gd name="T17" fmla="*/ 264 h 264"/>
                    <a:gd name="T18" fmla="*/ 0 w 269"/>
                    <a:gd name="T19" fmla="*/ 264 h 264"/>
                    <a:gd name="T20" fmla="*/ 0 w 269"/>
                    <a:gd name="T21" fmla="*/ 0 h 264"/>
                    <a:gd name="T22" fmla="*/ 41 w 269"/>
                    <a:gd name="T23" fmla="*/ 0 h 264"/>
                    <a:gd name="T24" fmla="*/ 134 w 269"/>
                    <a:gd name="T25" fmla="*/ 212 h 264"/>
                    <a:gd name="T26" fmla="*/ 135 w 269"/>
                    <a:gd name="T27" fmla="*/ 212 h 264"/>
                    <a:gd name="T28" fmla="*/ 230 w 269"/>
                    <a:gd name="T29" fmla="*/ 0 h 264"/>
                    <a:gd name="T30" fmla="*/ 269 w 269"/>
                    <a:gd name="T31" fmla="*/ 0 h 264"/>
                    <a:gd name="T32" fmla="*/ 269 w 269"/>
                    <a:gd name="T3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9" h="264">
                      <a:moveTo>
                        <a:pt x="269" y="264"/>
                      </a:moveTo>
                      <a:lnTo>
                        <a:pt x="238" y="264"/>
                      </a:lnTo>
                      <a:lnTo>
                        <a:pt x="238" y="50"/>
                      </a:lnTo>
                      <a:lnTo>
                        <a:pt x="238" y="50"/>
                      </a:lnTo>
                      <a:lnTo>
                        <a:pt x="143" y="264"/>
                      </a:lnTo>
                      <a:lnTo>
                        <a:pt x="127" y="264"/>
                      </a:lnTo>
                      <a:lnTo>
                        <a:pt x="31" y="49"/>
                      </a:lnTo>
                      <a:lnTo>
                        <a:pt x="30" y="49"/>
                      </a:lnTo>
                      <a:lnTo>
                        <a:pt x="30" y="264"/>
                      </a:lnTo>
                      <a:lnTo>
                        <a:pt x="0" y="264"/>
                      </a:lnTo>
                      <a:lnTo>
                        <a:pt x="0" y="0"/>
                      </a:lnTo>
                      <a:lnTo>
                        <a:pt x="41" y="0"/>
                      </a:lnTo>
                      <a:lnTo>
                        <a:pt x="134" y="212"/>
                      </a:lnTo>
                      <a:lnTo>
                        <a:pt x="135" y="212"/>
                      </a:lnTo>
                      <a:lnTo>
                        <a:pt x="230" y="0"/>
                      </a:lnTo>
                      <a:lnTo>
                        <a:pt x="269" y="0"/>
                      </a:lnTo>
                      <a:lnTo>
                        <a:pt x="269"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noEditPoints="1"/>
                </p:cNvSpPr>
                <p:nvPr/>
              </p:nvSpPr>
              <p:spPr bwMode="auto">
                <a:xfrm>
                  <a:off x="-3121" y="2631"/>
                  <a:ext cx="39" cy="275"/>
                </a:xfrm>
                <a:custGeom>
                  <a:avLst/>
                  <a:gdLst>
                    <a:gd name="T0" fmla="*/ 78 w 78"/>
                    <a:gd name="T1" fmla="*/ 39 h 542"/>
                    <a:gd name="T2" fmla="*/ 66 w 78"/>
                    <a:gd name="T3" fmla="*/ 66 h 542"/>
                    <a:gd name="T4" fmla="*/ 39 w 78"/>
                    <a:gd name="T5" fmla="*/ 77 h 542"/>
                    <a:gd name="T6" fmla="*/ 11 w 78"/>
                    <a:gd name="T7" fmla="*/ 67 h 542"/>
                    <a:gd name="T8" fmla="*/ 0 w 78"/>
                    <a:gd name="T9" fmla="*/ 39 h 542"/>
                    <a:gd name="T10" fmla="*/ 11 w 78"/>
                    <a:gd name="T11" fmla="*/ 12 h 542"/>
                    <a:gd name="T12" fmla="*/ 39 w 78"/>
                    <a:gd name="T13" fmla="*/ 0 h 542"/>
                    <a:gd name="T14" fmla="*/ 67 w 78"/>
                    <a:gd name="T15" fmla="*/ 11 h 542"/>
                    <a:gd name="T16" fmla="*/ 78 w 78"/>
                    <a:gd name="T17" fmla="*/ 39 h 542"/>
                    <a:gd name="T18" fmla="*/ 68 w 78"/>
                    <a:gd name="T19" fmla="*/ 542 h 542"/>
                    <a:gd name="T20" fmla="*/ 8 w 78"/>
                    <a:gd name="T21" fmla="*/ 542 h 542"/>
                    <a:gd name="T22" fmla="*/ 8 w 78"/>
                    <a:gd name="T23" fmla="*/ 171 h 542"/>
                    <a:gd name="T24" fmla="*/ 68 w 78"/>
                    <a:gd name="T25" fmla="*/ 171 h 542"/>
                    <a:gd name="T26" fmla="*/ 68 w 78"/>
                    <a:gd name="T27" fmla="*/ 542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2">
                      <a:moveTo>
                        <a:pt x="78" y="39"/>
                      </a:moveTo>
                      <a:cubicBezTo>
                        <a:pt x="78" y="50"/>
                        <a:pt x="74" y="59"/>
                        <a:pt x="66" y="66"/>
                      </a:cubicBezTo>
                      <a:cubicBezTo>
                        <a:pt x="59" y="74"/>
                        <a:pt x="49" y="77"/>
                        <a:pt x="39" y="77"/>
                      </a:cubicBezTo>
                      <a:cubicBezTo>
                        <a:pt x="28" y="77"/>
                        <a:pt x="19" y="74"/>
                        <a:pt x="11" y="67"/>
                      </a:cubicBezTo>
                      <a:cubicBezTo>
                        <a:pt x="4" y="59"/>
                        <a:pt x="0" y="50"/>
                        <a:pt x="0" y="39"/>
                      </a:cubicBezTo>
                      <a:cubicBezTo>
                        <a:pt x="0" y="28"/>
                        <a:pt x="4" y="19"/>
                        <a:pt x="11" y="12"/>
                      </a:cubicBezTo>
                      <a:cubicBezTo>
                        <a:pt x="19" y="4"/>
                        <a:pt x="28" y="0"/>
                        <a:pt x="39" y="0"/>
                      </a:cubicBezTo>
                      <a:cubicBezTo>
                        <a:pt x="50" y="0"/>
                        <a:pt x="59" y="4"/>
                        <a:pt x="67" y="11"/>
                      </a:cubicBezTo>
                      <a:cubicBezTo>
                        <a:pt x="74" y="19"/>
                        <a:pt x="78" y="28"/>
                        <a:pt x="78" y="39"/>
                      </a:cubicBezTo>
                      <a:close/>
                      <a:moveTo>
                        <a:pt x="68" y="542"/>
                      </a:moveTo>
                      <a:cubicBezTo>
                        <a:pt x="8" y="542"/>
                        <a:pt x="8" y="542"/>
                        <a:pt x="8" y="542"/>
                      </a:cubicBezTo>
                      <a:cubicBezTo>
                        <a:pt x="8" y="171"/>
                        <a:pt x="8" y="171"/>
                        <a:pt x="8" y="171"/>
                      </a:cubicBezTo>
                      <a:cubicBezTo>
                        <a:pt x="68" y="171"/>
                        <a:pt x="68" y="171"/>
                        <a:pt x="68" y="171"/>
                      </a:cubicBezTo>
                      <a:lnTo>
                        <a:pt x="68"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3052" y="2713"/>
                  <a:ext cx="142" cy="198"/>
                </a:xfrm>
                <a:custGeom>
                  <a:avLst/>
                  <a:gdLst>
                    <a:gd name="T0" fmla="*/ 278 w 279"/>
                    <a:gd name="T1" fmla="*/ 363 h 389"/>
                    <a:gd name="T2" fmla="*/ 176 w 279"/>
                    <a:gd name="T3" fmla="*/ 389 h 389"/>
                    <a:gd name="T4" fmla="*/ 85 w 279"/>
                    <a:gd name="T5" fmla="*/ 365 h 389"/>
                    <a:gd name="T6" fmla="*/ 22 w 279"/>
                    <a:gd name="T7" fmla="*/ 299 h 389"/>
                    <a:gd name="T8" fmla="*/ 0 w 279"/>
                    <a:gd name="T9" fmla="*/ 203 h 389"/>
                    <a:gd name="T10" fmla="*/ 53 w 279"/>
                    <a:gd name="T11" fmla="*/ 56 h 389"/>
                    <a:gd name="T12" fmla="*/ 193 w 279"/>
                    <a:gd name="T13" fmla="*/ 0 h 389"/>
                    <a:gd name="T14" fmla="*/ 279 w 279"/>
                    <a:gd name="T15" fmla="*/ 19 h 389"/>
                    <a:gd name="T16" fmla="*/ 279 w 279"/>
                    <a:gd name="T17" fmla="*/ 80 h 389"/>
                    <a:gd name="T18" fmla="*/ 190 w 279"/>
                    <a:gd name="T19" fmla="*/ 51 h 389"/>
                    <a:gd name="T20" fmla="*/ 97 w 279"/>
                    <a:gd name="T21" fmla="*/ 92 h 389"/>
                    <a:gd name="T22" fmla="*/ 61 w 279"/>
                    <a:gd name="T23" fmla="*/ 198 h 389"/>
                    <a:gd name="T24" fmla="*/ 95 w 279"/>
                    <a:gd name="T25" fmla="*/ 300 h 389"/>
                    <a:gd name="T26" fmla="*/ 187 w 279"/>
                    <a:gd name="T27" fmla="*/ 338 h 389"/>
                    <a:gd name="T28" fmla="*/ 278 w 279"/>
                    <a:gd name="T29" fmla="*/ 306 h 389"/>
                    <a:gd name="T30" fmla="*/ 278 w 279"/>
                    <a:gd name="T31" fmla="*/ 363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9">
                      <a:moveTo>
                        <a:pt x="278" y="363"/>
                      </a:moveTo>
                      <a:cubicBezTo>
                        <a:pt x="249" y="380"/>
                        <a:pt x="215" y="389"/>
                        <a:pt x="176" y="389"/>
                      </a:cubicBezTo>
                      <a:cubicBezTo>
                        <a:pt x="142" y="389"/>
                        <a:pt x="112" y="381"/>
                        <a:pt x="85" y="365"/>
                      </a:cubicBezTo>
                      <a:cubicBezTo>
                        <a:pt x="58" y="350"/>
                        <a:pt x="37" y="328"/>
                        <a:pt x="22" y="299"/>
                      </a:cubicBezTo>
                      <a:cubicBezTo>
                        <a:pt x="8" y="271"/>
                        <a:pt x="0" y="239"/>
                        <a:pt x="0" y="203"/>
                      </a:cubicBezTo>
                      <a:cubicBezTo>
                        <a:pt x="0" y="142"/>
                        <a:pt x="18" y="93"/>
                        <a:pt x="53" y="56"/>
                      </a:cubicBezTo>
                      <a:cubicBezTo>
                        <a:pt x="88" y="19"/>
                        <a:pt x="134" y="0"/>
                        <a:pt x="193" y="0"/>
                      </a:cubicBezTo>
                      <a:cubicBezTo>
                        <a:pt x="225" y="0"/>
                        <a:pt x="254" y="6"/>
                        <a:pt x="279" y="19"/>
                      </a:cubicBezTo>
                      <a:cubicBezTo>
                        <a:pt x="279" y="80"/>
                        <a:pt x="279" y="80"/>
                        <a:pt x="279" y="80"/>
                      </a:cubicBezTo>
                      <a:cubicBezTo>
                        <a:pt x="251" y="60"/>
                        <a:pt x="221" y="51"/>
                        <a:pt x="190" y="51"/>
                      </a:cubicBezTo>
                      <a:cubicBezTo>
                        <a:pt x="152" y="51"/>
                        <a:pt x="121" y="65"/>
                        <a:pt x="97" y="92"/>
                      </a:cubicBezTo>
                      <a:cubicBezTo>
                        <a:pt x="73" y="119"/>
                        <a:pt x="61" y="155"/>
                        <a:pt x="61" y="198"/>
                      </a:cubicBezTo>
                      <a:cubicBezTo>
                        <a:pt x="61" y="241"/>
                        <a:pt x="72" y="275"/>
                        <a:pt x="95" y="300"/>
                      </a:cubicBezTo>
                      <a:cubicBezTo>
                        <a:pt x="118" y="325"/>
                        <a:pt x="148" y="338"/>
                        <a:pt x="187" y="338"/>
                      </a:cubicBezTo>
                      <a:cubicBezTo>
                        <a:pt x="219" y="338"/>
                        <a:pt x="249" y="327"/>
                        <a:pt x="278" y="306"/>
                      </a:cubicBezTo>
                      <a:lnTo>
                        <a:pt x="278"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p:nvSpPr>
              <p:spPr bwMode="auto">
                <a:xfrm>
                  <a:off x="-2877" y="2715"/>
                  <a:ext cx="98" cy="191"/>
                </a:xfrm>
                <a:custGeom>
                  <a:avLst/>
                  <a:gdLst>
                    <a:gd name="T0" fmla="*/ 193 w 193"/>
                    <a:gd name="T1" fmla="*/ 66 h 377"/>
                    <a:gd name="T2" fmla="*/ 148 w 193"/>
                    <a:gd name="T3" fmla="*/ 54 h 377"/>
                    <a:gd name="T4" fmla="*/ 84 w 193"/>
                    <a:gd name="T5" fmla="*/ 91 h 377"/>
                    <a:gd name="T6" fmla="*/ 59 w 193"/>
                    <a:gd name="T7" fmla="*/ 188 h 377"/>
                    <a:gd name="T8" fmla="*/ 59 w 193"/>
                    <a:gd name="T9" fmla="*/ 377 h 377"/>
                    <a:gd name="T10" fmla="*/ 0 w 193"/>
                    <a:gd name="T11" fmla="*/ 377 h 377"/>
                    <a:gd name="T12" fmla="*/ 0 w 193"/>
                    <a:gd name="T13" fmla="*/ 6 h 377"/>
                    <a:gd name="T14" fmla="*/ 59 w 193"/>
                    <a:gd name="T15" fmla="*/ 6 h 377"/>
                    <a:gd name="T16" fmla="*/ 59 w 193"/>
                    <a:gd name="T17" fmla="*/ 83 h 377"/>
                    <a:gd name="T18" fmla="*/ 61 w 193"/>
                    <a:gd name="T19" fmla="*/ 83 h 377"/>
                    <a:gd name="T20" fmla="*/ 99 w 193"/>
                    <a:gd name="T21" fmla="*/ 22 h 377"/>
                    <a:gd name="T22" fmla="*/ 158 w 193"/>
                    <a:gd name="T23" fmla="*/ 0 h 377"/>
                    <a:gd name="T24" fmla="*/ 193 w 193"/>
                    <a:gd name="T25" fmla="*/ 5 h 377"/>
                    <a:gd name="T26" fmla="*/ 193 w 193"/>
                    <a:gd name="T27" fmla="*/ 66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6"/>
                      </a:moveTo>
                      <a:cubicBezTo>
                        <a:pt x="182" y="58"/>
                        <a:pt x="167" y="54"/>
                        <a:pt x="148" y="54"/>
                      </a:cubicBezTo>
                      <a:cubicBezTo>
                        <a:pt x="122" y="54"/>
                        <a:pt x="100" y="67"/>
                        <a:pt x="84" y="91"/>
                      </a:cubicBezTo>
                      <a:cubicBezTo>
                        <a:pt x="67" y="116"/>
                        <a:pt x="59" y="148"/>
                        <a:pt x="59" y="188"/>
                      </a:cubicBezTo>
                      <a:cubicBezTo>
                        <a:pt x="59" y="377"/>
                        <a:pt x="59" y="377"/>
                        <a:pt x="59" y="377"/>
                      </a:cubicBezTo>
                      <a:cubicBezTo>
                        <a:pt x="0" y="377"/>
                        <a:pt x="0" y="377"/>
                        <a:pt x="0" y="377"/>
                      </a:cubicBezTo>
                      <a:cubicBezTo>
                        <a:pt x="0" y="6"/>
                        <a:pt x="0" y="6"/>
                        <a:pt x="0" y="6"/>
                      </a:cubicBezTo>
                      <a:cubicBezTo>
                        <a:pt x="59" y="6"/>
                        <a:pt x="59" y="6"/>
                        <a:pt x="59" y="6"/>
                      </a:cubicBezTo>
                      <a:cubicBezTo>
                        <a:pt x="59" y="83"/>
                        <a:pt x="59" y="83"/>
                        <a:pt x="59" y="83"/>
                      </a:cubicBezTo>
                      <a:cubicBezTo>
                        <a:pt x="61" y="83"/>
                        <a:pt x="61" y="83"/>
                        <a:pt x="61" y="83"/>
                      </a:cubicBezTo>
                      <a:cubicBezTo>
                        <a:pt x="69" y="57"/>
                        <a:pt x="81" y="37"/>
                        <a:pt x="99" y="22"/>
                      </a:cubicBezTo>
                      <a:cubicBezTo>
                        <a:pt x="116" y="7"/>
                        <a:pt x="135" y="0"/>
                        <a:pt x="158" y="0"/>
                      </a:cubicBezTo>
                      <a:cubicBezTo>
                        <a:pt x="173" y="0"/>
                        <a:pt x="185" y="1"/>
                        <a:pt x="193" y="5"/>
                      </a:cubicBezTo>
                      <a:lnTo>
                        <a:pt x="19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noEditPoints="1"/>
                </p:cNvSpPr>
                <p:nvPr/>
              </p:nvSpPr>
              <p:spPr bwMode="auto">
                <a:xfrm>
                  <a:off x="-2778" y="2713"/>
                  <a:ext cx="185" cy="198"/>
                </a:xfrm>
                <a:custGeom>
                  <a:avLst/>
                  <a:gdLst>
                    <a:gd name="T0" fmla="*/ 365 w 365"/>
                    <a:gd name="T1" fmla="*/ 193 h 389"/>
                    <a:gd name="T2" fmla="*/ 315 w 365"/>
                    <a:gd name="T3" fmla="*/ 335 h 389"/>
                    <a:gd name="T4" fmla="*/ 180 w 365"/>
                    <a:gd name="T5" fmla="*/ 389 h 389"/>
                    <a:gd name="T6" fmla="*/ 49 w 365"/>
                    <a:gd name="T7" fmla="*/ 336 h 389"/>
                    <a:gd name="T8" fmla="*/ 0 w 365"/>
                    <a:gd name="T9" fmla="*/ 199 h 389"/>
                    <a:gd name="T10" fmla="*/ 50 w 365"/>
                    <a:gd name="T11" fmla="*/ 54 h 389"/>
                    <a:gd name="T12" fmla="*/ 189 w 365"/>
                    <a:gd name="T13" fmla="*/ 0 h 389"/>
                    <a:gd name="T14" fmla="*/ 318 w 365"/>
                    <a:gd name="T15" fmla="*/ 52 h 389"/>
                    <a:gd name="T16" fmla="*/ 365 w 365"/>
                    <a:gd name="T17" fmla="*/ 193 h 389"/>
                    <a:gd name="T18" fmla="*/ 304 w 365"/>
                    <a:gd name="T19" fmla="*/ 195 h 389"/>
                    <a:gd name="T20" fmla="*/ 273 w 365"/>
                    <a:gd name="T21" fmla="*/ 88 h 389"/>
                    <a:gd name="T22" fmla="*/ 185 w 365"/>
                    <a:gd name="T23" fmla="*/ 51 h 389"/>
                    <a:gd name="T24" fmla="*/ 94 w 365"/>
                    <a:gd name="T25" fmla="*/ 89 h 389"/>
                    <a:gd name="T26" fmla="*/ 61 w 365"/>
                    <a:gd name="T27" fmla="*/ 197 h 389"/>
                    <a:gd name="T28" fmla="*/ 94 w 365"/>
                    <a:gd name="T29" fmla="*/ 301 h 389"/>
                    <a:gd name="T30" fmla="*/ 185 w 365"/>
                    <a:gd name="T31" fmla="*/ 338 h 389"/>
                    <a:gd name="T32" fmla="*/ 273 w 365"/>
                    <a:gd name="T33" fmla="*/ 301 h 389"/>
                    <a:gd name="T34" fmla="*/ 304 w 365"/>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9">
                      <a:moveTo>
                        <a:pt x="365" y="193"/>
                      </a:moveTo>
                      <a:cubicBezTo>
                        <a:pt x="365" y="252"/>
                        <a:pt x="348" y="299"/>
                        <a:pt x="315" y="335"/>
                      </a:cubicBezTo>
                      <a:cubicBezTo>
                        <a:pt x="281" y="371"/>
                        <a:pt x="236" y="389"/>
                        <a:pt x="180" y="389"/>
                      </a:cubicBezTo>
                      <a:cubicBezTo>
                        <a:pt x="126" y="389"/>
                        <a:pt x="82" y="371"/>
                        <a:pt x="49" y="336"/>
                      </a:cubicBezTo>
                      <a:cubicBezTo>
                        <a:pt x="16" y="302"/>
                        <a:pt x="0" y="256"/>
                        <a:pt x="0" y="199"/>
                      </a:cubicBezTo>
                      <a:cubicBezTo>
                        <a:pt x="0" y="138"/>
                        <a:pt x="17" y="89"/>
                        <a:pt x="50" y="54"/>
                      </a:cubicBezTo>
                      <a:cubicBezTo>
                        <a:pt x="84" y="18"/>
                        <a:pt x="130" y="0"/>
                        <a:pt x="189" y="0"/>
                      </a:cubicBezTo>
                      <a:cubicBezTo>
                        <a:pt x="244" y="0"/>
                        <a:pt x="287" y="17"/>
                        <a:pt x="318" y="52"/>
                      </a:cubicBezTo>
                      <a:cubicBezTo>
                        <a:pt x="349" y="86"/>
                        <a:pt x="365" y="133"/>
                        <a:pt x="365" y="193"/>
                      </a:cubicBezTo>
                      <a:close/>
                      <a:moveTo>
                        <a:pt x="304" y="195"/>
                      </a:moveTo>
                      <a:cubicBezTo>
                        <a:pt x="304" y="149"/>
                        <a:pt x="294" y="113"/>
                        <a:pt x="273" y="88"/>
                      </a:cubicBezTo>
                      <a:cubicBezTo>
                        <a:pt x="252" y="63"/>
                        <a:pt x="223" y="51"/>
                        <a:pt x="185" y="51"/>
                      </a:cubicBezTo>
                      <a:cubicBezTo>
                        <a:pt x="147" y="51"/>
                        <a:pt x="116" y="64"/>
                        <a:pt x="94" y="89"/>
                      </a:cubicBezTo>
                      <a:cubicBezTo>
                        <a:pt x="72" y="114"/>
                        <a:pt x="61" y="150"/>
                        <a:pt x="61" y="197"/>
                      </a:cubicBezTo>
                      <a:cubicBezTo>
                        <a:pt x="61" y="241"/>
                        <a:pt x="72" y="276"/>
                        <a:pt x="94" y="301"/>
                      </a:cubicBezTo>
                      <a:cubicBezTo>
                        <a:pt x="117" y="326"/>
                        <a:pt x="147" y="338"/>
                        <a:pt x="185" y="338"/>
                      </a:cubicBezTo>
                      <a:cubicBezTo>
                        <a:pt x="223" y="338"/>
                        <a:pt x="253" y="326"/>
                        <a:pt x="273" y="301"/>
                      </a:cubicBezTo>
                      <a:cubicBezTo>
                        <a:pt x="294" y="277"/>
                        <a:pt x="304" y="241"/>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p:cNvSpPr>
                  <a:spLocks/>
                </p:cNvSpPr>
                <p:nvPr/>
              </p:nvSpPr>
              <p:spPr bwMode="auto">
                <a:xfrm>
                  <a:off x="-2571" y="2713"/>
                  <a:ext cx="115" cy="198"/>
                </a:xfrm>
                <a:custGeom>
                  <a:avLst/>
                  <a:gdLst>
                    <a:gd name="T0" fmla="*/ 227 w 227"/>
                    <a:gd name="T1" fmla="*/ 281 h 389"/>
                    <a:gd name="T2" fmla="*/ 190 w 227"/>
                    <a:gd name="T3" fmla="*/ 359 h 389"/>
                    <a:gd name="T4" fmla="*/ 92 w 227"/>
                    <a:gd name="T5" fmla="*/ 389 h 389"/>
                    <a:gd name="T6" fmla="*/ 0 w 227"/>
                    <a:gd name="T7" fmla="*/ 366 h 389"/>
                    <a:gd name="T8" fmla="*/ 0 w 227"/>
                    <a:gd name="T9" fmla="*/ 303 h 389"/>
                    <a:gd name="T10" fmla="*/ 96 w 227"/>
                    <a:gd name="T11" fmla="*/ 338 h 389"/>
                    <a:gd name="T12" fmla="*/ 166 w 227"/>
                    <a:gd name="T13" fmla="*/ 286 h 389"/>
                    <a:gd name="T14" fmla="*/ 153 w 227"/>
                    <a:gd name="T15" fmla="*/ 252 h 389"/>
                    <a:gd name="T16" fmla="*/ 90 w 227"/>
                    <a:gd name="T17" fmla="*/ 216 h 389"/>
                    <a:gd name="T18" fmla="*/ 21 w 227"/>
                    <a:gd name="T19" fmla="*/ 171 h 389"/>
                    <a:gd name="T20" fmla="*/ 0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5 h 389"/>
                    <a:gd name="T34" fmla="*/ 61 w 227"/>
                    <a:gd name="T35" fmla="*/ 103 h 389"/>
                    <a:gd name="T36" fmla="*/ 75 w 227"/>
                    <a:gd name="T37" fmla="*/ 140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5" y="379"/>
                        <a:pt x="132" y="389"/>
                        <a:pt x="92" y="389"/>
                      </a:cubicBezTo>
                      <a:cubicBezTo>
                        <a:pt x="57" y="389"/>
                        <a:pt x="26" y="381"/>
                        <a:pt x="0" y="366"/>
                      </a:cubicBezTo>
                      <a:cubicBezTo>
                        <a:pt x="0" y="303"/>
                        <a:pt x="0" y="303"/>
                        <a:pt x="0" y="303"/>
                      </a:cubicBezTo>
                      <a:cubicBezTo>
                        <a:pt x="29" y="326"/>
                        <a:pt x="61" y="338"/>
                        <a:pt x="96" y="338"/>
                      </a:cubicBezTo>
                      <a:cubicBezTo>
                        <a:pt x="143" y="338"/>
                        <a:pt x="166" y="321"/>
                        <a:pt x="166" y="286"/>
                      </a:cubicBezTo>
                      <a:cubicBezTo>
                        <a:pt x="166" y="272"/>
                        <a:pt x="162" y="261"/>
                        <a:pt x="153" y="252"/>
                      </a:cubicBezTo>
                      <a:cubicBezTo>
                        <a:pt x="143" y="243"/>
                        <a:pt x="123" y="231"/>
                        <a:pt x="90" y="216"/>
                      </a:cubicBezTo>
                      <a:cubicBezTo>
                        <a:pt x="57" y="203"/>
                        <a:pt x="34" y="187"/>
                        <a:pt x="21" y="171"/>
                      </a:cubicBezTo>
                      <a:cubicBezTo>
                        <a:pt x="7" y="155"/>
                        <a:pt x="0" y="134"/>
                        <a:pt x="0" y="108"/>
                      </a:cubicBezTo>
                      <a:cubicBezTo>
                        <a:pt x="0" y="77"/>
                        <a:pt x="13" y="51"/>
                        <a:pt x="37" y="31"/>
                      </a:cubicBezTo>
                      <a:cubicBezTo>
                        <a:pt x="62" y="10"/>
                        <a:pt x="93" y="0"/>
                        <a:pt x="131" y="0"/>
                      </a:cubicBezTo>
                      <a:cubicBezTo>
                        <a:pt x="160" y="0"/>
                        <a:pt x="186" y="6"/>
                        <a:pt x="210" y="18"/>
                      </a:cubicBezTo>
                      <a:cubicBezTo>
                        <a:pt x="210" y="77"/>
                        <a:pt x="210" y="77"/>
                        <a:pt x="210" y="77"/>
                      </a:cubicBezTo>
                      <a:cubicBezTo>
                        <a:pt x="186" y="60"/>
                        <a:pt x="158" y="51"/>
                        <a:pt x="126" y="51"/>
                      </a:cubicBezTo>
                      <a:cubicBezTo>
                        <a:pt x="107" y="51"/>
                        <a:pt x="91" y="56"/>
                        <a:pt x="79" y="65"/>
                      </a:cubicBezTo>
                      <a:cubicBezTo>
                        <a:pt x="67" y="75"/>
                        <a:pt x="61" y="87"/>
                        <a:pt x="61" y="103"/>
                      </a:cubicBezTo>
                      <a:cubicBezTo>
                        <a:pt x="61" y="119"/>
                        <a:pt x="66" y="132"/>
                        <a:pt x="75" y="140"/>
                      </a:cubicBezTo>
                      <a:cubicBezTo>
                        <a:pt x="84" y="149"/>
                        <a:pt x="103" y="160"/>
                        <a:pt x="132" y="172"/>
                      </a:cubicBezTo>
                      <a:cubicBezTo>
                        <a:pt x="167" y="187"/>
                        <a:pt x="192" y="202"/>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p:cNvSpPr>
                  <a:spLocks noEditPoints="1"/>
                </p:cNvSpPr>
                <p:nvPr/>
              </p:nvSpPr>
              <p:spPr bwMode="auto">
                <a:xfrm>
                  <a:off x="-2438" y="2713"/>
                  <a:ext cx="186" cy="198"/>
                </a:xfrm>
                <a:custGeom>
                  <a:avLst/>
                  <a:gdLst>
                    <a:gd name="T0" fmla="*/ 365 w 365"/>
                    <a:gd name="T1" fmla="*/ 193 h 389"/>
                    <a:gd name="T2" fmla="*/ 315 w 365"/>
                    <a:gd name="T3" fmla="*/ 335 h 389"/>
                    <a:gd name="T4" fmla="*/ 180 w 365"/>
                    <a:gd name="T5" fmla="*/ 389 h 389"/>
                    <a:gd name="T6" fmla="*/ 49 w 365"/>
                    <a:gd name="T7" fmla="*/ 336 h 389"/>
                    <a:gd name="T8" fmla="*/ 0 w 365"/>
                    <a:gd name="T9" fmla="*/ 199 h 389"/>
                    <a:gd name="T10" fmla="*/ 50 w 365"/>
                    <a:gd name="T11" fmla="*/ 54 h 389"/>
                    <a:gd name="T12" fmla="*/ 189 w 365"/>
                    <a:gd name="T13" fmla="*/ 0 h 389"/>
                    <a:gd name="T14" fmla="*/ 318 w 365"/>
                    <a:gd name="T15" fmla="*/ 52 h 389"/>
                    <a:gd name="T16" fmla="*/ 365 w 365"/>
                    <a:gd name="T17" fmla="*/ 193 h 389"/>
                    <a:gd name="T18" fmla="*/ 304 w 365"/>
                    <a:gd name="T19" fmla="*/ 195 h 389"/>
                    <a:gd name="T20" fmla="*/ 273 w 365"/>
                    <a:gd name="T21" fmla="*/ 88 h 389"/>
                    <a:gd name="T22" fmla="*/ 185 w 365"/>
                    <a:gd name="T23" fmla="*/ 51 h 389"/>
                    <a:gd name="T24" fmla="*/ 94 w 365"/>
                    <a:gd name="T25" fmla="*/ 89 h 389"/>
                    <a:gd name="T26" fmla="*/ 61 w 365"/>
                    <a:gd name="T27" fmla="*/ 197 h 389"/>
                    <a:gd name="T28" fmla="*/ 94 w 365"/>
                    <a:gd name="T29" fmla="*/ 301 h 389"/>
                    <a:gd name="T30" fmla="*/ 185 w 365"/>
                    <a:gd name="T31" fmla="*/ 338 h 389"/>
                    <a:gd name="T32" fmla="*/ 273 w 365"/>
                    <a:gd name="T33" fmla="*/ 301 h 389"/>
                    <a:gd name="T34" fmla="*/ 304 w 365"/>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9">
                      <a:moveTo>
                        <a:pt x="365" y="193"/>
                      </a:moveTo>
                      <a:cubicBezTo>
                        <a:pt x="365" y="252"/>
                        <a:pt x="348" y="299"/>
                        <a:pt x="315" y="335"/>
                      </a:cubicBezTo>
                      <a:cubicBezTo>
                        <a:pt x="281" y="371"/>
                        <a:pt x="236" y="389"/>
                        <a:pt x="180" y="389"/>
                      </a:cubicBezTo>
                      <a:cubicBezTo>
                        <a:pt x="125" y="389"/>
                        <a:pt x="82" y="371"/>
                        <a:pt x="49" y="336"/>
                      </a:cubicBezTo>
                      <a:cubicBezTo>
                        <a:pt x="16" y="302"/>
                        <a:pt x="0" y="256"/>
                        <a:pt x="0" y="199"/>
                      </a:cubicBezTo>
                      <a:cubicBezTo>
                        <a:pt x="0" y="138"/>
                        <a:pt x="17" y="89"/>
                        <a:pt x="50" y="54"/>
                      </a:cubicBezTo>
                      <a:cubicBezTo>
                        <a:pt x="84" y="18"/>
                        <a:pt x="130" y="0"/>
                        <a:pt x="189" y="0"/>
                      </a:cubicBezTo>
                      <a:cubicBezTo>
                        <a:pt x="244" y="0"/>
                        <a:pt x="287" y="17"/>
                        <a:pt x="318" y="52"/>
                      </a:cubicBezTo>
                      <a:cubicBezTo>
                        <a:pt x="349" y="86"/>
                        <a:pt x="365" y="133"/>
                        <a:pt x="365" y="193"/>
                      </a:cubicBezTo>
                      <a:close/>
                      <a:moveTo>
                        <a:pt x="304" y="195"/>
                      </a:moveTo>
                      <a:cubicBezTo>
                        <a:pt x="304" y="149"/>
                        <a:pt x="294" y="113"/>
                        <a:pt x="273" y="88"/>
                      </a:cubicBezTo>
                      <a:cubicBezTo>
                        <a:pt x="252" y="63"/>
                        <a:pt x="223" y="51"/>
                        <a:pt x="185" y="51"/>
                      </a:cubicBezTo>
                      <a:cubicBezTo>
                        <a:pt x="146" y="51"/>
                        <a:pt x="116" y="64"/>
                        <a:pt x="94" y="89"/>
                      </a:cubicBezTo>
                      <a:cubicBezTo>
                        <a:pt x="72" y="114"/>
                        <a:pt x="61" y="150"/>
                        <a:pt x="61" y="197"/>
                      </a:cubicBezTo>
                      <a:cubicBezTo>
                        <a:pt x="61" y="241"/>
                        <a:pt x="72" y="276"/>
                        <a:pt x="94" y="301"/>
                      </a:cubicBezTo>
                      <a:cubicBezTo>
                        <a:pt x="117" y="326"/>
                        <a:pt x="147" y="338"/>
                        <a:pt x="185" y="338"/>
                      </a:cubicBezTo>
                      <a:cubicBezTo>
                        <a:pt x="223" y="338"/>
                        <a:pt x="253" y="326"/>
                        <a:pt x="273" y="301"/>
                      </a:cubicBezTo>
                      <a:cubicBezTo>
                        <a:pt x="294" y="277"/>
                        <a:pt x="304" y="241"/>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p:cNvSpPr>
                <p:nvPr/>
              </p:nvSpPr>
              <p:spPr bwMode="auto">
                <a:xfrm>
                  <a:off x="-2245" y="2623"/>
                  <a:ext cx="113" cy="283"/>
                </a:xfrm>
                <a:custGeom>
                  <a:avLst/>
                  <a:gdLst>
                    <a:gd name="T0" fmla="*/ 224 w 224"/>
                    <a:gd name="T1" fmla="*/ 60 h 557"/>
                    <a:gd name="T2" fmla="*/ 184 w 224"/>
                    <a:gd name="T3" fmla="*/ 51 h 557"/>
                    <a:gd name="T4" fmla="*/ 122 w 224"/>
                    <a:gd name="T5" fmla="*/ 129 h 557"/>
                    <a:gd name="T6" fmla="*/ 122 w 224"/>
                    <a:gd name="T7" fmla="*/ 186 h 557"/>
                    <a:gd name="T8" fmla="*/ 209 w 224"/>
                    <a:gd name="T9" fmla="*/ 186 h 557"/>
                    <a:gd name="T10" fmla="*/ 209 w 224"/>
                    <a:gd name="T11" fmla="*/ 237 h 557"/>
                    <a:gd name="T12" fmla="*/ 122 w 224"/>
                    <a:gd name="T13" fmla="*/ 237 h 557"/>
                    <a:gd name="T14" fmla="*/ 122 w 224"/>
                    <a:gd name="T15" fmla="*/ 557 h 557"/>
                    <a:gd name="T16" fmla="*/ 63 w 224"/>
                    <a:gd name="T17" fmla="*/ 557 h 557"/>
                    <a:gd name="T18" fmla="*/ 63 w 224"/>
                    <a:gd name="T19" fmla="*/ 237 h 557"/>
                    <a:gd name="T20" fmla="*/ 0 w 224"/>
                    <a:gd name="T21" fmla="*/ 237 h 557"/>
                    <a:gd name="T22" fmla="*/ 0 w 224"/>
                    <a:gd name="T23" fmla="*/ 186 h 557"/>
                    <a:gd name="T24" fmla="*/ 63 w 224"/>
                    <a:gd name="T25" fmla="*/ 186 h 557"/>
                    <a:gd name="T26" fmla="*/ 63 w 224"/>
                    <a:gd name="T27" fmla="*/ 126 h 557"/>
                    <a:gd name="T28" fmla="*/ 96 w 224"/>
                    <a:gd name="T29" fmla="*/ 35 h 557"/>
                    <a:gd name="T30" fmla="*/ 180 w 224"/>
                    <a:gd name="T31" fmla="*/ 0 h 557"/>
                    <a:gd name="T32" fmla="*/ 224 w 224"/>
                    <a:gd name="T33" fmla="*/ 7 h 557"/>
                    <a:gd name="T34" fmla="*/ 224 w 224"/>
                    <a:gd name="T35" fmla="*/ 6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7">
                      <a:moveTo>
                        <a:pt x="224" y="60"/>
                      </a:moveTo>
                      <a:cubicBezTo>
                        <a:pt x="212" y="54"/>
                        <a:pt x="199" y="51"/>
                        <a:pt x="184" y="51"/>
                      </a:cubicBezTo>
                      <a:cubicBezTo>
                        <a:pt x="143" y="51"/>
                        <a:pt x="122" y="77"/>
                        <a:pt x="122" y="129"/>
                      </a:cubicBezTo>
                      <a:cubicBezTo>
                        <a:pt x="122" y="186"/>
                        <a:pt x="122" y="186"/>
                        <a:pt x="122" y="186"/>
                      </a:cubicBezTo>
                      <a:cubicBezTo>
                        <a:pt x="209" y="186"/>
                        <a:pt x="209" y="186"/>
                        <a:pt x="209" y="186"/>
                      </a:cubicBezTo>
                      <a:cubicBezTo>
                        <a:pt x="209" y="237"/>
                        <a:pt x="209" y="237"/>
                        <a:pt x="209" y="237"/>
                      </a:cubicBezTo>
                      <a:cubicBezTo>
                        <a:pt x="122" y="237"/>
                        <a:pt x="122" y="237"/>
                        <a:pt x="122" y="237"/>
                      </a:cubicBezTo>
                      <a:cubicBezTo>
                        <a:pt x="122" y="557"/>
                        <a:pt x="122" y="557"/>
                        <a:pt x="122" y="557"/>
                      </a:cubicBezTo>
                      <a:cubicBezTo>
                        <a:pt x="63" y="557"/>
                        <a:pt x="63" y="557"/>
                        <a:pt x="63" y="557"/>
                      </a:cubicBezTo>
                      <a:cubicBezTo>
                        <a:pt x="63" y="237"/>
                        <a:pt x="63" y="237"/>
                        <a:pt x="63" y="237"/>
                      </a:cubicBezTo>
                      <a:cubicBezTo>
                        <a:pt x="0" y="237"/>
                        <a:pt x="0" y="237"/>
                        <a:pt x="0" y="237"/>
                      </a:cubicBezTo>
                      <a:cubicBezTo>
                        <a:pt x="0" y="186"/>
                        <a:pt x="0" y="186"/>
                        <a:pt x="0" y="186"/>
                      </a:cubicBezTo>
                      <a:cubicBezTo>
                        <a:pt x="63" y="186"/>
                        <a:pt x="63" y="186"/>
                        <a:pt x="63" y="186"/>
                      </a:cubicBezTo>
                      <a:cubicBezTo>
                        <a:pt x="63" y="126"/>
                        <a:pt x="63" y="126"/>
                        <a:pt x="63" y="126"/>
                      </a:cubicBezTo>
                      <a:cubicBezTo>
                        <a:pt x="63" y="89"/>
                        <a:pt x="74" y="58"/>
                        <a:pt x="96" y="35"/>
                      </a:cubicBezTo>
                      <a:cubicBezTo>
                        <a:pt x="118" y="12"/>
                        <a:pt x="146" y="0"/>
                        <a:pt x="180" y="0"/>
                      </a:cubicBezTo>
                      <a:cubicBezTo>
                        <a:pt x="199" y="0"/>
                        <a:pt x="213" y="3"/>
                        <a:pt x="224" y="7"/>
                      </a:cubicBezTo>
                      <a:lnTo>
                        <a:pt x="22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p:cNvSpPr>
                <p:nvPr/>
              </p:nvSpPr>
              <p:spPr bwMode="auto">
                <a:xfrm>
                  <a:off x="-2142" y="2662"/>
                  <a:ext cx="110" cy="248"/>
                </a:xfrm>
                <a:custGeom>
                  <a:avLst/>
                  <a:gdLst>
                    <a:gd name="T0" fmla="*/ 217 w 217"/>
                    <a:gd name="T1" fmla="*/ 476 h 488"/>
                    <a:gd name="T2" fmla="*/ 161 w 217"/>
                    <a:gd name="T3" fmla="*/ 488 h 488"/>
                    <a:gd name="T4" fmla="*/ 64 w 217"/>
                    <a:gd name="T5" fmla="*/ 379 h 488"/>
                    <a:gd name="T6" fmla="*/ 64 w 217"/>
                    <a:gd name="T7" fmla="*/ 160 h 488"/>
                    <a:gd name="T8" fmla="*/ 0 w 217"/>
                    <a:gd name="T9" fmla="*/ 160 h 488"/>
                    <a:gd name="T10" fmla="*/ 0 w 217"/>
                    <a:gd name="T11" fmla="*/ 109 h 488"/>
                    <a:gd name="T12" fmla="*/ 64 w 217"/>
                    <a:gd name="T13" fmla="*/ 109 h 488"/>
                    <a:gd name="T14" fmla="*/ 64 w 217"/>
                    <a:gd name="T15" fmla="*/ 19 h 488"/>
                    <a:gd name="T16" fmla="*/ 123 w 217"/>
                    <a:gd name="T17" fmla="*/ 0 h 488"/>
                    <a:gd name="T18" fmla="*/ 123 w 217"/>
                    <a:gd name="T19" fmla="*/ 109 h 488"/>
                    <a:gd name="T20" fmla="*/ 217 w 217"/>
                    <a:gd name="T21" fmla="*/ 109 h 488"/>
                    <a:gd name="T22" fmla="*/ 217 w 217"/>
                    <a:gd name="T23" fmla="*/ 160 h 488"/>
                    <a:gd name="T24" fmla="*/ 123 w 217"/>
                    <a:gd name="T25" fmla="*/ 160 h 488"/>
                    <a:gd name="T26" fmla="*/ 123 w 217"/>
                    <a:gd name="T27" fmla="*/ 369 h 488"/>
                    <a:gd name="T28" fmla="*/ 136 w 217"/>
                    <a:gd name="T29" fmla="*/ 422 h 488"/>
                    <a:gd name="T30" fmla="*/ 178 w 217"/>
                    <a:gd name="T31" fmla="*/ 437 h 488"/>
                    <a:gd name="T32" fmla="*/ 217 w 217"/>
                    <a:gd name="T33" fmla="*/ 425 h 488"/>
                    <a:gd name="T34" fmla="*/ 217 w 217"/>
                    <a:gd name="T35" fmla="*/ 47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8">
                      <a:moveTo>
                        <a:pt x="217" y="476"/>
                      </a:moveTo>
                      <a:cubicBezTo>
                        <a:pt x="202" y="484"/>
                        <a:pt x="184" y="488"/>
                        <a:pt x="161" y="488"/>
                      </a:cubicBezTo>
                      <a:cubicBezTo>
                        <a:pt x="96" y="488"/>
                        <a:pt x="64" y="452"/>
                        <a:pt x="64" y="379"/>
                      </a:cubicBezTo>
                      <a:cubicBezTo>
                        <a:pt x="64" y="160"/>
                        <a:pt x="64" y="160"/>
                        <a:pt x="64" y="160"/>
                      </a:cubicBezTo>
                      <a:cubicBezTo>
                        <a:pt x="0" y="160"/>
                        <a:pt x="0" y="160"/>
                        <a:pt x="0" y="160"/>
                      </a:cubicBezTo>
                      <a:cubicBezTo>
                        <a:pt x="0" y="109"/>
                        <a:pt x="0" y="109"/>
                        <a:pt x="0" y="109"/>
                      </a:cubicBezTo>
                      <a:cubicBezTo>
                        <a:pt x="64" y="109"/>
                        <a:pt x="64" y="109"/>
                        <a:pt x="64" y="109"/>
                      </a:cubicBezTo>
                      <a:cubicBezTo>
                        <a:pt x="64" y="19"/>
                        <a:pt x="64" y="19"/>
                        <a:pt x="64" y="19"/>
                      </a:cubicBezTo>
                      <a:cubicBezTo>
                        <a:pt x="123" y="0"/>
                        <a:pt x="123" y="0"/>
                        <a:pt x="123" y="0"/>
                      </a:cubicBezTo>
                      <a:cubicBezTo>
                        <a:pt x="123" y="109"/>
                        <a:pt x="123" y="109"/>
                        <a:pt x="123" y="109"/>
                      </a:cubicBezTo>
                      <a:cubicBezTo>
                        <a:pt x="217" y="109"/>
                        <a:pt x="217" y="109"/>
                        <a:pt x="217" y="109"/>
                      </a:cubicBezTo>
                      <a:cubicBezTo>
                        <a:pt x="217" y="160"/>
                        <a:pt x="217" y="160"/>
                        <a:pt x="217" y="160"/>
                      </a:cubicBezTo>
                      <a:cubicBezTo>
                        <a:pt x="123" y="160"/>
                        <a:pt x="123" y="160"/>
                        <a:pt x="123" y="160"/>
                      </a:cubicBezTo>
                      <a:cubicBezTo>
                        <a:pt x="123" y="369"/>
                        <a:pt x="123" y="369"/>
                        <a:pt x="123" y="369"/>
                      </a:cubicBezTo>
                      <a:cubicBezTo>
                        <a:pt x="123" y="393"/>
                        <a:pt x="127" y="411"/>
                        <a:pt x="136" y="422"/>
                      </a:cubicBezTo>
                      <a:cubicBezTo>
                        <a:pt x="144" y="432"/>
                        <a:pt x="158" y="437"/>
                        <a:pt x="178" y="437"/>
                      </a:cubicBezTo>
                      <a:cubicBezTo>
                        <a:pt x="193" y="437"/>
                        <a:pt x="206" y="433"/>
                        <a:pt x="217" y="425"/>
                      </a:cubicBezTo>
                      <a:lnTo>
                        <a:pt x="217"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p:cNvSpPr>
                <p:nvPr/>
              </p:nvSpPr>
              <p:spPr bwMode="auto">
                <a:xfrm>
                  <a:off x="-1936" y="2638"/>
                  <a:ext cx="147" cy="273"/>
                </a:xfrm>
                <a:custGeom>
                  <a:avLst/>
                  <a:gdLst>
                    <a:gd name="T0" fmla="*/ 289 w 289"/>
                    <a:gd name="T1" fmla="*/ 397 h 537"/>
                    <a:gd name="T2" fmla="*/ 243 w 289"/>
                    <a:gd name="T3" fmla="*/ 499 h 537"/>
                    <a:gd name="T4" fmla="*/ 117 w 289"/>
                    <a:gd name="T5" fmla="*/ 537 h 537"/>
                    <a:gd name="T6" fmla="*/ 52 w 289"/>
                    <a:gd name="T7" fmla="*/ 527 h 537"/>
                    <a:gd name="T8" fmla="*/ 0 w 289"/>
                    <a:gd name="T9" fmla="*/ 507 h 537"/>
                    <a:gd name="T10" fmla="*/ 0 w 289"/>
                    <a:gd name="T11" fmla="*/ 435 h 537"/>
                    <a:gd name="T12" fmla="*/ 58 w 289"/>
                    <a:gd name="T13" fmla="*/ 468 h 537"/>
                    <a:gd name="T14" fmla="*/ 125 w 289"/>
                    <a:gd name="T15" fmla="*/ 482 h 537"/>
                    <a:gd name="T16" fmla="*/ 225 w 289"/>
                    <a:gd name="T17" fmla="*/ 404 h 537"/>
                    <a:gd name="T18" fmla="*/ 204 w 289"/>
                    <a:gd name="T19" fmla="*/ 348 h 537"/>
                    <a:gd name="T20" fmla="*/ 116 w 289"/>
                    <a:gd name="T21" fmla="*/ 287 h 537"/>
                    <a:gd name="T22" fmla="*/ 26 w 289"/>
                    <a:gd name="T23" fmla="*/ 218 h 537"/>
                    <a:gd name="T24" fmla="*/ 1 w 289"/>
                    <a:gd name="T25" fmla="*/ 139 h 537"/>
                    <a:gd name="T26" fmla="*/ 47 w 289"/>
                    <a:gd name="T27" fmla="*/ 39 h 537"/>
                    <a:gd name="T28" fmla="*/ 165 w 289"/>
                    <a:gd name="T29" fmla="*/ 0 h 537"/>
                    <a:gd name="T30" fmla="*/ 267 w 289"/>
                    <a:gd name="T31" fmla="*/ 19 h 537"/>
                    <a:gd name="T32" fmla="*/ 267 w 289"/>
                    <a:gd name="T33" fmla="*/ 87 h 537"/>
                    <a:gd name="T34" fmla="*/ 162 w 289"/>
                    <a:gd name="T35" fmla="*/ 55 h 537"/>
                    <a:gd name="T36" fmla="*/ 92 w 289"/>
                    <a:gd name="T37" fmla="*/ 76 h 537"/>
                    <a:gd name="T38" fmla="*/ 64 w 289"/>
                    <a:gd name="T39" fmla="*/ 133 h 537"/>
                    <a:gd name="T40" fmla="*/ 73 w 289"/>
                    <a:gd name="T41" fmla="*/ 175 h 537"/>
                    <a:gd name="T42" fmla="*/ 100 w 289"/>
                    <a:gd name="T43" fmla="*/ 205 h 537"/>
                    <a:gd name="T44" fmla="*/ 165 w 289"/>
                    <a:gd name="T45" fmla="*/ 246 h 537"/>
                    <a:gd name="T46" fmla="*/ 262 w 289"/>
                    <a:gd name="T47" fmla="*/ 319 h 537"/>
                    <a:gd name="T48" fmla="*/ 289 w 289"/>
                    <a:gd name="T49" fmla="*/ 39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9" h="537">
                      <a:moveTo>
                        <a:pt x="289" y="397"/>
                      </a:moveTo>
                      <a:cubicBezTo>
                        <a:pt x="289" y="440"/>
                        <a:pt x="274" y="475"/>
                        <a:pt x="243" y="499"/>
                      </a:cubicBezTo>
                      <a:cubicBezTo>
                        <a:pt x="212" y="524"/>
                        <a:pt x="170" y="537"/>
                        <a:pt x="117" y="537"/>
                      </a:cubicBezTo>
                      <a:cubicBezTo>
                        <a:pt x="98" y="537"/>
                        <a:pt x="76" y="533"/>
                        <a:pt x="52" y="527"/>
                      </a:cubicBezTo>
                      <a:cubicBezTo>
                        <a:pt x="27" y="521"/>
                        <a:pt x="10" y="514"/>
                        <a:pt x="0" y="507"/>
                      </a:cubicBezTo>
                      <a:cubicBezTo>
                        <a:pt x="0" y="435"/>
                        <a:pt x="0" y="435"/>
                        <a:pt x="0" y="435"/>
                      </a:cubicBezTo>
                      <a:cubicBezTo>
                        <a:pt x="15" y="448"/>
                        <a:pt x="34" y="459"/>
                        <a:pt x="58" y="468"/>
                      </a:cubicBezTo>
                      <a:cubicBezTo>
                        <a:pt x="82" y="477"/>
                        <a:pt x="104" y="482"/>
                        <a:pt x="125" y="482"/>
                      </a:cubicBezTo>
                      <a:cubicBezTo>
                        <a:pt x="192" y="482"/>
                        <a:pt x="225" y="456"/>
                        <a:pt x="225" y="404"/>
                      </a:cubicBezTo>
                      <a:cubicBezTo>
                        <a:pt x="225" y="382"/>
                        <a:pt x="218" y="364"/>
                        <a:pt x="204" y="348"/>
                      </a:cubicBezTo>
                      <a:cubicBezTo>
                        <a:pt x="189" y="332"/>
                        <a:pt x="160" y="312"/>
                        <a:pt x="116" y="287"/>
                      </a:cubicBezTo>
                      <a:cubicBezTo>
                        <a:pt x="74" y="263"/>
                        <a:pt x="44" y="240"/>
                        <a:pt x="26" y="218"/>
                      </a:cubicBezTo>
                      <a:cubicBezTo>
                        <a:pt x="9" y="196"/>
                        <a:pt x="1" y="170"/>
                        <a:pt x="1" y="139"/>
                      </a:cubicBezTo>
                      <a:cubicBezTo>
                        <a:pt x="1" y="98"/>
                        <a:pt x="16" y="64"/>
                        <a:pt x="47" y="39"/>
                      </a:cubicBezTo>
                      <a:cubicBezTo>
                        <a:pt x="77" y="13"/>
                        <a:pt x="117" y="0"/>
                        <a:pt x="165" y="0"/>
                      </a:cubicBezTo>
                      <a:cubicBezTo>
                        <a:pt x="212" y="0"/>
                        <a:pt x="246" y="6"/>
                        <a:pt x="267" y="19"/>
                      </a:cubicBezTo>
                      <a:cubicBezTo>
                        <a:pt x="267" y="87"/>
                        <a:pt x="267" y="87"/>
                        <a:pt x="267" y="87"/>
                      </a:cubicBezTo>
                      <a:cubicBezTo>
                        <a:pt x="240" y="66"/>
                        <a:pt x="205" y="55"/>
                        <a:pt x="162" y="55"/>
                      </a:cubicBezTo>
                      <a:cubicBezTo>
                        <a:pt x="133" y="55"/>
                        <a:pt x="110" y="62"/>
                        <a:pt x="92" y="76"/>
                      </a:cubicBezTo>
                      <a:cubicBezTo>
                        <a:pt x="74" y="91"/>
                        <a:pt x="64" y="110"/>
                        <a:pt x="64" y="133"/>
                      </a:cubicBezTo>
                      <a:cubicBezTo>
                        <a:pt x="64" y="151"/>
                        <a:pt x="67" y="164"/>
                        <a:pt x="73" y="175"/>
                      </a:cubicBezTo>
                      <a:cubicBezTo>
                        <a:pt x="78" y="185"/>
                        <a:pt x="87" y="195"/>
                        <a:pt x="100" y="205"/>
                      </a:cubicBezTo>
                      <a:cubicBezTo>
                        <a:pt x="113" y="215"/>
                        <a:pt x="135" y="229"/>
                        <a:pt x="165" y="246"/>
                      </a:cubicBezTo>
                      <a:cubicBezTo>
                        <a:pt x="211" y="272"/>
                        <a:pt x="243" y="296"/>
                        <a:pt x="262" y="319"/>
                      </a:cubicBezTo>
                      <a:cubicBezTo>
                        <a:pt x="280" y="341"/>
                        <a:pt x="289" y="367"/>
                        <a:pt x="289"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noEditPoints="1"/>
                </p:cNvSpPr>
                <p:nvPr/>
              </p:nvSpPr>
              <p:spPr bwMode="auto">
                <a:xfrm>
                  <a:off x="-1766" y="2638"/>
                  <a:ext cx="249" cy="333"/>
                </a:xfrm>
                <a:custGeom>
                  <a:avLst/>
                  <a:gdLst>
                    <a:gd name="T0" fmla="*/ 490 w 490"/>
                    <a:gd name="T1" fmla="*/ 262 h 655"/>
                    <a:gd name="T2" fmla="*/ 442 w 490"/>
                    <a:gd name="T3" fmla="*/ 438 h 655"/>
                    <a:gd name="T4" fmla="*/ 304 w 490"/>
                    <a:gd name="T5" fmla="*/ 529 h 655"/>
                    <a:gd name="T6" fmla="*/ 425 w 490"/>
                    <a:gd name="T7" fmla="*/ 655 h 655"/>
                    <a:gd name="T8" fmla="*/ 341 w 490"/>
                    <a:gd name="T9" fmla="*/ 655 h 655"/>
                    <a:gd name="T10" fmla="*/ 239 w 490"/>
                    <a:gd name="T11" fmla="*/ 537 h 655"/>
                    <a:gd name="T12" fmla="*/ 115 w 490"/>
                    <a:gd name="T13" fmla="*/ 503 h 655"/>
                    <a:gd name="T14" fmla="*/ 30 w 490"/>
                    <a:gd name="T15" fmla="*/ 410 h 655"/>
                    <a:gd name="T16" fmla="*/ 0 w 490"/>
                    <a:gd name="T17" fmla="*/ 274 h 655"/>
                    <a:gd name="T18" fmla="*/ 31 w 490"/>
                    <a:gd name="T19" fmla="*/ 129 h 655"/>
                    <a:gd name="T20" fmla="*/ 119 w 490"/>
                    <a:gd name="T21" fmla="*/ 34 h 655"/>
                    <a:gd name="T22" fmla="*/ 253 w 490"/>
                    <a:gd name="T23" fmla="*/ 0 h 655"/>
                    <a:gd name="T24" fmla="*/ 376 w 490"/>
                    <a:gd name="T25" fmla="*/ 34 h 655"/>
                    <a:gd name="T26" fmla="*/ 461 w 490"/>
                    <a:gd name="T27" fmla="*/ 127 h 655"/>
                    <a:gd name="T28" fmla="*/ 490 w 490"/>
                    <a:gd name="T29" fmla="*/ 262 h 655"/>
                    <a:gd name="T30" fmla="*/ 427 w 490"/>
                    <a:gd name="T31" fmla="*/ 270 h 655"/>
                    <a:gd name="T32" fmla="*/ 379 w 490"/>
                    <a:gd name="T33" fmla="*/ 112 h 655"/>
                    <a:gd name="T34" fmla="*/ 247 w 490"/>
                    <a:gd name="T35" fmla="*/ 55 h 655"/>
                    <a:gd name="T36" fmla="*/ 152 w 490"/>
                    <a:gd name="T37" fmla="*/ 82 h 655"/>
                    <a:gd name="T38" fmla="*/ 87 w 490"/>
                    <a:gd name="T39" fmla="*/ 158 h 655"/>
                    <a:gd name="T40" fmla="*/ 64 w 490"/>
                    <a:gd name="T41" fmla="*/ 269 h 655"/>
                    <a:gd name="T42" fmla="*/ 86 w 490"/>
                    <a:gd name="T43" fmla="*/ 380 h 655"/>
                    <a:gd name="T44" fmla="*/ 149 w 490"/>
                    <a:gd name="T45" fmla="*/ 455 h 655"/>
                    <a:gd name="T46" fmla="*/ 243 w 490"/>
                    <a:gd name="T47" fmla="*/ 482 h 655"/>
                    <a:gd name="T48" fmla="*/ 378 w 490"/>
                    <a:gd name="T49" fmla="*/ 425 h 655"/>
                    <a:gd name="T50" fmla="*/ 427 w 490"/>
                    <a:gd name="T51" fmla="*/ 27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0" h="655">
                      <a:moveTo>
                        <a:pt x="490" y="262"/>
                      </a:moveTo>
                      <a:cubicBezTo>
                        <a:pt x="490" y="333"/>
                        <a:pt x="474" y="392"/>
                        <a:pt x="442" y="438"/>
                      </a:cubicBezTo>
                      <a:cubicBezTo>
                        <a:pt x="410" y="485"/>
                        <a:pt x="364" y="515"/>
                        <a:pt x="304" y="529"/>
                      </a:cubicBezTo>
                      <a:cubicBezTo>
                        <a:pt x="425" y="655"/>
                        <a:pt x="425" y="655"/>
                        <a:pt x="425" y="655"/>
                      </a:cubicBezTo>
                      <a:cubicBezTo>
                        <a:pt x="341" y="655"/>
                        <a:pt x="341" y="655"/>
                        <a:pt x="341" y="655"/>
                      </a:cubicBezTo>
                      <a:cubicBezTo>
                        <a:pt x="239" y="537"/>
                        <a:pt x="239" y="537"/>
                        <a:pt x="239" y="537"/>
                      </a:cubicBezTo>
                      <a:cubicBezTo>
                        <a:pt x="193" y="536"/>
                        <a:pt x="151" y="525"/>
                        <a:pt x="115" y="503"/>
                      </a:cubicBezTo>
                      <a:cubicBezTo>
                        <a:pt x="78" y="481"/>
                        <a:pt x="50" y="450"/>
                        <a:pt x="30" y="410"/>
                      </a:cubicBezTo>
                      <a:cubicBezTo>
                        <a:pt x="10" y="370"/>
                        <a:pt x="0" y="325"/>
                        <a:pt x="0" y="274"/>
                      </a:cubicBezTo>
                      <a:cubicBezTo>
                        <a:pt x="0" y="219"/>
                        <a:pt x="10" y="171"/>
                        <a:pt x="31" y="129"/>
                      </a:cubicBezTo>
                      <a:cubicBezTo>
                        <a:pt x="51" y="88"/>
                        <a:pt x="81" y="56"/>
                        <a:pt x="119" y="34"/>
                      </a:cubicBezTo>
                      <a:cubicBezTo>
                        <a:pt x="158" y="11"/>
                        <a:pt x="202" y="0"/>
                        <a:pt x="253" y="0"/>
                      </a:cubicBezTo>
                      <a:cubicBezTo>
                        <a:pt x="299" y="0"/>
                        <a:pt x="340" y="11"/>
                        <a:pt x="376" y="34"/>
                      </a:cubicBezTo>
                      <a:cubicBezTo>
                        <a:pt x="413" y="56"/>
                        <a:pt x="441" y="87"/>
                        <a:pt x="461" y="127"/>
                      </a:cubicBezTo>
                      <a:cubicBezTo>
                        <a:pt x="480" y="167"/>
                        <a:pt x="490" y="212"/>
                        <a:pt x="490" y="262"/>
                      </a:cubicBezTo>
                      <a:close/>
                      <a:moveTo>
                        <a:pt x="427" y="270"/>
                      </a:moveTo>
                      <a:cubicBezTo>
                        <a:pt x="427" y="202"/>
                        <a:pt x="411" y="150"/>
                        <a:pt x="379" y="112"/>
                      </a:cubicBezTo>
                      <a:cubicBezTo>
                        <a:pt x="348" y="74"/>
                        <a:pt x="304" y="55"/>
                        <a:pt x="247" y="55"/>
                      </a:cubicBezTo>
                      <a:cubicBezTo>
                        <a:pt x="212" y="55"/>
                        <a:pt x="180" y="64"/>
                        <a:pt x="152" y="82"/>
                      </a:cubicBezTo>
                      <a:cubicBezTo>
                        <a:pt x="124" y="100"/>
                        <a:pt x="102" y="125"/>
                        <a:pt x="87" y="158"/>
                      </a:cubicBezTo>
                      <a:cubicBezTo>
                        <a:pt x="71" y="191"/>
                        <a:pt x="64" y="228"/>
                        <a:pt x="64" y="269"/>
                      </a:cubicBezTo>
                      <a:cubicBezTo>
                        <a:pt x="64" y="310"/>
                        <a:pt x="71" y="347"/>
                        <a:pt x="86" y="380"/>
                      </a:cubicBezTo>
                      <a:cubicBezTo>
                        <a:pt x="101" y="412"/>
                        <a:pt x="122" y="437"/>
                        <a:pt x="149" y="455"/>
                      </a:cubicBezTo>
                      <a:cubicBezTo>
                        <a:pt x="177" y="473"/>
                        <a:pt x="208" y="482"/>
                        <a:pt x="243" y="482"/>
                      </a:cubicBezTo>
                      <a:cubicBezTo>
                        <a:pt x="300" y="482"/>
                        <a:pt x="345" y="463"/>
                        <a:pt x="378" y="425"/>
                      </a:cubicBezTo>
                      <a:cubicBezTo>
                        <a:pt x="410" y="388"/>
                        <a:pt x="427" y="336"/>
                        <a:pt x="427"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p:nvSpPr>
              <p:spPr bwMode="auto">
                <a:xfrm>
                  <a:off x="-1477" y="2642"/>
                  <a:ext cx="136" cy="264"/>
                </a:xfrm>
                <a:custGeom>
                  <a:avLst/>
                  <a:gdLst>
                    <a:gd name="T0" fmla="*/ 136 w 136"/>
                    <a:gd name="T1" fmla="*/ 264 h 264"/>
                    <a:gd name="T2" fmla="*/ 0 w 136"/>
                    <a:gd name="T3" fmla="*/ 264 h 264"/>
                    <a:gd name="T4" fmla="*/ 0 w 136"/>
                    <a:gd name="T5" fmla="*/ 0 h 264"/>
                    <a:gd name="T6" fmla="*/ 30 w 136"/>
                    <a:gd name="T7" fmla="*/ 0 h 264"/>
                    <a:gd name="T8" fmla="*/ 30 w 136"/>
                    <a:gd name="T9" fmla="*/ 236 h 264"/>
                    <a:gd name="T10" fmla="*/ 136 w 136"/>
                    <a:gd name="T11" fmla="*/ 236 h 264"/>
                    <a:gd name="T12" fmla="*/ 136 w 136"/>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36" h="264">
                      <a:moveTo>
                        <a:pt x="136" y="264"/>
                      </a:moveTo>
                      <a:lnTo>
                        <a:pt x="0" y="264"/>
                      </a:lnTo>
                      <a:lnTo>
                        <a:pt x="0" y="0"/>
                      </a:lnTo>
                      <a:lnTo>
                        <a:pt x="30" y="0"/>
                      </a:lnTo>
                      <a:lnTo>
                        <a:pt x="30" y="236"/>
                      </a:lnTo>
                      <a:lnTo>
                        <a:pt x="136" y="236"/>
                      </a:lnTo>
                      <a:lnTo>
                        <a:pt x="136"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p:cNvSpPr>
                <p:nvPr/>
              </p:nvSpPr>
              <p:spPr bwMode="auto">
                <a:xfrm>
                  <a:off x="-1258" y="2638"/>
                  <a:ext cx="147" cy="273"/>
                </a:xfrm>
                <a:custGeom>
                  <a:avLst/>
                  <a:gdLst>
                    <a:gd name="T0" fmla="*/ 289 w 289"/>
                    <a:gd name="T1" fmla="*/ 397 h 537"/>
                    <a:gd name="T2" fmla="*/ 242 w 289"/>
                    <a:gd name="T3" fmla="*/ 499 h 537"/>
                    <a:gd name="T4" fmla="*/ 116 w 289"/>
                    <a:gd name="T5" fmla="*/ 537 h 537"/>
                    <a:gd name="T6" fmla="*/ 51 w 289"/>
                    <a:gd name="T7" fmla="*/ 527 h 537"/>
                    <a:gd name="T8" fmla="*/ 0 w 289"/>
                    <a:gd name="T9" fmla="*/ 507 h 537"/>
                    <a:gd name="T10" fmla="*/ 0 w 289"/>
                    <a:gd name="T11" fmla="*/ 435 h 537"/>
                    <a:gd name="T12" fmla="*/ 58 w 289"/>
                    <a:gd name="T13" fmla="*/ 468 h 537"/>
                    <a:gd name="T14" fmla="*/ 125 w 289"/>
                    <a:gd name="T15" fmla="*/ 482 h 537"/>
                    <a:gd name="T16" fmla="*/ 225 w 289"/>
                    <a:gd name="T17" fmla="*/ 404 h 537"/>
                    <a:gd name="T18" fmla="*/ 203 w 289"/>
                    <a:gd name="T19" fmla="*/ 348 h 537"/>
                    <a:gd name="T20" fmla="*/ 116 w 289"/>
                    <a:gd name="T21" fmla="*/ 287 h 537"/>
                    <a:gd name="T22" fmla="*/ 26 w 289"/>
                    <a:gd name="T23" fmla="*/ 218 h 537"/>
                    <a:gd name="T24" fmla="*/ 0 w 289"/>
                    <a:gd name="T25" fmla="*/ 139 h 537"/>
                    <a:gd name="T26" fmla="*/ 46 w 289"/>
                    <a:gd name="T27" fmla="*/ 39 h 537"/>
                    <a:gd name="T28" fmla="*/ 165 w 289"/>
                    <a:gd name="T29" fmla="*/ 0 h 537"/>
                    <a:gd name="T30" fmla="*/ 267 w 289"/>
                    <a:gd name="T31" fmla="*/ 19 h 537"/>
                    <a:gd name="T32" fmla="*/ 267 w 289"/>
                    <a:gd name="T33" fmla="*/ 87 h 537"/>
                    <a:gd name="T34" fmla="*/ 162 w 289"/>
                    <a:gd name="T35" fmla="*/ 55 h 537"/>
                    <a:gd name="T36" fmla="*/ 91 w 289"/>
                    <a:gd name="T37" fmla="*/ 76 h 537"/>
                    <a:gd name="T38" fmla="*/ 64 w 289"/>
                    <a:gd name="T39" fmla="*/ 133 h 537"/>
                    <a:gd name="T40" fmla="*/ 72 w 289"/>
                    <a:gd name="T41" fmla="*/ 175 h 537"/>
                    <a:gd name="T42" fmla="*/ 100 w 289"/>
                    <a:gd name="T43" fmla="*/ 205 h 537"/>
                    <a:gd name="T44" fmla="*/ 165 w 289"/>
                    <a:gd name="T45" fmla="*/ 246 h 537"/>
                    <a:gd name="T46" fmla="*/ 261 w 289"/>
                    <a:gd name="T47" fmla="*/ 319 h 537"/>
                    <a:gd name="T48" fmla="*/ 289 w 289"/>
                    <a:gd name="T49" fmla="*/ 39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9" h="537">
                      <a:moveTo>
                        <a:pt x="289" y="397"/>
                      </a:moveTo>
                      <a:cubicBezTo>
                        <a:pt x="289" y="440"/>
                        <a:pt x="273" y="475"/>
                        <a:pt x="242" y="499"/>
                      </a:cubicBezTo>
                      <a:cubicBezTo>
                        <a:pt x="211" y="524"/>
                        <a:pt x="169" y="537"/>
                        <a:pt x="116" y="537"/>
                      </a:cubicBezTo>
                      <a:cubicBezTo>
                        <a:pt x="97" y="537"/>
                        <a:pt x="75" y="533"/>
                        <a:pt x="51" y="527"/>
                      </a:cubicBezTo>
                      <a:cubicBezTo>
                        <a:pt x="27" y="521"/>
                        <a:pt x="10" y="514"/>
                        <a:pt x="0" y="507"/>
                      </a:cubicBezTo>
                      <a:cubicBezTo>
                        <a:pt x="0" y="435"/>
                        <a:pt x="0" y="435"/>
                        <a:pt x="0" y="435"/>
                      </a:cubicBezTo>
                      <a:cubicBezTo>
                        <a:pt x="14" y="448"/>
                        <a:pt x="34" y="459"/>
                        <a:pt x="58" y="468"/>
                      </a:cubicBezTo>
                      <a:cubicBezTo>
                        <a:pt x="82" y="477"/>
                        <a:pt x="104" y="482"/>
                        <a:pt x="125" y="482"/>
                      </a:cubicBezTo>
                      <a:cubicBezTo>
                        <a:pt x="191" y="482"/>
                        <a:pt x="225" y="456"/>
                        <a:pt x="225" y="404"/>
                      </a:cubicBezTo>
                      <a:cubicBezTo>
                        <a:pt x="225" y="382"/>
                        <a:pt x="217" y="364"/>
                        <a:pt x="203" y="348"/>
                      </a:cubicBezTo>
                      <a:cubicBezTo>
                        <a:pt x="189" y="332"/>
                        <a:pt x="160" y="312"/>
                        <a:pt x="116" y="287"/>
                      </a:cubicBezTo>
                      <a:cubicBezTo>
                        <a:pt x="73" y="263"/>
                        <a:pt x="43" y="240"/>
                        <a:pt x="26" y="218"/>
                      </a:cubicBezTo>
                      <a:cubicBezTo>
                        <a:pt x="9" y="196"/>
                        <a:pt x="0" y="170"/>
                        <a:pt x="0" y="139"/>
                      </a:cubicBezTo>
                      <a:cubicBezTo>
                        <a:pt x="0" y="98"/>
                        <a:pt x="16" y="64"/>
                        <a:pt x="46" y="39"/>
                      </a:cubicBezTo>
                      <a:cubicBezTo>
                        <a:pt x="77" y="13"/>
                        <a:pt x="116" y="0"/>
                        <a:pt x="165" y="0"/>
                      </a:cubicBezTo>
                      <a:cubicBezTo>
                        <a:pt x="211" y="0"/>
                        <a:pt x="245" y="6"/>
                        <a:pt x="267" y="19"/>
                      </a:cubicBezTo>
                      <a:cubicBezTo>
                        <a:pt x="267" y="87"/>
                        <a:pt x="267" y="87"/>
                        <a:pt x="267" y="87"/>
                      </a:cubicBezTo>
                      <a:cubicBezTo>
                        <a:pt x="240" y="66"/>
                        <a:pt x="205" y="55"/>
                        <a:pt x="162" y="55"/>
                      </a:cubicBezTo>
                      <a:cubicBezTo>
                        <a:pt x="133" y="55"/>
                        <a:pt x="109" y="62"/>
                        <a:pt x="91" y="76"/>
                      </a:cubicBezTo>
                      <a:cubicBezTo>
                        <a:pt x="73" y="91"/>
                        <a:pt x="64" y="110"/>
                        <a:pt x="64" y="133"/>
                      </a:cubicBezTo>
                      <a:cubicBezTo>
                        <a:pt x="64" y="151"/>
                        <a:pt x="67" y="164"/>
                        <a:pt x="72" y="175"/>
                      </a:cubicBezTo>
                      <a:cubicBezTo>
                        <a:pt x="78" y="185"/>
                        <a:pt x="87" y="195"/>
                        <a:pt x="100" y="205"/>
                      </a:cubicBezTo>
                      <a:cubicBezTo>
                        <a:pt x="112" y="215"/>
                        <a:pt x="134" y="229"/>
                        <a:pt x="165" y="246"/>
                      </a:cubicBezTo>
                      <a:cubicBezTo>
                        <a:pt x="211" y="272"/>
                        <a:pt x="243" y="296"/>
                        <a:pt x="261" y="319"/>
                      </a:cubicBezTo>
                      <a:cubicBezTo>
                        <a:pt x="279" y="341"/>
                        <a:pt x="289" y="367"/>
                        <a:pt x="289"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p:cNvSpPr>
                  <a:spLocks noEditPoints="1"/>
                </p:cNvSpPr>
                <p:nvPr/>
              </p:nvSpPr>
              <p:spPr bwMode="auto">
                <a:xfrm>
                  <a:off x="-1089" y="2713"/>
                  <a:ext cx="164" cy="198"/>
                </a:xfrm>
                <a:custGeom>
                  <a:avLst/>
                  <a:gdLst>
                    <a:gd name="T0" fmla="*/ 323 w 323"/>
                    <a:gd name="T1" fmla="*/ 209 h 389"/>
                    <a:gd name="T2" fmla="*/ 62 w 323"/>
                    <a:gd name="T3" fmla="*/ 209 h 389"/>
                    <a:gd name="T4" fmla="*/ 95 w 323"/>
                    <a:gd name="T5" fmla="*/ 305 h 389"/>
                    <a:gd name="T6" fmla="*/ 182 w 323"/>
                    <a:gd name="T7" fmla="*/ 338 h 389"/>
                    <a:gd name="T8" fmla="*/ 297 w 323"/>
                    <a:gd name="T9" fmla="*/ 297 h 389"/>
                    <a:gd name="T10" fmla="*/ 297 w 323"/>
                    <a:gd name="T11" fmla="*/ 353 h 389"/>
                    <a:gd name="T12" fmla="*/ 168 w 323"/>
                    <a:gd name="T13" fmla="*/ 389 h 389"/>
                    <a:gd name="T14" fmla="*/ 45 w 323"/>
                    <a:gd name="T15" fmla="*/ 337 h 389"/>
                    <a:gd name="T16" fmla="*/ 0 w 323"/>
                    <a:gd name="T17" fmla="*/ 196 h 389"/>
                    <a:gd name="T18" fmla="*/ 22 w 323"/>
                    <a:gd name="T19" fmla="*/ 96 h 389"/>
                    <a:gd name="T20" fmla="*/ 84 w 323"/>
                    <a:gd name="T21" fmla="*/ 25 h 389"/>
                    <a:gd name="T22" fmla="*/ 171 w 323"/>
                    <a:gd name="T23" fmla="*/ 0 h 389"/>
                    <a:gd name="T24" fmla="*/ 283 w 323"/>
                    <a:gd name="T25" fmla="*/ 47 h 389"/>
                    <a:gd name="T26" fmla="*/ 323 w 323"/>
                    <a:gd name="T27" fmla="*/ 178 h 389"/>
                    <a:gd name="T28" fmla="*/ 323 w 323"/>
                    <a:gd name="T29" fmla="*/ 209 h 389"/>
                    <a:gd name="T30" fmla="*/ 262 w 323"/>
                    <a:gd name="T31" fmla="*/ 159 h 389"/>
                    <a:gd name="T32" fmla="*/ 238 w 323"/>
                    <a:gd name="T33" fmla="*/ 79 h 389"/>
                    <a:gd name="T34" fmla="*/ 170 w 323"/>
                    <a:gd name="T35" fmla="*/ 51 h 389"/>
                    <a:gd name="T36" fmla="*/ 99 w 323"/>
                    <a:gd name="T37" fmla="*/ 81 h 389"/>
                    <a:gd name="T38" fmla="*/ 62 w 323"/>
                    <a:gd name="T39" fmla="*/ 159 h 389"/>
                    <a:gd name="T40" fmla="*/ 262 w 323"/>
                    <a:gd name="T41" fmla="*/ 15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9">
                      <a:moveTo>
                        <a:pt x="323" y="209"/>
                      </a:moveTo>
                      <a:cubicBezTo>
                        <a:pt x="62" y="209"/>
                        <a:pt x="62" y="209"/>
                        <a:pt x="62" y="209"/>
                      </a:cubicBezTo>
                      <a:cubicBezTo>
                        <a:pt x="63" y="251"/>
                        <a:pt x="74" y="283"/>
                        <a:pt x="95" y="305"/>
                      </a:cubicBezTo>
                      <a:cubicBezTo>
                        <a:pt x="116" y="327"/>
                        <a:pt x="145" y="338"/>
                        <a:pt x="182" y="338"/>
                      </a:cubicBezTo>
                      <a:cubicBezTo>
                        <a:pt x="224" y="338"/>
                        <a:pt x="263" y="325"/>
                        <a:pt x="297" y="297"/>
                      </a:cubicBezTo>
                      <a:cubicBezTo>
                        <a:pt x="297" y="353"/>
                        <a:pt x="297" y="353"/>
                        <a:pt x="297" y="353"/>
                      </a:cubicBezTo>
                      <a:cubicBezTo>
                        <a:pt x="265" y="377"/>
                        <a:pt x="222" y="389"/>
                        <a:pt x="168" y="389"/>
                      </a:cubicBezTo>
                      <a:cubicBezTo>
                        <a:pt x="116" y="389"/>
                        <a:pt x="74" y="372"/>
                        <a:pt x="45" y="337"/>
                      </a:cubicBezTo>
                      <a:cubicBezTo>
                        <a:pt x="15" y="303"/>
                        <a:pt x="0" y="256"/>
                        <a:pt x="0" y="196"/>
                      </a:cubicBezTo>
                      <a:cubicBezTo>
                        <a:pt x="0" y="159"/>
                        <a:pt x="8" y="126"/>
                        <a:pt x="22" y="96"/>
                      </a:cubicBezTo>
                      <a:cubicBezTo>
                        <a:pt x="37" y="65"/>
                        <a:pt x="58" y="42"/>
                        <a:pt x="84" y="25"/>
                      </a:cubicBezTo>
                      <a:cubicBezTo>
                        <a:pt x="110" y="9"/>
                        <a:pt x="139" y="0"/>
                        <a:pt x="171" y="0"/>
                      </a:cubicBezTo>
                      <a:cubicBezTo>
                        <a:pt x="218" y="0"/>
                        <a:pt x="256" y="16"/>
                        <a:pt x="283" y="47"/>
                      </a:cubicBezTo>
                      <a:cubicBezTo>
                        <a:pt x="310" y="78"/>
                        <a:pt x="323" y="122"/>
                        <a:pt x="323" y="178"/>
                      </a:cubicBezTo>
                      <a:lnTo>
                        <a:pt x="323" y="209"/>
                      </a:lnTo>
                      <a:close/>
                      <a:moveTo>
                        <a:pt x="262" y="159"/>
                      </a:moveTo>
                      <a:cubicBezTo>
                        <a:pt x="262" y="125"/>
                        <a:pt x="254" y="98"/>
                        <a:pt x="238" y="79"/>
                      </a:cubicBezTo>
                      <a:cubicBezTo>
                        <a:pt x="222" y="60"/>
                        <a:pt x="199" y="51"/>
                        <a:pt x="170" y="51"/>
                      </a:cubicBezTo>
                      <a:cubicBezTo>
                        <a:pt x="142" y="51"/>
                        <a:pt x="119" y="61"/>
                        <a:pt x="99" y="81"/>
                      </a:cubicBezTo>
                      <a:cubicBezTo>
                        <a:pt x="80" y="100"/>
                        <a:pt x="67" y="126"/>
                        <a:pt x="62" y="159"/>
                      </a:cubicBezTo>
                      <a:lnTo>
                        <a:pt x="26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p:nvSpPr>
              <p:spPr bwMode="auto">
                <a:xfrm>
                  <a:off x="-893" y="2715"/>
                  <a:ext cx="98" cy="191"/>
                </a:xfrm>
                <a:custGeom>
                  <a:avLst/>
                  <a:gdLst>
                    <a:gd name="T0" fmla="*/ 193 w 193"/>
                    <a:gd name="T1" fmla="*/ 66 h 377"/>
                    <a:gd name="T2" fmla="*/ 148 w 193"/>
                    <a:gd name="T3" fmla="*/ 54 h 377"/>
                    <a:gd name="T4" fmla="*/ 84 w 193"/>
                    <a:gd name="T5" fmla="*/ 91 h 377"/>
                    <a:gd name="T6" fmla="*/ 60 w 193"/>
                    <a:gd name="T7" fmla="*/ 188 h 377"/>
                    <a:gd name="T8" fmla="*/ 60 w 193"/>
                    <a:gd name="T9" fmla="*/ 377 h 377"/>
                    <a:gd name="T10" fmla="*/ 0 w 193"/>
                    <a:gd name="T11" fmla="*/ 377 h 377"/>
                    <a:gd name="T12" fmla="*/ 0 w 193"/>
                    <a:gd name="T13" fmla="*/ 6 h 377"/>
                    <a:gd name="T14" fmla="*/ 60 w 193"/>
                    <a:gd name="T15" fmla="*/ 6 h 377"/>
                    <a:gd name="T16" fmla="*/ 60 w 193"/>
                    <a:gd name="T17" fmla="*/ 83 h 377"/>
                    <a:gd name="T18" fmla="*/ 61 w 193"/>
                    <a:gd name="T19" fmla="*/ 83 h 377"/>
                    <a:gd name="T20" fmla="*/ 99 w 193"/>
                    <a:gd name="T21" fmla="*/ 22 h 377"/>
                    <a:gd name="T22" fmla="*/ 158 w 193"/>
                    <a:gd name="T23" fmla="*/ 0 h 377"/>
                    <a:gd name="T24" fmla="*/ 193 w 193"/>
                    <a:gd name="T25" fmla="*/ 5 h 377"/>
                    <a:gd name="T26" fmla="*/ 193 w 193"/>
                    <a:gd name="T27" fmla="*/ 66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6"/>
                      </a:moveTo>
                      <a:cubicBezTo>
                        <a:pt x="183" y="58"/>
                        <a:pt x="168" y="54"/>
                        <a:pt x="148" y="54"/>
                      </a:cubicBezTo>
                      <a:cubicBezTo>
                        <a:pt x="122" y="54"/>
                        <a:pt x="101" y="67"/>
                        <a:pt x="84" y="91"/>
                      </a:cubicBezTo>
                      <a:cubicBezTo>
                        <a:pt x="68" y="116"/>
                        <a:pt x="60" y="148"/>
                        <a:pt x="60" y="188"/>
                      </a:cubicBezTo>
                      <a:cubicBezTo>
                        <a:pt x="60" y="377"/>
                        <a:pt x="60" y="377"/>
                        <a:pt x="60" y="377"/>
                      </a:cubicBezTo>
                      <a:cubicBezTo>
                        <a:pt x="0" y="377"/>
                        <a:pt x="0" y="377"/>
                        <a:pt x="0" y="377"/>
                      </a:cubicBezTo>
                      <a:cubicBezTo>
                        <a:pt x="0" y="6"/>
                        <a:pt x="0" y="6"/>
                        <a:pt x="0" y="6"/>
                      </a:cubicBezTo>
                      <a:cubicBezTo>
                        <a:pt x="60" y="6"/>
                        <a:pt x="60" y="6"/>
                        <a:pt x="60" y="6"/>
                      </a:cubicBezTo>
                      <a:cubicBezTo>
                        <a:pt x="60" y="83"/>
                        <a:pt x="60" y="83"/>
                        <a:pt x="60" y="83"/>
                      </a:cubicBezTo>
                      <a:cubicBezTo>
                        <a:pt x="61" y="83"/>
                        <a:pt x="61" y="83"/>
                        <a:pt x="61" y="83"/>
                      </a:cubicBezTo>
                      <a:cubicBezTo>
                        <a:pt x="69" y="57"/>
                        <a:pt x="82" y="37"/>
                        <a:pt x="99" y="22"/>
                      </a:cubicBezTo>
                      <a:cubicBezTo>
                        <a:pt x="116" y="7"/>
                        <a:pt x="136" y="0"/>
                        <a:pt x="158" y="0"/>
                      </a:cubicBezTo>
                      <a:cubicBezTo>
                        <a:pt x="173" y="0"/>
                        <a:pt x="185" y="1"/>
                        <a:pt x="193" y="5"/>
                      </a:cubicBezTo>
                      <a:lnTo>
                        <a:pt x="19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0"/>
                <p:cNvSpPr>
                  <a:spLocks/>
                </p:cNvSpPr>
                <p:nvPr/>
              </p:nvSpPr>
              <p:spPr bwMode="auto">
                <a:xfrm>
                  <a:off x="-787" y="2718"/>
                  <a:ext cx="175" cy="188"/>
                </a:xfrm>
                <a:custGeom>
                  <a:avLst/>
                  <a:gdLst>
                    <a:gd name="T0" fmla="*/ 175 w 175"/>
                    <a:gd name="T1" fmla="*/ 0 h 188"/>
                    <a:gd name="T2" fmla="*/ 101 w 175"/>
                    <a:gd name="T3" fmla="*/ 188 h 188"/>
                    <a:gd name="T4" fmla="*/ 71 w 175"/>
                    <a:gd name="T5" fmla="*/ 188 h 188"/>
                    <a:gd name="T6" fmla="*/ 0 w 175"/>
                    <a:gd name="T7" fmla="*/ 0 h 188"/>
                    <a:gd name="T8" fmla="*/ 33 w 175"/>
                    <a:gd name="T9" fmla="*/ 0 h 188"/>
                    <a:gd name="T10" fmla="*/ 87 w 175"/>
                    <a:gd name="T11" fmla="*/ 154 h 188"/>
                    <a:gd name="T12" fmla="*/ 88 w 175"/>
                    <a:gd name="T13" fmla="*/ 154 h 188"/>
                    <a:gd name="T14" fmla="*/ 144 w 175"/>
                    <a:gd name="T15" fmla="*/ 0 h 188"/>
                    <a:gd name="T16" fmla="*/ 175 w 175"/>
                    <a:gd name="T1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88">
                      <a:moveTo>
                        <a:pt x="175" y="0"/>
                      </a:moveTo>
                      <a:lnTo>
                        <a:pt x="101" y="188"/>
                      </a:lnTo>
                      <a:lnTo>
                        <a:pt x="71" y="188"/>
                      </a:lnTo>
                      <a:lnTo>
                        <a:pt x="0" y="0"/>
                      </a:lnTo>
                      <a:lnTo>
                        <a:pt x="33" y="0"/>
                      </a:lnTo>
                      <a:lnTo>
                        <a:pt x="87" y="154"/>
                      </a:lnTo>
                      <a:lnTo>
                        <a:pt x="88" y="154"/>
                      </a:lnTo>
                      <a:lnTo>
                        <a:pt x="144" y="0"/>
                      </a:lnTo>
                      <a:lnTo>
                        <a:pt x="1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1"/>
                <p:cNvSpPr>
                  <a:spLocks noEditPoints="1"/>
                </p:cNvSpPr>
                <p:nvPr/>
              </p:nvSpPr>
              <p:spPr bwMode="auto">
                <a:xfrm>
                  <a:off x="-605" y="2713"/>
                  <a:ext cx="164" cy="198"/>
                </a:xfrm>
                <a:custGeom>
                  <a:avLst/>
                  <a:gdLst>
                    <a:gd name="T0" fmla="*/ 323 w 323"/>
                    <a:gd name="T1" fmla="*/ 209 h 389"/>
                    <a:gd name="T2" fmla="*/ 62 w 323"/>
                    <a:gd name="T3" fmla="*/ 209 h 389"/>
                    <a:gd name="T4" fmla="*/ 95 w 323"/>
                    <a:gd name="T5" fmla="*/ 305 h 389"/>
                    <a:gd name="T6" fmla="*/ 182 w 323"/>
                    <a:gd name="T7" fmla="*/ 338 h 389"/>
                    <a:gd name="T8" fmla="*/ 297 w 323"/>
                    <a:gd name="T9" fmla="*/ 297 h 389"/>
                    <a:gd name="T10" fmla="*/ 297 w 323"/>
                    <a:gd name="T11" fmla="*/ 353 h 389"/>
                    <a:gd name="T12" fmla="*/ 168 w 323"/>
                    <a:gd name="T13" fmla="*/ 389 h 389"/>
                    <a:gd name="T14" fmla="*/ 45 w 323"/>
                    <a:gd name="T15" fmla="*/ 337 h 389"/>
                    <a:gd name="T16" fmla="*/ 0 w 323"/>
                    <a:gd name="T17" fmla="*/ 196 h 389"/>
                    <a:gd name="T18" fmla="*/ 22 w 323"/>
                    <a:gd name="T19" fmla="*/ 96 h 389"/>
                    <a:gd name="T20" fmla="*/ 84 w 323"/>
                    <a:gd name="T21" fmla="*/ 25 h 389"/>
                    <a:gd name="T22" fmla="*/ 171 w 323"/>
                    <a:gd name="T23" fmla="*/ 0 h 389"/>
                    <a:gd name="T24" fmla="*/ 283 w 323"/>
                    <a:gd name="T25" fmla="*/ 47 h 389"/>
                    <a:gd name="T26" fmla="*/ 323 w 323"/>
                    <a:gd name="T27" fmla="*/ 178 h 389"/>
                    <a:gd name="T28" fmla="*/ 323 w 323"/>
                    <a:gd name="T29" fmla="*/ 209 h 389"/>
                    <a:gd name="T30" fmla="*/ 262 w 323"/>
                    <a:gd name="T31" fmla="*/ 159 h 389"/>
                    <a:gd name="T32" fmla="*/ 238 w 323"/>
                    <a:gd name="T33" fmla="*/ 79 h 389"/>
                    <a:gd name="T34" fmla="*/ 170 w 323"/>
                    <a:gd name="T35" fmla="*/ 51 h 389"/>
                    <a:gd name="T36" fmla="*/ 99 w 323"/>
                    <a:gd name="T37" fmla="*/ 81 h 389"/>
                    <a:gd name="T38" fmla="*/ 62 w 323"/>
                    <a:gd name="T39" fmla="*/ 159 h 389"/>
                    <a:gd name="T40" fmla="*/ 262 w 323"/>
                    <a:gd name="T41" fmla="*/ 15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9">
                      <a:moveTo>
                        <a:pt x="323" y="209"/>
                      </a:moveTo>
                      <a:cubicBezTo>
                        <a:pt x="62" y="209"/>
                        <a:pt x="62" y="209"/>
                        <a:pt x="62" y="209"/>
                      </a:cubicBezTo>
                      <a:cubicBezTo>
                        <a:pt x="63" y="251"/>
                        <a:pt x="74" y="283"/>
                        <a:pt x="95" y="305"/>
                      </a:cubicBezTo>
                      <a:cubicBezTo>
                        <a:pt x="116" y="327"/>
                        <a:pt x="145" y="338"/>
                        <a:pt x="182" y="338"/>
                      </a:cubicBezTo>
                      <a:cubicBezTo>
                        <a:pt x="224" y="338"/>
                        <a:pt x="263" y="325"/>
                        <a:pt x="297" y="297"/>
                      </a:cubicBezTo>
                      <a:cubicBezTo>
                        <a:pt x="297" y="353"/>
                        <a:pt x="297" y="353"/>
                        <a:pt x="297" y="353"/>
                      </a:cubicBezTo>
                      <a:cubicBezTo>
                        <a:pt x="265" y="377"/>
                        <a:pt x="222" y="389"/>
                        <a:pt x="168" y="389"/>
                      </a:cubicBezTo>
                      <a:cubicBezTo>
                        <a:pt x="116" y="389"/>
                        <a:pt x="74" y="372"/>
                        <a:pt x="45" y="337"/>
                      </a:cubicBezTo>
                      <a:cubicBezTo>
                        <a:pt x="15" y="303"/>
                        <a:pt x="0" y="256"/>
                        <a:pt x="0" y="196"/>
                      </a:cubicBezTo>
                      <a:cubicBezTo>
                        <a:pt x="0" y="159"/>
                        <a:pt x="8" y="126"/>
                        <a:pt x="22" y="96"/>
                      </a:cubicBezTo>
                      <a:cubicBezTo>
                        <a:pt x="37" y="65"/>
                        <a:pt x="58" y="42"/>
                        <a:pt x="84" y="25"/>
                      </a:cubicBezTo>
                      <a:cubicBezTo>
                        <a:pt x="110" y="9"/>
                        <a:pt x="139" y="0"/>
                        <a:pt x="171" y="0"/>
                      </a:cubicBezTo>
                      <a:cubicBezTo>
                        <a:pt x="219" y="0"/>
                        <a:pt x="256" y="16"/>
                        <a:pt x="283" y="47"/>
                      </a:cubicBezTo>
                      <a:cubicBezTo>
                        <a:pt x="310" y="78"/>
                        <a:pt x="323" y="122"/>
                        <a:pt x="323" y="178"/>
                      </a:cubicBezTo>
                      <a:lnTo>
                        <a:pt x="323" y="209"/>
                      </a:lnTo>
                      <a:close/>
                      <a:moveTo>
                        <a:pt x="262" y="159"/>
                      </a:moveTo>
                      <a:cubicBezTo>
                        <a:pt x="262" y="125"/>
                        <a:pt x="254" y="98"/>
                        <a:pt x="238" y="79"/>
                      </a:cubicBezTo>
                      <a:cubicBezTo>
                        <a:pt x="222" y="60"/>
                        <a:pt x="199" y="51"/>
                        <a:pt x="170" y="51"/>
                      </a:cubicBezTo>
                      <a:cubicBezTo>
                        <a:pt x="142" y="51"/>
                        <a:pt x="119" y="61"/>
                        <a:pt x="99" y="81"/>
                      </a:cubicBezTo>
                      <a:cubicBezTo>
                        <a:pt x="80" y="100"/>
                        <a:pt x="67" y="126"/>
                        <a:pt x="62" y="159"/>
                      </a:cubicBezTo>
                      <a:lnTo>
                        <a:pt x="26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
                <p:cNvSpPr>
                  <a:spLocks/>
                </p:cNvSpPr>
                <p:nvPr/>
              </p:nvSpPr>
              <p:spPr bwMode="auto">
                <a:xfrm>
                  <a:off x="-409" y="2715"/>
                  <a:ext cx="98" cy="191"/>
                </a:xfrm>
                <a:custGeom>
                  <a:avLst/>
                  <a:gdLst>
                    <a:gd name="T0" fmla="*/ 193 w 193"/>
                    <a:gd name="T1" fmla="*/ 66 h 377"/>
                    <a:gd name="T2" fmla="*/ 148 w 193"/>
                    <a:gd name="T3" fmla="*/ 54 h 377"/>
                    <a:gd name="T4" fmla="*/ 84 w 193"/>
                    <a:gd name="T5" fmla="*/ 91 h 377"/>
                    <a:gd name="T6" fmla="*/ 60 w 193"/>
                    <a:gd name="T7" fmla="*/ 188 h 377"/>
                    <a:gd name="T8" fmla="*/ 60 w 193"/>
                    <a:gd name="T9" fmla="*/ 377 h 377"/>
                    <a:gd name="T10" fmla="*/ 0 w 193"/>
                    <a:gd name="T11" fmla="*/ 377 h 377"/>
                    <a:gd name="T12" fmla="*/ 0 w 193"/>
                    <a:gd name="T13" fmla="*/ 6 h 377"/>
                    <a:gd name="T14" fmla="*/ 60 w 193"/>
                    <a:gd name="T15" fmla="*/ 6 h 377"/>
                    <a:gd name="T16" fmla="*/ 60 w 193"/>
                    <a:gd name="T17" fmla="*/ 83 h 377"/>
                    <a:gd name="T18" fmla="*/ 61 w 193"/>
                    <a:gd name="T19" fmla="*/ 83 h 377"/>
                    <a:gd name="T20" fmla="*/ 99 w 193"/>
                    <a:gd name="T21" fmla="*/ 22 h 377"/>
                    <a:gd name="T22" fmla="*/ 158 w 193"/>
                    <a:gd name="T23" fmla="*/ 0 h 377"/>
                    <a:gd name="T24" fmla="*/ 193 w 193"/>
                    <a:gd name="T25" fmla="*/ 5 h 377"/>
                    <a:gd name="T26" fmla="*/ 193 w 193"/>
                    <a:gd name="T27" fmla="*/ 66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6"/>
                      </a:moveTo>
                      <a:cubicBezTo>
                        <a:pt x="183" y="58"/>
                        <a:pt x="168" y="54"/>
                        <a:pt x="148" y="54"/>
                      </a:cubicBezTo>
                      <a:cubicBezTo>
                        <a:pt x="122" y="54"/>
                        <a:pt x="101" y="67"/>
                        <a:pt x="84" y="91"/>
                      </a:cubicBezTo>
                      <a:cubicBezTo>
                        <a:pt x="68" y="116"/>
                        <a:pt x="60" y="148"/>
                        <a:pt x="60" y="188"/>
                      </a:cubicBezTo>
                      <a:cubicBezTo>
                        <a:pt x="60" y="377"/>
                        <a:pt x="60" y="377"/>
                        <a:pt x="60" y="377"/>
                      </a:cubicBezTo>
                      <a:cubicBezTo>
                        <a:pt x="0" y="377"/>
                        <a:pt x="0" y="377"/>
                        <a:pt x="0" y="377"/>
                      </a:cubicBezTo>
                      <a:cubicBezTo>
                        <a:pt x="0" y="6"/>
                        <a:pt x="0" y="6"/>
                        <a:pt x="0" y="6"/>
                      </a:cubicBezTo>
                      <a:cubicBezTo>
                        <a:pt x="60" y="6"/>
                        <a:pt x="60" y="6"/>
                        <a:pt x="60" y="6"/>
                      </a:cubicBezTo>
                      <a:cubicBezTo>
                        <a:pt x="60" y="83"/>
                        <a:pt x="60" y="83"/>
                        <a:pt x="60" y="83"/>
                      </a:cubicBezTo>
                      <a:cubicBezTo>
                        <a:pt x="61" y="83"/>
                        <a:pt x="61" y="83"/>
                        <a:pt x="61" y="83"/>
                      </a:cubicBezTo>
                      <a:cubicBezTo>
                        <a:pt x="69" y="57"/>
                        <a:pt x="82" y="37"/>
                        <a:pt x="99" y="22"/>
                      </a:cubicBezTo>
                      <a:cubicBezTo>
                        <a:pt x="116" y="7"/>
                        <a:pt x="136" y="0"/>
                        <a:pt x="158" y="0"/>
                      </a:cubicBezTo>
                      <a:cubicBezTo>
                        <a:pt x="173" y="0"/>
                        <a:pt x="185" y="1"/>
                        <a:pt x="193" y="5"/>
                      </a:cubicBezTo>
                      <a:lnTo>
                        <a:pt x="19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49" name="Freeform 148"/>
            <p:cNvSpPr>
              <a:spLocks noChangeAspect="1" noEditPoints="1"/>
            </p:cNvSpPr>
            <p:nvPr/>
          </p:nvSpPr>
          <p:spPr bwMode="black">
            <a:xfrm>
              <a:off x="6580676" y="4135932"/>
              <a:ext cx="476729" cy="96135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5"/>
            </a:solidFill>
            <a:ln>
              <a:noFill/>
            </a:ln>
            <a:extLst/>
          </p:spPr>
          <p:txBody>
            <a:bodyPr vert="horz" wrap="square" lIns="71712" tIns="35856" rIns="71712" bIns="35856" numCol="1" anchor="t" anchorCtr="0" compatLnSpc="1">
              <a:prstTxWarp prst="textNoShape">
                <a:avLst/>
              </a:prstTxWarp>
            </a:bodyPr>
            <a:lstStyle/>
            <a:p>
              <a:pPr defTabSz="716632" fontAlgn="base">
                <a:spcBef>
                  <a:spcPct val="0"/>
                </a:spcBef>
                <a:spcAft>
                  <a:spcPct val="0"/>
                </a:spcAft>
              </a:pPr>
              <a:endParaRPr lang="en-US" sz="1372" dirty="0">
                <a:solidFill>
                  <a:srgbClr val="505050"/>
                </a:solidFill>
                <a:cs typeface="Segoe UI" pitchFamily="34" charset="0"/>
              </a:endParaRPr>
            </a:p>
          </p:txBody>
        </p:sp>
      </p:grpSp>
      <p:sp>
        <p:nvSpPr>
          <p:cNvPr id="139" name="Q3"/>
          <p:cNvSpPr txBox="1"/>
          <p:nvPr/>
        </p:nvSpPr>
        <p:spPr>
          <a:xfrm>
            <a:off x="1990426" y="533346"/>
            <a:ext cx="6618216" cy="513403"/>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176" dirty="0" smtClean="0">
                <a:gradFill>
                  <a:gsLst>
                    <a:gs pos="13274">
                      <a:srgbClr val="282828">
                        <a:lumMod val="90000"/>
                        <a:lumOff val="10000"/>
                      </a:srgbClr>
                    </a:gs>
                    <a:gs pos="27434">
                      <a:srgbClr val="282828">
                        <a:lumMod val="90000"/>
                        <a:lumOff val="10000"/>
                      </a:srgbClr>
                    </a:gs>
                  </a:gsLst>
                  <a:lin ang="5400000" scaled="1"/>
                </a:gradFill>
              </a:rPr>
              <a:t>“We </a:t>
            </a:r>
            <a:r>
              <a:rPr lang="en-US" sz="1176" dirty="0">
                <a:gradFill>
                  <a:gsLst>
                    <a:gs pos="13274">
                      <a:srgbClr val="282828">
                        <a:lumMod val="90000"/>
                        <a:lumOff val="10000"/>
                      </a:srgbClr>
                    </a:gs>
                    <a:gs pos="27434">
                      <a:srgbClr val="282828">
                        <a:lumMod val="90000"/>
                        <a:lumOff val="10000"/>
                      </a:srgbClr>
                    </a:gs>
                  </a:gsLst>
                  <a:lin ang="5400000" scaled="1"/>
                </a:gradFill>
              </a:rPr>
              <a:t>are using our secondary datacenter in XXX as our DR site, but it needs a refresh and that is going to be expensive</a:t>
            </a:r>
            <a:r>
              <a:rPr lang="en-US" sz="1176" dirty="0" smtClean="0">
                <a:gradFill>
                  <a:gsLst>
                    <a:gs pos="13274">
                      <a:srgbClr val="282828">
                        <a:lumMod val="90000"/>
                        <a:lumOff val="10000"/>
                      </a:srgbClr>
                    </a:gs>
                    <a:gs pos="27434">
                      <a:srgbClr val="282828">
                        <a:lumMod val="90000"/>
                        <a:lumOff val="10000"/>
                      </a:srgbClr>
                    </a:gs>
                  </a:gsLst>
                  <a:lin ang="5400000" scaled="1"/>
                </a:gradFill>
              </a:rPr>
              <a:t>. </a:t>
            </a:r>
            <a:r>
              <a:rPr lang="en-US" sz="1176" dirty="0">
                <a:gradFill>
                  <a:gsLst>
                    <a:gs pos="13274">
                      <a:srgbClr val="282828">
                        <a:lumMod val="90000"/>
                        <a:lumOff val="10000"/>
                      </a:srgbClr>
                    </a:gs>
                    <a:gs pos="27434">
                      <a:srgbClr val="282828">
                        <a:lumMod val="90000"/>
                        <a:lumOff val="10000"/>
                      </a:srgbClr>
                    </a:gs>
                  </a:gsLst>
                  <a:lin ang="5400000" scaled="1"/>
                </a:gradFill>
              </a:rPr>
              <a:t>Are there any alternatives</a:t>
            </a:r>
            <a:r>
              <a:rPr lang="en-US" sz="1176" dirty="0" smtClean="0">
                <a:gradFill>
                  <a:gsLst>
                    <a:gs pos="13274">
                      <a:srgbClr val="282828">
                        <a:lumMod val="90000"/>
                        <a:lumOff val="10000"/>
                      </a:srgbClr>
                    </a:gs>
                    <a:gs pos="27434">
                      <a:srgbClr val="282828">
                        <a:lumMod val="90000"/>
                        <a:lumOff val="10000"/>
                      </a:srgbClr>
                    </a:gs>
                  </a:gsLst>
                  <a:lin ang="5400000" scaled="1"/>
                </a:gradFill>
              </a:rPr>
              <a:t>?”</a:t>
            </a:r>
            <a:endParaRPr lang="en-US" sz="1176" dirty="0">
              <a:gradFill>
                <a:gsLst>
                  <a:gs pos="13274">
                    <a:srgbClr val="282828">
                      <a:lumMod val="90000"/>
                      <a:lumOff val="10000"/>
                    </a:srgbClr>
                  </a:gs>
                  <a:gs pos="27434">
                    <a:srgbClr val="282828">
                      <a:lumMod val="90000"/>
                      <a:lumOff val="10000"/>
                    </a:srgbClr>
                  </a:gs>
                </a:gsLst>
                <a:lin ang="5400000" scaled="1"/>
              </a:gradFill>
            </a:endParaRPr>
          </a:p>
        </p:txBody>
      </p:sp>
      <p:sp>
        <p:nvSpPr>
          <p:cNvPr id="141" name="Q4"/>
          <p:cNvSpPr txBox="1"/>
          <p:nvPr/>
        </p:nvSpPr>
        <p:spPr>
          <a:xfrm>
            <a:off x="1990426" y="533346"/>
            <a:ext cx="6618216" cy="513403"/>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176" dirty="0" smtClean="0">
                <a:gradFill>
                  <a:gsLst>
                    <a:gs pos="13274">
                      <a:srgbClr val="282828">
                        <a:lumMod val="90000"/>
                        <a:lumOff val="10000"/>
                      </a:srgbClr>
                    </a:gs>
                    <a:gs pos="27434">
                      <a:srgbClr val="282828">
                        <a:lumMod val="90000"/>
                        <a:lumOff val="10000"/>
                      </a:srgbClr>
                    </a:gs>
                  </a:gsLst>
                  <a:lin ang="5400000" scaled="1"/>
                </a:gradFill>
              </a:rPr>
              <a:t>“ASR </a:t>
            </a:r>
            <a:r>
              <a:rPr lang="en-US" sz="1176" dirty="0">
                <a:gradFill>
                  <a:gsLst>
                    <a:gs pos="13274">
                      <a:srgbClr val="282828">
                        <a:lumMod val="90000"/>
                        <a:lumOff val="10000"/>
                      </a:srgbClr>
                    </a:gs>
                    <a:gs pos="27434">
                      <a:srgbClr val="282828">
                        <a:lumMod val="90000"/>
                        <a:lumOff val="10000"/>
                      </a:srgbClr>
                    </a:gs>
                  </a:gsLst>
                  <a:lin ang="5400000" scaled="1"/>
                </a:gradFill>
              </a:rPr>
              <a:t>lets you use Azure as your secondary datacenter</a:t>
            </a:r>
            <a:r>
              <a:rPr lang="en-US" sz="1176" dirty="0" smtClean="0">
                <a:gradFill>
                  <a:gsLst>
                    <a:gs pos="13274">
                      <a:srgbClr val="282828">
                        <a:lumMod val="90000"/>
                        <a:lumOff val="10000"/>
                      </a:srgbClr>
                    </a:gs>
                    <a:gs pos="27434">
                      <a:srgbClr val="282828">
                        <a:lumMod val="90000"/>
                        <a:lumOff val="10000"/>
                      </a:srgbClr>
                    </a:gs>
                  </a:gsLst>
                  <a:lin ang="5400000" scaled="1"/>
                </a:gradFill>
              </a:rPr>
              <a:t>. </a:t>
            </a:r>
            <a:r>
              <a:rPr lang="en-US" sz="1176" dirty="0">
                <a:gradFill>
                  <a:gsLst>
                    <a:gs pos="13274">
                      <a:srgbClr val="282828">
                        <a:lumMod val="90000"/>
                        <a:lumOff val="10000"/>
                      </a:srgbClr>
                    </a:gs>
                    <a:gs pos="27434">
                      <a:srgbClr val="282828">
                        <a:lumMod val="90000"/>
                        <a:lumOff val="10000"/>
                      </a:srgbClr>
                    </a:gs>
                  </a:gsLst>
                  <a:lin ang="5400000" scaled="1"/>
                </a:gradFill>
              </a:rPr>
              <a:t>It’s a pay-as-you-go service, so you don’t have the large dollar outlay for a new datacenter, and can convert </a:t>
            </a:r>
            <a:r>
              <a:rPr lang="en-US" sz="1176" dirty="0" err="1">
                <a:gradFill>
                  <a:gsLst>
                    <a:gs pos="13274">
                      <a:srgbClr val="282828">
                        <a:lumMod val="90000"/>
                        <a:lumOff val="10000"/>
                      </a:srgbClr>
                    </a:gs>
                    <a:gs pos="27434">
                      <a:srgbClr val="282828">
                        <a:lumMod val="90000"/>
                        <a:lumOff val="10000"/>
                      </a:srgbClr>
                    </a:gs>
                  </a:gsLst>
                  <a:lin ang="5400000" scaled="1"/>
                </a:gradFill>
              </a:rPr>
              <a:t>CapEx</a:t>
            </a:r>
            <a:r>
              <a:rPr lang="en-US" sz="1176" dirty="0">
                <a:gradFill>
                  <a:gsLst>
                    <a:gs pos="13274">
                      <a:srgbClr val="282828">
                        <a:lumMod val="90000"/>
                        <a:lumOff val="10000"/>
                      </a:srgbClr>
                    </a:gs>
                    <a:gs pos="27434">
                      <a:srgbClr val="282828">
                        <a:lumMod val="90000"/>
                        <a:lumOff val="10000"/>
                      </a:srgbClr>
                    </a:gs>
                  </a:gsLst>
                  <a:lin ang="5400000" scaled="1"/>
                </a:gradFill>
              </a:rPr>
              <a:t> into </a:t>
            </a:r>
            <a:r>
              <a:rPr lang="en-US" sz="1176" dirty="0" err="1" smtClean="0">
                <a:gradFill>
                  <a:gsLst>
                    <a:gs pos="13274">
                      <a:srgbClr val="282828">
                        <a:lumMod val="90000"/>
                        <a:lumOff val="10000"/>
                      </a:srgbClr>
                    </a:gs>
                    <a:gs pos="27434">
                      <a:srgbClr val="282828">
                        <a:lumMod val="90000"/>
                        <a:lumOff val="10000"/>
                      </a:srgbClr>
                    </a:gs>
                  </a:gsLst>
                  <a:lin ang="5400000" scaled="1"/>
                </a:gradFill>
              </a:rPr>
              <a:t>OpEx</a:t>
            </a:r>
            <a:r>
              <a:rPr lang="en-US" sz="1176" dirty="0" smtClean="0">
                <a:gradFill>
                  <a:gsLst>
                    <a:gs pos="13274">
                      <a:srgbClr val="282828">
                        <a:lumMod val="90000"/>
                        <a:lumOff val="10000"/>
                      </a:srgbClr>
                    </a:gs>
                    <a:gs pos="27434">
                      <a:srgbClr val="282828">
                        <a:lumMod val="90000"/>
                        <a:lumOff val="10000"/>
                      </a:srgbClr>
                    </a:gs>
                  </a:gsLst>
                  <a:lin ang="5400000" scaled="1"/>
                </a:gradFill>
              </a:rPr>
              <a:t>.”</a:t>
            </a:r>
            <a:endParaRPr lang="en-US" sz="1176" dirty="0">
              <a:gradFill>
                <a:gsLst>
                  <a:gs pos="13274">
                    <a:srgbClr val="282828">
                      <a:lumMod val="90000"/>
                      <a:lumOff val="10000"/>
                    </a:srgbClr>
                  </a:gs>
                  <a:gs pos="27434">
                    <a:srgbClr val="282828">
                      <a:lumMod val="90000"/>
                      <a:lumOff val="10000"/>
                    </a:srgbClr>
                  </a:gs>
                </a:gsLst>
                <a:lin ang="5400000" scaled="1"/>
              </a:gradFill>
            </a:endParaRPr>
          </a:p>
        </p:txBody>
      </p:sp>
      <p:sp>
        <p:nvSpPr>
          <p:cNvPr id="147" name="Q5"/>
          <p:cNvSpPr txBox="1"/>
          <p:nvPr/>
        </p:nvSpPr>
        <p:spPr>
          <a:xfrm>
            <a:off x="1990426" y="533346"/>
            <a:ext cx="6618216" cy="679603"/>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176" dirty="0" smtClean="0">
                <a:gradFill>
                  <a:gsLst>
                    <a:gs pos="13274">
                      <a:srgbClr val="282828">
                        <a:lumMod val="90000"/>
                        <a:lumOff val="10000"/>
                      </a:srgbClr>
                    </a:gs>
                    <a:gs pos="27434">
                      <a:srgbClr val="282828">
                        <a:lumMod val="90000"/>
                        <a:lumOff val="10000"/>
                      </a:srgbClr>
                    </a:gs>
                  </a:gsLst>
                  <a:lin ang="5400000" scaled="1"/>
                </a:gradFill>
              </a:rPr>
              <a:t>“We </a:t>
            </a:r>
            <a:r>
              <a:rPr lang="en-US" sz="1176" dirty="0">
                <a:gradFill>
                  <a:gsLst>
                    <a:gs pos="13274">
                      <a:srgbClr val="282828">
                        <a:lumMod val="90000"/>
                        <a:lumOff val="10000"/>
                      </a:srgbClr>
                    </a:gs>
                    <a:gs pos="27434">
                      <a:srgbClr val="282828">
                        <a:lumMod val="90000"/>
                        <a:lumOff val="10000"/>
                      </a:srgbClr>
                    </a:gs>
                  </a:gsLst>
                  <a:lin ang="5400000" scaled="1"/>
                </a:gradFill>
              </a:rPr>
              <a:t>are protecting most of our important applications with our secondary datacenter, but now we have more applications that the business units want to protect, and we don’t have any more compute power available. </a:t>
            </a:r>
            <a:r>
              <a:rPr lang="en-US" sz="1176" dirty="0" smtClean="0">
                <a:gradFill>
                  <a:gsLst>
                    <a:gs pos="13274">
                      <a:srgbClr val="282828">
                        <a:lumMod val="90000"/>
                        <a:lumOff val="10000"/>
                      </a:srgbClr>
                    </a:gs>
                    <a:gs pos="27434">
                      <a:srgbClr val="282828">
                        <a:lumMod val="90000"/>
                        <a:lumOff val="10000"/>
                      </a:srgbClr>
                    </a:gs>
                  </a:gsLst>
                  <a:lin ang="5400000" scaled="1"/>
                </a:gradFill>
              </a:rPr>
              <a:t>Are </a:t>
            </a:r>
            <a:r>
              <a:rPr lang="en-US" sz="1176" dirty="0">
                <a:gradFill>
                  <a:gsLst>
                    <a:gs pos="13274">
                      <a:srgbClr val="282828">
                        <a:lumMod val="90000"/>
                        <a:lumOff val="10000"/>
                      </a:srgbClr>
                    </a:gs>
                    <a:gs pos="27434">
                      <a:srgbClr val="282828">
                        <a:lumMod val="90000"/>
                        <a:lumOff val="10000"/>
                      </a:srgbClr>
                    </a:gs>
                  </a:gsLst>
                  <a:lin ang="5400000" scaled="1"/>
                </a:gradFill>
              </a:rPr>
              <a:t>there any alternatives</a:t>
            </a:r>
            <a:r>
              <a:rPr lang="en-US" sz="1176" dirty="0" smtClean="0">
                <a:gradFill>
                  <a:gsLst>
                    <a:gs pos="13274">
                      <a:srgbClr val="282828">
                        <a:lumMod val="90000"/>
                        <a:lumOff val="10000"/>
                      </a:srgbClr>
                    </a:gs>
                    <a:gs pos="27434">
                      <a:srgbClr val="282828">
                        <a:lumMod val="90000"/>
                        <a:lumOff val="10000"/>
                      </a:srgbClr>
                    </a:gs>
                  </a:gsLst>
                  <a:lin ang="5400000" scaled="1"/>
                </a:gradFill>
              </a:rPr>
              <a:t>?”</a:t>
            </a:r>
            <a:endParaRPr lang="en-US" sz="1176" dirty="0">
              <a:gradFill>
                <a:gsLst>
                  <a:gs pos="13274">
                    <a:srgbClr val="282828">
                      <a:lumMod val="90000"/>
                      <a:lumOff val="10000"/>
                    </a:srgbClr>
                  </a:gs>
                  <a:gs pos="27434">
                    <a:srgbClr val="282828">
                      <a:lumMod val="90000"/>
                      <a:lumOff val="10000"/>
                    </a:srgbClr>
                  </a:gs>
                </a:gsLst>
                <a:lin ang="5400000" scaled="1"/>
              </a:gradFill>
            </a:endParaRPr>
          </a:p>
        </p:txBody>
      </p:sp>
      <p:sp>
        <p:nvSpPr>
          <p:cNvPr id="150" name="Q6"/>
          <p:cNvSpPr txBox="1"/>
          <p:nvPr/>
        </p:nvSpPr>
        <p:spPr>
          <a:xfrm>
            <a:off x="1990426" y="533346"/>
            <a:ext cx="6618216" cy="513403"/>
          </a:xfrm>
          <a:prstGeom prst="rect">
            <a:avLst/>
          </a:prstGeom>
          <a:noFill/>
        </p:spPr>
        <p:txBody>
          <a:bodyPr wrap="square" lIns="89627" tIns="89627" rIns="89627" bIns="89627" rtlCol="0">
            <a:spAutoFit/>
          </a:bodyPr>
          <a:lstStyle/>
          <a:p>
            <a:pPr defTabSz="914206" fontAlgn="base">
              <a:lnSpc>
                <a:spcPct val="90000"/>
              </a:lnSpc>
              <a:spcBef>
                <a:spcPct val="0"/>
              </a:spcBef>
              <a:spcAft>
                <a:spcPts val="588"/>
              </a:spcAft>
            </a:pPr>
            <a:r>
              <a:rPr lang="en-US" sz="1176" dirty="0" smtClean="0">
                <a:gradFill>
                  <a:gsLst>
                    <a:gs pos="13274">
                      <a:srgbClr val="282828">
                        <a:lumMod val="90000"/>
                        <a:lumOff val="10000"/>
                      </a:srgbClr>
                    </a:gs>
                    <a:gs pos="27434">
                      <a:srgbClr val="282828">
                        <a:lumMod val="90000"/>
                        <a:lumOff val="10000"/>
                      </a:srgbClr>
                    </a:gs>
                  </a:gsLst>
                  <a:lin ang="5400000" scaled="1"/>
                </a:gradFill>
              </a:rPr>
              <a:t>“ASR </a:t>
            </a:r>
            <a:r>
              <a:rPr lang="en-US" sz="1176" dirty="0">
                <a:gradFill>
                  <a:gsLst>
                    <a:gs pos="13274">
                      <a:srgbClr val="282828">
                        <a:lumMod val="90000"/>
                        <a:lumOff val="10000"/>
                      </a:srgbClr>
                    </a:gs>
                    <a:gs pos="27434">
                      <a:srgbClr val="282828">
                        <a:lumMod val="90000"/>
                        <a:lumOff val="10000"/>
                      </a:srgbClr>
                    </a:gs>
                  </a:gsLst>
                  <a:lin ang="5400000" scaled="1"/>
                </a:gradFill>
              </a:rPr>
              <a:t>has flexible recovery plans, and lets you failover multi-tier applications without losing data or causing errors in your </a:t>
            </a:r>
            <a:r>
              <a:rPr lang="en-US" sz="1176" dirty="0" smtClean="0">
                <a:gradFill>
                  <a:gsLst>
                    <a:gs pos="13274">
                      <a:srgbClr val="282828">
                        <a:lumMod val="90000"/>
                        <a:lumOff val="10000"/>
                      </a:srgbClr>
                    </a:gs>
                    <a:gs pos="27434">
                      <a:srgbClr val="282828">
                        <a:lumMod val="90000"/>
                        <a:lumOff val="10000"/>
                      </a:srgbClr>
                    </a:gs>
                  </a:gsLst>
                  <a:lin ang="5400000" scaled="1"/>
                </a:gradFill>
              </a:rPr>
              <a:t>application.”</a:t>
            </a:r>
            <a:endParaRPr lang="en-US" sz="1176" dirty="0">
              <a:gradFill>
                <a:gsLst>
                  <a:gs pos="13274">
                    <a:srgbClr val="282828">
                      <a:lumMod val="90000"/>
                      <a:lumOff val="10000"/>
                    </a:srgbClr>
                  </a:gs>
                  <a:gs pos="27434">
                    <a:srgbClr val="282828">
                      <a:lumMod val="90000"/>
                      <a:lumOff val="10000"/>
                    </a:srgbClr>
                  </a:gs>
                </a:gsLst>
                <a:lin ang="5400000" scaled="1"/>
              </a:gradFill>
            </a:endParaRPr>
          </a:p>
        </p:txBody>
      </p:sp>
      <p:sp>
        <p:nvSpPr>
          <p:cNvPr id="89" name="Blue banner"/>
          <p:cNvSpPr/>
          <p:nvPr/>
        </p:nvSpPr>
        <p:spPr bwMode="auto">
          <a:xfrm>
            <a:off x="1189037" y="510086"/>
            <a:ext cx="11026023" cy="1003661"/>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765" dirty="0">
                <a:gradFill>
                  <a:gsLst>
                    <a:gs pos="37168">
                      <a:srgbClr val="FFFFFF"/>
                    </a:gs>
                    <a:gs pos="57000">
                      <a:srgbClr val="FFFFFF"/>
                    </a:gs>
                  </a:gsLst>
                  <a:lin ang="5400000" scaled="0"/>
                </a:gradFill>
              </a:rPr>
              <a:t>Ensure high application availability and automated Disaster Recovery</a:t>
            </a:r>
          </a:p>
        </p:txBody>
      </p:sp>
      <p:grpSp>
        <p:nvGrpSpPr>
          <p:cNvPr id="2" name="Side boxes"/>
          <p:cNvGrpSpPr/>
          <p:nvPr/>
        </p:nvGrpSpPr>
        <p:grpSpPr>
          <a:xfrm>
            <a:off x="1" y="487"/>
            <a:ext cx="986067" cy="6857027"/>
            <a:chOff x="0" y="0"/>
            <a:chExt cx="1005840" cy="6994525"/>
          </a:xfrm>
        </p:grpSpPr>
        <p:sp>
          <p:nvSpPr>
            <p:cNvPr id="84" name="Rectangle 83"/>
            <p:cNvSpPr/>
            <p:nvPr/>
          </p:nvSpPr>
          <p:spPr bwMode="auto">
            <a:xfrm>
              <a:off x="0" y="0"/>
              <a:ext cx="1005840" cy="6994525"/>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85" name="Rectangle 84"/>
            <p:cNvSpPr/>
            <p:nvPr/>
          </p:nvSpPr>
          <p:spPr bwMode="auto">
            <a:xfrm>
              <a:off x="0" y="5096998"/>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86" name="Rectangle 85"/>
            <p:cNvSpPr/>
            <p:nvPr/>
          </p:nvSpPr>
          <p:spPr bwMode="auto">
            <a:xfrm>
              <a:off x="0" y="3498863"/>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87" name="Rectangle 86"/>
            <p:cNvSpPr/>
            <p:nvPr/>
          </p:nvSpPr>
          <p:spPr bwMode="auto">
            <a:xfrm>
              <a:off x="0" y="1900729"/>
              <a:ext cx="1005840" cy="1554480"/>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42478">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Management </a:t>
              </a:r>
              <a:endParaRPr lang="en-US" sz="1568" spc="-20" dirty="0">
                <a:gradFill>
                  <a:gsLst>
                    <a:gs pos="42478">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88" name="Rectangle 87"/>
            <p:cNvSpPr/>
            <p:nvPr/>
          </p:nvSpPr>
          <p:spPr bwMode="auto">
            <a:xfrm>
              <a:off x="0" y="302595"/>
              <a:ext cx="1005840" cy="1554480"/>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grpSp>
    </p:spTree>
    <p:extLst>
      <p:ext uri="{BB962C8B-B14F-4D97-AF65-F5344CB8AC3E}">
        <p14:creationId xmlns:p14="http://schemas.microsoft.com/office/powerpoint/2010/main" val="3114664845"/>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00" fill="hold"/>
                                        <p:tgtEl>
                                          <p:spTgt spid="5"/>
                                        </p:tgtEl>
                                        <p:attrNameLst>
                                          <p:attrName>ppt_x</p:attrName>
                                        </p:attrNameLst>
                                      </p:cBhvr>
                                      <p:tavLst>
                                        <p:tav tm="0">
                                          <p:val>
                                            <p:strVal val="0-#ppt_w/2"/>
                                          </p:val>
                                        </p:tav>
                                        <p:tav tm="100000">
                                          <p:val>
                                            <p:strVal val="#ppt_x"/>
                                          </p:val>
                                        </p:tav>
                                      </p:tavLst>
                                    </p:anim>
                                    <p:anim calcmode="lin" valueType="num">
                                      <p:cBhvr additive="base">
                                        <p:cTn id="8" dur="7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700" fill="hold"/>
                                        <p:tgtEl>
                                          <p:spTgt spid="89"/>
                                        </p:tgtEl>
                                        <p:attrNameLst>
                                          <p:attrName>ppt_x</p:attrName>
                                        </p:attrNameLst>
                                      </p:cBhvr>
                                      <p:tavLst>
                                        <p:tav tm="0">
                                          <p:val>
                                            <p:strVal val="0-#ppt_w/2"/>
                                          </p:val>
                                        </p:tav>
                                        <p:tav tm="100000">
                                          <p:val>
                                            <p:strVal val="#ppt_x"/>
                                          </p:val>
                                        </p:tav>
                                      </p:tavLst>
                                    </p:anim>
                                    <p:anim calcmode="lin" valueType="num">
                                      <p:cBhvr additive="base">
                                        <p:cTn id="12" dur="700" fill="hold"/>
                                        <p:tgtEl>
                                          <p:spTgt spid="8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xit" presetSubtype="8" fill="hold" grpId="1" nodeType="clickEffect">
                                  <p:stCondLst>
                                    <p:cond delay="0"/>
                                  </p:stCondLst>
                                  <p:childTnLst>
                                    <p:animEffect transition="out" filter="wipe(left)">
                                      <p:cBhvr>
                                        <p:cTn id="16" dur="500"/>
                                        <p:tgtEl>
                                          <p:spTgt spid="89"/>
                                        </p:tgtEl>
                                      </p:cBhvr>
                                    </p:animEffect>
                                    <p:set>
                                      <p:cBhvr>
                                        <p:cTn id="17" dur="1" fill="hold">
                                          <p:stCondLst>
                                            <p:cond delay="499"/>
                                          </p:stCondLst>
                                        </p:cTn>
                                        <p:tgtEl>
                                          <p:spTgt spid="89"/>
                                        </p:tgtEl>
                                        <p:attrNameLst>
                                          <p:attrName>style.visibility</p:attrName>
                                        </p:attrNameLst>
                                      </p:cBhvr>
                                      <p:to>
                                        <p:strVal val="hidden"/>
                                      </p:to>
                                    </p:set>
                                  </p:childTnLst>
                                </p:cTn>
                              </p:par>
                            </p:childTnLst>
                          </p:cTn>
                        </p:par>
                        <p:par>
                          <p:cTn id="18" fill="hold">
                            <p:stCondLst>
                              <p:cond delay="500"/>
                            </p:stCondLst>
                            <p:childTnLst>
                              <p:par>
                                <p:cTn id="19" presetID="10" presetClass="entr" presetSubtype="0" fill="hold" grpId="1"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par>
                                <p:cTn id="25" presetID="2" presetClass="entr" presetSubtype="8" decel="100000" fill="hold" nodeType="withEffect">
                                  <p:stCondLst>
                                    <p:cond delay="250"/>
                                  </p:stCondLst>
                                  <p:childTnLst>
                                    <p:set>
                                      <p:cBhvr>
                                        <p:cTn id="26" dur="1" fill="hold">
                                          <p:stCondLst>
                                            <p:cond delay="0"/>
                                          </p:stCondLst>
                                        </p:cTn>
                                        <p:tgtEl>
                                          <p:spTgt spid="44"/>
                                        </p:tgtEl>
                                        <p:attrNameLst>
                                          <p:attrName>style.visibility</p:attrName>
                                        </p:attrNameLst>
                                      </p:cBhvr>
                                      <p:to>
                                        <p:strVal val="visible"/>
                                      </p:to>
                                    </p:set>
                                    <p:anim calcmode="lin" valueType="num">
                                      <p:cBhvr additive="base">
                                        <p:cTn id="27" dur="650" fill="hold"/>
                                        <p:tgtEl>
                                          <p:spTgt spid="44"/>
                                        </p:tgtEl>
                                        <p:attrNameLst>
                                          <p:attrName>ppt_x</p:attrName>
                                        </p:attrNameLst>
                                      </p:cBhvr>
                                      <p:tavLst>
                                        <p:tav tm="0">
                                          <p:val>
                                            <p:strVal val="0-#ppt_w/2"/>
                                          </p:val>
                                        </p:tav>
                                        <p:tav tm="100000">
                                          <p:val>
                                            <p:strVal val="#ppt_x"/>
                                          </p:val>
                                        </p:tav>
                                      </p:tavLst>
                                    </p:anim>
                                    <p:anim calcmode="lin" valueType="num">
                                      <p:cBhvr additive="base">
                                        <p:cTn id="28" dur="650" fill="hold"/>
                                        <p:tgtEl>
                                          <p:spTgt spid="44"/>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450"/>
                                  </p:stCondLst>
                                  <p:childTnLst>
                                    <p:set>
                                      <p:cBhvr>
                                        <p:cTn id="30" dur="1" fill="hold">
                                          <p:stCondLst>
                                            <p:cond delay="0"/>
                                          </p:stCondLst>
                                        </p:cTn>
                                        <p:tgtEl>
                                          <p:spTgt spid="41"/>
                                        </p:tgtEl>
                                        <p:attrNameLst>
                                          <p:attrName>style.visibility</p:attrName>
                                        </p:attrNameLst>
                                      </p:cBhvr>
                                      <p:to>
                                        <p:strVal val="visible"/>
                                      </p:to>
                                    </p:set>
                                    <p:anim calcmode="lin" valueType="num">
                                      <p:cBhvr additive="base">
                                        <p:cTn id="31" dur="650" fill="hold"/>
                                        <p:tgtEl>
                                          <p:spTgt spid="41"/>
                                        </p:tgtEl>
                                        <p:attrNameLst>
                                          <p:attrName>ppt_x</p:attrName>
                                        </p:attrNameLst>
                                      </p:cBhvr>
                                      <p:tavLst>
                                        <p:tav tm="0">
                                          <p:val>
                                            <p:strVal val="0-#ppt_w/2"/>
                                          </p:val>
                                        </p:tav>
                                        <p:tav tm="100000">
                                          <p:val>
                                            <p:strVal val="#ppt_x"/>
                                          </p:val>
                                        </p:tav>
                                      </p:tavLst>
                                    </p:anim>
                                    <p:anim calcmode="lin" valueType="num">
                                      <p:cBhvr additive="base">
                                        <p:cTn id="32" dur="650" fill="hold"/>
                                        <p:tgtEl>
                                          <p:spTgt spid="41"/>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50"/>
                                  </p:stCondLst>
                                  <p:childTnLst>
                                    <p:set>
                                      <p:cBhvr>
                                        <p:cTn id="34" dur="1" fill="hold">
                                          <p:stCondLst>
                                            <p:cond delay="0"/>
                                          </p:stCondLst>
                                        </p:cTn>
                                        <p:tgtEl>
                                          <p:spTgt spid="68"/>
                                        </p:tgtEl>
                                        <p:attrNameLst>
                                          <p:attrName>style.visibility</p:attrName>
                                        </p:attrNameLst>
                                      </p:cBhvr>
                                      <p:to>
                                        <p:strVal val="visible"/>
                                      </p:to>
                                    </p:set>
                                    <p:anim calcmode="lin" valueType="num">
                                      <p:cBhvr additive="base">
                                        <p:cTn id="35" dur="650" fill="hold"/>
                                        <p:tgtEl>
                                          <p:spTgt spid="68"/>
                                        </p:tgtEl>
                                        <p:attrNameLst>
                                          <p:attrName>ppt_x</p:attrName>
                                        </p:attrNameLst>
                                      </p:cBhvr>
                                      <p:tavLst>
                                        <p:tav tm="0">
                                          <p:val>
                                            <p:strVal val="0-#ppt_w/2"/>
                                          </p:val>
                                        </p:tav>
                                        <p:tav tm="100000">
                                          <p:val>
                                            <p:strVal val="#ppt_x"/>
                                          </p:val>
                                        </p:tav>
                                      </p:tavLst>
                                    </p:anim>
                                    <p:anim calcmode="lin" valueType="num">
                                      <p:cBhvr additive="base">
                                        <p:cTn id="36" dur="650" fill="hold"/>
                                        <p:tgtEl>
                                          <p:spTgt spid="68"/>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65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650" fill="hold"/>
                                        <p:tgtEl>
                                          <p:spTgt spid="63"/>
                                        </p:tgtEl>
                                        <p:attrNameLst>
                                          <p:attrName>ppt_x</p:attrName>
                                        </p:attrNameLst>
                                      </p:cBhvr>
                                      <p:tavLst>
                                        <p:tav tm="0">
                                          <p:val>
                                            <p:strVal val="0-#ppt_w/2"/>
                                          </p:val>
                                        </p:tav>
                                        <p:tav tm="100000">
                                          <p:val>
                                            <p:strVal val="#ppt_x"/>
                                          </p:val>
                                        </p:tav>
                                      </p:tavLst>
                                    </p:anim>
                                    <p:anim calcmode="lin" valueType="num">
                                      <p:cBhvr additive="base">
                                        <p:cTn id="40" dur="650" fill="hold"/>
                                        <p:tgtEl>
                                          <p:spTgt spid="63"/>
                                        </p:tgtEl>
                                        <p:attrNameLst>
                                          <p:attrName>ppt_y</p:attrName>
                                        </p:attrNameLst>
                                      </p:cBhvr>
                                      <p:tavLst>
                                        <p:tav tm="0">
                                          <p:val>
                                            <p:strVal val="#ppt_y"/>
                                          </p:val>
                                        </p:tav>
                                        <p:tav tm="100000">
                                          <p:val>
                                            <p:strVal val="#ppt_y"/>
                                          </p:val>
                                        </p:tav>
                                      </p:tavLst>
                                    </p:anim>
                                  </p:childTnLst>
                                </p:cTn>
                              </p:par>
                              <p:par>
                                <p:cTn id="41" presetID="2" presetClass="entr" presetSubtype="8" decel="100000" fill="hold" nodeType="withEffect">
                                  <p:stCondLst>
                                    <p:cond delay="750"/>
                                  </p:stCondLst>
                                  <p:childTnLst>
                                    <p:set>
                                      <p:cBhvr>
                                        <p:cTn id="42" dur="1" fill="hold">
                                          <p:stCondLst>
                                            <p:cond delay="0"/>
                                          </p:stCondLst>
                                        </p:cTn>
                                        <p:tgtEl>
                                          <p:spTgt spid="38"/>
                                        </p:tgtEl>
                                        <p:attrNameLst>
                                          <p:attrName>style.visibility</p:attrName>
                                        </p:attrNameLst>
                                      </p:cBhvr>
                                      <p:to>
                                        <p:strVal val="visible"/>
                                      </p:to>
                                    </p:set>
                                    <p:anim calcmode="lin" valueType="num">
                                      <p:cBhvr additive="base">
                                        <p:cTn id="43" dur="650" fill="hold"/>
                                        <p:tgtEl>
                                          <p:spTgt spid="38"/>
                                        </p:tgtEl>
                                        <p:attrNameLst>
                                          <p:attrName>ppt_x</p:attrName>
                                        </p:attrNameLst>
                                      </p:cBhvr>
                                      <p:tavLst>
                                        <p:tav tm="0">
                                          <p:val>
                                            <p:strVal val="0-#ppt_w/2"/>
                                          </p:val>
                                        </p:tav>
                                        <p:tav tm="100000">
                                          <p:val>
                                            <p:strVal val="#ppt_x"/>
                                          </p:val>
                                        </p:tav>
                                      </p:tavLst>
                                    </p:anim>
                                    <p:anim calcmode="lin" valueType="num">
                                      <p:cBhvr additive="base">
                                        <p:cTn id="44" dur="650" fill="hold"/>
                                        <p:tgtEl>
                                          <p:spTgt spid="38"/>
                                        </p:tgtEl>
                                        <p:attrNameLst>
                                          <p:attrName>ppt_y</p:attrName>
                                        </p:attrNameLst>
                                      </p:cBhvr>
                                      <p:tavLst>
                                        <p:tav tm="0">
                                          <p:val>
                                            <p:strVal val="#ppt_y"/>
                                          </p:val>
                                        </p:tav>
                                        <p:tav tm="100000">
                                          <p:val>
                                            <p:strVal val="#ppt_y"/>
                                          </p:val>
                                        </p:tav>
                                      </p:tavLst>
                                    </p:anim>
                                  </p:childTnLst>
                                </p:cTn>
                              </p:par>
                              <p:par>
                                <p:cTn id="45" presetID="2" presetClass="entr" presetSubtype="8" decel="100000" fill="hold" nodeType="withEffect">
                                  <p:stCondLst>
                                    <p:cond delay="85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650" fill="hold"/>
                                        <p:tgtEl>
                                          <p:spTgt spid="58"/>
                                        </p:tgtEl>
                                        <p:attrNameLst>
                                          <p:attrName>ppt_x</p:attrName>
                                        </p:attrNameLst>
                                      </p:cBhvr>
                                      <p:tavLst>
                                        <p:tav tm="0">
                                          <p:val>
                                            <p:strVal val="0-#ppt_w/2"/>
                                          </p:val>
                                        </p:tav>
                                        <p:tav tm="100000">
                                          <p:val>
                                            <p:strVal val="#ppt_x"/>
                                          </p:val>
                                        </p:tav>
                                      </p:tavLst>
                                    </p:anim>
                                    <p:anim calcmode="lin" valueType="num">
                                      <p:cBhvr additive="base">
                                        <p:cTn id="48" dur="650" fill="hold"/>
                                        <p:tgtEl>
                                          <p:spTgt spid="58"/>
                                        </p:tgtEl>
                                        <p:attrNameLst>
                                          <p:attrName>ppt_y</p:attrName>
                                        </p:attrNameLst>
                                      </p:cBhvr>
                                      <p:tavLst>
                                        <p:tav tm="0">
                                          <p:val>
                                            <p:strVal val="#ppt_y"/>
                                          </p:val>
                                        </p:tav>
                                        <p:tav tm="100000">
                                          <p:val>
                                            <p:strVal val="#ppt_y"/>
                                          </p:val>
                                        </p:tav>
                                      </p:tavLst>
                                    </p:anim>
                                  </p:childTnLst>
                                </p:cTn>
                              </p:par>
                              <p:par>
                                <p:cTn id="49" presetID="2" presetClass="entr" presetSubtype="8" decel="100000" fill="hold" nodeType="withEffect">
                                  <p:stCondLst>
                                    <p:cond delay="950"/>
                                  </p:stCondLst>
                                  <p:childTnLst>
                                    <p:set>
                                      <p:cBhvr>
                                        <p:cTn id="50" dur="1" fill="hold">
                                          <p:stCondLst>
                                            <p:cond delay="0"/>
                                          </p:stCondLst>
                                        </p:cTn>
                                        <p:tgtEl>
                                          <p:spTgt spid="53"/>
                                        </p:tgtEl>
                                        <p:attrNameLst>
                                          <p:attrName>style.visibility</p:attrName>
                                        </p:attrNameLst>
                                      </p:cBhvr>
                                      <p:to>
                                        <p:strVal val="visible"/>
                                      </p:to>
                                    </p:set>
                                    <p:anim calcmode="lin" valueType="num">
                                      <p:cBhvr additive="base">
                                        <p:cTn id="51" dur="650" fill="hold"/>
                                        <p:tgtEl>
                                          <p:spTgt spid="53"/>
                                        </p:tgtEl>
                                        <p:attrNameLst>
                                          <p:attrName>ppt_x</p:attrName>
                                        </p:attrNameLst>
                                      </p:cBhvr>
                                      <p:tavLst>
                                        <p:tav tm="0">
                                          <p:val>
                                            <p:strVal val="0-#ppt_w/2"/>
                                          </p:val>
                                        </p:tav>
                                        <p:tav tm="100000">
                                          <p:val>
                                            <p:strVal val="#ppt_x"/>
                                          </p:val>
                                        </p:tav>
                                      </p:tavLst>
                                    </p:anim>
                                    <p:anim calcmode="lin" valueType="num">
                                      <p:cBhvr additive="base">
                                        <p:cTn id="52" dur="650" fill="hold"/>
                                        <p:tgtEl>
                                          <p:spTgt spid="53"/>
                                        </p:tgtEl>
                                        <p:attrNameLst>
                                          <p:attrName>ppt_y</p:attrName>
                                        </p:attrNameLst>
                                      </p:cBhvr>
                                      <p:tavLst>
                                        <p:tav tm="0">
                                          <p:val>
                                            <p:strVal val="#ppt_y"/>
                                          </p:val>
                                        </p:tav>
                                        <p:tav tm="100000">
                                          <p:val>
                                            <p:strVal val="#ppt_y"/>
                                          </p:val>
                                        </p:tav>
                                      </p:tavLst>
                                    </p:anim>
                                  </p:childTnLst>
                                </p:cTn>
                              </p:par>
                              <p:par>
                                <p:cTn id="53" presetID="22" presetClass="entr" presetSubtype="8" fill="hold" nodeType="withEffect">
                                  <p:stCondLst>
                                    <p:cond delay="1000"/>
                                  </p:stCondLst>
                                  <p:childTnLst>
                                    <p:set>
                                      <p:cBhvr>
                                        <p:cTn id="54" dur="1" fill="hold">
                                          <p:stCondLst>
                                            <p:cond delay="0"/>
                                          </p:stCondLst>
                                        </p:cTn>
                                        <p:tgtEl>
                                          <p:spTgt spid="49"/>
                                        </p:tgtEl>
                                        <p:attrNameLst>
                                          <p:attrName>style.visibility</p:attrName>
                                        </p:attrNameLst>
                                      </p:cBhvr>
                                      <p:to>
                                        <p:strVal val="visible"/>
                                      </p:to>
                                    </p:set>
                                    <p:animEffect transition="in" filter="wipe(left)">
                                      <p:cBhvr>
                                        <p:cTn id="55" dur="650"/>
                                        <p:tgtEl>
                                          <p:spTgt spid="49"/>
                                        </p:tgtEl>
                                      </p:cBhvr>
                                    </p:animEffect>
                                  </p:childTnLst>
                                </p:cTn>
                              </p:par>
                              <p:par>
                                <p:cTn id="56" presetID="10" presetClass="entr" presetSubtype="0" fill="hold" grpId="0" nodeType="withEffect">
                                  <p:stCondLst>
                                    <p:cond delay="1250"/>
                                  </p:stCondLst>
                                  <p:childTnLst>
                                    <p:set>
                                      <p:cBhvr>
                                        <p:cTn id="57" dur="1" fill="hold">
                                          <p:stCondLst>
                                            <p:cond delay="0"/>
                                          </p:stCondLst>
                                        </p:cTn>
                                        <p:tgtEl>
                                          <p:spTgt spid="48"/>
                                        </p:tgtEl>
                                        <p:attrNameLst>
                                          <p:attrName>style.visibility</p:attrName>
                                        </p:attrNameLst>
                                      </p:cBhvr>
                                      <p:to>
                                        <p:strVal val="visible"/>
                                      </p:to>
                                    </p:set>
                                    <p:animEffect transition="in" filter="fade">
                                      <p:cBhvr>
                                        <p:cTn id="58" dur="500"/>
                                        <p:tgtEl>
                                          <p:spTgt spid="48"/>
                                        </p:tgtEl>
                                      </p:cBhvr>
                                    </p:animEffect>
                                  </p:childTnLst>
                                </p:cTn>
                              </p:par>
                              <p:par>
                                <p:cTn id="59" presetID="2" presetClass="entr" presetSubtype="2" decel="100000" fill="hold" nodeType="withEffect">
                                  <p:stCondLst>
                                    <p:cond delay="1500"/>
                                  </p:stCondLst>
                                  <p:childTnLst>
                                    <p:set>
                                      <p:cBhvr>
                                        <p:cTn id="60" dur="1" fill="hold">
                                          <p:stCondLst>
                                            <p:cond delay="0"/>
                                          </p:stCondLst>
                                        </p:cTn>
                                        <p:tgtEl>
                                          <p:spTgt spid="45"/>
                                        </p:tgtEl>
                                        <p:attrNameLst>
                                          <p:attrName>style.visibility</p:attrName>
                                        </p:attrNameLst>
                                      </p:cBhvr>
                                      <p:to>
                                        <p:strVal val="visible"/>
                                      </p:to>
                                    </p:set>
                                    <p:anim calcmode="lin" valueType="num">
                                      <p:cBhvr additive="base">
                                        <p:cTn id="61" dur="650" fill="hold"/>
                                        <p:tgtEl>
                                          <p:spTgt spid="45"/>
                                        </p:tgtEl>
                                        <p:attrNameLst>
                                          <p:attrName>ppt_x</p:attrName>
                                        </p:attrNameLst>
                                      </p:cBhvr>
                                      <p:tavLst>
                                        <p:tav tm="0">
                                          <p:val>
                                            <p:strVal val="1+#ppt_w/2"/>
                                          </p:val>
                                        </p:tav>
                                        <p:tav tm="100000">
                                          <p:val>
                                            <p:strVal val="#ppt_x"/>
                                          </p:val>
                                        </p:tav>
                                      </p:tavLst>
                                    </p:anim>
                                    <p:anim calcmode="lin" valueType="num">
                                      <p:cBhvr additive="base">
                                        <p:cTn id="62" dur="650" fill="hold"/>
                                        <p:tgtEl>
                                          <p:spTgt spid="45"/>
                                        </p:tgtEl>
                                        <p:attrNameLst>
                                          <p:attrName>ppt_y</p:attrName>
                                        </p:attrNameLst>
                                      </p:cBhvr>
                                      <p:tavLst>
                                        <p:tav tm="0">
                                          <p:val>
                                            <p:strVal val="#ppt_y"/>
                                          </p:val>
                                        </p:tav>
                                        <p:tav tm="100000">
                                          <p:val>
                                            <p:strVal val="#ppt_y"/>
                                          </p:val>
                                        </p:tav>
                                      </p:tavLst>
                                    </p:anim>
                                  </p:childTnLst>
                                </p:cTn>
                              </p:par>
                              <p:par>
                                <p:cTn id="63" presetID="10" presetClass="entr" presetSubtype="0" fill="hold" grpId="0" nodeType="withEffect">
                                  <p:stCondLst>
                                    <p:cond delay="1700"/>
                                  </p:stCondLst>
                                  <p:childTnLst>
                                    <p:set>
                                      <p:cBhvr>
                                        <p:cTn id="64" dur="1" fill="hold">
                                          <p:stCondLst>
                                            <p:cond delay="0"/>
                                          </p:stCondLst>
                                        </p:cTn>
                                        <p:tgtEl>
                                          <p:spTgt spid="47"/>
                                        </p:tgtEl>
                                        <p:attrNameLst>
                                          <p:attrName>style.visibility</p:attrName>
                                        </p:attrNameLst>
                                      </p:cBhvr>
                                      <p:to>
                                        <p:strVal val="visible"/>
                                      </p:to>
                                    </p:set>
                                    <p:animEffect transition="in" filter="fade">
                                      <p:cBhvr>
                                        <p:cTn id="65" dur="500"/>
                                        <p:tgtEl>
                                          <p:spTgt spid="47"/>
                                        </p:tgtEl>
                                      </p:cBhvr>
                                    </p:animEffect>
                                  </p:childTnLst>
                                </p:cTn>
                              </p:par>
                              <p:par>
                                <p:cTn id="66" presetID="2" presetClass="entr" presetSubtype="2" decel="100000" fill="hold" nodeType="withEffect">
                                  <p:stCondLst>
                                    <p:cond delay="1700"/>
                                  </p:stCondLst>
                                  <p:childTnLst>
                                    <p:set>
                                      <p:cBhvr>
                                        <p:cTn id="67" dur="1" fill="hold">
                                          <p:stCondLst>
                                            <p:cond delay="0"/>
                                          </p:stCondLst>
                                        </p:cTn>
                                        <p:tgtEl>
                                          <p:spTgt spid="35"/>
                                        </p:tgtEl>
                                        <p:attrNameLst>
                                          <p:attrName>style.visibility</p:attrName>
                                        </p:attrNameLst>
                                      </p:cBhvr>
                                      <p:to>
                                        <p:strVal val="visible"/>
                                      </p:to>
                                    </p:set>
                                    <p:anim calcmode="lin" valueType="num">
                                      <p:cBhvr additive="base">
                                        <p:cTn id="68" dur="650" fill="hold"/>
                                        <p:tgtEl>
                                          <p:spTgt spid="35"/>
                                        </p:tgtEl>
                                        <p:attrNameLst>
                                          <p:attrName>ppt_x</p:attrName>
                                        </p:attrNameLst>
                                      </p:cBhvr>
                                      <p:tavLst>
                                        <p:tav tm="0">
                                          <p:val>
                                            <p:strVal val="1+#ppt_w/2"/>
                                          </p:val>
                                        </p:tav>
                                        <p:tav tm="100000">
                                          <p:val>
                                            <p:strVal val="#ppt_x"/>
                                          </p:val>
                                        </p:tav>
                                      </p:tavLst>
                                    </p:anim>
                                    <p:anim calcmode="lin" valueType="num">
                                      <p:cBhvr additive="base">
                                        <p:cTn id="69" dur="650" fill="hold"/>
                                        <p:tgtEl>
                                          <p:spTgt spid="35"/>
                                        </p:tgtEl>
                                        <p:attrNameLst>
                                          <p:attrName>ppt_y</p:attrName>
                                        </p:attrNameLst>
                                      </p:cBhvr>
                                      <p:tavLst>
                                        <p:tav tm="0">
                                          <p:val>
                                            <p:strVal val="#ppt_y"/>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10" presetClass="exit" presetSubtype="0" fill="hold" grpId="0" nodeType="clickEffect">
                                  <p:stCondLst>
                                    <p:cond delay="0"/>
                                  </p:stCondLst>
                                  <p:childTnLst>
                                    <p:animEffect transition="out" filter="fade">
                                      <p:cBhvr>
                                        <p:cTn id="73" dur="300"/>
                                        <p:tgtEl>
                                          <p:spTgt spid="73"/>
                                        </p:tgtEl>
                                      </p:cBhvr>
                                    </p:animEffect>
                                    <p:set>
                                      <p:cBhvr>
                                        <p:cTn id="74" dur="1" fill="hold">
                                          <p:stCondLst>
                                            <p:cond delay="299"/>
                                          </p:stCondLst>
                                        </p:cTn>
                                        <p:tgtEl>
                                          <p:spTgt spid="73"/>
                                        </p:tgtEl>
                                        <p:attrNameLst>
                                          <p:attrName>style.visibility</p:attrName>
                                        </p:attrNameLst>
                                      </p:cBhvr>
                                      <p:to>
                                        <p:strVal val="hidden"/>
                                      </p:to>
                                    </p:set>
                                  </p:childTnLst>
                                </p:cTn>
                              </p:par>
                              <p:par>
                                <p:cTn id="75" presetID="10" presetClass="entr" presetSubtype="0" fill="hold" nodeType="withEffect">
                                  <p:stCondLst>
                                    <p:cond delay="0"/>
                                  </p:stCondLst>
                                  <p:childTnLst>
                                    <p:set>
                                      <p:cBhvr>
                                        <p:cTn id="76" dur="1" fill="hold">
                                          <p:stCondLst>
                                            <p:cond delay="0"/>
                                          </p:stCondLst>
                                        </p:cTn>
                                        <p:tgtEl>
                                          <p:spTgt spid="78"/>
                                        </p:tgtEl>
                                        <p:attrNameLst>
                                          <p:attrName>style.visibility</p:attrName>
                                        </p:attrNameLst>
                                      </p:cBhvr>
                                      <p:to>
                                        <p:strVal val="visible"/>
                                      </p:to>
                                    </p:set>
                                    <p:animEffect transition="in" filter="fade">
                                      <p:cBhvr>
                                        <p:cTn id="77" dur="250"/>
                                        <p:tgtEl>
                                          <p:spTgt spid="78"/>
                                        </p:tgtEl>
                                      </p:cBhvr>
                                    </p:animEffect>
                                  </p:childTnLst>
                                </p:cTn>
                              </p:par>
                            </p:childTnLst>
                          </p:cTn>
                        </p:par>
                        <p:par>
                          <p:cTn id="78" fill="hold">
                            <p:stCondLst>
                              <p:cond delay="300"/>
                            </p:stCondLst>
                            <p:childTnLst>
                              <p:par>
                                <p:cTn id="79" presetID="10" presetClass="entr" presetSubtype="0" fill="hold" grpId="0" nodeType="afterEffect">
                                  <p:stCondLst>
                                    <p:cond delay="0"/>
                                  </p:stCondLst>
                                  <p:childTnLst>
                                    <p:set>
                                      <p:cBhvr>
                                        <p:cTn id="80" dur="1" fill="hold">
                                          <p:stCondLst>
                                            <p:cond delay="0"/>
                                          </p:stCondLst>
                                        </p:cTn>
                                        <p:tgtEl>
                                          <p:spTgt spid="83"/>
                                        </p:tgtEl>
                                        <p:attrNameLst>
                                          <p:attrName>style.visibility</p:attrName>
                                        </p:attrNameLst>
                                      </p:cBhvr>
                                      <p:to>
                                        <p:strVal val="visible"/>
                                      </p:to>
                                    </p:set>
                                    <p:animEffect transition="in" filter="fade">
                                      <p:cBhvr>
                                        <p:cTn id="81" dur="250"/>
                                        <p:tgtEl>
                                          <p:spTgt spid="83"/>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52"/>
                                        </p:tgtEl>
                                        <p:attrNameLst>
                                          <p:attrName>style.visibility</p:attrName>
                                        </p:attrNameLst>
                                      </p:cBhvr>
                                      <p:to>
                                        <p:strVal val="visible"/>
                                      </p:to>
                                    </p:set>
                                    <p:animEffect transition="in" filter="fade">
                                      <p:cBhvr>
                                        <p:cTn id="86" dur="500"/>
                                        <p:tgtEl>
                                          <p:spTgt spid="52"/>
                                        </p:tgtEl>
                                      </p:cBhvr>
                                    </p:animEffect>
                                  </p:childTnLst>
                                </p:cTn>
                              </p:par>
                            </p:childTnLst>
                          </p:cTn>
                        </p:par>
                        <p:par>
                          <p:cTn id="87" fill="hold">
                            <p:stCondLst>
                              <p:cond delay="500"/>
                            </p:stCondLst>
                            <p:childTnLst>
                              <p:par>
                                <p:cTn id="88" presetID="42" presetClass="path" presetSubtype="0" decel="100000" fill="hold" nodeType="afterEffect">
                                  <p:stCondLst>
                                    <p:cond delay="0"/>
                                  </p:stCondLst>
                                  <p:childTnLst>
                                    <p:animMotion origin="layout" path="M -4.55451E-6 -3.88561E-6 L -0.02935 -0.23536 " pathEditMode="relative" rAng="0" ptsTypes="AA">
                                      <p:cBhvr>
                                        <p:cTn id="89" dur="800" fill="hold"/>
                                        <p:tgtEl>
                                          <p:spTgt spid="58"/>
                                        </p:tgtEl>
                                        <p:attrNameLst>
                                          <p:attrName>ppt_x</p:attrName>
                                          <p:attrName>ppt_y</p:attrName>
                                        </p:attrNameLst>
                                      </p:cBhvr>
                                      <p:rCtr x="-1468" y="-11779"/>
                                    </p:animMotion>
                                  </p:childTnLst>
                                </p:cTn>
                              </p:par>
                              <p:par>
                                <p:cTn id="90" presetID="42" presetClass="path" presetSubtype="0" decel="100000" fill="hold" nodeType="withEffect">
                                  <p:stCondLst>
                                    <p:cond delay="250"/>
                                  </p:stCondLst>
                                  <p:childTnLst>
                                    <p:animMotion origin="layout" path="M -4.55451E-6 2.05629E-6 L -0.02935 -0.23536 " pathEditMode="relative" rAng="0" ptsTypes="AA">
                                      <p:cBhvr>
                                        <p:cTn id="91" dur="800" fill="hold"/>
                                        <p:tgtEl>
                                          <p:spTgt spid="53"/>
                                        </p:tgtEl>
                                        <p:attrNameLst>
                                          <p:attrName>ppt_x</p:attrName>
                                          <p:attrName>ppt_y</p:attrName>
                                        </p:attrNameLst>
                                      </p:cBhvr>
                                      <p:rCtr x="-1468" y="-11779"/>
                                    </p:animMotion>
                                  </p:childTnLst>
                                </p:cTn>
                              </p:par>
                            </p:childTnLst>
                          </p:cTn>
                        </p:par>
                      </p:childTnLst>
                    </p:cTn>
                  </p:par>
                  <p:par>
                    <p:cTn id="92" fill="hold">
                      <p:stCondLst>
                        <p:cond delay="indefinite"/>
                      </p:stCondLst>
                      <p:childTnLst>
                        <p:par>
                          <p:cTn id="93" fill="hold">
                            <p:stCondLst>
                              <p:cond delay="0"/>
                            </p:stCondLst>
                            <p:childTnLst>
                              <p:par>
                                <p:cTn id="94" presetID="10" presetClass="exit" presetSubtype="0" fill="hold" grpId="1" nodeType="clickEffect">
                                  <p:stCondLst>
                                    <p:cond delay="0"/>
                                  </p:stCondLst>
                                  <p:childTnLst>
                                    <p:animEffect transition="out" filter="fade">
                                      <p:cBhvr>
                                        <p:cTn id="95" dur="500"/>
                                        <p:tgtEl>
                                          <p:spTgt spid="52"/>
                                        </p:tgtEl>
                                      </p:cBhvr>
                                    </p:animEffect>
                                    <p:set>
                                      <p:cBhvr>
                                        <p:cTn id="96" dur="1" fill="hold">
                                          <p:stCondLst>
                                            <p:cond delay="499"/>
                                          </p:stCondLst>
                                        </p:cTn>
                                        <p:tgtEl>
                                          <p:spTgt spid="52"/>
                                        </p:tgtEl>
                                        <p:attrNameLst>
                                          <p:attrName>style.visibility</p:attrName>
                                        </p:attrNameLst>
                                      </p:cBhvr>
                                      <p:to>
                                        <p:strVal val="hidden"/>
                                      </p:to>
                                    </p:set>
                                  </p:childTnLst>
                                </p:cTn>
                              </p:par>
                            </p:childTnLst>
                          </p:cTn>
                        </p:par>
                        <p:par>
                          <p:cTn id="97" fill="hold">
                            <p:stCondLst>
                              <p:cond delay="500"/>
                            </p:stCondLst>
                            <p:childTnLst>
                              <p:par>
                                <p:cTn id="98" presetID="42" presetClass="path" presetSubtype="0" decel="100000" fill="hold" nodeType="afterEffect">
                                  <p:stCondLst>
                                    <p:cond delay="0"/>
                                  </p:stCondLst>
                                  <p:childTnLst>
                                    <p:animMotion origin="layout" path="M -0.02935 -0.23536 L -4.55451E-6 -3.88561E-6 " pathEditMode="relative" rAng="0" ptsTypes="AA">
                                      <p:cBhvr>
                                        <p:cTn id="99" dur="800" fill="hold"/>
                                        <p:tgtEl>
                                          <p:spTgt spid="58"/>
                                        </p:tgtEl>
                                        <p:attrNameLst>
                                          <p:attrName>ppt_x</p:attrName>
                                          <p:attrName>ppt_y</p:attrName>
                                        </p:attrNameLst>
                                      </p:cBhvr>
                                      <p:rCtr x="1468" y="11757"/>
                                    </p:animMotion>
                                  </p:childTnLst>
                                </p:cTn>
                              </p:par>
                              <p:par>
                                <p:cTn id="100" presetID="42" presetClass="path" presetSubtype="0" decel="100000" fill="hold" nodeType="withEffect">
                                  <p:stCondLst>
                                    <p:cond delay="250"/>
                                  </p:stCondLst>
                                  <p:childTnLst>
                                    <p:animMotion origin="layout" path="M -0.02935 -0.23536 L -4.55451E-6 2.05629E-6 " pathEditMode="relative" rAng="0" ptsTypes="AA">
                                      <p:cBhvr>
                                        <p:cTn id="101" dur="800" fill="hold"/>
                                        <p:tgtEl>
                                          <p:spTgt spid="53"/>
                                        </p:tgtEl>
                                        <p:attrNameLst>
                                          <p:attrName>ppt_x</p:attrName>
                                          <p:attrName>ppt_y</p:attrName>
                                        </p:attrNameLst>
                                      </p:cBhvr>
                                      <p:rCtr x="1468" y="11757"/>
                                    </p:animMotion>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51"/>
                                        </p:tgtEl>
                                        <p:attrNameLst>
                                          <p:attrName>style.visibility</p:attrName>
                                        </p:attrNameLst>
                                      </p:cBhvr>
                                      <p:to>
                                        <p:strVal val="visible"/>
                                      </p:to>
                                    </p:set>
                                    <p:animEffect transition="in" filter="fade">
                                      <p:cBhvr>
                                        <p:cTn id="106" dur="500"/>
                                        <p:tgtEl>
                                          <p:spTgt spid="51"/>
                                        </p:tgtEl>
                                      </p:cBhvr>
                                    </p:animEffect>
                                  </p:childTnLst>
                                </p:cTn>
                              </p:par>
                            </p:childTnLst>
                          </p:cTn>
                        </p:par>
                        <p:par>
                          <p:cTn id="107" fill="hold">
                            <p:stCondLst>
                              <p:cond delay="500"/>
                            </p:stCondLst>
                            <p:childTnLst>
                              <p:par>
                                <p:cTn id="108" presetID="0" presetClass="path" presetSubtype="0" decel="100000" fill="hold" nodeType="afterEffect">
                                  <p:stCondLst>
                                    <p:cond delay="0"/>
                                  </p:stCondLst>
                                  <p:childTnLst>
                                    <p:animMotion origin="layout" path="M 7.42915E-7 -3.01407E-6 L 0.47409 0.10077 " pathEditMode="relative" rAng="0" ptsTypes="AA">
                                      <p:cBhvr>
                                        <p:cTn id="109" dur="1250" fill="hold"/>
                                        <p:tgtEl>
                                          <p:spTgt spid="68"/>
                                        </p:tgtEl>
                                        <p:attrNameLst>
                                          <p:attrName>ppt_x</p:attrName>
                                          <p:attrName>ppt_y</p:attrName>
                                        </p:attrNameLst>
                                      </p:cBhvr>
                                      <p:rCtr x="23704" y="5039"/>
                                    </p:animMotion>
                                  </p:childTnLst>
                                </p:cTn>
                              </p:par>
                              <p:par>
                                <p:cTn id="110" presetID="0" presetClass="path" presetSubtype="0" decel="100000" fill="hold" nodeType="withEffect">
                                  <p:stCondLst>
                                    <p:cond delay="250"/>
                                  </p:stCondLst>
                                  <p:childTnLst>
                                    <p:animMotion origin="layout" path="M -4.55451E-6 -1.36632E-6 L 0.47435 0.10055 " pathEditMode="relative" rAng="0" ptsTypes="AA">
                                      <p:cBhvr>
                                        <p:cTn id="111" dur="1250" fill="hold"/>
                                        <p:tgtEl>
                                          <p:spTgt spid="63"/>
                                        </p:tgtEl>
                                        <p:attrNameLst>
                                          <p:attrName>ppt_x</p:attrName>
                                          <p:attrName>ppt_y</p:attrName>
                                        </p:attrNameLst>
                                      </p:cBhvr>
                                      <p:rCtr x="23717" y="5016"/>
                                    </p:animMotion>
                                  </p:childTnLst>
                                </p:cTn>
                              </p:par>
                              <p:par>
                                <p:cTn id="112" presetID="0" presetClass="path" presetSubtype="0" decel="100000" fill="hold" nodeType="withEffect">
                                  <p:stCondLst>
                                    <p:cond delay="500"/>
                                  </p:stCondLst>
                                  <p:childTnLst>
                                    <p:animMotion origin="layout" path="M -4.55451E-6 -3.88561E-6 L 0.44461 -0.13481 " pathEditMode="relative" rAng="0" ptsTypes="AA">
                                      <p:cBhvr>
                                        <p:cTn id="113" dur="1250" fill="hold"/>
                                        <p:tgtEl>
                                          <p:spTgt spid="58"/>
                                        </p:tgtEl>
                                        <p:attrNameLst>
                                          <p:attrName>ppt_x</p:attrName>
                                          <p:attrName>ppt_y</p:attrName>
                                        </p:attrNameLst>
                                      </p:cBhvr>
                                      <p:rCtr x="22224" y="-6741"/>
                                    </p:animMotion>
                                  </p:childTnLst>
                                </p:cTn>
                              </p:par>
                              <p:par>
                                <p:cTn id="114" presetID="0" presetClass="path" presetSubtype="0" decel="100000" fill="hold" nodeType="withEffect">
                                  <p:stCondLst>
                                    <p:cond delay="750"/>
                                  </p:stCondLst>
                                  <p:childTnLst>
                                    <p:animMotion origin="layout" path="M -4.55451E-6 2.05629E-6 L 0.44461 -0.13527 " pathEditMode="relative" rAng="0" ptsTypes="AA">
                                      <p:cBhvr>
                                        <p:cTn id="115" dur="1250" fill="hold"/>
                                        <p:tgtEl>
                                          <p:spTgt spid="53"/>
                                        </p:tgtEl>
                                        <p:attrNameLst>
                                          <p:attrName>ppt_x</p:attrName>
                                          <p:attrName>ppt_y</p:attrName>
                                        </p:attrNameLst>
                                      </p:cBhvr>
                                      <p:rCtr x="22224" y="-6764"/>
                                    </p:animMotion>
                                  </p:childTnLst>
                                </p:cTn>
                              </p:par>
                            </p:childTnLst>
                          </p:cTn>
                        </p:par>
                      </p:childTnLst>
                    </p:cTn>
                  </p:par>
                  <p:par>
                    <p:cTn id="116" fill="hold">
                      <p:stCondLst>
                        <p:cond delay="indefinite"/>
                      </p:stCondLst>
                      <p:childTnLst>
                        <p:par>
                          <p:cTn id="117" fill="hold">
                            <p:stCondLst>
                              <p:cond delay="0"/>
                            </p:stCondLst>
                            <p:childTnLst>
                              <p:par>
                                <p:cTn id="118" presetID="10" presetClass="exit" presetSubtype="0" fill="hold" nodeType="clickEffect">
                                  <p:stCondLst>
                                    <p:cond delay="0"/>
                                  </p:stCondLst>
                                  <p:childTnLst>
                                    <p:animEffect transition="out" filter="fade">
                                      <p:cBhvr>
                                        <p:cTn id="119" dur="500"/>
                                        <p:tgtEl>
                                          <p:spTgt spid="49"/>
                                        </p:tgtEl>
                                      </p:cBhvr>
                                    </p:animEffect>
                                    <p:set>
                                      <p:cBhvr>
                                        <p:cTn id="120" dur="1" fill="hold">
                                          <p:stCondLst>
                                            <p:cond delay="499"/>
                                          </p:stCondLst>
                                        </p:cTn>
                                        <p:tgtEl>
                                          <p:spTgt spid="49"/>
                                        </p:tgtEl>
                                        <p:attrNameLst>
                                          <p:attrName>style.visibility</p:attrName>
                                        </p:attrNameLst>
                                      </p:cBhvr>
                                      <p:to>
                                        <p:strVal val="hidden"/>
                                      </p:to>
                                    </p:set>
                                  </p:childTnLst>
                                </p:cTn>
                              </p:par>
                            </p:childTnLst>
                          </p:cTn>
                        </p:par>
                        <p:par>
                          <p:cTn id="121" fill="hold">
                            <p:stCondLst>
                              <p:cond delay="500"/>
                            </p:stCondLst>
                            <p:childTnLst>
                              <p:par>
                                <p:cTn id="122" presetID="10" presetClass="exit" presetSubtype="0" fill="hold" grpId="1" nodeType="afterEffect">
                                  <p:stCondLst>
                                    <p:cond delay="0"/>
                                  </p:stCondLst>
                                  <p:childTnLst>
                                    <p:animEffect transition="out" filter="fade">
                                      <p:cBhvr>
                                        <p:cTn id="123" dur="500"/>
                                        <p:tgtEl>
                                          <p:spTgt spid="51"/>
                                        </p:tgtEl>
                                      </p:cBhvr>
                                    </p:animEffect>
                                    <p:set>
                                      <p:cBhvr>
                                        <p:cTn id="124" dur="1" fill="hold">
                                          <p:stCondLst>
                                            <p:cond delay="499"/>
                                          </p:stCondLst>
                                        </p:cTn>
                                        <p:tgtEl>
                                          <p:spTgt spid="51"/>
                                        </p:tgtEl>
                                        <p:attrNameLst>
                                          <p:attrName>style.visibility</p:attrName>
                                        </p:attrNameLst>
                                      </p:cBhvr>
                                      <p:to>
                                        <p:strVal val="hidden"/>
                                      </p:to>
                                    </p:set>
                                  </p:childTnLst>
                                </p:cTn>
                              </p:par>
                            </p:childTnLst>
                          </p:cTn>
                        </p:par>
                        <p:par>
                          <p:cTn id="125" fill="hold">
                            <p:stCondLst>
                              <p:cond delay="1000"/>
                            </p:stCondLst>
                            <p:childTnLst>
                              <p:par>
                                <p:cTn id="126" presetID="22" presetClass="entr" presetSubtype="2" fill="hold" nodeType="afterEffect">
                                  <p:stCondLst>
                                    <p:cond delay="0"/>
                                  </p:stCondLst>
                                  <p:childTnLst>
                                    <p:set>
                                      <p:cBhvr>
                                        <p:cTn id="127" dur="1" fill="hold">
                                          <p:stCondLst>
                                            <p:cond delay="0"/>
                                          </p:stCondLst>
                                        </p:cTn>
                                        <p:tgtEl>
                                          <p:spTgt spid="50"/>
                                        </p:tgtEl>
                                        <p:attrNameLst>
                                          <p:attrName>style.visibility</p:attrName>
                                        </p:attrNameLst>
                                      </p:cBhvr>
                                      <p:to>
                                        <p:strVal val="visible"/>
                                      </p:to>
                                    </p:set>
                                    <p:animEffect transition="in" filter="wipe(right)">
                                      <p:cBhvr>
                                        <p:cTn id="128" dur="500"/>
                                        <p:tgtEl>
                                          <p:spTgt spid="50"/>
                                        </p:tgtEl>
                                      </p:cBhvr>
                                    </p:animEffect>
                                  </p:childTnLst>
                                </p:cTn>
                              </p:par>
                            </p:childTnLst>
                          </p:cTn>
                        </p:par>
                        <p:par>
                          <p:cTn id="129" fill="hold">
                            <p:stCondLst>
                              <p:cond delay="1500"/>
                            </p:stCondLst>
                            <p:childTnLst>
                              <p:par>
                                <p:cTn id="130" presetID="0" presetClass="path" presetSubtype="0" decel="100000" fill="hold" nodeType="afterEffect">
                                  <p:stCondLst>
                                    <p:cond delay="0"/>
                                  </p:stCondLst>
                                  <p:childTnLst>
                                    <p:animMotion origin="layout" path="M 0.47409 0.10077 L 7.42915E-7 -3.01407E-6 " pathEditMode="relative" rAng="0" ptsTypes="AA">
                                      <p:cBhvr>
                                        <p:cTn id="131" dur="1250" fill="hold"/>
                                        <p:tgtEl>
                                          <p:spTgt spid="68"/>
                                        </p:tgtEl>
                                        <p:attrNameLst>
                                          <p:attrName>ppt_x</p:attrName>
                                          <p:attrName>ppt_y</p:attrName>
                                        </p:attrNameLst>
                                      </p:cBhvr>
                                      <p:rCtr x="-23704" y="-5039"/>
                                    </p:animMotion>
                                  </p:childTnLst>
                                </p:cTn>
                              </p:par>
                              <p:par>
                                <p:cTn id="132" presetID="0" presetClass="path" presetSubtype="0" decel="100000" fill="hold" nodeType="withEffect">
                                  <p:stCondLst>
                                    <p:cond delay="250"/>
                                  </p:stCondLst>
                                  <p:childTnLst>
                                    <p:animMotion origin="layout" path="M 0.47435 0.10055 L -4.55451E-6 -1.36632E-6 " pathEditMode="relative" rAng="0" ptsTypes="AA">
                                      <p:cBhvr>
                                        <p:cTn id="133" dur="1250" fill="hold"/>
                                        <p:tgtEl>
                                          <p:spTgt spid="63"/>
                                        </p:tgtEl>
                                        <p:attrNameLst>
                                          <p:attrName>ppt_x</p:attrName>
                                          <p:attrName>ppt_y</p:attrName>
                                        </p:attrNameLst>
                                      </p:cBhvr>
                                      <p:rCtr x="-23717" y="-5039"/>
                                    </p:animMotion>
                                  </p:childTnLst>
                                </p:cTn>
                              </p:par>
                              <p:par>
                                <p:cTn id="134" presetID="0" presetClass="path" presetSubtype="0" decel="100000" fill="hold" nodeType="withEffect">
                                  <p:stCondLst>
                                    <p:cond delay="500"/>
                                  </p:stCondLst>
                                  <p:childTnLst>
                                    <p:animMotion origin="layout" path="M 0.44461 -0.13481 L -4.55451E-6 -3.88561E-6 " pathEditMode="relative" rAng="0" ptsTypes="AA">
                                      <p:cBhvr>
                                        <p:cTn id="135" dur="1250" fill="hold"/>
                                        <p:tgtEl>
                                          <p:spTgt spid="58"/>
                                        </p:tgtEl>
                                        <p:attrNameLst>
                                          <p:attrName>ppt_x</p:attrName>
                                          <p:attrName>ppt_y</p:attrName>
                                        </p:attrNameLst>
                                      </p:cBhvr>
                                      <p:rCtr x="-22236" y="6741"/>
                                    </p:animMotion>
                                  </p:childTnLst>
                                </p:cTn>
                              </p:par>
                              <p:par>
                                <p:cTn id="136" presetID="0" presetClass="path" presetSubtype="0" decel="100000" fill="hold" nodeType="withEffect">
                                  <p:stCondLst>
                                    <p:cond delay="750"/>
                                  </p:stCondLst>
                                  <p:childTnLst>
                                    <p:animMotion origin="layout" path="M 0.44461 -0.13527 L -4.55451E-6 2.05629E-6 " pathEditMode="relative" rAng="0" ptsTypes="AA">
                                      <p:cBhvr>
                                        <p:cTn id="137" dur="1250" fill="hold"/>
                                        <p:tgtEl>
                                          <p:spTgt spid="53"/>
                                        </p:tgtEl>
                                        <p:attrNameLst>
                                          <p:attrName>ppt_x</p:attrName>
                                          <p:attrName>ppt_y</p:attrName>
                                        </p:attrNameLst>
                                      </p:cBhvr>
                                      <p:rCtr x="-22236" y="6764"/>
                                    </p:animMotion>
                                  </p:childTnLst>
                                </p:cTn>
                              </p:par>
                            </p:childTnLst>
                          </p:cTn>
                        </p:par>
                        <p:par>
                          <p:cTn id="138" fill="hold">
                            <p:stCondLst>
                              <p:cond delay="3500"/>
                            </p:stCondLst>
                            <p:childTnLst>
                              <p:par>
                                <p:cTn id="139" presetID="10" presetClass="exit" presetSubtype="0" fill="hold" nodeType="afterEffect">
                                  <p:stCondLst>
                                    <p:cond delay="0"/>
                                  </p:stCondLst>
                                  <p:childTnLst>
                                    <p:animEffect transition="out" filter="fade">
                                      <p:cBhvr>
                                        <p:cTn id="140" dur="500"/>
                                        <p:tgtEl>
                                          <p:spTgt spid="50"/>
                                        </p:tgtEl>
                                      </p:cBhvr>
                                    </p:animEffect>
                                    <p:set>
                                      <p:cBhvr>
                                        <p:cTn id="141" dur="1" fill="hold">
                                          <p:stCondLst>
                                            <p:cond delay="499"/>
                                          </p:stCondLst>
                                        </p:cTn>
                                        <p:tgtEl>
                                          <p:spTgt spid="50"/>
                                        </p:tgtEl>
                                        <p:attrNameLst>
                                          <p:attrName>style.visibility</p:attrName>
                                        </p:attrNameLst>
                                      </p:cBhvr>
                                      <p:to>
                                        <p:strVal val="hidden"/>
                                      </p:to>
                                    </p:set>
                                  </p:childTnLst>
                                </p:cTn>
                              </p:par>
                            </p:childTnLst>
                          </p:cTn>
                        </p:par>
                        <p:par>
                          <p:cTn id="142" fill="hold">
                            <p:stCondLst>
                              <p:cond delay="4000"/>
                            </p:stCondLst>
                            <p:childTnLst>
                              <p:par>
                                <p:cTn id="143" presetID="22" presetClass="entr" presetSubtype="8" fill="hold" nodeType="afterEffect">
                                  <p:stCondLst>
                                    <p:cond delay="0"/>
                                  </p:stCondLst>
                                  <p:childTnLst>
                                    <p:set>
                                      <p:cBhvr>
                                        <p:cTn id="144" dur="1" fill="hold">
                                          <p:stCondLst>
                                            <p:cond delay="0"/>
                                          </p:stCondLst>
                                        </p:cTn>
                                        <p:tgtEl>
                                          <p:spTgt spid="49"/>
                                        </p:tgtEl>
                                        <p:attrNameLst>
                                          <p:attrName>style.visibility</p:attrName>
                                        </p:attrNameLst>
                                      </p:cBhvr>
                                      <p:to>
                                        <p:strVal val="visible"/>
                                      </p:to>
                                    </p:set>
                                    <p:animEffect transition="in" filter="wipe(left)">
                                      <p:cBhvr>
                                        <p:cTn id="145" dur="500"/>
                                        <p:tgtEl>
                                          <p:spTgt spid="49"/>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grpId="0" nodeType="clickEffect">
                                  <p:stCondLst>
                                    <p:cond delay="0"/>
                                  </p:stCondLst>
                                  <p:childTnLst>
                                    <p:set>
                                      <p:cBhvr>
                                        <p:cTn id="149" dur="1" fill="hold">
                                          <p:stCondLst>
                                            <p:cond delay="0"/>
                                          </p:stCondLst>
                                        </p:cTn>
                                        <p:tgtEl>
                                          <p:spTgt spid="92"/>
                                        </p:tgtEl>
                                        <p:attrNameLst>
                                          <p:attrName>style.visibility</p:attrName>
                                        </p:attrNameLst>
                                      </p:cBhvr>
                                      <p:to>
                                        <p:strVal val="visible"/>
                                      </p:to>
                                    </p:set>
                                    <p:animEffect transition="in" filter="fade">
                                      <p:cBhvr>
                                        <p:cTn id="150" dur="500"/>
                                        <p:tgtEl>
                                          <p:spTgt spid="92"/>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139"/>
                                        </p:tgtEl>
                                        <p:attrNameLst>
                                          <p:attrName>style.visibility</p:attrName>
                                        </p:attrNameLst>
                                      </p:cBhvr>
                                      <p:to>
                                        <p:strVal val="visible"/>
                                      </p:to>
                                    </p:set>
                                    <p:animEffect transition="in" filter="fade">
                                      <p:cBhvr>
                                        <p:cTn id="153" dur="250"/>
                                        <p:tgtEl>
                                          <p:spTgt spid="139"/>
                                        </p:tgtEl>
                                      </p:cBhvr>
                                    </p:animEffect>
                                  </p:childTnLst>
                                </p:cTn>
                              </p:par>
                              <p:par>
                                <p:cTn id="154" presetID="10" presetClass="exit" presetSubtype="0" fill="hold" nodeType="withEffect">
                                  <p:stCondLst>
                                    <p:cond delay="0"/>
                                  </p:stCondLst>
                                  <p:childTnLst>
                                    <p:animEffect transition="out" filter="fade">
                                      <p:cBhvr>
                                        <p:cTn id="155" dur="250"/>
                                        <p:tgtEl>
                                          <p:spTgt spid="78"/>
                                        </p:tgtEl>
                                      </p:cBhvr>
                                    </p:animEffect>
                                    <p:set>
                                      <p:cBhvr>
                                        <p:cTn id="156" dur="1" fill="hold">
                                          <p:stCondLst>
                                            <p:cond delay="249"/>
                                          </p:stCondLst>
                                        </p:cTn>
                                        <p:tgtEl>
                                          <p:spTgt spid="78"/>
                                        </p:tgtEl>
                                        <p:attrNameLst>
                                          <p:attrName>style.visibility</p:attrName>
                                        </p:attrNameLst>
                                      </p:cBhvr>
                                      <p:to>
                                        <p:strVal val="hidden"/>
                                      </p:to>
                                    </p:set>
                                  </p:childTnLst>
                                </p:cTn>
                              </p:par>
                              <p:par>
                                <p:cTn id="157" presetID="10" presetClass="exit" presetSubtype="0" fill="hold" grpId="1" nodeType="withEffect">
                                  <p:stCondLst>
                                    <p:cond delay="0"/>
                                  </p:stCondLst>
                                  <p:childTnLst>
                                    <p:animEffect transition="out" filter="fade">
                                      <p:cBhvr>
                                        <p:cTn id="158" dur="250"/>
                                        <p:tgtEl>
                                          <p:spTgt spid="83"/>
                                        </p:tgtEl>
                                      </p:cBhvr>
                                    </p:animEffect>
                                    <p:set>
                                      <p:cBhvr>
                                        <p:cTn id="159" dur="1" fill="hold">
                                          <p:stCondLst>
                                            <p:cond delay="249"/>
                                          </p:stCondLst>
                                        </p:cTn>
                                        <p:tgtEl>
                                          <p:spTgt spid="83"/>
                                        </p:tgtEl>
                                        <p:attrNameLst>
                                          <p:attrName>style.visibility</p:attrName>
                                        </p:attrNameLst>
                                      </p:cBhvr>
                                      <p:to>
                                        <p:strVal val="hidden"/>
                                      </p:to>
                                    </p:set>
                                  </p:childTnLst>
                                </p:cTn>
                              </p:par>
                            </p:childTnLst>
                          </p:cTn>
                        </p:par>
                        <p:par>
                          <p:cTn id="160" fill="hold">
                            <p:stCondLst>
                              <p:cond delay="500"/>
                            </p:stCondLst>
                            <p:childTnLst>
                              <p:par>
                                <p:cTn id="161" presetID="1" presetClass="entr" presetSubtype="0" fill="hold" nodeType="afterEffect">
                                  <p:stCondLst>
                                    <p:cond delay="0"/>
                                  </p:stCondLst>
                                  <p:childTnLst>
                                    <p:set>
                                      <p:cBhvr>
                                        <p:cTn id="162" dur="1" fill="hold">
                                          <p:stCondLst>
                                            <p:cond delay="499"/>
                                          </p:stCondLst>
                                        </p:cTn>
                                        <p:tgtEl>
                                          <p:spTgt spid="93"/>
                                        </p:tgtEl>
                                        <p:attrNameLst>
                                          <p:attrName>style.visibility</p:attrName>
                                        </p:attrNameLst>
                                      </p:cBhvr>
                                      <p:to>
                                        <p:strVal val="visible"/>
                                      </p:to>
                                    </p:set>
                                  </p:childTnLst>
                                </p:cTn>
                              </p:par>
                              <p:par>
                                <p:cTn id="163" presetID="6" presetClass="emph" presetSubtype="0" autoRev="1" fill="hold" nodeType="withEffect">
                                  <p:stCondLst>
                                    <p:cond delay="0"/>
                                  </p:stCondLst>
                                  <p:childTnLst>
                                    <p:animScale>
                                      <p:cBhvr>
                                        <p:cTn id="164" dur="500" fill="hold"/>
                                        <p:tgtEl>
                                          <p:spTgt spid="93"/>
                                        </p:tgtEl>
                                      </p:cBhvr>
                                      <p:by x="0" y="0"/>
                                    </p:animScale>
                                  </p:childTnLst>
                                </p:cTn>
                              </p:par>
                            </p:childTnLst>
                          </p:cTn>
                        </p:par>
                        <p:par>
                          <p:cTn id="165" fill="hold">
                            <p:stCondLst>
                              <p:cond delay="1500"/>
                            </p:stCondLst>
                            <p:childTnLst>
                              <p:par>
                                <p:cTn id="166" presetID="10" presetClass="entr" presetSubtype="0" fill="hold" nodeType="afterEffect">
                                  <p:stCondLst>
                                    <p:cond delay="0"/>
                                  </p:stCondLst>
                                  <p:childTnLst>
                                    <p:set>
                                      <p:cBhvr>
                                        <p:cTn id="167" dur="1" fill="hold">
                                          <p:stCondLst>
                                            <p:cond delay="0"/>
                                          </p:stCondLst>
                                        </p:cTn>
                                        <p:tgtEl>
                                          <p:spTgt spid="32"/>
                                        </p:tgtEl>
                                        <p:attrNameLst>
                                          <p:attrName>style.visibility</p:attrName>
                                        </p:attrNameLst>
                                      </p:cBhvr>
                                      <p:to>
                                        <p:strVal val="visible"/>
                                      </p:to>
                                    </p:set>
                                    <p:animEffect transition="in" filter="fade">
                                      <p:cBhvr>
                                        <p:cTn id="168" dur="500"/>
                                        <p:tgtEl>
                                          <p:spTgt spid="32"/>
                                        </p:tgtEl>
                                      </p:cBhvr>
                                    </p:animEffect>
                                  </p:childTnLst>
                                </p:cTn>
                              </p:par>
                            </p:childTnLst>
                          </p:cTn>
                        </p:par>
                      </p:childTnLst>
                    </p:cTn>
                  </p:par>
                  <p:par>
                    <p:cTn id="169" fill="hold">
                      <p:stCondLst>
                        <p:cond delay="indefinite"/>
                      </p:stCondLst>
                      <p:childTnLst>
                        <p:par>
                          <p:cTn id="170" fill="hold">
                            <p:stCondLst>
                              <p:cond delay="0"/>
                            </p:stCondLst>
                            <p:childTnLst>
                              <p:par>
                                <p:cTn id="171" presetID="10" presetClass="entr" presetSubtype="0" fill="hold" grpId="0" nodeType="clickEffect">
                                  <p:stCondLst>
                                    <p:cond delay="0"/>
                                  </p:stCondLst>
                                  <p:childTnLst>
                                    <p:set>
                                      <p:cBhvr>
                                        <p:cTn id="172" dur="1" fill="hold">
                                          <p:stCondLst>
                                            <p:cond delay="0"/>
                                          </p:stCondLst>
                                        </p:cTn>
                                        <p:tgtEl>
                                          <p:spTgt spid="141"/>
                                        </p:tgtEl>
                                        <p:attrNameLst>
                                          <p:attrName>style.visibility</p:attrName>
                                        </p:attrNameLst>
                                      </p:cBhvr>
                                      <p:to>
                                        <p:strVal val="visible"/>
                                      </p:to>
                                    </p:set>
                                    <p:animEffect transition="in" filter="fade">
                                      <p:cBhvr>
                                        <p:cTn id="173" dur="250"/>
                                        <p:tgtEl>
                                          <p:spTgt spid="141"/>
                                        </p:tgtEl>
                                      </p:cBhvr>
                                    </p:animEffect>
                                  </p:childTnLst>
                                </p:cTn>
                              </p:par>
                              <p:par>
                                <p:cTn id="174" presetID="10" presetClass="entr" presetSubtype="0" fill="hold" nodeType="withEffect">
                                  <p:stCondLst>
                                    <p:cond delay="0"/>
                                  </p:stCondLst>
                                  <p:childTnLst>
                                    <p:set>
                                      <p:cBhvr>
                                        <p:cTn id="175" dur="1" fill="hold">
                                          <p:stCondLst>
                                            <p:cond delay="0"/>
                                          </p:stCondLst>
                                        </p:cTn>
                                        <p:tgtEl>
                                          <p:spTgt spid="78"/>
                                        </p:tgtEl>
                                        <p:attrNameLst>
                                          <p:attrName>style.visibility</p:attrName>
                                        </p:attrNameLst>
                                      </p:cBhvr>
                                      <p:to>
                                        <p:strVal val="visible"/>
                                      </p:to>
                                    </p:set>
                                    <p:animEffect transition="in" filter="fade">
                                      <p:cBhvr>
                                        <p:cTn id="176" dur="250"/>
                                        <p:tgtEl>
                                          <p:spTgt spid="78"/>
                                        </p:tgtEl>
                                      </p:cBhvr>
                                    </p:animEffect>
                                  </p:childTnLst>
                                </p:cTn>
                              </p:par>
                              <p:par>
                                <p:cTn id="177" presetID="10" presetClass="exit" presetSubtype="0" fill="hold" grpId="1" nodeType="withEffect">
                                  <p:stCondLst>
                                    <p:cond delay="0"/>
                                  </p:stCondLst>
                                  <p:childTnLst>
                                    <p:animEffect transition="out" filter="fade">
                                      <p:cBhvr>
                                        <p:cTn id="178" dur="250"/>
                                        <p:tgtEl>
                                          <p:spTgt spid="139"/>
                                        </p:tgtEl>
                                      </p:cBhvr>
                                    </p:animEffect>
                                    <p:set>
                                      <p:cBhvr>
                                        <p:cTn id="179" dur="1" fill="hold">
                                          <p:stCondLst>
                                            <p:cond delay="249"/>
                                          </p:stCondLst>
                                        </p:cTn>
                                        <p:tgtEl>
                                          <p:spTgt spid="139"/>
                                        </p:tgtEl>
                                        <p:attrNameLst>
                                          <p:attrName>style.visibility</p:attrName>
                                        </p:attrNameLst>
                                      </p:cBhvr>
                                      <p:to>
                                        <p:strVal val="hidden"/>
                                      </p:to>
                                    </p:set>
                                  </p:childTnLst>
                                </p:cTn>
                              </p:par>
                            </p:childTnLst>
                          </p:cTn>
                        </p:par>
                      </p:childTnLst>
                    </p:cTn>
                  </p:par>
                  <p:par>
                    <p:cTn id="180" fill="hold">
                      <p:stCondLst>
                        <p:cond delay="indefinite"/>
                      </p:stCondLst>
                      <p:childTnLst>
                        <p:par>
                          <p:cTn id="181" fill="hold">
                            <p:stCondLst>
                              <p:cond delay="0"/>
                            </p:stCondLst>
                            <p:childTnLst>
                              <p:par>
                                <p:cTn id="182" presetID="10" presetClass="entr" presetSubtype="0" fill="hold" grpId="0" nodeType="clickEffect">
                                  <p:stCondLst>
                                    <p:cond delay="0"/>
                                  </p:stCondLst>
                                  <p:childTnLst>
                                    <p:set>
                                      <p:cBhvr>
                                        <p:cTn id="183" dur="1" fill="hold">
                                          <p:stCondLst>
                                            <p:cond delay="0"/>
                                          </p:stCondLst>
                                        </p:cTn>
                                        <p:tgtEl>
                                          <p:spTgt spid="147"/>
                                        </p:tgtEl>
                                        <p:attrNameLst>
                                          <p:attrName>style.visibility</p:attrName>
                                        </p:attrNameLst>
                                      </p:cBhvr>
                                      <p:to>
                                        <p:strVal val="visible"/>
                                      </p:to>
                                    </p:set>
                                    <p:animEffect transition="in" filter="fade">
                                      <p:cBhvr>
                                        <p:cTn id="184" dur="250"/>
                                        <p:tgtEl>
                                          <p:spTgt spid="147"/>
                                        </p:tgtEl>
                                      </p:cBhvr>
                                    </p:animEffect>
                                  </p:childTnLst>
                                </p:cTn>
                              </p:par>
                              <p:par>
                                <p:cTn id="185" presetID="10" presetClass="exit" presetSubtype="0" fill="hold" nodeType="withEffect">
                                  <p:stCondLst>
                                    <p:cond delay="0"/>
                                  </p:stCondLst>
                                  <p:childTnLst>
                                    <p:animEffect transition="out" filter="fade">
                                      <p:cBhvr>
                                        <p:cTn id="186" dur="250"/>
                                        <p:tgtEl>
                                          <p:spTgt spid="78"/>
                                        </p:tgtEl>
                                      </p:cBhvr>
                                    </p:animEffect>
                                    <p:set>
                                      <p:cBhvr>
                                        <p:cTn id="187" dur="1" fill="hold">
                                          <p:stCondLst>
                                            <p:cond delay="249"/>
                                          </p:stCondLst>
                                        </p:cTn>
                                        <p:tgtEl>
                                          <p:spTgt spid="78"/>
                                        </p:tgtEl>
                                        <p:attrNameLst>
                                          <p:attrName>style.visibility</p:attrName>
                                        </p:attrNameLst>
                                      </p:cBhvr>
                                      <p:to>
                                        <p:strVal val="hidden"/>
                                      </p:to>
                                    </p:set>
                                  </p:childTnLst>
                                </p:cTn>
                              </p:par>
                              <p:par>
                                <p:cTn id="188" presetID="10" presetClass="exit" presetSubtype="0" fill="hold" grpId="1" nodeType="withEffect">
                                  <p:stCondLst>
                                    <p:cond delay="0"/>
                                  </p:stCondLst>
                                  <p:childTnLst>
                                    <p:animEffect transition="out" filter="fade">
                                      <p:cBhvr>
                                        <p:cTn id="189" dur="250"/>
                                        <p:tgtEl>
                                          <p:spTgt spid="141"/>
                                        </p:tgtEl>
                                      </p:cBhvr>
                                    </p:animEffect>
                                    <p:set>
                                      <p:cBhvr>
                                        <p:cTn id="190" dur="1" fill="hold">
                                          <p:stCondLst>
                                            <p:cond delay="249"/>
                                          </p:stCondLst>
                                        </p:cTn>
                                        <p:tgtEl>
                                          <p:spTgt spid="141"/>
                                        </p:tgtEl>
                                        <p:attrNameLst>
                                          <p:attrName>style.visibility</p:attrName>
                                        </p:attrNameLst>
                                      </p:cBhvr>
                                      <p:to>
                                        <p:strVal val="hidden"/>
                                      </p:to>
                                    </p:set>
                                  </p:childTnLst>
                                </p:cTn>
                              </p:par>
                            </p:childTnLst>
                          </p:cTn>
                        </p:par>
                      </p:childTnLst>
                    </p:cTn>
                  </p:par>
                  <p:par>
                    <p:cTn id="191" fill="hold">
                      <p:stCondLst>
                        <p:cond delay="indefinite"/>
                      </p:stCondLst>
                      <p:childTnLst>
                        <p:par>
                          <p:cTn id="192" fill="hold">
                            <p:stCondLst>
                              <p:cond delay="0"/>
                            </p:stCondLst>
                            <p:childTnLst>
                              <p:par>
                                <p:cTn id="193" presetID="10" presetClass="entr" presetSubtype="0" fill="hold" grpId="0" nodeType="clickEffect">
                                  <p:stCondLst>
                                    <p:cond delay="0"/>
                                  </p:stCondLst>
                                  <p:childTnLst>
                                    <p:set>
                                      <p:cBhvr>
                                        <p:cTn id="194" dur="1" fill="hold">
                                          <p:stCondLst>
                                            <p:cond delay="0"/>
                                          </p:stCondLst>
                                        </p:cTn>
                                        <p:tgtEl>
                                          <p:spTgt spid="150"/>
                                        </p:tgtEl>
                                        <p:attrNameLst>
                                          <p:attrName>style.visibility</p:attrName>
                                        </p:attrNameLst>
                                      </p:cBhvr>
                                      <p:to>
                                        <p:strVal val="visible"/>
                                      </p:to>
                                    </p:set>
                                    <p:animEffect transition="in" filter="fade">
                                      <p:cBhvr>
                                        <p:cTn id="195" dur="250"/>
                                        <p:tgtEl>
                                          <p:spTgt spid="150"/>
                                        </p:tgtEl>
                                      </p:cBhvr>
                                    </p:animEffect>
                                  </p:childTnLst>
                                </p:cTn>
                              </p:par>
                              <p:par>
                                <p:cTn id="196" presetID="10" presetClass="entr" presetSubtype="0" fill="hold" nodeType="withEffect">
                                  <p:stCondLst>
                                    <p:cond delay="0"/>
                                  </p:stCondLst>
                                  <p:childTnLst>
                                    <p:set>
                                      <p:cBhvr>
                                        <p:cTn id="197" dur="1" fill="hold">
                                          <p:stCondLst>
                                            <p:cond delay="0"/>
                                          </p:stCondLst>
                                        </p:cTn>
                                        <p:tgtEl>
                                          <p:spTgt spid="78"/>
                                        </p:tgtEl>
                                        <p:attrNameLst>
                                          <p:attrName>style.visibility</p:attrName>
                                        </p:attrNameLst>
                                      </p:cBhvr>
                                      <p:to>
                                        <p:strVal val="visible"/>
                                      </p:to>
                                    </p:set>
                                    <p:animEffect transition="in" filter="fade">
                                      <p:cBhvr>
                                        <p:cTn id="198" dur="250"/>
                                        <p:tgtEl>
                                          <p:spTgt spid="78"/>
                                        </p:tgtEl>
                                      </p:cBhvr>
                                    </p:animEffect>
                                  </p:childTnLst>
                                </p:cTn>
                              </p:par>
                              <p:par>
                                <p:cTn id="199" presetID="10" presetClass="exit" presetSubtype="0" fill="hold" grpId="1" nodeType="withEffect">
                                  <p:stCondLst>
                                    <p:cond delay="0"/>
                                  </p:stCondLst>
                                  <p:childTnLst>
                                    <p:animEffect transition="out" filter="fade">
                                      <p:cBhvr>
                                        <p:cTn id="200" dur="250"/>
                                        <p:tgtEl>
                                          <p:spTgt spid="147"/>
                                        </p:tgtEl>
                                      </p:cBhvr>
                                    </p:animEffect>
                                    <p:set>
                                      <p:cBhvr>
                                        <p:cTn id="201" dur="1" fill="hold">
                                          <p:stCondLst>
                                            <p:cond delay="249"/>
                                          </p:stCondLst>
                                        </p:cTn>
                                        <p:tgtEl>
                                          <p:spTgt spid="147"/>
                                        </p:tgtEl>
                                        <p:attrNameLst>
                                          <p:attrName>style.visibility</p:attrName>
                                        </p:attrNameLst>
                                      </p:cBhvr>
                                      <p:to>
                                        <p:strVal val="hidden"/>
                                      </p:to>
                                    </p:set>
                                  </p:childTnLst>
                                </p:cTn>
                              </p:par>
                            </p:childTnLst>
                          </p:cTn>
                        </p:par>
                      </p:childTnLst>
                    </p:cTn>
                  </p:par>
                  <p:par>
                    <p:cTn id="202" fill="hold">
                      <p:stCondLst>
                        <p:cond delay="indefinite"/>
                      </p:stCondLst>
                      <p:childTnLst>
                        <p:par>
                          <p:cTn id="203" fill="hold">
                            <p:stCondLst>
                              <p:cond delay="0"/>
                            </p:stCondLst>
                            <p:childTnLst>
                              <p:par>
                                <p:cTn id="204" presetID="22" presetClass="entr" presetSubtype="2" fill="hold" grpId="2" nodeType="clickEffect">
                                  <p:stCondLst>
                                    <p:cond delay="0"/>
                                  </p:stCondLst>
                                  <p:childTnLst>
                                    <p:set>
                                      <p:cBhvr>
                                        <p:cTn id="205" dur="1" fill="hold">
                                          <p:stCondLst>
                                            <p:cond delay="0"/>
                                          </p:stCondLst>
                                        </p:cTn>
                                        <p:tgtEl>
                                          <p:spTgt spid="89"/>
                                        </p:tgtEl>
                                        <p:attrNameLst>
                                          <p:attrName>style.visibility</p:attrName>
                                        </p:attrNameLst>
                                      </p:cBhvr>
                                      <p:to>
                                        <p:strVal val="visible"/>
                                      </p:to>
                                    </p:set>
                                    <p:animEffect transition="in" filter="wipe(right)">
                                      <p:cBhvr>
                                        <p:cTn id="206"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52" grpId="0" animBg="1"/>
      <p:bldP spid="52" grpId="1" animBg="1"/>
      <p:bldP spid="73" grpId="0"/>
      <p:bldP spid="73" grpId="1"/>
      <p:bldP spid="83" grpId="0"/>
      <p:bldP spid="83" grpId="1"/>
      <p:bldP spid="51" grpId="0" animBg="1"/>
      <p:bldP spid="51" grpId="1" animBg="1"/>
      <p:bldP spid="92" grpId="0" animBg="1"/>
      <p:bldP spid="139" grpId="0"/>
      <p:bldP spid="139" grpId="1"/>
      <p:bldP spid="141" grpId="0"/>
      <p:bldP spid="141" grpId="1"/>
      <p:bldP spid="147" grpId="0"/>
      <p:bldP spid="147" grpId="1"/>
      <p:bldP spid="150" grpId="0"/>
      <p:bldP spid="89" grpId="0" animBg="1"/>
      <p:bldP spid="89" grpId="1" animBg="1"/>
      <p:bldP spid="89" grpId="2"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 y="487"/>
            <a:ext cx="3599078" cy="685703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4" name="Rectangle 13"/>
          <p:cNvSpPr/>
          <p:nvPr/>
        </p:nvSpPr>
        <p:spPr bwMode="auto">
          <a:xfrm>
            <a:off x="180157" y="487"/>
            <a:ext cx="12011844" cy="99466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spc="-29" dirty="0">
                <a:gradFill>
                  <a:gsLst>
                    <a:gs pos="74336">
                      <a:srgbClr val="0072C6"/>
                    </a:gs>
                    <a:gs pos="36283">
                      <a:srgbClr val="0072C6"/>
                    </a:gs>
                  </a:gsLst>
                  <a:lin ang="5400000" scaled="0"/>
                </a:gradFill>
              </a:rPr>
              <a:t>Experience </a:t>
            </a:r>
            <a:r>
              <a:rPr lang="en-US" sz="1961" spc="-29" dirty="0" smtClean="0">
                <a:gradFill>
                  <a:gsLst>
                    <a:gs pos="74336">
                      <a:srgbClr val="0072C6"/>
                    </a:gs>
                    <a:gs pos="36283">
                      <a:srgbClr val="0072C6"/>
                    </a:gs>
                  </a:gsLst>
                  <a:lin ang="5400000" scaled="0"/>
                </a:gradFill>
              </a:rPr>
              <a:t>4A</a:t>
            </a:r>
            <a:endParaRPr lang="en-US" sz="1961" spc="-29" dirty="0">
              <a:gradFill>
                <a:gsLst>
                  <a:gs pos="74336">
                    <a:srgbClr val="0072C6"/>
                  </a:gs>
                  <a:gs pos="36283">
                    <a:srgbClr val="0072C6"/>
                  </a:gs>
                </a:gsLst>
                <a:lin ang="5400000" scaled="0"/>
              </a:gradFill>
            </a:endParaRPr>
          </a:p>
          <a:p>
            <a:pPr indent="-169599" defTabSz="897084" fontAlgn="base">
              <a:lnSpc>
                <a:spcPct val="90000"/>
              </a:lnSpc>
              <a:spcBef>
                <a:spcPct val="0"/>
              </a:spcBef>
              <a:spcAft>
                <a:spcPct val="0"/>
              </a:spcAft>
            </a:pPr>
            <a:r>
              <a:rPr lang="en-US" sz="3529" spc="-49" dirty="0" smtClean="0">
                <a:gradFill>
                  <a:gsLst>
                    <a:gs pos="93805">
                      <a:srgbClr val="191919"/>
                    </a:gs>
                    <a:gs pos="84071">
                      <a:srgbClr val="191919"/>
                    </a:gs>
                  </a:gsLst>
                  <a:lin ang="5400000" scaled="0"/>
                </a:gradFill>
                <a:latin typeface="Segoe UI Light"/>
              </a:rPr>
              <a:t>Data Protection</a:t>
            </a:r>
          </a:p>
        </p:txBody>
      </p:sp>
      <p:sp>
        <p:nvSpPr>
          <p:cNvPr id="20" name="Rectangle 19"/>
          <p:cNvSpPr/>
          <p:nvPr/>
        </p:nvSpPr>
        <p:spPr bwMode="auto">
          <a:xfrm>
            <a:off x="312163" y="1652661"/>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A. High availability and </a:t>
            </a:r>
            <a:br>
              <a:rPr lang="en-US" sz="1372" b="1" kern="0" dirty="0">
                <a:gradFill>
                  <a:gsLst>
                    <a:gs pos="83178">
                      <a:srgbClr val="505050"/>
                    </a:gs>
                    <a:gs pos="45000">
                      <a:srgbClr val="505050"/>
                    </a:gs>
                  </a:gsLst>
                  <a:lin ang="5400000" scaled="0"/>
                </a:gradFill>
                <a:latin typeface="Calibri" panose="020F0502020204030204"/>
              </a:rPr>
            </a:br>
            <a:r>
              <a:rPr lang="en-US" sz="1372" b="1" kern="0" dirty="0">
                <a:gradFill>
                  <a:gsLst>
                    <a:gs pos="83178">
                      <a:srgbClr val="505050"/>
                    </a:gs>
                    <a:gs pos="45000">
                      <a:srgbClr val="505050"/>
                    </a:gs>
                  </a:gsLst>
                  <a:lin ang="5400000" scaled="0"/>
                </a:gradFill>
                <a:latin typeface="Calibri" panose="020F0502020204030204"/>
              </a:rPr>
              <a:t>disaster recovery</a:t>
            </a:r>
            <a:endParaRPr lang="en-US" sz="588"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Ensure continuously available resources and applications</a:t>
            </a:r>
          </a:p>
        </p:txBody>
      </p:sp>
      <p:sp>
        <p:nvSpPr>
          <p:cNvPr id="21" name="Rectangle 20"/>
          <p:cNvSpPr/>
          <p:nvPr/>
        </p:nvSpPr>
        <p:spPr bwMode="auto">
          <a:xfrm>
            <a:off x="312163" y="3238643"/>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B. Bottomless storage</a:t>
            </a: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Ensure data accessibility regardless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of failure</a:t>
            </a:r>
          </a:p>
        </p:txBody>
      </p:sp>
      <p:sp>
        <p:nvSpPr>
          <p:cNvPr id="22" name="TextBox 21"/>
          <p:cNvSpPr txBox="1"/>
          <p:nvPr/>
        </p:nvSpPr>
        <p:spPr>
          <a:xfrm>
            <a:off x="3911241" y="1652662"/>
            <a:ext cx="8263527" cy="3063954"/>
          </a:xfrm>
          <a:prstGeom prst="rect">
            <a:avLst/>
          </a:prstGeom>
          <a:noFill/>
        </p:spPr>
        <p:txBody>
          <a:bodyPr wrap="square" lIns="179253" tIns="143402" rIns="179253" bIns="143402" rtlCol="0">
            <a:spAutoFit/>
          </a:bodyPr>
          <a:lstStyle/>
          <a:p>
            <a:pPr defTabSz="914367">
              <a:lnSpc>
                <a:spcPct val="90000"/>
              </a:lnSpc>
              <a:spcAft>
                <a:spcPts val="588"/>
              </a:spcAft>
            </a:pPr>
            <a:r>
              <a:rPr lang="en-US" sz="3529" dirty="0">
                <a:gradFill>
                  <a:gsLst>
                    <a:gs pos="74336">
                      <a:srgbClr val="0072C6"/>
                    </a:gs>
                    <a:gs pos="36283">
                      <a:srgbClr val="0072C6"/>
                    </a:gs>
                  </a:gsLst>
                  <a:lin ang="5400000" scaled="0"/>
                </a:gradFill>
                <a:latin typeface="Segoe UI Light"/>
              </a:rPr>
              <a:t>E4A Scenarios: </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Scaling out cluster</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Test cluster failover</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Create and initiate VM recovery </a:t>
            </a:r>
            <a:r>
              <a:rPr lang="en-US" sz="2745" dirty="0" smtClean="0">
                <a:gradFill>
                  <a:gsLst>
                    <a:gs pos="2917">
                      <a:srgbClr val="505050"/>
                    </a:gs>
                    <a:gs pos="30000">
                      <a:srgbClr val="505050"/>
                    </a:gs>
                  </a:gsLst>
                  <a:lin ang="5400000" scaled="0"/>
                </a:gradFill>
                <a:latin typeface="Segoe UI Light"/>
              </a:rPr>
              <a:t>plan</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Create and initiate backup to Azure</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ASR Scout for heterogeneous DR</a:t>
            </a:r>
            <a:endParaRPr lang="en-US" sz="2745" dirty="0">
              <a:gradFill>
                <a:gsLst>
                  <a:gs pos="2917">
                    <a:srgbClr val="505050"/>
                  </a:gs>
                  <a:gs pos="30000">
                    <a:srgbClr val="505050"/>
                  </a:gs>
                </a:gsLst>
                <a:lin ang="5400000" scaled="0"/>
              </a:gradFill>
              <a:latin typeface="Segoe UI Light"/>
            </a:endParaRPr>
          </a:p>
        </p:txBody>
      </p:sp>
      <p:sp>
        <p:nvSpPr>
          <p:cNvPr id="23" name="TextBox 22"/>
          <p:cNvSpPr txBox="1"/>
          <p:nvPr/>
        </p:nvSpPr>
        <p:spPr>
          <a:xfrm>
            <a:off x="0" y="5151015"/>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10619">
                      <a:srgbClr val="FFFFFF"/>
                    </a:gs>
                    <a:gs pos="36283">
                      <a:srgbClr val="FFFFFF"/>
                    </a:gs>
                  </a:gsLst>
                  <a:lin ang="5400000" scaled="0"/>
                </a:gradFill>
                <a:latin typeface="Segoe UI Light"/>
              </a:rPr>
              <a:t>30 minutes to complete this story—do not proceed to the next story</a:t>
            </a:r>
          </a:p>
        </p:txBody>
      </p:sp>
      <p:sp>
        <p:nvSpPr>
          <p:cNvPr id="24" name="TextBox 23"/>
          <p:cNvSpPr txBox="1"/>
          <p:nvPr/>
        </p:nvSpPr>
        <p:spPr>
          <a:xfrm>
            <a:off x="0" y="5922550"/>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10619">
                      <a:srgbClr val="FFFFFF"/>
                    </a:gs>
                    <a:gs pos="36283">
                      <a:srgbClr val="FFFFFF"/>
                    </a:gs>
                  </a:gsLst>
                  <a:lin ang="5400000" scaled="0"/>
                </a:gradFill>
                <a:latin typeface="Segoe UI Light"/>
              </a:rPr>
              <a:t>Q &amp; A @ 30 minutes</a:t>
            </a:r>
          </a:p>
        </p:txBody>
      </p:sp>
      <p:sp>
        <p:nvSpPr>
          <p:cNvPr id="25" name="Rectangle 24"/>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26" name="Rectangle 25"/>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7" name="Rectangle 26"/>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8" name="Rectangle 27"/>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Management </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9" name="Rectangle 28"/>
          <p:cNvSpPr/>
          <p:nvPr/>
        </p:nvSpPr>
        <p:spPr bwMode="auto">
          <a:xfrm>
            <a:off x="1" y="297134"/>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Tree>
    <p:extLst>
      <p:ext uri="{BB962C8B-B14F-4D97-AF65-F5344CB8AC3E}">
        <p14:creationId xmlns:p14="http://schemas.microsoft.com/office/powerpoint/2010/main" val="281377135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26"/>
                                        </p:tgtEl>
                                        <p:attrNameLst>
                                          <p:attrName>ppt_x</p:attrName>
                                        </p:attrNameLst>
                                      </p:cBhvr>
                                      <p:tavLst>
                                        <p:tav tm="0">
                                          <p:val>
                                            <p:strVal val="ppt_x"/>
                                          </p:val>
                                        </p:tav>
                                        <p:tav tm="100000">
                                          <p:val>
                                            <p:strVal val="0-ppt_w/2"/>
                                          </p:val>
                                        </p:tav>
                                      </p:tavLst>
                                    </p:anim>
                                    <p:anim calcmode="lin" valueType="num">
                                      <p:cBhvr additive="base">
                                        <p:cTn id="7" dur="200"/>
                                        <p:tgtEl>
                                          <p:spTgt spid="26"/>
                                        </p:tgtEl>
                                        <p:attrNameLst>
                                          <p:attrName>ppt_y</p:attrName>
                                        </p:attrNameLst>
                                      </p:cBhvr>
                                      <p:tavLst>
                                        <p:tav tm="0">
                                          <p:val>
                                            <p:strVal val="ppt_y"/>
                                          </p:val>
                                        </p:tav>
                                        <p:tav tm="100000">
                                          <p:val>
                                            <p:strVal val="ppt_y"/>
                                          </p:val>
                                        </p:tav>
                                      </p:tavLst>
                                    </p:anim>
                                    <p:set>
                                      <p:cBhvr>
                                        <p:cTn id="8" dur="1" fill="hold">
                                          <p:stCondLst>
                                            <p:cond delay="199"/>
                                          </p:stCondLst>
                                        </p:cTn>
                                        <p:tgtEl>
                                          <p:spTgt spid="26"/>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200"/>
                                        <p:tgtEl>
                                          <p:spTgt spid="25"/>
                                        </p:tgtEl>
                                        <p:attrNameLst>
                                          <p:attrName>ppt_x</p:attrName>
                                        </p:attrNameLst>
                                      </p:cBhvr>
                                      <p:tavLst>
                                        <p:tav tm="0">
                                          <p:val>
                                            <p:strVal val="ppt_x"/>
                                          </p:val>
                                        </p:tav>
                                        <p:tav tm="100000">
                                          <p:val>
                                            <p:strVal val="0-ppt_w/2"/>
                                          </p:val>
                                        </p:tav>
                                      </p:tavLst>
                                    </p:anim>
                                    <p:anim calcmode="lin" valueType="num">
                                      <p:cBhvr additive="base">
                                        <p:cTn id="11" dur="200"/>
                                        <p:tgtEl>
                                          <p:spTgt spid="25"/>
                                        </p:tgtEl>
                                        <p:attrNameLst>
                                          <p:attrName>ppt_y</p:attrName>
                                        </p:attrNameLst>
                                      </p:cBhvr>
                                      <p:tavLst>
                                        <p:tav tm="0">
                                          <p:val>
                                            <p:strVal val="ppt_y"/>
                                          </p:val>
                                        </p:tav>
                                        <p:tav tm="100000">
                                          <p:val>
                                            <p:strVal val="ppt_y"/>
                                          </p:val>
                                        </p:tav>
                                      </p:tavLst>
                                    </p:anim>
                                    <p:set>
                                      <p:cBhvr>
                                        <p:cTn id="12" dur="1" fill="hold">
                                          <p:stCondLst>
                                            <p:cond delay="199"/>
                                          </p:stCondLst>
                                        </p:cTn>
                                        <p:tgtEl>
                                          <p:spTgt spid="25"/>
                                        </p:tgtEl>
                                        <p:attrNameLst>
                                          <p:attrName>style.visibility</p:attrName>
                                        </p:attrNameLst>
                                      </p:cBhvr>
                                      <p:to>
                                        <p:strVal val="hidden"/>
                                      </p:to>
                                    </p:set>
                                  </p:childTnLst>
                                </p:cTn>
                              </p:par>
                              <p:par>
                                <p:cTn id="13" presetID="2" presetClass="exit" presetSubtype="8" fill="hold" grpId="0" nodeType="withEffect">
                                  <p:stCondLst>
                                    <p:cond delay="100"/>
                                  </p:stCondLst>
                                  <p:childTnLst>
                                    <p:anim calcmode="lin" valueType="num">
                                      <p:cBhvr additive="base">
                                        <p:cTn id="14" dur="200"/>
                                        <p:tgtEl>
                                          <p:spTgt spid="27"/>
                                        </p:tgtEl>
                                        <p:attrNameLst>
                                          <p:attrName>ppt_x</p:attrName>
                                        </p:attrNameLst>
                                      </p:cBhvr>
                                      <p:tavLst>
                                        <p:tav tm="0">
                                          <p:val>
                                            <p:strVal val="ppt_x"/>
                                          </p:val>
                                        </p:tav>
                                        <p:tav tm="100000">
                                          <p:val>
                                            <p:strVal val="0-ppt_w/2"/>
                                          </p:val>
                                        </p:tav>
                                      </p:tavLst>
                                    </p:anim>
                                    <p:anim calcmode="lin" valueType="num">
                                      <p:cBhvr additive="base">
                                        <p:cTn id="15" dur="200"/>
                                        <p:tgtEl>
                                          <p:spTgt spid="27"/>
                                        </p:tgtEl>
                                        <p:attrNameLst>
                                          <p:attrName>ppt_y</p:attrName>
                                        </p:attrNameLst>
                                      </p:cBhvr>
                                      <p:tavLst>
                                        <p:tav tm="0">
                                          <p:val>
                                            <p:strVal val="ppt_y"/>
                                          </p:val>
                                        </p:tav>
                                        <p:tav tm="100000">
                                          <p:val>
                                            <p:strVal val="ppt_y"/>
                                          </p:val>
                                        </p:tav>
                                      </p:tavLst>
                                    </p:anim>
                                    <p:set>
                                      <p:cBhvr>
                                        <p:cTn id="16" dur="1" fill="hold">
                                          <p:stCondLst>
                                            <p:cond delay="199"/>
                                          </p:stCondLst>
                                        </p:cTn>
                                        <p:tgtEl>
                                          <p:spTgt spid="27"/>
                                        </p:tgtEl>
                                        <p:attrNameLst>
                                          <p:attrName>style.visibility</p:attrName>
                                        </p:attrNameLst>
                                      </p:cBhvr>
                                      <p:to>
                                        <p:strVal val="hidden"/>
                                      </p:to>
                                    </p:set>
                                  </p:childTnLst>
                                </p:cTn>
                              </p:par>
                              <p:par>
                                <p:cTn id="17" presetID="2" presetClass="exit" presetSubtype="8" fill="hold" grpId="0" nodeType="withEffect">
                                  <p:stCondLst>
                                    <p:cond delay="200"/>
                                  </p:stCondLst>
                                  <p:childTnLst>
                                    <p:anim calcmode="lin" valueType="num">
                                      <p:cBhvr additive="base">
                                        <p:cTn id="18" dur="200"/>
                                        <p:tgtEl>
                                          <p:spTgt spid="28"/>
                                        </p:tgtEl>
                                        <p:attrNameLst>
                                          <p:attrName>ppt_x</p:attrName>
                                        </p:attrNameLst>
                                      </p:cBhvr>
                                      <p:tavLst>
                                        <p:tav tm="0">
                                          <p:val>
                                            <p:strVal val="ppt_x"/>
                                          </p:val>
                                        </p:tav>
                                        <p:tav tm="100000">
                                          <p:val>
                                            <p:strVal val="0-ppt_w/2"/>
                                          </p:val>
                                        </p:tav>
                                      </p:tavLst>
                                    </p:anim>
                                    <p:anim calcmode="lin" valueType="num">
                                      <p:cBhvr additive="base">
                                        <p:cTn id="19" dur="200"/>
                                        <p:tgtEl>
                                          <p:spTgt spid="28"/>
                                        </p:tgtEl>
                                        <p:attrNameLst>
                                          <p:attrName>ppt_y</p:attrName>
                                        </p:attrNameLst>
                                      </p:cBhvr>
                                      <p:tavLst>
                                        <p:tav tm="0">
                                          <p:val>
                                            <p:strVal val="ppt_y"/>
                                          </p:val>
                                        </p:tav>
                                        <p:tav tm="100000">
                                          <p:val>
                                            <p:strVal val="ppt_y"/>
                                          </p:val>
                                        </p:tav>
                                      </p:tavLst>
                                    </p:anim>
                                    <p:set>
                                      <p:cBhvr>
                                        <p:cTn id="20" dur="1" fill="hold">
                                          <p:stCondLst>
                                            <p:cond delay="199"/>
                                          </p:stCondLst>
                                        </p:cTn>
                                        <p:tgtEl>
                                          <p:spTgt spid="28"/>
                                        </p:tgtEl>
                                        <p:attrNameLst>
                                          <p:attrName>style.visibility</p:attrName>
                                        </p:attrNameLst>
                                      </p:cBhvr>
                                      <p:to>
                                        <p:strVal val="hidden"/>
                                      </p:to>
                                    </p:set>
                                  </p:childTnLst>
                                </p:cTn>
                              </p:par>
                              <p:par>
                                <p:cTn id="21" presetID="2" presetClass="exit" presetSubtype="8" fill="hold" grpId="0" nodeType="withEffect">
                                  <p:stCondLst>
                                    <p:cond delay="300"/>
                                  </p:stCondLst>
                                  <p:childTnLst>
                                    <p:anim calcmode="lin" valueType="num">
                                      <p:cBhvr additive="base">
                                        <p:cTn id="22" dur="200"/>
                                        <p:tgtEl>
                                          <p:spTgt spid="29"/>
                                        </p:tgtEl>
                                        <p:attrNameLst>
                                          <p:attrName>ppt_x</p:attrName>
                                        </p:attrNameLst>
                                      </p:cBhvr>
                                      <p:tavLst>
                                        <p:tav tm="0">
                                          <p:val>
                                            <p:strVal val="ppt_x"/>
                                          </p:val>
                                        </p:tav>
                                        <p:tav tm="100000">
                                          <p:val>
                                            <p:strVal val="0-ppt_w/2"/>
                                          </p:val>
                                        </p:tav>
                                      </p:tavLst>
                                    </p:anim>
                                    <p:anim calcmode="lin" valueType="num">
                                      <p:cBhvr additive="base">
                                        <p:cTn id="23" dur="200"/>
                                        <p:tgtEl>
                                          <p:spTgt spid="29"/>
                                        </p:tgtEl>
                                        <p:attrNameLst>
                                          <p:attrName>ppt_y</p:attrName>
                                        </p:attrNameLst>
                                      </p:cBhvr>
                                      <p:tavLst>
                                        <p:tav tm="0">
                                          <p:val>
                                            <p:strVal val="ppt_y"/>
                                          </p:val>
                                        </p:tav>
                                        <p:tav tm="100000">
                                          <p:val>
                                            <p:strVal val="ppt_y"/>
                                          </p:val>
                                        </p:tav>
                                      </p:tavLst>
                                    </p:anim>
                                    <p:set>
                                      <p:cBhvr>
                                        <p:cTn id="24" dur="1" fill="hold">
                                          <p:stCondLst>
                                            <p:cond delay="199"/>
                                          </p:stCondLst>
                                        </p:cTn>
                                        <p:tgtEl>
                                          <p:spTgt spid="29"/>
                                        </p:tgtEl>
                                        <p:attrNameLst>
                                          <p:attrName>style.visibility</p:attrName>
                                        </p:attrNameLst>
                                      </p:cBhvr>
                                      <p:to>
                                        <p:strVal val="hidden"/>
                                      </p:to>
                                    </p:set>
                                  </p:childTnLst>
                                </p:cTn>
                              </p:par>
                              <p:par>
                                <p:cTn id="25" presetID="2" presetClass="entr" presetSubtype="8" decel="100000" fill="hold" grpId="0" nodeType="withEffect">
                                  <p:stCondLst>
                                    <p:cond delay="6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800" fill="hold"/>
                                        <p:tgtEl>
                                          <p:spTgt spid="13"/>
                                        </p:tgtEl>
                                        <p:attrNameLst>
                                          <p:attrName>ppt_x</p:attrName>
                                        </p:attrNameLst>
                                      </p:cBhvr>
                                      <p:tavLst>
                                        <p:tav tm="0">
                                          <p:val>
                                            <p:strVal val="0-#ppt_w/2"/>
                                          </p:val>
                                        </p:tav>
                                        <p:tav tm="100000">
                                          <p:val>
                                            <p:strVal val="#ppt_x"/>
                                          </p:val>
                                        </p:tav>
                                      </p:tavLst>
                                    </p:anim>
                                    <p:anim calcmode="lin" valueType="num">
                                      <p:cBhvr additive="base">
                                        <p:cTn id="28" dur="8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6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800" fill="hold"/>
                                        <p:tgtEl>
                                          <p:spTgt spid="14"/>
                                        </p:tgtEl>
                                        <p:attrNameLst>
                                          <p:attrName>ppt_x</p:attrName>
                                        </p:attrNameLst>
                                      </p:cBhvr>
                                      <p:tavLst>
                                        <p:tav tm="0">
                                          <p:val>
                                            <p:strVal val="0-#ppt_w/2"/>
                                          </p:val>
                                        </p:tav>
                                        <p:tav tm="100000">
                                          <p:val>
                                            <p:strVal val="#ppt_x"/>
                                          </p:val>
                                        </p:tav>
                                      </p:tavLst>
                                    </p:anim>
                                    <p:anim calcmode="lin" valueType="num">
                                      <p:cBhvr additive="base">
                                        <p:cTn id="32" dur="800" fill="hold"/>
                                        <p:tgtEl>
                                          <p:spTgt spid="14"/>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85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600" fill="hold"/>
                                        <p:tgtEl>
                                          <p:spTgt spid="21"/>
                                        </p:tgtEl>
                                        <p:attrNameLst>
                                          <p:attrName>ppt_x</p:attrName>
                                        </p:attrNameLst>
                                      </p:cBhvr>
                                      <p:tavLst>
                                        <p:tav tm="0">
                                          <p:val>
                                            <p:strVal val="1+#ppt_w/2"/>
                                          </p:val>
                                        </p:tav>
                                        <p:tav tm="100000">
                                          <p:val>
                                            <p:strVal val="#ppt_x"/>
                                          </p:val>
                                        </p:tav>
                                      </p:tavLst>
                                    </p:anim>
                                    <p:anim calcmode="lin" valueType="num">
                                      <p:cBhvr additive="base">
                                        <p:cTn id="36" dur="600" fill="hold"/>
                                        <p:tgtEl>
                                          <p:spTgt spid="21"/>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1750"/>
                                  </p:stCondLst>
                                  <p:childTnLst>
                                    <p:set>
                                      <p:cBhvr>
                                        <p:cTn id="38" dur="1" fill="hold">
                                          <p:stCondLst>
                                            <p:cond delay="0"/>
                                          </p:stCondLst>
                                        </p:cTn>
                                        <p:tgtEl>
                                          <p:spTgt spid="20"/>
                                        </p:tgtEl>
                                        <p:attrNameLst>
                                          <p:attrName>style.visibility</p:attrName>
                                        </p:attrNameLst>
                                      </p:cBhvr>
                                      <p:to>
                                        <p:strVal val="visible"/>
                                      </p:to>
                                    </p:set>
                                    <p:anim calcmode="lin" valueType="num">
                                      <p:cBhvr additive="base">
                                        <p:cTn id="39" dur="600" fill="hold"/>
                                        <p:tgtEl>
                                          <p:spTgt spid="20"/>
                                        </p:tgtEl>
                                        <p:attrNameLst>
                                          <p:attrName>ppt_x</p:attrName>
                                        </p:attrNameLst>
                                      </p:cBhvr>
                                      <p:tavLst>
                                        <p:tav tm="0">
                                          <p:val>
                                            <p:strVal val="1+#ppt_w/2"/>
                                          </p:val>
                                        </p:tav>
                                        <p:tav tm="100000">
                                          <p:val>
                                            <p:strVal val="#ppt_x"/>
                                          </p:val>
                                        </p:tav>
                                      </p:tavLst>
                                    </p:anim>
                                    <p:anim calcmode="lin" valueType="num">
                                      <p:cBhvr additive="base">
                                        <p:cTn id="40" dur="600" fill="hold"/>
                                        <p:tgtEl>
                                          <p:spTgt spid="20"/>
                                        </p:tgtEl>
                                        <p:attrNameLst>
                                          <p:attrName>ppt_y</p:attrName>
                                        </p:attrNameLst>
                                      </p:cBhvr>
                                      <p:tavLst>
                                        <p:tav tm="0">
                                          <p:val>
                                            <p:strVal val="#ppt_y"/>
                                          </p:val>
                                        </p:tav>
                                        <p:tav tm="100000">
                                          <p:val>
                                            <p:strVal val="#ppt_y"/>
                                          </p:val>
                                        </p:tav>
                                      </p:tavLst>
                                    </p:anim>
                                  </p:childTnLst>
                                </p:cTn>
                              </p:par>
                            </p:childTnLst>
                          </p:cTn>
                        </p:par>
                        <p:par>
                          <p:cTn id="41" fill="hold">
                            <p:stCondLst>
                              <p:cond delay="2450"/>
                            </p:stCondLst>
                            <p:childTnLst>
                              <p:par>
                                <p:cTn id="42" presetID="1" presetClass="emph" presetSubtype="2" fill="hold" nodeType="afterEffect">
                                  <p:stCondLst>
                                    <p:cond delay="0"/>
                                  </p:stCondLst>
                                  <p:childTnLst>
                                    <p:animClr clrSpc="rgb" dir="cw">
                                      <p:cBhvr>
                                        <p:cTn id="43" dur="1000" fill="hold"/>
                                        <p:tgtEl>
                                          <p:spTgt spid="20"/>
                                        </p:tgtEl>
                                        <p:attrNameLst>
                                          <p:attrName>fillcolor</p:attrName>
                                        </p:attrNameLst>
                                      </p:cBhvr>
                                      <p:to>
                                        <a:srgbClr val="0072C6"/>
                                      </p:to>
                                    </p:animClr>
                                    <p:set>
                                      <p:cBhvr>
                                        <p:cTn id="44" dur="1000" fill="hold"/>
                                        <p:tgtEl>
                                          <p:spTgt spid="20"/>
                                        </p:tgtEl>
                                        <p:attrNameLst>
                                          <p:attrName>fill.type</p:attrName>
                                        </p:attrNameLst>
                                      </p:cBhvr>
                                      <p:to>
                                        <p:strVal val="solid"/>
                                      </p:to>
                                    </p:set>
                                    <p:set>
                                      <p:cBhvr>
                                        <p:cTn id="45" dur="1000" fill="hold"/>
                                        <p:tgtEl>
                                          <p:spTgt spid="20"/>
                                        </p:tgtEl>
                                        <p:attrNameLst>
                                          <p:attrName>fill.on</p:attrName>
                                        </p:attrNameLst>
                                      </p:cBhvr>
                                      <p:to>
                                        <p:strVal val="true"/>
                                      </p:to>
                                    </p:set>
                                  </p:childTnLst>
                                </p:cTn>
                              </p:par>
                              <p:par>
                                <p:cTn id="46" presetID="3" presetClass="emph" presetSubtype="2" fill="hold" grpId="1" nodeType="withEffect">
                                  <p:stCondLst>
                                    <p:cond delay="0"/>
                                  </p:stCondLst>
                                  <p:childTnLst>
                                    <p:animClr clrSpc="rgb" dir="cw">
                                      <p:cBhvr override="childStyle">
                                        <p:cTn id="47" dur="500" fill="hold"/>
                                        <p:tgtEl>
                                          <p:spTgt spid="20"/>
                                        </p:tgtEl>
                                        <p:attrNameLst>
                                          <p:attrName>style.color</p:attrName>
                                        </p:attrNameLst>
                                      </p:cBhvr>
                                      <p:to>
                                        <a:srgbClr val="FFFFFF"/>
                                      </p:to>
                                    </p:animClr>
                                  </p:childTnLst>
                                </p:cTn>
                              </p:par>
                            </p:childTnLst>
                          </p:cTn>
                        </p:par>
                        <p:par>
                          <p:cTn id="48" fill="hold">
                            <p:stCondLst>
                              <p:cond delay="3450"/>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par>
                          <p:cTn id="52" fill="hold">
                            <p:stCondLst>
                              <p:cond delay="3950"/>
                            </p:stCondLst>
                            <p:childTnLst>
                              <p:par>
                                <p:cTn id="53" presetID="2" presetClass="entr" presetSubtype="8" decel="10000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700" fill="hold"/>
                                        <p:tgtEl>
                                          <p:spTgt spid="23"/>
                                        </p:tgtEl>
                                        <p:attrNameLst>
                                          <p:attrName>ppt_x</p:attrName>
                                        </p:attrNameLst>
                                      </p:cBhvr>
                                      <p:tavLst>
                                        <p:tav tm="0">
                                          <p:val>
                                            <p:strVal val="0-#ppt_w/2"/>
                                          </p:val>
                                        </p:tav>
                                        <p:tav tm="100000">
                                          <p:val>
                                            <p:strVal val="#ppt_x"/>
                                          </p:val>
                                        </p:tav>
                                      </p:tavLst>
                                    </p:anim>
                                    <p:anim calcmode="lin" valueType="num">
                                      <p:cBhvr additive="base">
                                        <p:cTn id="56" dur="700" fill="hold"/>
                                        <p:tgtEl>
                                          <p:spTgt spid="23"/>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10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700" fill="hold"/>
                                        <p:tgtEl>
                                          <p:spTgt spid="24"/>
                                        </p:tgtEl>
                                        <p:attrNameLst>
                                          <p:attrName>ppt_x</p:attrName>
                                        </p:attrNameLst>
                                      </p:cBhvr>
                                      <p:tavLst>
                                        <p:tav tm="0">
                                          <p:val>
                                            <p:strVal val="0-#ppt_w/2"/>
                                          </p:val>
                                        </p:tav>
                                        <p:tav tm="100000">
                                          <p:val>
                                            <p:strVal val="#ppt_x"/>
                                          </p:val>
                                        </p:tav>
                                      </p:tavLst>
                                    </p:anim>
                                    <p:anim calcmode="lin" valueType="num">
                                      <p:cBhvr additive="base">
                                        <p:cTn id="60" dur="7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20" grpId="0" animBg="1"/>
      <p:bldP spid="20" grpId="1" animBg="1"/>
      <p:bldP spid="21" grpId="0" animBg="1"/>
      <p:bldP spid="22" grpId="0"/>
      <p:bldP spid="23" grpId="0" animBg="1"/>
      <p:bldP spid="24" grpId="0" animBg="1"/>
      <p:bldP spid="25" grpId="0" animBg="1"/>
      <p:bldP spid="26" grpId="0" animBg="1"/>
      <p:bldP spid="27" grpId="0" animBg="1"/>
      <p:bldP spid="28" grpId="0" animBg="1"/>
      <p:bldP spid="29"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Main header"/>
          <p:cNvGrpSpPr/>
          <p:nvPr/>
        </p:nvGrpSpPr>
        <p:grpSpPr>
          <a:xfrm>
            <a:off x="1162829" y="297133"/>
            <a:ext cx="11029171" cy="1506478"/>
            <a:chOff x="1186145" y="302595"/>
            <a:chExt cx="11250329" cy="1536686"/>
          </a:xfrm>
        </p:grpSpPr>
        <p:grpSp>
          <p:nvGrpSpPr>
            <p:cNvPr id="8" name="Group 7"/>
            <p:cNvGrpSpPr/>
            <p:nvPr/>
          </p:nvGrpSpPr>
          <p:grpSpPr>
            <a:xfrm>
              <a:off x="1186145" y="302595"/>
              <a:ext cx="11250329" cy="1536686"/>
              <a:chOff x="1186145" y="302595"/>
              <a:chExt cx="11250329" cy="1536686"/>
            </a:xfrm>
          </p:grpSpPr>
          <p:sp>
            <p:nvSpPr>
              <p:cNvPr id="14" name="Rectangle 13"/>
              <p:cNvSpPr/>
              <p:nvPr/>
            </p:nvSpPr>
            <p:spPr bwMode="auto">
              <a:xfrm>
                <a:off x="1186145" y="1337306"/>
                <a:ext cx="11250329" cy="5019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nvGrpSpPr>
              <p:cNvPr id="15" name="Group 14"/>
              <p:cNvGrpSpPr/>
              <p:nvPr/>
            </p:nvGrpSpPr>
            <p:grpSpPr>
              <a:xfrm>
                <a:off x="1189038" y="302595"/>
                <a:ext cx="11247436" cy="1536686"/>
                <a:chOff x="1189038" y="302595"/>
                <a:chExt cx="11247436" cy="1536686"/>
              </a:xfrm>
            </p:grpSpPr>
            <p:sp>
              <p:nvSpPr>
                <p:cNvPr id="16" name="Rectangle 15"/>
                <p:cNvSpPr/>
                <p:nvPr/>
              </p:nvSpPr>
              <p:spPr bwMode="auto">
                <a:xfrm>
                  <a:off x="1192143" y="302595"/>
                  <a:ext cx="7563466" cy="1006754"/>
                </a:xfrm>
                <a:prstGeom prst="rect">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algn="ctr" defTabSz="91410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7" name="TextBox 16"/>
                <p:cNvSpPr txBox="1"/>
                <p:nvPr/>
              </p:nvSpPr>
              <p:spPr>
                <a:xfrm>
                  <a:off x="6664542" y="1318072"/>
                  <a:ext cx="5771932" cy="517065"/>
                </a:xfrm>
                <a:prstGeom prst="rect">
                  <a:avLst/>
                </a:prstGeom>
                <a:noFill/>
              </p:spPr>
              <p:txBody>
                <a:bodyPr wrap="square" lIns="179285" tIns="143428" rIns="179285" bIns="143428" rtlCol="0">
                  <a:spAutoFit/>
                </a:bodyPr>
                <a:lstStyle/>
                <a:p>
                  <a:pPr algn="ctr" defTabSz="914031">
                    <a:lnSpc>
                      <a:spcPct val="90000"/>
                    </a:lnSpc>
                    <a:spcAft>
                      <a:spcPts val="588"/>
                    </a:spcAft>
                  </a:pPr>
                  <a:r>
                    <a:rPr lang="en-US" sz="1567" dirty="0">
                      <a:gradFill>
                        <a:gsLst>
                          <a:gs pos="2917">
                            <a:srgbClr val="505050"/>
                          </a:gs>
                          <a:gs pos="30000">
                            <a:srgbClr val="505050"/>
                          </a:gs>
                        </a:gsLst>
                        <a:lin ang="5400000" scaled="0"/>
                      </a:gradFill>
                    </a:rPr>
                    <a:t>StorSimple | Microsoft Azure</a:t>
                  </a:r>
                </a:p>
              </p:txBody>
            </p:sp>
            <p:sp>
              <p:nvSpPr>
                <p:cNvPr id="18" name="Rectangle 17"/>
                <p:cNvSpPr/>
                <p:nvPr/>
              </p:nvSpPr>
              <p:spPr bwMode="auto">
                <a:xfrm>
                  <a:off x="8794750" y="302844"/>
                  <a:ext cx="3641724" cy="10065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102" fontAlgn="base">
                    <a:lnSpc>
                      <a:spcPct val="90000"/>
                    </a:lnSpc>
                    <a:spcBef>
                      <a:spcPct val="0"/>
                    </a:spcBef>
                    <a:spcAft>
                      <a:spcPct val="0"/>
                    </a:spcAft>
                  </a:pPr>
                  <a:r>
                    <a:rPr lang="en-US" sz="1765" dirty="0">
                      <a:gradFill>
                        <a:gsLst>
                          <a:gs pos="37168">
                            <a:srgbClr val="FFFFFF"/>
                          </a:gs>
                          <a:gs pos="57000">
                            <a:srgbClr val="FFFFFF"/>
                          </a:gs>
                        </a:gsLst>
                        <a:lin ang="5400000" scaled="0"/>
                      </a:gradFill>
                    </a:rPr>
                    <a:t>On-premises storage performance; on-demand capacity in Azure</a:t>
                  </a:r>
                </a:p>
              </p:txBody>
            </p:sp>
            <p:sp>
              <p:nvSpPr>
                <p:cNvPr id="19" name="Rectangle 18"/>
                <p:cNvSpPr/>
                <p:nvPr/>
              </p:nvSpPr>
              <p:spPr bwMode="auto">
                <a:xfrm>
                  <a:off x="1189038" y="1337306"/>
                  <a:ext cx="5480120" cy="501975"/>
                </a:xfrm>
                <a:prstGeom prst="rect">
                  <a:avLst/>
                </a:prstGeom>
                <a:solidFill>
                  <a:srgbClr val="5E5E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1380491" y="1322216"/>
                  <a:ext cx="5108362" cy="517065"/>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gradFill>
                        <a:gsLst>
                          <a:gs pos="77876">
                            <a:srgbClr val="FFFFFF"/>
                          </a:gs>
                          <a:gs pos="30000">
                            <a:srgbClr val="FFFFFF"/>
                          </a:gs>
                        </a:gsLst>
                        <a:lin ang="5400000" scaled="0"/>
                      </a:gradFill>
                    </a:rPr>
                    <a:t>Windows Server 2012 R2</a:t>
                  </a:r>
                </a:p>
              </p:txBody>
            </p:sp>
          </p:grpSp>
        </p:grpSp>
        <p:grpSp>
          <p:nvGrpSpPr>
            <p:cNvPr id="9" name="Group 8"/>
            <p:cNvGrpSpPr>
              <a:grpSpLocks noChangeAspect="1"/>
            </p:cNvGrpSpPr>
            <p:nvPr/>
          </p:nvGrpSpPr>
          <p:grpSpPr>
            <a:xfrm>
              <a:off x="1192144" y="303543"/>
              <a:ext cx="787179" cy="1005840"/>
              <a:chOff x="1192144" y="1221871"/>
              <a:chExt cx="822960" cy="1051560"/>
            </a:xfrm>
          </p:grpSpPr>
          <p:grpSp>
            <p:nvGrpSpPr>
              <p:cNvPr id="10" name="Group 9"/>
              <p:cNvGrpSpPr/>
              <p:nvPr/>
            </p:nvGrpSpPr>
            <p:grpSpPr>
              <a:xfrm>
                <a:off x="1192144" y="1221871"/>
                <a:ext cx="822960" cy="1051560"/>
                <a:chOff x="2257477" y="1518442"/>
                <a:chExt cx="822960" cy="1051560"/>
              </a:xfrm>
            </p:grpSpPr>
            <p:sp>
              <p:nvSpPr>
                <p:cNvPr id="12" name="Rectangle 11"/>
                <p:cNvSpPr/>
                <p:nvPr/>
              </p:nvSpPr>
              <p:spPr bwMode="auto">
                <a:xfrm>
                  <a:off x="2257477" y="1518442"/>
                  <a:ext cx="822960" cy="105156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4102" fontAlgn="base">
                    <a:lnSpc>
                      <a:spcPct val="90000"/>
                    </a:lnSpc>
                    <a:spcAft>
                      <a:spcPct val="0"/>
                    </a:spcAft>
                  </a:pPr>
                  <a:r>
                    <a:rPr lang="en-US" sz="1078"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13"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75748" t="27538" r="7225" b="45284"/>
                <a:stretch/>
              </p:blipFill>
              <p:spPr bwMode="auto">
                <a:xfrm>
                  <a:off x="2280337" y="1539731"/>
                  <a:ext cx="777240" cy="777240"/>
                </a:xfrm>
                <a:prstGeom prst="rect">
                  <a:avLst/>
                </a:prstGeom>
                <a:noFill/>
                <a:ln w="31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Isosceles Triangle 10"/>
              <p:cNvSpPr/>
              <p:nvPr/>
            </p:nvSpPr>
            <p:spPr bwMode="auto">
              <a:xfrm rot="16200000">
                <a:off x="1888212" y="2098579"/>
                <a:ext cx="157112" cy="96671"/>
              </a:xfrm>
              <a:prstGeom prst="triangle">
                <a:avLst/>
              </a:prstGeom>
              <a:solidFill>
                <a:srgbClr val="D9D9D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grpSp>
      </p:grpSp>
      <p:sp>
        <p:nvSpPr>
          <p:cNvPr id="22" name="Q1"/>
          <p:cNvSpPr txBox="1"/>
          <p:nvPr/>
        </p:nvSpPr>
        <p:spPr>
          <a:xfrm>
            <a:off x="1961850" y="333611"/>
            <a:ext cx="6733225" cy="762210"/>
          </a:xfrm>
          <a:prstGeom prst="rect">
            <a:avLst/>
          </a:prstGeom>
          <a:noFill/>
        </p:spPr>
        <p:txBody>
          <a:bodyPr wrap="square" lIns="89614" tIns="89614" rIns="89614" bIns="89614" rtlCol="0">
            <a:spAutoFit/>
          </a:bodyPr>
          <a:lstStyle/>
          <a:p>
            <a:pPr defTabSz="914031" fontAlgn="base">
              <a:lnSpc>
                <a:spcPct val="90000"/>
              </a:lnSpc>
              <a:spcBef>
                <a:spcPct val="0"/>
              </a:spcBef>
              <a:spcAft>
                <a:spcPts val="588"/>
              </a:spcAft>
            </a:pPr>
            <a:r>
              <a:rPr lang="en-US" sz="1371" dirty="0">
                <a:gradFill>
                  <a:gsLst>
                    <a:gs pos="13274">
                      <a:srgbClr val="282828">
                        <a:lumMod val="90000"/>
                        <a:lumOff val="10000"/>
                      </a:srgbClr>
                    </a:gs>
                    <a:gs pos="27434">
                      <a:srgbClr val="282828">
                        <a:lumMod val="90000"/>
                        <a:lumOff val="10000"/>
                      </a:srgbClr>
                    </a:gs>
                  </a:gsLst>
                  <a:lin ang="5400000" scaled="1"/>
                </a:gradFill>
              </a:rPr>
              <a:t>“Our data growth is exceeding our expectations and our budget for storage. </a:t>
            </a:r>
            <a:br>
              <a:rPr lang="en-US" sz="1371" dirty="0">
                <a:gradFill>
                  <a:gsLst>
                    <a:gs pos="13274">
                      <a:srgbClr val="282828">
                        <a:lumMod val="90000"/>
                        <a:lumOff val="10000"/>
                      </a:srgbClr>
                    </a:gs>
                    <a:gs pos="27434">
                      <a:srgbClr val="282828">
                        <a:lumMod val="90000"/>
                        <a:lumOff val="10000"/>
                      </a:srgbClr>
                    </a:gs>
                  </a:gsLst>
                  <a:lin ang="5400000" scaled="1"/>
                </a:gradFill>
              </a:rPr>
            </a:br>
            <a:r>
              <a:rPr lang="en-US" sz="1371" dirty="0">
                <a:gradFill>
                  <a:gsLst>
                    <a:gs pos="13274">
                      <a:srgbClr val="282828">
                        <a:lumMod val="90000"/>
                        <a:lumOff val="10000"/>
                      </a:srgbClr>
                    </a:gs>
                    <a:gs pos="27434">
                      <a:srgbClr val="282828">
                        <a:lumMod val="90000"/>
                        <a:lumOff val="10000"/>
                      </a:srgbClr>
                    </a:gs>
                  </a:gsLst>
                  <a:lin ang="5400000" scaled="1"/>
                </a:gradFill>
              </a:rPr>
              <a:t>We need to find a way to reduce our overall storage footprint and the associated management without impacting the availability of the data.”</a:t>
            </a:r>
          </a:p>
        </p:txBody>
      </p:sp>
      <p:sp>
        <p:nvSpPr>
          <p:cNvPr id="105" name="Q2"/>
          <p:cNvSpPr txBox="1"/>
          <p:nvPr/>
        </p:nvSpPr>
        <p:spPr>
          <a:xfrm>
            <a:off x="1961851" y="333612"/>
            <a:ext cx="6704157" cy="940825"/>
          </a:xfrm>
          <a:prstGeom prst="rect">
            <a:avLst/>
          </a:prstGeom>
          <a:noFill/>
        </p:spPr>
        <p:txBody>
          <a:bodyPr wrap="square" lIns="89614" tIns="89614" rIns="89614" bIns="89614" rtlCol="0">
            <a:spAutoFit/>
          </a:bodyPr>
          <a:lstStyle/>
          <a:p>
            <a:pPr defTabSz="914031" fontAlgn="base">
              <a:lnSpc>
                <a:spcPct val="90000"/>
              </a:lnSpc>
              <a:spcBef>
                <a:spcPct val="0"/>
              </a:spcBef>
              <a:spcAft>
                <a:spcPts val="588"/>
              </a:spcAft>
            </a:pPr>
            <a:r>
              <a:rPr lang="en-US" sz="1371" dirty="0">
                <a:gradFill>
                  <a:gsLst>
                    <a:gs pos="13274">
                      <a:srgbClr val="282828">
                        <a:lumMod val="90000"/>
                        <a:lumOff val="10000"/>
                      </a:srgbClr>
                    </a:gs>
                    <a:gs pos="27434">
                      <a:srgbClr val="282828">
                        <a:lumMod val="90000"/>
                        <a:lumOff val="10000"/>
                      </a:srgbClr>
                    </a:gs>
                  </a:gsLst>
                  <a:lin ang="5400000" scaled="1"/>
                </a:gradFill>
              </a:rPr>
              <a:t>“The StorSimple solution will help us grow our data footprint in the cloud, reducing the amount of data stored in our  data center by automatically </a:t>
            </a:r>
            <a:r>
              <a:rPr lang="en-US" sz="1371" dirty="0" err="1">
                <a:gradFill>
                  <a:gsLst>
                    <a:gs pos="13274">
                      <a:srgbClr val="282828">
                        <a:lumMod val="90000"/>
                        <a:lumOff val="10000"/>
                      </a:srgbClr>
                    </a:gs>
                    <a:gs pos="27434">
                      <a:srgbClr val="282828">
                        <a:lumMod val="90000"/>
                        <a:lumOff val="10000"/>
                      </a:srgbClr>
                    </a:gs>
                  </a:gsLst>
                  <a:lin ang="5400000" scaled="1"/>
                </a:gradFill>
              </a:rPr>
              <a:t>tiering</a:t>
            </a:r>
            <a:r>
              <a:rPr lang="en-US" sz="1371" dirty="0">
                <a:gradFill>
                  <a:gsLst>
                    <a:gs pos="13274">
                      <a:srgbClr val="282828">
                        <a:lumMod val="90000"/>
                        <a:lumOff val="10000"/>
                      </a:srgbClr>
                    </a:gs>
                    <a:gs pos="27434">
                      <a:srgbClr val="282828">
                        <a:lumMod val="90000"/>
                        <a:lumOff val="10000"/>
                      </a:srgbClr>
                    </a:gs>
                  </a:gsLst>
                  <a:lin ang="5400000" scaled="1"/>
                </a:gradFill>
              </a:rPr>
              <a:t> less frequently used data to the cloud. With the pay-as-you-grow model, our costs are dramatically reduced and we pay only for the storage we use.”</a:t>
            </a:r>
          </a:p>
        </p:txBody>
      </p:sp>
      <p:sp>
        <p:nvSpPr>
          <p:cNvPr id="106" name="Q3"/>
          <p:cNvSpPr txBox="1"/>
          <p:nvPr/>
        </p:nvSpPr>
        <p:spPr>
          <a:xfrm>
            <a:off x="1961851" y="333611"/>
            <a:ext cx="6594002" cy="750864"/>
          </a:xfrm>
          <a:prstGeom prst="rect">
            <a:avLst/>
          </a:prstGeom>
          <a:noFill/>
        </p:spPr>
        <p:txBody>
          <a:bodyPr wrap="square" lIns="89614" tIns="89614" rIns="89614" bIns="89614" rtlCol="0">
            <a:spAutoFit/>
          </a:bodyPr>
          <a:lstStyle/>
          <a:p>
            <a:pPr defTabSz="914031" fontAlgn="base">
              <a:lnSpc>
                <a:spcPct val="90000"/>
              </a:lnSpc>
              <a:spcBef>
                <a:spcPct val="0"/>
              </a:spcBef>
              <a:spcAft>
                <a:spcPts val="588"/>
              </a:spcAft>
            </a:pPr>
            <a:r>
              <a:rPr lang="en-US" sz="1371" dirty="0">
                <a:gradFill>
                  <a:gsLst>
                    <a:gs pos="13274">
                      <a:srgbClr val="282828">
                        <a:lumMod val="90000"/>
                        <a:lumOff val="10000"/>
                      </a:srgbClr>
                    </a:gs>
                    <a:gs pos="27434">
                      <a:srgbClr val="282828">
                        <a:lumMod val="90000"/>
                        <a:lumOff val="10000"/>
                      </a:srgbClr>
                    </a:gs>
                  </a:gsLst>
                  <a:lin ang="5400000" scaled="1"/>
                </a:gradFill>
              </a:rPr>
              <a:t>We don’t have a lot of budget however we really need to consider our plan </a:t>
            </a:r>
            <a:r>
              <a:rPr lang="en-US" sz="1371" dirty="0" smtClean="0">
                <a:gradFill>
                  <a:gsLst>
                    <a:gs pos="13274">
                      <a:srgbClr val="282828">
                        <a:lumMod val="90000"/>
                        <a:lumOff val="10000"/>
                      </a:srgbClr>
                    </a:gs>
                    <a:gs pos="27434">
                      <a:srgbClr val="282828">
                        <a:lumMod val="90000"/>
                        <a:lumOff val="10000"/>
                      </a:srgbClr>
                    </a:gs>
                  </a:gsLst>
                  <a:lin ang="5400000" scaled="1"/>
                </a:gradFill>
              </a:rPr>
              <a:t>in case </a:t>
            </a:r>
            <a:r>
              <a:rPr lang="en-US" sz="1371" dirty="0">
                <a:gradFill>
                  <a:gsLst>
                    <a:gs pos="13274">
                      <a:srgbClr val="282828">
                        <a:lumMod val="90000"/>
                        <a:lumOff val="10000"/>
                      </a:srgbClr>
                    </a:gs>
                    <a:gs pos="27434">
                      <a:srgbClr val="282828">
                        <a:lumMod val="90000"/>
                        <a:lumOff val="10000"/>
                      </a:srgbClr>
                    </a:gs>
                  </a:gsLst>
                  <a:lin ang="5400000" scaled="1"/>
                </a:gradFill>
              </a:rPr>
              <a:t>of disaster. We cannot afford to have the office down for weeks while we try to bring the data back online. </a:t>
            </a:r>
          </a:p>
        </p:txBody>
      </p:sp>
      <p:sp>
        <p:nvSpPr>
          <p:cNvPr id="107" name="Q4"/>
          <p:cNvSpPr txBox="1"/>
          <p:nvPr/>
        </p:nvSpPr>
        <p:spPr>
          <a:xfrm>
            <a:off x="1961851" y="333611"/>
            <a:ext cx="6713411" cy="750864"/>
          </a:xfrm>
          <a:prstGeom prst="rect">
            <a:avLst/>
          </a:prstGeom>
          <a:noFill/>
        </p:spPr>
        <p:txBody>
          <a:bodyPr wrap="square" lIns="89614" tIns="89614" rIns="89614" bIns="89614" rtlCol="0">
            <a:spAutoFit/>
          </a:bodyPr>
          <a:lstStyle/>
          <a:p>
            <a:pPr defTabSz="914031" fontAlgn="base">
              <a:lnSpc>
                <a:spcPct val="90000"/>
              </a:lnSpc>
              <a:spcBef>
                <a:spcPct val="0"/>
              </a:spcBef>
              <a:spcAft>
                <a:spcPts val="588"/>
              </a:spcAft>
            </a:pPr>
            <a:r>
              <a:rPr lang="en-US" sz="1371" dirty="0">
                <a:gradFill>
                  <a:gsLst>
                    <a:gs pos="13274">
                      <a:srgbClr val="282828">
                        <a:lumMod val="90000"/>
                        <a:lumOff val="10000"/>
                      </a:srgbClr>
                    </a:gs>
                    <a:gs pos="27434">
                      <a:srgbClr val="282828">
                        <a:lumMod val="90000"/>
                        <a:lumOff val="10000"/>
                      </a:srgbClr>
                    </a:gs>
                  </a:gsLst>
                  <a:lin ang="5400000" scaled="1"/>
                </a:gradFill>
              </a:rPr>
              <a:t>“With the ability to leverage the cloud for snapshots we can simply create backup images in the cloud and bring the data back online through the secondary StorSimple appliance, if or when a disaster occurs.”</a:t>
            </a:r>
          </a:p>
        </p:txBody>
      </p:sp>
      <p:sp>
        <p:nvSpPr>
          <p:cNvPr id="21" name="Blue banner"/>
          <p:cNvSpPr/>
          <p:nvPr/>
        </p:nvSpPr>
        <p:spPr bwMode="auto">
          <a:xfrm>
            <a:off x="1165977" y="282642"/>
            <a:ext cx="11026023" cy="99998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lnSpc>
                <a:spcPct val="90000"/>
              </a:lnSpc>
              <a:spcBef>
                <a:spcPct val="0"/>
              </a:spcBef>
              <a:spcAft>
                <a:spcPct val="0"/>
              </a:spcAft>
            </a:pPr>
            <a:r>
              <a:rPr lang="en-US" sz="1765" dirty="0">
                <a:gradFill>
                  <a:gsLst>
                    <a:gs pos="24779">
                      <a:srgbClr val="FFFFFF"/>
                    </a:gs>
                    <a:gs pos="57000">
                      <a:srgbClr val="FFFFFF"/>
                    </a:gs>
                  </a:gsLst>
                  <a:lin ang="5400000" scaled="0"/>
                </a:gradFill>
              </a:rPr>
              <a:t>On-premises storage performance; on-demand capacity in Azure</a:t>
            </a:r>
          </a:p>
        </p:txBody>
      </p:sp>
      <p:sp>
        <p:nvSpPr>
          <p:cNvPr id="2" name="Rectangle 1"/>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3" name="Rectangle 2"/>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4" name="Rectangle 3"/>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5" name="Rectangle 4"/>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4602">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Management </a:t>
            </a:r>
            <a:endParaRPr lang="en-US" sz="1568" spc="-20" dirty="0">
              <a:gradFill>
                <a:gsLst>
                  <a:gs pos="6460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6" name="Rectangle 5"/>
          <p:cNvSpPr/>
          <p:nvPr/>
        </p:nvSpPr>
        <p:spPr bwMode="auto">
          <a:xfrm>
            <a:off x="1" y="297134"/>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cxnSp>
        <p:nvCxnSpPr>
          <p:cNvPr id="124" name="Straight through finance, storsimple, SSD"/>
          <p:cNvCxnSpPr/>
          <p:nvPr/>
        </p:nvCxnSpPr>
        <p:spPr>
          <a:xfrm>
            <a:off x="2005733" y="3538907"/>
            <a:ext cx="458830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Finance to Storage"/>
          <p:cNvCxnSpPr/>
          <p:nvPr/>
        </p:nvCxnSpPr>
        <p:spPr>
          <a:xfrm>
            <a:off x="2129010" y="3535353"/>
            <a:ext cx="444983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3" name="Finance"/>
          <p:cNvGrpSpPr/>
          <p:nvPr/>
        </p:nvGrpSpPr>
        <p:grpSpPr>
          <a:xfrm>
            <a:off x="1332666" y="2799815"/>
            <a:ext cx="2213349" cy="1299849"/>
            <a:chOff x="4214538" y="3542949"/>
            <a:chExt cx="2257731" cy="1325914"/>
          </a:xfrm>
        </p:grpSpPr>
        <p:grpSp>
          <p:nvGrpSpPr>
            <p:cNvPr id="54" name="Group 53"/>
            <p:cNvGrpSpPr/>
            <p:nvPr/>
          </p:nvGrpSpPr>
          <p:grpSpPr>
            <a:xfrm>
              <a:off x="4214538" y="3871512"/>
              <a:ext cx="2254485" cy="997351"/>
              <a:chOff x="5975576" y="2973304"/>
              <a:chExt cx="2254485" cy="997351"/>
            </a:xfrm>
          </p:grpSpPr>
          <p:sp>
            <p:nvSpPr>
              <p:cNvPr id="57" name="Freeform 207"/>
              <p:cNvSpPr>
                <a:spLocks noEditPoints="1"/>
              </p:cNvSpPr>
              <p:nvPr/>
            </p:nvSpPr>
            <p:spPr bwMode="gray">
              <a:xfrm>
                <a:off x="6198214"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58" name="Freeform 207"/>
              <p:cNvSpPr>
                <a:spLocks noEditPoints="1"/>
              </p:cNvSpPr>
              <p:nvPr/>
            </p:nvSpPr>
            <p:spPr bwMode="gray">
              <a:xfrm>
                <a:off x="738356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59" name="Rectangle 58"/>
              <p:cNvSpPr/>
              <p:nvPr/>
            </p:nvSpPr>
            <p:spPr bwMode="auto">
              <a:xfrm>
                <a:off x="5975576" y="2973304"/>
                <a:ext cx="2254485" cy="997351"/>
              </a:xfrm>
              <a:prstGeom prst="rect">
                <a:avLst/>
              </a:prstGeom>
              <a:noFill/>
              <a:ln w="3175">
                <a:solidFill>
                  <a:schemeClr val="tx1">
                    <a:lumMod val="90000"/>
                    <a:lumOff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endParaRPr lang="en-US" sz="1372" dirty="0">
                  <a:gradFill>
                    <a:gsLst>
                      <a:gs pos="84071">
                        <a:srgbClr val="191919"/>
                      </a:gs>
                      <a:gs pos="57000">
                        <a:srgbClr val="191919"/>
                      </a:gs>
                    </a:gsLst>
                    <a:lin ang="5400000" scaled="0"/>
                  </a:gradFill>
                  <a:latin typeface="Segoe UI Semibold" panose="020B0702040204020203" pitchFamily="34" charset="0"/>
                </a:endParaRPr>
              </a:p>
            </p:txBody>
          </p:sp>
        </p:grpSp>
        <p:sp>
          <p:nvSpPr>
            <p:cNvPr id="55" name="Rectangle 54"/>
            <p:cNvSpPr/>
            <p:nvPr/>
          </p:nvSpPr>
          <p:spPr bwMode="auto">
            <a:xfrm>
              <a:off x="4214538" y="3542949"/>
              <a:ext cx="2257731" cy="329184"/>
            </a:xfrm>
            <a:prstGeom prst="rect">
              <a:avLst/>
            </a:prstGeom>
            <a:solidFill>
              <a:schemeClr val="tx1">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372" dirty="0">
                  <a:gradFill>
                    <a:gsLst>
                      <a:gs pos="24779">
                        <a:srgbClr val="FFFFFF"/>
                      </a:gs>
                      <a:gs pos="63717">
                        <a:srgbClr val="FFFFFF"/>
                      </a:gs>
                    </a:gsLst>
                    <a:lin ang="5400000" scaled="0"/>
                  </a:gradFill>
                  <a:latin typeface="Segoe UI Semibold" panose="020B0702040204020203" pitchFamily="34" charset="0"/>
                </a:rPr>
                <a:t>FINANCE</a:t>
              </a:r>
            </a:p>
          </p:txBody>
        </p:sp>
      </p:grpSp>
      <p:grpSp>
        <p:nvGrpSpPr>
          <p:cNvPr id="67" name="SAS"/>
          <p:cNvGrpSpPr/>
          <p:nvPr/>
        </p:nvGrpSpPr>
        <p:grpSpPr>
          <a:xfrm>
            <a:off x="6593752" y="4541091"/>
            <a:ext cx="2210167" cy="1299849"/>
            <a:chOff x="4987245" y="4341506"/>
            <a:chExt cx="2254485" cy="1325914"/>
          </a:xfrm>
        </p:grpSpPr>
        <p:sp>
          <p:nvSpPr>
            <p:cNvPr id="68" name="Rectangle 67"/>
            <p:cNvSpPr/>
            <p:nvPr/>
          </p:nvSpPr>
          <p:spPr bwMode="auto">
            <a:xfrm>
              <a:off x="4987245" y="4660014"/>
              <a:ext cx="2254485" cy="1007406"/>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69" name="Rectangle 68"/>
            <p:cNvSpPr/>
            <p:nvPr/>
          </p:nvSpPr>
          <p:spPr bwMode="auto">
            <a:xfrm>
              <a:off x="5064068" y="4740195"/>
              <a:ext cx="2100839" cy="857568"/>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grpSp>
          <p:nvGrpSpPr>
            <p:cNvPr id="70" name="Group 69"/>
            <p:cNvGrpSpPr/>
            <p:nvPr/>
          </p:nvGrpSpPr>
          <p:grpSpPr>
            <a:xfrm>
              <a:off x="5310769" y="4580720"/>
              <a:ext cx="1607436" cy="848981"/>
              <a:chOff x="5304808" y="4580720"/>
              <a:chExt cx="1607436" cy="848981"/>
            </a:xfrm>
          </p:grpSpPr>
          <p:cxnSp>
            <p:nvCxnSpPr>
              <p:cNvPr id="80" name="Straight Connector 79"/>
              <p:cNvCxnSpPr/>
              <p:nvPr/>
            </p:nvCxnSpPr>
            <p:spPr>
              <a:xfrm>
                <a:off x="5306526" y="4580720"/>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907449" y="4580720"/>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5304808" y="5427608"/>
                <a:ext cx="1607436" cy="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sp>
          <p:nvSpPr>
            <p:cNvPr id="71" name="Rectangle 70"/>
            <p:cNvSpPr/>
            <p:nvPr/>
          </p:nvSpPr>
          <p:spPr bwMode="auto">
            <a:xfrm>
              <a:off x="4987245" y="4341506"/>
              <a:ext cx="2254485"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372"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AS</a:t>
              </a:r>
            </a:p>
          </p:txBody>
        </p:sp>
        <p:grpSp>
          <p:nvGrpSpPr>
            <p:cNvPr id="72" name="Group 71"/>
            <p:cNvGrpSpPr/>
            <p:nvPr/>
          </p:nvGrpSpPr>
          <p:grpSpPr>
            <a:xfrm>
              <a:off x="5793332" y="4659671"/>
              <a:ext cx="638034" cy="667301"/>
              <a:chOff x="1982650" y="5319984"/>
              <a:chExt cx="638034" cy="667301"/>
            </a:xfrm>
          </p:grpSpPr>
          <p:cxnSp>
            <p:nvCxnSpPr>
              <p:cNvPr id="74" name="Straight Connector 73"/>
              <p:cNvCxnSpPr/>
              <p:nvPr/>
            </p:nvCxnSpPr>
            <p:spPr>
              <a:xfrm>
                <a:off x="2303805" y="5319984"/>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7" name="Freeform 5"/>
              <p:cNvSpPr>
                <a:spLocks noChangeAspect="1" noEditPoints="1"/>
              </p:cNvSpPr>
              <p:nvPr/>
            </p:nvSpPr>
            <p:spPr bwMode="auto">
              <a:xfrm>
                <a:off x="1982650" y="5498655"/>
                <a:ext cx="638034" cy="488630"/>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grpSp>
      </p:grpSp>
      <p:grpSp>
        <p:nvGrpSpPr>
          <p:cNvPr id="94" name="Storage Space"/>
          <p:cNvGrpSpPr/>
          <p:nvPr/>
        </p:nvGrpSpPr>
        <p:grpSpPr>
          <a:xfrm>
            <a:off x="6593752" y="2799815"/>
            <a:ext cx="2210167" cy="1299849"/>
            <a:chOff x="4987245" y="4341506"/>
            <a:chExt cx="2254485" cy="1325914"/>
          </a:xfrm>
        </p:grpSpPr>
        <p:sp>
          <p:nvSpPr>
            <p:cNvPr id="95" name="Rectangle 94"/>
            <p:cNvSpPr/>
            <p:nvPr/>
          </p:nvSpPr>
          <p:spPr bwMode="auto">
            <a:xfrm>
              <a:off x="4987245" y="4660014"/>
              <a:ext cx="2254485" cy="1007406"/>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96" name="Rectangle 95"/>
            <p:cNvSpPr/>
            <p:nvPr/>
          </p:nvSpPr>
          <p:spPr bwMode="auto">
            <a:xfrm>
              <a:off x="5064068" y="4740195"/>
              <a:ext cx="2100839" cy="857568"/>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grpSp>
          <p:nvGrpSpPr>
            <p:cNvPr id="97" name="Group 96"/>
            <p:cNvGrpSpPr/>
            <p:nvPr/>
          </p:nvGrpSpPr>
          <p:grpSpPr>
            <a:xfrm>
              <a:off x="5310769" y="4580720"/>
              <a:ext cx="1607436" cy="848981"/>
              <a:chOff x="5304808" y="4580720"/>
              <a:chExt cx="1607436" cy="848981"/>
            </a:xfrm>
          </p:grpSpPr>
          <p:cxnSp>
            <p:nvCxnSpPr>
              <p:cNvPr id="102" name="Straight Connector 101"/>
              <p:cNvCxnSpPr/>
              <p:nvPr/>
            </p:nvCxnSpPr>
            <p:spPr>
              <a:xfrm>
                <a:off x="5306526" y="4580720"/>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6907449" y="4580720"/>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5304808" y="5427608"/>
                <a:ext cx="1607436" cy="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sp>
          <p:nvSpPr>
            <p:cNvPr id="98" name="Rectangle 97"/>
            <p:cNvSpPr/>
            <p:nvPr/>
          </p:nvSpPr>
          <p:spPr bwMode="auto">
            <a:xfrm>
              <a:off x="4987245" y="4341506"/>
              <a:ext cx="2254485"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372"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AN</a:t>
              </a:r>
            </a:p>
          </p:txBody>
        </p:sp>
        <p:grpSp>
          <p:nvGrpSpPr>
            <p:cNvPr id="99" name="Group 98"/>
            <p:cNvGrpSpPr/>
            <p:nvPr/>
          </p:nvGrpSpPr>
          <p:grpSpPr>
            <a:xfrm>
              <a:off x="5793332" y="4659671"/>
              <a:ext cx="638034" cy="667301"/>
              <a:chOff x="1982650" y="5319984"/>
              <a:chExt cx="638034" cy="667301"/>
            </a:xfrm>
          </p:grpSpPr>
          <p:cxnSp>
            <p:nvCxnSpPr>
              <p:cNvPr id="100" name="Straight Connector 99"/>
              <p:cNvCxnSpPr/>
              <p:nvPr/>
            </p:nvCxnSpPr>
            <p:spPr>
              <a:xfrm>
                <a:off x="2303805" y="5319984"/>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1" name="Freeform 5"/>
              <p:cNvSpPr>
                <a:spLocks noChangeAspect="1" noEditPoints="1"/>
              </p:cNvSpPr>
              <p:nvPr/>
            </p:nvSpPr>
            <p:spPr bwMode="auto">
              <a:xfrm>
                <a:off x="1982650" y="5498655"/>
                <a:ext cx="638034" cy="488630"/>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grpSp>
      </p:grpSp>
      <p:grpSp>
        <p:nvGrpSpPr>
          <p:cNvPr id="25" name="SAS Red filler"/>
          <p:cNvGrpSpPr/>
          <p:nvPr/>
        </p:nvGrpSpPr>
        <p:grpSpPr>
          <a:xfrm>
            <a:off x="6593752" y="2799815"/>
            <a:ext cx="2210167" cy="1299849"/>
            <a:chOff x="6725970" y="2855460"/>
            <a:chExt cx="2254485" cy="1325914"/>
          </a:xfrm>
        </p:grpSpPr>
        <p:sp>
          <p:nvSpPr>
            <p:cNvPr id="121" name="Red filler"/>
            <p:cNvSpPr/>
            <p:nvPr/>
          </p:nvSpPr>
          <p:spPr bwMode="auto">
            <a:xfrm>
              <a:off x="6725970" y="3181735"/>
              <a:ext cx="2254485" cy="999639"/>
            </a:xfrm>
            <a:prstGeom prst="rect">
              <a:avLst/>
            </a:prstGeom>
            <a:solidFill>
              <a:srgbClr val="FF00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d top"/>
            <p:cNvSpPr/>
            <p:nvPr/>
          </p:nvSpPr>
          <p:spPr bwMode="auto">
            <a:xfrm>
              <a:off x="6725970" y="2855460"/>
              <a:ext cx="2254485" cy="326275"/>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372" dirty="0">
                  <a:gradFill>
                    <a:gsLst>
                      <a:gs pos="41593">
                        <a:srgbClr val="FFFFFF"/>
                      </a:gs>
                      <a:gs pos="63717">
                        <a:srgbClr val="FFFFFF"/>
                      </a:gs>
                    </a:gsLst>
                    <a:lin ang="5400000" scaled="0"/>
                  </a:gradFill>
                  <a:latin typeface="Segoe UI Semibold" panose="020B0702040204020203" pitchFamily="34" charset="0"/>
                </a:rPr>
                <a:t>SAN</a:t>
              </a:r>
            </a:p>
          </p:txBody>
        </p:sp>
      </p:grpSp>
      <p:grpSp>
        <p:nvGrpSpPr>
          <p:cNvPr id="52" name="StorSimple"/>
          <p:cNvGrpSpPr/>
          <p:nvPr/>
        </p:nvGrpSpPr>
        <p:grpSpPr>
          <a:xfrm>
            <a:off x="3938128" y="2799815"/>
            <a:ext cx="2216998" cy="1299849"/>
            <a:chOff x="4214538" y="3542949"/>
            <a:chExt cx="2261453" cy="1325914"/>
          </a:xfrm>
        </p:grpSpPr>
        <p:grpSp>
          <p:nvGrpSpPr>
            <p:cNvPr id="30" name="Group 29"/>
            <p:cNvGrpSpPr/>
            <p:nvPr/>
          </p:nvGrpSpPr>
          <p:grpSpPr>
            <a:xfrm>
              <a:off x="4214538" y="3871512"/>
              <a:ext cx="2254485" cy="997351"/>
              <a:chOff x="5975576" y="2973304"/>
              <a:chExt cx="2254485" cy="997351"/>
            </a:xfrm>
          </p:grpSpPr>
          <p:sp>
            <p:nvSpPr>
              <p:cNvPr id="33" name="Freeform 207"/>
              <p:cNvSpPr>
                <a:spLocks noEditPoints="1"/>
              </p:cNvSpPr>
              <p:nvPr/>
            </p:nvSpPr>
            <p:spPr bwMode="gray">
              <a:xfrm>
                <a:off x="6803209"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sp>
            <p:nvSpPr>
              <p:cNvPr id="34" name="Rectangle 33"/>
              <p:cNvSpPr/>
              <p:nvPr/>
            </p:nvSpPr>
            <p:spPr bwMode="auto">
              <a:xfrm>
                <a:off x="5975576" y="2973304"/>
                <a:ext cx="2254485" cy="997351"/>
              </a:xfrm>
              <a:prstGeom prst="rect">
                <a:avLst/>
              </a:prstGeom>
              <a:noFill/>
              <a:ln w="3175">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t" anchorCtr="0" compatLnSpc="1">
                <a:prstTxWarp prst="textNoShape">
                  <a:avLst/>
                </a:prstTxWarp>
              </a:bodyPr>
              <a:lstStyle/>
              <a:p>
                <a:pPr algn="ctr" defTabSz="914102" fontAlgn="base">
                  <a:lnSpc>
                    <a:spcPct val="90000"/>
                  </a:lnSpc>
                  <a:spcBef>
                    <a:spcPct val="0"/>
                  </a:spcBef>
                  <a:spcAft>
                    <a:spcPct val="0"/>
                  </a:spcAft>
                </a:pPr>
                <a:endParaRPr lang="en-US" sz="1372" dirty="0">
                  <a:gradFill>
                    <a:gsLst>
                      <a:gs pos="84071">
                        <a:srgbClr val="191919"/>
                      </a:gs>
                      <a:gs pos="57000">
                        <a:srgbClr val="191919"/>
                      </a:gs>
                    </a:gsLst>
                    <a:lin ang="5400000" scaled="0"/>
                  </a:gradFill>
                  <a:latin typeface="Segoe UI Semibold" panose="020B0702040204020203" pitchFamily="34" charset="0"/>
                </a:endParaRPr>
              </a:p>
            </p:txBody>
          </p:sp>
        </p:grpSp>
        <p:sp>
          <p:nvSpPr>
            <p:cNvPr id="51" name="Rectangle 50"/>
            <p:cNvSpPr/>
            <p:nvPr/>
          </p:nvSpPr>
          <p:spPr bwMode="auto">
            <a:xfrm>
              <a:off x="4214538" y="3542949"/>
              <a:ext cx="2261453" cy="329184"/>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372" dirty="0">
                  <a:gradFill>
                    <a:gsLst>
                      <a:gs pos="24779">
                        <a:srgbClr val="FFFFFF"/>
                      </a:gs>
                      <a:gs pos="63717">
                        <a:srgbClr val="FFFFFF"/>
                      </a:gs>
                    </a:gsLst>
                    <a:lin ang="5400000" scaled="0"/>
                  </a:gradFill>
                  <a:latin typeface="Segoe UI Semibold" panose="020B0702040204020203" pitchFamily="34" charset="0"/>
                </a:rPr>
                <a:t>STORSIMPLE</a:t>
              </a:r>
            </a:p>
          </p:txBody>
        </p:sp>
      </p:grpSp>
      <p:grpSp>
        <p:nvGrpSpPr>
          <p:cNvPr id="83" name="SSD"/>
          <p:cNvGrpSpPr/>
          <p:nvPr/>
        </p:nvGrpSpPr>
        <p:grpSpPr>
          <a:xfrm>
            <a:off x="6593752" y="2799815"/>
            <a:ext cx="2210167" cy="1299849"/>
            <a:chOff x="4987245" y="4341506"/>
            <a:chExt cx="2254485" cy="1325914"/>
          </a:xfrm>
        </p:grpSpPr>
        <p:sp>
          <p:nvSpPr>
            <p:cNvPr id="84" name="Rectangle 83"/>
            <p:cNvSpPr/>
            <p:nvPr/>
          </p:nvSpPr>
          <p:spPr bwMode="auto">
            <a:xfrm>
              <a:off x="4987245" y="4660014"/>
              <a:ext cx="2254485" cy="1007406"/>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rgbClr val="FFFFFF"/>
                    </a:gs>
                    <a:gs pos="100000">
                      <a:srgbClr val="FFFFFF"/>
                    </a:gs>
                  </a:gsLst>
                  <a:lin ang="5400000" scaled="0"/>
                </a:gradFill>
              </a:endParaRPr>
            </a:p>
          </p:txBody>
        </p:sp>
        <p:sp>
          <p:nvSpPr>
            <p:cNvPr id="85" name="Rectangle 84"/>
            <p:cNvSpPr/>
            <p:nvPr/>
          </p:nvSpPr>
          <p:spPr bwMode="auto">
            <a:xfrm>
              <a:off x="5064068" y="4740195"/>
              <a:ext cx="2100839" cy="857568"/>
            </a:xfrm>
            <a:prstGeom prst="rect">
              <a:avLst/>
            </a:prstGeom>
            <a:noFill/>
            <a:ln w="12700">
              <a:solidFill>
                <a:schemeClr val="tx1"/>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79285" tIns="143428" rIns="179285" bIns="44821" numCol="1" rtlCol="0" anchor="b" anchorCtr="0" compatLnSpc="1">
              <a:prstTxWarp prst="textNoShape">
                <a:avLst/>
              </a:prstTxWarp>
            </a:bodyPr>
            <a:lstStyle/>
            <a:p>
              <a:pPr algn="ctr" defTabSz="914102" fontAlgn="base">
                <a:lnSpc>
                  <a:spcPct val="90000"/>
                </a:lnSpc>
                <a:spcBef>
                  <a:spcPct val="0"/>
                </a:spcBef>
                <a:spcAft>
                  <a:spcPct val="0"/>
                </a:spcAft>
              </a:pPr>
              <a:endParaRPr lang="en-NZ" sz="882" dirty="0">
                <a:gradFill>
                  <a:gsLst>
                    <a:gs pos="38938">
                      <a:srgbClr val="505050"/>
                    </a:gs>
                    <a:gs pos="61000">
                      <a:srgbClr val="505050"/>
                    </a:gs>
                  </a:gsLst>
                  <a:lin ang="5400000" scaled="0"/>
                </a:gradFill>
                <a:latin typeface="Segoe UI Semibold" panose="020B0702040204020203" pitchFamily="34" charset="0"/>
              </a:endParaRPr>
            </a:p>
          </p:txBody>
        </p:sp>
        <p:grpSp>
          <p:nvGrpSpPr>
            <p:cNvPr id="86" name="Group 85"/>
            <p:cNvGrpSpPr/>
            <p:nvPr/>
          </p:nvGrpSpPr>
          <p:grpSpPr>
            <a:xfrm>
              <a:off x="5310769" y="4580720"/>
              <a:ext cx="1607436" cy="848981"/>
              <a:chOff x="5304808" y="4580720"/>
              <a:chExt cx="1607436" cy="848981"/>
            </a:xfrm>
          </p:grpSpPr>
          <p:cxnSp>
            <p:nvCxnSpPr>
              <p:cNvPr id="91" name="Straight Connector 90"/>
              <p:cNvCxnSpPr/>
              <p:nvPr/>
            </p:nvCxnSpPr>
            <p:spPr>
              <a:xfrm>
                <a:off x="5306526" y="4580720"/>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907449" y="4580720"/>
                <a:ext cx="0" cy="84898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5304808" y="5427608"/>
                <a:ext cx="1607436" cy="1"/>
              </a:xfrm>
              <a:prstGeom prst="line">
                <a:avLst/>
              </a:prstGeom>
              <a:ln w="12700">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sp>
          <p:nvSpPr>
            <p:cNvPr id="87" name="Rectangle 86"/>
            <p:cNvSpPr/>
            <p:nvPr/>
          </p:nvSpPr>
          <p:spPr bwMode="auto">
            <a:xfrm>
              <a:off x="4987245" y="4341506"/>
              <a:ext cx="2254485" cy="326275"/>
            </a:xfrm>
            <a:prstGeom prst="rect">
              <a:avLst/>
            </a:prstGeom>
            <a:solidFill>
              <a:srgbClr val="B2B2B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372" dirty="0">
                  <a:gradFill>
                    <a:gsLst>
                      <a:gs pos="63717">
                        <a:srgbClr val="282828">
                          <a:lumMod val="90000"/>
                          <a:lumOff val="10000"/>
                        </a:srgbClr>
                      </a:gs>
                      <a:gs pos="84071">
                        <a:srgbClr val="282828">
                          <a:lumMod val="90000"/>
                          <a:lumOff val="10000"/>
                        </a:srgbClr>
                      </a:gs>
                    </a:gsLst>
                    <a:lin ang="5400000" scaled="0"/>
                  </a:gradFill>
                  <a:latin typeface="Segoe UI Semibold" panose="020B0702040204020203" pitchFamily="34" charset="0"/>
                </a:rPr>
                <a:t>SSD</a:t>
              </a:r>
            </a:p>
          </p:txBody>
        </p:sp>
        <p:grpSp>
          <p:nvGrpSpPr>
            <p:cNvPr id="88" name="Group 87"/>
            <p:cNvGrpSpPr/>
            <p:nvPr/>
          </p:nvGrpSpPr>
          <p:grpSpPr>
            <a:xfrm>
              <a:off x="5793332" y="4659671"/>
              <a:ext cx="638034" cy="667301"/>
              <a:chOff x="1982650" y="5319984"/>
              <a:chExt cx="638034" cy="667301"/>
            </a:xfrm>
          </p:grpSpPr>
          <p:cxnSp>
            <p:nvCxnSpPr>
              <p:cNvPr id="89" name="Straight Connector 88"/>
              <p:cNvCxnSpPr/>
              <p:nvPr/>
            </p:nvCxnSpPr>
            <p:spPr>
              <a:xfrm>
                <a:off x="2303805" y="5319984"/>
                <a:ext cx="0" cy="2614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0" name="Freeform 5"/>
              <p:cNvSpPr>
                <a:spLocks noChangeAspect="1" noEditPoints="1"/>
              </p:cNvSpPr>
              <p:nvPr/>
            </p:nvSpPr>
            <p:spPr bwMode="auto">
              <a:xfrm>
                <a:off x="1982650" y="5498655"/>
                <a:ext cx="638034" cy="488630"/>
              </a:xfrm>
              <a:custGeom>
                <a:avLst/>
                <a:gdLst>
                  <a:gd name="T0" fmla="*/ 217 w 217"/>
                  <a:gd name="T1" fmla="*/ 65 h 166"/>
                  <a:gd name="T2" fmla="*/ 217 w 217"/>
                  <a:gd name="T3" fmla="*/ 101 h 166"/>
                  <a:gd name="T4" fmla="*/ 110 w 217"/>
                  <a:gd name="T5" fmla="*/ 166 h 166"/>
                  <a:gd name="T6" fmla="*/ 110 w 217"/>
                  <a:gd name="T7" fmla="*/ 130 h 166"/>
                  <a:gd name="T8" fmla="*/ 217 w 217"/>
                  <a:gd name="T9" fmla="*/ 65 h 166"/>
                  <a:gd name="T10" fmla="*/ 106 w 217"/>
                  <a:gd name="T11" fmla="*/ 130 h 166"/>
                  <a:gd name="T12" fmla="*/ 106 w 217"/>
                  <a:gd name="T13" fmla="*/ 166 h 166"/>
                  <a:gd name="T14" fmla="*/ 0 w 217"/>
                  <a:gd name="T15" fmla="*/ 100 h 166"/>
                  <a:gd name="T16" fmla="*/ 0 w 217"/>
                  <a:gd name="T17" fmla="*/ 64 h 166"/>
                  <a:gd name="T18" fmla="*/ 106 w 217"/>
                  <a:gd name="T19" fmla="*/ 130 h 166"/>
                  <a:gd name="T20" fmla="*/ 49 w 217"/>
                  <a:gd name="T21" fmla="*/ 98 h 166"/>
                  <a:gd name="T22" fmla="*/ 47 w 217"/>
                  <a:gd name="T23" fmla="*/ 98 h 166"/>
                  <a:gd name="T24" fmla="*/ 47 w 217"/>
                  <a:gd name="T25" fmla="*/ 122 h 166"/>
                  <a:gd name="T26" fmla="*/ 49 w 217"/>
                  <a:gd name="T27" fmla="*/ 122 h 166"/>
                  <a:gd name="T28" fmla="*/ 49 w 217"/>
                  <a:gd name="T29" fmla="*/ 98 h 166"/>
                  <a:gd name="T30" fmla="*/ 55 w 217"/>
                  <a:gd name="T31" fmla="*/ 103 h 166"/>
                  <a:gd name="T32" fmla="*/ 53 w 217"/>
                  <a:gd name="T33" fmla="*/ 103 h 166"/>
                  <a:gd name="T34" fmla="*/ 53 w 217"/>
                  <a:gd name="T35" fmla="*/ 126 h 166"/>
                  <a:gd name="T36" fmla="*/ 55 w 217"/>
                  <a:gd name="T37" fmla="*/ 126 h 166"/>
                  <a:gd name="T38" fmla="*/ 55 w 217"/>
                  <a:gd name="T39" fmla="*/ 103 h 166"/>
                  <a:gd name="T40" fmla="*/ 60 w 217"/>
                  <a:gd name="T41" fmla="*/ 107 h 166"/>
                  <a:gd name="T42" fmla="*/ 58 w 217"/>
                  <a:gd name="T43" fmla="*/ 107 h 166"/>
                  <a:gd name="T44" fmla="*/ 58 w 217"/>
                  <a:gd name="T45" fmla="*/ 130 h 166"/>
                  <a:gd name="T46" fmla="*/ 60 w 217"/>
                  <a:gd name="T47" fmla="*/ 130 h 166"/>
                  <a:gd name="T48" fmla="*/ 60 w 217"/>
                  <a:gd name="T49" fmla="*/ 107 h 166"/>
                  <a:gd name="T50" fmla="*/ 66 w 217"/>
                  <a:gd name="T51" fmla="*/ 111 h 166"/>
                  <a:gd name="T52" fmla="*/ 64 w 217"/>
                  <a:gd name="T53" fmla="*/ 111 h 166"/>
                  <a:gd name="T54" fmla="*/ 64 w 217"/>
                  <a:gd name="T55" fmla="*/ 135 h 166"/>
                  <a:gd name="T56" fmla="*/ 66 w 217"/>
                  <a:gd name="T57" fmla="*/ 135 h 166"/>
                  <a:gd name="T58" fmla="*/ 66 w 217"/>
                  <a:gd name="T59" fmla="*/ 111 h 166"/>
                  <a:gd name="T60" fmla="*/ 85 w 217"/>
                  <a:gd name="T61" fmla="*/ 128 h 166"/>
                  <a:gd name="T62" fmla="*/ 75 w 217"/>
                  <a:gd name="T63" fmla="*/ 129 h 166"/>
                  <a:gd name="T64" fmla="*/ 80 w 217"/>
                  <a:gd name="T65" fmla="*/ 142 h 166"/>
                  <a:gd name="T66" fmla="*/ 91 w 217"/>
                  <a:gd name="T67" fmla="*/ 141 h 166"/>
                  <a:gd name="T68" fmla="*/ 85 w 217"/>
                  <a:gd name="T69" fmla="*/ 128 h 166"/>
                  <a:gd name="T70" fmla="*/ 214 w 217"/>
                  <a:gd name="T71" fmla="*/ 62 h 166"/>
                  <a:gd name="T72" fmla="*/ 108 w 217"/>
                  <a:gd name="T73" fmla="*/ 126 h 166"/>
                  <a:gd name="T74" fmla="*/ 2 w 217"/>
                  <a:gd name="T75" fmla="*/ 61 h 166"/>
                  <a:gd name="T76" fmla="*/ 108 w 217"/>
                  <a:gd name="T77" fmla="*/ 0 h 166"/>
                  <a:gd name="T78" fmla="*/ 214 w 217"/>
                  <a:gd name="T79" fmla="*/ 62 h 166"/>
                  <a:gd name="T80" fmla="*/ 105 w 217"/>
                  <a:gd name="T81" fmla="*/ 9 h 166"/>
                  <a:gd name="T82" fmla="*/ 110 w 217"/>
                  <a:gd name="T83" fmla="*/ 13 h 166"/>
                  <a:gd name="T84" fmla="*/ 116 w 217"/>
                  <a:gd name="T85" fmla="*/ 11 h 166"/>
                  <a:gd name="T86" fmla="*/ 111 w 217"/>
                  <a:gd name="T87" fmla="*/ 7 h 166"/>
                  <a:gd name="T88" fmla="*/ 105 w 217"/>
                  <a:gd name="T89" fmla="*/ 9 h 166"/>
                  <a:gd name="T90" fmla="*/ 25 w 217"/>
                  <a:gd name="T91" fmla="*/ 61 h 166"/>
                  <a:gd name="T92" fmla="*/ 19 w 217"/>
                  <a:gd name="T93" fmla="*/ 58 h 166"/>
                  <a:gd name="T94" fmla="*/ 13 w 217"/>
                  <a:gd name="T95" fmla="*/ 60 h 166"/>
                  <a:gd name="T96" fmla="*/ 18 w 217"/>
                  <a:gd name="T97" fmla="*/ 63 h 166"/>
                  <a:gd name="T98" fmla="*/ 25 w 217"/>
                  <a:gd name="T99" fmla="*/ 61 h 166"/>
                  <a:gd name="T100" fmla="*/ 112 w 217"/>
                  <a:gd name="T101" fmla="*/ 115 h 166"/>
                  <a:gd name="T102" fmla="*/ 107 w 217"/>
                  <a:gd name="T103" fmla="*/ 111 h 166"/>
                  <a:gd name="T104" fmla="*/ 101 w 217"/>
                  <a:gd name="T105" fmla="*/ 113 h 166"/>
                  <a:gd name="T106" fmla="*/ 106 w 217"/>
                  <a:gd name="T107" fmla="*/ 117 h 166"/>
                  <a:gd name="T108" fmla="*/ 112 w 217"/>
                  <a:gd name="T109" fmla="*/ 115 h 166"/>
                  <a:gd name="T110" fmla="*/ 201 w 217"/>
                  <a:gd name="T111" fmla="*/ 62 h 166"/>
                  <a:gd name="T112" fmla="*/ 196 w 217"/>
                  <a:gd name="T113" fmla="*/ 58 h 166"/>
                  <a:gd name="T114" fmla="*/ 190 w 217"/>
                  <a:gd name="T115" fmla="*/ 60 h 166"/>
                  <a:gd name="T116" fmla="*/ 195 w 217"/>
                  <a:gd name="T117" fmla="*/ 64 h 166"/>
                  <a:gd name="T118" fmla="*/ 201 w 217"/>
                  <a:gd name="T119" fmla="*/ 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7" h="166">
                    <a:moveTo>
                      <a:pt x="217" y="65"/>
                    </a:moveTo>
                    <a:cubicBezTo>
                      <a:pt x="217" y="101"/>
                      <a:pt x="217" y="101"/>
                      <a:pt x="217" y="101"/>
                    </a:cubicBezTo>
                    <a:cubicBezTo>
                      <a:pt x="110" y="166"/>
                      <a:pt x="110" y="166"/>
                      <a:pt x="110" y="166"/>
                    </a:cubicBezTo>
                    <a:cubicBezTo>
                      <a:pt x="110" y="130"/>
                      <a:pt x="110" y="130"/>
                      <a:pt x="110" y="130"/>
                    </a:cubicBezTo>
                    <a:lnTo>
                      <a:pt x="217" y="65"/>
                    </a:lnTo>
                    <a:close/>
                    <a:moveTo>
                      <a:pt x="106" y="130"/>
                    </a:moveTo>
                    <a:cubicBezTo>
                      <a:pt x="106" y="151"/>
                      <a:pt x="106" y="166"/>
                      <a:pt x="106" y="166"/>
                    </a:cubicBezTo>
                    <a:cubicBezTo>
                      <a:pt x="0" y="100"/>
                      <a:pt x="0" y="100"/>
                      <a:pt x="0" y="100"/>
                    </a:cubicBezTo>
                    <a:cubicBezTo>
                      <a:pt x="0" y="64"/>
                      <a:pt x="0" y="64"/>
                      <a:pt x="0" y="64"/>
                    </a:cubicBezTo>
                    <a:lnTo>
                      <a:pt x="106" y="130"/>
                    </a:lnTo>
                    <a:close/>
                    <a:moveTo>
                      <a:pt x="49" y="98"/>
                    </a:moveTo>
                    <a:cubicBezTo>
                      <a:pt x="47" y="98"/>
                      <a:pt x="47" y="98"/>
                      <a:pt x="47" y="98"/>
                    </a:cubicBezTo>
                    <a:cubicBezTo>
                      <a:pt x="47" y="122"/>
                      <a:pt x="47" y="122"/>
                      <a:pt x="47" y="122"/>
                    </a:cubicBezTo>
                    <a:cubicBezTo>
                      <a:pt x="49" y="122"/>
                      <a:pt x="49" y="122"/>
                      <a:pt x="49" y="122"/>
                    </a:cubicBezTo>
                    <a:lnTo>
                      <a:pt x="49" y="98"/>
                    </a:lnTo>
                    <a:close/>
                    <a:moveTo>
                      <a:pt x="55" y="103"/>
                    </a:moveTo>
                    <a:cubicBezTo>
                      <a:pt x="53" y="103"/>
                      <a:pt x="53" y="103"/>
                      <a:pt x="53" y="103"/>
                    </a:cubicBezTo>
                    <a:cubicBezTo>
                      <a:pt x="53" y="126"/>
                      <a:pt x="53" y="126"/>
                      <a:pt x="53" y="126"/>
                    </a:cubicBezTo>
                    <a:cubicBezTo>
                      <a:pt x="55" y="126"/>
                      <a:pt x="55" y="126"/>
                      <a:pt x="55" y="126"/>
                    </a:cubicBezTo>
                    <a:lnTo>
                      <a:pt x="55" y="103"/>
                    </a:lnTo>
                    <a:close/>
                    <a:moveTo>
                      <a:pt x="60" y="107"/>
                    </a:moveTo>
                    <a:cubicBezTo>
                      <a:pt x="58" y="107"/>
                      <a:pt x="58" y="107"/>
                      <a:pt x="58" y="107"/>
                    </a:cubicBezTo>
                    <a:cubicBezTo>
                      <a:pt x="58" y="130"/>
                      <a:pt x="58" y="130"/>
                      <a:pt x="58" y="130"/>
                    </a:cubicBezTo>
                    <a:cubicBezTo>
                      <a:pt x="60" y="130"/>
                      <a:pt x="60" y="130"/>
                      <a:pt x="60" y="130"/>
                    </a:cubicBezTo>
                    <a:lnTo>
                      <a:pt x="60" y="107"/>
                    </a:lnTo>
                    <a:close/>
                    <a:moveTo>
                      <a:pt x="66" y="111"/>
                    </a:moveTo>
                    <a:cubicBezTo>
                      <a:pt x="64" y="111"/>
                      <a:pt x="64" y="111"/>
                      <a:pt x="64" y="111"/>
                    </a:cubicBezTo>
                    <a:cubicBezTo>
                      <a:pt x="64" y="135"/>
                      <a:pt x="64" y="135"/>
                      <a:pt x="64" y="135"/>
                    </a:cubicBezTo>
                    <a:cubicBezTo>
                      <a:pt x="66" y="135"/>
                      <a:pt x="66" y="135"/>
                      <a:pt x="66" y="135"/>
                    </a:cubicBezTo>
                    <a:lnTo>
                      <a:pt x="66" y="111"/>
                    </a:lnTo>
                    <a:close/>
                    <a:moveTo>
                      <a:pt x="85" y="128"/>
                    </a:moveTo>
                    <a:cubicBezTo>
                      <a:pt x="81" y="124"/>
                      <a:pt x="76" y="125"/>
                      <a:pt x="75" y="129"/>
                    </a:cubicBezTo>
                    <a:cubicBezTo>
                      <a:pt x="73" y="132"/>
                      <a:pt x="75" y="138"/>
                      <a:pt x="80" y="142"/>
                    </a:cubicBezTo>
                    <a:cubicBezTo>
                      <a:pt x="84" y="145"/>
                      <a:pt x="89" y="145"/>
                      <a:pt x="91" y="141"/>
                    </a:cubicBezTo>
                    <a:cubicBezTo>
                      <a:pt x="92" y="137"/>
                      <a:pt x="90" y="131"/>
                      <a:pt x="85" y="128"/>
                    </a:cubicBezTo>
                    <a:close/>
                    <a:moveTo>
                      <a:pt x="214" y="62"/>
                    </a:moveTo>
                    <a:cubicBezTo>
                      <a:pt x="108" y="126"/>
                      <a:pt x="108" y="126"/>
                      <a:pt x="108" y="126"/>
                    </a:cubicBezTo>
                    <a:cubicBezTo>
                      <a:pt x="2" y="61"/>
                      <a:pt x="2" y="61"/>
                      <a:pt x="2" y="61"/>
                    </a:cubicBezTo>
                    <a:cubicBezTo>
                      <a:pt x="108" y="0"/>
                      <a:pt x="108" y="0"/>
                      <a:pt x="108" y="0"/>
                    </a:cubicBezTo>
                    <a:lnTo>
                      <a:pt x="214" y="62"/>
                    </a:lnTo>
                    <a:close/>
                    <a:moveTo>
                      <a:pt x="105" y="9"/>
                    </a:moveTo>
                    <a:cubicBezTo>
                      <a:pt x="105" y="11"/>
                      <a:pt x="107" y="13"/>
                      <a:pt x="110" y="13"/>
                    </a:cubicBezTo>
                    <a:cubicBezTo>
                      <a:pt x="113" y="14"/>
                      <a:pt x="116" y="13"/>
                      <a:pt x="116" y="11"/>
                    </a:cubicBezTo>
                    <a:cubicBezTo>
                      <a:pt x="117" y="10"/>
                      <a:pt x="114" y="8"/>
                      <a:pt x="111" y="7"/>
                    </a:cubicBezTo>
                    <a:cubicBezTo>
                      <a:pt x="108" y="7"/>
                      <a:pt x="105" y="8"/>
                      <a:pt x="105" y="9"/>
                    </a:cubicBezTo>
                    <a:close/>
                    <a:moveTo>
                      <a:pt x="25" y="61"/>
                    </a:moveTo>
                    <a:cubicBezTo>
                      <a:pt x="25" y="60"/>
                      <a:pt x="22" y="58"/>
                      <a:pt x="19" y="58"/>
                    </a:cubicBezTo>
                    <a:cubicBezTo>
                      <a:pt x="16" y="57"/>
                      <a:pt x="13" y="58"/>
                      <a:pt x="13" y="60"/>
                    </a:cubicBezTo>
                    <a:cubicBezTo>
                      <a:pt x="13" y="61"/>
                      <a:pt x="15" y="63"/>
                      <a:pt x="18" y="63"/>
                    </a:cubicBezTo>
                    <a:cubicBezTo>
                      <a:pt x="22" y="64"/>
                      <a:pt x="24" y="63"/>
                      <a:pt x="25" y="61"/>
                    </a:cubicBezTo>
                    <a:close/>
                    <a:moveTo>
                      <a:pt x="112" y="115"/>
                    </a:moveTo>
                    <a:cubicBezTo>
                      <a:pt x="113" y="113"/>
                      <a:pt x="110" y="111"/>
                      <a:pt x="107" y="111"/>
                    </a:cubicBezTo>
                    <a:cubicBezTo>
                      <a:pt x="104" y="111"/>
                      <a:pt x="101" y="111"/>
                      <a:pt x="101" y="113"/>
                    </a:cubicBezTo>
                    <a:cubicBezTo>
                      <a:pt x="101" y="115"/>
                      <a:pt x="103" y="116"/>
                      <a:pt x="106" y="117"/>
                    </a:cubicBezTo>
                    <a:cubicBezTo>
                      <a:pt x="109" y="117"/>
                      <a:pt x="112" y="116"/>
                      <a:pt x="112" y="115"/>
                    </a:cubicBezTo>
                    <a:close/>
                    <a:moveTo>
                      <a:pt x="201" y="62"/>
                    </a:moveTo>
                    <a:cubicBezTo>
                      <a:pt x="201" y="60"/>
                      <a:pt x="199" y="58"/>
                      <a:pt x="196" y="58"/>
                    </a:cubicBezTo>
                    <a:cubicBezTo>
                      <a:pt x="193" y="57"/>
                      <a:pt x="190" y="58"/>
                      <a:pt x="190" y="60"/>
                    </a:cubicBezTo>
                    <a:cubicBezTo>
                      <a:pt x="189" y="61"/>
                      <a:pt x="192" y="63"/>
                      <a:pt x="195" y="64"/>
                    </a:cubicBezTo>
                    <a:cubicBezTo>
                      <a:pt x="198" y="64"/>
                      <a:pt x="201" y="63"/>
                      <a:pt x="201" y="62"/>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206"/>
                <a:endParaRPr lang="en-US" sz="1568">
                  <a:solidFill>
                    <a:srgbClr val="505050"/>
                  </a:solidFill>
                </a:endParaRPr>
              </a:p>
            </p:txBody>
          </p:sp>
        </p:grpSp>
      </p:grpSp>
      <p:cxnSp>
        <p:nvCxnSpPr>
          <p:cNvPr id="127" name="Straight sotrsimple to SAS"/>
          <p:cNvCxnSpPr/>
          <p:nvPr/>
        </p:nvCxnSpPr>
        <p:spPr>
          <a:xfrm>
            <a:off x="7690264" y="4099665"/>
            <a:ext cx="0" cy="44147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Orange StorSimple"/>
          <p:cNvGrpSpPr/>
          <p:nvPr/>
        </p:nvGrpSpPr>
        <p:grpSpPr>
          <a:xfrm>
            <a:off x="4748380" y="3296426"/>
            <a:ext cx="596110" cy="575242"/>
            <a:chOff x="4944533" y="5030342"/>
            <a:chExt cx="608063" cy="586777"/>
          </a:xfrm>
        </p:grpSpPr>
        <p:sp>
          <p:nvSpPr>
            <p:cNvPr id="26" name="Rectangle 25"/>
            <p:cNvSpPr/>
            <p:nvPr/>
          </p:nvSpPr>
          <p:spPr bwMode="auto">
            <a:xfrm>
              <a:off x="4944533" y="5030342"/>
              <a:ext cx="608063" cy="5867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207"/>
            <p:cNvSpPr>
              <a:spLocks noEditPoints="1"/>
            </p:cNvSpPr>
            <p:nvPr/>
          </p:nvSpPr>
          <p:spPr bwMode="gray">
            <a:xfrm>
              <a:off x="4945471" y="5098176"/>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defTabSz="914206"/>
              <a:endParaRPr lang="en-US" sz="1765" dirty="0">
                <a:solidFill>
                  <a:srgbClr val="505050"/>
                </a:solidFill>
              </a:endParaRPr>
            </a:p>
          </p:txBody>
        </p:sp>
      </p:grpSp>
      <p:sp>
        <p:nvSpPr>
          <p:cNvPr id="24" name="CLK 1"/>
          <p:cNvSpPr/>
          <p:nvPr/>
        </p:nvSpPr>
        <p:spPr bwMode="auto">
          <a:xfrm>
            <a:off x="1789771"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CLK 1"/>
          <p:cNvSpPr/>
          <p:nvPr/>
        </p:nvSpPr>
        <p:spPr bwMode="auto">
          <a:xfrm>
            <a:off x="2955448"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CLK 1"/>
          <p:cNvSpPr/>
          <p:nvPr/>
        </p:nvSpPr>
        <p:spPr bwMode="auto">
          <a:xfrm>
            <a:off x="1789771"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CLK 1"/>
          <p:cNvSpPr/>
          <p:nvPr/>
        </p:nvSpPr>
        <p:spPr bwMode="auto">
          <a:xfrm>
            <a:off x="2955448"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CLK 2"/>
          <p:cNvSpPr/>
          <p:nvPr/>
        </p:nvSpPr>
        <p:spPr bwMode="auto">
          <a:xfrm>
            <a:off x="1789771"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CLK 2"/>
          <p:cNvSpPr/>
          <p:nvPr/>
        </p:nvSpPr>
        <p:spPr bwMode="auto">
          <a:xfrm>
            <a:off x="2955448"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CLK 2"/>
          <p:cNvSpPr/>
          <p:nvPr/>
        </p:nvSpPr>
        <p:spPr bwMode="auto">
          <a:xfrm>
            <a:off x="1789771"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CLK 2"/>
          <p:cNvSpPr/>
          <p:nvPr/>
        </p:nvSpPr>
        <p:spPr bwMode="auto">
          <a:xfrm>
            <a:off x="2955448"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8" name="SSD Orange filler"/>
          <p:cNvGrpSpPr/>
          <p:nvPr/>
        </p:nvGrpSpPr>
        <p:grpSpPr>
          <a:xfrm>
            <a:off x="6593752" y="2799815"/>
            <a:ext cx="2210167" cy="1299849"/>
            <a:chOff x="6878370" y="3007860"/>
            <a:chExt cx="2254485" cy="1325914"/>
          </a:xfrm>
        </p:grpSpPr>
        <p:sp>
          <p:nvSpPr>
            <p:cNvPr id="129" name="Orange filler"/>
            <p:cNvSpPr/>
            <p:nvPr/>
          </p:nvSpPr>
          <p:spPr bwMode="auto">
            <a:xfrm>
              <a:off x="6878370" y="3404457"/>
              <a:ext cx="2254485" cy="929317"/>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Orange SSD top"/>
            <p:cNvSpPr/>
            <p:nvPr/>
          </p:nvSpPr>
          <p:spPr bwMode="auto">
            <a:xfrm>
              <a:off x="6878370" y="3007860"/>
              <a:ext cx="2254485" cy="32627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372" dirty="0">
                  <a:gradFill>
                    <a:gsLst>
                      <a:gs pos="32743">
                        <a:srgbClr val="FFFFFF"/>
                      </a:gs>
                      <a:gs pos="63717">
                        <a:srgbClr val="FFFFFF"/>
                      </a:gs>
                    </a:gsLst>
                    <a:lin ang="5400000" scaled="0"/>
                  </a:gradFill>
                  <a:latin typeface="Segoe UI Semibold" panose="020B0702040204020203" pitchFamily="34" charset="0"/>
                </a:rPr>
                <a:t>SSD</a:t>
              </a:r>
            </a:p>
          </p:txBody>
        </p:sp>
      </p:grpSp>
      <p:sp>
        <p:nvSpPr>
          <p:cNvPr id="131" name="CLK 2.5"/>
          <p:cNvSpPr/>
          <p:nvPr/>
        </p:nvSpPr>
        <p:spPr bwMode="auto">
          <a:xfrm>
            <a:off x="1789771"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CLK 2.5"/>
          <p:cNvSpPr/>
          <p:nvPr/>
        </p:nvSpPr>
        <p:spPr bwMode="auto">
          <a:xfrm>
            <a:off x="2955448"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CLK 2.5"/>
          <p:cNvSpPr/>
          <p:nvPr/>
        </p:nvSpPr>
        <p:spPr bwMode="auto">
          <a:xfrm>
            <a:off x="1789771"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CLK 2.5"/>
          <p:cNvSpPr/>
          <p:nvPr/>
        </p:nvSpPr>
        <p:spPr bwMode="auto">
          <a:xfrm>
            <a:off x="2955448" y="3455182"/>
            <a:ext cx="155914" cy="15591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Orange SAS filler"/>
          <p:cNvGrpSpPr/>
          <p:nvPr/>
        </p:nvGrpSpPr>
        <p:grpSpPr>
          <a:xfrm>
            <a:off x="6593752" y="4541091"/>
            <a:ext cx="2210167" cy="1289826"/>
            <a:chOff x="6878370" y="4784053"/>
            <a:chExt cx="2254485" cy="1315690"/>
          </a:xfrm>
        </p:grpSpPr>
        <p:sp>
          <p:nvSpPr>
            <p:cNvPr id="136" name="Orange filler"/>
            <p:cNvSpPr/>
            <p:nvPr/>
          </p:nvSpPr>
          <p:spPr bwMode="auto">
            <a:xfrm>
              <a:off x="6878370" y="5182742"/>
              <a:ext cx="2254485" cy="917001"/>
            </a:xfrm>
            <a:prstGeom prst="rect">
              <a:avLst/>
            </a:prstGeom>
            <a:solidFill>
              <a:schemeClr val="accent3">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Orange SAS top"/>
            <p:cNvSpPr/>
            <p:nvPr/>
          </p:nvSpPr>
          <p:spPr bwMode="auto">
            <a:xfrm>
              <a:off x="6878370" y="4784053"/>
              <a:ext cx="2254485" cy="32627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1372" dirty="0">
                  <a:gradFill>
                    <a:gsLst>
                      <a:gs pos="32743">
                        <a:srgbClr val="FFFFFF"/>
                      </a:gs>
                      <a:gs pos="63717">
                        <a:srgbClr val="FFFFFF"/>
                      </a:gs>
                    </a:gsLst>
                    <a:lin ang="5400000" scaled="0"/>
                  </a:gradFill>
                  <a:latin typeface="Segoe UI Semibold" panose="020B0702040204020203" pitchFamily="34" charset="0"/>
                </a:rPr>
                <a:t>SAS</a:t>
              </a:r>
            </a:p>
          </p:txBody>
        </p:sp>
      </p:grpSp>
      <p:sp>
        <p:nvSpPr>
          <p:cNvPr id="142" name="Azure Cloud"/>
          <p:cNvSpPr>
            <a:spLocks/>
          </p:cNvSpPr>
          <p:nvPr/>
        </p:nvSpPr>
        <p:spPr bwMode="auto">
          <a:xfrm>
            <a:off x="8999694" y="2631869"/>
            <a:ext cx="2953452" cy="1635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640080" rIns="89642" bIns="44821" numCol="1" anchor="t" anchorCtr="0" compatLnSpc="1">
            <a:prstTxWarp prst="textNoShape">
              <a:avLst/>
            </a:prstTxWarp>
          </a:bodyPr>
          <a:lstStyle/>
          <a:p>
            <a:pPr algn="ctr" defTabSz="914367"/>
            <a:endParaRPr lang="en-US" sz="1372" dirty="0">
              <a:gradFill>
                <a:gsLst>
                  <a:gs pos="12389">
                    <a:srgbClr val="FFFFFF"/>
                  </a:gs>
                  <a:gs pos="38938">
                    <a:srgbClr val="FFFFFF"/>
                  </a:gs>
                </a:gsLst>
                <a:lin ang="5400000" scaled="0"/>
              </a:gradFill>
            </a:endParaRPr>
          </a:p>
        </p:txBody>
      </p:sp>
      <p:cxnSp>
        <p:nvCxnSpPr>
          <p:cNvPr id="145" name="Straight Connector 144"/>
          <p:cNvCxnSpPr/>
          <p:nvPr/>
        </p:nvCxnSpPr>
        <p:spPr>
          <a:xfrm>
            <a:off x="8803918" y="5339266"/>
            <a:ext cx="167358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0473554" y="4262736"/>
            <a:ext cx="0" cy="108247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1" name="Oval 150"/>
          <p:cNvSpPr/>
          <p:nvPr/>
        </p:nvSpPr>
        <p:spPr bwMode="auto">
          <a:xfrm>
            <a:off x="1738054" y="3457768"/>
            <a:ext cx="152392" cy="15239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Oval 151"/>
          <p:cNvSpPr/>
          <p:nvPr/>
        </p:nvSpPr>
        <p:spPr bwMode="auto">
          <a:xfrm>
            <a:off x="2935960" y="3441510"/>
            <a:ext cx="152392" cy="15239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Oval 152"/>
          <p:cNvSpPr/>
          <p:nvPr/>
        </p:nvSpPr>
        <p:spPr bwMode="auto">
          <a:xfrm>
            <a:off x="1738054" y="3457768"/>
            <a:ext cx="152392" cy="15239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Oval 153"/>
          <p:cNvSpPr/>
          <p:nvPr/>
        </p:nvSpPr>
        <p:spPr bwMode="auto">
          <a:xfrm>
            <a:off x="2935960" y="3441510"/>
            <a:ext cx="152392" cy="15239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Finance"/>
          <p:cNvGrpSpPr/>
          <p:nvPr/>
        </p:nvGrpSpPr>
        <p:grpSpPr>
          <a:xfrm>
            <a:off x="9754052" y="3195440"/>
            <a:ext cx="768930" cy="451575"/>
            <a:chOff x="4214538" y="3542949"/>
            <a:chExt cx="2257731" cy="1325914"/>
          </a:xfrm>
        </p:grpSpPr>
        <p:grpSp>
          <p:nvGrpSpPr>
            <p:cNvPr id="111" name="Group 110"/>
            <p:cNvGrpSpPr/>
            <p:nvPr/>
          </p:nvGrpSpPr>
          <p:grpSpPr>
            <a:xfrm>
              <a:off x="4214538" y="3871512"/>
              <a:ext cx="2254485" cy="997351"/>
              <a:chOff x="5975576" y="2973304"/>
              <a:chExt cx="2254485" cy="997351"/>
            </a:xfrm>
          </p:grpSpPr>
          <p:sp>
            <p:nvSpPr>
              <p:cNvPr id="114" name="Freeform 207"/>
              <p:cNvSpPr>
                <a:spLocks noEditPoints="1"/>
              </p:cNvSpPr>
              <p:nvPr/>
            </p:nvSpPr>
            <p:spPr bwMode="gray">
              <a:xfrm>
                <a:off x="6198214"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ctr" anchorCtr="0" compatLnSpc="1">
                <a:prstTxWarp prst="textNoShape">
                  <a:avLst/>
                </a:prstTxWarp>
              </a:bodyPr>
              <a:lstStyle/>
              <a:p>
                <a:pPr defTabSz="914206"/>
                <a:endParaRPr lang="en-US" sz="700" dirty="0">
                  <a:solidFill>
                    <a:srgbClr val="505050"/>
                  </a:solidFill>
                </a:endParaRPr>
              </a:p>
            </p:txBody>
          </p:sp>
          <p:sp>
            <p:nvSpPr>
              <p:cNvPr id="115" name="Freeform 207"/>
              <p:cNvSpPr>
                <a:spLocks noEditPoints="1"/>
              </p:cNvSpPr>
              <p:nvPr/>
            </p:nvSpPr>
            <p:spPr bwMode="gray">
              <a:xfrm>
                <a:off x="7383567"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ctr" anchorCtr="0" compatLnSpc="1">
                <a:prstTxWarp prst="textNoShape">
                  <a:avLst/>
                </a:prstTxWarp>
              </a:bodyPr>
              <a:lstStyle/>
              <a:p>
                <a:pPr defTabSz="914206"/>
                <a:endParaRPr lang="en-US" sz="700" dirty="0">
                  <a:solidFill>
                    <a:srgbClr val="505050"/>
                  </a:solidFill>
                </a:endParaRPr>
              </a:p>
            </p:txBody>
          </p:sp>
          <p:sp>
            <p:nvSpPr>
              <p:cNvPr id="116" name="Rectangle 115"/>
              <p:cNvSpPr/>
              <p:nvPr/>
            </p:nvSpPr>
            <p:spPr bwMode="auto">
              <a:xfrm>
                <a:off x="5975576" y="2973304"/>
                <a:ext cx="2254485" cy="997351"/>
              </a:xfrm>
              <a:prstGeom prst="rect">
                <a:avLst/>
              </a:prstGeom>
              <a:noFill/>
              <a:ln w="3175">
                <a:solidFill>
                  <a:schemeClr val="tx1">
                    <a:lumMod val="90000"/>
                    <a:lumOff val="10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ctr" anchorCtr="0" compatLnSpc="1">
                <a:prstTxWarp prst="textNoShape">
                  <a:avLst/>
                </a:prstTxWarp>
              </a:bodyPr>
              <a:lstStyle/>
              <a:p>
                <a:pPr algn="ctr" defTabSz="914102" fontAlgn="base">
                  <a:lnSpc>
                    <a:spcPct val="90000"/>
                  </a:lnSpc>
                  <a:spcBef>
                    <a:spcPct val="0"/>
                  </a:spcBef>
                  <a:spcAft>
                    <a:spcPct val="0"/>
                  </a:spcAft>
                </a:pPr>
                <a:endParaRPr lang="en-US" sz="500" dirty="0">
                  <a:gradFill>
                    <a:gsLst>
                      <a:gs pos="84071">
                        <a:srgbClr val="191919"/>
                      </a:gs>
                      <a:gs pos="57000">
                        <a:srgbClr val="191919"/>
                      </a:gs>
                    </a:gsLst>
                    <a:lin ang="5400000" scaled="0"/>
                  </a:gradFill>
                  <a:latin typeface="Segoe UI Semibold" panose="020B0702040204020203" pitchFamily="34" charset="0"/>
                </a:endParaRPr>
              </a:p>
            </p:txBody>
          </p:sp>
        </p:grpSp>
        <p:sp>
          <p:nvSpPr>
            <p:cNvPr id="113" name="Rectangle 112"/>
            <p:cNvSpPr/>
            <p:nvPr/>
          </p:nvSpPr>
          <p:spPr bwMode="auto">
            <a:xfrm>
              <a:off x="4214538" y="3542949"/>
              <a:ext cx="2257731" cy="329184"/>
            </a:xfrm>
            <a:prstGeom prst="rect">
              <a:avLst/>
            </a:prstGeom>
            <a:solidFill>
              <a:schemeClr val="tx1">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500" dirty="0">
                  <a:gradFill>
                    <a:gsLst>
                      <a:gs pos="24779">
                        <a:srgbClr val="FFFFFF"/>
                      </a:gs>
                      <a:gs pos="63717">
                        <a:srgbClr val="FFFFFF"/>
                      </a:gs>
                    </a:gsLst>
                    <a:lin ang="5400000" scaled="0"/>
                  </a:gradFill>
                  <a:latin typeface="Segoe UI Semibold" panose="020B0702040204020203" pitchFamily="34" charset="0"/>
                </a:rPr>
                <a:t>FINANCE</a:t>
              </a:r>
            </a:p>
          </p:txBody>
        </p:sp>
      </p:grpSp>
      <p:grpSp>
        <p:nvGrpSpPr>
          <p:cNvPr id="117" name="StorSimple"/>
          <p:cNvGrpSpPr/>
          <p:nvPr/>
        </p:nvGrpSpPr>
        <p:grpSpPr>
          <a:xfrm>
            <a:off x="9753600" y="3684991"/>
            <a:ext cx="770198" cy="451575"/>
            <a:chOff x="4214538" y="3542949"/>
            <a:chExt cx="2261453" cy="1325914"/>
          </a:xfrm>
        </p:grpSpPr>
        <p:grpSp>
          <p:nvGrpSpPr>
            <p:cNvPr id="123" name="Group 122"/>
            <p:cNvGrpSpPr/>
            <p:nvPr/>
          </p:nvGrpSpPr>
          <p:grpSpPr>
            <a:xfrm>
              <a:off x="4214538" y="3871512"/>
              <a:ext cx="2254485" cy="997351"/>
              <a:chOff x="5975576" y="2973304"/>
              <a:chExt cx="2254485" cy="997351"/>
            </a:xfrm>
          </p:grpSpPr>
          <p:sp>
            <p:nvSpPr>
              <p:cNvPr id="138" name="Freeform 207"/>
              <p:cNvSpPr>
                <a:spLocks noEditPoints="1"/>
              </p:cNvSpPr>
              <p:nvPr/>
            </p:nvSpPr>
            <p:spPr bwMode="gray">
              <a:xfrm>
                <a:off x="6803209" y="3219595"/>
                <a:ext cx="606186" cy="45110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89642" tIns="44821" rIns="89642" bIns="44821" numCol="1" anchor="ctr" anchorCtr="0" compatLnSpc="1">
                <a:prstTxWarp prst="textNoShape">
                  <a:avLst/>
                </a:prstTxWarp>
              </a:bodyPr>
              <a:lstStyle/>
              <a:p>
                <a:pPr defTabSz="914206"/>
                <a:endParaRPr lang="en-US" sz="700" dirty="0">
                  <a:solidFill>
                    <a:srgbClr val="505050"/>
                  </a:solidFill>
                </a:endParaRPr>
              </a:p>
            </p:txBody>
          </p:sp>
          <p:sp>
            <p:nvSpPr>
              <p:cNvPr id="139" name="Rectangle 138"/>
              <p:cNvSpPr/>
              <p:nvPr/>
            </p:nvSpPr>
            <p:spPr bwMode="auto">
              <a:xfrm>
                <a:off x="5975576" y="2973304"/>
                <a:ext cx="2254485" cy="997351"/>
              </a:xfrm>
              <a:prstGeom prst="rect">
                <a:avLst/>
              </a:prstGeom>
              <a:noFill/>
              <a:ln w="3175">
                <a:solidFill>
                  <a:schemeClr val="accent5"/>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89642" numCol="1" rtlCol="0" anchor="ctr" anchorCtr="0" compatLnSpc="1">
                <a:prstTxWarp prst="textNoShape">
                  <a:avLst/>
                </a:prstTxWarp>
              </a:bodyPr>
              <a:lstStyle/>
              <a:p>
                <a:pPr algn="ctr" defTabSz="914102" fontAlgn="base">
                  <a:lnSpc>
                    <a:spcPct val="90000"/>
                  </a:lnSpc>
                  <a:spcBef>
                    <a:spcPct val="0"/>
                  </a:spcBef>
                  <a:spcAft>
                    <a:spcPct val="0"/>
                  </a:spcAft>
                </a:pPr>
                <a:endParaRPr lang="en-US" sz="500" dirty="0">
                  <a:gradFill>
                    <a:gsLst>
                      <a:gs pos="84071">
                        <a:srgbClr val="191919"/>
                      </a:gs>
                      <a:gs pos="57000">
                        <a:srgbClr val="191919"/>
                      </a:gs>
                    </a:gsLst>
                    <a:lin ang="5400000" scaled="0"/>
                  </a:gradFill>
                  <a:latin typeface="Segoe UI Semibold" panose="020B0702040204020203" pitchFamily="34" charset="0"/>
                </a:endParaRPr>
              </a:p>
            </p:txBody>
          </p:sp>
        </p:grpSp>
        <p:sp>
          <p:nvSpPr>
            <p:cNvPr id="134" name="Rectangle 133"/>
            <p:cNvSpPr/>
            <p:nvPr/>
          </p:nvSpPr>
          <p:spPr bwMode="auto">
            <a:xfrm>
              <a:off x="4214538" y="3542949"/>
              <a:ext cx="2261453" cy="329184"/>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206" fontAlgn="base">
                <a:lnSpc>
                  <a:spcPct val="90000"/>
                </a:lnSpc>
                <a:spcBef>
                  <a:spcPct val="0"/>
                </a:spcBef>
                <a:spcAft>
                  <a:spcPct val="0"/>
                </a:spcAft>
                <a:defRPr/>
              </a:pPr>
              <a:r>
                <a:rPr lang="en-US" sz="500" dirty="0">
                  <a:gradFill>
                    <a:gsLst>
                      <a:gs pos="24779">
                        <a:srgbClr val="FFFFFF"/>
                      </a:gs>
                      <a:gs pos="63717">
                        <a:srgbClr val="FFFFFF"/>
                      </a:gs>
                    </a:gsLst>
                    <a:lin ang="5400000" scaled="0"/>
                  </a:gradFill>
                  <a:latin typeface="Segoe UI Semibold" panose="020B0702040204020203" pitchFamily="34" charset="0"/>
                </a:rPr>
                <a:t>STORSIMPLE</a:t>
              </a:r>
            </a:p>
          </p:txBody>
        </p:sp>
      </p:grpSp>
      <p:sp>
        <p:nvSpPr>
          <p:cNvPr id="23" name="TextBox 22"/>
          <p:cNvSpPr txBox="1"/>
          <p:nvPr/>
        </p:nvSpPr>
        <p:spPr>
          <a:xfrm>
            <a:off x="9691294" y="2822453"/>
            <a:ext cx="1373676"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smtClean="0">
                <a:gradFill>
                  <a:gsLst>
                    <a:gs pos="2917">
                      <a:schemeClr val="bg1"/>
                    </a:gs>
                    <a:gs pos="100000">
                      <a:schemeClr val="bg1"/>
                    </a:gs>
                  </a:gsLst>
                  <a:lin ang="5400000" scaled="0"/>
                </a:gradFill>
              </a:rPr>
              <a:t>Microsoft Azure </a:t>
            </a:r>
          </a:p>
        </p:txBody>
      </p:sp>
      <p:grpSp>
        <p:nvGrpSpPr>
          <p:cNvPr id="38" name="Group 37"/>
          <p:cNvGrpSpPr/>
          <p:nvPr/>
        </p:nvGrpSpPr>
        <p:grpSpPr>
          <a:xfrm>
            <a:off x="10573161" y="3081799"/>
            <a:ext cx="1248528" cy="1171420"/>
            <a:chOff x="10573161" y="3081799"/>
            <a:chExt cx="1248528" cy="1171420"/>
          </a:xfrm>
        </p:grpSpPr>
        <p:sp>
          <p:nvSpPr>
            <p:cNvPr id="150" name="Octagon 149"/>
            <p:cNvSpPr/>
            <p:nvPr/>
          </p:nvSpPr>
          <p:spPr bwMode="auto">
            <a:xfrm>
              <a:off x="10751794" y="3706053"/>
              <a:ext cx="392406" cy="392405"/>
            </a:xfrm>
            <a:prstGeom prst="oct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0" name="Octagon 159"/>
            <p:cNvSpPr/>
            <p:nvPr/>
          </p:nvSpPr>
          <p:spPr bwMode="auto">
            <a:xfrm>
              <a:off x="11245977" y="3706053"/>
              <a:ext cx="392406" cy="392405"/>
            </a:xfrm>
            <a:prstGeom prst="oct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3" name="Octagon 162"/>
            <p:cNvSpPr/>
            <p:nvPr/>
          </p:nvSpPr>
          <p:spPr bwMode="auto">
            <a:xfrm>
              <a:off x="10751794" y="3218641"/>
              <a:ext cx="392406" cy="392405"/>
            </a:xfrm>
            <a:prstGeom prst="oct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4" name="Octagon 163"/>
            <p:cNvSpPr/>
            <p:nvPr/>
          </p:nvSpPr>
          <p:spPr bwMode="auto">
            <a:xfrm>
              <a:off x="11245977" y="3225785"/>
              <a:ext cx="392406" cy="392405"/>
            </a:xfrm>
            <a:prstGeom prst="oct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11070842" y="3569955"/>
              <a:ext cx="750847" cy="683264"/>
            </a:xfrm>
            <a:prstGeom prst="rect">
              <a:avLst/>
            </a:prstGeom>
            <a:noFill/>
          </p:spPr>
          <p:txBody>
            <a:bodyPr wrap="none" lIns="182880" tIns="146304" rIns="182880" bIns="146304" rtlCol="0">
              <a:spAutoFit/>
            </a:bodyPr>
            <a:lstStyle/>
            <a:p>
              <a:pPr algn="ctr">
                <a:lnSpc>
                  <a:spcPct val="90000"/>
                </a:lnSpc>
                <a:spcAft>
                  <a:spcPts val="600"/>
                </a:spcAft>
              </a:pPr>
              <a:r>
                <a:rPr lang="en-US" sz="400" dirty="0" smtClean="0">
                  <a:gradFill>
                    <a:gsLst>
                      <a:gs pos="2917">
                        <a:schemeClr val="accent2"/>
                      </a:gs>
                      <a:gs pos="100000">
                        <a:schemeClr val="accent2"/>
                      </a:gs>
                    </a:gsLst>
                    <a:lin ang="5400000" scaled="0"/>
                  </a:gradFill>
                </a:rPr>
                <a:t>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101010101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a:t>
              </a:r>
            </a:p>
          </p:txBody>
        </p:sp>
        <p:sp>
          <p:nvSpPr>
            <p:cNvPr id="166" name="TextBox 165"/>
            <p:cNvSpPr txBox="1"/>
            <p:nvPr/>
          </p:nvSpPr>
          <p:spPr>
            <a:xfrm>
              <a:off x="11070842" y="3088943"/>
              <a:ext cx="750847" cy="683264"/>
            </a:xfrm>
            <a:prstGeom prst="rect">
              <a:avLst/>
            </a:prstGeom>
            <a:noFill/>
          </p:spPr>
          <p:txBody>
            <a:bodyPr wrap="none" lIns="182880" tIns="146304" rIns="182880" bIns="146304" rtlCol="0">
              <a:spAutoFit/>
            </a:bodyPr>
            <a:lstStyle/>
            <a:p>
              <a:pPr algn="ctr">
                <a:lnSpc>
                  <a:spcPct val="90000"/>
                </a:lnSpc>
                <a:spcAft>
                  <a:spcPts val="600"/>
                </a:spcAft>
              </a:pPr>
              <a:r>
                <a:rPr lang="en-US" sz="400" dirty="0" smtClean="0">
                  <a:gradFill>
                    <a:gsLst>
                      <a:gs pos="2917">
                        <a:schemeClr val="accent2"/>
                      </a:gs>
                      <a:gs pos="100000">
                        <a:schemeClr val="accent2"/>
                      </a:gs>
                    </a:gsLst>
                    <a:lin ang="5400000" scaled="0"/>
                  </a:gradFill>
                </a:rPr>
                <a:t>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101010101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a:t>
              </a:r>
            </a:p>
          </p:txBody>
        </p:sp>
        <p:sp>
          <p:nvSpPr>
            <p:cNvPr id="167" name="TextBox 166"/>
            <p:cNvSpPr txBox="1"/>
            <p:nvPr/>
          </p:nvSpPr>
          <p:spPr>
            <a:xfrm>
              <a:off x="10573161" y="3569955"/>
              <a:ext cx="750847" cy="683264"/>
            </a:xfrm>
            <a:prstGeom prst="rect">
              <a:avLst/>
            </a:prstGeom>
            <a:noFill/>
          </p:spPr>
          <p:txBody>
            <a:bodyPr wrap="none" lIns="182880" tIns="146304" rIns="182880" bIns="146304" rtlCol="0">
              <a:spAutoFit/>
            </a:bodyPr>
            <a:lstStyle/>
            <a:p>
              <a:pPr algn="ctr">
                <a:lnSpc>
                  <a:spcPct val="90000"/>
                </a:lnSpc>
                <a:spcAft>
                  <a:spcPts val="600"/>
                </a:spcAft>
              </a:pPr>
              <a:r>
                <a:rPr lang="en-US" sz="400" dirty="0" smtClean="0">
                  <a:gradFill>
                    <a:gsLst>
                      <a:gs pos="2917">
                        <a:schemeClr val="accent2"/>
                      </a:gs>
                      <a:gs pos="100000">
                        <a:schemeClr val="accent2"/>
                      </a:gs>
                    </a:gsLst>
                    <a:lin ang="5400000" scaled="0"/>
                  </a:gradFill>
                </a:rPr>
                <a:t>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101010101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a:t>
              </a:r>
            </a:p>
          </p:txBody>
        </p:sp>
        <p:sp>
          <p:nvSpPr>
            <p:cNvPr id="168" name="TextBox 167"/>
            <p:cNvSpPr txBox="1"/>
            <p:nvPr/>
          </p:nvSpPr>
          <p:spPr>
            <a:xfrm>
              <a:off x="10573161" y="3081799"/>
              <a:ext cx="750847" cy="683264"/>
            </a:xfrm>
            <a:prstGeom prst="rect">
              <a:avLst/>
            </a:prstGeom>
            <a:noFill/>
          </p:spPr>
          <p:txBody>
            <a:bodyPr wrap="none" lIns="182880" tIns="146304" rIns="182880" bIns="146304" rtlCol="0">
              <a:spAutoFit/>
            </a:bodyPr>
            <a:lstStyle/>
            <a:p>
              <a:pPr algn="ctr">
                <a:lnSpc>
                  <a:spcPct val="90000"/>
                </a:lnSpc>
                <a:spcAft>
                  <a:spcPts val="600"/>
                </a:spcAft>
              </a:pPr>
              <a:r>
                <a:rPr lang="en-US" sz="400" dirty="0" smtClean="0">
                  <a:gradFill>
                    <a:gsLst>
                      <a:gs pos="2917">
                        <a:schemeClr val="accent2"/>
                      </a:gs>
                      <a:gs pos="100000">
                        <a:schemeClr val="accent2"/>
                      </a:gs>
                    </a:gsLst>
                    <a:lin ang="5400000" scaled="0"/>
                  </a:gradFill>
                </a:rPr>
                <a:t>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101010101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10101</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010</a:t>
              </a:r>
              <a:br>
                <a:rPr lang="en-US" sz="400" dirty="0" smtClean="0">
                  <a:gradFill>
                    <a:gsLst>
                      <a:gs pos="2917">
                        <a:schemeClr val="accent2"/>
                      </a:gs>
                      <a:gs pos="100000">
                        <a:schemeClr val="accent2"/>
                      </a:gs>
                    </a:gsLst>
                    <a:lin ang="5400000" scaled="0"/>
                  </a:gradFill>
                </a:rPr>
              </a:br>
              <a:r>
                <a:rPr lang="en-US" sz="400" dirty="0" smtClean="0">
                  <a:gradFill>
                    <a:gsLst>
                      <a:gs pos="2917">
                        <a:schemeClr val="accent2"/>
                      </a:gs>
                      <a:gs pos="100000">
                        <a:schemeClr val="accent2"/>
                      </a:gs>
                    </a:gsLst>
                    <a:lin ang="5400000" scaled="0"/>
                  </a:gradFill>
                </a:rPr>
                <a:t>010101</a:t>
              </a:r>
            </a:p>
          </p:txBody>
        </p:sp>
      </p:grpSp>
      <p:sp>
        <p:nvSpPr>
          <p:cNvPr id="170" name="Oval 169"/>
          <p:cNvSpPr/>
          <p:nvPr/>
        </p:nvSpPr>
        <p:spPr bwMode="auto">
          <a:xfrm>
            <a:off x="11114520" y="3583717"/>
            <a:ext cx="152392" cy="15239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11114520" y="3583717"/>
            <a:ext cx="152392" cy="15239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1114520" y="3583717"/>
            <a:ext cx="152392" cy="15239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3" name="Oval 172"/>
          <p:cNvSpPr/>
          <p:nvPr/>
        </p:nvSpPr>
        <p:spPr bwMode="auto">
          <a:xfrm>
            <a:off x="11114520" y="3583717"/>
            <a:ext cx="152392" cy="15239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0993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00" fill="hold"/>
                                        <p:tgtEl>
                                          <p:spTgt spid="3"/>
                                        </p:tgtEl>
                                        <p:attrNameLst>
                                          <p:attrName>ppt_x</p:attrName>
                                        </p:attrNameLst>
                                      </p:cBhvr>
                                      <p:tavLst>
                                        <p:tav tm="0">
                                          <p:val>
                                            <p:strVal val="0-#ppt_w/2"/>
                                          </p:val>
                                        </p:tav>
                                        <p:tav tm="100000">
                                          <p:val>
                                            <p:strVal val="#ppt_x"/>
                                          </p:val>
                                        </p:tav>
                                      </p:tavLst>
                                    </p:anim>
                                    <p:anim calcmode="lin" valueType="num">
                                      <p:cBhvr additive="base">
                                        <p:cTn id="8" dur="2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200" fill="hold"/>
                                        <p:tgtEl>
                                          <p:spTgt spid="2"/>
                                        </p:tgtEl>
                                        <p:attrNameLst>
                                          <p:attrName>ppt_x</p:attrName>
                                        </p:attrNameLst>
                                      </p:cBhvr>
                                      <p:tavLst>
                                        <p:tav tm="0">
                                          <p:val>
                                            <p:strVal val="0-#ppt_w/2"/>
                                          </p:val>
                                        </p:tav>
                                        <p:tav tm="100000">
                                          <p:val>
                                            <p:strVal val="#ppt_x"/>
                                          </p:val>
                                        </p:tav>
                                      </p:tavLst>
                                    </p:anim>
                                    <p:anim calcmode="lin" valueType="num">
                                      <p:cBhvr additive="base">
                                        <p:cTn id="12" dur="200" fill="hold"/>
                                        <p:tgtEl>
                                          <p:spTgt spid="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200" fill="hold"/>
                                        <p:tgtEl>
                                          <p:spTgt spid="4"/>
                                        </p:tgtEl>
                                        <p:attrNameLst>
                                          <p:attrName>ppt_x</p:attrName>
                                        </p:attrNameLst>
                                      </p:cBhvr>
                                      <p:tavLst>
                                        <p:tav tm="0">
                                          <p:val>
                                            <p:strVal val="0-#ppt_w/2"/>
                                          </p:val>
                                        </p:tav>
                                        <p:tav tm="100000">
                                          <p:val>
                                            <p:strVal val="#ppt_x"/>
                                          </p:val>
                                        </p:tav>
                                      </p:tavLst>
                                    </p:anim>
                                    <p:anim calcmode="lin" valueType="num">
                                      <p:cBhvr additive="base">
                                        <p:cTn id="16" dur="200" fill="hold"/>
                                        <p:tgtEl>
                                          <p:spTgt spid="4"/>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0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200" fill="hold"/>
                                        <p:tgtEl>
                                          <p:spTgt spid="5"/>
                                        </p:tgtEl>
                                        <p:attrNameLst>
                                          <p:attrName>ppt_x</p:attrName>
                                        </p:attrNameLst>
                                      </p:cBhvr>
                                      <p:tavLst>
                                        <p:tav tm="0">
                                          <p:val>
                                            <p:strVal val="0-#ppt_w/2"/>
                                          </p:val>
                                        </p:tav>
                                        <p:tav tm="100000">
                                          <p:val>
                                            <p:strVal val="#ppt_x"/>
                                          </p:val>
                                        </p:tav>
                                      </p:tavLst>
                                    </p:anim>
                                    <p:anim calcmode="lin" valueType="num">
                                      <p:cBhvr additive="base">
                                        <p:cTn id="20" dur="200" fill="hold"/>
                                        <p:tgtEl>
                                          <p:spTgt spid="5"/>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30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200" fill="hold"/>
                                        <p:tgtEl>
                                          <p:spTgt spid="6"/>
                                        </p:tgtEl>
                                        <p:attrNameLst>
                                          <p:attrName>ppt_x</p:attrName>
                                        </p:attrNameLst>
                                      </p:cBhvr>
                                      <p:tavLst>
                                        <p:tav tm="0">
                                          <p:val>
                                            <p:strVal val="0-#ppt_w/2"/>
                                          </p:val>
                                        </p:tav>
                                        <p:tav tm="100000">
                                          <p:val>
                                            <p:strVal val="#ppt_x"/>
                                          </p:val>
                                        </p:tav>
                                      </p:tavLst>
                                    </p:anim>
                                    <p:anim calcmode="lin" valueType="num">
                                      <p:cBhvr additive="base">
                                        <p:cTn id="24" dur="200" fill="hold"/>
                                        <p:tgtEl>
                                          <p:spTgt spid="6"/>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2" presetClass="entr" presetSubtype="8" decel="100000"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additive="base">
                                        <p:cTn id="28" dur="700" fill="hold"/>
                                        <p:tgtEl>
                                          <p:spTgt spid="7"/>
                                        </p:tgtEl>
                                        <p:attrNameLst>
                                          <p:attrName>ppt_x</p:attrName>
                                        </p:attrNameLst>
                                      </p:cBhvr>
                                      <p:tavLst>
                                        <p:tav tm="0">
                                          <p:val>
                                            <p:strVal val="0-#ppt_w/2"/>
                                          </p:val>
                                        </p:tav>
                                        <p:tav tm="100000">
                                          <p:val>
                                            <p:strVal val="#ppt_x"/>
                                          </p:val>
                                        </p:tav>
                                      </p:tavLst>
                                    </p:anim>
                                    <p:anim calcmode="lin" valueType="num">
                                      <p:cBhvr additive="base">
                                        <p:cTn id="29" dur="700" fill="hold"/>
                                        <p:tgtEl>
                                          <p:spTgt spid="7"/>
                                        </p:tgtEl>
                                        <p:attrNameLst>
                                          <p:attrName>ppt_y</p:attrName>
                                        </p:attrNameLst>
                                      </p:cBhvr>
                                      <p:tavLst>
                                        <p:tav tm="0">
                                          <p:val>
                                            <p:strVal val="#ppt_y"/>
                                          </p:val>
                                        </p:tav>
                                        <p:tav tm="100000">
                                          <p:val>
                                            <p:strVal val="#ppt_y"/>
                                          </p:val>
                                        </p:tav>
                                      </p:tavLst>
                                    </p:anim>
                                  </p:childTnLst>
                                </p:cTn>
                              </p:par>
                              <p:par>
                                <p:cTn id="30" presetID="2" presetClass="entr" presetSubtype="8" decel="10000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 calcmode="lin" valueType="num">
                                      <p:cBhvr additive="base">
                                        <p:cTn id="32" dur="700" fill="hold"/>
                                        <p:tgtEl>
                                          <p:spTgt spid="21"/>
                                        </p:tgtEl>
                                        <p:attrNameLst>
                                          <p:attrName>ppt_x</p:attrName>
                                        </p:attrNameLst>
                                      </p:cBhvr>
                                      <p:tavLst>
                                        <p:tav tm="0">
                                          <p:val>
                                            <p:strVal val="0-#ppt_w/2"/>
                                          </p:val>
                                        </p:tav>
                                        <p:tav tm="100000">
                                          <p:val>
                                            <p:strVal val="#ppt_x"/>
                                          </p:val>
                                        </p:tav>
                                      </p:tavLst>
                                    </p:anim>
                                    <p:anim calcmode="lin" valueType="num">
                                      <p:cBhvr additive="base">
                                        <p:cTn id="33" dur="7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xit" presetSubtype="8" fill="hold" grpId="1" nodeType="clickEffect">
                                  <p:stCondLst>
                                    <p:cond delay="0"/>
                                  </p:stCondLst>
                                  <p:childTnLst>
                                    <p:animEffect transition="out" filter="wipe(left)">
                                      <p:cBhvr>
                                        <p:cTn id="37" dur="500"/>
                                        <p:tgtEl>
                                          <p:spTgt spid="21"/>
                                        </p:tgtEl>
                                      </p:cBhvr>
                                    </p:animEffect>
                                    <p:set>
                                      <p:cBhvr>
                                        <p:cTn id="38" dur="1" fill="hold">
                                          <p:stCondLst>
                                            <p:cond delay="499"/>
                                          </p:stCondLst>
                                        </p:cTn>
                                        <p:tgtEl>
                                          <p:spTgt spid="21"/>
                                        </p:tgtEl>
                                        <p:attrNameLst>
                                          <p:attrName>style.visibility</p:attrName>
                                        </p:attrNameLst>
                                      </p:cBhvr>
                                      <p:to>
                                        <p:strVal val="hidden"/>
                                      </p:to>
                                    </p:se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10" presetClass="entr" presetSubtype="0" fill="hold" nodeType="withEffect">
                                  <p:stCondLst>
                                    <p:cond delay="0"/>
                                  </p:stCondLst>
                                  <p:childTnLst>
                                    <p:set>
                                      <p:cBhvr>
                                        <p:cTn id="44" dur="1" fill="hold">
                                          <p:stCondLst>
                                            <p:cond delay="0"/>
                                          </p:stCondLst>
                                        </p:cTn>
                                        <p:tgtEl>
                                          <p:spTgt spid="94"/>
                                        </p:tgtEl>
                                        <p:attrNameLst>
                                          <p:attrName>style.visibility</p:attrName>
                                        </p:attrNameLst>
                                      </p:cBhvr>
                                      <p:to>
                                        <p:strVal val="visible"/>
                                      </p:to>
                                    </p:set>
                                    <p:animEffect transition="in" filter="fade">
                                      <p:cBhvr>
                                        <p:cTn id="45" dur="500"/>
                                        <p:tgtEl>
                                          <p:spTgt spid="94"/>
                                        </p:tgtEl>
                                      </p:cBhvr>
                                    </p:animEffect>
                                  </p:childTnLst>
                                </p:cTn>
                              </p:par>
                              <p:par>
                                <p:cTn id="46" presetID="10" presetClass="entr" presetSubtype="0" fill="hold" nodeType="withEffect">
                                  <p:stCondLst>
                                    <p:cond delay="0"/>
                                  </p:stCondLst>
                                  <p:childTnLst>
                                    <p:set>
                                      <p:cBhvr>
                                        <p:cTn id="47" dur="1" fill="hold">
                                          <p:stCondLst>
                                            <p:cond delay="0"/>
                                          </p:stCondLst>
                                        </p:cTn>
                                        <p:tgtEl>
                                          <p:spTgt spid="53"/>
                                        </p:tgtEl>
                                        <p:attrNameLst>
                                          <p:attrName>style.visibility</p:attrName>
                                        </p:attrNameLst>
                                      </p:cBhvr>
                                      <p:to>
                                        <p:strVal val="visible"/>
                                      </p:to>
                                    </p:set>
                                    <p:animEffect transition="in" filter="fade">
                                      <p:cBhvr>
                                        <p:cTn id="48" dur="500"/>
                                        <p:tgtEl>
                                          <p:spTgt spid="53"/>
                                        </p:tgtEl>
                                      </p:cBhvr>
                                    </p:animEffect>
                                  </p:childTnLst>
                                </p:cTn>
                              </p:par>
                            </p:childTnLst>
                          </p:cTn>
                        </p:par>
                        <p:par>
                          <p:cTn id="49" fill="hold">
                            <p:stCondLst>
                              <p:cond delay="1000"/>
                            </p:stCondLst>
                            <p:childTnLst>
                              <p:par>
                                <p:cTn id="50" presetID="22" presetClass="entr" presetSubtype="8" fill="hold" nodeType="afterEffect">
                                  <p:stCondLst>
                                    <p:cond delay="0"/>
                                  </p:stCondLst>
                                  <p:childTnLst>
                                    <p:set>
                                      <p:cBhvr>
                                        <p:cTn id="51" dur="1" fill="hold">
                                          <p:stCondLst>
                                            <p:cond delay="0"/>
                                          </p:stCondLst>
                                        </p:cTn>
                                        <p:tgtEl>
                                          <p:spTgt spid="112"/>
                                        </p:tgtEl>
                                        <p:attrNameLst>
                                          <p:attrName>style.visibility</p:attrName>
                                        </p:attrNameLst>
                                      </p:cBhvr>
                                      <p:to>
                                        <p:strVal val="visible"/>
                                      </p:to>
                                    </p:set>
                                    <p:animEffect transition="in" filter="wipe(left)">
                                      <p:cBhvr>
                                        <p:cTn id="52" dur="500"/>
                                        <p:tgtEl>
                                          <p:spTgt spid="112"/>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22" presetClass="entr" presetSubtype="4" fill="hold" nodeType="withEffect">
                                  <p:stCondLst>
                                    <p:cond delay="3500"/>
                                  </p:stCondLst>
                                  <p:childTnLst>
                                    <p:set>
                                      <p:cBhvr>
                                        <p:cTn id="57" dur="1" fill="hold">
                                          <p:stCondLst>
                                            <p:cond delay="0"/>
                                          </p:stCondLst>
                                        </p:cTn>
                                        <p:tgtEl>
                                          <p:spTgt spid="25"/>
                                        </p:tgtEl>
                                        <p:attrNameLst>
                                          <p:attrName>style.visibility</p:attrName>
                                        </p:attrNameLst>
                                      </p:cBhvr>
                                      <p:to>
                                        <p:strVal val="visible"/>
                                      </p:to>
                                    </p:set>
                                    <p:animEffect transition="in" filter="wipe(down)">
                                      <p:cBhvr>
                                        <p:cTn id="58" dur="4000"/>
                                        <p:tgtEl>
                                          <p:spTgt spid="25"/>
                                        </p:tgtEl>
                                      </p:cBhvr>
                                    </p:animEffect>
                                  </p:childTnLst>
                                </p:cTn>
                              </p:par>
                              <p:par>
                                <p:cTn id="59" presetID="42" presetClass="path" presetSubtype="0" decel="100000" fill="hold" grpId="1" nodeType="withEffect">
                                  <p:stCondLst>
                                    <p:cond delay="1000"/>
                                  </p:stCondLst>
                                  <p:childTnLst>
                                    <p:animMotion origin="layout" path="M 1.5471E-6 3.46346E-6 L 0.4783 -0.00023 " pathEditMode="relative" rAng="0" ptsTypes="AA">
                                      <p:cBhvr>
                                        <p:cTn id="60" dur="1000" fill="hold"/>
                                        <p:tgtEl>
                                          <p:spTgt spid="24"/>
                                        </p:tgtEl>
                                        <p:attrNameLst>
                                          <p:attrName>ppt_x</p:attrName>
                                          <p:attrName>ppt_y</p:attrName>
                                        </p:attrNameLst>
                                      </p:cBhvr>
                                      <p:rCtr x="23909" y="-23"/>
                                    </p:animMotion>
                                  </p:childTnLst>
                                </p:cTn>
                              </p:par>
                              <p:par>
                                <p:cTn id="61" presetID="10" presetClass="exit" presetSubtype="0" fill="hold" grpId="2" nodeType="withEffect">
                                  <p:stCondLst>
                                    <p:cond delay="2000"/>
                                  </p:stCondLst>
                                  <p:childTnLst>
                                    <p:animEffect transition="out" filter="fade">
                                      <p:cBhvr>
                                        <p:cTn id="62" dur="500"/>
                                        <p:tgtEl>
                                          <p:spTgt spid="24"/>
                                        </p:tgtEl>
                                      </p:cBhvr>
                                    </p:animEffect>
                                    <p:set>
                                      <p:cBhvr>
                                        <p:cTn id="63" dur="1" fill="hold">
                                          <p:stCondLst>
                                            <p:cond delay="499"/>
                                          </p:stCondLst>
                                        </p:cTn>
                                        <p:tgtEl>
                                          <p:spTgt spid="24"/>
                                        </p:tgtEl>
                                        <p:attrNameLst>
                                          <p:attrName>style.visibility</p:attrName>
                                        </p:attrNameLst>
                                      </p:cBhvr>
                                      <p:to>
                                        <p:strVal val="hidden"/>
                                      </p:to>
                                    </p:set>
                                  </p:childTnLst>
                                </p:cTn>
                              </p:par>
                              <p:par>
                                <p:cTn id="64" presetID="10" presetClass="entr" presetSubtype="0" fill="hold" grpId="0" nodeType="withEffect">
                                  <p:stCondLst>
                                    <p:cond delay="2000"/>
                                  </p:stCondLst>
                                  <p:childTnLst>
                                    <p:set>
                                      <p:cBhvr>
                                        <p:cTn id="65" dur="1" fill="hold">
                                          <p:stCondLst>
                                            <p:cond delay="0"/>
                                          </p:stCondLst>
                                        </p:cTn>
                                        <p:tgtEl>
                                          <p:spTgt spid="109"/>
                                        </p:tgtEl>
                                        <p:attrNameLst>
                                          <p:attrName>style.visibility</p:attrName>
                                        </p:attrNameLst>
                                      </p:cBhvr>
                                      <p:to>
                                        <p:strVal val="visible"/>
                                      </p:to>
                                    </p:set>
                                    <p:animEffect transition="in" filter="fade">
                                      <p:cBhvr>
                                        <p:cTn id="66" dur="500"/>
                                        <p:tgtEl>
                                          <p:spTgt spid="109"/>
                                        </p:tgtEl>
                                      </p:cBhvr>
                                    </p:animEffect>
                                  </p:childTnLst>
                                </p:cTn>
                              </p:par>
                              <p:par>
                                <p:cTn id="67" presetID="42" presetClass="path" presetSubtype="0" decel="100000" fill="hold" grpId="1" nodeType="withEffect">
                                  <p:stCondLst>
                                    <p:cond delay="2500"/>
                                  </p:stCondLst>
                                  <p:childTnLst>
                                    <p:animMotion origin="layout" path="M 2.66275E-6 3.46346E-6 L 0.38256 3.46346E-6 " pathEditMode="relative" rAng="0" ptsTypes="AA">
                                      <p:cBhvr>
                                        <p:cTn id="68" dur="1000" fill="hold"/>
                                        <p:tgtEl>
                                          <p:spTgt spid="109"/>
                                        </p:tgtEl>
                                        <p:attrNameLst>
                                          <p:attrName>ppt_x</p:attrName>
                                          <p:attrName>ppt_y</p:attrName>
                                        </p:attrNameLst>
                                      </p:cBhvr>
                                      <p:rCtr x="19122" y="0"/>
                                    </p:animMotion>
                                  </p:childTnLst>
                                </p:cTn>
                              </p:par>
                              <p:par>
                                <p:cTn id="69" presetID="10" presetClass="exit" presetSubtype="0" fill="hold" grpId="2" nodeType="withEffect">
                                  <p:stCondLst>
                                    <p:cond delay="3500"/>
                                  </p:stCondLst>
                                  <p:childTnLst>
                                    <p:animEffect transition="out" filter="fade">
                                      <p:cBhvr>
                                        <p:cTn id="70" dur="500"/>
                                        <p:tgtEl>
                                          <p:spTgt spid="109"/>
                                        </p:tgtEl>
                                      </p:cBhvr>
                                    </p:animEffect>
                                    <p:set>
                                      <p:cBhvr>
                                        <p:cTn id="71" dur="1" fill="hold">
                                          <p:stCondLst>
                                            <p:cond delay="499"/>
                                          </p:stCondLst>
                                        </p:cTn>
                                        <p:tgtEl>
                                          <p:spTgt spid="109"/>
                                        </p:tgtEl>
                                        <p:attrNameLst>
                                          <p:attrName>style.visibility</p:attrName>
                                        </p:attrNameLst>
                                      </p:cBhvr>
                                      <p:to>
                                        <p:strVal val="hidden"/>
                                      </p:to>
                                    </p:set>
                                  </p:childTnLst>
                                </p:cTn>
                              </p:par>
                              <p:par>
                                <p:cTn id="72" presetID="10" presetClass="entr" presetSubtype="0" fill="hold" grpId="0" nodeType="withEffect">
                                  <p:stCondLst>
                                    <p:cond delay="3500"/>
                                  </p:stCondLst>
                                  <p:childTnLst>
                                    <p:set>
                                      <p:cBhvr>
                                        <p:cTn id="73" dur="1" fill="hold">
                                          <p:stCondLst>
                                            <p:cond delay="0"/>
                                          </p:stCondLst>
                                        </p:cTn>
                                        <p:tgtEl>
                                          <p:spTgt spid="118"/>
                                        </p:tgtEl>
                                        <p:attrNameLst>
                                          <p:attrName>style.visibility</p:attrName>
                                        </p:attrNameLst>
                                      </p:cBhvr>
                                      <p:to>
                                        <p:strVal val="visible"/>
                                      </p:to>
                                    </p:set>
                                    <p:animEffect transition="in" filter="fade">
                                      <p:cBhvr>
                                        <p:cTn id="74" dur="500"/>
                                        <p:tgtEl>
                                          <p:spTgt spid="118"/>
                                        </p:tgtEl>
                                      </p:cBhvr>
                                    </p:animEffect>
                                  </p:childTnLst>
                                </p:cTn>
                              </p:par>
                              <p:par>
                                <p:cTn id="75" presetID="42" presetClass="path" presetSubtype="0" decel="100000" fill="hold" grpId="1" nodeType="withEffect">
                                  <p:stCondLst>
                                    <p:cond delay="4000"/>
                                  </p:stCondLst>
                                  <p:childTnLst>
                                    <p:animMotion origin="layout" path="M 1.5471E-6 3.46346E-6 L 0.4783 -0.00023 " pathEditMode="relative" rAng="0" ptsTypes="AA">
                                      <p:cBhvr>
                                        <p:cTn id="76" dur="1000" fill="hold"/>
                                        <p:tgtEl>
                                          <p:spTgt spid="118"/>
                                        </p:tgtEl>
                                        <p:attrNameLst>
                                          <p:attrName>ppt_x</p:attrName>
                                          <p:attrName>ppt_y</p:attrName>
                                        </p:attrNameLst>
                                      </p:cBhvr>
                                      <p:rCtr x="23909" y="-23"/>
                                    </p:animMotion>
                                  </p:childTnLst>
                                </p:cTn>
                              </p:par>
                              <p:par>
                                <p:cTn id="77" presetID="10" presetClass="exit" presetSubtype="0" fill="hold" grpId="2" nodeType="withEffect">
                                  <p:stCondLst>
                                    <p:cond delay="5000"/>
                                  </p:stCondLst>
                                  <p:childTnLst>
                                    <p:animEffect transition="out" filter="fade">
                                      <p:cBhvr>
                                        <p:cTn id="78" dur="500"/>
                                        <p:tgtEl>
                                          <p:spTgt spid="118"/>
                                        </p:tgtEl>
                                      </p:cBhvr>
                                    </p:animEffect>
                                    <p:set>
                                      <p:cBhvr>
                                        <p:cTn id="79" dur="1" fill="hold">
                                          <p:stCondLst>
                                            <p:cond delay="499"/>
                                          </p:stCondLst>
                                        </p:cTn>
                                        <p:tgtEl>
                                          <p:spTgt spid="118"/>
                                        </p:tgtEl>
                                        <p:attrNameLst>
                                          <p:attrName>style.visibility</p:attrName>
                                        </p:attrNameLst>
                                      </p:cBhvr>
                                      <p:to>
                                        <p:strVal val="hidden"/>
                                      </p:to>
                                    </p:set>
                                  </p:childTnLst>
                                </p:cTn>
                              </p:par>
                              <p:par>
                                <p:cTn id="80" presetID="10" presetClass="entr" presetSubtype="0" fill="hold" grpId="0" nodeType="withEffect">
                                  <p:stCondLst>
                                    <p:cond delay="5000"/>
                                  </p:stCondLst>
                                  <p:childTnLst>
                                    <p:set>
                                      <p:cBhvr>
                                        <p:cTn id="81" dur="1" fill="hold">
                                          <p:stCondLst>
                                            <p:cond delay="0"/>
                                          </p:stCondLst>
                                        </p:cTn>
                                        <p:tgtEl>
                                          <p:spTgt spid="119"/>
                                        </p:tgtEl>
                                        <p:attrNameLst>
                                          <p:attrName>style.visibility</p:attrName>
                                        </p:attrNameLst>
                                      </p:cBhvr>
                                      <p:to>
                                        <p:strVal val="visible"/>
                                      </p:to>
                                    </p:set>
                                    <p:animEffect transition="in" filter="fade">
                                      <p:cBhvr>
                                        <p:cTn id="82" dur="500"/>
                                        <p:tgtEl>
                                          <p:spTgt spid="119"/>
                                        </p:tgtEl>
                                      </p:cBhvr>
                                    </p:animEffect>
                                  </p:childTnLst>
                                </p:cTn>
                              </p:par>
                              <p:par>
                                <p:cTn id="83" presetID="42" presetClass="path" presetSubtype="0" decel="100000" fill="hold" grpId="1" nodeType="withEffect">
                                  <p:stCondLst>
                                    <p:cond delay="5500"/>
                                  </p:stCondLst>
                                  <p:childTnLst>
                                    <p:animMotion origin="layout" path="M 2.66275E-6 3.46346E-6 L 0.38256 3.46346E-6 " pathEditMode="relative" rAng="0" ptsTypes="AA">
                                      <p:cBhvr>
                                        <p:cTn id="84" dur="1000" fill="hold"/>
                                        <p:tgtEl>
                                          <p:spTgt spid="119"/>
                                        </p:tgtEl>
                                        <p:attrNameLst>
                                          <p:attrName>ppt_x</p:attrName>
                                          <p:attrName>ppt_y</p:attrName>
                                        </p:attrNameLst>
                                      </p:cBhvr>
                                      <p:rCtr x="19122" y="0"/>
                                    </p:animMotion>
                                  </p:childTnLst>
                                </p:cTn>
                              </p:par>
                              <p:par>
                                <p:cTn id="85" presetID="10" presetClass="exit" presetSubtype="0" fill="hold" grpId="2" nodeType="withEffect">
                                  <p:stCondLst>
                                    <p:cond delay="6500"/>
                                  </p:stCondLst>
                                  <p:childTnLst>
                                    <p:animEffect transition="out" filter="fade">
                                      <p:cBhvr>
                                        <p:cTn id="86" dur="500"/>
                                        <p:tgtEl>
                                          <p:spTgt spid="119"/>
                                        </p:tgtEl>
                                      </p:cBhvr>
                                    </p:animEffect>
                                    <p:set>
                                      <p:cBhvr>
                                        <p:cTn id="87" dur="1" fill="hold">
                                          <p:stCondLst>
                                            <p:cond delay="499"/>
                                          </p:stCondLst>
                                        </p:cTn>
                                        <p:tgtEl>
                                          <p:spTgt spid="119"/>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10" presetClass="exit" presetSubtype="0" fill="hold" grpId="1" nodeType="clickEffect">
                                  <p:stCondLst>
                                    <p:cond delay="0"/>
                                  </p:stCondLst>
                                  <p:childTnLst>
                                    <p:animEffect transition="out" filter="fade">
                                      <p:cBhvr>
                                        <p:cTn id="91" dur="500"/>
                                        <p:tgtEl>
                                          <p:spTgt spid="22"/>
                                        </p:tgtEl>
                                      </p:cBhvr>
                                    </p:animEffect>
                                    <p:set>
                                      <p:cBhvr>
                                        <p:cTn id="92" dur="1" fill="hold">
                                          <p:stCondLst>
                                            <p:cond delay="499"/>
                                          </p:stCondLst>
                                        </p:cTn>
                                        <p:tgtEl>
                                          <p:spTgt spid="22"/>
                                        </p:tgtEl>
                                        <p:attrNameLst>
                                          <p:attrName>style.visibility</p:attrName>
                                        </p:attrNameLst>
                                      </p:cBhvr>
                                      <p:to>
                                        <p:strVal val="hidden"/>
                                      </p:to>
                                    </p:se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105"/>
                                        </p:tgtEl>
                                        <p:attrNameLst>
                                          <p:attrName>style.visibility</p:attrName>
                                        </p:attrNameLst>
                                      </p:cBhvr>
                                      <p:to>
                                        <p:strVal val="visible"/>
                                      </p:to>
                                    </p:set>
                                    <p:animEffect transition="in" filter="fade">
                                      <p:cBhvr>
                                        <p:cTn id="96" dur="500"/>
                                        <p:tgtEl>
                                          <p:spTgt spid="105"/>
                                        </p:tgtEl>
                                      </p:cBhvr>
                                    </p:animEffect>
                                  </p:childTnLst>
                                </p:cTn>
                              </p:par>
                              <p:par>
                                <p:cTn id="97" presetID="10" presetClass="exit" presetSubtype="0" fill="hold" nodeType="withEffect">
                                  <p:stCondLst>
                                    <p:cond delay="0"/>
                                  </p:stCondLst>
                                  <p:childTnLst>
                                    <p:animEffect transition="out" filter="fade">
                                      <p:cBhvr>
                                        <p:cTn id="98" dur="500"/>
                                        <p:tgtEl>
                                          <p:spTgt spid="112"/>
                                        </p:tgtEl>
                                      </p:cBhvr>
                                    </p:animEffect>
                                    <p:set>
                                      <p:cBhvr>
                                        <p:cTn id="99" dur="1" fill="hold">
                                          <p:stCondLst>
                                            <p:cond delay="499"/>
                                          </p:stCondLst>
                                        </p:cTn>
                                        <p:tgtEl>
                                          <p:spTgt spid="112"/>
                                        </p:tgtEl>
                                        <p:attrNameLst>
                                          <p:attrName>style.visibility</p:attrName>
                                        </p:attrNameLst>
                                      </p:cBhvr>
                                      <p:to>
                                        <p:strVal val="hidden"/>
                                      </p:to>
                                    </p:set>
                                  </p:childTnLst>
                                </p:cTn>
                              </p:par>
                            </p:childTnLst>
                          </p:cTn>
                        </p:par>
                        <p:par>
                          <p:cTn id="100" fill="hold">
                            <p:stCondLst>
                              <p:cond delay="1000"/>
                            </p:stCondLst>
                            <p:childTnLst>
                              <p:par>
                                <p:cTn id="101" presetID="10" presetClass="entr" presetSubtype="0" fill="hold" nodeType="afterEffect">
                                  <p:stCondLst>
                                    <p:cond delay="0"/>
                                  </p:stCondLst>
                                  <p:childTnLst>
                                    <p:set>
                                      <p:cBhvr>
                                        <p:cTn id="102" dur="1" fill="hold">
                                          <p:stCondLst>
                                            <p:cond delay="0"/>
                                          </p:stCondLst>
                                        </p:cTn>
                                        <p:tgtEl>
                                          <p:spTgt spid="83"/>
                                        </p:tgtEl>
                                        <p:attrNameLst>
                                          <p:attrName>style.visibility</p:attrName>
                                        </p:attrNameLst>
                                      </p:cBhvr>
                                      <p:to>
                                        <p:strVal val="visible"/>
                                      </p:to>
                                    </p:set>
                                    <p:animEffect transition="in" filter="fade">
                                      <p:cBhvr>
                                        <p:cTn id="103" dur="500"/>
                                        <p:tgtEl>
                                          <p:spTgt spid="83"/>
                                        </p:tgtEl>
                                      </p:cBhvr>
                                    </p:animEffect>
                                  </p:childTnLst>
                                </p:cTn>
                              </p:par>
                              <p:par>
                                <p:cTn id="104" presetID="10" presetClass="entr" presetSubtype="0" fill="hold" nodeType="withEffect">
                                  <p:stCondLst>
                                    <p:cond delay="0"/>
                                  </p:stCondLst>
                                  <p:childTnLst>
                                    <p:set>
                                      <p:cBhvr>
                                        <p:cTn id="105" dur="1" fill="hold">
                                          <p:stCondLst>
                                            <p:cond delay="0"/>
                                          </p:stCondLst>
                                        </p:cTn>
                                        <p:tgtEl>
                                          <p:spTgt spid="67"/>
                                        </p:tgtEl>
                                        <p:attrNameLst>
                                          <p:attrName>style.visibility</p:attrName>
                                        </p:attrNameLst>
                                      </p:cBhvr>
                                      <p:to>
                                        <p:strVal val="visible"/>
                                      </p:to>
                                    </p:set>
                                    <p:animEffect transition="in" filter="fade">
                                      <p:cBhvr>
                                        <p:cTn id="106" dur="500"/>
                                        <p:tgtEl>
                                          <p:spTgt spid="67"/>
                                        </p:tgtEl>
                                      </p:cBhvr>
                                    </p:animEffect>
                                  </p:childTnLst>
                                </p:cTn>
                              </p:par>
                              <p:par>
                                <p:cTn id="107" presetID="10" presetClass="entr" presetSubtype="0" fill="hold" nodeType="withEffect">
                                  <p:stCondLst>
                                    <p:cond delay="0"/>
                                  </p:stCondLst>
                                  <p:childTnLst>
                                    <p:set>
                                      <p:cBhvr>
                                        <p:cTn id="108" dur="1" fill="hold">
                                          <p:stCondLst>
                                            <p:cond delay="0"/>
                                          </p:stCondLst>
                                        </p:cTn>
                                        <p:tgtEl>
                                          <p:spTgt spid="52"/>
                                        </p:tgtEl>
                                        <p:attrNameLst>
                                          <p:attrName>style.visibility</p:attrName>
                                        </p:attrNameLst>
                                      </p:cBhvr>
                                      <p:to>
                                        <p:strVal val="visible"/>
                                      </p:to>
                                    </p:set>
                                    <p:animEffect transition="in" filter="fade">
                                      <p:cBhvr>
                                        <p:cTn id="109" dur="500"/>
                                        <p:tgtEl>
                                          <p:spTgt spid="5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42"/>
                                        </p:tgtEl>
                                        <p:attrNameLst>
                                          <p:attrName>style.visibility</p:attrName>
                                        </p:attrNameLst>
                                      </p:cBhvr>
                                      <p:to>
                                        <p:strVal val="visible"/>
                                      </p:to>
                                    </p:set>
                                    <p:animEffect transition="in" filter="fade">
                                      <p:cBhvr>
                                        <p:cTn id="112" dur="500"/>
                                        <p:tgtEl>
                                          <p:spTgt spid="142"/>
                                        </p:tgtEl>
                                      </p:cBhvr>
                                    </p:animEffect>
                                  </p:childTnLst>
                                </p:cTn>
                              </p:par>
                              <p:par>
                                <p:cTn id="113" presetID="10" presetClass="entr" presetSubtype="0" fill="hold" nodeType="withEffect">
                                  <p:stCondLst>
                                    <p:cond delay="0"/>
                                  </p:stCondLst>
                                  <p:childTnLst>
                                    <p:set>
                                      <p:cBhvr>
                                        <p:cTn id="114" dur="1" fill="hold">
                                          <p:stCondLst>
                                            <p:cond delay="0"/>
                                          </p:stCondLst>
                                        </p:cTn>
                                        <p:tgtEl>
                                          <p:spTgt spid="110"/>
                                        </p:tgtEl>
                                        <p:attrNameLst>
                                          <p:attrName>style.visibility</p:attrName>
                                        </p:attrNameLst>
                                      </p:cBhvr>
                                      <p:to>
                                        <p:strVal val="visible"/>
                                      </p:to>
                                    </p:set>
                                    <p:animEffect transition="in" filter="fade">
                                      <p:cBhvr>
                                        <p:cTn id="115" dur="500"/>
                                        <p:tgtEl>
                                          <p:spTgt spid="110"/>
                                        </p:tgtEl>
                                      </p:cBhvr>
                                    </p:animEffect>
                                  </p:childTnLst>
                                </p:cTn>
                              </p:par>
                              <p:par>
                                <p:cTn id="116" presetID="10" presetClass="entr" presetSubtype="0" fill="hold" nodeType="withEffect">
                                  <p:stCondLst>
                                    <p:cond delay="0"/>
                                  </p:stCondLst>
                                  <p:childTnLst>
                                    <p:set>
                                      <p:cBhvr>
                                        <p:cTn id="117" dur="1" fill="hold">
                                          <p:stCondLst>
                                            <p:cond delay="0"/>
                                          </p:stCondLst>
                                        </p:cTn>
                                        <p:tgtEl>
                                          <p:spTgt spid="117"/>
                                        </p:tgtEl>
                                        <p:attrNameLst>
                                          <p:attrName>style.visibility</p:attrName>
                                        </p:attrNameLst>
                                      </p:cBhvr>
                                      <p:to>
                                        <p:strVal val="visible"/>
                                      </p:to>
                                    </p:set>
                                    <p:animEffect transition="in" filter="fade">
                                      <p:cBhvr>
                                        <p:cTn id="118" dur="500"/>
                                        <p:tgtEl>
                                          <p:spTgt spid="117"/>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23"/>
                                        </p:tgtEl>
                                        <p:attrNameLst>
                                          <p:attrName>style.visibility</p:attrName>
                                        </p:attrNameLst>
                                      </p:cBhvr>
                                      <p:to>
                                        <p:strVal val="visible"/>
                                      </p:to>
                                    </p:set>
                                    <p:animEffect transition="in" filter="fade">
                                      <p:cBhvr>
                                        <p:cTn id="121" dur="500"/>
                                        <p:tgtEl>
                                          <p:spTgt spid="23"/>
                                        </p:tgtEl>
                                      </p:cBhvr>
                                    </p:animEffect>
                                  </p:childTnLst>
                                </p:cTn>
                              </p:par>
                              <p:par>
                                <p:cTn id="122" presetID="10" presetClass="entr" presetSubtype="0" fill="hold" nodeType="withEffect">
                                  <p:stCondLst>
                                    <p:cond delay="0"/>
                                  </p:stCondLst>
                                  <p:childTnLst>
                                    <p:set>
                                      <p:cBhvr>
                                        <p:cTn id="123" dur="1" fill="hold">
                                          <p:stCondLst>
                                            <p:cond delay="0"/>
                                          </p:stCondLst>
                                        </p:cTn>
                                        <p:tgtEl>
                                          <p:spTgt spid="38"/>
                                        </p:tgtEl>
                                        <p:attrNameLst>
                                          <p:attrName>style.visibility</p:attrName>
                                        </p:attrNameLst>
                                      </p:cBhvr>
                                      <p:to>
                                        <p:strVal val="visible"/>
                                      </p:to>
                                    </p:set>
                                    <p:animEffect transition="in" filter="fade">
                                      <p:cBhvr>
                                        <p:cTn id="124" dur="500"/>
                                        <p:tgtEl>
                                          <p:spTgt spid="38"/>
                                        </p:tgtEl>
                                      </p:cBhvr>
                                    </p:animEffect>
                                  </p:childTnLst>
                                </p:cTn>
                              </p:par>
                              <p:par>
                                <p:cTn id="125" presetID="22" presetClass="entr" presetSubtype="8" fill="hold" nodeType="withEffect">
                                  <p:stCondLst>
                                    <p:cond delay="0"/>
                                  </p:stCondLst>
                                  <p:childTnLst>
                                    <p:set>
                                      <p:cBhvr>
                                        <p:cTn id="126" dur="1" fill="hold">
                                          <p:stCondLst>
                                            <p:cond delay="0"/>
                                          </p:stCondLst>
                                        </p:cTn>
                                        <p:tgtEl>
                                          <p:spTgt spid="145"/>
                                        </p:tgtEl>
                                        <p:attrNameLst>
                                          <p:attrName>style.visibility</p:attrName>
                                        </p:attrNameLst>
                                      </p:cBhvr>
                                      <p:to>
                                        <p:strVal val="visible"/>
                                      </p:to>
                                    </p:set>
                                    <p:animEffect transition="in" filter="wipe(left)">
                                      <p:cBhvr>
                                        <p:cTn id="127" dur="500"/>
                                        <p:tgtEl>
                                          <p:spTgt spid="145"/>
                                        </p:tgtEl>
                                      </p:cBhvr>
                                    </p:animEffect>
                                  </p:childTnLst>
                                </p:cTn>
                              </p:par>
                              <p:par>
                                <p:cTn id="128" presetID="22" presetClass="entr" presetSubtype="4" fill="hold" nodeType="withEffect">
                                  <p:stCondLst>
                                    <p:cond delay="0"/>
                                  </p:stCondLst>
                                  <p:childTnLst>
                                    <p:set>
                                      <p:cBhvr>
                                        <p:cTn id="129" dur="1" fill="hold">
                                          <p:stCondLst>
                                            <p:cond delay="0"/>
                                          </p:stCondLst>
                                        </p:cTn>
                                        <p:tgtEl>
                                          <p:spTgt spid="146"/>
                                        </p:tgtEl>
                                        <p:attrNameLst>
                                          <p:attrName>style.visibility</p:attrName>
                                        </p:attrNameLst>
                                      </p:cBhvr>
                                      <p:to>
                                        <p:strVal val="visible"/>
                                      </p:to>
                                    </p:set>
                                    <p:animEffect transition="in" filter="wipe(down)">
                                      <p:cBhvr>
                                        <p:cTn id="130" dur="500"/>
                                        <p:tgtEl>
                                          <p:spTgt spid="146"/>
                                        </p:tgtEl>
                                      </p:cBhvr>
                                    </p:animEffect>
                                  </p:childTnLst>
                                </p:cTn>
                              </p:par>
                              <p:par>
                                <p:cTn id="131" presetID="22" presetClass="entr" presetSubtype="8" fill="hold" nodeType="withEffect">
                                  <p:stCondLst>
                                    <p:cond delay="0"/>
                                  </p:stCondLst>
                                  <p:childTnLst>
                                    <p:set>
                                      <p:cBhvr>
                                        <p:cTn id="132" dur="1" fill="hold">
                                          <p:stCondLst>
                                            <p:cond delay="0"/>
                                          </p:stCondLst>
                                        </p:cTn>
                                        <p:tgtEl>
                                          <p:spTgt spid="124"/>
                                        </p:tgtEl>
                                        <p:attrNameLst>
                                          <p:attrName>style.visibility</p:attrName>
                                        </p:attrNameLst>
                                      </p:cBhvr>
                                      <p:to>
                                        <p:strVal val="visible"/>
                                      </p:to>
                                    </p:set>
                                    <p:animEffect transition="in" filter="wipe(left)">
                                      <p:cBhvr>
                                        <p:cTn id="133" dur="500"/>
                                        <p:tgtEl>
                                          <p:spTgt spid="124"/>
                                        </p:tgtEl>
                                      </p:cBhvr>
                                    </p:animEffect>
                                  </p:childTnLst>
                                </p:cTn>
                              </p:par>
                              <p:par>
                                <p:cTn id="134" presetID="22" presetClass="entr" presetSubtype="1" fill="hold" nodeType="withEffect">
                                  <p:stCondLst>
                                    <p:cond delay="0"/>
                                  </p:stCondLst>
                                  <p:childTnLst>
                                    <p:set>
                                      <p:cBhvr>
                                        <p:cTn id="135" dur="1" fill="hold">
                                          <p:stCondLst>
                                            <p:cond delay="0"/>
                                          </p:stCondLst>
                                        </p:cTn>
                                        <p:tgtEl>
                                          <p:spTgt spid="127"/>
                                        </p:tgtEl>
                                        <p:attrNameLst>
                                          <p:attrName>style.visibility</p:attrName>
                                        </p:attrNameLst>
                                      </p:cBhvr>
                                      <p:to>
                                        <p:strVal val="visible"/>
                                      </p:to>
                                    </p:set>
                                    <p:animEffect transition="in" filter="wipe(up)">
                                      <p:cBhvr>
                                        <p:cTn id="136" dur="300"/>
                                        <p:tgtEl>
                                          <p:spTgt spid="127"/>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20"/>
                                        </p:tgtEl>
                                        <p:attrNameLst>
                                          <p:attrName>style.visibility</p:attrName>
                                        </p:attrNameLst>
                                      </p:cBhvr>
                                      <p:to>
                                        <p:strVal val="visible"/>
                                      </p:to>
                                    </p:set>
                                    <p:animEffect transition="in" filter="fade">
                                      <p:cBhvr>
                                        <p:cTn id="139" dur="500"/>
                                        <p:tgtEl>
                                          <p:spTgt spid="120"/>
                                        </p:tgtEl>
                                      </p:cBhvr>
                                    </p:animEffect>
                                  </p:childTnLst>
                                </p:cTn>
                              </p:par>
                              <p:par>
                                <p:cTn id="140" presetID="42" presetClass="path" presetSubtype="0" decel="100000" fill="hold" grpId="1" nodeType="withEffect">
                                  <p:stCondLst>
                                    <p:cond delay="500"/>
                                  </p:stCondLst>
                                  <p:childTnLst>
                                    <p:animMotion origin="layout" path="M 1.5471E-6 3.46346E-6 L 0.2627 3.46346E-6 " pathEditMode="relative" rAng="0" ptsTypes="AA">
                                      <p:cBhvr>
                                        <p:cTn id="141" dur="1000" fill="hold"/>
                                        <p:tgtEl>
                                          <p:spTgt spid="120"/>
                                        </p:tgtEl>
                                        <p:attrNameLst>
                                          <p:attrName>ppt_x</p:attrName>
                                          <p:attrName>ppt_y</p:attrName>
                                        </p:attrNameLst>
                                      </p:cBhvr>
                                      <p:rCtr x="13135" y="0"/>
                                    </p:animMotion>
                                  </p:childTnLst>
                                </p:cTn>
                              </p:par>
                              <p:par>
                                <p:cTn id="142" presetID="10" presetClass="exit" presetSubtype="0" fill="hold" grpId="2" nodeType="withEffect">
                                  <p:stCondLst>
                                    <p:cond delay="1500"/>
                                  </p:stCondLst>
                                  <p:childTnLst>
                                    <p:animEffect transition="out" filter="fade">
                                      <p:cBhvr>
                                        <p:cTn id="143" dur="500"/>
                                        <p:tgtEl>
                                          <p:spTgt spid="120"/>
                                        </p:tgtEl>
                                      </p:cBhvr>
                                    </p:animEffect>
                                    <p:set>
                                      <p:cBhvr>
                                        <p:cTn id="144" dur="1" fill="hold">
                                          <p:stCondLst>
                                            <p:cond delay="499"/>
                                          </p:stCondLst>
                                        </p:cTn>
                                        <p:tgtEl>
                                          <p:spTgt spid="120"/>
                                        </p:tgtEl>
                                        <p:attrNameLst>
                                          <p:attrName>style.visibility</p:attrName>
                                        </p:attrNameLst>
                                      </p:cBhvr>
                                      <p:to>
                                        <p:strVal val="hidden"/>
                                      </p:to>
                                    </p:set>
                                  </p:childTnLst>
                                </p:cTn>
                              </p:par>
                              <p:par>
                                <p:cTn id="145" presetID="10" presetClass="entr" presetSubtype="0" fill="hold" grpId="0" nodeType="withEffect">
                                  <p:stCondLst>
                                    <p:cond delay="1500"/>
                                  </p:stCondLst>
                                  <p:childTnLst>
                                    <p:set>
                                      <p:cBhvr>
                                        <p:cTn id="146" dur="1" fill="hold">
                                          <p:stCondLst>
                                            <p:cond delay="0"/>
                                          </p:stCondLst>
                                        </p:cTn>
                                        <p:tgtEl>
                                          <p:spTgt spid="125"/>
                                        </p:tgtEl>
                                        <p:attrNameLst>
                                          <p:attrName>style.visibility</p:attrName>
                                        </p:attrNameLst>
                                      </p:cBhvr>
                                      <p:to>
                                        <p:strVal val="visible"/>
                                      </p:to>
                                    </p:set>
                                    <p:animEffect transition="in" filter="fade">
                                      <p:cBhvr>
                                        <p:cTn id="147" dur="500"/>
                                        <p:tgtEl>
                                          <p:spTgt spid="125"/>
                                        </p:tgtEl>
                                      </p:cBhvr>
                                    </p:animEffect>
                                  </p:childTnLst>
                                </p:cTn>
                              </p:par>
                              <p:par>
                                <p:cTn id="148" presetID="42" presetClass="path" presetSubtype="0" decel="100000" fill="hold" grpId="1" nodeType="withEffect">
                                  <p:stCondLst>
                                    <p:cond delay="2000"/>
                                  </p:stCondLst>
                                  <p:childTnLst>
                                    <p:animMotion origin="layout" path="M 2.66275E-6 3.46346E-6 L 0.16492 3.46346E-6 " pathEditMode="relative" rAng="0" ptsTypes="AA">
                                      <p:cBhvr>
                                        <p:cTn id="149" dur="1000" fill="hold"/>
                                        <p:tgtEl>
                                          <p:spTgt spid="125"/>
                                        </p:tgtEl>
                                        <p:attrNameLst>
                                          <p:attrName>ppt_x</p:attrName>
                                          <p:attrName>ppt_y</p:attrName>
                                        </p:attrNameLst>
                                      </p:cBhvr>
                                      <p:rCtr x="8246" y="0"/>
                                    </p:animMotion>
                                  </p:childTnLst>
                                </p:cTn>
                              </p:par>
                              <p:par>
                                <p:cTn id="150" presetID="10" presetClass="exit" presetSubtype="0" fill="hold" grpId="2" nodeType="withEffect">
                                  <p:stCondLst>
                                    <p:cond delay="3000"/>
                                  </p:stCondLst>
                                  <p:childTnLst>
                                    <p:animEffect transition="out" filter="fade">
                                      <p:cBhvr>
                                        <p:cTn id="151" dur="500"/>
                                        <p:tgtEl>
                                          <p:spTgt spid="125"/>
                                        </p:tgtEl>
                                      </p:cBhvr>
                                    </p:animEffect>
                                    <p:set>
                                      <p:cBhvr>
                                        <p:cTn id="152" dur="1" fill="hold">
                                          <p:stCondLst>
                                            <p:cond delay="499"/>
                                          </p:stCondLst>
                                        </p:cTn>
                                        <p:tgtEl>
                                          <p:spTgt spid="125"/>
                                        </p:tgtEl>
                                        <p:attrNameLst>
                                          <p:attrName>style.visibility</p:attrName>
                                        </p:attrNameLst>
                                      </p:cBhvr>
                                      <p:to>
                                        <p:strVal val="hidden"/>
                                      </p:to>
                                    </p:set>
                                  </p:childTnLst>
                                </p:cTn>
                              </p:par>
                              <p:par>
                                <p:cTn id="153" presetID="10" presetClass="entr" presetSubtype="0" fill="hold" nodeType="withEffect">
                                  <p:stCondLst>
                                    <p:cond delay="3000"/>
                                  </p:stCondLst>
                                  <p:childTnLst>
                                    <p:set>
                                      <p:cBhvr>
                                        <p:cTn id="154" dur="1" fill="hold">
                                          <p:stCondLst>
                                            <p:cond delay="0"/>
                                          </p:stCondLst>
                                        </p:cTn>
                                        <p:tgtEl>
                                          <p:spTgt spid="27"/>
                                        </p:tgtEl>
                                        <p:attrNameLst>
                                          <p:attrName>style.visibility</p:attrName>
                                        </p:attrNameLst>
                                      </p:cBhvr>
                                      <p:to>
                                        <p:strVal val="visible"/>
                                      </p:to>
                                    </p:set>
                                    <p:animEffect transition="in" filter="fade">
                                      <p:cBhvr>
                                        <p:cTn id="155" dur="500"/>
                                        <p:tgtEl>
                                          <p:spTgt spid="27"/>
                                        </p:tgtEl>
                                      </p:cBhvr>
                                    </p:animEffect>
                                  </p:childTnLst>
                                </p:cTn>
                              </p:par>
                              <p:par>
                                <p:cTn id="156" presetID="1" presetClass="entr" presetSubtype="0" fill="hold" grpId="5" nodeType="withEffect">
                                  <p:stCondLst>
                                    <p:cond delay="3500"/>
                                  </p:stCondLst>
                                  <p:childTnLst>
                                    <p:set>
                                      <p:cBhvr>
                                        <p:cTn id="157" dur="1" fill="hold">
                                          <p:stCondLst>
                                            <p:cond delay="0"/>
                                          </p:stCondLst>
                                        </p:cTn>
                                        <p:tgtEl>
                                          <p:spTgt spid="120"/>
                                        </p:tgtEl>
                                        <p:attrNameLst>
                                          <p:attrName>style.visibility</p:attrName>
                                        </p:attrNameLst>
                                      </p:cBhvr>
                                      <p:to>
                                        <p:strVal val="visible"/>
                                      </p:to>
                                    </p:set>
                                  </p:childTnLst>
                                </p:cTn>
                              </p:par>
                              <p:par>
                                <p:cTn id="158" presetID="1" presetClass="entr" presetSubtype="0" fill="hold" grpId="5" nodeType="withEffect">
                                  <p:stCondLst>
                                    <p:cond delay="3500"/>
                                  </p:stCondLst>
                                  <p:childTnLst>
                                    <p:set>
                                      <p:cBhvr>
                                        <p:cTn id="159" dur="1" fill="hold">
                                          <p:stCondLst>
                                            <p:cond delay="0"/>
                                          </p:stCondLst>
                                        </p:cTn>
                                        <p:tgtEl>
                                          <p:spTgt spid="125"/>
                                        </p:tgtEl>
                                        <p:attrNameLst>
                                          <p:attrName>style.visibility</p:attrName>
                                        </p:attrNameLst>
                                      </p:cBhvr>
                                      <p:to>
                                        <p:strVal val="visible"/>
                                      </p:to>
                                    </p:set>
                                  </p:childTnLst>
                                </p:cTn>
                              </p:par>
                              <p:par>
                                <p:cTn id="160" presetID="42" presetClass="path" presetSubtype="0" decel="100000" fill="hold" grpId="3" nodeType="withEffect">
                                  <p:stCondLst>
                                    <p:cond delay="3500"/>
                                  </p:stCondLst>
                                  <p:childTnLst>
                                    <p:animMotion origin="layout" path="M 0.2627 3.46346E-6 L 0.47753 -0.00023 " pathEditMode="relative" rAng="0" ptsTypes="AA">
                                      <p:cBhvr>
                                        <p:cTn id="161" dur="1000" fill="hold"/>
                                        <p:tgtEl>
                                          <p:spTgt spid="120"/>
                                        </p:tgtEl>
                                        <p:attrNameLst>
                                          <p:attrName>ppt_x</p:attrName>
                                          <p:attrName>ppt_y</p:attrName>
                                        </p:attrNameLst>
                                      </p:cBhvr>
                                      <p:rCtr x="10735" y="-23"/>
                                    </p:animMotion>
                                  </p:childTnLst>
                                </p:cTn>
                              </p:par>
                              <p:par>
                                <p:cTn id="162" presetID="42" presetClass="path" presetSubtype="0" decel="100000" fill="hold" grpId="3" nodeType="withEffect">
                                  <p:stCondLst>
                                    <p:cond delay="4000"/>
                                  </p:stCondLst>
                                  <p:childTnLst>
                                    <p:animMotion origin="layout" path="M 0.16709 3.46346E-6 L 0.38192 -0.00023 " pathEditMode="relative" rAng="0" ptsTypes="AA">
                                      <p:cBhvr>
                                        <p:cTn id="163" dur="1000" fill="hold"/>
                                        <p:tgtEl>
                                          <p:spTgt spid="125"/>
                                        </p:tgtEl>
                                        <p:attrNameLst>
                                          <p:attrName>ppt_x</p:attrName>
                                          <p:attrName>ppt_y</p:attrName>
                                        </p:attrNameLst>
                                      </p:cBhvr>
                                      <p:rCtr x="10735" y="-23"/>
                                    </p:animMotion>
                                  </p:childTnLst>
                                </p:cTn>
                              </p:par>
                              <p:par>
                                <p:cTn id="164" presetID="10" presetClass="exit" presetSubtype="0" fill="hold" grpId="4" nodeType="withEffect">
                                  <p:stCondLst>
                                    <p:cond delay="4500"/>
                                  </p:stCondLst>
                                  <p:childTnLst>
                                    <p:animEffect transition="out" filter="fade">
                                      <p:cBhvr>
                                        <p:cTn id="165" dur="500"/>
                                        <p:tgtEl>
                                          <p:spTgt spid="120"/>
                                        </p:tgtEl>
                                      </p:cBhvr>
                                    </p:animEffect>
                                    <p:set>
                                      <p:cBhvr>
                                        <p:cTn id="166" dur="1" fill="hold">
                                          <p:stCondLst>
                                            <p:cond delay="499"/>
                                          </p:stCondLst>
                                        </p:cTn>
                                        <p:tgtEl>
                                          <p:spTgt spid="120"/>
                                        </p:tgtEl>
                                        <p:attrNameLst>
                                          <p:attrName>style.visibility</p:attrName>
                                        </p:attrNameLst>
                                      </p:cBhvr>
                                      <p:to>
                                        <p:strVal val="hidden"/>
                                      </p:to>
                                    </p:set>
                                  </p:childTnLst>
                                </p:cTn>
                              </p:par>
                              <p:par>
                                <p:cTn id="167" presetID="10" presetClass="exit" presetSubtype="0" fill="hold" grpId="4" nodeType="withEffect">
                                  <p:stCondLst>
                                    <p:cond delay="5000"/>
                                  </p:stCondLst>
                                  <p:childTnLst>
                                    <p:animEffect transition="out" filter="fade">
                                      <p:cBhvr>
                                        <p:cTn id="168" dur="500"/>
                                        <p:tgtEl>
                                          <p:spTgt spid="125"/>
                                        </p:tgtEl>
                                      </p:cBhvr>
                                    </p:animEffect>
                                    <p:set>
                                      <p:cBhvr>
                                        <p:cTn id="169" dur="1" fill="hold">
                                          <p:stCondLst>
                                            <p:cond delay="499"/>
                                          </p:stCondLst>
                                        </p:cTn>
                                        <p:tgtEl>
                                          <p:spTgt spid="125"/>
                                        </p:tgtEl>
                                        <p:attrNameLst>
                                          <p:attrName>style.visibility</p:attrName>
                                        </p:attrNameLst>
                                      </p:cBhvr>
                                      <p:to>
                                        <p:strVal val="hidden"/>
                                      </p:to>
                                    </p:set>
                                  </p:childTnLst>
                                </p:cTn>
                              </p:par>
                              <p:par>
                                <p:cTn id="170" presetID="10" presetClass="entr" presetSubtype="0" fill="hold" grpId="0" nodeType="withEffect">
                                  <p:stCondLst>
                                    <p:cond delay="5000"/>
                                  </p:stCondLst>
                                  <p:childTnLst>
                                    <p:set>
                                      <p:cBhvr>
                                        <p:cTn id="171" dur="1" fill="hold">
                                          <p:stCondLst>
                                            <p:cond delay="0"/>
                                          </p:stCondLst>
                                        </p:cTn>
                                        <p:tgtEl>
                                          <p:spTgt spid="126"/>
                                        </p:tgtEl>
                                        <p:attrNameLst>
                                          <p:attrName>style.visibility</p:attrName>
                                        </p:attrNameLst>
                                      </p:cBhvr>
                                      <p:to>
                                        <p:strVal val="visible"/>
                                      </p:to>
                                    </p:set>
                                    <p:animEffect transition="in" filter="fade">
                                      <p:cBhvr>
                                        <p:cTn id="172" dur="500"/>
                                        <p:tgtEl>
                                          <p:spTgt spid="126"/>
                                        </p:tgtEl>
                                      </p:cBhvr>
                                    </p:animEffect>
                                  </p:childTnLst>
                                </p:cTn>
                              </p:par>
                              <p:par>
                                <p:cTn id="173" presetID="42" presetClass="path" presetSubtype="0" decel="100000" fill="hold" grpId="1" nodeType="withEffect">
                                  <p:stCondLst>
                                    <p:cond delay="5500"/>
                                  </p:stCondLst>
                                  <p:childTnLst>
                                    <p:animMotion origin="layout" path="M 1.5471E-6 3.46346E-6 L 0.2627 3.46346E-6 " pathEditMode="relative" rAng="0" ptsTypes="AA">
                                      <p:cBhvr>
                                        <p:cTn id="174" dur="1000" fill="hold"/>
                                        <p:tgtEl>
                                          <p:spTgt spid="126"/>
                                        </p:tgtEl>
                                        <p:attrNameLst>
                                          <p:attrName>ppt_x</p:attrName>
                                          <p:attrName>ppt_y</p:attrName>
                                        </p:attrNameLst>
                                      </p:cBhvr>
                                      <p:rCtr x="13135" y="0"/>
                                    </p:animMotion>
                                  </p:childTnLst>
                                </p:cTn>
                              </p:par>
                              <p:par>
                                <p:cTn id="175" presetID="10" presetClass="exit" presetSubtype="0" fill="hold" grpId="2" nodeType="withEffect">
                                  <p:stCondLst>
                                    <p:cond delay="6000"/>
                                  </p:stCondLst>
                                  <p:childTnLst>
                                    <p:animEffect transition="out" filter="fade">
                                      <p:cBhvr>
                                        <p:cTn id="176" dur="500"/>
                                        <p:tgtEl>
                                          <p:spTgt spid="126"/>
                                        </p:tgtEl>
                                      </p:cBhvr>
                                    </p:animEffect>
                                    <p:set>
                                      <p:cBhvr>
                                        <p:cTn id="177" dur="1" fill="hold">
                                          <p:stCondLst>
                                            <p:cond delay="499"/>
                                          </p:stCondLst>
                                        </p:cTn>
                                        <p:tgtEl>
                                          <p:spTgt spid="126"/>
                                        </p:tgtEl>
                                        <p:attrNameLst>
                                          <p:attrName>style.visibility</p:attrName>
                                        </p:attrNameLst>
                                      </p:cBhvr>
                                      <p:to>
                                        <p:strVal val="hidden"/>
                                      </p:to>
                                    </p:set>
                                  </p:childTnLst>
                                </p:cTn>
                              </p:par>
                              <p:par>
                                <p:cTn id="178" presetID="10" presetClass="entr" presetSubtype="0" fill="hold" grpId="0" nodeType="withEffect">
                                  <p:stCondLst>
                                    <p:cond delay="6000"/>
                                  </p:stCondLst>
                                  <p:childTnLst>
                                    <p:set>
                                      <p:cBhvr>
                                        <p:cTn id="179" dur="1" fill="hold">
                                          <p:stCondLst>
                                            <p:cond delay="0"/>
                                          </p:stCondLst>
                                        </p:cTn>
                                        <p:tgtEl>
                                          <p:spTgt spid="128"/>
                                        </p:tgtEl>
                                        <p:attrNameLst>
                                          <p:attrName>style.visibility</p:attrName>
                                        </p:attrNameLst>
                                      </p:cBhvr>
                                      <p:to>
                                        <p:strVal val="visible"/>
                                      </p:to>
                                    </p:set>
                                    <p:animEffect transition="in" filter="fade">
                                      <p:cBhvr>
                                        <p:cTn id="180" dur="500"/>
                                        <p:tgtEl>
                                          <p:spTgt spid="128"/>
                                        </p:tgtEl>
                                      </p:cBhvr>
                                    </p:animEffect>
                                  </p:childTnLst>
                                </p:cTn>
                              </p:par>
                              <p:par>
                                <p:cTn id="181" presetID="42" presetClass="path" presetSubtype="0" decel="100000" fill="hold" grpId="1" nodeType="withEffect">
                                  <p:stCondLst>
                                    <p:cond delay="6500"/>
                                  </p:stCondLst>
                                  <p:childTnLst>
                                    <p:animMotion origin="layout" path="M 2.66275E-6 3.46346E-6 L 0.16492 3.46346E-6 " pathEditMode="relative" rAng="0" ptsTypes="AA">
                                      <p:cBhvr>
                                        <p:cTn id="182" dur="1000" fill="hold"/>
                                        <p:tgtEl>
                                          <p:spTgt spid="128"/>
                                        </p:tgtEl>
                                        <p:attrNameLst>
                                          <p:attrName>ppt_x</p:attrName>
                                          <p:attrName>ppt_y</p:attrName>
                                        </p:attrNameLst>
                                      </p:cBhvr>
                                      <p:rCtr x="8246" y="0"/>
                                    </p:animMotion>
                                  </p:childTnLst>
                                </p:cTn>
                              </p:par>
                              <p:par>
                                <p:cTn id="183" presetID="10" presetClass="exit" presetSubtype="0" fill="hold" grpId="2" nodeType="withEffect">
                                  <p:stCondLst>
                                    <p:cond delay="7000"/>
                                  </p:stCondLst>
                                  <p:childTnLst>
                                    <p:animEffect transition="out" filter="fade">
                                      <p:cBhvr>
                                        <p:cTn id="184" dur="500"/>
                                        <p:tgtEl>
                                          <p:spTgt spid="128"/>
                                        </p:tgtEl>
                                      </p:cBhvr>
                                    </p:animEffect>
                                    <p:set>
                                      <p:cBhvr>
                                        <p:cTn id="185" dur="1" fill="hold">
                                          <p:stCondLst>
                                            <p:cond delay="499"/>
                                          </p:stCondLst>
                                        </p:cTn>
                                        <p:tgtEl>
                                          <p:spTgt spid="128"/>
                                        </p:tgtEl>
                                        <p:attrNameLst>
                                          <p:attrName>style.visibility</p:attrName>
                                        </p:attrNameLst>
                                      </p:cBhvr>
                                      <p:to>
                                        <p:strVal val="hidden"/>
                                      </p:to>
                                    </p:set>
                                  </p:childTnLst>
                                </p:cTn>
                              </p:par>
                              <p:par>
                                <p:cTn id="186" presetID="1" presetClass="entr" presetSubtype="0" fill="hold" grpId="5" nodeType="withEffect">
                                  <p:stCondLst>
                                    <p:cond delay="7000"/>
                                  </p:stCondLst>
                                  <p:childTnLst>
                                    <p:set>
                                      <p:cBhvr>
                                        <p:cTn id="187" dur="1" fill="hold">
                                          <p:stCondLst>
                                            <p:cond delay="0"/>
                                          </p:stCondLst>
                                        </p:cTn>
                                        <p:tgtEl>
                                          <p:spTgt spid="126"/>
                                        </p:tgtEl>
                                        <p:attrNameLst>
                                          <p:attrName>style.visibility</p:attrName>
                                        </p:attrNameLst>
                                      </p:cBhvr>
                                      <p:to>
                                        <p:strVal val="visible"/>
                                      </p:to>
                                    </p:set>
                                  </p:childTnLst>
                                </p:cTn>
                              </p:par>
                              <p:par>
                                <p:cTn id="188" presetID="1" presetClass="entr" presetSubtype="0" fill="hold" grpId="5" nodeType="withEffect">
                                  <p:stCondLst>
                                    <p:cond delay="7000"/>
                                  </p:stCondLst>
                                  <p:childTnLst>
                                    <p:set>
                                      <p:cBhvr>
                                        <p:cTn id="189" dur="1" fill="hold">
                                          <p:stCondLst>
                                            <p:cond delay="0"/>
                                          </p:stCondLst>
                                        </p:cTn>
                                        <p:tgtEl>
                                          <p:spTgt spid="128"/>
                                        </p:tgtEl>
                                        <p:attrNameLst>
                                          <p:attrName>style.visibility</p:attrName>
                                        </p:attrNameLst>
                                      </p:cBhvr>
                                      <p:to>
                                        <p:strVal val="visible"/>
                                      </p:to>
                                    </p:set>
                                  </p:childTnLst>
                                </p:cTn>
                              </p:par>
                              <p:par>
                                <p:cTn id="190" presetID="42" presetClass="path" presetSubtype="0" decel="100000" fill="hold" grpId="3" nodeType="withEffect">
                                  <p:stCondLst>
                                    <p:cond delay="7000"/>
                                  </p:stCondLst>
                                  <p:childTnLst>
                                    <p:animMotion origin="layout" path="M 0.2627 3.46346E-6 L 0.47753 -0.00023 " pathEditMode="relative" rAng="0" ptsTypes="AA">
                                      <p:cBhvr>
                                        <p:cTn id="191" dur="1000" fill="hold"/>
                                        <p:tgtEl>
                                          <p:spTgt spid="126"/>
                                        </p:tgtEl>
                                        <p:attrNameLst>
                                          <p:attrName>ppt_x</p:attrName>
                                          <p:attrName>ppt_y</p:attrName>
                                        </p:attrNameLst>
                                      </p:cBhvr>
                                      <p:rCtr x="10735" y="-23"/>
                                    </p:animMotion>
                                  </p:childTnLst>
                                </p:cTn>
                              </p:par>
                              <p:par>
                                <p:cTn id="192" presetID="42" presetClass="path" presetSubtype="0" decel="100000" fill="hold" grpId="3" nodeType="withEffect">
                                  <p:stCondLst>
                                    <p:cond delay="7500"/>
                                  </p:stCondLst>
                                  <p:childTnLst>
                                    <p:animMotion origin="layout" path="M 0.16709 3.46346E-6 L 0.38192 -0.00023 " pathEditMode="relative" rAng="0" ptsTypes="AA">
                                      <p:cBhvr>
                                        <p:cTn id="193" dur="1000" fill="hold"/>
                                        <p:tgtEl>
                                          <p:spTgt spid="128"/>
                                        </p:tgtEl>
                                        <p:attrNameLst>
                                          <p:attrName>ppt_x</p:attrName>
                                          <p:attrName>ppt_y</p:attrName>
                                        </p:attrNameLst>
                                      </p:cBhvr>
                                      <p:rCtr x="10735" y="-23"/>
                                    </p:animMotion>
                                  </p:childTnLst>
                                </p:cTn>
                              </p:par>
                              <p:par>
                                <p:cTn id="194" presetID="10" presetClass="exit" presetSubtype="0" fill="hold" grpId="4" nodeType="withEffect">
                                  <p:stCondLst>
                                    <p:cond delay="8000"/>
                                  </p:stCondLst>
                                  <p:childTnLst>
                                    <p:animEffect transition="out" filter="fade">
                                      <p:cBhvr>
                                        <p:cTn id="195" dur="500"/>
                                        <p:tgtEl>
                                          <p:spTgt spid="126"/>
                                        </p:tgtEl>
                                      </p:cBhvr>
                                    </p:animEffect>
                                    <p:set>
                                      <p:cBhvr>
                                        <p:cTn id="196" dur="1" fill="hold">
                                          <p:stCondLst>
                                            <p:cond delay="499"/>
                                          </p:stCondLst>
                                        </p:cTn>
                                        <p:tgtEl>
                                          <p:spTgt spid="126"/>
                                        </p:tgtEl>
                                        <p:attrNameLst>
                                          <p:attrName>style.visibility</p:attrName>
                                        </p:attrNameLst>
                                      </p:cBhvr>
                                      <p:to>
                                        <p:strVal val="hidden"/>
                                      </p:to>
                                    </p:set>
                                  </p:childTnLst>
                                </p:cTn>
                              </p:par>
                              <p:par>
                                <p:cTn id="197" presetID="10" presetClass="exit" presetSubtype="0" fill="hold" grpId="4" nodeType="withEffect">
                                  <p:stCondLst>
                                    <p:cond delay="8500"/>
                                  </p:stCondLst>
                                  <p:childTnLst>
                                    <p:animEffect transition="out" filter="fade">
                                      <p:cBhvr>
                                        <p:cTn id="198" dur="500"/>
                                        <p:tgtEl>
                                          <p:spTgt spid="128"/>
                                        </p:tgtEl>
                                      </p:cBhvr>
                                    </p:animEffect>
                                    <p:set>
                                      <p:cBhvr>
                                        <p:cTn id="199" dur="1" fill="hold">
                                          <p:stCondLst>
                                            <p:cond delay="499"/>
                                          </p:stCondLst>
                                        </p:cTn>
                                        <p:tgtEl>
                                          <p:spTgt spid="128"/>
                                        </p:tgtEl>
                                        <p:attrNameLst>
                                          <p:attrName>style.visibility</p:attrName>
                                        </p:attrNameLst>
                                      </p:cBhvr>
                                      <p:to>
                                        <p:strVal val="hidden"/>
                                      </p:to>
                                    </p:set>
                                  </p:childTnLst>
                                </p:cTn>
                              </p:par>
                              <p:par>
                                <p:cTn id="200" presetID="22" presetClass="entr" presetSubtype="4" fill="hold" nodeType="withEffect">
                                  <p:stCondLst>
                                    <p:cond delay="5000"/>
                                  </p:stCondLst>
                                  <p:childTnLst>
                                    <p:set>
                                      <p:cBhvr>
                                        <p:cTn id="201" dur="1" fill="hold">
                                          <p:stCondLst>
                                            <p:cond delay="0"/>
                                          </p:stCondLst>
                                        </p:cTn>
                                        <p:tgtEl>
                                          <p:spTgt spid="28"/>
                                        </p:tgtEl>
                                        <p:attrNameLst>
                                          <p:attrName>style.visibility</p:attrName>
                                        </p:attrNameLst>
                                      </p:cBhvr>
                                      <p:to>
                                        <p:strVal val="visible"/>
                                      </p:to>
                                    </p:set>
                                    <p:animEffect transition="in" filter="wipe(down)">
                                      <p:cBhvr>
                                        <p:cTn id="202" dur="4000"/>
                                        <p:tgtEl>
                                          <p:spTgt spid="28"/>
                                        </p:tgtEl>
                                      </p:cBhvr>
                                    </p:animEffect>
                                  </p:childTnLst>
                                </p:cTn>
                              </p:par>
                              <p:par>
                                <p:cTn id="203" presetID="10" presetClass="entr" presetSubtype="0" fill="hold" grpId="0" nodeType="withEffect">
                                  <p:stCondLst>
                                    <p:cond delay="8500"/>
                                  </p:stCondLst>
                                  <p:childTnLst>
                                    <p:set>
                                      <p:cBhvr>
                                        <p:cTn id="204" dur="1" fill="hold">
                                          <p:stCondLst>
                                            <p:cond delay="0"/>
                                          </p:stCondLst>
                                        </p:cTn>
                                        <p:tgtEl>
                                          <p:spTgt spid="131"/>
                                        </p:tgtEl>
                                        <p:attrNameLst>
                                          <p:attrName>style.visibility</p:attrName>
                                        </p:attrNameLst>
                                      </p:cBhvr>
                                      <p:to>
                                        <p:strVal val="visible"/>
                                      </p:to>
                                    </p:set>
                                    <p:animEffect transition="in" filter="fade">
                                      <p:cBhvr>
                                        <p:cTn id="205" dur="500"/>
                                        <p:tgtEl>
                                          <p:spTgt spid="131"/>
                                        </p:tgtEl>
                                      </p:cBhvr>
                                    </p:animEffect>
                                  </p:childTnLst>
                                </p:cTn>
                              </p:par>
                              <p:par>
                                <p:cTn id="206" presetID="0" presetClass="path" presetSubtype="0" accel="50000" decel="50000" fill="hold" grpId="1" nodeType="withEffect">
                                  <p:stCondLst>
                                    <p:cond delay="8500"/>
                                  </p:stCondLst>
                                  <p:childTnLst>
                                    <p:animMotion origin="layout" path="M 0 0 L 0.47945 0 L 0.48021 0.23831 " pathEditMode="relative" ptsTypes="AAA">
                                      <p:cBhvr>
                                        <p:cTn id="207" dur="2000" fill="hold"/>
                                        <p:tgtEl>
                                          <p:spTgt spid="131"/>
                                        </p:tgtEl>
                                        <p:attrNameLst>
                                          <p:attrName>ppt_x</p:attrName>
                                          <p:attrName>ppt_y</p:attrName>
                                        </p:attrNameLst>
                                      </p:cBhvr>
                                    </p:animMotion>
                                  </p:childTnLst>
                                </p:cTn>
                              </p:par>
                              <p:par>
                                <p:cTn id="208" presetID="10" presetClass="exit" presetSubtype="0" fill="hold" grpId="2" nodeType="withEffect">
                                  <p:stCondLst>
                                    <p:cond delay="10500"/>
                                  </p:stCondLst>
                                  <p:childTnLst>
                                    <p:animEffect transition="out" filter="fade">
                                      <p:cBhvr>
                                        <p:cTn id="209" dur="500"/>
                                        <p:tgtEl>
                                          <p:spTgt spid="131"/>
                                        </p:tgtEl>
                                      </p:cBhvr>
                                    </p:animEffect>
                                    <p:set>
                                      <p:cBhvr>
                                        <p:cTn id="210" dur="1" fill="hold">
                                          <p:stCondLst>
                                            <p:cond delay="499"/>
                                          </p:stCondLst>
                                        </p:cTn>
                                        <p:tgtEl>
                                          <p:spTgt spid="131"/>
                                        </p:tgtEl>
                                        <p:attrNameLst>
                                          <p:attrName>style.visibility</p:attrName>
                                        </p:attrNameLst>
                                      </p:cBhvr>
                                      <p:to>
                                        <p:strVal val="hidden"/>
                                      </p:to>
                                    </p:set>
                                  </p:childTnLst>
                                </p:cTn>
                              </p:par>
                              <p:par>
                                <p:cTn id="211" presetID="10" presetClass="entr" presetSubtype="0" fill="hold" grpId="0" nodeType="withEffect">
                                  <p:stCondLst>
                                    <p:cond delay="9000"/>
                                  </p:stCondLst>
                                  <p:childTnLst>
                                    <p:set>
                                      <p:cBhvr>
                                        <p:cTn id="212" dur="1" fill="hold">
                                          <p:stCondLst>
                                            <p:cond delay="0"/>
                                          </p:stCondLst>
                                        </p:cTn>
                                        <p:tgtEl>
                                          <p:spTgt spid="132"/>
                                        </p:tgtEl>
                                        <p:attrNameLst>
                                          <p:attrName>style.visibility</p:attrName>
                                        </p:attrNameLst>
                                      </p:cBhvr>
                                      <p:to>
                                        <p:strVal val="visible"/>
                                      </p:to>
                                    </p:set>
                                    <p:animEffect transition="in" filter="fade">
                                      <p:cBhvr>
                                        <p:cTn id="213" dur="500"/>
                                        <p:tgtEl>
                                          <p:spTgt spid="132"/>
                                        </p:tgtEl>
                                      </p:cBhvr>
                                    </p:animEffect>
                                  </p:childTnLst>
                                </p:cTn>
                              </p:par>
                              <p:par>
                                <p:cTn id="214" presetID="0" presetClass="path" presetSubtype="0" accel="50000" decel="50000" fill="hold" grpId="1" nodeType="withEffect">
                                  <p:stCondLst>
                                    <p:cond delay="9000"/>
                                  </p:stCondLst>
                                  <p:childTnLst>
                                    <p:animMotion origin="layout" path="M 2.66275E-6 3.46346E-6 L 0.38205 3.46346E-6 L 0.38269 0.23831 " pathEditMode="relative" rAng="0" ptsTypes="AAA">
                                      <p:cBhvr>
                                        <p:cTn id="215" dur="2000" fill="hold"/>
                                        <p:tgtEl>
                                          <p:spTgt spid="132"/>
                                        </p:tgtEl>
                                        <p:attrNameLst>
                                          <p:attrName>ppt_x</p:attrName>
                                          <p:attrName>ppt_y</p:attrName>
                                        </p:attrNameLst>
                                      </p:cBhvr>
                                      <p:rCtr x="19135" y="11916"/>
                                    </p:animMotion>
                                  </p:childTnLst>
                                </p:cTn>
                              </p:par>
                              <p:par>
                                <p:cTn id="216" presetID="10" presetClass="exit" presetSubtype="0" fill="hold" grpId="2" nodeType="withEffect">
                                  <p:stCondLst>
                                    <p:cond delay="11000"/>
                                  </p:stCondLst>
                                  <p:childTnLst>
                                    <p:animEffect transition="out" filter="fade">
                                      <p:cBhvr>
                                        <p:cTn id="217" dur="500"/>
                                        <p:tgtEl>
                                          <p:spTgt spid="132"/>
                                        </p:tgtEl>
                                      </p:cBhvr>
                                    </p:animEffect>
                                    <p:set>
                                      <p:cBhvr>
                                        <p:cTn id="218" dur="1" fill="hold">
                                          <p:stCondLst>
                                            <p:cond delay="499"/>
                                          </p:stCondLst>
                                        </p:cTn>
                                        <p:tgtEl>
                                          <p:spTgt spid="132"/>
                                        </p:tgtEl>
                                        <p:attrNameLst>
                                          <p:attrName>style.visibility</p:attrName>
                                        </p:attrNameLst>
                                      </p:cBhvr>
                                      <p:to>
                                        <p:strVal val="hidden"/>
                                      </p:to>
                                    </p:set>
                                  </p:childTnLst>
                                </p:cTn>
                              </p:par>
                              <p:par>
                                <p:cTn id="219" presetID="10" presetClass="entr" presetSubtype="0" fill="hold" grpId="0" nodeType="withEffect">
                                  <p:stCondLst>
                                    <p:cond delay="9500"/>
                                  </p:stCondLst>
                                  <p:childTnLst>
                                    <p:set>
                                      <p:cBhvr>
                                        <p:cTn id="220" dur="1" fill="hold">
                                          <p:stCondLst>
                                            <p:cond delay="0"/>
                                          </p:stCondLst>
                                        </p:cTn>
                                        <p:tgtEl>
                                          <p:spTgt spid="133"/>
                                        </p:tgtEl>
                                        <p:attrNameLst>
                                          <p:attrName>style.visibility</p:attrName>
                                        </p:attrNameLst>
                                      </p:cBhvr>
                                      <p:to>
                                        <p:strVal val="visible"/>
                                      </p:to>
                                    </p:set>
                                    <p:animEffect transition="in" filter="fade">
                                      <p:cBhvr>
                                        <p:cTn id="221" dur="500"/>
                                        <p:tgtEl>
                                          <p:spTgt spid="133"/>
                                        </p:tgtEl>
                                      </p:cBhvr>
                                    </p:animEffect>
                                  </p:childTnLst>
                                </p:cTn>
                              </p:par>
                              <p:par>
                                <p:cTn id="222" presetID="0" presetClass="path" presetSubtype="0" accel="50000" decel="50000" fill="hold" grpId="1" nodeType="withEffect">
                                  <p:stCondLst>
                                    <p:cond delay="10000"/>
                                  </p:stCondLst>
                                  <p:childTnLst>
                                    <p:animMotion origin="layout" path="M 1.5471E-6 3.46346E-6 L 0.47945 3.46346E-6 L 0.48021 0.23831 " pathEditMode="relative" rAng="0" ptsTypes="AAA">
                                      <p:cBhvr>
                                        <p:cTn id="223" dur="2000" fill="hold"/>
                                        <p:tgtEl>
                                          <p:spTgt spid="133"/>
                                        </p:tgtEl>
                                        <p:attrNameLst>
                                          <p:attrName>ppt_x</p:attrName>
                                          <p:attrName>ppt_y</p:attrName>
                                        </p:attrNameLst>
                                      </p:cBhvr>
                                      <p:rCtr x="24011" y="11916"/>
                                    </p:animMotion>
                                  </p:childTnLst>
                                </p:cTn>
                              </p:par>
                              <p:par>
                                <p:cTn id="224" presetID="10" presetClass="exit" presetSubtype="0" fill="hold" grpId="2" nodeType="withEffect">
                                  <p:stCondLst>
                                    <p:cond delay="11500"/>
                                  </p:stCondLst>
                                  <p:childTnLst>
                                    <p:animEffect transition="out" filter="fade">
                                      <p:cBhvr>
                                        <p:cTn id="225" dur="500"/>
                                        <p:tgtEl>
                                          <p:spTgt spid="133"/>
                                        </p:tgtEl>
                                      </p:cBhvr>
                                    </p:animEffect>
                                    <p:set>
                                      <p:cBhvr>
                                        <p:cTn id="226" dur="1" fill="hold">
                                          <p:stCondLst>
                                            <p:cond delay="499"/>
                                          </p:stCondLst>
                                        </p:cTn>
                                        <p:tgtEl>
                                          <p:spTgt spid="133"/>
                                        </p:tgtEl>
                                        <p:attrNameLst>
                                          <p:attrName>style.visibility</p:attrName>
                                        </p:attrNameLst>
                                      </p:cBhvr>
                                      <p:to>
                                        <p:strVal val="hidden"/>
                                      </p:to>
                                    </p:set>
                                  </p:childTnLst>
                                </p:cTn>
                              </p:par>
                              <p:par>
                                <p:cTn id="227" presetID="10" presetClass="entr" presetSubtype="0" fill="hold" grpId="0" nodeType="withEffect">
                                  <p:stCondLst>
                                    <p:cond delay="10000"/>
                                  </p:stCondLst>
                                  <p:childTnLst>
                                    <p:set>
                                      <p:cBhvr>
                                        <p:cTn id="228" dur="1" fill="hold">
                                          <p:stCondLst>
                                            <p:cond delay="0"/>
                                          </p:stCondLst>
                                        </p:cTn>
                                        <p:tgtEl>
                                          <p:spTgt spid="135"/>
                                        </p:tgtEl>
                                        <p:attrNameLst>
                                          <p:attrName>style.visibility</p:attrName>
                                        </p:attrNameLst>
                                      </p:cBhvr>
                                      <p:to>
                                        <p:strVal val="visible"/>
                                      </p:to>
                                    </p:set>
                                    <p:animEffect transition="in" filter="fade">
                                      <p:cBhvr>
                                        <p:cTn id="229" dur="500"/>
                                        <p:tgtEl>
                                          <p:spTgt spid="135"/>
                                        </p:tgtEl>
                                      </p:cBhvr>
                                    </p:animEffect>
                                  </p:childTnLst>
                                </p:cTn>
                              </p:par>
                              <p:par>
                                <p:cTn id="230" presetID="0" presetClass="path" presetSubtype="0" accel="50000" decel="50000" fill="hold" grpId="1" nodeType="withEffect">
                                  <p:stCondLst>
                                    <p:cond delay="10500"/>
                                  </p:stCondLst>
                                  <p:childTnLst>
                                    <p:animMotion origin="layout" path="M 2.66275E-6 3.46346E-6 L 0.38205 3.46346E-6 L 0.38269 0.23831 " pathEditMode="relative" rAng="0" ptsTypes="AAA">
                                      <p:cBhvr>
                                        <p:cTn id="231" dur="2000" fill="hold"/>
                                        <p:tgtEl>
                                          <p:spTgt spid="135"/>
                                        </p:tgtEl>
                                        <p:attrNameLst>
                                          <p:attrName>ppt_x</p:attrName>
                                          <p:attrName>ppt_y</p:attrName>
                                        </p:attrNameLst>
                                      </p:cBhvr>
                                      <p:rCtr x="19135" y="11916"/>
                                    </p:animMotion>
                                  </p:childTnLst>
                                </p:cTn>
                              </p:par>
                              <p:par>
                                <p:cTn id="232" presetID="10" presetClass="exit" presetSubtype="0" fill="hold" grpId="2" nodeType="withEffect">
                                  <p:stCondLst>
                                    <p:cond delay="12000"/>
                                  </p:stCondLst>
                                  <p:childTnLst>
                                    <p:animEffect transition="out" filter="fade">
                                      <p:cBhvr>
                                        <p:cTn id="233" dur="500"/>
                                        <p:tgtEl>
                                          <p:spTgt spid="135"/>
                                        </p:tgtEl>
                                      </p:cBhvr>
                                    </p:animEffect>
                                    <p:set>
                                      <p:cBhvr>
                                        <p:cTn id="234" dur="1" fill="hold">
                                          <p:stCondLst>
                                            <p:cond delay="499"/>
                                          </p:stCondLst>
                                        </p:cTn>
                                        <p:tgtEl>
                                          <p:spTgt spid="135"/>
                                        </p:tgtEl>
                                        <p:attrNameLst>
                                          <p:attrName>style.visibility</p:attrName>
                                        </p:attrNameLst>
                                      </p:cBhvr>
                                      <p:to>
                                        <p:strVal val="hidden"/>
                                      </p:to>
                                    </p:set>
                                  </p:childTnLst>
                                </p:cTn>
                              </p:par>
                              <p:par>
                                <p:cTn id="235" presetID="22" presetClass="entr" presetSubtype="4" fill="hold" nodeType="withEffect">
                                  <p:stCondLst>
                                    <p:cond delay="9250"/>
                                  </p:stCondLst>
                                  <p:childTnLst>
                                    <p:set>
                                      <p:cBhvr>
                                        <p:cTn id="236" dur="1" fill="hold">
                                          <p:stCondLst>
                                            <p:cond delay="0"/>
                                          </p:stCondLst>
                                        </p:cTn>
                                        <p:tgtEl>
                                          <p:spTgt spid="29"/>
                                        </p:tgtEl>
                                        <p:attrNameLst>
                                          <p:attrName>style.visibility</p:attrName>
                                        </p:attrNameLst>
                                      </p:cBhvr>
                                      <p:to>
                                        <p:strVal val="visible"/>
                                      </p:to>
                                    </p:set>
                                    <p:animEffect transition="in" filter="wipe(down)">
                                      <p:cBhvr>
                                        <p:cTn id="237" dur="3250"/>
                                        <p:tgtEl>
                                          <p:spTgt spid="29"/>
                                        </p:tgtEl>
                                      </p:cBhvr>
                                    </p:animEffect>
                                  </p:childTnLst>
                                </p:cTn>
                              </p:par>
                            </p:childTnLst>
                          </p:cTn>
                        </p:par>
                      </p:childTnLst>
                    </p:cTn>
                  </p:par>
                  <p:par>
                    <p:cTn id="238" fill="hold">
                      <p:stCondLst>
                        <p:cond delay="indefinite"/>
                      </p:stCondLst>
                      <p:childTnLst>
                        <p:par>
                          <p:cTn id="239" fill="hold">
                            <p:stCondLst>
                              <p:cond delay="0"/>
                            </p:stCondLst>
                            <p:childTnLst>
                              <p:par>
                                <p:cTn id="240" presetID="10" presetClass="entr" presetSubtype="0" fill="hold" grpId="0" nodeType="clickEffect">
                                  <p:stCondLst>
                                    <p:cond delay="0"/>
                                  </p:stCondLst>
                                  <p:childTnLst>
                                    <p:set>
                                      <p:cBhvr>
                                        <p:cTn id="241" dur="1" fill="hold">
                                          <p:stCondLst>
                                            <p:cond delay="0"/>
                                          </p:stCondLst>
                                        </p:cTn>
                                        <p:tgtEl>
                                          <p:spTgt spid="151"/>
                                        </p:tgtEl>
                                        <p:attrNameLst>
                                          <p:attrName>style.visibility</p:attrName>
                                        </p:attrNameLst>
                                      </p:cBhvr>
                                      <p:to>
                                        <p:strVal val="visible"/>
                                      </p:to>
                                    </p:set>
                                    <p:animEffect transition="in" filter="fade">
                                      <p:cBhvr>
                                        <p:cTn id="242" dur="500"/>
                                        <p:tgtEl>
                                          <p:spTgt spid="151"/>
                                        </p:tgtEl>
                                      </p:cBhvr>
                                    </p:animEffect>
                                  </p:childTnLst>
                                </p:cTn>
                              </p:par>
                              <p:par>
                                <p:cTn id="243" presetID="50" presetClass="path" presetSubtype="0" decel="100000" fill="hold" grpId="1" nodeType="withEffect">
                                  <p:stCondLst>
                                    <p:cond delay="500"/>
                                  </p:stCondLst>
                                  <p:childTnLst>
                                    <p:animMotion origin="layout" path="M 0.47825 0.26319 C 0.47943 0.26574 0.71159 0.26111 0.71185 0.26481 C 0.71341 0.2625 0.7112 0.13356 0.7112 0.10741 C 0.72331 0.09051 0.77109 0.01574 0.77148 0.0162 " pathEditMode="relative" rAng="0" ptsTypes="AAAA">
                                      <p:cBhvr>
                                        <p:cTn id="244" dur="3000" fill="hold"/>
                                        <p:tgtEl>
                                          <p:spTgt spid="151"/>
                                        </p:tgtEl>
                                        <p:attrNameLst>
                                          <p:attrName>ppt_x</p:attrName>
                                          <p:attrName>ppt_y</p:attrName>
                                        </p:attrNameLst>
                                      </p:cBhvr>
                                      <p:rCtr x="14661" y="-12292"/>
                                    </p:animMotion>
                                  </p:childTnLst>
                                </p:cTn>
                              </p:par>
                              <p:par>
                                <p:cTn id="245" presetID="10" presetClass="entr" presetSubtype="0" fill="hold" grpId="0" nodeType="withEffect">
                                  <p:stCondLst>
                                    <p:cond delay="500"/>
                                  </p:stCondLst>
                                  <p:childTnLst>
                                    <p:set>
                                      <p:cBhvr>
                                        <p:cTn id="246" dur="1" fill="hold">
                                          <p:stCondLst>
                                            <p:cond delay="0"/>
                                          </p:stCondLst>
                                        </p:cTn>
                                        <p:tgtEl>
                                          <p:spTgt spid="152"/>
                                        </p:tgtEl>
                                        <p:attrNameLst>
                                          <p:attrName>style.visibility</p:attrName>
                                        </p:attrNameLst>
                                      </p:cBhvr>
                                      <p:to>
                                        <p:strVal val="visible"/>
                                      </p:to>
                                    </p:set>
                                    <p:animEffect transition="in" filter="fade">
                                      <p:cBhvr>
                                        <p:cTn id="247" dur="500"/>
                                        <p:tgtEl>
                                          <p:spTgt spid="152"/>
                                        </p:tgtEl>
                                      </p:cBhvr>
                                    </p:animEffect>
                                  </p:childTnLst>
                                </p:cTn>
                              </p:par>
                              <p:par>
                                <p:cTn id="248" presetID="50" presetClass="path" presetSubtype="0" decel="100000" fill="hold" grpId="1" nodeType="withEffect">
                                  <p:stCondLst>
                                    <p:cond delay="1000"/>
                                  </p:stCondLst>
                                  <p:childTnLst>
                                    <p:animMotion origin="layout" path="M 0.37942 0.26667 C 0.3789 0.26551 0.61341 0.26181 0.61341 0.26621 C 0.61458 0.2632 0.61367 0.11111 0.61367 0.10996 C 0.62304 0.09329 0.67135 0.02199 0.67135 0.02269 " pathEditMode="relative" rAng="0" ptsTypes="AAAA">
                                      <p:cBhvr>
                                        <p:cTn id="249" dur="2500" fill="hold"/>
                                        <p:tgtEl>
                                          <p:spTgt spid="152"/>
                                        </p:tgtEl>
                                        <p:attrNameLst>
                                          <p:attrName>ppt_x</p:attrName>
                                          <p:attrName>ppt_y</p:attrName>
                                        </p:attrNameLst>
                                      </p:cBhvr>
                                      <p:rCtr x="14583" y="-12222"/>
                                    </p:animMotion>
                                  </p:childTnLst>
                                </p:cTn>
                              </p:par>
                              <p:par>
                                <p:cTn id="250" presetID="10" presetClass="entr" presetSubtype="0" fill="hold" grpId="0" nodeType="withEffect">
                                  <p:stCondLst>
                                    <p:cond delay="1000"/>
                                  </p:stCondLst>
                                  <p:childTnLst>
                                    <p:set>
                                      <p:cBhvr>
                                        <p:cTn id="251" dur="1" fill="hold">
                                          <p:stCondLst>
                                            <p:cond delay="0"/>
                                          </p:stCondLst>
                                        </p:cTn>
                                        <p:tgtEl>
                                          <p:spTgt spid="153"/>
                                        </p:tgtEl>
                                        <p:attrNameLst>
                                          <p:attrName>style.visibility</p:attrName>
                                        </p:attrNameLst>
                                      </p:cBhvr>
                                      <p:to>
                                        <p:strVal val="visible"/>
                                      </p:to>
                                    </p:set>
                                    <p:animEffect transition="in" filter="fade">
                                      <p:cBhvr>
                                        <p:cTn id="252" dur="500"/>
                                        <p:tgtEl>
                                          <p:spTgt spid="153"/>
                                        </p:tgtEl>
                                      </p:cBhvr>
                                    </p:animEffect>
                                  </p:childTnLst>
                                </p:cTn>
                              </p:par>
                              <p:par>
                                <p:cTn id="253" presetID="50" presetClass="path" presetSubtype="0" decel="100000" fill="hold" grpId="1" nodeType="withEffect">
                                  <p:stCondLst>
                                    <p:cond delay="1500"/>
                                  </p:stCondLst>
                                  <p:childTnLst>
                                    <p:animMotion origin="layout" path="M 0.47708 0.26342 C 0.47877 0.26574 0.70885 0.25764 0.70976 0.2618 C 0.71068 0.25972 0.71094 0.13217 0.71146 0.10602 C 0.72422 0.08773 0.76927 0.01921 0.76966 0.01921 " pathEditMode="relative" rAng="0" ptsTypes="AAAA">
                                      <p:cBhvr>
                                        <p:cTn id="254" dur="3000" fill="hold"/>
                                        <p:tgtEl>
                                          <p:spTgt spid="153"/>
                                        </p:tgtEl>
                                        <p:attrNameLst>
                                          <p:attrName>ppt_x</p:attrName>
                                          <p:attrName>ppt_y</p:attrName>
                                        </p:attrNameLst>
                                      </p:cBhvr>
                                      <p:rCtr x="14622" y="-12199"/>
                                    </p:animMotion>
                                  </p:childTnLst>
                                </p:cTn>
                              </p:par>
                              <p:par>
                                <p:cTn id="255" presetID="10" presetClass="entr" presetSubtype="0" fill="hold" grpId="0" nodeType="withEffect">
                                  <p:stCondLst>
                                    <p:cond delay="2000"/>
                                  </p:stCondLst>
                                  <p:childTnLst>
                                    <p:set>
                                      <p:cBhvr>
                                        <p:cTn id="256" dur="1" fill="hold">
                                          <p:stCondLst>
                                            <p:cond delay="0"/>
                                          </p:stCondLst>
                                        </p:cTn>
                                        <p:tgtEl>
                                          <p:spTgt spid="154"/>
                                        </p:tgtEl>
                                        <p:attrNameLst>
                                          <p:attrName>style.visibility</p:attrName>
                                        </p:attrNameLst>
                                      </p:cBhvr>
                                      <p:to>
                                        <p:strVal val="visible"/>
                                      </p:to>
                                    </p:set>
                                    <p:animEffect transition="in" filter="fade">
                                      <p:cBhvr>
                                        <p:cTn id="257" dur="500"/>
                                        <p:tgtEl>
                                          <p:spTgt spid="154"/>
                                        </p:tgtEl>
                                      </p:cBhvr>
                                    </p:animEffect>
                                  </p:childTnLst>
                                </p:cTn>
                              </p:par>
                              <p:par>
                                <p:cTn id="258" presetID="50" presetClass="path" presetSubtype="0" decel="100000" fill="hold" grpId="1" nodeType="withEffect">
                                  <p:stCondLst>
                                    <p:cond delay="2500"/>
                                  </p:stCondLst>
                                  <p:childTnLst>
                                    <p:animMotion origin="layout" path="M 0.37877 0.2625 C 0.37929 0.26505 0.61197 0.26111 0.61197 0.26551 C 0.61341 0.26204 0.61171 0.10834 0.61263 0.10903 C 0.62825 0.08403 0.67135 0.02315 0.67135 0.02338 " pathEditMode="relative" rAng="0" ptsTypes="AAAA">
                                      <p:cBhvr>
                                        <p:cTn id="259" dur="2500" fill="hold"/>
                                        <p:tgtEl>
                                          <p:spTgt spid="154"/>
                                        </p:tgtEl>
                                        <p:attrNameLst>
                                          <p:attrName>ppt_x</p:attrName>
                                          <p:attrName>ppt_y</p:attrName>
                                        </p:attrNameLst>
                                      </p:cBhvr>
                                      <p:rCtr x="14622" y="-11829"/>
                                    </p:animMotion>
                                  </p:childTnLst>
                                </p:cTn>
                              </p:par>
                              <p:par>
                                <p:cTn id="260" presetID="10" presetClass="exit" presetSubtype="0" fill="hold" grpId="2" nodeType="withEffect">
                                  <p:stCondLst>
                                    <p:cond delay="3500"/>
                                  </p:stCondLst>
                                  <p:childTnLst>
                                    <p:animEffect transition="out" filter="fade">
                                      <p:cBhvr>
                                        <p:cTn id="261" dur="500"/>
                                        <p:tgtEl>
                                          <p:spTgt spid="151"/>
                                        </p:tgtEl>
                                      </p:cBhvr>
                                    </p:animEffect>
                                    <p:set>
                                      <p:cBhvr>
                                        <p:cTn id="262" dur="1" fill="hold">
                                          <p:stCondLst>
                                            <p:cond delay="499"/>
                                          </p:stCondLst>
                                        </p:cTn>
                                        <p:tgtEl>
                                          <p:spTgt spid="151"/>
                                        </p:tgtEl>
                                        <p:attrNameLst>
                                          <p:attrName>style.visibility</p:attrName>
                                        </p:attrNameLst>
                                      </p:cBhvr>
                                      <p:to>
                                        <p:strVal val="hidden"/>
                                      </p:to>
                                    </p:set>
                                  </p:childTnLst>
                                </p:cTn>
                              </p:par>
                              <p:par>
                                <p:cTn id="263" presetID="10" presetClass="exit" presetSubtype="0" fill="hold" grpId="2" nodeType="withEffect">
                                  <p:stCondLst>
                                    <p:cond delay="3500"/>
                                  </p:stCondLst>
                                  <p:childTnLst>
                                    <p:animEffect transition="out" filter="fade">
                                      <p:cBhvr>
                                        <p:cTn id="264" dur="500"/>
                                        <p:tgtEl>
                                          <p:spTgt spid="152"/>
                                        </p:tgtEl>
                                      </p:cBhvr>
                                    </p:animEffect>
                                    <p:set>
                                      <p:cBhvr>
                                        <p:cTn id="265" dur="1" fill="hold">
                                          <p:stCondLst>
                                            <p:cond delay="499"/>
                                          </p:stCondLst>
                                        </p:cTn>
                                        <p:tgtEl>
                                          <p:spTgt spid="152"/>
                                        </p:tgtEl>
                                        <p:attrNameLst>
                                          <p:attrName>style.visibility</p:attrName>
                                        </p:attrNameLst>
                                      </p:cBhvr>
                                      <p:to>
                                        <p:strVal val="hidden"/>
                                      </p:to>
                                    </p:set>
                                  </p:childTnLst>
                                </p:cTn>
                              </p:par>
                              <p:par>
                                <p:cTn id="266" presetID="10" presetClass="exit" presetSubtype="0" fill="hold" grpId="2" nodeType="withEffect">
                                  <p:stCondLst>
                                    <p:cond delay="4500"/>
                                  </p:stCondLst>
                                  <p:childTnLst>
                                    <p:animEffect transition="out" filter="fade">
                                      <p:cBhvr>
                                        <p:cTn id="267" dur="500"/>
                                        <p:tgtEl>
                                          <p:spTgt spid="153"/>
                                        </p:tgtEl>
                                      </p:cBhvr>
                                    </p:animEffect>
                                    <p:set>
                                      <p:cBhvr>
                                        <p:cTn id="268" dur="1" fill="hold">
                                          <p:stCondLst>
                                            <p:cond delay="499"/>
                                          </p:stCondLst>
                                        </p:cTn>
                                        <p:tgtEl>
                                          <p:spTgt spid="153"/>
                                        </p:tgtEl>
                                        <p:attrNameLst>
                                          <p:attrName>style.visibility</p:attrName>
                                        </p:attrNameLst>
                                      </p:cBhvr>
                                      <p:to>
                                        <p:strVal val="hidden"/>
                                      </p:to>
                                    </p:set>
                                  </p:childTnLst>
                                </p:cTn>
                              </p:par>
                              <p:par>
                                <p:cTn id="269" presetID="10" presetClass="exit" presetSubtype="0" fill="hold" grpId="2" nodeType="withEffect">
                                  <p:stCondLst>
                                    <p:cond delay="5000"/>
                                  </p:stCondLst>
                                  <p:childTnLst>
                                    <p:animEffect transition="out" filter="fade">
                                      <p:cBhvr>
                                        <p:cTn id="270" dur="500"/>
                                        <p:tgtEl>
                                          <p:spTgt spid="154"/>
                                        </p:tgtEl>
                                      </p:cBhvr>
                                    </p:animEffect>
                                    <p:set>
                                      <p:cBhvr>
                                        <p:cTn id="271" dur="1" fill="hold">
                                          <p:stCondLst>
                                            <p:cond delay="499"/>
                                          </p:stCondLst>
                                        </p:cTn>
                                        <p:tgtEl>
                                          <p:spTgt spid="154"/>
                                        </p:tgtEl>
                                        <p:attrNameLst>
                                          <p:attrName>style.visibility</p:attrName>
                                        </p:attrNameLst>
                                      </p:cBhvr>
                                      <p:to>
                                        <p:strVal val="hidden"/>
                                      </p:to>
                                    </p:set>
                                  </p:childTnLst>
                                </p:cTn>
                              </p:par>
                              <p:par>
                                <p:cTn id="272" presetID="10" presetClass="entr" presetSubtype="0" fill="hold" grpId="0" nodeType="withEffect">
                                  <p:stCondLst>
                                    <p:cond delay="5000"/>
                                  </p:stCondLst>
                                  <p:childTnLst>
                                    <p:set>
                                      <p:cBhvr>
                                        <p:cTn id="273" dur="1" fill="hold">
                                          <p:stCondLst>
                                            <p:cond delay="0"/>
                                          </p:stCondLst>
                                        </p:cTn>
                                        <p:tgtEl>
                                          <p:spTgt spid="170"/>
                                        </p:tgtEl>
                                        <p:attrNameLst>
                                          <p:attrName>style.visibility</p:attrName>
                                        </p:attrNameLst>
                                      </p:cBhvr>
                                      <p:to>
                                        <p:strVal val="visible"/>
                                      </p:to>
                                    </p:set>
                                    <p:animEffect transition="in" filter="fade">
                                      <p:cBhvr>
                                        <p:cTn id="274" dur="500"/>
                                        <p:tgtEl>
                                          <p:spTgt spid="170"/>
                                        </p:tgtEl>
                                      </p:cBhvr>
                                    </p:animEffect>
                                  </p:childTnLst>
                                </p:cTn>
                              </p:par>
                              <p:par>
                                <p:cTn id="275" presetID="37" presetClass="path" presetSubtype="0" accel="50000" decel="50000" fill="hold" grpId="3" nodeType="withEffect">
                                  <p:stCondLst>
                                    <p:cond delay="5000"/>
                                  </p:stCondLst>
                                  <p:childTnLst>
                                    <p:animMotion origin="layout" path="M 1.45833E-6 -4.81481E-6 C -0.02956 0.01737 -0.06628 0.03681 -0.08568 0.04468 C -0.09649 0.00301 -0.10261 -0.02824 -0.10248 -0.028 C -0.10261 -0.02916 -0.06914 -0.02731 -0.06784 -0.02731 " pathEditMode="relative" rAng="0" ptsTypes="AAAA">
                                      <p:cBhvr>
                                        <p:cTn id="276" dur="2000" fill="hold"/>
                                        <p:tgtEl>
                                          <p:spTgt spid="170"/>
                                        </p:tgtEl>
                                        <p:attrNameLst>
                                          <p:attrName>ppt_x</p:attrName>
                                          <p:attrName>ppt_y</p:attrName>
                                        </p:attrNameLst>
                                      </p:cBhvr>
                                      <p:rCtr x="-5130" y="810"/>
                                    </p:animMotion>
                                  </p:childTnLst>
                                </p:cTn>
                              </p:par>
                              <p:par>
                                <p:cTn id="277" presetID="10" presetClass="entr" presetSubtype="0" fill="hold" grpId="0" nodeType="withEffect">
                                  <p:stCondLst>
                                    <p:cond delay="5500"/>
                                  </p:stCondLst>
                                  <p:childTnLst>
                                    <p:set>
                                      <p:cBhvr>
                                        <p:cTn id="278" dur="1" fill="hold">
                                          <p:stCondLst>
                                            <p:cond delay="0"/>
                                          </p:stCondLst>
                                        </p:cTn>
                                        <p:tgtEl>
                                          <p:spTgt spid="171"/>
                                        </p:tgtEl>
                                        <p:attrNameLst>
                                          <p:attrName>style.visibility</p:attrName>
                                        </p:attrNameLst>
                                      </p:cBhvr>
                                      <p:to>
                                        <p:strVal val="visible"/>
                                      </p:to>
                                    </p:set>
                                    <p:animEffect transition="in" filter="fade">
                                      <p:cBhvr>
                                        <p:cTn id="279" dur="500"/>
                                        <p:tgtEl>
                                          <p:spTgt spid="171"/>
                                        </p:tgtEl>
                                      </p:cBhvr>
                                    </p:animEffect>
                                  </p:childTnLst>
                                </p:cTn>
                              </p:par>
                              <p:par>
                                <p:cTn id="280" presetID="37" presetClass="path" presetSubtype="0" accel="50000" decel="50000" fill="hold" grpId="2" nodeType="withEffect">
                                  <p:stCondLst>
                                    <p:cond delay="5500"/>
                                  </p:stCondLst>
                                  <p:childTnLst>
                                    <p:animMotion origin="layout" path="M 1.45833E-6 -4.81481E-6 C -0.02956 0.01737 -0.06628 0.03681 -0.08568 0.04468 C -0.09649 0.00301 -0.10261 -0.02824 -0.10248 -0.028 C -0.10261 -0.02916 -0.06914 -0.02731 -0.06784 -0.02731 " pathEditMode="relative" rAng="0" ptsTypes="AAAA">
                                      <p:cBhvr>
                                        <p:cTn id="281" dur="2000" fill="hold"/>
                                        <p:tgtEl>
                                          <p:spTgt spid="171"/>
                                        </p:tgtEl>
                                        <p:attrNameLst>
                                          <p:attrName>ppt_x</p:attrName>
                                          <p:attrName>ppt_y</p:attrName>
                                        </p:attrNameLst>
                                      </p:cBhvr>
                                      <p:rCtr x="-5130" y="810"/>
                                    </p:animMotion>
                                  </p:childTnLst>
                                </p:cTn>
                              </p:par>
                              <p:par>
                                <p:cTn id="282" presetID="10" presetClass="entr" presetSubtype="0" fill="hold" grpId="0" nodeType="withEffect">
                                  <p:stCondLst>
                                    <p:cond delay="6000"/>
                                  </p:stCondLst>
                                  <p:childTnLst>
                                    <p:set>
                                      <p:cBhvr>
                                        <p:cTn id="283" dur="1" fill="hold">
                                          <p:stCondLst>
                                            <p:cond delay="0"/>
                                          </p:stCondLst>
                                        </p:cTn>
                                        <p:tgtEl>
                                          <p:spTgt spid="172"/>
                                        </p:tgtEl>
                                        <p:attrNameLst>
                                          <p:attrName>style.visibility</p:attrName>
                                        </p:attrNameLst>
                                      </p:cBhvr>
                                      <p:to>
                                        <p:strVal val="visible"/>
                                      </p:to>
                                    </p:set>
                                    <p:animEffect transition="in" filter="fade">
                                      <p:cBhvr>
                                        <p:cTn id="284" dur="500"/>
                                        <p:tgtEl>
                                          <p:spTgt spid="172"/>
                                        </p:tgtEl>
                                      </p:cBhvr>
                                    </p:animEffect>
                                  </p:childTnLst>
                                </p:cTn>
                              </p:par>
                              <p:par>
                                <p:cTn id="285" presetID="37" presetClass="path" presetSubtype="0" accel="50000" decel="50000" fill="hold" grpId="2" nodeType="withEffect">
                                  <p:stCondLst>
                                    <p:cond delay="6000"/>
                                  </p:stCondLst>
                                  <p:childTnLst>
                                    <p:animMotion origin="layout" path="M 1.45833E-6 -4.81481E-6 C -0.02956 0.01737 -0.06628 0.03681 -0.08568 0.04468 C -0.09649 0.00301 -0.10261 -0.02824 -0.10248 -0.028 C -0.10261 -0.02916 -0.06914 -0.02731 -0.06784 -0.02731 " pathEditMode="relative" rAng="0" ptsTypes="AAAA">
                                      <p:cBhvr>
                                        <p:cTn id="286" dur="2000" fill="hold"/>
                                        <p:tgtEl>
                                          <p:spTgt spid="172"/>
                                        </p:tgtEl>
                                        <p:attrNameLst>
                                          <p:attrName>ppt_x</p:attrName>
                                          <p:attrName>ppt_y</p:attrName>
                                        </p:attrNameLst>
                                      </p:cBhvr>
                                      <p:rCtr x="-5130" y="810"/>
                                    </p:animMotion>
                                  </p:childTnLst>
                                </p:cTn>
                              </p:par>
                              <p:par>
                                <p:cTn id="287" presetID="10" presetClass="entr" presetSubtype="0" fill="hold" grpId="0" nodeType="withEffect">
                                  <p:stCondLst>
                                    <p:cond delay="6500"/>
                                  </p:stCondLst>
                                  <p:childTnLst>
                                    <p:set>
                                      <p:cBhvr>
                                        <p:cTn id="288" dur="1" fill="hold">
                                          <p:stCondLst>
                                            <p:cond delay="0"/>
                                          </p:stCondLst>
                                        </p:cTn>
                                        <p:tgtEl>
                                          <p:spTgt spid="173"/>
                                        </p:tgtEl>
                                        <p:attrNameLst>
                                          <p:attrName>style.visibility</p:attrName>
                                        </p:attrNameLst>
                                      </p:cBhvr>
                                      <p:to>
                                        <p:strVal val="visible"/>
                                      </p:to>
                                    </p:set>
                                    <p:animEffect transition="in" filter="fade">
                                      <p:cBhvr>
                                        <p:cTn id="289" dur="500"/>
                                        <p:tgtEl>
                                          <p:spTgt spid="173"/>
                                        </p:tgtEl>
                                      </p:cBhvr>
                                    </p:animEffect>
                                  </p:childTnLst>
                                </p:cTn>
                              </p:par>
                              <p:par>
                                <p:cTn id="290" presetID="37" presetClass="path" presetSubtype="0" accel="50000" decel="50000" fill="hold" grpId="2" nodeType="withEffect">
                                  <p:stCondLst>
                                    <p:cond delay="6500"/>
                                  </p:stCondLst>
                                  <p:childTnLst>
                                    <p:animMotion origin="layout" path="M 1.45833E-6 -4.81481E-6 C -0.02956 0.01737 -0.06628 0.03681 -0.08568 0.04468 C -0.09649 0.00301 -0.10261 -0.02824 -0.10248 -0.028 C -0.10261 -0.02916 -0.06914 -0.02731 -0.06784 -0.02731 " pathEditMode="relative" rAng="0" ptsTypes="AAAA">
                                      <p:cBhvr>
                                        <p:cTn id="291" dur="2000" fill="hold"/>
                                        <p:tgtEl>
                                          <p:spTgt spid="173"/>
                                        </p:tgtEl>
                                        <p:attrNameLst>
                                          <p:attrName>ppt_x</p:attrName>
                                          <p:attrName>ppt_y</p:attrName>
                                        </p:attrNameLst>
                                      </p:cBhvr>
                                      <p:rCtr x="-5130" y="810"/>
                                    </p:animMotion>
                                  </p:childTnLst>
                                </p:cTn>
                              </p:par>
                              <p:par>
                                <p:cTn id="292" presetID="10" presetClass="exit" presetSubtype="0" fill="hold" grpId="2" nodeType="withEffect">
                                  <p:stCondLst>
                                    <p:cond delay="7250"/>
                                  </p:stCondLst>
                                  <p:childTnLst>
                                    <p:animEffect transition="out" filter="fade">
                                      <p:cBhvr>
                                        <p:cTn id="293" dur="500"/>
                                        <p:tgtEl>
                                          <p:spTgt spid="170"/>
                                        </p:tgtEl>
                                      </p:cBhvr>
                                    </p:animEffect>
                                    <p:set>
                                      <p:cBhvr>
                                        <p:cTn id="294" dur="1" fill="hold">
                                          <p:stCondLst>
                                            <p:cond delay="499"/>
                                          </p:stCondLst>
                                        </p:cTn>
                                        <p:tgtEl>
                                          <p:spTgt spid="170"/>
                                        </p:tgtEl>
                                        <p:attrNameLst>
                                          <p:attrName>style.visibility</p:attrName>
                                        </p:attrNameLst>
                                      </p:cBhvr>
                                      <p:to>
                                        <p:strVal val="hidden"/>
                                      </p:to>
                                    </p:set>
                                  </p:childTnLst>
                                </p:cTn>
                              </p:par>
                              <p:par>
                                <p:cTn id="295" presetID="10" presetClass="exit" presetSubtype="0" fill="hold" grpId="1" nodeType="withEffect">
                                  <p:stCondLst>
                                    <p:cond delay="7250"/>
                                  </p:stCondLst>
                                  <p:childTnLst>
                                    <p:animEffect transition="out" filter="fade">
                                      <p:cBhvr>
                                        <p:cTn id="296" dur="500"/>
                                        <p:tgtEl>
                                          <p:spTgt spid="171"/>
                                        </p:tgtEl>
                                      </p:cBhvr>
                                    </p:animEffect>
                                    <p:set>
                                      <p:cBhvr>
                                        <p:cTn id="297" dur="1" fill="hold">
                                          <p:stCondLst>
                                            <p:cond delay="499"/>
                                          </p:stCondLst>
                                        </p:cTn>
                                        <p:tgtEl>
                                          <p:spTgt spid="171"/>
                                        </p:tgtEl>
                                        <p:attrNameLst>
                                          <p:attrName>style.visibility</p:attrName>
                                        </p:attrNameLst>
                                      </p:cBhvr>
                                      <p:to>
                                        <p:strVal val="hidden"/>
                                      </p:to>
                                    </p:set>
                                  </p:childTnLst>
                                </p:cTn>
                              </p:par>
                              <p:par>
                                <p:cTn id="298" presetID="10" presetClass="exit" presetSubtype="0" fill="hold" grpId="1" nodeType="withEffect">
                                  <p:stCondLst>
                                    <p:cond delay="8250"/>
                                  </p:stCondLst>
                                  <p:childTnLst>
                                    <p:animEffect transition="out" filter="fade">
                                      <p:cBhvr>
                                        <p:cTn id="299" dur="500"/>
                                        <p:tgtEl>
                                          <p:spTgt spid="172"/>
                                        </p:tgtEl>
                                      </p:cBhvr>
                                    </p:animEffect>
                                    <p:set>
                                      <p:cBhvr>
                                        <p:cTn id="300" dur="1" fill="hold">
                                          <p:stCondLst>
                                            <p:cond delay="499"/>
                                          </p:stCondLst>
                                        </p:cTn>
                                        <p:tgtEl>
                                          <p:spTgt spid="172"/>
                                        </p:tgtEl>
                                        <p:attrNameLst>
                                          <p:attrName>style.visibility</p:attrName>
                                        </p:attrNameLst>
                                      </p:cBhvr>
                                      <p:to>
                                        <p:strVal val="hidden"/>
                                      </p:to>
                                    </p:set>
                                  </p:childTnLst>
                                </p:cTn>
                              </p:par>
                              <p:par>
                                <p:cTn id="301" presetID="10" presetClass="exit" presetSubtype="0" fill="hold" grpId="1" nodeType="withEffect">
                                  <p:stCondLst>
                                    <p:cond delay="8250"/>
                                  </p:stCondLst>
                                  <p:childTnLst>
                                    <p:animEffect transition="out" filter="fade">
                                      <p:cBhvr>
                                        <p:cTn id="302" dur="500"/>
                                        <p:tgtEl>
                                          <p:spTgt spid="173"/>
                                        </p:tgtEl>
                                      </p:cBhvr>
                                    </p:animEffect>
                                    <p:set>
                                      <p:cBhvr>
                                        <p:cTn id="303" dur="1" fill="hold">
                                          <p:stCondLst>
                                            <p:cond delay="499"/>
                                          </p:stCondLst>
                                        </p:cTn>
                                        <p:tgtEl>
                                          <p:spTgt spid="173"/>
                                        </p:tgtEl>
                                        <p:attrNameLst>
                                          <p:attrName>style.visibility</p:attrName>
                                        </p:attrNameLst>
                                      </p:cBhvr>
                                      <p:to>
                                        <p:strVal val="hidden"/>
                                      </p:to>
                                    </p:set>
                                  </p:childTnLst>
                                </p:cTn>
                              </p:par>
                            </p:childTnLst>
                          </p:cTn>
                        </p:par>
                      </p:childTnLst>
                    </p:cTn>
                  </p:par>
                  <p:par>
                    <p:cTn id="304" fill="hold">
                      <p:stCondLst>
                        <p:cond delay="indefinite"/>
                      </p:stCondLst>
                      <p:childTnLst>
                        <p:par>
                          <p:cTn id="305" fill="hold">
                            <p:stCondLst>
                              <p:cond delay="0"/>
                            </p:stCondLst>
                            <p:childTnLst>
                              <p:par>
                                <p:cTn id="306" presetID="10" presetClass="exit" presetSubtype="0" fill="hold" grpId="1" nodeType="clickEffect">
                                  <p:stCondLst>
                                    <p:cond delay="0"/>
                                  </p:stCondLst>
                                  <p:childTnLst>
                                    <p:animEffect transition="out" filter="fade">
                                      <p:cBhvr>
                                        <p:cTn id="307" dur="500"/>
                                        <p:tgtEl>
                                          <p:spTgt spid="105"/>
                                        </p:tgtEl>
                                      </p:cBhvr>
                                    </p:animEffect>
                                    <p:set>
                                      <p:cBhvr>
                                        <p:cTn id="308" dur="1" fill="hold">
                                          <p:stCondLst>
                                            <p:cond delay="499"/>
                                          </p:stCondLst>
                                        </p:cTn>
                                        <p:tgtEl>
                                          <p:spTgt spid="105"/>
                                        </p:tgtEl>
                                        <p:attrNameLst>
                                          <p:attrName>style.visibility</p:attrName>
                                        </p:attrNameLst>
                                      </p:cBhvr>
                                      <p:to>
                                        <p:strVal val="hidden"/>
                                      </p:to>
                                    </p:set>
                                  </p:childTnLst>
                                </p:cTn>
                              </p:par>
                            </p:childTnLst>
                          </p:cTn>
                        </p:par>
                        <p:par>
                          <p:cTn id="309" fill="hold">
                            <p:stCondLst>
                              <p:cond delay="500"/>
                            </p:stCondLst>
                            <p:childTnLst>
                              <p:par>
                                <p:cTn id="310" presetID="10" presetClass="entr" presetSubtype="0" fill="hold" grpId="0" nodeType="afterEffect">
                                  <p:stCondLst>
                                    <p:cond delay="0"/>
                                  </p:stCondLst>
                                  <p:childTnLst>
                                    <p:set>
                                      <p:cBhvr>
                                        <p:cTn id="311" dur="1" fill="hold">
                                          <p:stCondLst>
                                            <p:cond delay="0"/>
                                          </p:stCondLst>
                                        </p:cTn>
                                        <p:tgtEl>
                                          <p:spTgt spid="106"/>
                                        </p:tgtEl>
                                        <p:attrNameLst>
                                          <p:attrName>style.visibility</p:attrName>
                                        </p:attrNameLst>
                                      </p:cBhvr>
                                      <p:to>
                                        <p:strVal val="visible"/>
                                      </p:to>
                                    </p:set>
                                    <p:animEffect transition="in" filter="fade">
                                      <p:cBhvr>
                                        <p:cTn id="312" dur="500"/>
                                        <p:tgtEl>
                                          <p:spTgt spid="106"/>
                                        </p:tgtEl>
                                      </p:cBhvr>
                                    </p:animEffect>
                                  </p:childTnLst>
                                </p:cTn>
                              </p:par>
                            </p:childTnLst>
                          </p:cTn>
                        </p:par>
                      </p:childTnLst>
                    </p:cTn>
                  </p:par>
                  <p:par>
                    <p:cTn id="313" fill="hold">
                      <p:stCondLst>
                        <p:cond delay="indefinite"/>
                      </p:stCondLst>
                      <p:childTnLst>
                        <p:par>
                          <p:cTn id="314" fill="hold">
                            <p:stCondLst>
                              <p:cond delay="0"/>
                            </p:stCondLst>
                            <p:childTnLst>
                              <p:par>
                                <p:cTn id="315" presetID="10" presetClass="exit" presetSubtype="0" fill="hold" grpId="1" nodeType="clickEffect">
                                  <p:stCondLst>
                                    <p:cond delay="0"/>
                                  </p:stCondLst>
                                  <p:childTnLst>
                                    <p:animEffect transition="out" filter="fade">
                                      <p:cBhvr>
                                        <p:cTn id="316" dur="500"/>
                                        <p:tgtEl>
                                          <p:spTgt spid="106"/>
                                        </p:tgtEl>
                                      </p:cBhvr>
                                    </p:animEffect>
                                    <p:set>
                                      <p:cBhvr>
                                        <p:cTn id="317" dur="1" fill="hold">
                                          <p:stCondLst>
                                            <p:cond delay="499"/>
                                          </p:stCondLst>
                                        </p:cTn>
                                        <p:tgtEl>
                                          <p:spTgt spid="106"/>
                                        </p:tgtEl>
                                        <p:attrNameLst>
                                          <p:attrName>style.visibility</p:attrName>
                                        </p:attrNameLst>
                                      </p:cBhvr>
                                      <p:to>
                                        <p:strVal val="hidden"/>
                                      </p:to>
                                    </p:set>
                                  </p:childTnLst>
                                </p:cTn>
                              </p:par>
                            </p:childTnLst>
                          </p:cTn>
                        </p:par>
                        <p:par>
                          <p:cTn id="318" fill="hold">
                            <p:stCondLst>
                              <p:cond delay="500"/>
                            </p:stCondLst>
                            <p:childTnLst>
                              <p:par>
                                <p:cTn id="319" presetID="10" presetClass="entr" presetSubtype="0" fill="hold" grpId="0" nodeType="afterEffect">
                                  <p:stCondLst>
                                    <p:cond delay="0"/>
                                  </p:stCondLst>
                                  <p:childTnLst>
                                    <p:set>
                                      <p:cBhvr>
                                        <p:cTn id="320" dur="1" fill="hold">
                                          <p:stCondLst>
                                            <p:cond delay="0"/>
                                          </p:stCondLst>
                                        </p:cTn>
                                        <p:tgtEl>
                                          <p:spTgt spid="107"/>
                                        </p:tgtEl>
                                        <p:attrNameLst>
                                          <p:attrName>style.visibility</p:attrName>
                                        </p:attrNameLst>
                                      </p:cBhvr>
                                      <p:to>
                                        <p:strVal val="visible"/>
                                      </p:to>
                                    </p:set>
                                    <p:animEffect transition="in" filter="fade">
                                      <p:cBhvr>
                                        <p:cTn id="321" dur="500"/>
                                        <p:tgtEl>
                                          <p:spTgt spid="107"/>
                                        </p:tgtEl>
                                      </p:cBhvr>
                                    </p:animEffect>
                                  </p:childTnLst>
                                </p:cTn>
                              </p:par>
                            </p:childTnLst>
                          </p:cTn>
                        </p:par>
                      </p:childTnLst>
                    </p:cTn>
                  </p:par>
                  <p:par>
                    <p:cTn id="322" fill="hold">
                      <p:stCondLst>
                        <p:cond delay="indefinite"/>
                      </p:stCondLst>
                      <p:childTnLst>
                        <p:par>
                          <p:cTn id="323" fill="hold">
                            <p:stCondLst>
                              <p:cond delay="0"/>
                            </p:stCondLst>
                            <p:childTnLst>
                              <p:par>
                                <p:cTn id="324" presetID="22" presetClass="entr" presetSubtype="2" fill="hold" grpId="2" nodeType="clickEffect">
                                  <p:stCondLst>
                                    <p:cond delay="0"/>
                                  </p:stCondLst>
                                  <p:childTnLst>
                                    <p:set>
                                      <p:cBhvr>
                                        <p:cTn id="325" dur="1" fill="hold">
                                          <p:stCondLst>
                                            <p:cond delay="0"/>
                                          </p:stCondLst>
                                        </p:cTn>
                                        <p:tgtEl>
                                          <p:spTgt spid="21"/>
                                        </p:tgtEl>
                                        <p:attrNameLst>
                                          <p:attrName>style.visibility</p:attrName>
                                        </p:attrNameLst>
                                      </p:cBhvr>
                                      <p:to>
                                        <p:strVal val="visible"/>
                                      </p:to>
                                    </p:set>
                                    <p:animEffect transition="in" filter="wipe(right)">
                                      <p:cBhvr>
                                        <p:cTn id="32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05" grpId="0"/>
      <p:bldP spid="105" grpId="1"/>
      <p:bldP spid="106" grpId="0"/>
      <p:bldP spid="106" grpId="1"/>
      <p:bldP spid="107" grpId="0"/>
      <p:bldP spid="21" grpId="0" animBg="1"/>
      <p:bldP spid="21" grpId="1" animBg="1"/>
      <p:bldP spid="21" grpId="2" animBg="1"/>
      <p:bldP spid="2" grpId="0" animBg="1"/>
      <p:bldP spid="3" grpId="0" animBg="1"/>
      <p:bldP spid="4" grpId="0" animBg="1"/>
      <p:bldP spid="5" grpId="0" animBg="1"/>
      <p:bldP spid="6" grpId="0" animBg="1"/>
      <p:bldP spid="24" grpId="0" animBg="1"/>
      <p:bldP spid="24" grpId="1" animBg="1"/>
      <p:bldP spid="24" grpId="2" animBg="1"/>
      <p:bldP spid="109" grpId="0" animBg="1"/>
      <p:bldP spid="109" grpId="1" animBg="1"/>
      <p:bldP spid="109" grpId="2" animBg="1"/>
      <p:bldP spid="118" grpId="0" animBg="1"/>
      <p:bldP spid="118" grpId="1" animBg="1"/>
      <p:bldP spid="118" grpId="2" animBg="1"/>
      <p:bldP spid="119" grpId="0" animBg="1"/>
      <p:bldP spid="119" grpId="1" animBg="1"/>
      <p:bldP spid="119" grpId="2" animBg="1"/>
      <p:bldP spid="120" grpId="0" animBg="1"/>
      <p:bldP spid="120" grpId="1" animBg="1"/>
      <p:bldP spid="120" grpId="2" animBg="1"/>
      <p:bldP spid="120" grpId="3" animBg="1"/>
      <p:bldP spid="120" grpId="4" animBg="1"/>
      <p:bldP spid="120" grpId="5" animBg="1"/>
      <p:bldP spid="125" grpId="0" animBg="1"/>
      <p:bldP spid="125" grpId="1" animBg="1"/>
      <p:bldP spid="125" grpId="2" animBg="1"/>
      <p:bldP spid="125" grpId="3" animBg="1"/>
      <p:bldP spid="125" grpId="4" animBg="1"/>
      <p:bldP spid="125" grpId="5" animBg="1"/>
      <p:bldP spid="126" grpId="0" animBg="1"/>
      <p:bldP spid="126" grpId="1" animBg="1"/>
      <p:bldP spid="126" grpId="2" animBg="1"/>
      <p:bldP spid="126" grpId="3" animBg="1"/>
      <p:bldP spid="126" grpId="4" animBg="1"/>
      <p:bldP spid="126" grpId="5" animBg="1"/>
      <p:bldP spid="128" grpId="0" animBg="1"/>
      <p:bldP spid="128" grpId="1" animBg="1"/>
      <p:bldP spid="128" grpId="2" animBg="1"/>
      <p:bldP spid="128" grpId="3" animBg="1"/>
      <p:bldP spid="128" grpId="4" animBg="1"/>
      <p:bldP spid="128" grpId="5" animBg="1"/>
      <p:bldP spid="131" grpId="0" animBg="1"/>
      <p:bldP spid="131" grpId="1" animBg="1"/>
      <p:bldP spid="131" grpId="2" animBg="1"/>
      <p:bldP spid="132" grpId="0" animBg="1"/>
      <p:bldP spid="132" grpId="1" animBg="1"/>
      <p:bldP spid="132" grpId="2" animBg="1"/>
      <p:bldP spid="133" grpId="0" animBg="1"/>
      <p:bldP spid="133" grpId="1" animBg="1"/>
      <p:bldP spid="133" grpId="2" animBg="1"/>
      <p:bldP spid="135" grpId="0" animBg="1"/>
      <p:bldP spid="135" grpId="1" animBg="1"/>
      <p:bldP spid="135" grpId="2" animBg="1"/>
      <p:bldP spid="142" grpId="0" animBg="1"/>
      <p:bldP spid="151" grpId="0" animBg="1"/>
      <p:bldP spid="151" grpId="1" animBg="1"/>
      <p:bldP spid="151" grpId="2" animBg="1"/>
      <p:bldP spid="152" grpId="0" animBg="1"/>
      <p:bldP spid="152" grpId="1" animBg="1"/>
      <p:bldP spid="152" grpId="2" animBg="1"/>
      <p:bldP spid="153" grpId="0" animBg="1"/>
      <p:bldP spid="153" grpId="1" animBg="1"/>
      <p:bldP spid="153" grpId="2" animBg="1"/>
      <p:bldP spid="154" grpId="0" animBg="1"/>
      <p:bldP spid="154" grpId="1" animBg="1"/>
      <p:bldP spid="154" grpId="2" animBg="1"/>
      <p:bldP spid="23" grpId="0"/>
      <p:bldP spid="170" grpId="0" animBg="1"/>
      <p:bldP spid="170" grpId="2" animBg="1"/>
      <p:bldP spid="170" grpId="3" animBg="1"/>
      <p:bldP spid="171" grpId="0" animBg="1"/>
      <p:bldP spid="171" grpId="1" animBg="1"/>
      <p:bldP spid="171" grpId="2" animBg="1"/>
      <p:bldP spid="172" grpId="0" animBg="1"/>
      <p:bldP spid="172" grpId="1" animBg="1"/>
      <p:bldP spid="172" grpId="2" animBg="1"/>
      <p:bldP spid="173" grpId="0" animBg="1"/>
      <p:bldP spid="173" grpId="1" animBg="1"/>
      <p:bldP spid="173" grpId="2"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 y="487"/>
            <a:ext cx="3599078" cy="685703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191919"/>
                  </a:gs>
                  <a:gs pos="57000">
                    <a:srgbClr val="191919"/>
                  </a:gs>
                </a:gsLst>
                <a:lin ang="5400000" scaled="0"/>
              </a:gradFill>
            </a:endParaRPr>
          </a:p>
        </p:txBody>
      </p:sp>
      <p:sp>
        <p:nvSpPr>
          <p:cNvPr id="14" name="Rectangle 13"/>
          <p:cNvSpPr/>
          <p:nvPr/>
        </p:nvSpPr>
        <p:spPr bwMode="auto">
          <a:xfrm>
            <a:off x="180157" y="487"/>
            <a:ext cx="12011844" cy="99466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indent="-169599" defTabSz="897084" fontAlgn="base">
              <a:lnSpc>
                <a:spcPct val="90000"/>
              </a:lnSpc>
              <a:spcBef>
                <a:spcPct val="0"/>
              </a:spcBef>
              <a:spcAft>
                <a:spcPct val="0"/>
              </a:spcAft>
            </a:pPr>
            <a:r>
              <a:rPr lang="en-US" sz="1961" spc="-29" dirty="0">
                <a:gradFill>
                  <a:gsLst>
                    <a:gs pos="60177">
                      <a:srgbClr val="0072C6"/>
                    </a:gs>
                    <a:gs pos="36283">
                      <a:srgbClr val="0072C6"/>
                    </a:gs>
                  </a:gsLst>
                  <a:lin ang="5400000" scaled="0"/>
                </a:gradFill>
              </a:rPr>
              <a:t>Experience 4B </a:t>
            </a:r>
            <a:endParaRPr lang="en-US" sz="1961" spc="-29" dirty="0" smtClean="0">
              <a:gradFill>
                <a:gsLst>
                  <a:gs pos="60177">
                    <a:srgbClr val="0072C6"/>
                  </a:gs>
                  <a:gs pos="36283">
                    <a:srgbClr val="0072C6"/>
                  </a:gs>
                </a:gsLst>
                <a:lin ang="5400000" scaled="0"/>
              </a:gradFill>
            </a:endParaRPr>
          </a:p>
          <a:p>
            <a:pPr indent="-169599" defTabSz="897084" fontAlgn="base">
              <a:lnSpc>
                <a:spcPct val="90000"/>
              </a:lnSpc>
              <a:spcBef>
                <a:spcPct val="0"/>
              </a:spcBef>
              <a:spcAft>
                <a:spcPct val="0"/>
              </a:spcAft>
            </a:pPr>
            <a:r>
              <a:rPr lang="en-US" sz="3529" spc="-49" dirty="0" smtClean="0">
                <a:gradFill>
                  <a:gsLst>
                    <a:gs pos="93805">
                      <a:srgbClr val="191919"/>
                    </a:gs>
                    <a:gs pos="84071">
                      <a:srgbClr val="191919"/>
                    </a:gs>
                  </a:gsLst>
                  <a:lin ang="5400000" scaled="0"/>
                </a:gradFill>
                <a:latin typeface="Segoe UI Light"/>
              </a:rPr>
              <a:t>Data Protection</a:t>
            </a:r>
          </a:p>
        </p:txBody>
      </p:sp>
      <p:sp>
        <p:nvSpPr>
          <p:cNvPr id="20" name="Rectangle 19"/>
          <p:cNvSpPr/>
          <p:nvPr/>
        </p:nvSpPr>
        <p:spPr bwMode="auto">
          <a:xfrm>
            <a:off x="312163" y="1652661"/>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A. High availability and </a:t>
            </a:r>
            <a:br>
              <a:rPr lang="en-US" sz="1372" b="1" kern="0" dirty="0">
                <a:gradFill>
                  <a:gsLst>
                    <a:gs pos="83178">
                      <a:srgbClr val="505050"/>
                    </a:gs>
                    <a:gs pos="45000">
                      <a:srgbClr val="505050"/>
                    </a:gs>
                  </a:gsLst>
                  <a:lin ang="5400000" scaled="0"/>
                </a:gradFill>
                <a:latin typeface="Calibri" panose="020F0502020204030204"/>
              </a:rPr>
            </a:br>
            <a:r>
              <a:rPr lang="en-US" sz="1372" b="1" kern="0" dirty="0">
                <a:gradFill>
                  <a:gsLst>
                    <a:gs pos="83178">
                      <a:srgbClr val="505050"/>
                    </a:gs>
                    <a:gs pos="45000">
                      <a:srgbClr val="505050"/>
                    </a:gs>
                  </a:gsLst>
                  <a:lin ang="5400000" scaled="0"/>
                </a:gradFill>
                <a:latin typeface="Calibri" panose="020F0502020204030204"/>
              </a:rPr>
              <a:t>disaster recovery</a:t>
            </a:r>
            <a:endParaRPr lang="en-US" sz="588" b="1" kern="0" dirty="0">
              <a:gradFill>
                <a:gsLst>
                  <a:gs pos="83178">
                    <a:srgbClr val="505050"/>
                  </a:gs>
                  <a:gs pos="45000">
                    <a:srgbClr val="505050"/>
                  </a:gs>
                </a:gsLst>
                <a:lin ang="5400000" scaled="0"/>
              </a:gradFill>
              <a:latin typeface="Calibri" panose="020F0502020204030204"/>
            </a:endParaRP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Ensure continuously available resources and applications</a:t>
            </a:r>
          </a:p>
        </p:txBody>
      </p:sp>
      <p:sp>
        <p:nvSpPr>
          <p:cNvPr id="21" name="Rectangle 20"/>
          <p:cNvSpPr/>
          <p:nvPr/>
        </p:nvSpPr>
        <p:spPr bwMode="auto">
          <a:xfrm>
            <a:off x="312163" y="3238643"/>
            <a:ext cx="2689274" cy="1344637"/>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79253" tIns="143402" rIns="179253" bIns="143402" numCol="1" rtlCol="0" anchor="t" anchorCtr="0" compatLnSpc="1">
            <a:prstTxWarp prst="textNoShape">
              <a:avLst/>
            </a:prstTxWarp>
            <a:noAutofit/>
          </a:bodyPr>
          <a:lstStyle/>
          <a:p>
            <a:pPr defTabSz="877449" fontAlgn="base">
              <a:lnSpc>
                <a:spcPct val="90000"/>
              </a:lnSpc>
              <a:spcBef>
                <a:spcPct val="0"/>
              </a:spcBef>
              <a:spcAft>
                <a:spcPct val="0"/>
              </a:spcAft>
              <a:defRPr/>
            </a:pPr>
            <a:r>
              <a:rPr lang="en-US" sz="1372" b="1" kern="0" dirty="0">
                <a:gradFill>
                  <a:gsLst>
                    <a:gs pos="83178">
                      <a:srgbClr val="505050"/>
                    </a:gs>
                    <a:gs pos="45000">
                      <a:srgbClr val="505050"/>
                    </a:gs>
                  </a:gsLst>
                  <a:lin ang="5400000" scaled="0"/>
                </a:gradFill>
                <a:latin typeface="Calibri" panose="020F0502020204030204"/>
              </a:rPr>
              <a:t>B. Bottomless storage</a:t>
            </a:r>
          </a:p>
          <a:p>
            <a:pPr defTabSz="877449" fontAlgn="base">
              <a:lnSpc>
                <a:spcPct val="90000"/>
              </a:lnSpc>
              <a:spcBef>
                <a:spcPct val="0"/>
              </a:spcBef>
              <a:spcAft>
                <a:spcPct val="0"/>
              </a:spcAft>
              <a:defRPr/>
            </a:pPr>
            <a:r>
              <a:rPr lang="en-US" sz="1175" kern="0" dirty="0">
                <a:gradFill>
                  <a:gsLst>
                    <a:gs pos="83178">
                      <a:srgbClr val="505050"/>
                    </a:gs>
                    <a:gs pos="45000">
                      <a:srgbClr val="505050"/>
                    </a:gs>
                  </a:gsLst>
                  <a:lin ang="5400000" scaled="0"/>
                </a:gradFill>
                <a:latin typeface="Calibri" panose="020F0502020204030204"/>
              </a:rPr>
              <a:t>Ensure data accessibility regardless </a:t>
            </a:r>
            <a:br>
              <a:rPr lang="en-US" sz="1175" kern="0" dirty="0">
                <a:gradFill>
                  <a:gsLst>
                    <a:gs pos="83178">
                      <a:srgbClr val="505050"/>
                    </a:gs>
                    <a:gs pos="45000">
                      <a:srgbClr val="505050"/>
                    </a:gs>
                  </a:gsLst>
                  <a:lin ang="5400000" scaled="0"/>
                </a:gradFill>
                <a:latin typeface="Calibri" panose="020F0502020204030204"/>
              </a:rPr>
            </a:br>
            <a:r>
              <a:rPr lang="en-US" sz="1175" kern="0" dirty="0">
                <a:gradFill>
                  <a:gsLst>
                    <a:gs pos="83178">
                      <a:srgbClr val="505050"/>
                    </a:gs>
                    <a:gs pos="45000">
                      <a:srgbClr val="505050"/>
                    </a:gs>
                  </a:gsLst>
                  <a:lin ang="5400000" scaled="0"/>
                </a:gradFill>
                <a:latin typeface="Calibri" panose="020F0502020204030204"/>
              </a:rPr>
              <a:t>of failure</a:t>
            </a:r>
          </a:p>
        </p:txBody>
      </p:sp>
      <p:sp>
        <p:nvSpPr>
          <p:cNvPr id="22" name="TextBox 21"/>
          <p:cNvSpPr txBox="1"/>
          <p:nvPr/>
        </p:nvSpPr>
        <p:spPr>
          <a:xfrm>
            <a:off x="3911241" y="1233101"/>
            <a:ext cx="8263527" cy="3901235"/>
          </a:xfrm>
          <a:prstGeom prst="rect">
            <a:avLst/>
          </a:prstGeom>
          <a:noFill/>
        </p:spPr>
        <p:txBody>
          <a:bodyPr wrap="square" lIns="179253" tIns="143402" rIns="179253" bIns="143402" rtlCol="0">
            <a:spAutoFit/>
          </a:bodyPr>
          <a:lstStyle/>
          <a:p>
            <a:pPr defTabSz="914367">
              <a:lnSpc>
                <a:spcPct val="90000"/>
              </a:lnSpc>
              <a:spcAft>
                <a:spcPts val="588"/>
              </a:spcAft>
            </a:pPr>
            <a:r>
              <a:rPr lang="en-US" sz="3529" dirty="0">
                <a:gradFill>
                  <a:gsLst>
                    <a:gs pos="60177">
                      <a:srgbClr val="0072C6"/>
                    </a:gs>
                    <a:gs pos="36283">
                      <a:srgbClr val="0072C6"/>
                    </a:gs>
                  </a:gsLst>
                </a:gradFill>
                <a:latin typeface="Segoe UI Light"/>
              </a:rPr>
              <a:t>E4B Scenarios: </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Creating volumes</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Data protection policies and cloud </a:t>
            </a:r>
            <a:r>
              <a:rPr lang="en-US" sz="2745" dirty="0" smtClean="0">
                <a:gradFill>
                  <a:gsLst>
                    <a:gs pos="2917">
                      <a:srgbClr val="505050"/>
                    </a:gs>
                    <a:gs pos="30000">
                      <a:srgbClr val="505050"/>
                    </a:gs>
                  </a:gsLst>
                  <a:lin ang="5400000" scaled="0"/>
                </a:gradFill>
                <a:latin typeface="Segoe UI Light"/>
              </a:rPr>
              <a:t>snapshot</a:t>
            </a:r>
            <a:endParaRPr lang="en-US" sz="2745" dirty="0">
              <a:gradFill>
                <a:gsLst>
                  <a:gs pos="2917">
                    <a:srgbClr val="505050"/>
                  </a:gs>
                  <a:gs pos="30000">
                    <a:srgbClr val="505050"/>
                  </a:gs>
                </a:gsLst>
                <a:lin ang="5400000" scaled="0"/>
              </a:gradFill>
              <a:latin typeface="Segoe UI Light"/>
            </a:endParaRP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Data Recovery</a:t>
            </a:r>
          </a:p>
          <a:p>
            <a:pPr marL="331477" indent="-331477" defTabSz="914367">
              <a:lnSpc>
                <a:spcPct val="90000"/>
              </a:lnSpc>
              <a:spcAft>
                <a:spcPts val="588"/>
              </a:spcAft>
              <a:buFont typeface="+mj-lt"/>
              <a:buAutoNum type="arabicPeriod"/>
            </a:pPr>
            <a:r>
              <a:rPr lang="en-US" sz="2745" dirty="0">
                <a:gradFill>
                  <a:gsLst>
                    <a:gs pos="2917">
                      <a:srgbClr val="505050"/>
                    </a:gs>
                    <a:gs pos="30000">
                      <a:srgbClr val="505050"/>
                    </a:gs>
                  </a:gsLst>
                  <a:lin ang="5400000" scaled="0"/>
                </a:gradFill>
                <a:latin typeface="Segoe UI Light"/>
              </a:rPr>
              <a:t>Disaster </a:t>
            </a:r>
            <a:r>
              <a:rPr lang="en-US" sz="2745" dirty="0" smtClean="0">
                <a:gradFill>
                  <a:gsLst>
                    <a:gs pos="2917">
                      <a:srgbClr val="505050"/>
                    </a:gs>
                    <a:gs pos="30000">
                      <a:srgbClr val="505050"/>
                    </a:gs>
                  </a:gsLst>
                  <a:lin ang="5400000" scaled="0"/>
                </a:gradFill>
                <a:latin typeface="Segoe UI Light"/>
              </a:rPr>
              <a:t>Recovery</a:t>
            </a:r>
          </a:p>
          <a:p>
            <a:pPr marL="331477" indent="-331477" defTabSz="914367">
              <a:lnSpc>
                <a:spcPct val="90000"/>
              </a:lnSpc>
              <a:spcAft>
                <a:spcPts val="588"/>
              </a:spcAft>
              <a:buFont typeface="+mj-lt"/>
              <a:buAutoNum type="arabicPeriod"/>
            </a:pPr>
            <a:r>
              <a:rPr lang="en-US" sz="2745" dirty="0" err="1" smtClean="0">
                <a:gradFill>
                  <a:gsLst>
                    <a:gs pos="2917">
                      <a:srgbClr val="505050"/>
                    </a:gs>
                    <a:gs pos="30000">
                      <a:srgbClr val="505050"/>
                    </a:gs>
                  </a:gsLst>
                  <a:lin ang="5400000" scaled="0"/>
                </a:gradFill>
                <a:latin typeface="Segoe UI Light"/>
              </a:rPr>
              <a:t>StorSimple</a:t>
            </a:r>
            <a:r>
              <a:rPr lang="en-US" sz="2745" dirty="0" smtClean="0">
                <a:gradFill>
                  <a:gsLst>
                    <a:gs pos="2917">
                      <a:srgbClr val="505050"/>
                    </a:gs>
                    <a:gs pos="30000">
                      <a:srgbClr val="505050"/>
                    </a:gs>
                  </a:gsLst>
                  <a:lin ang="5400000" scaled="0"/>
                </a:gradFill>
                <a:latin typeface="Segoe UI Light"/>
              </a:rPr>
              <a:t> Manager Service in Azure Management Console</a:t>
            </a:r>
          </a:p>
          <a:p>
            <a:pPr marL="331477" indent="-331477" defTabSz="914367">
              <a:lnSpc>
                <a:spcPct val="90000"/>
              </a:lnSpc>
              <a:spcAft>
                <a:spcPts val="588"/>
              </a:spcAft>
              <a:buFont typeface="+mj-lt"/>
              <a:buAutoNum type="arabicPeriod"/>
            </a:pPr>
            <a:r>
              <a:rPr lang="en-US" sz="2745" dirty="0" smtClean="0">
                <a:gradFill>
                  <a:gsLst>
                    <a:gs pos="2917">
                      <a:srgbClr val="505050"/>
                    </a:gs>
                    <a:gs pos="30000">
                      <a:srgbClr val="505050"/>
                    </a:gs>
                  </a:gsLst>
                  <a:lin ang="5400000" scaled="0"/>
                </a:gradFill>
                <a:latin typeface="Segoe UI Light"/>
              </a:rPr>
              <a:t>Simplified data management</a:t>
            </a:r>
            <a:endParaRPr lang="en-US" sz="2745" dirty="0">
              <a:gradFill>
                <a:gsLst>
                  <a:gs pos="2917">
                    <a:srgbClr val="505050"/>
                  </a:gs>
                  <a:gs pos="30000">
                    <a:srgbClr val="505050"/>
                  </a:gs>
                </a:gsLst>
                <a:lin ang="5400000" scaled="0"/>
              </a:gradFill>
              <a:latin typeface="Segoe UI Light"/>
            </a:endParaRPr>
          </a:p>
        </p:txBody>
      </p:sp>
      <p:sp>
        <p:nvSpPr>
          <p:cNvPr id="23" name="TextBox 22"/>
          <p:cNvSpPr txBox="1"/>
          <p:nvPr/>
        </p:nvSpPr>
        <p:spPr>
          <a:xfrm>
            <a:off x="0" y="5151015"/>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24779">
                      <a:srgbClr val="FFFFFF"/>
                    </a:gs>
                    <a:gs pos="45000">
                      <a:srgbClr val="FFFFFF"/>
                    </a:gs>
                  </a:gsLst>
                  <a:lin ang="5400000" scaled="0"/>
                </a:gradFill>
                <a:latin typeface="Segoe UI Light"/>
              </a:rPr>
              <a:t>30 minutes to complete this story—do not proceed to the next story</a:t>
            </a:r>
          </a:p>
        </p:txBody>
      </p:sp>
      <p:sp>
        <p:nvSpPr>
          <p:cNvPr id="24" name="TextBox 23"/>
          <p:cNvSpPr txBox="1"/>
          <p:nvPr/>
        </p:nvSpPr>
        <p:spPr>
          <a:xfrm>
            <a:off x="0" y="5922550"/>
            <a:ext cx="12192000" cy="669832"/>
          </a:xfrm>
          <a:prstGeom prst="rect">
            <a:avLst/>
          </a:prstGeom>
          <a:solidFill>
            <a:schemeClr val="accent5"/>
          </a:solidFill>
        </p:spPr>
        <p:txBody>
          <a:bodyPr wrap="square" lIns="179253" tIns="143402" rIns="179253" bIns="143402" rtlCol="0">
            <a:spAutoFit/>
          </a:bodyPr>
          <a:lstStyle/>
          <a:p>
            <a:pPr algn="ctr" defTabSz="914367">
              <a:lnSpc>
                <a:spcPct val="90000"/>
              </a:lnSpc>
              <a:spcAft>
                <a:spcPts val="588"/>
              </a:spcAft>
            </a:pPr>
            <a:r>
              <a:rPr lang="en-US" sz="2745" dirty="0">
                <a:gradFill>
                  <a:gsLst>
                    <a:gs pos="24779">
                      <a:srgbClr val="FFFFFF"/>
                    </a:gs>
                    <a:gs pos="45000">
                      <a:srgbClr val="FFFFFF"/>
                    </a:gs>
                  </a:gsLst>
                  <a:lin ang="5400000" scaled="0"/>
                </a:gradFill>
                <a:latin typeface="Segoe UI Light"/>
              </a:rPr>
              <a:t>Q &amp; A @ 30 minutes</a:t>
            </a:r>
          </a:p>
        </p:txBody>
      </p:sp>
      <p:sp>
        <p:nvSpPr>
          <p:cNvPr id="25" name="Rectangle 24"/>
          <p:cNvSpPr/>
          <p:nvPr/>
        </p:nvSpPr>
        <p:spPr bwMode="auto">
          <a:xfrm>
            <a:off x="1" y="487"/>
            <a:ext cx="986067" cy="6857027"/>
          </a:xfrm>
          <a:prstGeom prst="rect">
            <a:avLst/>
          </a:prstGeom>
          <a:solidFill>
            <a:schemeClr val="tx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3" tIns="143402" rIns="179253" bIns="143402" numCol="1" rtlCol="0" anchor="t" anchorCtr="0" compatLnSpc="1">
            <a:prstTxWarp prst="textNoShape">
              <a:avLst/>
            </a:prstTxWarp>
          </a:bodyPr>
          <a:lstStyle/>
          <a:p>
            <a:pPr algn="ctr" defTabSz="913942" fontAlgn="base">
              <a:lnSpc>
                <a:spcPct val="90000"/>
              </a:lnSpc>
              <a:spcBef>
                <a:spcPct val="0"/>
              </a:spcBef>
              <a:spcAft>
                <a:spcPct val="0"/>
              </a:spcAft>
            </a:pPr>
            <a:endParaRPr lang="en-US" sz="1961" dirty="0">
              <a:gradFill>
                <a:gsLst>
                  <a:gs pos="84071">
                    <a:srgbClr val="00BCF2"/>
                  </a:gs>
                  <a:gs pos="57000">
                    <a:srgbClr val="00BCF2"/>
                  </a:gs>
                </a:gsLst>
                <a:lin ang="5400000" scaled="0"/>
              </a:gradFill>
            </a:endParaRPr>
          </a:p>
        </p:txBody>
      </p:sp>
      <p:sp>
        <p:nvSpPr>
          <p:cNvPr id="26" name="Rectangle 25"/>
          <p:cNvSpPr/>
          <p:nvPr/>
        </p:nvSpPr>
        <p:spPr bwMode="auto">
          <a:xfrm>
            <a:off x="1" y="4997289"/>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Cloud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and </a:t>
            </a: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center Infrastructure</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7" name="Rectangle 26"/>
          <p:cNvSpPr/>
          <p:nvPr/>
        </p:nvSpPr>
        <p:spPr bwMode="auto">
          <a:xfrm>
            <a:off x="1" y="3430570"/>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rPr>
              <a:t>Service Delivery</a:t>
            </a:r>
            <a:endParaRPr lang="en-US" sz="1568" spc="-20" dirty="0">
              <a:gradFill>
                <a:gsLst>
                  <a:gs pos="61947">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
        <p:nvSpPr>
          <p:cNvPr id="28" name="Rectangle 27"/>
          <p:cNvSpPr/>
          <p:nvPr/>
        </p:nvSpPr>
        <p:spPr bwMode="auto">
          <a:xfrm>
            <a:off x="1" y="1863852"/>
            <a:ext cx="986067" cy="1523922"/>
          </a:xfrm>
          <a:prstGeom prst="rect">
            <a:avLst/>
          </a:prstGeom>
          <a:solidFill>
            <a:srgbClr val="5E5E5E"/>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IT </a:t>
            </a:r>
            <a:r>
              <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Management </a:t>
            </a:r>
          </a:p>
        </p:txBody>
      </p:sp>
      <p:sp>
        <p:nvSpPr>
          <p:cNvPr id="29" name="Rectangle 28"/>
          <p:cNvSpPr/>
          <p:nvPr/>
        </p:nvSpPr>
        <p:spPr bwMode="auto">
          <a:xfrm>
            <a:off x="1" y="297134"/>
            <a:ext cx="986067" cy="1523922"/>
          </a:xfrm>
          <a:prstGeom prst="rect">
            <a:avLst/>
          </a:prstGeom>
          <a:solidFill>
            <a:schemeClr val="bg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179253" tIns="0" rIns="179253" bIns="161329" numCol="1" rtlCol="0" anchor="ctr" anchorCtr="0" compatLnSpc="1">
            <a:prstTxWarp prst="textNoShape">
              <a:avLst/>
            </a:prstTxWarp>
            <a:noAutofit/>
          </a:bodyPr>
          <a:lstStyle/>
          <a:p>
            <a:pPr indent="-169599" defTabSz="897084" fontAlgn="base">
              <a:lnSpc>
                <a:spcPct val="90000"/>
              </a:lnSpc>
              <a:spcBef>
                <a:spcPct val="0"/>
              </a:spcBef>
              <a:spcAft>
                <a:spcPct val="0"/>
              </a:spcAft>
            </a:pPr>
            <a:r>
              <a:rPr lang="en-US" sz="1568" spc="-20" dirty="0" smtClean="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rPr>
              <a:t>Data Protection</a:t>
            </a:r>
            <a:endParaRPr lang="en-US" sz="1568" spc="-20" dirty="0">
              <a:gradFill>
                <a:gsLst>
                  <a:gs pos="53982">
                    <a:srgbClr val="282828">
                      <a:lumMod val="90000"/>
                      <a:lumOff val="10000"/>
                    </a:srgbClr>
                  </a:gs>
                  <a:gs pos="84071">
                    <a:srgbClr val="282828">
                      <a:lumMod val="90000"/>
                      <a:lumOff val="10000"/>
                    </a:srgbClr>
                  </a:gs>
                </a:gsLst>
                <a:lin ang="5400000" scaled="0"/>
              </a:gradFill>
              <a:latin typeface="Segoe UI Semibold" panose="020B0702040204020203" pitchFamily="34" charset="0"/>
            </a:endParaRPr>
          </a:p>
        </p:txBody>
      </p:sp>
    </p:spTree>
    <p:extLst>
      <p:ext uri="{BB962C8B-B14F-4D97-AF65-F5344CB8AC3E}">
        <p14:creationId xmlns:p14="http://schemas.microsoft.com/office/powerpoint/2010/main" val="20750816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26"/>
                                        </p:tgtEl>
                                        <p:attrNameLst>
                                          <p:attrName>ppt_x</p:attrName>
                                        </p:attrNameLst>
                                      </p:cBhvr>
                                      <p:tavLst>
                                        <p:tav tm="0">
                                          <p:val>
                                            <p:strVal val="ppt_x"/>
                                          </p:val>
                                        </p:tav>
                                        <p:tav tm="100000">
                                          <p:val>
                                            <p:strVal val="0-ppt_w/2"/>
                                          </p:val>
                                        </p:tav>
                                      </p:tavLst>
                                    </p:anim>
                                    <p:anim calcmode="lin" valueType="num">
                                      <p:cBhvr additive="base">
                                        <p:cTn id="7" dur="200"/>
                                        <p:tgtEl>
                                          <p:spTgt spid="26"/>
                                        </p:tgtEl>
                                        <p:attrNameLst>
                                          <p:attrName>ppt_y</p:attrName>
                                        </p:attrNameLst>
                                      </p:cBhvr>
                                      <p:tavLst>
                                        <p:tav tm="0">
                                          <p:val>
                                            <p:strVal val="ppt_y"/>
                                          </p:val>
                                        </p:tav>
                                        <p:tav tm="100000">
                                          <p:val>
                                            <p:strVal val="ppt_y"/>
                                          </p:val>
                                        </p:tav>
                                      </p:tavLst>
                                    </p:anim>
                                    <p:set>
                                      <p:cBhvr>
                                        <p:cTn id="8" dur="1" fill="hold">
                                          <p:stCondLst>
                                            <p:cond delay="199"/>
                                          </p:stCondLst>
                                        </p:cTn>
                                        <p:tgtEl>
                                          <p:spTgt spid="26"/>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200"/>
                                        <p:tgtEl>
                                          <p:spTgt spid="25"/>
                                        </p:tgtEl>
                                        <p:attrNameLst>
                                          <p:attrName>ppt_x</p:attrName>
                                        </p:attrNameLst>
                                      </p:cBhvr>
                                      <p:tavLst>
                                        <p:tav tm="0">
                                          <p:val>
                                            <p:strVal val="ppt_x"/>
                                          </p:val>
                                        </p:tav>
                                        <p:tav tm="100000">
                                          <p:val>
                                            <p:strVal val="0-ppt_w/2"/>
                                          </p:val>
                                        </p:tav>
                                      </p:tavLst>
                                    </p:anim>
                                    <p:anim calcmode="lin" valueType="num">
                                      <p:cBhvr additive="base">
                                        <p:cTn id="11" dur="200"/>
                                        <p:tgtEl>
                                          <p:spTgt spid="25"/>
                                        </p:tgtEl>
                                        <p:attrNameLst>
                                          <p:attrName>ppt_y</p:attrName>
                                        </p:attrNameLst>
                                      </p:cBhvr>
                                      <p:tavLst>
                                        <p:tav tm="0">
                                          <p:val>
                                            <p:strVal val="ppt_y"/>
                                          </p:val>
                                        </p:tav>
                                        <p:tav tm="100000">
                                          <p:val>
                                            <p:strVal val="ppt_y"/>
                                          </p:val>
                                        </p:tav>
                                      </p:tavLst>
                                    </p:anim>
                                    <p:set>
                                      <p:cBhvr>
                                        <p:cTn id="12" dur="1" fill="hold">
                                          <p:stCondLst>
                                            <p:cond delay="199"/>
                                          </p:stCondLst>
                                        </p:cTn>
                                        <p:tgtEl>
                                          <p:spTgt spid="25"/>
                                        </p:tgtEl>
                                        <p:attrNameLst>
                                          <p:attrName>style.visibility</p:attrName>
                                        </p:attrNameLst>
                                      </p:cBhvr>
                                      <p:to>
                                        <p:strVal val="hidden"/>
                                      </p:to>
                                    </p:set>
                                  </p:childTnLst>
                                </p:cTn>
                              </p:par>
                              <p:par>
                                <p:cTn id="13" presetID="2" presetClass="exit" presetSubtype="8" fill="hold" grpId="0" nodeType="withEffect">
                                  <p:stCondLst>
                                    <p:cond delay="100"/>
                                  </p:stCondLst>
                                  <p:childTnLst>
                                    <p:anim calcmode="lin" valueType="num">
                                      <p:cBhvr additive="base">
                                        <p:cTn id="14" dur="200"/>
                                        <p:tgtEl>
                                          <p:spTgt spid="27"/>
                                        </p:tgtEl>
                                        <p:attrNameLst>
                                          <p:attrName>ppt_x</p:attrName>
                                        </p:attrNameLst>
                                      </p:cBhvr>
                                      <p:tavLst>
                                        <p:tav tm="0">
                                          <p:val>
                                            <p:strVal val="ppt_x"/>
                                          </p:val>
                                        </p:tav>
                                        <p:tav tm="100000">
                                          <p:val>
                                            <p:strVal val="0-ppt_w/2"/>
                                          </p:val>
                                        </p:tav>
                                      </p:tavLst>
                                    </p:anim>
                                    <p:anim calcmode="lin" valueType="num">
                                      <p:cBhvr additive="base">
                                        <p:cTn id="15" dur="200"/>
                                        <p:tgtEl>
                                          <p:spTgt spid="27"/>
                                        </p:tgtEl>
                                        <p:attrNameLst>
                                          <p:attrName>ppt_y</p:attrName>
                                        </p:attrNameLst>
                                      </p:cBhvr>
                                      <p:tavLst>
                                        <p:tav tm="0">
                                          <p:val>
                                            <p:strVal val="ppt_y"/>
                                          </p:val>
                                        </p:tav>
                                        <p:tav tm="100000">
                                          <p:val>
                                            <p:strVal val="ppt_y"/>
                                          </p:val>
                                        </p:tav>
                                      </p:tavLst>
                                    </p:anim>
                                    <p:set>
                                      <p:cBhvr>
                                        <p:cTn id="16" dur="1" fill="hold">
                                          <p:stCondLst>
                                            <p:cond delay="199"/>
                                          </p:stCondLst>
                                        </p:cTn>
                                        <p:tgtEl>
                                          <p:spTgt spid="27"/>
                                        </p:tgtEl>
                                        <p:attrNameLst>
                                          <p:attrName>style.visibility</p:attrName>
                                        </p:attrNameLst>
                                      </p:cBhvr>
                                      <p:to>
                                        <p:strVal val="hidden"/>
                                      </p:to>
                                    </p:set>
                                  </p:childTnLst>
                                </p:cTn>
                              </p:par>
                              <p:par>
                                <p:cTn id="17" presetID="2" presetClass="exit" presetSubtype="8" fill="hold" grpId="0" nodeType="withEffect">
                                  <p:stCondLst>
                                    <p:cond delay="200"/>
                                  </p:stCondLst>
                                  <p:childTnLst>
                                    <p:anim calcmode="lin" valueType="num">
                                      <p:cBhvr additive="base">
                                        <p:cTn id="18" dur="200"/>
                                        <p:tgtEl>
                                          <p:spTgt spid="28"/>
                                        </p:tgtEl>
                                        <p:attrNameLst>
                                          <p:attrName>ppt_x</p:attrName>
                                        </p:attrNameLst>
                                      </p:cBhvr>
                                      <p:tavLst>
                                        <p:tav tm="0">
                                          <p:val>
                                            <p:strVal val="ppt_x"/>
                                          </p:val>
                                        </p:tav>
                                        <p:tav tm="100000">
                                          <p:val>
                                            <p:strVal val="0-ppt_w/2"/>
                                          </p:val>
                                        </p:tav>
                                      </p:tavLst>
                                    </p:anim>
                                    <p:anim calcmode="lin" valueType="num">
                                      <p:cBhvr additive="base">
                                        <p:cTn id="19" dur="200"/>
                                        <p:tgtEl>
                                          <p:spTgt spid="28"/>
                                        </p:tgtEl>
                                        <p:attrNameLst>
                                          <p:attrName>ppt_y</p:attrName>
                                        </p:attrNameLst>
                                      </p:cBhvr>
                                      <p:tavLst>
                                        <p:tav tm="0">
                                          <p:val>
                                            <p:strVal val="ppt_y"/>
                                          </p:val>
                                        </p:tav>
                                        <p:tav tm="100000">
                                          <p:val>
                                            <p:strVal val="ppt_y"/>
                                          </p:val>
                                        </p:tav>
                                      </p:tavLst>
                                    </p:anim>
                                    <p:set>
                                      <p:cBhvr>
                                        <p:cTn id="20" dur="1" fill="hold">
                                          <p:stCondLst>
                                            <p:cond delay="199"/>
                                          </p:stCondLst>
                                        </p:cTn>
                                        <p:tgtEl>
                                          <p:spTgt spid="28"/>
                                        </p:tgtEl>
                                        <p:attrNameLst>
                                          <p:attrName>style.visibility</p:attrName>
                                        </p:attrNameLst>
                                      </p:cBhvr>
                                      <p:to>
                                        <p:strVal val="hidden"/>
                                      </p:to>
                                    </p:set>
                                  </p:childTnLst>
                                </p:cTn>
                              </p:par>
                              <p:par>
                                <p:cTn id="21" presetID="2" presetClass="exit" presetSubtype="8" fill="hold" grpId="0" nodeType="withEffect">
                                  <p:stCondLst>
                                    <p:cond delay="300"/>
                                  </p:stCondLst>
                                  <p:childTnLst>
                                    <p:anim calcmode="lin" valueType="num">
                                      <p:cBhvr additive="base">
                                        <p:cTn id="22" dur="200"/>
                                        <p:tgtEl>
                                          <p:spTgt spid="29"/>
                                        </p:tgtEl>
                                        <p:attrNameLst>
                                          <p:attrName>ppt_x</p:attrName>
                                        </p:attrNameLst>
                                      </p:cBhvr>
                                      <p:tavLst>
                                        <p:tav tm="0">
                                          <p:val>
                                            <p:strVal val="ppt_x"/>
                                          </p:val>
                                        </p:tav>
                                        <p:tav tm="100000">
                                          <p:val>
                                            <p:strVal val="0-ppt_w/2"/>
                                          </p:val>
                                        </p:tav>
                                      </p:tavLst>
                                    </p:anim>
                                    <p:anim calcmode="lin" valueType="num">
                                      <p:cBhvr additive="base">
                                        <p:cTn id="23" dur="200"/>
                                        <p:tgtEl>
                                          <p:spTgt spid="29"/>
                                        </p:tgtEl>
                                        <p:attrNameLst>
                                          <p:attrName>ppt_y</p:attrName>
                                        </p:attrNameLst>
                                      </p:cBhvr>
                                      <p:tavLst>
                                        <p:tav tm="0">
                                          <p:val>
                                            <p:strVal val="ppt_y"/>
                                          </p:val>
                                        </p:tav>
                                        <p:tav tm="100000">
                                          <p:val>
                                            <p:strVal val="ppt_y"/>
                                          </p:val>
                                        </p:tav>
                                      </p:tavLst>
                                    </p:anim>
                                    <p:set>
                                      <p:cBhvr>
                                        <p:cTn id="24" dur="1" fill="hold">
                                          <p:stCondLst>
                                            <p:cond delay="199"/>
                                          </p:stCondLst>
                                        </p:cTn>
                                        <p:tgtEl>
                                          <p:spTgt spid="29"/>
                                        </p:tgtEl>
                                        <p:attrNameLst>
                                          <p:attrName>style.visibility</p:attrName>
                                        </p:attrNameLst>
                                      </p:cBhvr>
                                      <p:to>
                                        <p:strVal val="hidden"/>
                                      </p:to>
                                    </p:set>
                                  </p:childTnLst>
                                </p:cTn>
                              </p:par>
                              <p:par>
                                <p:cTn id="25" presetID="2" presetClass="entr" presetSubtype="8" decel="100000" fill="hold" grpId="0" nodeType="withEffect">
                                  <p:stCondLst>
                                    <p:cond delay="6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800" fill="hold"/>
                                        <p:tgtEl>
                                          <p:spTgt spid="13"/>
                                        </p:tgtEl>
                                        <p:attrNameLst>
                                          <p:attrName>ppt_x</p:attrName>
                                        </p:attrNameLst>
                                      </p:cBhvr>
                                      <p:tavLst>
                                        <p:tav tm="0">
                                          <p:val>
                                            <p:strVal val="0-#ppt_w/2"/>
                                          </p:val>
                                        </p:tav>
                                        <p:tav tm="100000">
                                          <p:val>
                                            <p:strVal val="#ppt_x"/>
                                          </p:val>
                                        </p:tav>
                                      </p:tavLst>
                                    </p:anim>
                                    <p:anim calcmode="lin" valueType="num">
                                      <p:cBhvr additive="base">
                                        <p:cTn id="28" dur="8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6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800" fill="hold"/>
                                        <p:tgtEl>
                                          <p:spTgt spid="14"/>
                                        </p:tgtEl>
                                        <p:attrNameLst>
                                          <p:attrName>ppt_x</p:attrName>
                                        </p:attrNameLst>
                                      </p:cBhvr>
                                      <p:tavLst>
                                        <p:tav tm="0">
                                          <p:val>
                                            <p:strVal val="0-#ppt_w/2"/>
                                          </p:val>
                                        </p:tav>
                                        <p:tav tm="100000">
                                          <p:val>
                                            <p:strVal val="#ppt_x"/>
                                          </p:val>
                                        </p:tav>
                                      </p:tavLst>
                                    </p:anim>
                                    <p:anim calcmode="lin" valueType="num">
                                      <p:cBhvr additive="base">
                                        <p:cTn id="32" dur="800" fill="hold"/>
                                        <p:tgtEl>
                                          <p:spTgt spid="14"/>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1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600" fill="hold"/>
                                        <p:tgtEl>
                                          <p:spTgt spid="20"/>
                                        </p:tgtEl>
                                        <p:attrNameLst>
                                          <p:attrName>ppt_x</p:attrName>
                                        </p:attrNameLst>
                                      </p:cBhvr>
                                      <p:tavLst>
                                        <p:tav tm="0">
                                          <p:val>
                                            <p:strVal val="1+#ppt_w/2"/>
                                          </p:val>
                                        </p:tav>
                                        <p:tav tm="100000">
                                          <p:val>
                                            <p:strVal val="#ppt_x"/>
                                          </p:val>
                                        </p:tav>
                                      </p:tavLst>
                                    </p:anim>
                                    <p:anim calcmode="lin" valueType="num">
                                      <p:cBhvr additive="base">
                                        <p:cTn id="36" dur="6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185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600" fill="hold"/>
                                        <p:tgtEl>
                                          <p:spTgt spid="21"/>
                                        </p:tgtEl>
                                        <p:attrNameLst>
                                          <p:attrName>ppt_x</p:attrName>
                                        </p:attrNameLst>
                                      </p:cBhvr>
                                      <p:tavLst>
                                        <p:tav tm="0">
                                          <p:val>
                                            <p:strVal val="1+#ppt_w/2"/>
                                          </p:val>
                                        </p:tav>
                                        <p:tav tm="100000">
                                          <p:val>
                                            <p:strVal val="#ppt_x"/>
                                          </p:val>
                                        </p:tav>
                                      </p:tavLst>
                                    </p:anim>
                                    <p:anim calcmode="lin" valueType="num">
                                      <p:cBhvr additive="base">
                                        <p:cTn id="40" dur="600" fill="hold"/>
                                        <p:tgtEl>
                                          <p:spTgt spid="21"/>
                                        </p:tgtEl>
                                        <p:attrNameLst>
                                          <p:attrName>ppt_y</p:attrName>
                                        </p:attrNameLst>
                                      </p:cBhvr>
                                      <p:tavLst>
                                        <p:tav tm="0">
                                          <p:val>
                                            <p:strVal val="#ppt_y"/>
                                          </p:val>
                                        </p:tav>
                                        <p:tav tm="100000">
                                          <p:val>
                                            <p:strVal val="#ppt_y"/>
                                          </p:val>
                                        </p:tav>
                                      </p:tavLst>
                                    </p:anim>
                                  </p:childTnLst>
                                </p:cTn>
                              </p:par>
                            </p:childTnLst>
                          </p:cTn>
                        </p:par>
                        <p:par>
                          <p:cTn id="41" fill="hold">
                            <p:stCondLst>
                              <p:cond delay="2450"/>
                            </p:stCondLst>
                            <p:childTnLst>
                              <p:par>
                                <p:cTn id="42" presetID="1" presetClass="emph" presetSubtype="2" fill="hold" nodeType="afterEffect">
                                  <p:stCondLst>
                                    <p:cond delay="0"/>
                                  </p:stCondLst>
                                  <p:childTnLst>
                                    <p:animClr clrSpc="rgb" dir="cw">
                                      <p:cBhvr>
                                        <p:cTn id="43" dur="1000" fill="hold"/>
                                        <p:tgtEl>
                                          <p:spTgt spid="21"/>
                                        </p:tgtEl>
                                        <p:attrNameLst>
                                          <p:attrName>fillcolor</p:attrName>
                                        </p:attrNameLst>
                                      </p:cBhvr>
                                      <p:to>
                                        <a:srgbClr val="0072C6"/>
                                      </p:to>
                                    </p:animClr>
                                    <p:set>
                                      <p:cBhvr>
                                        <p:cTn id="44" dur="1000" fill="hold"/>
                                        <p:tgtEl>
                                          <p:spTgt spid="21"/>
                                        </p:tgtEl>
                                        <p:attrNameLst>
                                          <p:attrName>fill.type</p:attrName>
                                        </p:attrNameLst>
                                      </p:cBhvr>
                                      <p:to>
                                        <p:strVal val="solid"/>
                                      </p:to>
                                    </p:set>
                                    <p:set>
                                      <p:cBhvr>
                                        <p:cTn id="45" dur="1000" fill="hold"/>
                                        <p:tgtEl>
                                          <p:spTgt spid="21"/>
                                        </p:tgtEl>
                                        <p:attrNameLst>
                                          <p:attrName>fill.on</p:attrName>
                                        </p:attrNameLst>
                                      </p:cBhvr>
                                      <p:to>
                                        <p:strVal val="true"/>
                                      </p:to>
                                    </p:set>
                                  </p:childTnLst>
                                </p:cTn>
                              </p:par>
                              <p:par>
                                <p:cTn id="46" presetID="3" presetClass="emph" presetSubtype="2" fill="hold" grpId="1" nodeType="withEffect">
                                  <p:stCondLst>
                                    <p:cond delay="0"/>
                                  </p:stCondLst>
                                  <p:childTnLst>
                                    <p:animClr clrSpc="rgb" dir="cw">
                                      <p:cBhvr override="childStyle">
                                        <p:cTn id="47" dur="500" fill="hold"/>
                                        <p:tgtEl>
                                          <p:spTgt spid="21"/>
                                        </p:tgtEl>
                                        <p:attrNameLst>
                                          <p:attrName>style.color</p:attrName>
                                        </p:attrNameLst>
                                      </p:cBhvr>
                                      <p:to>
                                        <a:srgbClr val="FFFFFF"/>
                                      </p:to>
                                    </p:animClr>
                                  </p:childTnLst>
                                </p:cTn>
                              </p:par>
                            </p:childTnLst>
                          </p:cTn>
                        </p:par>
                        <p:par>
                          <p:cTn id="48" fill="hold">
                            <p:stCondLst>
                              <p:cond delay="3450"/>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par>
                          <p:cTn id="52" fill="hold">
                            <p:stCondLst>
                              <p:cond delay="3950"/>
                            </p:stCondLst>
                            <p:childTnLst>
                              <p:par>
                                <p:cTn id="53" presetID="2" presetClass="entr" presetSubtype="8" decel="10000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700" fill="hold"/>
                                        <p:tgtEl>
                                          <p:spTgt spid="23"/>
                                        </p:tgtEl>
                                        <p:attrNameLst>
                                          <p:attrName>ppt_x</p:attrName>
                                        </p:attrNameLst>
                                      </p:cBhvr>
                                      <p:tavLst>
                                        <p:tav tm="0">
                                          <p:val>
                                            <p:strVal val="0-#ppt_w/2"/>
                                          </p:val>
                                        </p:tav>
                                        <p:tav tm="100000">
                                          <p:val>
                                            <p:strVal val="#ppt_x"/>
                                          </p:val>
                                        </p:tav>
                                      </p:tavLst>
                                    </p:anim>
                                    <p:anim calcmode="lin" valueType="num">
                                      <p:cBhvr additive="base">
                                        <p:cTn id="56" dur="700" fill="hold"/>
                                        <p:tgtEl>
                                          <p:spTgt spid="23"/>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10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700" fill="hold"/>
                                        <p:tgtEl>
                                          <p:spTgt spid="24"/>
                                        </p:tgtEl>
                                        <p:attrNameLst>
                                          <p:attrName>ppt_x</p:attrName>
                                        </p:attrNameLst>
                                      </p:cBhvr>
                                      <p:tavLst>
                                        <p:tav tm="0">
                                          <p:val>
                                            <p:strVal val="0-#ppt_w/2"/>
                                          </p:val>
                                        </p:tav>
                                        <p:tav tm="100000">
                                          <p:val>
                                            <p:strVal val="#ppt_x"/>
                                          </p:val>
                                        </p:tav>
                                      </p:tavLst>
                                    </p:anim>
                                    <p:anim calcmode="lin" valueType="num">
                                      <p:cBhvr additive="base">
                                        <p:cTn id="60" dur="7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20" grpId="0" animBg="1"/>
      <p:bldP spid="21" grpId="0" animBg="1"/>
      <p:bldP spid="21" grpId="1" animBg="1"/>
      <p:bldP spid="22" grpId="0"/>
      <p:bldP spid="23" grpId="0" animBg="1"/>
      <p:bldP spid="24" grpId="0" animBg="1"/>
      <p:bldP spid="25" grpId="0" animBg="1"/>
      <p:bldP spid="26" grpId="0" animBg="1"/>
      <p:bldP spid="27" grpId="0" animBg="1"/>
      <p:bldP spid="28" grpId="0" animBg="1"/>
      <p:bldP spid="29"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 name="2 right"/>
          <p:cNvSpPr/>
          <p:nvPr/>
        </p:nvSpPr>
        <p:spPr bwMode="auto">
          <a:xfrm>
            <a:off x="1613886" y="3337780"/>
            <a:ext cx="10308884" cy="842639"/>
          </a:xfrm>
          <a:prstGeom prst="rect">
            <a:avLst/>
          </a:prstGeom>
          <a:solidFill>
            <a:srgbClr val="FFFFFF">
              <a:lumMod val="95000"/>
              <a:alpha val="90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577" name="4 right"/>
          <p:cNvSpPr/>
          <p:nvPr/>
        </p:nvSpPr>
        <p:spPr bwMode="auto">
          <a:xfrm>
            <a:off x="1612727" y="1187938"/>
            <a:ext cx="10308884" cy="1425315"/>
          </a:xfrm>
          <a:prstGeom prst="rect">
            <a:avLst/>
          </a:prstGeom>
          <a:solidFill>
            <a:srgbClr val="FFFFFF">
              <a:lumMod val="95000"/>
              <a:alpha val="90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578" name="3 right"/>
          <p:cNvSpPr/>
          <p:nvPr/>
        </p:nvSpPr>
        <p:spPr bwMode="auto">
          <a:xfrm>
            <a:off x="1613886" y="2654899"/>
            <a:ext cx="10308884" cy="636462"/>
          </a:xfrm>
          <a:prstGeom prst="rect">
            <a:avLst/>
          </a:prstGeom>
          <a:solidFill>
            <a:srgbClr val="FFFFFF">
              <a:lumMod val="95000"/>
              <a:alpha val="90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585" name="1 right"/>
          <p:cNvSpPr/>
          <p:nvPr/>
        </p:nvSpPr>
        <p:spPr bwMode="auto">
          <a:xfrm>
            <a:off x="1613887" y="4226823"/>
            <a:ext cx="10308884" cy="2339669"/>
          </a:xfrm>
          <a:prstGeom prst="rect">
            <a:avLst/>
          </a:prstGeom>
          <a:solidFill>
            <a:srgbClr val="FFFFFF">
              <a:lumMod val="95000"/>
              <a:alpha val="90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824" name="Rectangle 823"/>
          <p:cNvSpPr/>
          <p:nvPr/>
        </p:nvSpPr>
        <p:spPr bwMode="auto">
          <a:xfrm>
            <a:off x="1" y="487"/>
            <a:ext cx="1597681" cy="68570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1" name="Rectangle 62"/>
          <p:cNvSpPr/>
          <p:nvPr/>
        </p:nvSpPr>
        <p:spPr>
          <a:xfrm>
            <a:off x="1705860" y="3454315"/>
            <a:ext cx="10127268" cy="609569"/>
          </a:xfrm>
          <a:prstGeom prst="rect">
            <a:avLst/>
          </a:prstGeom>
          <a:solidFill>
            <a:srgbClr val="282828"/>
          </a:solidFill>
          <a:ln w="10795" cap="flat" cmpd="sng" algn="ctr">
            <a:noFill/>
            <a:prstDash val="solid"/>
          </a:ln>
          <a:effectLst/>
        </p:spPr>
        <p:txBody>
          <a:bodyPr vert="horz" wrap="square" lIns="179285" tIns="143428" rIns="179285" bIns="143428" rtlCol="0" anchor="ctr" anchorCtr="0">
            <a:noAutofit/>
          </a:bodyPr>
          <a:lstStyle/>
          <a:p>
            <a:pPr algn="ctr" defTabSz="897109">
              <a:lnSpc>
                <a:spcPct val="90000"/>
              </a:lnSpc>
              <a:defRPr/>
            </a:pPr>
            <a:r>
              <a:rPr lang="en-US" sz="1765" kern="0" dirty="0" smtClean="0">
                <a:gradFill>
                  <a:gsLst>
                    <a:gs pos="95575">
                      <a:srgbClr val="FFFFFF"/>
                    </a:gs>
                    <a:gs pos="79646">
                      <a:srgbClr val="FFFFFF"/>
                    </a:gs>
                  </a:gsLst>
                  <a:lin ang="5400000" scaled="0"/>
                </a:gradFill>
                <a:latin typeface="Segoe UI"/>
                <a:cs typeface="Segoe UI" pitchFamily="34" charset="0"/>
              </a:rPr>
              <a:t>Azure Pack</a:t>
            </a:r>
            <a:endParaRPr lang="en-US" sz="1765" kern="0" dirty="0">
              <a:gradFill>
                <a:gsLst>
                  <a:gs pos="95575">
                    <a:srgbClr val="FFFFFF"/>
                  </a:gs>
                  <a:gs pos="79646">
                    <a:srgbClr val="FFFFFF"/>
                  </a:gs>
                </a:gsLst>
                <a:lin ang="5400000" scaled="0"/>
              </a:gradFill>
              <a:latin typeface="Segoe UI"/>
              <a:cs typeface="Segoe UI" pitchFamily="34" charset="0"/>
            </a:endParaRPr>
          </a:p>
        </p:txBody>
      </p:sp>
      <p:grpSp>
        <p:nvGrpSpPr>
          <p:cNvPr id="579" name="Group 578"/>
          <p:cNvGrpSpPr/>
          <p:nvPr/>
        </p:nvGrpSpPr>
        <p:grpSpPr>
          <a:xfrm>
            <a:off x="2105578" y="2481790"/>
            <a:ext cx="9771030" cy="402388"/>
            <a:chOff x="2147798" y="2569147"/>
            <a:chExt cx="9966960" cy="410457"/>
          </a:xfrm>
        </p:grpSpPr>
        <p:cxnSp>
          <p:nvCxnSpPr>
            <p:cNvPr id="580" name="Straight Connector 579"/>
            <p:cNvCxnSpPr/>
            <p:nvPr/>
          </p:nvCxnSpPr>
          <p:spPr>
            <a:xfrm>
              <a:off x="7328162" y="2569147"/>
              <a:ext cx="0" cy="224222"/>
            </a:xfrm>
            <a:prstGeom prst="line">
              <a:avLst/>
            </a:prstGeom>
            <a:noFill/>
            <a:ln w="12700" cap="flat">
              <a:solidFill>
                <a:srgbClr val="282828"/>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81" name="Freeform 5"/>
            <p:cNvSpPr>
              <a:spLocks/>
            </p:cNvSpPr>
            <p:nvPr/>
          </p:nvSpPr>
          <p:spPr bwMode="auto">
            <a:xfrm>
              <a:off x="2147798" y="2793369"/>
              <a:ext cx="9966960" cy="186235"/>
            </a:xfrm>
            <a:custGeom>
              <a:avLst/>
              <a:gdLst>
                <a:gd name="T0" fmla="*/ 0 w 3610"/>
                <a:gd name="T1" fmla="*/ 405 h 405"/>
                <a:gd name="T2" fmla="*/ 0 w 3610"/>
                <a:gd name="T3" fmla="*/ 0 h 405"/>
                <a:gd name="T4" fmla="*/ 3610 w 3610"/>
                <a:gd name="T5" fmla="*/ 0 h 405"/>
                <a:gd name="T6" fmla="*/ 3610 w 3610"/>
                <a:gd name="T7" fmla="*/ 405 h 405"/>
              </a:gdLst>
              <a:ahLst/>
              <a:cxnLst>
                <a:cxn ang="0">
                  <a:pos x="T0" y="T1"/>
                </a:cxn>
                <a:cxn ang="0">
                  <a:pos x="T2" y="T3"/>
                </a:cxn>
                <a:cxn ang="0">
                  <a:pos x="T4" y="T5"/>
                </a:cxn>
                <a:cxn ang="0">
                  <a:pos x="T6" y="T7"/>
                </a:cxn>
              </a:cxnLst>
              <a:rect l="0" t="0" r="r" b="b"/>
              <a:pathLst>
                <a:path w="3610" h="405">
                  <a:moveTo>
                    <a:pt x="0" y="405"/>
                  </a:moveTo>
                  <a:lnTo>
                    <a:pt x="0" y="0"/>
                  </a:lnTo>
                  <a:lnTo>
                    <a:pt x="3610" y="0"/>
                  </a:lnTo>
                  <a:lnTo>
                    <a:pt x="3610" y="405"/>
                  </a:lnTo>
                </a:path>
              </a:pathLst>
            </a:custGeom>
            <a:noFill/>
            <a:ln w="12700" cap="flat">
              <a:solidFill>
                <a:srgbClr val="28282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grpSp>
      <p:grpSp>
        <p:nvGrpSpPr>
          <p:cNvPr id="582" name="Group 581"/>
          <p:cNvGrpSpPr/>
          <p:nvPr/>
        </p:nvGrpSpPr>
        <p:grpSpPr>
          <a:xfrm>
            <a:off x="6165673" y="1282064"/>
            <a:ext cx="2034374" cy="1237066"/>
            <a:chOff x="5435704" y="1307275"/>
            <a:chExt cx="2075167" cy="1261872"/>
          </a:xfrm>
        </p:grpSpPr>
        <p:sp>
          <p:nvSpPr>
            <p:cNvPr id="583" name="Rectangle 582"/>
            <p:cNvSpPr/>
            <p:nvPr/>
          </p:nvSpPr>
          <p:spPr bwMode="auto">
            <a:xfrm>
              <a:off x="5435704" y="1307275"/>
              <a:ext cx="2075166" cy="1261872"/>
            </a:xfrm>
            <a:prstGeom prst="rect">
              <a:avLst/>
            </a:prstGeom>
            <a:solidFill>
              <a:srgbClr val="0072C6"/>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584" name="TextBox 583"/>
            <p:cNvSpPr txBox="1"/>
            <p:nvPr/>
          </p:nvSpPr>
          <p:spPr>
            <a:xfrm>
              <a:off x="5435705" y="1307275"/>
              <a:ext cx="2075166" cy="329598"/>
            </a:xfrm>
            <a:prstGeom prst="rect">
              <a:avLst/>
            </a:prstGeom>
            <a:solidFill>
              <a:srgbClr val="0072C6"/>
            </a:solidFill>
          </p:spPr>
          <p:txBody>
            <a:bodyPr wrap="square" lIns="89642" tIns="89642" rIns="0" bIns="89642" rtlCol="0">
              <a:spAutoFit/>
            </a:bodyPr>
            <a:lstStyle/>
            <a:p>
              <a:pPr defTabSz="913965">
                <a:lnSpc>
                  <a:spcPct val="90000"/>
                </a:lnSpc>
                <a:spcAft>
                  <a:spcPts val="588"/>
                </a:spcAft>
                <a:defRPr/>
              </a:pPr>
              <a:r>
                <a:rPr lang="en-US" sz="980" kern="0" dirty="0">
                  <a:gradFill>
                    <a:gsLst>
                      <a:gs pos="71681">
                        <a:srgbClr val="FFFFFF"/>
                      </a:gs>
                      <a:gs pos="51000">
                        <a:srgbClr val="FFFFFF"/>
                      </a:gs>
                    </a:gsLst>
                    <a:lin ang="5400000" scaled="0"/>
                  </a:gradFill>
                  <a:latin typeface="Segoe UI Semibold" panose="020B0702040204020203" pitchFamily="34" charset="0"/>
                </a:rPr>
                <a:t>App, Infrastructure, SLA(s)</a:t>
              </a:r>
            </a:p>
          </p:txBody>
        </p:sp>
      </p:grpSp>
      <p:sp>
        <p:nvSpPr>
          <p:cNvPr id="586" name="Title 1"/>
          <p:cNvSpPr txBox="1">
            <a:spLocks/>
          </p:cNvSpPr>
          <p:nvPr/>
        </p:nvSpPr>
        <p:spPr>
          <a:xfrm>
            <a:off x="241906" y="222500"/>
            <a:ext cx="8089082" cy="8429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294">
                <a:gradFill>
                  <a:gsLst>
                    <a:gs pos="1250">
                      <a:srgbClr val="282828"/>
                    </a:gs>
                    <a:gs pos="100000">
                      <a:srgbClr val="282828"/>
                    </a:gs>
                  </a:gsLst>
                  <a:lin ang="5400000" scaled="0"/>
                </a:gradFill>
                <a:latin typeface="Segoe UI Light"/>
              </a:rPr>
              <a:t>The evolving datacenter…</a:t>
            </a:r>
          </a:p>
        </p:txBody>
      </p:sp>
      <p:sp>
        <p:nvSpPr>
          <p:cNvPr id="587" name="Right Arrow 586"/>
          <p:cNvSpPr/>
          <p:nvPr/>
        </p:nvSpPr>
        <p:spPr bwMode="auto">
          <a:xfrm rot="16200000">
            <a:off x="10482506" y="5534977"/>
            <a:ext cx="1147170" cy="479848"/>
          </a:xfrm>
          <a:prstGeom prst="rightArrow">
            <a:avLst/>
          </a:prstGeom>
          <a:solidFill>
            <a:srgbClr val="FF8C00"/>
          </a:solidFill>
          <a:ln w="10795" cap="flat" cmpd="sng" algn="ctr">
            <a:noFill/>
            <a:prstDash val="solid"/>
            <a:headEnd type="none" w="med" len="med"/>
            <a:tailEnd type="none" w="med" len="med"/>
          </a:ln>
          <a:effectLst/>
        </p:spPr>
        <p:txBody>
          <a:bodyPr vert="horz" wrap="square" lIns="175901" tIns="140721" rIns="175901" bIns="140721" numCol="1" spcCol="0" rtlCol="0" anchor="t" anchorCtr="0" compatLnSpc="1">
            <a:prstTxWarp prst="textNoShape">
              <a:avLst/>
            </a:prstTxWarp>
          </a:bodyPr>
          <a:lstStyle/>
          <a:p>
            <a:pPr algn="ctr" defTabSz="896847" fontAlgn="base">
              <a:lnSpc>
                <a:spcPct val="90000"/>
              </a:lnSpc>
              <a:spcBef>
                <a:spcPct val="0"/>
              </a:spcBef>
              <a:spcAft>
                <a:spcPct val="0"/>
              </a:spcAft>
              <a:defRPr/>
            </a:pPr>
            <a:endParaRPr lang="en-US" sz="1961" kern="0" dirty="0">
              <a:gradFill>
                <a:gsLst>
                  <a:gs pos="95575">
                    <a:srgbClr val="FFFFFF"/>
                  </a:gs>
                  <a:gs pos="79646">
                    <a:srgbClr val="FFFFFF"/>
                  </a:gs>
                </a:gsLst>
                <a:lin ang="5400000" scaled="0"/>
              </a:gradFill>
              <a:latin typeface="Segoe UI"/>
            </a:endParaRPr>
          </a:p>
        </p:txBody>
      </p:sp>
      <p:sp>
        <p:nvSpPr>
          <p:cNvPr id="569" name="Rectangle 568"/>
          <p:cNvSpPr/>
          <p:nvPr/>
        </p:nvSpPr>
        <p:spPr bwMode="auto">
          <a:xfrm>
            <a:off x="911489" y="3337780"/>
            <a:ext cx="658368" cy="842639"/>
          </a:xfrm>
          <a:prstGeom prst="rect">
            <a:avLst/>
          </a:prstGeom>
          <a:solidFill>
            <a:srgbClr val="FFFFFF">
              <a:lumMod val="85000"/>
            </a:srgbClr>
          </a:solidFill>
          <a:ln w="10795" cap="flat" cmpd="sng" algn="ctr">
            <a:noFill/>
            <a:prstDash val="solid"/>
            <a:headEnd type="none" w="med" len="med"/>
            <a:tailEnd type="none" w="med" len="med"/>
          </a:ln>
          <a:effectLst/>
        </p:spPr>
        <p:txBody>
          <a:bodyPr vert="vert270" wrap="square" lIns="179206" tIns="143365" rIns="182880" bIns="143365" numCol="1" rtlCol="0" anchor="ctr" anchorCtr="0" compatLnSpc="1">
            <a:prstTxWarp prst="textNoShape">
              <a:avLst/>
            </a:prstTxWarp>
          </a:bodyPr>
          <a:lstStyle/>
          <a:p>
            <a:pPr indent="-169554" algn="ctr" defTabSz="896847" fontAlgn="base">
              <a:lnSpc>
                <a:spcPct val="90000"/>
              </a:lnSpc>
              <a:spcBef>
                <a:spcPct val="0"/>
              </a:spcBef>
              <a:spcAft>
                <a:spcPct val="0"/>
              </a:spcAft>
              <a:defRPr/>
            </a:pPr>
            <a:r>
              <a:rPr lang="en-US" sz="1176" kern="0" dirty="0">
                <a:gradFill>
                  <a:gsLst>
                    <a:gs pos="93805">
                      <a:srgbClr val="191919"/>
                    </a:gs>
                    <a:gs pos="82000">
                      <a:srgbClr val="191919"/>
                    </a:gs>
                  </a:gsLst>
                  <a:lin ang="5400000" scaled="0"/>
                </a:gradFill>
                <a:latin typeface="Segoe UI"/>
              </a:rPr>
              <a:t>Service Delivery</a:t>
            </a:r>
          </a:p>
        </p:txBody>
      </p:sp>
      <p:sp>
        <p:nvSpPr>
          <p:cNvPr id="588" name="Rectangle 587"/>
          <p:cNvSpPr/>
          <p:nvPr/>
        </p:nvSpPr>
        <p:spPr bwMode="auto">
          <a:xfrm>
            <a:off x="911489" y="4226823"/>
            <a:ext cx="658368" cy="2335820"/>
          </a:xfrm>
          <a:prstGeom prst="rect">
            <a:avLst/>
          </a:prstGeom>
          <a:solidFill>
            <a:srgbClr val="FFFFFF">
              <a:lumMod val="85000"/>
            </a:srgbClr>
          </a:solidFill>
          <a:ln w="10795" cap="flat" cmpd="sng" algn="ctr">
            <a:noFill/>
            <a:prstDash val="solid"/>
            <a:headEnd type="none" w="med" len="med"/>
            <a:tailEnd type="none" w="med" len="med"/>
          </a:ln>
          <a:effectLst/>
        </p:spPr>
        <p:txBody>
          <a:bodyPr vert="vert270" wrap="square" lIns="179206" tIns="143365" rIns="182880" bIns="143365" numCol="1" rtlCol="0" anchor="ctr" anchorCtr="0" compatLnSpc="1">
            <a:prstTxWarp prst="textNoShape">
              <a:avLst/>
            </a:prstTxWarp>
          </a:bodyPr>
          <a:lstStyle/>
          <a:p>
            <a:pPr indent="-169554" algn="ctr" defTabSz="896847" fontAlgn="base">
              <a:lnSpc>
                <a:spcPct val="90000"/>
              </a:lnSpc>
              <a:spcBef>
                <a:spcPct val="0"/>
              </a:spcBef>
              <a:spcAft>
                <a:spcPct val="0"/>
              </a:spcAft>
              <a:defRPr/>
            </a:pPr>
            <a:r>
              <a:rPr lang="en-US" sz="1176" kern="0" dirty="0" smtClean="0">
                <a:gradFill>
                  <a:gsLst>
                    <a:gs pos="93805">
                      <a:srgbClr val="191919"/>
                    </a:gs>
                    <a:gs pos="82000">
                      <a:srgbClr val="191919"/>
                    </a:gs>
                  </a:gsLst>
                  <a:lin ang="5400000" scaled="0"/>
                </a:gradFill>
                <a:latin typeface="Segoe UI"/>
              </a:rPr>
              <a:t>Cloud and Datacenter Infrastructure</a:t>
            </a:r>
            <a:endParaRPr lang="en-US" sz="1176" kern="0" dirty="0">
              <a:gradFill>
                <a:gsLst>
                  <a:gs pos="93805">
                    <a:srgbClr val="191919"/>
                  </a:gs>
                  <a:gs pos="82000">
                    <a:srgbClr val="191919"/>
                  </a:gs>
                </a:gsLst>
                <a:lin ang="5400000" scaled="0"/>
              </a:gradFill>
              <a:latin typeface="Segoe UI"/>
            </a:endParaRPr>
          </a:p>
        </p:txBody>
      </p:sp>
      <p:sp>
        <p:nvSpPr>
          <p:cNvPr id="589" name="Rectangle 588"/>
          <p:cNvSpPr/>
          <p:nvPr/>
        </p:nvSpPr>
        <p:spPr bwMode="auto">
          <a:xfrm>
            <a:off x="911489" y="1187938"/>
            <a:ext cx="658368" cy="2103423"/>
          </a:xfrm>
          <a:prstGeom prst="rect">
            <a:avLst/>
          </a:prstGeom>
          <a:solidFill>
            <a:srgbClr val="FFFFFF">
              <a:lumMod val="85000"/>
            </a:srgbClr>
          </a:solidFill>
          <a:ln w="10795" cap="flat" cmpd="sng" algn="ctr">
            <a:noFill/>
            <a:prstDash val="solid"/>
            <a:headEnd type="none" w="med" len="med"/>
            <a:tailEnd type="none" w="med" len="med"/>
          </a:ln>
          <a:effectLst/>
        </p:spPr>
        <p:txBody>
          <a:bodyPr vert="vert270" wrap="square" lIns="179206" tIns="143365" rIns="182880" bIns="143365" numCol="1" rtlCol="0" anchor="ctr" anchorCtr="0" compatLnSpc="1">
            <a:prstTxWarp prst="textNoShape">
              <a:avLst/>
            </a:prstTxWarp>
          </a:bodyPr>
          <a:lstStyle/>
          <a:p>
            <a:pPr indent="-169554" algn="ctr" defTabSz="896847" fontAlgn="base">
              <a:lnSpc>
                <a:spcPct val="90000"/>
              </a:lnSpc>
              <a:spcBef>
                <a:spcPct val="0"/>
              </a:spcBef>
              <a:spcAft>
                <a:spcPct val="0"/>
              </a:spcAft>
              <a:defRPr/>
            </a:pPr>
            <a:r>
              <a:rPr lang="en-US" sz="1176" kern="0" dirty="0">
                <a:gradFill>
                  <a:gsLst>
                    <a:gs pos="93805">
                      <a:srgbClr val="191919"/>
                    </a:gs>
                    <a:gs pos="82000">
                      <a:srgbClr val="191919"/>
                    </a:gs>
                  </a:gsLst>
                  <a:lin ang="5400000" scaled="0"/>
                </a:gradFill>
                <a:latin typeface="Segoe UI"/>
              </a:rPr>
              <a:t>Application </a:t>
            </a:r>
            <a:br>
              <a:rPr lang="en-US" sz="1176" kern="0" dirty="0">
                <a:gradFill>
                  <a:gsLst>
                    <a:gs pos="93805">
                      <a:srgbClr val="191919"/>
                    </a:gs>
                    <a:gs pos="82000">
                      <a:srgbClr val="191919"/>
                    </a:gs>
                  </a:gsLst>
                  <a:lin ang="5400000" scaled="0"/>
                </a:gradFill>
                <a:latin typeface="Segoe UI"/>
              </a:rPr>
            </a:br>
            <a:r>
              <a:rPr lang="en-US" sz="1176" kern="0" dirty="0" smtClean="0">
                <a:gradFill>
                  <a:gsLst>
                    <a:gs pos="93805">
                      <a:srgbClr val="191919"/>
                    </a:gs>
                    <a:gs pos="82000">
                      <a:srgbClr val="191919"/>
                    </a:gs>
                  </a:gsLst>
                  <a:lin ang="5400000" scaled="0"/>
                </a:gradFill>
                <a:latin typeface="Segoe UI"/>
              </a:rPr>
              <a:t>Platform</a:t>
            </a:r>
            <a:endParaRPr lang="en-US" sz="1176" kern="0" dirty="0">
              <a:gradFill>
                <a:gsLst>
                  <a:gs pos="93805">
                    <a:srgbClr val="191919"/>
                  </a:gs>
                  <a:gs pos="82000">
                    <a:srgbClr val="191919"/>
                  </a:gs>
                </a:gsLst>
                <a:lin ang="5400000" scaled="0"/>
              </a:gradFill>
              <a:latin typeface="Segoe UI"/>
            </a:endParaRPr>
          </a:p>
        </p:txBody>
      </p:sp>
      <p:sp>
        <p:nvSpPr>
          <p:cNvPr id="590" name="Rectangle 589"/>
          <p:cNvSpPr/>
          <p:nvPr/>
        </p:nvSpPr>
        <p:spPr bwMode="auto">
          <a:xfrm>
            <a:off x="209917" y="1187939"/>
            <a:ext cx="658368" cy="5373344"/>
          </a:xfrm>
          <a:prstGeom prst="rect">
            <a:avLst/>
          </a:prstGeom>
          <a:solidFill>
            <a:srgbClr val="FFFFFF">
              <a:lumMod val="85000"/>
            </a:srgbClr>
          </a:solidFill>
          <a:ln w="10795" cap="flat" cmpd="sng" algn="ctr">
            <a:noFill/>
            <a:prstDash val="solid"/>
            <a:headEnd type="none" w="med" len="med"/>
            <a:tailEnd type="none" w="med" len="med"/>
          </a:ln>
          <a:effectLst/>
        </p:spPr>
        <p:txBody>
          <a:bodyPr vert="vert270" wrap="square" lIns="179206" tIns="143365" rIns="182880" bIns="143365" numCol="1" rtlCol="0" anchor="ctr" anchorCtr="0" compatLnSpc="1">
            <a:prstTxWarp prst="textNoShape">
              <a:avLst/>
            </a:prstTxWarp>
          </a:bodyPr>
          <a:lstStyle/>
          <a:p>
            <a:pPr algn="ctr" defTabSz="896847" fontAlgn="base">
              <a:lnSpc>
                <a:spcPct val="90000"/>
              </a:lnSpc>
              <a:spcBef>
                <a:spcPct val="0"/>
              </a:spcBef>
              <a:spcAft>
                <a:spcPct val="0"/>
              </a:spcAft>
              <a:defRPr/>
            </a:pPr>
            <a:r>
              <a:rPr lang="en-US" sz="1176" kern="0" dirty="0" smtClean="0">
                <a:gradFill>
                  <a:gsLst>
                    <a:gs pos="93805">
                      <a:srgbClr val="191919"/>
                    </a:gs>
                    <a:gs pos="82000">
                      <a:srgbClr val="191919"/>
                    </a:gs>
                  </a:gsLst>
                  <a:lin ang="5400000" scaled="0"/>
                </a:gradFill>
                <a:latin typeface="Segoe UI"/>
              </a:rPr>
              <a:t>IT Management</a:t>
            </a:r>
          </a:p>
          <a:p>
            <a:pPr algn="ctr" defTabSz="896847" fontAlgn="base">
              <a:lnSpc>
                <a:spcPct val="90000"/>
              </a:lnSpc>
              <a:spcBef>
                <a:spcPct val="0"/>
              </a:spcBef>
              <a:spcAft>
                <a:spcPct val="0"/>
              </a:spcAft>
              <a:defRPr/>
            </a:pPr>
            <a:r>
              <a:rPr lang="en-US" sz="1176" kern="0" dirty="0" smtClean="0">
                <a:gradFill>
                  <a:gsLst>
                    <a:gs pos="93805">
                      <a:srgbClr val="191919"/>
                    </a:gs>
                    <a:gs pos="82000">
                      <a:srgbClr val="191919"/>
                    </a:gs>
                  </a:gsLst>
                  <a:lin ang="5400000" scaled="0"/>
                </a:gradFill>
                <a:latin typeface="Segoe UI"/>
              </a:rPr>
              <a:t> [SC, OMS (including BCDR), App Insights]</a:t>
            </a:r>
            <a:endParaRPr lang="en-US" sz="1176" kern="0" dirty="0">
              <a:gradFill>
                <a:gsLst>
                  <a:gs pos="93805">
                    <a:srgbClr val="191919"/>
                  </a:gs>
                  <a:gs pos="82000">
                    <a:srgbClr val="191919"/>
                  </a:gs>
                </a:gsLst>
                <a:lin ang="5400000" scaled="0"/>
              </a:gradFill>
              <a:latin typeface="Segoe UI"/>
            </a:endParaRPr>
          </a:p>
        </p:txBody>
      </p:sp>
      <p:sp>
        <p:nvSpPr>
          <p:cNvPr id="591" name="Freeform 109"/>
          <p:cNvSpPr>
            <a:spLocks noChangeAspect="1" noEditPoints="1"/>
          </p:cNvSpPr>
          <p:nvPr/>
        </p:nvSpPr>
        <p:spPr bwMode="auto">
          <a:xfrm>
            <a:off x="7017279" y="2102582"/>
            <a:ext cx="330225" cy="271414"/>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895954">
              <a:defRPr/>
            </a:pPr>
            <a:endParaRPr lang="en-US" sz="1765" kern="0">
              <a:solidFill>
                <a:srgbClr val="FFFFFF"/>
              </a:solidFill>
              <a:latin typeface="Segoe UI"/>
            </a:endParaRPr>
          </a:p>
        </p:txBody>
      </p:sp>
      <p:sp>
        <p:nvSpPr>
          <p:cNvPr id="592" name="Freeform 6"/>
          <p:cNvSpPr>
            <a:spLocks noChangeAspect="1" noEditPoints="1"/>
          </p:cNvSpPr>
          <p:nvPr/>
        </p:nvSpPr>
        <p:spPr bwMode="auto">
          <a:xfrm>
            <a:off x="6392606" y="2096825"/>
            <a:ext cx="347232" cy="282929"/>
          </a:xfrm>
          <a:custGeom>
            <a:avLst/>
            <a:gdLst>
              <a:gd name="T0" fmla="*/ 6 w 103"/>
              <a:gd name="T1" fmla="*/ 13 h 84"/>
              <a:gd name="T2" fmla="*/ 6 w 103"/>
              <a:gd name="T3" fmla="*/ 78 h 84"/>
              <a:gd name="T4" fmla="*/ 96 w 103"/>
              <a:gd name="T5" fmla="*/ 78 h 84"/>
              <a:gd name="T6" fmla="*/ 96 w 103"/>
              <a:gd name="T7" fmla="*/ 13 h 84"/>
              <a:gd name="T8" fmla="*/ 6 w 103"/>
              <a:gd name="T9" fmla="*/ 13 h 84"/>
              <a:gd name="T10" fmla="*/ 103 w 103"/>
              <a:gd name="T11" fmla="*/ 0 h 84"/>
              <a:gd name="T12" fmla="*/ 103 w 103"/>
              <a:gd name="T13" fmla="*/ 84 h 84"/>
              <a:gd name="T14" fmla="*/ 0 w 103"/>
              <a:gd name="T15" fmla="*/ 84 h 84"/>
              <a:gd name="T16" fmla="*/ 0 w 103"/>
              <a:gd name="T17" fmla="*/ 0 h 84"/>
              <a:gd name="T18" fmla="*/ 103 w 103"/>
              <a:gd name="T19" fmla="*/ 0 h 84"/>
              <a:gd name="T20" fmla="*/ 14 w 103"/>
              <a:gd name="T21" fmla="*/ 26 h 84"/>
              <a:gd name="T22" fmla="*/ 89 w 103"/>
              <a:gd name="T23" fmla="*/ 26 h 84"/>
              <a:gd name="T24" fmla="*/ 89 w 103"/>
              <a:gd name="T25" fmla="*/ 35 h 84"/>
              <a:gd name="T26" fmla="*/ 14 w 103"/>
              <a:gd name="T27" fmla="*/ 35 h 84"/>
              <a:gd name="T28" fmla="*/ 14 w 103"/>
              <a:gd name="T29" fmla="*/ 26 h 84"/>
              <a:gd name="T30" fmla="*/ 14 w 103"/>
              <a:gd name="T31" fmla="*/ 26 h 84"/>
              <a:gd name="T32" fmla="*/ 14 w 103"/>
              <a:gd name="T33" fmla="*/ 44 h 84"/>
              <a:gd name="T34" fmla="*/ 89 w 103"/>
              <a:gd name="T35" fmla="*/ 44 h 84"/>
              <a:gd name="T36" fmla="*/ 89 w 103"/>
              <a:gd name="T37" fmla="*/ 53 h 84"/>
              <a:gd name="T38" fmla="*/ 14 w 103"/>
              <a:gd name="T39" fmla="*/ 53 h 84"/>
              <a:gd name="T40" fmla="*/ 14 w 103"/>
              <a:gd name="T41" fmla="*/ 44 h 84"/>
              <a:gd name="T42" fmla="*/ 14 w 103"/>
              <a:gd name="T43" fmla="*/ 44 h 84"/>
              <a:gd name="T44" fmla="*/ 14 w 103"/>
              <a:gd name="T45" fmla="*/ 62 h 84"/>
              <a:gd name="T46" fmla="*/ 89 w 103"/>
              <a:gd name="T47" fmla="*/ 62 h 84"/>
              <a:gd name="T48" fmla="*/ 89 w 103"/>
              <a:gd name="T49" fmla="*/ 71 h 84"/>
              <a:gd name="T50" fmla="*/ 14 w 103"/>
              <a:gd name="T51" fmla="*/ 71 h 84"/>
              <a:gd name="T52" fmla="*/ 14 w 103"/>
              <a:gd name="T53" fmla="*/ 62 h 84"/>
              <a:gd name="T54" fmla="*/ 14 w 103"/>
              <a:gd name="T55"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84">
                <a:moveTo>
                  <a:pt x="6" y="13"/>
                </a:moveTo>
                <a:cubicBezTo>
                  <a:pt x="6" y="78"/>
                  <a:pt x="6" y="78"/>
                  <a:pt x="6" y="78"/>
                </a:cubicBezTo>
                <a:cubicBezTo>
                  <a:pt x="96" y="78"/>
                  <a:pt x="96" y="78"/>
                  <a:pt x="96" y="78"/>
                </a:cubicBezTo>
                <a:cubicBezTo>
                  <a:pt x="96" y="13"/>
                  <a:pt x="96" y="13"/>
                  <a:pt x="96" y="13"/>
                </a:cubicBezTo>
                <a:cubicBezTo>
                  <a:pt x="64" y="13"/>
                  <a:pt x="25" y="13"/>
                  <a:pt x="6" y="13"/>
                </a:cubicBezTo>
                <a:close/>
                <a:moveTo>
                  <a:pt x="103" y="0"/>
                </a:moveTo>
                <a:cubicBezTo>
                  <a:pt x="103" y="84"/>
                  <a:pt x="103" y="84"/>
                  <a:pt x="103" y="84"/>
                </a:cubicBezTo>
                <a:cubicBezTo>
                  <a:pt x="0" y="84"/>
                  <a:pt x="0" y="84"/>
                  <a:pt x="0" y="84"/>
                </a:cubicBezTo>
                <a:cubicBezTo>
                  <a:pt x="0" y="0"/>
                  <a:pt x="0" y="0"/>
                  <a:pt x="0" y="0"/>
                </a:cubicBezTo>
                <a:cubicBezTo>
                  <a:pt x="42" y="0"/>
                  <a:pt x="77" y="0"/>
                  <a:pt x="103" y="0"/>
                </a:cubicBezTo>
                <a:close/>
                <a:moveTo>
                  <a:pt x="14" y="26"/>
                </a:moveTo>
                <a:cubicBezTo>
                  <a:pt x="89" y="26"/>
                  <a:pt x="89" y="26"/>
                  <a:pt x="89" y="26"/>
                </a:cubicBezTo>
                <a:cubicBezTo>
                  <a:pt x="89" y="35"/>
                  <a:pt x="89" y="35"/>
                  <a:pt x="89" y="35"/>
                </a:cubicBezTo>
                <a:cubicBezTo>
                  <a:pt x="14" y="35"/>
                  <a:pt x="14" y="35"/>
                  <a:pt x="14" y="35"/>
                </a:cubicBezTo>
                <a:cubicBezTo>
                  <a:pt x="14" y="26"/>
                  <a:pt x="14" y="26"/>
                  <a:pt x="14" y="26"/>
                </a:cubicBezTo>
                <a:cubicBezTo>
                  <a:pt x="14" y="26"/>
                  <a:pt x="14" y="26"/>
                  <a:pt x="14" y="26"/>
                </a:cubicBezTo>
                <a:close/>
                <a:moveTo>
                  <a:pt x="14" y="44"/>
                </a:moveTo>
                <a:cubicBezTo>
                  <a:pt x="89" y="44"/>
                  <a:pt x="89" y="44"/>
                  <a:pt x="89" y="44"/>
                </a:cubicBezTo>
                <a:cubicBezTo>
                  <a:pt x="89" y="53"/>
                  <a:pt x="89" y="53"/>
                  <a:pt x="89" y="53"/>
                </a:cubicBezTo>
                <a:cubicBezTo>
                  <a:pt x="14" y="53"/>
                  <a:pt x="14" y="53"/>
                  <a:pt x="14" y="53"/>
                </a:cubicBezTo>
                <a:cubicBezTo>
                  <a:pt x="14" y="44"/>
                  <a:pt x="14" y="44"/>
                  <a:pt x="14" y="44"/>
                </a:cubicBezTo>
                <a:cubicBezTo>
                  <a:pt x="14" y="44"/>
                  <a:pt x="14" y="44"/>
                  <a:pt x="14" y="44"/>
                </a:cubicBezTo>
                <a:close/>
                <a:moveTo>
                  <a:pt x="14" y="62"/>
                </a:moveTo>
                <a:cubicBezTo>
                  <a:pt x="89" y="62"/>
                  <a:pt x="89" y="62"/>
                  <a:pt x="89" y="62"/>
                </a:cubicBezTo>
                <a:cubicBezTo>
                  <a:pt x="89" y="71"/>
                  <a:pt x="89" y="71"/>
                  <a:pt x="89" y="71"/>
                </a:cubicBezTo>
                <a:cubicBezTo>
                  <a:pt x="14" y="71"/>
                  <a:pt x="14" y="71"/>
                  <a:pt x="14" y="71"/>
                </a:cubicBezTo>
                <a:cubicBezTo>
                  <a:pt x="14" y="62"/>
                  <a:pt x="14" y="62"/>
                  <a:pt x="14" y="62"/>
                </a:cubicBezTo>
                <a:cubicBezTo>
                  <a:pt x="14" y="62"/>
                  <a:pt x="14" y="62"/>
                  <a:pt x="14" y="62"/>
                </a:cubicBezTo>
                <a:close/>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cxnSp>
        <p:nvCxnSpPr>
          <p:cNvPr id="593" name="Straight Connector 592"/>
          <p:cNvCxnSpPr/>
          <p:nvPr/>
        </p:nvCxnSpPr>
        <p:spPr>
          <a:xfrm>
            <a:off x="6258135" y="1975299"/>
            <a:ext cx="1849430" cy="0"/>
          </a:xfrm>
          <a:prstGeom prst="line">
            <a:avLst/>
          </a:prstGeom>
          <a:noFill/>
          <a:ln w="9525" cap="flat" cmpd="sng" algn="ctr">
            <a:solidFill>
              <a:srgbClr val="FFFFFF"/>
            </a:solidFill>
            <a:prstDash val="solid"/>
            <a:headEnd type="none"/>
            <a:tailEnd type="none"/>
          </a:ln>
          <a:effectLst/>
        </p:spPr>
      </p:cxnSp>
      <p:sp>
        <p:nvSpPr>
          <p:cNvPr id="594" name="Rectangle 62"/>
          <p:cNvSpPr/>
          <p:nvPr/>
        </p:nvSpPr>
        <p:spPr>
          <a:xfrm>
            <a:off x="1702380" y="4686691"/>
            <a:ext cx="10129650" cy="479745"/>
          </a:xfrm>
          <a:prstGeom prst="rect">
            <a:avLst/>
          </a:prstGeom>
          <a:solidFill>
            <a:srgbClr val="FFFFFF">
              <a:lumMod val="85000"/>
            </a:srgbClr>
          </a:solidFill>
          <a:ln w="6350" cap="flat" cmpd="sng" algn="ctr">
            <a:noFill/>
            <a:prstDash val="solid"/>
          </a:ln>
          <a:effectLst/>
        </p:spPr>
        <p:txBody>
          <a:bodyPr vert="horz" wrap="square" lIns="179065" tIns="89532" rIns="179065" bIns="89532" rtlCol="0" anchor="t">
            <a:noAutofit/>
          </a:bodyPr>
          <a:lstStyle/>
          <a:p>
            <a:pPr defTabSz="896403">
              <a:lnSpc>
                <a:spcPct val="90000"/>
              </a:lnSpc>
              <a:defRPr/>
            </a:pPr>
            <a:endParaRPr lang="en-US" sz="1078" kern="0" dirty="0">
              <a:gradFill>
                <a:gsLst>
                  <a:gs pos="56637">
                    <a:srgbClr val="191919"/>
                  </a:gs>
                  <a:gs pos="71000">
                    <a:srgbClr val="191919"/>
                  </a:gs>
                </a:gsLst>
                <a:lin ang="5400000" scaled="0"/>
              </a:gradFill>
              <a:latin typeface="Segoe UI Semibold" panose="020B0702040204020203" pitchFamily="34" charset="0"/>
              <a:cs typeface="Segoe UI" pitchFamily="34" charset="0"/>
            </a:endParaRPr>
          </a:p>
        </p:txBody>
      </p:sp>
      <p:sp>
        <p:nvSpPr>
          <p:cNvPr id="595" name="Check mark"/>
          <p:cNvSpPr>
            <a:spLocks noChangeAspect="1" noEditPoints="1"/>
          </p:cNvSpPr>
          <p:nvPr/>
        </p:nvSpPr>
        <p:spPr bwMode="auto">
          <a:xfrm>
            <a:off x="7910190" y="1237511"/>
            <a:ext cx="344623" cy="344623"/>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0072C6"/>
          </a:solidFill>
          <a:ln w="12700">
            <a:solidFill>
              <a:srgbClr val="FFFFFF"/>
            </a:solid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596" name="Group 595"/>
          <p:cNvGrpSpPr/>
          <p:nvPr/>
        </p:nvGrpSpPr>
        <p:grpSpPr>
          <a:xfrm>
            <a:off x="2098934" y="4823948"/>
            <a:ext cx="3134093" cy="1318342"/>
            <a:chOff x="2141022" y="4920181"/>
            <a:chExt cx="3196938" cy="1344777"/>
          </a:xfrm>
        </p:grpSpPr>
        <p:sp>
          <p:nvSpPr>
            <p:cNvPr id="597" name="TextBox 596"/>
            <p:cNvSpPr txBox="1"/>
            <p:nvPr/>
          </p:nvSpPr>
          <p:spPr>
            <a:xfrm>
              <a:off x="2141022" y="4976110"/>
              <a:ext cx="665020" cy="124598"/>
            </a:xfrm>
            <a:prstGeom prst="rect">
              <a:avLst/>
            </a:prstGeom>
            <a:noFill/>
          </p:spPr>
          <p:txBody>
            <a:bodyPr wrap="square" lIns="179285" tIns="0" rIns="0" bIns="0" rtlCol="0">
              <a:spAutoFit/>
            </a:bodyPr>
            <a:lstStyle/>
            <a:p>
              <a:pPr defTabSz="897109">
                <a:lnSpc>
                  <a:spcPct val="90000"/>
                </a:lnSpc>
                <a:spcAft>
                  <a:spcPts val="577"/>
                </a:spcAft>
                <a:defRPr/>
              </a:pPr>
              <a:r>
                <a:rPr lang="en-US" sz="882" kern="0" dirty="0">
                  <a:gradFill>
                    <a:gsLst>
                      <a:gs pos="24779">
                        <a:srgbClr val="505050"/>
                      </a:gs>
                      <a:gs pos="35398">
                        <a:srgbClr val="505050"/>
                      </a:gs>
                    </a:gsLst>
                    <a:lin ang="5400000" scaled="0"/>
                  </a:gradFill>
                  <a:latin typeface="Segoe UI"/>
                </a:rPr>
                <a:t>Compute</a:t>
              </a:r>
            </a:p>
          </p:txBody>
        </p:sp>
        <p:sp>
          <p:nvSpPr>
            <p:cNvPr id="598" name="TextBox 597"/>
            <p:cNvSpPr txBox="1"/>
            <p:nvPr/>
          </p:nvSpPr>
          <p:spPr>
            <a:xfrm>
              <a:off x="2188524" y="5714960"/>
              <a:ext cx="665020" cy="124598"/>
            </a:xfrm>
            <a:prstGeom prst="rect">
              <a:avLst/>
            </a:prstGeom>
            <a:noFill/>
          </p:spPr>
          <p:txBody>
            <a:bodyPr wrap="square" lIns="179285" tIns="0" rIns="0" bIns="0" rtlCol="0">
              <a:spAutoFit/>
            </a:bodyPr>
            <a:lstStyle/>
            <a:p>
              <a:pPr defTabSz="897109">
                <a:lnSpc>
                  <a:spcPct val="90000"/>
                </a:lnSpc>
                <a:spcAft>
                  <a:spcPts val="577"/>
                </a:spcAft>
                <a:defRPr/>
              </a:pPr>
              <a:r>
                <a:rPr lang="en-US" sz="882" kern="0" dirty="0">
                  <a:gradFill>
                    <a:gsLst>
                      <a:gs pos="24779">
                        <a:srgbClr val="505050"/>
                      </a:gs>
                      <a:gs pos="35398">
                        <a:srgbClr val="505050"/>
                      </a:gs>
                    </a:gsLst>
                    <a:lin ang="5400000" scaled="0"/>
                  </a:gradFill>
                  <a:latin typeface="Segoe UI"/>
                </a:rPr>
                <a:t>Storage</a:t>
              </a:r>
            </a:p>
          </p:txBody>
        </p:sp>
        <p:sp>
          <p:nvSpPr>
            <p:cNvPr id="599" name="TextBox 598"/>
            <p:cNvSpPr txBox="1"/>
            <p:nvPr/>
          </p:nvSpPr>
          <p:spPr>
            <a:xfrm>
              <a:off x="2188524" y="5920265"/>
              <a:ext cx="665020" cy="124598"/>
            </a:xfrm>
            <a:prstGeom prst="rect">
              <a:avLst/>
            </a:prstGeom>
            <a:noFill/>
          </p:spPr>
          <p:txBody>
            <a:bodyPr wrap="square" lIns="179285" tIns="0" rIns="0" bIns="0" rtlCol="0">
              <a:spAutoFit/>
            </a:bodyPr>
            <a:lstStyle/>
            <a:p>
              <a:pPr defTabSz="897109">
                <a:lnSpc>
                  <a:spcPct val="90000"/>
                </a:lnSpc>
                <a:spcAft>
                  <a:spcPts val="577"/>
                </a:spcAft>
                <a:defRPr/>
              </a:pPr>
              <a:r>
                <a:rPr lang="en-US" sz="882" kern="0" dirty="0">
                  <a:gradFill>
                    <a:gsLst>
                      <a:gs pos="24779">
                        <a:srgbClr val="505050"/>
                      </a:gs>
                      <a:gs pos="35398">
                        <a:srgbClr val="505050"/>
                      </a:gs>
                    </a:gsLst>
                    <a:lin ang="5400000" scaled="0"/>
                  </a:gradFill>
                  <a:latin typeface="Segoe UI"/>
                </a:rPr>
                <a:t>Network</a:t>
              </a:r>
            </a:p>
          </p:txBody>
        </p:sp>
        <p:grpSp>
          <p:nvGrpSpPr>
            <p:cNvPr id="600" name="Group 599"/>
            <p:cNvGrpSpPr/>
            <p:nvPr/>
          </p:nvGrpSpPr>
          <p:grpSpPr>
            <a:xfrm>
              <a:off x="2865999" y="4920181"/>
              <a:ext cx="2471961" cy="1344777"/>
              <a:chOff x="2865999" y="4920181"/>
              <a:chExt cx="2471961" cy="1344777"/>
            </a:xfrm>
          </p:grpSpPr>
          <p:sp>
            <p:nvSpPr>
              <p:cNvPr id="601" name="Rectangle 600"/>
              <p:cNvSpPr/>
              <p:nvPr/>
            </p:nvSpPr>
            <p:spPr bwMode="auto">
              <a:xfrm>
                <a:off x="2889250" y="5328558"/>
                <a:ext cx="1235592" cy="786903"/>
              </a:xfrm>
              <a:prstGeom prst="rect">
                <a:avLst/>
              </a:prstGeom>
              <a:noFill/>
              <a:ln w="12700" cap="sq" cmpd="sng" algn="ctr">
                <a:solidFill>
                  <a:srgbClr val="00BCF2"/>
                </a:solidFill>
                <a:prstDash val="sysDot"/>
                <a:miter lim="800000"/>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grpSp>
            <p:nvGrpSpPr>
              <p:cNvPr id="602" name="Group 601"/>
              <p:cNvGrpSpPr/>
              <p:nvPr/>
            </p:nvGrpSpPr>
            <p:grpSpPr>
              <a:xfrm>
                <a:off x="2865999" y="4920181"/>
                <a:ext cx="2471961" cy="1174117"/>
                <a:chOff x="2865999" y="4920181"/>
                <a:chExt cx="2471961" cy="1174117"/>
              </a:xfrm>
            </p:grpSpPr>
            <p:sp>
              <p:nvSpPr>
                <p:cNvPr id="606" name="Freeform 605"/>
                <p:cNvSpPr>
                  <a:spLocks noChangeAspect="1" noEditPoints="1"/>
                </p:cNvSpPr>
                <p:nvPr/>
              </p:nvSpPr>
              <p:spPr bwMode="auto">
                <a:xfrm>
                  <a:off x="3047484" y="5875594"/>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07" name="Freeform 606"/>
                <p:cNvSpPr>
                  <a:spLocks noChangeAspect="1" noEditPoints="1"/>
                </p:cNvSpPr>
                <p:nvPr/>
              </p:nvSpPr>
              <p:spPr bwMode="auto">
                <a:xfrm>
                  <a:off x="3673351" y="5875594"/>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08" name="Freeform 607"/>
                <p:cNvSpPr>
                  <a:spLocks noChangeAspect="1" noEditPoints="1"/>
                </p:cNvSpPr>
                <p:nvPr/>
              </p:nvSpPr>
              <p:spPr bwMode="auto">
                <a:xfrm>
                  <a:off x="4299218" y="5875594"/>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09" name="Freeform 608"/>
                <p:cNvSpPr>
                  <a:spLocks noChangeAspect="1" noEditPoints="1"/>
                </p:cNvSpPr>
                <p:nvPr/>
              </p:nvSpPr>
              <p:spPr bwMode="auto">
                <a:xfrm>
                  <a:off x="4925085" y="5875594"/>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10" name="Straight Connector 609"/>
                <p:cNvCxnSpPr/>
                <p:nvPr/>
              </p:nvCxnSpPr>
              <p:spPr>
                <a:xfrm>
                  <a:off x="3323811" y="5984946"/>
                  <a:ext cx="347472" cy="0"/>
                </a:xfrm>
                <a:prstGeom prst="line">
                  <a:avLst/>
                </a:prstGeom>
                <a:noFill/>
                <a:ln w="6350" cap="flat" cmpd="sng" algn="ctr">
                  <a:solidFill>
                    <a:srgbClr val="282828"/>
                  </a:solidFill>
                  <a:prstDash val="solid"/>
                  <a:headEnd type="none"/>
                  <a:tailEnd type="none"/>
                </a:ln>
                <a:effectLst/>
              </p:spPr>
            </p:cxnSp>
            <p:cxnSp>
              <p:nvCxnSpPr>
                <p:cNvPr id="611" name="Straight Connector 610"/>
                <p:cNvCxnSpPr/>
                <p:nvPr/>
              </p:nvCxnSpPr>
              <p:spPr>
                <a:xfrm>
                  <a:off x="3949678" y="5984946"/>
                  <a:ext cx="347472" cy="0"/>
                </a:xfrm>
                <a:prstGeom prst="line">
                  <a:avLst/>
                </a:prstGeom>
                <a:noFill/>
                <a:ln w="6350" cap="flat" cmpd="sng" algn="ctr">
                  <a:solidFill>
                    <a:srgbClr val="282828"/>
                  </a:solidFill>
                  <a:prstDash val="solid"/>
                  <a:headEnd type="none"/>
                  <a:tailEnd type="none"/>
                </a:ln>
                <a:effectLst/>
              </p:spPr>
            </p:cxnSp>
            <p:cxnSp>
              <p:nvCxnSpPr>
                <p:cNvPr id="612" name="Straight Connector 611"/>
                <p:cNvCxnSpPr/>
                <p:nvPr/>
              </p:nvCxnSpPr>
              <p:spPr>
                <a:xfrm>
                  <a:off x="4577926" y="5984946"/>
                  <a:ext cx="347472" cy="0"/>
                </a:xfrm>
                <a:prstGeom prst="line">
                  <a:avLst/>
                </a:prstGeom>
                <a:noFill/>
                <a:ln w="6350" cap="flat" cmpd="sng" algn="ctr">
                  <a:solidFill>
                    <a:srgbClr val="282828"/>
                  </a:solidFill>
                  <a:prstDash val="solid"/>
                  <a:headEnd type="none"/>
                  <a:tailEnd type="none"/>
                </a:ln>
                <a:effectLst/>
              </p:spPr>
            </p:cxnSp>
            <p:cxnSp>
              <p:nvCxnSpPr>
                <p:cNvPr id="613" name="Straight Connector 612"/>
                <p:cNvCxnSpPr/>
                <p:nvPr/>
              </p:nvCxnSpPr>
              <p:spPr>
                <a:xfrm>
                  <a:off x="5064595" y="5577283"/>
                  <a:ext cx="0" cy="301752"/>
                </a:xfrm>
                <a:prstGeom prst="line">
                  <a:avLst/>
                </a:prstGeom>
                <a:noFill/>
                <a:ln w="6350" cap="flat" cmpd="sng" algn="ctr">
                  <a:solidFill>
                    <a:srgbClr val="282828"/>
                  </a:solidFill>
                  <a:prstDash val="solid"/>
                  <a:headEnd type="none"/>
                  <a:tailEnd type="none"/>
                </a:ln>
                <a:effectLst/>
              </p:spPr>
            </p:cxnSp>
            <p:cxnSp>
              <p:nvCxnSpPr>
                <p:cNvPr id="614" name="Straight Connector 613"/>
                <p:cNvCxnSpPr/>
                <p:nvPr/>
              </p:nvCxnSpPr>
              <p:spPr>
                <a:xfrm>
                  <a:off x="4438728" y="5574871"/>
                  <a:ext cx="0" cy="304164"/>
                </a:xfrm>
                <a:prstGeom prst="line">
                  <a:avLst/>
                </a:prstGeom>
                <a:noFill/>
                <a:ln w="6350" cap="flat" cmpd="sng" algn="ctr">
                  <a:solidFill>
                    <a:srgbClr val="282828"/>
                  </a:solidFill>
                  <a:prstDash val="solid"/>
                  <a:headEnd type="none"/>
                  <a:tailEnd type="none"/>
                </a:ln>
                <a:effectLst/>
              </p:spPr>
            </p:cxnSp>
            <p:cxnSp>
              <p:nvCxnSpPr>
                <p:cNvPr id="615" name="Straight Connector 614"/>
                <p:cNvCxnSpPr/>
                <p:nvPr/>
              </p:nvCxnSpPr>
              <p:spPr>
                <a:xfrm>
                  <a:off x="3812861" y="5574871"/>
                  <a:ext cx="0" cy="304164"/>
                </a:xfrm>
                <a:prstGeom prst="line">
                  <a:avLst/>
                </a:prstGeom>
                <a:noFill/>
                <a:ln w="6350" cap="flat" cmpd="sng" algn="ctr">
                  <a:solidFill>
                    <a:srgbClr val="282828"/>
                  </a:solidFill>
                  <a:prstDash val="solid"/>
                  <a:headEnd type="none"/>
                  <a:tailEnd type="none"/>
                </a:ln>
                <a:effectLst/>
              </p:spPr>
            </p:cxnSp>
            <p:cxnSp>
              <p:nvCxnSpPr>
                <p:cNvPr id="616" name="Straight Connector 615"/>
                <p:cNvCxnSpPr/>
                <p:nvPr/>
              </p:nvCxnSpPr>
              <p:spPr>
                <a:xfrm>
                  <a:off x="3186994" y="5574871"/>
                  <a:ext cx="0" cy="304164"/>
                </a:xfrm>
                <a:prstGeom prst="line">
                  <a:avLst/>
                </a:prstGeom>
                <a:noFill/>
                <a:ln w="6350" cap="flat" cmpd="sng" algn="ctr">
                  <a:solidFill>
                    <a:srgbClr val="282828"/>
                  </a:solidFill>
                  <a:prstDash val="solid"/>
                  <a:headEnd type="none"/>
                  <a:tailEnd type="none"/>
                </a:ln>
                <a:effectLst/>
              </p:spPr>
            </p:cxnSp>
            <p:grpSp>
              <p:nvGrpSpPr>
                <p:cNvPr id="617" name="Group 616"/>
                <p:cNvGrpSpPr/>
                <p:nvPr/>
              </p:nvGrpSpPr>
              <p:grpSpPr>
                <a:xfrm>
                  <a:off x="3367728" y="5578675"/>
                  <a:ext cx="265193" cy="282832"/>
                  <a:chOff x="3850047" y="5668784"/>
                  <a:chExt cx="265193" cy="282832"/>
                </a:xfrm>
              </p:grpSpPr>
              <p:sp>
                <p:nvSpPr>
                  <p:cNvPr id="638" name="Freeform 11"/>
                  <p:cNvSpPr>
                    <a:spLocks noChangeAspect="1" noEditPoints="1"/>
                  </p:cNvSpPr>
                  <p:nvPr/>
                </p:nvSpPr>
                <p:spPr bwMode="auto">
                  <a:xfrm>
                    <a:off x="3891619" y="5790337"/>
                    <a:ext cx="184293" cy="16127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39" name="Straight Connector 293"/>
                  <p:cNvCxnSpPr/>
                  <p:nvPr/>
                </p:nvCxnSpPr>
                <p:spPr>
                  <a:xfrm rot="5400000">
                    <a:off x="4006537" y="5738160"/>
                    <a:ext cx="178079" cy="39327"/>
                  </a:xfrm>
                  <a:prstGeom prst="bentConnector2">
                    <a:avLst/>
                  </a:prstGeom>
                  <a:noFill/>
                  <a:ln w="6350" cap="flat" cmpd="sng" algn="ctr">
                    <a:solidFill>
                      <a:srgbClr val="FFFFFF">
                        <a:lumMod val="65000"/>
                      </a:srgbClr>
                    </a:solidFill>
                    <a:prstDash val="solid"/>
                    <a:headEnd type="none"/>
                    <a:tailEnd type="none"/>
                  </a:ln>
                  <a:effectLst/>
                </p:spPr>
              </p:cxnSp>
              <p:cxnSp>
                <p:nvCxnSpPr>
                  <p:cNvPr id="640" name="Straight Connector 293"/>
                  <p:cNvCxnSpPr/>
                  <p:nvPr/>
                </p:nvCxnSpPr>
                <p:spPr>
                  <a:xfrm rot="16200000" flipH="1">
                    <a:off x="3780671" y="5738160"/>
                    <a:ext cx="178079" cy="39327"/>
                  </a:xfrm>
                  <a:prstGeom prst="bentConnector2">
                    <a:avLst/>
                  </a:prstGeom>
                  <a:noFill/>
                  <a:ln w="6350" cap="flat" cmpd="sng" algn="ctr">
                    <a:solidFill>
                      <a:srgbClr val="FFFFFF">
                        <a:lumMod val="65000"/>
                      </a:srgbClr>
                    </a:solidFill>
                    <a:prstDash val="solid"/>
                    <a:headEnd type="none"/>
                    <a:tailEnd type="none"/>
                  </a:ln>
                  <a:effectLst/>
                </p:spPr>
              </p:cxnSp>
            </p:grpSp>
            <p:grpSp>
              <p:nvGrpSpPr>
                <p:cNvPr id="618" name="Group 617"/>
                <p:cNvGrpSpPr/>
                <p:nvPr/>
              </p:nvGrpSpPr>
              <p:grpSpPr>
                <a:xfrm>
                  <a:off x="3994389" y="5578397"/>
                  <a:ext cx="265193" cy="283389"/>
                  <a:chOff x="4322083" y="5668784"/>
                  <a:chExt cx="265193" cy="283389"/>
                </a:xfrm>
              </p:grpSpPr>
              <p:sp>
                <p:nvSpPr>
                  <p:cNvPr id="635" name="Freeform 11"/>
                  <p:cNvSpPr>
                    <a:spLocks noChangeAspect="1" noEditPoints="1"/>
                  </p:cNvSpPr>
                  <p:nvPr/>
                </p:nvSpPr>
                <p:spPr bwMode="auto">
                  <a:xfrm>
                    <a:off x="4363192" y="5790894"/>
                    <a:ext cx="184293" cy="16127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36" name="Straight Connector 293"/>
                  <p:cNvCxnSpPr/>
                  <p:nvPr/>
                </p:nvCxnSpPr>
                <p:spPr>
                  <a:xfrm rot="5400000">
                    <a:off x="4478573" y="5738160"/>
                    <a:ext cx="178079" cy="39327"/>
                  </a:xfrm>
                  <a:prstGeom prst="bentConnector2">
                    <a:avLst/>
                  </a:prstGeom>
                  <a:noFill/>
                  <a:ln w="6350" cap="flat" cmpd="sng" algn="ctr">
                    <a:solidFill>
                      <a:srgbClr val="FFFFFF">
                        <a:lumMod val="65000"/>
                      </a:srgbClr>
                    </a:solidFill>
                    <a:prstDash val="solid"/>
                    <a:headEnd type="none"/>
                    <a:tailEnd type="none"/>
                  </a:ln>
                  <a:effectLst/>
                </p:spPr>
              </p:cxnSp>
              <p:cxnSp>
                <p:nvCxnSpPr>
                  <p:cNvPr id="637" name="Straight Connector 293"/>
                  <p:cNvCxnSpPr/>
                  <p:nvPr/>
                </p:nvCxnSpPr>
                <p:spPr>
                  <a:xfrm rot="16200000" flipH="1">
                    <a:off x="4252707" y="5738160"/>
                    <a:ext cx="178079" cy="39327"/>
                  </a:xfrm>
                  <a:prstGeom prst="bentConnector2">
                    <a:avLst/>
                  </a:prstGeom>
                  <a:noFill/>
                  <a:ln w="6350" cap="flat" cmpd="sng" algn="ctr">
                    <a:solidFill>
                      <a:srgbClr val="FFFFFF">
                        <a:lumMod val="65000"/>
                      </a:srgbClr>
                    </a:solidFill>
                    <a:prstDash val="solid"/>
                    <a:headEnd type="none"/>
                    <a:tailEnd type="none"/>
                  </a:ln>
                  <a:effectLst/>
                </p:spPr>
              </p:cxnSp>
            </p:grpSp>
            <p:grpSp>
              <p:nvGrpSpPr>
                <p:cNvPr id="619" name="Group 618"/>
                <p:cNvGrpSpPr/>
                <p:nvPr/>
              </p:nvGrpSpPr>
              <p:grpSpPr>
                <a:xfrm>
                  <a:off x="4621050" y="5578397"/>
                  <a:ext cx="262812" cy="283389"/>
                  <a:chOff x="4793940" y="5668784"/>
                  <a:chExt cx="262812" cy="283389"/>
                </a:xfrm>
              </p:grpSpPr>
              <p:sp>
                <p:nvSpPr>
                  <p:cNvPr id="632" name="Freeform 11"/>
                  <p:cNvSpPr>
                    <a:spLocks noChangeAspect="1" noEditPoints="1"/>
                  </p:cNvSpPr>
                  <p:nvPr/>
                </p:nvSpPr>
                <p:spPr bwMode="auto">
                  <a:xfrm>
                    <a:off x="4834765" y="5790894"/>
                    <a:ext cx="184293" cy="16127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33" name="Straight Connector 293"/>
                  <p:cNvCxnSpPr/>
                  <p:nvPr/>
                </p:nvCxnSpPr>
                <p:spPr>
                  <a:xfrm rot="5400000">
                    <a:off x="4948049" y="5738160"/>
                    <a:ext cx="178079" cy="39327"/>
                  </a:xfrm>
                  <a:prstGeom prst="bentConnector2">
                    <a:avLst/>
                  </a:prstGeom>
                  <a:noFill/>
                  <a:ln w="6350" cap="flat" cmpd="sng" algn="ctr">
                    <a:solidFill>
                      <a:srgbClr val="FFFFFF">
                        <a:lumMod val="65000"/>
                      </a:srgbClr>
                    </a:solidFill>
                    <a:prstDash val="solid"/>
                    <a:headEnd type="none"/>
                    <a:tailEnd type="none"/>
                  </a:ln>
                  <a:effectLst/>
                </p:spPr>
              </p:cxnSp>
              <p:cxnSp>
                <p:nvCxnSpPr>
                  <p:cNvPr id="634" name="Straight Connector 293"/>
                  <p:cNvCxnSpPr/>
                  <p:nvPr/>
                </p:nvCxnSpPr>
                <p:spPr>
                  <a:xfrm rot="16200000" flipH="1">
                    <a:off x="4724564" y="5738160"/>
                    <a:ext cx="178079" cy="39327"/>
                  </a:xfrm>
                  <a:prstGeom prst="bentConnector2">
                    <a:avLst/>
                  </a:prstGeom>
                  <a:noFill/>
                  <a:ln w="6350" cap="flat" cmpd="sng" algn="ctr">
                    <a:solidFill>
                      <a:srgbClr val="FFFFFF">
                        <a:lumMod val="65000"/>
                      </a:srgbClr>
                    </a:solidFill>
                    <a:prstDash val="solid"/>
                    <a:headEnd type="none"/>
                    <a:tailEnd type="none"/>
                  </a:ln>
                  <a:effectLst/>
                </p:spPr>
              </p:cxnSp>
            </p:grpSp>
            <p:grpSp>
              <p:nvGrpSpPr>
                <p:cNvPr id="620" name="Group 619"/>
                <p:cNvGrpSpPr/>
                <p:nvPr/>
              </p:nvGrpSpPr>
              <p:grpSpPr>
                <a:xfrm>
                  <a:off x="2865999" y="4920181"/>
                  <a:ext cx="594360" cy="228600"/>
                  <a:chOff x="2865999" y="4888431"/>
                  <a:chExt cx="594360" cy="228600"/>
                </a:xfrm>
              </p:grpSpPr>
              <p:sp>
                <p:nvSpPr>
                  <p:cNvPr id="630" name="Rectangle 58"/>
                  <p:cNvSpPr/>
                  <p:nvPr/>
                </p:nvSpPr>
                <p:spPr>
                  <a:xfrm>
                    <a:off x="2865999" y="4888431"/>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31" name="Freeform 127"/>
                  <p:cNvSpPr>
                    <a:spLocks noChangeAspect="1" noEditPoints="1"/>
                  </p:cNvSpPr>
                  <p:nvPr/>
                </p:nvSpPr>
                <p:spPr bwMode="auto">
                  <a:xfrm>
                    <a:off x="3236589" y="4934599"/>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621" name="Group 620"/>
                <p:cNvGrpSpPr/>
                <p:nvPr/>
              </p:nvGrpSpPr>
              <p:grpSpPr>
                <a:xfrm>
                  <a:off x="3492660" y="4920181"/>
                  <a:ext cx="594360" cy="228600"/>
                  <a:chOff x="3491866" y="4888431"/>
                  <a:chExt cx="594360" cy="228600"/>
                </a:xfrm>
              </p:grpSpPr>
              <p:sp>
                <p:nvSpPr>
                  <p:cNvPr id="628" name="Rectangle 58"/>
                  <p:cNvSpPr/>
                  <p:nvPr/>
                </p:nvSpPr>
                <p:spPr>
                  <a:xfrm>
                    <a:off x="3491866" y="4888431"/>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29" name="Freeform 127"/>
                  <p:cNvSpPr>
                    <a:spLocks noChangeAspect="1" noEditPoints="1"/>
                  </p:cNvSpPr>
                  <p:nvPr/>
                </p:nvSpPr>
                <p:spPr bwMode="auto">
                  <a:xfrm>
                    <a:off x="3862456" y="4934599"/>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dirty="0">
                      <a:solidFill>
                        <a:srgbClr val="505050"/>
                      </a:solidFill>
                      <a:latin typeface="Segoe UI"/>
                      <a:cs typeface="Segoe UI" pitchFamily="34" charset="0"/>
                    </a:endParaRPr>
                  </a:p>
                </p:txBody>
              </p:sp>
            </p:grpSp>
            <p:grpSp>
              <p:nvGrpSpPr>
                <p:cNvPr id="622" name="Group 621"/>
                <p:cNvGrpSpPr/>
                <p:nvPr/>
              </p:nvGrpSpPr>
              <p:grpSpPr>
                <a:xfrm>
                  <a:off x="4119320" y="4920181"/>
                  <a:ext cx="594360" cy="228600"/>
                  <a:chOff x="4117733" y="4888431"/>
                  <a:chExt cx="594360" cy="228600"/>
                </a:xfrm>
              </p:grpSpPr>
              <p:sp>
                <p:nvSpPr>
                  <p:cNvPr id="626" name="Rectangle 60"/>
                  <p:cNvSpPr/>
                  <p:nvPr/>
                </p:nvSpPr>
                <p:spPr>
                  <a:xfrm>
                    <a:off x="4117733" y="4888431"/>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27" name="Freeform 127"/>
                  <p:cNvSpPr>
                    <a:spLocks noChangeAspect="1" noEditPoints="1"/>
                  </p:cNvSpPr>
                  <p:nvPr/>
                </p:nvSpPr>
                <p:spPr bwMode="auto">
                  <a:xfrm>
                    <a:off x="4488323" y="4934599"/>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623" name="Group 622"/>
                <p:cNvGrpSpPr/>
                <p:nvPr/>
              </p:nvGrpSpPr>
              <p:grpSpPr>
                <a:xfrm>
                  <a:off x="4743600" y="4920181"/>
                  <a:ext cx="594360" cy="228600"/>
                  <a:chOff x="4743600" y="4888431"/>
                  <a:chExt cx="594360" cy="228600"/>
                </a:xfrm>
              </p:grpSpPr>
              <p:sp>
                <p:nvSpPr>
                  <p:cNvPr id="624" name="Rectangle 61"/>
                  <p:cNvSpPr/>
                  <p:nvPr/>
                </p:nvSpPr>
                <p:spPr>
                  <a:xfrm>
                    <a:off x="4743600" y="4888431"/>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LINUX</a:t>
                    </a:r>
                  </a:p>
                </p:txBody>
              </p:sp>
              <p:sp>
                <p:nvSpPr>
                  <p:cNvPr id="625" name="Freeform 127"/>
                  <p:cNvSpPr>
                    <a:spLocks noChangeAspect="1" noEditPoints="1"/>
                  </p:cNvSpPr>
                  <p:nvPr/>
                </p:nvSpPr>
                <p:spPr bwMode="auto">
                  <a:xfrm>
                    <a:off x="5114190" y="4934599"/>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a:solidFill>
                        <a:srgbClr val="505050"/>
                      </a:solidFill>
                      <a:latin typeface="Segoe UI"/>
                      <a:cs typeface="Segoe UI" pitchFamily="34" charset="0"/>
                    </a:endParaRPr>
                  </a:p>
                </p:txBody>
              </p:sp>
            </p:grpSp>
          </p:grpSp>
          <p:grpSp>
            <p:nvGrpSpPr>
              <p:cNvPr id="603" name="Group 602"/>
              <p:cNvGrpSpPr/>
              <p:nvPr/>
            </p:nvGrpSpPr>
            <p:grpSpPr>
              <a:xfrm>
                <a:off x="3872171" y="5984946"/>
                <a:ext cx="509628" cy="280012"/>
                <a:chOff x="3872171" y="5984946"/>
                <a:chExt cx="509628" cy="280012"/>
              </a:xfrm>
            </p:grpSpPr>
            <p:sp>
              <p:nvSpPr>
                <p:cNvPr id="604" name="Freeform 603"/>
                <p:cNvSpPr/>
                <p:nvPr/>
              </p:nvSpPr>
              <p:spPr bwMode="auto">
                <a:xfrm>
                  <a:off x="3872171" y="6159765"/>
                  <a:ext cx="509628" cy="105193"/>
                </a:xfrm>
                <a:custGeom>
                  <a:avLst/>
                  <a:gdLst>
                    <a:gd name="connsiteX0" fmla="*/ 443700 w 509628"/>
                    <a:gd name="connsiteY0" fmla="*/ 27715 h 105193"/>
                    <a:gd name="connsiteX1" fmla="*/ 443700 w 509628"/>
                    <a:gd name="connsiteY1" fmla="*/ 78669 h 105193"/>
                    <a:gd name="connsiteX2" fmla="*/ 478050 w 509628"/>
                    <a:gd name="connsiteY2" fmla="*/ 78669 h 105193"/>
                    <a:gd name="connsiteX3" fmla="*/ 478050 w 509628"/>
                    <a:gd name="connsiteY3" fmla="*/ 27715 h 105193"/>
                    <a:gd name="connsiteX4" fmla="*/ 384826 w 509628"/>
                    <a:gd name="connsiteY4" fmla="*/ 27715 h 105193"/>
                    <a:gd name="connsiteX5" fmla="*/ 384826 w 509628"/>
                    <a:gd name="connsiteY5" fmla="*/ 78669 h 105193"/>
                    <a:gd name="connsiteX6" fmla="*/ 419176 w 509628"/>
                    <a:gd name="connsiteY6" fmla="*/ 78669 h 105193"/>
                    <a:gd name="connsiteX7" fmla="*/ 419176 w 509628"/>
                    <a:gd name="connsiteY7" fmla="*/ 27715 h 105193"/>
                    <a:gd name="connsiteX8" fmla="*/ 325951 w 509628"/>
                    <a:gd name="connsiteY8" fmla="*/ 27715 h 105193"/>
                    <a:gd name="connsiteX9" fmla="*/ 325951 w 509628"/>
                    <a:gd name="connsiteY9" fmla="*/ 78669 h 105193"/>
                    <a:gd name="connsiteX10" fmla="*/ 360301 w 509628"/>
                    <a:gd name="connsiteY10" fmla="*/ 78669 h 105193"/>
                    <a:gd name="connsiteX11" fmla="*/ 360301 w 509628"/>
                    <a:gd name="connsiteY11" fmla="*/ 27715 h 105193"/>
                    <a:gd name="connsiteX12" fmla="*/ 267076 w 509628"/>
                    <a:gd name="connsiteY12" fmla="*/ 27715 h 105193"/>
                    <a:gd name="connsiteX13" fmla="*/ 267076 w 509628"/>
                    <a:gd name="connsiteY13" fmla="*/ 78669 h 105193"/>
                    <a:gd name="connsiteX14" fmla="*/ 301426 w 509628"/>
                    <a:gd name="connsiteY14" fmla="*/ 78669 h 105193"/>
                    <a:gd name="connsiteX15" fmla="*/ 301426 w 509628"/>
                    <a:gd name="connsiteY15" fmla="*/ 27715 h 105193"/>
                    <a:gd name="connsiteX16" fmla="*/ 208201 w 509628"/>
                    <a:gd name="connsiteY16" fmla="*/ 27715 h 105193"/>
                    <a:gd name="connsiteX17" fmla="*/ 208201 w 509628"/>
                    <a:gd name="connsiteY17" fmla="*/ 78669 h 105193"/>
                    <a:gd name="connsiteX18" fmla="*/ 242551 w 509628"/>
                    <a:gd name="connsiteY18" fmla="*/ 78669 h 105193"/>
                    <a:gd name="connsiteX19" fmla="*/ 242551 w 509628"/>
                    <a:gd name="connsiteY19" fmla="*/ 27715 h 105193"/>
                    <a:gd name="connsiteX20" fmla="*/ 149326 w 509628"/>
                    <a:gd name="connsiteY20" fmla="*/ 27715 h 105193"/>
                    <a:gd name="connsiteX21" fmla="*/ 149326 w 509628"/>
                    <a:gd name="connsiteY21" fmla="*/ 78669 h 105193"/>
                    <a:gd name="connsiteX22" fmla="*/ 183676 w 509628"/>
                    <a:gd name="connsiteY22" fmla="*/ 78669 h 105193"/>
                    <a:gd name="connsiteX23" fmla="*/ 183676 w 509628"/>
                    <a:gd name="connsiteY23" fmla="*/ 27715 h 105193"/>
                    <a:gd name="connsiteX24" fmla="*/ 90451 w 509628"/>
                    <a:gd name="connsiteY24" fmla="*/ 27715 h 105193"/>
                    <a:gd name="connsiteX25" fmla="*/ 90451 w 509628"/>
                    <a:gd name="connsiteY25" fmla="*/ 78669 h 105193"/>
                    <a:gd name="connsiteX26" fmla="*/ 124801 w 509628"/>
                    <a:gd name="connsiteY26" fmla="*/ 78669 h 105193"/>
                    <a:gd name="connsiteX27" fmla="*/ 124801 w 509628"/>
                    <a:gd name="connsiteY27" fmla="*/ 27715 h 105193"/>
                    <a:gd name="connsiteX28" fmla="*/ 31576 w 509628"/>
                    <a:gd name="connsiteY28" fmla="*/ 27715 h 105193"/>
                    <a:gd name="connsiteX29" fmla="*/ 31576 w 509628"/>
                    <a:gd name="connsiteY29" fmla="*/ 78669 h 105193"/>
                    <a:gd name="connsiteX30" fmla="*/ 65926 w 509628"/>
                    <a:gd name="connsiteY30" fmla="*/ 78669 h 105193"/>
                    <a:gd name="connsiteX31" fmla="*/ 65926 w 509628"/>
                    <a:gd name="connsiteY31" fmla="*/ 27715 h 105193"/>
                    <a:gd name="connsiteX32" fmla="*/ 0 w 509628"/>
                    <a:gd name="connsiteY32" fmla="*/ 0 h 105193"/>
                    <a:gd name="connsiteX33" fmla="*/ 509628 w 509628"/>
                    <a:gd name="connsiteY33" fmla="*/ 0 h 105193"/>
                    <a:gd name="connsiteX34" fmla="*/ 509628 w 509628"/>
                    <a:gd name="connsiteY34" fmla="*/ 105193 h 105193"/>
                    <a:gd name="connsiteX35" fmla="*/ 0 w 509628"/>
                    <a:gd name="connsiteY35" fmla="*/ 105193 h 10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628" h="105193">
                      <a:moveTo>
                        <a:pt x="443700" y="27715"/>
                      </a:moveTo>
                      <a:lnTo>
                        <a:pt x="443700" y="78669"/>
                      </a:lnTo>
                      <a:lnTo>
                        <a:pt x="478050" y="78669"/>
                      </a:lnTo>
                      <a:lnTo>
                        <a:pt x="478050" y="27715"/>
                      </a:lnTo>
                      <a:close/>
                      <a:moveTo>
                        <a:pt x="384826" y="27715"/>
                      </a:moveTo>
                      <a:lnTo>
                        <a:pt x="384826" y="78669"/>
                      </a:lnTo>
                      <a:lnTo>
                        <a:pt x="419176" y="78669"/>
                      </a:lnTo>
                      <a:lnTo>
                        <a:pt x="419176" y="27715"/>
                      </a:lnTo>
                      <a:close/>
                      <a:moveTo>
                        <a:pt x="325951" y="27715"/>
                      </a:moveTo>
                      <a:lnTo>
                        <a:pt x="325951" y="78669"/>
                      </a:lnTo>
                      <a:lnTo>
                        <a:pt x="360301" y="78669"/>
                      </a:lnTo>
                      <a:lnTo>
                        <a:pt x="360301" y="27715"/>
                      </a:lnTo>
                      <a:close/>
                      <a:moveTo>
                        <a:pt x="267076" y="27715"/>
                      </a:moveTo>
                      <a:lnTo>
                        <a:pt x="267076" y="78669"/>
                      </a:lnTo>
                      <a:lnTo>
                        <a:pt x="301426" y="78669"/>
                      </a:lnTo>
                      <a:lnTo>
                        <a:pt x="301426" y="27715"/>
                      </a:lnTo>
                      <a:close/>
                      <a:moveTo>
                        <a:pt x="208201" y="27715"/>
                      </a:moveTo>
                      <a:lnTo>
                        <a:pt x="208201" y="78669"/>
                      </a:lnTo>
                      <a:lnTo>
                        <a:pt x="242551" y="78669"/>
                      </a:lnTo>
                      <a:lnTo>
                        <a:pt x="242551" y="27715"/>
                      </a:lnTo>
                      <a:close/>
                      <a:moveTo>
                        <a:pt x="149326" y="27715"/>
                      </a:moveTo>
                      <a:lnTo>
                        <a:pt x="149326" y="78669"/>
                      </a:lnTo>
                      <a:lnTo>
                        <a:pt x="183676" y="78669"/>
                      </a:lnTo>
                      <a:lnTo>
                        <a:pt x="183676" y="27715"/>
                      </a:lnTo>
                      <a:close/>
                      <a:moveTo>
                        <a:pt x="90451" y="27715"/>
                      </a:moveTo>
                      <a:lnTo>
                        <a:pt x="90451" y="78669"/>
                      </a:lnTo>
                      <a:lnTo>
                        <a:pt x="124801" y="78669"/>
                      </a:lnTo>
                      <a:lnTo>
                        <a:pt x="124801" y="27715"/>
                      </a:lnTo>
                      <a:close/>
                      <a:moveTo>
                        <a:pt x="31576" y="27715"/>
                      </a:moveTo>
                      <a:lnTo>
                        <a:pt x="31576" y="78669"/>
                      </a:lnTo>
                      <a:lnTo>
                        <a:pt x="65926" y="78669"/>
                      </a:lnTo>
                      <a:lnTo>
                        <a:pt x="65926" y="27715"/>
                      </a:lnTo>
                      <a:close/>
                      <a:moveTo>
                        <a:pt x="0" y="0"/>
                      </a:moveTo>
                      <a:lnTo>
                        <a:pt x="509628" y="0"/>
                      </a:lnTo>
                      <a:lnTo>
                        <a:pt x="509628" y="105193"/>
                      </a:lnTo>
                      <a:lnTo>
                        <a:pt x="0" y="105193"/>
                      </a:lnTo>
                      <a:close/>
                    </a:path>
                  </a:pathLst>
                </a:custGeom>
                <a:solidFill>
                  <a:srgbClr val="282828"/>
                </a:solidFill>
                <a:ln>
                  <a:noFill/>
                </a:ln>
              </p:spPr>
              <p:txBody>
                <a:bodyPr vert="horz" wrap="square" lIns="89642" tIns="44821" rIns="89642" bIns="44821" numCol="1" anchor="t" anchorCtr="0" compatLnSpc="1">
                  <a:prstTxWarp prst="textNoShape">
                    <a:avLst/>
                  </a:prstTxWarp>
                  <a:noAutofit/>
                </a:bodyPr>
                <a:lstStyle/>
                <a:p>
                  <a:pPr defTabSz="913965">
                    <a:defRPr/>
                  </a:pPr>
                  <a:endParaRPr lang="en-US" sz="1765" kern="0" dirty="0">
                    <a:solidFill>
                      <a:srgbClr val="505050"/>
                    </a:solidFill>
                    <a:latin typeface="Segoe UI"/>
                  </a:endParaRPr>
                </a:p>
              </p:txBody>
            </p:sp>
            <p:cxnSp>
              <p:nvCxnSpPr>
                <p:cNvPr id="605" name="Straight Connector 604"/>
                <p:cNvCxnSpPr/>
                <p:nvPr/>
              </p:nvCxnSpPr>
              <p:spPr>
                <a:xfrm>
                  <a:off x="4123414" y="5984946"/>
                  <a:ext cx="0" cy="182880"/>
                </a:xfrm>
                <a:prstGeom prst="line">
                  <a:avLst/>
                </a:prstGeom>
                <a:noFill/>
                <a:ln w="6350" cap="flat" cmpd="sng" algn="ctr">
                  <a:solidFill>
                    <a:srgbClr val="282828"/>
                  </a:solidFill>
                  <a:prstDash val="solid"/>
                  <a:headEnd type="none"/>
                  <a:tailEnd type="none"/>
                </a:ln>
                <a:effectLst/>
              </p:spPr>
            </p:cxnSp>
          </p:grpSp>
        </p:grpSp>
      </p:grpSp>
      <p:sp>
        <p:nvSpPr>
          <p:cNvPr id="641" name="network 1"/>
          <p:cNvSpPr/>
          <p:nvPr/>
        </p:nvSpPr>
        <p:spPr bwMode="auto">
          <a:xfrm>
            <a:off x="4000465"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grpSp>
        <p:nvGrpSpPr>
          <p:cNvPr id="642" name="Group 641"/>
          <p:cNvGrpSpPr/>
          <p:nvPr/>
        </p:nvGrpSpPr>
        <p:grpSpPr>
          <a:xfrm>
            <a:off x="7245691" y="5249582"/>
            <a:ext cx="1197018" cy="892707"/>
            <a:chOff x="7390973" y="5354350"/>
            <a:chExt cx="1221021" cy="910608"/>
          </a:xfrm>
        </p:grpSpPr>
        <p:grpSp>
          <p:nvGrpSpPr>
            <p:cNvPr id="643" name="Group 642"/>
            <p:cNvGrpSpPr/>
            <p:nvPr/>
          </p:nvGrpSpPr>
          <p:grpSpPr>
            <a:xfrm>
              <a:off x="7390973" y="5354350"/>
              <a:ext cx="1221021" cy="739948"/>
              <a:chOff x="6680172" y="7602108"/>
              <a:chExt cx="1221021" cy="739948"/>
            </a:xfrm>
          </p:grpSpPr>
          <p:sp>
            <p:nvSpPr>
              <p:cNvPr id="647" name="Freeform 646"/>
              <p:cNvSpPr>
                <a:spLocks noChangeAspect="1" noEditPoints="1"/>
              </p:cNvSpPr>
              <p:nvPr/>
            </p:nvSpPr>
            <p:spPr bwMode="auto">
              <a:xfrm>
                <a:off x="6837842" y="8123352"/>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48" name="Freeform 647"/>
              <p:cNvSpPr>
                <a:spLocks noChangeAspect="1" noEditPoints="1"/>
              </p:cNvSpPr>
              <p:nvPr/>
            </p:nvSpPr>
            <p:spPr bwMode="auto">
              <a:xfrm>
                <a:off x="7463709" y="8123352"/>
                <a:ext cx="279021" cy="218704"/>
              </a:xfrm>
              <a:custGeom>
                <a:avLst/>
                <a:gdLst>
                  <a:gd name="T0" fmla="*/ 138 w 277"/>
                  <a:gd name="T1" fmla="*/ 0 h 201"/>
                  <a:gd name="T2" fmla="*/ 0 w 277"/>
                  <a:gd name="T3" fmla="*/ 119 h 201"/>
                  <a:gd name="T4" fmla="*/ 138 w 277"/>
                  <a:gd name="T5" fmla="*/ 201 h 201"/>
                  <a:gd name="T6" fmla="*/ 277 w 277"/>
                  <a:gd name="T7" fmla="*/ 81 h 201"/>
                  <a:gd name="T8" fmla="*/ 4 w 277"/>
                  <a:gd name="T9" fmla="*/ 117 h 201"/>
                  <a:gd name="T10" fmla="*/ 4 w 277"/>
                  <a:gd name="T11" fmla="*/ 88 h 201"/>
                  <a:gd name="T12" fmla="*/ 134 w 277"/>
                  <a:gd name="T13" fmla="*/ 194 h 201"/>
                  <a:gd name="T14" fmla="*/ 4 w 277"/>
                  <a:gd name="T15" fmla="*/ 84 h 201"/>
                  <a:gd name="T16" fmla="*/ 273 w 277"/>
                  <a:gd name="T17" fmla="*/ 84 h 201"/>
                  <a:gd name="T18" fmla="*/ 119 w 277"/>
                  <a:gd name="T19" fmla="*/ 181 h 201"/>
                  <a:gd name="T20" fmla="*/ 128 w 277"/>
                  <a:gd name="T21" fmla="*/ 177 h 201"/>
                  <a:gd name="T22" fmla="*/ 112 w 277"/>
                  <a:gd name="T23" fmla="*/ 169 h 201"/>
                  <a:gd name="T24" fmla="*/ 117 w 277"/>
                  <a:gd name="T25" fmla="*/ 167 h 201"/>
                  <a:gd name="T26" fmla="*/ 125 w 277"/>
                  <a:gd name="T27" fmla="*/ 177 h 201"/>
                  <a:gd name="T28" fmla="*/ 121 w 277"/>
                  <a:gd name="T29" fmla="*/ 178 h 201"/>
                  <a:gd name="T30" fmla="*/ 117 w 277"/>
                  <a:gd name="T31" fmla="*/ 167 h 201"/>
                  <a:gd name="T32" fmla="*/ 103 w 277"/>
                  <a:gd name="T33" fmla="*/ 169 h 201"/>
                  <a:gd name="T34" fmla="*/ 101 w 277"/>
                  <a:gd name="T35" fmla="*/ 153 h 201"/>
                  <a:gd name="T36" fmla="*/ 99 w 277"/>
                  <a:gd name="T37" fmla="*/ 168 h 201"/>
                  <a:gd name="T38" fmla="*/ 99 w 277"/>
                  <a:gd name="T39" fmla="*/ 156 h 201"/>
                  <a:gd name="T40" fmla="*/ 103 w 277"/>
                  <a:gd name="T41" fmla="*/ 166 h 201"/>
                  <a:gd name="T42" fmla="*/ 95 w 277"/>
                  <a:gd name="T43" fmla="*/ 157 h 201"/>
                  <a:gd name="T44" fmla="*/ 78 w 277"/>
                  <a:gd name="T45" fmla="*/ 156 h 201"/>
                  <a:gd name="T46" fmla="*/ 87 w 277"/>
                  <a:gd name="T47" fmla="*/ 152 h 201"/>
                  <a:gd name="T48" fmla="*/ 71 w 277"/>
                  <a:gd name="T49" fmla="*/ 145 h 201"/>
                  <a:gd name="T50" fmla="*/ 76 w 277"/>
                  <a:gd name="T51" fmla="*/ 143 h 201"/>
                  <a:gd name="T52" fmla="*/ 83 w 277"/>
                  <a:gd name="T53" fmla="*/ 152 h 201"/>
                  <a:gd name="T54" fmla="*/ 80 w 277"/>
                  <a:gd name="T55" fmla="*/ 153 h 201"/>
                  <a:gd name="T56" fmla="*/ 76 w 277"/>
                  <a:gd name="T57" fmla="*/ 143 h 201"/>
                  <a:gd name="T58" fmla="*/ 17 w 277"/>
                  <a:gd name="T59" fmla="*/ 105 h 201"/>
                  <a:gd name="T60" fmla="*/ 17 w 277"/>
                  <a:gd name="T61" fmla="*/ 117 h 201"/>
                  <a:gd name="T62" fmla="*/ 37 w 277"/>
                  <a:gd name="T63" fmla="*/ 131 h 201"/>
                  <a:gd name="T64" fmla="*/ 45 w 277"/>
                  <a:gd name="T65" fmla="*/ 127 h 201"/>
                  <a:gd name="T66" fmla="*/ 30 w 277"/>
                  <a:gd name="T67" fmla="*/ 120 h 201"/>
                  <a:gd name="T68" fmla="*/ 34 w 277"/>
                  <a:gd name="T69" fmla="*/ 118 h 201"/>
                  <a:gd name="T70" fmla="*/ 42 w 277"/>
                  <a:gd name="T71" fmla="*/ 127 h 201"/>
                  <a:gd name="T72" fmla="*/ 38 w 277"/>
                  <a:gd name="T73" fmla="*/ 128 h 201"/>
                  <a:gd name="T74" fmla="*/ 34 w 277"/>
                  <a:gd name="T75" fmla="*/ 118 h 201"/>
                  <a:gd name="T76" fmla="*/ 62 w 277"/>
                  <a:gd name="T77" fmla="*/ 145 h 201"/>
                  <a:gd name="T78" fmla="*/ 59 w 277"/>
                  <a:gd name="T79" fmla="*/ 128 h 201"/>
                  <a:gd name="T80" fmla="*/ 58 w 277"/>
                  <a:gd name="T81" fmla="*/ 144 h 201"/>
                  <a:gd name="T82" fmla="*/ 58 w 277"/>
                  <a:gd name="T83" fmla="*/ 131 h 201"/>
                  <a:gd name="T84" fmla="*/ 62 w 277"/>
                  <a:gd name="T85" fmla="*/ 142 h 201"/>
                  <a:gd name="T86" fmla="*/ 54 w 277"/>
                  <a:gd name="T87" fmla="*/ 13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01">
                    <a:moveTo>
                      <a:pt x="277" y="81"/>
                    </a:moveTo>
                    <a:cubicBezTo>
                      <a:pt x="138" y="0"/>
                      <a:pt x="138" y="0"/>
                      <a:pt x="138" y="0"/>
                    </a:cubicBezTo>
                    <a:cubicBezTo>
                      <a:pt x="0" y="81"/>
                      <a:pt x="0" y="81"/>
                      <a:pt x="0" y="81"/>
                    </a:cubicBezTo>
                    <a:cubicBezTo>
                      <a:pt x="0" y="119"/>
                      <a:pt x="0" y="119"/>
                      <a:pt x="0" y="119"/>
                    </a:cubicBezTo>
                    <a:cubicBezTo>
                      <a:pt x="5" y="122"/>
                      <a:pt x="21" y="132"/>
                      <a:pt x="21" y="132"/>
                    </a:cubicBezTo>
                    <a:cubicBezTo>
                      <a:pt x="138" y="201"/>
                      <a:pt x="138" y="201"/>
                      <a:pt x="138" y="201"/>
                    </a:cubicBezTo>
                    <a:cubicBezTo>
                      <a:pt x="202" y="163"/>
                      <a:pt x="277" y="119"/>
                      <a:pt x="277" y="119"/>
                    </a:cubicBezTo>
                    <a:cubicBezTo>
                      <a:pt x="277" y="81"/>
                      <a:pt x="277" y="81"/>
                      <a:pt x="277" y="81"/>
                    </a:cubicBezTo>
                    <a:close/>
                    <a:moveTo>
                      <a:pt x="134" y="194"/>
                    </a:moveTo>
                    <a:cubicBezTo>
                      <a:pt x="4" y="117"/>
                      <a:pt x="4" y="117"/>
                      <a:pt x="4" y="117"/>
                    </a:cubicBezTo>
                    <a:cubicBezTo>
                      <a:pt x="4" y="112"/>
                      <a:pt x="4" y="112"/>
                      <a:pt x="4" y="112"/>
                    </a:cubicBezTo>
                    <a:cubicBezTo>
                      <a:pt x="4" y="88"/>
                      <a:pt x="4" y="88"/>
                      <a:pt x="4" y="88"/>
                    </a:cubicBezTo>
                    <a:cubicBezTo>
                      <a:pt x="134" y="165"/>
                      <a:pt x="134" y="165"/>
                      <a:pt x="134" y="165"/>
                    </a:cubicBezTo>
                    <a:cubicBezTo>
                      <a:pt x="134" y="194"/>
                      <a:pt x="134" y="194"/>
                      <a:pt x="134" y="194"/>
                    </a:cubicBezTo>
                    <a:close/>
                    <a:moveTo>
                      <a:pt x="138" y="163"/>
                    </a:moveTo>
                    <a:cubicBezTo>
                      <a:pt x="4" y="84"/>
                      <a:pt x="4" y="84"/>
                      <a:pt x="4" y="84"/>
                    </a:cubicBezTo>
                    <a:cubicBezTo>
                      <a:pt x="138" y="4"/>
                      <a:pt x="138" y="4"/>
                      <a:pt x="138" y="4"/>
                    </a:cubicBezTo>
                    <a:cubicBezTo>
                      <a:pt x="273" y="84"/>
                      <a:pt x="273" y="84"/>
                      <a:pt x="273" y="84"/>
                    </a:cubicBezTo>
                    <a:cubicBezTo>
                      <a:pt x="138" y="163"/>
                      <a:pt x="138" y="163"/>
                      <a:pt x="138" y="163"/>
                    </a:cubicBezTo>
                    <a:close/>
                    <a:moveTo>
                      <a:pt x="119" y="181"/>
                    </a:moveTo>
                    <a:cubicBezTo>
                      <a:pt x="121" y="182"/>
                      <a:pt x="122" y="182"/>
                      <a:pt x="123" y="182"/>
                    </a:cubicBezTo>
                    <a:cubicBezTo>
                      <a:pt x="126" y="182"/>
                      <a:pt x="128" y="180"/>
                      <a:pt x="128" y="177"/>
                    </a:cubicBezTo>
                    <a:cubicBezTo>
                      <a:pt x="128" y="172"/>
                      <a:pt x="125" y="167"/>
                      <a:pt x="121" y="165"/>
                    </a:cubicBezTo>
                    <a:cubicBezTo>
                      <a:pt x="116" y="162"/>
                      <a:pt x="112" y="164"/>
                      <a:pt x="112" y="169"/>
                    </a:cubicBezTo>
                    <a:cubicBezTo>
                      <a:pt x="112" y="173"/>
                      <a:pt x="115" y="179"/>
                      <a:pt x="119" y="181"/>
                    </a:cubicBezTo>
                    <a:close/>
                    <a:moveTo>
                      <a:pt x="117" y="167"/>
                    </a:moveTo>
                    <a:cubicBezTo>
                      <a:pt x="117" y="167"/>
                      <a:pt x="118" y="167"/>
                      <a:pt x="119" y="167"/>
                    </a:cubicBezTo>
                    <a:cubicBezTo>
                      <a:pt x="122" y="169"/>
                      <a:pt x="125" y="173"/>
                      <a:pt x="125" y="177"/>
                    </a:cubicBezTo>
                    <a:cubicBezTo>
                      <a:pt x="125" y="179"/>
                      <a:pt x="124" y="179"/>
                      <a:pt x="123" y="179"/>
                    </a:cubicBezTo>
                    <a:cubicBezTo>
                      <a:pt x="123" y="179"/>
                      <a:pt x="122" y="179"/>
                      <a:pt x="121" y="178"/>
                    </a:cubicBezTo>
                    <a:cubicBezTo>
                      <a:pt x="118" y="177"/>
                      <a:pt x="115" y="172"/>
                      <a:pt x="115" y="169"/>
                    </a:cubicBezTo>
                    <a:cubicBezTo>
                      <a:pt x="115" y="167"/>
                      <a:pt x="116" y="167"/>
                      <a:pt x="117" y="167"/>
                    </a:cubicBezTo>
                    <a:close/>
                    <a:moveTo>
                      <a:pt x="99" y="168"/>
                    </a:moveTo>
                    <a:cubicBezTo>
                      <a:pt x="101" y="168"/>
                      <a:pt x="102" y="169"/>
                      <a:pt x="103" y="169"/>
                    </a:cubicBezTo>
                    <a:cubicBezTo>
                      <a:pt x="106" y="169"/>
                      <a:pt x="107" y="167"/>
                      <a:pt x="107" y="164"/>
                    </a:cubicBezTo>
                    <a:cubicBezTo>
                      <a:pt x="107" y="161"/>
                      <a:pt x="105" y="156"/>
                      <a:pt x="101" y="153"/>
                    </a:cubicBezTo>
                    <a:cubicBezTo>
                      <a:pt x="96" y="151"/>
                      <a:pt x="92" y="153"/>
                      <a:pt x="92" y="157"/>
                    </a:cubicBezTo>
                    <a:cubicBezTo>
                      <a:pt x="92" y="161"/>
                      <a:pt x="95" y="165"/>
                      <a:pt x="99" y="168"/>
                    </a:cubicBezTo>
                    <a:close/>
                    <a:moveTo>
                      <a:pt x="97" y="155"/>
                    </a:moveTo>
                    <a:cubicBezTo>
                      <a:pt x="97" y="155"/>
                      <a:pt x="98" y="155"/>
                      <a:pt x="99" y="156"/>
                    </a:cubicBezTo>
                    <a:cubicBezTo>
                      <a:pt x="102" y="158"/>
                      <a:pt x="105" y="161"/>
                      <a:pt x="105" y="164"/>
                    </a:cubicBezTo>
                    <a:cubicBezTo>
                      <a:pt x="105" y="166"/>
                      <a:pt x="104" y="166"/>
                      <a:pt x="103" y="166"/>
                    </a:cubicBezTo>
                    <a:cubicBezTo>
                      <a:pt x="103" y="166"/>
                      <a:pt x="102" y="166"/>
                      <a:pt x="101" y="165"/>
                    </a:cubicBezTo>
                    <a:cubicBezTo>
                      <a:pt x="98" y="163"/>
                      <a:pt x="95" y="160"/>
                      <a:pt x="95" y="157"/>
                    </a:cubicBezTo>
                    <a:cubicBezTo>
                      <a:pt x="95" y="155"/>
                      <a:pt x="97" y="155"/>
                      <a:pt x="97" y="155"/>
                    </a:cubicBezTo>
                    <a:close/>
                    <a:moveTo>
                      <a:pt x="78" y="156"/>
                    </a:moveTo>
                    <a:cubicBezTo>
                      <a:pt x="80" y="157"/>
                      <a:pt x="80" y="157"/>
                      <a:pt x="81" y="157"/>
                    </a:cubicBezTo>
                    <a:cubicBezTo>
                      <a:pt x="84" y="157"/>
                      <a:pt x="87" y="155"/>
                      <a:pt x="87" y="152"/>
                    </a:cubicBezTo>
                    <a:cubicBezTo>
                      <a:pt x="87" y="148"/>
                      <a:pt x="83" y="143"/>
                      <a:pt x="80" y="141"/>
                    </a:cubicBezTo>
                    <a:cubicBezTo>
                      <a:pt x="76" y="138"/>
                      <a:pt x="71" y="140"/>
                      <a:pt x="71" y="145"/>
                    </a:cubicBezTo>
                    <a:cubicBezTo>
                      <a:pt x="71" y="149"/>
                      <a:pt x="75" y="154"/>
                      <a:pt x="78" y="156"/>
                    </a:cubicBezTo>
                    <a:close/>
                    <a:moveTo>
                      <a:pt x="76" y="143"/>
                    </a:moveTo>
                    <a:cubicBezTo>
                      <a:pt x="77" y="143"/>
                      <a:pt x="77" y="143"/>
                      <a:pt x="78" y="143"/>
                    </a:cubicBezTo>
                    <a:cubicBezTo>
                      <a:pt x="80" y="145"/>
                      <a:pt x="83" y="149"/>
                      <a:pt x="83" y="152"/>
                    </a:cubicBezTo>
                    <a:cubicBezTo>
                      <a:pt x="83" y="154"/>
                      <a:pt x="82" y="154"/>
                      <a:pt x="81" y="154"/>
                    </a:cubicBezTo>
                    <a:cubicBezTo>
                      <a:pt x="81" y="154"/>
                      <a:pt x="80" y="154"/>
                      <a:pt x="80" y="153"/>
                    </a:cubicBezTo>
                    <a:cubicBezTo>
                      <a:pt x="77" y="152"/>
                      <a:pt x="75" y="148"/>
                      <a:pt x="75" y="145"/>
                    </a:cubicBezTo>
                    <a:cubicBezTo>
                      <a:pt x="75" y="143"/>
                      <a:pt x="76" y="143"/>
                      <a:pt x="76" y="143"/>
                    </a:cubicBezTo>
                    <a:close/>
                    <a:moveTo>
                      <a:pt x="10" y="107"/>
                    </a:moveTo>
                    <a:cubicBezTo>
                      <a:pt x="10" y="104"/>
                      <a:pt x="13" y="103"/>
                      <a:pt x="17" y="105"/>
                    </a:cubicBezTo>
                    <a:cubicBezTo>
                      <a:pt x="20" y="107"/>
                      <a:pt x="23" y="111"/>
                      <a:pt x="23" y="115"/>
                    </a:cubicBezTo>
                    <a:cubicBezTo>
                      <a:pt x="23" y="118"/>
                      <a:pt x="20" y="119"/>
                      <a:pt x="17" y="117"/>
                    </a:cubicBezTo>
                    <a:cubicBezTo>
                      <a:pt x="13" y="115"/>
                      <a:pt x="10" y="111"/>
                      <a:pt x="10" y="107"/>
                    </a:cubicBezTo>
                    <a:close/>
                    <a:moveTo>
                      <a:pt x="37" y="131"/>
                    </a:moveTo>
                    <a:cubicBezTo>
                      <a:pt x="38" y="132"/>
                      <a:pt x="39" y="132"/>
                      <a:pt x="41" y="132"/>
                    </a:cubicBezTo>
                    <a:cubicBezTo>
                      <a:pt x="44" y="132"/>
                      <a:pt x="45" y="130"/>
                      <a:pt x="45" y="127"/>
                    </a:cubicBezTo>
                    <a:cubicBezTo>
                      <a:pt x="45" y="123"/>
                      <a:pt x="42" y="118"/>
                      <a:pt x="38" y="116"/>
                    </a:cubicBezTo>
                    <a:cubicBezTo>
                      <a:pt x="34" y="113"/>
                      <a:pt x="30" y="115"/>
                      <a:pt x="30" y="120"/>
                    </a:cubicBezTo>
                    <a:cubicBezTo>
                      <a:pt x="30" y="124"/>
                      <a:pt x="33" y="129"/>
                      <a:pt x="37" y="131"/>
                    </a:cubicBezTo>
                    <a:close/>
                    <a:moveTo>
                      <a:pt x="34" y="118"/>
                    </a:moveTo>
                    <a:cubicBezTo>
                      <a:pt x="35" y="118"/>
                      <a:pt x="36" y="118"/>
                      <a:pt x="37" y="118"/>
                    </a:cubicBezTo>
                    <a:cubicBezTo>
                      <a:pt x="40" y="120"/>
                      <a:pt x="42" y="124"/>
                      <a:pt x="42" y="127"/>
                    </a:cubicBezTo>
                    <a:cubicBezTo>
                      <a:pt x="42" y="129"/>
                      <a:pt x="41" y="129"/>
                      <a:pt x="41" y="129"/>
                    </a:cubicBezTo>
                    <a:cubicBezTo>
                      <a:pt x="40" y="129"/>
                      <a:pt x="39" y="129"/>
                      <a:pt x="38" y="128"/>
                    </a:cubicBezTo>
                    <a:cubicBezTo>
                      <a:pt x="35" y="127"/>
                      <a:pt x="33" y="123"/>
                      <a:pt x="33" y="120"/>
                    </a:cubicBezTo>
                    <a:cubicBezTo>
                      <a:pt x="33" y="118"/>
                      <a:pt x="34" y="118"/>
                      <a:pt x="34" y="118"/>
                    </a:cubicBezTo>
                    <a:close/>
                    <a:moveTo>
                      <a:pt x="58" y="144"/>
                    </a:moveTo>
                    <a:cubicBezTo>
                      <a:pt x="59" y="144"/>
                      <a:pt x="60" y="145"/>
                      <a:pt x="62" y="145"/>
                    </a:cubicBezTo>
                    <a:cubicBezTo>
                      <a:pt x="64" y="145"/>
                      <a:pt x="66" y="143"/>
                      <a:pt x="66" y="140"/>
                    </a:cubicBezTo>
                    <a:cubicBezTo>
                      <a:pt x="66" y="136"/>
                      <a:pt x="63" y="131"/>
                      <a:pt x="59" y="128"/>
                    </a:cubicBezTo>
                    <a:cubicBezTo>
                      <a:pt x="55" y="126"/>
                      <a:pt x="50" y="128"/>
                      <a:pt x="50" y="132"/>
                    </a:cubicBezTo>
                    <a:cubicBezTo>
                      <a:pt x="50" y="136"/>
                      <a:pt x="54" y="141"/>
                      <a:pt x="58" y="144"/>
                    </a:cubicBezTo>
                    <a:close/>
                    <a:moveTo>
                      <a:pt x="55" y="130"/>
                    </a:moveTo>
                    <a:cubicBezTo>
                      <a:pt x="56" y="130"/>
                      <a:pt x="56" y="130"/>
                      <a:pt x="58" y="131"/>
                    </a:cubicBezTo>
                    <a:cubicBezTo>
                      <a:pt x="61" y="133"/>
                      <a:pt x="63" y="137"/>
                      <a:pt x="63" y="140"/>
                    </a:cubicBezTo>
                    <a:cubicBezTo>
                      <a:pt x="63" y="142"/>
                      <a:pt x="62" y="142"/>
                      <a:pt x="62" y="142"/>
                    </a:cubicBezTo>
                    <a:cubicBezTo>
                      <a:pt x="61" y="142"/>
                      <a:pt x="60" y="142"/>
                      <a:pt x="59" y="141"/>
                    </a:cubicBezTo>
                    <a:cubicBezTo>
                      <a:pt x="56" y="139"/>
                      <a:pt x="54" y="135"/>
                      <a:pt x="54" y="132"/>
                    </a:cubicBezTo>
                    <a:cubicBezTo>
                      <a:pt x="54" y="130"/>
                      <a:pt x="55" y="130"/>
                      <a:pt x="55" y="130"/>
                    </a:cubicBez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49" name="Straight Connector 648"/>
              <p:cNvCxnSpPr/>
              <p:nvPr/>
            </p:nvCxnSpPr>
            <p:spPr>
              <a:xfrm>
                <a:off x="7114169" y="8232704"/>
                <a:ext cx="347472" cy="0"/>
              </a:xfrm>
              <a:prstGeom prst="line">
                <a:avLst/>
              </a:prstGeom>
              <a:noFill/>
              <a:ln w="6350" cap="flat" cmpd="sng" algn="ctr">
                <a:solidFill>
                  <a:srgbClr val="282828"/>
                </a:solidFill>
                <a:prstDash val="solid"/>
                <a:headEnd type="none"/>
                <a:tailEnd type="none"/>
              </a:ln>
              <a:effectLst/>
            </p:spPr>
          </p:cxnSp>
          <p:cxnSp>
            <p:nvCxnSpPr>
              <p:cNvPr id="650" name="Straight Connector 649"/>
              <p:cNvCxnSpPr/>
              <p:nvPr/>
            </p:nvCxnSpPr>
            <p:spPr>
              <a:xfrm>
                <a:off x="7603219" y="7822629"/>
                <a:ext cx="0" cy="304164"/>
              </a:xfrm>
              <a:prstGeom prst="line">
                <a:avLst/>
              </a:prstGeom>
              <a:noFill/>
              <a:ln w="6350" cap="flat" cmpd="sng" algn="ctr">
                <a:solidFill>
                  <a:srgbClr val="282828"/>
                </a:solidFill>
                <a:prstDash val="solid"/>
                <a:headEnd type="none"/>
                <a:tailEnd type="none"/>
              </a:ln>
              <a:effectLst/>
            </p:spPr>
          </p:cxnSp>
          <p:cxnSp>
            <p:nvCxnSpPr>
              <p:cNvPr id="651" name="Straight Connector 650"/>
              <p:cNvCxnSpPr/>
              <p:nvPr/>
            </p:nvCxnSpPr>
            <p:spPr>
              <a:xfrm>
                <a:off x="6977352" y="7822629"/>
                <a:ext cx="0" cy="304164"/>
              </a:xfrm>
              <a:prstGeom prst="line">
                <a:avLst/>
              </a:prstGeom>
              <a:noFill/>
              <a:ln w="6350" cap="flat" cmpd="sng" algn="ctr">
                <a:solidFill>
                  <a:srgbClr val="282828"/>
                </a:solidFill>
                <a:prstDash val="solid"/>
                <a:headEnd type="none"/>
                <a:tailEnd type="none"/>
              </a:ln>
              <a:effectLst/>
            </p:spPr>
          </p:cxnSp>
          <p:grpSp>
            <p:nvGrpSpPr>
              <p:cNvPr id="652" name="Group 651"/>
              <p:cNvGrpSpPr/>
              <p:nvPr/>
            </p:nvGrpSpPr>
            <p:grpSpPr>
              <a:xfrm>
                <a:off x="7158086" y="7826433"/>
                <a:ext cx="265193" cy="282832"/>
                <a:chOff x="3850047" y="5668784"/>
                <a:chExt cx="265193" cy="282832"/>
              </a:xfrm>
            </p:grpSpPr>
            <p:sp>
              <p:nvSpPr>
                <p:cNvPr id="659" name="Freeform 11"/>
                <p:cNvSpPr>
                  <a:spLocks noChangeAspect="1" noEditPoints="1"/>
                </p:cNvSpPr>
                <p:nvPr/>
              </p:nvSpPr>
              <p:spPr bwMode="auto">
                <a:xfrm>
                  <a:off x="3891619" y="5790337"/>
                  <a:ext cx="184293" cy="16127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cxnSp>
              <p:nvCxnSpPr>
                <p:cNvPr id="660" name="Straight Connector 293"/>
                <p:cNvCxnSpPr/>
                <p:nvPr/>
              </p:nvCxnSpPr>
              <p:spPr>
                <a:xfrm rot="5400000">
                  <a:off x="4006537" y="5738160"/>
                  <a:ext cx="178079" cy="39327"/>
                </a:xfrm>
                <a:prstGeom prst="bentConnector2">
                  <a:avLst/>
                </a:prstGeom>
                <a:noFill/>
                <a:ln w="6350" cap="flat" cmpd="sng" algn="ctr">
                  <a:solidFill>
                    <a:srgbClr val="FFFFFF">
                      <a:lumMod val="65000"/>
                    </a:srgbClr>
                  </a:solidFill>
                  <a:prstDash val="solid"/>
                  <a:headEnd type="none"/>
                  <a:tailEnd type="none"/>
                </a:ln>
                <a:effectLst/>
              </p:spPr>
            </p:cxnSp>
            <p:cxnSp>
              <p:nvCxnSpPr>
                <p:cNvPr id="661" name="Straight Connector 293"/>
                <p:cNvCxnSpPr/>
                <p:nvPr/>
              </p:nvCxnSpPr>
              <p:spPr>
                <a:xfrm rot="16200000" flipH="1">
                  <a:off x="3780671" y="5738160"/>
                  <a:ext cx="178079" cy="39327"/>
                </a:xfrm>
                <a:prstGeom prst="bentConnector2">
                  <a:avLst/>
                </a:prstGeom>
                <a:noFill/>
                <a:ln w="6350" cap="flat" cmpd="sng" algn="ctr">
                  <a:solidFill>
                    <a:srgbClr val="FFFFFF">
                      <a:lumMod val="65000"/>
                    </a:srgbClr>
                  </a:solidFill>
                  <a:prstDash val="solid"/>
                  <a:headEnd type="none"/>
                  <a:tailEnd type="none"/>
                </a:ln>
                <a:effectLst/>
              </p:spPr>
            </p:cxnSp>
          </p:grpSp>
          <p:grpSp>
            <p:nvGrpSpPr>
              <p:cNvPr id="653" name="Group 652"/>
              <p:cNvGrpSpPr/>
              <p:nvPr/>
            </p:nvGrpSpPr>
            <p:grpSpPr>
              <a:xfrm>
                <a:off x="6680172" y="7602108"/>
                <a:ext cx="594360" cy="228600"/>
                <a:chOff x="2889814" y="5322600"/>
                <a:chExt cx="594360" cy="228600"/>
              </a:xfrm>
            </p:grpSpPr>
            <p:sp>
              <p:nvSpPr>
                <p:cNvPr id="657" name="Rectangle 58"/>
                <p:cNvSpPr/>
                <p:nvPr/>
              </p:nvSpPr>
              <p:spPr>
                <a:xfrm>
                  <a:off x="2889814" y="5322600"/>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58" name="Freeform 127"/>
                <p:cNvSpPr>
                  <a:spLocks noChangeAspect="1" noEditPoints="1"/>
                </p:cNvSpPr>
                <p:nvPr/>
              </p:nvSpPr>
              <p:spPr bwMode="auto">
                <a:xfrm>
                  <a:off x="3260404" y="5368768"/>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654" name="Group 653"/>
              <p:cNvGrpSpPr/>
              <p:nvPr/>
            </p:nvGrpSpPr>
            <p:grpSpPr>
              <a:xfrm>
                <a:off x="7306833" y="7602108"/>
                <a:ext cx="594360" cy="228600"/>
                <a:chOff x="3515681" y="5322600"/>
                <a:chExt cx="594360" cy="228600"/>
              </a:xfrm>
            </p:grpSpPr>
            <p:sp>
              <p:nvSpPr>
                <p:cNvPr id="655" name="Rectangle 58"/>
                <p:cNvSpPr/>
                <p:nvPr/>
              </p:nvSpPr>
              <p:spPr>
                <a:xfrm>
                  <a:off x="3515681" y="5322600"/>
                  <a:ext cx="594360" cy="228600"/>
                </a:xfrm>
                <a:prstGeom prst="rect">
                  <a:avLst/>
                </a:prstGeom>
                <a:solidFill>
                  <a:srgbClr val="282828"/>
                </a:solidFill>
                <a:ln w="10795" cap="flat" cmpd="sng" algn="ctr">
                  <a:noFill/>
                  <a:prstDash val="solid"/>
                </a:ln>
                <a:effectLst/>
              </p:spPr>
              <p:txBody>
                <a:bodyPr vert="horz" lIns="44821" tIns="17928" rIns="0" bIns="0" rtlCol="0" anchor="t" anchorCtr="0"/>
                <a:lstStyle/>
                <a:p>
                  <a:pPr defTabSz="897109">
                    <a:defRPr/>
                  </a:pPr>
                  <a:r>
                    <a:rPr lang="en-US" sz="784" kern="0" dirty="0">
                      <a:gradFill>
                        <a:gsLst>
                          <a:gs pos="95575">
                            <a:srgbClr val="FFFFFF"/>
                          </a:gs>
                          <a:gs pos="79646">
                            <a:srgbClr val="FFFFFF"/>
                          </a:gs>
                        </a:gsLst>
                        <a:lin ang="5400000" scaled="0"/>
                      </a:gradFill>
                      <a:latin typeface="Segoe UI Semibold" panose="020B0702040204020203" pitchFamily="34" charset="0"/>
                      <a:cs typeface="Segoe UI" pitchFamily="34" charset="0"/>
                    </a:rPr>
                    <a:t>WS</a:t>
                  </a:r>
                </a:p>
              </p:txBody>
            </p:sp>
            <p:sp>
              <p:nvSpPr>
                <p:cNvPr id="656" name="Freeform 127"/>
                <p:cNvSpPr>
                  <a:spLocks noChangeAspect="1" noEditPoints="1"/>
                </p:cNvSpPr>
                <p:nvPr/>
              </p:nvSpPr>
              <p:spPr bwMode="auto">
                <a:xfrm>
                  <a:off x="3886271" y="5368768"/>
                  <a:ext cx="176525" cy="136265"/>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822" fontAlgn="base">
                    <a:spcBef>
                      <a:spcPct val="0"/>
                    </a:spcBef>
                    <a:spcAft>
                      <a:spcPct val="0"/>
                    </a:spcAft>
                    <a:defRPr/>
                  </a:pPr>
                  <a:endParaRPr lang="en-US" sz="1765" kern="0" dirty="0">
                    <a:solidFill>
                      <a:srgbClr val="505050"/>
                    </a:solidFill>
                    <a:latin typeface="Segoe UI"/>
                    <a:cs typeface="Segoe UI" pitchFamily="34" charset="0"/>
                  </a:endParaRPr>
                </a:p>
              </p:txBody>
            </p:sp>
          </p:grpSp>
        </p:grpSp>
        <p:grpSp>
          <p:nvGrpSpPr>
            <p:cNvPr id="644" name="Group 643"/>
            <p:cNvGrpSpPr/>
            <p:nvPr/>
          </p:nvGrpSpPr>
          <p:grpSpPr>
            <a:xfrm>
              <a:off x="7746669" y="5984946"/>
              <a:ext cx="509628" cy="280012"/>
              <a:chOff x="3872171" y="5984946"/>
              <a:chExt cx="509628" cy="280012"/>
            </a:xfrm>
          </p:grpSpPr>
          <p:sp>
            <p:nvSpPr>
              <p:cNvPr id="645" name="Freeform 644"/>
              <p:cNvSpPr/>
              <p:nvPr/>
            </p:nvSpPr>
            <p:spPr bwMode="auto">
              <a:xfrm>
                <a:off x="3872171" y="6159765"/>
                <a:ext cx="509628" cy="105193"/>
              </a:xfrm>
              <a:custGeom>
                <a:avLst/>
                <a:gdLst>
                  <a:gd name="connsiteX0" fmla="*/ 443700 w 509628"/>
                  <a:gd name="connsiteY0" fmla="*/ 27715 h 105193"/>
                  <a:gd name="connsiteX1" fmla="*/ 443700 w 509628"/>
                  <a:gd name="connsiteY1" fmla="*/ 78669 h 105193"/>
                  <a:gd name="connsiteX2" fmla="*/ 478050 w 509628"/>
                  <a:gd name="connsiteY2" fmla="*/ 78669 h 105193"/>
                  <a:gd name="connsiteX3" fmla="*/ 478050 w 509628"/>
                  <a:gd name="connsiteY3" fmla="*/ 27715 h 105193"/>
                  <a:gd name="connsiteX4" fmla="*/ 384826 w 509628"/>
                  <a:gd name="connsiteY4" fmla="*/ 27715 h 105193"/>
                  <a:gd name="connsiteX5" fmla="*/ 384826 w 509628"/>
                  <a:gd name="connsiteY5" fmla="*/ 78669 h 105193"/>
                  <a:gd name="connsiteX6" fmla="*/ 419176 w 509628"/>
                  <a:gd name="connsiteY6" fmla="*/ 78669 h 105193"/>
                  <a:gd name="connsiteX7" fmla="*/ 419176 w 509628"/>
                  <a:gd name="connsiteY7" fmla="*/ 27715 h 105193"/>
                  <a:gd name="connsiteX8" fmla="*/ 325951 w 509628"/>
                  <a:gd name="connsiteY8" fmla="*/ 27715 h 105193"/>
                  <a:gd name="connsiteX9" fmla="*/ 325951 w 509628"/>
                  <a:gd name="connsiteY9" fmla="*/ 78669 h 105193"/>
                  <a:gd name="connsiteX10" fmla="*/ 360301 w 509628"/>
                  <a:gd name="connsiteY10" fmla="*/ 78669 h 105193"/>
                  <a:gd name="connsiteX11" fmla="*/ 360301 w 509628"/>
                  <a:gd name="connsiteY11" fmla="*/ 27715 h 105193"/>
                  <a:gd name="connsiteX12" fmla="*/ 267076 w 509628"/>
                  <a:gd name="connsiteY12" fmla="*/ 27715 h 105193"/>
                  <a:gd name="connsiteX13" fmla="*/ 267076 w 509628"/>
                  <a:gd name="connsiteY13" fmla="*/ 78669 h 105193"/>
                  <a:gd name="connsiteX14" fmla="*/ 301426 w 509628"/>
                  <a:gd name="connsiteY14" fmla="*/ 78669 h 105193"/>
                  <a:gd name="connsiteX15" fmla="*/ 301426 w 509628"/>
                  <a:gd name="connsiteY15" fmla="*/ 27715 h 105193"/>
                  <a:gd name="connsiteX16" fmla="*/ 208201 w 509628"/>
                  <a:gd name="connsiteY16" fmla="*/ 27715 h 105193"/>
                  <a:gd name="connsiteX17" fmla="*/ 208201 w 509628"/>
                  <a:gd name="connsiteY17" fmla="*/ 78669 h 105193"/>
                  <a:gd name="connsiteX18" fmla="*/ 242551 w 509628"/>
                  <a:gd name="connsiteY18" fmla="*/ 78669 h 105193"/>
                  <a:gd name="connsiteX19" fmla="*/ 242551 w 509628"/>
                  <a:gd name="connsiteY19" fmla="*/ 27715 h 105193"/>
                  <a:gd name="connsiteX20" fmla="*/ 149326 w 509628"/>
                  <a:gd name="connsiteY20" fmla="*/ 27715 h 105193"/>
                  <a:gd name="connsiteX21" fmla="*/ 149326 w 509628"/>
                  <a:gd name="connsiteY21" fmla="*/ 78669 h 105193"/>
                  <a:gd name="connsiteX22" fmla="*/ 183676 w 509628"/>
                  <a:gd name="connsiteY22" fmla="*/ 78669 h 105193"/>
                  <a:gd name="connsiteX23" fmla="*/ 183676 w 509628"/>
                  <a:gd name="connsiteY23" fmla="*/ 27715 h 105193"/>
                  <a:gd name="connsiteX24" fmla="*/ 90451 w 509628"/>
                  <a:gd name="connsiteY24" fmla="*/ 27715 h 105193"/>
                  <a:gd name="connsiteX25" fmla="*/ 90451 w 509628"/>
                  <a:gd name="connsiteY25" fmla="*/ 78669 h 105193"/>
                  <a:gd name="connsiteX26" fmla="*/ 124801 w 509628"/>
                  <a:gd name="connsiteY26" fmla="*/ 78669 h 105193"/>
                  <a:gd name="connsiteX27" fmla="*/ 124801 w 509628"/>
                  <a:gd name="connsiteY27" fmla="*/ 27715 h 105193"/>
                  <a:gd name="connsiteX28" fmla="*/ 31576 w 509628"/>
                  <a:gd name="connsiteY28" fmla="*/ 27715 h 105193"/>
                  <a:gd name="connsiteX29" fmla="*/ 31576 w 509628"/>
                  <a:gd name="connsiteY29" fmla="*/ 78669 h 105193"/>
                  <a:gd name="connsiteX30" fmla="*/ 65926 w 509628"/>
                  <a:gd name="connsiteY30" fmla="*/ 78669 h 105193"/>
                  <a:gd name="connsiteX31" fmla="*/ 65926 w 509628"/>
                  <a:gd name="connsiteY31" fmla="*/ 27715 h 105193"/>
                  <a:gd name="connsiteX32" fmla="*/ 0 w 509628"/>
                  <a:gd name="connsiteY32" fmla="*/ 0 h 105193"/>
                  <a:gd name="connsiteX33" fmla="*/ 509628 w 509628"/>
                  <a:gd name="connsiteY33" fmla="*/ 0 h 105193"/>
                  <a:gd name="connsiteX34" fmla="*/ 509628 w 509628"/>
                  <a:gd name="connsiteY34" fmla="*/ 105193 h 105193"/>
                  <a:gd name="connsiteX35" fmla="*/ 0 w 509628"/>
                  <a:gd name="connsiteY35" fmla="*/ 105193 h 10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9628" h="105193">
                    <a:moveTo>
                      <a:pt x="443700" y="27715"/>
                    </a:moveTo>
                    <a:lnTo>
                      <a:pt x="443700" y="78669"/>
                    </a:lnTo>
                    <a:lnTo>
                      <a:pt x="478050" y="78669"/>
                    </a:lnTo>
                    <a:lnTo>
                      <a:pt x="478050" y="27715"/>
                    </a:lnTo>
                    <a:close/>
                    <a:moveTo>
                      <a:pt x="384826" y="27715"/>
                    </a:moveTo>
                    <a:lnTo>
                      <a:pt x="384826" y="78669"/>
                    </a:lnTo>
                    <a:lnTo>
                      <a:pt x="419176" y="78669"/>
                    </a:lnTo>
                    <a:lnTo>
                      <a:pt x="419176" y="27715"/>
                    </a:lnTo>
                    <a:close/>
                    <a:moveTo>
                      <a:pt x="325951" y="27715"/>
                    </a:moveTo>
                    <a:lnTo>
                      <a:pt x="325951" y="78669"/>
                    </a:lnTo>
                    <a:lnTo>
                      <a:pt x="360301" y="78669"/>
                    </a:lnTo>
                    <a:lnTo>
                      <a:pt x="360301" y="27715"/>
                    </a:lnTo>
                    <a:close/>
                    <a:moveTo>
                      <a:pt x="267076" y="27715"/>
                    </a:moveTo>
                    <a:lnTo>
                      <a:pt x="267076" y="78669"/>
                    </a:lnTo>
                    <a:lnTo>
                      <a:pt x="301426" y="78669"/>
                    </a:lnTo>
                    <a:lnTo>
                      <a:pt x="301426" y="27715"/>
                    </a:lnTo>
                    <a:close/>
                    <a:moveTo>
                      <a:pt x="208201" y="27715"/>
                    </a:moveTo>
                    <a:lnTo>
                      <a:pt x="208201" y="78669"/>
                    </a:lnTo>
                    <a:lnTo>
                      <a:pt x="242551" y="78669"/>
                    </a:lnTo>
                    <a:lnTo>
                      <a:pt x="242551" y="27715"/>
                    </a:lnTo>
                    <a:close/>
                    <a:moveTo>
                      <a:pt x="149326" y="27715"/>
                    </a:moveTo>
                    <a:lnTo>
                      <a:pt x="149326" y="78669"/>
                    </a:lnTo>
                    <a:lnTo>
                      <a:pt x="183676" y="78669"/>
                    </a:lnTo>
                    <a:lnTo>
                      <a:pt x="183676" y="27715"/>
                    </a:lnTo>
                    <a:close/>
                    <a:moveTo>
                      <a:pt x="90451" y="27715"/>
                    </a:moveTo>
                    <a:lnTo>
                      <a:pt x="90451" y="78669"/>
                    </a:lnTo>
                    <a:lnTo>
                      <a:pt x="124801" y="78669"/>
                    </a:lnTo>
                    <a:lnTo>
                      <a:pt x="124801" y="27715"/>
                    </a:lnTo>
                    <a:close/>
                    <a:moveTo>
                      <a:pt x="31576" y="27715"/>
                    </a:moveTo>
                    <a:lnTo>
                      <a:pt x="31576" y="78669"/>
                    </a:lnTo>
                    <a:lnTo>
                      <a:pt x="65926" y="78669"/>
                    </a:lnTo>
                    <a:lnTo>
                      <a:pt x="65926" y="27715"/>
                    </a:lnTo>
                    <a:close/>
                    <a:moveTo>
                      <a:pt x="0" y="0"/>
                    </a:moveTo>
                    <a:lnTo>
                      <a:pt x="509628" y="0"/>
                    </a:lnTo>
                    <a:lnTo>
                      <a:pt x="509628" y="105193"/>
                    </a:lnTo>
                    <a:lnTo>
                      <a:pt x="0" y="105193"/>
                    </a:lnTo>
                    <a:close/>
                  </a:path>
                </a:pathLst>
              </a:custGeom>
              <a:solidFill>
                <a:srgbClr val="282828"/>
              </a:solidFill>
              <a:ln>
                <a:noFill/>
              </a:ln>
            </p:spPr>
            <p:txBody>
              <a:bodyPr vert="horz" wrap="square" lIns="89642" tIns="44821" rIns="89642" bIns="44821" numCol="1" anchor="t" anchorCtr="0" compatLnSpc="1">
                <a:prstTxWarp prst="textNoShape">
                  <a:avLst/>
                </a:prstTxWarp>
                <a:noAutofit/>
              </a:bodyPr>
              <a:lstStyle/>
              <a:p>
                <a:pPr defTabSz="913965">
                  <a:defRPr/>
                </a:pPr>
                <a:endParaRPr lang="en-US" sz="1765" kern="0" dirty="0">
                  <a:solidFill>
                    <a:srgbClr val="505050"/>
                  </a:solidFill>
                  <a:latin typeface="Segoe UI"/>
                </a:endParaRPr>
              </a:p>
            </p:txBody>
          </p:sp>
          <p:cxnSp>
            <p:nvCxnSpPr>
              <p:cNvPr id="646" name="Straight Connector 645"/>
              <p:cNvCxnSpPr/>
              <p:nvPr/>
            </p:nvCxnSpPr>
            <p:spPr>
              <a:xfrm>
                <a:off x="4123414" y="5984946"/>
                <a:ext cx="0" cy="182880"/>
              </a:xfrm>
              <a:prstGeom prst="line">
                <a:avLst/>
              </a:prstGeom>
              <a:noFill/>
              <a:ln w="6350" cap="flat" cmpd="sng" algn="ctr">
                <a:solidFill>
                  <a:srgbClr val="282828"/>
                </a:solidFill>
                <a:prstDash val="solid"/>
                <a:headEnd type="none"/>
                <a:tailEnd type="none"/>
              </a:ln>
              <a:effectLst/>
            </p:spPr>
          </p:cxnSp>
        </p:grpSp>
      </p:grpSp>
      <p:sp>
        <p:nvSpPr>
          <p:cNvPr id="662" name="network 2"/>
          <p:cNvSpPr/>
          <p:nvPr/>
        </p:nvSpPr>
        <p:spPr bwMode="auto">
          <a:xfrm>
            <a:off x="4000465"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3" name="network 3"/>
          <p:cNvSpPr/>
          <p:nvPr/>
        </p:nvSpPr>
        <p:spPr bwMode="auto">
          <a:xfrm>
            <a:off x="4000465"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4" name="network 4"/>
          <p:cNvSpPr/>
          <p:nvPr/>
        </p:nvSpPr>
        <p:spPr bwMode="auto">
          <a:xfrm>
            <a:off x="4000465"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5" name="network 5"/>
          <p:cNvSpPr/>
          <p:nvPr/>
        </p:nvSpPr>
        <p:spPr bwMode="auto">
          <a:xfrm>
            <a:off x="7801909"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6" name="network 6"/>
          <p:cNvSpPr/>
          <p:nvPr/>
        </p:nvSpPr>
        <p:spPr bwMode="auto">
          <a:xfrm>
            <a:off x="7801909" y="5974424"/>
            <a:ext cx="84581" cy="84581"/>
          </a:xfrm>
          <a:prstGeom prst="ellipse">
            <a:avLst/>
          </a:prstGeom>
          <a:solidFill>
            <a:srgbClr val="FFFFFF">
              <a:lumMod val="95000"/>
            </a:srgbClr>
          </a:solidFill>
          <a:ln w="34925" cap="flat" cmpd="sng" algn="ctr">
            <a:solidFill>
              <a:srgbClr val="00BCF2"/>
            </a:solid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667" name="Freeform 9"/>
          <p:cNvSpPr>
            <a:spLocks/>
          </p:cNvSpPr>
          <p:nvPr/>
        </p:nvSpPr>
        <p:spPr bwMode="auto">
          <a:xfrm>
            <a:off x="6343235" y="1749738"/>
            <a:ext cx="85596" cy="129173"/>
          </a:xfrm>
          <a:custGeom>
            <a:avLst/>
            <a:gdLst>
              <a:gd name="T0" fmla="*/ 0 w 55"/>
              <a:gd name="T1" fmla="*/ 0 h 83"/>
              <a:gd name="T2" fmla="*/ 55 w 55"/>
              <a:gd name="T3" fmla="*/ 0 h 83"/>
              <a:gd name="T4" fmla="*/ 55 w 55"/>
              <a:gd name="T5" fmla="*/ 83 h 83"/>
              <a:gd name="T6" fmla="*/ 0 w 55"/>
              <a:gd name="T7" fmla="*/ 83 h 83"/>
              <a:gd name="T8" fmla="*/ 0 w 55"/>
              <a:gd name="T9" fmla="*/ 0 h 83"/>
              <a:gd name="T10" fmla="*/ 0 w 55"/>
              <a:gd name="T11" fmla="*/ 0 h 83"/>
              <a:gd name="T12" fmla="*/ 0 w 5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5" h="83">
                <a:moveTo>
                  <a:pt x="0" y="0"/>
                </a:moveTo>
                <a:lnTo>
                  <a:pt x="55" y="0"/>
                </a:lnTo>
                <a:lnTo>
                  <a:pt x="55" y="83"/>
                </a:lnTo>
                <a:lnTo>
                  <a:pt x="0" y="83"/>
                </a:lnTo>
                <a:lnTo>
                  <a:pt x="0" y="0"/>
                </a:lnTo>
                <a:lnTo>
                  <a:pt x="0" y="0"/>
                </a:lnTo>
                <a:lnTo>
                  <a:pt x="0" y="0"/>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68" name="Freeform 10"/>
          <p:cNvSpPr>
            <a:spLocks/>
          </p:cNvSpPr>
          <p:nvPr/>
        </p:nvSpPr>
        <p:spPr bwMode="auto">
          <a:xfrm>
            <a:off x="6459957" y="1589429"/>
            <a:ext cx="82483" cy="289471"/>
          </a:xfrm>
          <a:custGeom>
            <a:avLst/>
            <a:gdLst>
              <a:gd name="T0" fmla="*/ 0 w 53"/>
              <a:gd name="T1" fmla="*/ 186 h 186"/>
              <a:gd name="T2" fmla="*/ 53 w 53"/>
              <a:gd name="T3" fmla="*/ 186 h 186"/>
              <a:gd name="T4" fmla="*/ 53 w 53"/>
              <a:gd name="T5" fmla="*/ 0 h 186"/>
              <a:gd name="T6" fmla="*/ 0 w 53"/>
              <a:gd name="T7" fmla="*/ 0 h 186"/>
              <a:gd name="T8" fmla="*/ 0 w 53"/>
              <a:gd name="T9" fmla="*/ 186 h 186"/>
              <a:gd name="T10" fmla="*/ 0 w 53"/>
              <a:gd name="T11" fmla="*/ 186 h 186"/>
              <a:gd name="T12" fmla="*/ 0 w 53"/>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53" h="186">
                <a:moveTo>
                  <a:pt x="0" y="186"/>
                </a:moveTo>
                <a:lnTo>
                  <a:pt x="53" y="186"/>
                </a:lnTo>
                <a:lnTo>
                  <a:pt x="53" y="0"/>
                </a:lnTo>
                <a:lnTo>
                  <a:pt x="0" y="0"/>
                </a:lnTo>
                <a:lnTo>
                  <a:pt x="0" y="186"/>
                </a:lnTo>
                <a:lnTo>
                  <a:pt x="0" y="186"/>
                </a:lnTo>
                <a:lnTo>
                  <a:pt x="0" y="186"/>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69" name="Freeform 11"/>
          <p:cNvSpPr>
            <a:spLocks/>
          </p:cNvSpPr>
          <p:nvPr/>
        </p:nvSpPr>
        <p:spPr bwMode="auto">
          <a:xfrm>
            <a:off x="6572011" y="1642343"/>
            <a:ext cx="82483" cy="236557"/>
          </a:xfrm>
          <a:custGeom>
            <a:avLst/>
            <a:gdLst>
              <a:gd name="T0" fmla="*/ 0 w 53"/>
              <a:gd name="T1" fmla="*/ 152 h 152"/>
              <a:gd name="T2" fmla="*/ 53 w 53"/>
              <a:gd name="T3" fmla="*/ 152 h 152"/>
              <a:gd name="T4" fmla="*/ 53 w 53"/>
              <a:gd name="T5" fmla="*/ 0 h 152"/>
              <a:gd name="T6" fmla="*/ 0 w 53"/>
              <a:gd name="T7" fmla="*/ 0 h 152"/>
              <a:gd name="T8" fmla="*/ 0 w 53"/>
              <a:gd name="T9" fmla="*/ 152 h 152"/>
              <a:gd name="T10" fmla="*/ 0 w 53"/>
              <a:gd name="T11" fmla="*/ 152 h 152"/>
              <a:gd name="T12" fmla="*/ 0 w 53"/>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53" h="152">
                <a:moveTo>
                  <a:pt x="0" y="152"/>
                </a:moveTo>
                <a:lnTo>
                  <a:pt x="53" y="152"/>
                </a:lnTo>
                <a:lnTo>
                  <a:pt x="53" y="0"/>
                </a:lnTo>
                <a:lnTo>
                  <a:pt x="0" y="0"/>
                </a:lnTo>
                <a:lnTo>
                  <a:pt x="0" y="152"/>
                </a:lnTo>
                <a:lnTo>
                  <a:pt x="0" y="152"/>
                </a:lnTo>
                <a:lnTo>
                  <a:pt x="0" y="152"/>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0" name="Freeform 12"/>
          <p:cNvSpPr>
            <a:spLocks/>
          </p:cNvSpPr>
          <p:nvPr/>
        </p:nvSpPr>
        <p:spPr bwMode="auto">
          <a:xfrm>
            <a:off x="6680960" y="1799540"/>
            <a:ext cx="85596" cy="79371"/>
          </a:xfrm>
          <a:custGeom>
            <a:avLst/>
            <a:gdLst>
              <a:gd name="T0" fmla="*/ 0 w 55"/>
              <a:gd name="T1" fmla="*/ 51 h 51"/>
              <a:gd name="T2" fmla="*/ 55 w 55"/>
              <a:gd name="T3" fmla="*/ 51 h 51"/>
              <a:gd name="T4" fmla="*/ 55 w 55"/>
              <a:gd name="T5" fmla="*/ 0 h 51"/>
              <a:gd name="T6" fmla="*/ 0 w 55"/>
              <a:gd name="T7" fmla="*/ 0 h 51"/>
              <a:gd name="T8" fmla="*/ 0 w 55"/>
              <a:gd name="T9" fmla="*/ 51 h 51"/>
              <a:gd name="T10" fmla="*/ 0 w 55"/>
              <a:gd name="T11" fmla="*/ 51 h 51"/>
              <a:gd name="T12" fmla="*/ 0 w 5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5" h="51">
                <a:moveTo>
                  <a:pt x="0" y="51"/>
                </a:moveTo>
                <a:lnTo>
                  <a:pt x="55" y="51"/>
                </a:lnTo>
                <a:lnTo>
                  <a:pt x="55" y="0"/>
                </a:lnTo>
                <a:lnTo>
                  <a:pt x="0" y="0"/>
                </a:lnTo>
                <a:lnTo>
                  <a:pt x="0" y="51"/>
                </a:lnTo>
                <a:lnTo>
                  <a:pt x="0" y="51"/>
                </a:lnTo>
                <a:lnTo>
                  <a:pt x="0" y="51"/>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1" name="Freeform 13"/>
          <p:cNvSpPr>
            <a:spLocks/>
          </p:cNvSpPr>
          <p:nvPr/>
        </p:nvSpPr>
        <p:spPr bwMode="auto">
          <a:xfrm>
            <a:off x="6797674" y="1539638"/>
            <a:ext cx="82483" cy="339272"/>
          </a:xfrm>
          <a:custGeom>
            <a:avLst/>
            <a:gdLst>
              <a:gd name="T0" fmla="*/ 0 w 53"/>
              <a:gd name="T1" fmla="*/ 218 h 218"/>
              <a:gd name="T2" fmla="*/ 53 w 53"/>
              <a:gd name="T3" fmla="*/ 218 h 218"/>
              <a:gd name="T4" fmla="*/ 53 w 53"/>
              <a:gd name="T5" fmla="*/ 0 h 218"/>
              <a:gd name="T6" fmla="*/ 0 w 53"/>
              <a:gd name="T7" fmla="*/ 0 h 218"/>
              <a:gd name="T8" fmla="*/ 0 w 53"/>
              <a:gd name="T9" fmla="*/ 218 h 218"/>
              <a:gd name="T10" fmla="*/ 0 w 53"/>
              <a:gd name="T11" fmla="*/ 218 h 218"/>
              <a:gd name="T12" fmla="*/ 0 w 53"/>
              <a:gd name="T13" fmla="*/ 218 h 218"/>
            </a:gdLst>
            <a:ahLst/>
            <a:cxnLst>
              <a:cxn ang="0">
                <a:pos x="T0" y="T1"/>
              </a:cxn>
              <a:cxn ang="0">
                <a:pos x="T2" y="T3"/>
              </a:cxn>
              <a:cxn ang="0">
                <a:pos x="T4" y="T5"/>
              </a:cxn>
              <a:cxn ang="0">
                <a:pos x="T6" y="T7"/>
              </a:cxn>
              <a:cxn ang="0">
                <a:pos x="T8" y="T9"/>
              </a:cxn>
              <a:cxn ang="0">
                <a:pos x="T10" y="T11"/>
              </a:cxn>
              <a:cxn ang="0">
                <a:pos x="T12" y="T13"/>
              </a:cxn>
            </a:cxnLst>
            <a:rect l="0" t="0" r="r" b="b"/>
            <a:pathLst>
              <a:path w="53" h="218">
                <a:moveTo>
                  <a:pt x="0" y="218"/>
                </a:moveTo>
                <a:lnTo>
                  <a:pt x="53" y="218"/>
                </a:lnTo>
                <a:lnTo>
                  <a:pt x="53" y="0"/>
                </a:lnTo>
                <a:lnTo>
                  <a:pt x="0" y="0"/>
                </a:lnTo>
                <a:lnTo>
                  <a:pt x="0" y="218"/>
                </a:lnTo>
                <a:lnTo>
                  <a:pt x="0" y="218"/>
                </a:lnTo>
                <a:lnTo>
                  <a:pt x="0" y="218"/>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672" name="Group 671"/>
          <p:cNvGrpSpPr/>
          <p:nvPr/>
        </p:nvGrpSpPr>
        <p:grpSpPr>
          <a:xfrm>
            <a:off x="7053916" y="1579288"/>
            <a:ext cx="295820" cy="286856"/>
            <a:chOff x="6341768" y="1610449"/>
            <a:chExt cx="301752" cy="292608"/>
          </a:xfrm>
          <a:solidFill>
            <a:srgbClr val="FFFFFF"/>
          </a:solidFill>
        </p:grpSpPr>
        <p:sp>
          <p:nvSpPr>
            <p:cNvPr id="673" name="Freeform 17"/>
            <p:cNvSpPr>
              <a:spLocks/>
            </p:cNvSpPr>
            <p:nvPr/>
          </p:nvSpPr>
          <p:spPr bwMode="auto">
            <a:xfrm>
              <a:off x="6341768" y="1636229"/>
              <a:ext cx="270265" cy="266828"/>
            </a:xfrm>
            <a:custGeom>
              <a:avLst/>
              <a:gdLst>
                <a:gd name="T0" fmla="*/ 42 w 85"/>
                <a:gd name="T1" fmla="*/ 42 h 85"/>
                <a:gd name="T2" fmla="*/ 85 w 85"/>
                <a:gd name="T3" fmla="*/ 42 h 85"/>
                <a:gd name="T4" fmla="*/ 42 w 85"/>
                <a:gd name="T5" fmla="*/ 85 h 85"/>
                <a:gd name="T6" fmla="*/ 0 w 85"/>
                <a:gd name="T7" fmla="*/ 42 h 85"/>
                <a:gd name="T8" fmla="*/ 42 w 85"/>
                <a:gd name="T9" fmla="*/ 0 h 85"/>
                <a:gd name="T10" fmla="*/ 42 w 85"/>
                <a:gd name="T11" fmla="*/ 42 h 85"/>
                <a:gd name="T12" fmla="*/ 42 w 85"/>
                <a:gd name="T13" fmla="*/ 42 h 85"/>
              </a:gdLst>
              <a:ahLst/>
              <a:cxnLst>
                <a:cxn ang="0">
                  <a:pos x="T0" y="T1"/>
                </a:cxn>
                <a:cxn ang="0">
                  <a:pos x="T2" y="T3"/>
                </a:cxn>
                <a:cxn ang="0">
                  <a:pos x="T4" y="T5"/>
                </a:cxn>
                <a:cxn ang="0">
                  <a:pos x="T6" y="T7"/>
                </a:cxn>
                <a:cxn ang="0">
                  <a:pos x="T8" y="T9"/>
                </a:cxn>
                <a:cxn ang="0">
                  <a:pos x="T10" y="T11"/>
                </a:cxn>
                <a:cxn ang="0">
                  <a:pos x="T12" y="T13"/>
                </a:cxn>
              </a:cxnLst>
              <a:rect l="0" t="0" r="r" b="b"/>
              <a:pathLst>
                <a:path w="85" h="85">
                  <a:moveTo>
                    <a:pt x="42" y="42"/>
                  </a:moveTo>
                  <a:cubicBezTo>
                    <a:pt x="85" y="42"/>
                    <a:pt x="85" y="42"/>
                    <a:pt x="85" y="42"/>
                  </a:cubicBezTo>
                  <a:cubicBezTo>
                    <a:pt x="85" y="66"/>
                    <a:pt x="66" y="85"/>
                    <a:pt x="42" y="85"/>
                  </a:cubicBezTo>
                  <a:cubicBezTo>
                    <a:pt x="20" y="85"/>
                    <a:pt x="0" y="66"/>
                    <a:pt x="0" y="42"/>
                  </a:cubicBezTo>
                  <a:cubicBezTo>
                    <a:pt x="0" y="19"/>
                    <a:pt x="20" y="0"/>
                    <a:pt x="42" y="0"/>
                  </a:cubicBezTo>
                  <a:cubicBezTo>
                    <a:pt x="42" y="42"/>
                    <a:pt x="42" y="42"/>
                    <a:pt x="42" y="42"/>
                  </a:cubicBezTo>
                  <a:cubicBezTo>
                    <a:pt x="42" y="42"/>
                    <a:pt x="42" y="42"/>
                    <a:pt x="4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4" name="Freeform 18"/>
            <p:cNvSpPr>
              <a:spLocks/>
            </p:cNvSpPr>
            <p:nvPr/>
          </p:nvSpPr>
          <p:spPr bwMode="auto">
            <a:xfrm>
              <a:off x="6507076" y="1610449"/>
              <a:ext cx="136444" cy="135348"/>
            </a:xfrm>
            <a:custGeom>
              <a:avLst/>
              <a:gdLst>
                <a:gd name="T0" fmla="*/ 0 w 43"/>
                <a:gd name="T1" fmla="*/ 43 h 43"/>
                <a:gd name="T2" fmla="*/ 43 w 43"/>
                <a:gd name="T3" fmla="*/ 43 h 43"/>
                <a:gd name="T4" fmla="*/ 0 w 43"/>
                <a:gd name="T5" fmla="*/ 0 h 43"/>
                <a:gd name="T6" fmla="*/ 0 w 43"/>
                <a:gd name="T7" fmla="*/ 43 h 43"/>
                <a:gd name="T8" fmla="*/ 0 w 43"/>
                <a:gd name="T9" fmla="*/ 43 h 43"/>
              </a:gdLst>
              <a:ahLst/>
              <a:cxnLst>
                <a:cxn ang="0">
                  <a:pos x="T0" y="T1"/>
                </a:cxn>
                <a:cxn ang="0">
                  <a:pos x="T2" y="T3"/>
                </a:cxn>
                <a:cxn ang="0">
                  <a:pos x="T4" y="T5"/>
                </a:cxn>
                <a:cxn ang="0">
                  <a:pos x="T6" y="T7"/>
                </a:cxn>
                <a:cxn ang="0">
                  <a:pos x="T8" y="T9"/>
                </a:cxn>
              </a:cxnLst>
              <a:rect l="0" t="0" r="r" b="b"/>
              <a:pathLst>
                <a:path w="43" h="43">
                  <a:moveTo>
                    <a:pt x="0" y="43"/>
                  </a:moveTo>
                  <a:cubicBezTo>
                    <a:pt x="43" y="43"/>
                    <a:pt x="43" y="43"/>
                    <a:pt x="43" y="43"/>
                  </a:cubicBezTo>
                  <a:cubicBezTo>
                    <a:pt x="43" y="20"/>
                    <a:pt x="24" y="0"/>
                    <a:pt x="0" y="0"/>
                  </a:cubicBezTo>
                  <a:cubicBezTo>
                    <a:pt x="0" y="43"/>
                    <a:pt x="0" y="43"/>
                    <a:pt x="0" y="43"/>
                  </a:cubicBezTo>
                  <a:cubicBezTo>
                    <a:pt x="0" y="43"/>
                    <a:pt x="0" y="43"/>
                    <a:pt x="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grpSp>
      <p:sp>
        <p:nvSpPr>
          <p:cNvPr id="675" name="Freeform 22"/>
          <p:cNvSpPr>
            <a:spLocks/>
          </p:cNvSpPr>
          <p:nvPr/>
        </p:nvSpPr>
        <p:spPr bwMode="auto">
          <a:xfrm>
            <a:off x="7679845" y="1804231"/>
            <a:ext cx="233444" cy="43576"/>
          </a:xfrm>
          <a:custGeom>
            <a:avLst/>
            <a:gdLst>
              <a:gd name="T0" fmla="*/ 76 w 76"/>
              <a:gd name="T1" fmla="*/ 14 h 14"/>
              <a:gd name="T2" fmla="*/ 0 w 76"/>
              <a:gd name="T3" fmla="*/ 14 h 14"/>
              <a:gd name="T4" fmla="*/ 0 w 76"/>
              <a:gd name="T5" fmla="*/ 0 h 14"/>
              <a:gd name="T6" fmla="*/ 76 w 76"/>
              <a:gd name="T7" fmla="*/ 0 h 14"/>
              <a:gd name="T8" fmla="*/ 76 w 76"/>
              <a:gd name="T9" fmla="*/ 14 h 14"/>
              <a:gd name="T10" fmla="*/ 76 w 76"/>
              <a:gd name="T11" fmla="*/ 14 h 14"/>
            </a:gdLst>
            <a:ahLst/>
            <a:cxnLst>
              <a:cxn ang="0">
                <a:pos x="T0" y="T1"/>
              </a:cxn>
              <a:cxn ang="0">
                <a:pos x="T2" y="T3"/>
              </a:cxn>
              <a:cxn ang="0">
                <a:pos x="T4" y="T5"/>
              </a:cxn>
              <a:cxn ang="0">
                <a:pos x="T6" y="T7"/>
              </a:cxn>
              <a:cxn ang="0">
                <a:pos x="T8" y="T9"/>
              </a:cxn>
              <a:cxn ang="0">
                <a:pos x="T10" y="T11"/>
              </a:cxn>
            </a:cxnLst>
            <a:rect l="0" t="0" r="r" b="b"/>
            <a:pathLst>
              <a:path w="76" h="14">
                <a:moveTo>
                  <a:pt x="76" y="14"/>
                </a:moveTo>
                <a:cubicBezTo>
                  <a:pt x="0" y="14"/>
                  <a:pt x="0" y="14"/>
                  <a:pt x="0" y="14"/>
                </a:cubicBezTo>
                <a:cubicBezTo>
                  <a:pt x="0" y="0"/>
                  <a:pt x="0" y="0"/>
                  <a:pt x="0" y="0"/>
                </a:cubicBezTo>
                <a:cubicBezTo>
                  <a:pt x="76" y="0"/>
                  <a:pt x="76" y="0"/>
                  <a:pt x="76" y="0"/>
                </a:cubicBezTo>
                <a:cubicBezTo>
                  <a:pt x="76" y="14"/>
                  <a:pt x="76" y="14"/>
                  <a:pt x="76" y="14"/>
                </a:cubicBezTo>
                <a:cubicBezTo>
                  <a:pt x="76" y="14"/>
                  <a:pt x="76" y="14"/>
                  <a:pt x="76" y="14"/>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6" name="Freeform 23"/>
          <p:cNvSpPr>
            <a:spLocks/>
          </p:cNvSpPr>
          <p:nvPr/>
        </p:nvSpPr>
        <p:spPr bwMode="auto">
          <a:xfrm>
            <a:off x="7679835" y="1623701"/>
            <a:ext cx="266127" cy="43576"/>
          </a:xfrm>
          <a:custGeom>
            <a:avLst/>
            <a:gdLst>
              <a:gd name="T0" fmla="*/ 87 w 87"/>
              <a:gd name="T1" fmla="*/ 0 h 14"/>
              <a:gd name="T2" fmla="*/ 0 w 87"/>
              <a:gd name="T3" fmla="*/ 0 h 14"/>
              <a:gd name="T4" fmla="*/ 0 w 87"/>
              <a:gd name="T5" fmla="*/ 14 h 14"/>
              <a:gd name="T6" fmla="*/ 87 w 87"/>
              <a:gd name="T7" fmla="*/ 14 h 14"/>
              <a:gd name="T8" fmla="*/ 87 w 87"/>
              <a:gd name="T9" fmla="*/ 0 h 14"/>
              <a:gd name="T10" fmla="*/ 87 w 87"/>
              <a:gd name="T11" fmla="*/ 0 h 14"/>
            </a:gdLst>
            <a:ahLst/>
            <a:cxnLst>
              <a:cxn ang="0">
                <a:pos x="T0" y="T1"/>
              </a:cxn>
              <a:cxn ang="0">
                <a:pos x="T2" y="T3"/>
              </a:cxn>
              <a:cxn ang="0">
                <a:pos x="T4" y="T5"/>
              </a:cxn>
              <a:cxn ang="0">
                <a:pos x="T6" y="T7"/>
              </a:cxn>
              <a:cxn ang="0">
                <a:pos x="T8" y="T9"/>
              </a:cxn>
              <a:cxn ang="0">
                <a:pos x="T10" y="T11"/>
              </a:cxn>
            </a:cxnLst>
            <a:rect l="0" t="0" r="r" b="b"/>
            <a:pathLst>
              <a:path w="87" h="14">
                <a:moveTo>
                  <a:pt x="87" y="0"/>
                </a:moveTo>
                <a:cubicBezTo>
                  <a:pt x="0" y="0"/>
                  <a:pt x="0" y="0"/>
                  <a:pt x="0" y="0"/>
                </a:cubicBezTo>
                <a:cubicBezTo>
                  <a:pt x="0" y="14"/>
                  <a:pt x="0" y="14"/>
                  <a:pt x="0" y="14"/>
                </a:cubicBezTo>
                <a:cubicBezTo>
                  <a:pt x="87" y="14"/>
                  <a:pt x="87" y="14"/>
                  <a:pt x="87" y="14"/>
                </a:cubicBezTo>
                <a:cubicBezTo>
                  <a:pt x="87" y="0"/>
                  <a:pt x="87" y="0"/>
                  <a:pt x="87" y="0"/>
                </a:cubicBezTo>
                <a:cubicBezTo>
                  <a:pt x="87" y="0"/>
                  <a:pt x="87" y="0"/>
                  <a:pt x="87" y="0"/>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7" name="Freeform 24"/>
          <p:cNvSpPr>
            <a:spLocks/>
          </p:cNvSpPr>
          <p:nvPr/>
        </p:nvSpPr>
        <p:spPr bwMode="auto">
          <a:xfrm>
            <a:off x="7679835" y="1710854"/>
            <a:ext cx="306590" cy="49801"/>
          </a:xfrm>
          <a:custGeom>
            <a:avLst/>
            <a:gdLst>
              <a:gd name="T0" fmla="*/ 100 w 100"/>
              <a:gd name="T1" fmla="*/ 0 h 16"/>
              <a:gd name="T2" fmla="*/ 0 w 100"/>
              <a:gd name="T3" fmla="*/ 0 h 16"/>
              <a:gd name="T4" fmla="*/ 0 w 100"/>
              <a:gd name="T5" fmla="*/ 16 h 16"/>
              <a:gd name="T6" fmla="*/ 100 w 100"/>
              <a:gd name="T7" fmla="*/ 16 h 16"/>
              <a:gd name="T8" fmla="*/ 100 w 100"/>
              <a:gd name="T9" fmla="*/ 0 h 16"/>
              <a:gd name="T10" fmla="*/ 100 w 100"/>
              <a:gd name="T11" fmla="*/ 0 h 16"/>
            </a:gdLst>
            <a:ahLst/>
            <a:cxnLst>
              <a:cxn ang="0">
                <a:pos x="T0" y="T1"/>
              </a:cxn>
              <a:cxn ang="0">
                <a:pos x="T2" y="T3"/>
              </a:cxn>
              <a:cxn ang="0">
                <a:pos x="T4" y="T5"/>
              </a:cxn>
              <a:cxn ang="0">
                <a:pos x="T6" y="T7"/>
              </a:cxn>
              <a:cxn ang="0">
                <a:pos x="T8" y="T9"/>
              </a:cxn>
              <a:cxn ang="0">
                <a:pos x="T10" y="T11"/>
              </a:cxn>
            </a:cxnLst>
            <a:rect l="0" t="0" r="r" b="b"/>
            <a:pathLst>
              <a:path w="100" h="16">
                <a:moveTo>
                  <a:pt x="100" y="0"/>
                </a:moveTo>
                <a:cubicBezTo>
                  <a:pt x="0" y="0"/>
                  <a:pt x="0" y="0"/>
                  <a:pt x="0" y="0"/>
                </a:cubicBezTo>
                <a:cubicBezTo>
                  <a:pt x="0" y="16"/>
                  <a:pt x="0" y="16"/>
                  <a:pt x="0" y="16"/>
                </a:cubicBezTo>
                <a:cubicBezTo>
                  <a:pt x="100" y="16"/>
                  <a:pt x="100" y="16"/>
                  <a:pt x="100" y="16"/>
                </a:cubicBezTo>
                <a:cubicBezTo>
                  <a:pt x="100" y="0"/>
                  <a:pt x="100" y="0"/>
                  <a:pt x="100" y="0"/>
                </a:cubicBezTo>
                <a:cubicBezTo>
                  <a:pt x="100" y="0"/>
                  <a:pt x="100" y="0"/>
                  <a:pt x="100" y="0"/>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8" name="Freeform 25"/>
          <p:cNvSpPr>
            <a:spLocks/>
          </p:cNvSpPr>
          <p:nvPr/>
        </p:nvSpPr>
        <p:spPr bwMode="auto">
          <a:xfrm>
            <a:off x="7606699" y="1623701"/>
            <a:ext cx="46689" cy="43576"/>
          </a:xfrm>
          <a:custGeom>
            <a:avLst/>
            <a:gdLst>
              <a:gd name="T0" fmla="*/ 7 w 15"/>
              <a:gd name="T1" fmla="*/ 14 h 14"/>
              <a:gd name="T2" fmla="*/ 15 w 15"/>
              <a:gd name="T3" fmla="*/ 6 h 14"/>
              <a:gd name="T4" fmla="*/ 7 w 15"/>
              <a:gd name="T5" fmla="*/ 0 h 14"/>
              <a:gd name="T6" fmla="*/ 0 w 15"/>
              <a:gd name="T7" fmla="*/ 6 h 14"/>
              <a:gd name="T8" fmla="*/ 7 w 15"/>
              <a:gd name="T9" fmla="*/ 14 h 14"/>
            </a:gdLst>
            <a:ahLst/>
            <a:cxnLst>
              <a:cxn ang="0">
                <a:pos x="T0" y="T1"/>
              </a:cxn>
              <a:cxn ang="0">
                <a:pos x="T2" y="T3"/>
              </a:cxn>
              <a:cxn ang="0">
                <a:pos x="T4" y="T5"/>
              </a:cxn>
              <a:cxn ang="0">
                <a:pos x="T6" y="T7"/>
              </a:cxn>
              <a:cxn ang="0">
                <a:pos x="T8" y="T9"/>
              </a:cxn>
            </a:cxnLst>
            <a:rect l="0" t="0" r="r" b="b"/>
            <a:pathLst>
              <a:path w="15" h="14">
                <a:moveTo>
                  <a:pt x="7" y="14"/>
                </a:moveTo>
                <a:cubicBezTo>
                  <a:pt x="12" y="14"/>
                  <a:pt x="15" y="11"/>
                  <a:pt x="15" y="6"/>
                </a:cubicBezTo>
                <a:cubicBezTo>
                  <a:pt x="15" y="3"/>
                  <a:pt x="12" y="0"/>
                  <a:pt x="7" y="0"/>
                </a:cubicBezTo>
                <a:cubicBezTo>
                  <a:pt x="4" y="0"/>
                  <a:pt x="0" y="3"/>
                  <a:pt x="0" y="6"/>
                </a:cubicBezTo>
                <a:cubicBezTo>
                  <a:pt x="0" y="11"/>
                  <a:pt x="4" y="14"/>
                  <a:pt x="7" y="14"/>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79" name="Freeform 26"/>
          <p:cNvSpPr>
            <a:spLocks/>
          </p:cNvSpPr>
          <p:nvPr/>
        </p:nvSpPr>
        <p:spPr bwMode="auto">
          <a:xfrm>
            <a:off x="7606699" y="1710854"/>
            <a:ext cx="46689" cy="49801"/>
          </a:xfrm>
          <a:custGeom>
            <a:avLst/>
            <a:gdLst>
              <a:gd name="T0" fmla="*/ 7 w 15"/>
              <a:gd name="T1" fmla="*/ 0 h 16"/>
              <a:gd name="T2" fmla="*/ 0 w 15"/>
              <a:gd name="T3" fmla="*/ 8 h 16"/>
              <a:gd name="T4" fmla="*/ 7 w 15"/>
              <a:gd name="T5" fmla="*/ 16 h 16"/>
              <a:gd name="T6" fmla="*/ 15 w 15"/>
              <a:gd name="T7" fmla="*/ 8 h 16"/>
              <a:gd name="T8" fmla="*/ 7 w 15"/>
              <a:gd name="T9" fmla="*/ 0 h 16"/>
            </a:gdLst>
            <a:ahLst/>
            <a:cxnLst>
              <a:cxn ang="0">
                <a:pos x="T0" y="T1"/>
              </a:cxn>
              <a:cxn ang="0">
                <a:pos x="T2" y="T3"/>
              </a:cxn>
              <a:cxn ang="0">
                <a:pos x="T4" y="T5"/>
              </a:cxn>
              <a:cxn ang="0">
                <a:pos x="T6" y="T7"/>
              </a:cxn>
              <a:cxn ang="0">
                <a:pos x="T8" y="T9"/>
              </a:cxn>
            </a:cxnLst>
            <a:rect l="0" t="0" r="r" b="b"/>
            <a:pathLst>
              <a:path w="15" h="16">
                <a:moveTo>
                  <a:pt x="7" y="0"/>
                </a:moveTo>
                <a:cubicBezTo>
                  <a:pt x="4" y="0"/>
                  <a:pt x="0" y="3"/>
                  <a:pt x="0" y="8"/>
                </a:cubicBezTo>
                <a:cubicBezTo>
                  <a:pt x="0" y="13"/>
                  <a:pt x="4" y="16"/>
                  <a:pt x="7" y="16"/>
                </a:cubicBezTo>
                <a:cubicBezTo>
                  <a:pt x="12" y="16"/>
                  <a:pt x="15" y="13"/>
                  <a:pt x="15" y="8"/>
                </a:cubicBezTo>
                <a:cubicBezTo>
                  <a:pt x="15" y="3"/>
                  <a:pt x="12" y="0"/>
                  <a:pt x="7"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80" name="Freeform 27"/>
          <p:cNvSpPr>
            <a:spLocks/>
          </p:cNvSpPr>
          <p:nvPr/>
        </p:nvSpPr>
        <p:spPr bwMode="auto">
          <a:xfrm>
            <a:off x="7606699" y="1804231"/>
            <a:ext cx="46689" cy="43576"/>
          </a:xfrm>
          <a:custGeom>
            <a:avLst/>
            <a:gdLst>
              <a:gd name="T0" fmla="*/ 7 w 15"/>
              <a:gd name="T1" fmla="*/ 0 h 14"/>
              <a:gd name="T2" fmla="*/ 0 w 15"/>
              <a:gd name="T3" fmla="*/ 7 h 14"/>
              <a:gd name="T4" fmla="*/ 7 w 15"/>
              <a:gd name="T5" fmla="*/ 14 h 14"/>
              <a:gd name="T6" fmla="*/ 15 w 15"/>
              <a:gd name="T7" fmla="*/ 7 h 14"/>
              <a:gd name="T8" fmla="*/ 7 w 15"/>
              <a:gd name="T9" fmla="*/ 0 h 14"/>
            </a:gdLst>
            <a:ahLst/>
            <a:cxnLst>
              <a:cxn ang="0">
                <a:pos x="T0" y="T1"/>
              </a:cxn>
              <a:cxn ang="0">
                <a:pos x="T2" y="T3"/>
              </a:cxn>
              <a:cxn ang="0">
                <a:pos x="T4" y="T5"/>
              </a:cxn>
              <a:cxn ang="0">
                <a:pos x="T6" y="T7"/>
              </a:cxn>
              <a:cxn ang="0">
                <a:pos x="T8" y="T9"/>
              </a:cxn>
            </a:cxnLst>
            <a:rect l="0" t="0" r="r" b="b"/>
            <a:pathLst>
              <a:path w="15" h="14">
                <a:moveTo>
                  <a:pt x="7" y="0"/>
                </a:moveTo>
                <a:cubicBezTo>
                  <a:pt x="4" y="0"/>
                  <a:pt x="0" y="3"/>
                  <a:pt x="0" y="7"/>
                </a:cubicBezTo>
                <a:cubicBezTo>
                  <a:pt x="0" y="11"/>
                  <a:pt x="4" y="14"/>
                  <a:pt x="7" y="14"/>
                </a:cubicBezTo>
                <a:cubicBezTo>
                  <a:pt x="12" y="14"/>
                  <a:pt x="15" y="11"/>
                  <a:pt x="15" y="7"/>
                </a:cubicBezTo>
                <a:cubicBezTo>
                  <a:pt x="15" y="3"/>
                  <a:pt x="12" y="0"/>
                  <a:pt x="7"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681" name="Rectangle 680"/>
          <p:cNvSpPr/>
          <p:nvPr/>
        </p:nvSpPr>
        <p:spPr bwMode="auto">
          <a:xfrm>
            <a:off x="2151739" y="4328582"/>
            <a:ext cx="3182309" cy="2136150"/>
          </a:xfrm>
          <a:prstGeom prst="rect">
            <a:avLst/>
          </a:prstGeom>
          <a:noFill/>
          <a:ln w="25400" cap="sq" cmpd="sng" algn="ctr">
            <a:solidFill>
              <a:srgbClr val="00BCF2"/>
            </a:solidFill>
            <a:prstDash val="solid"/>
            <a:miter lim="800000"/>
            <a:headEnd type="none" w="med" len="med"/>
            <a:tailEnd type="none" w="med" len="med"/>
          </a:ln>
          <a:effectLst/>
        </p:spPr>
        <p:txBody>
          <a:bodyPr vert="horz" wrap="square" lIns="175901" tIns="140721" rIns="175901" bIns="140721" numCol="1" rtlCol="0" anchor="b" anchorCtr="0" compatLnSpc="1">
            <a:prstTxWarp prst="textNoShape">
              <a:avLst/>
            </a:prstTxWarp>
          </a:bodyPr>
          <a:lstStyle/>
          <a:p>
            <a:pPr defTabSz="897109" fontAlgn="base">
              <a:lnSpc>
                <a:spcPct val="90000"/>
              </a:lnSpc>
              <a:spcBef>
                <a:spcPct val="0"/>
              </a:spcBef>
              <a:spcAft>
                <a:spcPts val="577"/>
              </a:spcAft>
              <a:defRPr/>
            </a:pPr>
            <a:r>
              <a:rPr lang="en-US" sz="1176" b="1" kern="0" dirty="0">
                <a:gradFill>
                  <a:gsLst>
                    <a:gs pos="35398">
                      <a:srgbClr val="191919"/>
                    </a:gs>
                    <a:gs pos="58000">
                      <a:srgbClr val="191919"/>
                    </a:gs>
                  </a:gsLst>
                  <a:lin ang="5400000" scaled="0"/>
                </a:gradFill>
                <a:latin typeface="Segoe UI Semibold" panose="020B0702040204020203" pitchFamily="34" charset="0"/>
              </a:rPr>
              <a:t>On-premises</a:t>
            </a:r>
          </a:p>
        </p:txBody>
      </p:sp>
      <p:grpSp>
        <p:nvGrpSpPr>
          <p:cNvPr id="682" name="Group 681"/>
          <p:cNvGrpSpPr/>
          <p:nvPr/>
        </p:nvGrpSpPr>
        <p:grpSpPr>
          <a:xfrm>
            <a:off x="5421360" y="4328582"/>
            <a:ext cx="3182309" cy="2136150"/>
            <a:chOff x="5530059" y="4414879"/>
            <a:chExt cx="3246121" cy="2178984"/>
          </a:xfrm>
        </p:grpSpPr>
        <p:sp>
          <p:nvSpPr>
            <p:cNvPr id="683" name="Rectangle 682"/>
            <p:cNvSpPr/>
            <p:nvPr/>
          </p:nvSpPr>
          <p:spPr bwMode="auto">
            <a:xfrm>
              <a:off x="5530059" y="4414879"/>
              <a:ext cx="3246121" cy="2178984"/>
            </a:xfrm>
            <a:prstGeom prst="rect">
              <a:avLst/>
            </a:prstGeom>
            <a:noFill/>
            <a:ln w="25400" cap="sq" cmpd="sng" algn="ctr">
              <a:solidFill>
                <a:srgbClr val="BAD80A"/>
              </a:solidFill>
              <a:prstDash val="solid"/>
              <a:miter lim="800000"/>
              <a:headEnd type="none" w="med" len="med"/>
              <a:tailEnd type="none" w="med" len="med"/>
            </a:ln>
            <a:effectLst/>
          </p:spPr>
          <p:txBody>
            <a:bodyPr vert="horz" wrap="square" lIns="179285" tIns="143428" rIns="179285" bIns="143428" numCol="1" rtlCol="0" anchor="b" anchorCtr="0" compatLnSpc="1">
              <a:prstTxWarp prst="textNoShape">
                <a:avLst/>
              </a:prstTxWarp>
            </a:bodyPr>
            <a:lstStyle/>
            <a:p>
              <a:pPr defTabSz="897109" fontAlgn="base">
                <a:lnSpc>
                  <a:spcPct val="90000"/>
                </a:lnSpc>
                <a:spcBef>
                  <a:spcPct val="0"/>
                </a:spcBef>
                <a:spcAft>
                  <a:spcPts val="577"/>
                </a:spcAft>
                <a:defRPr/>
              </a:pPr>
              <a:r>
                <a:rPr lang="en-US" sz="1176" b="1" kern="0" dirty="0">
                  <a:gradFill>
                    <a:gsLst>
                      <a:gs pos="35398">
                        <a:srgbClr val="191919"/>
                      </a:gs>
                      <a:gs pos="58000">
                        <a:srgbClr val="191919"/>
                      </a:gs>
                    </a:gsLst>
                    <a:lin ang="5400000" scaled="0"/>
                  </a:gradFill>
                  <a:latin typeface="Segoe UI Semibold" panose="020B0702040204020203" pitchFamily="34" charset="0"/>
                </a:rPr>
                <a:t>Service Provider</a:t>
              </a:r>
            </a:p>
          </p:txBody>
        </p:sp>
        <p:cxnSp>
          <p:nvCxnSpPr>
            <p:cNvPr id="684" name="Straight Connector 683"/>
            <p:cNvCxnSpPr/>
            <p:nvPr/>
          </p:nvCxnSpPr>
          <p:spPr>
            <a:xfrm>
              <a:off x="7153127" y="4531761"/>
              <a:ext cx="0" cy="1940474"/>
            </a:xfrm>
            <a:prstGeom prst="line">
              <a:avLst/>
            </a:prstGeom>
            <a:noFill/>
            <a:ln w="25400" cap="sq" cmpd="sng" algn="ctr">
              <a:solidFill>
                <a:srgbClr val="FFFFFF">
                  <a:lumMod val="75000"/>
                </a:srgbClr>
              </a:solidFill>
              <a:prstDash val="sysDot"/>
              <a:miter lim="800000"/>
              <a:headEnd type="none" w="med" len="med"/>
              <a:tailEnd type="none" w="med" len="med"/>
            </a:ln>
            <a:effectLst/>
          </p:spPr>
        </p:cxnSp>
      </p:grpSp>
      <p:grpSp>
        <p:nvGrpSpPr>
          <p:cNvPr id="685" name="Group 684"/>
          <p:cNvGrpSpPr/>
          <p:nvPr/>
        </p:nvGrpSpPr>
        <p:grpSpPr>
          <a:xfrm>
            <a:off x="8695640" y="4328582"/>
            <a:ext cx="3137488" cy="2136150"/>
            <a:chOff x="8869995" y="4414879"/>
            <a:chExt cx="3200401" cy="2178984"/>
          </a:xfrm>
        </p:grpSpPr>
        <p:sp>
          <p:nvSpPr>
            <p:cNvPr id="686" name="Rectangle 685"/>
            <p:cNvSpPr/>
            <p:nvPr/>
          </p:nvSpPr>
          <p:spPr bwMode="auto">
            <a:xfrm>
              <a:off x="8869995" y="4414879"/>
              <a:ext cx="3200401" cy="2178984"/>
            </a:xfrm>
            <a:prstGeom prst="rect">
              <a:avLst/>
            </a:prstGeom>
            <a:noFill/>
            <a:ln w="25400" cap="sq" cmpd="sng" algn="ctr">
              <a:solidFill>
                <a:srgbClr val="FF8C00"/>
              </a:solidFill>
              <a:prstDash val="solid"/>
              <a:miter lim="800000"/>
              <a:headEnd type="none" w="med" len="med"/>
              <a:tailEnd type="none" w="med" len="med"/>
            </a:ln>
            <a:effectLst/>
          </p:spPr>
          <p:txBody>
            <a:bodyPr vert="horz" wrap="square" lIns="175978" tIns="140783" rIns="175978" bIns="140783" numCol="1" rtlCol="0" anchor="b" anchorCtr="0" compatLnSpc="1">
              <a:prstTxWarp prst="textNoShape">
                <a:avLst/>
              </a:prstTxWarp>
            </a:bodyPr>
            <a:lstStyle/>
            <a:p>
              <a:pPr defTabSz="897109">
                <a:lnSpc>
                  <a:spcPct val="90000"/>
                </a:lnSpc>
                <a:spcAft>
                  <a:spcPts val="577"/>
                </a:spcAft>
                <a:defRPr/>
              </a:pPr>
              <a:r>
                <a:rPr lang="en-US" sz="1176" b="1" kern="0" dirty="0">
                  <a:gradFill>
                    <a:gsLst>
                      <a:gs pos="35398">
                        <a:srgbClr val="191919"/>
                      </a:gs>
                      <a:gs pos="58000">
                        <a:srgbClr val="191919"/>
                      </a:gs>
                    </a:gsLst>
                    <a:lin ang="5400000" scaled="0"/>
                  </a:gradFill>
                  <a:latin typeface="Segoe UI Semibold" panose="020B0702040204020203" pitchFamily="34" charset="0"/>
                </a:rPr>
                <a:t>Microsoft Azure</a:t>
              </a:r>
            </a:p>
          </p:txBody>
        </p:sp>
        <p:cxnSp>
          <p:nvCxnSpPr>
            <p:cNvPr id="687" name="Straight Connector 686"/>
            <p:cNvCxnSpPr/>
            <p:nvPr/>
          </p:nvCxnSpPr>
          <p:spPr>
            <a:xfrm flipH="1">
              <a:off x="10470195" y="4531761"/>
              <a:ext cx="1" cy="1680596"/>
            </a:xfrm>
            <a:prstGeom prst="line">
              <a:avLst/>
            </a:prstGeom>
            <a:noFill/>
            <a:ln w="25400" cap="sq" cmpd="sng" algn="ctr">
              <a:solidFill>
                <a:srgbClr val="FFFFFF">
                  <a:lumMod val="75000"/>
                </a:srgbClr>
              </a:solidFill>
              <a:prstDash val="sysDot"/>
              <a:miter lim="800000"/>
              <a:headEnd type="none" w="med" len="med"/>
              <a:tailEnd type="none" w="med" len="med"/>
            </a:ln>
            <a:effectLst/>
          </p:spPr>
        </p:cxnSp>
      </p:grpSp>
      <p:grpSp>
        <p:nvGrpSpPr>
          <p:cNvPr id="688" name="Group 687"/>
          <p:cNvGrpSpPr/>
          <p:nvPr/>
        </p:nvGrpSpPr>
        <p:grpSpPr>
          <a:xfrm>
            <a:off x="8305321" y="1322399"/>
            <a:ext cx="3527797" cy="1162048"/>
            <a:chOff x="7602524" y="7129405"/>
            <a:chExt cx="3598537" cy="1185349"/>
          </a:xfrm>
        </p:grpSpPr>
        <p:sp>
          <p:nvSpPr>
            <p:cNvPr id="689" name="Rectangle 688"/>
            <p:cNvSpPr/>
            <p:nvPr/>
          </p:nvSpPr>
          <p:spPr bwMode="auto">
            <a:xfrm>
              <a:off x="7753773" y="7129405"/>
              <a:ext cx="3447288" cy="1179576"/>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493034" tIns="143428" rIns="179285" bIns="143428" numCol="1" rtlCol="0" anchor="t" anchorCtr="0" compatLnSpc="1">
              <a:prstTxWarp prst="textNoShape">
                <a:avLst/>
              </a:prstTxWarp>
            </a:bodyPr>
            <a:lstStyle/>
            <a:p>
              <a:pPr defTabSz="896847" fontAlgn="base">
                <a:lnSpc>
                  <a:spcPct val="90000"/>
                </a:lnSpc>
                <a:spcBef>
                  <a:spcPct val="0"/>
                </a:spcBef>
                <a:spcAft>
                  <a:spcPct val="0"/>
                </a:spcAft>
                <a:defRPr/>
              </a:pPr>
              <a:endParaRPr lang="en-US" sz="1372" kern="0" dirty="0">
                <a:gradFill>
                  <a:gsLst>
                    <a:gs pos="93805">
                      <a:srgbClr val="191919"/>
                    </a:gs>
                    <a:gs pos="84071">
                      <a:srgbClr val="191919"/>
                    </a:gs>
                  </a:gsLst>
                  <a:lin ang="5400000" scaled="0"/>
                </a:gradFill>
                <a:latin typeface="Segoe UI"/>
              </a:endParaRPr>
            </a:p>
          </p:txBody>
        </p:sp>
        <p:sp>
          <p:nvSpPr>
            <p:cNvPr id="690" name="TextBox 9"/>
            <p:cNvSpPr txBox="1"/>
            <p:nvPr/>
          </p:nvSpPr>
          <p:spPr>
            <a:xfrm>
              <a:off x="7753772" y="8018983"/>
              <a:ext cx="822960" cy="295771"/>
            </a:xfrm>
            <a:prstGeom prst="rect">
              <a:avLst/>
            </a:prstGeom>
            <a:noFill/>
          </p:spPr>
          <p:txBody>
            <a:bodyPr wrap="square" lIns="89642" tIns="43995" rIns="89642" bIns="89642" rtlCol="0">
              <a:spAutoFit/>
            </a:bodyPr>
            <a:lstStyle/>
            <a:p>
              <a:pPr defTabSz="913700" fontAlgn="base">
                <a:lnSpc>
                  <a:spcPct val="90000"/>
                </a:lnSpc>
                <a:spcAft>
                  <a:spcPct val="0"/>
                </a:spcAft>
                <a:defRPr/>
              </a:pPr>
              <a:r>
                <a:rPr lang="en-US" sz="1078" kern="0" spc="-20" dirty="0">
                  <a:gradFill>
                    <a:gsLst>
                      <a:gs pos="14159">
                        <a:srgbClr val="505050"/>
                      </a:gs>
                      <a:gs pos="46018">
                        <a:srgbClr val="505050"/>
                      </a:gs>
                    </a:gsLst>
                    <a:lin ang="5400000" scaled="0"/>
                  </a:gradFill>
                  <a:latin typeface="Segoe UI Semibold" panose="020B0702040204020203" pitchFamily="34" charset="0"/>
                </a:rPr>
                <a:t>Providers</a:t>
              </a:r>
            </a:p>
          </p:txBody>
        </p:sp>
        <p:sp>
          <p:nvSpPr>
            <p:cNvPr id="691" name="Freeform 113"/>
            <p:cNvSpPr>
              <a:spLocks noChangeAspect="1" noEditPoints="1"/>
            </p:cNvSpPr>
            <p:nvPr/>
          </p:nvSpPr>
          <p:spPr bwMode="auto">
            <a:xfrm>
              <a:off x="7875984" y="7211436"/>
              <a:ext cx="358932" cy="358930"/>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282828"/>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700" fontAlgn="base">
                <a:lnSpc>
                  <a:spcPct val="90000"/>
                </a:lnSpc>
                <a:spcBef>
                  <a:spcPct val="0"/>
                </a:spcBef>
                <a:spcAft>
                  <a:spcPct val="0"/>
                </a:spcAft>
                <a:defRPr/>
              </a:pPr>
              <a:endParaRPr lang="en-US" sz="1961" kern="0">
                <a:gradFill>
                  <a:gsLst>
                    <a:gs pos="84071">
                      <a:srgbClr val="191919"/>
                    </a:gs>
                    <a:gs pos="57000">
                      <a:srgbClr val="191919"/>
                    </a:gs>
                  </a:gsLst>
                  <a:lin ang="5400000" scaled="0"/>
                </a:gradFill>
                <a:latin typeface="Segoe UI"/>
              </a:endParaRPr>
            </a:p>
          </p:txBody>
        </p:sp>
        <p:sp>
          <p:nvSpPr>
            <p:cNvPr id="692" name="Isosceles Triangle 691"/>
            <p:cNvSpPr/>
            <p:nvPr/>
          </p:nvSpPr>
          <p:spPr bwMode="auto">
            <a:xfrm rot="16200000">
              <a:off x="7507012" y="7971209"/>
              <a:ext cx="343486" cy="152462"/>
            </a:xfrm>
            <a:prstGeom prst="triangle">
              <a:avLst/>
            </a:prstGeom>
            <a:solidFill>
              <a:srgbClr val="FFFFFF">
                <a:lumMod val="85000"/>
              </a:srgbClr>
            </a:solidFill>
            <a:ln w="10795" cap="flat" cmpd="sng" algn="ctr">
              <a:noFill/>
              <a:prstDash val="solid"/>
              <a:headEnd type="none" w="med" len="med"/>
              <a:tailEnd type="none" w="med" len="med"/>
            </a:ln>
            <a:effectLst/>
          </p:spPr>
          <p:txBody>
            <a:bodyPr vert="horz" wrap="square" lIns="493034" tIns="143428" rIns="179285" bIns="143428" numCol="1" rtlCol="0" anchor="t" anchorCtr="0" compatLnSpc="1">
              <a:prstTxWarp prst="textNoShape">
                <a:avLst/>
              </a:prstTxWarp>
            </a:bodyPr>
            <a:lstStyle/>
            <a:p>
              <a:pPr defTabSz="896847" fontAlgn="base">
                <a:lnSpc>
                  <a:spcPct val="90000"/>
                </a:lnSpc>
                <a:spcBef>
                  <a:spcPct val="0"/>
                </a:spcBef>
                <a:spcAft>
                  <a:spcPct val="0"/>
                </a:spcAft>
                <a:defRPr/>
              </a:pPr>
              <a:endParaRPr lang="en-US" sz="1372" kern="0" dirty="0">
                <a:gradFill>
                  <a:gsLst>
                    <a:gs pos="93805">
                      <a:srgbClr val="191919"/>
                    </a:gs>
                    <a:gs pos="84071">
                      <a:srgbClr val="191919"/>
                    </a:gs>
                  </a:gsLst>
                  <a:lin ang="5400000" scaled="0"/>
                </a:gradFill>
                <a:latin typeface="Segoe UI"/>
              </a:endParaRPr>
            </a:p>
          </p:txBody>
        </p:sp>
        <p:grpSp>
          <p:nvGrpSpPr>
            <p:cNvPr id="693" name="Group 692"/>
            <p:cNvGrpSpPr/>
            <p:nvPr/>
          </p:nvGrpSpPr>
          <p:grpSpPr>
            <a:xfrm>
              <a:off x="8577668" y="7193414"/>
              <a:ext cx="822960" cy="1051560"/>
              <a:chOff x="4036484" y="-1533276"/>
              <a:chExt cx="822960" cy="1051560"/>
            </a:xfrm>
          </p:grpSpPr>
          <p:sp>
            <p:nvSpPr>
              <p:cNvPr id="700" name="Rectangle 699"/>
              <p:cNvSpPr/>
              <p:nvPr/>
            </p:nvSpPr>
            <p:spPr bwMode="auto">
              <a:xfrm>
                <a:off x="4036484"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Brad</a:t>
                </a:r>
              </a:p>
            </p:txBody>
          </p:sp>
          <p:pic>
            <p:nvPicPr>
              <p:cNvPr id="701" name="Picture 4"/>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53980" t="26521" r="28993" b="46301"/>
              <a:stretch/>
            </p:blipFill>
            <p:spPr bwMode="auto">
              <a:xfrm>
                <a:off x="4059344"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4" name="Group 693"/>
            <p:cNvGrpSpPr/>
            <p:nvPr/>
          </p:nvGrpSpPr>
          <p:grpSpPr>
            <a:xfrm>
              <a:off x="10316487" y="7193414"/>
              <a:ext cx="822960" cy="1051560"/>
              <a:chOff x="5735388" y="-1533276"/>
              <a:chExt cx="822960" cy="1051560"/>
            </a:xfrm>
          </p:grpSpPr>
          <p:sp>
            <p:nvSpPr>
              <p:cNvPr id="698" name="Rectangle 697"/>
              <p:cNvSpPr/>
              <p:nvPr/>
            </p:nvSpPr>
            <p:spPr bwMode="auto">
              <a:xfrm>
                <a:off x="5735388"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Richard</a:t>
                </a:r>
              </a:p>
            </p:txBody>
          </p:sp>
          <p:pic>
            <p:nvPicPr>
              <p:cNvPr id="699"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75748" t="27538" r="7225" b="45284"/>
              <a:stretch/>
            </p:blipFill>
            <p:spPr bwMode="auto">
              <a:xfrm>
                <a:off x="5758248"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5" name="Group 694"/>
            <p:cNvGrpSpPr/>
            <p:nvPr/>
          </p:nvGrpSpPr>
          <p:grpSpPr>
            <a:xfrm>
              <a:off x="9447077" y="7193414"/>
              <a:ext cx="822960" cy="1051560"/>
              <a:chOff x="7434292" y="-1533276"/>
              <a:chExt cx="822960" cy="1051560"/>
            </a:xfrm>
          </p:grpSpPr>
          <p:sp>
            <p:nvSpPr>
              <p:cNvPr id="696" name="Rectangle 695"/>
              <p:cNvSpPr/>
              <p:nvPr/>
            </p:nvSpPr>
            <p:spPr bwMode="auto">
              <a:xfrm>
                <a:off x="7434292"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err="1">
                    <a:gradFill>
                      <a:gsLst>
                        <a:gs pos="99107">
                          <a:srgbClr val="FFFFFF"/>
                        </a:gs>
                        <a:gs pos="84071">
                          <a:srgbClr val="FFFFFF"/>
                        </a:gs>
                      </a:gsLst>
                      <a:lin ang="5400000" scaled="0"/>
                    </a:gradFill>
                    <a:latin typeface="Segoe UI Semibold" panose="020B0702040204020203" pitchFamily="34" charset="0"/>
                  </a:rPr>
                  <a:t>Sarani</a:t>
                </a:r>
                <a:endParaRPr lang="en-US" sz="1078" kern="0" spc="-20" dirty="0">
                  <a:gradFill>
                    <a:gsLst>
                      <a:gs pos="99107">
                        <a:srgbClr val="FFFFFF"/>
                      </a:gs>
                      <a:gs pos="84071">
                        <a:srgbClr val="FFFFFF"/>
                      </a:gs>
                    </a:gsLst>
                    <a:lin ang="5400000" scaled="0"/>
                  </a:gradFill>
                  <a:latin typeface="Segoe UI Semibold" panose="020B0702040204020203" pitchFamily="34" charset="0"/>
                </a:endParaRPr>
              </a:p>
            </p:txBody>
          </p:sp>
          <p:pic>
            <p:nvPicPr>
              <p:cNvPr id="697"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52714" t="54043" r="32096" b="21584"/>
              <a:stretch/>
            </p:blipFill>
            <p:spPr bwMode="auto">
              <a:xfrm>
                <a:off x="7457152"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702" name="Group 701"/>
          <p:cNvGrpSpPr/>
          <p:nvPr/>
        </p:nvGrpSpPr>
        <p:grpSpPr>
          <a:xfrm>
            <a:off x="1705850" y="1322399"/>
            <a:ext cx="4375557" cy="1162048"/>
            <a:chOff x="1740055" y="7129405"/>
            <a:chExt cx="4463296" cy="1185349"/>
          </a:xfrm>
        </p:grpSpPr>
        <p:sp>
          <p:nvSpPr>
            <p:cNvPr id="703" name="Isosceles Triangle 702"/>
            <p:cNvSpPr/>
            <p:nvPr/>
          </p:nvSpPr>
          <p:spPr bwMode="auto">
            <a:xfrm rot="5400000" flipH="1">
              <a:off x="5955377" y="7319368"/>
              <a:ext cx="343486" cy="152462"/>
            </a:xfrm>
            <a:prstGeom prst="triangle">
              <a:avLst/>
            </a:prstGeom>
            <a:solidFill>
              <a:srgbClr val="FFFFFF">
                <a:lumMod val="85000"/>
              </a:srgbClr>
            </a:solidFill>
            <a:ln w="10795" cap="flat" cmpd="sng" algn="ctr">
              <a:noFill/>
              <a:prstDash val="solid"/>
              <a:headEnd type="none" w="med" len="med"/>
              <a:tailEnd type="none" w="med" len="med"/>
            </a:ln>
            <a:effectLst/>
          </p:spPr>
          <p:txBody>
            <a:bodyPr vert="horz" wrap="square" lIns="493034" tIns="143428" rIns="179285" bIns="143428" numCol="1" rtlCol="0" anchor="t" anchorCtr="0" compatLnSpc="1">
              <a:prstTxWarp prst="textNoShape">
                <a:avLst/>
              </a:prstTxWarp>
            </a:bodyPr>
            <a:lstStyle/>
            <a:p>
              <a:pPr defTabSz="896847" fontAlgn="base">
                <a:lnSpc>
                  <a:spcPct val="90000"/>
                </a:lnSpc>
                <a:spcBef>
                  <a:spcPct val="0"/>
                </a:spcBef>
                <a:spcAft>
                  <a:spcPct val="0"/>
                </a:spcAft>
                <a:defRPr/>
              </a:pPr>
              <a:endParaRPr lang="en-US" sz="1372" kern="0" dirty="0">
                <a:gradFill>
                  <a:gsLst>
                    <a:gs pos="93805">
                      <a:srgbClr val="191919"/>
                    </a:gs>
                    <a:gs pos="84071">
                      <a:srgbClr val="191919"/>
                    </a:gs>
                  </a:gsLst>
                  <a:lin ang="5400000" scaled="0"/>
                </a:gradFill>
                <a:latin typeface="Segoe UI"/>
              </a:endParaRPr>
            </a:p>
          </p:txBody>
        </p:sp>
        <p:sp>
          <p:nvSpPr>
            <p:cNvPr id="704" name="Rectangle 703"/>
            <p:cNvSpPr/>
            <p:nvPr/>
          </p:nvSpPr>
          <p:spPr bwMode="auto">
            <a:xfrm>
              <a:off x="1740055" y="7129405"/>
              <a:ext cx="4315968" cy="1179576"/>
            </a:xfrm>
            <a:prstGeom prst="rect">
              <a:avLst/>
            </a:prstGeom>
            <a:solidFill>
              <a:srgbClr val="FFFFFF">
                <a:lumMod val="85000"/>
              </a:srgbClr>
            </a:solidFill>
            <a:ln w="10795" cap="flat" cmpd="sng" algn="ctr">
              <a:noFill/>
              <a:prstDash val="solid"/>
              <a:headEnd type="none" w="med" len="med"/>
              <a:tailEnd type="none" w="med" len="med"/>
            </a:ln>
            <a:effectLst/>
          </p:spPr>
          <p:txBody>
            <a:bodyPr vert="horz" wrap="square" lIns="493034" tIns="143428" rIns="179285" bIns="143428" numCol="1" rtlCol="0" anchor="t" anchorCtr="0" compatLnSpc="1">
              <a:prstTxWarp prst="textNoShape">
                <a:avLst/>
              </a:prstTxWarp>
            </a:bodyPr>
            <a:lstStyle/>
            <a:p>
              <a:pPr defTabSz="896847" fontAlgn="base">
                <a:lnSpc>
                  <a:spcPct val="90000"/>
                </a:lnSpc>
                <a:spcBef>
                  <a:spcPct val="0"/>
                </a:spcBef>
                <a:spcAft>
                  <a:spcPct val="0"/>
                </a:spcAft>
                <a:defRPr/>
              </a:pPr>
              <a:endParaRPr lang="en-US" sz="1372" kern="0" dirty="0">
                <a:gradFill>
                  <a:gsLst>
                    <a:gs pos="93805">
                      <a:srgbClr val="191919"/>
                    </a:gs>
                    <a:gs pos="84071">
                      <a:srgbClr val="191919"/>
                    </a:gs>
                  </a:gsLst>
                  <a:lin ang="5400000" scaled="0"/>
                </a:gradFill>
                <a:latin typeface="Segoe UI"/>
              </a:endParaRPr>
            </a:p>
          </p:txBody>
        </p:sp>
        <p:sp>
          <p:nvSpPr>
            <p:cNvPr id="705" name="TextBox 9"/>
            <p:cNvSpPr txBox="1"/>
            <p:nvPr/>
          </p:nvSpPr>
          <p:spPr>
            <a:xfrm>
              <a:off x="5227930" y="8018983"/>
              <a:ext cx="822960" cy="295771"/>
            </a:xfrm>
            <a:prstGeom prst="rect">
              <a:avLst/>
            </a:prstGeom>
            <a:noFill/>
          </p:spPr>
          <p:txBody>
            <a:bodyPr wrap="square" lIns="0" tIns="43995" rIns="89642" bIns="89642" rtlCol="0">
              <a:spAutoFit/>
            </a:bodyPr>
            <a:lstStyle/>
            <a:p>
              <a:pPr algn="r" defTabSz="913700" fontAlgn="base">
                <a:lnSpc>
                  <a:spcPct val="90000"/>
                </a:lnSpc>
                <a:spcAft>
                  <a:spcPct val="0"/>
                </a:spcAft>
                <a:defRPr/>
              </a:pPr>
              <a:r>
                <a:rPr lang="en-US" sz="1078" kern="0" spc="-20" dirty="0">
                  <a:gradFill>
                    <a:gsLst>
                      <a:gs pos="14159">
                        <a:srgbClr val="505050"/>
                      </a:gs>
                      <a:gs pos="46018">
                        <a:srgbClr val="505050"/>
                      </a:gs>
                    </a:gsLst>
                    <a:lin ang="5400000" scaled="0"/>
                  </a:gradFill>
                  <a:latin typeface="Segoe UI Semibold" panose="020B0702040204020203" pitchFamily="34" charset="0"/>
                </a:rPr>
                <a:t>Consumers</a:t>
              </a:r>
            </a:p>
          </p:txBody>
        </p:sp>
        <p:sp>
          <p:nvSpPr>
            <p:cNvPr id="706" name="Freeform 131"/>
            <p:cNvSpPr>
              <a:spLocks noChangeAspect="1" noEditPoints="1"/>
            </p:cNvSpPr>
            <p:nvPr/>
          </p:nvSpPr>
          <p:spPr bwMode="auto">
            <a:xfrm>
              <a:off x="5508867" y="7284663"/>
              <a:ext cx="392460" cy="231217"/>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282828"/>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700" fontAlgn="base">
                <a:lnSpc>
                  <a:spcPct val="90000"/>
                </a:lnSpc>
                <a:spcBef>
                  <a:spcPct val="0"/>
                </a:spcBef>
                <a:spcAft>
                  <a:spcPct val="0"/>
                </a:spcAft>
                <a:defRPr/>
              </a:pPr>
              <a:endParaRPr lang="en-US" sz="1961" kern="0">
                <a:gradFill>
                  <a:gsLst>
                    <a:gs pos="84071">
                      <a:srgbClr val="191919"/>
                    </a:gs>
                    <a:gs pos="57000">
                      <a:srgbClr val="191919"/>
                    </a:gs>
                  </a:gsLst>
                  <a:lin ang="5400000" scaled="0"/>
                </a:gradFill>
                <a:latin typeface="Segoe UI"/>
              </a:endParaRPr>
            </a:p>
          </p:txBody>
        </p:sp>
        <p:grpSp>
          <p:nvGrpSpPr>
            <p:cNvPr id="707" name="Group 706"/>
            <p:cNvGrpSpPr/>
            <p:nvPr/>
          </p:nvGrpSpPr>
          <p:grpSpPr>
            <a:xfrm>
              <a:off x="2667296" y="7193414"/>
              <a:ext cx="822960" cy="1051560"/>
              <a:chOff x="2337580" y="-1533276"/>
              <a:chExt cx="822960" cy="1051560"/>
            </a:xfrm>
          </p:grpSpPr>
          <p:sp>
            <p:nvSpPr>
              <p:cNvPr id="717" name="Rectangle 716"/>
              <p:cNvSpPr/>
              <p:nvPr/>
            </p:nvSpPr>
            <p:spPr bwMode="auto">
              <a:xfrm>
                <a:off x="2337580"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Luis</a:t>
                </a:r>
              </a:p>
            </p:txBody>
          </p:sp>
          <p:pic>
            <p:nvPicPr>
              <p:cNvPr id="718" name="Picture 2"/>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l="15119" t="52728" r="69691" b="22899"/>
              <a:stretch/>
            </p:blipFill>
            <p:spPr bwMode="auto">
              <a:xfrm>
                <a:off x="2360440"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8" name="Group 707"/>
            <p:cNvGrpSpPr/>
            <p:nvPr/>
          </p:nvGrpSpPr>
          <p:grpSpPr>
            <a:xfrm>
              <a:off x="1799967" y="7193414"/>
              <a:ext cx="822960" cy="1051560"/>
              <a:chOff x="638676" y="-1533276"/>
              <a:chExt cx="822960" cy="1051560"/>
            </a:xfrm>
          </p:grpSpPr>
          <p:sp>
            <p:nvSpPr>
              <p:cNvPr id="715" name="Rectangle 714"/>
              <p:cNvSpPr/>
              <p:nvPr/>
            </p:nvSpPr>
            <p:spPr bwMode="auto">
              <a:xfrm>
                <a:off x="638676"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Kathy </a:t>
                </a:r>
              </a:p>
            </p:txBody>
          </p:sp>
          <p:pic>
            <p:nvPicPr>
              <p:cNvPr id="716" name="Picture 4"/>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11101" t="28573" r="71872" b="44249"/>
              <a:stretch/>
            </p:blipFill>
            <p:spPr bwMode="auto">
              <a:xfrm>
                <a:off x="661536"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9" name="Group 708"/>
            <p:cNvGrpSpPr/>
            <p:nvPr/>
          </p:nvGrpSpPr>
          <p:grpSpPr>
            <a:xfrm>
              <a:off x="3534625" y="7193414"/>
              <a:ext cx="822960" cy="1051560"/>
              <a:chOff x="10832100" y="-1533276"/>
              <a:chExt cx="822960" cy="1051560"/>
            </a:xfrm>
          </p:grpSpPr>
          <p:sp>
            <p:nvSpPr>
              <p:cNvPr id="713" name="Rectangle 712"/>
              <p:cNvSpPr/>
              <p:nvPr/>
            </p:nvSpPr>
            <p:spPr bwMode="auto">
              <a:xfrm>
                <a:off x="10832100"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Rebecca</a:t>
                </a:r>
              </a:p>
            </p:txBody>
          </p:sp>
          <p:pic>
            <p:nvPicPr>
              <p:cNvPr id="714"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34061" t="53474" r="50749" b="22153"/>
              <a:stretch/>
            </p:blipFill>
            <p:spPr bwMode="auto">
              <a:xfrm>
                <a:off x="10854960"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10" name="Group 709"/>
            <p:cNvGrpSpPr/>
            <p:nvPr/>
          </p:nvGrpSpPr>
          <p:grpSpPr>
            <a:xfrm>
              <a:off x="4404034" y="7193414"/>
              <a:ext cx="822960" cy="1051560"/>
              <a:chOff x="9133196" y="-1533276"/>
              <a:chExt cx="822960" cy="1051560"/>
            </a:xfrm>
          </p:grpSpPr>
          <p:sp>
            <p:nvSpPr>
              <p:cNvPr id="711" name="Rectangle 710"/>
              <p:cNvSpPr/>
              <p:nvPr/>
            </p:nvSpPr>
            <p:spPr bwMode="auto">
              <a:xfrm>
                <a:off x="9133196" y="-1533276"/>
                <a:ext cx="822960" cy="1051560"/>
              </a:xfrm>
              <a:prstGeom prst="rect">
                <a:avLst/>
              </a:prstGeom>
              <a:solidFill>
                <a:srgbClr val="282828"/>
              </a:solidFill>
              <a:ln w="3175" cap="flat" cmpd="sng" algn="ctr">
                <a:noFill/>
                <a:prstDash val="solid"/>
                <a:headEnd type="none" w="med" len="med"/>
                <a:tailEnd type="none" w="med" len="med"/>
              </a:ln>
              <a:effectLst/>
            </p:spPr>
            <p:txBody>
              <a:bodyPr rot="0" spcFirstLastPara="0" vertOverflow="overflow" horzOverflow="overflow" vert="horz" wrap="square" lIns="44821" tIns="44821" rIns="0" bIns="44821" numCol="1" spcCol="0" rtlCol="0" fromWordArt="0" anchor="b" anchorCtr="0" forceAA="0" compatLnSpc="1">
                <a:prstTxWarp prst="textNoShape">
                  <a:avLst/>
                </a:prstTxWarp>
                <a:noAutofit/>
              </a:bodyPr>
              <a:lstStyle/>
              <a:p>
                <a:pPr defTabSz="913700" fontAlgn="base">
                  <a:lnSpc>
                    <a:spcPct val="90000"/>
                  </a:lnSpc>
                  <a:spcAft>
                    <a:spcPct val="0"/>
                  </a:spcAft>
                  <a:defRPr/>
                </a:pPr>
                <a:r>
                  <a:rPr lang="en-US" sz="1078" kern="0" spc="-20" dirty="0">
                    <a:gradFill>
                      <a:gsLst>
                        <a:gs pos="99107">
                          <a:srgbClr val="FFFFFF"/>
                        </a:gs>
                        <a:gs pos="84071">
                          <a:srgbClr val="FFFFFF"/>
                        </a:gs>
                      </a:gsLst>
                      <a:lin ang="5400000" scaled="0"/>
                    </a:gradFill>
                    <a:latin typeface="Segoe UI Semibold" panose="020B0702040204020203" pitchFamily="34" charset="0"/>
                  </a:rPr>
                  <a:t>Terry</a:t>
                </a:r>
              </a:p>
            </p:txBody>
          </p:sp>
          <p:pic>
            <p:nvPicPr>
              <p:cNvPr id="712" name="Picture 2"/>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l="72442" t="52722" r="12368" b="22905"/>
              <a:stretch/>
            </p:blipFill>
            <p:spPr bwMode="auto">
              <a:xfrm>
                <a:off x="9156056" y="-1509461"/>
                <a:ext cx="777240" cy="777240"/>
              </a:xfrm>
              <a:prstGeom prst="rect">
                <a:avLst/>
              </a:prstGeom>
              <a:noFill/>
              <a:ln w="349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719" name="Group 718"/>
          <p:cNvGrpSpPr/>
          <p:nvPr/>
        </p:nvGrpSpPr>
        <p:grpSpPr>
          <a:xfrm>
            <a:off x="2294467" y="4406788"/>
            <a:ext cx="2896832" cy="209371"/>
            <a:chOff x="2363760" y="4494656"/>
            <a:chExt cx="2954920" cy="213569"/>
          </a:xfrm>
          <a:solidFill>
            <a:srgbClr val="7F7F7F"/>
          </a:solidFill>
        </p:grpSpPr>
        <p:sp>
          <p:nvSpPr>
            <p:cNvPr id="720" name="Freeform 6"/>
            <p:cNvSpPr>
              <a:spLocks noChangeAspect="1" noEditPoints="1"/>
            </p:cNvSpPr>
            <p:nvPr/>
          </p:nvSpPr>
          <p:spPr bwMode="auto">
            <a:xfrm>
              <a:off x="2363760"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1" name="Freeform 6"/>
            <p:cNvSpPr>
              <a:spLocks noChangeAspect="1" noEditPoints="1"/>
            </p:cNvSpPr>
            <p:nvPr/>
          </p:nvSpPr>
          <p:spPr bwMode="auto">
            <a:xfrm>
              <a:off x="2702414"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2" name="Freeform 6"/>
            <p:cNvSpPr>
              <a:spLocks noChangeAspect="1" noEditPoints="1"/>
            </p:cNvSpPr>
            <p:nvPr/>
          </p:nvSpPr>
          <p:spPr bwMode="auto">
            <a:xfrm>
              <a:off x="3041068"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3" name="Freeform 6"/>
            <p:cNvSpPr>
              <a:spLocks noChangeAspect="1" noEditPoints="1"/>
            </p:cNvSpPr>
            <p:nvPr/>
          </p:nvSpPr>
          <p:spPr bwMode="auto">
            <a:xfrm>
              <a:off x="3379722"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4" name="Freeform 6"/>
            <p:cNvSpPr>
              <a:spLocks noChangeAspect="1" noEditPoints="1"/>
            </p:cNvSpPr>
            <p:nvPr/>
          </p:nvSpPr>
          <p:spPr bwMode="auto">
            <a:xfrm>
              <a:off x="3718376"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5" name="Freeform 6"/>
            <p:cNvSpPr>
              <a:spLocks noChangeAspect="1" noEditPoints="1"/>
            </p:cNvSpPr>
            <p:nvPr/>
          </p:nvSpPr>
          <p:spPr bwMode="auto">
            <a:xfrm>
              <a:off x="4395684"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6" name="Freeform 6"/>
            <p:cNvSpPr>
              <a:spLocks noChangeAspect="1" noEditPoints="1"/>
            </p:cNvSpPr>
            <p:nvPr/>
          </p:nvSpPr>
          <p:spPr bwMode="auto">
            <a:xfrm>
              <a:off x="4057030"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7" name="Freeform 6"/>
            <p:cNvSpPr>
              <a:spLocks noChangeAspect="1" noEditPoints="1"/>
            </p:cNvSpPr>
            <p:nvPr/>
          </p:nvSpPr>
          <p:spPr bwMode="auto">
            <a:xfrm>
              <a:off x="4734338"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28" name="Freeform 6"/>
            <p:cNvSpPr>
              <a:spLocks noChangeAspect="1" noEditPoints="1"/>
            </p:cNvSpPr>
            <p:nvPr/>
          </p:nvSpPr>
          <p:spPr bwMode="auto">
            <a:xfrm>
              <a:off x="5072991" y="4494656"/>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729" name="Group 728"/>
          <p:cNvGrpSpPr/>
          <p:nvPr/>
        </p:nvGrpSpPr>
        <p:grpSpPr>
          <a:xfrm>
            <a:off x="8991142" y="4406788"/>
            <a:ext cx="909681" cy="209371"/>
            <a:chOff x="9171432" y="4580103"/>
            <a:chExt cx="927922" cy="213569"/>
          </a:xfrm>
          <a:solidFill>
            <a:srgbClr val="7F7F7F"/>
          </a:solidFill>
        </p:grpSpPr>
        <p:sp>
          <p:nvSpPr>
            <p:cNvPr id="730" name="Freeform 6"/>
            <p:cNvSpPr>
              <a:spLocks noChangeAspect="1" noEditPoints="1"/>
            </p:cNvSpPr>
            <p:nvPr/>
          </p:nvSpPr>
          <p:spPr bwMode="auto">
            <a:xfrm>
              <a:off x="9171432"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1" name="Freeform 6"/>
            <p:cNvSpPr>
              <a:spLocks noChangeAspect="1" noEditPoints="1"/>
            </p:cNvSpPr>
            <p:nvPr/>
          </p:nvSpPr>
          <p:spPr bwMode="auto">
            <a:xfrm>
              <a:off x="9512550"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2" name="Freeform 6"/>
            <p:cNvSpPr>
              <a:spLocks noChangeAspect="1" noEditPoints="1"/>
            </p:cNvSpPr>
            <p:nvPr/>
          </p:nvSpPr>
          <p:spPr bwMode="auto">
            <a:xfrm>
              <a:off x="9853665"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733" name="Group 732"/>
          <p:cNvGrpSpPr/>
          <p:nvPr/>
        </p:nvGrpSpPr>
        <p:grpSpPr>
          <a:xfrm>
            <a:off x="5762221" y="4406788"/>
            <a:ext cx="909681" cy="209371"/>
            <a:chOff x="5877765" y="4580103"/>
            <a:chExt cx="927922" cy="213569"/>
          </a:xfrm>
          <a:solidFill>
            <a:srgbClr val="7F7F7F"/>
          </a:solidFill>
        </p:grpSpPr>
        <p:sp>
          <p:nvSpPr>
            <p:cNvPr id="734" name="Freeform 6"/>
            <p:cNvSpPr>
              <a:spLocks noChangeAspect="1" noEditPoints="1"/>
            </p:cNvSpPr>
            <p:nvPr/>
          </p:nvSpPr>
          <p:spPr bwMode="auto">
            <a:xfrm>
              <a:off x="5877765"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5" name="Freeform 6"/>
            <p:cNvSpPr>
              <a:spLocks noChangeAspect="1" noEditPoints="1"/>
            </p:cNvSpPr>
            <p:nvPr/>
          </p:nvSpPr>
          <p:spPr bwMode="auto">
            <a:xfrm>
              <a:off x="6218883"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6" name="Freeform 6"/>
            <p:cNvSpPr>
              <a:spLocks noChangeAspect="1" noEditPoints="1"/>
            </p:cNvSpPr>
            <p:nvPr/>
          </p:nvSpPr>
          <p:spPr bwMode="auto">
            <a:xfrm>
              <a:off x="6559998"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nvGrpSpPr>
          <p:cNvPr id="737" name="Group 736"/>
          <p:cNvGrpSpPr/>
          <p:nvPr/>
        </p:nvGrpSpPr>
        <p:grpSpPr>
          <a:xfrm>
            <a:off x="7353645" y="4406788"/>
            <a:ext cx="909681" cy="209371"/>
            <a:chOff x="7501100" y="4580103"/>
            <a:chExt cx="927922" cy="213569"/>
          </a:xfrm>
          <a:solidFill>
            <a:srgbClr val="7F7F7F"/>
          </a:solidFill>
        </p:grpSpPr>
        <p:sp>
          <p:nvSpPr>
            <p:cNvPr id="738" name="Freeform 6"/>
            <p:cNvSpPr>
              <a:spLocks noChangeAspect="1" noEditPoints="1"/>
            </p:cNvSpPr>
            <p:nvPr/>
          </p:nvSpPr>
          <p:spPr bwMode="auto">
            <a:xfrm>
              <a:off x="7501100"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39" name="Freeform 6"/>
            <p:cNvSpPr>
              <a:spLocks noChangeAspect="1" noEditPoints="1"/>
            </p:cNvSpPr>
            <p:nvPr/>
          </p:nvSpPr>
          <p:spPr bwMode="auto">
            <a:xfrm>
              <a:off x="7842218"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0" name="Freeform 6"/>
            <p:cNvSpPr>
              <a:spLocks noChangeAspect="1" noEditPoints="1"/>
            </p:cNvSpPr>
            <p:nvPr/>
          </p:nvSpPr>
          <p:spPr bwMode="auto">
            <a:xfrm>
              <a:off x="8183333"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sp>
        <p:nvSpPr>
          <p:cNvPr id="741" name="Rectangle 740"/>
          <p:cNvSpPr/>
          <p:nvPr/>
        </p:nvSpPr>
        <p:spPr bwMode="auto">
          <a:xfrm>
            <a:off x="2621088" y="4406798"/>
            <a:ext cx="250048" cy="233203"/>
          </a:xfrm>
          <a:prstGeom prst="rect">
            <a:avLst/>
          </a:prstGeom>
          <a:no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42" name="Freeform 6"/>
          <p:cNvSpPr>
            <a:spLocks noChangeAspect="1" noEditPoints="1"/>
          </p:cNvSpPr>
          <p:nvPr/>
        </p:nvSpPr>
        <p:spPr bwMode="auto">
          <a:xfrm>
            <a:off x="2626464"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BAD80A"/>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3" name="Rectangle 742"/>
          <p:cNvSpPr/>
          <p:nvPr/>
        </p:nvSpPr>
        <p:spPr bwMode="auto">
          <a:xfrm>
            <a:off x="2948186" y="4406798"/>
            <a:ext cx="250048" cy="233203"/>
          </a:xfrm>
          <a:prstGeom prst="rect">
            <a:avLst/>
          </a:prstGeom>
          <a:no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44" name="Freeform 6"/>
          <p:cNvSpPr>
            <a:spLocks noChangeAspect="1" noEditPoints="1"/>
          </p:cNvSpPr>
          <p:nvPr/>
        </p:nvSpPr>
        <p:spPr bwMode="auto">
          <a:xfrm>
            <a:off x="2958461"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BAD80A"/>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5" name="Rectangle 744"/>
          <p:cNvSpPr/>
          <p:nvPr/>
        </p:nvSpPr>
        <p:spPr bwMode="auto">
          <a:xfrm>
            <a:off x="3622454" y="4406798"/>
            <a:ext cx="250048" cy="233203"/>
          </a:xfrm>
          <a:prstGeom prst="rect">
            <a:avLst/>
          </a:prstGeom>
          <a:no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46" name="Freeform 6"/>
          <p:cNvSpPr>
            <a:spLocks noChangeAspect="1" noEditPoints="1"/>
          </p:cNvSpPr>
          <p:nvPr/>
        </p:nvSpPr>
        <p:spPr bwMode="auto">
          <a:xfrm>
            <a:off x="3622464"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7" name="Rectangle 746"/>
          <p:cNvSpPr/>
          <p:nvPr/>
        </p:nvSpPr>
        <p:spPr bwMode="auto">
          <a:xfrm>
            <a:off x="3949552" y="4406798"/>
            <a:ext cx="250048" cy="233203"/>
          </a:xfrm>
          <a:prstGeom prst="rect">
            <a:avLst/>
          </a:prstGeom>
          <a:no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48" name="Freeform 6"/>
          <p:cNvSpPr>
            <a:spLocks noChangeAspect="1" noEditPoints="1"/>
          </p:cNvSpPr>
          <p:nvPr/>
        </p:nvSpPr>
        <p:spPr bwMode="auto">
          <a:xfrm>
            <a:off x="3954451"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49" name="Rectangle 748"/>
          <p:cNvSpPr/>
          <p:nvPr/>
        </p:nvSpPr>
        <p:spPr bwMode="auto">
          <a:xfrm>
            <a:off x="9318700"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0" name="Freeform 6"/>
          <p:cNvSpPr>
            <a:spLocks noChangeAspect="1" noEditPoints="1"/>
          </p:cNvSpPr>
          <p:nvPr/>
        </p:nvSpPr>
        <p:spPr bwMode="auto">
          <a:xfrm>
            <a:off x="9325565"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51" name="Rectangle 750"/>
          <p:cNvSpPr/>
          <p:nvPr/>
        </p:nvSpPr>
        <p:spPr bwMode="auto">
          <a:xfrm>
            <a:off x="9651913"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2" name="Freeform 6"/>
          <p:cNvSpPr>
            <a:spLocks noChangeAspect="1" noEditPoints="1"/>
          </p:cNvSpPr>
          <p:nvPr/>
        </p:nvSpPr>
        <p:spPr bwMode="auto">
          <a:xfrm>
            <a:off x="9659965"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53" name="Rectangle 752"/>
          <p:cNvSpPr/>
          <p:nvPr/>
        </p:nvSpPr>
        <p:spPr bwMode="auto">
          <a:xfrm>
            <a:off x="6092080"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4" name="Rectangle 753"/>
          <p:cNvSpPr/>
          <p:nvPr/>
        </p:nvSpPr>
        <p:spPr bwMode="auto">
          <a:xfrm>
            <a:off x="6426690"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5" name="Freeform 6"/>
          <p:cNvSpPr>
            <a:spLocks noChangeAspect="1" noEditPoints="1"/>
          </p:cNvSpPr>
          <p:nvPr/>
        </p:nvSpPr>
        <p:spPr bwMode="auto">
          <a:xfrm>
            <a:off x="6431043"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FF8C00"/>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56" name="Rectangle 755"/>
          <p:cNvSpPr/>
          <p:nvPr/>
        </p:nvSpPr>
        <p:spPr bwMode="auto">
          <a:xfrm>
            <a:off x="7678868" y="4406798"/>
            <a:ext cx="250048" cy="233203"/>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06" tIns="143365" rIns="179206" bIns="143365"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57" name="Freeform 9"/>
          <p:cNvSpPr>
            <a:spLocks noChangeAspect="1" noEditPoints="1"/>
          </p:cNvSpPr>
          <p:nvPr/>
        </p:nvSpPr>
        <p:spPr bwMode="auto">
          <a:xfrm>
            <a:off x="2151729"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Expense </a:t>
            </a:r>
            <a:r>
              <a:rPr lang="en-US" sz="1176" kern="0" dirty="0" err="1">
                <a:gradFill>
                  <a:gsLst>
                    <a:gs pos="40397">
                      <a:srgbClr val="505050"/>
                    </a:gs>
                    <a:gs pos="59000">
                      <a:srgbClr val="505050"/>
                    </a:gs>
                  </a:gsLst>
                  <a:lin ang="5400000" scaled="0"/>
                </a:gradFill>
                <a:latin typeface="Segoe UI"/>
              </a:rPr>
              <a:t>Mgr</a:t>
            </a:r>
            <a:endParaRPr lang="en-US" sz="1176" kern="0" dirty="0">
              <a:gradFill>
                <a:gsLst>
                  <a:gs pos="40397">
                    <a:srgbClr val="505050"/>
                  </a:gs>
                  <a:gs pos="59000">
                    <a:srgbClr val="505050"/>
                  </a:gs>
                </a:gsLst>
                <a:lin ang="5400000" scaled="0"/>
              </a:gradFill>
              <a:latin typeface="Segoe UI"/>
            </a:endParaRPr>
          </a:p>
        </p:txBody>
      </p:sp>
      <p:sp>
        <p:nvSpPr>
          <p:cNvPr id="758" name="Freeform 9"/>
          <p:cNvSpPr>
            <a:spLocks noChangeAspect="1" noEditPoints="1"/>
          </p:cNvSpPr>
          <p:nvPr/>
        </p:nvSpPr>
        <p:spPr bwMode="auto">
          <a:xfrm>
            <a:off x="3367538"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QL</a:t>
            </a:r>
          </a:p>
        </p:txBody>
      </p:sp>
      <p:sp>
        <p:nvSpPr>
          <p:cNvPr id="759" name="Freeform 9"/>
          <p:cNvSpPr>
            <a:spLocks noChangeAspect="1" noEditPoints="1"/>
          </p:cNvSpPr>
          <p:nvPr/>
        </p:nvSpPr>
        <p:spPr bwMode="auto">
          <a:xfrm>
            <a:off x="4583350"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Finance</a:t>
            </a:r>
          </a:p>
        </p:txBody>
      </p:sp>
      <p:sp>
        <p:nvSpPr>
          <p:cNvPr id="760" name="Freeform 9"/>
          <p:cNvSpPr>
            <a:spLocks noChangeAspect="1" noEditPoints="1"/>
          </p:cNvSpPr>
          <p:nvPr/>
        </p:nvSpPr>
        <p:spPr bwMode="auto">
          <a:xfrm>
            <a:off x="5799146"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Oracle</a:t>
            </a:r>
          </a:p>
        </p:txBody>
      </p:sp>
      <p:sp>
        <p:nvSpPr>
          <p:cNvPr id="761" name="Freeform 9"/>
          <p:cNvSpPr>
            <a:spLocks noChangeAspect="1" noEditPoints="1"/>
          </p:cNvSpPr>
          <p:nvPr/>
        </p:nvSpPr>
        <p:spPr bwMode="auto">
          <a:xfrm>
            <a:off x="7014952"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ales App</a:t>
            </a:r>
          </a:p>
        </p:txBody>
      </p:sp>
      <p:sp>
        <p:nvSpPr>
          <p:cNvPr id="762" name="Freeform 9"/>
          <p:cNvSpPr>
            <a:spLocks noChangeAspect="1" noEditPoints="1"/>
          </p:cNvSpPr>
          <p:nvPr/>
        </p:nvSpPr>
        <p:spPr bwMode="auto">
          <a:xfrm>
            <a:off x="8230757"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PS</a:t>
            </a:r>
          </a:p>
        </p:txBody>
      </p:sp>
      <p:sp>
        <p:nvSpPr>
          <p:cNvPr id="763" name="Freeform 9"/>
          <p:cNvSpPr>
            <a:spLocks noChangeAspect="1" noEditPoints="1"/>
          </p:cNvSpPr>
          <p:nvPr/>
        </p:nvSpPr>
        <p:spPr bwMode="auto">
          <a:xfrm>
            <a:off x="9446573"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err="1">
                <a:gradFill>
                  <a:gsLst>
                    <a:gs pos="40397">
                      <a:srgbClr val="505050"/>
                    </a:gs>
                    <a:gs pos="59000">
                      <a:srgbClr val="505050"/>
                    </a:gs>
                  </a:gsLst>
                  <a:lin ang="5400000" scaled="0"/>
                </a:gradFill>
                <a:latin typeface="Segoe UI"/>
              </a:rPr>
              <a:t>Cust</a:t>
            </a:r>
            <a:r>
              <a:rPr lang="en-US" sz="1176" kern="0" dirty="0">
                <a:gradFill>
                  <a:gsLst>
                    <a:gs pos="40397">
                      <a:srgbClr val="505050"/>
                    </a:gs>
                    <a:gs pos="59000">
                      <a:srgbClr val="505050"/>
                    </a:gs>
                  </a:gsLst>
                  <a:lin ang="5400000" scaled="0"/>
                </a:gradFill>
                <a:latin typeface="Segoe UI"/>
              </a:rPr>
              <a:t> Demo</a:t>
            </a:r>
          </a:p>
        </p:txBody>
      </p:sp>
      <p:sp>
        <p:nvSpPr>
          <p:cNvPr id="764" name="Freeform 9"/>
          <p:cNvSpPr>
            <a:spLocks noChangeAspect="1" noEditPoints="1"/>
          </p:cNvSpPr>
          <p:nvPr/>
        </p:nvSpPr>
        <p:spPr bwMode="auto">
          <a:xfrm>
            <a:off x="10662377" y="2789374"/>
            <a:ext cx="1169653" cy="443169"/>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7F7F7F"/>
          </a:solidFill>
          <a:ln>
            <a:noFill/>
          </a:ln>
        </p:spPr>
        <p:txBody>
          <a:bodyPr vert="horz" wrap="square" lIns="89603" tIns="44802" rIns="89603" bIns="107524"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CRM</a:t>
            </a:r>
          </a:p>
        </p:txBody>
      </p:sp>
      <p:grpSp>
        <p:nvGrpSpPr>
          <p:cNvPr id="765" name="finance"/>
          <p:cNvGrpSpPr/>
          <p:nvPr/>
        </p:nvGrpSpPr>
        <p:grpSpPr>
          <a:xfrm>
            <a:off x="4582311" y="2789374"/>
            <a:ext cx="1170692" cy="443169"/>
            <a:chOff x="4674185" y="7822633"/>
            <a:chExt cx="1194167" cy="452055"/>
          </a:xfrm>
        </p:grpSpPr>
        <p:sp>
          <p:nvSpPr>
            <p:cNvPr id="766" name="Rectangle 765"/>
            <p:cNvSpPr/>
            <p:nvPr/>
          </p:nvSpPr>
          <p:spPr bwMode="auto">
            <a:xfrm>
              <a:off x="4674185" y="7822633"/>
              <a:ext cx="1194167" cy="452055"/>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67" name="Freeform 9"/>
            <p:cNvSpPr>
              <a:spLocks noChangeAspect="1" noEditPoints="1"/>
            </p:cNvSpPr>
            <p:nvPr/>
          </p:nvSpPr>
          <p:spPr bwMode="auto">
            <a:xfrm>
              <a:off x="4675245" y="7822633"/>
              <a:ext cx="1193107" cy="452055"/>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BAD80A"/>
            </a:solidFill>
            <a:ln>
              <a:noFill/>
            </a:ln>
          </p:spPr>
          <p:txBody>
            <a:bodyPr vert="horz" wrap="square" lIns="89642" tIns="44821" rIns="89642" bIns="107571"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Finance</a:t>
              </a:r>
            </a:p>
          </p:txBody>
        </p:sp>
      </p:grpSp>
      <p:grpSp>
        <p:nvGrpSpPr>
          <p:cNvPr id="768" name="sales app"/>
          <p:cNvGrpSpPr/>
          <p:nvPr/>
        </p:nvGrpSpPr>
        <p:grpSpPr>
          <a:xfrm>
            <a:off x="7013922" y="2789374"/>
            <a:ext cx="1170692" cy="443169"/>
            <a:chOff x="7154555" y="7822633"/>
            <a:chExt cx="1194167" cy="452055"/>
          </a:xfrm>
        </p:grpSpPr>
        <p:sp>
          <p:nvSpPr>
            <p:cNvPr id="769" name="Rectangle 768"/>
            <p:cNvSpPr/>
            <p:nvPr/>
          </p:nvSpPr>
          <p:spPr bwMode="auto">
            <a:xfrm>
              <a:off x="7154555" y="7822633"/>
              <a:ext cx="1194167" cy="452055"/>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70" name="Freeform 9"/>
            <p:cNvSpPr>
              <a:spLocks noChangeAspect="1" noEditPoints="1"/>
            </p:cNvSpPr>
            <p:nvPr/>
          </p:nvSpPr>
          <p:spPr bwMode="auto">
            <a:xfrm>
              <a:off x="7155615" y="7822633"/>
              <a:ext cx="1193107" cy="452055"/>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FF8C00"/>
            </a:solidFill>
            <a:ln>
              <a:noFill/>
            </a:ln>
          </p:spPr>
          <p:txBody>
            <a:bodyPr vert="horz" wrap="square" lIns="89642" tIns="44821" rIns="89642" bIns="107571"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ales App</a:t>
              </a:r>
            </a:p>
          </p:txBody>
        </p:sp>
      </p:grpSp>
      <p:grpSp>
        <p:nvGrpSpPr>
          <p:cNvPr id="771" name="sps"/>
          <p:cNvGrpSpPr/>
          <p:nvPr/>
        </p:nvGrpSpPr>
        <p:grpSpPr>
          <a:xfrm>
            <a:off x="8230768" y="2789374"/>
            <a:ext cx="1170692" cy="443169"/>
            <a:chOff x="8395800" y="7822633"/>
            <a:chExt cx="1194167" cy="452055"/>
          </a:xfrm>
        </p:grpSpPr>
        <p:sp>
          <p:nvSpPr>
            <p:cNvPr id="772" name="Rectangle 771"/>
            <p:cNvSpPr/>
            <p:nvPr/>
          </p:nvSpPr>
          <p:spPr bwMode="auto">
            <a:xfrm>
              <a:off x="8395800" y="7822633"/>
              <a:ext cx="1194167" cy="452055"/>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indent="-169554" defTabSz="896847" fontAlgn="base">
                <a:lnSpc>
                  <a:spcPct val="90000"/>
                </a:lnSpc>
                <a:spcBef>
                  <a:spcPct val="0"/>
                </a:spcBef>
                <a:spcAft>
                  <a:spcPct val="0"/>
                </a:spcAft>
                <a:defRPr/>
              </a:pPr>
              <a:endParaRPr lang="en-US" sz="1568" kern="0" dirty="0">
                <a:gradFill>
                  <a:gsLst>
                    <a:gs pos="93805">
                      <a:srgbClr val="191919"/>
                    </a:gs>
                    <a:gs pos="84071">
                      <a:srgbClr val="191919"/>
                    </a:gs>
                  </a:gsLst>
                  <a:lin ang="5400000" scaled="0"/>
                </a:gradFill>
                <a:latin typeface="Segoe UI"/>
              </a:endParaRPr>
            </a:p>
          </p:txBody>
        </p:sp>
        <p:sp>
          <p:nvSpPr>
            <p:cNvPr id="773" name="Freeform 9"/>
            <p:cNvSpPr>
              <a:spLocks noChangeAspect="1" noEditPoints="1"/>
            </p:cNvSpPr>
            <p:nvPr/>
          </p:nvSpPr>
          <p:spPr bwMode="auto">
            <a:xfrm>
              <a:off x="8395800" y="7822633"/>
              <a:ext cx="1193107" cy="452055"/>
            </a:xfrm>
            <a:custGeom>
              <a:avLst/>
              <a:gdLst>
                <a:gd name="T0" fmla="*/ 375 w 378"/>
                <a:gd name="T1" fmla="*/ 24 h 141"/>
                <a:gd name="T2" fmla="*/ 3 w 378"/>
                <a:gd name="T3" fmla="*/ 24 h 141"/>
                <a:gd name="T4" fmla="*/ 0 w 378"/>
                <a:gd name="T5" fmla="*/ 28 h 141"/>
                <a:gd name="T6" fmla="*/ 0 w 378"/>
                <a:gd name="T7" fmla="*/ 137 h 141"/>
                <a:gd name="T8" fmla="*/ 3 w 378"/>
                <a:gd name="T9" fmla="*/ 141 h 141"/>
                <a:gd name="T10" fmla="*/ 375 w 378"/>
                <a:gd name="T11" fmla="*/ 141 h 141"/>
                <a:gd name="T12" fmla="*/ 378 w 378"/>
                <a:gd name="T13" fmla="*/ 137 h 141"/>
                <a:gd name="T14" fmla="*/ 378 w 378"/>
                <a:gd name="T15" fmla="*/ 28 h 141"/>
                <a:gd name="T16" fmla="*/ 375 w 378"/>
                <a:gd name="T17" fmla="*/ 24 h 141"/>
                <a:gd name="T18" fmla="*/ 370 w 378"/>
                <a:gd name="T19" fmla="*/ 132 h 141"/>
                <a:gd name="T20" fmla="*/ 8 w 378"/>
                <a:gd name="T21" fmla="*/ 132 h 141"/>
                <a:gd name="T22" fmla="*/ 8 w 378"/>
                <a:gd name="T23" fmla="*/ 33 h 141"/>
                <a:gd name="T24" fmla="*/ 370 w 378"/>
                <a:gd name="T25" fmla="*/ 33 h 141"/>
                <a:gd name="T26" fmla="*/ 370 w 378"/>
                <a:gd name="T27" fmla="*/ 132 h 141"/>
                <a:gd name="T28" fmla="*/ 370 w 378"/>
                <a:gd name="T29" fmla="*/ 132 h 141"/>
                <a:gd name="T30" fmla="*/ 345 w 378"/>
                <a:gd name="T31" fmla="*/ 12 h 141"/>
                <a:gd name="T32" fmla="*/ 340 w 378"/>
                <a:gd name="T33" fmla="*/ 12 h 141"/>
                <a:gd name="T34" fmla="*/ 340 w 378"/>
                <a:gd name="T35" fmla="*/ 8 h 141"/>
                <a:gd name="T36" fmla="*/ 345 w 378"/>
                <a:gd name="T37" fmla="*/ 8 h 141"/>
                <a:gd name="T38" fmla="*/ 345 w 378"/>
                <a:gd name="T39" fmla="*/ 12 h 141"/>
                <a:gd name="T40" fmla="*/ 345 w 378"/>
                <a:gd name="T41" fmla="*/ 12 h 141"/>
                <a:gd name="T42" fmla="*/ 375 w 378"/>
                <a:gd name="T43" fmla="*/ 0 h 141"/>
                <a:gd name="T44" fmla="*/ 3 w 378"/>
                <a:gd name="T45" fmla="*/ 0 h 141"/>
                <a:gd name="T46" fmla="*/ 0 w 378"/>
                <a:gd name="T47" fmla="*/ 2 h 141"/>
                <a:gd name="T48" fmla="*/ 0 w 378"/>
                <a:gd name="T49" fmla="*/ 18 h 141"/>
                <a:gd name="T50" fmla="*/ 3 w 378"/>
                <a:gd name="T51" fmla="*/ 21 h 141"/>
                <a:gd name="T52" fmla="*/ 375 w 378"/>
                <a:gd name="T53" fmla="*/ 21 h 141"/>
                <a:gd name="T54" fmla="*/ 378 w 378"/>
                <a:gd name="T55" fmla="*/ 18 h 141"/>
                <a:gd name="T56" fmla="*/ 378 w 378"/>
                <a:gd name="T57" fmla="*/ 2 h 141"/>
                <a:gd name="T58" fmla="*/ 375 w 378"/>
                <a:gd name="T59" fmla="*/ 0 h 141"/>
                <a:gd name="T60" fmla="*/ 333 w 378"/>
                <a:gd name="T61" fmla="*/ 14 h 141"/>
                <a:gd name="T62" fmla="*/ 323 w 378"/>
                <a:gd name="T63" fmla="*/ 14 h 141"/>
                <a:gd name="T64" fmla="*/ 323 w 378"/>
                <a:gd name="T65" fmla="*/ 12 h 141"/>
                <a:gd name="T66" fmla="*/ 333 w 378"/>
                <a:gd name="T67" fmla="*/ 12 h 141"/>
                <a:gd name="T68" fmla="*/ 333 w 378"/>
                <a:gd name="T69" fmla="*/ 14 h 141"/>
                <a:gd name="T70" fmla="*/ 333 w 378"/>
                <a:gd name="T71" fmla="*/ 14 h 141"/>
                <a:gd name="T72" fmla="*/ 346 w 378"/>
                <a:gd name="T73" fmla="*/ 14 h 141"/>
                <a:gd name="T74" fmla="*/ 338 w 378"/>
                <a:gd name="T75" fmla="*/ 14 h 141"/>
                <a:gd name="T76" fmla="*/ 338 w 378"/>
                <a:gd name="T77" fmla="*/ 6 h 141"/>
                <a:gd name="T78" fmla="*/ 346 w 378"/>
                <a:gd name="T79" fmla="*/ 6 h 141"/>
                <a:gd name="T80" fmla="*/ 346 w 378"/>
                <a:gd name="T81" fmla="*/ 14 h 141"/>
                <a:gd name="T82" fmla="*/ 346 w 378"/>
                <a:gd name="T83" fmla="*/ 14 h 141"/>
                <a:gd name="T84" fmla="*/ 364 w 378"/>
                <a:gd name="T85" fmla="*/ 14 h 141"/>
                <a:gd name="T86" fmla="*/ 361 w 378"/>
                <a:gd name="T87" fmla="*/ 14 h 141"/>
                <a:gd name="T88" fmla="*/ 360 w 378"/>
                <a:gd name="T89" fmla="*/ 12 h 141"/>
                <a:gd name="T90" fmla="*/ 359 w 378"/>
                <a:gd name="T91" fmla="*/ 11 h 141"/>
                <a:gd name="T92" fmla="*/ 356 w 378"/>
                <a:gd name="T93" fmla="*/ 14 h 141"/>
                <a:gd name="T94" fmla="*/ 356 w 378"/>
                <a:gd name="T95" fmla="*/ 14 h 141"/>
                <a:gd name="T96" fmla="*/ 353 w 378"/>
                <a:gd name="T97" fmla="*/ 14 h 141"/>
                <a:gd name="T98" fmla="*/ 357 w 378"/>
                <a:gd name="T99" fmla="*/ 10 h 141"/>
                <a:gd name="T100" fmla="*/ 353 w 378"/>
                <a:gd name="T101" fmla="*/ 6 h 141"/>
                <a:gd name="T102" fmla="*/ 356 w 378"/>
                <a:gd name="T103" fmla="*/ 6 h 141"/>
                <a:gd name="T104" fmla="*/ 359 w 378"/>
                <a:gd name="T105" fmla="*/ 9 h 141"/>
                <a:gd name="T106" fmla="*/ 361 w 378"/>
                <a:gd name="T107" fmla="*/ 6 h 141"/>
                <a:gd name="T108" fmla="*/ 364 w 378"/>
                <a:gd name="T109" fmla="*/ 6 h 141"/>
                <a:gd name="T110" fmla="*/ 360 w 378"/>
                <a:gd name="T111" fmla="*/ 10 h 141"/>
                <a:gd name="T112" fmla="*/ 364 w 378"/>
                <a:gd name="T113" fmla="*/ 14 h 141"/>
                <a:gd name="T114" fmla="*/ 364 w 378"/>
                <a:gd name="T115"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141">
                  <a:moveTo>
                    <a:pt x="375" y="24"/>
                  </a:moveTo>
                  <a:cubicBezTo>
                    <a:pt x="163" y="24"/>
                    <a:pt x="3" y="24"/>
                    <a:pt x="3" y="24"/>
                  </a:cubicBezTo>
                  <a:cubicBezTo>
                    <a:pt x="1" y="24"/>
                    <a:pt x="0" y="26"/>
                    <a:pt x="0" y="28"/>
                  </a:cubicBezTo>
                  <a:cubicBezTo>
                    <a:pt x="0" y="106"/>
                    <a:pt x="0" y="137"/>
                    <a:pt x="0" y="137"/>
                  </a:cubicBezTo>
                  <a:cubicBezTo>
                    <a:pt x="0" y="139"/>
                    <a:pt x="1" y="141"/>
                    <a:pt x="3" y="141"/>
                  </a:cubicBezTo>
                  <a:cubicBezTo>
                    <a:pt x="215" y="141"/>
                    <a:pt x="375" y="141"/>
                    <a:pt x="375" y="141"/>
                  </a:cubicBezTo>
                  <a:cubicBezTo>
                    <a:pt x="377" y="141"/>
                    <a:pt x="378" y="139"/>
                    <a:pt x="378" y="137"/>
                  </a:cubicBezTo>
                  <a:cubicBezTo>
                    <a:pt x="378" y="57"/>
                    <a:pt x="378" y="28"/>
                    <a:pt x="378" y="28"/>
                  </a:cubicBezTo>
                  <a:cubicBezTo>
                    <a:pt x="378" y="26"/>
                    <a:pt x="377" y="24"/>
                    <a:pt x="375" y="24"/>
                  </a:cubicBezTo>
                  <a:close/>
                  <a:moveTo>
                    <a:pt x="370" y="132"/>
                  </a:moveTo>
                  <a:cubicBezTo>
                    <a:pt x="168" y="132"/>
                    <a:pt x="8" y="132"/>
                    <a:pt x="8" y="132"/>
                  </a:cubicBezTo>
                  <a:cubicBezTo>
                    <a:pt x="8" y="62"/>
                    <a:pt x="8" y="33"/>
                    <a:pt x="8" y="33"/>
                  </a:cubicBezTo>
                  <a:cubicBezTo>
                    <a:pt x="210" y="33"/>
                    <a:pt x="370" y="33"/>
                    <a:pt x="370" y="33"/>
                  </a:cubicBezTo>
                  <a:cubicBezTo>
                    <a:pt x="370" y="100"/>
                    <a:pt x="370" y="132"/>
                    <a:pt x="370" y="132"/>
                  </a:cubicBezTo>
                  <a:cubicBezTo>
                    <a:pt x="370" y="132"/>
                    <a:pt x="370" y="132"/>
                    <a:pt x="370" y="132"/>
                  </a:cubicBezTo>
                  <a:close/>
                  <a:moveTo>
                    <a:pt x="345" y="12"/>
                  </a:moveTo>
                  <a:cubicBezTo>
                    <a:pt x="340" y="12"/>
                    <a:pt x="340" y="12"/>
                    <a:pt x="340" y="12"/>
                  </a:cubicBezTo>
                  <a:cubicBezTo>
                    <a:pt x="340" y="8"/>
                    <a:pt x="340" y="8"/>
                    <a:pt x="340" y="8"/>
                  </a:cubicBezTo>
                  <a:cubicBezTo>
                    <a:pt x="345" y="8"/>
                    <a:pt x="345" y="8"/>
                    <a:pt x="345" y="8"/>
                  </a:cubicBezTo>
                  <a:cubicBezTo>
                    <a:pt x="345" y="12"/>
                    <a:pt x="345" y="12"/>
                    <a:pt x="345" y="12"/>
                  </a:cubicBezTo>
                  <a:cubicBezTo>
                    <a:pt x="345" y="12"/>
                    <a:pt x="345" y="12"/>
                    <a:pt x="345" y="12"/>
                  </a:cubicBezTo>
                  <a:close/>
                  <a:moveTo>
                    <a:pt x="375" y="0"/>
                  </a:moveTo>
                  <a:cubicBezTo>
                    <a:pt x="163" y="0"/>
                    <a:pt x="3" y="0"/>
                    <a:pt x="3" y="0"/>
                  </a:cubicBezTo>
                  <a:cubicBezTo>
                    <a:pt x="1" y="0"/>
                    <a:pt x="0" y="0"/>
                    <a:pt x="0" y="2"/>
                  </a:cubicBezTo>
                  <a:cubicBezTo>
                    <a:pt x="0" y="18"/>
                    <a:pt x="0" y="18"/>
                    <a:pt x="0" y="18"/>
                  </a:cubicBezTo>
                  <a:cubicBezTo>
                    <a:pt x="0" y="20"/>
                    <a:pt x="1" y="21"/>
                    <a:pt x="3" y="21"/>
                  </a:cubicBezTo>
                  <a:cubicBezTo>
                    <a:pt x="215" y="21"/>
                    <a:pt x="375" y="21"/>
                    <a:pt x="375" y="21"/>
                  </a:cubicBezTo>
                  <a:cubicBezTo>
                    <a:pt x="377" y="21"/>
                    <a:pt x="378" y="20"/>
                    <a:pt x="378" y="18"/>
                  </a:cubicBezTo>
                  <a:cubicBezTo>
                    <a:pt x="378" y="2"/>
                    <a:pt x="378" y="2"/>
                    <a:pt x="378" y="2"/>
                  </a:cubicBezTo>
                  <a:cubicBezTo>
                    <a:pt x="378" y="0"/>
                    <a:pt x="377" y="0"/>
                    <a:pt x="375" y="0"/>
                  </a:cubicBezTo>
                  <a:close/>
                  <a:moveTo>
                    <a:pt x="333" y="14"/>
                  </a:moveTo>
                  <a:cubicBezTo>
                    <a:pt x="323" y="14"/>
                    <a:pt x="323" y="14"/>
                    <a:pt x="323" y="14"/>
                  </a:cubicBezTo>
                  <a:cubicBezTo>
                    <a:pt x="323" y="12"/>
                    <a:pt x="323" y="12"/>
                    <a:pt x="323" y="12"/>
                  </a:cubicBezTo>
                  <a:cubicBezTo>
                    <a:pt x="333" y="12"/>
                    <a:pt x="333" y="12"/>
                    <a:pt x="333" y="12"/>
                  </a:cubicBezTo>
                  <a:cubicBezTo>
                    <a:pt x="333" y="14"/>
                    <a:pt x="333" y="14"/>
                    <a:pt x="333" y="14"/>
                  </a:cubicBezTo>
                  <a:cubicBezTo>
                    <a:pt x="333" y="14"/>
                    <a:pt x="333" y="14"/>
                    <a:pt x="333" y="14"/>
                  </a:cubicBezTo>
                  <a:close/>
                  <a:moveTo>
                    <a:pt x="346" y="14"/>
                  </a:moveTo>
                  <a:cubicBezTo>
                    <a:pt x="338" y="14"/>
                    <a:pt x="338" y="14"/>
                    <a:pt x="338" y="14"/>
                  </a:cubicBezTo>
                  <a:cubicBezTo>
                    <a:pt x="338" y="6"/>
                    <a:pt x="338" y="6"/>
                    <a:pt x="338" y="6"/>
                  </a:cubicBezTo>
                  <a:cubicBezTo>
                    <a:pt x="346" y="6"/>
                    <a:pt x="346" y="6"/>
                    <a:pt x="346" y="6"/>
                  </a:cubicBezTo>
                  <a:cubicBezTo>
                    <a:pt x="346" y="14"/>
                    <a:pt x="346" y="14"/>
                    <a:pt x="346" y="14"/>
                  </a:cubicBezTo>
                  <a:cubicBezTo>
                    <a:pt x="346" y="14"/>
                    <a:pt x="346" y="14"/>
                    <a:pt x="346" y="14"/>
                  </a:cubicBezTo>
                  <a:close/>
                  <a:moveTo>
                    <a:pt x="364" y="14"/>
                  </a:moveTo>
                  <a:cubicBezTo>
                    <a:pt x="361" y="14"/>
                    <a:pt x="361" y="14"/>
                    <a:pt x="361" y="14"/>
                  </a:cubicBezTo>
                  <a:cubicBezTo>
                    <a:pt x="360" y="12"/>
                    <a:pt x="360" y="12"/>
                    <a:pt x="360" y="12"/>
                  </a:cubicBezTo>
                  <a:cubicBezTo>
                    <a:pt x="359" y="11"/>
                    <a:pt x="359" y="11"/>
                    <a:pt x="359" y="11"/>
                  </a:cubicBezTo>
                  <a:cubicBezTo>
                    <a:pt x="356" y="14"/>
                    <a:pt x="356" y="14"/>
                    <a:pt x="356" y="14"/>
                  </a:cubicBezTo>
                  <a:cubicBezTo>
                    <a:pt x="356" y="14"/>
                    <a:pt x="356" y="14"/>
                    <a:pt x="356" y="14"/>
                  </a:cubicBezTo>
                  <a:cubicBezTo>
                    <a:pt x="353" y="14"/>
                    <a:pt x="353" y="14"/>
                    <a:pt x="353" y="14"/>
                  </a:cubicBezTo>
                  <a:cubicBezTo>
                    <a:pt x="357" y="10"/>
                    <a:pt x="357" y="10"/>
                    <a:pt x="357" y="10"/>
                  </a:cubicBezTo>
                  <a:cubicBezTo>
                    <a:pt x="353" y="6"/>
                    <a:pt x="353" y="6"/>
                    <a:pt x="353" y="6"/>
                  </a:cubicBezTo>
                  <a:cubicBezTo>
                    <a:pt x="356" y="6"/>
                    <a:pt x="356" y="6"/>
                    <a:pt x="356" y="6"/>
                  </a:cubicBezTo>
                  <a:cubicBezTo>
                    <a:pt x="359" y="9"/>
                    <a:pt x="359" y="9"/>
                    <a:pt x="359" y="9"/>
                  </a:cubicBezTo>
                  <a:cubicBezTo>
                    <a:pt x="361" y="6"/>
                    <a:pt x="361" y="6"/>
                    <a:pt x="361" y="6"/>
                  </a:cubicBezTo>
                  <a:cubicBezTo>
                    <a:pt x="364" y="6"/>
                    <a:pt x="364" y="6"/>
                    <a:pt x="364" y="6"/>
                  </a:cubicBezTo>
                  <a:cubicBezTo>
                    <a:pt x="360" y="10"/>
                    <a:pt x="360" y="10"/>
                    <a:pt x="360" y="10"/>
                  </a:cubicBezTo>
                  <a:cubicBezTo>
                    <a:pt x="364" y="14"/>
                    <a:pt x="364" y="14"/>
                    <a:pt x="364" y="14"/>
                  </a:cubicBezTo>
                  <a:cubicBezTo>
                    <a:pt x="364" y="14"/>
                    <a:pt x="364" y="14"/>
                    <a:pt x="364" y="14"/>
                  </a:cubicBezTo>
                  <a:close/>
                </a:path>
              </a:pathLst>
            </a:custGeom>
            <a:solidFill>
              <a:srgbClr val="00BCF2"/>
            </a:solidFill>
            <a:ln>
              <a:noFill/>
            </a:ln>
          </p:spPr>
          <p:txBody>
            <a:bodyPr vert="horz" wrap="square" lIns="89642" tIns="44821" rIns="89642" bIns="107571" numCol="1" anchor="b" anchorCtr="0" compatLnSpc="1">
              <a:prstTxWarp prst="textNoShape">
                <a:avLst/>
              </a:prstTxWarp>
            </a:bodyPr>
            <a:lstStyle/>
            <a:p>
              <a:pPr defTabSz="913700" fontAlgn="base">
                <a:lnSpc>
                  <a:spcPct val="90000"/>
                </a:lnSpc>
                <a:spcBef>
                  <a:spcPct val="0"/>
                </a:spcBef>
                <a:spcAft>
                  <a:spcPct val="0"/>
                </a:spcAft>
                <a:defRPr/>
              </a:pPr>
              <a:r>
                <a:rPr lang="en-US" sz="1176" kern="0" dirty="0">
                  <a:gradFill>
                    <a:gsLst>
                      <a:gs pos="40397">
                        <a:srgbClr val="505050"/>
                      </a:gs>
                      <a:gs pos="59000">
                        <a:srgbClr val="505050"/>
                      </a:gs>
                    </a:gsLst>
                    <a:lin ang="5400000" scaled="0"/>
                  </a:gradFill>
                  <a:latin typeface="Segoe UI"/>
                </a:rPr>
                <a:t>SPS</a:t>
              </a:r>
            </a:p>
          </p:txBody>
        </p:sp>
      </p:grpSp>
      <p:sp>
        <p:nvSpPr>
          <p:cNvPr id="774" name="Freeform 6"/>
          <p:cNvSpPr>
            <a:spLocks noChangeAspect="1" noEditPoints="1"/>
          </p:cNvSpPr>
          <p:nvPr/>
        </p:nvSpPr>
        <p:spPr bwMode="auto">
          <a:xfrm>
            <a:off x="6096644"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00BCF2"/>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75" name="Freeform 6"/>
          <p:cNvSpPr>
            <a:spLocks noChangeAspect="1" noEditPoints="1"/>
          </p:cNvSpPr>
          <p:nvPr/>
        </p:nvSpPr>
        <p:spPr bwMode="auto">
          <a:xfrm>
            <a:off x="7688067" y="4406788"/>
            <a:ext cx="240859" cy="209371"/>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solidFill>
            <a:srgbClr val="00BCF2"/>
          </a:solidFill>
          <a:ln>
            <a:noFill/>
          </a:ln>
        </p:spPr>
        <p:txBody>
          <a:bodyPr vert="horz" wrap="square" lIns="89566" tIns="44784" rIns="89566" bIns="4478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76" name="Rectangle 58"/>
          <p:cNvSpPr/>
          <p:nvPr/>
        </p:nvSpPr>
        <p:spPr>
          <a:xfrm>
            <a:off x="2833008" y="5185425"/>
            <a:ext cx="2375240" cy="304784"/>
          </a:xfrm>
          <a:prstGeom prst="rect">
            <a:avLst/>
          </a:prstGeom>
          <a:solidFill>
            <a:srgbClr val="00BCF2"/>
          </a:solidFill>
          <a:ln w="10795" cap="flat" cmpd="sng" algn="ctr">
            <a:noFill/>
            <a:prstDash val="solid"/>
          </a:ln>
          <a:effectLst/>
        </p:spPr>
        <p:txBody>
          <a:bodyPr vert="horz" lIns="44802" tIns="17928" rIns="0" bIns="0" rtlCol="0" anchor="t" anchorCtr="0"/>
          <a:lstStyle/>
          <a:p>
            <a:pPr defTabSz="897109">
              <a:defRPr/>
            </a:pPr>
            <a:r>
              <a:rPr lang="en-US" sz="980" kern="0" dirty="0">
                <a:gradFill>
                  <a:gsLst>
                    <a:gs pos="95575">
                      <a:srgbClr val="FFFFFF"/>
                    </a:gs>
                    <a:gs pos="79646">
                      <a:srgbClr val="FFFFFF"/>
                    </a:gs>
                  </a:gsLst>
                  <a:lin ang="5400000" scaled="0"/>
                </a:gradFill>
                <a:latin typeface="Segoe UI Semibold" panose="020B0702040204020203" pitchFamily="34" charset="0"/>
                <a:cs typeface="Segoe UI" pitchFamily="34" charset="0"/>
              </a:rPr>
              <a:t>Hyper-V</a:t>
            </a:r>
          </a:p>
        </p:txBody>
      </p:sp>
      <p:sp>
        <p:nvSpPr>
          <p:cNvPr id="777" name="Rectangle 58"/>
          <p:cNvSpPr/>
          <p:nvPr/>
        </p:nvSpPr>
        <p:spPr>
          <a:xfrm>
            <a:off x="7245684" y="4774161"/>
            <a:ext cx="1197017" cy="304784"/>
          </a:xfrm>
          <a:prstGeom prst="rect">
            <a:avLst/>
          </a:prstGeom>
          <a:solidFill>
            <a:srgbClr val="BAD80A"/>
          </a:solidFill>
          <a:ln w="10795" cap="flat" cmpd="sng" algn="ctr">
            <a:noFill/>
            <a:prstDash val="solid"/>
          </a:ln>
          <a:effectLst/>
        </p:spPr>
        <p:txBody>
          <a:bodyPr vert="horz" lIns="44802" tIns="17928" rIns="0" bIns="0" rtlCol="0" anchor="t" anchorCtr="0"/>
          <a:lstStyle/>
          <a:p>
            <a:pPr defTabSz="897109">
              <a:defRPr/>
            </a:pPr>
            <a:r>
              <a:rPr lang="en-US" sz="980" kern="0" dirty="0">
                <a:gradFill>
                  <a:gsLst>
                    <a:gs pos="40708">
                      <a:srgbClr val="191919"/>
                    </a:gs>
                    <a:gs pos="68000">
                      <a:srgbClr val="191919"/>
                    </a:gs>
                  </a:gsLst>
                  <a:lin ang="5400000" scaled="0"/>
                </a:gradFill>
                <a:latin typeface="Segoe UI Semibold" panose="020B0702040204020203" pitchFamily="34" charset="0"/>
                <a:cs typeface="Segoe UI" pitchFamily="34" charset="0"/>
              </a:rPr>
              <a:t>Hyper-V</a:t>
            </a:r>
          </a:p>
        </p:txBody>
      </p:sp>
      <p:grpSp>
        <p:nvGrpSpPr>
          <p:cNvPr id="778" name="Group 777"/>
          <p:cNvGrpSpPr/>
          <p:nvPr/>
        </p:nvGrpSpPr>
        <p:grpSpPr>
          <a:xfrm>
            <a:off x="5553021" y="4857775"/>
            <a:ext cx="1323748" cy="954548"/>
            <a:chOff x="5664370" y="5040993"/>
            <a:chExt cx="1350292" cy="973689"/>
          </a:xfrm>
        </p:grpSpPr>
        <p:sp>
          <p:nvSpPr>
            <p:cNvPr id="779" name="Cloud 778"/>
            <p:cNvSpPr>
              <a:spLocks noChangeAspect="1"/>
            </p:cNvSpPr>
            <p:nvPr/>
          </p:nvSpPr>
          <p:spPr bwMode="auto">
            <a:xfrm rot="21010997" flipV="1">
              <a:off x="5664370" y="5040993"/>
              <a:ext cx="1350292" cy="973689"/>
            </a:xfrm>
            <a:prstGeom prst="cloud">
              <a:avLst/>
            </a:prstGeom>
            <a:solidFill>
              <a:srgbClr val="282828"/>
            </a:solidFill>
            <a:ln>
              <a:noFill/>
            </a:ln>
          </p:spPr>
          <p:txBody>
            <a:bodyPr vert="horz" wrap="square" lIns="89642" tIns="44821" rIns="89642" bIns="44821" numCol="1" anchor="t" anchorCtr="0" compatLnSpc="1">
              <a:prstTxWarp prst="textNoShape">
                <a:avLst/>
              </a:prstTxWarp>
            </a:bodyPr>
            <a:lstStyle/>
            <a:p>
              <a:pPr defTabSz="913965">
                <a:defRPr/>
              </a:pPr>
              <a:endParaRPr lang="en-US" sz="1765" kern="0" dirty="0">
                <a:solidFill>
                  <a:srgbClr val="505050"/>
                </a:solidFill>
                <a:latin typeface="Segoe UI"/>
              </a:endParaRPr>
            </a:p>
          </p:txBody>
        </p:sp>
        <p:grpSp>
          <p:nvGrpSpPr>
            <p:cNvPr id="780" name="Group 779"/>
            <p:cNvGrpSpPr/>
            <p:nvPr/>
          </p:nvGrpSpPr>
          <p:grpSpPr>
            <a:xfrm>
              <a:off x="5875555" y="5421053"/>
              <a:ext cx="927922" cy="213569"/>
              <a:chOff x="9171432" y="4580103"/>
              <a:chExt cx="927922" cy="213569"/>
            </a:xfrm>
            <a:solidFill>
              <a:srgbClr val="FFFFFF"/>
            </a:solidFill>
          </p:grpSpPr>
          <p:sp>
            <p:nvSpPr>
              <p:cNvPr id="781" name="Freeform 6"/>
              <p:cNvSpPr>
                <a:spLocks noChangeAspect="1" noEditPoints="1"/>
              </p:cNvSpPr>
              <p:nvPr/>
            </p:nvSpPr>
            <p:spPr bwMode="auto">
              <a:xfrm>
                <a:off x="9171432"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82" name="Freeform 6"/>
              <p:cNvSpPr>
                <a:spLocks noChangeAspect="1" noEditPoints="1"/>
              </p:cNvSpPr>
              <p:nvPr/>
            </p:nvSpPr>
            <p:spPr bwMode="auto">
              <a:xfrm>
                <a:off x="9512550"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83" name="Freeform 6"/>
              <p:cNvSpPr>
                <a:spLocks noChangeAspect="1" noEditPoints="1"/>
              </p:cNvSpPr>
              <p:nvPr/>
            </p:nvSpPr>
            <p:spPr bwMode="auto">
              <a:xfrm>
                <a:off x="9853665"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grpSp>
        <p:nvGrpSpPr>
          <p:cNvPr id="784" name="Group 783"/>
          <p:cNvGrpSpPr/>
          <p:nvPr/>
        </p:nvGrpSpPr>
        <p:grpSpPr>
          <a:xfrm>
            <a:off x="8822111" y="4864302"/>
            <a:ext cx="1329309" cy="954548"/>
            <a:chOff x="8999012" y="5047651"/>
            <a:chExt cx="1355964" cy="973689"/>
          </a:xfrm>
        </p:grpSpPr>
        <p:sp>
          <p:nvSpPr>
            <p:cNvPr id="785" name="Cloud 784"/>
            <p:cNvSpPr>
              <a:spLocks noChangeAspect="1"/>
            </p:cNvSpPr>
            <p:nvPr/>
          </p:nvSpPr>
          <p:spPr bwMode="auto">
            <a:xfrm rot="21010997" flipV="1">
              <a:off x="8999012" y="5047651"/>
              <a:ext cx="1350292" cy="973689"/>
            </a:xfrm>
            <a:prstGeom prst="cloud">
              <a:avLst/>
            </a:prstGeom>
            <a:solidFill>
              <a:srgbClr val="282828"/>
            </a:solidFill>
            <a:ln>
              <a:noFill/>
            </a:ln>
          </p:spPr>
          <p:txBody>
            <a:bodyPr vert="horz" wrap="square" lIns="89642" tIns="44821" rIns="89642" bIns="44821" numCol="1" anchor="t" anchorCtr="0" compatLnSpc="1">
              <a:prstTxWarp prst="textNoShape">
                <a:avLst/>
              </a:prstTxWarp>
            </a:bodyPr>
            <a:lstStyle/>
            <a:p>
              <a:pPr defTabSz="913965">
                <a:defRPr/>
              </a:pPr>
              <a:endParaRPr lang="en-US" sz="1765" kern="0" dirty="0">
                <a:solidFill>
                  <a:srgbClr val="505050"/>
                </a:solidFill>
                <a:latin typeface="Segoe UI"/>
              </a:endParaRPr>
            </a:p>
          </p:txBody>
        </p:sp>
        <p:sp>
          <p:nvSpPr>
            <p:cNvPr id="786" name="Freeform 11"/>
            <p:cNvSpPr>
              <a:spLocks noChangeAspect="1" noEditPoints="1"/>
            </p:cNvSpPr>
            <p:nvPr/>
          </p:nvSpPr>
          <p:spPr bwMode="auto">
            <a:xfrm>
              <a:off x="9322630" y="5620842"/>
              <a:ext cx="238848" cy="209021"/>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787" name="Group 786"/>
            <p:cNvGrpSpPr>
              <a:grpSpLocks noChangeAspect="1"/>
            </p:cNvGrpSpPr>
            <p:nvPr/>
          </p:nvGrpSpPr>
          <p:grpSpPr>
            <a:xfrm>
              <a:off x="9711140" y="5590362"/>
              <a:ext cx="643836" cy="391505"/>
              <a:chOff x="10012126" y="-6740"/>
              <a:chExt cx="2075166" cy="1261872"/>
            </a:xfrm>
          </p:grpSpPr>
          <p:sp>
            <p:nvSpPr>
              <p:cNvPr id="792" name="Rectangle 791"/>
              <p:cNvSpPr/>
              <p:nvPr/>
            </p:nvSpPr>
            <p:spPr bwMode="auto">
              <a:xfrm>
                <a:off x="10012126" y="-6740"/>
                <a:ext cx="2075166" cy="1261872"/>
              </a:xfrm>
              <a:prstGeom prst="rect">
                <a:avLst/>
              </a:prstGeom>
              <a:solidFill>
                <a:srgbClr val="0072C6"/>
              </a:solidFill>
              <a:ln w="9525" cap="flat" cmpd="sng" algn="ctr">
                <a:solidFill>
                  <a:srgbClr val="FFFFFF">
                    <a:lumMod val="95000"/>
                  </a:srgbClr>
                </a:solid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793" name="Freeform 346"/>
              <p:cNvSpPr>
                <a:spLocks noChangeAspect="1" noEditPoints="1"/>
              </p:cNvSpPr>
              <p:nvPr/>
            </p:nvSpPr>
            <p:spPr bwMode="auto">
              <a:xfrm>
                <a:off x="10193259" y="167458"/>
                <a:ext cx="454905" cy="282355"/>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794" name="Freeform 109"/>
              <p:cNvSpPr>
                <a:spLocks noChangeAspect="1" noEditPoints="1"/>
              </p:cNvSpPr>
              <p:nvPr/>
            </p:nvSpPr>
            <p:spPr bwMode="auto">
              <a:xfrm>
                <a:off x="10880808" y="801805"/>
                <a:ext cx="336847" cy="276856"/>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895954">
                  <a:defRPr/>
                </a:pPr>
                <a:endParaRPr lang="en-US" sz="1765" kern="0">
                  <a:solidFill>
                    <a:srgbClr val="FFFFFF"/>
                  </a:solidFill>
                  <a:latin typeface="Segoe UI"/>
                </a:endParaRPr>
              </a:p>
            </p:txBody>
          </p:sp>
          <p:sp>
            <p:nvSpPr>
              <p:cNvPr id="795" name="Freeform 131"/>
              <p:cNvSpPr>
                <a:spLocks noChangeAspect="1" noEditPoints="1"/>
              </p:cNvSpPr>
              <p:nvPr/>
            </p:nvSpPr>
            <p:spPr bwMode="auto">
              <a:xfrm>
                <a:off x="11482478" y="193027"/>
                <a:ext cx="392459" cy="231217"/>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sp>
            <p:nvSpPr>
              <p:cNvPr id="796" name="Freeform 128"/>
              <p:cNvSpPr>
                <a:spLocks noChangeAspect="1" noEditPoints="1"/>
              </p:cNvSpPr>
              <p:nvPr/>
            </p:nvSpPr>
            <p:spPr bwMode="auto">
              <a:xfrm>
                <a:off x="11529141" y="808565"/>
                <a:ext cx="299133" cy="263337"/>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sp>
            <p:nvSpPr>
              <p:cNvPr id="797" name="Freeform 6"/>
              <p:cNvSpPr>
                <a:spLocks noChangeAspect="1" noEditPoints="1"/>
              </p:cNvSpPr>
              <p:nvPr/>
            </p:nvSpPr>
            <p:spPr bwMode="auto">
              <a:xfrm>
                <a:off x="10243614" y="795932"/>
                <a:ext cx="354195" cy="288602"/>
              </a:xfrm>
              <a:custGeom>
                <a:avLst/>
                <a:gdLst>
                  <a:gd name="T0" fmla="*/ 6 w 103"/>
                  <a:gd name="T1" fmla="*/ 13 h 84"/>
                  <a:gd name="T2" fmla="*/ 6 w 103"/>
                  <a:gd name="T3" fmla="*/ 78 h 84"/>
                  <a:gd name="T4" fmla="*/ 96 w 103"/>
                  <a:gd name="T5" fmla="*/ 78 h 84"/>
                  <a:gd name="T6" fmla="*/ 96 w 103"/>
                  <a:gd name="T7" fmla="*/ 13 h 84"/>
                  <a:gd name="T8" fmla="*/ 6 w 103"/>
                  <a:gd name="T9" fmla="*/ 13 h 84"/>
                  <a:gd name="T10" fmla="*/ 103 w 103"/>
                  <a:gd name="T11" fmla="*/ 0 h 84"/>
                  <a:gd name="T12" fmla="*/ 103 w 103"/>
                  <a:gd name="T13" fmla="*/ 84 h 84"/>
                  <a:gd name="T14" fmla="*/ 0 w 103"/>
                  <a:gd name="T15" fmla="*/ 84 h 84"/>
                  <a:gd name="T16" fmla="*/ 0 w 103"/>
                  <a:gd name="T17" fmla="*/ 0 h 84"/>
                  <a:gd name="T18" fmla="*/ 103 w 103"/>
                  <a:gd name="T19" fmla="*/ 0 h 84"/>
                  <a:gd name="T20" fmla="*/ 14 w 103"/>
                  <a:gd name="T21" fmla="*/ 26 h 84"/>
                  <a:gd name="T22" fmla="*/ 89 w 103"/>
                  <a:gd name="T23" fmla="*/ 26 h 84"/>
                  <a:gd name="T24" fmla="*/ 89 w 103"/>
                  <a:gd name="T25" fmla="*/ 35 h 84"/>
                  <a:gd name="T26" fmla="*/ 14 w 103"/>
                  <a:gd name="T27" fmla="*/ 35 h 84"/>
                  <a:gd name="T28" fmla="*/ 14 w 103"/>
                  <a:gd name="T29" fmla="*/ 26 h 84"/>
                  <a:gd name="T30" fmla="*/ 14 w 103"/>
                  <a:gd name="T31" fmla="*/ 26 h 84"/>
                  <a:gd name="T32" fmla="*/ 14 w 103"/>
                  <a:gd name="T33" fmla="*/ 44 h 84"/>
                  <a:gd name="T34" fmla="*/ 89 w 103"/>
                  <a:gd name="T35" fmla="*/ 44 h 84"/>
                  <a:gd name="T36" fmla="*/ 89 w 103"/>
                  <a:gd name="T37" fmla="*/ 53 h 84"/>
                  <a:gd name="T38" fmla="*/ 14 w 103"/>
                  <a:gd name="T39" fmla="*/ 53 h 84"/>
                  <a:gd name="T40" fmla="*/ 14 w 103"/>
                  <a:gd name="T41" fmla="*/ 44 h 84"/>
                  <a:gd name="T42" fmla="*/ 14 w 103"/>
                  <a:gd name="T43" fmla="*/ 44 h 84"/>
                  <a:gd name="T44" fmla="*/ 14 w 103"/>
                  <a:gd name="T45" fmla="*/ 62 h 84"/>
                  <a:gd name="T46" fmla="*/ 89 w 103"/>
                  <a:gd name="T47" fmla="*/ 62 h 84"/>
                  <a:gd name="T48" fmla="*/ 89 w 103"/>
                  <a:gd name="T49" fmla="*/ 71 h 84"/>
                  <a:gd name="T50" fmla="*/ 14 w 103"/>
                  <a:gd name="T51" fmla="*/ 71 h 84"/>
                  <a:gd name="T52" fmla="*/ 14 w 103"/>
                  <a:gd name="T53" fmla="*/ 62 h 84"/>
                  <a:gd name="T54" fmla="*/ 14 w 103"/>
                  <a:gd name="T55"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84">
                    <a:moveTo>
                      <a:pt x="6" y="13"/>
                    </a:moveTo>
                    <a:cubicBezTo>
                      <a:pt x="6" y="78"/>
                      <a:pt x="6" y="78"/>
                      <a:pt x="6" y="78"/>
                    </a:cubicBezTo>
                    <a:cubicBezTo>
                      <a:pt x="96" y="78"/>
                      <a:pt x="96" y="78"/>
                      <a:pt x="96" y="78"/>
                    </a:cubicBezTo>
                    <a:cubicBezTo>
                      <a:pt x="96" y="13"/>
                      <a:pt x="96" y="13"/>
                      <a:pt x="96" y="13"/>
                    </a:cubicBezTo>
                    <a:cubicBezTo>
                      <a:pt x="64" y="13"/>
                      <a:pt x="25" y="13"/>
                      <a:pt x="6" y="13"/>
                    </a:cubicBezTo>
                    <a:close/>
                    <a:moveTo>
                      <a:pt x="103" y="0"/>
                    </a:moveTo>
                    <a:cubicBezTo>
                      <a:pt x="103" y="84"/>
                      <a:pt x="103" y="84"/>
                      <a:pt x="103" y="84"/>
                    </a:cubicBezTo>
                    <a:cubicBezTo>
                      <a:pt x="0" y="84"/>
                      <a:pt x="0" y="84"/>
                      <a:pt x="0" y="84"/>
                    </a:cubicBezTo>
                    <a:cubicBezTo>
                      <a:pt x="0" y="0"/>
                      <a:pt x="0" y="0"/>
                      <a:pt x="0" y="0"/>
                    </a:cubicBezTo>
                    <a:cubicBezTo>
                      <a:pt x="42" y="0"/>
                      <a:pt x="77" y="0"/>
                      <a:pt x="103" y="0"/>
                    </a:cubicBezTo>
                    <a:close/>
                    <a:moveTo>
                      <a:pt x="14" y="26"/>
                    </a:moveTo>
                    <a:cubicBezTo>
                      <a:pt x="89" y="26"/>
                      <a:pt x="89" y="26"/>
                      <a:pt x="89" y="26"/>
                    </a:cubicBezTo>
                    <a:cubicBezTo>
                      <a:pt x="89" y="35"/>
                      <a:pt x="89" y="35"/>
                      <a:pt x="89" y="35"/>
                    </a:cubicBezTo>
                    <a:cubicBezTo>
                      <a:pt x="14" y="35"/>
                      <a:pt x="14" y="35"/>
                      <a:pt x="14" y="35"/>
                    </a:cubicBezTo>
                    <a:cubicBezTo>
                      <a:pt x="14" y="26"/>
                      <a:pt x="14" y="26"/>
                      <a:pt x="14" y="26"/>
                    </a:cubicBezTo>
                    <a:cubicBezTo>
                      <a:pt x="14" y="26"/>
                      <a:pt x="14" y="26"/>
                      <a:pt x="14" y="26"/>
                    </a:cubicBezTo>
                    <a:close/>
                    <a:moveTo>
                      <a:pt x="14" y="44"/>
                    </a:moveTo>
                    <a:cubicBezTo>
                      <a:pt x="89" y="44"/>
                      <a:pt x="89" y="44"/>
                      <a:pt x="89" y="44"/>
                    </a:cubicBezTo>
                    <a:cubicBezTo>
                      <a:pt x="89" y="53"/>
                      <a:pt x="89" y="53"/>
                      <a:pt x="89" y="53"/>
                    </a:cubicBezTo>
                    <a:cubicBezTo>
                      <a:pt x="14" y="53"/>
                      <a:pt x="14" y="53"/>
                      <a:pt x="14" y="53"/>
                    </a:cubicBezTo>
                    <a:cubicBezTo>
                      <a:pt x="14" y="44"/>
                      <a:pt x="14" y="44"/>
                      <a:pt x="14" y="44"/>
                    </a:cubicBezTo>
                    <a:cubicBezTo>
                      <a:pt x="14" y="44"/>
                      <a:pt x="14" y="44"/>
                      <a:pt x="14" y="44"/>
                    </a:cubicBezTo>
                    <a:close/>
                    <a:moveTo>
                      <a:pt x="14" y="62"/>
                    </a:moveTo>
                    <a:cubicBezTo>
                      <a:pt x="89" y="62"/>
                      <a:pt x="89" y="62"/>
                      <a:pt x="89" y="62"/>
                    </a:cubicBezTo>
                    <a:cubicBezTo>
                      <a:pt x="89" y="71"/>
                      <a:pt x="89" y="71"/>
                      <a:pt x="89" y="71"/>
                    </a:cubicBezTo>
                    <a:cubicBezTo>
                      <a:pt x="14" y="71"/>
                      <a:pt x="14" y="71"/>
                      <a:pt x="14" y="71"/>
                    </a:cubicBezTo>
                    <a:cubicBezTo>
                      <a:pt x="14" y="62"/>
                      <a:pt x="14" y="62"/>
                      <a:pt x="14" y="62"/>
                    </a:cubicBezTo>
                    <a:cubicBezTo>
                      <a:pt x="14" y="62"/>
                      <a:pt x="14" y="62"/>
                      <a:pt x="14" y="62"/>
                    </a:cubicBezTo>
                    <a:close/>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sp>
            <p:nvSpPr>
              <p:cNvPr id="798" name="Freeform 331"/>
              <p:cNvSpPr>
                <a:spLocks noChangeAspect="1" noEditPoints="1"/>
              </p:cNvSpPr>
              <p:nvPr/>
            </p:nvSpPr>
            <p:spPr bwMode="auto">
              <a:xfrm>
                <a:off x="10899140" y="161430"/>
                <a:ext cx="300182" cy="294410"/>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cxnSp>
            <p:nvCxnSpPr>
              <p:cNvPr id="799" name="Straight Connector 798"/>
              <p:cNvCxnSpPr/>
              <p:nvPr/>
            </p:nvCxnSpPr>
            <p:spPr>
              <a:xfrm>
                <a:off x="10106452" y="624344"/>
                <a:ext cx="1886515" cy="0"/>
              </a:xfrm>
              <a:prstGeom prst="line">
                <a:avLst/>
              </a:prstGeom>
              <a:noFill/>
              <a:ln w="3175" cap="flat" cmpd="sng" algn="ctr">
                <a:solidFill>
                  <a:srgbClr val="FFFFFF"/>
                </a:solidFill>
                <a:prstDash val="solid"/>
                <a:headEnd type="none"/>
                <a:tailEnd type="none"/>
              </a:ln>
              <a:effectLst/>
            </p:spPr>
          </p:cxnSp>
        </p:grpSp>
        <p:grpSp>
          <p:nvGrpSpPr>
            <p:cNvPr id="788" name="Group 787"/>
            <p:cNvGrpSpPr/>
            <p:nvPr/>
          </p:nvGrpSpPr>
          <p:grpSpPr>
            <a:xfrm>
              <a:off x="9192623" y="5298762"/>
              <a:ext cx="927922" cy="213569"/>
              <a:chOff x="9171432" y="4580103"/>
              <a:chExt cx="927922" cy="213569"/>
            </a:xfrm>
            <a:solidFill>
              <a:srgbClr val="FFFFFF"/>
            </a:solidFill>
          </p:grpSpPr>
          <p:sp>
            <p:nvSpPr>
              <p:cNvPr id="789" name="Freeform 6"/>
              <p:cNvSpPr>
                <a:spLocks noChangeAspect="1" noEditPoints="1"/>
              </p:cNvSpPr>
              <p:nvPr/>
            </p:nvSpPr>
            <p:spPr bwMode="auto">
              <a:xfrm>
                <a:off x="9171432"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90" name="Freeform 6"/>
              <p:cNvSpPr>
                <a:spLocks noChangeAspect="1" noEditPoints="1"/>
              </p:cNvSpPr>
              <p:nvPr/>
            </p:nvSpPr>
            <p:spPr bwMode="auto">
              <a:xfrm>
                <a:off x="9512550"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sp>
            <p:nvSpPr>
              <p:cNvPr id="791" name="Freeform 6"/>
              <p:cNvSpPr>
                <a:spLocks noChangeAspect="1" noEditPoints="1"/>
              </p:cNvSpPr>
              <p:nvPr/>
            </p:nvSpPr>
            <p:spPr bwMode="auto">
              <a:xfrm>
                <a:off x="9853665" y="4580103"/>
                <a:ext cx="245689" cy="213569"/>
              </a:xfrm>
              <a:custGeom>
                <a:avLst/>
                <a:gdLst>
                  <a:gd name="T0" fmla="*/ 157 w 314"/>
                  <a:gd name="T1" fmla="*/ 0 h 273"/>
                  <a:gd name="T2" fmla="*/ 0 w 314"/>
                  <a:gd name="T3" fmla="*/ 273 h 273"/>
                  <a:gd name="T4" fmla="*/ 314 w 314"/>
                  <a:gd name="T5" fmla="*/ 273 h 273"/>
                  <a:gd name="T6" fmla="*/ 157 w 314"/>
                  <a:gd name="T7" fmla="*/ 0 h 273"/>
                  <a:gd name="T8" fmla="*/ 226 w 314"/>
                  <a:gd name="T9" fmla="*/ 250 h 273"/>
                  <a:gd name="T10" fmla="*/ 204 w 314"/>
                  <a:gd name="T11" fmla="*/ 228 h 273"/>
                  <a:gd name="T12" fmla="*/ 218 w 314"/>
                  <a:gd name="T13" fmla="*/ 208 h 273"/>
                  <a:gd name="T14" fmla="*/ 171 w 314"/>
                  <a:gd name="T15" fmla="*/ 109 h 273"/>
                  <a:gd name="T16" fmla="*/ 160 w 314"/>
                  <a:gd name="T17" fmla="*/ 114 h 273"/>
                  <a:gd name="T18" fmla="*/ 160 w 314"/>
                  <a:gd name="T19" fmla="*/ 206 h 273"/>
                  <a:gd name="T20" fmla="*/ 179 w 314"/>
                  <a:gd name="T21" fmla="*/ 228 h 273"/>
                  <a:gd name="T22" fmla="*/ 157 w 314"/>
                  <a:gd name="T23" fmla="*/ 250 h 273"/>
                  <a:gd name="T24" fmla="*/ 135 w 314"/>
                  <a:gd name="T25" fmla="*/ 228 h 273"/>
                  <a:gd name="T26" fmla="*/ 154 w 314"/>
                  <a:gd name="T27" fmla="*/ 206 h 273"/>
                  <a:gd name="T28" fmla="*/ 154 w 314"/>
                  <a:gd name="T29" fmla="*/ 114 h 273"/>
                  <a:gd name="T30" fmla="*/ 144 w 314"/>
                  <a:gd name="T31" fmla="*/ 110 h 273"/>
                  <a:gd name="T32" fmla="*/ 96 w 314"/>
                  <a:gd name="T33" fmla="*/ 208 h 273"/>
                  <a:gd name="T34" fmla="*/ 110 w 314"/>
                  <a:gd name="T35" fmla="*/ 228 h 273"/>
                  <a:gd name="T36" fmla="*/ 88 w 314"/>
                  <a:gd name="T37" fmla="*/ 250 h 273"/>
                  <a:gd name="T38" fmla="*/ 65 w 314"/>
                  <a:gd name="T39" fmla="*/ 228 h 273"/>
                  <a:gd name="T40" fmla="*/ 88 w 314"/>
                  <a:gd name="T41" fmla="*/ 206 h 273"/>
                  <a:gd name="T42" fmla="*/ 90 w 314"/>
                  <a:gd name="T43" fmla="*/ 206 h 273"/>
                  <a:gd name="T44" fmla="*/ 140 w 314"/>
                  <a:gd name="T45" fmla="*/ 106 h 273"/>
                  <a:gd name="T46" fmla="*/ 135 w 314"/>
                  <a:gd name="T47" fmla="*/ 92 h 273"/>
                  <a:gd name="T48" fmla="*/ 157 w 314"/>
                  <a:gd name="T49" fmla="*/ 70 h 273"/>
                  <a:gd name="T50" fmla="*/ 179 w 314"/>
                  <a:gd name="T51" fmla="*/ 92 h 273"/>
                  <a:gd name="T52" fmla="*/ 175 w 314"/>
                  <a:gd name="T53" fmla="*/ 104 h 273"/>
                  <a:gd name="T54" fmla="*/ 224 w 314"/>
                  <a:gd name="T55" fmla="*/ 206 h 273"/>
                  <a:gd name="T56" fmla="*/ 226 w 314"/>
                  <a:gd name="T57" fmla="*/ 206 h 273"/>
                  <a:gd name="T58" fmla="*/ 248 w 314"/>
                  <a:gd name="T59" fmla="*/ 228 h 273"/>
                  <a:gd name="T60" fmla="*/ 226 w 314"/>
                  <a:gd name="T61" fmla="*/ 25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4" h="273">
                    <a:moveTo>
                      <a:pt x="157" y="0"/>
                    </a:moveTo>
                    <a:cubicBezTo>
                      <a:pt x="0" y="273"/>
                      <a:pt x="0" y="273"/>
                      <a:pt x="0" y="273"/>
                    </a:cubicBezTo>
                    <a:cubicBezTo>
                      <a:pt x="314" y="273"/>
                      <a:pt x="314" y="273"/>
                      <a:pt x="314" y="273"/>
                    </a:cubicBezTo>
                    <a:lnTo>
                      <a:pt x="157" y="0"/>
                    </a:lnTo>
                    <a:close/>
                    <a:moveTo>
                      <a:pt x="226" y="250"/>
                    </a:moveTo>
                    <a:cubicBezTo>
                      <a:pt x="214" y="250"/>
                      <a:pt x="204" y="240"/>
                      <a:pt x="204" y="228"/>
                    </a:cubicBezTo>
                    <a:cubicBezTo>
                      <a:pt x="204" y="219"/>
                      <a:pt x="210" y="211"/>
                      <a:pt x="218" y="208"/>
                    </a:cubicBezTo>
                    <a:cubicBezTo>
                      <a:pt x="171" y="109"/>
                      <a:pt x="171" y="109"/>
                      <a:pt x="171" y="109"/>
                    </a:cubicBezTo>
                    <a:cubicBezTo>
                      <a:pt x="168" y="112"/>
                      <a:pt x="164" y="113"/>
                      <a:pt x="160" y="114"/>
                    </a:cubicBezTo>
                    <a:cubicBezTo>
                      <a:pt x="160" y="206"/>
                      <a:pt x="160" y="206"/>
                      <a:pt x="160" y="206"/>
                    </a:cubicBezTo>
                    <a:cubicBezTo>
                      <a:pt x="171" y="208"/>
                      <a:pt x="179" y="217"/>
                      <a:pt x="179" y="228"/>
                    </a:cubicBezTo>
                    <a:cubicBezTo>
                      <a:pt x="179" y="240"/>
                      <a:pt x="169" y="250"/>
                      <a:pt x="157" y="250"/>
                    </a:cubicBezTo>
                    <a:cubicBezTo>
                      <a:pt x="145" y="250"/>
                      <a:pt x="135" y="240"/>
                      <a:pt x="135" y="228"/>
                    </a:cubicBezTo>
                    <a:cubicBezTo>
                      <a:pt x="135" y="217"/>
                      <a:pt x="143" y="208"/>
                      <a:pt x="154" y="206"/>
                    </a:cubicBezTo>
                    <a:cubicBezTo>
                      <a:pt x="154" y="114"/>
                      <a:pt x="154" y="114"/>
                      <a:pt x="154" y="114"/>
                    </a:cubicBezTo>
                    <a:cubicBezTo>
                      <a:pt x="150" y="113"/>
                      <a:pt x="147" y="112"/>
                      <a:pt x="144" y="110"/>
                    </a:cubicBezTo>
                    <a:cubicBezTo>
                      <a:pt x="96" y="208"/>
                      <a:pt x="96" y="208"/>
                      <a:pt x="96" y="208"/>
                    </a:cubicBezTo>
                    <a:cubicBezTo>
                      <a:pt x="104" y="211"/>
                      <a:pt x="110" y="219"/>
                      <a:pt x="110" y="228"/>
                    </a:cubicBezTo>
                    <a:cubicBezTo>
                      <a:pt x="110" y="240"/>
                      <a:pt x="100" y="250"/>
                      <a:pt x="88" y="250"/>
                    </a:cubicBezTo>
                    <a:cubicBezTo>
                      <a:pt x="75" y="250"/>
                      <a:pt x="65" y="240"/>
                      <a:pt x="65" y="228"/>
                    </a:cubicBezTo>
                    <a:cubicBezTo>
                      <a:pt x="65" y="216"/>
                      <a:pt x="75" y="206"/>
                      <a:pt x="88" y="206"/>
                    </a:cubicBezTo>
                    <a:cubicBezTo>
                      <a:pt x="89" y="206"/>
                      <a:pt x="90" y="206"/>
                      <a:pt x="90" y="206"/>
                    </a:cubicBezTo>
                    <a:cubicBezTo>
                      <a:pt x="140" y="106"/>
                      <a:pt x="140" y="106"/>
                      <a:pt x="140" y="106"/>
                    </a:cubicBezTo>
                    <a:cubicBezTo>
                      <a:pt x="137" y="102"/>
                      <a:pt x="135" y="97"/>
                      <a:pt x="135" y="92"/>
                    </a:cubicBezTo>
                    <a:cubicBezTo>
                      <a:pt x="135" y="80"/>
                      <a:pt x="145" y="70"/>
                      <a:pt x="157" y="70"/>
                    </a:cubicBezTo>
                    <a:cubicBezTo>
                      <a:pt x="169" y="70"/>
                      <a:pt x="179" y="80"/>
                      <a:pt x="179" y="92"/>
                    </a:cubicBezTo>
                    <a:cubicBezTo>
                      <a:pt x="179" y="97"/>
                      <a:pt x="178" y="101"/>
                      <a:pt x="175" y="104"/>
                    </a:cubicBezTo>
                    <a:cubicBezTo>
                      <a:pt x="224" y="206"/>
                      <a:pt x="224" y="206"/>
                      <a:pt x="224" y="206"/>
                    </a:cubicBezTo>
                    <a:cubicBezTo>
                      <a:pt x="224" y="206"/>
                      <a:pt x="225" y="206"/>
                      <a:pt x="226" y="206"/>
                    </a:cubicBezTo>
                    <a:cubicBezTo>
                      <a:pt x="238" y="206"/>
                      <a:pt x="248" y="216"/>
                      <a:pt x="248" y="228"/>
                    </a:cubicBezTo>
                    <a:cubicBezTo>
                      <a:pt x="248" y="240"/>
                      <a:pt x="238" y="250"/>
                      <a:pt x="226" y="250"/>
                    </a:cubicBezTo>
                    <a:close/>
                  </a:path>
                </a:pathLst>
              </a:custGeom>
              <a:grpFill/>
              <a:ln>
                <a:noFill/>
              </a:ln>
            </p:spPr>
            <p:txBody>
              <a:bodyPr vert="horz" wrap="square" lIns="89606" tIns="44804" rIns="89606" bIns="44804" numCol="1" anchor="t" anchorCtr="0" compatLnSpc="1">
                <a:prstTxWarp prst="textNoShape">
                  <a:avLst/>
                </a:prstTxWarp>
              </a:bodyPr>
              <a:lstStyle/>
              <a:p>
                <a:pPr defTabSz="913103" fontAlgn="base">
                  <a:spcBef>
                    <a:spcPct val="0"/>
                  </a:spcBef>
                  <a:spcAft>
                    <a:spcPct val="0"/>
                  </a:spcAft>
                  <a:defRPr/>
                </a:pPr>
                <a:endParaRPr lang="en-US" sz="1765" kern="0">
                  <a:solidFill>
                    <a:srgbClr val="505050"/>
                  </a:solidFill>
                  <a:latin typeface="Segoe UI"/>
                  <a:cs typeface="Segoe UI" pitchFamily="34" charset="0"/>
                </a:endParaRPr>
              </a:p>
            </p:txBody>
          </p:sp>
        </p:grpSp>
      </p:grpSp>
      <p:sp>
        <p:nvSpPr>
          <p:cNvPr id="800" name="Rectangle 62"/>
          <p:cNvSpPr/>
          <p:nvPr/>
        </p:nvSpPr>
        <p:spPr>
          <a:xfrm>
            <a:off x="1718007" y="5170218"/>
            <a:ext cx="1102739" cy="342713"/>
          </a:xfrm>
          <a:prstGeom prst="rect">
            <a:avLst/>
          </a:prstGeom>
          <a:solidFill>
            <a:srgbClr val="FFFFFF">
              <a:lumMod val="95000"/>
            </a:srgbClr>
          </a:solidFill>
          <a:ln w="6350" cap="flat" cmpd="sng" algn="ctr">
            <a:noFill/>
            <a:prstDash val="solid"/>
          </a:ln>
          <a:effectLst/>
        </p:spPr>
        <p:txBody>
          <a:bodyPr vert="horz" wrap="square" lIns="179065" tIns="89532" rIns="0" bIns="89532" rtlCol="0" anchor="ctr">
            <a:noAutofit/>
          </a:bodyPr>
          <a:lstStyle/>
          <a:p>
            <a:pPr defTabSz="896403">
              <a:lnSpc>
                <a:spcPct val="90000"/>
              </a:lnSpc>
              <a:defRPr/>
            </a:pPr>
            <a:r>
              <a:rPr lang="en-US" sz="1078" kern="0" dirty="0">
                <a:gradFill>
                  <a:gsLst>
                    <a:gs pos="56637">
                      <a:srgbClr val="191919"/>
                    </a:gs>
                    <a:gs pos="71000">
                      <a:srgbClr val="191919"/>
                    </a:gs>
                  </a:gsLst>
                  <a:lin ang="5400000" scaled="0"/>
                </a:gradFill>
                <a:latin typeface="Segoe UI Semibold" panose="020B0702040204020203" pitchFamily="34" charset="0"/>
                <a:cs typeface="Segoe UI" pitchFamily="34" charset="0"/>
              </a:rPr>
              <a:t>Virtualization </a:t>
            </a:r>
            <a:br>
              <a:rPr lang="en-US" sz="1078" kern="0" dirty="0">
                <a:gradFill>
                  <a:gsLst>
                    <a:gs pos="56637">
                      <a:srgbClr val="191919"/>
                    </a:gs>
                    <a:gs pos="71000">
                      <a:srgbClr val="191919"/>
                    </a:gs>
                  </a:gsLst>
                  <a:lin ang="5400000" scaled="0"/>
                </a:gradFill>
                <a:latin typeface="Segoe UI Semibold" panose="020B0702040204020203" pitchFamily="34" charset="0"/>
                <a:cs typeface="Segoe UI" pitchFamily="34" charset="0"/>
              </a:rPr>
            </a:br>
            <a:r>
              <a:rPr lang="en-US" sz="1078" kern="0" dirty="0">
                <a:gradFill>
                  <a:gsLst>
                    <a:gs pos="56637">
                      <a:srgbClr val="191919"/>
                    </a:gs>
                    <a:gs pos="71000">
                      <a:srgbClr val="191919"/>
                    </a:gs>
                  </a:gsLst>
                  <a:lin ang="5400000" scaled="0"/>
                </a:gradFill>
                <a:latin typeface="Segoe UI Semibold" panose="020B0702040204020203" pitchFamily="34" charset="0"/>
                <a:cs typeface="Segoe UI" pitchFamily="34" charset="0"/>
              </a:rPr>
              <a:t>platform</a:t>
            </a:r>
          </a:p>
        </p:txBody>
      </p:sp>
      <p:grpSp>
        <p:nvGrpSpPr>
          <p:cNvPr id="821" name="Group 820"/>
          <p:cNvGrpSpPr/>
          <p:nvPr/>
        </p:nvGrpSpPr>
        <p:grpSpPr>
          <a:xfrm>
            <a:off x="7661400" y="2086611"/>
            <a:ext cx="357168" cy="316886"/>
            <a:chOff x="2195513" y="-1231900"/>
            <a:chExt cx="1055688" cy="936625"/>
          </a:xfrm>
          <a:solidFill>
            <a:srgbClr val="FFFFFF"/>
          </a:solidFill>
        </p:grpSpPr>
        <p:sp>
          <p:nvSpPr>
            <p:cNvPr id="822" name="Freeform 5"/>
            <p:cNvSpPr>
              <a:spLocks noEditPoints="1"/>
            </p:cNvSpPr>
            <p:nvPr/>
          </p:nvSpPr>
          <p:spPr bwMode="auto">
            <a:xfrm>
              <a:off x="2578101" y="-938213"/>
              <a:ext cx="673100" cy="642938"/>
            </a:xfrm>
            <a:custGeom>
              <a:avLst/>
              <a:gdLst>
                <a:gd name="T0" fmla="*/ 1400 w 1451"/>
                <a:gd name="T1" fmla="*/ 622 h 1384"/>
                <a:gd name="T2" fmla="*/ 639 w 1451"/>
                <a:gd name="T3" fmla="*/ 0 h 1384"/>
                <a:gd name="T4" fmla="*/ 611 w 1451"/>
                <a:gd name="T5" fmla="*/ 6 h 1384"/>
                <a:gd name="T6" fmla="*/ 252 w 1451"/>
                <a:gd name="T7" fmla="*/ 157 h 1384"/>
                <a:gd name="T8" fmla="*/ 252 w 1451"/>
                <a:gd name="T9" fmla="*/ 157 h 1384"/>
                <a:gd name="T10" fmla="*/ 174 w 1451"/>
                <a:gd name="T11" fmla="*/ 235 h 1384"/>
                <a:gd name="T12" fmla="*/ 51 w 1451"/>
                <a:gd name="T13" fmla="*/ 762 h 1384"/>
                <a:gd name="T14" fmla="*/ 807 w 1451"/>
                <a:gd name="T15" fmla="*/ 1384 h 1384"/>
                <a:gd name="T16" fmla="*/ 840 w 1451"/>
                <a:gd name="T17" fmla="*/ 1384 h 1384"/>
                <a:gd name="T18" fmla="*/ 1199 w 1451"/>
                <a:gd name="T19" fmla="*/ 1227 h 1384"/>
                <a:gd name="T20" fmla="*/ 1271 w 1451"/>
                <a:gd name="T21" fmla="*/ 1154 h 1384"/>
                <a:gd name="T22" fmla="*/ 1271 w 1451"/>
                <a:gd name="T23" fmla="*/ 1154 h 1384"/>
                <a:gd name="T24" fmla="*/ 1400 w 1451"/>
                <a:gd name="T25" fmla="*/ 622 h 1384"/>
                <a:gd name="T26" fmla="*/ 902 w 1451"/>
                <a:gd name="T27" fmla="*/ 818 h 1384"/>
                <a:gd name="T28" fmla="*/ 818 w 1451"/>
                <a:gd name="T29" fmla="*/ 852 h 1384"/>
                <a:gd name="T30" fmla="*/ 745 w 1451"/>
                <a:gd name="T31" fmla="*/ 728 h 1384"/>
                <a:gd name="T32" fmla="*/ 527 w 1451"/>
                <a:gd name="T33" fmla="*/ 863 h 1384"/>
                <a:gd name="T34" fmla="*/ 465 w 1451"/>
                <a:gd name="T35" fmla="*/ 784 h 1384"/>
                <a:gd name="T36" fmla="*/ 695 w 1451"/>
                <a:gd name="T37" fmla="*/ 639 h 1384"/>
                <a:gd name="T38" fmla="*/ 471 w 1451"/>
                <a:gd name="T39" fmla="*/ 235 h 1384"/>
                <a:gd name="T40" fmla="*/ 555 w 1451"/>
                <a:gd name="T41" fmla="*/ 202 h 1384"/>
                <a:gd name="T42" fmla="*/ 773 w 1451"/>
                <a:gd name="T43" fmla="*/ 588 h 1384"/>
                <a:gd name="T44" fmla="*/ 874 w 1451"/>
                <a:gd name="T45" fmla="*/ 521 h 1384"/>
                <a:gd name="T46" fmla="*/ 936 w 1451"/>
                <a:gd name="T47" fmla="*/ 605 h 1384"/>
                <a:gd name="T48" fmla="*/ 824 w 1451"/>
                <a:gd name="T49" fmla="*/ 678 h 1384"/>
                <a:gd name="T50" fmla="*/ 902 w 1451"/>
                <a:gd name="T51" fmla="*/ 818 h 1384"/>
                <a:gd name="T52" fmla="*/ 902 w 1451"/>
                <a:gd name="T53" fmla="*/ 818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1" h="1384">
                  <a:moveTo>
                    <a:pt x="1400" y="622"/>
                  </a:moveTo>
                  <a:cubicBezTo>
                    <a:pt x="1316" y="275"/>
                    <a:pt x="980" y="0"/>
                    <a:pt x="639" y="0"/>
                  </a:cubicBezTo>
                  <a:cubicBezTo>
                    <a:pt x="628" y="0"/>
                    <a:pt x="622" y="0"/>
                    <a:pt x="611" y="6"/>
                  </a:cubicBezTo>
                  <a:cubicBezTo>
                    <a:pt x="460" y="11"/>
                    <a:pt x="336" y="67"/>
                    <a:pt x="252" y="157"/>
                  </a:cubicBezTo>
                  <a:cubicBezTo>
                    <a:pt x="252" y="157"/>
                    <a:pt x="252" y="157"/>
                    <a:pt x="252" y="157"/>
                  </a:cubicBezTo>
                  <a:cubicBezTo>
                    <a:pt x="174" y="235"/>
                    <a:pt x="174" y="235"/>
                    <a:pt x="174" y="235"/>
                  </a:cubicBezTo>
                  <a:cubicBezTo>
                    <a:pt x="51" y="364"/>
                    <a:pt x="0" y="555"/>
                    <a:pt x="51" y="762"/>
                  </a:cubicBezTo>
                  <a:cubicBezTo>
                    <a:pt x="129" y="1115"/>
                    <a:pt x="465" y="1384"/>
                    <a:pt x="807" y="1384"/>
                  </a:cubicBezTo>
                  <a:cubicBezTo>
                    <a:pt x="818" y="1384"/>
                    <a:pt x="829" y="1384"/>
                    <a:pt x="840" y="1384"/>
                  </a:cubicBezTo>
                  <a:cubicBezTo>
                    <a:pt x="986" y="1378"/>
                    <a:pt x="1109" y="1322"/>
                    <a:pt x="1199" y="1227"/>
                  </a:cubicBezTo>
                  <a:cubicBezTo>
                    <a:pt x="1271" y="1154"/>
                    <a:pt x="1271" y="1154"/>
                    <a:pt x="1271" y="1154"/>
                  </a:cubicBezTo>
                  <a:cubicBezTo>
                    <a:pt x="1271" y="1154"/>
                    <a:pt x="1271" y="1154"/>
                    <a:pt x="1271" y="1154"/>
                  </a:cubicBezTo>
                  <a:cubicBezTo>
                    <a:pt x="1395" y="1025"/>
                    <a:pt x="1451" y="835"/>
                    <a:pt x="1400" y="622"/>
                  </a:cubicBezTo>
                  <a:close/>
                  <a:moveTo>
                    <a:pt x="902" y="818"/>
                  </a:moveTo>
                  <a:cubicBezTo>
                    <a:pt x="818" y="852"/>
                    <a:pt x="818" y="852"/>
                    <a:pt x="818" y="852"/>
                  </a:cubicBezTo>
                  <a:cubicBezTo>
                    <a:pt x="745" y="728"/>
                    <a:pt x="745" y="728"/>
                    <a:pt x="745" y="728"/>
                  </a:cubicBezTo>
                  <a:cubicBezTo>
                    <a:pt x="527" y="863"/>
                    <a:pt x="527" y="863"/>
                    <a:pt x="527" y="863"/>
                  </a:cubicBezTo>
                  <a:cubicBezTo>
                    <a:pt x="465" y="784"/>
                    <a:pt x="465" y="784"/>
                    <a:pt x="465" y="784"/>
                  </a:cubicBezTo>
                  <a:cubicBezTo>
                    <a:pt x="695" y="639"/>
                    <a:pt x="695" y="639"/>
                    <a:pt x="695" y="639"/>
                  </a:cubicBezTo>
                  <a:cubicBezTo>
                    <a:pt x="471" y="235"/>
                    <a:pt x="471" y="235"/>
                    <a:pt x="471" y="235"/>
                  </a:cubicBezTo>
                  <a:cubicBezTo>
                    <a:pt x="555" y="202"/>
                    <a:pt x="555" y="202"/>
                    <a:pt x="555" y="202"/>
                  </a:cubicBezTo>
                  <a:cubicBezTo>
                    <a:pt x="773" y="588"/>
                    <a:pt x="773" y="588"/>
                    <a:pt x="773" y="588"/>
                  </a:cubicBezTo>
                  <a:cubicBezTo>
                    <a:pt x="874" y="521"/>
                    <a:pt x="874" y="521"/>
                    <a:pt x="874" y="521"/>
                  </a:cubicBezTo>
                  <a:cubicBezTo>
                    <a:pt x="936" y="605"/>
                    <a:pt x="936" y="605"/>
                    <a:pt x="936" y="605"/>
                  </a:cubicBezTo>
                  <a:cubicBezTo>
                    <a:pt x="824" y="678"/>
                    <a:pt x="824" y="678"/>
                    <a:pt x="824" y="678"/>
                  </a:cubicBezTo>
                  <a:cubicBezTo>
                    <a:pt x="902" y="818"/>
                    <a:pt x="902" y="818"/>
                    <a:pt x="902" y="818"/>
                  </a:cubicBezTo>
                  <a:cubicBezTo>
                    <a:pt x="902" y="818"/>
                    <a:pt x="902" y="818"/>
                    <a:pt x="902"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282828"/>
                </a:solidFill>
                <a:latin typeface="Segoe UI"/>
              </a:endParaRPr>
            </a:p>
          </p:txBody>
        </p:sp>
        <p:sp>
          <p:nvSpPr>
            <p:cNvPr id="823" name="Freeform 6"/>
            <p:cNvSpPr>
              <a:spLocks noEditPoints="1"/>
            </p:cNvSpPr>
            <p:nvPr/>
          </p:nvSpPr>
          <p:spPr bwMode="auto">
            <a:xfrm>
              <a:off x="2195513" y="-1231900"/>
              <a:ext cx="692150" cy="762000"/>
            </a:xfrm>
            <a:custGeom>
              <a:avLst/>
              <a:gdLst>
                <a:gd name="T0" fmla="*/ 1313 w 1492"/>
                <a:gd name="T1" fmla="*/ 185 h 1642"/>
                <a:gd name="T2" fmla="*/ 1034 w 1492"/>
                <a:gd name="T3" fmla="*/ 67 h 1642"/>
                <a:gd name="T4" fmla="*/ 1151 w 1492"/>
                <a:gd name="T5" fmla="*/ 84 h 1642"/>
                <a:gd name="T6" fmla="*/ 1224 w 1492"/>
                <a:gd name="T7" fmla="*/ 185 h 1642"/>
                <a:gd name="T8" fmla="*/ 1151 w 1492"/>
                <a:gd name="T9" fmla="*/ 274 h 1642"/>
                <a:gd name="T10" fmla="*/ 498 w 1492"/>
                <a:gd name="T11" fmla="*/ 185 h 1642"/>
                <a:gd name="T12" fmla="*/ 218 w 1492"/>
                <a:gd name="T13" fmla="*/ 67 h 1642"/>
                <a:gd name="T14" fmla="*/ 341 w 1492"/>
                <a:gd name="T15" fmla="*/ 84 h 1642"/>
                <a:gd name="T16" fmla="*/ 408 w 1492"/>
                <a:gd name="T17" fmla="*/ 185 h 1642"/>
                <a:gd name="T18" fmla="*/ 341 w 1492"/>
                <a:gd name="T19" fmla="*/ 274 h 1642"/>
                <a:gd name="T20" fmla="*/ 73 w 1492"/>
                <a:gd name="T21" fmla="*/ 185 h 1642"/>
                <a:gd name="T22" fmla="*/ 0 w 1492"/>
                <a:gd name="T23" fmla="*/ 1574 h 1642"/>
                <a:gd name="T24" fmla="*/ 866 w 1492"/>
                <a:gd name="T25" fmla="*/ 1642 h 1642"/>
                <a:gd name="T26" fmla="*/ 554 w 1492"/>
                <a:gd name="T27" fmla="*/ 1535 h 1642"/>
                <a:gd name="T28" fmla="*/ 760 w 1492"/>
                <a:gd name="T29" fmla="*/ 1266 h 1642"/>
                <a:gd name="T30" fmla="*/ 554 w 1492"/>
                <a:gd name="T31" fmla="*/ 1188 h 1642"/>
                <a:gd name="T32" fmla="*/ 855 w 1492"/>
                <a:gd name="T33" fmla="*/ 896 h 1642"/>
                <a:gd name="T34" fmla="*/ 554 w 1492"/>
                <a:gd name="T35" fmla="*/ 818 h 1642"/>
                <a:gd name="T36" fmla="*/ 939 w 1492"/>
                <a:gd name="T37" fmla="*/ 549 h 1642"/>
                <a:gd name="T38" fmla="*/ 1006 w 1492"/>
                <a:gd name="T39" fmla="*/ 728 h 1642"/>
                <a:gd name="T40" fmla="*/ 1017 w 1492"/>
                <a:gd name="T41" fmla="*/ 549 h 1642"/>
                <a:gd name="T42" fmla="*/ 1425 w 1492"/>
                <a:gd name="T43" fmla="*/ 543 h 1642"/>
                <a:gd name="T44" fmla="*/ 1492 w 1492"/>
                <a:gd name="T45" fmla="*/ 543 h 1642"/>
                <a:gd name="T46" fmla="*/ 1420 w 1492"/>
                <a:gd name="T47" fmla="*/ 185 h 1642"/>
                <a:gd name="T48" fmla="*/ 107 w 1492"/>
                <a:gd name="T49" fmla="*/ 1535 h 1642"/>
                <a:gd name="T50" fmla="*/ 475 w 1492"/>
                <a:gd name="T51" fmla="*/ 1266 h 1642"/>
                <a:gd name="T52" fmla="*/ 475 w 1492"/>
                <a:gd name="T53" fmla="*/ 1535 h 1642"/>
                <a:gd name="T54" fmla="*/ 107 w 1492"/>
                <a:gd name="T55" fmla="*/ 1188 h 1642"/>
                <a:gd name="T56" fmla="*/ 475 w 1492"/>
                <a:gd name="T57" fmla="*/ 896 h 1642"/>
                <a:gd name="T58" fmla="*/ 475 w 1492"/>
                <a:gd name="T59" fmla="*/ 1188 h 1642"/>
                <a:gd name="T60" fmla="*/ 107 w 1492"/>
                <a:gd name="T61" fmla="*/ 818 h 1642"/>
                <a:gd name="T62" fmla="*/ 475 w 1492"/>
                <a:gd name="T63" fmla="*/ 549 h 1642"/>
                <a:gd name="T64" fmla="*/ 475 w 1492"/>
                <a:gd name="T65" fmla="*/ 818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2" h="1642">
                  <a:moveTo>
                    <a:pt x="1420" y="185"/>
                  </a:moveTo>
                  <a:cubicBezTo>
                    <a:pt x="1313" y="185"/>
                    <a:pt x="1313" y="185"/>
                    <a:pt x="1313" y="185"/>
                  </a:cubicBezTo>
                  <a:cubicBezTo>
                    <a:pt x="1308" y="84"/>
                    <a:pt x="1241" y="0"/>
                    <a:pt x="1151" y="0"/>
                  </a:cubicBezTo>
                  <a:cubicBezTo>
                    <a:pt x="1107" y="0"/>
                    <a:pt x="1062" y="28"/>
                    <a:pt x="1034" y="67"/>
                  </a:cubicBezTo>
                  <a:cubicBezTo>
                    <a:pt x="1107" y="112"/>
                    <a:pt x="1107" y="112"/>
                    <a:pt x="1107" y="112"/>
                  </a:cubicBezTo>
                  <a:cubicBezTo>
                    <a:pt x="1118" y="95"/>
                    <a:pt x="1135" y="84"/>
                    <a:pt x="1151" y="84"/>
                  </a:cubicBezTo>
                  <a:cubicBezTo>
                    <a:pt x="1190" y="84"/>
                    <a:pt x="1224" y="129"/>
                    <a:pt x="1224" y="179"/>
                  </a:cubicBezTo>
                  <a:cubicBezTo>
                    <a:pt x="1224" y="185"/>
                    <a:pt x="1224" y="185"/>
                    <a:pt x="1224" y="185"/>
                  </a:cubicBezTo>
                  <a:cubicBezTo>
                    <a:pt x="1224" y="185"/>
                    <a:pt x="1224" y="185"/>
                    <a:pt x="1224" y="185"/>
                  </a:cubicBezTo>
                  <a:cubicBezTo>
                    <a:pt x="1218" y="235"/>
                    <a:pt x="1190" y="274"/>
                    <a:pt x="1151" y="274"/>
                  </a:cubicBezTo>
                  <a:cubicBezTo>
                    <a:pt x="1118" y="274"/>
                    <a:pt x="1084" y="235"/>
                    <a:pt x="1084" y="185"/>
                  </a:cubicBezTo>
                  <a:cubicBezTo>
                    <a:pt x="498" y="185"/>
                    <a:pt x="498" y="185"/>
                    <a:pt x="498" y="185"/>
                  </a:cubicBezTo>
                  <a:cubicBezTo>
                    <a:pt x="498" y="84"/>
                    <a:pt x="425" y="0"/>
                    <a:pt x="341" y="0"/>
                  </a:cubicBezTo>
                  <a:cubicBezTo>
                    <a:pt x="291" y="0"/>
                    <a:pt x="246" y="28"/>
                    <a:pt x="218" y="67"/>
                  </a:cubicBezTo>
                  <a:cubicBezTo>
                    <a:pt x="291" y="112"/>
                    <a:pt x="291" y="112"/>
                    <a:pt x="291" y="112"/>
                  </a:cubicBezTo>
                  <a:cubicBezTo>
                    <a:pt x="302" y="95"/>
                    <a:pt x="319" y="84"/>
                    <a:pt x="341" y="84"/>
                  </a:cubicBezTo>
                  <a:cubicBezTo>
                    <a:pt x="380" y="84"/>
                    <a:pt x="408" y="129"/>
                    <a:pt x="408" y="179"/>
                  </a:cubicBezTo>
                  <a:cubicBezTo>
                    <a:pt x="408" y="185"/>
                    <a:pt x="408" y="185"/>
                    <a:pt x="408" y="185"/>
                  </a:cubicBezTo>
                  <a:cubicBezTo>
                    <a:pt x="408" y="185"/>
                    <a:pt x="408" y="185"/>
                    <a:pt x="408" y="185"/>
                  </a:cubicBezTo>
                  <a:cubicBezTo>
                    <a:pt x="408" y="235"/>
                    <a:pt x="375" y="274"/>
                    <a:pt x="341" y="274"/>
                  </a:cubicBezTo>
                  <a:cubicBezTo>
                    <a:pt x="302" y="274"/>
                    <a:pt x="274" y="235"/>
                    <a:pt x="269" y="185"/>
                  </a:cubicBezTo>
                  <a:cubicBezTo>
                    <a:pt x="73" y="185"/>
                    <a:pt x="73" y="185"/>
                    <a:pt x="73" y="185"/>
                  </a:cubicBezTo>
                  <a:cubicBezTo>
                    <a:pt x="34" y="185"/>
                    <a:pt x="0" y="218"/>
                    <a:pt x="0" y="258"/>
                  </a:cubicBezTo>
                  <a:cubicBezTo>
                    <a:pt x="0" y="1574"/>
                    <a:pt x="0" y="1574"/>
                    <a:pt x="0" y="1574"/>
                  </a:cubicBezTo>
                  <a:cubicBezTo>
                    <a:pt x="0" y="1614"/>
                    <a:pt x="34" y="1642"/>
                    <a:pt x="73" y="1642"/>
                  </a:cubicBezTo>
                  <a:cubicBezTo>
                    <a:pt x="866" y="1642"/>
                    <a:pt x="866" y="1642"/>
                    <a:pt x="866" y="1642"/>
                  </a:cubicBezTo>
                  <a:cubicBezTo>
                    <a:pt x="850" y="1608"/>
                    <a:pt x="833" y="1574"/>
                    <a:pt x="816" y="1535"/>
                  </a:cubicBezTo>
                  <a:cubicBezTo>
                    <a:pt x="554" y="1535"/>
                    <a:pt x="554" y="1535"/>
                    <a:pt x="554" y="1535"/>
                  </a:cubicBezTo>
                  <a:cubicBezTo>
                    <a:pt x="554" y="1266"/>
                    <a:pt x="554" y="1266"/>
                    <a:pt x="554" y="1266"/>
                  </a:cubicBezTo>
                  <a:cubicBezTo>
                    <a:pt x="760" y="1266"/>
                    <a:pt x="760" y="1266"/>
                    <a:pt x="760" y="1266"/>
                  </a:cubicBezTo>
                  <a:cubicBezTo>
                    <a:pt x="760" y="1238"/>
                    <a:pt x="760" y="1216"/>
                    <a:pt x="760" y="1188"/>
                  </a:cubicBezTo>
                  <a:cubicBezTo>
                    <a:pt x="554" y="1188"/>
                    <a:pt x="554" y="1188"/>
                    <a:pt x="554" y="1188"/>
                  </a:cubicBezTo>
                  <a:cubicBezTo>
                    <a:pt x="554" y="896"/>
                    <a:pt x="554" y="896"/>
                    <a:pt x="554" y="896"/>
                  </a:cubicBezTo>
                  <a:cubicBezTo>
                    <a:pt x="855" y="896"/>
                    <a:pt x="855" y="896"/>
                    <a:pt x="855" y="896"/>
                  </a:cubicBezTo>
                  <a:cubicBezTo>
                    <a:pt x="872" y="868"/>
                    <a:pt x="894" y="846"/>
                    <a:pt x="917" y="818"/>
                  </a:cubicBezTo>
                  <a:cubicBezTo>
                    <a:pt x="554" y="818"/>
                    <a:pt x="554" y="818"/>
                    <a:pt x="554" y="818"/>
                  </a:cubicBezTo>
                  <a:cubicBezTo>
                    <a:pt x="554" y="549"/>
                    <a:pt x="554" y="549"/>
                    <a:pt x="554" y="549"/>
                  </a:cubicBezTo>
                  <a:cubicBezTo>
                    <a:pt x="939" y="549"/>
                    <a:pt x="939" y="549"/>
                    <a:pt x="939" y="549"/>
                  </a:cubicBezTo>
                  <a:cubicBezTo>
                    <a:pt x="939" y="795"/>
                    <a:pt x="939" y="795"/>
                    <a:pt x="939" y="795"/>
                  </a:cubicBezTo>
                  <a:cubicBezTo>
                    <a:pt x="1006" y="728"/>
                    <a:pt x="1006" y="728"/>
                    <a:pt x="1006" y="728"/>
                  </a:cubicBezTo>
                  <a:cubicBezTo>
                    <a:pt x="1012" y="723"/>
                    <a:pt x="1012" y="717"/>
                    <a:pt x="1017" y="717"/>
                  </a:cubicBezTo>
                  <a:cubicBezTo>
                    <a:pt x="1017" y="549"/>
                    <a:pt x="1017" y="549"/>
                    <a:pt x="1017" y="549"/>
                  </a:cubicBezTo>
                  <a:cubicBezTo>
                    <a:pt x="1375" y="549"/>
                    <a:pt x="1375" y="549"/>
                    <a:pt x="1375" y="549"/>
                  </a:cubicBezTo>
                  <a:cubicBezTo>
                    <a:pt x="1392" y="549"/>
                    <a:pt x="1408" y="543"/>
                    <a:pt x="1425" y="543"/>
                  </a:cubicBezTo>
                  <a:cubicBezTo>
                    <a:pt x="1436" y="543"/>
                    <a:pt x="1448" y="543"/>
                    <a:pt x="1459" y="543"/>
                  </a:cubicBezTo>
                  <a:cubicBezTo>
                    <a:pt x="1470" y="543"/>
                    <a:pt x="1481" y="543"/>
                    <a:pt x="1492" y="543"/>
                  </a:cubicBezTo>
                  <a:cubicBezTo>
                    <a:pt x="1492" y="258"/>
                    <a:pt x="1492" y="258"/>
                    <a:pt x="1492" y="258"/>
                  </a:cubicBezTo>
                  <a:cubicBezTo>
                    <a:pt x="1492" y="218"/>
                    <a:pt x="1459" y="185"/>
                    <a:pt x="1420" y="185"/>
                  </a:cubicBezTo>
                  <a:close/>
                  <a:moveTo>
                    <a:pt x="475" y="1535"/>
                  </a:moveTo>
                  <a:cubicBezTo>
                    <a:pt x="107" y="1535"/>
                    <a:pt x="107" y="1535"/>
                    <a:pt x="107" y="1535"/>
                  </a:cubicBezTo>
                  <a:cubicBezTo>
                    <a:pt x="107" y="1266"/>
                    <a:pt x="107" y="1266"/>
                    <a:pt x="107" y="1266"/>
                  </a:cubicBezTo>
                  <a:cubicBezTo>
                    <a:pt x="475" y="1266"/>
                    <a:pt x="475" y="1266"/>
                    <a:pt x="475" y="1266"/>
                  </a:cubicBezTo>
                  <a:cubicBezTo>
                    <a:pt x="475" y="1535"/>
                    <a:pt x="475" y="1535"/>
                    <a:pt x="475" y="1535"/>
                  </a:cubicBezTo>
                  <a:cubicBezTo>
                    <a:pt x="475" y="1535"/>
                    <a:pt x="475" y="1535"/>
                    <a:pt x="475" y="1535"/>
                  </a:cubicBezTo>
                  <a:close/>
                  <a:moveTo>
                    <a:pt x="475" y="1188"/>
                  </a:moveTo>
                  <a:cubicBezTo>
                    <a:pt x="107" y="1188"/>
                    <a:pt x="107" y="1188"/>
                    <a:pt x="107" y="1188"/>
                  </a:cubicBezTo>
                  <a:cubicBezTo>
                    <a:pt x="107" y="896"/>
                    <a:pt x="107" y="896"/>
                    <a:pt x="107" y="896"/>
                  </a:cubicBezTo>
                  <a:cubicBezTo>
                    <a:pt x="475" y="896"/>
                    <a:pt x="475" y="896"/>
                    <a:pt x="475" y="896"/>
                  </a:cubicBezTo>
                  <a:cubicBezTo>
                    <a:pt x="475" y="1188"/>
                    <a:pt x="475" y="1188"/>
                    <a:pt x="475" y="1188"/>
                  </a:cubicBezTo>
                  <a:cubicBezTo>
                    <a:pt x="475" y="1188"/>
                    <a:pt x="475" y="1188"/>
                    <a:pt x="475" y="1188"/>
                  </a:cubicBezTo>
                  <a:close/>
                  <a:moveTo>
                    <a:pt x="475" y="818"/>
                  </a:moveTo>
                  <a:cubicBezTo>
                    <a:pt x="107" y="818"/>
                    <a:pt x="107" y="818"/>
                    <a:pt x="107" y="818"/>
                  </a:cubicBezTo>
                  <a:cubicBezTo>
                    <a:pt x="107" y="549"/>
                    <a:pt x="107" y="549"/>
                    <a:pt x="107" y="549"/>
                  </a:cubicBezTo>
                  <a:cubicBezTo>
                    <a:pt x="475" y="549"/>
                    <a:pt x="475" y="549"/>
                    <a:pt x="475" y="549"/>
                  </a:cubicBezTo>
                  <a:cubicBezTo>
                    <a:pt x="475" y="818"/>
                    <a:pt x="475" y="818"/>
                    <a:pt x="475" y="818"/>
                  </a:cubicBezTo>
                  <a:cubicBezTo>
                    <a:pt x="475" y="818"/>
                    <a:pt x="475" y="818"/>
                    <a:pt x="475"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282828"/>
                </a:solidFill>
                <a:latin typeface="Segoe UI"/>
              </a:endParaRPr>
            </a:p>
          </p:txBody>
        </p:sp>
      </p:grpSp>
      <p:grpSp>
        <p:nvGrpSpPr>
          <p:cNvPr id="826" name="Group 825"/>
          <p:cNvGrpSpPr/>
          <p:nvPr/>
        </p:nvGrpSpPr>
        <p:grpSpPr>
          <a:xfrm>
            <a:off x="10436309" y="4464650"/>
            <a:ext cx="1275566" cy="727211"/>
            <a:chOff x="10645578" y="4553678"/>
            <a:chExt cx="1301144" cy="741793"/>
          </a:xfrm>
        </p:grpSpPr>
        <p:sp>
          <p:nvSpPr>
            <p:cNvPr id="827" name="Cloud 826"/>
            <p:cNvSpPr>
              <a:spLocks noChangeAspect="1"/>
            </p:cNvSpPr>
            <p:nvPr/>
          </p:nvSpPr>
          <p:spPr bwMode="auto">
            <a:xfrm rot="10800000" flipV="1">
              <a:off x="10645578" y="4612480"/>
              <a:ext cx="1125772" cy="682991"/>
            </a:xfrm>
            <a:prstGeom prst="cloud">
              <a:avLst/>
            </a:prstGeom>
            <a:solidFill>
              <a:srgbClr val="7F7F7F"/>
            </a:solidFill>
            <a:ln>
              <a:noFill/>
            </a:ln>
          </p:spPr>
          <p:txBody>
            <a:bodyPr vert="horz" wrap="square" lIns="89642" tIns="44821" rIns="89642" bIns="44821" numCol="1" anchor="ctr" anchorCtr="0" compatLnSpc="1">
              <a:prstTxWarp prst="textNoShape">
                <a:avLst/>
              </a:prstTxWarp>
            </a:bodyPr>
            <a:lstStyle/>
            <a:p>
              <a:pPr defTabSz="913965">
                <a:defRPr/>
              </a:pPr>
              <a:r>
                <a:rPr lang="en-US" sz="1765" kern="0" dirty="0" err="1">
                  <a:solidFill>
                    <a:srgbClr val="FFFFFF"/>
                  </a:solidFill>
                  <a:latin typeface="Segoe UI"/>
                </a:rPr>
                <a:t>PaaS</a:t>
              </a:r>
              <a:endParaRPr lang="en-US" sz="1765" kern="0" dirty="0">
                <a:solidFill>
                  <a:srgbClr val="FFFFFF"/>
                </a:solidFill>
                <a:latin typeface="Segoe UI"/>
              </a:endParaRPr>
            </a:p>
          </p:txBody>
        </p:sp>
        <p:grpSp>
          <p:nvGrpSpPr>
            <p:cNvPr id="828" name="Group 827"/>
            <p:cNvGrpSpPr/>
            <p:nvPr/>
          </p:nvGrpSpPr>
          <p:grpSpPr>
            <a:xfrm>
              <a:off x="11409098" y="4553678"/>
              <a:ext cx="537624" cy="277465"/>
              <a:chOff x="9356157" y="-657922"/>
              <a:chExt cx="2075166" cy="1070979"/>
            </a:xfrm>
          </p:grpSpPr>
          <p:sp>
            <p:nvSpPr>
              <p:cNvPr id="829" name="Rectangle 828"/>
              <p:cNvSpPr/>
              <p:nvPr/>
            </p:nvSpPr>
            <p:spPr bwMode="auto">
              <a:xfrm>
                <a:off x="9356157" y="-657922"/>
                <a:ext cx="2075166" cy="1070979"/>
              </a:xfrm>
              <a:prstGeom prst="rect">
                <a:avLst/>
              </a:prstGeom>
              <a:solidFill>
                <a:srgbClr val="0072C6"/>
              </a:solidFill>
              <a:ln w="10795" cap="flat" cmpd="sng" algn="ctr">
                <a:noFill/>
                <a:prstDash val="solid"/>
                <a:headEnd type="none" w="med" len="med"/>
                <a:tailEnd type="none" w="med" len="med"/>
              </a:ln>
              <a:effectLst/>
            </p:spPr>
            <p:txBody>
              <a:bodyPr vert="horz" wrap="square" lIns="179285" tIns="143428" rIns="179285" bIns="143428" numCol="1" rtlCol="0" anchor="t" anchorCtr="0" compatLnSpc="1">
                <a:prstTxWarp prst="textNoShape">
                  <a:avLst/>
                </a:prstTxWarp>
              </a:bodyPr>
              <a:lstStyle/>
              <a:p>
                <a:pPr algn="ctr" defTabSz="913700" fontAlgn="base">
                  <a:lnSpc>
                    <a:spcPct val="90000"/>
                  </a:lnSpc>
                  <a:spcBef>
                    <a:spcPct val="0"/>
                  </a:spcBef>
                  <a:spcAft>
                    <a:spcPct val="0"/>
                  </a:spcAft>
                  <a:defRPr/>
                </a:pPr>
                <a:endParaRPr lang="en-US" sz="1961" kern="0" dirty="0">
                  <a:gradFill>
                    <a:gsLst>
                      <a:gs pos="84071">
                        <a:srgbClr val="191919"/>
                      </a:gs>
                      <a:gs pos="57000">
                        <a:srgbClr val="191919"/>
                      </a:gs>
                    </a:gsLst>
                    <a:lin ang="5400000" scaled="0"/>
                  </a:gradFill>
                  <a:latin typeface="Segoe UI"/>
                </a:endParaRPr>
              </a:p>
            </p:txBody>
          </p:sp>
          <p:sp>
            <p:nvSpPr>
              <p:cNvPr id="830" name="Freeform 109"/>
              <p:cNvSpPr>
                <a:spLocks noChangeAspect="1" noEditPoints="1"/>
              </p:cNvSpPr>
              <p:nvPr/>
            </p:nvSpPr>
            <p:spPr bwMode="auto">
              <a:xfrm>
                <a:off x="10224839" y="-11843"/>
                <a:ext cx="336847" cy="276856"/>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895954">
                  <a:defRPr/>
                </a:pPr>
                <a:endParaRPr lang="en-US" sz="1765" kern="0">
                  <a:solidFill>
                    <a:srgbClr val="FFFFFF"/>
                  </a:solidFill>
                  <a:latin typeface="Segoe UI"/>
                </a:endParaRPr>
              </a:p>
            </p:txBody>
          </p:sp>
          <p:sp>
            <p:nvSpPr>
              <p:cNvPr id="831" name="Freeform 6"/>
              <p:cNvSpPr>
                <a:spLocks noChangeAspect="1" noEditPoints="1"/>
              </p:cNvSpPr>
              <p:nvPr/>
            </p:nvSpPr>
            <p:spPr bwMode="auto">
              <a:xfrm>
                <a:off x="9587640" y="-17716"/>
                <a:ext cx="354195" cy="288602"/>
              </a:xfrm>
              <a:custGeom>
                <a:avLst/>
                <a:gdLst>
                  <a:gd name="T0" fmla="*/ 6 w 103"/>
                  <a:gd name="T1" fmla="*/ 13 h 84"/>
                  <a:gd name="T2" fmla="*/ 6 w 103"/>
                  <a:gd name="T3" fmla="*/ 78 h 84"/>
                  <a:gd name="T4" fmla="*/ 96 w 103"/>
                  <a:gd name="T5" fmla="*/ 78 h 84"/>
                  <a:gd name="T6" fmla="*/ 96 w 103"/>
                  <a:gd name="T7" fmla="*/ 13 h 84"/>
                  <a:gd name="T8" fmla="*/ 6 w 103"/>
                  <a:gd name="T9" fmla="*/ 13 h 84"/>
                  <a:gd name="T10" fmla="*/ 103 w 103"/>
                  <a:gd name="T11" fmla="*/ 0 h 84"/>
                  <a:gd name="T12" fmla="*/ 103 w 103"/>
                  <a:gd name="T13" fmla="*/ 84 h 84"/>
                  <a:gd name="T14" fmla="*/ 0 w 103"/>
                  <a:gd name="T15" fmla="*/ 84 h 84"/>
                  <a:gd name="T16" fmla="*/ 0 w 103"/>
                  <a:gd name="T17" fmla="*/ 0 h 84"/>
                  <a:gd name="T18" fmla="*/ 103 w 103"/>
                  <a:gd name="T19" fmla="*/ 0 h 84"/>
                  <a:gd name="T20" fmla="*/ 14 w 103"/>
                  <a:gd name="T21" fmla="*/ 26 h 84"/>
                  <a:gd name="T22" fmla="*/ 89 w 103"/>
                  <a:gd name="T23" fmla="*/ 26 h 84"/>
                  <a:gd name="T24" fmla="*/ 89 w 103"/>
                  <a:gd name="T25" fmla="*/ 35 h 84"/>
                  <a:gd name="T26" fmla="*/ 14 w 103"/>
                  <a:gd name="T27" fmla="*/ 35 h 84"/>
                  <a:gd name="T28" fmla="*/ 14 w 103"/>
                  <a:gd name="T29" fmla="*/ 26 h 84"/>
                  <a:gd name="T30" fmla="*/ 14 w 103"/>
                  <a:gd name="T31" fmla="*/ 26 h 84"/>
                  <a:gd name="T32" fmla="*/ 14 w 103"/>
                  <a:gd name="T33" fmla="*/ 44 h 84"/>
                  <a:gd name="T34" fmla="*/ 89 w 103"/>
                  <a:gd name="T35" fmla="*/ 44 h 84"/>
                  <a:gd name="T36" fmla="*/ 89 w 103"/>
                  <a:gd name="T37" fmla="*/ 53 h 84"/>
                  <a:gd name="T38" fmla="*/ 14 w 103"/>
                  <a:gd name="T39" fmla="*/ 53 h 84"/>
                  <a:gd name="T40" fmla="*/ 14 w 103"/>
                  <a:gd name="T41" fmla="*/ 44 h 84"/>
                  <a:gd name="T42" fmla="*/ 14 w 103"/>
                  <a:gd name="T43" fmla="*/ 44 h 84"/>
                  <a:gd name="T44" fmla="*/ 14 w 103"/>
                  <a:gd name="T45" fmla="*/ 62 h 84"/>
                  <a:gd name="T46" fmla="*/ 89 w 103"/>
                  <a:gd name="T47" fmla="*/ 62 h 84"/>
                  <a:gd name="T48" fmla="*/ 89 w 103"/>
                  <a:gd name="T49" fmla="*/ 71 h 84"/>
                  <a:gd name="T50" fmla="*/ 14 w 103"/>
                  <a:gd name="T51" fmla="*/ 71 h 84"/>
                  <a:gd name="T52" fmla="*/ 14 w 103"/>
                  <a:gd name="T53" fmla="*/ 62 h 84"/>
                  <a:gd name="T54" fmla="*/ 14 w 103"/>
                  <a:gd name="T55"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3" h="84">
                    <a:moveTo>
                      <a:pt x="6" y="13"/>
                    </a:moveTo>
                    <a:cubicBezTo>
                      <a:pt x="6" y="78"/>
                      <a:pt x="6" y="78"/>
                      <a:pt x="6" y="78"/>
                    </a:cubicBezTo>
                    <a:cubicBezTo>
                      <a:pt x="96" y="78"/>
                      <a:pt x="96" y="78"/>
                      <a:pt x="96" y="78"/>
                    </a:cubicBezTo>
                    <a:cubicBezTo>
                      <a:pt x="96" y="13"/>
                      <a:pt x="96" y="13"/>
                      <a:pt x="96" y="13"/>
                    </a:cubicBezTo>
                    <a:cubicBezTo>
                      <a:pt x="64" y="13"/>
                      <a:pt x="25" y="13"/>
                      <a:pt x="6" y="13"/>
                    </a:cubicBezTo>
                    <a:close/>
                    <a:moveTo>
                      <a:pt x="103" y="0"/>
                    </a:moveTo>
                    <a:cubicBezTo>
                      <a:pt x="103" y="84"/>
                      <a:pt x="103" y="84"/>
                      <a:pt x="103" y="84"/>
                    </a:cubicBezTo>
                    <a:cubicBezTo>
                      <a:pt x="0" y="84"/>
                      <a:pt x="0" y="84"/>
                      <a:pt x="0" y="84"/>
                    </a:cubicBezTo>
                    <a:cubicBezTo>
                      <a:pt x="0" y="0"/>
                      <a:pt x="0" y="0"/>
                      <a:pt x="0" y="0"/>
                    </a:cubicBezTo>
                    <a:cubicBezTo>
                      <a:pt x="42" y="0"/>
                      <a:pt x="77" y="0"/>
                      <a:pt x="103" y="0"/>
                    </a:cubicBezTo>
                    <a:close/>
                    <a:moveTo>
                      <a:pt x="14" y="26"/>
                    </a:moveTo>
                    <a:cubicBezTo>
                      <a:pt x="89" y="26"/>
                      <a:pt x="89" y="26"/>
                      <a:pt x="89" y="26"/>
                    </a:cubicBezTo>
                    <a:cubicBezTo>
                      <a:pt x="89" y="35"/>
                      <a:pt x="89" y="35"/>
                      <a:pt x="89" y="35"/>
                    </a:cubicBezTo>
                    <a:cubicBezTo>
                      <a:pt x="14" y="35"/>
                      <a:pt x="14" y="35"/>
                      <a:pt x="14" y="35"/>
                    </a:cubicBezTo>
                    <a:cubicBezTo>
                      <a:pt x="14" y="26"/>
                      <a:pt x="14" y="26"/>
                      <a:pt x="14" y="26"/>
                    </a:cubicBezTo>
                    <a:cubicBezTo>
                      <a:pt x="14" y="26"/>
                      <a:pt x="14" y="26"/>
                      <a:pt x="14" y="26"/>
                    </a:cubicBezTo>
                    <a:close/>
                    <a:moveTo>
                      <a:pt x="14" y="44"/>
                    </a:moveTo>
                    <a:cubicBezTo>
                      <a:pt x="89" y="44"/>
                      <a:pt x="89" y="44"/>
                      <a:pt x="89" y="44"/>
                    </a:cubicBezTo>
                    <a:cubicBezTo>
                      <a:pt x="89" y="53"/>
                      <a:pt x="89" y="53"/>
                      <a:pt x="89" y="53"/>
                    </a:cubicBezTo>
                    <a:cubicBezTo>
                      <a:pt x="14" y="53"/>
                      <a:pt x="14" y="53"/>
                      <a:pt x="14" y="53"/>
                    </a:cubicBezTo>
                    <a:cubicBezTo>
                      <a:pt x="14" y="44"/>
                      <a:pt x="14" y="44"/>
                      <a:pt x="14" y="44"/>
                    </a:cubicBezTo>
                    <a:cubicBezTo>
                      <a:pt x="14" y="44"/>
                      <a:pt x="14" y="44"/>
                      <a:pt x="14" y="44"/>
                    </a:cubicBezTo>
                    <a:close/>
                    <a:moveTo>
                      <a:pt x="14" y="62"/>
                    </a:moveTo>
                    <a:cubicBezTo>
                      <a:pt x="89" y="62"/>
                      <a:pt x="89" y="62"/>
                      <a:pt x="89" y="62"/>
                    </a:cubicBezTo>
                    <a:cubicBezTo>
                      <a:pt x="89" y="71"/>
                      <a:pt x="89" y="71"/>
                      <a:pt x="89" y="71"/>
                    </a:cubicBezTo>
                    <a:cubicBezTo>
                      <a:pt x="14" y="71"/>
                      <a:pt x="14" y="71"/>
                      <a:pt x="14" y="71"/>
                    </a:cubicBezTo>
                    <a:cubicBezTo>
                      <a:pt x="14" y="62"/>
                      <a:pt x="14" y="62"/>
                      <a:pt x="14" y="62"/>
                    </a:cubicBezTo>
                    <a:cubicBezTo>
                      <a:pt x="14" y="62"/>
                      <a:pt x="14" y="62"/>
                      <a:pt x="14" y="62"/>
                    </a:cubicBezTo>
                    <a:close/>
                  </a:path>
                </a:pathLst>
              </a:custGeom>
              <a:solidFill>
                <a:srgbClr val="FFFFFF"/>
              </a:solidFill>
              <a:ln w="10795" cap="flat" cmpd="sng" algn="ctr">
                <a:noFill/>
                <a:prstDash val="soli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00" fontAlgn="base">
                  <a:lnSpc>
                    <a:spcPct val="90000"/>
                  </a:lnSpc>
                  <a:spcBef>
                    <a:spcPct val="0"/>
                  </a:spcBef>
                  <a:spcAft>
                    <a:spcPct val="0"/>
                  </a:spcAft>
                  <a:defRPr/>
                </a:pPr>
                <a:endParaRPr lang="en-US" sz="980" kern="0">
                  <a:gradFill>
                    <a:gsLst>
                      <a:gs pos="97345">
                        <a:srgbClr val="FFFFFF"/>
                      </a:gs>
                      <a:gs pos="84071">
                        <a:srgbClr val="FFFFFF"/>
                      </a:gs>
                    </a:gsLst>
                    <a:lin ang="5400000" scaled="0"/>
                  </a:gradFill>
                  <a:latin typeface="Segoe UI"/>
                </a:endParaRPr>
              </a:p>
            </p:txBody>
          </p:sp>
          <p:cxnSp>
            <p:nvCxnSpPr>
              <p:cNvPr id="832" name="Straight Connector 831"/>
              <p:cNvCxnSpPr/>
              <p:nvPr/>
            </p:nvCxnSpPr>
            <p:spPr>
              <a:xfrm>
                <a:off x="9450473" y="-141679"/>
                <a:ext cx="1886515" cy="0"/>
              </a:xfrm>
              <a:prstGeom prst="line">
                <a:avLst/>
              </a:prstGeom>
              <a:noFill/>
              <a:ln w="3175" cap="flat" cmpd="sng" algn="ctr">
                <a:solidFill>
                  <a:srgbClr val="FFFFFF"/>
                </a:solidFill>
                <a:prstDash val="solid"/>
                <a:headEnd type="none"/>
                <a:tailEnd type="none"/>
              </a:ln>
              <a:effectLst/>
            </p:spPr>
          </p:cxnSp>
          <p:sp>
            <p:nvSpPr>
              <p:cNvPr id="833" name="Freeform 9"/>
              <p:cNvSpPr>
                <a:spLocks/>
              </p:cNvSpPr>
              <p:nvPr/>
            </p:nvSpPr>
            <p:spPr bwMode="auto">
              <a:xfrm>
                <a:off x="9537280" y="-371763"/>
                <a:ext cx="87312" cy="131763"/>
              </a:xfrm>
              <a:custGeom>
                <a:avLst/>
                <a:gdLst>
                  <a:gd name="T0" fmla="*/ 0 w 55"/>
                  <a:gd name="T1" fmla="*/ 0 h 83"/>
                  <a:gd name="T2" fmla="*/ 55 w 55"/>
                  <a:gd name="T3" fmla="*/ 0 h 83"/>
                  <a:gd name="T4" fmla="*/ 55 w 55"/>
                  <a:gd name="T5" fmla="*/ 83 h 83"/>
                  <a:gd name="T6" fmla="*/ 0 w 55"/>
                  <a:gd name="T7" fmla="*/ 83 h 83"/>
                  <a:gd name="T8" fmla="*/ 0 w 55"/>
                  <a:gd name="T9" fmla="*/ 0 h 83"/>
                  <a:gd name="T10" fmla="*/ 0 w 55"/>
                  <a:gd name="T11" fmla="*/ 0 h 83"/>
                  <a:gd name="T12" fmla="*/ 0 w 5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5" h="83">
                    <a:moveTo>
                      <a:pt x="0" y="0"/>
                    </a:moveTo>
                    <a:lnTo>
                      <a:pt x="55" y="0"/>
                    </a:lnTo>
                    <a:lnTo>
                      <a:pt x="55" y="83"/>
                    </a:lnTo>
                    <a:lnTo>
                      <a:pt x="0" y="83"/>
                    </a:lnTo>
                    <a:lnTo>
                      <a:pt x="0" y="0"/>
                    </a:lnTo>
                    <a:lnTo>
                      <a:pt x="0" y="0"/>
                    </a:lnTo>
                    <a:lnTo>
                      <a:pt x="0" y="0"/>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34" name="Freeform 10"/>
              <p:cNvSpPr>
                <a:spLocks/>
              </p:cNvSpPr>
              <p:nvPr/>
            </p:nvSpPr>
            <p:spPr bwMode="auto">
              <a:xfrm>
                <a:off x="9656342" y="-535286"/>
                <a:ext cx="84137" cy="295275"/>
              </a:xfrm>
              <a:custGeom>
                <a:avLst/>
                <a:gdLst>
                  <a:gd name="T0" fmla="*/ 0 w 53"/>
                  <a:gd name="T1" fmla="*/ 186 h 186"/>
                  <a:gd name="T2" fmla="*/ 53 w 53"/>
                  <a:gd name="T3" fmla="*/ 186 h 186"/>
                  <a:gd name="T4" fmla="*/ 53 w 53"/>
                  <a:gd name="T5" fmla="*/ 0 h 186"/>
                  <a:gd name="T6" fmla="*/ 0 w 53"/>
                  <a:gd name="T7" fmla="*/ 0 h 186"/>
                  <a:gd name="T8" fmla="*/ 0 w 53"/>
                  <a:gd name="T9" fmla="*/ 186 h 186"/>
                  <a:gd name="T10" fmla="*/ 0 w 53"/>
                  <a:gd name="T11" fmla="*/ 186 h 186"/>
                  <a:gd name="T12" fmla="*/ 0 w 53"/>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53" h="186">
                    <a:moveTo>
                      <a:pt x="0" y="186"/>
                    </a:moveTo>
                    <a:lnTo>
                      <a:pt x="53" y="186"/>
                    </a:lnTo>
                    <a:lnTo>
                      <a:pt x="53" y="0"/>
                    </a:lnTo>
                    <a:lnTo>
                      <a:pt x="0" y="0"/>
                    </a:lnTo>
                    <a:lnTo>
                      <a:pt x="0" y="186"/>
                    </a:lnTo>
                    <a:lnTo>
                      <a:pt x="0" y="186"/>
                    </a:lnTo>
                    <a:lnTo>
                      <a:pt x="0" y="186"/>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35" name="Freeform 11"/>
              <p:cNvSpPr>
                <a:spLocks/>
              </p:cNvSpPr>
              <p:nvPr/>
            </p:nvSpPr>
            <p:spPr bwMode="auto">
              <a:xfrm>
                <a:off x="9770642" y="-481311"/>
                <a:ext cx="84137" cy="241300"/>
              </a:xfrm>
              <a:custGeom>
                <a:avLst/>
                <a:gdLst>
                  <a:gd name="T0" fmla="*/ 0 w 53"/>
                  <a:gd name="T1" fmla="*/ 152 h 152"/>
                  <a:gd name="T2" fmla="*/ 53 w 53"/>
                  <a:gd name="T3" fmla="*/ 152 h 152"/>
                  <a:gd name="T4" fmla="*/ 53 w 53"/>
                  <a:gd name="T5" fmla="*/ 0 h 152"/>
                  <a:gd name="T6" fmla="*/ 0 w 53"/>
                  <a:gd name="T7" fmla="*/ 0 h 152"/>
                  <a:gd name="T8" fmla="*/ 0 w 53"/>
                  <a:gd name="T9" fmla="*/ 152 h 152"/>
                  <a:gd name="T10" fmla="*/ 0 w 53"/>
                  <a:gd name="T11" fmla="*/ 152 h 152"/>
                  <a:gd name="T12" fmla="*/ 0 w 53"/>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53" h="152">
                    <a:moveTo>
                      <a:pt x="0" y="152"/>
                    </a:moveTo>
                    <a:lnTo>
                      <a:pt x="53" y="152"/>
                    </a:lnTo>
                    <a:lnTo>
                      <a:pt x="53" y="0"/>
                    </a:lnTo>
                    <a:lnTo>
                      <a:pt x="0" y="0"/>
                    </a:lnTo>
                    <a:lnTo>
                      <a:pt x="0" y="152"/>
                    </a:lnTo>
                    <a:lnTo>
                      <a:pt x="0" y="152"/>
                    </a:lnTo>
                    <a:lnTo>
                      <a:pt x="0" y="152"/>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36" name="Freeform 12"/>
              <p:cNvSpPr>
                <a:spLocks/>
              </p:cNvSpPr>
              <p:nvPr/>
            </p:nvSpPr>
            <p:spPr bwMode="auto">
              <a:xfrm>
                <a:off x="9881777" y="-320963"/>
                <a:ext cx="87312" cy="80963"/>
              </a:xfrm>
              <a:custGeom>
                <a:avLst/>
                <a:gdLst>
                  <a:gd name="T0" fmla="*/ 0 w 55"/>
                  <a:gd name="T1" fmla="*/ 51 h 51"/>
                  <a:gd name="T2" fmla="*/ 55 w 55"/>
                  <a:gd name="T3" fmla="*/ 51 h 51"/>
                  <a:gd name="T4" fmla="*/ 55 w 55"/>
                  <a:gd name="T5" fmla="*/ 0 h 51"/>
                  <a:gd name="T6" fmla="*/ 0 w 55"/>
                  <a:gd name="T7" fmla="*/ 0 h 51"/>
                  <a:gd name="T8" fmla="*/ 0 w 55"/>
                  <a:gd name="T9" fmla="*/ 51 h 51"/>
                  <a:gd name="T10" fmla="*/ 0 w 55"/>
                  <a:gd name="T11" fmla="*/ 51 h 51"/>
                  <a:gd name="T12" fmla="*/ 0 w 5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5" h="51">
                    <a:moveTo>
                      <a:pt x="0" y="51"/>
                    </a:moveTo>
                    <a:lnTo>
                      <a:pt x="55" y="51"/>
                    </a:lnTo>
                    <a:lnTo>
                      <a:pt x="55" y="0"/>
                    </a:lnTo>
                    <a:lnTo>
                      <a:pt x="0" y="0"/>
                    </a:lnTo>
                    <a:lnTo>
                      <a:pt x="0" y="51"/>
                    </a:lnTo>
                    <a:lnTo>
                      <a:pt x="0" y="51"/>
                    </a:lnTo>
                    <a:lnTo>
                      <a:pt x="0" y="51"/>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37" name="Freeform 13"/>
              <p:cNvSpPr>
                <a:spLocks/>
              </p:cNvSpPr>
              <p:nvPr/>
            </p:nvSpPr>
            <p:spPr bwMode="auto">
              <a:xfrm>
                <a:off x="10000830" y="-586076"/>
                <a:ext cx="84137" cy="346075"/>
              </a:xfrm>
              <a:custGeom>
                <a:avLst/>
                <a:gdLst>
                  <a:gd name="T0" fmla="*/ 0 w 53"/>
                  <a:gd name="T1" fmla="*/ 218 h 218"/>
                  <a:gd name="T2" fmla="*/ 53 w 53"/>
                  <a:gd name="T3" fmla="*/ 218 h 218"/>
                  <a:gd name="T4" fmla="*/ 53 w 53"/>
                  <a:gd name="T5" fmla="*/ 0 h 218"/>
                  <a:gd name="T6" fmla="*/ 0 w 53"/>
                  <a:gd name="T7" fmla="*/ 0 h 218"/>
                  <a:gd name="T8" fmla="*/ 0 w 53"/>
                  <a:gd name="T9" fmla="*/ 218 h 218"/>
                  <a:gd name="T10" fmla="*/ 0 w 53"/>
                  <a:gd name="T11" fmla="*/ 218 h 218"/>
                  <a:gd name="T12" fmla="*/ 0 w 53"/>
                  <a:gd name="T13" fmla="*/ 218 h 218"/>
                </a:gdLst>
                <a:ahLst/>
                <a:cxnLst>
                  <a:cxn ang="0">
                    <a:pos x="T0" y="T1"/>
                  </a:cxn>
                  <a:cxn ang="0">
                    <a:pos x="T2" y="T3"/>
                  </a:cxn>
                  <a:cxn ang="0">
                    <a:pos x="T4" y="T5"/>
                  </a:cxn>
                  <a:cxn ang="0">
                    <a:pos x="T6" y="T7"/>
                  </a:cxn>
                  <a:cxn ang="0">
                    <a:pos x="T8" y="T9"/>
                  </a:cxn>
                  <a:cxn ang="0">
                    <a:pos x="T10" y="T11"/>
                  </a:cxn>
                  <a:cxn ang="0">
                    <a:pos x="T12" y="T13"/>
                  </a:cxn>
                </a:cxnLst>
                <a:rect l="0" t="0" r="r" b="b"/>
                <a:pathLst>
                  <a:path w="53" h="218">
                    <a:moveTo>
                      <a:pt x="0" y="218"/>
                    </a:moveTo>
                    <a:lnTo>
                      <a:pt x="53" y="218"/>
                    </a:lnTo>
                    <a:lnTo>
                      <a:pt x="53" y="0"/>
                    </a:lnTo>
                    <a:lnTo>
                      <a:pt x="0" y="0"/>
                    </a:lnTo>
                    <a:lnTo>
                      <a:pt x="0" y="218"/>
                    </a:lnTo>
                    <a:lnTo>
                      <a:pt x="0" y="218"/>
                    </a:lnTo>
                    <a:lnTo>
                      <a:pt x="0" y="218"/>
                    </a:lnTo>
                    <a:close/>
                  </a:path>
                </a:pathLst>
              </a:custGeom>
              <a:solidFill>
                <a:srgbClr val="FFFFFF"/>
              </a:solidFill>
              <a:ln>
                <a:noFill/>
              </a:ln>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838" name="Group 837"/>
              <p:cNvGrpSpPr/>
              <p:nvPr/>
            </p:nvGrpSpPr>
            <p:grpSpPr>
              <a:xfrm>
                <a:off x="10262211" y="-545631"/>
                <a:ext cx="301752" cy="292608"/>
                <a:chOff x="6341768" y="1610449"/>
                <a:chExt cx="301752" cy="292608"/>
              </a:xfrm>
              <a:solidFill>
                <a:srgbClr val="FFFFFF"/>
              </a:solidFill>
            </p:grpSpPr>
            <p:sp>
              <p:nvSpPr>
                <p:cNvPr id="848" name="Freeform 17"/>
                <p:cNvSpPr>
                  <a:spLocks/>
                </p:cNvSpPr>
                <p:nvPr/>
              </p:nvSpPr>
              <p:spPr bwMode="auto">
                <a:xfrm>
                  <a:off x="6341768" y="1636229"/>
                  <a:ext cx="270265" cy="266828"/>
                </a:xfrm>
                <a:custGeom>
                  <a:avLst/>
                  <a:gdLst>
                    <a:gd name="T0" fmla="*/ 42 w 85"/>
                    <a:gd name="T1" fmla="*/ 42 h 85"/>
                    <a:gd name="T2" fmla="*/ 85 w 85"/>
                    <a:gd name="T3" fmla="*/ 42 h 85"/>
                    <a:gd name="T4" fmla="*/ 42 w 85"/>
                    <a:gd name="T5" fmla="*/ 85 h 85"/>
                    <a:gd name="T6" fmla="*/ 0 w 85"/>
                    <a:gd name="T7" fmla="*/ 42 h 85"/>
                    <a:gd name="T8" fmla="*/ 42 w 85"/>
                    <a:gd name="T9" fmla="*/ 0 h 85"/>
                    <a:gd name="T10" fmla="*/ 42 w 85"/>
                    <a:gd name="T11" fmla="*/ 42 h 85"/>
                    <a:gd name="T12" fmla="*/ 42 w 85"/>
                    <a:gd name="T13" fmla="*/ 42 h 85"/>
                  </a:gdLst>
                  <a:ahLst/>
                  <a:cxnLst>
                    <a:cxn ang="0">
                      <a:pos x="T0" y="T1"/>
                    </a:cxn>
                    <a:cxn ang="0">
                      <a:pos x="T2" y="T3"/>
                    </a:cxn>
                    <a:cxn ang="0">
                      <a:pos x="T4" y="T5"/>
                    </a:cxn>
                    <a:cxn ang="0">
                      <a:pos x="T6" y="T7"/>
                    </a:cxn>
                    <a:cxn ang="0">
                      <a:pos x="T8" y="T9"/>
                    </a:cxn>
                    <a:cxn ang="0">
                      <a:pos x="T10" y="T11"/>
                    </a:cxn>
                    <a:cxn ang="0">
                      <a:pos x="T12" y="T13"/>
                    </a:cxn>
                  </a:cxnLst>
                  <a:rect l="0" t="0" r="r" b="b"/>
                  <a:pathLst>
                    <a:path w="85" h="85">
                      <a:moveTo>
                        <a:pt x="42" y="42"/>
                      </a:moveTo>
                      <a:cubicBezTo>
                        <a:pt x="85" y="42"/>
                        <a:pt x="85" y="42"/>
                        <a:pt x="85" y="42"/>
                      </a:cubicBezTo>
                      <a:cubicBezTo>
                        <a:pt x="85" y="66"/>
                        <a:pt x="66" y="85"/>
                        <a:pt x="42" y="85"/>
                      </a:cubicBezTo>
                      <a:cubicBezTo>
                        <a:pt x="20" y="85"/>
                        <a:pt x="0" y="66"/>
                        <a:pt x="0" y="42"/>
                      </a:cubicBezTo>
                      <a:cubicBezTo>
                        <a:pt x="0" y="19"/>
                        <a:pt x="20" y="0"/>
                        <a:pt x="42" y="0"/>
                      </a:cubicBezTo>
                      <a:cubicBezTo>
                        <a:pt x="42" y="42"/>
                        <a:pt x="42" y="42"/>
                        <a:pt x="42" y="42"/>
                      </a:cubicBezTo>
                      <a:cubicBezTo>
                        <a:pt x="42" y="42"/>
                        <a:pt x="42" y="42"/>
                        <a:pt x="4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9" name="Freeform 18"/>
                <p:cNvSpPr>
                  <a:spLocks/>
                </p:cNvSpPr>
                <p:nvPr/>
              </p:nvSpPr>
              <p:spPr bwMode="auto">
                <a:xfrm>
                  <a:off x="6507076" y="1610449"/>
                  <a:ext cx="136444" cy="135348"/>
                </a:xfrm>
                <a:custGeom>
                  <a:avLst/>
                  <a:gdLst>
                    <a:gd name="T0" fmla="*/ 0 w 43"/>
                    <a:gd name="T1" fmla="*/ 43 h 43"/>
                    <a:gd name="T2" fmla="*/ 43 w 43"/>
                    <a:gd name="T3" fmla="*/ 43 h 43"/>
                    <a:gd name="T4" fmla="*/ 0 w 43"/>
                    <a:gd name="T5" fmla="*/ 0 h 43"/>
                    <a:gd name="T6" fmla="*/ 0 w 43"/>
                    <a:gd name="T7" fmla="*/ 43 h 43"/>
                    <a:gd name="T8" fmla="*/ 0 w 43"/>
                    <a:gd name="T9" fmla="*/ 43 h 43"/>
                  </a:gdLst>
                  <a:ahLst/>
                  <a:cxnLst>
                    <a:cxn ang="0">
                      <a:pos x="T0" y="T1"/>
                    </a:cxn>
                    <a:cxn ang="0">
                      <a:pos x="T2" y="T3"/>
                    </a:cxn>
                    <a:cxn ang="0">
                      <a:pos x="T4" y="T5"/>
                    </a:cxn>
                    <a:cxn ang="0">
                      <a:pos x="T6" y="T7"/>
                    </a:cxn>
                    <a:cxn ang="0">
                      <a:pos x="T8" y="T9"/>
                    </a:cxn>
                  </a:cxnLst>
                  <a:rect l="0" t="0" r="r" b="b"/>
                  <a:pathLst>
                    <a:path w="43" h="43">
                      <a:moveTo>
                        <a:pt x="0" y="43"/>
                      </a:moveTo>
                      <a:cubicBezTo>
                        <a:pt x="43" y="43"/>
                        <a:pt x="43" y="43"/>
                        <a:pt x="43" y="43"/>
                      </a:cubicBezTo>
                      <a:cubicBezTo>
                        <a:pt x="43" y="20"/>
                        <a:pt x="24" y="0"/>
                        <a:pt x="0" y="0"/>
                      </a:cubicBezTo>
                      <a:cubicBezTo>
                        <a:pt x="0" y="43"/>
                        <a:pt x="0" y="43"/>
                        <a:pt x="0" y="43"/>
                      </a:cubicBezTo>
                      <a:cubicBezTo>
                        <a:pt x="0" y="43"/>
                        <a:pt x="0" y="43"/>
                        <a:pt x="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65">
                    <a:defRPr/>
                  </a:pPr>
                  <a:endParaRPr lang="en-US" sz="1765" kern="0">
                    <a:solidFill>
                      <a:srgbClr val="505050"/>
                    </a:solidFill>
                    <a:latin typeface="Segoe UI"/>
                  </a:endParaRPr>
                </a:p>
              </p:txBody>
            </p:sp>
          </p:grpSp>
          <p:sp>
            <p:nvSpPr>
              <p:cNvPr id="839" name="Freeform 22"/>
              <p:cNvSpPr>
                <a:spLocks/>
              </p:cNvSpPr>
              <p:nvPr/>
            </p:nvSpPr>
            <p:spPr bwMode="auto">
              <a:xfrm>
                <a:off x="10900691" y="-316177"/>
                <a:ext cx="238125" cy="44450"/>
              </a:xfrm>
              <a:custGeom>
                <a:avLst/>
                <a:gdLst>
                  <a:gd name="T0" fmla="*/ 76 w 76"/>
                  <a:gd name="T1" fmla="*/ 14 h 14"/>
                  <a:gd name="T2" fmla="*/ 0 w 76"/>
                  <a:gd name="T3" fmla="*/ 14 h 14"/>
                  <a:gd name="T4" fmla="*/ 0 w 76"/>
                  <a:gd name="T5" fmla="*/ 0 h 14"/>
                  <a:gd name="T6" fmla="*/ 76 w 76"/>
                  <a:gd name="T7" fmla="*/ 0 h 14"/>
                  <a:gd name="T8" fmla="*/ 76 w 76"/>
                  <a:gd name="T9" fmla="*/ 14 h 14"/>
                  <a:gd name="T10" fmla="*/ 76 w 76"/>
                  <a:gd name="T11" fmla="*/ 14 h 14"/>
                </a:gdLst>
                <a:ahLst/>
                <a:cxnLst>
                  <a:cxn ang="0">
                    <a:pos x="T0" y="T1"/>
                  </a:cxn>
                  <a:cxn ang="0">
                    <a:pos x="T2" y="T3"/>
                  </a:cxn>
                  <a:cxn ang="0">
                    <a:pos x="T4" y="T5"/>
                  </a:cxn>
                  <a:cxn ang="0">
                    <a:pos x="T6" y="T7"/>
                  </a:cxn>
                  <a:cxn ang="0">
                    <a:pos x="T8" y="T9"/>
                  </a:cxn>
                  <a:cxn ang="0">
                    <a:pos x="T10" y="T11"/>
                  </a:cxn>
                </a:cxnLst>
                <a:rect l="0" t="0" r="r" b="b"/>
                <a:pathLst>
                  <a:path w="76" h="14">
                    <a:moveTo>
                      <a:pt x="76" y="14"/>
                    </a:moveTo>
                    <a:cubicBezTo>
                      <a:pt x="0" y="14"/>
                      <a:pt x="0" y="14"/>
                      <a:pt x="0" y="14"/>
                    </a:cubicBezTo>
                    <a:cubicBezTo>
                      <a:pt x="0" y="0"/>
                      <a:pt x="0" y="0"/>
                      <a:pt x="0" y="0"/>
                    </a:cubicBezTo>
                    <a:cubicBezTo>
                      <a:pt x="76" y="0"/>
                      <a:pt x="76" y="0"/>
                      <a:pt x="76" y="0"/>
                    </a:cubicBezTo>
                    <a:cubicBezTo>
                      <a:pt x="76" y="14"/>
                      <a:pt x="76" y="14"/>
                      <a:pt x="76" y="14"/>
                    </a:cubicBezTo>
                    <a:cubicBezTo>
                      <a:pt x="76" y="14"/>
                      <a:pt x="76" y="14"/>
                      <a:pt x="76" y="14"/>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0" name="Freeform 23"/>
              <p:cNvSpPr>
                <a:spLocks/>
              </p:cNvSpPr>
              <p:nvPr/>
            </p:nvSpPr>
            <p:spPr bwMode="auto">
              <a:xfrm>
                <a:off x="10900681" y="-500327"/>
                <a:ext cx="271463" cy="44450"/>
              </a:xfrm>
              <a:custGeom>
                <a:avLst/>
                <a:gdLst>
                  <a:gd name="T0" fmla="*/ 87 w 87"/>
                  <a:gd name="T1" fmla="*/ 0 h 14"/>
                  <a:gd name="T2" fmla="*/ 0 w 87"/>
                  <a:gd name="T3" fmla="*/ 0 h 14"/>
                  <a:gd name="T4" fmla="*/ 0 w 87"/>
                  <a:gd name="T5" fmla="*/ 14 h 14"/>
                  <a:gd name="T6" fmla="*/ 87 w 87"/>
                  <a:gd name="T7" fmla="*/ 14 h 14"/>
                  <a:gd name="T8" fmla="*/ 87 w 87"/>
                  <a:gd name="T9" fmla="*/ 0 h 14"/>
                  <a:gd name="T10" fmla="*/ 87 w 87"/>
                  <a:gd name="T11" fmla="*/ 0 h 14"/>
                </a:gdLst>
                <a:ahLst/>
                <a:cxnLst>
                  <a:cxn ang="0">
                    <a:pos x="T0" y="T1"/>
                  </a:cxn>
                  <a:cxn ang="0">
                    <a:pos x="T2" y="T3"/>
                  </a:cxn>
                  <a:cxn ang="0">
                    <a:pos x="T4" y="T5"/>
                  </a:cxn>
                  <a:cxn ang="0">
                    <a:pos x="T6" y="T7"/>
                  </a:cxn>
                  <a:cxn ang="0">
                    <a:pos x="T8" y="T9"/>
                  </a:cxn>
                  <a:cxn ang="0">
                    <a:pos x="T10" y="T11"/>
                  </a:cxn>
                </a:cxnLst>
                <a:rect l="0" t="0" r="r" b="b"/>
                <a:pathLst>
                  <a:path w="87" h="14">
                    <a:moveTo>
                      <a:pt x="87" y="0"/>
                    </a:moveTo>
                    <a:cubicBezTo>
                      <a:pt x="0" y="0"/>
                      <a:pt x="0" y="0"/>
                      <a:pt x="0" y="0"/>
                    </a:cubicBezTo>
                    <a:cubicBezTo>
                      <a:pt x="0" y="14"/>
                      <a:pt x="0" y="14"/>
                      <a:pt x="0" y="14"/>
                    </a:cubicBezTo>
                    <a:cubicBezTo>
                      <a:pt x="87" y="14"/>
                      <a:pt x="87" y="14"/>
                      <a:pt x="87" y="14"/>
                    </a:cubicBezTo>
                    <a:cubicBezTo>
                      <a:pt x="87" y="0"/>
                      <a:pt x="87" y="0"/>
                      <a:pt x="87" y="0"/>
                    </a:cubicBezTo>
                    <a:cubicBezTo>
                      <a:pt x="87" y="0"/>
                      <a:pt x="87" y="0"/>
                      <a:pt x="87" y="0"/>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1" name="Freeform 24"/>
              <p:cNvSpPr>
                <a:spLocks/>
              </p:cNvSpPr>
              <p:nvPr/>
            </p:nvSpPr>
            <p:spPr bwMode="auto">
              <a:xfrm>
                <a:off x="10900681" y="-411427"/>
                <a:ext cx="312738" cy="50800"/>
              </a:xfrm>
              <a:custGeom>
                <a:avLst/>
                <a:gdLst>
                  <a:gd name="T0" fmla="*/ 100 w 100"/>
                  <a:gd name="T1" fmla="*/ 0 h 16"/>
                  <a:gd name="T2" fmla="*/ 0 w 100"/>
                  <a:gd name="T3" fmla="*/ 0 h 16"/>
                  <a:gd name="T4" fmla="*/ 0 w 100"/>
                  <a:gd name="T5" fmla="*/ 16 h 16"/>
                  <a:gd name="T6" fmla="*/ 100 w 100"/>
                  <a:gd name="T7" fmla="*/ 16 h 16"/>
                  <a:gd name="T8" fmla="*/ 100 w 100"/>
                  <a:gd name="T9" fmla="*/ 0 h 16"/>
                  <a:gd name="T10" fmla="*/ 100 w 100"/>
                  <a:gd name="T11" fmla="*/ 0 h 16"/>
                </a:gdLst>
                <a:ahLst/>
                <a:cxnLst>
                  <a:cxn ang="0">
                    <a:pos x="T0" y="T1"/>
                  </a:cxn>
                  <a:cxn ang="0">
                    <a:pos x="T2" y="T3"/>
                  </a:cxn>
                  <a:cxn ang="0">
                    <a:pos x="T4" y="T5"/>
                  </a:cxn>
                  <a:cxn ang="0">
                    <a:pos x="T6" y="T7"/>
                  </a:cxn>
                  <a:cxn ang="0">
                    <a:pos x="T8" y="T9"/>
                  </a:cxn>
                  <a:cxn ang="0">
                    <a:pos x="T10" y="T11"/>
                  </a:cxn>
                </a:cxnLst>
                <a:rect l="0" t="0" r="r" b="b"/>
                <a:pathLst>
                  <a:path w="100" h="16">
                    <a:moveTo>
                      <a:pt x="100" y="0"/>
                    </a:moveTo>
                    <a:cubicBezTo>
                      <a:pt x="0" y="0"/>
                      <a:pt x="0" y="0"/>
                      <a:pt x="0" y="0"/>
                    </a:cubicBezTo>
                    <a:cubicBezTo>
                      <a:pt x="0" y="16"/>
                      <a:pt x="0" y="16"/>
                      <a:pt x="0" y="16"/>
                    </a:cubicBezTo>
                    <a:cubicBezTo>
                      <a:pt x="100" y="16"/>
                      <a:pt x="100" y="16"/>
                      <a:pt x="100" y="16"/>
                    </a:cubicBezTo>
                    <a:cubicBezTo>
                      <a:pt x="100" y="0"/>
                      <a:pt x="100" y="0"/>
                      <a:pt x="100" y="0"/>
                    </a:cubicBezTo>
                    <a:cubicBezTo>
                      <a:pt x="100" y="0"/>
                      <a:pt x="100" y="0"/>
                      <a:pt x="100" y="0"/>
                    </a:cubicBezTo>
                    <a:close/>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2" name="Freeform 25"/>
              <p:cNvSpPr>
                <a:spLocks/>
              </p:cNvSpPr>
              <p:nvPr/>
            </p:nvSpPr>
            <p:spPr bwMode="auto">
              <a:xfrm>
                <a:off x="10826078" y="-500327"/>
                <a:ext cx="47625" cy="44450"/>
              </a:xfrm>
              <a:custGeom>
                <a:avLst/>
                <a:gdLst>
                  <a:gd name="T0" fmla="*/ 7 w 15"/>
                  <a:gd name="T1" fmla="*/ 14 h 14"/>
                  <a:gd name="T2" fmla="*/ 15 w 15"/>
                  <a:gd name="T3" fmla="*/ 6 h 14"/>
                  <a:gd name="T4" fmla="*/ 7 w 15"/>
                  <a:gd name="T5" fmla="*/ 0 h 14"/>
                  <a:gd name="T6" fmla="*/ 0 w 15"/>
                  <a:gd name="T7" fmla="*/ 6 h 14"/>
                  <a:gd name="T8" fmla="*/ 7 w 15"/>
                  <a:gd name="T9" fmla="*/ 14 h 14"/>
                </a:gdLst>
                <a:ahLst/>
                <a:cxnLst>
                  <a:cxn ang="0">
                    <a:pos x="T0" y="T1"/>
                  </a:cxn>
                  <a:cxn ang="0">
                    <a:pos x="T2" y="T3"/>
                  </a:cxn>
                  <a:cxn ang="0">
                    <a:pos x="T4" y="T5"/>
                  </a:cxn>
                  <a:cxn ang="0">
                    <a:pos x="T6" y="T7"/>
                  </a:cxn>
                  <a:cxn ang="0">
                    <a:pos x="T8" y="T9"/>
                  </a:cxn>
                </a:cxnLst>
                <a:rect l="0" t="0" r="r" b="b"/>
                <a:pathLst>
                  <a:path w="15" h="14">
                    <a:moveTo>
                      <a:pt x="7" y="14"/>
                    </a:moveTo>
                    <a:cubicBezTo>
                      <a:pt x="12" y="14"/>
                      <a:pt x="15" y="11"/>
                      <a:pt x="15" y="6"/>
                    </a:cubicBezTo>
                    <a:cubicBezTo>
                      <a:pt x="15" y="3"/>
                      <a:pt x="12" y="0"/>
                      <a:pt x="7" y="0"/>
                    </a:cubicBezTo>
                    <a:cubicBezTo>
                      <a:pt x="4" y="0"/>
                      <a:pt x="0" y="3"/>
                      <a:pt x="0" y="6"/>
                    </a:cubicBezTo>
                    <a:cubicBezTo>
                      <a:pt x="0" y="11"/>
                      <a:pt x="4" y="14"/>
                      <a:pt x="7" y="14"/>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3" name="Freeform 26"/>
              <p:cNvSpPr>
                <a:spLocks/>
              </p:cNvSpPr>
              <p:nvPr/>
            </p:nvSpPr>
            <p:spPr bwMode="auto">
              <a:xfrm>
                <a:off x="10826078" y="-411427"/>
                <a:ext cx="47625" cy="50800"/>
              </a:xfrm>
              <a:custGeom>
                <a:avLst/>
                <a:gdLst>
                  <a:gd name="T0" fmla="*/ 7 w 15"/>
                  <a:gd name="T1" fmla="*/ 0 h 16"/>
                  <a:gd name="T2" fmla="*/ 0 w 15"/>
                  <a:gd name="T3" fmla="*/ 8 h 16"/>
                  <a:gd name="T4" fmla="*/ 7 w 15"/>
                  <a:gd name="T5" fmla="*/ 16 h 16"/>
                  <a:gd name="T6" fmla="*/ 15 w 15"/>
                  <a:gd name="T7" fmla="*/ 8 h 16"/>
                  <a:gd name="T8" fmla="*/ 7 w 15"/>
                  <a:gd name="T9" fmla="*/ 0 h 16"/>
                </a:gdLst>
                <a:ahLst/>
                <a:cxnLst>
                  <a:cxn ang="0">
                    <a:pos x="T0" y="T1"/>
                  </a:cxn>
                  <a:cxn ang="0">
                    <a:pos x="T2" y="T3"/>
                  </a:cxn>
                  <a:cxn ang="0">
                    <a:pos x="T4" y="T5"/>
                  </a:cxn>
                  <a:cxn ang="0">
                    <a:pos x="T6" y="T7"/>
                  </a:cxn>
                  <a:cxn ang="0">
                    <a:pos x="T8" y="T9"/>
                  </a:cxn>
                </a:cxnLst>
                <a:rect l="0" t="0" r="r" b="b"/>
                <a:pathLst>
                  <a:path w="15" h="16">
                    <a:moveTo>
                      <a:pt x="7" y="0"/>
                    </a:moveTo>
                    <a:cubicBezTo>
                      <a:pt x="4" y="0"/>
                      <a:pt x="0" y="3"/>
                      <a:pt x="0" y="8"/>
                    </a:cubicBezTo>
                    <a:cubicBezTo>
                      <a:pt x="0" y="13"/>
                      <a:pt x="4" y="16"/>
                      <a:pt x="7" y="16"/>
                    </a:cubicBezTo>
                    <a:cubicBezTo>
                      <a:pt x="12" y="16"/>
                      <a:pt x="15" y="13"/>
                      <a:pt x="15" y="8"/>
                    </a:cubicBezTo>
                    <a:cubicBezTo>
                      <a:pt x="15" y="3"/>
                      <a:pt x="12" y="0"/>
                      <a:pt x="7"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sp>
            <p:nvSpPr>
              <p:cNvPr id="844" name="Freeform 27"/>
              <p:cNvSpPr>
                <a:spLocks/>
              </p:cNvSpPr>
              <p:nvPr/>
            </p:nvSpPr>
            <p:spPr bwMode="auto">
              <a:xfrm>
                <a:off x="10826078" y="-316177"/>
                <a:ext cx="47625" cy="44450"/>
              </a:xfrm>
              <a:custGeom>
                <a:avLst/>
                <a:gdLst>
                  <a:gd name="T0" fmla="*/ 7 w 15"/>
                  <a:gd name="T1" fmla="*/ 0 h 14"/>
                  <a:gd name="T2" fmla="*/ 0 w 15"/>
                  <a:gd name="T3" fmla="*/ 7 h 14"/>
                  <a:gd name="T4" fmla="*/ 7 w 15"/>
                  <a:gd name="T5" fmla="*/ 14 h 14"/>
                  <a:gd name="T6" fmla="*/ 15 w 15"/>
                  <a:gd name="T7" fmla="*/ 7 h 14"/>
                  <a:gd name="T8" fmla="*/ 7 w 15"/>
                  <a:gd name="T9" fmla="*/ 0 h 14"/>
                </a:gdLst>
                <a:ahLst/>
                <a:cxnLst>
                  <a:cxn ang="0">
                    <a:pos x="T0" y="T1"/>
                  </a:cxn>
                  <a:cxn ang="0">
                    <a:pos x="T2" y="T3"/>
                  </a:cxn>
                  <a:cxn ang="0">
                    <a:pos x="T4" y="T5"/>
                  </a:cxn>
                  <a:cxn ang="0">
                    <a:pos x="T6" y="T7"/>
                  </a:cxn>
                  <a:cxn ang="0">
                    <a:pos x="T8" y="T9"/>
                  </a:cxn>
                </a:cxnLst>
                <a:rect l="0" t="0" r="r" b="b"/>
                <a:pathLst>
                  <a:path w="15" h="14">
                    <a:moveTo>
                      <a:pt x="7" y="0"/>
                    </a:moveTo>
                    <a:cubicBezTo>
                      <a:pt x="4" y="0"/>
                      <a:pt x="0" y="3"/>
                      <a:pt x="0" y="7"/>
                    </a:cubicBezTo>
                    <a:cubicBezTo>
                      <a:pt x="0" y="11"/>
                      <a:pt x="4" y="14"/>
                      <a:pt x="7" y="14"/>
                    </a:cubicBezTo>
                    <a:cubicBezTo>
                      <a:pt x="12" y="14"/>
                      <a:pt x="15" y="11"/>
                      <a:pt x="15" y="7"/>
                    </a:cubicBezTo>
                    <a:cubicBezTo>
                      <a:pt x="15" y="3"/>
                      <a:pt x="12" y="0"/>
                      <a:pt x="7" y="0"/>
                    </a:cubicBezTo>
                  </a:path>
                </a:pathLst>
              </a:custGeom>
              <a:solidFill>
                <a:srgbClr val="FFFFFF"/>
              </a:solidFill>
              <a:ln>
                <a:noFill/>
              </a:ln>
              <a:extLst/>
            </p:spPr>
            <p:txBody>
              <a:bodyPr vert="horz" wrap="square" lIns="89603" tIns="44802" rIns="89603" bIns="44802" numCol="1" anchor="t" anchorCtr="0" compatLnSpc="1">
                <a:prstTxWarp prst="textNoShape">
                  <a:avLst/>
                </a:prstTxWarp>
              </a:bodyPr>
              <a:lstStyle/>
              <a:p>
                <a:pPr defTabSz="913965">
                  <a:defRPr/>
                </a:pPr>
                <a:endParaRPr lang="en-US" sz="1765" kern="0">
                  <a:solidFill>
                    <a:srgbClr val="505050"/>
                  </a:solidFill>
                  <a:latin typeface="Segoe UI"/>
                </a:endParaRPr>
              </a:p>
            </p:txBody>
          </p:sp>
          <p:grpSp>
            <p:nvGrpSpPr>
              <p:cNvPr id="845" name="Group 844"/>
              <p:cNvGrpSpPr/>
              <p:nvPr/>
            </p:nvGrpSpPr>
            <p:grpSpPr>
              <a:xfrm>
                <a:off x="10881877" y="-28135"/>
                <a:ext cx="364330" cy="323240"/>
                <a:chOff x="2195513" y="-1231900"/>
                <a:chExt cx="1055688" cy="936625"/>
              </a:xfrm>
              <a:solidFill>
                <a:srgbClr val="FFFFFF"/>
              </a:solidFill>
            </p:grpSpPr>
            <p:sp>
              <p:nvSpPr>
                <p:cNvPr id="846" name="Freeform 5"/>
                <p:cNvSpPr>
                  <a:spLocks noEditPoints="1"/>
                </p:cNvSpPr>
                <p:nvPr/>
              </p:nvSpPr>
              <p:spPr bwMode="auto">
                <a:xfrm>
                  <a:off x="2578101" y="-938213"/>
                  <a:ext cx="673100" cy="642938"/>
                </a:xfrm>
                <a:custGeom>
                  <a:avLst/>
                  <a:gdLst>
                    <a:gd name="T0" fmla="*/ 1400 w 1451"/>
                    <a:gd name="T1" fmla="*/ 622 h 1384"/>
                    <a:gd name="T2" fmla="*/ 639 w 1451"/>
                    <a:gd name="T3" fmla="*/ 0 h 1384"/>
                    <a:gd name="T4" fmla="*/ 611 w 1451"/>
                    <a:gd name="T5" fmla="*/ 6 h 1384"/>
                    <a:gd name="T6" fmla="*/ 252 w 1451"/>
                    <a:gd name="T7" fmla="*/ 157 h 1384"/>
                    <a:gd name="T8" fmla="*/ 252 w 1451"/>
                    <a:gd name="T9" fmla="*/ 157 h 1384"/>
                    <a:gd name="T10" fmla="*/ 174 w 1451"/>
                    <a:gd name="T11" fmla="*/ 235 h 1384"/>
                    <a:gd name="T12" fmla="*/ 51 w 1451"/>
                    <a:gd name="T13" fmla="*/ 762 h 1384"/>
                    <a:gd name="T14" fmla="*/ 807 w 1451"/>
                    <a:gd name="T15" fmla="*/ 1384 h 1384"/>
                    <a:gd name="T16" fmla="*/ 840 w 1451"/>
                    <a:gd name="T17" fmla="*/ 1384 h 1384"/>
                    <a:gd name="T18" fmla="*/ 1199 w 1451"/>
                    <a:gd name="T19" fmla="*/ 1227 h 1384"/>
                    <a:gd name="T20" fmla="*/ 1271 w 1451"/>
                    <a:gd name="T21" fmla="*/ 1154 h 1384"/>
                    <a:gd name="T22" fmla="*/ 1271 w 1451"/>
                    <a:gd name="T23" fmla="*/ 1154 h 1384"/>
                    <a:gd name="T24" fmla="*/ 1400 w 1451"/>
                    <a:gd name="T25" fmla="*/ 622 h 1384"/>
                    <a:gd name="T26" fmla="*/ 902 w 1451"/>
                    <a:gd name="T27" fmla="*/ 818 h 1384"/>
                    <a:gd name="T28" fmla="*/ 818 w 1451"/>
                    <a:gd name="T29" fmla="*/ 852 h 1384"/>
                    <a:gd name="T30" fmla="*/ 745 w 1451"/>
                    <a:gd name="T31" fmla="*/ 728 h 1384"/>
                    <a:gd name="T32" fmla="*/ 527 w 1451"/>
                    <a:gd name="T33" fmla="*/ 863 h 1384"/>
                    <a:gd name="T34" fmla="*/ 465 w 1451"/>
                    <a:gd name="T35" fmla="*/ 784 h 1384"/>
                    <a:gd name="T36" fmla="*/ 695 w 1451"/>
                    <a:gd name="T37" fmla="*/ 639 h 1384"/>
                    <a:gd name="T38" fmla="*/ 471 w 1451"/>
                    <a:gd name="T39" fmla="*/ 235 h 1384"/>
                    <a:gd name="T40" fmla="*/ 555 w 1451"/>
                    <a:gd name="T41" fmla="*/ 202 h 1384"/>
                    <a:gd name="T42" fmla="*/ 773 w 1451"/>
                    <a:gd name="T43" fmla="*/ 588 h 1384"/>
                    <a:gd name="T44" fmla="*/ 874 w 1451"/>
                    <a:gd name="T45" fmla="*/ 521 h 1384"/>
                    <a:gd name="T46" fmla="*/ 936 w 1451"/>
                    <a:gd name="T47" fmla="*/ 605 h 1384"/>
                    <a:gd name="T48" fmla="*/ 824 w 1451"/>
                    <a:gd name="T49" fmla="*/ 678 h 1384"/>
                    <a:gd name="T50" fmla="*/ 902 w 1451"/>
                    <a:gd name="T51" fmla="*/ 818 h 1384"/>
                    <a:gd name="T52" fmla="*/ 902 w 1451"/>
                    <a:gd name="T53" fmla="*/ 818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1" h="1384">
                      <a:moveTo>
                        <a:pt x="1400" y="622"/>
                      </a:moveTo>
                      <a:cubicBezTo>
                        <a:pt x="1316" y="275"/>
                        <a:pt x="980" y="0"/>
                        <a:pt x="639" y="0"/>
                      </a:cubicBezTo>
                      <a:cubicBezTo>
                        <a:pt x="628" y="0"/>
                        <a:pt x="622" y="0"/>
                        <a:pt x="611" y="6"/>
                      </a:cubicBezTo>
                      <a:cubicBezTo>
                        <a:pt x="460" y="11"/>
                        <a:pt x="336" y="67"/>
                        <a:pt x="252" y="157"/>
                      </a:cubicBezTo>
                      <a:cubicBezTo>
                        <a:pt x="252" y="157"/>
                        <a:pt x="252" y="157"/>
                        <a:pt x="252" y="157"/>
                      </a:cubicBezTo>
                      <a:cubicBezTo>
                        <a:pt x="174" y="235"/>
                        <a:pt x="174" y="235"/>
                        <a:pt x="174" y="235"/>
                      </a:cubicBezTo>
                      <a:cubicBezTo>
                        <a:pt x="51" y="364"/>
                        <a:pt x="0" y="555"/>
                        <a:pt x="51" y="762"/>
                      </a:cubicBezTo>
                      <a:cubicBezTo>
                        <a:pt x="129" y="1115"/>
                        <a:pt x="465" y="1384"/>
                        <a:pt x="807" y="1384"/>
                      </a:cubicBezTo>
                      <a:cubicBezTo>
                        <a:pt x="818" y="1384"/>
                        <a:pt x="829" y="1384"/>
                        <a:pt x="840" y="1384"/>
                      </a:cubicBezTo>
                      <a:cubicBezTo>
                        <a:pt x="986" y="1378"/>
                        <a:pt x="1109" y="1322"/>
                        <a:pt x="1199" y="1227"/>
                      </a:cubicBezTo>
                      <a:cubicBezTo>
                        <a:pt x="1271" y="1154"/>
                        <a:pt x="1271" y="1154"/>
                        <a:pt x="1271" y="1154"/>
                      </a:cubicBezTo>
                      <a:cubicBezTo>
                        <a:pt x="1271" y="1154"/>
                        <a:pt x="1271" y="1154"/>
                        <a:pt x="1271" y="1154"/>
                      </a:cubicBezTo>
                      <a:cubicBezTo>
                        <a:pt x="1395" y="1025"/>
                        <a:pt x="1451" y="835"/>
                        <a:pt x="1400" y="622"/>
                      </a:cubicBezTo>
                      <a:close/>
                      <a:moveTo>
                        <a:pt x="902" y="818"/>
                      </a:moveTo>
                      <a:cubicBezTo>
                        <a:pt x="818" y="852"/>
                        <a:pt x="818" y="852"/>
                        <a:pt x="818" y="852"/>
                      </a:cubicBezTo>
                      <a:cubicBezTo>
                        <a:pt x="745" y="728"/>
                        <a:pt x="745" y="728"/>
                        <a:pt x="745" y="728"/>
                      </a:cubicBezTo>
                      <a:cubicBezTo>
                        <a:pt x="527" y="863"/>
                        <a:pt x="527" y="863"/>
                        <a:pt x="527" y="863"/>
                      </a:cubicBezTo>
                      <a:cubicBezTo>
                        <a:pt x="465" y="784"/>
                        <a:pt x="465" y="784"/>
                        <a:pt x="465" y="784"/>
                      </a:cubicBezTo>
                      <a:cubicBezTo>
                        <a:pt x="695" y="639"/>
                        <a:pt x="695" y="639"/>
                        <a:pt x="695" y="639"/>
                      </a:cubicBezTo>
                      <a:cubicBezTo>
                        <a:pt x="471" y="235"/>
                        <a:pt x="471" y="235"/>
                        <a:pt x="471" y="235"/>
                      </a:cubicBezTo>
                      <a:cubicBezTo>
                        <a:pt x="555" y="202"/>
                        <a:pt x="555" y="202"/>
                        <a:pt x="555" y="202"/>
                      </a:cubicBezTo>
                      <a:cubicBezTo>
                        <a:pt x="773" y="588"/>
                        <a:pt x="773" y="588"/>
                        <a:pt x="773" y="588"/>
                      </a:cubicBezTo>
                      <a:cubicBezTo>
                        <a:pt x="874" y="521"/>
                        <a:pt x="874" y="521"/>
                        <a:pt x="874" y="521"/>
                      </a:cubicBezTo>
                      <a:cubicBezTo>
                        <a:pt x="936" y="605"/>
                        <a:pt x="936" y="605"/>
                        <a:pt x="936" y="605"/>
                      </a:cubicBezTo>
                      <a:cubicBezTo>
                        <a:pt x="824" y="678"/>
                        <a:pt x="824" y="678"/>
                        <a:pt x="824" y="678"/>
                      </a:cubicBezTo>
                      <a:cubicBezTo>
                        <a:pt x="902" y="818"/>
                        <a:pt x="902" y="818"/>
                        <a:pt x="902" y="818"/>
                      </a:cubicBezTo>
                      <a:cubicBezTo>
                        <a:pt x="902" y="818"/>
                        <a:pt x="902" y="818"/>
                        <a:pt x="902"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282828"/>
                    </a:solidFill>
                    <a:latin typeface="Segoe UI"/>
                  </a:endParaRPr>
                </a:p>
              </p:txBody>
            </p:sp>
            <p:sp>
              <p:nvSpPr>
                <p:cNvPr id="847" name="Freeform 6"/>
                <p:cNvSpPr>
                  <a:spLocks noEditPoints="1"/>
                </p:cNvSpPr>
                <p:nvPr/>
              </p:nvSpPr>
              <p:spPr bwMode="auto">
                <a:xfrm>
                  <a:off x="2195513" y="-1231900"/>
                  <a:ext cx="692150" cy="762000"/>
                </a:xfrm>
                <a:custGeom>
                  <a:avLst/>
                  <a:gdLst>
                    <a:gd name="T0" fmla="*/ 1313 w 1492"/>
                    <a:gd name="T1" fmla="*/ 185 h 1642"/>
                    <a:gd name="T2" fmla="*/ 1034 w 1492"/>
                    <a:gd name="T3" fmla="*/ 67 h 1642"/>
                    <a:gd name="T4" fmla="*/ 1151 w 1492"/>
                    <a:gd name="T5" fmla="*/ 84 h 1642"/>
                    <a:gd name="T6" fmla="*/ 1224 w 1492"/>
                    <a:gd name="T7" fmla="*/ 185 h 1642"/>
                    <a:gd name="T8" fmla="*/ 1151 w 1492"/>
                    <a:gd name="T9" fmla="*/ 274 h 1642"/>
                    <a:gd name="T10" fmla="*/ 498 w 1492"/>
                    <a:gd name="T11" fmla="*/ 185 h 1642"/>
                    <a:gd name="T12" fmla="*/ 218 w 1492"/>
                    <a:gd name="T13" fmla="*/ 67 h 1642"/>
                    <a:gd name="T14" fmla="*/ 341 w 1492"/>
                    <a:gd name="T15" fmla="*/ 84 h 1642"/>
                    <a:gd name="T16" fmla="*/ 408 w 1492"/>
                    <a:gd name="T17" fmla="*/ 185 h 1642"/>
                    <a:gd name="T18" fmla="*/ 341 w 1492"/>
                    <a:gd name="T19" fmla="*/ 274 h 1642"/>
                    <a:gd name="T20" fmla="*/ 73 w 1492"/>
                    <a:gd name="T21" fmla="*/ 185 h 1642"/>
                    <a:gd name="T22" fmla="*/ 0 w 1492"/>
                    <a:gd name="T23" fmla="*/ 1574 h 1642"/>
                    <a:gd name="T24" fmla="*/ 866 w 1492"/>
                    <a:gd name="T25" fmla="*/ 1642 h 1642"/>
                    <a:gd name="T26" fmla="*/ 554 w 1492"/>
                    <a:gd name="T27" fmla="*/ 1535 h 1642"/>
                    <a:gd name="T28" fmla="*/ 760 w 1492"/>
                    <a:gd name="T29" fmla="*/ 1266 h 1642"/>
                    <a:gd name="T30" fmla="*/ 554 w 1492"/>
                    <a:gd name="T31" fmla="*/ 1188 h 1642"/>
                    <a:gd name="T32" fmla="*/ 855 w 1492"/>
                    <a:gd name="T33" fmla="*/ 896 h 1642"/>
                    <a:gd name="T34" fmla="*/ 554 w 1492"/>
                    <a:gd name="T35" fmla="*/ 818 h 1642"/>
                    <a:gd name="T36" fmla="*/ 939 w 1492"/>
                    <a:gd name="T37" fmla="*/ 549 h 1642"/>
                    <a:gd name="T38" fmla="*/ 1006 w 1492"/>
                    <a:gd name="T39" fmla="*/ 728 h 1642"/>
                    <a:gd name="T40" fmla="*/ 1017 w 1492"/>
                    <a:gd name="T41" fmla="*/ 549 h 1642"/>
                    <a:gd name="T42" fmla="*/ 1425 w 1492"/>
                    <a:gd name="T43" fmla="*/ 543 h 1642"/>
                    <a:gd name="T44" fmla="*/ 1492 w 1492"/>
                    <a:gd name="T45" fmla="*/ 543 h 1642"/>
                    <a:gd name="T46" fmla="*/ 1420 w 1492"/>
                    <a:gd name="T47" fmla="*/ 185 h 1642"/>
                    <a:gd name="T48" fmla="*/ 107 w 1492"/>
                    <a:gd name="T49" fmla="*/ 1535 h 1642"/>
                    <a:gd name="T50" fmla="*/ 475 w 1492"/>
                    <a:gd name="T51" fmla="*/ 1266 h 1642"/>
                    <a:gd name="T52" fmla="*/ 475 w 1492"/>
                    <a:gd name="T53" fmla="*/ 1535 h 1642"/>
                    <a:gd name="T54" fmla="*/ 107 w 1492"/>
                    <a:gd name="T55" fmla="*/ 1188 h 1642"/>
                    <a:gd name="T56" fmla="*/ 475 w 1492"/>
                    <a:gd name="T57" fmla="*/ 896 h 1642"/>
                    <a:gd name="T58" fmla="*/ 475 w 1492"/>
                    <a:gd name="T59" fmla="*/ 1188 h 1642"/>
                    <a:gd name="T60" fmla="*/ 107 w 1492"/>
                    <a:gd name="T61" fmla="*/ 818 h 1642"/>
                    <a:gd name="T62" fmla="*/ 475 w 1492"/>
                    <a:gd name="T63" fmla="*/ 549 h 1642"/>
                    <a:gd name="T64" fmla="*/ 475 w 1492"/>
                    <a:gd name="T65" fmla="*/ 818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92" h="1642">
                      <a:moveTo>
                        <a:pt x="1420" y="185"/>
                      </a:moveTo>
                      <a:cubicBezTo>
                        <a:pt x="1313" y="185"/>
                        <a:pt x="1313" y="185"/>
                        <a:pt x="1313" y="185"/>
                      </a:cubicBezTo>
                      <a:cubicBezTo>
                        <a:pt x="1308" y="84"/>
                        <a:pt x="1241" y="0"/>
                        <a:pt x="1151" y="0"/>
                      </a:cubicBezTo>
                      <a:cubicBezTo>
                        <a:pt x="1107" y="0"/>
                        <a:pt x="1062" y="28"/>
                        <a:pt x="1034" y="67"/>
                      </a:cubicBezTo>
                      <a:cubicBezTo>
                        <a:pt x="1107" y="112"/>
                        <a:pt x="1107" y="112"/>
                        <a:pt x="1107" y="112"/>
                      </a:cubicBezTo>
                      <a:cubicBezTo>
                        <a:pt x="1118" y="95"/>
                        <a:pt x="1135" y="84"/>
                        <a:pt x="1151" y="84"/>
                      </a:cubicBezTo>
                      <a:cubicBezTo>
                        <a:pt x="1190" y="84"/>
                        <a:pt x="1224" y="129"/>
                        <a:pt x="1224" y="179"/>
                      </a:cubicBezTo>
                      <a:cubicBezTo>
                        <a:pt x="1224" y="185"/>
                        <a:pt x="1224" y="185"/>
                        <a:pt x="1224" y="185"/>
                      </a:cubicBezTo>
                      <a:cubicBezTo>
                        <a:pt x="1224" y="185"/>
                        <a:pt x="1224" y="185"/>
                        <a:pt x="1224" y="185"/>
                      </a:cubicBezTo>
                      <a:cubicBezTo>
                        <a:pt x="1218" y="235"/>
                        <a:pt x="1190" y="274"/>
                        <a:pt x="1151" y="274"/>
                      </a:cubicBezTo>
                      <a:cubicBezTo>
                        <a:pt x="1118" y="274"/>
                        <a:pt x="1084" y="235"/>
                        <a:pt x="1084" y="185"/>
                      </a:cubicBezTo>
                      <a:cubicBezTo>
                        <a:pt x="498" y="185"/>
                        <a:pt x="498" y="185"/>
                        <a:pt x="498" y="185"/>
                      </a:cubicBezTo>
                      <a:cubicBezTo>
                        <a:pt x="498" y="84"/>
                        <a:pt x="425" y="0"/>
                        <a:pt x="341" y="0"/>
                      </a:cubicBezTo>
                      <a:cubicBezTo>
                        <a:pt x="291" y="0"/>
                        <a:pt x="246" y="28"/>
                        <a:pt x="218" y="67"/>
                      </a:cubicBezTo>
                      <a:cubicBezTo>
                        <a:pt x="291" y="112"/>
                        <a:pt x="291" y="112"/>
                        <a:pt x="291" y="112"/>
                      </a:cubicBezTo>
                      <a:cubicBezTo>
                        <a:pt x="302" y="95"/>
                        <a:pt x="319" y="84"/>
                        <a:pt x="341" y="84"/>
                      </a:cubicBezTo>
                      <a:cubicBezTo>
                        <a:pt x="380" y="84"/>
                        <a:pt x="408" y="129"/>
                        <a:pt x="408" y="179"/>
                      </a:cubicBezTo>
                      <a:cubicBezTo>
                        <a:pt x="408" y="185"/>
                        <a:pt x="408" y="185"/>
                        <a:pt x="408" y="185"/>
                      </a:cubicBezTo>
                      <a:cubicBezTo>
                        <a:pt x="408" y="185"/>
                        <a:pt x="408" y="185"/>
                        <a:pt x="408" y="185"/>
                      </a:cubicBezTo>
                      <a:cubicBezTo>
                        <a:pt x="408" y="235"/>
                        <a:pt x="375" y="274"/>
                        <a:pt x="341" y="274"/>
                      </a:cubicBezTo>
                      <a:cubicBezTo>
                        <a:pt x="302" y="274"/>
                        <a:pt x="274" y="235"/>
                        <a:pt x="269" y="185"/>
                      </a:cubicBezTo>
                      <a:cubicBezTo>
                        <a:pt x="73" y="185"/>
                        <a:pt x="73" y="185"/>
                        <a:pt x="73" y="185"/>
                      </a:cubicBezTo>
                      <a:cubicBezTo>
                        <a:pt x="34" y="185"/>
                        <a:pt x="0" y="218"/>
                        <a:pt x="0" y="258"/>
                      </a:cubicBezTo>
                      <a:cubicBezTo>
                        <a:pt x="0" y="1574"/>
                        <a:pt x="0" y="1574"/>
                        <a:pt x="0" y="1574"/>
                      </a:cubicBezTo>
                      <a:cubicBezTo>
                        <a:pt x="0" y="1614"/>
                        <a:pt x="34" y="1642"/>
                        <a:pt x="73" y="1642"/>
                      </a:cubicBezTo>
                      <a:cubicBezTo>
                        <a:pt x="866" y="1642"/>
                        <a:pt x="866" y="1642"/>
                        <a:pt x="866" y="1642"/>
                      </a:cubicBezTo>
                      <a:cubicBezTo>
                        <a:pt x="850" y="1608"/>
                        <a:pt x="833" y="1574"/>
                        <a:pt x="816" y="1535"/>
                      </a:cubicBezTo>
                      <a:cubicBezTo>
                        <a:pt x="554" y="1535"/>
                        <a:pt x="554" y="1535"/>
                        <a:pt x="554" y="1535"/>
                      </a:cubicBezTo>
                      <a:cubicBezTo>
                        <a:pt x="554" y="1266"/>
                        <a:pt x="554" y="1266"/>
                        <a:pt x="554" y="1266"/>
                      </a:cubicBezTo>
                      <a:cubicBezTo>
                        <a:pt x="760" y="1266"/>
                        <a:pt x="760" y="1266"/>
                        <a:pt x="760" y="1266"/>
                      </a:cubicBezTo>
                      <a:cubicBezTo>
                        <a:pt x="760" y="1238"/>
                        <a:pt x="760" y="1216"/>
                        <a:pt x="760" y="1188"/>
                      </a:cubicBezTo>
                      <a:cubicBezTo>
                        <a:pt x="554" y="1188"/>
                        <a:pt x="554" y="1188"/>
                        <a:pt x="554" y="1188"/>
                      </a:cubicBezTo>
                      <a:cubicBezTo>
                        <a:pt x="554" y="896"/>
                        <a:pt x="554" y="896"/>
                        <a:pt x="554" y="896"/>
                      </a:cubicBezTo>
                      <a:cubicBezTo>
                        <a:pt x="855" y="896"/>
                        <a:pt x="855" y="896"/>
                        <a:pt x="855" y="896"/>
                      </a:cubicBezTo>
                      <a:cubicBezTo>
                        <a:pt x="872" y="868"/>
                        <a:pt x="894" y="846"/>
                        <a:pt x="917" y="818"/>
                      </a:cubicBezTo>
                      <a:cubicBezTo>
                        <a:pt x="554" y="818"/>
                        <a:pt x="554" y="818"/>
                        <a:pt x="554" y="818"/>
                      </a:cubicBezTo>
                      <a:cubicBezTo>
                        <a:pt x="554" y="549"/>
                        <a:pt x="554" y="549"/>
                        <a:pt x="554" y="549"/>
                      </a:cubicBezTo>
                      <a:cubicBezTo>
                        <a:pt x="939" y="549"/>
                        <a:pt x="939" y="549"/>
                        <a:pt x="939" y="549"/>
                      </a:cubicBezTo>
                      <a:cubicBezTo>
                        <a:pt x="939" y="795"/>
                        <a:pt x="939" y="795"/>
                        <a:pt x="939" y="795"/>
                      </a:cubicBezTo>
                      <a:cubicBezTo>
                        <a:pt x="1006" y="728"/>
                        <a:pt x="1006" y="728"/>
                        <a:pt x="1006" y="728"/>
                      </a:cubicBezTo>
                      <a:cubicBezTo>
                        <a:pt x="1012" y="723"/>
                        <a:pt x="1012" y="717"/>
                        <a:pt x="1017" y="717"/>
                      </a:cubicBezTo>
                      <a:cubicBezTo>
                        <a:pt x="1017" y="549"/>
                        <a:pt x="1017" y="549"/>
                        <a:pt x="1017" y="549"/>
                      </a:cubicBezTo>
                      <a:cubicBezTo>
                        <a:pt x="1375" y="549"/>
                        <a:pt x="1375" y="549"/>
                        <a:pt x="1375" y="549"/>
                      </a:cubicBezTo>
                      <a:cubicBezTo>
                        <a:pt x="1392" y="549"/>
                        <a:pt x="1408" y="543"/>
                        <a:pt x="1425" y="543"/>
                      </a:cubicBezTo>
                      <a:cubicBezTo>
                        <a:pt x="1436" y="543"/>
                        <a:pt x="1448" y="543"/>
                        <a:pt x="1459" y="543"/>
                      </a:cubicBezTo>
                      <a:cubicBezTo>
                        <a:pt x="1470" y="543"/>
                        <a:pt x="1481" y="543"/>
                        <a:pt x="1492" y="543"/>
                      </a:cubicBezTo>
                      <a:cubicBezTo>
                        <a:pt x="1492" y="258"/>
                        <a:pt x="1492" y="258"/>
                        <a:pt x="1492" y="258"/>
                      </a:cubicBezTo>
                      <a:cubicBezTo>
                        <a:pt x="1492" y="218"/>
                        <a:pt x="1459" y="185"/>
                        <a:pt x="1420" y="185"/>
                      </a:cubicBezTo>
                      <a:close/>
                      <a:moveTo>
                        <a:pt x="475" y="1535"/>
                      </a:moveTo>
                      <a:cubicBezTo>
                        <a:pt x="107" y="1535"/>
                        <a:pt x="107" y="1535"/>
                        <a:pt x="107" y="1535"/>
                      </a:cubicBezTo>
                      <a:cubicBezTo>
                        <a:pt x="107" y="1266"/>
                        <a:pt x="107" y="1266"/>
                        <a:pt x="107" y="1266"/>
                      </a:cubicBezTo>
                      <a:cubicBezTo>
                        <a:pt x="475" y="1266"/>
                        <a:pt x="475" y="1266"/>
                        <a:pt x="475" y="1266"/>
                      </a:cubicBezTo>
                      <a:cubicBezTo>
                        <a:pt x="475" y="1535"/>
                        <a:pt x="475" y="1535"/>
                        <a:pt x="475" y="1535"/>
                      </a:cubicBezTo>
                      <a:cubicBezTo>
                        <a:pt x="475" y="1535"/>
                        <a:pt x="475" y="1535"/>
                        <a:pt x="475" y="1535"/>
                      </a:cubicBezTo>
                      <a:close/>
                      <a:moveTo>
                        <a:pt x="475" y="1188"/>
                      </a:moveTo>
                      <a:cubicBezTo>
                        <a:pt x="107" y="1188"/>
                        <a:pt x="107" y="1188"/>
                        <a:pt x="107" y="1188"/>
                      </a:cubicBezTo>
                      <a:cubicBezTo>
                        <a:pt x="107" y="896"/>
                        <a:pt x="107" y="896"/>
                        <a:pt x="107" y="896"/>
                      </a:cubicBezTo>
                      <a:cubicBezTo>
                        <a:pt x="475" y="896"/>
                        <a:pt x="475" y="896"/>
                        <a:pt x="475" y="896"/>
                      </a:cubicBezTo>
                      <a:cubicBezTo>
                        <a:pt x="475" y="1188"/>
                        <a:pt x="475" y="1188"/>
                        <a:pt x="475" y="1188"/>
                      </a:cubicBezTo>
                      <a:cubicBezTo>
                        <a:pt x="475" y="1188"/>
                        <a:pt x="475" y="1188"/>
                        <a:pt x="475" y="1188"/>
                      </a:cubicBezTo>
                      <a:close/>
                      <a:moveTo>
                        <a:pt x="475" y="818"/>
                      </a:moveTo>
                      <a:cubicBezTo>
                        <a:pt x="107" y="818"/>
                        <a:pt x="107" y="818"/>
                        <a:pt x="107" y="818"/>
                      </a:cubicBezTo>
                      <a:cubicBezTo>
                        <a:pt x="107" y="549"/>
                        <a:pt x="107" y="549"/>
                        <a:pt x="107" y="549"/>
                      </a:cubicBezTo>
                      <a:cubicBezTo>
                        <a:pt x="475" y="549"/>
                        <a:pt x="475" y="549"/>
                        <a:pt x="475" y="549"/>
                      </a:cubicBezTo>
                      <a:cubicBezTo>
                        <a:pt x="475" y="818"/>
                        <a:pt x="475" y="818"/>
                        <a:pt x="475" y="818"/>
                      </a:cubicBezTo>
                      <a:cubicBezTo>
                        <a:pt x="475" y="818"/>
                        <a:pt x="475" y="818"/>
                        <a:pt x="475"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282828"/>
                    </a:solidFill>
                    <a:latin typeface="Segoe UI"/>
                  </a:endParaRPr>
                </a:p>
              </p:txBody>
            </p:sp>
          </p:grpSp>
        </p:grpSp>
      </p:grpSp>
    </p:spTree>
    <p:extLst>
      <p:ext uri="{BB962C8B-B14F-4D97-AF65-F5344CB8AC3E}">
        <p14:creationId xmlns:p14="http://schemas.microsoft.com/office/powerpoint/2010/main" val="804713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8"/>
                                        </p:tgtEl>
                                        <p:attrNameLst>
                                          <p:attrName>style.visibility</p:attrName>
                                        </p:attrNameLst>
                                      </p:cBhvr>
                                      <p:to>
                                        <p:strVal val="visible"/>
                                      </p:to>
                                    </p:set>
                                    <p:animEffect transition="in" filter="fade">
                                      <p:cBhvr>
                                        <p:cTn id="7" dur="500"/>
                                        <p:tgtEl>
                                          <p:spTgt spid="58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69"/>
                                        </p:tgtEl>
                                        <p:attrNameLst>
                                          <p:attrName>style.visibility</p:attrName>
                                        </p:attrNameLst>
                                      </p:cBhvr>
                                      <p:to>
                                        <p:strVal val="visible"/>
                                      </p:to>
                                    </p:set>
                                    <p:animEffect transition="in" filter="fade">
                                      <p:cBhvr>
                                        <p:cTn id="10" dur="500"/>
                                        <p:tgtEl>
                                          <p:spTgt spid="5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9"/>
                                        </p:tgtEl>
                                        <p:attrNameLst>
                                          <p:attrName>style.visibility</p:attrName>
                                        </p:attrNameLst>
                                      </p:cBhvr>
                                      <p:to>
                                        <p:strVal val="visible"/>
                                      </p:to>
                                    </p:set>
                                    <p:animEffect transition="in" filter="fade">
                                      <p:cBhvr>
                                        <p:cTn id="13" dur="500"/>
                                        <p:tgtEl>
                                          <p:spTgt spid="589"/>
                                        </p:tgtEl>
                                      </p:cBhvr>
                                    </p:animEffect>
                                  </p:childTnLst>
                                </p:cTn>
                              </p:par>
                              <p:par>
                                <p:cTn id="14" presetID="2" presetClass="entr" presetSubtype="8" decel="100000" fill="hold" grpId="0" nodeType="withEffect">
                                  <p:stCondLst>
                                    <p:cond delay="0"/>
                                  </p:stCondLst>
                                  <p:childTnLst>
                                    <p:set>
                                      <p:cBhvr>
                                        <p:cTn id="15" dur="1" fill="hold">
                                          <p:stCondLst>
                                            <p:cond delay="0"/>
                                          </p:stCondLst>
                                        </p:cTn>
                                        <p:tgtEl>
                                          <p:spTgt spid="585"/>
                                        </p:tgtEl>
                                        <p:attrNameLst>
                                          <p:attrName>style.visibility</p:attrName>
                                        </p:attrNameLst>
                                      </p:cBhvr>
                                      <p:to>
                                        <p:strVal val="visible"/>
                                      </p:to>
                                    </p:set>
                                    <p:anim calcmode="lin" valueType="num">
                                      <p:cBhvr additive="base">
                                        <p:cTn id="16" dur="1250" fill="hold"/>
                                        <p:tgtEl>
                                          <p:spTgt spid="585"/>
                                        </p:tgtEl>
                                        <p:attrNameLst>
                                          <p:attrName>ppt_x</p:attrName>
                                        </p:attrNameLst>
                                      </p:cBhvr>
                                      <p:tavLst>
                                        <p:tav tm="0">
                                          <p:val>
                                            <p:strVal val="0-#ppt_w/2"/>
                                          </p:val>
                                        </p:tav>
                                        <p:tav tm="100000">
                                          <p:val>
                                            <p:strVal val="#ppt_x"/>
                                          </p:val>
                                        </p:tav>
                                      </p:tavLst>
                                    </p:anim>
                                    <p:anim calcmode="lin" valueType="num">
                                      <p:cBhvr additive="base">
                                        <p:cTn id="17" dur="1250" fill="hold"/>
                                        <p:tgtEl>
                                          <p:spTgt spid="585"/>
                                        </p:tgtEl>
                                        <p:attrNameLst>
                                          <p:attrName>ppt_y</p:attrName>
                                        </p:attrNameLst>
                                      </p:cBhvr>
                                      <p:tavLst>
                                        <p:tav tm="0">
                                          <p:val>
                                            <p:strVal val="#ppt_y"/>
                                          </p:val>
                                        </p:tav>
                                        <p:tav tm="100000">
                                          <p:val>
                                            <p:strVal val="#ppt_y"/>
                                          </p:val>
                                        </p:tav>
                                      </p:tavLst>
                                    </p:anim>
                                  </p:childTnLst>
                                </p:cTn>
                              </p:par>
                              <p:par>
                                <p:cTn id="18" presetID="2" presetClass="entr" presetSubtype="2" decel="100000" fill="hold" grpId="0" nodeType="withEffect">
                                  <p:stCondLst>
                                    <p:cond delay="1000"/>
                                  </p:stCondLst>
                                  <p:childTnLst>
                                    <p:set>
                                      <p:cBhvr>
                                        <p:cTn id="19" dur="1" fill="hold">
                                          <p:stCondLst>
                                            <p:cond delay="0"/>
                                          </p:stCondLst>
                                        </p:cTn>
                                        <p:tgtEl>
                                          <p:spTgt spid="681"/>
                                        </p:tgtEl>
                                        <p:attrNameLst>
                                          <p:attrName>style.visibility</p:attrName>
                                        </p:attrNameLst>
                                      </p:cBhvr>
                                      <p:to>
                                        <p:strVal val="visible"/>
                                      </p:to>
                                    </p:set>
                                    <p:anim calcmode="lin" valueType="num">
                                      <p:cBhvr additive="base">
                                        <p:cTn id="20" dur="1000" fill="hold"/>
                                        <p:tgtEl>
                                          <p:spTgt spid="681"/>
                                        </p:tgtEl>
                                        <p:attrNameLst>
                                          <p:attrName>ppt_x</p:attrName>
                                        </p:attrNameLst>
                                      </p:cBhvr>
                                      <p:tavLst>
                                        <p:tav tm="0">
                                          <p:val>
                                            <p:strVal val="1+#ppt_w/2"/>
                                          </p:val>
                                        </p:tav>
                                        <p:tav tm="100000">
                                          <p:val>
                                            <p:strVal val="#ppt_x"/>
                                          </p:val>
                                        </p:tav>
                                      </p:tavLst>
                                    </p:anim>
                                    <p:anim calcmode="lin" valueType="num">
                                      <p:cBhvr additive="base">
                                        <p:cTn id="21" dur="1000" fill="hold"/>
                                        <p:tgtEl>
                                          <p:spTgt spid="681"/>
                                        </p:tgtEl>
                                        <p:attrNameLst>
                                          <p:attrName>ppt_y</p:attrName>
                                        </p:attrNameLst>
                                      </p:cBhvr>
                                      <p:tavLst>
                                        <p:tav tm="0">
                                          <p:val>
                                            <p:strVal val="#ppt_y"/>
                                          </p:val>
                                        </p:tav>
                                        <p:tav tm="100000">
                                          <p:val>
                                            <p:strVal val="#ppt_y"/>
                                          </p:val>
                                        </p:tav>
                                      </p:tavLst>
                                    </p:anim>
                                  </p:childTnLst>
                                </p:cTn>
                              </p:par>
                              <p:par>
                                <p:cTn id="22" presetID="22" presetClass="entr" presetSubtype="8" fill="hold" grpId="0" nodeType="withEffect">
                                  <p:stCondLst>
                                    <p:cond delay="1750"/>
                                  </p:stCondLst>
                                  <p:childTnLst>
                                    <p:set>
                                      <p:cBhvr>
                                        <p:cTn id="23" dur="1" fill="hold">
                                          <p:stCondLst>
                                            <p:cond delay="0"/>
                                          </p:stCondLst>
                                        </p:cTn>
                                        <p:tgtEl>
                                          <p:spTgt spid="594"/>
                                        </p:tgtEl>
                                        <p:attrNameLst>
                                          <p:attrName>style.visibility</p:attrName>
                                        </p:attrNameLst>
                                      </p:cBhvr>
                                      <p:to>
                                        <p:strVal val="visible"/>
                                      </p:to>
                                    </p:set>
                                    <p:animEffect transition="in" filter="wipe(left)">
                                      <p:cBhvr>
                                        <p:cTn id="24" dur="800"/>
                                        <p:tgtEl>
                                          <p:spTgt spid="594"/>
                                        </p:tgtEl>
                                      </p:cBhvr>
                                    </p:animEffect>
                                  </p:childTnLst>
                                </p:cTn>
                              </p:par>
                              <p:par>
                                <p:cTn id="25" presetID="10" presetClass="entr" presetSubtype="0" fill="hold" nodeType="withEffect">
                                  <p:stCondLst>
                                    <p:cond delay="1950"/>
                                  </p:stCondLst>
                                  <p:childTnLst>
                                    <p:set>
                                      <p:cBhvr>
                                        <p:cTn id="26" dur="1" fill="hold">
                                          <p:stCondLst>
                                            <p:cond delay="0"/>
                                          </p:stCondLst>
                                        </p:cTn>
                                        <p:tgtEl>
                                          <p:spTgt spid="596"/>
                                        </p:tgtEl>
                                        <p:attrNameLst>
                                          <p:attrName>style.visibility</p:attrName>
                                        </p:attrNameLst>
                                      </p:cBhvr>
                                      <p:to>
                                        <p:strVal val="visible"/>
                                      </p:to>
                                    </p:set>
                                    <p:animEffect transition="in" filter="fade">
                                      <p:cBhvr>
                                        <p:cTn id="27" dur="500"/>
                                        <p:tgtEl>
                                          <p:spTgt spid="596"/>
                                        </p:tgtEl>
                                      </p:cBhvr>
                                    </p:animEffect>
                                  </p:childTnLst>
                                </p:cTn>
                              </p:par>
                              <p:par>
                                <p:cTn id="28" presetID="10" presetClass="entr" presetSubtype="0" fill="hold" grpId="0" nodeType="withEffect">
                                  <p:stCondLst>
                                    <p:cond delay="2250"/>
                                  </p:stCondLst>
                                  <p:childTnLst>
                                    <p:set>
                                      <p:cBhvr>
                                        <p:cTn id="29" dur="1" fill="hold">
                                          <p:stCondLst>
                                            <p:cond delay="0"/>
                                          </p:stCondLst>
                                        </p:cTn>
                                        <p:tgtEl>
                                          <p:spTgt spid="776"/>
                                        </p:tgtEl>
                                        <p:attrNameLst>
                                          <p:attrName>style.visibility</p:attrName>
                                        </p:attrNameLst>
                                      </p:cBhvr>
                                      <p:to>
                                        <p:strVal val="visible"/>
                                      </p:to>
                                    </p:set>
                                    <p:animEffect transition="in" filter="fade">
                                      <p:cBhvr>
                                        <p:cTn id="30" dur="300"/>
                                        <p:tgtEl>
                                          <p:spTgt spid="776"/>
                                        </p:tgtEl>
                                      </p:cBhvr>
                                    </p:animEffect>
                                  </p:childTnLst>
                                </p:cTn>
                              </p:par>
                              <p:par>
                                <p:cTn id="31" presetID="22" presetClass="entr" presetSubtype="8" fill="hold" grpId="0" nodeType="withEffect">
                                  <p:stCondLst>
                                    <p:cond delay="2250"/>
                                  </p:stCondLst>
                                  <p:childTnLst>
                                    <p:set>
                                      <p:cBhvr>
                                        <p:cTn id="32" dur="1" fill="hold">
                                          <p:stCondLst>
                                            <p:cond delay="0"/>
                                          </p:stCondLst>
                                        </p:cTn>
                                        <p:tgtEl>
                                          <p:spTgt spid="800"/>
                                        </p:tgtEl>
                                        <p:attrNameLst>
                                          <p:attrName>style.visibility</p:attrName>
                                        </p:attrNameLst>
                                      </p:cBhvr>
                                      <p:to>
                                        <p:strVal val="visible"/>
                                      </p:to>
                                    </p:set>
                                    <p:animEffect transition="in" filter="wipe(left)">
                                      <p:cBhvr>
                                        <p:cTn id="33" dur="250"/>
                                        <p:tgtEl>
                                          <p:spTgt spid="800"/>
                                        </p:tgtEl>
                                      </p:cBhvr>
                                    </p:animEffect>
                                  </p:childTnLst>
                                </p:cTn>
                              </p:par>
                              <p:par>
                                <p:cTn id="34" presetID="10" presetClass="entr" presetSubtype="0" fill="hold" nodeType="withEffect">
                                  <p:stCondLst>
                                    <p:cond delay="2550"/>
                                  </p:stCondLst>
                                  <p:childTnLst>
                                    <p:set>
                                      <p:cBhvr>
                                        <p:cTn id="35" dur="1" fill="hold">
                                          <p:stCondLst>
                                            <p:cond delay="0"/>
                                          </p:stCondLst>
                                        </p:cTn>
                                        <p:tgtEl>
                                          <p:spTgt spid="719"/>
                                        </p:tgtEl>
                                        <p:attrNameLst>
                                          <p:attrName>style.visibility</p:attrName>
                                        </p:attrNameLst>
                                      </p:cBhvr>
                                      <p:to>
                                        <p:strVal val="visible"/>
                                      </p:to>
                                    </p:set>
                                    <p:animEffect transition="in" filter="fade">
                                      <p:cBhvr>
                                        <p:cTn id="36" dur="300"/>
                                        <p:tgtEl>
                                          <p:spTgt spid="719"/>
                                        </p:tgtEl>
                                      </p:cBhvr>
                                    </p:animEffect>
                                  </p:childTnLst>
                                </p:cTn>
                              </p:par>
                              <p:par>
                                <p:cTn id="37" presetID="1" presetClass="entr" presetSubtype="0" fill="hold" grpId="0" nodeType="withEffect">
                                  <p:stCondLst>
                                    <p:cond delay="2750"/>
                                  </p:stCondLst>
                                  <p:childTnLst>
                                    <p:set>
                                      <p:cBhvr>
                                        <p:cTn id="38" dur="1" fill="hold">
                                          <p:stCondLst>
                                            <p:cond delay="0"/>
                                          </p:stCondLst>
                                        </p:cTn>
                                        <p:tgtEl>
                                          <p:spTgt spid="641"/>
                                        </p:tgtEl>
                                        <p:attrNameLst>
                                          <p:attrName>style.visibility</p:attrName>
                                        </p:attrNameLst>
                                      </p:cBhvr>
                                      <p:to>
                                        <p:strVal val="visible"/>
                                      </p:to>
                                    </p:set>
                                  </p:childTnLst>
                                </p:cTn>
                              </p:par>
                              <p:par>
                                <p:cTn id="39" presetID="50" presetClass="path" presetSubtype="0" fill="hold" grpId="1" nodeType="withEffect">
                                  <p:stCondLst>
                                    <p:cond delay="2750"/>
                                  </p:stCondLst>
                                  <p:childTnLst>
                                    <p:animMotion origin="layout" path="M 0.00038 -0.00113 C 0.00038 -0.00113 0.00013 -0.02202 0.00051 -0.02202 C 0.00051 -0.02247 -0.07557 -0.02224 -0.07557 -0.02179 C -0.07557 -0.04153 -0.07531 -0.07013 -0.07531 -0.0892 " pathEditMode="relative" rAng="0" ptsTypes="AAAA">
                                      <p:cBhvr>
                                        <p:cTn id="40" dur="1000" fill="hold"/>
                                        <p:tgtEl>
                                          <p:spTgt spid="641"/>
                                        </p:tgtEl>
                                        <p:attrNameLst>
                                          <p:attrName>ppt_x</p:attrName>
                                          <p:attrName>ppt_y</p:attrName>
                                        </p:attrNameLst>
                                      </p:cBhvr>
                                      <p:rCtr x="-3791" y="-4403"/>
                                    </p:animMotion>
                                  </p:childTnLst>
                                </p:cTn>
                              </p:par>
                              <p:par>
                                <p:cTn id="41" presetID="1" presetClass="exit" presetSubtype="0" fill="hold" grpId="2" nodeType="withEffect">
                                  <p:stCondLst>
                                    <p:cond delay="3750"/>
                                  </p:stCondLst>
                                  <p:childTnLst>
                                    <p:set>
                                      <p:cBhvr>
                                        <p:cTn id="42" dur="1" fill="hold">
                                          <p:stCondLst>
                                            <p:cond delay="0"/>
                                          </p:stCondLst>
                                        </p:cTn>
                                        <p:tgtEl>
                                          <p:spTgt spid="641"/>
                                        </p:tgtEl>
                                        <p:attrNameLst>
                                          <p:attrName>style.visibility</p:attrName>
                                        </p:attrNameLst>
                                      </p:cBhvr>
                                      <p:to>
                                        <p:strVal val="hidden"/>
                                      </p:to>
                                    </p:set>
                                  </p:childTnLst>
                                </p:cTn>
                              </p:par>
                              <p:par>
                                <p:cTn id="43" presetID="1" presetClass="entr" presetSubtype="0" fill="hold" grpId="0" nodeType="withEffect">
                                  <p:stCondLst>
                                    <p:cond delay="2950"/>
                                  </p:stCondLst>
                                  <p:childTnLst>
                                    <p:set>
                                      <p:cBhvr>
                                        <p:cTn id="44" dur="1" fill="hold">
                                          <p:stCondLst>
                                            <p:cond delay="0"/>
                                          </p:stCondLst>
                                        </p:cTn>
                                        <p:tgtEl>
                                          <p:spTgt spid="662"/>
                                        </p:tgtEl>
                                        <p:attrNameLst>
                                          <p:attrName>style.visibility</p:attrName>
                                        </p:attrNameLst>
                                      </p:cBhvr>
                                      <p:to>
                                        <p:strVal val="visible"/>
                                      </p:to>
                                    </p:set>
                                  </p:childTnLst>
                                </p:cTn>
                              </p:par>
                              <p:par>
                                <p:cTn id="45" presetID="50" presetClass="path" presetSubtype="0" fill="hold" grpId="1" nodeType="withEffect">
                                  <p:stCondLst>
                                    <p:cond delay="2950"/>
                                  </p:stCondLst>
                                  <p:childTnLst>
                                    <p:animMotion origin="layout" path="M -0.00025 1.45256E-7 C -0.00025 1.45256E-7 -0.00025 -0.02111 0.00026 -0.02111 C 0.00026 -0.02156 -0.02489 -0.0227 -0.02489 -0.02202 C -0.02489 -0.04199 -0.02502 -0.0724 -0.02502 -0.09079 " pathEditMode="relative" rAng="0" ptsTypes="AAAA">
                                      <p:cBhvr>
                                        <p:cTn id="46" dur="1000" fill="hold"/>
                                        <p:tgtEl>
                                          <p:spTgt spid="662"/>
                                        </p:tgtEl>
                                        <p:attrNameLst>
                                          <p:attrName>ppt_x</p:attrName>
                                          <p:attrName>ppt_y</p:attrName>
                                        </p:attrNameLst>
                                      </p:cBhvr>
                                      <p:rCtr x="-1213" y="-4539"/>
                                    </p:animMotion>
                                  </p:childTnLst>
                                </p:cTn>
                              </p:par>
                              <p:par>
                                <p:cTn id="47" presetID="1" presetClass="exit" presetSubtype="0" fill="hold" grpId="2" nodeType="withEffect">
                                  <p:stCondLst>
                                    <p:cond delay="3950"/>
                                  </p:stCondLst>
                                  <p:childTnLst>
                                    <p:set>
                                      <p:cBhvr>
                                        <p:cTn id="48" dur="1" fill="hold">
                                          <p:stCondLst>
                                            <p:cond delay="0"/>
                                          </p:stCondLst>
                                        </p:cTn>
                                        <p:tgtEl>
                                          <p:spTgt spid="662"/>
                                        </p:tgtEl>
                                        <p:attrNameLst>
                                          <p:attrName>style.visibility</p:attrName>
                                        </p:attrNameLst>
                                      </p:cBhvr>
                                      <p:to>
                                        <p:strVal val="hidden"/>
                                      </p:to>
                                    </p:set>
                                  </p:childTnLst>
                                </p:cTn>
                              </p:par>
                              <p:par>
                                <p:cTn id="49" presetID="1" presetClass="entr" presetSubtype="0" fill="hold" grpId="0" nodeType="withEffect">
                                  <p:stCondLst>
                                    <p:cond delay="3150"/>
                                  </p:stCondLst>
                                  <p:childTnLst>
                                    <p:set>
                                      <p:cBhvr>
                                        <p:cTn id="50" dur="1" fill="hold">
                                          <p:stCondLst>
                                            <p:cond delay="0"/>
                                          </p:stCondLst>
                                        </p:cTn>
                                        <p:tgtEl>
                                          <p:spTgt spid="663"/>
                                        </p:tgtEl>
                                        <p:attrNameLst>
                                          <p:attrName>style.visibility</p:attrName>
                                        </p:attrNameLst>
                                      </p:cBhvr>
                                      <p:to>
                                        <p:strVal val="visible"/>
                                      </p:to>
                                    </p:set>
                                  </p:childTnLst>
                                </p:cTn>
                              </p:par>
                              <p:par>
                                <p:cTn id="51" presetID="50" presetClass="path" presetSubtype="0" fill="hold" grpId="1" nodeType="withEffect">
                                  <p:stCondLst>
                                    <p:cond delay="3150"/>
                                  </p:stCondLst>
                                  <p:childTnLst>
                                    <p:animMotion origin="layout" path="M -0.00038 1.45256E-7 C -0.00038 1.45256E-7 0.00064 -0.02179 0.00013 -0.02179 C -0.00013 -0.02179 0.01685 -0.02156 0.0254 -0.02065 C 0.0254 -0.04085 0.02502 -0.07127 0.02502 -0.0901 " pathEditMode="relative" rAng="0" ptsTypes="AAAA">
                                      <p:cBhvr>
                                        <p:cTn id="52" dur="1000" fill="hold"/>
                                        <p:tgtEl>
                                          <p:spTgt spid="663"/>
                                        </p:tgtEl>
                                        <p:attrNameLst>
                                          <p:attrName>ppt_x</p:attrName>
                                          <p:attrName>ppt_y</p:attrName>
                                        </p:attrNameLst>
                                      </p:cBhvr>
                                      <p:rCtr x="1289" y="-4517"/>
                                    </p:animMotion>
                                  </p:childTnLst>
                                </p:cTn>
                              </p:par>
                              <p:par>
                                <p:cTn id="53" presetID="1" presetClass="exit" presetSubtype="0" fill="hold" grpId="2" nodeType="withEffect">
                                  <p:stCondLst>
                                    <p:cond delay="4150"/>
                                  </p:stCondLst>
                                  <p:childTnLst>
                                    <p:set>
                                      <p:cBhvr>
                                        <p:cTn id="54" dur="1" fill="hold">
                                          <p:stCondLst>
                                            <p:cond delay="0"/>
                                          </p:stCondLst>
                                        </p:cTn>
                                        <p:tgtEl>
                                          <p:spTgt spid="663"/>
                                        </p:tgtEl>
                                        <p:attrNameLst>
                                          <p:attrName>style.visibility</p:attrName>
                                        </p:attrNameLst>
                                      </p:cBhvr>
                                      <p:to>
                                        <p:strVal val="hidden"/>
                                      </p:to>
                                    </p:set>
                                  </p:childTnLst>
                                </p:cTn>
                              </p:par>
                              <p:par>
                                <p:cTn id="55" presetID="1" presetClass="entr" presetSubtype="0" fill="hold" grpId="0" nodeType="withEffect">
                                  <p:stCondLst>
                                    <p:cond delay="3350"/>
                                  </p:stCondLst>
                                  <p:childTnLst>
                                    <p:set>
                                      <p:cBhvr>
                                        <p:cTn id="56" dur="1" fill="hold">
                                          <p:stCondLst>
                                            <p:cond delay="0"/>
                                          </p:stCondLst>
                                        </p:cTn>
                                        <p:tgtEl>
                                          <p:spTgt spid="664"/>
                                        </p:tgtEl>
                                        <p:attrNameLst>
                                          <p:attrName>style.visibility</p:attrName>
                                        </p:attrNameLst>
                                      </p:cBhvr>
                                      <p:to>
                                        <p:strVal val="visible"/>
                                      </p:to>
                                    </p:set>
                                  </p:childTnLst>
                                </p:cTn>
                              </p:par>
                              <p:par>
                                <p:cTn id="57" presetID="50" presetClass="path" presetSubtype="0" fill="hold" grpId="1" nodeType="withEffect">
                                  <p:stCondLst>
                                    <p:cond delay="3350"/>
                                  </p:stCondLst>
                                  <p:childTnLst>
                                    <p:animMotion origin="layout" path="M -0.00025 1.45256E-7 C -0.00025 1.45256E-7 -0.00025 -0.0202 -0.00025 -0.02088 C -0.00025 -0.02156 0.07544 -0.02156 0.07544 -0.02088 C 0.07544 -0.04108 0.0757 -0.07104 0.0757 -0.08965 " pathEditMode="relative" rAng="0" ptsTypes="AAAA">
                                      <p:cBhvr>
                                        <p:cTn id="58" dur="1000" fill="hold"/>
                                        <p:tgtEl>
                                          <p:spTgt spid="664"/>
                                        </p:tgtEl>
                                        <p:attrNameLst>
                                          <p:attrName>ppt_x</p:attrName>
                                          <p:attrName>ppt_y</p:attrName>
                                        </p:attrNameLst>
                                      </p:cBhvr>
                                      <p:rCtr x="3791" y="-4494"/>
                                    </p:animMotion>
                                  </p:childTnLst>
                                </p:cTn>
                              </p:par>
                              <p:par>
                                <p:cTn id="59" presetID="1" presetClass="exit" presetSubtype="0" fill="hold" grpId="2" nodeType="withEffect">
                                  <p:stCondLst>
                                    <p:cond delay="4350"/>
                                  </p:stCondLst>
                                  <p:childTnLst>
                                    <p:set>
                                      <p:cBhvr>
                                        <p:cTn id="60" dur="1" fill="hold">
                                          <p:stCondLst>
                                            <p:cond delay="0"/>
                                          </p:stCondLst>
                                        </p:cTn>
                                        <p:tgtEl>
                                          <p:spTgt spid="664"/>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2" presetClass="entr" presetSubtype="2" decel="100000" fill="hold" nodeType="clickEffect">
                                  <p:stCondLst>
                                    <p:cond delay="0"/>
                                  </p:stCondLst>
                                  <p:childTnLst>
                                    <p:set>
                                      <p:cBhvr>
                                        <p:cTn id="64" dur="1" fill="hold">
                                          <p:stCondLst>
                                            <p:cond delay="0"/>
                                          </p:stCondLst>
                                        </p:cTn>
                                        <p:tgtEl>
                                          <p:spTgt spid="682"/>
                                        </p:tgtEl>
                                        <p:attrNameLst>
                                          <p:attrName>style.visibility</p:attrName>
                                        </p:attrNameLst>
                                      </p:cBhvr>
                                      <p:to>
                                        <p:strVal val="visible"/>
                                      </p:to>
                                    </p:set>
                                    <p:anim calcmode="lin" valueType="num">
                                      <p:cBhvr additive="base">
                                        <p:cTn id="65" dur="1000" fill="hold"/>
                                        <p:tgtEl>
                                          <p:spTgt spid="682"/>
                                        </p:tgtEl>
                                        <p:attrNameLst>
                                          <p:attrName>ppt_x</p:attrName>
                                        </p:attrNameLst>
                                      </p:cBhvr>
                                      <p:tavLst>
                                        <p:tav tm="0">
                                          <p:val>
                                            <p:strVal val="1+#ppt_w/2"/>
                                          </p:val>
                                        </p:tav>
                                        <p:tav tm="100000">
                                          <p:val>
                                            <p:strVal val="#ppt_x"/>
                                          </p:val>
                                        </p:tav>
                                      </p:tavLst>
                                    </p:anim>
                                    <p:anim calcmode="lin" valueType="num">
                                      <p:cBhvr additive="base">
                                        <p:cTn id="66" dur="1000" fill="hold"/>
                                        <p:tgtEl>
                                          <p:spTgt spid="682"/>
                                        </p:tgtEl>
                                        <p:attrNameLst>
                                          <p:attrName>ppt_y</p:attrName>
                                        </p:attrNameLst>
                                      </p:cBhvr>
                                      <p:tavLst>
                                        <p:tav tm="0">
                                          <p:val>
                                            <p:strVal val="#ppt_y"/>
                                          </p:val>
                                        </p:tav>
                                        <p:tav tm="100000">
                                          <p:val>
                                            <p:strVal val="#ppt_y"/>
                                          </p:val>
                                        </p:tav>
                                      </p:tavLst>
                                    </p:anim>
                                  </p:childTnLst>
                                </p:cTn>
                              </p:par>
                              <p:par>
                                <p:cTn id="67" presetID="10" presetClass="entr" presetSubtype="0" fill="hold" nodeType="withEffect">
                                  <p:stCondLst>
                                    <p:cond delay="1000"/>
                                  </p:stCondLst>
                                  <p:childTnLst>
                                    <p:set>
                                      <p:cBhvr>
                                        <p:cTn id="68" dur="1" fill="hold">
                                          <p:stCondLst>
                                            <p:cond delay="0"/>
                                          </p:stCondLst>
                                        </p:cTn>
                                        <p:tgtEl>
                                          <p:spTgt spid="778"/>
                                        </p:tgtEl>
                                        <p:attrNameLst>
                                          <p:attrName>style.visibility</p:attrName>
                                        </p:attrNameLst>
                                      </p:cBhvr>
                                      <p:to>
                                        <p:strVal val="visible"/>
                                      </p:to>
                                    </p:set>
                                    <p:animEffect transition="in" filter="fade">
                                      <p:cBhvr>
                                        <p:cTn id="69" dur="500"/>
                                        <p:tgtEl>
                                          <p:spTgt spid="778"/>
                                        </p:tgtEl>
                                      </p:cBhvr>
                                    </p:animEffect>
                                  </p:childTnLst>
                                </p:cTn>
                              </p:par>
                              <p:par>
                                <p:cTn id="70" presetID="10" presetClass="entr" presetSubtype="0" fill="hold" nodeType="withEffect">
                                  <p:stCondLst>
                                    <p:cond delay="1100"/>
                                  </p:stCondLst>
                                  <p:childTnLst>
                                    <p:set>
                                      <p:cBhvr>
                                        <p:cTn id="71" dur="1" fill="hold">
                                          <p:stCondLst>
                                            <p:cond delay="0"/>
                                          </p:stCondLst>
                                        </p:cTn>
                                        <p:tgtEl>
                                          <p:spTgt spid="642"/>
                                        </p:tgtEl>
                                        <p:attrNameLst>
                                          <p:attrName>style.visibility</p:attrName>
                                        </p:attrNameLst>
                                      </p:cBhvr>
                                      <p:to>
                                        <p:strVal val="visible"/>
                                      </p:to>
                                    </p:set>
                                    <p:animEffect transition="in" filter="fade">
                                      <p:cBhvr>
                                        <p:cTn id="72" dur="500"/>
                                        <p:tgtEl>
                                          <p:spTgt spid="642"/>
                                        </p:tgtEl>
                                      </p:cBhvr>
                                    </p:animEffect>
                                  </p:childTnLst>
                                </p:cTn>
                              </p:par>
                              <p:par>
                                <p:cTn id="73" presetID="10" presetClass="entr" presetSubtype="0" fill="hold" grpId="0" nodeType="withEffect">
                                  <p:stCondLst>
                                    <p:cond delay="1400"/>
                                  </p:stCondLst>
                                  <p:childTnLst>
                                    <p:set>
                                      <p:cBhvr>
                                        <p:cTn id="74" dur="1" fill="hold">
                                          <p:stCondLst>
                                            <p:cond delay="0"/>
                                          </p:stCondLst>
                                        </p:cTn>
                                        <p:tgtEl>
                                          <p:spTgt spid="777"/>
                                        </p:tgtEl>
                                        <p:attrNameLst>
                                          <p:attrName>style.visibility</p:attrName>
                                        </p:attrNameLst>
                                      </p:cBhvr>
                                      <p:to>
                                        <p:strVal val="visible"/>
                                      </p:to>
                                    </p:set>
                                    <p:animEffect transition="in" filter="fade">
                                      <p:cBhvr>
                                        <p:cTn id="75" dur="300"/>
                                        <p:tgtEl>
                                          <p:spTgt spid="777"/>
                                        </p:tgtEl>
                                      </p:cBhvr>
                                    </p:animEffect>
                                  </p:childTnLst>
                                </p:cTn>
                              </p:par>
                              <p:par>
                                <p:cTn id="76" presetID="10" presetClass="entr" presetSubtype="0" fill="hold" nodeType="withEffect">
                                  <p:stCondLst>
                                    <p:cond delay="1500"/>
                                  </p:stCondLst>
                                  <p:childTnLst>
                                    <p:set>
                                      <p:cBhvr>
                                        <p:cTn id="77" dur="1" fill="hold">
                                          <p:stCondLst>
                                            <p:cond delay="0"/>
                                          </p:stCondLst>
                                        </p:cTn>
                                        <p:tgtEl>
                                          <p:spTgt spid="737"/>
                                        </p:tgtEl>
                                        <p:attrNameLst>
                                          <p:attrName>style.visibility</p:attrName>
                                        </p:attrNameLst>
                                      </p:cBhvr>
                                      <p:to>
                                        <p:strVal val="visible"/>
                                      </p:to>
                                    </p:set>
                                    <p:animEffect transition="in" filter="fade">
                                      <p:cBhvr>
                                        <p:cTn id="78" dur="300"/>
                                        <p:tgtEl>
                                          <p:spTgt spid="737"/>
                                        </p:tgtEl>
                                      </p:cBhvr>
                                    </p:animEffect>
                                  </p:childTnLst>
                                </p:cTn>
                              </p:par>
                              <p:par>
                                <p:cTn id="79" presetID="10" presetClass="entr" presetSubtype="0" fill="hold" nodeType="withEffect">
                                  <p:stCondLst>
                                    <p:cond delay="1500"/>
                                  </p:stCondLst>
                                  <p:childTnLst>
                                    <p:set>
                                      <p:cBhvr>
                                        <p:cTn id="80" dur="1" fill="hold">
                                          <p:stCondLst>
                                            <p:cond delay="0"/>
                                          </p:stCondLst>
                                        </p:cTn>
                                        <p:tgtEl>
                                          <p:spTgt spid="733"/>
                                        </p:tgtEl>
                                        <p:attrNameLst>
                                          <p:attrName>style.visibility</p:attrName>
                                        </p:attrNameLst>
                                      </p:cBhvr>
                                      <p:to>
                                        <p:strVal val="visible"/>
                                      </p:to>
                                    </p:set>
                                    <p:animEffect transition="in" filter="fade">
                                      <p:cBhvr>
                                        <p:cTn id="81" dur="300"/>
                                        <p:tgtEl>
                                          <p:spTgt spid="733"/>
                                        </p:tgtEl>
                                      </p:cBhvr>
                                    </p:animEffect>
                                  </p:childTnLst>
                                </p:cTn>
                              </p:par>
                              <p:par>
                                <p:cTn id="82" presetID="1" presetClass="entr" presetSubtype="0" fill="hold" grpId="0" nodeType="withEffect">
                                  <p:stCondLst>
                                    <p:cond delay="1750"/>
                                  </p:stCondLst>
                                  <p:childTnLst>
                                    <p:set>
                                      <p:cBhvr>
                                        <p:cTn id="83" dur="1" fill="hold">
                                          <p:stCondLst>
                                            <p:cond delay="0"/>
                                          </p:stCondLst>
                                        </p:cTn>
                                        <p:tgtEl>
                                          <p:spTgt spid="665"/>
                                        </p:tgtEl>
                                        <p:attrNameLst>
                                          <p:attrName>style.visibility</p:attrName>
                                        </p:attrNameLst>
                                      </p:cBhvr>
                                      <p:to>
                                        <p:strVal val="visible"/>
                                      </p:to>
                                    </p:set>
                                  </p:childTnLst>
                                </p:cTn>
                              </p:par>
                              <p:par>
                                <p:cTn id="84" presetID="50" presetClass="path" presetSubtype="0" fill="hold" grpId="1" nodeType="withEffect">
                                  <p:stCondLst>
                                    <p:cond delay="1750"/>
                                  </p:stCondLst>
                                  <p:childTnLst>
                                    <p:animMotion origin="layout" path="M -0.00038 1.45256E-7 L -0.00038 -0.02111 C -0.00038 -0.02156 -0.02515 -0.02224 -0.02515 -0.02156 C -0.02515 -0.04199 -0.02527 -0.07104 -0.02527 -0.0892 " pathEditMode="relative" rAng="0" ptsTypes="AAAA">
                                      <p:cBhvr>
                                        <p:cTn id="85" dur="1000" fill="hold"/>
                                        <p:tgtEl>
                                          <p:spTgt spid="665"/>
                                        </p:tgtEl>
                                        <p:attrNameLst>
                                          <p:attrName>ppt_x</p:attrName>
                                          <p:attrName>ppt_y</p:attrName>
                                        </p:attrNameLst>
                                      </p:cBhvr>
                                      <p:rCtr x="-1251" y="-4471"/>
                                    </p:animMotion>
                                  </p:childTnLst>
                                </p:cTn>
                              </p:par>
                              <p:par>
                                <p:cTn id="86" presetID="1" presetClass="exit" presetSubtype="0" fill="hold" grpId="2" nodeType="withEffect">
                                  <p:stCondLst>
                                    <p:cond delay="2750"/>
                                  </p:stCondLst>
                                  <p:childTnLst>
                                    <p:set>
                                      <p:cBhvr>
                                        <p:cTn id="87" dur="1" fill="hold">
                                          <p:stCondLst>
                                            <p:cond delay="0"/>
                                          </p:stCondLst>
                                        </p:cTn>
                                        <p:tgtEl>
                                          <p:spTgt spid="665"/>
                                        </p:tgtEl>
                                        <p:attrNameLst>
                                          <p:attrName>style.visibility</p:attrName>
                                        </p:attrNameLst>
                                      </p:cBhvr>
                                      <p:to>
                                        <p:strVal val="hidden"/>
                                      </p:to>
                                    </p:set>
                                  </p:childTnLst>
                                </p:cTn>
                              </p:par>
                              <p:par>
                                <p:cTn id="88" presetID="1" presetClass="entr" presetSubtype="0" fill="hold" grpId="0" nodeType="withEffect">
                                  <p:stCondLst>
                                    <p:cond delay="1950"/>
                                  </p:stCondLst>
                                  <p:childTnLst>
                                    <p:set>
                                      <p:cBhvr>
                                        <p:cTn id="89" dur="1" fill="hold">
                                          <p:stCondLst>
                                            <p:cond delay="0"/>
                                          </p:stCondLst>
                                        </p:cTn>
                                        <p:tgtEl>
                                          <p:spTgt spid="666"/>
                                        </p:tgtEl>
                                        <p:attrNameLst>
                                          <p:attrName>style.visibility</p:attrName>
                                        </p:attrNameLst>
                                      </p:cBhvr>
                                      <p:to>
                                        <p:strVal val="visible"/>
                                      </p:to>
                                    </p:set>
                                  </p:childTnLst>
                                </p:cTn>
                              </p:par>
                              <p:par>
                                <p:cTn id="90" presetID="50" presetClass="path" presetSubtype="0" fill="hold" grpId="1" nodeType="withEffect">
                                  <p:stCondLst>
                                    <p:cond delay="1950"/>
                                  </p:stCondLst>
                                  <p:childTnLst>
                                    <p:animMotion origin="layout" path="M -0.00026 1.45256E-7 C -0.00026 0.00023 -0.00026 -0.0202 -0.00026 -0.02088 C -0.00026 -0.02156 0.02515 -0.02156 0.02515 -0.02088 C 0.02515 -0.04108 0.02527 -0.07104 0.02527 -0.08965 " pathEditMode="relative" rAng="0" ptsTypes="AAAA">
                                      <p:cBhvr>
                                        <p:cTn id="91" dur="1000" fill="hold"/>
                                        <p:tgtEl>
                                          <p:spTgt spid="666"/>
                                        </p:tgtEl>
                                        <p:attrNameLst>
                                          <p:attrName>ppt_x</p:attrName>
                                          <p:attrName>ppt_y</p:attrName>
                                        </p:attrNameLst>
                                      </p:cBhvr>
                                      <p:rCtr x="1276" y="-4494"/>
                                    </p:animMotion>
                                  </p:childTnLst>
                                </p:cTn>
                              </p:par>
                              <p:par>
                                <p:cTn id="92" presetID="1" presetClass="exit" presetSubtype="0" fill="hold" grpId="2" nodeType="withEffect">
                                  <p:stCondLst>
                                    <p:cond delay="2950"/>
                                  </p:stCondLst>
                                  <p:childTnLst>
                                    <p:set>
                                      <p:cBhvr>
                                        <p:cTn id="93" dur="1" fill="hold">
                                          <p:stCondLst>
                                            <p:cond delay="0"/>
                                          </p:stCondLst>
                                        </p:cTn>
                                        <p:tgtEl>
                                          <p:spTgt spid="666"/>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2" presetClass="entr" presetSubtype="2" decel="100000" fill="hold" nodeType="clickEffect">
                                  <p:stCondLst>
                                    <p:cond delay="0"/>
                                  </p:stCondLst>
                                  <p:childTnLst>
                                    <p:set>
                                      <p:cBhvr>
                                        <p:cTn id="97" dur="1" fill="hold">
                                          <p:stCondLst>
                                            <p:cond delay="0"/>
                                          </p:stCondLst>
                                        </p:cTn>
                                        <p:tgtEl>
                                          <p:spTgt spid="685"/>
                                        </p:tgtEl>
                                        <p:attrNameLst>
                                          <p:attrName>style.visibility</p:attrName>
                                        </p:attrNameLst>
                                      </p:cBhvr>
                                      <p:to>
                                        <p:strVal val="visible"/>
                                      </p:to>
                                    </p:set>
                                    <p:anim calcmode="lin" valueType="num">
                                      <p:cBhvr additive="base">
                                        <p:cTn id="98" dur="1000" fill="hold"/>
                                        <p:tgtEl>
                                          <p:spTgt spid="685"/>
                                        </p:tgtEl>
                                        <p:attrNameLst>
                                          <p:attrName>ppt_x</p:attrName>
                                        </p:attrNameLst>
                                      </p:cBhvr>
                                      <p:tavLst>
                                        <p:tav tm="0">
                                          <p:val>
                                            <p:strVal val="1+#ppt_w/2"/>
                                          </p:val>
                                        </p:tav>
                                        <p:tav tm="100000">
                                          <p:val>
                                            <p:strVal val="#ppt_x"/>
                                          </p:val>
                                        </p:tav>
                                      </p:tavLst>
                                    </p:anim>
                                    <p:anim calcmode="lin" valueType="num">
                                      <p:cBhvr additive="base">
                                        <p:cTn id="99" dur="1000" fill="hold"/>
                                        <p:tgtEl>
                                          <p:spTgt spid="685"/>
                                        </p:tgtEl>
                                        <p:attrNameLst>
                                          <p:attrName>ppt_y</p:attrName>
                                        </p:attrNameLst>
                                      </p:cBhvr>
                                      <p:tavLst>
                                        <p:tav tm="0">
                                          <p:val>
                                            <p:strVal val="#ppt_y"/>
                                          </p:val>
                                        </p:tav>
                                        <p:tav tm="100000">
                                          <p:val>
                                            <p:strVal val="#ppt_y"/>
                                          </p:val>
                                        </p:tav>
                                      </p:tavLst>
                                    </p:anim>
                                  </p:childTnLst>
                                </p:cTn>
                              </p:par>
                              <p:par>
                                <p:cTn id="100" presetID="10" presetClass="entr" presetSubtype="0" fill="hold" nodeType="withEffect">
                                  <p:stCondLst>
                                    <p:cond delay="1000"/>
                                  </p:stCondLst>
                                  <p:childTnLst>
                                    <p:set>
                                      <p:cBhvr>
                                        <p:cTn id="101" dur="1" fill="hold">
                                          <p:stCondLst>
                                            <p:cond delay="0"/>
                                          </p:stCondLst>
                                        </p:cTn>
                                        <p:tgtEl>
                                          <p:spTgt spid="784"/>
                                        </p:tgtEl>
                                        <p:attrNameLst>
                                          <p:attrName>style.visibility</p:attrName>
                                        </p:attrNameLst>
                                      </p:cBhvr>
                                      <p:to>
                                        <p:strVal val="visible"/>
                                      </p:to>
                                    </p:set>
                                    <p:animEffect transition="in" filter="fade">
                                      <p:cBhvr>
                                        <p:cTn id="102" dur="500"/>
                                        <p:tgtEl>
                                          <p:spTgt spid="784"/>
                                        </p:tgtEl>
                                      </p:cBhvr>
                                    </p:animEffect>
                                  </p:childTnLst>
                                </p:cTn>
                              </p:par>
                              <p:par>
                                <p:cTn id="103" presetID="22" presetClass="entr" presetSubtype="4" fill="hold" grpId="0" nodeType="withEffect">
                                  <p:stCondLst>
                                    <p:cond delay="1100"/>
                                  </p:stCondLst>
                                  <p:childTnLst>
                                    <p:set>
                                      <p:cBhvr>
                                        <p:cTn id="104" dur="1" fill="hold">
                                          <p:stCondLst>
                                            <p:cond delay="0"/>
                                          </p:stCondLst>
                                        </p:cTn>
                                        <p:tgtEl>
                                          <p:spTgt spid="587"/>
                                        </p:tgtEl>
                                        <p:attrNameLst>
                                          <p:attrName>style.visibility</p:attrName>
                                        </p:attrNameLst>
                                      </p:cBhvr>
                                      <p:to>
                                        <p:strVal val="visible"/>
                                      </p:to>
                                    </p:set>
                                    <p:animEffect transition="in" filter="wipe(down)">
                                      <p:cBhvr>
                                        <p:cTn id="105" dur="500"/>
                                        <p:tgtEl>
                                          <p:spTgt spid="587"/>
                                        </p:tgtEl>
                                      </p:cBhvr>
                                    </p:animEffect>
                                  </p:childTnLst>
                                </p:cTn>
                              </p:par>
                              <p:par>
                                <p:cTn id="106" presetID="10" presetClass="entr" presetSubtype="0" fill="hold" nodeType="withEffect">
                                  <p:stCondLst>
                                    <p:cond delay="1250"/>
                                  </p:stCondLst>
                                  <p:childTnLst>
                                    <p:set>
                                      <p:cBhvr>
                                        <p:cTn id="107" dur="1" fill="hold">
                                          <p:stCondLst>
                                            <p:cond delay="0"/>
                                          </p:stCondLst>
                                        </p:cTn>
                                        <p:tgtEl>
                                          <p:spTgt spid="826"/>
                                        </p:tgtEl>
                                        <p:attrNameLst>
                                          <p:attrName>style.visibility</p:attrName>
                                        </p:attrNameLst>
                                      </p:cBhvr>
                                      <p:to>
                                        <p:strVal val="visible"/>
                                      </p:to>
                                    </p:set>
                                    <p:animEffect transition="in" filter="fade">
                                      <p:cBhvr>
                                        <p:cTn id="108" dur="250"/>
                                        <p:tgtEl>
                                          <p:spTgt spid="826"/>
                                        </p:tgtEl>
                                      </p:cBhvr>
                                    </p:animEffect>
                                  </p:childTnLst>
                                </p:cTn>
                              </p:par>
                              <p:par>
                                <p:cTn id="109" presetID="10" presetClass="entr" presetSubtype="0" fill="hold" nodeType="withEffect">
                                  <p:stCondLst>
                                    <p:cond delay="1500"/>
                                  </p:stCondLst>
                                  <p:childTnLst>
                                    <p:set>
                                      <p:cBhvr>
                                        <p:cTn id="110" dur="1" fill="hold">
                                          <p:stCondLst>
                                            <p:cond delay="0"/>
                                          </p:stCondLst>
                                        </p:cTn>
                                        <p:tgtEl>
                                          <p:spTgt spid="729"/>
                                        </p:tgtEl>
                                        <p:attrNameLst>
                                          <p:attrName>style.visibility</p:attrName>
                                        </p:attrNameLst>
                                      </p:cBhvr>
                                      <p:to>
                                        <p:strVal val="visible"/>
                                      </p:to>
                                    </p:set>
                                    <p:animEffect transition="in" filter="fade">
                                      <p:cBhvr>
                                        <p:cTn id="111" dur="300"/>
                                        <p:tgtEl>
                                          <p:spTgt spid="729"/>
                                        </p:tgtEl>
                                      </p:cBhvr>
                                    </p:animEffect>
                                  </p:childTnLst>
                                </p:cTn>
                              </p:par>
                              <p:par>
                                <p:cTn id="112" presetID="2" presetClass="entr" presetSubtype="8" decel="100000" fill="hold" grpId="0" nodeType="withEffect">
                                  <p:stCondLst>
                                    <p:cond delay="0"/>
                                  </p:stCondLst>
                                  <p:childTnLst>
                                    <p:set>
                                      <p:cBhvr>
                                        <p:cTn id="113" dur="1" fill="hold">
                                          <p:stCondLst>
                                            <p:cond delay="0"/>
                                          </p:stCondLst>
                                        </p:cTn>
                                        <p:tgtEl>
                                          <p:spTgt spid="568"/>
                                        </p:tgtEl>
                                        <p:attrNameLst>
                                          <p:attrName>style.visibility</p:attrName>
                                        </p:attrNameLst>
                                      </p:cBhvr>
                                      <p:to>
                                        <p:strVal val="visible"/>
                                      </p:to>
                                    </p:set>
                                    <p:anim calcmode="lin" valueType="num">
                                      <p:cBhvr additive="base">
                                        <p:cTn id="114" dur="1250" fill="hold"/>
                                        <p:tgtEl>
                                          <p:spTgt spid="568"/>
                                        </p:tgtEl>
                                        <p:attrNameLst>
                                          <p:attrName>ppt_x</p:attrName>
                                        </p:attrNameLst>
                                      </p:cBhvr>
                                      <p:tavLst>
                                        <p:tav tm="0">
                                          <p:val>
                                            <p:strVal val="0-#ppt_w/2"/>
                                          </p:val>
                                        </p:tav>
                                        <p:tav tm="100000">
                                          <p:val>
                                            <p:strVal val="#ppt_x"/>
                                          </p:val>
                                        </p:tav>
                                      </p:tavLst>
                                    </p:anim>
                                    <p:anim calcmode="lin" valueType="num">
                                      <p:cBhvr additive="base">
                                        <p:cTn id="115" dur="1250" fill="hold"/>
                                        <p:tgtEl>
                                          <p:spTgt spid="568"/>
                                        </p:tgtEl>
                                        <p:attrNameLst>
                                          <p:attrName>ppt_y</p:attrName>
                                        </p:attrNameLst>
                                      </p:cBhvr>
                                      <p:tavLst>
                                        <p:tav tm="0">
                                          <p:val>
                                            <p:strVal val="#ppt_y"/>
                                          </p:val>
                                        </p:tav>
                                        <p:tav tm="100000">
                                          <p:val>
                                            <p:strVal val="#ppt_y"/>
                                          </p:val>
                                        </p:tav>
                                      </p:tavLst>
                                    </p:anim>
                                  </p:childTnLst>
                                </p:cTn>
                              </p:par>
                              <p:par>
                                <p:cTn id="116" presetID="10" presetClass="entr" presetSubtype="0" fill="hold" grpId="0" nodeType="withEffect">
                                  <p:stCondLst>
                                    <p:cond delay="750"/>
                                  </p:stCondLst>
                                  <p:childTnLst>
                                    <p:set>
                                      <p:cBhvr>
                                        <p:cTn id="117" dur="1" fill="hold">
                                          <p:stCondLst>
                                            <p:cond delay="0"/>
                                          </p:stCondLst>
                                        </p:cTn>
                                        <p:tgtEl>
                                          <p:spTgt spid="571"/>
                                        </p:tgtEl>
                                        <p:attrNameLst>
                                          <p:attrName>style.visibility</p:attrName>
                                        </p:attrNameLst>
                                      </p:cBhvr>
                                      <p:to>
                                        <p:strVal val="visible"/>
                                      </p:to>
                                    </p:set>
                                    <p:animEffect transition="in" filter="fade">
                                      <p:cBhvr>
                                        <p:cTn id="118" dur="500"/>
                                        <p:tgtEl>
                                          <p:spTgt spid="571"/>
                                        </p:tgtEl>
                                      </p:cBhvr>
                                    </p:animEffect>
                                  </p:childTnLst>
                                </p:cTn>
                              </p:par>
                            </p:childTnLst>
                          </p:cTn>
                        </p:par>
                        <p:par>
                          <p:cTn id="119" fill="hold">
                            <p:stCondLst>
                              <p:cond delay="1800"/>
                            </p:stCondLst>
                            <p:childTnLst>
                              <p:par>
                                <p:cTn id="120" presetID="2" presetClass="entr" presetSubtype="8" decel="100000" fill="hold" grpId="0" nodeType="afterEffect">
                                  <p:stCondLst>
                                    <p:cond delay="0"/>
                                  </p:stCondLst>
                                  <p:childTnLst>
                                    <p:set>
                                      <p:cBhvr>
                                        <p:cTn id="121" dur="1" fill="hold">
                                          <p:stCondLst>
                                            <p:cond delay="0"/>
                                          </p:stCondLst>
                                        </p:cTn>
                                        <p:tgtEl>
                                          <p:spTgt spid="578"/>
                                        </p:tgtEl>
                                        <p:attrNameLst>
                                          <p:attrName>style.visibility</p:attrName>
                                        </p:attrNameLst>
                                      </p:cBhvr>
                                      <p:to>
                                        <p:strVal val="visible"/>
                                      </p:to>
                                    </p:set>
                                    <p:anim calcmode="lin" valueType="num">
                                      <p:cBhvr additive="base">
                                        <p:cTn id="122" dur="1250" fill="hold"/>
                                        <p:tgtEl>
                                          <p:spTgt spid="578"/>
                                        </p:tgtEl>
                                        <p:attrNameLst>
                                          <p:attrName>ppt_x</p:attrName>
                                        </p:attrNameLst>
                                      </p:cBhvr>
                                      <p:tavLst>
                                        <p:tav tm="0">
                                          <p:val>
                                            <p:strVal val="0-#ppt_w/2"/>
                                          </p:val>
                                        </p:tav>
                                        <p:tav tm="100000">
                                          <p:val>
                                            <p:strVal val="#ppt_x"/>
                                          </p:val>
                                        </p:tav>
                                      </p:tavLst>
                                    </p:anim>
                                    <p:anim calcmode="lin" valueType="num">
                                      <p:cBhvr additive="base">
                                        <p:cTn id="123" dur="1250" fill="hold"/>
                                        <p:tgtEl>
                                          <p:spTgt spid="578"/>
                                        </p:tgtEl>
                                        <p:attrNameLst>
                                          <p:attrName>ppt_y</p:attrName>
                                        </p:attrNameLst>
                                      </p:cBhvr>
                                      <p:tavLst>
                                        <p:tav tm="0">
                                          <p:val>
                                            <p:strVal val="#ppt_y"/>
                                          </p:val>
                                        </p:tav>
                                        <p:tav tm="100000">
                                          <p:val>
                                            <p:strVal val="#ppt_y"/>
                                          </p:val>
                                        </p:tav>
                                      </p:tavLst>
                                    </p:anim>
                                  </p:childTnLst>
                                </p:cTn>
                              </p:par>
                              <p:par>
                                <p:cTn id="124" presetID="2" presetClass="entr" presetSubtype="2" decel="100000" fill="hold" grpId="0" nodeType="withEffect">
                                  <p:stCondLst>
                                    <p:cond delay="1000"/>
                                  </p:stCondLst>
                                  <p:childTnLst>
                                    <p:set>
                                      <p:cBhvr>
                                        <p:cTn id="125" dur="1" fill="hold">
                                          <p:stCondLst>
                                            <p:cond delay="0"/>
                                          </p:stCondLst>
                                        </p:cTn>
                                        <p:tgtEl>
                                          <p:spTgt spid="757"/>
                                        </p:tgtEl>
                                        <p:attrNameLst>
                                          <p:attrName>style.visibility</p:attrName>
                                        </p:attrNameLst>
                                      </p:cBhvr>
                                      <p:to>
                                        <p:strVal val="visible"/>
                                      </p:to>
                                    </p:set>
                                    <p:anim calcmode="lin" valueType="num">
                                      <p:cBhvr additive="base">
                                        <p:cTn id="126" dur="1000" fill="hold"/>
                                        <p:tgtEl>
                                          <p:spTgt spid="757"/>
                                        </p:tgtEl>
                                        <p:attrNameLst>
                                          <p:attrName>ppt_x</p:attrName>
                                        </p:attrNameLst>
                                      </p:cBhvr>
                                      <p:tavLst>
                                        <p:tav tm="0">
                                          <p:val>
                                            <p:strVal val="1+#ppt_w/2"/>
                                          </p:val>
                                        </p:tav>
                                        <p:tav tm="100000">
                                          <p:val>
                                            <p:strVal val="#ppt_x"/>
                                          </p:val>
                                        </p:tav>
                                      </p:tavLst>
                                    </p:anim>
                                    <p:anim calcmode="lin" valueType="num">
                                      <p:cBhvr additive="base">
                                        <p:cTn id="127" dur="1000" fill="hold"/>
                                        <p:tgtEl>
                                          <p:spTgt spid="757"/>
                                        </p:tgtEl>
                                        <p:attrNameLst>
                                          <p:attrName>ppt_y</p:attrName>
                                        </p:attrNameLst>
                                      </p:cBhvr>
                                      <p:tavLst>
                                        <p:tav tm="0">
                                          <p:val>
                                            <p:strVal val="#ppt_y"/>
                                          </p:val>
                                        </p:tav>
                                        <p:tav tm="100000">
                                          <p:val>
                                            <p:strVal val="#ppt_y"/>
                                          </p:val>
                                        </p:tav>
                                      </p:tavLst>
                                    </p:anim>
                                  </p:childTnLst>
                                </p:cTn>
                              </p:par>
                              <p:par>
                                <p:cTn id="128" presetID="2" presetClass="entr" presetSubtype="2" decel="100000" fill="hold" grpId="0" nodeType="withEffect">
                                  <p:stCondLst>
                                    <p:cond delay="1100"/>
                                  </p:stCondLst>
                                  <p:childTnLst>
                                    <p:set>
                                      <p:cBhvr>
                                        <p:cTn id="129" dur="1" fill="hold">
                                          <p:stCondLst>
                                            <p:cond delay="0"/>
                                          </p:stCondLst>
                                        </p:cTn>
                                        <p:tgtEl>
                                          <p:spTgt spid="758"/>
                                        </p:tgtEl>
                                        <p:attrNameLst>
                                          <p:attrName>style.visibility</p:attrName>
                                        </p:attrNameLst>
                                      </p:cBhvr>
                                      <p:to>
                                        <p:strVal val="visible"/>
                                      </p:to>
                                    </p:set>
                                    <p:anim calcmode="lin" valueType="num">
                                      <p:cBhvr additive="base">
                                        <p:cTn id="130" dur="1000" fill="hold"/>
                                        <p:tgtEl>
                                          <p:spTgt spid="758"/>
                                        </p:tgtEl>
                                        <p:attrNameLst>
                                          <p:attrName>ppt_x</p:attrName>
                                        </p:attrNameLst>
                                      </p:cBhvr>
                                      <p:tavLst>
                                        <p:tav tm="0">
                                          <p:val>
                                            <p:strVal val="1+#ppt_w/2"/>
                                          </p:val>
                                        </p:tav>
                                        <p:tav tm="100000">
                                          <p:val>
                                            <p:strVal val="#ppt_x"/>
                                          </p:val>
                                        </p:tav>
                                      </p:tavLst>
                                    </p:anim>
                                    <p:anim calcmode="lin" valueType="num">
                                      <p:cBhvr additive="base">
                                        <p:cTn id="131" dur="1000" fill="hold"/>
                                        <p:tgtEl>
                                          <p:spTgt spid="758"/>
                                        </p:tgtEl>
                                        <p:attrNameLst>
                                          <p:attrName>ppt_y</p:attrName>
                                        </p:attrNameLst>
                                      </p:cBhvr>
                                      <p:tavLst>
                                        <p:tav tm="0">
                                          <p:val>
                                            <p:strVal val="#ppt_y"/>
                                          </p:val>
                                        </p:tav>
                                        <p:tav tm="100000">
                                          <p:val>
                                            <p:strVal val="#ppt_y"/>
                                          </p:val>
                                        </p:tav>
                                      </p:tavLst>
                                    </p:anim>
                                  </p:childTnLst>
                                </p:cTn>
                              </p:par>
                              <p:par>
                                <p:cTn id="132" presetID="2" presetClass="entr" presetSubtype="2" decel="100000" fill="hold" grpId="0" nodeType="withEffect">
                                  <p:stCondLst>
                                    <p:cond delay="1200"/>
                                  </p:stCondLst>
                                  <p:childTnLst>
                                    <p:set>
                                      <p:cBhvr>
                                        <p:cTn id="133" dur="1" fill="hold">
                                          <p:stCondLst>
                                            <p:cond delay="0"/>
                                          </p:stCondLst>
                                        </p:cTn>
                                        <p:tgtEl>
                                          <p:spTgt spid="759"/>
                                        </p:tgtEl>
                                        <p:attrNameLst>
                                          <p:attrName>style.visibility</p:attrName>
                                        </p:attrNameLst>
                                      </p:cBhvr>
                                      <p:to>
                                        <p:strVal val="visible"/>
                                      </p:to>
                                    </p:set>
                                    <p:anim calcmode="lin" valueType="num">
                                      <p:cBhvr additive="base">
                                        <p:cTn id="134" dur="1000" fill="hold"/>
                                        <p:tgtEl>
                                          <p:spTgt spid="759"/>
                                        </p:tgtEl>
                                        <p:attrNameLst>
                                          <p:attrName>ppt_x</p:attrName>
                                        </p:attrNameLst>
                                      </p:cBhvr>
                                      <p:tavLst>
                                        <p:tav tm="0">
                                          <p:val>
                                            <p:strVal val="1+#ppt_w/2"/>
                                          </p:val>
                                        </p:tav>
                                        <p:tav tm="100000">
                                          <p:val>
                                            <p:strVal val="#ppt_x"/>
                                          </p:val>
                                        </p:tav>
                                      </p:tavLst>
                                    </p:anim>
                                    <p:anim calcmode="lin" valueType="num">
                                      <p:cBhvr additive="base">
                                        <p:cTn id="135" dur="1000" fill="hold"/>
                                        <p:tgtEl>
                                          <p:spTgt spid="759"/>
                                        </p:tgtEl>
                                        <p:attrNameLst>
                                          <p:attrName>ppt_y</p:attrName>
                                        </p:attrNameLst>
                                      </p:cBhvr>
                                      <p:tavLst>
                                        <p:tav tm="0">
                                          <p:val>
                                            <p:strVal val="#ppt_y"/>
                                          </p:val>
                                        </p:tav>
                                        <p:tav tm="100000">
                                          <p:val>
                                            <p:strVal val="#ppt_y"/>
                                          </p:val>
                                        </p:tav>
                                      </p:tavLst>
                                    </p:anim>
                                  </p:childTnLst>
                                </p:cTn>
                              </p:par>
                              <p:par>
                                <p:cTn id="136" presetID="2" presetClass="entr" presetSubtype="2" decel="100000" fill="hold" grpId="0" nodeType="withEffect">
                                  <p:stCondLst>
                                    <p:cond delay="1300"/>
                                  </p:stCondLst>
                                  <p:childTnLst>
                                    <p:set>
                                      <p:cBhvr>
                                        <p:cTn id="137" dur="1" fill="hold">
                                          <p:stCondLst>
                                            <p:cond delay="0"/>
                                          </p:stCondLst>
                                        </p:cTn>
                                        <p:tgtEl>
                                          <p:spTgt spid="760"/>
                                        </p:tgtEl>
                                        <p:attrNameLst>
                                          <p:attrName>style.visibility</p:attrName>
                                        </p:attrNameLst>
                                      </p:cBhvr>
                                      <p:to>
                                        <p:strVal val="visible"/>
                                      </p:to>
                                    </p:set>
                                    <p:anim calcmode="lin" valueType="num">
                                      <p:cBhvr additive="base">
                                        <p:cTn id="138" dur="1000" fill="hold"/>
                                        <p:tgtEl>
                                          <p:spTgt spid="760"/>
                                        </p:tgtEl>
                                        <p:attrNameLst>
                                          <p:attrName>ppt_x</p:attrName>
                                        </p:attrNameLst>
                                      </p:cBhvr>
                                      <p:tavLst>
                                        <p:tav tm="0">
                                          <p:val>
                                            <p:strVal val="1+#ppt_w/2"/>
                                          </p:val>
                                        </p:tav>
                                        <p:tav tm="100000">
                                          <p:val>
                                            <p:strVal val="#ppt_x"/>
                                          </p:val>
                                        </p:tav>
                                      </p:tavLst>
                                    </p:anim>
                                    <p:anim calcmode="lin" valueType="num">
                                      <p:cBhvr additive="base">
                                        <p:cTn id="139" dur="1000" fill="hold"/>
                                        <p:tgtEl>
                                          <p:spTgt spid="760"/>
                                        </p:tgtEl>
                                        <p:attrNameLst>
                                          <p:attrName>ppt_y</p:attrName>
                                        </p:attrNameLst>
                                      </p:cBhvr>
                                      <p:tavLst>
                                        <p:tav tm="0">
                                          <p:val>
                                            <p:strVal val="#ppt_y"/>
                                          </p:val>
                                        </p:tav>
                                        <p:tav tm="100000">
                                          <p:val>
                                            <p:strVal val="#ppt_y"/>
                                          </p:val>
                                        </p:tav>
                                      </p:tavLst>
                                    </p:anim>
                                  </p:childTnLst>
                                </p:cTn>
                              </p:par>
                              <p:par>
                                <p:cTn id="140" presetID="2" presetClass="entr" presetSubtype="2" decel="100000" fill="hold" grpId="0" nodeType="withEffect">
                                  <p:stCondLst>
                                    <p:cond delay="1400"/>
                                  </p:stCondLst>
                                  <p:childTnLst>
                                    <p:set>
                                      <p:cBhvr>
                                        <p:cTn id="141" dur="1" fill="hold">
                                          <p:stCondLst>
                                            <p:cond delay="0"/>
                                          </p:stCondLst>
                                        </p:cTn>
                                        <p:tgtEl>
                                          <p:spTgt spid="761"/>
                                        </p:tgtEl>
                                        <p:attrNameLst>
                                          <p:attrName>style.visibility</p:attrName>
                                        </p:attrNameLst>
                                      </p:cBhvr>
                                      <p:to>
                                        <p:strVal val="visible"/>
                                      </p:to>
                                    </p:set>
                                    <p:anim calcmode="lin" valueType="num">
                                      <p:cBhvr additive="base">
                                        <p:cTn id="142" dur="1000" fill="hold"/>
                                        <p:tgtEl>
                                          <p:spTgt spid="761"/>
                                        </p:tgtEl>
                                        <p:attrNameLst>
                                          <p:attrName>ppt_x</p:attrName>
                                        </p:attrNameLst>
                                      </p:cBhvr>
                                      <p:tavLst>
                                        <p:tav tm="0">
                                          <p:val>
                                            <p:strVal val="1+#ppt_w/2"/>
                                          </p:val>
                                        </p:tav>
                                        <p:tav tm="100000">
                                          <p:val>
                                            <p:strVal val="#ppt_x"/>
                                          </p:val>
                                        </p:tav>
                                      </p:tavLst>
                                    </p:anim>
                                    <p:anim calcmode="lin" valueType="num">
                                      <p:cBhvr additive="base">
                                        <p:cTn id="143" dur="1000" fill="hold"/>
                                        <p:tgtEl>
                                          <p:spTgt spid="761"/>
                                        </p:tgtEl>
                                        <p:attrNameLst>
                                          <p:attrName>ppt_y</p:attrName>
                                        </p:attrNameLst>
                                      </p:cBhvr>
                                      <p:tavLst>
                                        <p:tav tm="0">
                                          <p:val>
                                            <p:strVal val="#ppt_y"/>
                                          </p:val>
                                        </p:tav>
                                        <p:tav tm="100000">
                                          <p:val>
                                            <p:strVal val="#ppt_y"/>
                                          </p:val>
                                        </p:tav>
                                      </p:tavLst>
                                    </p:anim>
                                  </p:childTnLst>
                                </p:cTn>
                              </p:par>
                              <p:par>
                                <p:cTn id="144" presetID="2" presetClass="entr" presetSubtype="2" decel="100000" fill="hold" grpId="0" nodeType="withEffect">
                                  <p:stCondLst>
                                    <p:cond delay="1500"/>
                                  </p:stCondLst>
                                  <p:childTnLst>
                                    <p:set>
                                      <p:cBhvr>
                                        <p:cTn id="145" dur="1" fill="hold">
                                          <p:stCondLst>
                                            <p:cond delay="0"/>
                                          </p:stCondLst>
                                        </p:cTn>
                                        <p:tgtEl>
                                          <p:spTgt spid="762"/>
                                        </p:tgtEl>
                                        <p:attrNameLst>
                                          <p:attrName>style.visibility</p:attrName>
                                        </p:attrNameLst>
                                      </p:cBhvr>
                                      <p:to>
                                        <p:strVal val="visible"/>
                                      </p:to>
                                    </p:set>
                                    <p:anim calcmode="lin" valueType="num">
                                      <p:cBhvr additive="base">
                                        <p:cTn id="146" dur="1000" fill="hold"/>
                                        <p:tgtEl>
                                          <p:spTgt spid="762"/>
                                        </p:tgtEl>
                                        <p:attrNameLst>
                                          <p:attrName>ppt_x</p:attrName>
                                        </p:attrNameLst>
                                      </p:cBhvr>
                                      <p:tavLst>
                                        <p:tav tm="0">
                                          <p:val>
                                            <p:strVal val="1+#ppt_w/2"/>
                                          </p:val>
                                        </p:tav>
                                        <p:tav tm="100000">
                                          <p:val>
                                            <p:strVal val="#ppt_x"/>
                                          </p:val>
                                        </p:tav>
                                      </p:tavLst>
                                    </p:anim>
                                    <p:anim calcmode="lin" valueType="num">
                                      <p:cBhvr additive="base">
                                        <p:cTn id="147" dur="1000" fill="hold"/>
                                        <p:tgtEl>
                                          <p:spTgt spid="762"/>
                                        </p:tgtEl>
                                        <p:attrNameLst>
                                          <p:attrName>ppt_y</p:attrName>
                                        </p:attrNameLst>
                                      </p:cBhvr>
                                      <p:tavLst>
                                        <p:tav tm="0">
                                          <p:val>
                                            <p:strVal val="#ppt_y"/>
                                          </p:val>
                                        </p:tav>
                                        <p:tav tm="100000">
                                          <p:val>
                                            <p:strVal val="#ppt_y"/>
                                          </p:val>
                                        </p:tav>
                                      </p:tavLst>
                                    </p:anim>
                                  </p:childTnLst>
                                </p:cTn>
                              </p:par>
                              <p:par>
                                <p:cTn id="148" presetID="2" presetClass="entr" presetSubtype="2" decel="100000" fill="hold" grpId="0" nodeType="withEffect">
                                  <p:stCondLst>
                                    <p:cond delay="1600"/>
                                  </p:stCondLst>
                                  <p:childTnLst>
                                    <p:set>
                                      <p:cBhvr>
                                        <p:cTn id="149" dur="1" fill="hold">
                                          <p:stCondLst>
                                            <p:cond delay="0"/>
                                          </p:stCondLst>
                                        </p:cTn>
                                        <p:tgtEl>
                                          <p:spTgt spid="763"/>
                                        </p:tgtEl>
                                        <p:attrNameLst>
                                          <p:attrName>style.visibility</p:attrName>
                                        </p:attrNameLst>
                                      </p:cBhvr>
                                      <p:to>
                                        <p:strVal val="visible"/>
                                      </p:to>
                                    </p:set>
                                    <p:anim calcmode="lin" valueType="num">
                                      <p:cBhvr additive="base">
                                        <p:cTn id="150" dur="1000" fill="hold"/>
                                        <p:tgtEl>
                                          <p:spTgt spid="763"/>
                                        </p:tgtEl>
                                        <p:attrNameLst>
                                          <p:attrName>ppt_x</p:attrName>
                                        </p:attrNameLst>
                                      </p:cBhvr>
                                      <p:tavLst>
                                        <p:tav tm="0">
                                          <p:val>
                                            <p:strVal val="1+#ppt_w/2"/>
                                          </p:val>
                                        </p:tav>
                                        <p:tav tm="100000">
                                          <p:val>
                                            <p:strVal val="#ppt_x"/>
                                          </p:val>
                                        </p:tav>
                                      </p:tavLst>
                                    </p:anim>
                                    <p:anim calcmode="lin" valueType="num">
                                      <p:cBhvr additive="base">
                                        <p:cTn id="151" dur="1000" fill="hold"/>
                                        <p:tgtEl>
                                          <p:spTgt spid="763"/>
                                        </p:tgtEl>
                                        <p:attrNameLst>
                                          <p:attrName>ppt_y</p:attrName>
                                        </p:attrNameLst>
                                      </p:cBhvr>
                                      <p:tavLst>
                                        <p:tav tm="0">
                                          <p:val>
                                            <p:strVal val="#ppt_y"/>
                                          </p:val>
                                        </p:tav>
                                        <p:tav tm="100000">
                                          <p:val>
                                            <p:strVal val="#ppt_y"/>
                                          </p:val>
                                        </p:tav>
                                      </p:tavLst>
                                    </p:anim>
                                  </p:childTnLst>
                                </p:cTn>
                              </p:par>
                              <p:par>
                                <p:cTn id="152" presetID="2" presetClass="entr" presetSubtype="2" decel="100000" fill="hold" grpId="0" nodeType="withEffect">
                                  <p:stCondLst>
                                    <p:cond delay="1700"/>
                                  </p:stCondLst>
                                  <p:childTnLst>
                                    <p:set>
                                      <p:cBhvr>
                                        <p:cTn id="153" dur="1" fill="hold">
                                          <p:stCondLst>
                                            <p:cond delay="0"/>
                                          </p:stCondLst>
                                        </p:cTn>
                                        <p:tgtEl>
                                          <p:spTgt spid="764"/>
                                        </p:tgtEl>
                                        <p:attrNameLst>
                                          <p:attrName>style.visibility</p:attrName>
                                        </p:attrNameLst>
                                      </p:cBhvr>
                                      <p:to>
                                        <p:strVal val="visible"/>
                                      </p:to>
                                    </p:set>
                                    <p:anim calcmode="lin" valueType="num">
                                      <p:cBhvr additive="base">
                                        <p:cTn id="154" dur="1000" fill="hold"/>
                                        <p:tgtEl>
                                          <p:spTgt spid="764"/>
                                        </p:tgtEl>
                                        <p:attrNameLst>
                                          <p:attrName>ppt_x</p:attrName>
                                        </p:attrNameLst>
                                      </p:cBhvr>
                                      <p:tavLst>
                                        <p:tav tm="0">
                                          <p:val>
                                            <p:strVal val="1+#ppt_w/2"/>
                                          </p:val>
                                        </p:tav>
                                        <p:tav tm="100000">
                                          <p:val>
                                            <p:strVal val="#ppt_x"/>
                                          </p:val>
                                        </p:tav>
                                      </p:tavLst>
                                    </p:anim>
                                    <p:anim calcmode="lin" valueType="num">
                                      <p:cBhvr additive="base">
                                        <p:cTn id="155" dur="1000" fill="hold"/>
                                        <p:tgtEl>
                                          <p:spTgt spid="764"/>
                                        </p:tgtEl>
                                        <p:attrNameLst>
                                          <p:attrName>ppt_y</p:attrName>
                                        </p:attrNameLst>
                                      </p:cBhvr>
                                      <p:tavLst>
                                        <p:tav tm="0">
                                          <p:val>
                                            <p:strVal val="#ppt_y"/>
                                          </p:val>
                                        </p:tav>
                                        <p:tav tm="100000">
                                          <p:val>
                                            <p:strVal val="#ppt_y"/>
                                          </p:val>
                                        </p:tav>
                                      </p:tavLst>
                                    </p:anim>
                                  </p:childTnLst>
                                </p:cTn>
                              </p:par>
                            </p:childTnLst>
                          </p:cTn>
                        </p:par>
                      </p:childTnLst>
                    </p:cTn>
                  </p:par>
                  <p:par>
                    <p:cTn id="156" fill="hold">
                      <p:stCondLst>
                        <p:cond delay="indefinite"/>
                      </p:stCondLst>
                      <p:childTnLst>
                        <p:par>
                          <p:cTn id="157" fill="hold">
                            <p:stCondLst>
                              <p:cond delay="0"/>
                            </p:stCondLst>
                            <p:childTnLst>
                              <p:par>
                                <p:cTn id="158" presetID="22" presetClass="entr" presetSubtype="1" fill="hold" nodeType="clickEffect">
                                  <p:stCondLst>
                                    <p:cond delay="0"/>
                                  </p:stCondLst>
                                  <p:childTnLst>
                                    <p:set>
                                      <p:cBhvr>
                                        <p:cTn id="159" dur="1" fill="hold">
                                          <p:stCondLst>
                                            <p:cond delay="0"/>
                                          </p:stCondLst>
                                        </p:cTn>
                                        <p:tgtEl>
                                          <p:spTgt spid="765"/>
                                        </p:tgtEl>
                                        <p:attrNameLst>
                                          <p:attrName>style.visibility</p:attrName>
                                        </p:attrNameLst>
                                      </p:cBhvr>
                                      <p:to>
                                        <p:strVal val="visible"/>
                                      </p:to>
                                    </p:set>
                                    <p:animEffect transition="in" filter="wipe(up)">
                                      <p:cBhvr>
                                        <p:cTn id="160" dur="500"/>
                                        <p:tgtEl>
                                          <p:spTgt spid="765"/>
                                        </p:tgtEl>
                                      </p:cBhvr>
                                    </p:animEffect>
                                  </p:childTnLst>
                                </p:cTn>
                              </p:par>
                              <p:par>
                                <p:cTn id="161" presetID="10" presetClass="entr" presetSubtype="0" fill="hold" grpId="0" nodeType="withEffect">
                                  <p:stCondLst>
                                    <p:cond delay="500"/>
                                  </p:stCondLst>
                                  <p:childTnLst>
                                    <p:set>
                                      <p:cBhvr>
                                        <p:cTn id="162" dur="1" fill="hold">
                                          <p:stCondLst>
                                            <p:cond delay="0"/>
                                          </p:stCondLst>
                                        </p:cTn>
                                        <p:tgtEl>
                                          <p:spTgt spid="742"/>
                                        </p:tgtEl>
                                        <p:attrNameLst>
                                          <p:attrName>style.visibility</p:attrName>
                                        </p:attrNameLst>
                                      </p:cBhvr>
                                      <p:to>
                                        <p:strVal val="visible"/>
                                      </p:to>
                                    </p:set>
                                    <p:animEffect transition="in" filter="fade">
                                      <p:cBhvr>
                                        <p:cTn id="163" dur="250"/>
                                        <p:tgtEl>
                                          <p:spTgt spid="742"/>
                                        </p:tgtEl>
                                      </p:cBhvr>
                                    </p:animEffect>
                                  </p:childTnLst>
                                </p:cTn>
                              </p:par>
                              <p:par>
                                <p:cTn id="164" presetID="42" presetClass="path" presetSubtype="0" decel="100000" fill="hold" grpId="1" nodeType="withEffect">
                                  <p:stCondLst>
                                    <p:cond delay="500"/>
                                  </p:stCondLst>
                                  <p:childTnLst>
                                    <p:animMotion origin="layout" path="M 2.55297E-8 5.5379E-7 L 0.22964 -0.22447 " pathEditMode="relative" rAng="0" ptsTypes="AA">
                                      <p:cBhvr>
                                        <p:cTn id="165" dur="600" spd="-100000" fill="hold"/>
                                        <p:tgtEl>
                                          <p:spTgt spid="742"/>
                                        </p:tgtEl>
                                        <p:attrNameLst>
                                          <p:attrName>ppt_x</p:attrName>
                                          <p:attrName>ppt_y</p:attrName>
                                        </p:attrNameLst>
                                      </p:cBhvr>
                                      <p:rCtr x="11476" y="-11235"/>
                                    </p:animMotion>
                                  </p:childTnLst>
                                </p:cTn>
                              </p:par>
                              <p:par>
                                <p:cTn id="166" presetID="10" presetClass="entr" presetSubtype="0" fill="hold" grpId="0" nodeType="withEffect" nodePh="1">
                                  <p:stCondLst>
                                    <p:cond delay="1000"/>
                                  </p:stCondLst>
                                  <p:endCondLst>
                                    <p:cond evt="begin" delay="0">
                                      <p:tn val="166"/>
                                    </p:cond>
                                  </p:endCondLst>
                                  <p:childTnLst>
                                    <p:set>
                                      <p:cBhvr>
                                        <p:cTn id="167" dur="1" fill="hold">
                                          <p:stCondLst>
                                            <p:cond delay="0"/>
                                          </p:stCondLst>
                                        </p:cTn>
                                        <p:tgtEl>
                                          <p:spTgt spid="741"/>
                                        </p:tgtEl>
                                        <p:attrNameLst>
                                          <p:attrName>style.visibility</p:attrName>
                                        </p:attrNameLst>
                                      </p:cBhvr>
                                      <p:to>
                                        <p:strVal val="visible"/>
                                      </p:to>
                                    </p:set>
                                    <p:animEffect transition="in" filter="fade">
                                      <p:cBhvr>
                                        <p:cTn id="168" dur="300"/>
                                        <p:tgtEl>
                                          <p:spTgt spid="741"/>
                                        </p:tgtEl>
                                      </p:cBhvr>
                                    </p:animEffect>
                                  </p:childTnLst>
                                </p:cTn>
                              </p:par>
                              <p:par>
                                <p:cTn id="169" presetID="10" presetClass="entr" presetSubtype="0" fill="hold" grpId="0" nodeType="withEffect">
                                  <p:stCondLst>
                                    <p:cond delay="750"/>
                                  </p:stCondLst>
                                  <p:childTnLst>
                                    <p:set>
                                      <p:cBhvr>
                                        <p:cTn id="170" dur="1" fill="hold">
                                          <p:stCondLst>
                                            <p:cond delay="0"/>
                                          </p:stCondLst>
                                        </p:cTn>
                                        <p:tgtEl>
                                          <p:spTgt spid="744"/>
                                        </p:tgtEl>
                                        <p:attrNameLst>
                                          <p:attrName>style.visibility</p:attrName>
                                        </p:attrNameLst>
                                      </p:cBhvr>
                                      <p:to>
                                        <p:strVal val="visible"/>
                                      </p:to>
                                    </p:set>
                                    <p:animEffect transition="in" filter="fade">
                                      <p:cBhvr>
                                        <p:cTn id="171" dur="250"/>
                                        <p:tgtEl>
                                          <p:spTgt spid="744"/>
                                        </p:tgtEl>
                                      </p:cBhvr>
                                    </p:animEffect>
                                  </p:childTnLst>
                                </p:cTn>
                              </p:par>
                              <p:par>
                                <p:cTn id="172" presetID="42" presetClass="path" presetSubtype="0" decel="100000" fill="hold" grpId="1" nodeType="withEffect">
                                  <p:stCondLst>
                                    <p:cond delay="750"/>
                                  </p:stCondLst>
                                  <p:childTnLst>
                                    <p:animMotion origin="layout" path="M 8.5014E-7 5.5379E-7 L 0.20245 -0.22787 " pathEditMode="relative" rAng="0" ptsTypes="AA">
                                      <p:cBhvr>
                                        <p:cTn id="173" dur="600" spd="-100000" fill="hold"/>
                                        <p:tgtEl>
                                          <p:spTgt spid="744"/>
                                        </p:tgtEl>
                                        <p:attrNameLst>
                                          <p:attrName>ppt_x</p:attrName>
                                          <p:attrName>ppt_y</p:attrName>
                                        </p:attrNameLst>
                                      </p:cBhvr>
                                      <p:rCtr x="10123" y="-11394"/>
                                    </p:animMotion>
                                  </p:childTnLst>
                                </p:cTn>
                              </p:par>
                              <p:par>
                                <p:cTn id="174" presetID="10" presetClass="entr" presetSubtype="0" fill="hold" grpId="0" nodeType="withEffect" nodePh="1">
                                  <p:stCondLst>
                                    <p:cond delay="1250"/>
                                  </p:stCondLst>
                                  <p:endCondLst>
                                    <p:cond evt="begin" delay="0">
                                      <p:tn val="174"/>
                                    </p:cond>
                                  </p:endCondLst>
                                  <p:childTnLst>
                                    <p:set>
                                      <p:cBhvr>
                                        <p:cTn id="175" dur="1" fill="hold">
                                          <p:stCondLst>
                                            <p:cond delay="0"/>
                                          </p:stCondLst>
                                        </p:cTn>
                                        <p:tgtEl>
                                          <p:spTgt spid="743"/>
                                        </p:tgtEl>
                                        <p:attrNameLst>
                                          <p:attrName>style.visibility</p:attrName>
                                        </p:attrNameLst>
                                      </p:cBhvr>
                                      <p:to>
                                        <p:strVal val="visible"/>
                                      </p:to>
                                    </p:set>
                                    <p:animEffect transition="in" filter="fade">
                                      <p:cBhvr>
                                        <p:cTn id="176" dur="300"/>
                                        <p:tgtEl>
                                          <p:spTgt spid="743"/>
                                        </p:tgtEl>
                                      </p:cBhvr>
                                    </p:animEffect>
                                  </p:childTnLst>
                                </p:cTn>
                              </p:par>
                            </p:childTnLst>
                          </p:cTn>
                        </p:par>
                      </p:childTnLst>
                    </p:cTn>
                  </p:par>
                  <p:par>
                    <p:cTn id="177" fill="hold">
                      <p:stCondLst>
                        <p:cond delay="indefinite"/>
                      </p:stCondLst>
                      <p:childTnLst>
                        <p:par>
                          <p:cTn id="178" fill="hold">
                            <p:stCondLst>
                              <p:cond delay="0"/>
                            </p:stCondLst>
                            <p:childTnLst>
                              <p:par>
                                <p:cTn id="179" presetID="22" presetClass="entr" presetSubtype="1" fill="hold" nodeType="clickEffect">
                                  <p:stCondLst>
                                    <p:cond delay="0"/>
                                  </p:stCondLst>
                                  <p:childTnLst>
                                    <p:set>
                                      <p:cBhvr>
                                        <p:cTn id="180" dur="1" fill="hold">
                                          <p:stCondLst>
                                            <p:cond delay="0"/>
                                          </p:stCondLst>
                                        </p:cTn>
                                        <p:tgtEl>
                                          <p:spTgt spid="771"/>
                                        </p:tgtEl>
                                        <p:attrNameLst>
                                          <p:attrName>style.visibility</p:attrName>
                                        </p:attrNameLst>
                                      </p:cBhvr>
                                      <p:to>
                                        <p:strVal val="visible"/>
                                      </p:to>
                                    </p:set>
                                    <p:animEffect transition="in" filter="wipe(up)">
                                      <p:cBhvr>
                                        <p:cTn id="181" dur="500"/>
                                        <p:tgtEl>
                                          <p:spTgt spid="771"/>
                                        </p:tgtEl>
                                      </p:cBhvr>
                                    </p:animEffect>
                                  </p:childTnLst>
                                </p:cTn>
                              </p:par>
                              <p:par>
                                <p:cTn id="182" presetID="10" presetClass="entr" presetSubtype="0" fill="hold" grpId="0" nodeType="withEffect">
                                  <p:stCondLst>
                                    <p:cond delay="750"/>
                                  </p:stCondLst>
                                  <p:childTnLst>
                                    <p:set>
                                      <p:cBhvr>
                                        <p:cTn id="183" dur="1" fill="hold">
                                          <p:stCondLst>
                                            <p:cond delay="0"/>
                                          </p:stCondLst>
                                        </p:cTn>
                                        <p:tgtEl>
                                          <p:spTgt spid="774"/>
                                        </p:tgtEl>
                                        <p:attrNameLst>
                                          <p:attrName>style.visibility</p:attrName>
                                        </p:attrNameLst>
                                      </p:cBhvr>
                                      <p:to>
                                        <p:strVal val="visible"/>
                                      </p:to>
                                    </p:set>
                                    <p:animEffect transition="in" filter="fade">
                                      <p:cBhvr>
                                        <p:cTn id="184" dur="250"/>
                                        <p:tgtEl>
                                          <p:spTgt spid="774"/>
                                        </p:tgtEl>
                                      </p:cBhvr>
                                    </p:animEffect>
                                  </p:childTnLst>
                                </p:cTn>
                              </p:par>
                              <p:par>
                                <p:cTn id="185" presetID="42" presetClass="path" presetSubtype="0" decel="100000" fill="hold" grpId="1" nodeType="withEffect">
                                  <p:stCondLst>
                                    <p:cond delay="750"/>
                                  </p:stCondLst>
                                  <p:childTnLst>
                                    <p:animMotion origin="layout" path="M 1.04927E-6 5.5379E-7 L 0.24611 -0.22674 " pathEditMode="relative" rAng="0" ptsTypes="AA">
                                      <p:cBhvr>
                                        <p:cTn id="186" dur="600" spd="-100000" fill="hold"/>
                                        <p:tgtEl>
                                          <p:spTgt spid="774"/>
                                        </p:tgtEl>
                                        <p:attrNameLst>
                                          <p:attrName>ppt_x</p:attrName>
                                          <p:attrName>ppt_y</p:attrName>
                                        </p:attrNameLst>
                                      </p:cBhvr>
                                      <p:rCtr x="12305" y="-11348"/>
                                    </p:animMotion>
                                  </p:childTnLst>
                                </p:cTn>
                              </p:par>
                              <p:par>
                                <p:cTn id="187" presetID="10" presetClass="entr" presetSubtype="0" fill="hold" grpId="0" nodeType="withEffect">
                                  <p:stCondLst>
                                    <p:cond delay="1250"/>
                                  </p:stCondLst>
                                  <p:childTnLst>
                                    <p:set>
                                      <p:cBhvr>
                                        <p:cTn id="188" dur="1" fill="hold">
                                          <p:stCondLst>
                                            <p:cond delay="0"/>
                                          </p:stCondLst>
                                        </p:cTn>
                                        <p:tgtEl>
                                          <p:spTgt spid="753"/>
                                        </p:tgtEl>
                                        <p:attrNameLst>
                                          <p:attrName>style.visibility</p:attrName>
                                        </p:attrNameLst>
                                      </p:cBhvr>
                                      <p:to>
                                        <p:strVal val="visible"/>
                                      </p:to>
                                    </p:set>
                                    <p:animEffect transition="in" filter="fade">
                                      <p:cBhvr>
                                        <p:cTn id="189" dur="300"/>
                                        <p:tgtEl>
                                          <p:spTgt spid="753"/>
                                        </p:tgtEl>
                                      </p:cBhvr>
                                    </p:animEffect>
                                  </p:childTnLst>
                                </p:cTn>
                              </p:par>
                              <p:par>
                                <p:cTn id="190" presetID="10" presetClass="entr" presetSubtype="0" fill="hold" grpId="0" nodeType="withEffect">
                                  <p:stCondLst>
                                    <p:cond delay="1000"/>
                                  </p:stCondLst>
                                  <p:childTnLst>
                                    <p:set>
                                      <p:cBhvr>
                                        <p:cTn id="191" dur="1" fill="hold">
                                          <p:stCondLst>
                                            <p:cond delay="0"/>
                                          </p:stCondLst>
                                        </p:cTn>
                                        <p:tgtEl>
                                          <p:spTgt spid="775"/>
                                        </p:tgtEl>
                                        <p:attrNameLst>
                                          <p:attrName>style.visibility</p:attrName>
                                        </p:attrNameLst>
                                      </p:cBhvr>
                                      <p:to>
                                        <p:strVal val="visible"/>
                                      </p:to>
                                    </p:set>
                                    <p:animEffect transition="in" filter="fade">
                                      <p:cBhvr>
                                        <p:cTn id="192" dur="250"/>
                                        <p:tgtEl>
                                          <p:spTgt spid="775"/>
                                        </p:tgtEl>
                                      </p:cBhvr>
                                    </p:animEffect>
                                  </p:childTnLst>
                                </p:cTn>
                              </p:par>
                              <p:par>
                                <p:cTn id="193" presetID="42" presetClass="path" presetSubtype="0" decel="100000" fill="hold" grpId="1" nodeType="withEffect">
                                  <p:stCondLst>
                                    <p:cond delay="1000"/>
                                  </p:stCondLst>
                                  <p:childTnLst>
                                    <p:animMotion origin="layout" path="M -3.58182E-6 5.5379E-7 L 0.11553 -0.22538 " pathEditMode="relative" rAng="0" ptsTypes="AA">
                                      <p:cBhvr>
                                        <p:cTn id="194" dur="600" spd="-100000" fill="hold"/>
                                        <p:tgtEl>
                                          <p:spTgt spid="775"/>
                                        </p:tgtEl>
                                        <p:attrNameLst>
                                          <p:attrName>ppt_x</p:attrName>
                                          <p:attrName>ppt_y</p:attrName>
                                        </p:attrNameLst>
                                      </p:cBhvr>
                                      <p:rCtr x="5770" y="-11280"/>
                                    </p:animMotion>
                                  </p:childTnLst>
                                </p:cTn>
                              </p:par>
                              <p:par>
                                <p:cTn id="195" presetID="10" presetClass="entr" presetSubtype="0" fill="hold" grpId="0" nodeType="withEffect">
                                  <p:stCondLst>
                                    <p:cond delay="1500"/>
                                  </p:stCondLst>
                                  <p:childTnLst>
                                    <p:set>
                                      <p:cBhvr>
                                        <p:cTn id="196" dur="1" fill="hold">
                                          <p:stCondLst>
                                            <p:cond delay="0"/>
                                          </p:stCondLst>
                                        </p:cTn>
                                        <p:tgtEl>
                                          <p:spTgt spid="756"/>
                                        </p:tgtEl>
                                        <p:attrNameLst>
                                          <p:attrName>style.visibility</p:attrName>
                                        </p:attrNameLst>
                                      </p:cBhvr>
                                      <p:to>
                                        <p:strVal val="visible"/>
                                      </p:to>
                                    </p:set>
                                    <p:animEffect transition="in" filter="fade">
                                      <p:cBhvr>
                                        <p:cTn id="197" dur="300"/>
                                        <p:tgtEl>
                                          <p:spTgt spid="756"/>
                                        </p:tgtEl>
                                      </p:cBhvr>
                                    </p:animEffect>
                                  </p:childTnLst>
                                </p:cTn>
                              </p:par>
                            </p:childTnLst>
                          </p:cTn>
                        </p:par>
                      </p:childTnLst>
                    </p:cTn>
                  </p:par>
                  <p:par>
                    <p:cTn id="198" fill="hold">
                      <p:stCondLst>
                        <p:cond delay="indefinite"/>
                      </p:stCondLst>
                      <p:childTnLst>
                        <p:par>
                          <p:cTn id="199" fill="hold">
                            <p:stCondLst>
                              <p:cond delay="0"/>
                            </p:stCondLst>
                            <p:childTnLst>
                              <p:par>
                                <p:cTn id="200" presetID="22" presetClass="entr" presetSubtype="1" fill="hold" nodeType="clickEffect">
                                  <p:stCondLst>
                                    <p:cond delay="0"/>
                                  </p:stCondLst>
                                  <p:childTnLst>
                                    <p:set>
                                      <p:cBhvr>
                                        <p:cTn id="201" dur="1" fill="hold">
                                          <p:stCondLst>
                                            <p:cond delay="0"/>
                                          </p:stCondLst>
                                        </p:cTn>
                                        <p:tgtEl>
                                          <p:spTgt spid="768"/>
                                        </p:tgtEl>
                                        <p:attrNameLst>
                                          <p:attrName>style.visibility</p:attrName>
                                        </p:attrNameLst>
                                      </p:cBhvr>
                                      <p:to>
                                        <p:strVal val="visible"/>
                                      </p:to>
                                    </p:set>
                                    <p:animEffect transition="in" filter="wipe(up)">
                                      <p:cBhvr>
                                        <p:cTn id="202" dur="500"/>
                                        <p:tgtEl>
                                          <p:spTgt spid="768"/>
                                        </p:tgtEl>
                                      </p:cBhvr>
                                    </p:animEffect>
                                  </p:childTnLst>
                                </p:cTn>
                              </p:par>
                              <p:par>
                                <p:cTn id="203" presetID="10" presetClass="entr" presetSubtype="0" fill="hold" grpId="0" nodeType="withEffect">
                                  <p:stCondLst>
                                    <p:cond delay="750"/>
                                  </p:stCondLst>
                                  <p:childTnLst>
                                    <p:set>
                                      <p:cBhvr>
                                        <p:cTn id="204" dur="1" fill="hold">
                                          <p:stCondLst>
                                            <p:cond delay="0"/>
                                          </p:stCondLst>
                                        </p:cTn>
                                        <p:tgtEl>
                                          <p:spTgt spid="746"/>
                                        </p:tgtEl>
                                        <p:attrNameLst>
                                          <p:attrName>style.visibility</p:attrName>
                                        </p:attrNameLst>
                                      </p:cBhvr>
                                      <p:to>
                                        <p:strVal val="visible"/>
                                      </p:to>
                                    </p:set>
                                    <p:animEffect transition="in" filter="fade">
                                      <p:cBhvr>
                                        <p:cTn id="205" dur="250"/>
                                        <p:tgtEl>
                                          <p:spTgt spid="746"/>
                                        </p:tgtEl>
                                      </p:cBhvr>
                                    </p:animEffect>
                                  </p:childTnLst>
                                </p:cTn>
                              </p:par>
                              <p:par>
                                <p:cTn id="206" presetID="42" presetClass="path" presetSubtype="0" decel="100000" fill="hold" grpId="1" nodeType="withEffect">
                                  <p:stCondLst>
                                    <p:cond delay="750"/>
                                  </p:stCondLst>
                                  <p:childTnLst>
                                    <p:animMotion origin="layout" path="M 4.85065E-6 5.5379E-7 L 0.34809 -0.22583 " pathEditMode="relative" rAng="0" ptsTypes="AA">
                                      <p:cBhvr>
                                        <p:cTn id="207" dur="600" spd="-100000" fill="hold"/>
                                        <p:tgtEl>
                                          <p:spTgt spid="746"/>
                                        </p:tgtEl>
                                        <p:attrNameLst>
                                          <p:attrName>ppt_x</p:attrName>
                                          <p:attrName>ppt_y</p:attrName>
                                        </p:attrNameLst>
                                      </p:cBhvr>
                                      <p:rCtr x="17399" y="-11303"/>
                                    </p:animMotion>
                                  </p:childTnLst>
                                </p:cTn>
                              </p:par>
                              <p:par>
                                <p:cTn id="208" presetID="10" presetClass="entr" presetSubtype="0" fill="hold" grpId="0" nodeType="withEffect" nodePh="1">
                                  <p:stCondLst>
                                    <p:cond delay="1250"/>
                                  </p:stCondLst>
                                  <p:endCondLst>
                                    <p:cond evt="begin" delay="0">
                                      <p:tn val="208"/>
                                    </p:cond>
                                  </p:endCondLst>
                                  <p:childTnLst>
                                    <p:set>
                                      <p:cBhvr>
                                        <p:cTn id="209" dur="1" fill="hold">
                                          <p:stCondLst>
                                            <p:cond delay="0"/>
                                          </p:stCondLst>
                                        </p:cTn>
                                        <p:tgtEl>
                                          <p:spTgt spid="745"/>
                                        </p:tgtEl>
                                        <p:attrNameLst>
                                          <p:attrName>style.visibility</p:attrName>
                                        </p:attrNameLst>
                                      </p:cBhvr>
                                      <p:to>
                                        <p:strVal val="visible"/>
                                      </p:to>
                                    </p:set>
                                    <p:animEffect transition="in" filter="fade">
                                      <p:cBhvr>
                                        <p:cTn id="210" dur="300"/>
                                        <p:tgtEl>
                                          <p:spTgt spid="745"/>
                                        </p:tgtEl>
                                      </p:cBhvr>
                                    </p:animEffect>
                                  </p:childTnLst>
                                </p:cTn>
                              </p:par>
                              <p:par>
                                <p:cTn id="211" presetID="10" presetClass="entr" presetSubtype="0" fill="hold" grpId="0" nodeType="withEffect">
                                  <p:stCondLst>
                                    <p:cond delay="1000"/>
                                  </p:stCondLst>
                                  <p:childTnLst>
                                    <p:set>
                                      <p:cBhvr>
                                        <p:cTn id="212" dur="1" fill="hold">
                                          <p:stCondLst>
                                            <p:cond delay="0"/>
                                          </p:stCondLst>
                                        </p:cTn>
                                        <p:tgtEl>
                                          <p:spTgt spid="748"/>
                                        </p:tgtEl>
                                        <p:attrNameLst>
                                          <p:attrName>style.visibility</p:attrName>
                                        </p:attrNameLst>
                                      </p:cBhvr>
                                      <p:to>
                                        <p:strVal val="visible"/>
                                      </p:to>
                                    </p:set>
                                    <p:animEffect transition="in" filter="fade">
                                      <p:cBhvr>
                                        <p:cTn id="213" dur="250"/>
                                        <p:tgtEl>
                                          <p:spTgt spid="748"/>
                                        </p:tgtEl>
                                      </p:cBhvr>
                                    </p:animEffect>
                                  </p:childTnLst>
                                </p:cTn>
                              </p:par>
                              <p:par>
                                <p:cTn id="214" presetID="42" presetClass="path" presetSubtype="0" decel="100000" fill="hold" grpId="1" nodeType="withEffect">
                                  <p:stCondLst>
                                    <p:cond delay="1000"/>
                                  </p:stCondLst>
                                  <p:childTnLst>
                                    <p:animMotion origin="layout" path="M -4.32474E-6 5.5379E-7 L 0.32091 -0.22583 " pathEditMode="relative" rAng="0" ptsTypes="AA">
                                      <p:cBhvr>
                                        <p:cTn id="215" dur="600" spd="-100000" fill="hold"/>
                                        <p:tgtEl>
                                          <p:spTgt spid="748"/>
                                        </p:tgtEl>
                                        <p:attrNameLst>
                                          <p:attrName>ppt_x</p:attrName>
                                          <p:attrName>ppt_y</p:attrName>
                                        </p:attrNameLst>
                                      </p:cBhvr>
                                      <p:rCtr x="16045" y="-11303"/>
                                    </p:animMotion>
                                  </p:childTnLst>
                                </p:cTn>
                              </p:par>
                              <p:par>
                                <p:cTn id="216" presetID="10" presetClass="entr" presetSubtype="0" fill="hold" grpId="0" nodeType="withEffect" nodePh="1">
                                  <p:stCondLst>
                                    <p:cond delay="1500"/>
                                  </p:stCondLst>
                                  <p:endCondLst>
                                    <p:cond evt="begin" delay="0">
                                      <p:tn val="216"/>
                                    </p:cond>
                                  </p:endCondLst>
                                  <p:childTnLst>
                                    <p:set>
                                      <p:cBhvr>
                                        <p:cTn id="217" dur="1" fill="hold">
                                          <p:stCondLst>
                                            <p:cond delay="0"/>
                                          </p:stCondLst>
                                        </p:cTn>
                                        <p:tgtEl>
                                          <p:spTgt spid="747"/>
                                        </p:tgtEl>
                                        <p:attrNameLst>
                                          <p:attrName>style.visibility</p:attrName>
                                        </p:attrNameLst>
                                      </p:cBhvr>
                                      <p:to>
                                        <p:strVal val="visible"/>
                                      </p:to>
                                    </p:set>
                                    <p:animEffect transition="in" filter="fade">
                                      <p:cBhvr>
                                        <p:cTn id="218" dur="300"/>
                                        <p:tgtEl>
                                          <p:spTgt spid="747"/>
                                        </p:tgtEl>
                                      </p:cBhvr>
                                    </p:animEffect>
                                  </p:childTnLst>
                                </p:cTn>
                              </p:par>
                              <p:par>
                                <p:cTn id="219" presetID="10" presetClass="entr" presetSubtype="0" fill="hold" grpId="0" nodeType="withEffect">
                                  <p:stCondLst>
                                    <p:cond delay="1250"/>
                                  </p:stCondLst>
                                  <p:childTnLst>
                                    <p:set>
                                      <p:cBhvr>
                                        <p:cTn id="220" dur="1" fill="hold">
                                          <p:stCondLst>
                                            <p:cond delay="0"/>
                                          </p:stCondLst>
                                        </p:cTn>
                                        <p:tgtEl>
                                          <p:spTgt spid="755"/>
                                        </p:tgtEl>
                                        <p:attrNameLst>
                                          <p:attrName>style.visibility</p:attrName>
                                        </p:attrNameLst>
                                      </p:cBhvr>
                                      <p:to>
                                        <p:strVal val="visible"/>
                                      </p:to>
                                    </p:set>
                                    <p:animEffect transition="in" filter="fade">
                                      <p:cBhvr>
                                        <p:cTn id="221" dur="250"/>
                                        <p:tgtEl>
                                          <p:spTgt spid="755"/>
                                        </p:tgtEl>
                                      </p:cBhvr>
                                    </p:animEffect>
                                  </p:childTnLst>
                                </p:cTn>
                              </p:par>
                              <p:par>
                                <p:cTn id="222" presetID="42" presetClass="path" presetSubtype="0" decel="100000" fill="hold" grpId="1" nodeType="withEffect">
                                  <p:stCondLst>
                                    <p:cond delay="1250"/>
                                  </p:stCondLst>
                                  <p:childTnLst>
                                    <p:animMotion origin="layout" path="M -3.42354E-6 5.5379E-7 L 0.11987 -0.22583 " pathEditMode="relative" rAng="0" ptsTypes="AA">
                                      <p:cBhvr>
                                        <p:cTn id="223" dur="600" spd="-100000" fill="hold"/>
                                        <p:tgtEl>
                                          <p:spTgt spid="755"/>
                                        </p:tgtEl>
                                        <p:attrNameLst>
                                          <p:attrName>ppt_x</p:attrName>
                                          <p:attrName>ppt_y</p:attrName>
                                        </p:attrNameLst>
                                      </p:cBhvr>
                                      <p:rCtr x="5987" y="-11303"/>
                                    </p:animMotion>
                                  </p:childTnLst>
                                </p:cTn>
                              </p:par>
                              <p:par>
                                <p:cTn id="224" presetID="10" presetClass="entr" presetSubtype="0" fill="hold" grpId="0" nodeType="withEffect">
                                  <p:stCondLst>
                                    <p:cond delay="1750"/>
                                  </p:stCondLst>
                                  <p:childTnLst>
                                    <p:set>
                                      <p:cBhvr>
                                        <p:cTn id="225" dur="1" fill="hold">
                                          <p:stCondLst>
                                            <p:cond delay="0"/>
                                          </p:stCondLst>
                                        </p:cTn>
                                        <p:tgtEl>
                                          <p:spTgt spid="754"/>
                                        </p:tgtEl>
                                        <p:attrNameLst>
                                          <p:attrName>style.visibility</p:attrName>
                                        </p:attrNameLst>
                                      </p:cBhvr>
                                      <p:to>
                                        <p:strVal val="visible"/>
                                      </p:to>
                                    </p:set>
                                    <p:animEffect transition="in" filter="fade">
                                      <p:cBhvr>
                                        <p:cTn id="226" dur="300"/>
                                        <p:tgtEl>
                                          <p:spTgt spid="754"/>
                                        </p:tgtEl>
                                      </p:cBhvr>
                                    </p:animEffect>
                                  </p:childTnLst>
                                </p:cTn>
                              </p:par>
                              <p:par>
                                <p:cTn id="227" presetID="10" presetClass="entr" presetSubtype="0" fill="hold" grpId="0" nodeType="withEffect">
                                  <p:stCondLst>
                                    <p:cond delay="1500"/>
                                  </p:stCondLst>
                                  <p:childTnLst>
                                    <p:set>
                                      <p:cBhvr>
                                        <p:cTn id="228" dur="1" fill="hold">
                                          <p:stCondLst>
                                            <p:cond delay="0"/>
                                          </p:stCondLst>
                                        </p:cTn>
                                        <p:tgtEl>
                                          <p:spTgt spid="750"/>
                                        </p:tgtEl>
                                        <p:attrNameLst>
                                          <p:attrName>style.visibility</p:attrName>
                                        </p:attrNameLst>
                                      </p:cBhvr>
                                      <p:to>
                                        <p:strVal val="visible"/>
                                      </p:to>
                                    </p:set>
                                    <p:animEffect transition="in" filter="fade">
                                      <p:cBhvr>
                                        <p:cTn id="229" dur="250"/>
                                        <p:tgtEl>
                                          <p:spTgt spid="750"/>
                                        </p:tgtEl>
                                      </p:cBhvr>
                                    </p:animEffect>
                                  </p:childTnLst>
                                </p:cTn>
                              </p:par>
                              <p:par>
                                <p:cTn id="230" presetID="42" presetClass="path" presetSubtype="0" decel="100000" fill="hold" grpId="1" nodeType="withEffect">
                                  <p:stCondLst>
                                    <p:cond delay="1500"/>
                                  </p:stCondLst>
                                  <p:childTnLst>
                                    <p:animMotion origin="layout" path="M -2.55297E-8 5.5379E-7 L -0.1191 -0.22447 " pathEditMode="relative" rAng="0" ptsTypes="AA">
                                      <p:cBhvr>
                                        <p:cTn id="231" dur="600" spd="-100000" fill="hold"/>
                                        <p:tgtEl>
                                          <p:spTgt spid="750"/>
                                        </p:tgtEl>
                                        <p:attrNameLst>
                                          <p:attrName>ppt_x</p:attrName>
                                          <p:attrName>ppt_y</p:attrName>
                                        </p:attrNameLst>
                                      </p:cBhvr>
                                      <p:rCtr x="-5961" y="-11235"/>
                                    </p:animMotion>
                                  </p:childTnLst>
                                </p:cTn>
                              </p:par>
                              <p:par>
                                <p:cTn id="232" presetID="10" presetClass="entr" presetSubtype="0" fill="hold" grpId="0" nodeType="withEffect">
                                  <p:stCondLst>
                                    <p:cond delay="2000"/>
                                  </p:stCondLst>
                                  <p:childTnLst>
                                    <p:set>
                                      <p:cBhvr>
                                        <p:cTn id="233" dur="1" fill="hold">
                                          <p:stCondLst>
                                            <p:cond delay="0"/>
                                          </p:stCondLst>
                                        </p:cTn>
                                        <p:tgtEl>
                                          <p:spTgt spid="749"/>
                                        </p:tgtEl>
                                        <p:attrNameLst>
                                          <p:attrName>style.visibility</p:attrName>
                                        </p:attrNameLst>
                                      </p:cBhvr>
                                      <p:to>
                                        <p:strVal val="visible"/>
                                      </p:to>
                                    </p:set>
                                    <p:animEffect transition="in" filter="fade">
                                      <p:cBhvr>
                                        <p:cTn id="234" dur="300"/>
                                        <p:tgtEl>
                                          <p:spTgt spid="749"/>
                                        </p:tgtEl>
                                      </p:cBhvr>
                                    </p:animEffect>
                                  </p:childTnLst>
                                </p:cTn>
                              </p:par>
                              <p:par>
                                <p:cTn id="235" presetID="10" presetClass="entr" presetSubtype="0" fill="hold" grpId="0" nodeType="withEffect">
                                  <p:stCondLst>
                                    <p:cond delay="1750"/>
                                  </p:stCondLst>
                                  <p:childTnLst>
                                    <p:set>
                                      <p:cBhvr>
                                        <p:cTn id="236" dur="1" fill="hold">
                                          <p:stCondLst>
                                            <p:cond delay="0"/>
                                          </p:stCondLst>
                                        </p:cTn>
                                        <p:tgtEl>
                                          <p:spTgt spid="752"/>
                                        </p:tgtEl>
                                        <p:attrNameLst>
                                          <p:attrName>style.visibility</p:attrName>
                                        </p:attrNameLst>
                                      </p:cBhvr>
                                      <p:to>
                                        <p:strVal val="visible"/>
                                      </p:to>
                                    </p:set>
                                    <p:animEffect transition="in" filter="fade">
                                      <p:cBhvr>
                                        <p:cTn id="237" dur="250"/>
                                        <p:tgtEl>
                                          <p:spTgt spid="752"/>
                                        </p:tgtEl>
                                      </p:cBhvr>
                                    </p:animEffect>
                                  </p:childTnLst>
                                </p:cTn>
                              </p:par>
                              <p:par>
                                <p:cTn id="238" presetID="42" presetClass="path" presetSubtype="0" decel="100000" fill="hold" grpId="1" nodeType="withEffect">
                                  <p:stCondLst>
                                    <p:cond delay="1750"/>
                                  </p:stCondLst>
                                  <p:childTnLst>
                                    <p:animMotion origin="layout" path="M -4.49834E-6 5.5379E-7 L -0.14756 -0.22674 " pathEditMode="relative" rAng="0" ptsTypes="AA">
                                      <p:cBhvr>
                                        <p:cTn id="239" dur="600" spd="-100000" fill="hold"/>
                                        <p:tgtEl>
                                          <p:spTgt spid="752"/>
                                        </p:tgtEl>
                                        <p:attrNameLst>
                                          <p:attrName>ppt_x</p:attrName>
                                          <p:attrName>ppt_y</p:attrName>
                                        </p:attrNameLst>
                                      </p:cBhvr>
                                      <p:rCtr x="-7378" y="-11348"/>
                                    </p:animMotion>
                                  </p:childTnLst>
                                </p:cTn>
                              </p:par>
                              <p:par>
                                <p:cTn id="240" presetID="10" presetClass="entr" presetSubtype="0" fill="hold" grpId="0" nodeType="withEffect">
                                  <p:stCondLst>
                                    <p:cond delay="2250"/>
                                  </p:stCondLst>
                                  <p:childTnLst>
                                    <p:set>
                                      <p:cBhvr>
                                        <p:cTn id="241" dur="1" fill="hold">
                                          <p:stCondLst>
                                            <p:cond delay="0"/>
                                          </p:stCondLst>
                                        </p:cTn>
                                        <p:tgtEl>
                                          <p:spTgt spid="751"/>
                                        </p:tgtEl>
                                        <p:attrNameLst>
                                          <p:attrName>style.visibility</p:attrName>
                                        </p:attrNameLst>
                                      </p:cBhvr>
                                      <p:to>
                                        <p:strVal val="visible"/>
                                      </p:to>
                                    </p:set>
                                    <p:animEffect transition="in" filter="fade">
                                      <p:cBhvr>
                                        <p:cTn id="242" dur="300"/>
                                        <p:tgtEl>
                                          <p:spTgt spid="751"/>
                                        </p:tgtEl>
                                      </p:cBhvr>
                                    </p:animEffect>
                                  </p:childTnLst>
                                </p:cTn>
                              </p:par>
                            </p:childTnLst>
                          </p:cTn>
                        </p:par>
                      </p:childTnLst>
                    </p:cTn>
                  </p:par>
                  <p:par>
                    <p:cTn id="243" fill="hold">
                      <p:stCondLst>
                        <p:cond delay="indefinite"/>
                      </p:stCondLst>
                      <p:childTnLst>
                        <p:par>
                          <p:cTn id="244" fill="hold">
                            <p:stCondLst>
                              <p:cond delay="0"/>
                            </p:stCondLst>
                            <p:childTnLst>
                              <p:par>
                                <p:cTn id="245" presetID="2" presetClass="entr" presetSubtype="8" decel="100000" fill="hold" grpId="0" nodeType="clickEffect">
                                  <p:stCondLst>
                                    <p:cond delay="0"/>
                                  </p:stCondLst>
                                  <p:childTnLst>
                                    <p:set>
                                      <p:cBhvr>
                                        <p:cTn id="246" dur="1" fill="hold">
                                          <p:stCondLst>
                                            <p:cond delay="0"/>
                                          </p:stCondLst>
                                        </p:cTn>
                                        <p:tgtEl>
                                          <p:spTgt spid="590"/>
                                        </p:tgtEl>
                                        <p:attrNameLst>
                                          <p:attrName>style.visibility</p:attrName>
                                        </p:attrNameLst>
                                      </p:cBhvr>
                                      <p:to>
                                        <p:strVal val="visible"/>
                                      </p:to>
                                    </p:set>
                                    <p:anim calcmode="lin" valueType="num">
                                      <p:cBhvr additive="base">
                                        <p:cTn id="247" dur="400" fill="hold"/>
                                        <p:tgtEl>
                                          <p:spTgt spid="590"/>
                                        </p:tgtEl>
                                        <p:attrNameLst>
                                          <p:attrName>ppt_x</p:attrName>
                                        </p:attrNameLst>
                                      </p:cBhvr>
                                      <p:tavLst>
                                        <p:tav tm="0">
                                          <p:val>
                                            <p:strVal val="0-#ppt_w/2"/>
                                          </p:val>
                                        </p:tav>
                                        <p:tav tm="100000">
                                          <p:val>
                                            <p:strVal val="#ppt_x"/>
                                          </p:val>
                                        </p:tav>
                                      </p:tavLst>
                                    </p:anim>
                                    <p:anim calcmode="lin" valueType="num">
                                      <p:cBhvr additive="base">
                                        <p:cTn id="248" dur="400" fill="hold"/>
                                        <p:tgtEl>
                                          <p:spTgt spid="590"/>
                                        </p:tgtEl>
                                        <p:attrNameLst>
                                          <p:attrName>ppt_y</p:attrName>
                                        </p:attrNameLst>
                                      </p:cBhvr>
                                      <p:tavLst>
                                        <p:tav tm="0">
                                          <p:val>
                                            <p:strVal val="#ppt_y"/>
                                          </p:val>
                                        </p:tav>
                                        <p:tav tm="100000">
                                          <p:val>
                                            <p:strVal val="#ppt_y"/>
                                          </p:val>
                                        </p:tav>
                                      </p:tavLst>
                                    </p:anim>
                                  </p:childTnLst>
                                </p:cTn>
                              </p:par>
                              <p:par>
                                <p:cTn id="249" presetID="2" presetClass="entr" presetSubtype="8" decel="100000" fill="hold" grpId="0" nodeType="withEffect">
                                  <p:stCondLst>
                                    <p:cond delay="0"/>
                                  </p:stCondLst>
                                  <p:childTnLst>
                                    <p:set>
                                      <p:cBhvr>
                                        <p:cTn id="250" dur="1" fill="hold">
                                          <p:stCondLst>
                                            <p:cond delay="0"/>
                                          </p:stCondLst>
                                        </p:cTn>
                                        <p:tgtEl>
                                          <p:spTgt spid="577"/>
                                        </p:tgtEl>
                                        <p:attrNameLst>
                                          <p:attrName>style.visibility</p:attrName>
                                        </p:attrNameLst>
                                      </p:cBhvr>
                                      <p:to>
                                        <p:strVal val="visible"/>
                                      </p:to>
                                    </p:set>
                                    <p:anim calcmode="lin" valueType="num">
                                      <p:cBhvr additive="base">
                                        <p:cTn id="251" dur="1250" fill="hold"/>
                                        <p:tgtEl>
                                          <p:spTgt spid="577"/>
                                        </p:tgtEl>
                                        <p:attrNameLst>
                                          <p:attrName>ppt_x</p:attrName>
                                        </p:attrNameLst>
                                      </p:cBhvr>
                                      <p:tavLst>
                                        <p:tav tm="0">
                                          <p:val>
                                            <p:strVal val="0-#ppt_w/2"/>
                                          </p:val>
                                        </p:tav>
                                        <p:tav tm="100000">
                                          <p:val>
                                            <p:strVal val="#ppt_x"/>
                                          </p:val>
                                        </p:tav>
                                      </p:tavLst>
                                    </p:anim>
                                    <p:anim calcmode="lin" valueType="num">
                                      <p:cBhvr additive="base">
                                        <p:cTn id="252" dur="1250" fill="hold"/>
                                        <p:tgtEl>
                                          <p:spTgt spid="577"/>
                                        </p:tgtEl>
                                        <p:attrNameLst>
                                          <p:attrName>ppt_y</p:attrName>
                                        </p:attrNameLst>
                                      </p:cBhvr>
                                      <p:tavLst>
                                        <p:tav tm="0">
                                          <p:val>
                                            <p:strVal val="#ppt_y"/>
                                          </p:val>
                                        </p:tav>
                                        <p:tav tm="100000">
                                          <p:val>
                                            <p:strVal val="#ppt_y"/>
                                          </p:val>
                                        </p:tav>
                                      </p:tavLst>
                                    </p:anim>
                                  </p:childTnLst>
                                </p:cTn>
                              </p:par>
                              <p:par>
                                <p:cTn id="253" presetID="2" presetClass="entr" presetSubtype="2" decel="100000" fill="hold" nodeType="withEffect">
                                  <p:stCondLst>
                                    <p:cond delay="1000"/>
                                  </p:stCondLst>
                                  <p:childTnLst>
                                    <p:set>
                                      <p:cBhvr>
                                        <p:cTn id="254" dur="1" fill="hold">
                                          <p:stCondLst>
                                            <p:cond delay="0"/>
                                          </p:stCondLst>
                                        </p:cTn>
                                        <p:tgtEl>
                                          <p:spTgt spid="582"/>
                                        </p:tgtEl>
                                        <p:attrNameLst>
                                          <p:attrName>style.visibility</p:attrName>
                                        </p:attrNameLst>
                                      </p:cBhvr>
                                      <p:to>
                                        <p:strVal val="visible"/>
                                      </p:to>
                                    </p:set>
                                    <p:anim calcmode="lin" valueType="num">
                                      <p:cBhvr additive="base">
                                        <p:cTn id="255" dur="800" fill="hold"/>
                                        <p:tgtEl>
                                          <p:spTgt spid="582"/>
                                        </p:tgtEl>
                                        <p:attrNameLst>
                                          <p:attrName>ppt_x</p:attrName>
                                        </p:attrNameLst>
                                      </p:cBhvr>
                                      <p:tavLst>
                                        <p:tav tm="0">
                                          <p:val>
                                            <p:strVal val="1+#ppt_w/2"/>
                                          </p:val>
                                        </p:tav>
                                        <p:tav tm="100000">
                                          <p:val>
                                            <p:strVal val="#ppt_x"/>
                                          </p:val>
                                        </p:tav>
                                      </p:tavLst>
                                    </p:anim>
                                    <p:anim calcmode="lin" valueType="num">
                                      <p:cBhvr additive="base">
                                        <p:cTn id="256" dur="800" fill="hold"/>
                                        <p:tgtEl>
                                          <p:spTgt spid="582"/>
                                        </p:tgtEl>
                                        <p:attrNameLst>
                                          <p:attrName>ppt_y</p:attrName>
                                        </p:attrNameLst>
                                      </p:cBhvr>
                                      <p:tavLst>
                                        <p:tav tm="0">
                                          <p:val>
                                            <p:strVal val="#ppt_y"/>
                                          </p:val>
                                        </p:tav>
                                        <p:tav tm="100000">
                                          <p:val>
                                            <p:strVal val="#ppt_y"/>
                                          </p:val>
                                        </p:tav>
                                      </p:tavLst>
                                    </p:anim>
                                  </p:childTnLst>
                                </p:cTn>
                              </p:par>
                              <p:par>
                                <p:cTn id="257" presetID="22" presetClass="entr" presetSubtype="4" fill="hold" grpId="0" nodeType="withEffect">
                                  <p:stCondLst>
                                    <p:cond delay="1750"/>
                                  </p:stCondLst>
                                  <p:childTnLst>
                                    <p:set>
                                      <p:cBhvr>
                                        <p:cTn id="258" dur="1" fill="hold">
                                          <p:stCondLst>
                                            <p:cond delay="0"/>
                                          </p:stCondLst>
                                        </p:cTn>
                                        <p:tgtEl>
                                          <p:spTgt spid="667"/>
                                        </p:tgtEl>
                                        <p:attrNameLst>
                                          <p:attrName>style.visibility</p:attrName>
                                        </p:attrNameLst>
                                      </p:cBhvr>
                                      <p:to>
                                        <p:strVal val="visible"/>
                                      </p:to>
                                    </p:set>
                                    <p:animEffect transition="in" filter="wipe(down)">
                                      <p:cBhvr>
                                        <p:cTn id="259" dur="200"/>
                                        <p:tgtEl>
                                          <p:spTgt spid="667"/>
                                        </p:tgtEl>
                                      </p:cBhvr>
                                    </p:animEffect>
                                  </p:childTnLst>
                                </p:cTn>
                              </p:par>
                              <p:par>
                                <p:cTn id="260" presetID="22" presetClass="entr" presetSubtype="4" fill="hold" grpId="0" nodeType="withEffect">
                                  <p:stCondLst>
                                    <p:cond delay="1770"/>
                                  </p:stCondLst>
                                  <p:childTnLst>
                                    <p:set>
                                      <p:cBhvr>
                                        <p:cTn id="261" dur="1" fill="hold">
                                          <p:stCondLst>
                                            <p:cond delay="0"/>
                                          </p:stCondLst>
                                        </p:cTn>
                                        <p:tgtEl>
                                          <p:spTgt spid="668"/>
                                        </p:tgtEl>
                                        <p:attrNameLst>
                                          <p:attrName>style.visibility</p:attrName>
                                        </p:attrNameLst>
                                      </p:cBhvr>
                                      <p:to>
                                        <p:strVal val="visible"/>
                                      </p:to>
                                    </p:set>
                                    <p:animEffect transition="in" filter="wipe(down)">
                                      <p:cBhvr>
                                        <p:cTn id="262" dur="200"/>
                                        <p:tgtEl>
                                          <p:spTgt spid="668"/>
                                        </p:tgtEl>
                                      </p:cBhvr>
                                    </p:animEffect>
                                  </p:childTnLst>
                                </p:cTn>
                              </p:par>
                              <p:par>
                                <p:cTn id="263" presetID="22" presetClass="entr" presetSubtype="4" fill="hold" grpId="0" nodeType="withEffect">
                                  <p:stCondLst>
                                    <p:cond delay="1790"/>
                                  </p:stCondLst>
                                  <p:childTnLst>
                                    <p:set>
                                      <p:cBhvr>
                                        <p:cTn id="264" dur="1" fill="hold">
                                          <p:stCondLst>
                                            <p:cond delay="0"/>
                                          </p:stCondLst>
                                        </p:cTn>
                                        <p:tgtEl>
                                          <p:spTgt spid="669"/>
                                        </p:tgtEl>
                                        <p:attrNameLst>
                                          <p:attrName>style.visibility</p:attrName>
                                        </p:attrNameLst>
                                      </p:cBhvr>
                                      <p:to>
                                        <p:strVal val="visible"/>
                                      </p:to>
                                    </p:set>
                                    <p:animEffect transition="in" filter="wipe(down)">
                                      <p:cBhvr>
                                        <p:cTn id="265" dur="200"/>
                                        <p:tgtEl>
                                          <p:spTgt spid="669"/>
                                        </p:tgtEl>
                                      </p:cBhvr>
                                    </p:animEffect>
                                  </p:childTnLst>
                                </p:cTn>
                              </p:par>
                              <p:par>
                                <p:cTn id="266" presetID="22" presetClass="entr" presetSubtype="4" fill="hold" grpId="0" nodeType="withEffect">
                                  <p:stCondLst>
                                    <p:cond delay="1810"/>
                                  </p:stCondLst>
                                  <p:childTnLst>
                                    <p:set>
                                      <p:cBhvr>
                                        <p:cTn id="267" dur="1" fill="hold">
                                          <p:stCondLst>
                                            <p:cond delay="0"/>
                                          </p:stCondLst>
                                        </p:cTn>
                                        <p:tgtEl>
                                          <p:spTgt spid="670"/>
                                        </p:tgtEl>
                                        <p:attrNameLst>
                                          <p:attrName>style.visibility</p:attrName>
                                        </p:attrNameLst>
                                      </p:cBhvr>
                                      <p:to>
                                        <p:strVal val="visible"/>
                                      </p:to>
                                    </p:set>
                                    <p:animEffect transition="in" filter="wipe(down)">
                                      <p:cBhvr>
                                        <p:cTn id="268" dur="200"/>
                                        <p:tgtEl>
                                          <p:spTgt spid="670"/>
                                        </p:tgtEl>
                                      </p:cBhvr>
                                    </p:animEffect>
                                  </p:childTnLst>
                                </p:cTn>
                              </p:par>
                              <p:par>
                                <p:cTn id="269" presetID="22" presetClass="entr" presetSubtype="4" fill="hold" grpId="0" nodeType="withEffect">
                                  <p:stCondLst>
                                    <p:cond delay="1830"/>
                                  </p:stCondLst>
                                  <p:childTnLst>
                                    <p:set>
                                      <p:cBhvr>
                                        <p:cTn id="270" dur="1" fill="hold">
                                          <p:stCondLst>
                                            <p:cond delay="0"/>
                                          </p:stCondLst>
                                        </p:cTn>
                                        <p:tgtEl>
                                          <p:spTgt spid="671"/>
                                        </p:tgtEl>
                                        <p:attrNameLst>
                                          <p:attrName>style.visibility</p:attrName>
                                        </p:attrNameLst>
                                      </p:cBhvr>
                                      <p:to>
                                        <p:strVal val="visible"/>
                                      </p:to>
                                    </p:set>
                                    <p:animEffect transition="in" filter="wipe(down)">
                                      <p:cBhvr>
                                        <p:cTn id="271" dur="200"/>
                                        <p:tgtEl>
                                          <p:spTgt spid="671"/>
                                        </p:tgtEl>
                                      </p:cBhvr>
                                    </p:animEffect>
                                  </p:childTnLst>
                                </p:cTn>
                              </p:par>
                              <p:par>
                                <p:cTn id="272" presetID="53" presetClass="entr" presetSubtype="16" fill="hold" nodeType="withEffect">
                                  <p:stCondLst>
                                    <p:cond delay="1830"/>
                                  </p:stCondLst>
                                  <p:childTnLst>
                                    <p:set>
                                      <p:cBhvr>
                                        <p:cTn id="273" dur="1" fill="hold">
                                          <p:stCondLst>
                                            <p:cond delay="0"/>
                                          </p:stCondLst>
                                        </p:cTn>
                                        <p:tgtEl>
                                          <p:spTgt spid="672"/>
                                        </p:tgtEl>
                                        <p:attrNameLst>
                                          <p:attrName>style.visibility</p:attrName>
                                        </p:attrNameLst>
                                      </p:cBhvr>
                                      <p:to>
                                        <p:strVal val="visible"/>
                                      </p:to>
                                    </p:set>
                                    <p:anim calcmode="lin" valueType="num">
                                      <p:cBhvr>
                                        <p:cTn id="274" dur="300" fill="hold"/>
                                        <p:tgtEl>
                                          <p:spTgt spid="672"/>
                                        </p:tgtEl>
                                        <p:attrNameLst>
                                          <p:attrName>ppt_w</p:attrName>
                                        </p:attrNameLst>
                                      </p:cBhvr>
                                      <p:tavLst>
                                        <p:tav tm="0">
                                          <p:val>
                                            <p:fltVal val="0"/>
                                          </p:val>
                                        </p:tav>
                                        <p:tav tm="100000">
                                          <p:val>
                                            <p:strVal val="#ppt_w"/>
                                          </p:val>
                                        </p:tav>
                                      </p:tavLst>
                                    </p:anim>
                                    <p:anim calcmode="lin" valueType="num">
                                      <p:cBhvr>
                                        <p:cTn id="275" dur="300" fill="hold"/>
                                        <p:tgtEl>
                                          <p:spTgt spid="672"/>
                                        </p:tgtEl>
                                        <p:attrNameLst>
                                          <p:attrName>ppt_h</p:attrName>
                                        </p:attrNameLst>
                                      </p:cBhvr>
                                      <p:tavLst>
                                        <p:tav tm="0">
                                          <p:val>
                                            <p:fltVal val="0"/>
                                          </p:val>
                                        </p:tav>
                                        <p:tav tm="100000">
                                          <p:val>
                                            <p:strVal val="#ppt_h"/>
                                          </p:val>
                                        </p:tav>
                                      </p:tavLst>
                                    </p:anim>
                                    <p:animEffect transition="in" filter="fade">
                                      <p:cBhvr>
                                        <p:cTn id="276" dur="300"/>
                                        <p:tgtEl>
                                          <p:spTgt spid="672"/>
                                        </p:tgtEl>
                                      </p:cBhvr>
                                    </p:animEffect>
                                  </p:childTnLst>
                                </p:cTn>
                              </p:par>
                              <p:par>
                                <p:cTn id="277" presetID="53" presetClass="entr" presetSubtype="16" fill="hold" grpId="0" nodeType="withEffect">
                                  <p:stCondLst>
                                    <p:cond delay="1850"/>
                                  </p:stCondLst>
                                  <p:childTnLst>
                                    <p:set>
                                      <p:cBhvr>
                                        <p:cTn id="278" dur="1" fill="hold">
                                          <p:stCondLst>
                                            <p:cond delay="0"/>
                                          </p:stCondLst>
                                        </p:cTn>
                                        <p:tgtEl>
                                          <p:spTgt spid="678"/>
                                        </p:tgtEl>
                                        <p:attrNameLst>
                                          <p:attrName>style.visibility</p:attrName>
                                        </p:attrNameLst>
                                      </p:cBhvr>
                                      <p:to>
                                        <p:strVal val="visible"/>
                                      </p:to>
                                    </p:set>
                                    <p:anim calcmode="lin" valueType="num">
                                      <p:cBhvr>
                                        <p:cTn id="279" dur="300" fill="hold"/>
                                        <p:tgtEl>
                                          <p:spTgt spid="678"/>
                                        </p:tgtEl>
                                        <p:attrNameLst>
                                          <p:attrName>ppt_w</p:attrName>
                                        </p:attrNameLst>
                                      </p:cBhvr>
                                      <p:tavLst>
                                        <p:tav tm="0">
                                          <p:val>
                                            <p:fltVal val="0"/>
                                          </p:val>
                                        </p:tav>
                                        <p:tav tm="100000">
                                          <p:val>
                                            <p:strVal val="#ppt_w"/>
                                          </p:val>
                                        </p:tav>
                                      </p:tavLst>
                                    </p:anim>
                                    <p:anim calcmode="lin" valueType="num">
                                      <p:cBhvr>
                                        <p:cTn id="280" dur="300" fill="hold"/>
                                        <p:tgtEl>
                                          <p:spTgt spid="678"/>
                                        </p:tgtEl>
                                        <p:attrNameLst>
                                          <p:attrName>ppt_h</p:attrName>
                                        </p:attrNameLst>
                                      </p:cBhvr>
                                      <p:tavLst>
                                        <p:tav tm="0">
                                          <p:val>
                                            <p:fltVal val="0"/>
                                          </p:val>
                                        </p:tav>
                                        <p:tav tm="100000">
                                          <p:val>
                                            <p:strVal val="#ppt_h"/>
                                          </p:val>
                                        </p:tav>
                                      </p:tavLst>
                                    </p:anim>
                                    <p:animEffect transition="in" filter="fade">
                                      <p:cBhvr>
                                        <p:cTn id="281" dur="300"/>
                                        <p:tgtEl>
                                          <p:spTgt spid="678"/>
                                        </p:tgtEl>
                                      </p:cBhvr>
                                    </p:animEffect>
                                  </p:childTnLst>
                                </p:cTn>
                              </p:par>
                              <p:par>
                                <p:cTn id="282" presetID="22" presetClass="entr" presetSubtype="8" fill="hold" grpId="0" nodeType="withEffect">
                                  <p:stCondLst>
                                    <p:cond delay="1900"/>
                                  </p:stCondLst>
                                  <p:childTnLst>
                                    <p:set>
                                      <p:cBhvr>
                                        <p:cTn id="283" dur="1" fill="hold">
                                          <p:stCondLst>
                                            <p:cond delay="0"/>
                                          </p:stCondLst>
                                        </p:cTn>
                                        <p:tgtEl>
                                          <p:spTgt spid="676"/>
                                        </p:tgtEl>
                                        <p:attrNameLst>
                                          <p:attrName>style.visibility</p:attrName>
                                        </p:attrNameLst>
                                      </p:cBhvr>
                                      <p:to>
                                        <p:strVal val="visible"/>
                                      </p:to>
                                    </p:set>
                                    <p:animEffect transition="in" filter="wipe(left)">
                                      <p:cBhvr>
                                        <p:cTn id="284" dur="300"/>
                                        <p:tgtEl>
                                          <p:spTgt spid="676"/>
                                        </p:tgtEl>
                                      </p:cBhvr>
                                    </p:animEffect>
                                  </p:childTnLst>
                                </p:cTn>
                              </p:par>
                              <p:par>
                                <p:cTn id="285" presetID="53" presetClass="entr" presetSubtype="16" fill="hold" grpId="0" nodeType="withEffect">
                                  <p:stCondLst>
                                    <p:cond delay="1950"/>
                                  </p:stCondLst>
                                  <p:childTnLst>
                                    <p:set>
                                      <p:cBhvr>
                                        <p:cTn id="286" dur="1" fill="hold">
                                          <p:stCondLst>
                                            <p:cond delay="0"/>
                                          </p:stCondLst>
                                        </p:cTn>
                                        <p:tgtEl>
                                          <p:spTgt spid="679"/>
                                        </p:tgtEl>
                                        <p:attrNameLst>
                                          <p:attrName>style.visibility</p:attrName>
                                        </p:attrNameLst>
                                      </p:cBhvr>
                                      <p:to>
                                        <p:strVal val="visible"/>
                                      </p:to>
                                    </p:set>
                                    <p:anim calcmode="lin" valueType="num">
                                      <p:cBhvr>
                                        <p:cTn id="287" dur="300" fill="hold"/>
                                        <p:tgtEl>
                                          <p:spTgt spid="679"/>
                                        </p:tgtEl>
                                        <p:attrNameLst>
                                          <p:attrName>ppt_w</p:attrName>
                                        </p:attrNameLst>
                                      </p:cBhvr>
                                      <p:tavLst>
                                        <p:tav tm="0">
                                          <p:val>
                                            <p:fltVal val="0"/>
                                          </p:val>
                                        </p:tav>
                                        <p:tav tm="100000">
                                          <p:val>
                                            <p:strVal val="#ppt_w"/>
                                          </p:val>
                                        </p:tav>
                                      </p:tavLst>
                                    </p:anim>
                                    <p:anim calcmode="lin" valueType="num">
                                      <p:cBhvr>
                                        <p:cTn id="288" dur="300" fill="hold"/>
                                        <p:tgtEl>
                                          <p:spTgt spid="679"/>
                                        </p:tgtEl>
                                        <p:attrNameLst>
                                          <p:attrName>ppt_h</p:attrName>
                                        </p:attrNameLst>
                                      </p:cBhvr>
                                      <p:tavLst>
                                        <p:tav tm="0">
                                          <p:val>
                                            <p:fltVal val="0"/>
                                          </p:val>
                                        </p:tav>
                                        <p:tav tm="100000">
                                          <p:val>
                                            <p:strVal val="#ppt_h"/>
                                          </p:val>
                                        </p:tav>
                                      </p:tavLst>
                                    </p:anim>
                                    <p:animEffect transition="in" filter="fade">
                                      <p:cBhvr>
                                        <p:cTn id="289" dur="300"/>
                                        <p:tgtEl>
                                          <p:spTgt spid="679"/>
                                        </p:tgtEl>
                                      </p:cBhvr>
                                    </p:animEffect>
                                  </p:childTnLst>
                                </p:cTn>
                              </p:par>
                              <p:par>
                                <p:cTn id="290" presetID="22" presetClass="entr" presetSubtype="8" fill="hold" grpId="0" nodeType="withEffect">
                                  <p:stCondLst>
                                    <p:cond delay="2000"/>
                                  </p:stCondLst>
                                  <p:childTnLst>
                                    <p:set>
                                      <p:cBhvr>
                                        <p:cTn id="291" dur="1" fill="hold">
                                          <p:stCondLst>
                                            <p:cond delay="0"/>
                                          </p:stCondLst>
                                        </p:cTn>
                                        <p:tgtEl>
                                          <p:spTgt spid="677"/>
                                        </p:tgtEl>
                                        <p:attrNameLst>
                                          <p:attrName>style.visibility</p:attrName>
                                        </p:attrNameLst>
                                      </p:cBhvr>
                                      <p:to>
                                        <p:strVal val="visible"/>
                                      </p:to>
                                    </p:set>
                                    <p:animEffect transition="in" filter="wipe(left)">
                                      <p:cBhvr>
                                        <p:cTn id="292" dur="300"/>
                                        <p:tgtEl>
                                          <p:spTgt spid="677"/>
                                        </p:tgtEl>
                                      </p:cBhvr>
                                    </p:animEffect>
                                  </p:childTnLst>
                                </p:cTn>
                              </p:par>
                              <p:par>
                                <p:cTn id="293" presetID="53" presetClass="entr" presetSubtype="16" fill="hold" grpId="0" nodeType="withEffect">
                                  <p:stCondLst>
                                    <p:cond delay="2050"/>
                                  </p:stCondLst>
                                  <p:childTnLst>
                                    <p:set>
                                      <p:cBhvr>
                                        <p:cTn id="294" dur="1" fill="hold">
                                          <p:stCondLst>
                                            <p:cond delay="0"/>
                                          </p:stCondLst>
                                        </p:cTn>
                                        <p:tgtEl>
                                          <p:spTgt spid="680"/>
                                        </p:tgtEl>
                                        <p:attrNameLst>
                                          <p:attrName>style.visibility</p:attrName>
                                        </p:attrNameLst>
                                      </p:cBhvr>
                                      <p:to>
                                        <p:strVal val="visible"/>
                                      </p:to>
                                    </p:set>
                                    <p:anim calcmode="lin" valueType="num">
                                      <p:cBhvr>
                                        <p:cTn id="295" dur="300" fill="hold"/>
                                        <p:tgtEl>
                                          <p:spTgt spid="680"/>
                                        </p:tgtEl>
                                        <p:attrNameLst>
                                          <p:attrName>ppt_w</p:attrName>
                                        </p:attrNameLst>
                                      </p:cBhvr>
                                      <p:tavLst>
                                        <p:tav tm="0">
                                          <p:val>
                                            <p:fltVal val="0"/>
                                          </p:val>
                                        </p:tav>
                                        <p:tav tm="100000">
                                          <p:val>
                                            <p:strVal val="#ppt_w"/>
                                          </p:val>
                                        </p:tav>
                                      </p:tavLst>
                                    </p:anim>
                                    <p:anim calcmode="lin" valueType="num">
                                      <p:cBhvr>
                                        <p:cTn id="296" dur="300" fill="hold"/>
                                        <p:tgtEl>
                                          <p:spTgt spid="680"/>
                                        </p:tgtEl>
                                        <p:attrNameLst>
                                          <p:attrName>ppt_h</p:attrName>
                                        </p:attrNameLst>
                                      </p:cBhvr>
                                      <p:tavLst>
                                        <p:tav tm="0">
                                          <p:val>
                                            <p:fltVal val="0"/>
                                          </p:val>
                                        </p:tav>
                                        <p:tav tm="100000">
                                          <p:val>
                                            <p:strVal val="#ppt_h"/>
                                          </p:val>
                                        </p:tav>
                                      </p:tavLst>
                                    </p:anim>
                                    <p:animEffect transition="in" filter="fade">
                                      <p:cBhvr>
                                        <p:cTn id="297" dur="300"/>
                                        <p:tgtEl>
                                          <p:spTgt spid="680"/>
                                        </p:tgtEl>
                                      </p:cBhvr>
                                    </p:animEffect>
                                  </p:childTnLst>
                                </p:cTn>
                              </p:par>
                              <p:par>
                                <p:cTn id="298" presetID="22" presetClass="entr" presetSubtype="8" fill="hold" grpId="0" nodeType="withEffect">
                                  <p:stCondLst>
                                    <p:cond delay="2100"/>
                                  </p:stCondLst>
                                  <p:childTnLst>
                                    <p:set>
                                      <p:cBhvr>
                                        <p:cTn id="299" dur="1" fill="hold">
                                          <p:stCondLst>
                                            <p:cond delay="0"/>
                                          </p:stCondLst>
                                        </p:cTn>
                                        <p:tgtEl>
                                          <p:spTgt spid="675"/>
                                        </p:tgtEl>
                                        <p:attrNameLst>
                                          <p:attrName>style.visibility</p:attrName>
                                        </p:attrNameLst>
                                      </p:cBhvr>
                                      <p:to>
                                        <p:strVal val="visible"/>
                                      </p:to>
                                    </p:set>
                                    <p:animEffect transition="in" filter="wipe(left)">
                                      <p:cBhvr>
                                        <p:cTn id="300" dur="300"/>
                                        <p:tgtEl>
                                          <p:spTgt spid="675"/>
                                        </p:tgtEl>
                                      </p:cBhvr>
                                    </p:animEffect>
                                  </p:childTnLst>
                                </p:cTn>
                              </p:par>
                              <p:par>
                                <p:cTn id="301" presetID="10" presetClass="entr" presetSubtype="0" fill="hold" nodeType="withEffect">
                                  <p:stCondLst>
                                    <p:cond delay="2150"/>
                                  </p:stCondLst>
                                  <p:childTnLst>
                                    <p:set>
                                      <p:cBhvr>
                                        <p:cTn id="302" dur="1" fill="hold">
                                          <p:stCondLst>
                                            <p:cond delay="0"/>
                                          </p:stCondLst>
                                        </p:cTn>
                                        <p:tgtEl>
                                          <p:spTgt spid="593"/>
                                        </p:tgtEl>
                                        <p:attrNameLst>
                                          <p:attrName>style.visibility</p:attrName>
                                        </p:attrNameLst>
                                      </p:cBhvr>
                                      <p:to>
                                        <p:strVal val="visible"/>
                                      </p:to>
                                    </p:set>
                                    <p:animEffect transition="in" filter="fade">
                                      <p:cBhvr>
                                        <p:cTn id="303" dur="300"/>
                                        <p:tgtEl>
                                          <p:spTgt spid="593"/>
                                        </p:tgtEl>
                                      </p:cBhvr>
                                    </p:animEffect>
                                  </p:childTnLst>
                                </p:cTn>
                              </p:par>
                              <p:par>
                                <p:cTn id="304" presetID="53" presetClass="entr" presetSubtype="16" fill="hold" grpId="0" nodeType="withEffect">
                                  <p:stCondLst>
                                    <p:cond delay="2200"/>
                                  </p:stCondLst>
                                  <p:childTnLst>
                                    <p:set>
                                      <p:cBhvr>
                                        <p:cTn id="305" dur="1" fill="hold">
                                          <p:stCondLst>
                                            <p:cond delay="0"/>
                                          </p:stCondLst>
                                        </p:cTn>
                                        <p:tgtEl>
                                          <p:spTgt spid="591"/>
                                        </p:tgtEl>
                                        <p:attrNameLst>
                                          <p:attrName>style.visibility</p:attrName>
                                        </p:attrNameLst>
                                      </p:cBhvr>
                                      <p:to>
                                        <p:strVal val="visible"/>
                                      </p:to>
                                    </p:set>
                                    <p:anim calcmode="lin" valueType="num">
                                      <p:cBhvr>
                                        <p:cTn id="306" dur="300" fill="hold"/>
                                        <p:tgtEl>
                                          <p:spTgt spid="591"/>
                                        </p:tgtEl>
                                        <p:attrNameLst>
                                          <p:attrName>ppt_w</p:attrName>
                                        </p:attrNameLst>
                                      </p:cBhvr>
                                      <p:tavLst>
                                        <p:tav tm="0">
                                          <p:val>
                                            <p:fltVal val="0"/>
                                          </p:val>
                                        </p:tav>
                                        <p:tav tm="100000">
                                          <p:val>
                                            <p:strVal val="#ppt_w"/>
                                          </p:val>
                                        </p:tav>
                                      </p:tavLst>
                                    </p:anim>
                                    <p:anim calcmode="lin" valueType="num">
                                      <p:cBhvr>
                                        <p:cTn id="307" dur="300" fill="hold"/>
                                        <p:tgtEl>
                                          <p:spTgt spid="591"/>
                                        </p:tgtEl>
                                        <p:attrNameLst>
                                          <p:attrName>ppt_h</p:attrName>
                                        </p:attrNameLst>
                                      </p:cBhvr>
                                      <p:tavLst>
                                        <p:tav tm="0">
                                          <p:val>
                                            <p:fltVal val="0"/>
                                          </p:val>
                                        </p:tav>
                                        <p:tav tm="100000">
                                          <p:val>
                                            <p:strVal val="#ppt_h"/>
                                          </p:val>
                                        </p:tav>
                                      </p:tavLst>
                                    </p:anim>
                                    <p:animEffect transition="in" filter="fade">
                                      <p:cBhvr>
                                        <p:cTn id="308" dur="300"/>
                                        <p:tgtEl>
                                          <p:spTgt spid="591"/>
                                        </p:tgtEl>
                                      </p:cBhvr>
                                    </p:animEffect>
                                  </p:childTnLst>
                                </p:cTn>
                              </p:par>
                              <p:par>
                                <p:cTn id="309" presetID="53" presetClass="entr" presetSubtype="16" fill="hold" nodeType="withEffect">
                                  <p:stCondLst>
                                    <p:cond delay="2200"/>
                                  </p:stCondLst>
                                  <p:childTnLst>
                                    <p:set>
                                      <p:cBhvr>
                                        <p:cTn id="310" dur="1" fill="hold">
                                          <p:stCondLst>
                                            <p:cond delay="0"/>
                                          </p:stCondLst>
                                        </p:cTn>
                                        <p:tgtEl>
                                          <p:spTgt spid="821"/>
                                        </p:tgtEl>
                                        <p:attrNameLst>
                                          <p:attrName>style.visibility</p:attrName>
                                        </p:attrNameLst>
                                      </p:cBhvr>
                                      <p:to>
                                        <p:strVal val="visible"/>
                                      </p:to>
                                    </p:set>
                                    <p:anim calcmode="lin" valueType="num">
                                      <p:cBhvr>
                                        <p:cTn id="311" dur="300" fill="hold"/>
                                        <p:tgtEl>
                                          <p:spTgt spid="821"/>
                                        </p:tgtEl>
                                        <p:attrNameLst>
                                          <p:attrName>ppt_w</p:attrName>
                                        </p:attrNameLst>
                                      </p:cBhvr>
                                      <p:tavLst>
                                        <p:tav tm="0">
                                          <p:val>
                                            <p:fltVal val="0"/>
                                          </p:val>
                                        </p:tav>
                                        <p:tav tm="100000">
                                          <p:val>
                                            <p:strVal val="#ppt_w"/>
                                          </p:val>
                                        </p:tav>
                                      </p:tavLst>
                                    </p:anim>
                                    <p:anim calcmode="lin" valueType="num">
                                      <p:cBhvr>
                                        <p:cTn id="312" dur="300" fill="hold"/>
                                        <p:tgtEl>
                                          <p:spTgt spid="821"/>
                                        </p:tgtEl>
                                        <p:attrNameLst>
                                          <p:attrName>ppt_h</p:attrName>
                                        </p:attrNameLst>
                                      </p:cBhvr>
                                      <p:tavLst>
                                        <p:tav tm="0">
                                          <p:val>
                                            <p:fltVal val="0"/>
                                          </p:val>
                                        </p:tav>
                                        <p:tav tm="100000">
                                          <p:val>
                                            <p:strVal val="#ppt_h"/>
                                          </p:val>
                                        </p:tav>
                                      </p:tavLst>
                                    </p:anim>
                                    <p:animEffect transition="in" filter="fade">
                                      <p:cBhvr>
                                        <p:cTn id="313" dur="300"/>
                                        <p:tgtEl>
                                          <p:spTgt spid="821"/>
                                        </p:tgtEl>
                                      </p:cBhvr>
                                    </p:animEffect>
                                  </p:childTnLst>
                                </p:cTn>
                              </p:par>
                              <p:par>
                                <p:cTn id="314" presetID="53" presetClass="entr" presetSubtype="16" fill="hold" grpId="0" nodeType="withEffect">
                                  <p:stCondLst>
                                    <p:cond delay="2300"/>
                                  </p:stCondLst>
                                  <p:childTnLst>
                                    <p:set>
                                      <p:cBhvr>
                                        <p:cTn id="315" dur="1" fill="hold">
                                          <p:stCondLst>
                                            <p:cond delay="0"/>
                                          </p:stCondLst>
                                        </p:cTn>
                                        <p:tgtEl>
                                          <p:spTgt spid="592"/>
                                        </p:tgtEl>
                                        <p:attrNameLst>
                                          <p:attrName>style.visibility</p:attrName>
                                        </p:attrNameLst>
                                      </p:cBhvr>
                                      <p:to>
                                        <p:strVal val="visible"/>
                                      </p:to>
                                    </p:set>
                                    <p:anim calcmode="lin" valueType="num">
                                      <p:cBhvr>
                                        <p:cTn id="316" dur="300" fill="hold"/>
                                        <p:tgtEl>
                                          <p:spTgt spid="592"/>
                                        </p:tgtEl>
                                        <p:attrNameLst>
                                          <p:attrName>ppt_w</p:attrName>
                                        </p:attrNameLst>
                                      </p:cBhvr>
                                      <p:tavLst>
                                        <p:tav tm="0">
                                          <p:val>
                                            <p:fltVal val="0"/>
                                          </p:val>
                                        </p:tav>
                                        <p:tav tm="100000">
                                          <p:val>
                                            <p:strVal val="#ppt_w"/>
                                          </p:val>
                                        </p:tav>
                                      </p:tavLst>
                                    </p:anim>
                                    <p:anim calcmode="lin" valueType="num">
                                      <p:cBhvr>
                                        <p:cTn id="317" dur="300" fill="hold"/>
                                        <p:tgtEl>
                                          <p:spTgt spid="592"/>
                                        </p:tgtEl>
                                        <p:attrNameLst>
                                          <p:attrName>ppt_h</p:attrName>
                                        </p:attrNameLst>
                                      </p:cBhvr>
                                      <p:tavLst>
                                        <p:tav tm="0">
                                          <p:val>
                                            <p:fltVal val="0"/>
                                          </p:val>
                                        </p:tav>
                                        <p:tav tm="100000">
                                          <p:val>
                                            <p:strVal val="#ppt_h"/>
                                          </p:val>
                                        </p:tav>
                                      </p:tavLst>
                                    </p:anim>
                                    <p:animEffect transition="in" filter="fade">
                                      <p:cBhvr>
                                        <p:cTn id="318" dur="300"/>
                                        <p:tgtEl>
                                          <p:spTgt spid="592"/>
                                        </p:tgtEl>
                                      </p:cBhvr>
                                    </p:animEffect>
                                  </p:childTnLst>
                                </p:cTn>
                              </p:par>
                              <p:par>
                                <p:cTn id="319" presetID="53" presetClass="entr" presetSubtype="16" fill="hold" grpId="0" nodeType="withEffect">
                                  <p:stCondLst>
                                    <p:cond delay="2300"/>
                                  </p:stCondLst>
                                  <p:childTnLst>
                                    <p:set>
                                      <p:cBhvr>
                                        <p:cTn id="320" dur="1" fill="hold">
                                          <p:stCondLst>
                                            <p:cond delay="0"/>
                                          </p:stCondLst>
                                        </p:cTn>
                                        <p:tgtEl>
                                          <p:spTgt spid="595"/>
                                        </p:tgtEl>
                                        <p:attrNameLst>
                                          <p:attrName>style.visibility</p:attrName>
                                        </p:attrNameLst>
                                      </p:cBhvr>
                                      <p:to>
                                        <p:strVal val="visible"/>
                                      </p:to>
                                    </p:set>
                                    <p:anim calcmode="lin" valueType="num">
                                      <p:cBhvr>
                                        <p:cTn id="321" dur="400" fill="hold"/>
                                        <p:tgtEl>
                                          <p:spTgt spid="595"/>
                                        </p:tgtEl>
                                        <p:attrNameLst>
                                          <p:attrName>ppt_w</p:attrName>
                                        </p:attrNameLst>
                                      </p:cBhvr>
                                      <p:tavLst>
                                        <p:tav tm="0">
                                          <p:val>
                                            <p:fltVal val="0"/>
                                          </p:val>
                                        </p:tav>
                                        <p:tav tm="100000">
                                          <p:val>
                                            <p:strVal val="#ppt_w"/>
                                          </p:val>
                                        </p:tav>
                                      </p:tavLst>
                                    </p:anim>
                                    <p:anim calcmode="lin" valueType="num">
                                      <p:cBhvr>
                                        <p:cTn id="322" dur="400" fill="hold"/>
                                        <p:tgtEl>
                                          <p:spTgt spid="595"/>
                                        </p:tgtEl>
                                        <p:attrNameLst>
                                          <p:attrName>ppt_h</p:attrName>
                                        </p:attrNameLst>
                                      </p:cBhvr>
                                      <p:tavLst>
                                        <p:tav tm="0">
                                          <p:val>
                                            <p:fltVal val="0"/>
                                          </p:val>
                                        </p:tav>
                                        <p:tav tm="100000">
                                          <p:val>
                                            <p:strVal val="#ppt_h"/>
                                          </p:val>
                                        </p:tav>
                                      </p:tavLst>
                                    </p:anim>
                                    <p:animEffect transition="in" filter="fade">
                                      <p:cBhvr>
                                        <p:cTn id="323" dur="400"/>
                                        <p:tgtEl>
                                          <p:spTgt spid="595"/>
                                        </p:tgtEl>
                                      </p:cBhvr>
                                    </p:animEffect>
                                  </p:childTnLst>
                                </p:cTn>
                              </p:par>
                              <p:par>
                                <p:cTn id="324" presetID="22" presetClass="entr" presetSubtype="1" fill="hold" nodeType="withEffect">
                                  <p:stCondLst>
                                    <p:cond delay="2750"/>
                                  </p:stCondLst>
                                  <p:childTnLst>
                                    <p:set>
                                      <p:cBhvr>
                                        <p:cTn id="325" dur="1" fill="hold">
                                          <p:stCondLst>
                                            <p:cond delay="0"/>
                                          </p:stCondLst>
                                        </p:cTn>
                                        <p:tgtEl>
                                          <p:spTgt spid="579"/>
                                        </p:tgtEl>
                                        <p:attrNameLst>
                                          <p:attrName>style.visibility</p:attrName>
                                        </p:attrNameLst>
                                      </p:cBhvr>
                                      <p:to>
                                        <p:strVal val="visible"/>
                                      </p:to>
                                    </p:set>
                                    <p:animEffect transition="in" filter="wipe(up)">
                                      <p:cBhvr>
                                        <p:cTn id="326" dur="500"/>
                                        <p:tgtEl>
                                          <p:spTgt spid="579"/>
                                        </p:tgtEl>
                                      </p:cBhvr>
                                    </p:animEffect>
                                  </p:childTnLst>
                                </p:cTn>
                              </p:par>
                            </p:childTnLst>
                          </p:cTn>
                        </p:par>
                      </p:childTnLst>
                    </p:cTn>
                  </p:par>
                  <p:par>
                    <p:cTn id="327" fill="hold">
                      <p:stCondLst>
                        <p:cond delay="indefinite"/>
                      </p:stCondLst>
                      <p:childTnLst>
                        <p:par>
                          <p:cTn id="328" fill="hold">
                            <p:stCondLst>
                              <p:cond delay="0"/>
                            </p:stCondLst>
                            <p:childTnLst>
                              <p:par>
                                <p:cTn id="329" presetID="22" presetClass="entr" presetSubtype="2" fill="hold" nodeType="clickEffect">
                                  <p:stCondLst>
                                    <p:cond delay="0"/>
                                  </p:stCondLst>
                                  <p:childTnLst>
                                    <p:set>
                                      <p:cBhvr>
                                        <p:cTn id="330" dur="1" fill="hold">
                                          <p:stCondLst>
                                            <p:cond delay="0"/>
                                          </p:stCondLst>
                                        </p:cTn>
                                        <p:tgtEl>
                                          <p:spTgt spid="702"/>
                                        </p:tgtEl>
                                        <p:attrNameLst>
                                          <p:attrName>style.visibility</p:attrName>
                                        </p:attrNameLst>
                                      </p:cBhvr>
                                      <p:to>
                                        <p:strVal val="visible"/>
                                      </p:to>
                                    </p:set>
                                    <p:animEffect transition="in" filter="wipe(right)">
                                      <p:cBhvr>
                                        <p:cTn id="331" dur="800"/>
                                        <p:tgtEl>
                                          <p:spTgt spid="702"/>
                                        </p:tgtEl>
                                      </p:cBhvr>
                                    </p:animEffect>
                                  </p:childTnLst>
                                </p:cTn>
                              </p:par>
                              <p:par>
                                <p:cTn id="332" presetID="22" presetClass="entr" presetSubtype="8" fill="hold" nodeType="withEffect">
                                  <p:stCondLst>
                                    <p:cond delay="0"/>
                                  </p:stCondLst>
                                  <p:childTnLst>
                                    <p:set>
                                      <p:cBhvr>
                                        <p:cTn id="333" dur="1" fill="hold">
                                          <p:stCondLst>
                                            <p:cond delay="0"/>
                                          </p:stCondLst>
                                        </p:cTn>
                                        <p:tgtEl>
                                          <p:spTgt spid="688"/>
                                        </p:tgtEl>
                                        <p:attrNameLst>
                                          <p:attrName>style.visibility</p:attrName>
                                        </p:attrNameLst>
                                      </p:cBhvr>
                                      <p:to>
                                        <p:strVal val="visible"/>
                                      </p:to>
                                    </p:set>
                                    <p:animEffect transition="in" filter="wipe(left)">
                                      <p:cBhvr>
                                        <p:cTn id="334" dur="800"/>
                                        <p:tgtEl>
                                          <p:spTgt spid="6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8" grpId="0" animBg="1"/>
      <p:bldP spid="577" grpId="0" animBg="1"/>
      <p:bldP spid="578" grpId="0" animBg="1"/>
      <p:bldP spid="585" grpId="0" animBg="1"/>
      <p:bldP spid="571" grpId="0" animBg="1"/>
      <p:bldP spid="587" grpId="0" animBg="1"/>
      <p:bldP spid="569" grpId="0" animBg="1"/>
      <p:bldP spid="588" grpId="0" animBg="1"/>
      <p:bldP spid="589" grpId="0" animBg="1"/>
      <p:bldP spid="590" grpId="0" animBg="1"/>
      <p:bldP spid="591" grpId="0" animBg="1"/>
      <p:bldP spid="592" grpId="0" animBg="1"/>
      <p:bldP spid="594" grpId="0" animBg="1"/>
      <p:bldP spid="595" grpId="0" animBg="1"/>
      <p:bldP spid="641" grpId="0" animBg="1"/>
      <p:bldP spid="641" grpId="1" animBg="1"/>
      <p:bldP spid="641" grpId="2" animBg="1"/>
      <p:bldP spid="662" grpId="0" animBg="1"/>
      <p:bldP spid="662" grpId="1" animBg="1"/>
      <p:bldP spid="662" grpId="2" animBg="1"/>
      <p:bldP spid="663" grpId="0" animBg="1"/>
      <p:bldP spid="663" grpId="1" animBg="1"/>
      <p:bldP spid="663" grpId="2" animBg="1"/>
      <p:bldP spid="664" grpId="0" animBg="1"/>
      <p:bldP spid="664" grpId="1" animBg="1"/>
      <p:bldP spid="664" grpId="2" animBg="1"/>
      <p:bldP spid="665" grpId="0" animBg="1"/>
      <p:bldP spid="665" grpId="1" animBg="1"/>
      <p:bldP spid="665" grpId="2" animBg="1"/>
      <p:bldP spid="666" grpId="0" animBg="1"/>
      <p:bldP spid="666" grpId="1" animBg="1"/>
      <p:bldP spid="666" grpId="2" animBg="1"/>
      <p:bldP spid="667" grpId="0" animBg="1"/>
      <p:bldP spid="668" grpId="0" animBg="1"/>
      <p:bldP spid="669" grpId="0" animBg="1"/>
      <p:bldP spid="670" grpId="0" animBg="1"/>
      <p:bldP spid="671" grpId="0" animBg="1"/>
      <p:bldP spid="675" grpId="0" animBg="1"/>
      <p:bldP spid="676" grpId="0" animBg="1"/>
      <p:bldP spid="677" grpId="0" animBg="1"/>
      <p:bldP spid="678" grpId="0" animBg="1"/>
      <p:bldP spid="679" grpId="0" animBg="1"/>
      <p:bldP spid="680" grpId="0" animBg="1"/>
      <p:bldP spid="681" grpId="0" animBg="1"/>
      <p:bldP spid="741" grpId="0"/>
      <p:bldP spid="742" grpId="0" animBg="1"/>
      <p:bldP spid="742" grpId="1" animBg="1"/>
      <p:bldP spid="743" grpId="0"/>
      <p:bldP spid="744" grpId="0" animBg="1"/>
      <p:bldP spid="744" grpId="1" animBg="1"/>
      <p:bldP spid="745" grpId="0"/>
      <p:bldP spid="746" grpId="0" animBg="1"/>
      <p:bldP spid="746" grpId="1" animBg="1"/>
      <p:bldP spid="747" grpId="0"/>
      <p:bldP spid="748" grpId="0" animBg="1"/>
      <p:bldP spid="748" grpId="1" animBg="1"/>
      <p:bldP spid="749" grpId="0" animBg="1"/>
      <p:bldP spid="750" grpId="0" animBg="1"/>
      <p:bldP spid="750" grpId="1" animBg="1"/>
      <p:bldP spid="751" grpId="0" animBg="1"/>
      <p:bldP spid="752" grpId="0" animBg="1"/>
      <p:bldP spid="752" grpId="1" animBg="1"/>
      <p:bldP spid="753" grpId="0" animBg="1"/>
      <p:bldP spid="754" grpId="0" animBg="1"/>
      <p:bldP spid="755" grpId="0" animBg="1"/>
      <p:bldP spid="755" grpId="1" animBg="1"/>
      <p:bldP spid="756" grpId="0" animBg="1"/>
      <p:bldP spid="757" grpId="0" animBg="1"/>
      <p:bldP spid="758" grpId="0" animBg="1"/>
      <p:bldP spid="759" grpId="0" animBg="1"/>
      <p:bldP spid="760" grpId="0" animBg="1"/>
      <p:bldP spid="761" grpId="0" animBg="1"/>
      <p:bldP spid="762" grpId="0" animBg="1"/>
      <p:bldP spid="763" grpId="0" animBg="1"/>
      <p:bldP spid="764" grpId="0" animBg="1"/>
      <p:bldP spid="774" grpId="0" animBg="1"/>
      <p:bldP spid="774" grpId="1" animBg="1"/>
      <p:bldP spid="775" grpId="0" animBg="1"/>
      <p:bldP spid="775" grpId="1" animBg="1"/>
      <p:bldP spid="776" grpId="0" animBg="1"/>
      <p:bldP spid="777" grpId="0" animBg="1"/>
      <p:bldP spid="80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Immersion_White_16x9_Dec-11-2013">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_Dec_2013_v03" id="{987F43CD-3043-43EC-95E5-A49C3CE8BC27}" vid="{B36922BD-BA15-407C-877C-C744C1D30181}"/>
    </a:ext>
  </a:extLst>
</a:theme>
</file>

<file path=ppt/theme/theme10.xml><?xml version="1.0" encoding="utf-8"?>
<a:theme xmlns:a="http://schemas.openxmlformats.org/drawingml/2006/main" name="3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4_STB Conversations 2013">
  <a:themeElements>
    <a:clrScheme name="Custom 1">
      <a:dk1>
        <a:srgbClr val="505050"/>
      </a:dk1>
      <a:lt1>
        <a:srgbClr val="FFFFFF"/>
      </a:lt1>
      <a:dk2>
        <a:srgbClr val="0072C6"/>
      </a:dk2>
      <a:lt2>
        <a:srgbClr val="D2D2D2"/>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Cloud Platform - Cloud OS Vision_v23" id="{E65AFC3A-0453-4254-A7FC-7AF5D64C0D8F}" vid="{57C8DDEF-E2F4-4FB2-A40B-5461B314E35A}"/>
    </a:ext>
  </a:extLst>
</a:theme>
</file>

<file path=ppt/theme/theme12.xml><?xml version="1.0" encoding="utf-8"?>
<a:theme xmlns:a="http://schemas.openxmlformats.org/drawingml/2006/main" name="5_Immersion_White_16x9_Dec-11-2013">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_Dec_2013_v03" id="{987F43CD-3043-43EC-95E5-A49C3CE8BC27}" vid="{B36922BD-BA15-407C-877C-C744C1D30181}"/>
    </a:ext>
  </a:extLst>
</a:theme>
</file>

<file path=ppt/theme/theme13.xml><?xml version="1.0" encoding="utf-8"?>
<a:theme xmlns:a="http://schemas.openxmlformats.org/drawingml/2006/main" name="6_Immersion_White_16x9_Dec-11-2013">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_Dec_2013_v03" id="{987F43CD-3043-43EC-95E5-A49C3CE8BC27}" vid="{B36922BD-BA15-407C-877C-C744C1D30181}"/>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mmersion_White_16x9_Dec-11-2013">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_Dec_2013_v03" id="{987F43CD-3043-43EC-95E5-A49C3CE8BC27}" vid="{B36922BD-BA15-407C-877C-C744C1D30181}"/>
    </a:ext>
  </a:extLst>
</a:theme>
</file>

<file path=ppt/theme/theme3.xml><?xml version="1.0" encoding="utf-8"?>
<a:theme xmlns:a="http://schemas.openxmlformats.org/drawingml/2006/main" name="2_Immersion_White_16x9_Dec-11-2013">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_Dec_2013_v03" id="{987F43CD-3043-43EC-95E5-A49C3CE8BC27}" vid="{B36922BD-BA15-407C-877C-C744C1D30181}"/>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Immersion_White_16x9_Dec-11-2013">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_Dec_2013_v03" id="{987F43CD-3043-43EC-95E5-A49C3CE8BC27}" vid="{B36922BD-BA15-407C-877C-C744C1D30181}"/>
    </a:ext>
  </a:extLst>
</a:theme>
</file>

<file path=ppt/theme/theme6.xml><?xml version="1.0" encoding="utf-8"?>
<a:theme xmlns:a="http://schemas.openxmlformats.org/drawingml/2006/main" name="4_Immersion_White_16x9_Dec-11-2013">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_Dec_2013_v03" id="{987F43CD-3043-43EC-95E5-A49C3CE8BC27}" vid="{B36922BD-BA15-407C-877C-C744C1D30181}"/>
    </a:ext>
  </a:extLst>
</a:theme>
</file>

<file path=ppt/theme/theme7.xml><?xml version="1.0" encoding="utf-8"?>
<a:theme xmlns:a="http://schemas.openxmlformats.org/drawingml/2006/main" name="STB Conversations 2013">
  <a:themeElements>
    <a:clrScheme name="Custom 1">
      <a:dk1>
        <a:srgbClr val="505050"/>
      </a:dk1>
      <a:lt1>
        <a:srgbClr val="FFFFFF"/>
      </a:lt1>
      <a:dk2>
        <a:srgbClr val="0072C6"/>
      </a:dk2>
      <a:lt2>
        <a:srgbClr val="D2D2D2"/>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Cloud Platform - Cloud OS Vision_v23" id="{E65AFC3A-0453-4254-A7FC-7AF5D64C0D8F}" vid="{57C8DDEF-E2F4-4FB2-A40B-5461B314E35A}"/>
    </a:ext>
  </a:extLst>
</a:theme>
</file>

<file path=ppt/theme/theme8.xml><?xml version="1.0" encoding="utf-8"?>
<a:theme xmlns:a="http://schemas.openxmlformats.org/drawingml/2006/main" name="1_STB Conversations 2013">
  <a:themeElements>
    <a:clrScheme name="Custom 1">
      <a:dk1>
        <a:srgbClr val="505050"/>
      </a:dk1>
      <a:lt1>
        <a:srgbClr val="FFFFFF"/>
      </a:lt1>
      <a:dk2>
        <a:srgbClr val="0072C6"/>
      </a:dk2>
      <a:lt2>
        <a:srgbClr val="D2D2D2"/>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Cloud Platform - Cloud OS Vision_v23" id="{E65AFC3A-0453-4254-A7FC-7AF5D64C0D8F}" vid="{57C8DDEF-E2F4-4FB2-A40B-5461B314E35A}"/>
    </a:ext>
  </a:extLst>
</a:theme>
</file>

<file path=ppt/theme/theme9.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 Cloud Platform - Cloud OS Vision_v23" id="{E65AFC3A-0453-4254-A7FC-7AF5D64C0D8F}" vid="{57C8DDEF-E2F4-4FB2-A40B-5461B314E35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75BBF201C122347A56815831C482BA4" ma:contentTypeVersion="3" ma:contentTypeDescription="Create a new document." ma:contentTypeScope="" ma:versionID="0af7ce61a9bd4dbfc1ae19e3ca56dc55">
  <xsd:schema xmlns:xsd="http://www.w3.org/2001/XMLSchema" xmlns:xs="http://www.w3.org/2001/XMLSchema" xmlns:p="http://schemas.microsoft.com/office/2006/metadata/properties" xmlns:ns2="83a5dd58-589d-4ceb-9e28-5ab6ba214a0b" targetNamespace="http://schemas.microsoft.com/office/2006/metadata/properties" ma:root="true" ma:fieldsID="5933c2513ba867840149191c74e40521" ns2:_="">
    <xsd:import namespace="83a5dd58-589d-4ceb-9e28-5ab6ba214a0b"/>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a5dd58-589d-4ceb-9e28-5ab6ba214a0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2DFDB3-D501-4412-A5CB-2CA62ABF39E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3a5dd58-589d-4ceb-9e28-5ab6ba214a0b"/>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70CBA2AC-FF1C-4888-9015-5B8BF7164EE0}">
  <ds:schemaRefs>
    <ds:schemaRef ds:uri="http://schemas.microsoft.com/sharepoint/v3/contenttype/forms"/>
  </ds:schemaRefs>
</ds:datastoreItem>
</file>

<file path=customXml/itemProps3.xml><?xml version="1.0" encoding="utf-8"?>
<ds:datastoreItem xmlns:ds="http://schemas.openxmlformats.org/officeDocument/2006/customXml" ds:itemID="{9AECCEC6-C7A4-4888-AE56-6BE438888F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a5dd58-589d-4ceb-9e28-5ab6ba214a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85</TotalTime>
  <Words>26373</Words>
  <Application>Microsoft Office PowerPoint</Application>
  <PresentationFormat>Widescreen</PresentationFormat>
  <Paragraphs>3088</Paragraphs>
  <Slides>101</Slides>
  <Notes>95</Notes>
  <HiddenSlides>15</HiddenSlides>
  <MMClips>0</MMClips>
  <ScaleCrop>false</ScaleCrop>
  <HeadingPairs>
    <vt:vector size="8" baseType="variant">
      <vt:variant>
        <vt:lpstr>Fonts Used</vt:lpstr>
      </vt:variant>
      <vt:variant>
        <vt:i4>16</vt:i4>
      </vt:variant>
      <vt:variant>
        <vt:lpstr>Theme</vt:lpstr>
      </vt:variant>
      <vt:variant>
        <vt:i4>14</vt:i4>
      </vt:variant>
      <vt:variant>
        <vt:lpstr>Embedded OLE Servers</vt:lpstr>
      </vt:variant>
      <vt:variant>
        <vt:i4>1</vt:i4>
      </vt:variant>
      <vt:variant>
        <vt:lpstr>Slide Titles</vt:lpstr>
      </vt:variant>
      <vt:variant>
        <vt:i4>101</vt:i4>
      </vt:variant>
    </vt:vector>
  </HeadingPairs>
  <TitlesOfParts>
    <vt:vector size="132" baseType="lpstr">
      <vt:lpstr>MS Mincho</vt:lpstr>
      <vt:lpstr>MS PGothic</vt:lpstr>
      <vt:lpstr>MS PGothic</vt:lpstr>
      <vt:lpstr>Adobe Arabic</vt:lpstr>
      <vt:lpstr>Arial</vt:lpstr>
      <vt:lpstr>Calibri</vt:lpstr>
      <vt:lpstr>Calibri Light</vt:lpstr>
      <vt:lpstr>Consolas</vt:lpstr>
      <vt:lpstr>Courier New</vt:lpstr>
      <vt:lpstr>Ryo Display PlusN B</vt:lpstr>
      <vt:lpstr>Segoe UI</vt:lpstr>
      <vt:lpstr>Segoe UI Light</vt:lpstr>
      <vt:lpstr>Segoe UI Semibold</vt:lpstr>
      <vt:lpstr>Segoe UI Semilight</vt:lpstr>
      <vt:lpstr>Times New Roman</vt:lpstr>
      <vt:lpstr>Wingdings</vt:lpstr>
      <vt:lpstr>Immersion_White_16x9_Dec-11-2013</vt:lpstr>
      <vt:lpstr>1_Immersion_White_16x9_Dec-11-2013</vt:lpstr>
      <vt:lpstr>2_Immersion_White_16x9_Dec-11-2013</vt:lpstr>
      <vt:lpstr>1_Office Theme</vt:lpstr>
      <vt:lpstr>3_Immersion_White_16x9_Dec-11-2013</vt:lpstr>
      <vt:lpstr>4_Immersion_White_16x9_Dec-11-2013</vt:lpstr>
      <vt:lpstr>STB Conversations 2013</vt:lpstr>
      <vt:lpstr>1_STB Conversations 2013</vt:lpstr>
      <vt:lpstr>2_STB Conversations 2013</vt:lpstr>
      <vt:lpstr>3_STB Conversations 2013</vt:lpstr>
      <vt:lpstr>4_STB Conversations 2013</vt:lpstr>
      <vt:lpstr>5_Immersion_White_16x9_Dec-11-2013</vt:lpstr>
      <vt:lpstr>6_Immersion_White_16x9_Dec-11-2013</vt:lpstr>
      <vt:lpstr>Office Theme</vt:lpstr>
      <vt:lpstr>think-cell Slide</vt:lpstr>
      <vt:lpstr>PowerPoint Presentation</vt:lpstr>
      <vt:lpstr>Presenter Instructions | Do NOT show</vt:lpstr>
      <vt:lpstr>PowerPoint Presentation</vt:lpstr>
      <vt:lpstr>Microsoft Cloud Platform |          Transform the Datacenter</vt:lpstr>
      <vt:lpstr>Welcome to your Immersion</vt:lpstr>
      <vt:lpstr>PowerPoint Presentation</vt:lpstr>
      <vt:lpstr>PowerPoint Presentation</vt:lpstr>
      <vt:lpstr>Mapping the conversations</vt:lpstr>
      <vt:lpstr>Microsoft Cloud Platform strategy overview</vt:lpstr>
      <vt:lpstr>Microsoft  Cloud Platform</vt:lpstr>
      <vt:lpstr>PowerPoint Presentation</vt:lpstr>
      <vt:lpstr>PowerPoint Presentation</vt:lpstr>
      <vt:lpstr>Microsoft Cloud for your business</vt:lpstr>
      <vt:lpstr>Why Microsoft?</vt:lpstr>
      <vt:lpstr>Global scale</vt:lpstr>
      <vt:lpstr>Enterprise-grade, comprehensive platform</vt:lpstr>
      <vt:lpstr>Private, public, and hybrid cloud</vt:lpstr>
      <vt:lpstr>Trusted, open, and flexible</vt:lpstr>
      <vt:lpstr>People-centered experiences</vt:lpstr>
      <vt:lpstr>What can you do with the Microsoft Cloud Platform?</vt:lpstr>
      <vt:lpstr>PowerPoint Presentation</vt:lpstr>
      <vt:lpstr>PowerPoint Presentation</vt:lpstr>
      <vt:lpstr>PowerPoint Presentation</vt:lpstr>
      <vt:lpstr>PowerPoint Presentation</vt:lpstr>
      <vt:lpstr>PowerPoint Presentation</vt:lpstr>
      <vt:lpstr>PowerPoint Presentation</vt:lpstr>
      <vt:lpstr>Powering Microsoft Cloud Platform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DC: Conversation Map</vt:lpstr>
      <vt:lpstr>PowerPoint Presentation</vt:lpstr>
      <vt:lpstr>Mapping the conversations</vt:lpstr>
      <vt:lpstr>Transform the datacenter - storyline</vt:lpstr>
      <vt:lpstr>Transform the datacen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ild and operate</vt:lpstr>
      <vt:lpstr>Unified management </vt:lpstr>
      <vt:lpstr>PowerPoint Presentation</vt:lpstr>
      <vt:lpstr>Management and monitoring</vt:lpstr>
      <vt:lpstr>Service delivery</vt:lpstr>
      <vt:lpstr>PowerPoint Presentation</vt:lpstr>
      <vt:lpstr>PowerPoint Presentation</vt:lpstr>
      <vt:lpstr>Microsoft Azure global footprint </vt:lpstr>
      <vt:lpstr>Microsoft Azure security and trust</vt:lpstr>
      <vt:lpstr>Make hybrid capabilities part of your infrastructure</vt:lpstr>
      <vt:lpstr>PowerPoint Presentation</vt:lpstr>
      <vt:lpstr>PowerPoint Presentation</vt:lpstr>
      <vt:lpstr>PowerPoint Presentation</vt:lpstr>
      <vt:lpstr>Business continuity</vt:lpstr>
      <vt:lpstr>PowerPoint Presentation</vt:lpstr>
      <vt:lpstr>PowerPoint Presentation</vt:lpstr>
      <vt:lpstr>PowerPoint Presentation</vt:lpstr>
      <vt:lpstr>PowerPoint Presentation</vt:lpstr>
      <vt:lpstr>PowerPoint Presentation</vt:lpstr>
      <vt:lpstr>PowerPoint Presentation</vt:lpstr>
      <vt:lpstr>Cloud Platform Immersion  Experience   Transform the Datacenter</vt:lpstr>
      <vt:lpstr>Where are you today?</vt:lpstr>
      <vt:lpstr>Contoso’s employe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Engag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Engman (Synaxis Corporation)</dc:creator>
  <cp:lastModifiedBy>Arlene Martin (Synaxis Corporation)</cp:lastModifiedBy>
  <cp:revision>146</cp:revision>
  <dcterms:created xsi:type="dcterms:W3CDTF">2015-05-12T23:40:07Z</dcterms:created>
  <dcterms:modified xsi:type="dcterms:W3CDTF">2015-08-17T19:0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5BBF201C122347A56815831C482BA4</vt:lpwstr>
  </property>
</Properties>
</file>